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tags/tag134.xml" ContentType="application/vnd.openxmlformats-officedocument.presentationml.tags+xml"/>
  <Override PartName="/ppt/charts/chart107.xml" ContentType="application/vnd.openxmlformats-officedocument.drawingml.chart+xml"/>
  <Override PartName="/ppt/tags/tag135.xml" ContentType="application/vnd.openxmlformats-officedocument.presentationml.tags+xml"/>
  <Override PartName="/ppt/charts/chart108.xml" ContentType="application/vnd.openxmlformats-officedocument.drawingml.chart+xml"/>
  <Override PartName="/ppt/tags/tag136.xml" ContentType="application/vnd.openxmlformats-officedocument.presentationml.tags+xml"/>
  <Override PartName="/ppt/charts/chart109.xml" ContentType="application/vnd.openxmlformats-officedocument.drawingml.chart+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charts/chart113.xml" ContentType="application/vnd.openxmlformats-officedocument.drawingml.chart+xml"/>
  <Override PartName="/ppt/tags/tag141.xml" ContentType="application/vnd.openxmlformats-officedocument.presentationml.tags+xml"/>
  <Override PartName="/ppt/charts/chart114.xml" ContentType="application/vnd.openxmlformats-officedocument.drawingml.chart+xml"/>
  <Override PartName="/ppt/tags/tag142.xml" ContentType="application/vnd.openxmlformats-officedocument.presentationml.tags+xml"/>
  <Override PartName="/ppt/charts/chart115.xml" ContentType="application/vnd.openxmlformats-officedocument.drawingml.chart+xml"/>
  <Override PartName="/ppt/tags/tag143.xml" ContentType="application/vnd.openxmlformats-officedocument.presentationml.tags+xml"/>
  <Override PartName="/ppt/charts/chart116.xml" ContentType="application/vnd.openxmlformats-officedocument.drawingml.chart+xml"/>
  <Override PartName="/ppt/tags/tag144.xml" ContentType="application/vnd.openxmlformats-officedocument.presentationml.tags+xml"/>
  <Override PartName="/ppt/charts/chart117.xml" ContentType="application/vnd.openxmlformats-officedocument.drawingml.chart+xml"/>
  <Override PartName="/ppt/tags/tag145.xml" ContentType="application/vnd.openxmlformats-officedocument.presentationml.tags+xml"/>
  <Override PartName="/ppt/charts/chart118.xml" ContentType="application/vnd.openxmlformats-officedocument.drawingml.chart+xml"/>
  <Override PartName="/ppt/tags/tag146.xml" ContentType="application/vnd.openxmlformats-officedocument.presentationml.tags+xml"/>
  <Override PartName="/ppt/charts/chart119.xml" ContentType="application/vnd.openxmlformats-officedocument.drawingml.chart+xml"/>
  <Override PartName="/ppt/tags/tag147.xml" ContentType="application/vnd.openxmlformats-officedocument.presentationml.tags+xml"/>
  <Override PartName="/ppt/charts/chart120.xml" ContentType="application/vnd.openxmlformats-officedocument.drawingml.chart+xml"/>
  <Override PartName="/ppt/tags/tag148.xml" ContentType="application/vnd.openxmlformats-officedocument.presentationml.tags+xml"/>
  <Override PartName="/ppt/charts/chart121.xml" ContentType="application/vnd.openxmlformats-officedocument.drawingml.chart+xml"/>
  <Override PartName="/ppt/tags/tag149.xml" ContentType="application/vnd.openxmlformats-officedocument.presentationml.tags+xml"/>
  <Override PartName="/ppt/charts/chart122.xml" ContentType="application/vnd.openxmlformats-officedocument.drawingml.chart+xml"/>
  <Override PartName="/ppt/tags/tag150.xml" ContentType="application/vnd.openxmlformats-officedocument.presentationml.tags+xml"/>
  <Override PartName="/ppt/charts/chart123.xml" ContentType="application/vnd.openxmlformats-officedocument.drawingml.chart+xml"/>
  <Override PartName="/ppt/tags/tag151.xml" ContentType="application/vnd.openxmlformats-officedocument.presentationml.tags+xml"/>
  <Override PartName="/ppt/charts/chart124.xml" ContentType="application/vnd.openxmlformats-officedocument.drawingml.chart+xml"/>
  <Override PartName="/ppt/tags/tag152.xml" ContentType="application/vnd.openxmlformats-officedocument.presentationml.tags+xml"/>
  <Override PartName="/ppt/charts/chart125.xml" ContentType="application/vnd.openxmlformats-officedocument.drawingml.chart+xml"/>
  <Override PartName="/ppt/tags/tag153.xml" ContentType="application/vnd.openxmlformats-officedocument.presentationml.tags+xml"/>
  <Override PartName="/ppt/charts/chart126.xml" ContentType="application/vnd.openxmlformats-officedocument.drawingml.chart+xml"/>
  <Override PartName="/ppt/tags/tag154.xml" ContentType="application/vnd.openxmlformats-officedocument.presentationml.tags+xml"/>
  <Override PartName="/ppt/charts/chart127.xml" ContentType="application/vnd.openxmlformats-officedocument.drawingml.chart+xml"/>
  <Override PartName="/ppt/tags/tag155.xml" ContentType="application/vnd.openxmlformats-officedocument.presentationml.tags+xml"/>
  <Override PartName="/ppt/charts/chart128.xml" ContentType="application/vnd.openxmlformats-officedocument.drawingml.chart+xml"/>
  <Override PartName="/ppt/tags/tag156.xml" ContentType="application/vnd.openxmlformats-officedocument.presentationml.tags+xml"/>
  <Override PartName="/ppt/charts/chart129.xml" ContentType="application/vnd.openxmlformats-officedocument.drawingml.chart+xml"/>
  <Override PartName="/ppt/tags/tag157.xml" ContentType="application/vnd.openxmlformats-officedocument.presentationml.tags+xml"/>
  <Override PartName="/ppt/charts/chart130.xml" ContentType="application/vnd.openxmlformats-officedocument.drawingml.chart+xml"/>
  <Override PartName="/ppt/tags/tag158.xml" ContentType="application/vnd.openxmlformats-officedocument.presentationml.tags+xml"/>
  <Override PartName="/ppt/charts/chart131.xml" ContentType="application/vnd.openxmlformats-officedocument.drawingml.chart+xml"/>
  <Override PartName="/ppt/tags/tag159.xml" ContentType="application/vnd.openxmlformats-officedocument.presentationml.tags+xml"/>
  <Override PartName="/ppt/charts/chart132.xml" ContentType="application/vnd.openxmlformats-officedocument.drawingml.chart+xml"/>
  <Override PartName="/ppt/tags/tag160.xml" ContentType="application/vnd.openxmlformats-officedocument.presentationml.tags+xml"/>
  <Override PartName="/ppt/charts/chart133.xml" ContentType="application/vnd.openxmlformats-officedocument.drawingml.chart+xml"/>
  <Override PartName="/ppt/tags/tag161.xml" ContentType="application/vnd.openxmlformats-officedocument.presentationml.tags+xml"/>
  <Override PartName="/ppt/charts/chart134.xml" ContentType="application/vnd.openxmlformats-officedocument.drawingml.chart+xml"/>
  <Override PartName="/ppt/tags/tag162.xml" ContentType="application/vnd.openxmlformats-officedocument.presentationml.tags+xml"/>
  <Override PartName="/ppt/charts/chart135.xml" ContentType="application/vnd.openxmlformats-officedocument.drawingml.chart+xml"/>
  <Override PartName="/ppt/tags/tag163.xml" ContentType="application/vnd.openxmlformats-officedocument.presentationml.tags+xml"/>
  <Override PartName="/ppt/charts/chart136.xml" ContentType="application/vnd.openxmlformats-officedocument.drawingml.chart+xml"/>
  <Override PartName="/ppt/tags/tag164.xml" ContentType="application/vnd.openxmlformats-officedocument.presentationml.tags+xml"/>
  <Override PartName="/ppt/charts/chart137.xml" ContentType="application/vnd.openxmlformats-officedocument.drawingml.chart+xml"/>
  <Override PartName="/ppt/tags/tag165.xml" ContentType="application/vnd.openxmlformats-officedocument.presentationml.tags+xml"/>
  <Override PartName="/ppt/charts/chart138.xml" ContentType="application/vnd.openxmlformats-officedocument.drawingml.chart+xml"/>
  <Override PartName="/ppt/tags/tag166.xml" ContentType="application/vnd.openxmlformats-officedocument.presentationml.tags+xml"/>
  <Override PartName="/ppt/charts/chart139.xml" ContentType="application/vnd.openxmlformats-officedocument.drawingml.chart+xml"/>
  <Override PartName="/ppt/tags/tag167.xml" ContentType="application/vnd.openxmlformats-officedocument.presentationml.tags+xml"/>
  <Override PartName="/ppt/charts/chart140.xml" ContentType="application/vnd.openxmlformats-officedocument.drawingml.chart+xml"/>
  <Override PartName="/ppt/tags/tag168.xml" ContentType="application/vnd.openxmlformats-officedocument.presentationml.tags+xml"/>
  <Override PartName="/ppt/charts/chart141.xml" ContentType="application/vnd.openxmlformats-officedocument.drawingml.chart+xml"/>
  <Override PartName="/ppt/tags/tag169.xml" ContentType="application/vnd.openxmlformats-officedocument.presentationml.tags+xml"/>
  <Override PartName="/ppt/charts/chart142.xml" ContentType="application/vnd.openxmlformats-officedocument.drawingml.chart+xml"/>
  <Override PartName="/ppt/tags/tag170.xml" ContentType="application/vnd.openxmlformats-officedocument.presentationml.tags+xml"/>
  <Override PartName="/ppt/charts/chart143.xml" ContentType="application/vnd.openxmlformats-officedocument.drawingml.chart+xml"/>
  <Override PartName="/ppt/tags/tag171.xml" ContentType="application/vnd.openxmlformats-officedocument.presentationml.tags+xml"/>
  <Override PartName="/ppt/charts/chart144.xml" ContentType="application/vnd.openxmlformats-officedocument.drawingml.chart+xml"/>
  <Override PartName="/ppt/tags/tag172.xml" ContentType="application/vnd.openxmlformats-officedocument.presentationml.tags+xml"/>
  <Override PartName="/ppt/charts/chart145.xml" ContentType="application/vnd.openxmlformats-officedocument.drawingml.chart+xml"/>
  <Override PartName="/ppt/tags/tag173.xml" ContentType="application/vnd.openxmlformats-officedocument.presentationml.tags+xml"/>
  <Override PartName="/ppt/charts/chart146.xml" ContentType="application/vnd.openxmlformats-officedocument.drawingml.chart+xml"/>
  <Override PartName="/ppt/tags/tag174.xml" ContentType="application/vnd.openxmlformats-officedocument.presentationml.tags+xml"/>
  <Override PartName="/ppt/charts/chart147.xml" ContentType="application/vnd.openxmlformats-officedocument.drawingml.chart+xml"/>
  <Override PartName="/ppt/tags/tag175.xml" ContentType="application/vnd.openxmlformats-officedocument.presentationml.tags+xml"/>
  <Override PartName="/ppt/charts/chart148.xml" ContentType="application/vnd.openxmlformats-officedocument.drawingml.chart+xml"/>
  <Override PartName="/ppt/tags/tag176.xml" ContentType="application/vnd.openxmlformats-officedocument.presentationml.tags+xml"/>
  <Override PartName="/ppt/charts/chart149.xml" ContentType="application/vnd.openxmlformats-officedocument.drawingml.chart+xml"/>
  <Override PartName="/ppt/tags/tag177.xml" ContentType="application/vnd.openxmlformats-officedocument.presentationml.tags+xml"/>
  <Override PartName="/ppt/charts/chart150.xml" ContentType="application/vnd.openxmlformats-officedocument.drawingml.chart+xml"/>
  <Override PartName="/ppt/tags/tag178.xml" ContentType="application/vnd.openxmlformats-officedocument.presentationml.tags+xml"/>
  <Override PartName="/ppt/charts/chart151.xml" ContentType="application/vnd.openxmlformats-officedocument.drawingml.chart+xml"/>
  <Override PartName="/ppt/tags/tag179.xml" ContentType="application/vnd.openxmlformats-officedocument.presentationml.tags+xml"/>
  <Override PartName="/ppt/charts/chart152.xml" ContentType="application/vnd.openxmlformats-officedocument.drawingml.chart+xml"/>
  <Override PartName="/ppt/tags/tag180.xml" ContentType="application/vnd.openxmlformats-officedocument.presentationml.tags+xml"/>
  <Override PartName="/ppt/charts/chart153.xml" ContentType="application/vnd.openxmlformats-officedocument.drawingml.chart+xml"/>
  <Override PartName="/ppt/tags/tag181.xml" ContentType="application/vnd.openxmlformats-officedocument.presentationml.tags+xml"/>
  <Override PartName="/ppt/charts/chart154.xml" ContentType="application/vnd.openxmlformats-officedocument.drawingml.chart+xml"/>
  <Override PartName="/ppt/tags/tag182.xml" ContentType="application/vnd.openxmlformats-officedocument.presentationml.tags+xml"/>
  <Override PartName="/ppt/charts/chart155.xml" ContentType="application/vnd.openxmlformats-officedocument.drawingml.chart+xml"/>
  <Override PartName="/ppt/tags/tag183.xml" ContentType="application/vnd.openxmlformats-officedocument.presentationml.tags+xml"/>
  <Override PartName="/ppt/charts/chart156.xml" ContentType="application/vnd.openxmlformats-officedocument.drawingml.chart+xml"/>
  <Override PartName="/ppt/tags/tag184.xml" ContentType="application/vnd.openxmlformats-officedocument.presentationml.tags+xml"/>
  <Override PartName="/ppt/charts/chart157.xml" ContentType="application/vnd.openxmlformats-officedocument.drawingml.chart+xml"/>
  <Override PartName="/ppt/tags/tag185.xml" ContentType="application/vnd.openxmlformats-officedocument.presentationml.tags+xml"/>
  <Override PartName="/ppt/charts/chart158.xml" ContentType="application/vnd.openxmlformats-officedocument.drawingml.chart+xml"/>
  <Override PartName="/ppt/tags/tag186.xml" ContentType="application/vnd.openxmlformats-officedocument.presentationml.tags+xml"/>
  <Override PartName="/ppt/charts/chart159.xml" ContentType="application/vnd.openxmlformats-officedocument.drawingml.chart+xml"/>
  <Override PartName="/ppt/tags/tag187.xml" ContentType="application/vnd.openxmlformats-officedocument.presentationml.tags+xml"/>
  <Override PartName="/ppt/charts/chart160.xml" ContentType="application/vnd.openxmlformats-officedocument.drawingml.chart+xml"/>
  <Override PartName="/ppt/tags/tag188.xml" ContentType="application/vnd.openxmlformats-officedocument.presentationml.tags+xml"/>
  <Override PartName="/ppt/charts/chart161.xml" ContentType="application/vnd.openxmlformats-officedocument.drawingml.chart+xml"/>
  <Override PartName="/ppt/tags/tag189.xml" ContentType="application/vnd.openxmlformats-officedocument.presentationml.tags+xml"/>
  <Override PartName="/ppt/charts/chart162.xml" ContentType="application/vnd.openxmlformats-officedocument.drawingml.chart+xml"/>
  <Override PartName="/ppt/tags/tag190.xml" ContentType="application/vnd.openxmlformats-officedocument.presentationml.tags+xml"/>
  <Override PartName="/ppt/charts/chart163.xml" ContentType="application/vnd.openxmlformats-officedocument.drawingml.chart+xml"/>
  <Override PartName="/ppt/tags/tag191.xml" ContentType="application/vnd.openxmlformats-officedocument.presentationml.tags+xml"/>
  <Override PartName="/ppt/charts/chart164.xml" ContentType="application/vnd.openxmlformats-officedocument.drawingml.chart+xml"/>
  <Override PartName="/ppt/tags/tag192.xml" ContentType="application/vnd.openxmlformats-officedocument.presentationml.tags+xml"/>
  <Override PartName="/ppt/charts/chart165.xml" ContentType="application/vnd.openxmlformats-officedocument.drawingml.chart+xml"/>
  <Override PartName="/ppt/tags/tag193.xml" ContentType="application/vnd.openxmlformats-officedocument.presentationml.tags+xml"/>
  <Override PartName="/ppt/charts/chart166.xml" ContentType="application/vnd.openxmlformats-officedocument.drawingml.chart+xml"/>
  <Override PartName="/ppt/tags/tag194.xml" ContentType="application/vnd.openxmlformats-officedocument.presentationml.tags+xml"/>
  <Override PartName="/ppt/charts/chart167.xml" ContentType="application/vnd.openxmlformats-officedocument.drawingml.chart+xml"/>
  <Override PartName="/ppt/tags/tag195.xml" ContentType="application/vnd.openxmlformats-officedocument.presentationml.tags+xml"/>
  <Override PartName="/ppt/charts/chart168.xml" ContentType="application/vnd.openxmlformats-officedocument.drawingml.chart+xml"/>
  <Override PartName="/ppt/tags/tag196.xml" ContentType="application/vnd.openxmlformats-officedocument.presentationml.tags+xml"/>
  <Override PartName="/ppt/charts/chart169.xml" ContentType="application/vnd.openxmlformats-officedocument.drawingml.chart+xml"/>
  <Override PartName="/ppt/tags/tag197.xml" ContentType="application/vnd.openxmlformats-officedocument.presentationml.tags+xml"/>
  <Override PartName="/ppt/charts/chart170.xml" ContentType="application/vnd.openxmlformats-officedocument.drawingml.chart+xml"/>
  <Override PartName="/ppt/tags/tag198.xml" ContentType="application/vnd.openxmlformats-officedocument.presentationml.tags+xml"/>
  <Override PartName="/ppt/charts/chart171.xml" ContentType="application/vnd.openxmlformats-officedocument.drawingml.chart+xml"/>
  <Override PartName="/ppt/tags/tag199.xml" ContentType="application/vnd.openxmlformats-officedocument.presentationml.tags+xml"/>
  <Override PartName="/ppt/charts/chart172.xml" ContentType="application/vnd.openxmlformats-officedocument.drawingml.chart+xml"/>
  <Override PartName="/ppt/tags/tag200.xml" ContentType="application/vnd.openxmlformats-officedocument.presentationml.tags+xml"/>
  <Override PartName="/ppt/charts/chart173.xml" ContentType="application/vnd.openxmlformats-officedocument.drawingml.chart+xml"/>
  <Override PartName="/ppt/tags/tag201.xml" ContentType="application/vnd.openxmlformats-officedocument.presentationml.tags+xml"/>
  <Override PartName="/ppt/charts/chart174.xml" ContentType="application/vnd.openxmlformats-officedocument.drawingml.chart+xml"/>
  <Override PartName="/ppt/tags/tag202.xml" ContentType="application/vnd.openxmlformats-officedocument.presentationml.tags+xml"/>
  <Override PartName="/ppt/charts/chart175.xml" ContentType="application/vnd.openxmlformats-officedocument.drawingml.chart+xml"/>
  <Override PartName="/ppt/tags/tag203.xml" ContentType="application/vnd.openxmlformats-officedocument.presentationml.tags+xml"/>
  <Override PartName="/ppt/charts/chart176.xml" ContentType="application/vnd.openxmlformats-officedocument.drawingml.chart+xml"/>
  <Override PartName="/ppt/tags/tag204.xml" ContentType="application/vnd.openxmlformats-officedocument.presentationml.tags+xml"/>
  <Override PartName="/ppt/charts/chart177.xml" ContentType="application/vnd.openxmlformats-officedocument.drawingml.chart+xml"/>
  <Override PartName="/ppt/tags/tag205.xml" ContentType="application/vnd.openxmlformats-officedocument.presentationml.tags+xml"/>
  <Override PartName="/ppt/charts/chart178.xml" ContentType="application/vnd.openxmlformats-officedocument.drawingml.chart+xml"/>
  <Override PartName="/ppt/tags/tag206.xml" ContentType="application/vnd.openxmlformats-officedocument.presentationml.tags+xml"/>
  <Override PartName="/ppt/charts/chart179.xml" ContentType="application/vnd.openxmlformats-officedocument.drawingml.chart+xml"/>
  <Override PartName="/ppt/tags/tag207.xml" ContentType="application/vnd.openxmlformats-officedocument.presentationml.tags+xml"/>
  <Override PartName="/ppt/charts/chart180.xml" ContentType="application/vnd.openxmlformats-officedocument.drawingml.chart+xml"/>
  <Override PartName="/ppt/tags/tag208.xml" ContentType="application/vnd.openxmlformats-officedocument.presentationml.tags+xml"/>
  <Override PartName="/ppt/charts/chart181.xml" ContentType="application/vnd.openxmlformats-officedocument.drawingml.chart+xml"/>
  <Override PartName="/ppt/tags/tag209.xml" ContentType="application/vnd.openxmlformats-officedocument.presentationml.tags+xml"/>
  <Override PartName="/ppt/charts/chart182.xml" ContentType="application/vnd.openxmlformats-officedocument.drawingml.chart+xml"/>
  <Override PartName="/ppt/tags/tag210.xml" ContentType="application/vnd.openxmlformats-officedocument.presentationml.tags+xml"/>
  <Override PartName="/ppt/charts/chart183.xml" ContentType="application/vnd.openxmlformats-officedocument.drawingml.chart+xml"/>
  <Override PartName="/ppt/tags/tag211.xml" ContentType="application/vnd.openxmlformats-officedocument.presentationml.tags+xml"/>
  <Override PartName="/ppt/charts/chart184.xml" ContentType="application/vnd.openxmlformats-officedocument.drawingml.chart+xml"/>
  <Override PartName="/ppt/tags/tag212.xml" ContentType="application/vnd.openxmlformats-officedocument.presentationml.tags+xml"/>
  <Override PartName="/ppt/charts/chart185.xml" ContentType="application/vnd.openxmlformats-officedocument.drawingml.chart+xml"/>
  <Override PartName="/ppt/tags/tag213.xml" ContentType="application/vnd.openxmlformats-officedocument.presentationml.tags+xml"/>
  <Override PartName="/ppt/charts/chart186.xml" ContentType="application/vnd.openxmlformats-officedocument.drawingml.chart+xml"/>
  <Override PartName="/ppt/tags/tag214.xml" ContentType="application/vnd.openxmlformats-officedocument.presentationml.tags+xml"/>
  <Override PartName="/ppt/charts/chart187.xml" ContentType="application/vnd.openxmlformats-officedocument.drawingml.chart+xml"/>
  <Override PartName="/ppt/tags/tag215.xml" ContentType="application/vnd.openxmlformats-officedocument.presentationml.tags+xml"/>
  <Override PartName="/ppt/charts/chart188.xml" ContentType="application/vnd.openxmlformats-officedocument.drawingml.chart+xml"/>
  <Override PartName="/ppt/tags/tag216.xml" ContentType="application/vnd.openxmlformats-officedocument.presentationml.tags+xml"/>
  <Override PartName="/ppt/charts/chart189.xml" ContentType="application/vnd.openxmlformats-officedocument.drawingml.chart+xml"/>
  <Override PartName="/ppt/tags/tag217.xml" ContentType="application/vnd.openxmlformats-officedocument.presentationml.tags+xml"/>
  <Override PartName="/ppt/charts/chart190.xml" ContentType="application/vnd.openxmlformats-officedocument.drawingml.chart+xml"/>
  <Override PartName="/ppt/tags/tag218.xml" ContentType="application/vnd.openxmlformats-officedocument.presentationml.tags+xml"/>
  <Override PartName="/ppt/charts/chart191.xml" ContentType="application/vnd.openxmlformats-officedocument.drawingml.chart+xml"/>
  <Override PartName="/ppt/tags/tag219.xml" ContentType="application/vnd.openxmlformats-officedocument.presentationml.tags+xml"/>
  <Override PartName="/ppt/charts/chart192.xml" ContentType="application/vnd.openxmlformats-officedocument.drawingml.chart+xml"/>
  <Override PartName="/ppt/tags/tag220.xml" ContentType="application/vnd.openxmlformats-officedocument.presentationml.tags+xml"/>
  <Override PartName="/ppt/charts/chart193.xml" ContentType="application/vnd.openxmlformats-officedocument.drawingml.chart+xml"/>
  <Override PartName="/ppt/tags/tag221.xml" ContentType="application/vnd.openxmlformats-officedocument.presentationml.tags+xml"/>
  <Override PartName="/ppt/charts/chart194.xml" ContentType="application/vnd.openxmlformats-officedocument.drawingml.chart+xml"/>
  <Override PartName="/ppt/tags/tag222.xml" ContentType="application/vnd.openxmlformats-officedocument.presentationml.tags+xml"/>
  <Override PartName="/ppt/charts/chart195.xml" ContentType="application/vnd.openxmlformats-officedocument.drawingml.chart+xml"/>
  <Override PartName="/ppt/tags/tag223.xml" ContentType="application/vnd.openxmlformats-officedocument.presentationml.tags+xml"/>
  <Override PartName="/ppt/charts/chart196.xml" ContentType="application/vnd.openxmlformats-officedocument.drawingml.chart+xml"/>
  <Override PartName="/ppt/tags/tag224.xml" ContentType="application/vnd.openxmlformats-officedocument.presentationml.tags+xml"/>
  <Override PartName="/ppt/charts/chart197.xml" ContentType="application/vnd.openxmlformats-officedocument.drawingml.chart+xml"/>
  <Override PartName="/ppt/tags/tag225.xml" ContentType="application/vnd.openxmlformats-officedocument.presentationml.tags+xml"/>
  <Override PartName="/ppt/charts/chart198.xml" ContentType="application/vnd.openxmlformats-officedocument.drawingml.chart+xml"/>
  <Override PartName="/ppt/tags/tag226.xml" ContentType="application/vnd.openxmlformats-officedocument.presentationml.tags+xml"/>
  <Override PartName="/ppt/charts/chart199.xml" ContentType="application/vnd.openxmlformats-officedocument.drawingml.chart+xml"/>
  <Override PartName="/ppt/tags/tag227.xml" ContentType="application/vnd.openxmlformats-officedocument.presentationml.tags+xml"/>
  <Override PartName="/ppt/charts/chart200.xml" ContentType="application/vnd.openxmlformats-officedocument.drawingml.chart+xml"/>
  <Override PartName="/ppt/tags/tag228.xml" ContentType="application/vnd.openxmlformats-officedocument.presentationml.tags+xml"/>
  <Override PartName="/ppt/charts/chart201.xml" ContentType="application/vnd.openxmlformats-officedocument.drawingml.chart+xml"/>
  <Override PartName="/ppt/tags/tag229.xml" ContentType="application/vnd.openxmlformats-officedocument.presentationml.tags+xml"/>
  <Override PartName="/ppt/charts/chart202.xml" ContentType="application/vnd.openxmlformats-officedocument.drawingml.chart+xml"/>
  <Override PartName="/ppt/tags/tag230.xml" ContentType="application/vnd.openxmlformats-officedocument.presentationml.tags+xml"/>
  <Override PartName="/ppt/charts/chart203.xml" ContentType="application/vnd.openxmlformats-officedocument.drawingml.chart+xml"/>
  <Override PartName="/ppt/tags/tag231.xml" ContentType="application/vnd.openxmlformats-officedocument.presentationml.tags+xml"/>
  <Override PartName="/ppt/charts/chart204.xml" ContentType="application/vnd.openxmlformats-officedocument.drawingml.chart+xml"/>
  <Override PartName="/ppt/tags/tag232.xml" ContentType="application/vnd.openxmlformats-officedocument.presentationml.tags+xml"/>
  <Override PartName="/ppt/charts/chart205.xml" ContentType="application/vnd.openxmlformats-officedocument.drawingml.chart+xml"/>
  <Override PartName="/ppt/tags/tag233.xml" ContentType="application/vnd.openxmlformats-officedocument.presentationml.tags+xml"/>
  <Override PartName="/ppt/charts/chart206.xml" ContentType="application/vnd.openxmlformats-officedocument.drawingml.chart+xml"/>
  <Override PartName="/ppt/tags/tag234.xml" ContentType="application/vnd.openxmlformats-officedocument.presentationml.tags+xml"/>
  <Override PartName="/ppt/charts/chart207.xml" ContentType="application/vnd.openxmlformats-officedocument.drawingml.chart+xml"/>
  <Override PartName="/ppt/tags/tag235.xml" ContentType="application/vnd.openxmlformats-officedocument.presentationml.tags+xml"/>
  <Override PartName="/ppt/charts/chart208.xml" ContentType="application/vnd.openxmlformats-officedocument.drawingml.chart+xml"/>
  <Override PartName="/ppt/tags/tag236.xml" ContentType="application/vnd.openxmlformats-officedocument.presentationml.tags+xml"/>
  <Override PartName="/ppt/charts/chart209.xml" ContentType="application/vnd.openxmlformats-officedocument.drawingml.chart+xml"/>
  <Override PartName="/ppt/tags/tag237.xml" ContentType="application/vnd.openxmlformats-officedocument.presentationml.tags+xml"/>
  <Override PartName="/ppt/charts/chart210.xml" ContentType="application/vnd.openxmlformats-officedocument.drawingml.chart+xml"/>
  <Override PartName="/ppt/tags/tag238.xml" ContentType="application/vnd.openxmlformats-officedocument.presentationml.tags+xml"/>
  <Override PartName="/ppt/charts/chart211.xml" ContentType="application/vnd.openxmlformats-officedocument.drawingml.chart+xml"/>
  <Override PartName="/ppt/tags/tag239.xml" ContentType="application/vnd.openxmlformats-officedocument.presentationml.tags+xml"/>
  <Override PartName="/ppt/charts/chart212.xml" ContentType="application/vnd.openxmlformats-officedocument.drawingml.chart+xml"/>
  <Override PartName="/ppt/tags/tag240.xml" ContentType="application/vnd.openxmlformats-officedocument.presentationml.tags+xml"/>
  <Override PartName="/ppt/charts/chart213.xml" ContentType="application/vnd.openxmlformats-officedocument.drawingml.chart+xml"/>
  <Override PartName="/ppt/tags/tag241.xml" ContentType="application/vnd.openxmlformats-officedocument.presentationml.tags+xml"/>
  <Override PartName="/ppt/charts/chart214.xml" ContentType="application/vnd.openxmlformats-officedocument.drawingml.chart+xml"/>
  <Override PartName="/ppt/tags/tag242.xml" ContentType="application/vnd.openxmlformats-officedocument.presentationml.tags+xml"/>
  <Override PartName="/ppt/charts/chart215.xml" ContentType="application/vnd.openxmlformats-officedocument.drawingml.chart+xml"/>
  <Override PartName="/ppt/tags/tag243.xml" ContentType="application/vnd.openxmlformats-officedocument.presentationml.tags+xml"/>
  <Override PartName="/ppt/charts/chart216.xml" ContentType="application/vnd.openxmlformats-officedocument.drawingml.chart+xml"/>
  <Override PartName="/ppt/tags/tag244.xml" ContentType="application/vnd.openxmlformats-officedocument.presentationml.tags+xml"/>
  <Override PartName="/ppt/charts/chart217.xml" ContentType="application/vnd.openxmlformats-officedocument.drawingml.chart+xml"/>
  <Override PartName="/ppt/tags/tag245.xml" ContentType="application/vnd.openxmlformats-officedocument.presentationml.tags+xml"/>
  <Override PartName="/ppt/charts/chart218.xml" ContentType="application/vnd.openxmlformats-officedocument.drawingml.chart+xml"/>
  <Override PartName="/ppt/tags/tag246.xml" ContentType="application/vnd.openxmlformats-officedocument.presentationml.tags+xml"/>
  <Override PartName="/ppt/charts/chart219.xml" ContentType="application/vnd.openxmlformats-officedocument.drawingml.chart+xml"/>
  <Override PartName="/ppt/tags/tag247.xml" ContentType="application/vnd.openxmlformats-officedocument.presentationml.tags+xml"/>
  <Override PartName="/ppt/charts/chart220.xml" ContentType="application/vnd.openxmlformats-officedocument.drawingml.chart+xml"/>
  <Override PartName="/ppt/tags/tag248.xml" ContentType="application/vnd.openxmlformats-officedocument.presentationml.tags+xml"/>
  <Override PartName="/ppt/charts/chart221.xml" ContentType="application/vnd.openxmlformats-officedocument.drawingml.chart+xml"/>
  <Override PartName="/ppt/tags/tag249.xml" ContentType="application/vnd.openxmlformats-officedocument.presentationml.tags+xml"/>
  <Override PartName="/ppt/charts/chart222.xml" ContentType="application/vnd.openxmlformats-officedocument.drawingml.chart+xml"/>
  <Override PartName="/ppt/tags/tag250.xml" ContentType="application/vnd.openxmlformats-officedocument.presentationml.tags+xml"/>
  <Override PartName="/ppt/charts/chart223.xml" ContentType="application/vnd.openxmlformats-officedocument.drawingml.chart+xml"/>
  <Override PartName="/ppt/tags/tag251.xml" ContentType="application/vnd.openxmlformats-officedocument.presentationml.tags+xml"/>
  <Override PartName="/ppt/charts/chart224.xml" ContentType="application/vnd.openxmlformats-officedocument.drawingml.chart+xml"/>
  <Override PartName="/ppt/tags/tag252.xml" ContentType="application/vnd.openxmlformats-officedocument.presentationml.tags+xml"/>
  <Override PartName="/ppt/charts/chart225.xml" ContentType="application/vnd.openxmlformats-officedocument.drawingml.chart+xml"/>
  <Override PartName="/ppt/tags/tag253.xml" ContentType="application/vnd.openxmlformats-officedocument.presentationml.tags+xml"/>
  <Override PartName="/ppt/charts/chart226.xml" ContentType="application/vnd.openxmlformats-officedocument.drawingml.chart+xml"/>
  <Override PartName="/ppt/tags/tag254.xml" ContentType="application/vnd.openxmlformats-officedocument.presentationml.tags+xml"/>
  <Override PartName="/ppt/charts/chart227.xml" ContentType="application/vnd.openxmlformats-officedocument.drawingml.chart+xml"/>
  <Override PartName="/ppt/tags/tag255.xml" ContentType="application/vnd.openxmlformats-officedocument.presentationml.tags+xml"/>
  <Override PartName="/ppt/charts/chart228.xml" ContentType="application/vnd.openxmlformats-officedocument.drawingml.chart+xml"/>
  <Override PartName="/ppt/tags/tag256.xml" ContentType="application/vnd.openxmlformats-officedocument.presentationml.tags+xml"/>
  <Override PartName="/ppt/charts/chart229.xml" ContentType="application/vnd.openxmlformats-officedocument.drawingml.chart+xml"/>
  <Override PartName="/ppt/tags/tag257.xml" ContentType="application/vnd.openxmlformats-officedocument.presentationml.tags+xml"/>
  <Override PartName="/ppt/charts/chart230.xml" ContentType="application/vnd.openxmlformats-officedocument.drawingml.chart+xml"/>
  <Override PartName="/ppt/tags/tag258.xml" ContentType="application/vnd.openxmlformats-officedocument.presentationml.tags+xml"/>
  <Override PartName="/ppt/charts/chart231.xml" ContentType="application/vnd.openxmlformats-officedocument.drawingml.chart+xml"/>
  <Override PartName="/ppt/tags/tag259.xml" ContentType="application/vnd.openxmlformats-officedocument.presentationml.tags+xml"/>
  <Override PartName="/ppt/charts/chart232.xml" ContentType="application/vnd.openxmlformats-officedocument.drawingml.chart+xml"/>
  <Override PartName="/ppt/tags/tag260.xml" ContentType="application/vnd.openxmlformats-officedocument.presentationml.tags+xml"/>
  <Override PartName="/ppt/charts/chart233.xml" ContentType="application/vnd.openxmlformats-officedocument.drawingml.chart+xml"/>
  <Override PartName="/ppt/tags/tag261.xml" ContentType="application/vnd.openxmlformats-officedocument.presentationml.tags+xml"/>
  <Override PartName="/ppt/charts/chart234.xml" ContentType="application/vnd.openxmlformats-officedocument.drawingml.chart+xml"/>
  <Override PartName="/ppt/tags/tag262.xml" ContentType="application/vnd.openxmlformats-officedocument.presentationml.tags+xml"/>
  <Override PartName="/ppt/charts/chart235.xml" ContentType="application/vnd.openxmlformats-officedocument.drawingml.chart+xml"/>
  <Override PartName="/ppt/tags/tag263.xml" ContentType="application/vnd.openxmlformats-officedocument.presentationml.tags+xml"/>
  <Override PartName="/ppt/charts/chart236.xml" ContentType="application/vnd.openxmlformats-officedocument.drawingml.chart+xml"/>
  <Override PartName="/ppt/tags/tag264.xml" ContentType="application/vnd.openxmlformats-officedocument.presentationml.tags+xml"/>
  <Override PartName="/ppt/charts/chart237.xml" ContentType="application/vnd.openxmlformats-officedocument.drawingml.chart+xml"/>
  <Override PartName="/ppt/tags/tag265.xml" ContentType="application/vnd.openxmlformats-officedocument.presentationml.tags+xml"/>
  <Override PartName="/ppt/charts/chart238.xml" ContentType="application/vnd.openxmlformats-officedocument.drawingml.chart+xml"/>
  <Override PartName="/ppt/tags/tag266.xml" ContentType="application/vnd.openxmlformats-officedocument.presentationml.tags+xml"/>
  <Override PartName="/ppt/charts/chart239.xml" ContentType="application/vnd.openxmlformats-officedocument.drawingml.chart+xml"/>
  <Override PartName="/ppt/tags/tag267.xml" ContentType="application/vnd.openxmlformats-officedocument.presentationml.tags+xml"/>
  <Override PartName="/ppt/charts/chart240.xml" ContentType="application/vnd.openxmlformats-officedocument.drawingml.chart+xml"/>
  <Override PartName="/ppt/tags/tag268.xml" ContentType="application/vnd.openxmlformats-officedocument.presentationml.tags+xml"/>
  <Override PartName="/ppt/charts/chart241.xml" ContentType="application/vnd.openxmlformats-officedocument.drawingml.chart+xml"/>
  <Override PartName="/ppt/tags/tag269.xml" ContentType="application/vnd.openxmlformats-officedocument.presentationml.tags+xml"/>
  <Override PartName="/ppt/charts/chart242.xml" ContentType="application/vnd.openxmlformats-officedocument.drawingml.chart+xml"/>
  <Override PartName="/ppt/tags/tag270.xml" ContentType="application/vnd.openxmlformats-officedocument.presentationml.tags+xml"/>
  <Override PartName="/ppt/charts/chart243.xml" ContentType="application/vnd.openxmlformats-officedocument.drawingml.chart+xml"/>
  <Override PartName="/ppt/tags/tag271.xml" ContentType="application/vnd.openxmlformats-officedocument.presentationml.tags+xml"/>
  <Override PartName="/ppt/charts/chart244.xml" ContentType="application/vnd.openxmlformats-officedocument.drawingml.chart+xml"/>
  <Override PartName="/ppt/tags/tag272.xml" ContentType="application/vnd.openxmlformats-officedocument.presentationml.tags+xml"/>
  <Override PartName="/ppt/charts/chart245.xml" ContentType="application/vnd.openxmlformats-officedocument.drawingml.chart+xml"/>
  <Override PartName="/ppt/tags/tag273.xml" ContentType="application/vnd.openxmlformats-officedocument.presentationml.tags+xml"/>
  <Override PartName="/ppt/charts/chart246.xml" ContentType="application/vnd.openxmlformats-officedocument.drawingml.chart+xml"/>
  <Override PartName="/ppt/tags/tag274.xml" ContentType="application/vnd.openxmlformats-officedocument.presentationml.tags+xml"/>
  <Override PartName="/ppt/charts/chart247.xml" ContentType="application/vnd.openxmlformats-officedocument.drawingml.chart+xml"/>
  <Override PartName="/ppt/tags/tag275.xml" ContentType="application/vnd.openxmlformats-officedocument.presentationml.tags+xml"/>
  <Override PartName="/ppt/charts/chart248.xml" ContentType="application/vnd.openxmlformats-officedocument.drawingml.chart+xml"/>
  <Override PartName="/ppt/tags/tag276.xml" ContentType="application/vnd.openxmlformats-officedocument.presentationml.tags+xml"/>
  <Override PartName="/ppt/charts/chart249.xml" ContentType="application/vnd.openxmlformats-officedocument.drawingml.chart+xml"/>
  <Override PartName="/ppt/tags/tag277.xml" ContentType="application/vnd.openxmlformats-officedocument.presentationml.tags+xml"/>
  <Override PartName="/ppt/charts/chart250.xml" ContentType="application/vnd.openxmlformats-officedocument.drawingml.chart+xml"/>
  <Override PartName="/ppt/tags/tag278.xml" ContentType="application/vnd.openxmlformats-officedocument.presentationml.tags+xml"/>
  <Override PartName="/ppt/charts/chart251.xml" ContentType="application/vnd.openxmlformats-officedocument.drawingml.chart+xml"/>
  <Override PartName="/ppt/tags/tag279.xml" ContentType="application/vnd.openxmlformats-officedocument.presentationml.tags+xml"/>
  <Override PartName="/ppt/charts/chart252.xml" ContentType="application/vnd.openxmlformats-officedocument.drawingml.chart+xml"/>
  <Override PartName="/ppt/tags/tag280.xml" ContentType="application/vnd.openxmlformats-officedocument.presentationml.tags+xml"/>
  <Override PartName="/ppt/charts/chart253.xml" ContentType="application/vnd.openxmlformats-officedocument.drawingml.chart+xml"/>
  <Override PartName="/ppt/tags/tag281.xml" ContentType="application/vnd.openxmlformats-officedocument.presentationml.tags+xml"/>
  <Override PartName="/ppt/charts/chart254.xml" ContentType="application/vnd.openxmlformats-officedocument.drawingml.chart+xml"/>
  <Override PartName="/ppt/tags/tag282.xml" ContentType="application/vnd.openxmlformats-officedocument.presentationml.tags+xml"/>
  <Override PartName="/ppt/charts/chart255.xml" ContentType="application/vnd.openxmlformats-officedocument.drawingml.chart+xml"/>
  <Override PartName="/ppt/tags/tag283.xml" ContentType="application/vnd.openxmlformats-officedocument.presentationml.tags+xml"/>
  <Override PartName="/ppt/charts/chart256.xml" ContentType="application/vnd.openxmlformats-officedocument.drawingml.chart+xml"/>
  <Override PartName="/ppt/tags/tag284.xml" ContentType="application/vnd.openxmlformats-officedocument.presentationml.tags+xml"/>
  <Override PartName="/ppt/charts/chart257.xml" ContentType="application/vnd.openxmlformats-officedocument.drawingml.chart+xml"/>
  <Override PartName="/ppt/tags/tag285.xml" ContentType="application/vnd.openxmlformats-officedocument.presentationml.tags+xml"/>
  <Override PartName="/ppt/charts/chart258.xml" ContentType="application/vnd.openxmlformats-officedocument.drawingml.chart+xml"/>
  <Override PartName="/ppt/tags/tag286.xml" ContentType="application/vnd.openxmlformats-officedocument.presentationml.tags+xml"/>
  <Override PartName="/ppt/charts/chart259.xml" ContentType="application/vnd.openxmlformats-officedocument.drawingml.chart+xml"/>
  <Override PartName="/ppt/tags/tag287.xml" ContentType="application/vnd.openxmlformats-officedocument.presentationml.tags+xml"/>
  <Override PartName="/ppt/charts/chart260.xml" ContentType="application/vnd.openxmlformats-officedocument.drawingml.chart+xml"/>
  <Override PartName="/ppt/tags/tag288.xml" ContentType="application/vnd.openxmlformats-officedocument.presentationml.tags+xml"/>
  <Override PartName="/ppt/charts/chart261.xml" ContentType="application/vnd.openxmlformats-officedocument.drawingml.chart+xml"/>
  <Override PartName="/ppt/tags/tag289.xml" ContentType="application/vnd.openxmlformats-officedocument.presentationml.tags+xml"/>
  <Override PartName="/ppt/charts/chart262.xml" ContentType="application/vnd.openxmlformats-officedocument.drawingml.chart+xml"/>
  <Override PartName="/ppt/tags/tag290.xml" ContentType="application/vnd.openxmlformats-officedocument.presentationml.tags+xml"/>
  <Override PartName="/ppt/charts/chart263.xml" ContentType="application/vnd.openxmlformats-officedocument.drawingml.chart+xml"/>
  <Override PartName="/ppt/tags/tag291.xml" ContentType="application/vnd.openxmlformats-officedocument.presentationml.tags+xml"/>
  <Override PartName="/ppt/charts/chart264.xml" ContentType="application/vnd.openxmlformats-officedocument.drawingml.chart+xml"/>
  <Override PartName="/ppt/tags/tag292.xml" ContentType="application/vnd.openxmlformats-officedocument.presentationml.tags+xml"/>
  <Override PartName="/ppt/charts/chart265.xml" ContentType="application/vnd.openxmlformats-officedocument.drawingml.chart+xml"/>
  <Override PartName="/ppt/tags/tag293.xml" ContentType="application/vnd.openxmlformats-officedocument.presentationml.tags+xml"/>
  <Override PartName="/ppt/charts/chart266.xml" ContentType="application/vnd.openxmlformats-officedocument.drawingml.chart+xml"/>
  <Override PartName="/ppt/tags/tag294.xml" ContentType="application/vnd.openxmlformats-officedocument.presentationml.tags+xml"/>
  <Override PartName="/ppt/charts/chart267.xml" ContentType="application/vnd.openxmlformats-officedocument.drawingml.chart+xml"/>
  <Override PartName="/ppt/tags/tag295.xml" ContentType="application/vnd.openxmlformats-officedocument.presentationml.tags+xml"/>
  <Override PartName="/ppt/charts/chart268.xml" ContentType="application/vnd.openxmlformats-officedocument.drawingml.chart+xml"/>
  <Override PartName="/ppt/tags/tag296.xml" ContentType="application/vnd.openxmlformats-officedocument.presentationml.tags+xml"/>
  <Override PartName="/ppt/charts/chart269.xml" ContentType="application/vnd.openxmlformats-officedocument.drawingml.chart+xml"/>
  <Override PartName="/ppt/tags/tag297.xml" ContentType="application/vnd.openxmlformats-officedocument.presentationml.tags+xml"/>
  <Override PartName="/ppt/charts/chart270.xml" ContentType="application/vnd.openxmlformats-officedocument.drawingml.chart+xml"/>
  <Override PartName="/ppt/tags/tag298.xml" ContentType="application/vnd.openxmlformats-officedocument.presentationml.tags+xml"/>
  <Override PartName="/ppt/charts/chart271.xml" ContentType="application/vnd.openxmlformats-officedocument.drawingml.chart+xml"/>
  <Override PartName="/ppt/tags/tag299.xml" ContentType="application/vnd.openxmlformats-officedocument.presentationml.tags+xml"/>
  <Override PartName="/ppt/charts/chart272.xml" ContentType="application/vnd.openxmlformats-officedocument.drawingml.chart+xml"/>
  <Override PartName="/ppt/tags/tag300.xml" ContentType="application/vnd.openxmlformats-officedocument.presentationml.tags+xml"/>
  <Override PartName="/ppt/charts/chart273.xml" ContentType="application/vnd.openxmlformats-officedocument.drawingml.chart+xml"/>
  <Override PartName="/ppt/tags/tag301.xml" ContentType="application/vnd.openxmlformats-officedocument.presentationml.tags+xml"/>
  <Override PartName="/ppt/charts/chart274.xml" ContentType="application/vnd.openxmlformats-officedocument.drawingml.chart+xml"/>
  <Override PartName="/ppt/tags/tag302.xml" ContentType="application/vnd.openxmlformats-officedocument.presentationml.tags+xml"/>
  <Override PartName="/ppt/charts/chart275.xml" ContentType="application/vnd.openxmlformats-officedocument.drawingml.chart+xml"/>
  <Override PartName="/ppt/tags/tag303.xml" ContentType="application/vnd.openxmlformats-officedocument.presentationml.tags+xml"/>
  <Override PartName="/ppt/charts/chart276.xml" ContentType="application/vnd.openxmlformats-officedocument.drawingml.chart+xml"/>
  <Override PartName="/ppt/tags/tag304.xml" ContentType="application/vnd.openxmlformats-officedocument.presentationml.tags+xml"/>
  <Override PartName="/ppt/charts/chart277.xml" ContentType="application/vnd.openxmlformats-officedocument.drawingml.chart+xml"/>
  <Override PartName="/ppt/tags/tag305.xml" ContentType="application/vnd.openxmlformats-officedocument.presentationml.tags+xml"/>
  <Override PartName="/ppt/charts/chart278.xml" ContentType="application/vnd.openxmlformats-officedocument.drawingml.chart+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notesSlides/notesSlide1.xml" ContentType="application/vnd.openxmlformats-officedocument.presentationml.notesSlide+xml"/>
  <Override PartName="/ppt/charts/chart279.xml" ContentType="application/vnd.openxmlformats-officedocument.drawingml.chart+xml"/>
  <Override PartName="/ppt/tags/tag363.xml" ContentType="application/vnd.openxmlformats-officedocument.presentationml.tags+xml"/>
  <Override PartName="/ppt/notesSlides/notesSlide2.xml" ContentType="application/vnd.openxmlformats-officedocument.presentationml.notesSlide+xml"/>
  <Override PartName="/ppt/charts/chart280.xml" ContentType="application/vnd.openxmlformats-officedocument.drawingml.chart+xml"/>
  <Override PartName="/ppt/tags/tag364.xml" ContentType="application/vnd.openxmlformats-officedocument.presentationml.tags+xml"/>
  <Override PartName="/ppt/notesSlides/notesSlide3.xml" ContentType="application/vnd.openxmlformats-officedocument.presentationml.notesSlide+xml"/>
  <Override PartName="/ppt/charts/chart281.xml" ContentType="application/vnd.openxmlformats-officedocument.drawingml.chart+xml"/>
  <Override PartName="/ppt/tags/tag365.xml" ContentType="application/vnd.openxmlformats-officedocument.presentationml.tags+xml"/>
  <Override PartName="/ppt/notesSlides/notesSlide4.xml" ContentType="application/vnd.openxmlformats-officedocument.presentationml.notesSlide+xml"/>
  <Override PartName="/ppt/charts/chart282.xml" ContentType="application/vnd.openxmlformats-officedocument.drawingml.chart+xml"/>
  <Override PartName="/ppt/tags/tag366.xml" ContentType="application/vnd.openxmlformats-officedocument.presentationml.tags+xml"/>
  <Override PartName="/ppt/notesSlides/notesSlide5.xml" ContentType="application/vnd.openxmlformats-officedocument.presentationml.notesSlide+xml"/>
  <Override PartName="/ppt/charts/chart283.xml" ContentType="application/vnd.openxmlformats-officedocument.drawingml.chart+xml"/>
  <Override PartName="/ppt/tags/tag367.xml" ContentType="application/vnd.openxmlformats-officedocument.presentationml.tags+xml"/>
  <Override PartName="/ppt/notesSlides/notesSlide6.xml" ContentType="application/vnd.openxmlformats-officedocument.presentationml.notesSlide+xml"/>
  <Override PartName="/ppt/charts/chart284.xml" ContentType="application/vnd.openxmlformats-officedocument.drawingml.chart+xml"/>
  <Override PartName="/ppt/tags/tag368.xml" ContentType="application/vnd.openxmlformats-officedocument.presentationml.tags+xml"/>
  <Override PartName="/ppt/notesSlides/notesSlide7.xml" ContentType="application/vnd.openxmlformats-officedocument.presentationml.notesSlide+xml"/>
  <Override PartName="/ppt/charts/chart285.xml" ContentType="application/vnd.openxmlformats-officedocument.drawingml.chart+xml"/>
  <Override PartName="/ppt/tags/tag369.xml" ContentType="application/vnd.openxmlformats-officedocument.presentationml.tags+xml"/>
  <Override PartName="/ppt/notesSlides/notesSlide8.xml" ContentType="application/vnd.openxmlformats-officedocument.presentationml.notesSlide+xml"/>
  <Override PartName="/ppt/charts/chart286.xml" ContentType="application/vnd.openxmlformats-officedocument.drawingml.chart+xml"/>
  <Override PartName="/ppt/tags/tag370.xml" ContentType="application/vnd.openxmlformats-officedocument.presentationml.tags+xml"/>
  <Override PartName="/ppt/notesSlides/notesSlide9.xml" ContentType="application/vnd.openxmlformats-officedocument.presentationml.notesSlide+xml"/>
  <Override PartName="/ppt/charts/chart287.xml" ContentType="application/vnd.openxmlformats-officedocument.drawingml.chart+xml"/>
  <Override PartName="/ppt/tags/tag371.xml" ContentType="application/vnd.openxmlformats-officedocument.presentationml.tags+xml"/>
  <Override PartName="/ppt/notesSlides/notesSlide10.xml" ContentType="application/vnd.openxmlformats-officedocument.presentationml.notesSlide+xml"/>
  <Override PartName="/ppt/charts/chart288.xml" ContentType="application/vnd.openxmlformats-officedocument.drawingml.chart+xml"/>
  <Override PartName="/ppt/tags/tag372.xml" ContentType="application/vnd.openxmlformats-officedocument.presentationml.tags+xml"/>
  <Override PartName="/ppt/notesSlides/notesSlide11.xml" ContentType="application/vnd.openxmlformats-officedocument.presentationml.notesSlide+xml"/>
  <Override PartName="/ppt/charts/chart289.xml" ContentType="application/vnd.openxmlformats-officedocument.drawingml.chart+xml"/>
  <Override PartName="/ppt/tags/tag373.xml" ContentType="application/vnd.openxmlformats-officedocument.presentationml.tags+xml"/>
  <Override PartName="/ppt/notesSlides/notesSlide12.xml" ContentType="application/vnd.openxmlformats-officedocument.presentationml.notesSlide+xml"/>
  <Override PartName="/ppt/charts/chart290.xml" ContentType="application/vnd.openxmlformats-officedocument.drawingml.chart+xml"/>
  <Override PartName="/ppt/tags/tag374.xml" ContentType="application/vnd.openxmlformats-officedocument.presentationml.tags+xml"/>
  <Override PartName="/ppt/notesSlides/notesSlide13.xml" ContentType="application/vnd.openxmlformats-officedocument.presentationml.notesSlide+xml"/>
  <Override PartName="/ppt/charts/chart291.xml" ContentType="application/vnd.openxmlformats-officedocument.drawingml.chart+xml"/>
  <Override PartName="/ppt/tags/tag375.xml" ContentType="application/vnd.openxmlformats-officedocument.presentationml.tags+xml"/>
  <Override PartName="/ppt/notesSlides/notesSlide14.xml" ContentType="application/vnd.openxmlformats-officedocument.presentationml.notesSlide+xml"/>
  <Override PartName="/ppt/charts/chart292.xml" ContentType="application/vnd.openxmlformats-officedocument.drawingml.chart+xml"/>
  <Override PartName="/ppt/tags/tag376.xml" ContentType="application/vnd.openxmlformats-officedocument.presentationml.tags+xml"/>
  <Override PartName="/ppt/notesSlides/notesSlide15.xml" ContentType="application/vnd.openxmlformats-officedocument.presentationml.notesSlide+xml"/>
  <Override PartName="/ppt/charts/chart293.xml" ContentType="application/vnd.openxmlformats-officedocument.drawingml.chart+xml"/>
  <Override PartName="/ppt/tags/tag377.xml" ContentType="application/vnd.openxmlformats-officedocument.presentationml.tags+xml"/>
  <Override PartName="/ppt/notesSlides/notesSlide16.xml" ContentType="application/vnd.openxmlformats-officedocument.presentationml.notesSlide+xml"/>
  <Override PartName="/ppt/charts/chart294.xml" ContentType="application/vnd.openxmlformats-officedocument.drawingml.chart+xml"/>
  <Override PartName="/ppt/tags/tag378.xml" ContentType="application/vnd.openxmlformats-officedocument.presentationml.tags+xml"/>
  <Override PartName="/ppt/notesSlides/notesSlide17.xml" ContentType="application/vnd.openxmlformats-officedocument.presentationml.notesSlide+xml"/>
  <Override PartName="/ppt/charts/chart295.xml" ContentType="application/vnd.openxmlformats-officedocument.drawingml.chart+xml"/>
  <Override PartName="/ppt/tags/tag379.xml" ContentType="application/vnd.openxmlformats-officedocument.presentationml.tags+xml"/>
  <Override PartName="/ppt/notesSlides/notesSlide18.xml" ContentType="application/vnd.openxmlformats-officedocument.presentationml.notesSlide+xml"/>
  <Override PartName="/ppt/charts/chart296.xml" ContentType="application/vnd.openxmlformats-officedocument.drawingml.chart+xml"/>
  <Override PartName="/ppt/tags/tag380.xml" ContentType="application/vnd.openxmlformats-officedocument.presentationml.tags+xml"/>
  <Override PartName="/ppt/notesSlides/notesSlide19.xml" ContentType="application/vnd.openxmlformats-officedocument.presentationml.notesSlide+xml"/>
  <Override PartName="/ppt/charts/chart297.xml" ContentType="application/vnd.openxmlformats-officedocument.drawingml.chart+xml"/>
  <Override PartName="/ppt/tags/tag381.xml" ContentType="application/vnd.openxmlformats-officedocument.presentationml.tags+xml"/>
  <Override PartName="/ppt/notesSlides/notesSlide20.xml" ContentType="application/vnd.openxmlformats-officedocument.presentationml.notesSlide+xml"/>
  <Override PartName="/ppt/charts/chart298.xml" ContentType="application/vnd.openxmlformats-officedocument.drawingml.chart+xml"/>
  <Override PartName="/ppt/tags/tag382.xml" ContentType="application/vnd.openxmlformats-officedocument.presentationml.tags+xml"/>
  <Override PartName="/ppt/notesSlides/notesSlide21.xml" ContentType="application/vnd.openxmlformats-officedocument.presentationml.notesSlide+xml"/>
  <Override PartName="/ppt/charts/chart299.xml" ContentType="application/vnd.openxmlformats-officedocument.drawingml.chart+xml"/>
  <Override PartName="/ppt/tags/tag383.xml" ContentType="application/vnd.openxmlformats-officedocument.presentationml.tags+xml"/>
  <Override PartName="/ppt/notesSlides/notesSlide22.xml" ContentType="application/vnd.openxmlformats-officedocument.presentationml.notesSlide+xml"/>
  <Override PartName="/ppt/charts/chart300.xml" ContentType="application/vnd.openxmlformats-officedocument.drawingml.chart+xml"/>
  <Override PartName="/ppt/tags/tag384.xml" ContentType="application/vnd.openxmlformats-officedocument.presentationml.tags+xml"/>
  <Override PartName="/ppt/notesSlides/notesSlide23.xml" ContentType="application/vnd.openxmlformats-officedocument.presentationml.notesSlide+xml"/>
  <Override PartName="/ppt/charts/chart301.xml" ContentType="application/vnd.openxmlformats-officedocument.drawingml.chart+xml"/>
  <Override PartName="/ppt/tags/tag385.xml" ContentType="application/vnd.openxmlformats-officedocument.presentationml.tags+xml"/>
  <Override PartName="/ppt/notesSlides/notesSlide24.xml" ContentType="application/vnd.openxmlformats-officedocument.presentationml.notesSlide+xml"/>
  <Override PartName="/ppt/charts/chart302.xml" ContentType="application/vnd.openxmlformats-officedocument.drawingml.chart+xml"/>
  <Override PartName="/ppt/tags/tag386.xml" ContentType="application/vnd.openxmlformats-officedocument.presentationml.tags+xml"/>
  <Override PartName="/ppt/notesSlides/notesSlide25.xml" ContentType="application/vnd.openxmlformats-officedocument.presentationml.notesSlide+xml"/>
  <Override PartName="/ppt/charts/chart303.xml" ContentType="application/vnd.openxmlformats-officedocument.drawingml.chart+xml"/>
  <Override PartName="/ppt/tags/tag387.xml" ContentType="application/vnd.openxmlformats-officedocument.presentationml.tags+xml"/>
  <Override PartName="/ppt/notesSlides/notesSlide26.xml" ContentType="application/vnd.openxmlformats-officedocument.presentationml.notesSlide+xml"/>
  <Override PartName="/ppt/charts/chart304.xml" ContentType="application/vnd.openxmlformats-officedocument.drawingml.chart+xml"/>
  <Override PartName="/ppt/tags/tag388.xml" ContentType="application/vnd.openxmlformats-officedocument.presentationml.tags+xml"/>
  <Override PartName="/ppt/notesSlides/notesSlide27.xml" ContentType="application/vnd.openxmlformats-officedocument.presentationml.notesSlide+xml"/>
  <Override PartName="/ppt/charts/chart305.xml" ContentType="application/vnd.openxmlformats-officedocument.drawingml.chart+xml"/>
  <Override PartName="/ppt/tags/tag389.xml" ContentType="application/vnd.openxmlformats-officedocument.presentationml.tags+xml"/>
  <Override PartName="/ppt/notesSlides/notesSlide28.xml" ContentType="application/vnd.openxmlformats-officedocument.presentationml.notesSlide+xml"/>
  <Override PartName="/ppt/charts/chart306.xml" ContentType="application/vnd.openxmlformats-officedocument.drawingml.chart+xml"/>
  <Override PartName="/ppt/tags/tag390.xml" ContentType="application/vnd.openxmlformats-officedocument.presentationml.tags+xml"/>
  <Override PartName="/ppt/notesSlides/notesSlide29.xml" ContentType="application/vnd.openxmlformats-officedocument.presentationml.notesSlide+xml"/>
  <Override PartName="/ppt/charts/chart307.xml" ContentType="application/vnd.openxmlformats-officedocument.drawingml.chart+xml"/>
  <Override PartName="/ppt/tags/tag391.xml" ContentType="application/vnd.openxmlformats-officedocument.presentationml.tags+xml"/>
  <Override PartName="/ppt/notesSlides/notesSlide30.xml" ContentType="application/vnd.openxmlformats-officedocument.presentationml.notesSlide+xml"/>
  <Override PartName="/ppt/charts/chart308.xml" ContentType="application/vnd.openxmlformats-officedocument.drawingml.chart+xml"/>
  <Override PartName="/ppt/tags/tag392.xml" ContentType="application/vnd.openxmlformats-officedocument.presentationml.tags+xml"/>
  <Override PartName="/ppt/notesSlides/notesSlide31.xml" ContentType="application/vnd.openxmlformats-officedocument.presentationml.notesSlide+xml"/>
  <Override PartName="/ppt/charts/chart309.xml" ContentType="application/vnd.openxmlformats-officedocument.drawingml.chart+xml"/>
  <Override PartName="/ppt/tags/tag393.xml" ContentType="application/vnd.openxmlformats-officedocument.presentationml.tags+xml"/>
  <Override PartName="/ppt/notesSlides/notesSlide32.xml" ContentType="application/vnd.openxmlformats-officedocument.presentationml.notesSlide+xml"/>
  <Override PartName="/ppt/charts/chart310.xml" ContentType="application/vnd.openxmlformats-officedocument.drawingml.chart+xml"/>
  <Override PartName="/ppt/tags/tag394.xml" ContentType="application/vnd.openxmlformats-officedocument.presentationml.tags+xml"/>
  <Override PartName="/ppt/notesSlides/notesSlide33.xml" ContentType="application/vnd.openxmlformats-officedocument.presentationml.notesSlide+xml"/>
  <Override PartName="/ppt/charts/chart311.xml" ContentType="application/vnd.openxmlformats-officedocument.drawingml.chart+xml"/>
  <Override PartName="/ppt/tags/tag395.xml" ContentType="application/vnd.openxmlformats-officedocument.presentationml.tags+xml"/>
  <Override PartName="/ppt/notesSlides/notesSlide34.xml" ContentType="application/vnd.openxmlformats-officedocument.presentationml.notesSlide+xml"/>
  <Override PartName="/ppt/charts/chart312.xml" ContentType="application/vnd.openxmlformats-officedocument.drawingml.chart+xml"/>
  <Override PartName="/ppt/tags/tag396.xml" ContentType="application/vnd.openxmlformats-officedocument.presentationml.tags+xml"/>
  <Override PartName="/ppt/notesSlides/notesSlide35.xml" ContentType="application/vnd.openxmlformats-officedocument.presentationml.notesSlide+xml"/>
  <Override PartName="/ppt/charts/chart313.xml" ContentType="application/vnd.openxmlformats-officedocument.drawingml.chart+xml"/>
  <Override PartName="/ppt/tags/tag397.xml" ContentType="application/vnd.openxmlformats-officedocument.presentationml.tags+xml"/>
  <Override PartName="/ppt/notesSlides/notesSlide36.xml" ContentType="application/vnd.openxmlformats-officedocument.presentationml.notesSlide+xml"/>
  <Override PartName="/ppt/charts/chart314.xml" ContentType="application/vnd.openxmlformats-officedocument.drawingml.chart+xml"/>
  <Override PartName="/ppt/tags/tag398.xml" ContentType="application/vnd.openxmlformats-officedocument.presentationml.tags+xml"/>
  <Override PartName="/ppt/notesSlides/notesSlide37.xml" ContentType="application/vnd.openxmlformats-officedocument.presentationml.notesSlide+xml"/>
  <Override PartName="/ppt/charts/chart315.xml" ContentType="application/vnd.openxmlformats-officedocument.drawingml.chart+xml"/>
  <Override PartName="/ppt/tags/tag399.xml" ContentType="application/vnd.openxmlformats-officedocument.presentationml.tags+xml"/>
  <Override PartName="/ppt/notesSlides/notesSlide38.xml" ContentType="application/vnd.openxmlformats-officedocument.presentationml.notesSlide+xml"/>
  <Override PartName="/ppt/charts/chart316.xml" ContentType="application/vnd.openxmlformats-officedocument.drawingml.chart+xml"/>
  <Override PartName="/ppt/tags/tag400.xml" ContentType="application/vnd.openxmlformats-officedocument.presentationml.tags+xml"/>
  <Override PartName="/ppt/notesSlides/notesSlide39.xml" ContentType="application/vnd.openxmlformats-officedocument.presentationml.notesSlide+xml"/>
  <Override PartName="/ppt/charts/chart317.xml" ContentType="application/vnd.openxmlformats-officedocument.drawingml.chart+xml"/>
  <Override PartName="/ppt/tags/tag401.xml" ContentType="application/vnd.openxmlformats-officedocument.presentationml.tags+xml"/>
  <Override PartName="/ppt/notesSlides/notesSlide40.xml" ContentType="application/vnd.openxmlformats-officedocument.presentationml.notesSlide+xml"/>
  <Override PartName="/ppt/charts/chart318.xml" ContentType="application/vnd.openxmlformats-officedocument.drawingml.chart+xml"/>
  <Override PartName="/ppt/tags/tag402.xml" ContentType="application/vnd.openxmlformats-officedocument.presentationml.tags+xml"/>
  <Override PartName="/ppt/notesSlides/notesSlide41.xml" ContentType="application/vnd.openxmlformats-officedocument.presentationml.notesSlide+xml"/>
  <Override PartName="/ppt/charts/chart319.xml" ContentType="application/vnd.openxmlformats-officedocument.drawingml.chart+xml"/>
  <Override PartName="/ppt/tags/tag403.xml" ContentType="application/vnd.openxmlformats-officedocument.presentationml.tags+xml"/>
  <Override PartName="/ppt/notesSlides/notesSlide42.xml" ContentType="application/vnd.openxmlformats-officedocument.presentationml.notesSlide+xml"/>
  <Override PartName="/ppt/charts/chart320.xml" ContentType="application/vnd.openxmlformats-officedocument.drawingml.chart+xml"/>
  <Override PartName="/ppt/tags/tag404.xml" ContentType="application/vnd.openxmlformats-officedocument.presentationml.tags+xml"/>
  <Override PartName="/ppt/notesSlides/notesSlide43.xml" ContentType="application/vnd.openxmlformats-officedocument.presentationml.notesSlide+xml"/>
  <Override PartName="/ppt/charts/chart321.xml" ContentType="application/vnd.openxmlformats-officedocument.drawingml.chart+xml"/>
  <Override PartName="/ppt/tags/tag405.xml" ContentType="application/vnd.openxmlformats-officedocument.presentationml.tags+xml"/>
  <Override PartName="/ppt/notesSlides/notesSlide44.xml" ContentType="application/vnd.openxmlformats-officedocument.presentationml.notesSlide+xml"/>
  <Override PartName="/ppt/charts/chart322.xml" ContentType="application/vnd.openxmlformats-officedocument.drawingml.chart+xml"/>
  <Override PartName="/ppt/tags/tag406.xml" ContentType="application/vnd.openxmlformats-officedocument.presentationml.tags+xml"/>
  <Override PartName="/ppt/notesSlides/notesSlide45.xml" ContentType="application/vnd.openxmlformats-officedocument.presentationml.notesSlide+xml"/>
  <Override PartName="/ppt/charts/chart323.xml" ContentType="application/vnd.openxmlformats-officedocument.drawingml.chart+xml"/>
  <Override PartName="/ppt/tags/tag407.xml" ContentType="application/vnd.openxmlformats-officedocument.presentationml.tags+xml"/>
  <Override PartName="/ppt/notesSlides/notesSlide46.xml" ContentType="application/vnd.openxmlformats-officedocument.presentationml.notesSlide+xml"/>
  <Override PartName="/ppt/charts/chart324.xml" ContentType="application/vnd.openxmlformats-officedocument.drawingml.chart+xml"/>
  <Override PartName="/ppt/tags/tag408.xml" ContentType="application/vnd.openxmlformats-officedocument.presentationml.tags+xml"/>
  <Override PartName="/ppt/notesSlides/notesSlide47.xml" ContentType="application/vnd.openxmlformats-officedocument.presentationml.notesSlide+xml"/>
  <Override PartName="/ppt/charts/chart325.xml" ContentType="application/vnd.openxmlformats-officedocument.drawingml.chart+xml"/>
  <Override PartName="/ppt/tags/tag409.xml" ContentType="application/vnd.openxmlformats-officedocument.presentationml.tags+xml"/>
  <Override PartName="/ppt/notesSlides/notesSlide48.xml" ContentType="application/vnd.openxmlformats-officedocument.presentationml.notesSlide+xml"/>
  <Override PartName="/ppt/charts/chart326.xml" ContentType="application/vnd.openxmlformats-officedocument.drawingml.chart+xml"/>
  <Override PartName="/ppt/tags/tag410.xml" ContentType="application/vnd.openxmlformats-officedocument.presentationml.tags+xml"/>
  <Override PartName="/ppt/notesSlides/notesSlide49.xml" ContentType="application/vnd.openxmlformats-officedocument.presentationml.notesSlide+xml"/>
  <Override PartName="/ppt/charts/chart327.xml" ContentType="application/vnd.openxmlformats-officedocument.drawingml.chart+xml"/>
  <Override PartName="/ppt/tags/tag411.xml" ContentType="application/vnd.openxmlformats-officedocument.presentationml.tags+xml"/>
  <Override PartName="/ppt/notesSlides/notesSlide50.xml" ContentType="application/vnd.openxmlformats-officedocument.presentationml.notesSlide+xml"/>
  <Override PartName="/ppt/charts/chart328.xml" ContentType="application/vnd.openxmlformats-officedocument.drawingml.chart+xml"/>
  <Override PartName="/ppt/tags/tag412.xml" ContentType="application/vnd.openxmlformats-officedocument.presentationml.tags+xml"/>
  <Override PartName="/ppt/notesSlides/notesSlide51.xml" ContentType="application/vnd.openxmlformats-officedocument.presentationml.notesSlide+xml"/>
  <Override PartName="/ppt/charts/chart329.xml" ContentType="application/vnd.openxmlformats-officedocument.drawingml.chart+xml"/>
  <Override PartName="/ppt/tags/tag413.xml" ContentType="application/vnd.openxmlformats-officedocument.presentationml.tags+xml"/>
  <Override PartName="/ppt/notesSlides/notesSlide52.xml" ContentType="application/vnd.openxmlformats-officedocument.presentationml.notesSlide+xml"/>
  <Override PartName="/ppt/charts/chart330.xml" ContentType="application/vnd.openxmlformats-officedocument.drawingml.chart+xml"/>
  <Override PartName="/ppt/tags/tag414.xml" ContentType="application/vnd.openxmlformats-officedocument.presentationml.tags+xml"/>
  <Override PartName="/ppt/notesSlides/notesSlide53.xml" ContentType="application/vnd.openxmlformats-officedocument.presentationml.notesSlide+xml"/>
  <Override PartName="/ppt/charts/chart331.xml" ContentType="application/vnd.openxmlformats-officedocument.drawingml.chart+xml"/>
  <Override PartName="/ppt/tags/tag415.xml" ContentType="application/vnd.openxmlformats-officedocument.presentationml.tags+xml"/>
  <Override PartName="/ppt/notesSlides/notesSlide54.xml" ContentType="application/vnd.openxmlformats-officedocument.presentationml.notesSlide+xml"/>
  <Override PartName="/ppt/charts/chart332.xml" ContentType="application/vnd.openxmlformats-officedocument.drawingml.chart+xml"/>
  <Override PartName="/ppt/tags/tag416.xml" ContentType="application/vnd.openxmlformats-officedocument.presentationml.tags+xml"/>
  <Override PartName="/ppt/notesSlides/notesSlide55.xml" ContentType="application/vnd.openxmlformats-officedocument.presentationml.notesSlide+xml"/>
  <Override PartName="/ppt/charts/chart333.xml" ContentType="application/vnd.openxmlformats-officedocument.drawingml.chart+xml"/>
  <Override PartName="/ppt/tags/tag417.xml" ContentType="application/vnd.openxmlformats-officedocument.presentationml.tags+xml"/>
  <Override PartName="/ppt/notesSlides/notesSlide56.xml" ContentType="application/vnd.openxmlformats-officedocument.presentationml.notesSlide+xml"/>
  <Override PartName="/ppt/charts/chart334.xml" ContentType="application/vnd.openxmlformats-officedocument.drawingml.chart+xml"/>
  <Override PartName="/ppt/tags/tag418.xml" ContentType="application/vnd.openxmlformats-officedocument.presentationml.tags+xml"/>
  <Override PartName="/ppt/notesSlides/notesSlide57.xml" ContentType="application/vnd.openxmlformats-officedocument.presentationml.notesSlide+xml"/>
  <Override PartName="/ppt/charts/chart335.xml" ContentType="application/vnd.openxmlformats-officedocument.drawingml.chart+xml"/>
  <Override PartName="/ppt/tags/tag419.xml" ContentType="application/vnd.openxmlformats-officedocument.presentationml.tags+xml"/>
  <Override PartName="/ppt/notesSlides/notesSlide58.xml" ContentType="application/vnd.openxmlformats-officedocument.presentationml.notesSlide+xml"/>
  <Override PartName="/ppt/charts/chart336.xml" ContentType="application/vnd.openxmlformats-officedocument.drawingml.chart+xml"/>
  <Override PartName="/ppt/tags/tag420.xml" ContentType="application/vnd.openxmlformats-officedocument.presentationml.tags+xml"/>
  <Override PartName="/ppt/notesSlides/notesSlide59.xml" ContentType="application/vnd.openxmlformats-officedocument.presentationml.notesSlide+xml"/>
  <Override PartName="/ppt/charts/chart337.xml" ContentType="application/vnd.openxmlformats-officedocument.drawingml.chart+xml"/>
  <Override PartName="/ppt/tags/tag421.xml" ContentType="application/vnd.openxmlformats-officedocument.presentationml.tags+xml"/>
  <Override PartName="/ppt/notesSlides/notesSlide60.xml" ContentType="application/vnd.openxmlformats-officedocument.presentationml.notesSlide+xml"/>
  <Override PartName="/ppt/charts/chart338.xml" ContentType="application/vnd.openxmlformats-officedocument.drawingml.chart+xml"/>
  <Override PartName="/ppt/tags/tag422.xml" ContentType="application/vnd.openxmlformats-officedocument.presentationml.tags+xml"/>
  <Override PartName="/ppt/notesSlides/notesSlide61.xml" ContentType="application/vnd.openxmlformats-officedocument.presentationml.notesSlide+xml"/>
  <Override PartName="/ppt/charts/chart339.xml" ContentType="application/vnd.openxmlformats-officedocument.drawingml.chart+xml"/>
  <Override PartName="/ppt/tags/tag423.xml" ContentType="application/vnd.openxmlformats-officedocument.presentationml.tags+xml"/>
  <Override PartName="/ppt/notesSlides/notesSlide62.xml" ContentType="application/vnd.openxmlformats-officedocument.presentationml.notesSlide+xml"/>
  <Override PartName="/ppt/charts/chart340.xml" ContentType="application/vnd.openxmlformats-officedocument.drawingml.chart+xml"/>
  <Override PartName="/ppt/tags/tag424.xml" ContentType="application/vnd.openxmlformats-officedocument.presentationml.tags+xml"/>
  <Override PartName="/ppt/notesSlides/notesSlide63.xml" ContentType="application/vnd.openxmlformats-officedocument.presentationml.notesSlide+xml"/>
  <Override PartName="/ppt/charts/chart341.xml" ContentType="application/vnd.openxmlformats-officedocument.drawingml.chart+xml"/>
  <Override PartName="/ppt/tags/tag425.xml" ContentType="application/vnd.openxmlformats-officedocument.presentationml.tags+xml"/>
  <Override PartName="/ppt/notesSlides/notesSlide64.xml" ContentType="application/vnd.openxmlformats-officedocument.presentationml.notesSlide+xml"/>
  <Override PartName="/ppt/charts/chart342.xml" ContentType="application/vnd.openxmlformats-officedocument.drawingml.chart+xml"/>
  <Override PartName="/ppt/tags/tag426.xml" ContentType="application/vnd.openxmlformats-officedocument.presentationml.tags+xml"/>
  <Override PartName="/ppt/notesSlides/notesSlide65.xml" ContentType="application/vnd.openxmlformats-officedocument.presentationml.notesSlide+xml"/>
  <Override PartName="/ppt/charts/chart343.xml" ContentType="application/vnd.openxmlformats-officedocument.drawingml.chart+xml"/>
  <Override PartName="/ppt/tags/tag427.xml" ContentType="application/vnd.openxmlformats-officedocument.presentationml.tags+xml"/>
  <Override PartName="/ppt/notesSlides/notesSlide66.xml" ContentType="application/vnd.openxmlformats-officedocument.presentationml.notesSlide+xml"/>
  <Override PartName="/ppt/charts/chart344.xml" ContentType="application/vnd.openxmlformats-officedocument.drawingml.chart+xml"/>
  <Override PartName="/ppt/tags/tag428.xml" ContentType="application/vnd.openxmlformats-officedocument.presentationml.tags+xml"/>
  <Override PartName="/ppt/notesSlides/notesSlide67.xml" ContentType="application/vnd.openxmlformats-officedocument.presentationml.notesSlide+xml"/>
  <Override PartName="/ppt/charts/chart345.xml" ContentType="application/vnd.openxmlformats-officedocument.drawingml.chart+xml"/>
  <Override PartName="/ppt/tags/tag429.xml" ContentType="application/vnd.openxmlformats-officedocument.presentationml.tags+xml"/>
  <Override PartName="/ppt/notesSlides/notesSlide68.xml" ContentType="application/vnd.openxmlformats-officedocument.presentationml.notesSlide+xml"/>
  <Override PartName="/ppt/charts/chart346.xml" ContentType="application/vnd.openxmlformats-officedocument.drawingml.chart+xml"/>
  <Override PartName="/ppt/tags/tag430.xml" ContentType="application/vnd.openxmlformats-officedocument.presentationml.tags+xml"/>
  <Override PartName="/ppt/notesSlides/notesSlide69.xml" ContentType="application/vnd.openxmlformats-officedocument.presentationml.notesSlide+xml"/>
  <Override PartName="/ppt/charts/chart347.xml" ContentType="application/vnd.openxmlformats-officedocument.drawingml.chart+xml"/>
  <Override PartName="/ppt/tags/tag431.xml" ContentType="application/vnd.openxmlformats-officedocument.presentationml.tags+xml"/>
  <Override PartName="/ppt/notesSlides/notesSlide70.xml" ContentType="application/vnd.openxmlformats-officedocument.presentationml.notesSlide+xml"/>
  <Override PartName="/ppt/charts/chart348.xml" ContentType="application/vnd.openxmlformats-officedocument.drawingml.chart+xml"/>
  <Override PartName="/ppt/tags/tag432.xml" ContentType="application/vnd.openxmlformats-officedocument.presentationml.tags+xml"/>
  <Override PartName="/ppt/notesSlides/notesSlide71.xml" ContentType="application/vnd.openxmlformats-officedocument.presentationml.notesSlide+xml"/>
  <Override PartName="/ppt/charts/chart349.xml" ContentType="application/vnd.openxmlformats-officedocument.drawingml.chart+xml"/>
  <Override PartName="/ppt/tags/tag433.xml" ContentType="application/vnd.openxmlformats-officedocument.presentationml.tags+xml"/>
  <Override PartName="/ppt/notesSlides/notesSlide72.xml" ContentType="application/vnd.openxmlformats-officedocument.presentationml.notesSlide+xml"/>
  <Override PartName="/ppt/charts/chart350.xml" ContentType="application/vnd.openxmlformats-officedocument.drawingml.chart+xml"/>
  <Override PartName="/ppt/tags/tag434.xml" ContentType="application/vnd.openxmlformats-officedocument.presentationml.tags+xml"/>
  <Override PartName="/ppt/notesSlides/notesSlide73.xml" ContentType="application/vnd.openxmlformats-officedocument.presentationml.notesSlide+xml"/>
  <Override PartName="/ppt/charts/chart351.xml" ContentType="application/vnd.openxmlformats-officedocument.drawingml.chart+xml"/>
  <Override PartName="/ppt/tags/tag435.xml" ContentType="application/vnd.openxmlformats-officedocument.presentationml.tags+xml"/>
  <Override PartName="/ppt/notesSlides/notesSlide74.xml" ContentType="application/vnd.openxmlformats-officedocument.presentationml.notesSlide+xml"/>
  <Override PartName="/ppt/charts/chart352.xml" ContentType="application/vnd.openxmlformats-officedocument.drawingml.chart+xml"/>
  <Override PartName="/ppt/tags/tag436.xml" ContentType="application/vnd.openxmlformats-officedocument.presentationml.tags+xml"/>
  <Override PartName="/ppt/notesSlides/notesSlide75.xml" ContentType="application/vnd.openxmlformats-officedocument.presentationml.notesSlide+xml"/>
  <Override PartName="/ppt/charts/chart353.xml" ContentType="application/vnd.openxmlformats-officedocument.drawingml.chart+xml"/>
  <Override PartName="/ppt/tags/tag437.xml" ContentType="application/vnd.openxmlformats-officedocument.presentationml.tags+xml"/>
  <Override PartName="/ppt/notesSlides/notesSlide76.xml" ContentType="application/vnd.openxmlformats-officedocument.presentationml.notesSlide+xml"/>
  <Override PartName="/ppt/charts/chart354.xml" ContentType="application/vnd.openxmlformats-officedocument.drawingml.chart+xml"/>
  <Override PartName="/ppt/tags/tag438.xml" ContentType="application/vnd.openxmlformats-officedocument.presentationml.tags+xml"/>
  <Override PartName="/ppt/notesSlides/notesSlide77.xml" ContentType="application/vnd.openxmlformats-officedocument.presentationml.notesSlide+xml"/>
  <Override PartName="/ppt/charts/chart355.xml" ContentType="application/vnd.openxmlformats-officedocument.drawingml.chart+xml"/>
  <Override PartName="/ppt/tags/tag439.xml" ContentType="application/vnd.openxmlformats-officedocument.presentationml.tags+xml"/>
  <Override PartName="/ppt/notesSlides/notesSlide78.xml" ContentType="application/vnd.openxmlformats-officedocument.presentationml.notesSlide+xml"/>
  <Override PartName="/ppt/charts/chart356.xml" ContentType="application/vnd.openxmlformats-officedocument.drawingml.chart+xml"/>
  <Override PartName="/ppt/tags/tag440.xml" ContentType="application/vnd.openxmlformats-officedocument.presentationml.tags+xml"/>
  <Override PartName="/ppt/notesSlides/notesSlide79.xml" ContentType="application/vnd.openxmlformats-officedocument.presentationml.notesSlide+xml"/>
  <Override PartName="/ppt/charts/chart357.xml" ContentType="application/vnd.openxmlformats-officedocument.drawingml.chart+xml"/>
  <Override PartName="/ppt/tags/tag441.xml" ContentType="application/vnd.openxmlformats-officedocument.presentationml.tags+xml"/>
  <Override PartName="/ppt/notesSlides/notesSlide80.xml" ContentType="application/vnd.openxmlformats-officedocument.presentationml.notesSlide+xml"/>
  <Override PartName="/ppt/charts/chart358.xml" ContentType="application/vnd.openxmlformats-officedocument.drawingml.chart+xml"/>
  <Override PartName="/ppt/tags/tag442.xml" ContentType="application/vnd.openxmlformats-officedocument.presentationml.tags+xml"/>
  <Override PartName="/ppt/notesSlides/notesSlide81.xml" ContentType="application/vnd.openxmlformats-officedocument.presentationml.notesSlide+xml"/>
  <Override PartName="/ppt/charts/chart359.xml" ContentType="application/vnd.openxmlformats-officedocument.drawingml.chart+xml"/>
  <Override PartName="/ppt/tags/tag443.xml" ContentType="application/vnd.openxmlformats-officedocument.presentationml.tags+xml"/>
  <Override PartName="/ppt/notesSlides/notesSlide82.xml" ContentType="application/vnd.openxmlformats-officedocument.presentationml.notesSlide+xml"/>
  <Override PartName="/ppt/charts/chart360.xml" ContentType="application/vnd.openxmlformats-officedocument.drawingml.chart+xml"/>
  <Override PartName="/ppt/tags/tag444.xml" ContentType="application/vnd.openxmlformats-officedocument.presentationml.tags+xml"/>
  <Override PartName="/ppt/notesSlides/notesSlide83.xml" ContentType="application/vnd.openxmlformats-officedocument.presentationml.notesSlide+xml"/>
  <Override PartName="/ppt/charts/chart361.xml" ContentType="application/vnd.openxmlformats-officedocument.drawingml.chart+xml"/>
  <Override PartName="/ppt/tags/tag445.xml" ContentType="application/vnd.openxmlformats-officedocument.presentationml.tags+xml"/>
  <Override PartName="/ppt/notesSlides/notesSlide84.xml" ContentType="application/vnd.openxmlformats-officedocument.presentationml.notesSlide+xml"/>
  <Override PartName="/ppt/charts/chart362.xml" ContentType="application/vnd.openxmlformats-officedocument.drawingml.chart+xml"/>
  <Override PartName="/ppt/tags/tag446.xml" ContentType="application/vnd.openxmlformats-officedocument.presentationml.tags+xml"/>
  <Override PartName="/ppt/notesSlides/notesSlide85.xml" ContentType="application/vnd.openxmlformats-officedocument.presentationml.notesSlide+xml"/>
  <Override PartName="/ppt/charts/chart363.xml" ContentType="application/vnd.openxmlformats-officedocument.drawingml.chart+xml"/>
  <Override PartName="/ppt/tags/tag447.xml" ContentType="application/vnd.openxmlformats-officedocument.presentationml.tags+xml"/>
  <Override PartName="/ppt/notesSlides/notesSlide86.xml" ContentType="application/vnd.openxmlformats-officedocument.presentationml.notesSlide+xml"/>
  <Override PartName="/ppt/charts/chart364.xml" ContentType="application/vnd.openxmlformats-officedocument.drawingml.chart+xml"/>
  <Override PartName="/ppt/tags/tag448.xml" ContentType="application/vnd.openxmlformats-officedocument.presentationml.tags+xml"/>
  <Override PartName="/ppt/notesSlides/notesSlide87.xml" ContentType="application/vnd.openxmlformats-officedocument.presentationml.notesSlide+xml"/>
  <Override PartName="/ppt/charts/chart365.xml" ContentType="application/vnd.openxmlformats-officedocument.drawingml.chart+xml"/>
  <Override PartName="/ppt/tags/tag449.xml" ContentType="application/vnd.openxmlformats-officedocument.presentationml.tags+xml"/>
  <Override PartName="/ppt/notesSlides/notesSlide88.xml" ContentType="application/vnd.openxmlformats-officedocument.presentationml.notesSlide+xml"/>
  <Override PartName="/ppt/charts/chart366.xml" ContentType="application/vnd.openxmlformats-officedocument.drawingml.chart+xml"/>
  <Override PartName="/ppt/tags/tag450.xml" ContentType="application/vnd.openxmlformats-officedocument.presentationml.tags+xml"/>
  <Override PartName="/ppt/notesSlides/notesSlide89.xml" ContentType="application/vnd.openxmlformats-officedocument.presentationml.notesSlide+xml"/>
  <Override PartName="/ppt/charts/chart367.xml" ContentType="application/vnd.openxmlformats-officedocument.drawingml.chart+xml"/>
  <Override PartName="/ppt/tags/tag451.xml" ContentType="application/vnd.openxmlformats-officedocument.presentationml.tags+xml"/>
  <Override PartName="/ppt/notesSlides/notesSlide90.xml" ContentType="application/vnd.openxmlformats-officedocument.presentationml.notesSlide+xml"/>
  <Override PartName="/ppt/charts/chart368.xml" ContentType="application/vnd.openxmlformats-officedocument.drawingml.chart+xml"/>
  <Override PartName="/ppt/tags/tag452.xml" ContentType="application/vnd.openxmlformats-officedocument.presentationml.tags+xml"/>
  <Override PartName="/ppt/notesSlides/notesSlide91.xml" ContentType="application/vnd.openxmlformats-officedocument.presentationml.notesSlide+xml"/>
  <Override PartName="/ppt/charts/chart369.xml" ContentType="application/vnd.openxmlformats-officedocument.drawingml.chart+xml"/>
  <Override PartName="/ppt/tags/tag453.xml" ContentType="application/vnd.openxmlformats-officedocument.presentationml.tags+xml"/>
  <Override PartName="/ppt/notesSlides/notesSlide92.xml" ContentType="application/vnd.openxmlformats-officedocument.presentationml.notesSlide+xml"/>
  <Override PartName="/ppt/charts/chart370.xml" ContentType="application/vnd.openxmlformats-officedocument.drawingml.chart+xml"/>
  <Override PartName="/ppt/tags/tag454.xml" ContentType="application/vnd.openxmlformats-officedocument.presentationml.tags+xml"/>
  <Override PartName="/ppt/notesSlides/notesSlide93.xml" ContentType="application/vnd.openxmlformats-officedocument.presentationml.notesSlide+xml"/>
  <Override PartName="/ppt/charts/chart371.xml" ContentType="application/vnd.openxmlformats-officedocument.drawingml.chart+xml"/>
  <Override PartName="/ppt/tags/tag455.xml" ContentType="application/vnd.openxmlformats-officedocument.presentationml.tags+xml"/>
  <Override PartName="/ppt/notesSlides/notesSlide94.xml" ContentType="application/vnd.openxmlformats-officedocument.presentationml.notesSlide+xml"/>
  <Override PartName="/ppt/charts/chart372.xml" ContentType="application/vnd.openxmlformats-officedocument.drawingml.chart+xml"/>
  <Override PartName="/ppt/tags/tag456.xml" ContentType="application/vnd.openxmlformats-officedocument.presentationml.tags+xml"/>
  <Override PartName="/ppt/notesSlides/notesSlide95.xml" ContentType="application/vnd.openxmlformats-officedocument.presentationml.notesSlide+xml"/>
  <Override PartName="/ppt/charts/chart373.xml" ContentType="application/vnd.openxmlformats-officedocument.drawingml.chart+xml"/>
  <Override PartName="/ppt/tags/tag457.xml" ContentType="application/vnd.openxmlformats-officedocument.presentationml.tags+xml"/>
  <Override PartName="/ppt/notesSlides/notesSlide96.xml" ContentType="application/vnd.openxmlformats-officedocument.presentationml.notesSlide+xml"/>
  <Override PartName="/ppt/charts/chart374.xml" ContentType="application/vnd.openxmlformats-officedocument.drawingml.chart+xml"/>
  <Override PartName="/ppt/tags/tag458.xml" ContentType="application/vnd.openxmlformats-officedocument.presentationml.tags+xml"/>
  <Override PartName="/ppt/notesSlides/notesSlide97.xml" ContentType="application/vnd.openxmlformats-officedocument.presentationml.notesSlide+xml"/>
  <Override PartName="/ppt/charts/chart375.xml" ContentType="application/vnd.openxmlformats-officedocument.drawingml.chart+xml"/>
  <Override PartName="/ppt/tags/tag459.xml" ContentType="application/vnd.openxmlformats-officedocument.presentationml.tags+xml"/>
  <Override PartName="/ppt/notesSlides/notesSlide98.xml" ContentType="application/vnd.openxmlformats-officedocument.presentationml.notesSlide+xml"/>
  <Override PartName="/ppt/charts/chart376.xml" ContentType="application/vnd.openxmlformats-officedocument.drawingml.chart+xml"/>
  <Override PartName="/ppt/tags/tag460.xml" ContentType="application/vnd.openxmlformats-officedocument.presentationml.tags+xml"/>
  <Override PartName="/ppt/notesSlides/notesSlide99.xml" ContentType="application/vnd.openxmlformats-officedocument.presentationml.notesSlide+xml"/>
  <Override PartName="/ppt/charts/chart377.xml" ContentType="application/vnd.openxmlformats-officedocument.drawingml.chart+xml"/>
  <Override PartName="/ppt/tags/tag461.xml" ContentType="application/vnd.openxmlformats-officedocument.presentationml.tags+xml"/>
  <Override PartName="/ppt/notesSlides/notesSlide100.xml" ContentType="application/vnd.openxmlformats-officedocument.presentationml.notesSlide+xml"/>
  <Override PartName="/ppt/charts/chart378.xml" ContentType="application/vnd.openxmlformats-officedocument.drawingml.chart+xml"/>
  <Override PartName="/ppt/tags/tag462.xml" ContentType="application/vnd.openxmlformats-officedocument.presentationml.tags+xml"/>
  <Override PartName="/ppt/notesSlides/notesSlide101.xml" ContentType="application/vnd.openxmlformats-officedocument.presentationml.notesSlide+xml"/>
  <Override PartName="/ppt/charts/chart379.xml" ContentType="application/vnd.openxmlformats-officedocument.drawingml.chart+xml"/>
  <Override PartName="/ppt/tags/tag463.xml" ContentType="application/vnd.openxmlformats-officedocument.presentationml.tags+xml"/>
  <Override PartName="/ppt/notesSlides/notesSlide102.xml" ContentType="application/vnd.openxmlformats-officedocument.presentationml.notesSlide+xml"/>
  <Override PartName="/ppt/charts/chart380.xml" ContentType="application/vnd.openxmlformats-officedocument.drawingml.chart+xml"/>
  <Override PartName="/ppt/tags/tag464.xml" ContentType="application/vnd.openxmlformats-officedocument.presentationml.tags+xml"/>
  <Override PartName="/ppt/notesSlides/notesSlide103.xml" ContentType="application/vnd.openxmlformats-officedocument.presentationml.notesSlide+xml"/>
  <Override PartName="/ppt/charts/chart381.xml" ContentType="application/vnd.openxmlformats-officedocument.drawingml.chart+xml"/>
  <Override PartName="/ppt/tags/tag465.xml" ContentType="application/vnd.openxmlformats-officedocument.presentationml.tags+xml"/>
  <Override PartName="/ppt/notesSlides/notesSlide104.xml" ContentType="application/vnd.openxmlformats-officedocument.presentationml.notesSlide+xml"/>
  <Override PartName="/ppt/charts/chart382.xml" ContentType="application/vnd.openxmlformats-officedocument.drawingml.chart+xml"/>
  <Override PartName="/ppt/tags/tag466.xml" ContentType="application/vnd.openxmlformats-officedocument.presentationml.tags+xml"/>
  <Override PartName="/ppt/notesSlides/notesSlide105.xml" ContentType="application/vnd.openxmlformats-officedocument.presentationml.notesSlide+xml"/>
  <Override PartName="/ppt/charts/chart383.xml" ContentType="application/vnd.openxmlformats-officedocument.drawingml.chart+xml"/>
  <Override PartName="/ppt/tags/tag467.xml" ContentType="application/vnd.openxmlformats-officedocument.presentationml.tags+xml"/>
  <Override PartName="/ppt/notesSlides/notesSlide106.xml" ContentType="application/vnd.openxmlformats-officedocument.presentationml.notesSlide+xml"/>
  <Override PartName="/ppt/charts/chart384.xml" ContentType="application/vnd.openxmlformats-officedocument.drawingml.chart+xml"/>
  <Override PartName="/ppt/tags/tag468.xml" ContentType="application/vnd.openxmlformats-officedocument.presentationml.tags+xml"/>
  <Override PartName="/ppt/notesSlides/notesSlide107.xml" ContentType="application/vnd.openxmlformats-officedocument.presentationml.notesSlide+xml"/>
  <Override PartName="/ppt/charts/chart385.xml" ContentType="application/vnd.openxmlformats-officedocument.drawingml.chart+xml"/>
  <Override PartName="/ppt/tags/tag469.xml" ContentType="application/vnd.openxmlformats-officedocument.presentationml.tags+xml"/>
  <Override PartName="/ppt/notesSlides/notesSlide108.xml" ContentType="application/vnd.openxmlformats-officedocument.presentationml.notesSlide+xml"/>
  <Override PartName="/ppt/charts/chart386.xml" ContentType="application/vnd.openxmlformats-officedocument.drawingml.chart+xml"/>
  <Override PartName="/ppt/tags/tag470.xml" ContentType="application/vnd.openxmlformats-officedocument.presentationml.tags+xml"/>
  <Override PartName="/ppt/charts/chart387.xml" ContentType="application/vnd.openxmlformats-officedocument.drawingml.chart+xml"/>
  <Override PartName="/ppt/tags/tag471.xml" ContentType="application/vnd.openxmlformats-officedocument.presentationml.tags+xml"/>
  <Override PartName="/ppt/charts/chart388.xml" ContentType="application/vnd.openxmlformats-officedocument.drawingml.chart+xml"/>
  <Override PartName="/ppt/tags/tag472.xml" ContentType="application/vnd.openxmlformats-officedocument.presentationml.tags+xml"/>
  <Override PartName="/ppt/charts/chart389.xml" ContentType="application/vnd.openxmlformats-officedocument.drawingml.chart+xml"/>
  <Override PartName="/ppt/tags/tag473.xml" ContentType="application/vnd.openxmlformats-officedocument.presentationml.tags+xml"/>
  <Override PartName="/ppt/charts/chart390.xml" ContentType="application/vnd.openxmlformats-officedocument.drawingml.chart+xml"/>
  <Override PartName="/ppt/tags/tag474.xml" ContentType="application/vnd.openxmlformats-officedocument.presentationml.tags+xml"/>
  <Override PartName="/ppt/charts/chart391.xml" ContentType="application/vnd.openxmlformats-officedocument.drawingml.chart+xml"/>
  <Override PartName="/ppt/tags/tag475.xml" ContentType="application/vnd.openxmlformats-officedocument.presentationml.tags+xml"/>
  <Override PartName="/ppt/charts/chart392.xml" ContentType="application/vnd.openxmlformats-officedocument.drawingml.chart+xml"/>
  <Override PartName="/ppt/tags/tag476.xml" ContentType="application/vnd.openxmlformats-officedocument.presentationml.tags+xml"/>
  <Override PartName="/ppt/charts/chart393.xml" ContentType="application/vnd.openxmlformats-officedocument.drawingml.chart+xml"/>
  <Override PartName="/ppt/tags/tag477.xml" ContentType="application/vnd.openxmlformats-officedocument.presentationml.tags+xml"/>
  <Override PartName="/ppt/charts/chart394.xml" ContentType="application/vnd.openxmlformats-officedocument.drawingml.chart+xml"/>
  <Override PartName="/ppt/tags/tag478.xml" ContentType="application/vnd.openxmlformats-officedocument.presentationml.tags+xml"/>
  <Override PartName="/ppt/charts/chart395.xml" ContentType="application/vnd.openxmlformats-officedocument.drawingml.chart+xml"/>
  <Override PartName="/ppt/tags/tag479.xml" ContentType="application/vnd.openxmlformats-officedocument.presentationml.tags+xml"/>
  <Override PartName="/ppt/charts/chart396.xml" ContentType="application/vnd.openxmlformats-officedocument.drawingml.chart+xml"/>
  <Override PartName="/ppt/tags/tag480.xml" ContentType="application/vnd.openxmlformats-officedocument.presentationml.tags+xml"/>
  <Override PartName="/ppt/charts/chart397.xml" ContentType="application/vnd.openxmlformats-officedocument.drawingml.chart+xml"/>
  <Override PartName="/ppt/tags/tag481.xml" ContentType="application/vnd.openxmlformats-officedocument.presentationml.tags+xml"/>
  <Override PartName="/ppt/charts/chart398.xml" ContentType="application/vnd.openxmlformats-officedocument.drawingml.chart+xml"/>
  <Override PartName="/ppt/tags/tag482.xml" ContentType="application/vnd.openxmlformats-officedocument.presentationml.tags+xml"/>
  <Override PartName="/ppt/charts/chart399.xml" ContentType="application/vnd.openxmlformats-officedocument.drawingml.chart+xml"/>
  <Override PartName="/ppt/tags/tag483.xml" ContentType="application/vnd.openxmlformats-officedocument.presentationml.tags+xml"/>
  <Override PartName="/ppt/charts/chart400.xml" ContentType="application/vnd.openxmlformats-officedocument.drawingml.chart+xml"/>
  <Override PartName="/ppt/tags/tag484.xml" ContentType="application/vnd.openxmlformats-officedocument.presentationml.tags+xml"/>
  <Override PartName="/ppt/charts/chart401.xml" ContentType="application/vnd.openxmlformats-officedocument.drawingml.chart+xml"/>
  <Override PartName="/ppt/tags/tag485.xml" ContentType="application/vnd.openxmlformats-officedocument.presentationml.tags+xml"/>
  <Override PartName="/ppt/charts/chart402.xml" ContentType="application/vnd.openxmlformats-officedocument.drawingml.chart+xml"/>
  <Override PartName="/ppt/tags/tag486.xml" ContentType="application/vnd.openxmlformats-officedocument.presentationml.tags+xml"/>
  <Override PartName="/ppt/charts/chart403.xml" ContentType="application/vnd.openxmlformats-officedocument.drawingml.chart+xml"/>
  <Override PartName="/ppt/tags/tag487.xml" ContentType="application/vnd.openxmlformats-officedocument.presentationml.tags+xml"/>
  <Override PartName="/ppt/charts/chart404.xml" ContentType="application/vnd.openxmlformats-officedocument.drawingml.chart+xml"/>
  <Override PartName="/ppt/tags/tag488.xml" ContentType="application/vnd.openxmlformats-officedocument.presentationml.tags+xml"/>
  <Override PartName="/ppt/charts/chart405.xml" ContentType="application/vnd.openxmlformats-officedocument.drawingml.chart+xml"/>
  <Override PartName="/ppt/tags/tag489.xml" ContentType="application/vnd.openxmlformats-officedocument.presentationml.tags+xml"/>
  <Override PartName="/ppt/charts/chart406.xml" ContentType="application/vnd.openxmlformats-officedocument.drawingml.chart+xml"/>
  <Override PartName="/ppt/tags/tag490.xml" ContentType="application/vnd.openxmlformats-officedocument.presentationml.tags+xml"/>
  <Override PartName="/ppt/charts/chart407.xml" ContentType="application/vnd.openxmlformats-officedocument.drawingml.chart+xml"/>
  <Override PartName="/ppt/tags/tag491.xml" ContentType="application/vnd.openxmlformats-officedocument.presentationml.tags+xml"/>
  <Override PartName="/ppt/charts/chart408.xml" ContentType="application/vnd.openxmlformats-officedocument.drawingml.chart+xml"/>
  <Override PartName="/ppt/tags/tag492.xml" ContentType="application/vnd.openxmlformats-officedocument.presentationml.tags+xml"/>
  <Override PartName="/ppt/charts/chart409.xml" ContentType="application/vnd.openxmlformats-officedocument.drawingml.chart+xml"/>
  <Override PartName="/ppt/tags/tag493.xml" ContentType="application/vnd.openxmlformats-officedocument.presentationml.tags+xml"/>
  <Override PartName="/ppt/charts/chart410.xml" ContentType="application/vnd.openxmlformats-officedocument.drawingml.chart+xml"/>
  <Override PartName="/ppt/tags/tag494.xml" ContentType="application/vnd.openxmlformats-officedocument.presentationml.tags+xml"/>
  <Override PartName="/ppt/charts/chart411.xml" ContentType="application/vnd.openxmlformats-officedocument.drawingml.chart+xml"/>
  <Override PartName="/ppt/tags/tag495.xml" ContentType="application/vnd.openxmlformats-officedocument.presentationml.tags+xml"/>
  <Override PartName="/ppt/charts/chart412.xml" ContentType="application/vnd.openxmlformats-officedocument.drawingml.chart+xml"/>
  <Override PartName="/ppt/tags/tag496.xml" ContentType="application/vnd.openxmlformats-officedocument.presentationml.tags+xml"/>
  <Override PartName="/ppt/charts/chart413.xml" ContentType="application/vnd.openxmlformats-officedocument.drawingml.chart+xml"/>
  <Override PartName="/ppt/tags/tag497.xml" ContentType="application/vnd.openxmlformats-officedocument.presentationml.tags+xml"/>
  <Override PartName="/ppt/charts/chart414.xml" ContentType="application/vnd.openxmlformats-officedocument.drawingml.chart+xml"/>
  <Override PartName="/ppt/tags/tag498.xml" ContentType="application/vnd.openxmlformats-officedocument.presentationml.tags+xml"/>
  <Override PartName="/ppt/charts/chart415.xml" ContentType="application/vnd.openxmlformats-officedocument.drawingml.chart+xml"/>
  <Override PartName="/ppt/tags/tag499.xml" ContentType="application/vnd.openxmlformats-officedocument.presentationml.tags+xml"/>
  <Override PartName="/ppt/charts/chart416.xml" ContentType="application/vnd.openxmlformats-officedocument.drawingml.chart+xml"/>
  <Override PartName="/ppt/tags/tag500.xml" ContentType="application/vnd.openxmlformats-officedocument.presentationml.tags+xml"/>
  <Override PartName="/ppt/charts/chart417.xml" ContentType="application/vnd.openxmlformats-officedocument.drawingml.chart+xml"/>
  <Override PartName="/ppt/tags/tag501.xml" ContentType="application/vnd.openxmlformats-officedocument.presentationml.tags+xml"/>
  <Override PartName="/ppt/charts/chart418.xml" ContentType="application/vnd.openxmlformats-officedocument.drawingml.chart+xml"/>
  <Override PartName="/ppt/tags/tag502.xml" ContentType="application/vnd.openxmlformats-officedocument.presentationml.tags+xml"/>
  <Override PartName="/ppt/charts/chart419.xml" ContentType="application/vnd.openxmlformats-officedocument.drawingml.chart+xml"/>
  <Override PartName="/ppt/tags/tag503.xml" ContentType="application/vnd.openxmlformats-officedocument.presentationml.tags+xml"/>
  <Override PartName="/ppt/charts/chart420.xml" ContentType="application/vnd.openxmlformats-officedocument.drawingml.chart+xml"/>
  <Override PartName="/ppt/tags/tag504.xml" ContentType="application/vnd.openxmlformats-officedocument.presentationml.tags+xml"/>
  <Override PartName="/ppt/charts/chart421.xml" ContentType="application/vnd.openxmlformats-officedocument.drawingml.chart+xml"/>
  <Override PartName="/ppt/tags/tag505.xml" ContentType="application/vnd.openxmlformats-officedocument.presentationml.tags+xml"/>
  <Override PartName="/ppt/charts/chart422.xml" ContentType="application/vnd.openxmlformats-officedocument.drawingml.chart+xml"/>
  <Override PartName="/ppt/tags/tag506.xml" ContentType="application/vnd.openxmlformats-officedocument.presentationml.tags+xml"/>
  <Override PartName="/ppt/charts/chart423.xml" ContentType="application/vnd.openxmlformats-officedocument.drawingml.chart+xml"/>
  <Override PartName="/ppt/tags/tag507.xml" ContentType="application/vnd.openxmlformats-officedocument.presentationml.tags+xml"/>
  <Override PartName="/ppt/charts/chart424.xml" ContentType="application/vnd.openxmlformats-officedocument.drawingml.chart+xml"/>
  <Override PartName="/ppt/tags/tag508.xml" ContentType="application/vnd.openxmlformats-officedocument.presentationml.tags+xml"/>
  <Override PartName="/ppt/charts/chart425.xml" ContentType="application/vnd.openxmlformats-officedocument.drawingml.chart+xml"/>
  <Override PartName="/ppt/tags/tag509.xml" ContentType="application/vnd.openxmlformats-officedocument.presentationml.tags+xml"/>
  <Override PartName="/ppt/charts/chart426.xml" ContentType="application/vnd.openxmlformats-officedocument.drawingml.chart+xml"/>
  <Override PartName="/ppt/tags/tag510.xml" ContentType="application/vnd.openxmlformats-officedocument.presentationml.tags+xml"/>
  <Override PartName="/ppt/charts/chart427.xml" ContentType="application/vnd.openxmlformats-officedocument.drawingml.chart+xml"/>
  <Override PartName="/ppt/tags/tag511.xml" ContentType="application/vnd.openxmlformats-officedocument.presentationml.tags+xml"/>
  <Override PartName="/ppt/charts/chart428.xml" ContentType="application/vnd.openxmlformats-officedocument.drawingml.chart+xml"/>
  <Override PartName="/ppt/tags/tag512.xml" ContentType="application/vnd.openxmlformats-officedocument.presentationml.tags+xml"/>
  <Override PartName="/ppt/charts/chart429.xml" ContentType="application/vnd.openxmlformats-officedocument.drawingml.chart+xml"/>
  <Override PartName="/ppt/tags/tag513.xml" ContentType="application/vnd.openxmlformats-officedocument.presentationml.tags+xml"/>
  <Override PartName="/ppt/charts/chart430.xml" ContentType="application/vnd.openxmlformats-officedocument.drawingml.chart+xml"/>
  <Override PartName="/ppt/tags/tag514.xml" ContentType="application/vnd.openxmlformats-officedocument.presentationml.tags+xml"/>
  <Override PartName="/ppt/charts/chart431.xml" ContentType="application/vnd.openxmlformats-officedocument.drawingml.chart+xml"/>
  <Override PartName="/ppt/tags/tag515.xml" ContentType="application/vnd.openxmlformats-officedocument.presentationml.tags+xml"/>
  <Override PartName="/ppt/charts/chart432.xml" ContentType="application/vnd.openxmlformats-officedocument.drawingml.chart+xml"/>
  <Override PartName="/ppt/tags/tag516.xml" ContentType="application/vnd.openxmlformats-officedocument.presentationml.tags+xml"/>
  <Override PartName="/ppt/charts/chart433.xml" ContentType="application/vnd.openxmlformats-officedocument.drawingml.chart+xml"/>
  <Override PartName="/ppt/tags/tag517.xml" ContentType="application/vnd.openxmlformats-officedocument.presentationml.tags+xml"/>
  <Override PartName="/ppt/charts/chart434.xml" ContentType="application/vnd.openxmlformats-officedocument.drawingml.chart+xml"/>
  <Override PartName="/ppt/tags/tag518.xml" ContentType="application/vnd.openxmlformats-officedocument.presentationml.tags+xml"/>
  <Override PartName="/ppt/charts/chart435.xml" ContentType="application/vnd.openxmlformats-officedocument.drawingml.chart+xml"/>
  <Override PartName="/ppt/tags/tag519.xml" ContentType="application/vnd.openxmlformats-officedocument.presentationml.tags+xml"/>
  <Override PartName="/ppt/charts/chart436.xml" ContentType="application/vnd.openxmlformats-officedocument.drawingml.chart+xml"/>
  <Override PartName="/ppt/tags/tag520.xml" ContentType="application/vnd.openxmlformats-officedocument.presentationml.tags+xml"/>
  <Override PartName="/ppt/charts/chart437.xml" ContentType="application/vnd.openxmlformats-officedocument.drawingml.chart+xml"/>
  <Override PartName="/ppt/tags/tag521.xml" ContentType="application/vnd.openxmlformats-officedocument.presentationml.tags+xml"/>
  <Override PartName="/ppt/charts/chart438.xml" ContentType="application/vnd.openxmlformats-officedocument.drawingml.chart+xml"/>
  <Override PartName="/ppt/tags/tag522.xml" ContentType="application/vnd.openxmlformats-officedocument.presentationml.tags+xml"/>
  <Override PartName="/ppt/charts/chart439.xml" ContentType="application/vnd.openxmlformats-officedocument.drawingml.chart+xml"/>
  <Override PartName="/ppt/tags/tag523.xml" ContentType="application/vnd.openxmlformats-officedocument.presentationml.tags+xml"/>
  <Override PartName="/ppt/charts/chart440.xml" ContentType="application/vnd.openxmlformats-officedocument.drawingml.chart+xml"/>
  <Override PartName="/ppt/tags/tag524.xml" ContentType="application/vnd.openxmlformats-officedocument.presentationml.tags+xml"/>
  <Override PartName="/ppt/charts/chart441.xml" ContentType="application/vnd.openxmlformats-officedocument.drawingml.chart+xml"/>
  <Override PartName="/ppt/tags/tag525.xml" ContentType="application/vnd.openxmlformats-officedocument.presentationml.tags+xml"/>
  <Override PartName="/ppt/charts/chart442.xml" ContentType="application/vnd.openxmlformats-officedocument.drawingml.chart+xml"/>
  <Override PartName="/ppt/tags/tag526.xml" ContentType="application/vnd.openxmlformats-officedocument.presentationml.tags+xml"/>
  <Override PartName="/ppt/charts/chart443.xml" ContentType="application/vnd.openxmlformats-officedocument.drawingml.chart+xml"/>
  <Override PartName="/ppt/tags/tag527.xml" ContentType="application/vnd.openxmlformats-officedocument.presentationml.tags+xml"/>
  <Override PartName="/ppt/charts/chart444.xml" ContentType="application/vnd.openxmlformats-officedocument.drawingml.chart+xml"/>
  <Override PartName="/ppt/tags/tag528.xml" ContentType="application/vnd.openxmlformats-officedocument.presentationml.tags+xml"/>
  <Override PartName="/ppt/charts/chart445.xml" ContentType="application/vnd.openxmlformats-officedocument.drawingml.chart+xml"/>
  <Override PartName="/ppt/tags/tag529.xml" ContentType="application/vnd.openxmlformats-officedocument.presentationml.tags+xml"/>
  <Override PartName="/ppt/charts/chart446.xml" ContentType="application/vnd.openxmlformats-officedocument.drawingml.chart+xml"/>
  <Override PartName="/ppt/tags/tag530.xml" ContentType="application/vnd.openxmlformats-officedocument.presentationml.tags+xml"/>
  <Override PartName="/ppt/charts/chart447.xml" ContentType="application/vnd.openxmlformats-officedocument.drawingml.chart+xml"/>
  <Override PartName="/ppt/tags/tag531.xml" ContentType="application/vnd.openxmlformats-officedocument.presentationml.tags+xml"/>
  <Override PartName="/ppt/charts/chart448.xml" ContentType="application/vnd.openxmlformats-officedocument.drawingml.chart+xml"/>
  <Override PartName="/ppt/tags/tag532.xml" ContentType="application/vnd.openxmlformats-officedocument.presentationml.tags+xml"/>
  <Override PartName="/ppt/charts/chart449.xml" ContentType="application/vnd.openxmlformats-officedocument.drawingml.chart+xml"/>
  <Override PartName="/ppt/tags/tag533.xml" ContentType="application/vnd.openxmlformats-officedocument.presentationml.tags+xml"/>
  <Override PartName="/ppt/charts/chart450.xml" ContentType="application/vnd.openxmlformats-officedocument.drawingml.chart+xml"/>
  <Override PartName="/ppt/tags/tag534.xml" ContentType="application/vnd.openxmlformats-officedocument.presentationml.tags+xml"/>
  <Override PartName="/ppt/charts/chart451.xml" ContentType="application/vnd.openxmlformats-officedocument.drawingml.chart+xml"/>
  <Override PartName="/ppt/tags/tag535.xml" ContentType="application/vnd.openxmlformats-officedocument.presentationml.tags+xml"/>
  <Override PartName="/ppt/charts/chart452.xml" ContentType="application/vnd.openxmlformats-officedocument.drawingml.chart+xml"/>
  <Override PartName="/ppt/tags/tag536.xml" ContentType="application/vnd.openxmlformats-officedocument.presentationml.tags+xml"/>
  <Override PartName="/ppt/charts/chart453.xml" ContentType="application/vnd.openxmlformats-officedocument.drawingml.chart+xml"/>
  <Override PartName="/ppt/tags/tag537.xml" ContentType="application/vnd.openxmlformats-officedocument.presentationml.tags+xml"/>
  <Override PartName="/ppt/charts/chart454.xml" ContentType="application/vnd.openxmlformats-officedocument.drawingml.chart+xml"/>
  <Override PartName="/ppt/tags/tag538.xml" ContentType="application/vnd.openxmlformats-officedocument.presentationml.tags+xml"/>
  <Override PartName="/ppt/charts/chart455.xml" ContentType="application/vnd.openxmlformats-officedocument.drawingml.chart+xml"/>
  <Override PartName="/ppt/tags/tag539.xml" ContentType="application/vnd.openxmlformats-officedocument.presentationml.tags+xml"/>
  <Override PartName="/ppt/charts/chart456.xml" ContentType="application/vnd.openxmlformats-officedocument.drawingml.chart+xml"/>
  <Override PartName="/ppt/tags/tag540.xml" ContentType="application/vnd.openxmlformats-officedocument.presentationml.tags+xml"/>
  <Override PartName="/ppt/charts/chart457.xml" ContentType="application/vnd.openxmlformats-officedocument.drawingml.chart+xml"/>
  <Override PartName="/ppt/tags/tag541.xml" ContentType="application/vnd.openxmlformats-officedocument.presentationml.tags+xml"/>
  <Override PartName="/ppt/charts/chart458.xml" ContentType="application/vnd.openxmlformats-officedocument.drawingml.chart+xml"/>
  <Override PartName="/ppt/tags/tag542.xml" ContentType="application/vnd.openxmlformats-officedocument.presentationml.tags+xml"/>
  <Override PartName="/ppt/charts/chart459.xml" ContentType="application/vnd.openxmlformats-officedocument.drawingml.chart+xml"/>
  <Override PartName="/ppt/tags/tag543.xml" ContentType="application/vnd.openxmlformats-officedocument.presentationml.tags+xml"/>
  <Override PartName="/ppt/charts/chart460.xml" ContentType="application/vnd.openxmlformats-officedocument.drawingml.chart+xml"/>
  <Override PartName="/ppt/tags/tag544.xml" ContentType="application/vnd.openxmlformats-officedocument.presentationml.tags+xml"/>
  <Override PartName="/ppt/charts/chart461.xml" ContentType="application/vnd.openxmlformats-officedocument.drawingml.chart+xml"/>
  <Override PartName="/ppt/tags/tag545.xml" ContentType="application/vnd.openxmlformats-officedocument.presentationml.tags+xml"/>
  <Override PartName="/ppt/charts/chart462.xml" ContentType="application/vnd.openxmlformats-officedocument.drawingml.chart+xml"/>
  <Override PartName="/ppt/tags/tag546.xml" ContentType="application/vnd.openxmlformats-officedocument.presentationml.tags+xml"/>
  <Override PartName="/ppt/charts/chart463.xml" ContentType="application/vnd.openxmlformats-officedocument.drawingml.chart+xml"/>
  <Override PartName="/ppt/tags/tag547.xml" ContentType="application/vnd.openxmlformats-officedocument.presentationml.tags+xml"/>
  <Override PartName="/ppt/charts/chart464.xml" ContentType="application/vnd.openxmlformats-officedocument.drawingml.chart+xml"/>
  <Override PartName="/ppt/tags/tag548.xml" ContentType="application/vnd.openxmlformats-officedocument.presentationml.tags+xml"/>
  <Override PartName="/ppt/charts/chart465.xml" ContentType="application/vnd.openxmlformats-officedocument.drawingml.chart+xml"/>
  <Override PartName="/ppt/tags/tag549.xml" ContentType="application/vnd.openxmlformats-officedocument.presentationml.tags+xml"/>
  <Override PartName="/ppt/charts/chart466.xml" ContentType="application/vnd.openxmlformats-officedocument.drawingml.chart+xml"/>
  <Override PartName="/ppt/tags/tag550.xml" ContentType="application/vnd.openxmlformats-officedocument.presentationml.tags+xml"/>
  <Override PartName="/ppt/charts/chart467.xml" ContentType="application/vnd.openxmlformats-officedocument.drawingml.chart+xml"/>
  <Override PartName="/ppt/tags/tag551.xml" ContentType="application/vnd.openxmlformats-officedocument.presentationml.tags+xml"/>
  <Override PartName="/ppt/charts/chart468.xml" ContentType="application/vnd.openxmlformats-officedocument.drawingml.chart+xml"/>
  <Override PartName="/ppt/tags/tag552.xml" ContentType="application/vnd.openxmlformats-officedocument.presentationml.tags+xml"/>
  <Override PartName="/ppt/charts/chart469.xml" ContentType="application/vnd.openxmlformats-officedocument.drawingml.chart+xml"/>
  <Override PartName="/ppt/tags/tag553.xml" ContentType="application/vnd.openxmlformats-officedocument.presentationml.tags+xml"/>
  <Override PartName="/ppt/charts/chart470.xml" ContentType="application/vnd.openxmlformats-officedocument.drawingml.chart+xml"/>
  <Override PartName="/ppt/tags/tag554.xml" ContentType="application/vnd.openxmlformats-officedocument.presentationml.tags+xml"/>
  <Override PartName="/ppt/charts/chart471.xml" ContentType="application/vnd.openxmlformats-officedocument.drawingml.chart+xml"/>
  <Override PartName="/ppt/tags/tag555.xml" ContentType="application/vnd.openxmlformats-officedocument.presentationml.tags+xml"/>
  <Override PartName="/ppt/charts/chart472.xml" ContentType="application/vnd.openxmlformats-officedocument.drawingml.chart+xml"/>
  <Override PartName="/ppt/tags/tag556.xml" ContentType="application/vnd.openxmlformats-officedocument.presentationml.tags+xml"/>
  <Override PartName="/ppt/charts/chart473.xml" ContentType="application/vnd.openxmlformats-officedocument.drawingml.chart+xml"/>
  <Override PartName="/ppt/tags/tag557.xml" ContentType="application/vnd.openxmlformats-officedocument.presentationml.tags+xml"/>
  <Override PartName="/ppt/charts/chart474.xml" ContentType="application/vnd.openxmlformats-officedocument.drawingml.chart+xml"/>
  <Override PartName="/ppt/tags/tag558.xml" ContentType="application/vnd.openxmlformats-officedocument.presentationml.tags+xml"/>
  <Override PartName="/ppt/charts/chart475.xml" ContentType="application/vnd.openxmlformats-officedocument.drawingml.chart+xml"/>
  <Override PartName="/ppt/tags/tag559.xml" ContentType="application/vnd.openxmlformats-officedocument.presentationml.tags+xml"/>
  <Override PartName="/ppt/charts/chart476.xml" ContentType="application/vnd.openxmlformats-officedocument.drawingml.chart+xml"/>
  <Override PartName="/ppt/tags/tag560.xml" ContentType="application/vnd.openxmlformats-officedocument.presentationml.tags+xml"/>
  <Override PartName="/ppt/charts/chart477.xml" ContentType="application/vnd.openxmlformats-officedocument.drawingml.chart+xml"/>
  <Override PartName="/ppt/tags/tag561.xml" ContentType="application/vnd.openxmlformats-officedocument.presentationml.tags+xml"/>
  <Override PartName="/ppt/charts/chart478.xml" ContentType="application/vnd.openxmlformats-officedocument.drawingml.chart+xml"/>
  <Override PartName="/ppt/tags/tag562.xml" ContentType="application/vnd.openxmlformats-officedocument.presentationml.tags+xml"/>
  <Override PartName="/ppt/charts/chart479.xml" ContentType="application/vnd.openxmlformats-officedocument.drawingml.chart+xml"/>
  <Override PartName="/ppt/tags/tag563.xml" ContentType="application/vnd.openxmlformats-officedocument.presentationml.tags+xml"/>
  <Override PartName="/ppt/charts/chart480.xml" ContentType="application/vnd.openxmlformats-officedocument.drawingml.chart+xml"/>
  <Override PartName="/ppt/tags/tag564.xml" ContentType="application/vnd.openxmlformats-officedocument.presentationml.tags+xml"/>
  <Override PartName="/ppt/charts/chart481.xml" ContentType="application/vnd.openxmlformats-officedocument.drawingml.chart+xml"/>
  <Override PartName="/ppt/tags/tag565.xml" ContentType="application/vnd.openxmlformats-officedocument.presentationml.tags+xml"/>
  <Override PartName="/ppt/charts/chart482.xml" ContentType="application/vnd.openxmlformats-officedocument.drawingml.chart+xml"/>
  <Override PartName="/ppt/tags/tag566.xml" ContentType="application/vnd.openxmlformats-officedocument.presentationml.tags+xml"/>
  <Override PartName="/ppt/charts/chart483.xml" ContentType="application/vnd.openxmlformats-officedocument.drawingml.chart+xml"/>
  <Override PartName="/ppt/tags/tag567.xml" ContentType="application/vnd.openxmlformats-officedocument.presentationml.tags+xml"/>
  <Override PartName="/ppt/charts/chart484.xml" ContentType="application/vnd.openxmlformats-officedocument.drawingml.chart+xml"/>
  <Override PartName="/ppt/tags/tag568.xml" ContentType="application/vnd.openxmlformats-officedocument.presentationml.tags+xml"/>
  <Override PartName="/ppt/charts/chart485.xml" ContentType="application/vnd.openxmlformats-officedocument.drawingml.chart+xml"/>
  <Override PartName="/ppt/tags/tag569.xml" ContentType="application/vnd.openxmlformats-officedocument.presentationml.tags+xml"/>
  <Override PartName="/ppt/charts/chart486.xml" ContentType="application/vnd.openxmlformats-officedocument.drawingml.chart+xml"/>
  <Override PartName="/ppt/tags/tag570.xml" ContentType="application/vnd.openxmlformats-officedocument.presentationml.tags+xml"/>
  <Override PartName="/ppt/charts/chart487.xml" ContentType="application/vnd.openxmlformats-officedocument.drawingml.chart+xml"/>
  <Override PartName="/ppt/tags/tag571.xml" ContentType="application/vnd.openxmlformats-officedocument.presentationml.tags+xml"/>
  <Override PartName="/ppt/charts/chart488.xml" ContentType="application/vnd.openxmlformats-officedocument.drawingml.chart+xml"/>
  <Override PartName="/ppt/tags/tag572.xml" ContentType="application/vnd.openxmlformats-officedocument.presentationml.tags+xml"/>
  <Override PartName="/ppt/charts/chart489.xml" ContentType="application/vnd.openxmlformats-officedocument.drawingml.chart+xml"/>
  <Override PartName="/ppt/tags/tag573.xml" ContentType="application/vnd.openxmlformats-officedocument.presentationml.tags+xml"/>
  <Override PartName="/ppt/charts/chart490.xml" ContentType="application/vnd.openxmlformats-officedocument.drawingml.chart+xml"/>
  <Override PartName="/ppt/tags/tag574.xml" ContentType="application/vnd.openxmlformats-officedocument.presentationml.tags+xml"/>
  <Override PartName="/ppt/charts/chart491.xml" ContentType="application/vnd.openxmlformats-officedocument.drawingml.chart+xml"/>
  <Override PartName="/ppt/tags/tag575.xml" ContentType="application/vnd.openxmlformats-officedocument.presentationml.tags+xml"/>
  <Override PartName="/ppt/charts/chart492.xml" ContentType="application/vnd.openxmlformats-officedocument.drawingml.chart+xml"/>
  <Override PartName="/ppt/tags/tag576.xml" ContentType="application/vnd.openxmlformats-officedocument.presentationml.tags+xml"/>
  <Override PartName="/ppt/charts/chart493.xml" ContentType="application/vnd.openxmlformats-officedocument.drawingml.chart+xml"/>
  <Override PartName="/ppt/tags/tag577.xml" ContentType="application/vnd.openxmlformats-officedocument.presentationml.tags+xml"/>
  <Override PartName="/ppt/charts/chart494.xml" ContentType="application/vnd.openxmlformats-officedocument.drawingml.chart+xml"/>
  <Override PartName="/ppt/tags/tag578.xml" ContentType="application/vnd.openxmlformats-officedocument.presentationml.tags+xml"/>
  <Override PartName="/ppt/notesSlides/notesSlide109.xml" ContentType="application/vnd.openxmlformats-officedocument.presentationml.notesSlide+xml"/>
  <Override PartName="/ppt/tags/tag579.xml" ContentType="application/vnd.openxmlformats-officedocument.presentationml.tags+xml"/>
  <Override PartName="/ppt/notesSlides/notesSlide110.xml" ContentType="application/vnd.openxmlformats-officedocument.presentationml.notesSlide+xml"/>
  <Override PartName="/ppt/tags/tag580.xml" ContentType="application/vnd.openxmlformats-officedocument.presentationml.tags+xml"/>
  <Override PartName="/ppt/notesSlides/notesSlide111.xml" ContentType="application/vnd.openxmlformats-officedocument.presentationml.notesSlide+xml"/>
  <Override PartName="/ppt/tags/tag581.xml" ContentType="application/vnd.openxmlformats-officedocument.presentationml.tags+xml"/>
  <Override PartName="/ppt/notesSlides/notesSlide112.xml" ContentType="application/vnd.openxmlformats-officedocument.presentationml.notesSlide+xml"/>
  <Override PartName="/ppt/tags/tag582.xml" ContentType="application/vnd.openxmlformats-officedocument.presentationml.tags+xml"/>
  <Override PartName="/ppt/notesSlides/notesSlide113.xml" ContentType="application/vnd.openxmlformats-officedocument.presentationml.notesSlide+xml"/>
  <Override PartName="/ppt/tags/tag583.xml" ContentType="application/vnd.openxmlformats-officedocument.presentationml.tags+xml"/>
  <Override PartName="/ppt/notesSlides/notesSlide114.xml" ContentType="application/vnd.openxmlformats-officedocument.presentationml.notesSlide+xml"/>
  <Override PartName="/ppt/tags/tag584.xml" ContentType="application/vnd.openxmlformats-officedocument.presentationml.tags+xml"/>
  <Override PartName="/ppt/notesSlides/notesSlide115.xml" ContentType="application/vnd.openxmlformats-officedocument.presentationml.notesSlide+xml"/>
  <Override PartName="/ppt/tags/tag585.xml" ContentType="application/vnd.openxmlformats-officedocument.presentationml.tags+xml"/>
  <Override PartName="/ppt/notesSlides/notesSlide116.xml" ContentType="application/vnd.openxmlformats-officedocument.presentationml.notesSlide+xml"/>
  <Override PartName="/ppt/tags/tag586.xml" ContentType="application/vnd.openxmlformats-officedocument.presentationml.tags+xml"/>
  <Override PartName="/ppt/notesSlides/notesSlide117.xml" ContentType="application/vnd.openxmlformats-officedocument.presentationml.notesSlide+xml"/>
  <Override PartName="/ppt/tags/tag587.xml" ContentType="application/vnd.openxmlformats-officedocument.presentationml.tags+xml"/>
  <Override PartName="/ppt/notesSlides/notesSlide118.xml" ContentType="application/vnd.openxmlformats-officedocument.presentationml.notesSlide+xml"/>
  <Override PartName="/ppt/tags/tag588.xml" ContentType="application/vnd.openxmlformats-officedocument.presentationml.tags+xml"/>
  <Override PartName="/ppt/notesSlides/notesSlide119.xml" ContentType="application/vnd.openxmlformats-officedocument.presentationml.notesSlide+xml"/>
  <Override PartName="/ppt/tags/tag589.xml" ContentType="application/vnd.openxmlformats-officedocument.presentationml.tags+xml"/>
  <Override PartName="/ppt/notesSlides/notesSlide120.xml" ContentType="application/vnd.openxmlformats-officedocument.presentationml.notesSlide+xml"/>
  <Override PartName="/ppt/tags/tag590.xml" ContentType="application/vnd.openxmlformats-officedocument.presentationml.tags+xml"/>
  <Override PartName="/ppt/notesSlides/notesSlide121.xml" ContentType="application/vnd.openxmlformats-officedocument.presentationml.notesSlide+xml"/>
  <Override PartName="/ppt/tags/tag591.xml" ContentType="application/vnd.openxmlformats-officedocument.presentationml.tags+xml"/>
  <Override PartName="/ppt/notesSlides/notesSlide122.xml" ContentType="application/vnd.openxmlformats-officedocument.presentationml.notesSlide+xml"/>
  <Override PartName="/ppt/tags/tag592.xml" ContentType="application/vnd.openxmlformats-officedocument.presentationml.tags+xml"/>
  <Override PartName="/ppt/notesSlides/notesSlide123.xml" ContentType="application/vnd.openxmlformats-officedocument.presentationml.notesSlide+xml"/>
  <Override PartName="/ppt/tags/tag593.xml" ContentType="application/vnd.openxmlformats-officedocument.presentationml.tags+xml"/>
  <Override PartName="/ppt/notesSlides/notesSlide124.xml" ContentType="application/vnd.openxmlformats-officedocument.presentationml.notesSlide+xml"/>
  <Override PartName="/ppt/tags/tag594.xml" ContentType="application/vnd.openxmlformats-officedocument.presentationml.tags+xml"/>
  <Override PartName="/ppt/notesSlides/notesSlide125.xml" ContentType="application/vnd.openxmlformats-officedocument.presentationml.notesSlide+xml"/>
  <Override PartName="/ppt/tags/tag595.xml" ContentType="application/vnd.openxmlformats-officedocument.presentationml.tags+xml"/>
  <Override PartName="/ppt/notesSlides/notesSlide126.xml" ContentType="application/vnd.openxmlformats-officedocument.presentationml.notesSlide+xml"/>
  <Override PartName="/ppt/tags/tag596.xml" ContentType="application/vnd.openxmlformats-officedocument.presentationml.tags+xml"/>
  <Override PartName="/ppt/notesSlides/notesSlide127.xml" ContentType="application/vnd.openxmlformats-officedocument.presentationml.notesSlide+xml"/>
  <Override PartName="/ppt/tags/tag597.xml" ContentType="application/vnd.openxmlformats-officedocument.presentationml.tags+xml"/>
  <Override PartName="/ppt/notesSlides/notesSlide128.xml" ContentType="application/vnd.openxmlformats-officedocument.presentationml.notesSlide+xml"/>
  <Override PartName="/ppt/tags/tag598.xml" ContentType="application/vnd.openxmlformats-officedocument.presentationml.tags+xml"/>
  <Override PartName="/ppt/notesSlides/notesSlide129.xml" ContentType="application/vnd.openxmlformats-officedocument.presentationml.notesSlide+xml"/>
  <Override PartName="/ppt/tags/tag599.xml" ContentType="application/vnd.openxmlformats-officedocument.presentationml.tags+xml"/>
  <Override PartName="/ppt/notesSlides/notesSlide130.xml" ContentType="application/vnd.openxmlformats-officedocument.presentationml.notesSlide+xml"/>
  <Override PartName="/ppt/tags/tag600.xml" ContentType="application/vnd.openxmlformats-officedocument.presentationml.tags+xml"/>
  <Override PartName="/ppt/notesSlides/notesSlide131.xml" ContentType="application/vnd.openxmlformats-officedocument.presentationml.notesSlide+xml"/>
  <Override PartName="/ppt/tags/tag601.xml" ContentType="application/vnd.openxmlformats-officedocument.presentationml.tags+xml"/>
  <Override PartName="/ppt/notesSlides/notesSlide132.xml" ContentType="application/vnd.openxmlformats-officedocument.presentationml.notesSlide+xml"/>
  <Override PartName="/ppt/tags/tag602.xml" ContentType="application/vnd.openxmlformats-officedocument.presentationml.tags+xml"/>
  <Override PartName="/ppt/notesSlides/notesSlide133.xml" ContentType="application/vnd.openxmlformats-officedocument.presentationml.notesSlide+xml"/>
  <Override PartName="/ppt/tags/tag603.xml" ContentType="application/vnd.openxmlformats-officedocument.presentationml.tags+xml"/>
  <Override PartName="/ppt/notesSlides/notesSlide134.xml" ContentType="application/vnd.openxmlformats-officedocument.presentationml.notesSlide+xml"/>
  <Override PartName="/ppt/tags/tag604.xml" ContentType="application/vnd.openxmlformats-officedocument.presentationml.tags+xml"/>
  <Override PartName="/ppt/notesSlides/notesSlide135.xml" ContentType="application/vnd.openxmlformats-officedocument.presentationml.notesSlide+xml"/>
  <Override PartName="/ppt/tags/tag605.xml" ContentType="application/vnd.openxmlformats-officedocument.presentationml.tags+xml"/>
  <Override PartName="/ppt/notesSlides/notesSlide136.xml" ContentType="application/vnd.openxmlformats-officedocument.presentationml.notesSlide+xml"/>
  <Override PartName="/ppt/tags/tag606.xml" ContentType="application/vnd.openxmlformats-officedocument.presentationml.tags+xml"/>
  <Override PartName="/ppt/notesSlides/notesSlide137.xml" ContentType="application/vnd.openxmlformats-officedocument.presentationml.notesSlide+xml"/>
  <Override PartName="/ppt/tags/tag607.xml" ContentType="application/vnd.openxmlformats-officedocument.presentationml.tags+xml"/>
  <Override PartName="/ppt/notesSlides/notesSlide138.xml" ContentType="application/vnd.openxmlformats-officedocument.presentationml.notesSlide+xml"/>
  <Override PartName="/ppt/tags/tag608.xml" ContentType="application/vnd.openxmlformats-officedocument.presentationml.tags+xml"/>
  <Override PartName="/ppt/notesSlides/notesSlide139.xml" ContentType="application/vnd.openxmlformats-officedocument.presentationml.notesSlide+xml"/>
  <Override PartName="/ppt/tags/tag609.xml" ContentType="application/vnd.openxmlformats-officedocument.presentationml.tags+xml"/>
  <Override PartName="/ppt/notesSlides/notesSlide140.xml" ContentType="application/vnd.openxmlformats-officedocument.presentationml.notesSlide+xml"/>
  <Override PartName="/ppt/tags/tag610.xml" ContentType="application/vnd.openxmlformats-officedocument.presentationml.tags+xml"/>
  <Override PartName="/ppt/notesSlides/notesSlide141.xml" ContentType="application/vnd.openxmlformats-officedocument.presentationml.notesSlide+xml"/>
  <Override PartName="/ppt/tags/tag611.xml" ContentType="application/vnd.openxmlformats-officedocument.presentationml.tags+xml"/>
  <Override PartName="/ppt/notesSlides/notesSlide142.xml" ContentType="application/vnd.openxmlformats-officedocument.presentationml.notesSlide+xml"/>
  <Override PartName="/ppt/tags/tag612.xml" ContentType="application/vnd.openxmlformats-officedocument.presentationml.tags+xml"/>
  <Override PartName="/ppt/notesSlides/notesSlide143.xml" ContentType="application/vnd.openxmlformats-officedocument.presentationml.notesSlide+xml"/>
  <Override PartName="/ppt/tags/tag613.xml" ContentType="application/vnd.openxmlformats-officedocument.presentationml.tags+xml"/>
  <Override PartName="/ppt/notesSlides/notesSlide144.xml" ContentType="application/vnd.openxmlformats-officedocument.presentationml.notesSlide+xml"/>
  <Override PartName="/ppt/tags/tag614.xml" ContentType="application/vnd.openxmlformats-officedocument.presentationml.tags+xml"/>
  <Override PartName="/ppt/notesSlides/notesSlide145.xml" ContentType="application/vnd.openxmlformats-officedocument.presentationml.notesSlide+xml"/>
  <Override PartName="/ppt/tags/tag615.xml" ContentType="application/vnd.openxmlformats-officedocument.presentationml.tags+xml"/>
  <Override PartName="/ppt/notesSlides/notesSlide146.xml" ContentType="application/vnd.openxmlformats-officedocument.presentationml.notesSlide+xml"/>
  <Override PartName="/ppt/tags/tag616.xml" ContentType="application/vnd.openxmlformats-officedocument.presentationml.tags+xml"/>
  <Override PartName="/ppt/notesSlides/notesSlide147.xml" ContentType="application/vnd.openxmlformats-officedocument.presentationml.notesSlide+xml"/>
  <Override PartName="/ppt/tags/tag617.xml" ContentType="application/vnd.openxmlformats-officedocument.presentationml.tags+xml"/>
  <Override PartName="/ppt/notesSlides/notesSlide148.xml" ContentType="application/vnd.openxmlformats-officedocument.presentationml.notesSlide+xml"/>
  <Override PartName="/ppt/tags/tag618.xml" ContentType="application/vnd.openxmlformats-officedocument.presentationml.tags+xml"/>
  <Override PartName="/ppt/notesSlides/notesSlide149.xml" ContentType="application/vnd.openxmlformats-officedocument.presentationml.notesSlide+xml"/>
  <Override PartName="/ppt/tags/tag619.xml" ContentType="application/vnd.openxmlformats-officedocument.presentationml.tags+xml"/>
  <Override PartName="/ppt/notesSlides/notesSlide150.xml" ContentType="application/vnd.openxmlformats-officedocument.presentationml.notesSlide+xml"/>
  <Override PartName="/ppt/tags/tag620.xml" ContentType="application/vnd.openxmlformats-officedocument.presentationml.tags+xml"/>
  <Override PartName="/ppt/notesSlides/notesSlide151.xml" ContentType="application/vnd.openxmlformats-officedocument.presentationml.notesSlide+xml"/>
  <Override PartName="/ppt/tags/tag621.xml" ContentType="application/vnd.openxmlformats-officedocument.presentationml.tags+xml"/>
  <Override PartName="/ppt/notesSlides/notesSlide152.xml" ContentType="application/vnd.openxmlformats-officedocument.presentationml.notesSlide+xml"/>
  <Override PartName="/ppt/tags/tag622.xml" ContentType="application/vnd.openxmlformats-officedocument.presentationml.tags+xml"/>
  <Override PartName="/ppt/notesSlides/notesSlide153.xml" ContentType="application/vnd.openxmlformats-officedocument.presentationml.notesSlide+xml"/>
  <Override PartName="/ppt/tags/tag623.xml" ContentType="application/vnd.openxmlformats-officedocument.presentationml.tags+xml"/>
  <Override PartName="/ppt/notesSlides/notesSlide154.xml" ContentType="application/vnd.openxmlformats-officedocument.presentationml.notesSlide+xml"/>
  <Override PartName="/ppt/tags/tag624.xml" ContentType="application/vnd.openxmlformats-officedocument.presentationml.tags+xml"/>
  <Override PartName="/ppt/notesSlides/notesSlide155.xml" ContentType="application/vnd.openxmlformats-officedocument.presentationml.notesSlide+xml"/>
  <Override PartName="/ppt/tags/tag625.xml" ContentType="application/vnd.openxmlformats-officedocument.presentationml.tags+xml"/>
  <Override PartName="/ppt/notesSlides/notesSlide156.xml" ContentType="application/vnd.openxmlformats-officedocument.presentationml.notesSlide+xml"/>
  <Override PartName="/ppt/tags/tag626.xml" ContentType="application/vnd.openxmlformats-officedocument.presentationml.tags+xml"/>
  <Override PartName="/ppt/notesSlides/notesSlide157.xml" ContentType="application/vnd.openxmlformats-officedocument.presentationml.notesSlide+xml"/>
  <Override PartName="/ppt/tags/tag627.xml" ContentType="application/vnd.openxmlformats-officedocument.presentationml.tags+xml"/>
  <Override PartName="/ppt/notesSlides/notesSlide158.xml" ContentType="application/vnd.openxmlformats-officedocument.presentationml.notesSlide+xml"/>
  <Override PartName="/ppt/tags/tag628.xml" ContentType="application/vnd.openxmlformats-officedocument.presentationml.tags+xml"/>
  <Override PartName="/ppt/notesSlides/notesSlide159.xml" ContentType="application/vnd.openxmlformats-officedocument.presentationml.notesSlide+xml"/>
  <Override PartName="/ppt/tags/tag629.xml" ContentType="application/vnd.openxmlformats-officedocument.presentationml.tags+xml"/>
  <Override PartName="/ppt/notesSlides/notesSlide160.xml" ContentType="application/vnd.openxmlformats-officedocument.presentationml.notesSlide+xml"/>
  <Override PartName="/ppt/tags/tag630.xml" ContentType="application/vnd.openxmlformats-officedocument.presentationml.tags+xml"/>
  <Override PartName="/ppt/notesSlides/notesSlide161.xml" ContentType="application/vnd.openxmlformats-officedocument.presentationml.notesSlide+xml"/>
  <Override PartName="/ppt/tags/tag631.xml" ContentType="application/vnd.openxmlformats-officedocument.presentationml.tags+xml"/>
  <Override PartName="/ppt/notesSlides/notesSlide162.xml" ContentType="application/vnd.openxmlformats-officedocument.presentationml.notesSlide+xml"/>
  <Override PartName="/ppt/tags/tag632.xml" ContentType="application/vnd.openxmlformats-officedocument.presentationml.tags+xml"/>
  <Override PartName="/ppt/notesSlides/notesSlide163.xml" ContentType="application/vnd.openxmlformats-officedocument.presentationml.notesSlide+xml"/>
  <Override PartName="/ppt/tags/tag633.xml" ContentType="application/vnd.openxmlformats-officedocument.presentationml.tags+xml"/>
  <Override PartName="/ppt/notesSlides/notesSlide164.xml" ContentType="application/vnd.openxmlformats-officedocument.presentationml.notesSlide+xml"/>
  <Override PartName="/ppt/tags/tag634.xml" ContentType="application/vnd.openxmlformats-officedocument.presentationml.tags+xml"/>
  <Override PartName="/ppt/notesSlides/notesSlide165.xml" ContentType="application/vnd.openxmlformats-officedocument.presentationml.notesSlide+xml"/>
  <Override PartName="/ppt/tags/tag635.xml" ContentType="application/vnd.openxmlformats-officedocument.presentationml.tags+xml"/>
  <Override PartName="/ppt/notesSlides/notesSlide166.xml" ContentType="application/vnd.openxmlformats-officedocument.presentationml.notesSlide+xml"/>
  <Override PartName="/ppt/tags/tag636.xml" ContentType="application/vnd.openxmlformats-officedocument.presentationml.tags+xml"/>
  <Override PartName="/ppt/notesSlides/notesSlide167.xml" ContentType="application/vnd.openxmlformats-officedocument.presentationml.notesSlide+xml"/>
  <Override PartName="/ppt/tags/tag637.xml" ContentType="application/vnd.openxmlformats-officedocument.presentationml.tags+xml"/>
  <Override PartName="/ppt/notesSlides/notesSlide168.xml" ContentType="application/vnd.openxmlformats-officedocument.presentationml.notesSlide+xml"/>
  <Override PartName="/ppt/tags/tag638.xml" ContentType="application/vnd.openxmlformats-officedocument.presentationml.tags+xml"/>
  <Override PartName="/ppt/notesSlides/notesSlide169.xml" ContentType="application/vnd.openxmlformats-officedocument.presentationml.notesSlide+xml"/>
  <Override PartName="/ppt/tags/tag639.xml" ContentType="application/vnd.openxmlformats-officedocument.presentationml.tags+xml"/>
  <Override PartName="/ppt/notesSlides/notesSlide170.xml" ContentType="application/vnd.openxmlformats-officedocument.presentationml.notesSlide+xml"/>
  <Override PartName="/ppt/tags/tag640.xml" ContentType="application/vnd.openxmlformats-officedocument.presentationml.tags+xml"/>
  <Override PartName="/ppt/notesSlides/notesSlide171.xml" ContentType="application/vnd.openxmlformats-officedocument.presentationml.notesSlide+xml"/>
  <Override PartName="/ppt/tags/tag641.xml" ContentType="application/vnd.openxmlformats-officedocument.presentationml.tags+xml"/>
  <Override PartName="/ppt/notesSlides/notesSlide17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3" r:id="rId4"/>
  </p:sldMasterIdLst>
  <p:notesMasterIdLst>
    <p:notesMasterId r:id="rId619"/>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 id="2147475209" r:id="rId45"/>
    <p:sldId id="2147475210" r:id="rId46"/>
    <p:sldId id="2147475211" r:id="rId47"/>
    <p:sldId id="2147475212" r:id="rId48"/>
    <p:sldId id="2147475213" r:id="rId49"/>
    <p:sldId id="2147475214" r:id="rId50"/>
    <p:sldId id="2147475215" r:id="rId51"/>
    <p:sldId id="2147475216" r:id="rId52"/>
    <p:sldId id="2147475217" r:id="rId53"/>
    <p:sldId id="2147475218" r:id="rId54"/>
    <p:sldId id="2147475219" r:id="rId55"/>
    <p:sldId id="2147475220" r:id="rId56"/>
    <p:sldId id="2147475221" r:id="rId57"/>
    <p:sldId id="2147475222" r:id="rId58"/>
    <p:sldId id="2147475223" r:id="rId59"/>
    <p:sldId id="2147475224" r:id="rId60"/>
    <p:sldId id="2147475225" r:id="rId61"/>
    <p:sldId id="2147475226" r:id="rId62"/>
    <p:sldId id="2147475227" r:id="rId63"/>
    <p:sldId id="2147475228" r:id="rId64"/>
    <p:sldId id="2147475229" r:id="rId65"/>
    <p:sldId id="2147475230" r:id="rId66"/>
    <p:sldId id="2147475231" r:id="rId67"/>
    <p:sldId id="2147475232" r:id="rId68"/>
    <p:sldId id="2147475233" r:id="rId69"/>
    <p:sldId id="2147475234" r:id="rId70"/>
    <p:sldId id="2147475235" r:id="rId71"/>
    <p:sldId id="2147475236" r:id="rId72"/>
    <p:sldId id="2147475237" r:id="rId73"/>
    <p:sldId id="2147475238" r:id="rId74"/>
    <p:sldId id="2147475239" r:id="rId75"/>
    <p:sldId id="2147475240" r:id="rId76"/>
    <p:sldId id="2147475241" r:id="rId77"/>
    <p:sldId id="2147475242" r:id="rId78"/>
    <p:sldId id="2147475243" r:id="rId79"/>
    <p:sldId id="2147475244" r:id="rId80"/>
    <p:sldId id="2147475245" r:id="rId81"/>
    <p:sldId id="2147475246" r:id="rId82"/>
    <p:sldId id="2147475247" r:id="rId83"/>
    <p:sldId id="2147475248" r:id="rId84"/>
    <p:sldId id="2147475249" r:id="rId85"/>
    <p:sldId id="2147475250" r:id="rId86"/>
    <p:sldId id="2147475251" r:id="rId87"/>
    <p:sldId id="2147475252" r:id="rId88"/>
    <p:sldId id="2147475253" r:id="rId89"/>
    <p:sldId id="2147475254" r:id="rId90"/>
    <p:sldId id="2147475255" r:id="rId91"/>
    <p:sldId id="2147475256" r:id="rId92"/>
    <p:sldId id="2147475257" r:id="rId93"/>
    <p:sldId id="2147475258" r:id="rId94"/>
    <p:sldId id="2147475259" r:id="rId95"/>
    <p:sldId id="2147475260" r:id="rId96"/>
    <p:sldId id="2147475261" r:id="rId97"/>
    <p:sldId id="2147475262" r:id="rId98"/>
    <p:sldId id="2147475263" r:id="rId99"/>
    <p:sldId id="2147475264" r:id="rId100"/>
    <p:sldId id="2147475265" r:id="rId101"/>
    <p:sldId id="2147475266" r:id="rId102"/>
    <p:sldId id="2147475267" r:id="rId103"/>
    <p:sldId id="2147475268" r:id="rId104"/>
    <p:sldId id="2147475269" r:id="rId105"/>
    <p:sldId id="2147475270" r:id="rId106"/>
    <p:sldId id="2147475271" r:id="rId107"/>
    <p:sldId id="2147475272" r:id="rId108"/>
    <p:sldId id="2147475273" r:id="rId109"/>
    <p:sldId id="2147475274" r:id="rId110"/>
    <p:sldId id="2147475275" r:id="rId111"/>
    <p:sldId id="2147475276" r:id="rId112"/>
    <p:sldId id="2147475277" r:id="rId113"/>
    <p:sldId id="2147475278" r:id="rId114"/>
    <p:sldId id="2147475279" r:id="rId115"/>
    <p:sldId id="2147475280" r:id="rId116"/>
    <p:sldId id="2147475281" r:id="rId117"/>
    <p:sldId id="2147475282" r:id="rId118"/>
    <p:sldId id="2147475283" r:id="rId119"/>
    <p:sldId id="2147475284" r:id="rId120"/>
    <p:sldId id="2147475285" r:id="rId121"/>
    <p:sldId id="2147475286" r:id="rId122"/>
    <p:sldId id="2147475287" r:id="rId123"/>
    <p:sldId id="2147475288" r:id="rId124"/>
    <p:sldId id="2147475289" r:id="rId125"/>
    <p:sldId id="2147475290" r:id="rId126"/>
    <p:sldId id="2147475291" r:id="rId127"/>
    <p:sldId id="2147475292" r:id="rId128"/>
    <p:sldId id="2147475293" r:id="rId129"/>
    <p:sldId id="2147475294" r:id="rId130"/>
    <p:sldId id="2147475295" r:id="rId131"/>
    <p:sldId id="2147475296" r:id="rId132"/>
    <p:sldId id="2147475297" r:id="rId133"/>
    <p:sldId id="2147475298" r:id="rId134"/>
    <p:sldId id="2147475299" r:id="rId135"/>
    <p:sldId id="2147475300" r:id="rId136"/>
    <p:sldId id="2147475301" r:id="rId137"/>
    <p:sldId id="2147475302" r:id="rId138"/>
    <p:sldId id="2147475303" r:id="rId139"/>
    <p:sldId id="2147475304" r:id="rId140"/>
    <p:sldId id="2147475305" r:id="rId141"/>
    <p:sldId id="2147475306" r:id="rId142"/>
    <p:sldId id="2147475307" r:id="rId143"/>
    <p:sldId id="2147475308" r:id="rId144"/>
    <p:sldId id="2147475309" r:id="rId145"/>
    <p:sldId id="2147475310" r:id="rId146"/>
    <p:sldId id="2147475311" r:id="rId147"/>
    <p:sldId id="2147475312" r:id="rId148"/>
    <p:sldId id="2147475313" r:id="rId149"/>
    <p:sldId id="2147475314" r:id="rId150"/>
    <p:sldId id="2147475315" r:id="rId151"/>
    <p:sldId id="2147475316" r:id="rId152"/>
    <p:sldId id="2147475317" r:id="rId153"/>
    <p:sldId id="2147475318" r:id="rId154"/>
    <p:sldId id="2147475319" r:id="rId155"/>
    <p:sldId id="2147475320" r:id="rId156"/>
    <p:sldId id="2147475321" r:id="rId157"/>
    <p:sldId id="2147475322" r:id="rId158"/>
    <p:sldId id="2147475323" r:id="rId159"/>
    <p:sldId id="2147475324" r:id="rId160"/>
    <p:sldId id="2147475325" r:id="rId161"/>
    <p:sldId id="2147475326" r:id="rId162"/>
    <p:sldId id="2147475327" r:id="rId163"/>
    <p:sldId id="2147475328" r:id="rId164"/>
    <p:sldId id="2147475329" r:id="rId165"/>
    <p:sldId id="2147475330" r:id="rId166"/>
    <p:sldId id="2147475331" r:id="rId167"/>
    <p:sldId id="2147475332" r:id="rId168"/>
    <p:sldId id="2147475333" r:id="rId169"/>
    <p:sldId id="2147475334" r:id="rId170"/>
    <p:sldId id="2147475335" r:id="rId171"/>
    <p:sldId id="2147475336" r:id="rId172"/>
    <p:sldId id="2147475337" r:id="rId173"/>
    <p:sldId id="2147475338" r:id="rId174"/>
    <p:sldId id="2147475339" r:id="rId175"/>
    <p:sldId id="2147475340" r:id="rId176"/>
    <p:sldId id="2147475341" r:id="rId177"/>
    <p:sldId id="2147475342" r:id="rId178"/>
    <p:sldId id="2147475343" r:id="rId179"/>
    <p:sldId id="2147475344" r:id="rId180"/>
    <p:sldId id="2147475345" r:id="rId181"/>
    <p:sldId id="2147475346" r:id="rId182"/>
    <p:sldId id="2147475347" r:id="rId183"/>
    <p:sldId id="2147475348" r:id="rId184"/>
    <p:sldId id="2147475349" r:id="rId185"/>
    <p:sldId id="2147475350" r:id="rId186"/>
    <p:sldId id="2147475351" r:id="rId187"/>
    <p:sldId id="2147475352" r:id="rId188"/>
    <p:sldId id="2147475353" r:id="rId189"/>
    <p:sldId id="2147475354" r:id="rId190"/>
    <p:sldId id="2147475355" r:id="rId191"/>
    <p:sldId id="2147475356" r:id="rId192"/>
    <p:sldId id="2147475357" r:id="rId193"/>
    <p:sldId id="2147475358" r:id="rId194"/>
    <p:sldId id="2147475359" r:id="rId195"/>
    <p:sldId id="2147475360" r:id="rId196"/>
    <p:sldId id="2147475361" r:id="rId197"/>
    <p:sldId id="2147475362" r:id="rId198"/>
    <p:sldId id="2147475363" r:id="rId199"/>
    <p:sldId id="2147475364" r:id="rId200"/>
    <p:sldId id="2147475365" r:id="rId201"/>
    <p:sldId id="2147475366" r:id="rId202"/>
    <p:sldId id="2147475367" r:id="rId203"/>
    <p:sldId id="2147475368" r:id="rId204"/>
    <p:sldId id="2147475369" r:id="rId205"/>
    <p:sldId id="2147475370" r:id="rId206"/>
    <p:sldId id="2147475371" r:id="rId207"/>
    <p:sldId id="2147475372" r:id="rId208"/>
    <p:sldId id="2147475373" r:id="rId209"/>
    <p:sldId id="2147475374" r:id="rId210"/>
    <p:sldId id="2147475375" r:id="rId211"/>
    <p:sldId id="2147475376" r:id="rId212"/>
    <p:sldId id="2147475377" r:id="rId213"/>
    <p:sldId id="2147475378" r:id="rId214"/>
    <p:sldId id="2147475379" r:id="rId215"/>
    <p:sldId id="2147475380" r:id="rId216"/>
    <p:sldId id="2147475381" r:id="rId217"/>
    <p:sldId id="2147475382" r:id="rId218"/>
    <p:sldId id="2147475383" r:id="rId219"/>
    <p:sldId id="2147475384" r:id="rId220"/>
    <p:sldId id="2147475385" r:id="rId221"/>
    <p:sldId id="2147475386" r:id="rId222"/>
    <p:sldId id="2147475387" r:id="rId223"/>
    <p:sldId id="2147475388" r:id="rId224"/>
    <p:sldId id="2147475389" r:id="rId225"/>
    <p:sldId id="2147475390" r:id="rId226"/>
    <p:sldId id="2147475391" r:id="rId227"/>
    <p:sldId id="2147475392" r:id="rId228"/>
    <p:sldId id="2147475393" r:id="rId229"/>
    <p:sldId id="2147475394" r:id="rId230"/>
    <p:sldId id="2147475395" r:id="rId231"/>
    <p:sldId id="2147475396" r:id="rId232"/>
    <p:sldId id="2147475397" r:id="rId233"/>
    <p:sldId id="2147475398" r:id="rId234"/>
    <p:sldId id="2147475399" r:id="rId235"/>
    <p:sldId id="2147475400" r:id="rId236"/>
    <p:sldId id="2147475401" r:id="rId237"/>
    <p:sldId id="2147475402" r:id="rId238"/>
    <p:sldId id="2147475403" r:id="rId239"/>
    <p:sldId id="2147475404" r:id="rId240"/>
    <p:sldId id="2147475405" r:id="rId241"/>
    <p:sldId id="2147475406" r:id="rId242"/>
    <p:sldId id="2147475407" r:id="rId243"/>
    <p:sldId id="2147475408" r:id="rId244"/>
    <p:sldId id="2147475409" r:id="rId245"/>
    <p:sldId id="2147475410" r:id="rId246"/>
    <p:sldId id="2147475411" r:id="rId247"/>
    <p:sldId id="2147475412" r:id="rId248"/>
    <p:sldId id="2147475413" r:id="rId249"/>
    <p:sldId id="2147475414" r:id="rId250"/>
    <p:sldId id="2147475415" r:id="rId251"/>
    <p:sldId id="2147475416" r:id="rId252"/>
    <p:sldId id="2147475417" r:id="rId253"/>
    <p:sldId id="2147475418" r:id="rId254"/>
    <p:sldId id="2147475419" r:id="rId255"/>
    <p:sldId id="2147475420" r:id="rId256"/>
    <p:sldId id="2147475421" r:id="rId257"/>
    <p:sldId id="2147475422" r:id="rId258"/>
    <p:sldId id="2147475423" r:id="rId259"/>
    <p:sldId id="2147475424" r:id="rId260"/>
    <p:sldId id="2147475425" r:id="rId261"/>
    <p:sldId id="2147475426" r:id="rId262"/>
    <p:sldId id="2147475427" r:id="rId263"/>
    <p:sldId id="2147475428" r:id="rId264"/>
    <p:sldId id="2147475429" r:id="rId265"/>
    <p:sldId id="2147475430" r:id="rId266"/>
    <p:sldId id="2147475431" r:id="rId267"/>
    <p:sldId id="2147475432" r:id="rId268"/>
    <p:sldId id="2147475433" r:id="rId269"/>
    <p:sldId id="2147475434" r:id="rId270"/>
    <p:sldId id="2147475435" r:id="rId271"/>
    <p:sldId id="2147475436" r:id="rId272"/>
    <p:sldId id="2147475437" r:id="rId273"/>
    <p:sldId id="2147475438" r:id="rId274"/>
    <p:sldId id="2147475439" r:id="rId275"/>
    <p:sldId id="2147475440" r:id="rId276"/>
    <p:sldId id="2147475441" r:id="rId277"/>
    <p:sldId id="2147475442" r:id="rId278"/>
    <p:sldId id="2147475443" r:id="rId279"/>
    <p:sldId id="2147475444" r:id="rId280"/>
    <p:sldId id="2147475445" r:id="rId281"/>
    <p:sldId id="2147475446" r:id="rId282"/>
    <p:sldId id="2147475447" r:id="rId283"/>
    <p:sldId id="2147475448" r:id="rId284"/>
    <p:sldId id="2147475449" r:id="rId285"/>
    <p:sldId id="2147475450" r:id="rId286"/>
    <p:sldId id="2147475451" r:id="rId287"/>
    <p:sldId id="2147475452" r:id="rId288"/>
    <p:sldId id="2147475453" r:id="rId289"/>
    <p:sldId id="2147475454" r:id="rId290"/>
    <p:sldId id="2147475455" r:id="rId291"/>
    <p:sldId id="2147475456" r:id="rId292"/>
    <p:sldId id="2147475457" r:id="rId293"/>
    <p:sldId id="2147475458" r:id="rId294"/>
    <p:sldId id="2147475459" r:id="rId295"/>
    <p:sldId id="2147475460" r:id="rId296"/>
    <p:sldId id="2147475461" r:id="rId297"/>
    <p:sldId id="2147475462" r:id="rId298"/>
    <p:sldId id="2147475463" r:id="rId299"/>
    <p:sldId id="2147475464" r:id="rId300"/>
    <p:sldId id="2147475465" r:id="rId301"/>
    <p:sldId id="2147475466" r:id="rId302"/>
    <p:sldId id="2147475467" r:id="rId303"/>
    <p:sldId id="2147475468" r:id="rId304"/>
    <p:sldId id="2147475469" r:id="rId305"/>
    <p:sldId id="2147475470" r:id="rId306"/>
    <p:sldId id="2147475471" r:id="rId307"/>
    <p:sldId id="2147475472" r:id="rId308"/>
    <p:sldId id="2147475473" r:id="rId309"/>
    <p:sldId id="2147475474" r:id="rId310"/>
    <p:sldId id="2147475475" r:id="rId311"/>
    <p:sldId id="2147475476" r:id="rId312"/>
    <p:sldId id="2147475477" r:id="rId313"/>
    <p:sldId id="2147475478" r:id="rId314"/>
    <p:sldId id="2147475479" r:id="rId315"/>
    <p:sldId id="2147475480" r:id="rId316"/>
    <p:sldId id="2147475481" r:id="rId317"/>
    <p:sldId id="2147475482" r:id="rId318"/>
    <p:sldId id="2147475483" r:id="rId319"/>
    <p:sldId id="2147475484" r:id="rId320"/>
    <p:sldId id="2147475485" r:id="rId321"/>
    <p:sldId id="2147475486" r:id="rId322"/>
    <p:sldId id="2147475487" r:id="rId323"/>
    <p:sldId id="2147475488" r:id="rId324"/>
    <p:sldId id="2147475489" r:id="rId325"/>
    <p:sldId id="2147475490" r:id="rId326"/>
    <p:sldId id="2147475491" r:id="rId327"/>
    <p:sldId id="2147475492" r:id="rId328"/>
    <p:sldId id="2147475493" r:id="rId329"/>
    <p:sldId id="2147475494" r:id="rId330"/>
    <p:sldId id="2147475495" r:id="rId331"/>
    <p:sldId id="2147475496" r:id="rId332"/>
    <p:sldId id="2147475497" r:id="rId333"/>
    <p:sldId id="2147475498" r:id="rId334"/>
    <p:sldId id="2147475499" r:id="rId335"/>
    <p:sldId id="2147475500" r:id="rId336"/>
    <p:sldId id="2147475501" r:id="rId337"/>
    <p:sldId id="2147475502" r:id="rId338"/>
    <p:sldId id="2147475503" r:id="rId339"/>
    <p:sldId id="2147475504" r:id="rId340"/>
    <p:sldId id="2147475505" r:id="rId341"/>
    <p:sldId id="2147475506" r:id="rId342"/>
    <p:sldId id="2147475507" r:id="rId343"/>
    <p:sldId id="2147475508" r:id="rId344"/>
    <p:sldId id="2147475509" r:id="rId345"/>
    <p:sldId id="2147475510" r:id="rId346"/>
    <p:sldId id="2147475511" r:id="rId347"/>
    <p:sldId id="2147475512" r:id="rId348"/>
    <p:sldId id="2147475513" r:id="rId349"/>
    <p:sldId id="2147475514" r:id="rId350"/>
    <p:sldId id="2147475515" r:id="rId351"/>
    <p:sldId id="2147475516" r:id="rId352"/>
    <p:sldId id="2147475517" r:id="rId353"/>
    <p:sldId id="2147475518" r:id="rId354"/>
    <p:sldId id="2147475519" r:id="rId355"/>
    <p:sldId id="2147475520" r:id="rId356"/>
    <p:sldId id="2147475521" r:id="rId357"/>
    <p:sldId id="2147475522" r:id="rId358"/>
    <p:sldId id="2147475523" r:id="rId359"/>
    <p:sldId id="2147475524" r:id="rId360"/>
    <p:sldId id="2147475525" r:id="rId361"/>
    <p:sldId id="2147475526" r:id="rId362"/>
    <p:sldId id="2147475527" r:id="rId363"/>
    <p:sldId id="2147475528" r:id="rId364"/>
    <p:sldId id="2147475529" r:id="rId365"/>
    <p:sldId id="2147475530" r:id="rId366"/>
    <p:sldId id="2147475531" r:id="rId367"/>
    <p:sldId id="2147475532" r:id="rId368"/>
    <p:sldId id="2147475533" r:id="rId369"/>
    <p:sldId id="2147475534" r:id="rId370"/>
    <p:sldId id="2147475535" r:id="rId371"/>
    <p:sldId id="2147475536" r:id="rId372"/>
    <p:sldId id="2147475537" r:id="rId373"/>
    <p:sldId id="2147475538" r:id="rId374"/>
    <p:sldId id="2147475539" r:id="rId375"/>
    <p:sldId id="2147475540" r:id="rId376"/>
    <p:sldId id="2147475541" r:id="rId377"/>
    <p:sldId id="2147475542" r:id="rId378"/>
    <p:sldId id="2147475543" r:id="rId379"/>
    <p:sldId id="2147475544" r:id="rId380"/>
    <p:sldId id="2147475545" r:id="rId381"/>
    <p:sldId id="2147475546" r:id="rId382"/>
    <p:sldId id="2147475547" r:id="rId383"/>
    <p:sldId id="2147475548" r:id="rId384"/>
    <p:sldId id="2147475549" r:id="rId385"/>
    <p:sldId id="2147475550" r:id="rId386"/>
    <p:sldId id="2147475551" r:id="rId387"/>
    <p:sldId id="2147475552" r:id="rId388"/>
    <p:sldId id="2147475553" r:id="rId389"/>
    <p:sldId id="2147475554" r:id="rId390"/>
    <p:sldId id="2147475555" r:id="rId391"/>
    <p:sldId id="2147475556" r:id="rId392"/>
    <p:sldId id="2147475557" r:id="rId393"/>
    <p:sldId id="2147475558" r:id="rId394"/>
    <p:sldId id="2147475559" r:id="rId395"/>
    <p:sldId id="2147475560" r:id="rId396"/>
    <p:sldId id="2147475561" r:id="rId397"/>
    <p:sldId id="2147475562" r:id="rId398"/>
    <p:sldId id="2147475563" r:id="rId399"/>
    <p:sldId id="2147475564" r:id="rId400"/>
    <p:sldId id="2147475565" r:id="rId401"/>
    <p:sldId id="2147475566" r:id="rId402"/>
    <p:sldId id="2147475567" r:id="rId403"/>
    <p:sldId id="2147475568" r:id="rId404"/>
    <p:sldId id="2147475569" r:id="rId405"/>
    <p:sldId id="2147475570" r:id="rId406"/>
    <p:sldId id="2147475571" r:id="rId407"/>
    <p:sldId id="2147475572" r:id="rId408"/>
    <p:sldId id="2147475573" r:id="rId409"/>
    <p:sldId id="2147475574" r:id="rId410"/>
    <p:sldId id="2147475575" r:id="rId411"/>
    <p:sldId id="2147475576" r:id="rId412"/>
    <p:sldId id="2147475577" r:id="rId413"/>
    <p:sldId id="2147475578" r:id="rId414"/>
    <p:sldId id="2147475579" r:id="rId415"/>
    <p:sldId id="2147475580" r:id="rId416"/>
    <p:sldId id="2147475581" r:id="rId417"/>
    <p:sldId id="2147475582" r:id="rId418"/>
    <p:sldId id="2147475583" r:id="rId419"/>
    <p:sldId id="2147475584" r:id="rId420"/>
    <p:sldId id="2147475585" r:id="rId421"/>
    <p:sldId id="2147475586" r:id="rId422"/>
    <p:sldId id="2147475587" r:id="rId423"/>
    <p:sldId id="2147475588" r:id="rId424"/>
    <p:sldId id="2147475589" r:id="rId425"/>
    <p:sldId id="2147475590" r:id="rId426"/>
    <p:sldId id="2147475591" r:id="rId427"/>
    <p:sldId id="2147475592" r:id="rId428"/>
    <p:sldId id="2147475593" r:id="rId429"/>
    <p:sldId id="2147475594" r:id="rId430"/>
    <p:sldId id="2147475595" r:id="rId431"/>
    <p:sldId id="2147475596" r:id="rId432"/>
    <p:sldId id="2147475597" r:id="rId433"/>
    <p:sldId id="2147475598" r:id="rId434"/>
    <p:sldId id="2147475599" r:id="rId435"/>
    <p:sldId id="2147475600" r:id="rId436"/>
    <p:sldId id="2147475601" r:id="rId437"/>
    <p:sldId id="2147475602" r:id="rId438"/>
    <p:sldId id="2147475603" r:id="rId439"/>
    <p:sldId id="2147475604" r:id="rId440"/>
    <p:sldId id="2147475605" r:id="rId441"/>
    <p:sldId id="2147475606" r:id="rId442"/>
    <p:sldId id="2147475607" r:id="rId443"/>
    <p:sldId id="2147475608" r:id="rId444"/>
    <p:sldId id="2147475609" r:id="rId445"/>
    <p:sldId id="2147475610" r:id="rId446"/>
    <p:sldId id="2147475611" r:id="rId447"/>
    <p:sldId id="2147475612" r:id="rId448"/>
    <p:sldId id="2147475613" r:id="rId449"/>
    <p:sldId id="2147475614" r:id="rId450"/>
    <p:sldId id="2147475615" r:id="rId451"/>
    <p:sldId id="2147475616" r:id="rId452"/>
    <p:sldId id="2147475617" r:id="rId453"/>
    <p:sldId id="2147475618" r:id="rId454"/>
    <p:sldId id="2147475619" r:id="rId455"/>
    <p:sldId id="2147475620" r:id="rId456"/>
    <p:sldId id="2147475621" r:id="rId457"/>
    <p:sldId id="2147475622" r:id="rId458"/>
    <p:sldId id="2147475623" r:id="rId459"/>
    <p:sldId id="2147475624" r:id="rId460"/>
    <p:sldId id="2147475625" r:id="rId461"/>
    <p:sldId id="2147475626" r:id="rId462"/>
    <p:sldId id="2147475627" r:id="rId463"/>
    <p:sldId id="2147475628" r:id="rId464"/>
    <p:sldId id="2147475629" r:id="rId465"/>
    <p:sldId id="2147475630" r:id="rId466"/>
    <p:sldId id="2147475631" r:id="rId467"/>
    <p:sldId id="2147475632" r:id="rId468"/>
    <p:sldId id="2147475633" r:id="rId469"/>
    <p:sldId id="2147475634" r:id="rId470"/>
    <p:sldId id="2147475635" r:id="rId471"/>
    <p:sldId id="2147475636" r:id="rId472"/>
    <p:sldId id="2147475637" r:id="rId473"/>
    <p:sldId id="2147475638" r:id="rId474"/>
    <p:sldId id="2147475639" r:id="rId475"/>
    <p:sldId id="2147475640" r:id="rId476"/>
    <p:sldId id="2147475641" r:id="rId477"/>
    <p:sldId id="2147475642" r:id="rId478"/>
    <p:sldId id="2147475643" r:id="rId479"/>
    <p:sldId id="2147475644" r:id="rId480"/>
    <p:sldId id="2147475645" r:id="rId481"/>
    <p:sldId id="2147475646" r:id="rId482"/>
    <p:sldId id="2147475647" r:id="rId483"/>
    <p:sldId id="2147475648" r:id="rId484"/>
    <p:sldId id="2147475649" r:id="rId485"/>
    <p:sldId id="2147475650" r:id="rId486"/>
    <p:sldId id="2147475651" r:id="rId487"/>
    <p:sldId id="2147475652" r:id="rId488"/>
    <p:sldId id="2147475653" r:id="rId489"/>
    <p:sldId id="2147475654" r:id="rId490"/>
    <p:sldId id="2147475655" r:id="rId491"/>
    <p:sldId id="2147475656" r:id="rId492"/>
    <p:sldId id="2147475657" r:id="rId493"/>
    <p:sldId id="2147475658" r:id="rId494"/>
    <p:sldId id="2147475659" r:id="rId495"/>
    <p:sldId id="2147475660" r:id="rId496"/>
    <p:sldId id="2147475661" r:id="rId497"/>
    <p:sldId id="2147475662" r:id="rId498"/>
    <p:sldId id="2147475663" r:id="rId499"/>
    <p:sldId id="2147475664" r:id="rId500"/>
    <p:sldId id="2147475665" r:id="rId501"/>
    <p:sldId id="2147475666" r:id="rId502"/>
    <p:sldId id="2147475667" r:id="rId503"/>
    <p:sldId id="2147475668" r:id="rId504"/>
    <p:sldId id="2147475669" r:id="rId505"/>
    <p:sldId id="2147475670" r:id="rId506"/>
    <p:sldId id="2147475671" r:id="rId507"/>
    <p:sldId id="2147475672" r:id="rId508"/>
    <p:sldId id="2147475673" r:id="rId509"/>
    <p:sldId id="2147475674" r:id="rId510"/>
    <p:sldId id="2147475675" r:id="rId511"/>
    <p:sldId id="2147475676" r:id="rId512"/>
    <p:sldId id="2147475677" r:id="rId513"/>
    <p:sldId id="2147475678" r:id="rId514"/>
    <p:sldId id="2147475679" r:id="rId515"/>
    <p:sldId id="2147475680" r:id="rId516"/>
    <p:sldId id="2147475681" r:id="rId517"/>
    <p:sldId id="2147475682" r:id="rId518"/>
    <p:sldId id="2147475683" r:id="rId519"/>
    <p:sldId id="2147475684" r:id="rId520"/>
    <p:sldId id="2147475685" r:id="rId521"/>
    <p:sldId id="2147475686" r:id="rId522"/>
    <p:sldId id="2147475687" r:id="rId523"/>
    <p:sldId id="2147475688" r:id="rId524"/>
    <p:sldId id="2147475689" r:id="rId525"/>
    <p:sldId id="2147475690" r:id="rId526"/>
    <p:sldId id="2147475691" r:id="rId527"/>
    <p:sldId id="2147475692" r:id="rId528"/>
    <p:sldId id="2147475693" r:id="rId529"/>
    <p:sldId id="2147475694" r:id="rId530"/>
    <p:sldId id="2147475695" r:id="rId531"/>
    <p:sldId id="2147475696" r:id="rId532"/>
    <p:sldId id="2147475697" r:id="rId533"/>
    <p:sldId id="2147475698" r:id="rId534"/>
    <p:sldId id="2147475699" r:id="rId535"/>
    <p:sldId id="2147475700" r:id="rId536"/>
    <p:sldId id="2147475701" r:id="rId537"/>
    <p:sldId id="2147475702" r:id="rId538"/>
    <p:sldId id="2147475703" r:id="rId539"/>
    <p:sldId id="2147475704" r:id="rId540"/>
    <p:sldId id="2147475705" r:id="rId541"/>
    <p:sldId id="2147475706" r:id="rId542"/>
    <p:sldId id="2147475707" r:id="rId543"/>
    <p:sldId id="2147475708" r:id="rId544"/>
    <p:sldId id="2147475709" r:id="rId545"/>
    <p:sldId id="2147475710" r:id="rId546"/>
    <p:sldId id="2147475711" r:id="rId547"/>
    <p:sldId id="2147475712" r:id="rId548"/>
    <p:sldId id="2147475713" r:id="rId549"/>
    <p:sldId id="2147475714" r:id="rId550"/>
    <p:sldId id="2147475715" r:id="rId551"/>
    <p:sldId id="2147475716" r:id="rId552"/>
    <p:sldId id="2147475717" r:id="rId553"/>
    <p:sldId id="2147475718" r:id="rId554"/>
    <p:sldId id="2147475719" r:id="rId555"/>
    <p:sldId id="2147475720" r:id="rId556"/>
    <p:sldId id="2147475721" r:id="rId557"/>
    <p:sldId id="2147475722" r:id="rId558"/>
    <p:sldId id="2147475723" r:id="rId559"/>
    <p:sldId id="2147475724" r:id="rId560"/>
    <p:sldId id="2147475725" r:id="rId561"/>
    <p:sldId id="2147475726" r:id="rId562"/>
    <p:sldId id="2147475727" r:id="rId563"/>
    <p:sldId id="2147475728" r:id="rId564"/>
    <p:sldId id="2147475729" r:id="rId565"/>
    <p:sldId id="2147475730" r:id="rId566"/>
    <p:sldId id="2147475731" r:id="rId567"/>
    <p:sldId id="2147475732" r:id="rId568"/>
    <p:sldId id="2147475733" r:id="rId569"/>
    <p:sldId id="2147475734" r:id="rId570"/>
    <p:sldId id="2147475735" r:id="rId571"/>
    <p:sldId id="2147475736" r:id="rId572"/>
    <p:sldId id="2147475737" r:id="rId573"/>
    <p:sldId id="2147475738" r:id="rId574"/>
    <p:sldId id="2147475739" r:id="rId575"/>
    <p:sldId id="2147475740" r:id="rId576"/>
    <p:sldId id="2147475741" r:id="rId577"/>
    <p:sldId id="2147475742" r:id="rId578"/>
    <p:sldId id="2147475743" r:id="rId579"/>
    <p:sldId id="2147475744" r:id="rId580"/>
    <p:sldId id="2147475745" r:id="rId581"/>
    <p:sldId id="2147475746" r:id="rId582"/>
    <p:sldId id="2147475747" r:id="rId583"/>
    <p:sldId id="2147475748" r:id="rId584"/>
    <p:sldId id="2147475749" r:id="rId585"/>
    <p:sldId id="2147475750" r:id="rId586"/>
    <p:sldId id="2147475751" r:id="rId587"/>
    <p:sldId id="2147475752" r:id="rId588"/>
    <p:sldId id="2147475753" r:id="rId589"/>
    <p:sldId id="2147475754" r:id="rId590"/>
    <p:sldId id="2147475755" r:id="rId591"/>
    <p:sldId id="2147475756" r:id="rId592"/>
    <p:sldId id="2147475757" r:id="rId593"/>
    <p:sldId id="2147475758" r:id="rId594"/>
    <p:sldId id="2147475759" r:id="rId595"/>
    <p:sldId id="2147475760" r:id="rId596"/>
    <p:sldId id="2147475761" r:id="rId597"/>
    <p:sldId id="2147475762" r:id="rId598"/>
    <p:sldId id="2147475763" r:id="rId599"/>
    <p:sldId id="2147475764" r:id="rId600"/>
    <p:sldId id="2147475765" r:id="rId601"/>
    <p:sldId id="2147475766" r:id="rId602"/>
    <p:sldId id="2147475767" r:id="rId603"/>
    <p:sldId id="2147475768" r:id="rId604"/>
    <p:sldId id="2147475769" r:id="rId605"/>
    <p:sldId id="2147475770" r:id="rId606"/>
    <p:sldId id="2147475771" r:id="rId607"/>
    <p:sldId id="2147475772" r:id="rId608"/>
    <p:sldId id="2147475773" r:id="rId609"/>
    <p:sldId id="2147475774" r:id="rId610"/>
    <p:sldId id="2147475775" r:id="rId611"/>
    <p:sldId id="2147475776" r:id="rId612"/>
    <p:sldId id="2147475777" r:id="rId613"/>
    <p:sldId id="2147475778" r:id="rId614"/>
    <p:sldId id="2147475779" r:id="rId615"/>
    <p:sldId id="2147475780" r:id="rId616"/>
    <p:sldId id="2147475781" r:id="rId617"/>
    <p:sldId id="2147475782" r:id="rId61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KU Share By Brand" id="{16A66281-E998-4F48-AE7E-8732E7697EFF}">
          <p14:sldIdLst>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Lst>
        </p14:section>
        <p14:section name="Cumulative Product Shares" id="{20727AF2-8726-4859-9190-60AD3872187B}">
          <p14:sldIdLst>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Lst>
        </p14:section>
        <p14:section name="Manuf Cumulative Product Share" id="{EBEE6406-0BC4-4B9F-B509-8942DC43D3AE}">
          <p14:sldIdLst>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Lst>
        </p14:section>
        <p14:section name="Top 20 cumulative share" id="{69230868-D672-452B-9471-0A34E72C328B}">
          <p14:sldIdLst>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Lst>
        </p14:section>
        <p14:section name="SKU Productivity Analysis with TM%" id="{69665104-C129-4320-BE9B-434287F4708C}">
          <p14:sldIdLst>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Lst>
        </p14:section>
        <p14:section name="SKU Productivity Analysis with WD" id="{5B6CD1C2-A265-4C07-B5AA-3624831D2C58}">
          <p14:sldIdLst>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Lst>
        </p14:section>
        <p14:section name="Sectors Fair Share" id="{32C76555-55B6-4F0E-B74E-A2A8162961A6}">
          <p14:sldIdLst>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Lst>
        </p14:section>
        <p14:section name="Segments Fair Share" id="{A966AEF4-4F1D-4FBB-877C-0E92F6E74523}">
          <p14:sldIdLst>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Lst>
        </p14:section>
      </p14:sectionLst>
    </p:ext>
    <p:ext uri="{EFAFB233-063F-42B5-8137-9DF3F51BA10A}">
      <p15:sldGuideLst xmlns:p15="http://schemas.microsoft.com/office/powerpoint/2012/main">
        <p15:guide id="1" orient="horz" pos="917"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26EFF1-A239-452E-8245-DB8E6373D8EF}" v="3" dt="2024-11-01T08:43:25.1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106" d="100"/>
          <a:sy n="106" d="100"/>
        </p:scale>
        <p:origin x="60" y="300"/>
      </p:cViewPr>
      <p:guideLst>
        <p:guide orient="horz" pos="917"/>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324" Type="http://schemas.openxmlformats.org/officeDocument/2006/relationships/slide" Target="slides/slide320.xml"/><Relationship Id="rId531" Type="http://schemas.openxmlformats.org/officeDocument/2006/relationships/slide" Target="slides/slide527.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32" Type="http://schemas.openxmlformats.org/officeDocument/2006/relationships/slide" Target="slides/slide2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181" Type="http://schemas.openxmlformats.org/officeDocument/2006/relationships/slide" Target="slides/slide177.xml"/><Relationship Id="rId402" Type="http://schemas.openxmlformats.org/officeDocument/2006/relationships/slide" Target="slides/slide398.xml"/><Relationship Id="rId279" Type="http://schemas.openxmlformats.org/officeDocument/2006/relationships/slide" Target="slides/slide275.xml"/><Relationship Id="rId486" Type="http://schemas.openxmlformats.org/officeDocument/2006/relationships/slide" Target="slides/slide482.xml"/><Relationship Id="rId43" Type="http://schemas.openxmlformats.org/officeDocument/2006/relationships/slide" Target="slides/slide3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497" Type="http://schemas.openxmlformats.org/officeDocument/2006/relationships/slide" Target="slides/slide493.xml"/><Relationship Id="rId620" Type="http://schemas.openxmlformats.org/officeDocument/2006/relationships/presProps" Target="presProps.xml"/><Relationship Id="rId357" Type="http://schemas.openxmlformats.org/officeDocument/2006/relationships/slide" Target="slides/slide353.xml"/><Relationship Id="rId54" Type="http://schemas.openxmlformats.org/officeDocument/2006/relationships/slide" Target="slides/slide50.xml"/><Relationship Id="rId217" Type="http://schemas.openxmlformats.org/officeDocument/2006/relationships/slide" Target="slides/slide213.xml"/><Relationship Id="rId564" Type="http://schemas.openxmlformats.org/officeDocument/2006/relationships/slide" Target="slides/slide560.xml"/><Relationship Id="rId424" Type="http://schemas.openxmlformats.org/officeDocument/2006/relationships/slide" Target="slides/slide420.xml"/><Relationship Id="rId270" Type="http://schemas.openxmlformats.org/officeDocument/2006/relationships/slide" Target="slides/slide266.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228" Type="http://schemas.openxmlformats.org/officeDocument/2006/relationships/slide" Target="slides/slide224.xml"/><Relationship Id="rId435" Type="http://schemas.openxmlformats.org/officeDocument/2006/relationships/slide" Target="slides/slide431.xml"/><Relationship Id="rId281" Type="http://schemas.openxmlformats.org/officeDocument/2006/relationships/slide" Target="slides/slide277.xml"/><Relationship Id="rId502" Type="http://schemas.openxmlformats.org/officeDocument/2006/relationships/slide" Target="slides/slide498.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292" Type="http://schemas.openxmlformats.org/officeDocument/2006/relationships/slide" Target="slides/slide288.xml"/><Relationship Id="rId306" Type="http://schemas.openxmlformats.org/officeDocument/2006/relationships/slide" Target="slides/slide302.xml"/><Relationship Id="rId87" Type="http://schemas.openxmlformats.org/officeDocument/2006/relationships/slide" Target="slides/slide83.xml"/><Relationship Id="rId513" Type="http://schemas.openxmlformats.org/officeDocument/2006/relationships/slide" Target="slides/slide509.xml"/><Relationship Id="rId597" Type="http://schemas.openxmlformats.org/officeDocument/2006/relationships/slide" Target="slides/slide593.xml"/><Relationship Id="rId152" Type="http://schemas.openxmlformats.org/officeDocument/2006/relationships/slide" Target="slides/slide148.xml"/><Relationship Id="rId457" Type="http://schemas.openxmlformats.org/officeDocument/2006/relationships/slide" Target="slides/slide453.xml"/><Relationship Id="rId14" Type="http://schemas.openxmlformats.org/officeDocument/2006/relationships/slide" Target="slides/slide10.xml"/><Relationship Id="rId317" Type="http://schemas.openxmlformats.org/officeDocument/2006/relationships/slide" Target="slides/slide313.xml"/><Relationship Id="rId524" Type="http://schemas.openxmlformats.org/officeDocument/2006/relationships/slide" Target="slides/slide520.xml"/><Relationship Id="rId98" Type="http://schemas.openxmlformats.org/officeDocument/2006/relationships/slide" Target="slides/slide94.xml"/><Relationship Id="rId163" Type="http://schemas.openxmlformats.org/officeDocument/2006/relationships/slide" Target="slides/slide159.xml"/><Relationship Id="rId370" Type="http://schemas.openxmlformats.org/officeDocument/2006/relationships/slide" Target="slides/slide366.xml"/><Relationship Id="rId230" Type="http://schemas.openxmlformats.org/officeDocument/2006/relationships/slide" Target="slides/slide226.xml"/><Relationship Id="rId468" Type="http://schemas.openxmlformats.org/officeDocument/2006/relationships/slide" Target="slides/slide464.xml"/><Relationship Id="rId25" Type="http://schemas.openxmlformats.org/officeDocument/2006/relationships/slide" Target="slides/slide21.xml"/><Relationship Id="rId328" Type="http://schemas.openxmlformats.org/officeDocument/2006/relationships/slide" Target="slides/slide324.xml"/><Relationship Id="rId535" Type="http://schemas.openxmlformats.org/officeDocument/2006/relationships/slide" Target="slides/slide531.xml"/><Relationship Id="rId174" Type="http://schemas.openxmlformats.org/officeDocument/2006/relationships/slide" Target="slides/slide170.xml"/><Relationship Id="rId381" Type="http://schemas.openxmlformats.org/officeDocument/2006/relationships/slide" Target="slides/slide377.xml"/><Relationship Id="rId602" Type="http://schemas.openxmlformats.org/officeDocument/2006/relationships/slide" Target="slides/slide598.xml"/><Relationship Id="rId241" Type="http://schemas.openxmlformats.org/officeDocument/2006/relationships/slide" Target="slides/slide237.xml"/><Relationship Id="rId437" Type="http://schemas.openxmlformats.org/officeDocument/2006/relationships/slide" Target="slides/slide433.xml"/><Relationship Id="rId479" Type="http://schemas.openxmlformats.org/officeDocument/2006/relationships/slide" Target="slides/slide475.xml"/><Relationship Id="rId36" Type="http://schemas.openxmlformats.org/officeDocument/2006/relationships/slide" Target="slides/slide32.xml"/><Relationship Id="rId283" Type="http://schemas.openxmlformats.org/officeDocument/2006/relationships/slide" Target="slides/slide279.xml"/><Relationship Id="rId339" Type="http://schemas.openxmlformats.org/officeDocument/2006/relationships/slide" Target="slides/slide335.xml"/><Relationship Id="rId490" Type="http://schemas.openxmlformats.org/officeDocument/2006/relationships/slide" Target="slides/slide486.xml"/><Relationship Id="rId504" Type="http://schemas.openxmlformats.org/officeDocument/2006/relationships/slide" Target="slides/slide500.xml"/><Relationship Id="rId546" Type="http://schemas.openxmlformats.org/officeDocument/2006/relationships/slide" Target="slides/slide542.xml"/><Relationship Id="rId78" Type="http://schemas.openxmlformats.org/officeDocument/2006/relationships/slide" Target="slides/slide74.xml"/><Relationship Id="rId101" Type="http://schemas.openxmlformats.org/officeDocument/2006/relationships/slide" Target="slides/slide97.xml"/><Relationship Id="rId143" Type="http://schemas.openxmlformats.org/officeDocument/2006/relationships/slide" Target="slides/slide139.xml"/><Relationship Id="rId185" Type="http://schemas.openxmlformats.org/officeDocument/2006/relationships/slide" Target="slides/slide181.xml"/><Relationship Id="rId350" Type="http://schemas.openxmlformats.org/officeDocument/2006/relationships/slide" Target="slides/slide346.xml"/><Relationship Id="rId406" Type="http://schemas.openxmlformats.org/officeDocument/2006/relationships/slide" Target="slides/slide402.xml"/><Relationship Id="rId588" Type="http://schemas.openxmlformats.org/officeDocument/2006/relationships/slide" Target="slides/slide584.xml"/><Relationship Id="rId9" Type="http://schemas.openxmlformats.org/officeDocument/2006/relationships/slide" Target="slides/slide5.xml"/><Relationship Id="rId210" Type="http://schemas.openxmlformats.org/officeDocument/2006/relationships/slide" Target="slides/slide206.xml"/><Relationship Id="rId392" Type="http://schemas.openxmlformats.org/officeDocument/2006/relationships/slide" Target="slides/slide388.xml"/><Relationship Id="rId448" Type="http://schemas.openxmlformats.org/officeDocument/2006/relationships/slide" Target="slides/slide444.xml"/><Relationship Id="rId613" Type="http://schemas.openxmlformats.org/officeDocument/2006/relationships/slide" Target="slides/slide609.xml"/><Relationship Id="rId252" Type="http://schemas.openxmlformats.org/officeDocument/2006/relationships/slide" Target="slides/slide248.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47" Type="http://schemas.openxmlformats.org/officeDocument/2006/relationships/slide" Target="slides/slide43.xml"/><Relationship Id="rId89" Type="http://schemas.openxmlformats.org/officeDocument/2006/relationships/slide" Target="slides/slide85.xml"/><Relationship Id="rId112" Type="http://schemas.openxmlformats.org/officeDocument/2006/relationships/slide" Target="slides/slide108.xml"/><Relationship Id="rId154" Type="http://schemas.openxmlformats.org/officeDocument/2006/relationships/slide" Target="slides/slide150.xml"/><Relationship Id="rId361" Type="http://schemas.openxmlformats.org/officeDocument/2006/relationships/slide" Target="slides/slide357.xml"/><Relationship Id="rId557" Type="http://schemas.openxmlformats.org/officeDocument/2006/relationships/slide" Target="slides/slide553.xml"/><Relationship Id="rId599" Type="http://schemas.openxmlformats.org/officeDocument/2006/relationships/slide" Target="slides/slide595.xml"/><Relationship Id="rId196" Type="http://schemas.openxmlformats.org/officeDocument/2006/relationships/slide" Target="slides/slide192.xml"/><Relationship Id="rId417" Type="http://schemas.openxmlformats.org/officeDocument/2006/relationships/slide" Target="slides/slide413.xml"/><Relationship Id="rId459" Type="http://schemas.openxmlformats.org/officeDocument/2006/relationships/slide" Target="slides/slide455.xml"/><Relationship Id="rId624" Type="http://schemas.microsoft.com/office/2015/10/relationships/revisionInfo" Target="revisionInfo.xml"/><Relationship Id="rId16" Type="http://schemas.openxmlformats.org/officeDocument/2006/relationships/slide" Target="slides/slide12.xml"/><Relationship Id="rId221" Type="http://schemas.openxmlformats.org/officeDocument/2006/relationships/slide" Target="slides/slide217.xml"/><Relationship Id="rId263" Type="http://schemas.openxmlformats.org/officeDocument/2006/relationships/slide" Target="slides/slide259.xml"/><Relationship Id="rId319" Type="http://schemas.openxmlformats.org/officeDocument/2006/relationships/slide" Target="slides/slide315.xml"/><Relationship Id="rId470" Type="http://schemas.openxmlformats.org/officeDocument/2006/relationships/slide" Target="slides/slide466.xml"/><Relationship Id="rId526" Type="http://schemas.openxmlformats.org/officeDocument/2006/relationships/slide" Target="slides/slide522.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165" Type="http://schemas.openxmlformats.org/officeDocument/2006/relationships/slide" Target="slides/slide161.xml"/><Relationship Id="rId372" Type="http://schemas.openxmlformats.org/officeDocument/2006/relationships/slide" Target="slides/slide368.xml"/><Relationship Id="rId428" Type="http://schemas.openxmlformats.org/officeDocument/2006/relationships/slide" Target="slides/slide424.xml"/><Relationship Id="rId232" Type="http://schemas.openxmlformats.org/officeDocument/2006/relationships/slide" Target="slides/slide228.xml"/><Relationship Id="rId274" Type="http://schemas.openxmlformats.org/officeDocument/2006/relationships/slide" Target="slides/slide270.xml"/><Relationship Id="rId481" Type="http://schemas.openxmlformats.org/officeDocument/2006/relationships/slide" Target="slides/slide477.xml"/><Relationship Id="rId27" Type="http://schemas.openxmlformats.org/officeDocument/2006/relationships/slide" Target="slides/slide23.xml"/><Relationship Id="rId69" Type="http://schemas.openxmlformats.org/officeDocument/2006/relationships/slide" Target="slides/slide65.xml"/><Relationship Id="rId134" Type="http://schemas.openxmlformats.org/officeDocument/2006/relationships/slide" Target="slides/slide130.xml"/><Relationship Id="rId537" Type="http://schemas.openxmlformats.org/officeDocument/2006/relationships/slide" Target="slides/slide533.xml"/><Relationship Id="rId579" Type="http://schemas.openxmlformats.org/officeDocument/2006/relationships/slide" Target="slides/slide575.xml"/><Relationship Id="rId80" Type="http://schemas.openxmlformats.org/officeDocument/2006/relationships/slide" Target="slides/slide76.xml"/><Relationship Id="rId176" Type="http://schemas.openxmlformats.org/officeDocument/2006/relationships/slide" Target="slides/slide172.xml"/><Relationship Id="rId341" Type="http://schemas.openxmlformats.org/officeDocument/2006/relationships/slide" Target="slides/slide337.xml"/><Relationship Id="rId383" Type="http://schemas.openxmlformats.org/officeDocument/2006/relationships/slide" Target="slides/slide379.xml"/><Relationship Id="rId439" Type="http://schemas.openxmlformats.org/officeDocument/2006/relationships/slide" Target="slides/slide435.xml"/><Relationship Id="rId590" Type="http://schemas.openxmlformats.org/officeDocument/2006/relationships/slide" Target="slides/slide586.xml"/><Relationship Id="rId604" Type="http://schemas.openxmlformats.org/officeDocument/2006/relationships/slide" Target="slides/slide600.xml"/><Relationship Id="rId201" Type="http://schemas.openxmlformats.org/officeDocument/2006/relationships/slide" Target="slides/slide197.xml"/><Relationship Id="rId243" Type="http://schemas.openxmlformats.org/officeDocument/2006/relationships/slide" Target="slides/slide239.xml"/><Relationship Id="rId285" Type="http://schemas.openxmlformats.org/officeDocument/2006/relationships/slide" Target="slides/slide281.xml"/><Relationship Id="rId450" Type="http://schemas.openxmlformats.org/officeDocument/2006/relationships/slide" Target="slides/slide446.xml"/><Relationship Id="rId506" Type="http://schemas.openxmlformats.org/officeDocument/2006/relationships/slide" Target="slides/slide502.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492" Type="http://schemas.openxmlformats.org/officeDocument/2006/relationships/slide" Target="slides/slide488.xml"/><Relationship Id="rId548" Type="http://schemas.openxmlformats.org/officeDocument/2006/relationships/slide" Target="slides/slide544.xml"/><Relationship Id="rId91" Type="http://schemas.openxmlformats.org/officeDocument/2006/relationships/slide" Target="slides/slide87.xml"/><Relationship Id="rId145" Type="http://schemas.openxmlformats.org/officeDocument/2006/relationships/slide" Target="slides/slide141.xml"/><Relationship Id="rId187" Type="http://schemas.openxmlformats.org/officeDocument/2006/relationships/slide" Target="slides/slide183.xml"/><Relationship Id="rId352" Type="http://schemas.openxmlformats.org/officeDocument/2006/relationships/slide" Target="slides/slide348.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212" Type="http://schemas.openxmlformats.org/officeDocument/2006/relationships/slide" Target="slides/slide208.xml"/><Relationship Id="rId254" Type="http://schemas.openxmlformats.org/officeDocument/2006/relationships/slide" Target="slides/slide250.xml"/><Relationship Id="rId49" Type="http://schemas.openxmlformats.org/officeDocument/2006/relationships/slide" Target="slides/slide45.xml"/><Relationship Id="rId114" Type="http://schemas.openxmlformats.org/officeDocument/2006/relationships/slide" Target="slides/slide110.xml"/><Relationship Id="rId296" Type="http://schemas.openxmlformats.org/officeDocument/2006/relationships/slide" Target="slides/slide292.xml"/><Relationship Id="rId461" Type="http://schemas.openxmlformats.org/officeDocument/2006/relationships/slide" Target="slides/slide457.xml"/><Relationship Id="rId517" Type="http://schemas.openxmlformats.org/officeDocument/2006/relationships/slide" Target="slides/slide513.xml"/><Relationship Id="rId559" Type="http://schemas.openxmlformats.org/officeDocument/2006/relationships/slide" Target="slides/slide555.xml"/><Relationship Id="rId60" Type="http://schemas.openxmlformats.org/officeDocument/2006/relationships/slide" Target="slides/slide56.xml"/><Relationship Id="rId156" Type="http://schemas.openxmlformats.org/officeDocument/2006/relationships/slide" Target="slides/slide152.xml"/><Relationship Id="rId198" Type="http://schemas.openxmlformats.org/officeDocument/2006/relationships/slide" Target="slides/slide194.xml"/><Relationship Id="rId321" Type="http://schemas.openxmlformats.org/officeDocument/2006/relationships/slide" Target="slides/slide317.xml"/><Relationship Id="rId363" Type="http://schemas.openxmlformats.org/officeDocument/2006/relationships/slide" Target="slides/slide359.xml"/><Relationship Id="rId419" Type="http://schemas.openxmlformats.org/officeDocument/2006/relationships/slide" Target="slides/slide415.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18" Type="http://schemas.openxmlformats.org/officeDocument/2006/relationships/slide" Target="slides/slide14.xml"/><Relationship Id="rId265" Type="http://schemas.openxmlformats.org/officeDocument/2006/relationships/slide" Target="slides/slide261.xml"/><Relationship Id="rId472" Type="http://schemas.openxmlformats.org/officeDocument/2006/relationships/slide" Target="slides/slide468.xml"/><Relationship Id="rId528" Type="http://schemas.openxmlformats.org/officeDocument/2006/relationships/slide" Target="slides/slide524.xml"/><Relationship Id="rId125" Type="http://schemas.openxmlformats.org/officeDocument/2006/relationships/slide" Target="slides/slide121.xml"/><Relationship Id="rId167" Type="http://schemas.openxmlformats.org/officeDocument/2006/relationships/slide" Target="slides/slide163.xml"/><Relationship Id="rId332" Type="http://schemas.openxmlformats.org/officeDocument/2006/relationships/slide" Target="slides/slide328.xml"/><Relationship Id="rId374" Type="http://schemas.openxmlformats.org/officeDocument/2006/relationships/slide" Target="slides/slide370.xml"/><Relationship Id="rId581" Type="http://schemas.openxmlformats.org/officeDocument/2006/relationships/slide" Target="slides/slide577.xml"/><Relationship Id="rId71" Type="http://schemas.openxmlformats.org/officeDocument/2006/relationships/slide" Target="slides/slide67.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76" Type="http://schemas.openxmlformats.org/officeDocument/2006/relationships/slide" Target="slides/slide272.xml"/><Relationship Id="rId441" Type="http://schemas.openxmlformats.org/officeDocument/2006/relationships/slide" Target="slides/slide437.xml"/><Relationship Id="rId483" Type="http://schemas.openxmlformats.org/officeDocument/2006/relationships/slide" Target="slides/slide479.xml"/><Relationship Id="rId539" Type="http://schemas.openxmlformats.org/officeDocument/2006/relationships/slide" Target="slides/slide535.xml"/><Relationship Id="rId40" Type="http://schemas.openxmlformats.org/officeDocument/2006/relationships/slide" Target="slides/slide36.xml"/><Relationship Id="rId136" Type="http://schemas.openxmlformats.org/officeDocument/2006/relationships/slide" Target="slides/slide132.xml"/><Relationship Id="rId178" Type="http://schemas.openxmlformats.org/officeDocument/2006/relationships/slide" Target="slides/slide174.xml"/><Relationship Id="rId301" Type="http://schemas.openxmlformats.org/officeDocument/2006/relationships/slide" Target="slides/slide297.xml"/><Relationship Id="rId343" Type="http://schemas.openxmlformats.org/officeDocument/2006/relationships/slide" Target="slides/slide339.xml"/><Relationship Id="rId550" Type="http://schemas.openxmlformats.org/officeDocument/2006/relationships/slide" Target="slides/slide546.xml"/><Relationship Id="rId82" Type="http://schemas.openxmlformats.org/officeDocument/2006/relationships/slide" Target="slides/slide78.xml"/><Relationship Id="rId203" Type="http://schemas.openxmlformats.org/officeDocument/2006/relationships/slide" Target="slides/slide199.xml"/><Relationship Id="rId385" Type="http://schemas.openxmlformats.org/officeDocument/2006/relationships/slide" Target="slides/slide381.xml"/><Relationship Id="rId592" Type="http://schemas.openxmlformats.org/officeDocument/2006/relationships/slide" Target="slides/slide588.xml"/><Relationship Id="rId606" Type="http://schemas.openxmlformats.org/officeDocument/2006/relationships/slide" Target="slides/slide602.xml"/><Relationship Id="rId245" Type="http://schemas.openxmlformats.org/officeDocument/2006/relationships/slide" Target="slides/slide241.xml"/><Relationship Id="rId287" Type="http://schemas.openxmlformats.org/officeDocument/2006/relationships/slide" Target="slides/slide283.xml"/><Relationship Id="rId410" Type="http://schemas.openxmlformats.org/officeDocument/2006/relationships/slide" Target="slides/slide406.xml"/><Relationship Id="rId452" Type="http://schemas.openxmlformats.org/officeDocument/2006/relationships/slide" Target="slides/slide448.xml"/><Relationship Id="rId494" Type="http://schemas.openxmlformats.org/officeDocument/2006/relationships/slide" Target="slides/slide490.xml"/><Relationship Id="rId508" Type="http://schemas.openxmlformats.org/officeDocument/2006/relationships/slide" Target="slides/slide504.xml"/><Relationship Id="rId105" Type="http://schemas.openxmlformats.org/officeDocument/2006/relationships/slide" Target="slides/slide101.xml"/><Relationship Id="rId147" Type="http://schemas.openxmlformats.org/officeDocument/2006/relationships/slide" Target="slides/slide143.xml"/><Relationship Id="rId312" Type="http://schemas.openxmlformats.org/officeDocument/2006/relationships/slide" Target="slides/slide308.xml"/><Relationship Id="rId354" Type="http://schemas.openxmlformats.org/officeDocument/2006/relationships/slide" Target="slides/slide350.xml"/><Relationship Id="rId51" Type="http://schemas.openxmlformats.org/officeDocument/2006/relationships/slide" Target="slides/slide47.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561" Type="http://schemas.openxmlformats.org/officeDocument/2006/relationships/slide" Target="slides/slide557.xml"/><Relationship Id="rId617" Type="http://schemas.openxmlformats.org/officeDocument/2006/relationships/slide" Target="slides/slide613.xml"/><Relationship Id="rId214" Type="http://schemas.openxmlformats.org/officeDocument/2006/relationships/slide" Target="slides/slide210.xml"/><Relationship Id="rId256" Type="http://schemas.openxmlformats.org/officeDocument/2006/relationships/slide" Target="slides/slide252.xml"/><Relationship Id="rId298" Type="http://schemas.openxmlformats.org/officeDocument/2006/relationships/slide" Target="slides/slide294.xml"/><Relationship Id="rId421" Type="http://schemas.openxmlformats.org/officeDocument/2006/relationships/slide" Target="slides/slide417.xml"/><Relationship Id="rId463" Type="http://schemas.openxmlformats.org/officeDocument/2006/relationships/slide" Target="slides/slide459.xml"/><Relationship Id="rId519" Type="http://schemas.openxmlformats.org/officeDocument/2006/relationships/slide" Target="slides/slide515.xml"/><Relationship Id="rId116" Type="http://schemas.openxmlformats.org/officeDocument/2006/relationships/slide" Target="slides/slide112.xml"/><Relationship Id="rId158" Type="http://schemas.openxmlformats.org/officeDocument/2006/relationships/slide" Target="slides/slide154.xml"/><Relationship Id="rId323" Type="http://schemas.openxmlformats.org/officeDocument/2006/relationships/slide" Target="slides/slide319.xml"/><Relationship Id="rId530" Type="http://schemas.openxmlformats.org/officeDocument/2006/relationships/slide" Target="slides/slide526.xml"/><Relationship Id="rId20" Type="http://schemas.openxmlformats.org/officeDocument/2006/relationships/slide" Target="slides/slide16.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225" Type="http://schemas.openxmlformats.org/officeDocument/2006/relationships/slide" Target="slides/slide221.xml"/><Relationship Id="rId267" Type="http://schemas.openxmlformats.org/officeDocument/2006/relationships/slide" Target="slides/slide263.xml"/><Relationship Id="rId432" Type="http://schemas.openxmlformats.org/officeDocument/2006/relationships/slide" Target="slides/slide428.xml"/><Relationship Id="rId474" Type="http://schemas.openxmlformats.org/officeDocument/2006/relationships/slide" Target="slides/slide470.xml"/><Relationship Id="rId127" Type="http://schemas.openxmlformats.org/officeDocument/2006/relationships/slide" Target="slides/slide123.xml"/><Relationship Id="rId31" Type="http://schemas.openxmlformats.org/officeDocument/2006/relationships/slide" Target="slides/slide27.xml"/><Relationship Id="rId73" Type="http://schemas.openxmlformats.org/officeDocument/2006/relationships/slide" Target="slides/slide69.xml"/><Relationship Id="rId169" Type="http://schemas.openxmlformats.org/officeDocument/2006/relationships/slide" Target="slides/slide165.xml"/><Relationship Id="rId334" Type="http://schemas.openxmlformats.org/officeDocument/2006/relationships/slide" Target="slides/slide330.xml"/><Relationship Id="rId376" Type="http://schemas.openxmlformats.org/officeDocument/2006/relationships/slide" Target="slides/slide372.xml"/><Relationship Id="rId541" Type="http://schemas.openxmlformats.org/officeDocument/2006/relationships/slide" Target="slides/slide537.xml"/><Relationship Id="rId583" Type="http://schemas.openxmlformats.org/officeDocument/2006/relationships/slide" Target="slides/slide579.xml"/><Relationship Id="rId4" Type="http://schemas.openxmlformats.org/officeDocument/2006/relationships/slideMaster" Target="slideMasters/slideMaster1.xml"/><Relationship Id="rId180" Type="http://schemas.openxmlformats.org/officeDocument/2006/relationships/slide" Target="slides/slide176.xml"/><Relationship Id="rId236" Type="http://schemas.openxmlformats.org/officeDocument/2006/relationships/slide" Target="slides/slide232.xml"/><Relationship Id="rId278" Type="http://schemas.openxmlformats.org/officeDocument/2006/relationships/slide" Target="slides/slide274.xml"/><Relationship Id="rId401" Type="http://schemas.openxmlformats.org/officeDocument/2006/relationships/slide" Target="slides/slide397.xml"/><Relationship Id="rId443" Type="http://schemas.openxmlformats.org/officeDocument/2006/relationships/slide" Target="slides/slide439.xml"/><Relationship Id="rId303" Type="http://schemas.openxmlformats.org/officeDocument/2006/relationships/slide" Target="slides/slide299.xml"/><Relationship Id="rId485" Type="http://schemas.openxmlformats.org/officeDocument/2006/relationships/slide" Target="slides/slide481.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345" Type="http://schemas.openxmlformats.org/officeDocument/2006/relationships/slide" Target="slides/slide341.xml"/><Relationship Id="rId387" Type="http://schemas.openxmlformats.org/officeDocument/2006/relationships/slide" Target="slides/slide383.xml"/><Relationship Id="rId510" Type="http://schemas.openxmlformats.org/officeDocument/2006/relationships/slide" Target="slides/slide506.xml"/><Relationship Id="rId552" Type="http://schemas.openxmlformats.org/officeDocument/2006/relationships/slide" Target="slides/slide548.xml"/><Relationship Id="rId594" Type="http://schemas.openxmlformats.org/officeDocument/2006/relationships/slide" Target="slides/slide590.xml"/><Relationship Id="rId608" Type="http://schemas.openxmlformats.org/officeDocument/2006/relationships/slide" Target="slides/slide60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412" Type="http://schemas.openxmlformats.org/officeDocument/2006/relationships/slide" Target="slides/slide408.xml"/><Relationship Id="rId107" Type="http://schemas.openxmlformats.org/officeDocument/2006/relationships/slide" Target="slides/slide103.xml"/><Relationship Id="rId289" Type="http://schemas.openxmlformats.org/officeDocument/2006/relationships/slide" Target="slides/slide285.xml"/><Relationship Id="rId454" Type="http://schemas.openxmlformats.org/officeDocument/2006/relationships/slide" Target="slides/slide450.xml"/><Relationship Id="rId496" Type="http://schemas.openxmlformats.org/officeDocument/2006/relationships/slide" Target="slides/slide492.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356" Type="http://schemas.openxmlformats.org/officeDocument/2006/relationships/slide" Target="slides/slide352.xml"/><Relationship Id="rId398" Type="http://schemas.openxmlformats.org/officeDocument/2006/relationships/slide" Target="slides/slide394.xml"/><Relationship Id="rId521" Type="http://schemas.openxmlformats.org/officeDocument/2006/relationships/slide" Target="slides/slide517.xml"/><Relationship Id="rId563" Type="http://schemas.openxmlformats.org/officeDocument/2006/relationships/slide" Target="slides/slide559.xml"/><Relationship Id="rId619" Type="http://schemas.openxmlformats.org/officeDocument/2006/relationships/notesMaster" Target="notesMasters/notesMaster1.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423" Type="http://schemas.openxmlformats.org/officeDocument/2006/relationships/slide" Target="slides/slide419.xml"/><Relationship Id="rId258" Type="http://schemas.openxmlformats.org/officeDocument/2006/relationships/slide" Target="slides/slide254.xml"/><Relationship Id="rId465" Type="http://schemas.openxmlformats.org/officeDocument/2006/relationships/slide" Target="slides/slide461.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367" Type="http://schemas.openxmlformats.org/officeDocument/2006/relationships/slide" Target="slides/slide363.xml"/><Relationship Id="rId532" Type="http://schemas.openxmlformats.org/officeDocument/2006/relationships/slide" Target="slides/slide528.xml"/><Relationship Id="rId574" Type="http://schemas.openxmlformats.org/officeDocument/2006/relationships/slide" Target="slides/slide570.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434" Type="http://schemas.openxmlformats.org/officeDocument/2006/relationships/slide" Target="slides/slide430.xml"/><Relationship Id="rId476" Type="http://schemas.openxmlformats.org/officeDocument/2006/relationships/slide" Target="slides/slide472.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336" Type="http://schemas.openxmlformats.org/officeDocument/2006/relationships/slide" Target="slides/slide332.xml"/><Relationship Id="rId501" Type="http://schemas.openxmlformats.org/officeDocument/2006/relationships/slide" Target="slides/slide497.xml"/><Relationship Id="rId543" Type="http://schemas.openxmlformats.org/officeDocument/2006/relationships/slide" Target="slides/slide539.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378" Type="http://schemas.openxmlformats.org/officeDocument/2006/relationships/slide" Target="slides/slide374.xml"/><Relationship Id="rId403" Type="http://schemas.openxmlformats.org/officeDocument/2006/relationships/slide" Target="slides/slide399.xml"/><Relationship Id="rId585" Type="http://schemas.openxmlformats.org/officeDocument/2006/relationships/slide" Target="slides/slide581.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487" Type="http://schemas.openxmlformats.org/officeDocument/2006/relationships/slide" Target="slides/slide483.xml"/><Relationship Id="rId610" Type="http://schemas.openxmlformats.org/officeDocument/2006/relationships/slide" Target="slides/slide606.xml"/><Relationship Id="rId291" Type="http://schemas.openxmlformats.org/officeDocument/2006/relationships/slide" Target="slides/slide287.xml"/><Relationship Id="rId305" Type="http://schemas.openxmlformats.org/officeDocument/2006/relationships/slide" Target="slides/slide301.xml"/><Relationship Id="rId347" Type="http://schemas.openxmlformats.org/officeDocument/2006/relationships/slide" Target="slides/slide343.xml"/><Relationship Id="rId512" Type="http://schemas.openxmlformats.org/officeDocument/2006/relationships/slide" Target="slides/slide508.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54" Type="http://schemas.openxmlformats.org/officeDocument/2006/relationships/slide" Target="slides/slide550.xml"/><Relationship Id="rId596" Type="http://schemas.openxmlformats.org/officeDocument/2006/relationships/slide" Target="slides/slide592.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414" Type="http://schemas.openxmlformats.org/officeDocument/2006/relationships/slide" Target="slides/slide410.xml"/><Relationship Id="rId456" Type="http://schemas.openxmlformats.org/officeDocument/2006/relationships/slide" Target="slides/slide452.xml"/><Relationship Id="rId498" Type="http://schemas.openxmlformats.org/officeDocument/2006/relationships/slide" Target="slides/slide494.xml"/><Relationship Id="rId621" Type="http://schemas.openxmlformats.org/officeDocument/2006/relationships/viewProps" Target="viewProps.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23" Type="http://schemas.openxmlformats.org/officeDocument/2006/relationships/slide" Target="slides/slide519.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162" Type="http://schemas.openxmlformats.org/officeDocument/2006/relationships/slide" Target="slides/slide158.xml"/><Relationship Id="rId218" Type="http://schemas.openxmlformats.org/officeDocument/2006/relationships/slide" Target="slides/slide214.xml"/><Relationship Id="rId425" Type="http://schemas.openxmlformats.org/officeDocument/2006/relationships/slide" Target="slides/slide421.xml"/><Relationship Id="rId467" Type="http://schemas.openxmlformats.org/officeDocument/2006/relationships/slide" Target="slides/slide463.xml"/><Relationship Id="rId271" Type="http://schemas.openxmlformats.org/officeDocument/2006/relationships/slide" Target="slides/slide267.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534" Type="http://schemas.openxmlformats.org/officeDocument/2006/relationships/slide" Target="slides/slide530.xml"/><Relationship Id="rId576" Type="http://schemas.openxmlformats.org/officeDocument/2006/relationships/slide" Target="slides/slide572.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436" Type="http://schemas.openxmlformats.org/officeDocument/2006/relationships/slide" Target="slides/slide432.xml"/><Relationship Id="rId601" Type="http://schemas.openxmlformats.org/officeDocument/2006/relationships/slide" Target="slides/slide597.xml"/><Relationship Id="rId240" Type="http://schemas.openxmlformats.org/officeDocument/2006/relationships/slide" Target="slides/slide236.xml"/><Relationship Id="rId478" Type="http://schemas.openxmlformats.org/officeDocument/2006/relationships/slide" Target="slides/slide474.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503" Type="http://schemas.openxmlformats.org/officeDocument/2006/relationships/slide" Target="slides/slide499.xml"/><Relationship Id="rId545" Type="http://schemas.openxmlformats.org/officeDocument/2006/relationships/slide" Target="slides/slide541.xml"/><Relationship Id="rId587" Type="http://schemas.openxmlformats.org/officeDocument/2006/relationships/slide" Target="slides/slide583.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447" Type="http://schemas.openxmlformats.org/officeDocument/2006/relationships/slide" Target="slides/slide443.xml"/><Relationship Id="rId612" Type="http://schemas.openxmlformats.org/officeDocument/2006/relationships/slide" Target="slides/slide608.xml"/><Relationship Id="rId251" Type="http://schemas.openxmlformats.org/officeDocument/2006/relationships/slide" Target="slides/slide247.xml"/><Relationship Id="rId489" Type="http://schemas.openxmlformats.org/officeDocument/2006/relationships/slide" Target="slides/slide485.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514" Type="http://schemas.openxmlformats.org/officeDocument/2006/relationships/slide" Target="slides/slide510.xml"/><Relationship Id="rId556" Type="http://schemas.openxmlformats.org/officeDocument/2006/relationships/slide" Target="slides/slide552.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416" Type="http://schemas.openxmlformats.org/officeDocument/2006/relationships/slide" Target="slides/slide412.xml"/><Relationship Id="rId598" Type="http://schemas.openxmlformats.org/officeDocument/2006/relationships/slide" Target="slides/slide594.xml"/><Relationship Id="rId220" Type="http://schemas.openxmlformats.org/officeDocument/2006/relationships/slide" Target="slides/slide216.xml"/><Relationship Id="rId458" Type="http://schemas.openxmlformats.org/officeDocument/2006/relationships/slide" Target="slides/slide454.xml"/><Relationship Id="rId623" Type="http://schemas.openxmlformats.org/officeDocument/2006/relationships/tableStyles" Target="tableStyles.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525" Type="http://schemas.openxmlformats.org/officeDocument/2006/relationships/slide" Target="slides/slide521.xml"/><Relationship Id="rId567" Type="http://schemas.openxmlformats.org/officeDocument/2006/relationships/slide" Target="slides/slide563.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427" Type="http://schemas.openxmlformats.org/officeDocument/2006/relationships/slide" Target="slides/slide423.xml"/><Relationship Id="rId469" Type="http://schemas.openxmlformats.org/officeDocument/2006/relationships/slide" Target="slides/slide465.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480" Type="http://schemas.openxmlformats.org/officeDocument/2006/relationships/slide" Target="slides/slide476.xml"/><Relationship Id="rId536" Type="http://schemas.openxmlformats.org/officeDocument/2006/relationships/slide" Target="slides/slide532.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578" Type="http://schemas.openxmlformats.org/officeDocument/2006/relationships/slide" Target="slides/slide574.xml"/><Relationship Id="rId200" Type="http://schemas.openxmlformats.org/officeDocument/2006/relationships/slide" Target="slides/slide196.xml"/><Relationship Id="rId382" Type="http://schemas.openxmlformats.org/officeDocument/2006/relationships/slide" Target="slides/slide378.xml"/><Relationship Id="rId438" Type="http://schemas.openxmlformats.org/officeDocument/2006/relationships/slide" Target="slides/slide434.xml"/><Relationship Id="rId603" Type="http://schemas.openxmlformats.org/officeDocument/2006/relationships/slide" Target="slides/slide599.xml"/><Relationship Id="rId242" Type="http://schemas.openxmlformats.org/officeDocument/2006/relationships/slide" Target="slides/slide238.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547" Type="http://schemas.openxmlformats.org/officeDocument/2006/relationships/slide" Target="slides/slide543.xml"/><Relationship Id="rId589" Type="http://schemas.openxmlformats.org/officeDocument/2006/relationships/slide" Target="slides/slide585.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 Id="rId407" Type="http://schemas.openxmlformats.org/officeDocument/2006/relationships/slide" Target="slides/slide403.xml"/><Relationship Id="rId449" Type="http://schemas.openxmlformats.org/officeDocument/2006/relationships/slide" Target="slides/slide445.xml"/><Relationship Id="rId614" Type="http://schemas.openxmlformats.org/officeDocument/2006/relationships/slide" Target="slides/slide610.xml"/><Relationship Id="rId211" Type="http://schemas.openxmlformats.org/officeDocument/2006/relationships/slide" Target="slides/slide207.xml"/><Relationship Id="rId253" Type="http://schemas.openxmlformats.org/officeDocument/2006/relationships/slide" Target="slides/slide249.xml"/><Relationship Id="rId295" Type="http://schemas.openxmlformats.org/officeDocument/2006/relationships/slide" Target="slides/slide291.xml"/><Relationship Id="rId309" Type="http://schemas.openxmlformats.org/officeDocument/2006/relationships/slide" Target="slides/slide305.xml"/><Relationship Id="rId460" Type="http://schemas.openxmlformats.org/officeDocument/2006/relationships/slide" Target="slides/slide456.xml"/><Relationship Id="rId516" Type="http://schemas.openxmlformats.org/officeDocument/2006/relationships/slide" Target="slides/slide512.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155" Type="http://schemas.openxmlformats.org/officeDocument/2006/relationships/slide" Target="slides/slide151.xml"/><Relationship Id="rId197" Type="http://schemas.openxmlformats.org/officeDocument/2006/relationships/slide" Target="slides/slide193.xml"/><Relationship Id="rId362" Type="http://schemas.openxmlformats.org/officeDocument/2006/relationships/slide" Target="slides/slide358.xml"/><Relationship Id="rId418" Type="http://schemas.openxmlformats.org/officeDocument/2006/relationships/slide" Target="slides/slide414.xml"/><Relationship Id="rId222" Type="http://schemas.openxmlformats.org/officeDocument/2006/relationships/slide" Target="slides/slide218.xml"/><Relationship Id="rId264" Type="http://schemas.openxmlformats.org/officeDocument/2006/relationships/slide" Target="slides/slide260.xml"/><Relationship Id="rId471" Type="http://schemas.openxmlformats.org/officeDocument/2006/relationships/slide" Target="slides/slide467.xml"/><Relationship Id="rId17" Type="http://schemas.openxmlformats.org/officeDocument/2006/relationships/slide" Target="slides/slide13.xml"/><Relationship Id="rId59" Type="http://schemas.openxmlformats.org/officeDocument/2006/relationships/slide" Target="slides/slide55.xml"/><Relationship Id="rId124" Type="http://schemas.openxmlformats.org/officeDocument/2006/relationships/slide" Target="slides/slide120.xml"/><Relationship Id="rId527" Type="http://schemas.openxmlformats.org/officeDocument/2006/relationships/slide" Target="slides/slide523.xml"/><Relationship Id="rId569" Type="http://schemas.openxmlformats.org/officeDocument/2006/relationships/slide" Target="slides/slide565.xml"/><Relationship Id="rId70" Type="http://schemas.openxmlformats.org/officeDocument/2006/relationships/slide" Target="slides/slide66.xml"/><Relationship Id="rId166" Type="http://schemas.openxmlformats.org/officeDocument/2006/relationships/slide" Target="slides/slide162.xml"/><Relationship Id="rId331" Type="http://schemas.openxmlformats.org/officeDocument/2006/relationships/slide" Target="slides/slide327.xml"/><Relationship Id="rId373" Type="http://schemas.openxmlformats.org/officeDocument/2006/relationships/slide" Target="slides/slide369.xml"/><Relationship Id="rId429" Type="http://schemas.openxmlformats.org/officeDocument/2006/relationships/slide" Target="slides/slide425.xml"/><Relationship Id="rId580" Type="http://schemas.openxmlformats.org/officeDocument/2006/relationships/slide" Target="slides/slide576.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28" Type="http://schemas.openxmlformats.org/officeDocument/2006/relationships/slide" Target="slides/slide24.xml"/><Relationship Id="rId275" Type="http://schemas.openxmlformats.org/officeDocument/2006/relationships/slide" Target="slides/slide271.xml"/><Relationship Id="rId300" Type="http://schemas.openxmlformats.org/officeDocument/2006/relationships/slide" Target="slides/slide296.xml"/><Relationship Id="rId482" Type="http://schemas.openxmlformats.org/officeDocument/2006/relationships/slide" Target="slides/slide478.xml"/><Relationship Id="rId538" Type="http://schemas.openxmlformats.org/officeDocument/2006/relationships/slide" Target="slides/slide534.xml"/><Relationship Id="rId81" Type="http://schemas.openxmlformats.org/officeDocument/2006/relationships/slide" Target="slides/slide77.xml"/><Relationship Id="rId135" Type="http://schemas.openxmlformats.org/officeDocument/2006/relationships/slide" Target="slides/slide131.xml"/><Relationship Id="rId177" Type="http://schemas.openxmlformats.org/officeDocument/2006/relationships/slide" Target="slides/slide173.xml"/><Relationship Id="rId342" Type="http://schemas.openxmlformats.org/officeDocument/2006/relationships/slide" Target="slides/slide338.xml"/><Relationship Id="rId384" Type="http://schemas.openxmlformats.org/officeDocument/2006/relationships/slide" Target="slides/slide380.xml"/><Relationship Id="rId591" Type="http://schemas.openxmlformats.org/officeDocument/2006/relationships/slide" Target="slides/slide587.xml"/><Relationship Id="rId605" Type="http://schemas.openxmlformats.org/officeDocument/2006/relationships/slide" Target="slides/slide601.xml"/><Relationship Id="rId202" Type="http://schemas.openxmlformats.org/officeDocument/2006/relationships/slide" Target="slides/slide198.xml"/><Relationship Id="rId244" Type="http://schemas.openxmlformats.org/officeDocument/2006/relationships/slide" Target="slides/slide240.xml"/><Relationship Id="rId39" Type="http://schemas.openxmlformats.org/officeDocument/2006/relationships/slide" Target="slides/slide35.xml"/><Relationship Id="rId286" Type="http://schemas.openxmlformats.org/officeDocument/2006/relationships/slide" Target="slides/slide282.xml"/><Relationship Id="rId451" Type="http://schemas.openxmlformats.org/officeDocument/2006/relationships/slide" Target="slides/slide447.xml"/><Relationship Id="rId493" Type="http://schemas.openxmlformats.org/officeDocument/2006/relationships/slide" Target="slides/slide489.xml"/><Relationship Id="rId507" Type="http://schemas.openxmlformats.org/officeDocument/2006/relationships/slide" Target="slides/slide503.xml"/><Relationship Id="rId549" Type="http://schemas.openxmlformats.org/officeDocument/2006/relationships/slide" Target="slides/slide545.xml"/><Relationship Id="rId50" Type="http://schemas.openxmlformats.org/officeDocument/2006/relationships/slide" Target="slides/slide46.xml"/><Relationship Id="rId104" Type="http://schemas.openxmlformats.org/officeDocument/2006/relationships/slide" Target="slides/slide100.xml"/><Relationship Id="rId146" Type="http://schemas.openxmlformats.org/officeDocument/2006/relationships/slide" Target="slides/slide142.xml"/><Relationship Id="rId188" Type="http://schemas.openxmlformats.org/officeDocument/2006/relationships/slide" Target="slides/slide184.xml"/><Relationship Id="rId311" Type="http://schemas.openxmlformats.org/officeDocument/2006/relationships/slide" Target="slides/slide307.xml"/><Relationship Id="rId353" Type="http://schemas.openxmlformats.org/officeDocument/2006/relationships/slide" Target="slides/slide349.xml"/><Relationship Id="rId395" Type="http://schemas.openxmlformats.org/officeDocument/2006/relationships/slide" Target="slides/slide391.xml"/><Relationship Id="rId409" Type="http://schemas.openxmlformats.org/officeDocument/2006/relationships/slide" Target="slides/slide405.xml"/><Relationship Id="rId560" Type="http://schemas.openxmlformats.org/officeDocument/2006/relationships/slide" Target="slides/slide556.xml"/><Relationship Id="rId92" Type="http://schemas.openxmlformats.org/officeDocument/2006/relationships/slide" Target="slides/slide88.xml"/><Relationship Id="rId213" Type="http://schemas.openxmlformats.org/officeDocument/2006/relationships/slide" Target="slides/slide209.xml"/><Relationship Id="rId420" Type="http://schemas.openxmlformats.org/officeDocument/2006/relationships/slide" Target="slides/slide416.xml"/><Relationship Id="rId616" Type="http://schemas.openxmlformats.org/officeDocument/2006/relationships/slide" Target="slides/slide612.xml"/><Relationship Id="rId255" Type="http://schemas.openxmlformats.org/officeDocument/2006/relationships/slide" Target="slides/slide251.xml"/><Relationship Id="rId297" Type="http://schemas.openxmlformats.org/officeDocument/2006/relationships/slide" Target="slides/slide293.xml"/><Relationship Id="rId462" Type="http://schemas.openxmlformats.org/officeDocument/2006/relationships/slide" Target="slides/slide458.xml"/><Relationship Id="rId518" Type="http://schemas.openxmlformats.org/officeDocument/2006/relationships/slide" Target="slides/slide514.xml"/><Relationship Id="rId115" Type="http://schemas.openxmlformats.org/officeDocument/2006/relationships/slide" Target="slides/slide111.xml"/><Relationship Id="rId157" Type="http://schemas.openxmlformats.org/officeDocument/2006/relationships/slide" Target="slides/slide153.xml"/><Relationship Id="rId322" Type="http://schemas.openxmlformats.org/officeDocument/2006/relationships/slide" Target="slides/slide318.xml"/><Relationship Id="rId364" Type="http://schemas.openxmlformats.org/officeDocument/2006/relationships/slide" Target="slides/slide360.xml"/><Relationship Id="rId61" Type="http://schemas.openxmlformats.org/officeDocument/2006/relationships/slide" Target="slides/slide57.xml"/><Relationship Id="rId199" Type="http://schemas.openxmlformats.org/officeDocument/2006/relationships/slide" Target="slides/slide195.xml"/><Relationship Id="rId571" Type="http://schemas.openxmlformats.org/officeDocument/2006/relationships/slide" Target="slides/slide567.xml"/><Relationship Id="rId19" Type="http://schemas.openxmlformats.org/officeDocument/2006/relationships/slide" Target="slides/slide15.xml"/><Relationship Id="rId224" Type="http://schemas.openxmlformats.org/officeDocument/2006/relationships/slide" Target="slides/slide220.xml"/><Relationship Id="rId266" Type="http://schemas.openxmlformats.org/officeDocument/2006/relationships/slide" Target="slides/slide262.xml"/><Relationship Id="rId431" Type="http://schemas.openxmlformats.org/officeDocument/2006/relationships/slide" Target="slides/slide427.xml"/><Relationship Id="rId473" Type="http://schemas.openxmlformats.org/officeDocument/2006/relationships/slide" Target="slides/slide469.xml"/><Relationship Id="rId529" Type="http://schemas.openxmlformats.org/officeDocument/2006/relationships/slide" Target="slides/slide525.xml"/><Relationship Id="rId30" Type="http://schemas.openxmlformats.org/officeDocument/2006/relationships/slide" Target="slides/slide26.xml"/><Relationship Id="rId126" Type="http://schemas.openxmlformats.org/officeDocument/2006/relationships/slide" Target="slides/slide122.xml"/><Relationship Id="rId168" Type="http://schemas.openxmlformats.org/officeDocument/2006/relationships/slide" Target="slides/slide164.xml"/><Relationship Id="rId333" Type="http://schemas.openxmlformats.org/officeDocument/2006/relationships/slide" Target="slides/slide329.xml"/><Relationship Id="rId540" Type="http://schemas.openxmlformats.org/officeDocument/2006/relationships/slide" Target="slides/slide536.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3" Type="http://schemas.openxmlformats.org/officeDocument/2006/relationships/customXml" Target="../customXml/item3.xml"/><Relationship Id="rId235" Type="http://schemas.openxmlformats.org/officeDocument/2006/relationships/slide" Target="slides/slide231.xml"/><Relationship Id="rId277" Type="http://schemas.openxmlformats.org/officeDocument/2006/relationships/slide" Target="slides/slide273.xml"/><Relationship Id="rId400" Type="http://schemas.openxmlformats.org/officeDocument/2006/relationships/slide" Target="slides/slide396.xml"/><Relationship Id="rId442" Type="http://schemas.openxmlformats.org/officeDocument/2006/relationships/slide" Target="slides/slide438.xml"/><Relationship Id="rId484" Type="http://schemas.openxmlformats.org/officeDocument/2006/relationships/slide" Target="slides/slide480.xml"/><Relationship Id="rId137" Type="http://schemas.openxmlformats.org/officeDocument/2006/relationships/slide" Target="slides/slide133.xml"/><Relationship Id="rId302" Type="http://schemas.openxmlformats.org/officeDocument/2006/relationships/slide" Target="slides/slide298.xml"/><Relationship Id="rId344" Type="http://schemas.openxmlformats.org/officeDocument/2006/relationships/slide" Target="slides/slide340.xml"/><Relationship Id="rId41" Type="http://schemas.openxmlformats.org/officeDocument/2006/relationships/slide" Target="slides/slide37.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51" Type="http://schemas.openxmlformats.org/officeDocument/2006/relationships/slide" Target="slides/slide547.xml"/><Relationship Id="rId593" Type="http://schemas.openxmlformats.org/officeDocument/2006/relationships/slide" Target="slides/slide589.xml"/><Relationship Id="rId607" Type="http://schemas.openxmlformats.org/officeDocument/2006/relationships/slide" Target="slides/slide603.xml"/><Relationship Id="rId190" Type="http://schemas.openxmlformats.org/officeDocument/2006/relationships/slide" Target="slides/slide186.xml"/><Relationship Id="rId204" Type="http://schemas.openxmlformats.org/officeDocument/2006/relationships/slide" Target="slides/slide200.xml"/><Relationship Id="rId246" Type="http://schemas.openxmlformats.org/officeDocument/2006/relationships/slide" Target="slides/slide242.xml"/><Relationship Id="rId288" Type="http://schemas.openxmlformats.org/officeDocument/2006/relationships/slide" Target="slides/slide284.xml"/><Relationship Id="rId411" Type="http://schemas.openxmlformats.org/officeDocument/2006/relationships/slide" Target="slides/slide407.xml"/><Relationship Id="rId453" Type="http://schemas.openxmlformats.org/officeDocument/2006/relationships/slide" Target="slides/slide449.xml"/><Relationship Id="rId509" Type="http://schemas.openxmlformats.org/officeDocument/2006/relationships/slide" Target="slides/slide505.xml"/><Relationship Id="rId106" Type="http://schemas.openxmlformats.org/officeDocument/2006/relationships/slide" Target="slides/slide102.xml"/><Relationship Id="rId313" Type="http://schemas.openxmlformats.org/officeDocument/2006/relationships/slide" Target="slides/slide309.xml"/><Relationship Id="rId495" Type="http://schemas.openxmlformats.org/officeDocument/2006/relationships/slide" Target="slides/slide491.xml"/><Relationship Id="rId10" Type="http://schemas.openxmlformats.org/officeDocument/2006/relationships/slide" Target="slides/slide6.xml"/><Relationship Id="rId52" Type="http://schemas.openxmlformats.org/officeDocument/2006/relationships/slide" Target="slides/slide48.xml"/><Relationship Id="rId94" Type="http://schemas.openxmlformats.org/officeDocument/2006/relationships/slide" Target="slides/slide90.xml"/><Relationship Id="rId148" Type="http://schemas.openxmlformats.org/officeDocument/2006/relationships/slide" Target="slides/slide144.xml"/><Relationship Id="rId355" Type="http://schemas.openxmlformats.org/officeDocument/2006/relationships/slide" Target="slides/slide351.xml"/><Relationship Id="rId397" Type="http://schemas.openxmlformats.org/officeDocument/2006/relationships/slide" Target="slides/slide393.xml"/><Relationship Id="rId520" Type="http://schemas.openxmlformats.org/officeDocument/2006/relationships/slide" Target="slides/slide516.xml"/><Relationship Id="rId562" Type="http://schemas.openxmlformats.org/officeDocument/2006/relationships/slide" Target="slides/slide558.xml"/><Relationship Id="rId618" Type="http://schemas.openxmlformats.org/officeDocument/2006/relationships/slide" Target="slides/slide614.xml"/><Relationship Id="rId215" Type="http://schemas.openxmlformats.org/officeDocument/2006/relationships/slide" Target="slides/slide211.xml"/><Relationship Id="rId257" Type="http://schemas.openxmlformats.org/officeDocument/2006/relationships/slide" Target="slides/slide253.xml"/><Relationship Id="rId422" Type="http://schemas.openxmlformats.org/officeDocument/2006/relationships/slide" Target="slides/slide418.xml"/><Relationship Id="rId464" Type="http://schemas.openxmlformats.org/officeDocument/2006/relationships/slide" Target="slides/slide460.xml"/><Relationship Id="rId299" Type="http://schemas.openxmlformats.org/officeDocument/2006/relationships/slide" Target="slides/slide295.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226" Type="http://schemas.openxmlformats.org/officeDocument/2006/relationships/slide" Target="slides/slide222.xml"/><Relationship Id="rId433" Type="http://schemas.openxmlformats.org/officeDocument/2006/relationships/slide" Target="slides/slide429.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slide" Target="slides/slide580.xml"/><Relationship Id="rId5" Type="http://schemas.openxmlformats.org/officeDocument/2006/relationships/slide" Target="slides/slide1.xml"/><Relationship Id="rId237" Type="http://schemas.openxmlformats.org/officeDocument/2006/relationships/slide" Target="slides/slide233.xml"/><Relationship Id="rId444" Type="http://schemas.openxmlformats.org/officeDocument/2006/relationships/slide" Target="slides/slide440.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609" Type="http://schemas.openxmlformats.org/officeDocument/2006/relationships/slide" Target="slides/slide605.xml"/><Relationship Id="rId85" Type="http://schemas.openxmlformats.org/officeDocument/2006/relationships/slide" Target="slides/slide81.xml"/><Relationship Id="rId150" Type="http://schemas.openxmlformats.org/officeDocument/2006/relationships/slide" Target="slides/slide146.xml"/><Relationship Id="rId595" Type="http://schemas.openxmlformats.org/officeDocument/2006/relationships/slide" Target="slides/slide591.xml"/><Relationship Id="rId248" Type="http://schemas.openxmlformats.org/officeDocument/2006/relationships/slide" Target="slides/slide244.xml"/><Relationship Id="rId455" Type="http://schemas.openxmlformats.org/officeDocument/2006/relationships/slide" Target="slides/slide451.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259" Type="http://schemas.openxmlformats.org/officeDocument/2006/relationships/slide" Target="slides/slide255.xml"/><Relationship Id="rId466" Type="http://schemas.openxmlformats.org/officeDocument/2006/relationships/slide" Target="slides/slide462.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172" Type="http://schemas.openxmlformats.org/officeDocument/2006/relationships/slide" Target="slides/slide168.xml"/><Relationship Id="rId477" Type="http://schemas.openxmlformats.org/officeDocument/2006/relationships/slide" Target="slides/slide473.xml"/><Relationship Id="rId600" Type="http://schemas.openxmlformats.org/officeDocument/2006/relationships/slide" Target="slides/slide596.xml"/><Relationship Id="rId337" Type="http://schemas.openxmlformats.org/officeDocument/2006/relationships/slide" Target="slides/slide333.xml"/><Relationship Id="rId34" Type="http://schemas.openxmlformats.org/officeDocument/2006/relationships/slide" Target="slides/slide30.xml"/><Relationship Id="rId544" Type="http://schemas.openxmlformats.org/officeDocument/2006/relationships/slide" Target="slides/slide540.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611" Type="http://schemas.openxmlformats.org/officeDocument/2006/relationships/slide" Target="slides/slide607.xml"/><Relationship Id="rId250" Type="http://schemas.openxmlformats.org/officeDocument/2006/relationships/slide" Target="slides/slide246.xml"/><Relationship Id="rId488" Type="http://schemas.openxmlformats.org/officeDocument/2006/relationships/slide" Target="slides/slide484.xml"/><Relationship Id="rId45" Type="http://schemas.openxmlformats.org/officeDocument/2006/relationships/slide" Target="slides/slide4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theme" Target="theme/theme1.xml"/><Relationship Id="rId261" Type="http://schemas.openxmlformats.org/officeDocument/2006/relationships/slide" Target="slides/slide257.xml"/><Relationship Id="rId499" Type="http://schemas.openxmlformats.org/officeDocument/2006/relationships/slide" Target="slides/slide495.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132" Type="http://schemas.openxmlformats.org/officeDocument/2006/relationships/slide" Target="slides/slide12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Caprice Des Dieux</c:v>
                </c:pt>
                <c:pt idx="4">
                  <c:v>St Moret</c:v>
                </c:pt>
                <c:pt idx="5">
                  <c:v>La Vache Qui Rit</c:v>
                </c:pt>
                <c:pt idx="6">
                  <c:v>Coeur De Lion</c:v>
                </c:pt>
                <c:pt idx="7">
                  <c:v>Kiri</c:v>
                </c:pt>
                <c:pt idx="8">
                  <c:v>Boursin</c:v>
                </c:pt>
                <c:pt idx="9">
                  <c:v>Others</c:v>
                </c:pt>
              </c:strCache>
            </c:strRef>
          </c:cat>
          <c:val>
            <c:numRef>
              <c:f>Sheet1!$B$2:$B$11</c:f>
              <c:numCache>
                <c:formatCode>General</c:formatCode>
                <c:ptCount val="10"/>
                <c:pt idx="0">
                  <c:v>0.40686721090165656</c:v>
                </c:pt>
                <c:pt idx="1">
                  <c:v>5.5354070928217675E-2</c:v>
                </c:pt>
                <c:pt idx="2">
                  <c:v>2.9682414115805807E-2</c:v>
                </c:pt>
                <c:pt idx="3">
                  <c:v>2.6565256842114832E-2</c:v>
                </c:pt>
                <c:pt idx="4">
                  <c:v>2.6278066964213219E-2</c:v>
                </c:pt>
                <c:pt idx="5">
                  <c:v>2.6241834120155169E-2</c:v>
                </c:pt>
                <c:pt idx="6">
                  <c:v>2.1033356253661446E-2</c:v>
                </c:pt>
                <c:pt idx="7">
                  <c:v>1.8632856836889946E-2</c:v>
                </c:pt>
                <c:pt idx="8">
                  <c:v>1.5990723189821733E-2</c:v>
                </c:pt>
                <c:pt idx="9">
                  <c:v>0.3733542098474635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Caprice Des Dieux</c:v>
                </c:pt>
                <c:pt idx="4">
                  <c:v>St Moret</c:v>
                </c:pt>
                <c:pt idx="5">
                  <c:v>La Vache Qui Rit</c:v>
                </c:pt>
                <c:pt idx="6">
                  <c:v>Coeur De Lion</c:v>
                </c:pt>
                <c:pt idx="7">
                  <c:v>Kiri</c:v>
                </c:pt>
                <c:pt idx="8">
                  <c:v>Boursin</c:v>
                </c:pt>
                <c:pt idx="9">
                  <c:v>Others</c:v>
                </c:pt>
              </c:strCache>
            </c:strRef>
          </c:cat>
          <c:val>
            <c:numRef>
              <c:f>Sheet1!$C$2:$C$11</c:f>
              <c:numCache>
                <c:formatCode>General</c:formatCode>
                <c:ptCount val="10"/>
                <c:pt idx="0">
                  <c:v>0.21838106370543572</c:v>
                </c:pt>
                <c:pt idx="1">
                  <c:v>4.503823300214306E-2</c:v>
                </c:pt>
                <c:pt idx="2">
                  <c:v>1.9524400935125689E-2</c:v>
                </c:pt>
                <c:pt idx="3">
                  <c:v>1.2032437171244909E-2</c:v>
                </c:pt>
                <c:pt idx="4">
                  <c:v>1.7456896551724166E-2</c:v>
                </c:pt>
                <c:pt idx="5">
                  <c:v>1.2243083966491351E-2</c:v>
                </c:pt>
                <c:pt idx="6">
                  <c:v>9.2246249756477838E-3</c:v>
                </c:pt>
                <c:pt idx="7">
                  <c:v>1.0920757841418292E-2</c:v>
                </c:pt>
                <c:pt idx="8">
                  <c:v>2.2388223261250766E-2</c:v>
                </c:pt>
                <c:pt idx="9">
                  <c:v>0.6327902785895185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Caprice Des Dieux</c:v>
                </c:pt>
                <c:pt idx="4">
                  <c:v>St Moret</c:v>
                </c:pt>
                <c:pt idx="5">
                  <c:v>La Vache Qui Rit</c:v>
                </c:pt>
                <c:pt idx="6">
                  <c:v>Coeur De Lion</c:v>
                </c:pt>
                <c:pt idx="7">
                  <c:v>Kiri</c:v>
                </c:pt>
                <c:pt idx="8">
                  <c:v>Boursin</c:v>
                </c:pt>
                <c:pt idx="9">
                  <c:v>Others</c:v>
                </c:pt>
              </c:strCache>
            </c:strRef>
          </c:cat>
          <c:val>
            <c:numRef>
              <c:f>Sheet1!$D$2:$D$11</c:f>
              <c:numCache>
                <c:formatCode>General</c:formatCode>
                <c:ptCount val="10"/>
                <c:pt idx="0">
                  <c:v>53.673792788925525</c:v>
                </c:pt>
                <c:pt idx="1">
                  <c:v>81.363903768790493</c:v>
                </c:pt>
                <c:pt idx="2">
                  <c:v>65.777671785560727</c:v>
                </c:pt>
                <c:pt idx="3">
                  <c:v>45.293886081197094</c:v>
                </c:pt>
                <c:pt idx="4">
                  <c:v>66.431433390811577</c:v>
                </c:pt>
                <c:pt idx="5">
                  <c:v>46.654833310938393</c:v>
                </c:pt>
                <c:pt idx="6">
                  <c:v>43.857123249371952</c:v>
                </c:pt>
                <c:pt idx="7">
                  <c:v>58.610217085965118</c:v>
                </c:pt>
                <c:pt idx="8">
                  <c:v>140.00757186204754</c:v>
                </c:pt>
                <c:pt idx="9">
                  <c:v>169.4879184161468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Galbani</c:v>
                </c:pt>
                <c:pt idx="6">
                  <c:v>La Vache Qui Rit</c:v>
                </c:pt>
                <c:pt idx="7">
                  <c:v>Kiri</c:v>
                </c:pt>
                <c:pt idx="8">
                  <c:v>Boursin</c:v>
                </c:pt>
                <c:pt idx="9">
                  <c:v>Others</c:v>
                </c:pt>
              </c:strCache>
            </c:strRef>
          </c:cat>
          <c:val>
            <c:numRef>
              <c:f>Sheet1!$B$2:$B$11</c:f>
              <c:numCache>
                <c:formatCode>General</c:formatCode>
                <c:ptCount val="10"/>
                <c:pt idx="0">
                  <c:v>0.33022482138697828</c:v>
                </c:pt>
                <c:pt idx="1">
                  <c:v>6.8292386516392953E-2</c:v>
                </c:pt>
                <c:pt idx="2">
                  <c:v>5.7580975192351544E-2</c:v>
                </c:pt>
                <c:pt idx="3">
                  <c:v>5.2601521923312217E-2</c:v>
                </c:pt>
                <c:pt idx="4">
                  <c:v>5.1137550922502238E-2</c:v>
                </c:pt>
                <c:pt idx="5">
                  <c:v>4.0623530900481826E-2</c:v>
                </c:pt>
                <c:pt idx="6">
                  <c:v>3.9219927615179638E-2</c:v>
                </c:pt>
                <c:pt idx="7">
                  <c:v>2.9905163031804866E-2</c:v>
                </c:pt>
                <c:pt idx="8">
                  <c:v>2.7474686127739092E-2</c:v>
                </c:pt>
                <c:pt idx="9">
                  <c:v>0.3029394363832573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Galbani</c:v>
                </c:pt>
                <c:pt idx="6">
                  <c:v>La Vache Qui Rit</c:v>
                </c:pt>
                <c:pt idx="7">
                  <c:v>Kiri</c:v>
                </c:pt>
                <c:pt idx="8">
                  <c:v>Boursin</c:v>
                </c:pt>
                <c:pt idx="9">
                  <c:v>Others</c:v>
                </c:pt>
              </c:strCache>
            </c:strRef>
          </c:cat>
          <c:val>
            <c:numRef>
              <c:f>Sheet1!$C$2:$C$11</c:f>
              <c:numCache>
                <c:formatCode>General</c:formatCode>
                <c:ptCount val="10"/>
                <c:pt idx="0">
                  <c:v>0.22640994995144531</c:v>
                </c:pt>
                <c:pt idx="1">
                  <c:v>4.3807425113916471E-2</c:v>
                </c:pt>
                <c:pt idx="2">
                  <c:v>5.3002913274071847E-2</c:v>
                </c:pt>
                <c:pt idx="3">
                  <c:v>3.0682751923507872E-2</c:v>
                </c:pt>
                <c:pt idx="4">
                  <c:v>3.3614700829162611E-2</c:v>
                </c:pt>
                <c:pt idx="5">
                  <c:v>4.2668260252483749E-2</c:v>
                </c:pt>
                <c:pt idx="6">
                  <c:v>3.1000224098005517E-2</c:v>
                </c:pt>
                <c:pt idx="7">
                  <c:v>4.0920295809367291E-2</c:v>
                </c:pt>
                <c:pt idx="8">
                  <c:v>5.5796668409651154E-2</c:v>
                </c:pt>
                <c:pt idx="9">
                  <c:v>0.4420968103383878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Galbani</c:v>
                </c:pt>
                <c:pt idx="6">
                  <c:v>La Vache Qui Rit</c:v>
                </c:pt>
                <c:pt idx="7">
                  <c:v>Kiri</c:v>
                </c:pt>
                <c:pt idx="8">
                  <c:v>Boursin</c:v>
                </c:pt>
                <c:pt idx="9">
                  <c:v>Others</c:v>
                </c:pt>
              </c:strCache>
            </c:strRef>
          </c:cat>
          <c:val>
            <c:numRef>
              <c:f>Sheet1!$D$2:$D$11</c:f>
              <c:numCache>
                <c:formatCode>General</c:formatCode>
                <c:ptCount val="10"/>
                <c:pt idx="0">
                  <c:v>68.562365784770563</c:v>
                </c:pt>
                <c:pt idx="1">
                  <c:v>64.146865190310649</c:v>
                </c:pt>
                <c:pt idx="2">
                  <c:v>92.049349801759178</c:v>
                </c:pt>
                <c:pt idx="3">
                  <c:v>58.330540261249986</c:v>
                </c:pt>
                <c:pt idx="4">
                  <c:v>65.733888742745833</c:v>
                </c:pt>
                <c:pt idx="5">
                  <c:v>105.03336196208801</c:v>
                </c:pt>
                <c:pt idx="6">
                  <c:v>79.042022724201104</c:v>
                </c:pt>
                <c:pt idx="7">
                  <c:v>136.83354866130495</c:v>
                </c:pt>
                <c:pt idx="8">
                  <c:v>203.08391568236158</c:v>
                </c:pt>
                <c:pt idx="9">
                  <c:v>145.9357076835247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5</c:f>
              <c:strCache>
                <c:ptCount val="94"/>
                <c:pt idx="0">
                  <c:v>St Moret</c:v>
                </c:pt>
                <c:pt idx="1">
                  <c:v>Tartare</c:v>
                </c:pt>
                <c:pt idx="2">
                  <c:v>St Moret</c:v>
                </c:pt>
                <c:pt idx="3">
                  <c:v>Paysan Bret</c:v>
                </c:pt>
                <c:pt idx="4">
                  <c:v>St Moret</c:v>
                </c:pt>
                <c:pt idx="5">
                  <c:v>Carre Frais</c:v>
                </c:pt>
                <c:pt idx="6">
                  <c:v>Philadelphi</c:v>
                </c:pt>
                <c:pt idx="7">
                  <c:v>Paysan Bret</c:v>
                </c:pt>
                <c:pt idx="8">
                  <c:v>St Moret</c:v>
                </c:pt>
                <c:pt idx="9">
                  <c:v>Carre Frais</c:v>
                </c:pt>
                <c:pt idx="10">
                  <c:v>Tartare</c:v>
                </c:pt>
                <c:pt idx="11">
                  <c:v>Boursin</c:v>
                </c:pt>
                <c:pt idx="12">
                  <c:v>St Moret</c:v>
                </c:pt>
                <c:pt idx="13">
                  <c:v>Boursin</c:v>
                </c:pt>
                <c:pt idx="14">
                  <c:v>Philadelphi</c:v>
                </c:pt>
                <c:pt idx="15">
                  <c:v>Boursin</c:v>
                </c:pt>
                <c:pt idx="16">
                  <c:v>St Moret</c:v>
                </c:pt>
                <c:pt idx="17">
                  <c:v>St Moret</c:v>
                </c:pt>
                <c:pt idx="18">
                  <c:v>Private Lab</c:v>
                </c:pt>
                <c:pt idx="19">
                  <c:v>St Moret</c:v>
                </c:pt>
                <c:pt idx="20">
                  <c:v>Paysan Bret</c:v>
                </c:pt>
                <c:pt idx="21">
                  <c:v>Rondele</c:v>
                </c:pt>
                <c:pt idx="22">
                  <c:v>Paysan Bret</c:v>
                </c:pt>
                <c:pt idx="23">
                  <c:v>Private Lab</c:v>
                </c:pt>
                <c:pt idx="24">
                  <c:v>Tartare</c:v>
                </c:pt>
                <c:pt idx="25">
                  <c:v>Boursin</c:v>
                </c:pt>
                <c:pt idx="26">
                  <c:v>Private Lab</c:v>
                </c:pt>
                <c:pt idx="27">
                  <c:v>Paysan Bret</c:v>
                </c:pt>
                <c:pt idx="28">
                  <c:v>Paysan Bret</c:v>
                </c:pt>
                <c:pt idx="29">
                  <c:v>Private Lab</c:v>
                </c:pt>
                <c:pt idx="30">
                  <c:v>Tartare</c:v>
                </c:pt>
                <c:pt idx="31">
                  <c:v>Paysan Bret</c:v>
                </c:pt>
                <c:pt idx="32">
                  <c:v>Boursin</c:v>
                </c:pt>
                <c:pt idx="33">
                  <c:v>Boursin</c:v>
                </c:pt>
                <c:pt idx="34">
                  <c:v>Savencia: A</c:v>
                </c:pt>
                <c:pt idx="35">
                  <c:v>St Moret</c:v>
                </c:pt>
                <c:pt idx="36">
                  <c:v>St Moret</c:v>
                </c:pt>
                <c:pt idx="37">
                  <c:v>Tartare</c:v>
                </c:pt>
                <c:pt idx="38">
                  <c:v>Philadelphi</c:v>
                </c:pt>
                <c:pt idx="39">
                  <c:v>Kiri</c:v>
                </c:pt>
                <c:pt idx="40">
                  <c:v>Kiri</c:v>
                </c:pt>
                <c:pt idx="41">
                  <c:v>Kiri</c:v>
                </c:pt>
                <c:pt idx="42">
                  <c:v>Rondele</c:v>
                </c:pt>
                <c:pt idx="43">
                  <c:v>Rondele</c:v>
                </c:pt>
                <c:pt idx="44">
                  <c:v>Triballat R</c:v>
                </c:pt>
                <c:pt idx="45">
                  <c:v>Saint Agur</c:v>
                </c:pt>
                <c:pt idx="46">
                  <c:v>President</c:v>
                </c:pt>
                <c:pt idx="47">
                  <c:v>Lactalis: A</c:v>
                </c:pt>
                <c:pt idx="48">
                  <c:v>Boursin</c:v>
                </c:pt>
                <c:pt idx="49">
                  <c:v>Philadelphi</c:v>
                </c:pt>
                <c:pt idx="50">
                  <c:v>Paysan Bret</c:v>
                </c:pt>
                <c:pt idx="51">
                  <c:v>Private Lab</c:v>
                </c:pt>
                <c:pt idx="52">
                  <c:v>Tartare</c:v>
                </c:pt>
                <c:pt idx="53">
                  <c:v>St Moret</c:v>
                </c:pt>
                <c:pt idx="54">
                  <c:v>Paysan Bret</c:v>
                </c:pt>
                <c:pt idx="55">
                  <c:v>Paysan Bret</c:v>
                </c:pt>
                <c:pt idx="56">
                  <c:v>St Moret</c:v>
                </c:pt>
                <c:pt idx="57">
                  <c:v>Saint Agur</c:v>
                </c:pt>
                <c:pt idx="58">
                  <c:v>Tartare</c:v>
                </c:pt>
                <c:pt idx="59">
                  <c:v>Private Lab</c:v>
                </c:pt>
                <c:pt idx="60">
                  <c:v>Savencia: A</c:v>
                </c:pt>
                <c:pt idx="61">
                  <c:v>Boursin</c:v>
                </c:pt>
                <c:pt idx="62">
                  <c:v>Tartare</c:v>
                </c:pt>
                <c:pt idx="63">
                  <c:v>Tartare</c:v>
                </c:pt>
                <c:pt idx="64">
                  <c:v>All Others</c:v>
                </c:pt>
                <c:pt idx="65">
                  <c:v>Private Lab</c:v>
                </c:pt>
                <c:pt idx="66">
                  <c:v>Tartare</c:v>
                </c:pt>
                <c:pt idx="67">
                  <c:v>Private Lab</c:v>
                </c:pt>
                <c:pt idx="68">
                  <c:v>Philadelphi</c:v>
                </c:pt>
                <c:pt idx="69">
                  <c:v>Boursin</c:v>
                </c:pt>
                <c:pt idx="70">
                  <c:v>Boursin</c:v>
                </c:pt>
                <c:pt idx="71">
                  <c:v>All Others</c:v>
                </c:pt>
                <c:pt idx="72">
                  <c:v>All Others</c:v>
                </c:pt>
                <c:pt idx="73">
                  <c:v>All Others</c:v>
                </c:pt>
                <c:pt idx="74">
                  <c:v>Boursin</c:v>
                </c:pt>
                <c:pt idx="75">
                  <c:v>All Others</c:v>
                </c:pt>
                <c:pt idx="76">
                  <c:v>Carre Frais</c:v>
                </c:pt>
                <c:pt idx="77">
                  <c:v>All Others</c:v>
                </c:pt>
                <c:pt idx="78">
                  <c:v>Lactalis: A</c:v>
                </c:pt>
                <c:pt idx="79">
                  <c:v>All Others</c:v>
                </c:pt>
                <c:pt idx="80">
                  <c:v>All Others</c:v>
                </c:pt>
                <c:pt idx="81">
                  <c:v>All Others</c:v>
                </c:pt>
                <c:pt idx="82">
                  <c:v>All Others</c:v>
                </c:pt>
                <c:pt idx="83">
                  <c:v>Boursin</c:v>
                </c:pt>
                <c:pt idx="84">
                  <c:v>All Others</c:v>
                </c:pt>
                <c:pt idx="85">
                  <c:v>All Others</c:v>
                </c:pt>
                <c:pt idx="86">
                  <c:v>All Others</c:v>
                </c:pt>
                <c:pt idx="87">
                  <c:v>All Others</c:v>
                </c:pt>
                <c:pt idx="88">
                  <c:v>All Others</c:v>
                </c:pt>
                <c:pt idx="89">
                  <c:v>All Others</c:v>
                </c:pt>
                <c:pt idx="90">
                  <c:v>All Others</c:v>
                </c:pt>
                <c:pt idx="91">
                  <c:v>Boursin</c:v>
                </c:pt>
                <c:pt idx="92">
                  <c:v>Private Lab</c:v>
                </c:pt>
                <c:pt idx="93">
                  <c:v>Savencia: A</c:v>
                </c:pt>
              </c:strCache>
            </c:strRef>
          </c:cat>
          <c:val>
            <c:numRef>
              <c:f>Sheet1!$B$2:$B$95</c:f>
              <c:numCache>
                <c:formatCode>General</c:formatCode>
                <c:ptCount val="94"/>
                <c:pt idx="0">
                  <c:v>0.96</c:v>
                </c:pt>
                <c:pt idx="1">
                  <c:v>1</c:v>
                </c:pt>
                <c:pt idx="2">
                  <c:v>0.99</c:v>
                </c:pt>
                <c:pt idx="3">
                  <c:v>0.95</c:v>
                </c:pt>
                <c:pt idx="4">
                  <c:v>1</c:v>
                </c:pt>
                <c:pt idx="5">
                  <c:v>0.98</c:v>
                </c:pt>
                <c:pt idx="6">
                  <c:v>0.97</c:v>
                </c:pt>
                <c:pt idx="7">
                  <c:v>1</c:v>
                </c:pt>
                <c:pt idx="8">
                  <c:v>0.88</c:v>
                </c:pt>
                <c:pt idx="9">
                  <c:v>0.99</c:v>
                </c:pt>
                <c:pt idx="10">
                  <c:v>0.99</c:v>
                </c:pt>
                <c:pt idx="11">
                  <c:v>0.98</c:v>
                </c:pt>
                <c:pt idx="12">
                  <c:v>0.98</c:v>
                </c:pt>
                <c:pt idx="13">
                  <c:v>0.99</c:v>
                </c:pt>
                <c:pt idx="14">
                  <c:v>0.99</c:v>
                </c:pt>
                <c:pt idx="15">
                  <c:v>0.95</c:v>
                </c:pt>
                <c:pt idx="16">
                  <c:v>0.98</c:v>
                </c:pt>
                <c:pt idx="17">
                  <c:v>0.93</c:v>
                </c:pt>
                <c:pt idx="18">
                  <c:v>1</c:v>
                </c:pt>
                <c:pt idx="19">
                  <c:v>0.83</c:v>
                </c:pt>
                <c:pt idx="20">
                  <c:v>0.95</c:v>
                </c:pt>
                <c:pt idx="21">
                  <c:v>0.96</c:v>
                </c:pt>
                <c:pt idx="22">
                  <c:v>0.46</c:v>
                </c:pt>
                <c:pt idx="23">
                  <c:v>0.99</c:v>
                </c:pt>
                <c:pt idx="24">
                  <c:v>0.79</c:v>
                </c:pt>
                <c:pt idx="25">
                  <c:v>0.91</c:v>
                </c:pt>
                <c:pt idx="26">
                  <c:v>1</c:v>
                </c:pt>
                <c:pt idx="27">
                  <c:v>0.79</c:v>
                </c:pt>
                <c:pt idx="28">
                  <c:v>0.81</c:v>
                </c:pt>
                <c:pt idx="29">
                  <c:v>1</c:v>
                </c:pt>
                <c:pt idx="30">
                  <c:v>0.75</c:v>
                </c:pt>
                <c:pt idx="31">
                  <c:v>0.87</c:v>
                </c:pt>
                <c:pt idx="32">
                  <c:v>0.85</c:v>
                </c:pt>
                <c:pt idx="33">
                  <c:v>0.89</c:v>
                </c:pt>
                <c:pt idx="34">
                  <c:v>0.77</c:v>
                </c:pt>
                <c:pt idx="35">
                  <c:v>0.57999999999999996</c:v>
                </c:pt>
                <c:pt idx="36">
                  <c:v>0.39</c:v>
                </c:pt>
                <c:pt idx="37">
                  <c:v>0.65</c:v>
                </c:pt>
                <c:pt idx="38">
                  <c:v>0.67</c:v>
                </c:pt>
                <c:pt idx="39">
                  <c:v>0.63</c:v>
                </c:pt>
                <c:pt idx="40">
                  <c:v>0.54</c:v>
                </c:pt>
                <c:pt idx="41">
                  <c:v>0.62</c:v>
                </c:pt>
                <c:pt idx="42">
                  <c:v>0.83</c:v>
                </c:pt>
                <c:pt idx="43">
                  <c:v>0.85</c:v>
                </c:pt>
                <c:pt idx="44">
                  <c:v>0.45</c:v>
                </c:pt>
                <c:pt idx="45">
                  <c:v>0.39</c:v>
                </c:pt>
                <c:pt idx="46">
                  <c:v>0.6</c:v>
                </c:pt>
                <c:pt idx="47">
                  <c:v>0.66</c:v>
                </c:pt>
                <c:pt idx="48">
                  <c:v>0.65</c:v>
                </c:pt>
                <c:pt idx="49">
                  <c:v>0.59</c:v>
                </c:pt>
                <c:pt idx="50">
                  <c:v>0.78</c:v>
                </c:pt>
                <c:pt idx="51">
                  <c:v>0.84</c:v>
                </c:pt>
                <c:pt idx="52">
                  <c:v>0.28000000000000003</c:v>
                </c:pt>
                <c:pt idx="53">
                  <c:v>0.67</c:v>
                </c:pt>
                <c:pt idx="54">
                  <c:v>0.04</c:v>
                </c:pt>
                <c:pt idx="55">
                  <c:v>0.09</c:v>
                </c:pt>
                <c:pt idx="56">
                  <c:v>0.6</c:v>
                </c:pt>
                <c:pt idx="57">
                  <c:v>0.35</c:v>
                </c:pt>
                <c:pt idx="58">
                  <c:v>0.31</c:v>
                </c:pt>
                <c:pt idx="59">
                  <c:v>0.64</c:v>
                </c:pt>
                <c:pt idx="60">
                  <c:v>0.01</c:v>
                </c:pt>
                <c:pt idx="61">
                  <c:v>0.61</c:v>
                </c:pt>
                <c:pt idx="62">
                  <c:v>0.36</c:v>
                </c:pt>
                <c:pt idx="63">
                  <c:v>0.34</c:v>
                </c:pt>
                <c:pt idx="64">
                  <c:v>0.39</c:v>
                </c:pt>
                <c:pt idx="65">
                  <c:v>0.54</c:v>
                </c:pt>
                <c:pt idx="66">
                  <c:v>0.3</c:v>
                </c:pt>
                <c:pt idx="67">
                  <c:v>0.53</c:v>
                </c:pt>
                <c:pt idx="68">
                  <c:v>0.36</c:v>
                </c:pt>
                <c:pt idx="69">
                  <c:v>0.41</c:v>
                </c:pt>
                <c:pt idx="70">
                  <c:v>0.37</c:v>
                </c:pt>
                <c:pt idx="71">
                  <c:v>0.23</c:v>
                </c:pt>
                <c:pt idx="72">
                  <c:v>0.01</c:v>
                </c:pt>
                <c:pt idx="73">
                  <c:v>0.2</c:v>
                </c:pt>
                <c:pt idx="74">
                  <c:v>0.51</c:v>
                </c:pt>
                <c:pt idx="75">
                  <c:v>0.22</c:v>
                </c:pt>
                <c:pt idx="76">
                  <c:v>0.25</c:v>
                </c:pt>
                <c:pt idx="77">
                  <c:v>0.23</c:v>
                </c:pt>
                <c:pt idx="78">
                  <c:v>0.41</c:v>
                </c:pt>
                <c:pt idx="79">
                  <c:v>0.05</c:v>
                </c:pt>
                <c:pt idx="80">
                  <c:v>0.04</c:v>
                </c:pt>
                <c:pt idx="81">
                  <c:v>0.01</c:v>
                </c:pt>
                <c:pt idx="82">
                  <c:v>0.05</c:v>
                </c:pt>
                <c:pt idx="83">
                  <c:v>0.03</c:v>
                </c:pt>
                <c:pt idx="84">
                  <c:v>0.01</c:v>
                </c:pt>
                <c:pt idx="85">
                  <c:v>0.02</c:v>
                </c:pt>
                <c:pt idx="86">
                  <c:v>0.01</c:v>
                </c:pt>
                <c:pt idx="87">
                  <c:v>0.01</c:v>
                </c:pt>
                <c:pt idx="88">
                  <c:v>0.01</c:v>
                </c:pt>
                <c:pt idx="89">
                  <c:v>0.01</c:v>
                </c:pt>
                <c:pt idx="90">
                  <c:v>0.02</c:v>
                </c:pt>
                <c:pt idx="91">
                  <c:v>0.03</c:v>
                </c:pt>
                <c:pt idx="92">
                  <c:v>0.01</c:v>
                </c:pt>
                <c:pt idx="9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5</c:f>
              <c:strCache>
                <c:ptCount val="94"/>
                <c:pt idx="0">
                  <c:v>St Moret</c:v>
                </c:pt>
                <c:pt idx="1">
                  <c:v>Tartare</c:v>
                </c:pt>
                <c:pt idx="2">
                  <c:v>St Moret</c:v>
                </c:pt>
                <c:pt idx="3">
                  <c:v>Paysan Bret</c:v>
                </c:pt>
                <c:pt idx="4">
                  <c:v>St Moret</c:v>
                </c:pt>
                <c:pt idx="5">
                  <c:v>Carre Frais</c:v>
                </c:pt>
                <c:pt idx="6">
                  <c:v>Philadelphi</c:v>
                </c:pt>
                <c:pt idx="7">
                  <c:v>Paysan Bret</c:v>
                </c:pt>
                <c:pt idx="8">
                  <c:v>St Moret</c:v>
                </c:pt>
                <c:pt idx="9">
                  <c:v>Carre Frais</c:v>
                </c:pt>
                <c:pt idx="10">
                  <c:v>Tartare</c:v>
                </c:pt>
                <c:pt idx="11">
                  <c:v>Boursin</c:v>
                </c:pt>
                <c:pt idx="12">
                  <c:v>St Moret</c:v>
                </c:pt>
                <c:pt idx="13">
                  <c:v>Boursin</c:v>
                </c:pt>
                <c:pt idx="14">
                  <c:v>Philadelphi</c:v>
                </c:pt>
                <c:pt idx="15">
                  <c:v>Boursin</c:v>
                </c:pt>
                <c:pt idx="16">
                  <c:v>St Moret</c:v>
                </c:pt>
                <c:pt idx="17">
                  <c:v>St Moret</c:v>
                </c:pt>
                <c:pt idx="18">
                  <c:v>Private Lab</c:v>
                </c:pt>
                <c:pt idx="19">
                  <c:v>St Moret</c:v>
                </c:pt>
                <c:pt idx="20">
                  <c:v>Paysan Bret</c:v>
                </c:pt>
                <c:pt idx="21">
                  <c:v>Rondele</c:v>
                </c:pt>
                <c:pt idx="22">
                  <c:v>Paysan Bret</c:v>
                </c:pt>
                <c:pt idx="23">
                  <c:v>Private Lab</c:v>
                </c:pt>
                <c:pt idx="24">
                  <c:v>Tartare</c:v>
                </c:pt>
                <c:pt idx="25">
                  <c:v>Boursin</c:v>
                </c:pt>
                <c:pt idx="26">
                  <c:v>Private Lab</c:v>
                </c:pt>
                <c:pt idx="27">
                  <c:v>Paysan Bret</c:v>
                </c:pt>
                <c:pt idx="28">
                  <c:v>Paysan Bret</c:v>
                </c:pt>
                <c:pt idx="29">
                  <c:v>Private Lab</c:v>
                </c:pt>
                <c:pt idx="30">
                  <c:v>Tartare</c:v>
                </c:pt>
                <c:pt idx="31">
                  <c:v>Paysan Bret</c:v>
                </c:pt>
                <c:pt idx="32">
                  <c:v>Boursin</c:v>
                </c:pt>
                <c:pt idx="33">
                  <c:v>Boursin</c:v>
                </c:pt>
                <c:pt idx="34">
                  <c:v>Savencia: A</c:v>
                </c:pt>
                <c:pt idx="35">
                  <c:v>St Moret</c:v>
                </c:pt>
                <c:pt idx="36">
                  <c:v>St Moret</c:v>
                </c:pt>
                <c:pt idx="37">
                  <c:v>Tartare</c:v>
                </c:pt>
                <c:pt idx="38">
                  <c:v>Philadelphi</c:v>
                </c:pt>
                <c:pt idx="39">
                  <c:v>Kiri</c:v>
                </c:pt>
                <c:pt idx="40">
                  <c:v>Kiri</c:v>
                </c:pt>
                <c:pt idx="41">
                  <c:v>Kiri</c:v>
                </c:pt>
                <c:pt idx="42">
                  <c:v>Rondele</c:v>
                </c:pt>
                <c:pt idx="43">
                  <c:v>Rondele</c:v>
                </c:pt>
                <c:pt idx="44">
                  <c:v>Triballat R</c:v>
                </c:pt>
                <c:pt idx="45">
                  <c:v>Saint Agur</c:v>
                </c:pt>
                <c:pt idx="46">
                  <c:v>President</c:v>
                </c:pt>
                <c:pt idx="47">
                  <c:v>Lactalis: A</c:v>
                </c:pt>
                <c:pt idx="48">
                  <c:v>Boursin</c:v>
                </c:pt>
                <c:pt idx="49">
                  <c:v>Philadelphi</c:v>
                </c:pt>
                <c:pt idx="50">
                  <c:v>Paysan Bret</c:v>
                </c:pt>
                <c:pt idx="51">
                  <c:v>Private Lab</c:v>
                </c:pt>
                <c:pt idx="52">
                  <c:v>Tartare</c:v>
                </c:pt>
                <c:pt idx="53">
                  <c:v>St Moret</c:v>
                </c:pt>
                <c:pt idx="54">
                  <c:v>Paysan Bret</c:v>
                </c:pt>
                <c:pt idx="55">
                  <c:v>Paysan Bret</c:v>
                </c:pt>
                <c:pt idx="56">
                  <c:v>St Moret</c:v>
                </c:pt>
                <c:pt idx="57">
                  <c:v>Saint Agur</c:v>
                </c:pt>
                <c:pt idx="58">
                  <c:v>Tartare</c:v>
                </c:pt>
                <c:pt idx="59">
                  <c:v>Private Lab</c:v>
                </c:pt>
                <c:pt idx="60">
                  <c:v>Savencia: A</c:v>
                </c:pt>
                <c:pt idx="61">
                  <c:v>Boursin</c:v>
                </c:pt>
                <c:pt idx="62">
                  <c:v>Tartare</c:v>
                </c:pt>
                <c:pt idx="63">
                  <c:v>Tartare</c:v>
                </c:pt>
                <c:pt idx="64">
                  <c:v>All Others</c:v>
                </c:pt>
                <c:pt idx="65">
                  <c:v>Private Lab</c:v>
                </c:pt>
                <c:pt idx="66">
                  <c:v>Tartare</c:v>
                </c:pt>
                <c:pt idx="67">
                  <c:v>Private Lab</c:v>
                </c:pt>
                <c:pt idx="68">
                  <c:v>Philadelphi</c:v>
                </c:pt>
                <c:pt idx="69">
                  <c:v>Boursin</c:v>
                </c:pt>
                <c:pt idx="70">
                  <c:v>Boursin</c:v>
                </c:pt>
                <c:pt idx="71">
                  <c:v>All Others</c:v>
                </c:pt>
                <c:pt idx="72">
                  <c:v>All Others</c:v>
                </c:pt>
                <c:pt idx="73">
                  <c:v>All Others</c:v>
                </c:pt>
                <c:pt idx="74">
                  <c:v>Boursin</c:v>
                </c:pt>
                <c:pt idx="75">
                  <c:v>All Others</c:v>
                </c:pt>
                <c:pt idx="76">
                  <c:v>Carre Frais</c:v>
                </c:pt>
                <c:pt idx="77">
                  <c:v>All Others</c:v>
                </c:pt>
                <c:pt idx="78">
                  <c:v>Lactalis: A</c:v>
                </c:pt>
                <c:pt idx="79">
                  <c:v>All Others</c:v>
                </c:pt>
                <c:pt idx="80">
                  <c:v>All Others</c:v>
                </c:pt>
                <c:pt idx="81">
                  <c:v>All Others</c:v>
                </c:pt>
                <c:pt idx="82">
                  <c:v>All Others</c:v>
                </c:pt>
                <c:pt idx="83">
                  <c:v>Boursin</c:v>
                </c:pt>
                <c:pt idx="84">
                  <c:v>All Others</c:v>
                </c:pt>
                <c:pt idx="85">
                  <c:v>All Others</c:v>
                </c:pt>
                <c:pt idx="86">
                  <c:v>All Others</c:v>
                </c:pt>
                <c:pt idx="87">
                  <c:v>All Others</c:v>
                </c:pt>
                <c:pt idx="88">
                  <c:v>All Others</c:v>
                </c:pt>
                <c:pt idx="89">
                  <c:v>All Others</c:v>
                </c:pt>
                <c:pt idx="90">
                  <c:v>All Others</c:v>
                </c:pt>
                <c:pt idx="91">
                  <c:v>Boursin</c:v>
                </c:pt>
                <c:pt idx="92">
                  <c:v>Private Lab</c:v>
                </c:pt>
                <c:pt idx="93">
                  <c:v>Savencia: A</c:v>
                </c:pt>
              </c:strCache>
            </c:strRef>
          </c:cat>
          <c:val>
            <c:numRef>
              <c:f>Sheet1!$C$2:$C$95</c:f>
              <c:numCache>
                <c:formatCode>General</c:formatCode>
                <c:ptCount val="94"/>
                <c:pt idx="0">
                  <c:v>6.2233912295986009E-2</c:v>
                </c:pt>
                <c:pt idx="1">
                  <c:v>0.11554100006720684</c:v>
                </c:pt>
                <c:pt idx="2">
                  <c:v>0.16121706500915969</c:v>
                </c:pt>
                <c:pt idx="3">
                  <c:v>0.20559213172183766</c:v>
                </c:pt>
                <c:pt idx="4">
                  <c:v>0.24699686967269818</c:v>
                </c:pt>
                <c:pt idx="5">
                  <c:v>0.28682342777440889</c:v>
                </c:pt>
                <c:pt idx="6">
                  <c:v>0.32459439624196623</c:v>
                </c:pt>
                <c:pt idx="7">
                  <c:v>0.36220225819477836</c:v>
                </c:pt>
                <c:pt idx="8">
                  <c:v>0.43153354162399937</c:v>
                </c:pt>
                <c:pt idx="9">
                  <c:v>0.46416359662993101</c:v>
                </c:pt>
                <c:pt idx="10">
                  <c:v>0.49398297332087127</c:v>
                </c:pt>
                <c:pt idx="11">
                  <c:v>0.52350174669423999</c:v>
                </c:pt>
                <c:pt idx="12">
                  <c:v>0.55142220054209545</c:v>
                </c:pt>
                <c:pt idx="13">
                  <c:v>0.57886141558005866</c:v>
                </c:pt>
                <c:pt idx="14">
                  <c:v>0.63144069025682492</c:v>
                </c:pt>
                <c:pt idx="15">
                  <c:v>0.65526115354546455</c:v>
                </c:pt>
                <c:pt idx="16">
                  <c:v>0.67895481146440895</c:v>
                </c:pt>
                <c:pt idx="17">
                  <c:v>0.70186212690845506</c:v>
                </c:pt>
                <c:pt idx="18">
                  <c:v>0.72294834319709211</c:v>
                </c:pt>
                <c:pt idx="19">
                  <c:v>0.74155745388443017</c:v>
                </c:pt>
                <c:pt idx="20">
                  <c:v>0.75986824872361081</c:v>
                </c:pt>
                <c:pt idx="21">
                  <c:v>0.79083367245481806</c:v>
                </c:pt>
                <c:pt idx="22">
                  <c:v>0.80434968276404484</c:v>
                </c:pt>
                <c:pt idx="23">
                  <c:v>0.81734773043376374</c:v>
                </c:pt>
                <c:pt idx="24">
                  <c:v>0.83007284819306215</c:v>
                </c:pt>
                <c:pt idx="25">
                  <c:v>0.84257645437616158</c:v>
                </c:pt>
                <c:pt idx="26">
                  <c:v>0.854224522134586</c:v>
                </c:pt>
                <c:pt idx="27">
                  <c:v>0.86551974773588403</c:v>
                </c:pt>
                <c:pt idx="28">
                  <c:v>0.87560311182366346</c:v>
                </c:pt>
                <c:pt idx="29">
                  <c:v>0.88429857870822981</c:v>
                </c:pt>
                <c:pt idx="30">
                  <c:v>0.89279133104786967</c:v>
                </c:pt>
                <c:pt idx="31">
                  <c:v>0.90109066790302739</c:v>
                </c:pt>
                <c:pt idx="32">
                  <c:v>0.90929788438667125</c:v>
                </c:pt>
                <c:pt idx="33">
                  <c:v>0.91717279621031966</c:v>
                </c:pt>
                <c:pt idx="34">
                  <c:v>0.92478420150298191</c:v>
                </c:pt>
                <c:pt idx="35">
                  <c:v>0.92966844597806575</c:v>
                </c:pt>
                <c:pt idx="36">
                  <c:v>0.93383226190669488</c:v>
                </c:pt>
                <c:pt idx="37">
                  <c:v>0.93783120599092229</c:v>
                </c:pt>
                <c:pt idx="38">
                  <c:v>0.941666397101657</c:v>
                </c:pt>
                <c:pt idx="39">
                  <c:v>0.94535732845651499</c:v>
                </c:pt>
                <c:pt idx="40">
                  <c:v>0.94903252102725189</c:v>
                </c:pt>
                <c:pt idx="41">
                  <c:v>0.95266405276873689</c:v>
                </c:pt>
                <c:pt idx="42">
                  <c:v>0.95626214270193954</c:v>
                </c:pt>
                <c:pt idx="43">
                  <c:v>0.95973780329389136</c:v>
                </c:pt>
                <c:pt idx="44">
                  <c:v>0.96290390960099903</c:v>
                </c:pt>
                <c:pt idx="45">
                  <c:v>0.96599216735663296</c:v>
                </c:pt>
                <c:pt idx="46">
                  <c:v>0.96853098490451695</c:v>
                </c:pt>
                <c:pt idx="47">
                  <c:v>0.97040772923980412</c:v>
                </c:pt>
                <c:pt idx="48">
                  <c:v>0.97222119520923356</c:v>
                </c:pt>
                <c:pt idx="49">
                  <c:v>0.97403257261963272</c:v>
                </c:pt>
                <c:pt idx="50">
                  <c:v>0.97579648503968908</c:v>
                </c:pt>
                <c:pt idx="51">
                  <c:v>0.97749557753841299</c:v>
                </c:pt>
                <c:pt idx="52">
                  <c:v>0.97917627082663217</c:v>
                </c:pt>
                <c:pt idx="53">
                  <c:v>0.98076872249582225</c:v>
                </c:pt>
                <c:pt idx="54">
                  <c:v>0.98210206852626847</c:v>
                </c:pt>
                <c:pt idx="55">
                  <c:v>0.98330512825530225</c:v>
                </c:pt>
                <c:pt idx="56">
                  <c:v>0.9844794702976698</c:v>
                </c:pt>
                <c:pt idx="57">
                  <c:v>0.98654174829347951</c:v>
                </c:pt>
                <c:pt idx="58">
                  <c:v>0.98755686257358666</c:v>
                </c:pt>
                <c:pt idx="59">
                  <c:v>0.98854577041062341</c:v>
                </c:pt>
                <c:pt idx="60">
                  <c:v>0.98952677155990276</c:v>
                </c:pt>
                <c:pt idx="61">
                  <c:v>0.99045431554352625</c:v>
                </c:pt>
                <c:pt idx="62">
                  <c:v>0.99118329723648579</c:v>
                </c:pt>
                <c:pt idx="63">
                  <c:v>0.99184997025170885</c:v>
                </c:pt>
                <c:pt idx="64">
                  <c:v>0.99247139115460936</c:v>
                </c:pt>
                <c:pt idx="65">
                  <c:v>0.9930570579160154</c:v>
                </c:pt>
                <c:pt idx="66">
                  <c:v>0.99361689119132079</c:v>
                </c:pt>
                <c:pt idx="67">
                  <c:v>0.99417351703668677</c:v>
                </c:pt>
                <c:pt idx="68">
                  <c:v>0.99469796912746733</c:v>
                </c:pt>
                <c:pt idx="69">
                  <c:v>0.99519345489360189</c:v>
                </c:pt>
                <c:pt idx="70">
                  <c:v>0.99568642941614049</c:v>
                </c:pt>
                <c:pt idx="71">
                  <c:v>0.99615645465314406</c:v>
                </c:pt>
                <c:pt idx="72">
                  <c:v>0.9965583530836839</c:v>
                </c:pt>
                <c:pt idx="73">
                  <c:v>0.99692387577777986</c:v>
                </c:pt>
                <c:pt idx="74">
                  <c:v>0.99723825363943208</c:v>
                </c:pt>
                <c:pt idx="75">
                  <c:v>0.99780572010071722</c:v>
                </c:pt>
                <c:pt idx="76">
                  <c:v>0.99801865366661324</c:v>
                </c:pt>
                <c:pt idx="77">
                  <c:v>0.99822144280293368</c:v>
                </c:pt>
                <c:pt idx="78">
                  <c:v>0.99841267027319369</c:v>
                </c:pt>
                <c:pt idx="79">
                  <c:v>0.99857749238999949</c:v>
                </c:pt>
                <c:pt idx="80">
                  <c:v>0.99868965298268475</c:v>
                </c:pt>
                <c:pt idx="81">
                  <c:v>0.99890502320078278</c:v>
                </c:pt>
                <c:pt idx="82">
                  <c:v>0.99900410543573093</c:v>
                </c:pt>
                <c:pt idx="83">
                  <c:v>0.99916077222679944</c:v>
                </c:pt>
                <c:pt idx="84">
                  <c:v>0.99923029140594999</c:v>
                </c:pt>
                <c:pt idx="85">
                  <c:v>0.99929593183261578</c:v>
                </c:pt>
                <c:pt idx="86">
                  <c:v>0.99942146914861396</c:v>
                </c:pt>
                <c:pt idx="87">
                  <c:v>0.99952348531172364</c:v>
                </c:pt>
                <c:pt idx="88">
                  <c:v>0.99967607443992346</c:v>
                </c:pt>
                <c:pt idx="89">
                  <c:v>0.99987351785967826</c:v>
                </c:pt>
                <c:pt idx="90">
                  <c:v>0.99989497531733451</c:v>
                </c:pt>
                <c:pt idx="91">
                  <c:v>0.99994582178420244</c:v>
                </c:pt>
                <c:pt idx="92">
                  <c:v>0.9999964196130906</c:v>
                </c:pt>
                <c:pt idx="93">
                  <c:v>0.9999977622581814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7</c:f>
              <c:strCache>
                <c:ptCount val="46"/>
                <c:pt idx="0">
                  <c:v>St Moret</c:v>
                </c:pt>
                <c:pt idx="1">
                  <c:v>Paysan Bret</c:v>
                </c:pt>
                <c:pt idx="2">
                  <c:v>Philadelphi</c:v>
                </c:pt>
                <c:pt idx="3">
                  <c:v>Boursin</c:v>
                </c:pt>
                <c:pt idx="4">
                  <c:v>St Moret</c:v>
                </c:pt>
                <c:pt idx="5">
                  <c:v>St Moret</c:v>
                </c:pt>
                <c:pt idx="6">
                  <c:v>Tartare</c:v>
                </c:pt>
                <c:pt idx="7">
                  <c:v>Private Lab</c:v>
                </c:pt>
                <c:pt idx="8">
                  <c:v>Carre Frais</c:v>
                </c:pt>
                <c:pt idx="9">
                  <c:v>Private Lab</c:v>
                </c:pt>
                <c:pt idx="10">
                  <c:v>Boursin</c:v>
                </c:pt>
                <c:pt idx="11">
                  <c:v>Paysan Bret</c:v>
                </c:pt>
                <c:pt idx="12">
                  <c:v>Tartare</c:v>
                </c:pt>
                <c:pt idx="13">
                  <c:v>Tartare</c:v>
                </c:pt>
                <c:pt idx="14">
                  <c:v>St Moret</c:v>
                </c:pt>
                <c:pt idx="15">
                  <c:v>Private Lab</c:v>
                </c:pt>
                <c:pt idx="16">
                  <c:v>Kiri</c:v>
                </c:pt>
                <c:pt idx="17">
                  <c:v>Carre Frais</c:v>
                </c:pt>
                <c:pt idx="18">
                  <c:v>Paysan Bret</c:v>
                </c:pt>
                <c:pt idx="19">
                  <c:v>Paysan Bret</c:v>
                </c:pt>
                <c:pt idx="20">
                  <c:v>Kiri</c:v>
                </c:pt>
                <c:pt idx="21">
                  <c:v>Paysan Bret</c:v>
                </c:pt>
                <c:pt idx="22">
                  <c:v>Paysan Bret</c:v>
                </c:pt>
                <c:pt idx="23">
                  <c:v>St Moret</c:v>
                </c:pt>
                <c:pt idx="24">
                  <c:v>Private Lab</c:v>
                </c:pt>
                <c:pt idx="25">
                  <c:v>All Others</c:v>
                </c:pt>
                <c:pt idx="26">
                  <c:v>Carre Frais</c:v>
                </c:pt>
                <c:pt idx="27">
                  <c:v>Savencia: A</c:v>
                </c:pt>
                <c:pt idx="28">
                  <c:v>Paysan Bret</c:v>
                </c:pt>
                <c:pt idx="29">
                  <c:v>Boursin</c:v>
                </c:pt>
                <c:pt idx="30">
                  <c:v>Boursin</c:v>
                </c:pt>
                <c:pt idx="31">
                  <c:v>Private Lab</c:v>
                </c:pt>
                <c:pt idx="32">
                  <c:v>Boursin</c:v>
                </c:pt>
                <c:pt idx="33">
                  <c:v>All Others</c:v>
                </c:pt>
                <c:pt idx="34">
                  <c:v>All Others</c:v>
                </c:pt>
                <c:pt idx="35">
                  <c:v>Philadelphi</c:v>
                </c:pt>
                <c:pt idx="36">
                  <c:v>All Others</c:v>
                </c:pt>
                <c:pt idx="37">
                  <c:v>St Moret</c:v>
                </c:pt>
                <c:pt idx="38">
                  <c:v>Lactalis: A</c:v>
                </c:pt>
                <c:pt idx="39">
                  <c:v>All Others</c:v>
                </c:pt>
                <c:pt idx="40">
                  <c:v>Tartare</c:v>
                </c:pt>
                <c:pt idx="41">
                  <c:v>All Others</c:v>
                </c:pt>
                <c:pt idx="42">
                  <c:v>Boursin</c:v>
                </c:pt>
                <c:pt idx="43">
                  <c:v>All Others</c:v>
                </c:pt>
                <c:pt idx="44">
                  <c:v>Carre Frais</c:v>
                </c:pt>
                <c:pt idx="45">
                  <c:v>Triballat R</c:v>
                </c:pt>
              </c:strCache>
            </c:strRef>
          </c:cat>
          <c:val>
            <c:numRef>
              <c:f>Sheet1!$B$2:$B$47</c:f>
              <c:numCache>
                <c:formatCode>General</c:formatCode>
                <c:ptCount val="46"/>
                <c:pt idx="0">
                  <c:v>0.97</c:v>
                </c:pt>
                <c:pt idx="1">
                  <c:v>0.86</c:v>
                </c:pt>
                <c:pt idx="2">
                  <c:v>0.91</c:v>
                </c:pt>
                <c:pt idx="3">
                  <c:v>0.83</c:v>
                </c:pt>
                <c:pt idx="4">
                  <c:v>0.65</c:v>
                </c:pt>
                <c:pt idx="5">
                  <c:v>0.75</c:v>
                </c:pt>
                <c:pt idx="6">
                  <c:v>0.75</c:v>
                </c:pt>
                <c:pt idx="7">
                  <c:v>0.96</c:v>
                </c:pt>
                <c:pt idx="8">
                  <c:v>0.54</c:v>
                </c:pt>
                <c:pt idx="9">
                  <c:v>0.95</c:v>
                </c:pt>
                <c:pt idx="10">
                  <c:v>0.53</c:v>
                </c:pt>
                <c:pt idx="11">
                  <c:v>0.48</c:v>
                </c:pt>
                <c:pt idx="12">
                  <c:v>0.41</c:v>
                </c:pt>
                <c:pt idx="13">
                  <c:v>0.59</c:v>
                </c:pt>
                <c:pt idx="14">
                  <c:v>0.19</c:v>
                </c:pt>
                <c:pt idx="15">
                  <c:v>0.52</c:v>
                </c:pt>
                <c:pt idx="16">
                  <c:v>0.56000000000000005</c:v>
                </c:pt>
                <c:pt idx="17">
                  <c:v>0.28000000000000003</c:v>
                </c:pt>
                <c:pt idx="18">
                  <c:v>0.24</c:v>
                </c:pt>
                <c:pt idx="19">
                  <c:v>0.52</c:v>
                </c:pt>
                <c:pt idx="20">
                  <c:v>0.27</c:v>
                </c:pt>
                <c:pt idx="21">
                  <c:v>0.05</c:v>
                </c:pt>
                <c:pt idx="22">
                  <c:v>0.06</c:v>
                </c:pt>
                <c:pt idx="23">
                  <c:v>0.12</c:v>
                </c:pt>
                <c:pt idx="24">
                  <c:v>0.16</c:v>
                </c:pt>
                <c:pt idx="25">
                  <c:v>0.04</c:v>
                </c:pt>
                <c:pt idx="26">
                  <c:v>0.08</c:v>
                </c:pt>
                <c:pt idx="27">
                  <c:v>0.12</c:v>
                </c:pt>
                <c:pt idx="28">
                  <c:v>0.04</c:v>
                </c:pt>
                <c:pt idx="29">
                  <c:v>0.08</c:v>
                </c:pt>
                <c:pt idx="30">
                  <c:v>0.12</c:v>
                </c:pt>
                <c:pt idx="31">
                  <c:v>0.16</c:v>
                </c:pt>
                <c:pt idx="32">
                  <c:v>0.11</c:v>
                </c:pt>
                <c:pt idx="33">
                  <c:v>0.01</c:v>
                </c:pt>
                <c:pt idx="34">
                  <c:v>0.02</c:v>
                </c:pt>
                <c:pt idx="35">
                  <c:v>0.03</c:v>
                </c:pt>
                <c:pt idx="36">
                  <c:v>0.01</c:v>
                </c:pt>
                <c:pt idx="37">
                  <c:v>0.03</c:v>
                </c:pt>
                <c:pt idx="38">
                  <c:v>0.08</c:v>
                </c:pt>
                <c:pt idx="39">
                  <c:v>0.01</c:v>
                </c:pt>
                <c:pt idx="40">
                  <c:v>0.03</c:v>
                </c:pt>
                <c:pt idx="41">
                  <c:v>0.01</c:v>
                </c:pt>
                <c:pt idx="42">
                  <c:v>0.1</c:v>
                </c:pt>
                <c:pt idx="43">
                  <c:v>0.01</c:v>
                </c:pt>
                <c:pt idx="44">
                  <c:v>0.01</c:v>
                </c:pt>
                <c:pt idx="4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7</c:f>
              <c:strCache>
                <c:ptCount val="46"/>
                <c:pt idx="0">
                  <c:v>St Moret</c:v>
                </c:pt>
                <c:pt idx="1">
                  <c:v>Paysan Bret</c:v>
                </c:pt>
                <c:pt idx="2">
                  <c:v>Philadelphi</c:v>
                </c:pt>
                <c:pt idx="3">
                  <c:v>Boursin</c:v>
                </c:pt>
                <c:pt idx="4">
                  <c:v>St Moret</c:v>
                </c:pt>
                <c:pt idx="5">
                  <c:v>St Moret</c:v>
                </c:pt>
                <c:pt idx="6">
                  <c:v>Tartare</c:v>
                </c:pt>
                <c:pt idx="7">
                  <c:v>Private Lab</c:v>
                </c:pt>
                <c:pt idx="8">
                  <c:v>Carre Frais</c:v>
                </c:pt>
                <c:pt idx="9">
                  <c:v>Private Lab</c:v>
                </c:pt>
                <c:pt idx="10">
                  <c:v>Boursin</c:v>
                </c:pt>
                <c:pt idx="11">
                  <c:v>Paysan Bret</c:v>
                </c:pt>
                <c:pt idx="12">
                  <c:v>Tartare</c:v>
                </c:pt>
                <c:pt idx="13">
                  <c:v>Tartare</c:v>
                </c:pt>
                <c:pt idx="14">
                  <c:v>St Moret</c:v>
                </c:pt>
                <c:pt idx="15">
                  <c:v>Private Lab</c:v>
                </c:pt>
                <c:pt idx="16">
                  <c:v>Kiri</c:v>
                </c:pt>
                <c:pt idx="17">
                  <c:v>Carre Frais</c:v>
                </c:pt>
                <c:pt idx="18">
                  <c:v>Paysan Bret</c:v>
                </c:pt>
                <c:pt idx="19">
                  <c:v>Paysan Bret</c:v>
                </c:pt>
                <c:pt idx="20">
                  <c:v>Kiri</c:v>
                </c:pt>
                <c:pt idx="21">
                  <c:v>Paysan Bret</c:v>
                </c:pt>
                <c:pt idx="22">
                  <c:v>Paysan Bret</c:v>
                </c:pt>
                <c:pt idx="23">
                  <c:v>St Moret</c:v>
                </c:pt>
                <c:pt idx="24">
                  <c:v>Private Lab</c:v>
                </c:pt>
                <c:pt idx="25">
                  <c:v>All Others</c:v>
                </c:pt>
                <c:pt idx="26">
                  <c:v>Carre Frais</c:v>
                </c:pt>
                <c:pt idx="27">
                  <c:v>Savencia: A</c:v>
                </c:pt>
                <c:pt idx="28">
                  <c:v>Paysan Bret</c:v>
                </c:pt>
                <c:pt idx="29">
                  <c:v>Boursin</c:v>
                </c:pt>
                <c:pt idx="30">
                  <c:v>Boursin</c:v>
                </c:pt>
                <c:pt idx="31">
                  <c:v>Private Lab</c:v>
                </c:pt>
                <c:pt idx="32">
                  <c:v>Boursin</c:v>
                </c:pt>
                <c:pt idx="33">
                  <c:v>All Others</c:v>
                </c:pt>
                <c:pt idx="34">
                  <c:v>All Others</c:v>
                </c:pt>
                <c:pt idx="35">
                  <c:v>Philadelphi</c:v>
                </c:pt>
                <c:pt idx="36">
                  <c:v>All Others</c:v>
                </c:pt>
                <c:pt idx="37">
                  <c:v>St Moret</c:v>
                </c:pt>
                <c:pt idx="38">
                  <c:v>Lactalis: A</c:v>
                </c:pt>
                <c:pt idx="39">
                  <c:v>All Others</c:v>
                </c:pt>
                <c:pt idx="40">
                  <c:v>Tartare</c:v>
                </c:pt>
                <c:pt idx="41">
                  <c:v>All Others</c:v>
                </c:pt>
                <c:pt idx="42">
                  <c:v>Boursin</c:v>
                </c:pt>
                <c:pt idx="43">
                  <c:v>All Others</c:v>
                </c:pt>
                <c:pt idx="44">
                  <c:v>Carre Frais</c:v>
                </c:pt>
                <c:pt idx="45">
                  <c:v>Triballat R</c:v>
                </c:pt>
              </c:strCache>
            </c:strRef>
          </c:cat>
          <c:val>
            <c:numRef>
              <c:f>Sheet1!$C$2:$C$47</c:f>
              <c:numCache>
                <c:formatCode>General</c:formatCode>
                <c:ptCount val="46"/>
                <c:pt idx="0">
                  <c:v>0.13770167368092495</c:v>
                </c:pt>
                <c:pt idx="1">
                  <c:v>0.23562155439316032</c:v>
                </c:pt>
                <c:pt idx="2">
                  <c:v>0.41717067091860571</c:v>
                </c:pt>
                <c:pt idx="3">
                  <c:v>0.47699521964377017</c:v>
                </c:pt>
                <c:pt idx="4">
                  <c:v>0.53137824997157723</c:v>
                </c:pt>
                <c:pt idx="5">
                  <c:v>0.58439468251960491</c:v>
                </c:pt>
                <c:pt idx="6">
                  <c:v>0.63226209987817794</c:v>
                </c:pt>
                <c:pt idx="7">
                  <c:v>0.66907910963615369</c:v>
                </c:pt>
                <c:pt idx="8">
                  <c:v>0.70155270905093015</c:v>
                </c:pt>
                <c:pt idx="9">
                  <c:v>0.73325235981078274</c:v>
                </c:pt>
                <c:pt idx="10">
                  <c:v>0.76486965925004302</c:v>
                </c:pt>
                <c:pt idx="11">
                  <c:v>0.79320868873814698</c:v>
                </c:pt>
                <c:pt idx="12">
                  <c:v>0.82005770652340926</c:v>
                </c:pt>
                <c:pt idx="13">
                  <c:v>0.86801159050744769</c:v>
                </c:pt>
                <c:pt idx="14">
                  <c:v>0.88747983161438693</c:v>
                </c:pt>
                <c:pt idx="15">
                  <c:v>0.90494504982639279</c:v>
                </c:pt>
                <c:pt idx="16">
                  <c:v>0.92099279423683644</c:v>
                </c:pt>
                <c:pt idx="17">
                  <c:v>0.93689121187045654</c:v>
                </c:pt>
                <c:pt idx="18">
                  <c:v>0.94562230600158859</c:v>
                </c:pt>
                <c:pt idx="19">
                  <c:v>0.95339096146998314</c:v>
                </c:pt>
                <c:pt idx="20">
                  <c:v>0.95852441990255488</c:v>
                </c:pt>
                <c:pt idx="21">
                  <c:v>0.96296578354635975</c:v>
                </c:pt>
                <c:pt idx="22">
                  <c:v>0.96706987308309311</c:v>
                </c:pt>
                <c:pt idx="23">
                  <c:v>0.97404531484298196</c:v>
                </c:pt>
                <c:pt idx="24">
                  <c:v>0.97684033042189822</c:v>
                </c:pt>
                <c:pt idx="25">
                  <c:v>0.97962254785489045</c:v>
                </c:pt>
                <c:pt idx="26">
                  <c:v>0.98216567059706916</c:v>
                </c:pt>
                <c:pt idx="27">
                  <c:v>0.98442189779952383</c:v>
                </c:pt>
                <c:pt idx="28">
                  <c:v>0.98660355205982764</c:v>
                </c:pt>
                <c:pt idx="29">
                  <c:v>0.98877358397559978</c:v>
                </c:pt>
                <c:pt idx="30">
                  <c:v>0.99074612648059401</c:v>
                </c:pt>
                <c:pt idx="31">
                  <c:v>0.99245840986971312</c:v>
                </c:pt>
                <c:pt idx="32">
                  <c:v>0.99341094466687696</c:v>
                </c:pt>
                <c:pt idx="33">
                  <c:v>0.99427018414587398</c:v>
                </c:pt>
                <c:pt idx="34">
                  <c:v>0.99510495791128473</c:v>
                </c:pt>
                <c:pt idx="35">
                  <c:v>0.99642447841224124</c:v>
                </c:pt>
                <c:pt idx="36">
                  <c:v>0.99688109636063238</c:v>
                </c:pt>
                <c:pt idx="37">
                  <c:v>0.99730908806743379</c:v>
                </c:pt>
                <c:pt idx="38">
                  <c:v>0.99768276679453649</c:v>
                </c:pt>
                <c:pt idx="39">
                  <c:v>0.99801022748229529</c:v>
                </c:pt>
                <c:pt idx="40">
                  <c:v>0.99829260070897197</c:v>
                </c:pt>
                <c:pt idx="41">
                  <c:v>0.99849931563836647</c:v>
                </c:pt>
                <c:pt idx="42">
                  <c:v>0.99870589489836958</c:v>
                </c:pt>
                <c:pt idx="43">
                  <c:v>0.9988644924169402</c:v>
                </c:pt>
                <c:pt idx="44">
                  <c:v>0.99954152790325945</c:v>
                </c:pt>
                <c:pt idx="45">
                  <c:v>0.9997152751705387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6</c:f>
              <c:strCache>
                <c:ptCount val="85"/>
                <c:pt idx="0">
                  <c:v>St Moret</c:v>
                </c:pt>
                <c:pt idx="1">
                  <c:v>St Moret</c:v>
                </c:pt>
                <c:pt idx="2">
                  <c:v>Private Lab</c:v>
                </c:pt>
                <c:pt idx="3">
                  <c:v>St Moret</c:v>
                </c:pt>
                <c:pt idx="4">
                  <c:v>Tartare</c:v>
                </c:pt>
                <c:pt idx="5">
                  <c:v>St Moret</c:v>
                </c:pt>
                <c:pt idx="6">
                  <c:v>Paysan Bret</c:v>
                </c:pt>
                <c:pt idx="7">
                  <c:v>Paysan Bret</c:v>
                </c:pt>
                <c:pt idx="8">
                  <c:v>Private Lab</c:v>
                </c:pt>
                <c:pt idx="9">
                  <c:v>Tartare</c:v>
                </c:pt>
                <c:pt idx="10">
                  <c:v>Boursin</c:v>
                </c:pt>
                <c:pt idx="11">
                  <c:v>Boursin</c:v>
                </c:pt>
                <c:pt idx="12">
                  <c:v>Private Lab</c:v>
                </c:pt>
                <c:pt idx="13">
                  <c:v>St Moret</c:v>
                </c:pt>
                <c:pt idx="14">
                  <c:v>Carre Frais</c:v>
                </c:pt>
                <c:pt idx="15">
                  <c:v>Boursin</c:v>
                </c:pt>
                <c:pt idx="16">
                  <c:v>Carre Frais</c:v>
                </c:pt>
                <c:pt idx="17">
                  <c:v>Philadelphi</c:v>
                </c:pt>
                <c:pt idx="18">
                  <c:v>St Moret</c:v>
                </c:pt>
                <c:pt idx="19">
                  <c:v>Private Lab</c:v>
                </c:pt>
                <c:pt idx="20">
                  <c:v>Philadelphi</c:v>
                </c:pt>
                <c:pt idx="21">
                  <c:v>St Moret</c:v>
                </c:pt>
                <c:pt idx="22">
                  <c:v>Tartare</c:v>
                </c:pt>
                <c:pt idx="23">
                  <c:v>Paysan Bret</c:v>
                </c:pt>
                <c:pt idx="24">
                  <c:v>Boursin</c:v>
                </c:pt>
                <c:pt idx="25">
                  <c:v>Boursin</c:v>
                </c:pt>
                <c:pt idx="26">
                  <c:v>Boursin</c:v>
                </c:pt>
                <c:pt idx="27">
                  <c:v>Paysan Bret</c:v>
                </c:pt>
                <c:pt idx="28">
                  <c:v>Paysan Bret</c:v>
                </c:pt>
                <c:pt idx="29">
                  <c:v>Private Lab</c:v>
                </c:pt>
                <c:pt idx="30">
                  <c:v>Carre Frais</c:v>
                </c:pt>
                <c:pt idx="31">
                  <c:v>Paysan Bret</c:v>
                </c:pt>
                <c:pt idx="32">
                  <c:v>Tartare</c:v>
                </c:pt>
                <c:pt idx="33">
                  <c:v>Boursin</c:v>
                </c:pt>
                <c:pt idx="34">
                  <c:v>Boursin</c:v>
                </c:pt>
                <c:pt idx="35">
                  <c:v>Paysan Bret</c:v>
                </c:pt>
                <c:pt idx="36">
                  <c:v>Boursin</c:v>
                </c:pt>
                <c:pt idx="37">
                  <c:v>Tartare</c:v>
                </c:pt>
                <c:pt idx="38">
                  <c:v>Savencia: A</c:v>
                </c:pt>
                <c:pt idx="39">
                  <c:v>Saint Agur</c:v>
                </c:pt>
                <c:pt idx="40">
                  <c:v>Kiri</c:v>
                </c:pt>
                <c:pt idx="41">
                  <c:v>Boursin</c:v>
                </c:pt>
                <c:pt idx="42">
                  <c:v>Tartare</c:v>
                </c:pt>
                <c:pt idx="43">
                  <c:v>St Moret</c:v>
                </c:pt>
                <c:pt idx="44">
                  <c:v>Paysan Bret</c:v>
                </c:pt>
                <c:pt idx="45">
                  <c:v>Tartare</c:v>
                </c:pt>
                <c:pt idx="46">
                  <c:v>St Moret</c:v>
                </c:pt>
                <c:pt idx="47">
                  <c:v>Paysan Bret</c:v>
                </c:pt>
                <c:pt idx="48">
                  <c:v>Private Lab</c:v>
                </c:pt>
                <c:pt idx="49">
                  <c:v>Kiri</c:v>
                </c:pt>
                <c:pt idx="50">
                  <c:v>Paysan Bret</c:v>
                </c:pt>
                <c:pt idx="51">
                  <c:v>Saint Agur</c:v>
                </c:pt>
                <c:pt idx="52">
                  <c:v>Carre Frais</c:v>
                </c:pt>
                <c:pt idx="53">
                  <c:v>All Others</c:v>
                </c:pt>
                <c:pt idx="54">
                  <c:v>Lactalis: A</c:v>
                </c:pt>
                <c:pt idx="55">
                  <c:v>Tartare</c:v>
                </c:pt>
                <c:pt idx="56">
                  <c:v>Boursin</c:v>
                </c:pt>
                <c:pt idx="57">
                  <c:v>Boursin</c:v>
                </c:pt>
                <c:pt idx="58">
                  <c:v>President</c:v>
                </c:pt>
                <c:pt idx="59">
                  <c:v>All Others</c:v>
                </c:pt>
                <c:pt idx="60">
                  <c:v>All Others</c:v>
                </c:pt>
                <c:pt idx="61">
                  <c:v>All Others</c:v>
                </c:pt>
                <c:pt idx="62">
                  <c:v>Kiri</c:v>
                </c:pt>
                <c:pt idx="63">
                  <c:v>All Others</c:v>
                </c:pt>
                <c:pt idx="64">
                  <c:v>Savencia: A</c:v>
                </c:pt>
                <c:pt idx="65">
                  <c:v>Savencia: A</c:v>
                </c:pt>
                <c:pt idx="66">
                  <c:v>All Others</c:v>
                </c:pt>
                <c:pt idx="67">
                  <c:v>All Others</c:v>
                </c:pt>
                <c:pt idx="68">
                  <c:v>All Others</c:v>
                </c:pt>
                <c:pt idx="69">
                  <c:v>All Others</c:v>
                </c:pt>
                <c:pt idx="70">
                  <c:v>Paysan Bret</c:v>
                </c:pt>
                <c:pt idx="71">
                  <c:v>All Others</c:v>
                </c:pt>
                <c:pt idx="72">
                  <c:v>All Others</c:v>
                </c:pt>
                <c:pt idx="73">
                  <c:v>All Others</c:v>
                </c:pt>
                <c:pt idx="74">
                  <c:v>All Others</c:v>
                </c:pt>
                <c:pt idx="75">
                  <c:v>Other Suppl</c:v>
                </c:pt>
                <c:pt idx="76">
                  <c:v>All Others</c:v>
                </c:pt>
                <c:pt idx="77">
                  <c:v>All Others</c:v>
                </c:pt>
                <c:pt idx="78">
                  <c:v>All Others</c:v>
                </c:pt>
                <c:pt idx="79">
                  <c:v>All Others</c:v>
                </c:pt>
                <c:pt idx="80">
                  <c:v>All Others</c:v>
                </c:pt>
                <c:pt idx="81">
                  <c:v>All Others</c:v>
                </c:pt>
                <c:pt idx="82">
                  <c:v>All Others</c:v>
                </c:pt>
                <c:pt idx="83">
                  <c:v>All Others</c:v>
                </c:pt>
                <c:pt idx="84">
                  <c:v>All Others</c:v>
                </c:pt>
              </c:strCache>
            </c:strRef>
          </c:cat>
          <c:val>
            <c:numRef>
              <c:f>Sheet1!$B$2:$B$86</c:f>
              <c:numCache>
                <c:formatCode>General</c:formatCode>
                <c:ptCount val="85"/>
                <c:pt idx="0">
                  <c:v>0.98</c:v>
                </c:pt>
                <c:pt idx="1">
                  <c:v>0.99</c:v>
                </c:pt>
                <c:pt idx="2">
                  <c:v>1</c:v>
                </c:pt>
                <c:pt idx="3">
                  <c:v>1</c:v>
                </c:pt>
                <c:pt idx="4">
                  <c:v>1</c:v>
                </c:pt>
                <c:pt idx="5">
                  <c:v>1</c:v>
                </c:pt>
                <c:pt idx="6">
                  <c:v>0.98</c:v>
                </c:pt>
                <c:pt idx="7">
                  <c:v>1</c:v>
                </c:pt>
                <c:pt idx="8">
                  <c:v>1</c:v>
                </c:pt>
                <c:pt idx="9">
                  <c:v>0.99</c:v>
                </c:pt>
                <c:pt idx="10">
                  <c:v>0.99</c:v>
                </c:pt>
                <c:pt idx="11">
                  <c:v>0.99</c:v>
                </c:pt>
                <c:pt idx="12">
                  <c:v>1</c:v>
                </c:pt>
                <c:pt idx="13">
                  <c:v>0.88</c:v>
                </c:pt>
                <c:pt idx="14">
                  <c:v>0.99</c:v>
                </c:pt>
                <c:pt idx="15">
                  <c:v>1</c:v>
                </c:pt>
                <c:pt idx="16">
                  <c:v>0.97</c:v>
                </c:pt>
                <c:pt idx="17">
                  <c:v>0.92</c:v>
                </c:pt>
                <c:pt idx="18">
                  <c:v>0.97</c:v>
                </c:pt>
                <c:pt idx="19">
                  <c:v>0.99</c:v>
                </c:pt>
                <c:pt idx="20">
                  <c:v>0.98</c:v>
                </c:pt>
                <c:pt idx="21">
                  <c:v>0.9</c:v>
                </c:pt>
                <c:pt idx="22">
                  <c:v>0.96</c:v>
                </c:pt>
                <c:pt idx="23">
                  <c:v>0.71</c:v>
                </c:pt>
                <c:pt idx="24">
                  <c:v>0.97</c:v>
                </c:pt>
                <c:pt idx="25">
                  <c:v>0.96</c:v>
                </c:pt>
                <c:pt idx="26">
                  <c:v>0.99</c:v>
                </c:pt>
                <c:pt idx="27">
                  <c:v>0.67</c:v>
                </c:pt>
                <c:pt idx="28">
                  <c:v>0.53</c:v>
                </c:pt>
                <c:pt idx="29">
                  <c:v>0.79</c:v>
                </c:pt>
                <c:pt idx="30">
                  <c:v>0.79</c:v>
                </c:pt>
                <c:pt idx="31">
                  <c:v>0.42</c:v>
                </c:pt>
                <c:pt idx="32">
                  <c:v>0.96</c:v>
                </c:pt>
                <c:pt idx="33">
                  <c:v>0.99</c:v>
                </c:pt>
                <c:pt idx="34">
                  <c:v>0.87</c:v>
                </c:pt>
                <c:pt idx="35">
                  <c:v>0.56999999999999995</c:v>
                </c:pt>
                <c:pt idx="36">
                  <c:v>0.96</c:v>
                </c:pt>
                <c:pt idx="37">
                  <c:v>0.92</c:v>
                </c:pt>
                <c:pt idx="38">
                  <c:v>0.87</c:v>
                </c:pt>
                <c:pt idx="39">
                  <c:v>0.87</c:v>
                </c:pt>
                <c:pt idx="40">
                  <c:v>0.87</c:v>
                </c:pt>
                <c:pt idx="41">
                  <c:v>0.83</c:v>
                </c:pt>
                <c:pt idx="42">
                  <c:v>0.83</c:v>
                </c:pt>
                <c:pt idx="43">
                  <c:v>0.66</c:v>
                </c:pt>
                <c:pt idx="44">
                  <c:v>0.55000000000000004</c:v>
                </c:pt>
                <c:pt idx="45">
                  <c:v>0.9</c:v>
                </c:pt>
                <c:pt idx="46">
                  <c:v>0.2</c:v>
                </c:pt>
                <c:pt idx="47">
                  <c:v>0.5</c:v>
                </c:pt>
                <c:pt idx="48">
                  <c:v>0.94</c:v>
                </c:pt>
                <c:pt idx="49">
                  <c:v>0.94</c:v>
                </c:pt>
                <c:pt idx="50">
                  <c:v>0.22</c:v>
                </c:pt>
                <c:pt idx="51">
                  <c:v>0.86</c:v>
                </c:pt>
                <c:pt idx="52">
                  <c:v>0.26</c:v>
                </c:pt>
                <c:pt idx="53">
                  <c:v>0.08</c:v>
                </c:pt>
                <c:pt idx="54">
                  <c:v>0.36</c:v>
                </c:pt>
                <c:pt idx="55">
                  <c:v>0.61</c:v>
                </c:pt>
                <c:pt idx="56">
                  <c:v>0.28999999999999998</c:v>
                </c:pt>
                <c:pt idx="57">
                  <c:v>0.7</c:v>
                </c:pt>
                <c:pt idx="58">
                  <c:v>0.37</c:v>
                </c:pt>
                <c:pt idx="59">
                  <c:v>0.09</c:v>
                </c:pt>
                <c:pt idx="60">
                  <c:v>7.0000000000000007E-2</c:v>
                </c:pt>
                <c:pt idx="61">
                  <c:v>7.0000000000000007E-2</c:v>
                </c:pt>
                <c:pt idx="62">
                  <c:v>0.38</c:v>
                </c:pt>
                <c:pt idx="63">
                  <c:v>0.02</c:v>
                </c:pt>
                <c:pt idx="64">
                  <c:v>0.18</c:v>
                </c:pt>
                <c:pt idx="65">
                  <c:v>0.2</c:v>
                </c:pt>
                <c:pt idx="66">
                  <c:v>0.06</c:v>
                </c:pt>
                <c:pt idx="67">
                  <c:v>0.01</c:v>
                </c:pt>
                <c:pt idx="68">
                  <c:v>0.11</c:v>
                </c:pt>
                <c:pt idx="69">
                  <c:v>0.17</c:v>
                </c:pt>
                <c:pt idx="70">
                  <c:v>0.13</c:v>
                </c:pt>
                <c:pt idx="71">
                  <c:v>0.02</c:v>
                </c:pt>
                <c:pt idx="72">
                  <c:v>0.12</c:v>
                </c:pt>
                <c:pt idx="73">
                  <c:v>0.01</c:v>
                </c:pt>
                <c:pt idx="74">
                  <c:v>0.01</c:v>
                </c:pt>
                <c:pt idx="75">
                  <c:v>0.03</c:v>
                </c:pt>
                <c:pt idx="76">
                  <c:v>0.02</c:v>
                </c:pt>
                <c:pt idx="77">
                  <c:v>0.02</c:v>
                </c:pt>
                <c:pt idx="78">
                  <c:v>0.01</c:v>
                </c:pt>
                <c:pt idx="79">
                  <c:v>0.01</c:v>
                </c:pt>
                <c:pt idx="80">
                  <c:v>0.01</c:v>
                </c:pt>
                <c:pt idx="81">
                  <c:v>0.01</c:v>
                </c:pt>
                <c:pt idx="82">
                  <c:v>0.01</c:v>
                </c:pt>
                <c:pt idx="83">
                  <c:v>0.01</c:v>
                </c:pt>
                <c:pt idx="8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6</c:f>
              <c:strCache>
                <c:ptCount val="85"/>
                <c:pt idx="0">
                  <c:v>St Moret</c:v>
                </c:pt>
                <c:pt idx="1">
                  <c:v>St Moret</c:v>
                </c:pt>
                <c:pt idx="2">
                  <c:v>Private Lab</c:v>
                </c:pt>
                <c:pt idx="3">
                  <c:v>St Moret</c:v>
                </c:pt>
                <c:pt idx="4">
                  <c:v>Tartare</c:v>
                </c:pt>
                <c:pt idx="5">
                  <c:v>St Moret</c:v>
                </c:pt>
                <c:pt idx="6">
                  <c:v>Paysan Bret</c:v>
                </c:pt>
                <c:pt idx="7">
                  <c:v>Paysan Bret</c:v>
                </c:pt>
                <c:pt idx="8">
                  <c:v>Private Lab</c:v>
                </c:pt>
                <c:pt idx="9">
                  <c:v>Tartare</c:v>
                </c:pt>
                <c:pt idx="10">
                  <c:v>Boursin</c:v>
                </c:pt>
                <c:pt idx="11">
                  <c:v>Boursin</c:v>
                </c:pt>
                <c:pt idx="12">
                  <c:v>Private Lab</c:v>
                </c:pt>
                <c:pt idx="13">
                  <c:v>St Moret</c:v>
                </c:pt>
                <c:pt idx="14">
                  <c:v>Carre Frais</c:v>
                </c:pt>
                <c:pt idx="15">
                  <c:v>Boursin</c:v>
                </c:pt>
                <c:pt idx="16">
                  <c:v>Carre Frais</c:v>
                </c:pt>
                <c:pt idx="17">
                  <c:v>Philadelphi</c:v>
                </c:pt>
                <c:pt idx="18">
                  <c:v>St Moret</c:v>
                </c:pt>
                <c:pt idx="19">
                  <c:v>Private Lab</c:v>
                </c:pt>
                <c:pt idx="20">
                  <c:v>Philadelphi</c:v>
                </c:pt>
                <c:pt idx="21">
                  <c:v>St Moret</c:v>
                </c:pt>
                <c:pt idx="22">
                  <c:v>Tartare</c:v>
                </c:pt>
                <c:pt idx="23">
                  <c:v>Paysan Bret</c:v>
                </c:pt>
                <c:pt idx="24">
                  <c:v>Boursin</c:v>
                </c:pt>
                <c:pt idx="25">
                  <c:v>Boursin</c:v>
                </c:pt>
                <c:pt idx="26">
                  <c:v>Boursin</c:v>
                </c:pt>
                <c:pt idx="27">
                  <c:v>Paysan Bret</c:v>
                </c:pt>
                <c:pt idx="28">
                  <c:v>Paysan Bret</c:v>
                </c:pt>
                <c:pt idx="29">
                  <c:v>Private Lab</c:v>
                </c:pt>
                <c:pt idx="30">
                  <c:v>Carre Frais</c:v>
                </c:pt>
                <c:pt idx="31">
                  <c:v>Paysan Bret</c:v>
                </c:pt>
                <c:pt idx="32">
                  <c:v>Tartare</c:v>
                </c:pt>
                <c:pt idx="33">
                  <c:v>Boursin</c:v>
                </c:pt>
                <c:pt idx="34">
                  <c:v>Boursin</c:v>
                </c:pt>
                <c:pt idx="35">
                  <c:v>Paysan Bret</c:v>
                </c:pt>
                <c:pt idx="36">
                  <c:v>Boursin</c:v>
                </c:pt>
                <c:pt idx="37">
                  <c:v>Tartare</c:v>
                </c:pt>
                <c:pt idx="38">
                  <c:v>Savencia: A</c:v>
                </c:pt>
                <c:pt idx="39">
                  <c:v>Saint Agur</c:v>
                </c:pt>
                <c:pt idx="40">
                  <c:v>Kiri</c:v>
                </c:pt>
                <c:pt idx="41">
                  <c:v>Boursin</c:v>
                </c:pt>
                <c:pt idx="42">
                  <c:v>Tartare</c:v>
                </c:pt>
                <c:pt idx="43">
                  <c:v>St Moret</c:v>
                </c:pt>
                <c:pt idx="44">
                  <c:v>Paysan Bret</c:v>
                </c:pt>
                <c:pt idx="45">
                  <c:v>Tartare</c:v>
                </c:pt>
                <c:pt idx="46">
                  <c:v>St Moret</c:v>
                </c:pt>
                <c:pt idx="47">
                  <c:v>Paysan Bret</c:v>
                </c:pt>
                <c:pt idx="48">
                  <c:v>Private Lab</c:v>
                </c:pt>
                <c:pt idx="49">
                  <c:v>Kiri</c:v>
                </c:pt>
                <c:pt idx="50">
                  <c:v>Paysan Bret</c:v>
                </c:pt>
                <c:pt idx="51">
                  <c:v>Saint Agur</c:v>
                </c:pt>
                <c:pt idx="52">
                  <c:v>Carre Frais</c:v>
                </c:pt>
                <c:pt idx="53">
                  <c:v>All Others</c:v>
                </c:pt>
                <c:pt idx="54">
                  <c:v>Lactalis: A</c:v>
                </c:pt>
                <c:pt idx="55">
                  <c:v>Tartare</c:v>
                </c:pt>
                <c:pt idx="56">
                  <c:v>Boursin</c:v>
                </c:pt>
                <c:pt idx="57">
                  <c:v>Boursin</c:v>
                </c:pt>
                <c:pt idx="58">
                  <c:v>President</c:v>
                </c:pt>
                <c:pt idx="59">
                  <c:v>All Others</c:v>
                </c:pt>
                <c:pt idx="60">
                  <c:v>All Others</c:v>
                </c:pt>
                <c:pt idx="61">
                  <c:v>All Others</c:v>
                </c:pt>
                <c:pt idx="62">
                  <c:v>Kiri</c:v>
                </c:pt>
                <c:pt idx="63">
                  <c:v>All Others</c:v>
                </c:pt>
                <c:pt idx="64">
                  <c:v>Savencia: A</c:v>
                </c:pt>
                <c:pt idx="65">
                  <c:v>Savencia: A</c:v>
                </c:pt>
                <c:pt idx="66">
                  <c:v>All Others</c:v>
                </c:pt>
                <c:pt idx="67">
                  <c:v>All Others</c:v>
                </c:pt>
                <c:pt idx="68">
                  <c:v>All Others</c:v>
                </c:pt>
                <c:pt idx="69">
                  <c:v>All Others</c:v>
                </c:pt>
                <c:pt idx="70">
                  <c:v>Paysan Bret</c:v>
                </c:pt>
                <c:pt idx="71">
                  <c:v>All Others</c:v>
                </c:pt>
                <c:pt idx="72">
                  <c:v>All Others</c:v>
                </c:pt>
                <c:pt idx="73">
                  <c:v>All Others</c:v>
                </c:pt>
                <c:pt idx="74">
                  <c:v>All Others</c:v>
                </c:pt>
                <c:pt idx="75">
                  <c:v>Other Suppl</c:v>
                </c:pt>
                <c:pt idx="76">
                  <c:v>All Others</c:v>
                </c:pt>
                <c:pt idx="77">
                  <c:v>All Others</c:v>
                </c:pt>
                <c:pt idx="78">
                  <c:v>All Others</c:v>
                </c:pt>
                <c:pt idx="79">
                  <c:v>All Others</c:v>
                </c:pt>
                <c:pt idx="80">
                  <c:v>All Others</c:v>
                </c:pt>
                <c:pt idx="81">
                  <c:v>All Others</c:v>
                </c:pt>
                <c:pt idx="82">
                  <c:v>All Others</c:v>
                </c:pt>
                <c:pt idx="83">
                  <c:v>All Others</c:v>
                </c:pt>
                <c:pt idx="84">
                  <c:v>All Others</c:v>
                </c:pt>
              </c:strCache>
            </c:strRef>
          </c:cat>
          <c:val>
            <c:numRef>
              <c:f>Sheet1!$C$2:$C$86</c:f>
              <c:numCache>
                <c:formatCode>General</c:formatCode>
                <c:ptCount val="85"/>
                <c:pt idx="0">
                  <c:v>7.1752405109821962E-2</c:v>
                </c:pt>
                <c:pt idx="1">
                  <c:v>0.13896548033613876</c:v>
                </c:pt>
                <c:pt idx="2">
                  <c:v>0.19642498875723616</c:v>
                </c:pt>
                <c:pt idx="3">
                  <c:v>0.25361084932967654</c:v>
                </c:pt>
                <c:pt idx="4">
                  <c:v>0.31011003122952052</c:v>
                </c:pt>
                <c:pt idx="5">
                  <c:v>0.36097859018357159</c:v>
                </c:pt>
                <c:pt idx="6">
                  <c:v>0.39571565964030897</c:v>
                </c:pt>
                <c:pt idx="7">
                  <c:v>0.42908704890471489</c:v>
                </c:pt>
                <c:pt idx="8">
                  <c:v>0.46131006405361413</c:v>
                </c:pt>
                <c:pt idx="9">
                  <c:v>0.4912778728986496</c:v>
                </c:pt>
                <c:pt idx="10">
                  <c:v>0.52083148512986677</c:v>
                </c:pt>
                <c:pt idx="11">
                  <c:v>0.54922978537410261</c:v>
                </c:pt>
                <c:pt idx="12">
                  <c:v>0.57626365651758438</c:v>
                </c:pt>
                <c:pt idx="13">
                  <c:v>0.60294258729377748</c:v>
                </c:pt>
                <c:pt idx="14">
                  <c:v>0.62933164868165659</c:v>
                </c:pt>
                <c:pt idx="15">
                  <c:v>0.65479643773283103</c:v>
                </c:pt>
                <c:pt idx="16">
                  <c:v>0.67823996038816603</c:v>
                </c:pt>
                <c:pt idx="17">
                  <c:v>0.70058973044890771</c:v>
                </c:pt>
                <c:pt idx="18">
                  <c:v>0.72170028008528364</c:v>
                </c:pt>
                <c:pt idx="19">
                  <c:v>0.74259901138743567</c:v>
                </c:pt>
                <c:pt idx="20">
                  <c:v>0.75891489472291862</c:v>
                </c:pt>
                <c:pt idx="21">
                  <c:v>0.77415665907140363</c:v>
                </c:pt>
                <c:pt idx="22">
                  <c:v>0.78897576772097311</c:v>
                </c:pt>
                <c:pt idx="23">
                  <c:v>0.80141332403431109</c:v>
                </c:pt>
                <c:pt idx="24">
                  <c:v>0.81364766326801974</c:v>
                </c:pt>
                <c:pt idx="25">
                  <c:v>0.82490359202040164</c:v>
                </c:pt>
                <c:pt idx="26">
                  <c:v>0.83533340225710595</c:v>
                </c:pt>
                <c:pt idx="27">
                  <c:v>0.84554998668156178</c:v>
                </c:pt>
                <c:pt idx="28">
                  <c:v>0.85553699580156439</c:v>
                </c:pt>
                <c:pt idx="29">
                  <c:v>0.86496097106088721</c:v>
                </c:pt>
                <c:pt idx="30">
                  <c:v>0.87411354474961245</c:v>
                </c:pt>
                <c:pt idx="31">
                  <c:v>0.88304225834768135</c:v>
                </c:pt>
                <c:pt idx="32">
                  <c:v>0.89189769778677375</c:v>
                </c:pt>
                <c:pt idx="33">
                  <c:v>0.90068554984678706</c:v>
                </c:pt>
                <c:pt idx="34">
                  <c:v>0.90833712641552511</c:v>
                </c:pt>
                <c:pt idx="35">
                  <c:v>0.9156213654367984</c:v>
                </c:pt>
                <c:pt idx="36">
                  <c:v>0.9228053607454324</c:v>
                </c:pt>
                <c:pt idx="37">
                  <c:v>0.92939867022613609</c:v>
                </c:pt>
                <c:pt idx="38">
                  <c:v>0.93528764358266236</c:v>
                </c:pt>
                <c:pt idx="39">
                  <c:v>0.94115678429429694</c:v>
                </c:pt>
                <c:pt idx="40">
                  <c:v>0.94666819811649316</c:v>
                </c:pt>
                <c:pt idx="41">
                  <c:v>0.95180930304872835</c:v>
                </c:pt>
                <c:pt idx="42">
                  <c:v>0.95674638053519889</c:v>
                </c:pt>
                <c:pt idx="43">
                  <c:v>0.96166443574291305</c:v>
                </c:pt>
                <c:pt idx="44">
                  <c:v>0.96657795574365912</c:v>
                </c:pt>
                <c:pt idx="45">
                  <c:v>0.97142995900286644</c:v>
                </c:pt>
                <c:pt idx="46">
                  <c:v>0.97620315770964716</c:v>
                </c:pt>
                <c:pt idx="47">
                  <c:v>0.97983759295894768</c:v>
                </c:pt>
                <c:pt idx="48">
                  <c:v>0.98319580709168763</c:v>
                </c:pt>
                <c:pt idx="49">
                  <c:v>0.98608580020158509</c:v>
                </c:pt>
                <c:pt idx="50">
                  <c:v>0.98883668045824535</c:v>
                </c:pt>
                <c:pt idx="51">
                  <c:v>0.99074935779194628</c:v>
                </c:pt>
                <c:pt idx="52">
                  <c:v>0.99233996434616489</c:v>
                </c:pt>
                <c:pt idx="53">
                  <c:v>0.99361482666353684</c:v>
                </c:pt>
                <c:pt idx="54">
                  <c:v>0.99473428350326587</c:v>
                </c:pt>
                <c:pt idx="55">
                  <c:v>0.995594536915277</c:v>
                </c:pt>
                <c:pt idx="56">
                  <c:v>0.99642595835320891</c:v>
                </c:pt>
                <c:pt idx="57">
                  <c:v>0.99688853524700327</c:v>
                </c:pt>
                <c:pt idx="58">
                  <c:v>0.99730038606411398</c:v>
                </c:pt>
                <c:pt idx="59">
                  <c:v>0.99768107332738754</c:v>
                </c:pt>
                <c:pt idx="60">
                  <c:v>0.99794557967735975</c:v>
                </c:pt>
                <c:pt idx="61">
                  <c:v>0.99815309027581145</c:v>
                </c:pt>
                <c:pt idx="62">
                  <c:v>0.99835435963332586</c:v>
                </c:pt>
                <c:pt idx="63">
                  <c:v>0.99855396560772036</c:v>
                </c:pt>
                <c:pt idx="64">
                  <c:v>0.99873088133032473</c:v>
                </c:pt>
                <c:pt idx="65">
                  <c:v>0.9988886326046752</c:v>
                </c:pt>
                <c:pt idx="66">
                  <c:v>0.99904312819753449</c:v>
                </c:pt>
                <c:pt idx="67">
                  <c:v>0.99918779987812123</c:v>
                </c:pt>
                <c:pt idx="68">
                  <c:v>0.99932294620238005</c:v>
                </c:pt>
                <c:pt idx="69">
                  <c:v>0.99943918398348042</c:v>
                </c:pt>
                <c:pt idx="70">
                  <c:v>0.99955341717466695</c:v>
                </c:pt>
                <c:pt idx="71">
                  <c:v>0.9996537888398539</c:v>
                </c:pt>
                <c:pt idx="72">
                  <c:v>0.99975002337266561</c:v>
                </c:pt>
                <c:pt idx="73">
                  <c:v>0.99980332271725281</c:v>
                </c:pt>
                <c:pt idx="74">
                  <c:v>0.99984580296308545</c:v>
                </c:pt>
                <c:pt idx="75">
                  <c:v>0.99988134533744344</c:v>
                </c:pt>
                <c:pt idx="76">
                  <c:v>0.99991606312871628</c:v>
                </c:pt>
                <c:pt idx="77">
                  <c:v>0.99993831265506439</c:v>
                </c:pt>
                <c:pt idx="78">
                  <c:v>0.99995804578130798</c:v>
                </c:pt>
                <c:pt idx="79">
                  <c:v>0.99996568028332011</c:v>
                </c:pt>
                <c:pt idx="80">
                  <c:v>0.99997204947680507</c:v>
                </c:pt>
                <c:pt idx="81">
                  <c:v>0.99997829071774236</c:v>
                </c:pt>
                <c:pt idx="82">
                  <c:v>0.99998373580949396</c:v>
                </c:pt>
                <c:pt idx="83">
                  <c:v>0.99998805776221589</c:v>
                </c:pt>
                <c:pt idx="84">
                  <c:v>0.9999965879320618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7</c:f>
              <c:strCache>
                <c:ptCount val="86"/>
                <c:pt idx="0">
                  <c:v>St Moret</c:v>
                </c:pt>
                <c:pt idx="1">
                  <c:v>St Moret</c:v>
                </c:pt>
                <c:pt idx="2">
                  <c:v>St Moret</c:v>
                </c:pt>
                <c:pt idx="3">
                  <c:v>Private Lab</c:v>
                </c:pt>
                <c:pt idx="4">
                  <c:v>St Moret</c:v>
                </c:pt>
                <c:pt idx="5">
                  <c:v>Tartare</c:v>
                </c:pt>
                <c:pt idx="6">
                  <c:v>Paysan Bret</c:v>
                </c:pt>
                <c:pt idx="7">
                  <c:v>Boursin</c:v>
                </c:pt>
                <c:pt idx="8">
                  <c:v>St Moret</c:v>
                </c:pt>
                <c:pt idx="9">
                  <c:v>Paysan Bret</c:v>
                </c:pt>
                <c:pt idx="10">
                  <c:v>Philadelphi</c:v>
                </c:pt>
                <c:pt idx="11">
                  <c:v>Tartare</c:v>
                </c:pt>
                <c:pt idx="12">
                  <c:v>Boursin</c:v>
                </c:pt>
                <c:pt idx="13">
                  <c:v>Boursin</c:v>
                </c:pt>
                <c:pt idx="14">
                  <c:v>Carre Frais</c:v>
                </c:pt>
                <c:pt idx="15">
                  <c:v>Carre Frais</c:v>
                </c:pt>
                <c:pt idx="16">
                  <c:v>Private Lab</c:v>
                </c:pt>
                <c:pt idx="17">
                  <c:v>St Moret</c:v>
                </c:pt>
                <c:pt idx="18">
                  <c:v>Private Lab</c:v>
                </c:pt>
                <c:pt idx="19">
                  <c:v>Private Lab</c:v>
                </c:pt>
                <c:pt idx="20">
                  <c:v>Tartare</c:v>
                </c:pt>
                <c:pt idx="21">
                  <c:v>St Moret</c:v>
                </c:pt>
                <c:pt idx="22">
                  <c:v>St Moret</c:v>
                </c:pt>
                <c:pt idx="23">
                  <c:v>Philadelphi</c:v>
                </c:pt>
                <c:pt idx="24">
                  <c:v>Paysan Bret</c:v>
                </c:pt>
                <c:pt idx="25">
                  <c:v>Boursin</c:v>
                </c:pt>
                <c:pt idx="26">
                  <c:v>Paysan Bret</c:v>
                </c:pt>
                <c:pt idx="27">
                  <c:v>Boursin</c:v>
                </c:pt>
                <c:pt idx="28">
                  <c:v>Paysan Bret</c:v>
                </c:pt>
                <c:pt idx="29">
                  <c:v>Boursin</c:v>
                </c:pt>
                <c:pt idx="30">
                  <c:v>Tartare</c:v>
                </c:pt>
                <c:pt idx="31">
                  <c:v>Private Lab</c:v>
                </c:pt>
                <c:pt idx="32">
                  <c:v>Carre Frais</c:v>
                </c:pt>
                <c:pt idx="33">
                  <c:v>Paysan Bret</c:v>
                </c:pt>
                <c:pt idx="34">
                  <c:v>Boursin</c:v>
                </c:pt>
                <c:pt idx="35">
                  <c:v>Tartare</c:v>
                </c:pt>
                <c:pt idx="36">
                  <c:v>Boursin</c:v>
                </c:pt>
                <c:pt idx="37">
                  <c:v>Paysan Bret</c:v>
                </c:pt>
                <c:pt idx="38">
                  <c:v>Boursin</c:v>
                </c:pt>
                <c:pt idx="39">
                  <c:v>Saint Agur</c:v>
                </c:pt>
                <c:pt idx="40">
                  <c:v>Savencia: A</c:v>
                </c:pt>
                <c:pt idx="41">
                  <c:v>Tartare</c:v>
                </c:pt>
                <c:pt idx="42">
                  <c:v>Tartare</c:v>
                </c:pt>
                <c:pt idx="43">
                  <c:v>Kiri</c:v>
                </c:pt>
                <c:pt idx="44">
                  <c:v>St Moret</c:v>
                </c:pt>
                <c:pt idx="45">
                  <c:v>Boursin</c:v>
                </c:pt>
                <c:pt idx="46">
                  <c:v>Paysan Bret</c:v>
                </c:pt>
                <c:pt idx="47">
                  <c:v>Paysan Bret</c:v>
                </c:pt>
                <c:pt idx="48">
                  <c:v>Paysan Bret</c:v>
                </c:pt>
                <c:pt idx="49">
                  <c:v>Kiri</c:v>
                </c:pt>
                <c:pt idx="50">
                  <c:v>Private Lab</c:v>
                </c:pt>
                <c:pt idx="51">
                  <c:v>Carre Frais</c:v>
                </c:pt>
                <c:pt idx="52">
                  <c:v>Saint Agur</c:v>
                </c:pt>
                <c:pt idx="53">
                  <c:v>Boursin</c:v>
                </c:pt>
                <c:pt idx="54">
                  <c:v>Lactalis: A</c:v>
                </c:pt>
                <c:pt idx="55">
                  <c:v>Tartare</c:v>
                </c:pt>
                <c:pt idx="56">
                  <c:v>All Others</c:v>
                </c:pt>
                <c:pt idx="57">
                  <c:v>Savencia: A</c:v>
                </c:pt>
                <c:pt idx="58">
                  <c:v>Savencia: A</c:v>
                </c:pt>
                <c:pt idx="59">
                  <c:v>Boursin</c:v>
                </c:pt>
                <c:pt idx="60">
                  <c:v>President</c:v>
                </c:pt>
                <c:pt idx="61">
                  <c:v>All Others</c:v>
                </c:pt>
                <c:pt idx="62">
                  <c:v>Kiri</c:v>
                </c:pt>
                <c:pt idx="63">
                  <c:v>All Others</c:v>
                </c:pt>
                <c:pt idx="64">
                  <c:v>All Others</c:v>
                </c:pt>
                <c:pt idx="65">
                  <c:v>All Others</c:v>
                </c:pt>
                <c:pt idx="66">
                  <c:v>All Others</c:v>
                </c:pt>
                <c:pt idx="67">
                  <c:v>All Others</c:v>
                </c:pt>
                <c:pt idx="68">
                  <c:v>All Others</c:v>
                </c:pt>
                <c:pt idx="69">
                  <c:v>Paysan Bret</c:v>
                </c:pt>
                <c:pt idx="70">
                  <c:v>All Others</c:v>
                </c:pt>
                <c:pt idx="71">
                  <c:v>All Others</c:v>
                </c:pt>
                <c:pt idx="72">
                  <c:v>All Others</c:v>
                </c:pt>
                <c:pt idx="73">
                  <c:v>All Others</c:v>
                </c:pt>
                <c:pt idx="74">
                  <c:v>All Others</c:v>
                </c:pt>
                <c:pt idx="75">
                  <c:v>All Others</c:v>
                </c:pt>
                <c:pt idx="76">
                  <c:v>All Others</c:v>
                </c:pt>
                <c:pt idx="77">
                  <c:v>Other Suppl</c:v>
                </c:pt>
                <c:pt idx="78">
                  <c:v>All Others</c:v>
                </c:pt>
                <c:pt idx="79">
                  <c:v>All Others</c:v>
                </c:pt>
                <c:pt idx="80">
                  <c:v>All Others</c:v>
                </c:pt>
                <c:pt idx="81">
                  <c:v>All Others</c:v>
                </c:pt>
                <c:pt idx="82">
                  <c:v>All Others</c:v>
                </c:pt>
                <c:pt idx="83">
                  <c:v>All Others</c:v>
                </c:pt>
                <c:pt idx="84">
                  <c:v>All Others</c:v>
                </c:pt>
                <c:pt idx="85">
                  <c:v>All Others</c:v>
                </c:pt>
              </c:strCache>
            </c:strRef>
          </c:cat>
          <c:val>
            <c:numRef>
              <c:f>Sheet1!$B$2:$B$87</c:f>
              <c:numCache>
                <c:formatCode>General</c:formatCode>
                <c:ptCount val="86"/>
                <c:pt idx="0">
                  <c:v>1</c:v>
                </c:pt>
                <c:pt idx="1">
                  <c:v>1</c:v>
                </c:pt>
                <c:pt idx="2">
                  <c:v>1</c:v>
                </c:pt>
                <c:pt idx="3">
                  <c:v>1</c:v>
                </c:pt>
                <c:pt idx="4">
                  <c:v>1</c:v>
                </c:pt>
                <c:pt idx="5">
                  <c:v>1</c:v>
                </c:pt>
                <c:pt idx="6">
                  <c:v>1</c:v>
                </c:pt>
                <c:pt idx="7">
                  <c:v>1</c:v>
                </c:pt>
                <c:pt idx="8">
                  <c:v>1</c:v>
                </c:pt>
                <c:pt idx="9">
                  <c:v>0.99</c:v>
                </c:pt>
                <c:pt idx="10">
                  <c:v>0.98</c:v>
                </c:pt>
                <c:pt idx="11">
                  <c:v>1</c:v>
                </c:pt>
                <c:pt idx="12">
                  <c:v>1</c:v>
                </c:pt>
                <c:pt idx="13">
                  <c:v>1</c:v>
                </c:pt>
                <c:pt idx="14">
                  <c:v>0.99</c:v>
                </c:pt>
                <c:pt idx="15">
                  <c:v>1</c:v>
                </c:pt>
                <c:pt idx="16">
                  <c:v>1</c:v>
                </c:pt>
                <c:pt idx="17">
                  <c:v>1</c:v>
                </c:pt>
                <c:pt idx="18">
                  <c:v>1</c:v>
                </c:pt>
                <c:pt idx="19">
                  <c:v>1</c:v>
                </c:pt>
                <c:pt idx="20">
                  <c:v>0.99</c:v>
                </c:pt>
                <c:pt idx="21">
                  <c:v>0.99</c:v>
                </c:pt>
                <c:pt idx="22">
                  <c:v>0.78</c:v>
                </c:pt>
                <c:pt idx="23">
                  <c:v>0.99</c:v>
                </c:pt>
                <c:pt idx="24">
                  <c:v>0.63</c:v>
                </c:pt>
                <c:pt idx="25">
                  <c:v>0.99</c:v>
                </c:pt>
                <c:pt idx="26">
                  <c:v>0.68</c:v>
                </c:pt>
                <c:pt idx="27">
                  <c:v>0.99</c:v>
                </c:pt>
                <c:pt idx="28">
                  <c:v>0.79</c:v>
                </c:pt>
                <c:pt idx="29">
                  <c:v>0.99</c:v>
                </c:pt>
                <c:pt idx="30">
                  <c:v>0.99</c:v>
                </c:pt>
                <c:pt idx="31">
                  <c:v>0.96</c:v>
                </c:pt>
                <c:pt idx="32">
                  <c:v>0.93</c:v>
                </c:pt>
                <c:pt idx="33">
                  <c:v>0.72</c:v>
                </c:pt>
                <c:pt idx="34">
                  <c:v>1</c:v>
                </c:pt>
                <c:pt idx="35">
                  <c:v>0.98</c:v>
                </c:pt>
                <c:pt idx="36">
                  <c:v>1</c:v>
                </c:pt>
                <c:pt idx="37">
                  <c:v>0.7</c:v>
                </c:pt>
                <c:pt idx="38">
                  <c:v>0.99</c:v>
                </c:pt>
                <c:pt idx="39">
                  <c:v>0.99</c:v>
                </c:pt>
                <c:pt idx="40">
                  <c:v>0.97</c:v>
                </c:pt>
                <c:pt idx="41">
                  <c:v>0.98</c:v>
                </c:pt>
                <c:pt idx="42">
                  <c:v>0.99</c:v>
                </c:pt>
                <c:pt idx="43">
                  <c:v>0.99</c:v>
                </c:pt>
                <c:pt idx="44">
                  <c:v>0.93</c:v>
                </c:pt>
                <c:pt idx="45">
                  <c:v>0.98</c:v>
                </c:pt>
                <c:pt idx="46">
                  <c:v>0.7</c:v>
                </c:pt>
                <c:pt idx="47">
                  <c:v>0.61</c:v>
                </c:pt>
                <c:pt idx="48">
                  <c:v>0.28000000000000003</c:v>
                </c:pt>
                <c:pt idx="49">
                  <c:v>0.98</c:v>
                </c:pt>
                <c:pt idx="50">
                  <c:v>0.97</c:v>
                </c:pt>
                <c:pt idx="51">
                  <c:v>0.59</c:v>
                </c:pt>
                <c:pt idx="52">
                  <c:v>0.94</c:v>
                </c:pt>
                <c:pt idx="53">
                  <c:v>0.7</c:v>
                </c:pt>
                <c:pt idx="54">
                  <c:v>0.73</c:v>
                </c:pt>
                <c:pt idx="55">
                  <c:v>0.82</c:v>
                </c:pt>
                <c:pt idx="56">
                  <c:v>0.12</c:v>
                </c:pt>
                <c:pt idx="57">
                  <c:v>0.89</c:v>
                </c:pt>
                <c:pt idx="58">
                  <c:v>0.86</c:v>
                </c:pt>
                <c:pt idx="59">
                  <c:v>0.92</c:v>
                </c:pt>
                <c:pt idx="60">
                  <c:v>0.8</c:v>
                </c:pt>
                <c:pt idx="61">
                  <c:v>0.43</c:v>
                </c:pt>
                <c:pt idx="62">
                  <c:v>0.64</c:v>
                </c:pt>
                <c:pt idx="63">
                  <c:v>0.14000000000000001</c:v>
                </c:pt>
                <c:pt idx="64">
                  <c:v>7.0000000000000007E-2</c:v>
                </c:pt>
                <c:pt idx="65">
                  <c:v>0.09</c:v>
                </c:pt>
                <c:pt idx="66">
                  <c:v>0.13</c:v>
                </c:pt>
                <c:pt idx="67">
                  <c:v>0.4</c:v>
                </c:pt>
                <c:pt idx="68">
                  <c:v>0.04</c:v>
                </c:pt>
                <c:pt idx="69">
                  <c:v>0.23</c:v>
                </c:pt>
                <c:pt idx="70">
                  <c:v>0.21</c:v>
                </c:pt>
                <c:pt idx="71">
                  <c:v>0.05</c:v>
                </c:pt>
                <c:pt idx="72">
                  <c:v>0.04</c:v>
                </c:pt>
                <c:pt idx="73">
                  <c:v>0.06</c:v>
                </c:pt>
                <c:pt idx="74">
                  <c:v>0.04</c:v>
                </c:pt>
                <c:pt idx="75">
                  <c:v>0.04</c:v>
                </c:pt>
                <c:pt idx="76">
                  <c:v>0.03</c:v>
                </c:pt>
                <c:pt idx="77">
                  <c:v>7.0000000000000007E-2</c:v>
                </c:pt>
                <c:pt idx="78">
                  <c:v>0.04</c:v>
                </c:pt>
                <c:pt idx="79">
                  <c:v>0.02</c:v>
                </c:pt>
                <c:pt idx="80">
                  <c:v>0.02</c:v>
                </c:pt>
                <c:pt idx="81">
                  <c:v>0.02</c:v>
                </c:pt>
                <c:pt idx="82">
                  <c:v>0.01</c:v>
                </c:pt>
                <c:pt idx="83">
                  <c:v>0.04</c:v>
                </c:pt>
                <c:pt idx="84">
                  <c:v>0.02</c:v>
                </c:pt>
                <c:pt idx="8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7</c:f>
              <c:strCache>
                <c:ptCount val="86"/>
                <c:pt idx="0">
                  <c:v>St Moret</c:v>
                </c:pt>
                <c:pt idx="1">
                  <c:v>St Moret</c:v>
                </c:pt>
                <c:pt idx="2">
                  <c:v>St Moret</c:v>
                </c:pt>
                <c:pt idx="3">
                  <c:v>Private Lab</c:v>
                </c:pt>
                <c:pt idx="4">
                  <c:v>St Moret</c:v>
                </c:pt>
                <c:pt idx="5">
                  <c:v>Tartare</c:v>
                </c:pt>
                <c:pt idx="6">
                  <c:v>Paysan Bret</c:v>
                </c:pt>
                <c:pt idx="7">
                  <c:v>Boursin</c:v>
                </c:pt>
                <c:pt idx="8">
                  <c:v>St Moret</c:v>
                </c:pt>
                <c:pt idx="9">
                  <c:v>Paysan Bret</c:v>
                </c:pt>
                <c:pt idx="10">
                  <c:v>Philadelphi</c:v>
                </c:pt>
                <c:pt idx="11">
                  <c:v>Tartare</c:v>
                </c:pt>
                <c:pt idx="12">
                  <c:v>Boursin</c:v>
                </c:pt>
                <c:pt idx="13">
                  <c:v>Boursin</c:v>
                </c:pt>
                <c:pt idx="14">
                  <c:v>Carre Frais</c:v>
                </c:pt>
                <c:pt idx="15">
                  <c:v>Carre Frais</c:v>
                </c:pt>
                <c:pt idx="16">
                  <c:v>Private Lab</c:v>
                </c:pt>
                <c:pt idx="17">
                  <c:v>St Moret</c:v>
                </c:pt>
                <c:pt idx="18">
                  <c:v>Private Lab</c:v>
                </c:pt>
                <c:pt idx="19">
                  <c:v>Private Lab</c:v>
                </c:pt>
                <c:pt idx="20">
                  <c:v>Tartare</c:v>
                </c:pt>
                <c:pt idx="21">
                  <c:v>St Moret</c:v>
                </c:pt>
                <c:pt idx="22">
                  <c:v>St Moret</c:v>
                </c:pt>
                <c:pt idx="23">
                  <c:v>Philadelphi</c:v>
                </c:pt>
                <c:pt idx="24">
                  <c:v>Paysan Bret</c:v>
                </c:pt>
                <c:pt idx="25">
                  <c:v>Boursin</c:v>
                </c:pt>
                <c:pt idx="26">
                  <c:v>Paysan Bret</c:v>
                </c:pt>
                <c:pt idx="27">
                  <c:v>Boursin</c:v>
                </c:pt>
                <c:pt idx="28">
                  <c:v>Paysan Bret</c:v>
                </c:pt>
                <c:pt idx="29">
                  <c:v>Boursin</c:v>
                </c:pt>
                <c:pt idx="30">
                  <c:v>Tartare</c:v>
                </c:pt>
                <c:pt idx="31">
                  <c:v>Private Lab</c:v>
                </c:pt>
                <c:pt idx="32">
                  <c:v>Carre Frais</c:v>
                </c:pt>
                <c:pt idx="33">
                  <c:v>Paysan Bret</c:v>
                </c:pt>
                <c:pt idx="34">
                  <c:v>Boursin</c:v>
                </c:pt>
                <c:pt idx="35">
                  <c:v>Tartare</c:v>
                </c:pt>
                <c:pt idx="36">
                  <c:v>Boursin</c:v>
                </c:pt>
                <c:pt idx="37">
                  <c:v>Paysan Bret</c:v>
                </c:pt>
                <c:pt idx="38">
                  <c:v>Boursin</c:v>
                </c:pt>
                <c:pt idx="39">
                  <c:v>Saint Agur</c:v>
                </c:pt>
                <c:pt idx="40">
                  <c:v>Savencia: A</c:v>
                </c:pt>
                <c:pt idx="41">
                  <c:v>Tartare</c:v>
                </c:pt>
                <c:pt idx="42">
                  <c:v>Tartare</c:v>
                </c:pt>
                <c:pt idx="43">
                  <c:v>Kiri</c:v>
                </c:pt>
                <c:pt idx="44">
                  <c:v>St Moret</c:v>
                </c:pt>
                <c:pt idx="45">
                  <c:v>Boursin</c:v>
                </c:pt>
                <c:pt idx="46">
                  <c:v>Paysan Bret</c:v>
                </c:pt>
                <c:pt idx="47">
                  <c:v>Paysan Bret</c:v>
                </c:pt>
                <c:pt idx="48">
                  <c:v>Paysan Bret</c:v>
                </c:pt>
                <c:pt idx="49">
                  <c:v>Kiri</c:v>
                </c:pt>
                <c:pt idx="50">
                  <c:v>Private Lab</c:v>
                </c:pt>
                <c:pt idx="51">
                  <c:v>Carre Frais</c:v>
                </c:pt>
                <c:pt idx="52">
                  <c:v>Saint Agur</c:v>
                </c:pt>
                <c:pt idx="53">
                  <c:v>Boursin</c:v>
                </c:pt>
                <c:pt idx="54">
                  <c:v>Lactalis: A</c:v>
                </c:pt>
                <c:pt idx="55">
                  <c:v>Tartare</c:v>
                </c:pt>
                <c:pt idx="56">
                  <c:v>All Others</c:v>
                </c:pt>
                <c:pt idx="57">
                  <c:v>Savencia: A</c:v>
                </c:pt>
                <c:pt idx="58">
                  <c:v>Savencia: A</c:v>
                </c:pt>
                <c:pt idx="59">
                  <c:v>Boursin</c:v>
                </c:pt>
                <c:pt idx="60">
                  <c:v>President</c:v>
                </c:pt>
                <c:pt idx="61">
                  <c:v>All Others</c:v>
                </c:pt>
                <c:pt idx="62">
                  <c:v>Kiri</c:v>
                </c:pt>
                <c:pt idx="63">
                  <c:v>All Others</c:v>
                </c:pt>
                <c:pt idx="64">
                  <c:v>All Others</c:v>
                </c:pt>
                <c:pt idx="65">
                  <c:v>All Others</c:v>
                </c:pt>
                <c:pt idx="66">
                  <c:v>All Others</c:v>
                </c:pt>
                <c:pt idx="67">
                  <c:v>All Others</c:v>
                </c:pt>
                <c:pt idx="68">
                  <c:v>All Others</c:v>
                </c:pt>
                <c:pt idx="69">
                  <c:v>Paysan Bret</c:v>
                </c:pt>
                <c:pt idx="70">
                  <c:v>All Others</c:v>
                </c:pt>
                <c:pt idx="71">
                  <c:v>All Others</c:v>
                </c:pt>
                <c:pt idx="72">
                  <c:v>All Others</c:v>
                </c:pt>
                <c:pt idx="73">
                  <c:v>All Others</c:v>
                </c:pt>
                <c:pt idx="74">
                  <c:v>All Others</c:v>
                </c:pt>
                <c:pt idx="75">
                  <c:v>All Others</c:v>
                </c:pt>
                <c:pt idx="76">
                  <c:v>All Others</c:v>
                </c:pt>
                <c:pt idx="77">
                  <c:v>Other Suppl</c:v>
                </c:pt>
                <c:pt idx="78">
                  <c:v>All Others</c:v>
                </c:pt>
                <c:pt idx="79">
                  <c:v>All Others</c:v>
                </c:pt>
                <c:pt idx="80">
                  <c:v>All Others</c:v>
                </c:pt>
                <c:pt idx="81">
                  <c:v>All Others</c:v>
                </c:pt>
                <c:pt idx="82">
                  <c:v>All Others</c:v>
                </c:pt>
                <c:pt idx="83">
                  <c:v>All Others</c:v>
                </c:pt>
                <c:pt idx="84">
                  <c:v>All Others</c:v>
                </c:pt>
                <c:pt idx="85">
                  <c:v>All Others</c:v>
                </c:pt>
              </c:strCache>
            </c:strRef>
          </c:cat>
          <c:val>
            <c:numRef>
              <c:f>Sheet1!$C$2:$C$87</c:f>
              <c:numCache>
                <c:formatCode>General</c:formatCode>
                <c:ptCount val="86"/>
                <c:pt idx="0">
                  <c:v>6.6764310095580329E-2</c:v>
                </c:pt>
                <c:pt idx="1">
                  <c:v>0.13085738768045671</c:v>
                </c:pt>
                <c:pt idx="2">
                  <c:v>0.18755050996399902</c:v>
                </c:pt>
                <c:pt idx="3">
                  <c:v>0.24243203178068862</c:v>
                </c:pt>
                <c:pt idx="4">
                  <c:v>0.29400209599651467</c:v>
                </c:pt>
                <c:pt idx="5">
                  <c:v>0.34496187568427156</c:v>
                </c:pt>
                <c:pt idx="6">
                  <c:v>0.38093762210012694</c:v>
                </c:pt>
                <c:pt idx="7">
                  <c:v>0.41314863752368136</c:v>
                </c:pt>
                <c:pt idx="8">
                  <c:v>0.44459377179727932</c:v>
                </c:pt>
                <c:pt idx="9">
                  <c:v>0.47547357167802001</c:v>
                </c:pt>
                <c:pt idx="10">
                  <c:v>0.50619070236315122</c:v>
                </c:pt>
                <c:pt idx="11">
                  <c:v>0.53422787769665447</c:v>
                </c:pt>
                <c:pt idx="12">
                  <c:v>0.56183488337954601</c:v>
                </c:pt>
                <c:pt idx="13">
                  <c:v>0.58541468700089239</c:v>
                </c:pt>
                <c:pt idx="14">
                  <c:v>0.60789054044836344</c:v>
                </c:pt>
                <c:pt idx="15">
                  <c:v>0.63011908956801665</c:v>
                </c:pt>
                <c:pt idx="16">
                  <c:v>0.65184768630966627</c:v>
                </c:pt>
                <c:pt idx="17">
                  <c:v>0.67355317931049019</c:v>
                </c:pt>
                <c:pt idx="18">
                  <c:v>0.69485616428237118</c:v>
                </c:pt>
                <c:pt idx="19">
                  <c:v>0.7125071865207433</c:v>
                </c:pt>
                <c:pt idx="20">
                  <c:v>0.72931790841677147</c:v>
                </c:pt>
                <c:pt idx="21">
                  <c:v>0.7454200370099926</c:v>
                </c:pt>
                <c:pt idx="22">
                  <c:v>0.76131179582705588</c:v>
                </c:pt>
                <c:pt idx="23">
                  <c:v>0.7749452818546364</c:v>
                </c:pt>
                <c:pt idx="24">
                  <c:v>0.78756236045419137</c:v>
                </c:pt>
                <c:pt idx="25">
                  <c:v>0.79869584883929645</c:v>
                </c:pt>
                <c:pt idx="26">
                  <c:v>0.80967083298887288</c:v>
                </c:pt>
                <c:pt idx="27">
                  <c:v>0.82048141909148553</c:v>
                </c:pt>
                <c:pt idx="28">
                  <c:v>0.83120878457663427</c:v>
                </c:pt>
                <c:pt idx="29">
                  <c:v>0.84181898109045272</c:v>
                </c:pt>
                <c:pt idx="30">
                  <c:v>0.85200498034924699</c:v>
                </c:pt>
                <c:pt idx="31">
                  <c:v>0.86214940859138556</c:v>
                </c:pt>
                <c:pt idx="32">
                  <c:v>0.87219953585056209</c:v>
                </c:pt>
                <c:pt idx="33">
                  <c:v>0.88165407381818106</c:v>
                </c:pt>
                <c:pt idx="34">
                  <c:v>0.89074295972436479</c:v>
                </c:pt>
                <c:pt idx="35">
                  <c:v>0.89919405664911545</c:v>
                </c:pt>
                <c:pt idx="36">
                  <c:v>0.90691801441107656</c:v>
                </c:pt>
                <c:pt idx="37">
                  <c:v>0.91459717920613071</c:v>
                </c:pt>
                <c:pt idx="38">
                  <c:v>0.92151211311843018</c:v>
                </c:pt>
                <c:pt idx="39">
                  <c:v>0.92839050539983181</c:v>
                </c:pt>
                <c:pt idx="40">
                  <c:v>0.93509648405071799</c:v>
                </c:pt>
                <c:pt idx="41">
                  <c:v>0.94137268597175472</c:v>
                </c:pt>
                <c:pt idx="42">
                  <c:v>0.94764071514093473</c:v>
                </c:pt>
                <c:pt idx="43">
                  <c:v>0.95365059536925623</c:v>
                </c:pt>
                <c:pt idx="44">
                  <c:v>0.95952452501380758</c:v>
                </c:pt>
                <c:pt idx="45">
                  <c:v>0.96526093239153932</c:v>
                </c:pt>
                <c:pt idx="46">
                  <c:v>0.97046430346307822</c:v>
                </c:pt>
                <c:pt idx="47">
                  <c:v>0.97444074016212889</c:v>
                </c:pt>
                <c:pt idx="48">
                  <c:v>0.97814896914880511</c:v>
                </c:pt>
                <c:pt idx="49">
                  <c:v>0.9818050182582424</c:v>
                </c:pt>
                <c:pt idx="50">
                  <c:v>0.98459176947307481</c:v>
                </c:pt>
                <c:pt idx="51">
                  <c:v>0.98737467006443624</c:v>
                </c:pt>
                <c:pt idx="52">
                  <c:v>0.98928347912789227</c:v>
                </c:pt>
                <c:pt idx="53">
                  <c:v>0.99096989503986288</c:v>
                </c:pt>
                <c:pt idx="54">
                  <c:v>0.99257866980919485</c:v>
                </c:pt>
                <c:pt idx="55">
                  <c:v>0.99408363491311613</c:v>
                </c:pt>
                <c:pt idx="56">
                  <c:v>0.99499709710140816</c:v>
                </c:pt>
                <c:pt idx="57">
                  <c:v>0.99579417615989452</c:v>
                </c:pt>
                <c:pt idx="58">
                  <c:v>0.99648296625627952</c:v>
                </c:pt>
                <c:pt idx="59">
                  <c:v>0.99709890884332641</c:v>
                </c:pt>
                <c:pt idx="60">
                  <c:v>0.99769159052124268</c:v>
                </c:pt>
                <c:pt idx="61">
                  <c:v>0.99800922766551969</c:v>
                </c:pt>
                <c:pt idx="62">
                  <c:v>0.9983019536334643</c:v>
                </c:pt>
                <c:pt idx="63">
                  <c:v>0.99853574148705759</c:v>
                </c:pt>
                <c:pt idx="64">
                  <c:v>0.99874548258999563</c:v>
                </c:pt>
                <c:pt idx="65">
                  <c:v>0.99895058722793806</c:v>
                </c:pt>
                <c:pt idx="66">
                  <c:v>0.99912826599666893</c:v>
                </c:pt>
                <c:pt idx="67">
                  <c:v>0.99929164244965063</c:v>
                </c:pt>
                <c:pt idx="68">
                  <c:v>0.9994040177876804</c:v>
                </c:pt>
                <c:pt idx="69">
                  <c:v>0.9995154501158805</c:v>
                </c:pt>
                <c:pt idx="70">
                  <c:v>0.9996227960681523</c:v>
                </c:pt>
                <c:pt idx="71">
                  <c:v>0.99972471971390375</c:v>
                </c:pt>
                <c:pt idx="72">
                  <c:v>0.99982357857770898</c:v>
                </c:pt>
                <c:pt idx="73">
                  <c:v>0.99986797862385357</c:v>
                </c:pt>
                <c:pt idx="74">
                  <c:v>0.99990703494763034</c:v>
                </c:pt>
                <c:pt idx="75">
                  <c:v>0.99992911709447396</c:v>
                </c:pt>
                <c:pt idx="76">
                  <c:v>0.99994994189487807</c:v>
                </c:pt>
                <c:pt idx="77">
                  <c:v>0.99996691607181121</c:v>
                </c:pt>
                <c:pt idx="78">
                  <c:v>0.99997721059578459</c:v>
                </c:pt>
                <c:pt idx="79">
                  <c:v>0.99998349732798208</c:v>
                </c:pt>
                <c:pt idx="80">
                  <c:v>0.9999887624661975</c:v>
                </c:pt>
                <c:pt idx="81">
                  <c:v>0.99999214158475369</c:v>
                </c:pt>
                <c:pt idx="82">
                  <c:v>0.99999512778254751</c:v>
                </c:pt>
                <c:pt idx="83">
                  <c:v>0.99999787822788389</c:v>
                </c:pt>
                <c:pt idx="84">
                  <c:v>0.99999929274262833</c:v>
                </c:pt>
                <c:pt idx="85">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8</c:f>
              <c:strCache>
                <c:ptCount val="77"/>
                <c:pt idx="0">
                  <c:v>Private Lab</c:v>
                </c:pt>
                <c:pt idx="1">
                  <c:v>St Moret</c:v>
                </c:pt>
                <c:pt idx="2">
                  <c:v>St Moret</c:v>
                </c:pt>
                <c:pt idx="3">
                  <c:v>Tartare</c:v>
                </c:pt>
                <c:pt idx="4">
                  <c:v>St Moret</c:v>
                </c:pt>
                <c:pt idx="5">
                  <c:v>St Moret</c:v>
                </c:pt>
                <c:pt idx="6">
                  <c:v>Private Lab</c:v>
                </c:pt>
                <c:pt idx="7">
                  <c:v>Paysan Bret</c:v>
                </c:pt>
                <c:pt idx="8">
                  <c:v>Private Lab</c:v>
                </c:pt>
                <c:pt idx="9">
                  <c:v>Carre Frais</c:v>
                </c:pt>
                <c:pt idx="10">
                  <c:v>Philadelphi</c:v>
                </c:pt>
                <c:pt idx="11">
                  <c:v>Boursin</c:v>
                </c:pt>
                <c:pt idx="12">
                  <c:v>Carre Frais</c:v>
                </c:pt>
                <c:pt idx="13">
                  <c:v>Boursin</c:v>
                </c:pt>
                <c:pt idx="14">
                  <c:v>Paysan Bret</c:v>
                </c:pt>
                <c:pt idx="15">
                  <c:v>Tartare</c:v>
                </c:pt>
                <c:pt idx="16">
                  <c:v>Philadelphi</c:v>
                </c:pt>
                <c:pt idx="17">
                  <c:v>St Moret</c:v>
                </c:pt>
                <c:pt idx="18">
                  <c:v>St Moret</c:v>
                </c:pt>
                <c:pt idx="19">
                  <c:v>Boursin</c:v>
                </c:pt>
                <c:pt idx="20">
                  <c:v>Private Lab</c:v>
                </c:pt>
                <c:pt idx="21">
                  <c:v>St Moret</c:v>
                </c:pt>
                <c:pt idx="22">
                  <c:v>Boursin</c:v>
                </c:pt>
                <c:pt idx="23">
                  <c:v>Boursin</c:v>
                </c:pt>
                <c:pt idx="24">
                  <c:v>Boursin</c:v>
                </c:pt>
                <c:pt idx="25">
                  <c:v>Tartare</c:v>
                </c:pt>
                <c:pt idx="26">
                  <c:v>Paysan Bret</c:v>
                </c:pt>
                <c:pt idx="27">
                  <c:v>Paysan Bret</c:v>
                </c:pt>
                <c:pt idx="28">
                  <c:v>Boursin</c:v>
                </c:pt>
                <c:pt idx="29">
                  <c:v>Private Lab</c:v>
                </c:pt>
                <c:pt idx="30">
                  <c:v>Paysan Bret</c:v>
                </c:pt>
                <c:pt idx="31">
                  <c:v>Boursin</c:v>
                </c:pt>
                <c:pt idx="32">
                  <c:v>Carre Frais</c:v>
                </c:pt>
                <c:pt idx="33">
                  <c:v>Tartare</c:v>
                </c:pt>
                <c:pt idx="34">
                  <c:v>Paysan Bret</c:v>
                </c:pt>
                <c:pt idx="35">
                  <c:v>Paysan Bret</c:v>
                </c:pt>
                <c:pt idx="36">
                  <c:v>Boursin</c:v>
                </c:pt>
                <c:pt idx="37">
                  <c:v>St Moret</c:v>
                </c:pt>
                <c:pt idx="38">
                  <c:v>Savencia: A</c:v>
                </c:pt>
                <c:pt idx="39">
                  <c:v>Kiri</c:v>
                </c:pt>
                <c:pt idx="40">
                  <c:v>Private Lab</c:v>
                </c:pt>
                <c:pt idx="41">
                  <c:v>Tartare</c:v>
                </c:pt>
                <c:pt idx="42">
                  <c:v>Paysan Bret</c:v>
                </c:pt>
                <c:pt idx="43">
                  <c:v>Tartare</c:v>
                </c:pt>
                <c:pt idx="44">
                  <c:v>Boursin</c:v>
                </c:pt>
                <c:pt idx="45">
                  <c:v>Tartare</c:v>
                </c:pt>
                <c:pt idx="46">
                  <c:v>Saint Agur</c:v>
                </c:pt>
                <c:pt idx="47">
                  <c:v>Lactalis: A</c:v>
                </c:pt>
                <c:pt idx="48">
                  <c:v>Kiri</c:v>
                </c:pt>
                <c:pt idx="49">
                  <c:v>Paysan Bret</c:v>
                </c:pt>
                <c:pt idx="50">
                  <c:v>Paysan Bret</c:v>
                </c:pt>
                <c:pt idx="51">
                  <c:v>All Others</c:v>
                </c:pt>
                <c:pt idx="52">
                  <c:v>Carre Frais</c:v>
                </c:pt>
                <c:pt idx="53">
                  <c:v>Boursin</c:v>
                </c:pt>
                <c:pt idx="54">
                  <c:v>St Moret</c:v>
                </c:pt>
                <c:pt idx="55">
                  <c:v>All Others</c:v>
                </c:pt>
                <c:pt idx="56">
                  <c:v>Saint Agur</c:v>
                </c:pt>
                <c:pt idx="57">
                  <c:v>All Others</c:v>
                </c:pt>
                <c:pt idx="58">
                  <c:v>Boursin</c:v>
                </c:pt>
                <c:pt idx="59">
                  <c:v>President</c:v>
                </c:pt>
                <c:pt idx="60">
                  <c:v>All Others</c:v>
                </c:pt>
                <c:pt idx="61">
                  <c:v>All Others</c:v>
                </c:pt>
                <c:pt idx="62">
                  <c:v>Tartare</c:v>
                </c:pt>
                <c:pt idx="63">
                  <c:v>All Others</c:v>
                </c:pt>
                <c:pt idx="64">
                  <c:v>All Others</c:v>
                </c:pt>
                <c:pt idx="65">
                  <c:v>Other Suppl</c:v>
                </c:pt>
                <c:pt idx="66">
                  <c:v>All Others</c:v>
                </c:pt>
                <c:pt idx="67">
                  <c:v>All Others</c:v>
                </c:pt>
                <c:pt idx="68">
                  <c:v>Paysan Bret</c:v>
                </c:pt>
                <c:pt idx="69">
                  <c:v>Savencia: A</c:v>
                </c:pt>
                <c:pt idx="70">
                  <c:v>Savencia: A</c:v>
                </c:pt>
                <c:pt idx="71">
                  <c:v>All Others</c:v>
                </c:pt>
                <c:pt idx="72">
                  <c:v>All Others</c:v>
                </c:pt>
                <c:pt idx="73">
                  <c:v>All Others</c:v>
                </c:pt>
                <c:pt idx="74">
                  <c:v>All Others</c:v>
                </c:pt>
                <c:pt idx="75">
                  <c:v>All Others</c:v>
                </c:pt>
                <c:pt idx="76">
                  <c:v>Kiri</c:v>
                </c:pt>
              </c:strCache>
            </c:strRef>
          </c:cat>
          <c:val>
            <c:numRef>
              <c:f>Sheet1!$B$2:$B$78</c:f>
              <c:numCache>
                <c:formatCode>General</c:formatCode>
                <c:ptCount val="77"/>
                <c:pt idx="0">
                  <c:v>0.99</c:v>
                </c:pt>
                <c:pt idx="1">
                  <c:v>0.99</c:v>
                </c:pt>
                <c:pt idx="2">
                  <c:v>0.88</c:v>
                </c:pt>
                <c:pt idx="3">
                  <c:v>0.93</c:v>
                </c:pt>
                <c:pt idx="4">
                  <c:v>0.97</c:v>
                </c:pt>
                <c:pt idx="5">
                  <c:v>0.76</c:v>
                </c:pt>
                <c:pt idx="6">
                  <c:v>0.93</c:v>
                </c:pt>
                <c:pt idx="7">
                  <c:v>0.87</c:v>
                </c:pt>
                <c:pt idx="8">
                  <c:v>0.98</c:v>
                </c:pt>
                <c:pt idx="9">
                  <c:v>0.91</c:v>
                </c:pt>
                <c:pt idx="10">
                  <c:v>0.92</c:v>
                </c:pt>
                <c:pt idx="11">
                  <c:v>0.98</c:v>
                </c:pt>
                <c:pt idx="12">
                  <c:v>0.74</c:v>
                </c:pt>
                <c:pt idx="13">
                  <c:v>0.9</c:v>
                </c:pt>
                <c:pt idx="14">
                  <c:v>0.47</c:v>
                </c:pt>
                <c:pt idx="15">
                  <c:v>0.77</c:v>
                </c:pt>
                <c:pt idx="16">
                  <c:v>0.62</c:v>
                </c:pt>
                <c:pt idx="17">
                  <c:v>0.75</c:v>
                </c:pt>
                <c:pt idx="18">
                  <c:v>0.56000000000000005</c:v>
                </c:pt>
                <c:pt idx="19">
                  <c:v>0.89</c:v>
                </c:pt>
                <c:pt idx="20">
                  <c:v>0.87</c:v>
                </c:pt>
                <c:pt idx="21">
                  <c:v>0.6</c:v>
                </c:pt>
                <c:pt idx="22">
                  <c:v>0.81</c:v>
                </c:pt>
                <c:pt idx="23">
                  <c:v>0.89</c:v>
                </c:pt>
                <c:pt idx="24">
                  <c:v>0.74</c:v>
                </c:pt>
                <c:pt idx="25">
                  <c:v>0.77</c:v>
                </c:pt>
                <c:pt idx="26">
                  <c:v>0.49</c:v>
                </c:pt>
                <c:pt idx="27">
                  <c:v>0.51</c:v>
                </c:pt>
                <c:pt idx="28">
                  <c:v>0.83</c:v>
                </c:pt>
                <c:pt idx="29">
                  <c:v>0.55000000000000004</c:v>
                </c:pt>
                <c:pt idx="30">
                  <c:v>0.28999999999999998</c:v>
                </c:pt>
                <c:pt idx="31">
                  <c:v>0.75</c:v>
                </c:pt>
                <c:pt idx="32">
                  <c:v>0.39</c:v>
                </c:pt>
                <c:pt idx="33">
                  <c:v>0.73</c:v>
                </c:pt>
                <c:pt idx="34">
                  <c:v>0.19</c:v>
                </c:pt>
                <c:pt idx="35">
                  <c:v>0.26</c:v>
                </c:pt>
                <c:pt idx="36">
                  <c:v>0.64</c:v>
                </c:pt>
                <c:pt idx="37">
                  <c:v>0.34</c:v>
                </c:pt>
                <c:pt idx="38">
                  <c:v>0.69</c:v>
                </c:pt>
                <c:pt idx="39">
                  <c:v>0.44</c:v>
                </c:pt>
                <c:pt idx="40">
                  <c:v>0.77</c:v>
                </c:pt>
                <c:pt idx="41">
                  <c:v>0.36</c:v>
                </c:pt>
                <c:pt idx="42">
                  <c:v>0.28000000000000003</c:v>
                </c:pt>
                <c:pt idx="43">
                  <c:v>0.67</c:v>
                </c:pt>
                <c:pt idx="44">
                  <c:v>0.46</c:v>
                </c:pt>
                <c:pt idx="45">
                  <c:v>0.16</c:v>
                </c:pt>
                <c:pt idx="46">
                  <c:v>0.41</c:v>
                </c:pt>
                <c:pt idx="47">
                  <c:v>0.24</c:v>
                </c:pt>
                <c:pt idx="48">
                  <c:v>0.5</c:v>
                </c:pt>
                <c:pt idx="49">
                  <c:v>0.17</c:v>
                </c:pt>
                <c:pt idx="50">
                  <c:v>0.16</c:v>
                </c:pt>
                <c:pt idx="51">
                  <c:v>0.05</c:v>
                </c:pt>
                <c:pt idx="52">
                  <c:v>0.1</c:v>
                </c:pt>
                <c:pt idx="53">
                  <c:v>0.12</c:v>
                </c:pt>
                <c:pt idx="54">
                  <c:v>0.03</c:v>
                </c:pt>
                <c:pt idx="55">
                  <c:v>0.05</c:v>
                </c:pt>
                <c:pt idx="56">
                  <c:v>0.25</c:v>
                </c:pt>
                <c:pt idx="57">
                  <c:v>0.14000000000000001</c:v>
                </c:pt>
                <c:pt idx="58">
                  <c:v>0.33</c:v>
                </c:pt>
                <c:pt idx="59">
                  <c:v>0.15</c:v>
                </c:pt>
                <c:pt idx="60">
                  <c:v>0.04</c:v>
                </c:pt>
                <c:pt idx="61">
                  <c:v>0.02</c:v>
                </c:pt>
                <c:pt idx="62">
                  <c:v>0.03</c:v>
                </c:pt>
                <c:pt idx="63">
                  <c:v>0.02</c:v>
                </c:pt>
                <c:pt idx="64">
                  <c:v>0.04</c:v>
                </c:pt>
                <c:pt idx="65">
                  <c:v>7.0000000000000007E-2</c:v>
                </c:pt>
                <c:pt idx="66">
                  <c:v>0.01</c:v>
                </c:pt>
                <c:pt idx="67">
                  <c:v>7.0000000000000007E-2</c:v>
                </c:pt>
                <c:pt idx="68">
                  <c:v>0.04</c:v>
                </c:pt>
                <c:pt idx="69">
                  <c:v>0.06</c:v>
                </c:pt>
                <c:pt idx="70">
                  <c:v>0.05</c:v>
                </c:pt>
                <c:pt idx="71">
                  <c:v>0.01</c:v>
                </c:pt>
                <c:pt idx="72">
                  <c:v>0.01</c:v>
                </c:pt>
                <c:pt idx="73">
                  <c:v>0.02</c:v>
                </c:pt>
                <c:pt idx="74">
                  <c:v>0.01</c:v>
                </c:pt>
                <c:pt idx="75">
                  <c:v>0.01</c:v>
                </c:pt>
                <c:pt idx="7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8</c:f>
              <c:strCache>
                <c:ptCount val="77"/>
                <c:pt idx="0">
                  <c:v>Private Lab</c:v>
                </c:pt>
                <c:pt idx="1">
                  <c:v>St Moret</c:v>
                </c:pt>
                <c:pt idx="2">
                  <c:v>St Moret</c:v>
                </c:pt>
                <c:pt idx="3">
                  <c:v>Tartare</c:v>
                </c:pt>
                <c:pt idx="4">
                  <c:v>St Moret</c:v>
                </c:pt>
                <c:pt idx="5">
                  <c:v>St Moret</c:v>
                </c:pt>
                <c:pt idx="6">
                  <c:v>Private Lab</c:v>
                </c:pt>
                <c:pt idx="7">
                  <c:v>Paysan Bret</c:v>
                </c:pt>
                <c:pt idx="8">
                  <c:v>Private Lab</c:v>
                </c:pt>
                <c:pt idx="9">
                  <c:v>Carre Frais</c:v>
                </c:pt>
                <c:pt idx="10">
                  <c:v>Philadelphi</c:v>
                </c:pt>
                <c:pt idx="11">
                  <c:v>Boursin</c:v>
                </c:pt>
                <c:pt idx="12">
                  <c:v>Carre Frais</c:v>
                </c:pt>
                <c:pt idx="13">
                  <c:v>Boursin</c:v>
                </c:pt>
                <c:pt idx="14">
                  <c:v>Paysan Bret</c:v>
                </c:pt>
                <c:pt idx="15">
                  <c:v>Tartare</c:v>
                </c:pt>
                <c:pt idx="16">
                  <c:v>Philadelphi</c:v>
                </c:pt>
                <c:pt idx="17">
                  <c:v>St Moret</c:v>
                </c:pt>
                <c:pt idx="18">
                  <c:v>St Moret</c:v>
                </c:pt>
                <c:pt idx="19">
                  <c:v>Boursin</c:v>
                </c:pt>
                <c:pt idx="20">
                  <c:v>Private Lab</c:v>
                </c:pt>
                <c:pt idx="21">
                  <c:v>St Moret</c:v>
                </c:pt>
                <c:pt idx="22">
                  <c:v>Boursin</c:v>
                </c:pt>
                <c:pt idx="23">
                  <c:v>Boursin</c:v>
                </c:pt>
                <c:pt idx="24">
                  <c:v>Boursin</c:v>
                </c:pt>
                <c:pt idx="25">
                  <c:v>Tartare</c:v>
                </c:pt>
                <c:pt idx="26">
                  <c:v>Paysan Bret</c:v>
                </c:pt>
                <c:pt idx="27">
                  <c:v>Paysan Bret</c:v>
                </c:pt>
                <c:pt idx="28">
                  <c:v>Boursin</c:v>
                </c:pt>
                <c:pt idx="29">
                  <c:v>Private Lab</c:v>
                </c:pt>
                <c:pt idx="30">
                  <c:v>Paysan Bret</c:v>
                </c:pt>
                <c:pt idx="31">
                  <c:v>Boursin</c:v>
                </c:pt>
                <c:pt idx="32">
                  <c:v>Carre Frais</c:v>
                </c:pt>
                <c:pt idx="33">
                  <c:v>Tartare</c:v>
                </c:pt>
                <c:pt idx="34">
                  <c:v>Paysan Bret</c:v>
                </c:pt>
                <c:pt idx="35">
                  <c:v>Paysan Bret</c:v>
                </c:pt>
                <c:pt idx="36">
                  <c:v>Boursin</c:v>
                </c:pt>
                <c:pt idx="37">
                  <c:v>St Moret</c:v>
                </c:pt>
                <c:pt idx="38">
                  <c:v>Savencia: A</c:v>
                </c:pt>
                <c:pt idx="39">
                  <c:v>Kiri</c:v>
                </c:pt>
                <c:pt idx="40">
                  <c:v>Private Lab</c:v>
                </c:pt>
                <c:pt idx="41">
                  <c:v>Tartare</c:v>
                </c:pt>
                <c:pt idx="42">
                  <c:v>Paysan Bret</c:v>
                </c:pt>
                <c:pt idx="43">
                  <c:v>Tartare</c:v>
                </c:pt>
                <c:pt idx="44">
                  <c:v>Boursin</c:v>
                </c:pt>
                <c:pt idx="45">
                  <c:v>Tartare</c:v>
                </c:pt>
                <c:pt idx="46">
                  <c:v>Saint Agur</c:v>
                </c:pt>
                <c:pt idx="47">
                  <c:v>Lactalis: A</c:v>
                </c:pt>
                <c:pt idx="48">
                  <c:v>Kiri</c:v>
                </c:pt>
                <c:pt idx="49">
                  <c:v>Paysan Bret</c:v>
                </c:pt>
                <c:pt idx="50">
                  <c:v>Paysan Bret</c:v>
                </c:pt>
                <c:pt idx="51">
                  <c:v>All Others</c:v>
                </c:pt>
                <c:pt idx="52">
                  <c:v>Carre Frais</c:v>
                </c:pt>
                <c:pt idx="53">
                  <c:v>Boursin</c:v>
                </c:pt>
                <c:pt idx="54">
                  <c:v>St Moret</c:v>
                </c:pt>
                <c:pt idx="55">
                  <c:v>All Others</c:v>
                </c:pt>
                <c:pt idx="56">
                  <c:v>Saint Agur</c:v>
                </c:pt>
                <c:pt idx="57">
                  <c:v>All Others</c:v>
                </c:pt>
                <c:pt idx="58">
                  <c:v>Boursin</c:v>
                </c:pt>
                <c:pt idx="59">
                  <c:v>President</c:v>
                </c:pt>
                <c:pt idx="60">
                  <c:v>All Others</c:v>
                </c:pt>
                <c:pt idx="61">
                  <c:v>All Others</c:v>
                </c:pt>
                <c:pt idx="62">
                  <c:v>Tartare</c:v>
                </c:pt>
                <c:pt idx="63">
                  <c:v>All Others</c:v>
                </c:pt>
                <c:pt idx="64">
                  <c:v>All Others</c:v>
                </c:pt>
                <c:pt idx="65">
                  <c:v>Other Suppl</c:v>
                </c:pt>
                <c:pt idx="66">
                  <c:v>All Others</c:v>
                </c:pt>
                <c:pt idx="67">
                  <c:v>All Others</c:v>
                </c:pt>
                <c:pt idx="68">
                  <c:v>Paysan Bret</c:v>
                </c:pt>
                <c:pt idx="69">
                  <c:v>Savencia: A</c:v>
                </c:pt>
                <c:pt idx="70">
                  <c:v>Savencia: A</c:v>
                </c:pt>
                <c:pt idx="71">
                  <c:v>All Others</c:v>
                </c:pt>
                <c:pt idx="72">
                  <c:v>All Others</c:v>
                </c:pt>
                <c:pt idx="73">
                  <c:v>All Others</c:v>
                </c:pt>
                <c:pt idx="74">
                  <c:v>All Others</c:v>
                </c:pt>
                <c:pt idx="75">
                  <c:v>All Others</c:v>
                </c:pt>
                <c:pt idx="76">
                  <c:v>Kiri</c:v>
                </c:pt>
              </c:strCache>
            </c:strRef>
          </c:cat>
          <c:val>
            <c:numRef>
              <c:f>Sheet1!$C$2:$C$78</c:f>
              <c:numCache>
                <c:formatCode>General</c:formatCode>
                <c:ptCount val="77"/>
                <c:pt idx="0">
                  <c:v>7.7020581450259043E-2</c:v>
                </c:pt>
                <c:pt idx="1">
                  <c:v>0.14570784421185362</c:v>
                </c:pt>
                <c:pt idx="2">
                  <c:v>0.21400505667863429</c:v>
                </c:pt>
                <c:pt idx="3">
                  <c:v>0.26467410465214269</c:v>
                </c:pt>
                <c:pt idx="4">
                  <c:v>0.31339750376179704</c:v>
                </c:pt>
                <c:pt idx="5">
                  <c:v>0.36199864080736144</c:v>
                </c:pt>
                <c:pt idx="6">
                  <c:v>0.40618905464143534</c:v>
                </c:pt>
                <c:pt idx="7">
                  <c:v>0.44890646583888305</c:v>
                </c:pt>
                <c:pt idx="8">
                  <c:v>0.48455694562752449</c:v>
                </c:pt>
                <c:pt idx="9">
                  <c:v>0.51662090416855055</c:v>
                </c:pt>
                <c:pt idx="10">
                  <c:v>0.54756425264781883</c:v>
                </c:pt>
                <c:pt idx="11">
                  <c:v>0.57766741555319057</c:v>
                </c:pt>
                <c:pt idx="12">
                  <c:v>0.6077061419155444</c:v>
                </c:pt>
                <c:pt idx="13">
                  <c:v>0.6371325537515834</c:v>
                </c:pt>
                <c:pt idx="14">
                  <c:v>0.66493633627707915</c:v>
                </c:pt>
                <c:pt idx="15">
                  <c:v>0.69001662881228976</c:v>
                </c:pt>
                <c:pt idx="16">
                  <c:v>0.71474570034614138</c:v>
                </c:pt>
                <c:pt idx="17">
                  <c:v>0.73570841409868215</c:v>
                </c:pt>
                <c:pt idx="18">
                  <c:v>0.75644451206097274</c:v>
                </c:pt>
                <c:pt idx="19">
                  <c:v>0.77648645271893346</c:v>
                </c:pt>
                <c:pt idx="20">
                  <c:v>0.79639441557771007</c:v>
                </c:pt>
                <c:pt idx="21">
                  <c:v>0.81375964550194024</c:v>
                </c:pt>
                <c:pt idx="22">
                  <c:v>0.82979639475031308</c:v>
                </c:pt>
                <c:pt idx="23">
                  <c:v>0.84327191693945514</c:v>
                </c:pt>
                <c:pt idx="24">
                  <c:v>0.85559804183203647</c:v>
                </c:pt>
                <c:pt idx="25">
                  <c:v>0.86772767711032406</c:v>
                </c:pt>
                <c:pt idx="26">
                  <c:v>0.87959211835637285</c:v>
                </c:pt>
                <c:pt idx="27">
                  <c:v>0.89023285107183503</c:v>
                </c:pt>
                <c:pt idx="28">
                  <c:v>0.90059198772592652</c:v>
                </c:pt>
                <c:pt idx="29">
                  <c:v>0.90943552667794225</c:v>
                </c:pt>
                <c:pt idx="30">
                  <c:v>0.91743561638699955</c:v>
                </c:pt>
                <c:pt idx="31">
                  <c:v>0.92465192341825653</c:v>
                </c:pt>
                <c:pt idx="32">
                  <c:v>0.9315739144471834</c:v>
                </c:pt>
                <c:pt idx="33">
                  <c:v>0.93702984859671856</c:v>
                </c:pt>
                <c:pt idx="34">
                  <c:v>0.94222184397134634</c:v>
                </c:pt>
                <c:pt idx="35">
                  <c:v>0.94718965038656489</c:v>
                </c:pt>
                <c:pt idx="36">
                  <c:v>0.95150807034227769</c:v>
                </c:pt>
                <c:pt idx="37">
                  <c:v>0.95568924882974449</c:v>
                </c:pt>
                <c:pt idx="38">
                  <c:v>0.95986582470699566</c:v>
                </c:pt>
                <c:pt idx="39">
                  <c:v>0.964030099062398</c:v>
                </c:pt>
                <c:pt idx="40">
                  <c:v>0.96813470685264214</c:v>
                </c:pt>
                <c:pt idx="41">
                  <c:v>0.97180976558404053</c:v>
                </c:pt>
                <c:pt idx="42">
                  <c:v>0.97526707901033149</c:v>
                </c:pt>
                <c:pt idx="43">
                  <c:v>0.97842363277999056</c:v>
                </c:pt>
                <c:pt idx="44">
                  <c:v>0.98133423979649415</c:v>
                </c:pt>
                <c:pt idx="45">
                  <c:v>0.98394492399458677</c:v>
                </c:pt>
                <c:pt idx="46">
                  <c:v>0.98614714745700327</c:v>
                </c:pt>
                <c:pt idx="47">
                  <c:v>0.98815756759916362</c:v>
                </c:pt>
                <c:pt idx="48">
                  <c:v>0.989928317274826</c:v>
                </c:pt>
                <c:pt idx="49">
                  <c:v>0.99159965056983213</c:v>
                </c:pt>
                <c:pt idx="50">
                  <c:v>0.99313148293339548</c:v>
                </c:pt>
                <c:pt idx="51">
                  <c:v>0.99433326630259156</c:v>
                </c:pt>
                <c:pt idx="52">
                  <c:v>0.99525830727209874</c:v>
                </c:pt>
                <c:pt idx="53">
                  <c:v>0.99599581279627702</c:v>
                </c:pt>
                <c:pt idx="54">
                  <c:v>0.99652042667702978</c:v>
                </c:pt>
                <c:pt idx="55">
                  <c:v>0.99699349132336812</c:v>
                </c:pt>
                <c:pt idx="56">
                  <c:v>0.99745015394057468</c:v>
                </c:pt>
                <c:pt idx="57">
                  <c:v>0.99788338508759289</c:v>
                </c:pt>
                <c:pt idx="58">
                  <c:v>0.99823150978753405</c:v>
                </c:pt>
                <c:pt idx="59">
                  <c:v>0.99851486320916893</c:v>
                </c:pt>
                <c:pt idx="60">
                  <c:v>0.99874901054340826</c:v>
                </c:pt>
                <c:pt idx="61">
                  <c:v>0.99895537484870989</c:v>
                </c:pt>
                <c:pt idx="62">
                  <c:v>0.99915529549970972</c:v>
                </c:pt>
                <c:pt idx="63">
                  <c:v>0.99932165893804703</c:v>
                </c:pt>
                <c:pt idx="64">
                  <c:v>0.9994564735754522</c:v>
                </c:pt>
                <c:pt idx="65">
                  <c:v>0.99955530416935379</c:v>
                </c:pt>
                <c:pt idx="66">
                  <c:v>0.99965262845445757</c:v>
                </c:pt>
                <c:pt idx="67">
                  <c:v>0.99972083076947005</c:v>
                </c:pt>
                <c:pt idx="68">
                  <c:v>0.99977455578325902</c:v>
                </c:pt>
                <c:pt idx="69">
                  <c:v>0.99984016389978636</c:v>
                </c:pt>
                <c:pt idx="70">
                  <c:v>0.99987112691396385</c:v>
                </c:pt>
                <c:pt idx="71">
                  <c:v>0.99990058361934353</c:v>
                </c:pt>
                <c:pt idx="72">
                  <c:v>0.9999253540306855</c:v>
                </c:pt>
                <c:pt idx="73">
                  <c:v>0.99995012444202747</c:v>
                </c:pt>
                <c:pt idx="74">
                  <c:v>0.99997313749310535</c:v>
                </c:pt>
                <c:pt idx="75">
                  <c:v>0.99998033430180611</c:v>
                </c:pt>
                <c:pt idx="76">
                  <c:v>0.9999976568529811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42</c:f>
              <c:strCache>
                <c:ptCount val="341"/>
                <c:pt idx="0">
                  <c:v>Private Lab</c:v>
                </c:pt>
                <c:pt idx="1">
                  <c:v>Private Lab</c:v>
                </c:pt>
                <c:pt idx="2">
                  <c:v>Galbani</c:v>
                </c:pt>
                <c:pt idx="3">
                  <c:v>Private Lab</c:v>
                </c:pt>
                <c:pt idx="4">
                  <c:v>Private Lab</c:v>
                </c:pt>
                <c:pt idx="5">
                  <c:v>Salakis</c:v>
                </c:pt>
                <c:pt idx="6">
                  <c:v>Islos</c:v>
                </c:pt>
                <c:pt idx="7">
                  <c:v>Private Lab</c:v>
                </c:pt>
                <c:pt idx="8">
                  <c:v>Private Lab</c:v>
                </c:pt>
                <c:pt idx="9">
                  <c:v>Galbani</c:v>
                </c:pt>
                <c:pt idx="10">
                  <c:v>Salakis</c:v>
                </c:pt>
                <c:pt idx="11">
                  <c:v>Galbani</c:v>
                </c:pt>
                <c:pt idx="12">
                  <c:v>Casa Azzurr</c:v>
                </c:pt>
                <c:pt idx="13">
                  <c:v>Private Lab</c:v>
                </c:pt>
                <c:pt idx="14">
                  <c:v>Casa Azzurr</c:v>
                </c:pt>
                <c:pt idx="15">
                  <c:v>Galbani</c:v>
                </c:pt>
                <c:pt idx="16">
                  <c:v>Boursin</c:v>
                </c:pt>
                <c:pt idx="17">
                  <c:v>All Others</c:v>
                </c:pt>
                <c:pt idx="18">
                  <c:v>Private Lab</c:v>
                </c:pt>
                <c:pt idx="19">
                  <c:v>All Others</c:v>
                </c:pt>
                <c:pt idx="20">
                  <c:v>Casa Azzurr</c:v>
                </c:pt>
                <c:pt idx="21">
                  <c:v>Salakis</c:v>
                </c:pt>
                <c:pt idx="22">
                  <c:v>Private Lab</c:v>
                </c:pt>
                <c:pt idx="23">
                  <c:v>Casa Azzurr</c:v>
                </c:pt>
                <c:pt idx="24">
                  <c:v>Private Lab</c:v>
                </c:pt>
                <c:pt idx="25">
                  <c:v>Casa Azzurr</c:v>
                </c:pt>
                <c:pt idx="26">
                  <c:v>Casa Azzurr</c:v>
                </c:pt>
                <c:pt idx="27">
                  <c:v>Salakis</c:v>
                </c:pt>
                <c:pt idx="28">
                  <c:v>Casa Azzurr</c:v>
                </c:pt>
                <c:pt idx="29">
                  <c:v>Galbani</c:v>
                </c:pt>
                <c:pt idx="30">
                  <c:v>Private Lab</c:v>
                </c:pt>
                <c:pt idx="31">
                  <c:v>All Others</c:v>
                </c:pt>
                <c:pt idx="32">
                  <c:v>Salakis</c:v>
                </c:pt>
                <c:pt idx="33">
                  <c:v>All Others</c:v>
                </c:pt>
                <c:pt idx="34">
                  <c:v>All Others</c:v>
                </c:pt>
                <c:pt idx="35">
                  <c:v>Salakis</c:v>
                </c:pt>
                <c:pt idx="36">
                  <c:v>All Others</c:v>
                </c:pt>
                <c:pt idx="37">
                  <c:v>Galbani</c:v>
                </c:pt>
                <c:pt idx="38">
                  <c:v>All Others</c:v>
                </c:pt>
                <c:pt idx="39">
                  <c:v>Galbani</c:v>
                </c:pt>
                <c:pt idx="40">
                  <c:v>Private Lab</c:v>
                </c:pt>
                <c:pt idx="41">
                  <c:v>Casa Azzurr</c:v>
                </c:pt>
                <c:pt idx="42">
                  <c:v>Galbani</c:v>
                </c:pt>
                <c:pt idx="43">
                  <c:v>Private Lab</c:v>
                </c:pt>
                <c:pt idx="44">
                  <c:v>All Others</c:v>
                </c:pt>
                <c:pt idx="45">
                  <c:v>Casa Azzurr</c:v>
                </c:pt>
                <c:pt idx="46">
                  <c:v>Casa Azzurr</c:v>
                </c:pt>
                <c:pt idx="47">
                  <c:v>Casa Azzurr</c:v>
                </c:pt>
                <c:pt idx="48">
                  <c:v>All Others</c:v>
                </c:pt>
                <c:pt idx="49">
                  <c:v>Galbani</c:v>
                </c:pt>
                <c:pt idx="50">
                  <c:v>Private Lab</c:v>
                </c:pt>
                <c:pt idx="51">
                  <c:v>All Others</c:v>
                </c:pt>
                <c:pt idx="52">
                  <c:v>All Others</c:v>
                </c:pt>
                <c:pt idx="53">
                  <c:v>All Others</c:v>
                </c:pt>
                <c:pt idx="54">
                  <c:v>All Others</c:v>
                </c:pt>
                <c:pt idx="55">
                  <c:v>All Others</c:v>
                </c:pt>
                <c:pt idx="56">
                  <c:v>Private Lab</c:v>
                </c:pt>
                <c:pt idx="57">
                  <c:v>Boursin</c:v>
                </c:pt>
                <c:pt idx="58">
                  <c:v>All Others</c:v>
                </c:pt>
                <c:pt idx="59">
                  <c:v>All Others</c:v>
                </c:pt>
                <c:pt idx="60">
                  <c:v>All Others</c:v>
                </c:pt>
                <c:pt idx="61">
                  <c:v>Galbani</c:v>
                </c:pt>
                <c:pt idx="62">
                  <c:v>All Others</c:v>
                </c:pt>
                <c:pt idx="63">
                  <c:v>Galbani</c:v>
                </c:pt>
                <c:pt idx="64">
                  <c:v>All Others</c:v>
                </c:pt>
                <c:pt idx="65">
                  <c:v>Salakis</c:v>
                </c:pt>
                <c:pt idx="66">
                  <c:v>Casa Azzurr</c:v>
                </c:pt>
                <c:pt idx="67">
                  <c:v>All Others</c:v>
                </c:pt>
                <c:pt idx="68">
                  <c:v>All Others</c:v>
                </c:pt>
                <c:pt idx="69">
                  <c:v>All Others</c:v>
                </c:pt>
                <c:pt idx="70">
                  <c:v>Boursin</c:v>
                </c:pt>
                <c:pt idx="71">
                  <c:v>All Others</c:v>
                </c:pt>
                <c:pt idx="72">
                  <c:v>All Others</c:v>
                </c:pt>
                <c:pt idx="73">
                  <c:v>All Others</c:v>
                </c:pt>
                <c:pt idx="74">
                  <c:v>Galbani</c:v>
                </c:pt>
                <c:pt idx="75">
                  <c:v>All Others</c:v>
                </c:pt>
                <c:pt idx="76">
                  <c:v>All Others</c:v>
                </c:pt>
                <c:pt idx="77">
                  <c:v>Casa Azzurr</c:v>
                </c:pt>
                <c:pt idx="78">
                  <c:v>Private Lab</c:v>
                </c:pt>
                <c:pt idx="79">
                  <c:v>All Others</c:v>
                </c:pt>
                <c:pt idx="80">
                  <c:v>All Others</c:v>
                </c:pt>
                <c:pt idx="81">
                  <c:v>All Others</c:v>
                </c:pt>
                <c:pt idx="82">
                  <c:v>Private Lab</c:v>
                </c:pt>
                <c:pt idx="83">
                  <c:v>All Others</c:v>
                </c:pt>
                <c:pt idx="84">
                  <c:v>Lactalis: A</c:v>
                </c:pt>
                <c:pt idx="85">
                  <c:v>Casa Azzurr</c:v>
                </c:pt>
                <c:pt idx="86">
                  <c:v>All Others</c:v>
                </c:pt>
                <c:pt idx="87">
                  <c:v>All Others</c:v>
                </c:pt>
                <c:pt idx="88">
                  <c:v>Casa Azzurr</c:v>
                </c:pt>
                <c:pt idx="89">
                  <c:v>Galbani</c:v>
                </c:pt>
                <c:pt idx="90">
                  <c:v>Islos</c:v>
                </c:pt>
                <c:pt idx="91">
                  <c:v>All Others</c:v>
                </c:pt>
                <c:pt idx="92">
                  <c:v>All Others</c:v>
                </c:pt>
                <c:pt idx="93">
                  <c:v>All Others</c:v>
                </c:pt>
                <c:pt idx="94">
                  <c:v>All Others</c:v>
                </c:pt>
                <c:pt idx="95">
                  <c:v>Private Lab</c:v>
                </c:pt>
                <c:pt idx="96">
                  <c:v>All Others</c:v>
                </c:pt>
                <c:pt idx="97">
                  <c:v>Private Lab</c:v>
                </c:pt>
                <c:pt idx="98">
                  <c:v>All Others</c:v>
                </c:pt>
                <c:pt idx="99">
                  <c:v>All Others</c:v>
                </c:pt>
                <c:pt idx="100">
                  <c:v>Private Lab</c:v>
                </c:pt>
                <c:pt idx="101">
                  <c:v>Islos</c:v>
                </c:pt>
                <c:pt idx="102">
                  <c:v>Salakis</c:v>
                </c:pt>
                <c:pt idx="103">
                  <c:v>Private Lab</c:v>
                </c:pt>
                <c:pt idx="104">
                  <c:v>Boursin</c:v>
                </c:pt>
                <c:pt idx="105">
                  <c:v>Lactalis: A</c:v>
                </c:pt>
                <c:pt idx="106">
                  <c:v>Private Lab</c:v>
                </c:pt>
                <c:pt idx="107">
                  <c:v>Private Lab</c:v>
                </c:pt>
                <c:pt idx="108">
                  <c:v>All Others</c:v>
                </c:pt>
                <c:pt idx="109">
                  <c:v>All Others</c:v>
                </c:pt>
                <c:pt idx="110">
                  <c:v>Private Lab</c:v>
                </c:pt>
                <c:pt idx="111">
                  <c:v>All Others</c:v>
                </c:pt>
                <c:pt idx="112">
                  <c:v>All Others</c:v>
                </c:pt>
                <c:pt idx="113">
                  <c:v>All Others</c:v>
                </c:pt>
                <c:pt idx="114">
                  <c:v>All Others</c:v>
                </c:pt>
                <c:pt idx="115">
                  <c:v>All Others</c:v>
                </c:pt>
                <c:pt idx="116">
                  <c:v>Boursin</c:v>
                </c:pt>
                <c:pt idx="117">
                  <c:v>All Others</c:v>
                </c:pt>
                <c:pt idx="118">
                  <c:v>All Others</c:v>
                </c:pt>
                <c:pt idx="119">
                  <c:v>All Others</c:v>
                </c:pt>
                <c:pt idx="120">
                  <c:v>Boursin</c:v>
                </c:pt>
                <c:pt idx="121">
                  <c:v>Salakis</c:v>
                </c:pt>
                <c:pt idx="122">
                  <c:v>All Others</c:v>
                </c:pt>
                <c:pt idx="123">
                  <c:v>All Others</c:v>
                </c:pt>
                <c:pt idx="124">
                  <c:v>All Others</c:v>
                </c:pt>
                <c:pt idx="125">
                  <c:v>All Others</c:v>
                </c:pt>
                <c:pt idx="126">
                  <c:v>All Others</c:v>
                </c:pt>
                <c:pt idx="127">
                  <c:v>All Others</c:v>
                </c:pt>
                <c:pt idx="128">
                  <c:v>All Others</c:v>
                </c:pt>
                <c:pt idx="129">
                  <c:v>Private Lab</c:v>
                </c:pt>
                <c:pt idx="130">
                  <c:v>Lactalis: A</c:v>
                </c:pt>
                <c:pt idx="131">
                  <c:v>All Others</c:v>
                </c:pt>
                <c:pt idx="132">
                  <c:v>All Others</c:v>
                </c:pt>
                <c:pt idx="133">
                  <c:v>All Others</c:v>
                </c:pt>
                <c:pt idx="134">
                  <c:v>All Others</c:v>
                </c:pt>
                <c:pt idx="135">
                  <c:v>All Others</c:v>
                </c:pt>
                <c:pt idx="136">
                  <c:v>All Others</c:v>
                </c:pt>
                <c:pt idx="137">
                  <c:v>All Others</c:v>
                </c:pt>
                <c:pt idx="138">
                  <c:v>All Others</c:v>
                </c:pt>
                <c:pt idx="139">
                  <c:v>All Others</c:v>
                </c:pt>
                <c:pt idx="140">
                  <c:v>All Others</c:v>
                </c:pt>
                <c:pt idx="141">
                  <c:v>All Others</c:v>
                </c:pt>
                <c:pt idx="142">
                  <c:v>All Others</c:v>
                </c:pt>
                <c:pt idx="143">
                  <c:v>All Others</c:v>
                </c:pt>
                <c:pt idx="144">
                  <c:v>Casa Azzurr</c:v>
                </c:pt>
                <c:pt idx="145">
                  <c:v>All Others</c:v>
                </c:pt>
                <c:pt idx="146">
                  <c:v>All Others</c:v>
                </c:pt>
                <c:pt idx="147">
                  <c:v>All Others</c:v>
                </c:pt>
                <c:pt idx="148">
                  <c:v>All Others</c:v>
                </c:pt>
                <c:pt idx="149">
                  <c:v>All Others</c:v>
                </c:pt>
                <c:pt idx="150">
                  <c:v>All Others</c:v>
                </c:pt>
                <c:pt idx="151">
                  <c:v>Salakis</c:v>
                </c:pt>
                <c:pt idx="152">
                  <c:v>All Others</c:v>
                </c:pt>
                <c:pt idx="153">
                  <c:v>Salakis</c:v>
                </c:pt>
                <c:pt idx="154">
                  <c:v>All Others</c:v>
                </c:pt>
                <c:pt idx="155">
                  <c:v>All Others</c:v>
                </c:pt>
                <c:pt idx="156">
                  <c:v>All Others</c:v>
                </c:pt>
                <c:pt idx="157">
                  <c:v>All Others</c:v>
                </c:pt>
                <c:pt idx="158">
                  <c:v>Casa Azzurr</c:v>
                </c:pt>
                <c:pt idx="159">
                  <c:v>All Others</c:v>
                </c:pt>
                <c:pt idx="160">
                  <c:v>All Others</c:v>
                </c:pt>
                <c:pt idx="161">
                  <c:v>All Others</c:v>
                </c:pt>
                <c:pt idx="162">
                  <c:v>All Others</c:v>
                </c:pt>
                <c:pt idx="163">
                  <c:v>All Others</c:v>
                </c:pt>
                <c:pt idx="164">
                  <c:v>Casa Azzurr</c:v>
                </c:pt>
                <c:pt idx="165">
                  <c:v>Private Lab</c:v>
                </c:pt>
                <c:pt idx="166">
                  <c:v>All Others</c:v>
                </c:pt>
                <c:pt idx="167">
                  <c:v>All Others</c:v>
                </c:pt>
                <c:pt idx="168">
                  <c:v>All Others</c:v>
                </c:pt>
                <c:pt idx="169">
                  <c:v>Private Lab</c:v>
                </c:pt>
                <c:pt idx="170">
                  <c:v>All Others</c:v>
                </c:pt>
                <c:pt idx="171">
                  <c:v>All Others</c:v>
                </c:pt>
                <c:pt idx="172">
                  <c:v>All Others</c:v>
                </c:pt>
                <c:pt idx="173">
                  <c:v>All Others</c:v>
                </c:pt>
                <c:pt idx="174">
                  <c:v>All Others</c:v>
                </c:pt>
                <c:pt idx="175">
                  <c:v>All Others</c:v>
                </c:pt>
                <c:pt idx="176">
                  <c:v>All Others</c:v>
                </c:pt>
                <c:pt idx="177">
                  <c:v>All Others</c:v>
                </c:pt>
                <c:pt idx="178">
                  <c:v>All Others</c:v>
                </c:pt>
                <c:pt idx="179">
                  <c:v>All Others</c:v>
                </c:pt>
                <c:pt idx="180">
                  <c:v>Lactalis: A</c:v>
                </c:pt>
                <c:pt idx="181">
                  <c:v>All Others</c:v>
                </c:pt>
                <c:pt idx="182">
                  <c:v>Galbani</c:v>
                </c:pt>
                <c:pt idx="183">
                  <c:v>All Others</c:v>
                </c:pt>
                <c:pt idx="184">
                  <c:v>All Others</c:v>
                </c:pt>
                <c:pt idx="185">
                  <c:v>All Others</c:v>
                </c:pt>
                <c:pt idx="186">
                  <c:v>All Others</c:v>
                </c:pt>
                <c:pt idx="187">
                  <c:v>All Others</c:v>
                </c:pt>
                <c:pt idx="188">
                  <c:v>All Others</c:v>
                </c:pt>
                <c:pt idx="189">
                  <c:v>All Others</c:v>
                </c:pt>
                <c:pt idx="190">
                  <c:v>Savencia: A</c:v>
                </c:pt>
                <c:pt idx="191">
                  <c:v>All Others</c:v>
                </c:pt>
                <c:pt idx="192">
                  <c:v>All Others</c:v>
                </c:pt>
                <c:pt idx="193">
                  <c:v>All Others</c:v>
                </c:pt>
                <c:pt idx="194">
                  <c:v>All Others</c:v>
                </c:pt>
                <c:pt idx="195">
                  <c:v>Salakis</c:v>
                </c:pt>
                <c:pt idx="196">
                  <c:v>All Others</c:v>
                </c:pt>
                <c:pt idx="197">
                  <c:v>Private Lab</c:v>
                </c:pt>
                <c:pt idx="198">
                  <c:v>All Others</c:v>
                </c:pt>
                <c:pt idx="199">
                  <c:v>Savencia: A</c:v>
                </c:pt>
                <c:pt idx="200">
                  <c:v>All Others</c:v>
                </c:pt>
                <c:pt idx="201">
                  <c:v>All Others</c:v>
                </c:pt>
                <c:pt idx="202">
                  <c:v>Islos</c:v>
                </c:pt>
                <c:pt idx="203">
                  <c:v>All Others</c:v>
                </c:pt>
                <c:pt idx="204">
                  <c:v>All Others</c:v>
                </c:pt>
                <c:pt idx="205">
                  <c:v>All Others</c:v>
                </c:pt>
                <c:pt idx="206">
                  <c:v>All Others</c:v>
                </c:pt>
                <c:pt idx="207">
                  <c:v>All Others</c:v>
                </c:pt>
                <c:pt idx="208">
                  <c:v>All Others</c:v>
                </c:pt>
                <c:pt idx="209">
                  <c:v>All Others</c:v>
                </c:pt>
                <c:pt idx="210">
                  <c:v>All Others</c:v>
                </c:pt>
                <c:pt idx="211">
                  <c:v>All Others</c:v>
                </c:pt>
                <c:pt idx="212">
                  <c:v>All Others</c:v>
                </c:pt>
                <c:pt idx="213">
                  <c:v>All Others</c:v>
                </c:pt>
                <c:pt idx="214">
                  <c:v>All Others</c:v>
                </c:pt>
                <c:pt idx="215">
                  <c:v>All Others</c:v>
                </c:pt>
                <c:pt idx="216">
                  <c:v>All Others</c:v>
                </c:pt>
                <c:pt idx="217">
                  <c:v>All Others</c:v>
                </c:pt>
                <c:pt idx="218">
                  <c:v>All Others</c:v>
                </c:pt>
                <c:pt idx="219">
                  <c:v>All Others</c:v>
                </c:pt>
                <c:pt idx="220">
                  <c:v>All Others</c:v>
                </c:pt>
                <c:pt idx="221">
                  <c:v>All Others</c:v>
                </c:pt>
                <c:pt idx="222">
                  <c:v>All Others</c:v>
                </c:pt>
                <c:pt idx="223">
                  <c:v>All Others</c:v>
                </c:pt>
                <c:pt idx="224">
                  <c:v>All Others</c:v>
                </c:pt>
                <c:pt idx="225">
                  <c:v>All Others</c:v>
                </c:pt>
                <c:pt idx="226">
                  <c:v>All Others</c:v>
                </c:pt>
                <c:pt idx="227">
                  <c:v>All Others</c:v>
                </c:pt>
                <c:pt idx="228">
                  <c:v>All Others</c:v>
                </c:pt>
                <c:pt idx="229">
                  <c:v>All Others</c:v>
                </c:pt>
                <c:pt idx="230">
                  <c:v>All Others</c:v>
                </c:pt>
                <c:pt idx="231">
                  <c:v>All Others</c:v>
                </c:pt>
                <c:pt idx="232">
                  <c:v>All Others</c:v>
                </c:pt>
                <c:pt idx="233">
                  <c:v>All Others</c:v>
                </c:pt>
                <c:pt idx="234">
                  <c:v>All Others</c:v>
                </c:pt>
                <c:pt idx="235">
                  <c:v>All Others</c:v>
                </c:pt>
                <c:pt idx="236">
                  <c:v>All Others</c:v>
                </c:pt>
                <c:pt idx="237">
                  <c:v>All Others</c:v>
                </c:pt>
                <c:pt idx="238">
                  <c:v>All Others</c:v>
                </c:pt>
                <c:pt idx="239">
                  <c:v>All Others</c:v>
                </c:pt>
                <c:pt idx="240">
                  <c:v>All Others</c:v>
                </c:pt>
                <c:pt idx="241">
                  <c:v>All Others</c:v>
                </c:pt>
                <c:pt idx="242">
                  <c:v>All Others</c:v>
                </c:pt>
                <c:pt idx="243">
                  <c:v>All Others</c:v>
                </c:pt>
                <c:pt idx="244">
                  <c:v>All Others</c:v>
                </c:pt>
                <c:pt idx="245">
                  <c:v>All Others</c:v>
                </c:pt>
                <c:pt idx="246">
                  <c:v>All Others</c:v>
                </c:pt>
                <c:pt idx="247">
                  <c:v>All Others</c:v>
                </c:pt>
                <c:pt idx="248">
                  <c:v>All Others</c:v>
                </c:pt>
                <c:pt idx="249">
                  <c:v>All Others</c:v>
                </c:pt>
                <c:pt idx="250">
                  <c:v>All Others</c:v>
                </c:pt>
                <c:pt idx="251">
                  <c:v>All Others</c:v>
                </c:pt>
                <c:pt idx="252">
                  <c:v>All Others</c:v>
                </c:pt>
                <c:pt idx="253">
                  <c:v>All Others</c:v>
                </c:pt>
                <c:pt idx="254">
                  <c:v>All Others</c:v>
                </c:pt>
                <c:pt idx="255">
                  <c:v>All Others</c:v>
                </c:pt>
                <c:pt idx="256">
                  <c:v>All Others</c:v>
                </c:pt>
                <c:pt idx="257">
                  <c:v>All Others</c:v>
                </c:pt>
                <c:pt idx="258">
                  <c:v>All Others</c:v>
                </c:pt>
                <c:pt idx="259">
                  <c:v>All Others</c:v>
                </c:pt>
                <c:pt idx="260">
                  <c:v>All Others</c:v>
                </c:pt>
                <c:pt idx="261">
                  <c:v>All Others</c:v>
                </c:pt>
                <c:pt idx="262">
                  <c:v>All Others</c:v>
                </c:pt>
                <c:pt idx="263">
                  <c:v>All Others</c:v>
                </c:pt>
                <c:pt idx="264">
                  <c:v>All Others</c:v>
                </c:pt>
                <c:pt idx="265">
                  <c:v>All Others</c:v>
                </c:pt>
                <c:pt idx="266">
                  <c:v>All Others</c:v>
                </c:pt>
                <c:pt idx="267">
                  <c:v>All Others</c:v>
                </c:pt>
                <c:pt idx="268">
                  <c:v>All Others</c:v>
                </c:pt>
                <c:pt idx="269">
                  <c:v>Private Lab</c:v>
                </c:pt>
                <c:pt idx="270">
                  <c:v>All Others</c:v>
                </c:pt>
                <c:pt idx="271">
                  <c:v>All Others</c:v>
                </c:pt>
                <c:pt idx="272">
                  <c:v>All Others</c:v>
                </c:pt>
                <c:pt idx="273">
                  <c:v>All Others</c:v>
                </c:pt>
                <c:pt idx="274">
                  <c:v>All Others</c:v>
                </c:pt>
                <c:pt idx="275">
                  <c:v>All Others</c:v>
                </c:pt>
                <c:pt idx="276">
                  <c:v>All Others</c:v>
                </c:pt>
                <c:pt idx="277">
                  <c:v>All Others</c:v>
                </c:pt>
                <c:pt idx="278">
                  <c:v>All Others</c:v>
                </c:pt>
                <c:pt idx="279">
                  <c:v>All Others</c:v>
                </c:pt>
                <c:pt idx="280">
                  <c:v>All Others</c:v>
                </c:pt>
                <c:pt idx="281">
                  <c:v>All Others</c:v>
                </c:pt>
                <c:pt idx="282">
                  <c:v>All Others</c:v>
                </c:pt>
                <c:pt idx="283">
                  <c:v>All Others</c:v>
                </c:pt>
                <c:pt idx="284">
                  <c:v>All Others</c:v>
                </c:pt>
                <c:pt idx="285">
                  <c:v>All Others</c:v>
                </c:pt>
                <c:pt idx="286">
                  <c:v>All Others</c:v>
                </c:pt>
                <c:pt idx="287">
                  <c:v>All Others</c:v>
                </c:pt>
                <c:pt idx="288">
                  <c:v>All Others</c:v>
                </c:pt>
                <c:pt idx="289">
                  <c:v>All Others</c:v>
                </c:pt>
                <c:pt idx="290">
                  <c:v>All Others</c:v>
                </c:pt>
                <c:pt idx="291">
                  <c:v>All Others</c:v>
                </c:pt>
                <c:pt idx="292">
                  <c:v>All Others</c:v>
                </c:pt>
                <c:pt idx="293">
                  <c:v>All Others</c:v>
                </c:pt>
                <c:pt idx="294">
                  <c:v>All Others</c:v>
                </c:pt>
                <c:pt idx="295">
                  <c:v>All Others</c:v>
                </c:pt>
                <c:pt idx="296">
                  <c:v>All Others</c:v>
                </c:pt>
                <c:pt idx="297">
                  <c:v>All Others</c:v>
                </c:pt>
                <c:pt idx="298">
                  <c:v>All Others</c:v>
                </c:pt>
                <c:pt idx="299">
                  <c:v>All Others</c:v>
                </c:pt>
                <c:pt idx="300">
                  <c:v>All Others</c:v>
                </c:pt>
                <c:pt idx="301">
                  <c:v>All Others</c:v>
                </c:pt>
                <c:pt idx="302">
                  <c:v>All Others</c:v>
                </c:pt>
                <c:pt idx="303">
                  <c:v>All Others</c:v>
                </c:pt>
                <c:pt idx="304">
                  <c:v>All Others</c:v>
                </c:pt>
                <c:pt idx="305">
                  <c:v>All Others</c:v>
                </c:pt>
                <c:pt idx="306">
                  <c:v>All Others</c:v>
                </c:pt>
                <c:pt idx="307">
                  <c:v>All Others</c:v>
                </c:pt>
                <c:pt idx="308">
                  <c:v>All Others</c:v>
                </c:pt>
                <c:pt idx="309">
                  <c:v>All Others</c:v>
                </c:pt>
                <c:pt idx="310">
                  <c:v>All Others</c:v>
                </c:pt>
                <c:pt idx="311">
                  <c:v>Galbani</c:v>
                </c:pt>
                <c:pt idx="312">
                  <c:v>All Others</c:v>
                </c:pt>
                <c:pt idx="313">
                  <c:v>All Others</c:v>
                </c:pt>
                <c:pt idx="314">
                  <c:v>All Others</c:v>
                </c:pt>
                <c:pt idx="315">
                  <c:v>All Others</c:v>
                </c:pt>
                <c:pt idx="316">
                  <c:v>All Others</c:v>
                </c:pt>
                <c:pt idx="317">
                  <c:v>All Others</c:v>
                </c:pt>
                <c:pt idx="318">
                  <c:v>All Others</c:v>
                </c:pt>
                <c:pt idx="319">
                  <c:v>All Others</c:v>
                </c:pt>
                <c:pt idx="320">
                  <c:v>All Others</c:v>
                </c:pt>
                <c:pt idx="321">
                  <c:v>Salakis</c:v>
                </c:pt>
                <c:pt idx="322">
                  <c:v>Societe</c:v>
                </c:pt>
                <c:pt idx="323">
                  <c:v>All Others</c:v>
                </c:pt>
                <c:pt idx="324">
                  <c:v>All Others</c:v>
                </c:pt>
                <c:pt idx="325">
                  <c:v>All Others</c:v>
                </c:pt>
                <c:pt idx="326">
                  <c:v>All Others</c:v>
                </c:pt>
                <c:pt idx="327">
                  <c:v>All Others</c:v>
                </c:pt>
                <c:pt idx="328">
                  <c:v>All Others</c:v>
                </c:pt>
                <c:pt idx="329">
                  <c:v>All Others</c:v>
                </c:pt>
                <c:pt idx="330">
                  <c:v>All Others</c:v>
                </c:pt>
                <c:pt idx="331">
                  <c:v>All Others</c:v>
                </c:pt>
                <c:pt idx="332">
                  <c:v>All Others</c:v>
                </c:pt>
                <c:pt idx="333">
                  <c:v>All Others</c:v>
                </c:pt>
                <c:pt idx="334">
                  <c:v>All Others</c:v>
                </c:pt>
                <c:pt idx="335">
                  <c:v>All Others</c:v>
                </c:pt>
                <c:pt idx="336">
                  <c:v>All Others</c:v>
                </c:pt>
                <c:pt idx="337">
                  <c:v>All Others</c:v>
                </c:pt>
                <c:pt idx="338">
                  <c:v>All Others</c:v>
                </c:pt>
                <c:pt idx="339">
                  <c:v>All Others</c:v>
                </c:pt>
                <c:pt idx="340">
                  <c:v>All Others</c:v>
                </c:pt>
              </c:strCache>
            </c:strRef>
          </c:cat>
          <c:val>
            <c:numRef>
              <c:f>Sheet1!$B$2:$B$342</c:f>
              <c:numCache>
                <c:formatCode>General</c:formatCode>
                <c:ptCount val="341"/>
                <c:pt idx="0">
                  <c:v>0.375</c:v>
                </c:pt>
                <c:pt idx="1">
                  <c:v>1</c:v>
                </c:pt>
                <c:pt idx="2">
                  <c:v>0.95299999999999996</c:v>
                </c:pt>
                <c:pt idx="3">
                  <c:v>0.97399999999999998</c:v>
                </c:pt>
                <c:pt idx="4">
                  <c:v>0.99199999999999999</c:v>
                </c:pt>
                <c:pt idx="5">
                  <c:v>0.94</c:v>
                </c:pt>
                <c:pt idx="6">
                  <c:v>0.84</c:v>
                </c:pt>
                <c:pt idx="7">
                  <c:v>0.98</c:v>
                </c:pt>
                <c:pt idx="8">
                  <c:v>0.84599999999999997</c:v>
                </c:pt>
                <c:pt idx="9">
                  <c:v>0.82499999999999996</c:v>
                </c:pt>
                <c:pt idx="10">
                  <c:v>0.92800000000000005</c:v>
                </c:pt>
                <c:pt idx="11">
                  <c:v>0.85899999999999999</c:v>
                </c:pt>
                <c:pt idx="12">
                  <c:v>0.87</c:v>
                </c:pt>
                <c:pt idx="13">
                  <c:v>0.94399999999999995</c:v>
                </c:pt>
                <c:pt idx="14">
                  <c:v>0.82799999999999996</c:v>
                </c:pt>
                <c:pt idx="15">
                  <c:v>0.85</c:v>
                </c:pt>
                <c:pt idx="16">
                  <c:v>0.96199999999999997</c:v>
                </c:pt>
                <c:pt idx="17">
                  <c:v>0.76</c:v>
                </c:pt>
                <c:pt idx="18">
                  <c:v>0.91400000000000003</c:v>
                </c:pt>
                <c:pt idx="19">
                  <c:v>0.77200000000000002</c:v>
                </c:pt>
                <c:pt idx="20">
                  <c:v>0.78200000000000003</c:v>
                </c:pt>
                <c:pt idx="21">
                  <c:v>0.81499999999999995</c:v>
                </c:pt>
                <c:pt idx="22">
                  <c:v>0.84399999999999997</c:v>
                </c:pt>
                <c:pt idx="23">
                  <c:v>0.745</c:v>
                </c:pt>
                <c:pt idx="24">
                  <c:v>0.82</c:v>
                </c:pt>
                <c:pt idx="25">
                  <c:v>0.77800000000000002</c:v>
                </c:pt>
                <c:pt idx="26">
                  <c:v>0.75600000000000001</c:v>
                </c:pt>
                <c:pt idx="27">
                  <c:v>0.76</c:v>
                </c:pt>
                <c:pt idx="28">
                  <c:v>0.76700000000000002</c:v>
                </c:pt>
                <c:pt idx="29">
                  <c:v>0.81200000000000006</c:v>
                </c:pt>
                <c:pt idx="30">
                  <c:v>0.96199999999999997</c:v>
                </c:pt>
                <c:pt idx="31">
                  <c:v>0.78100000000000003</c:v>
                </c:pt>
                <c:pt idx="32">
                  <c:v>0.65700000000000003</c:v>
                </c:pt>
                <c:pt idx="33">
                  <c:v>0.66</c:v>
                </c:pt>
                <c:pt idx="34">
                  <c:v>0.64</c:v>
                </c:pt>
                <c:pt idx="35">
                  <c:v>0.65600000000000003</c:v>
                </c:pt>
                <c:pt idx="36">
                  <c:v>0.60199999999999998</c:v>
                </c:pt>
                <c:pt idx="37">
                  <c:v>0.751</c:v>
                </c:pt>
                <c:pt idx="38">
                  <c:v>0.71199999999999997</c:v>
                </c:pt>
                <c:pt idx="39">
                  <c:v>0.68799999999999994</c:v>
                </c:pt>
                <c:pt idx="40">
                  <c:v>0.94899999999999995</c:v>
                </c:pt>
                <c:pt idx="41">
                  <c:v>0.66300000000000003</c:v>
                </c:pt>
                <c:pt idx="42">
                  <c:v>0.68100000000000005</c:v>
                </c:pt>
                <c:pt idx="43">
                  <c:v>0.77900000000000003</c:v>
                </c:pt>
                <c:pt idx="44">
                  <c:v>0.753</c:v>
                </c:pt>
                <c:pt idx="45">
                  <c:v>0.65200000000000002</c:v>
                </c:pt>
                <c:pt idx="46">
                  <c:v>0.74</c:v>
                </c:pt>
                <c:pt idx="47">
                  <c:v>0.61799999999999999</c:v>
                </c:pt>
                <c:pt idx="48">
                  <c:v>0.36</c:v>
                </c:pt>
                <c:pt idx="49">
                  <c:v>0.63300000000000001</c:v>
                </c:pt>
                <c:pt idx="50">
                  <c:v>0.77</c:v>
                </c:pt>
                <c:pt idx="51">
                  <c:v>0.66300000000000003</c:v>
                </c:pt>
                <c:pt idx="52">
                  <c:v>0.68300000000000005</c:v>
                </c:pt>
                <c:pt idx="53">
                  <c:v>0.186</c:v>
                </c:pt>
                <c:pt idx="54">
                  <c:v>0.30199999999999999</c:v>
                </c:pt>
                <c:pt idx="55">
                  <c:v>0.63</c:v>
                </c:pt>
                <c:pt idx="56">
                  <c:v>0.79800000000000004</c:v>
                </c:pt>
                <c:pt idx="57">
                  <c:v>0.81699999999999995</c:v>
                </c:pt>
                <c:pt idx="58">
                  <c:v>0.71299999999999997</c:v>
                </c:pt>
                <c:pt idx="59">
                  <c:v>0.72699999999999998</c:v>
                </c:pt>
                <c:pt idx="60">
                  <c:v>0.69599999999999995</c:v>
                </c:pt>
                <c:pt idx="61">
                  <c:v>0.59899999999999998</c:v>
                </c:pt>
                <c:pt idx="62">
                  <c:v>0.46300000000000002</c:v>
                </c:pt>
                <c:pt idx="63">
                  <c:v>0.57699999999999996</c:v>
                </c:pt>
                <c:pt idx="64">
                  <c:v>0.68700000000000006</c:v>
                </c:pt>
                <c:pt idx="65">
                  <c:v>0.57399999999999995</c:v>
                </c:pt>
                <c:pt idx="66">
                  <c:v>0.73099999999999998</c:v>
                </c:pt>
                <c:pt idx="67">
                  <c:v>0.58699999999999997</c:v>
                </c:pt>
                <c:pt idx="68">
                  <c:v>0.433</c:v>
                </c:pt>
                <c:pt idx="69">
                  <c:v>0.57699999999999996</c:v>
                </c:pt>
                <c:pt idx="70">
                  <c:v>0.80100000000000005</c:v>
                </c:pt>
                <c:pt idx="71">
                  <c:v>0.434</c:v>
                </c:pt>
                <c:pt idx="72">
                  <c:v>0.67600000000000005</c:v>
                </c:pt>
                <c:pt idx="73">
                  <c:v>0.42899999999999999</c:v>
                </c:pt>
                <c:pt idx="74">
                  <c:v>0.80400000000000005</c:v>
                </c:pt>
                <c:pt idx="75">
                  <c:v>0.32700000000000001</c:v>
                </c:pt>
                <c:pt idx="76">
                  <c:v>0.32900000000000001</c:v>
                </c:pt>
                <c:pt idx="77">
                  <c:v>0.58699999999999997</c:v>
                </c:pt>
                <c:pt idx="78">
                  <c:v>0.59599999999999997</c:v>
                </c:pt>
                <c:pt idx="79">
                  <c:v>0.60599999999999998</c:v>
                </c:pt>
                <c:pt idx="80">
                  <c:v>0.53500000000000003</c:v>
                </c:pt>
                <c:pt idx="81">
                  <c:v>0.434</c:v>
                </c:pt>
                <c:pt idx="82">
                  <c:v>0.63200000000000001</c:v>
                </c:pt>
                <c:pt idx="83">
                  <c:v>0.59599999999999997</c:v>
                </c:pt>
                <c:pt idx="84">
                  <c:v>0.42</c:v>
                </c:pt>
                <c:pt idx="85">
                  <c:v>0.41099999999999998</c:v>
                </c:pt>
                <c:pt idx="86">
                  <c:v>0.57899999999999996</c:v>
                </c:pt>
                <c:pt idx="87">
                  <c:v>0.497</c:v>
                </c:pt>
                <c:pt idx="88">
                  <c:v>0.60299999999999998</c:v>
                </c:pt>
                <c:pt idx="89">
                  <c:v>0.57299999999999995</c:v>
                </c:pt>
                <c:pt idx="90">
                  <c:v>0.77800000000000002</c:v>
                </c:pt>
                <c:pt idx="91">
                  <c:v>0.39900000000000002</c:v>
                </c:pt>
                <c:pt idx="92">
                  <c:v>0.121</c:v>
                </c:pt>
                <c:pt idx="93">
                  <c:v>0.29299999999999998</c:v>
                </c:pt>
                <c:pt idx="94">
                  <c:v>0.29099999999999998</c:v>
                </c:pt>
                <c:pt idx="95">
                  <c:v>0.443</c:v>
                </c:pt>
                <c:pt idx="96">
                  <c:v>0.55200000000000005</c:v>
                </c:pt>
                <c:pt idx="97">
                  <c:v>0.61799999999999999</c:v>
                </c:pt>
                <c:pt idx="98">
                  <c:v>0.127</c:v>
                </c:pt>
                <c:pt idx="99">
                  <c:v>0.60899999999999999</c:v>
                </c:pt>
                <c:pt idx="100">
                  <c:v>0.65</c:v>
                </c:pt>
                <c:pt idx="101">
                  <c:v>0.54600000000000004</c:v>
                </c:pt>
                <c:pt idx="102">
                  <c:v>0.72599999999999998</c:v>
                </c:pt>
                <c:pt idx="103">
                  <c:v>0.438</c:v>
                </c:pt>
                <c:pt idx="104">
                  <c:v>0.70699999999999996</c:v>
                </c:pt>
                <c:pt idx="105">
                  <c:v>0.23100000000000001</c:v>
                </c:pt>
                <c:pt idx="106">
                  <c:v>0.42399999999999999</c:v>
                </c:pt>
                <c:pt idx="107">
                  <c:v>0.47199999999999998</c:v>
                </c:pt>
                <c:pt idx="108">
                  <c:v>0.32400000000000001</c:v>
                </c:pt>
                <c:pt idx="109">
                  <c:v>0.32200000000000001</c:v>
                </c:pt>
                <c:pt idx="110">
                  <c:v>0.69699999999999995</c:v>
                </c:pt>
                <c:pt idx="111">
                  <c:v>0.24099999999999999</c:v>
                </c:pt>
                <c:pt idx="112">
                  <c:v>0.191</c:v>
                </c:pt>
                <c:pt idx="113">
                  <c:v>0.55300000000000005</c:v>
                </c:pt>
                <c:pt idx="114">
                  <c:v>0.34300000000000003</c:v>
                </c:pt>
                <c:pt idx="115">
                  <c:v>0.42899999999999999</c:v>
                </c:pt>
                <c:pt idx="116">
                  <c:v>0.73799999999999999</c:v>
                </c:pt>
                <c:pt idx="117">
                  <c:v>0.105</c:v>
                </c:pt>
                <c:pt idx="118">
                  <c:v>0.32400000000000001</c:v>
                </c:pt>
                <c:pt idx="119">
                  <c:v>0.55600000000000005</c:v>
                </c:pt>
                <c:pt idx="120">
                  <c:v>0.69799999999999995</c:v>
                </c:pt>
                <c:pt idx="121">
                  <c:v>0.33300000000000002</c:v>
                </c:pt>
                <c:pt idx="122">
                  <c:v>0.54300000000000004</c:v>
                </c:pt>
                <c:pt idx="123">
                  <c:v>0.47399999999999998</c:v>
                </c:pt>
                <c:pt idx="124">
                  <c:v>0.24</c:v>
                </c:pt>
                <c:pt idx="125">
                  <c:v>0.28499999999999998</c:v>
                </c:pt>
                <c:pt idx="126">
                  <c:v>0.374</c:v>
                </c:pt>
                <c:pt idx="127">
                  <c:v>0.251</c:v>
                </c:pt>
                <c:pt idx="128">
                  <c:v>0.29399999999999998</c:v>
                </c:pt>
                <c:pt idx="129">
                  <c:v>0.36099999999999999</c:v>
                </c:pt>
                <c:pt idx="130">
                  <c:v>0.17</c:v>
                </c:pt>
                <c:pt idx="131">
                  <c:v>0.36799999999999999</c:v>
                </c:pt>
                <c:pt idx="132">
                  <c:v>4.9000000000000002E-2</c:v>
                </c:pt>
                <c:pt idx="133">
                  <c:v>0.38800000000000001</c:v>
                </c:pt>
                <c:pt idx="134">
                  <c:v>0.495</c:v>
                </c:pt>
                <c:pt idx="135">
                  <c:v>0.30599999999999999</c:v>
                </c:pt>
                <c:pt idx="136">
                  <c:v>0.38800000000000001</c:v>
                </c:pt>
                <c:pt idx="137">
                  <c:v>0.376</c:v>
                </c:pt>
                <c:pt idx="138">
                  <c:v>0.5</c:v>
                </c:pt>
                <c:pt idx="139">
                  <c:v>0.55900000000000005</c:v>
                </c:pt>
                <c:pt idx="140">
                  <c:v>0.24299999999999999</c:v>
                </c:pt>
                <c:pt idx="141">
                  <c:v>0.17899999999999999</c:v>
                </c:pt>
                <c:pt idx="142">
                  <c:v>0.26800000000000002</c:v>
                </c:pt>
                <c:pt idx="143">
                  <c:v>4.1000000000000002E-2</c:v>
                </c:pt>
                <c:pt idx="144">
                  <c:v>0.32900000000000001</c:v>
                </c:pt>
                <c:pt idx="145">
                  <c:v>9.1999999999999998E-2</c:v>
                </c:pt>
                <c:pt idx="146">
                  <c:v>0.52</c:v>
                </c:pt>
                <c:pt idx="147">
                  <c:v>0.14599999999999999</c:v>
                </c:pt>
                <c:pt idx="148">
                  <c:v>0.54100000000000004</c:v>
                </c:pt>
                <c:pt idx="149">
                  <c:v>0.27400000000000002</c:v>
                </c:pt>
                <c:pt idx="150">
                  <c:v>0.41199999999999998</c:v>
                </c:pt>
                <c:pt idx="151">
                  <c:v>0.45200000000000001</c:v>
                </c:pt>
                <c:pt idx="152">
                  <c:v>0.1</c:v>
                </c:pt>
                <c:pt idx="153">
                  <c:v>0.31900000000000001</c:v>
                </c:pt>
                <c:pt idx="154">
                  <c:v>4.5999999999999999E-2</c:v>
                </c:pt>
                <c:pt idx="155">
                  <c:v>0.16</c:v>
                </c:pt>
                <c:pt idx="156">
                  <c:v>5.1999999999999998E-2</c:v>
                </c:pt>
                <c:pt idx="157">
                  <c:v>0.10100000000000001</c:v>
                </c:pt>
                <c:pt idx="158">
                  <c:v>8.2000000000000003E-2</c:v>
                </c:pt>
                <c:pt idx="159">
                  <c:v>0.38800000000000001</c:v>
                </c:pt>
                <c:pt idx="160">
                  <c:v>0.187</c:v>
                </c:pt>
                <c:pt idx="161">
                  <c:v>0.06</c:v>
                </c:pt>
                <c:pt idx="162">
                  <c:v>0.35099999999999998</c:v>
                </c:pt>
                <c:pt idx="163">
                  <c:v>6.8000000000000005E-2</c:v>
                </c:pt>
                <c:pt idx="164">
                  <c:v>0.26900000000000002</c:v>
                </c:pt>
                <c:pt idx="165">
                  <c:v>0.501</c:v>
                </c:pt>
                <c:pt idx="166">
                  <c:v>1.6E-2</c:v>
                </c:pt>
                <c:pt idx="167">
                  <c:v>7.8E-2</c:v>
                </c:pt>
                <c:pt idx="168">
                  <c:v>8.9999999999999993E-3</c:v>
                </c:pt>
                <c:pt idx="169">
                  <c:v>0.497</c:v>
                </c:pt>
                <c:pt idx="170">
                  <c:v>0.17599999999999999</c:v>
                </c:pt>
                <c:pt idx="171">
                  <c:v>6.9000000000000006E-2</c:v>
                </c:pt>
                <c:pt idx="172">
                  <c:v>1.6E-2</c:v>
                </c:pt>
                <c:pt idx="173">
                  <c:v>0.05</c:v>
                </c:pt>
                <c:pt idx="174">
                  <c:v>5.8999999999999997E-2</c:v>
                </c:pt>
                <c:pt idx="175">
                  <c:v>0.14699999999999999</c:v>
                </c:pt>
                <c:pt idx="176">
                  <c:v>0.10299999999999999</c:v>
                </c:pt>
                <c:pt idx="177">
                  <c:v>0.115</c:v>
                </c:pt>
                <c:pt idx="178">
                  <c:v>0.41099999999999998</c:v>
                </c:pt>
                <c:pt idx="179">
                  <c:v>0.17799999999999999</c:v>
                </c:pt>
                <c:pt idx="180">
                  <c:v>0.45600000000000002</c:v>
                </c:pt>
                <c:pt idx="181">
                  <c:v>6.8000000000000005E-2</c:v>
                </c:pt>
                <c:pt idx="182">
                  <c:v>0.32900000000000001</c:v>
                </c:pt>
                <c:pt idx="183">
                  <c:v>7.4999999999999997E-2</c:v>
                </c:pt>
                <c:pt idx="184">
                  <c:v>4.5999999999999999E-2</c:v>
                </c:pt>
                <c:pt idx="185">
                  <c:v>1.2E-2</c:v>
                </c:pt>
                <c:pt idx="186">
                  <c:v>0.253</c:v>
                </c:pt>
                <c:pt idx="187">
                  <c:v>4.1000000000000002E-2</c:v>
                </c:pt>
                <c:pt idx="188">
                  <c:v>0.46</c:v>
                </c:pt>
                <c:pt idx="189">
                  <c:v>9.2999999999999999E-2</c:v>
                </c:pt>
                <c:pt idx="190">
                  <c:v>0.26</c:v>
                </c:pt>
                <c:pt idx="191">
                  <c:v>5.5E-2</c:v>
                </c:pt>
                <c:pt idx="192">
                  <c:v>6.4000000000000001E-2</c:v>
                </c:pt>
                <c:pt idx="193">
                  <c:v>0.51200000000000001</c:v>
                </c:pt>
                <c:pt idx="194">
                  <c:v>0.122</c:v>
                </c:pt>
                <c:pt idx="195">
                  <c:v>0.246</c:v>
                </c:pt>
                <c:pt idx="196">
                  <c:v>3.0000000000000001E-3</c:v>
                </c:pt>
                <c:pt idx="197">
                  <c:v>0.44400000000000001</c:v>
                </c:pt>
                <c:pt idx="198">
                  <c:v>0.01</c:v>
                </c:pt>
                <c:pt idx="199">
                  <c:v>0.24199999999999999</c:v>
                </c:pt>
                <c:pt idx="200">
                  <c:v>5.8999999999999997E-2</c:v>
                </c:pt>
                <c:pt idx="201">
                  <c:v>0.14099999999999999</c:v>
                </c:pt>
                <c:pt idx="202">
                  <c:v>0.218</c:v>
                </c:pt>
                <c:pt idx="203">
                  <c:v>1.2E-2</c:v>
                </c:pt>
                <c:pt idx="204">
                  <c:v>7.0000000000000001E-3</c:v>
                </c:pt>
                <c:pt idx="205">
                  <c:v>0.14899999999999999</c:v>
                </c:pt>
                <c:pt idx="206">
                  <c:v>0.219</c:v>
                </c:pt>
                <c:pt idx="207">
                  <c:v>8.9999999999999993E-3</c:v>
                </c:pt>
                <c:pt idx="208">
                  <c:v>6.4000000000000001E-2</c:v>
                </c:pt>
                <c:pt idx="209">
                  <c:v>0.155</c:v>
                </c:pt>
                <c:pt idx="210">
                  <c:v>1.2E-2</c:v>
                </c:pt>
                <c:pt idx="211">
                  <c:v>0.13200000000000001</c:v>
                </c:pt>
                <c:pt idx="212">
                  <c:v>3.6999999999999998E-2</c:v>
                </c:pt>
                <c:pt idx="213">
                  <c:v>0.31</c:v>
                </c:pt>
                <c:pt idx="214">
                  <c:v>3.6999999999999998E-2</c:v>
                </c:pt>
                <c:pt idx="215">
                  <c:v>2E-3</c:v>
                </c:pt>
                <c:pt idx="216">
                  <c:v>2E-3</c:v>
                </c:pt>
                <c:pt idx="217">
                  <c:v>0.04</c:v>
                </c:pt>
                <c:pt idx="218">
                  <c:v>2E-3</c:v>
                </c:pt>
                <c:pt idx="219">
                  <c:v>3.6999999999999998E-2</c:v>
                </c:pt>
                <c:pt idx="220">
                  <c:v>7.8E-2</c:v>
                </c:pt>
                <c:pt idx="221">
                  <c:v>2E-3</c:v>
                </c:pt>
                <c:pt idx="222">
                  <c:v>6.4000000000000001E-2</c:v>
                </c:pt>
                <c:pt idx="223">
                  <c:v>2E-3</c:v>
                </c:pt>
                <c:pt idx="224">
                  <c:v>2.3E-2</c:v>
                </c:pt>
                <c:pt idx="225">
                  <c:v>3.2000000000000001E-2</c:v>
                </c:pt>
                <c:pt idx="226">
                  <c:v>2E-3</c:v>
                </c:pt>
                <c:pt idx="227">
                  <c:v>2E-3</c:v>
                </c:pt>
                <c:pt idx="228">
                  <c:v>4.5999999999999999E-2</c:v>
                </c:pt>
                <c:pt idx="229">
                  <c:v>2E-3</c:v>
                </c:pt>
                <c:pt idx="230">
                  <c:v>1.2E-2</c:v>
                </c:pt>
                <c:pt idx="231">
                  <c:v>9.4E-2</c:v>
                </c:pt>
                <c:pt idx="232">
                  <c:v>8.3000000000000004E-2</c:v>
                </c:pt>
                <c:pt idx="233">
                  <c:v>1.0999999999999999E-2</c:v>
                </c:pt>
                <c:pt idx="234">
                  <c:v>2.3E-2</c:v>
                </c:pt>
                <c:pt idx="235">
                  <c:v>3.2000000000000001E-2</c:v>
                </c:pt>
                <c:pt idx="236">
                  <c:v>2.3E-2</c:v>
                </c:pt>
                <c:pt idx="237">
                  <c:v>5.8999999999999997E-2</c:v>
                </c:pt>
                <c:pt idx="238">
                  <c:v>5.0000000000000001E-3</c:v>
                </c:pt>
                <c:pt idx="239">
                  <c:v>8.9999999999999993E-3</c:v>
                </c:pt>
                <c:pt idx="240">
                  <c:v>4.0000000000000001E-3</c:v>
                </c:pt>
                <c:pt idx="241">
                  <c:v>8.9999999999999993E-3</c:v>
                </c:pt>
                <c:pt idx="242">
                  <c:v>2.7E-2</c:v>
                </c:pt>
                <c:pt idx="243">
                  <c:v>4.0000000000000001E-3</c:v>
                </c:pt>
                <c:pt idx="244">
                  <c:v>0.17299999999999999</c:v>
                </c:pt>
                <c:pt idx="245">
                  <c:v>2E-3</c:v>
                </c:pt>
                <c:pt idx="246">
                  <c:v>2.5000000000000001E-2</c:v>
                </c:pt>
                <c:pt idx="247">
                  <c:v>8.0000000000000002E-3</c:v>
                </c:pt>
                <c:pt idx="248">
                  <c:v>3.6999999999999998E-2</c:v>
                </c:pt>
                <c:pt idx="249">
                  <c:v>2.7E-2</c:v>
                </c:pt>
                <c:pt idx="250">
                  <c:v>4.0000000000000001E-3</c:v>
                </c:pt>
                <c:pt idx="251">
                  <c:v>3.1E-2</c:v>
                </c:pt>
                <c:pt idx="252">
                  <c:v>5.0000000000000001E-3</c:v>
                </c:pt>
                <c:pt idx="253">
                  <c:v>1.4E-2</c:v>
                </c:pt>
                <c:pt idx="254">
                  <c:v>5.0000000000000001E-3</c:v>
                </c:pt>
                <c:pt idx="255">
                  <c:v>8.0000000000000002E-3</c:v>
                </c:pt>
                <c:pt idx="256">
                  <c:v>0.03</c:v>
                </c:pt>
                <c:pt idx="257">
                  <c:v>2E-3</c:v>
                </c:pt>
                <c:pt idx="258">
                  <c:v>2E-3</c:v>
                </c:pt>
                <c:pt idx="259">
                  <c:v>8.0000000000000002E-3</c:v>
                </c:pt>
                <c:pt idx="260">
                  <c:v>8.9999999999999993E-3</c:v>
                </c:pt>
                <c:pt idx="261">
                  <c:v>0.01</c:v>
                </c:pt>
                <c:pt idx="262">
                  <c:v>8.0000000000000002E-3</c:v>
                </c:pt>
                <c:pt idx="263">
                  <c:v>5.0000000000000001E-3</c:v>
                </c:pt>
                <c:pt idx="264">
                  <c:v>2E-3</c:v>
                </c:pt>
                <c:pt idx="265">
                  <c:v>1.4999999999999999E-2</c:v>
                </c:pt>
                <c:pt idx="266">
                  <c:v>2E-3</c:v>
                </c:pt>
                <c:pt idx="267">
                  <c:v>4.0000000000000001E-3</c:v>
                </c:pt>
                <c:pt idx="268">
                  <c:v>5.0000000000000001E-3</c:v>
                </c:pt>
                <c:pt idx="269">
                  <c:v>5.8999999999999997E-2</c:v>
                </c:pt>
                <c:pt idx="270">
                  <c:v>1.7999999999999999E-2</c:v>
                </c:pt>
                <c:pt idx="271">
                  <c:v>4.0000000000000001E-3</c:v>
                </c:pt>
                <c:pt idx="272">
                  <c:v>3.2000000000000001E-2</c:v>
                </c:pt>
                <c:pt idx="273">
                  <c:v>5.0000000000000001E-3</c:v>
                </c:pt>
                <c:pt idx="274">
                  <c:v>2.3E-2</c:v>
                </c:pt>
                <c:pt idx="275">
                  <c:v>5.0000000000000001E-3</c:v>
                </c:pt>
                <c:pt idx="276">
                  <c:v>2.4E-2</c:v>
                </c:pt>
                <c:pt idx="277">
                  <c:v>1.2E-2</c:v>
                </c:pt>
                <c:pt idx="278">
                  <c:v>1.7999999999999999E-2</c:v>
                </c:pt>
                <c:pt idx="279">
                  <c:v>4.0000000000000001E-3</c:v>
                </c:pt>
                <c:pt idx="280">
                  <c:v>1.4E-2</c:v>
                </c:pt>
                <c:pt idx="281">
                  <c:v>3.2000000000000001E-2</c:v>
                </c:pt>
                <c:pt idx="282">
                  <c:v>2.3E-2</c:v>
                </c:pt>
                <c:pt idx="283">
                  <c:v>3.1E-2</c:v>
                </c:pt>
                <c:pt idx="284">
                  <c:v>4.0000000000000001E-3</c:v>
                </c:pt>
                <c:pt idx="285">
                  <c:v>8.9999999999999993E-3</c:v>
                </c:pt>
                <c:pt idx="286">
                  <c:v>5.8999999999999997E-2</c:v>
                </c:pt>
                <c:pt idx="287">
                  <c:v>4.0000000000000001E-3</c:v>
                </c:pt>
                <c:pt idx="288">
                  <c:v>1.2E-2</c:v>
                </c:pt>
                <c:pt idx="289">
                  <c:v>4.0000000000000001E-3</c:v>
                </c:pt>
                <c:pt idx="290">
                  <c:v>4.2999999999999997E-2</c:v>
                </c:pt>
                <c:pt idx="291">
                  <c:v>6.6000000000000003E-2</c:v>
                </c:pt>
                <c:pt idx="292">
                  <c:v>2.1000000000000001E-2</c:v>
                </c:pt>
                <c:pt idx="293">
                  <c:v>5.0000000000000001E-3</c:v>
                </c:pt>
                <c:pt idx="294">
                  <c:v>2E-3</c:v>
                </c:pt>
                <c:pt idx="295">
                  <c:v>5.0000000000000001E-3</c:v>
                </c:pt>
                <c:pt idx="296">
                  <c:v>4.0000000000000001E-3</c:v>
                </c:pt>
                <c:pt idx="297">
                  <c:v>3.6999999999999998E-2</c:v>
                </c:pt>
                <c:pt idx="298">
                  <c:v>8.9999999999999993E-3</c:v>
                </c:pt>
                <c:pt idx="299">
                  <c:v>2.7E-2</c:v>
                </c:pt>
                <c:pt idx="300">
                  <c:v>6.8000000000000005E-2</c:v>
                </c:pt>
                <c:pt idx="301">
                  <c:v>7.8E-2</c:v>
                </c:pt>
                <c:pt idx="302">
                  <c:v>5.0000000000000001E-3</c:v>
                </c:pt>
                <c:pt idx="303">
                  <c:v>8.0000000000000002E-3</c:v>
                </c:pt>
                <c:pt idx="304">
                  <c:v>4.0000000000000001E-3</c:v>
                </c:pt>
                <c:pt idx="305">
                  <c:v>8.0000000000000002E-3</c:v>
                </c:pt>
                <c:pt idx="306">
                  <c:v>5.0000000000000001E-3</c:v>
                </c:pt>
                <c:pt idx="307">
                  <c:v>8.0000000000000002E-3</c:v>
                </c:pt>
                <c:pt idx="308">
                  <c:v>5.0000000000000001E-3</c:v>
                </c:pt>
                <c:pt idx="309">
                  <c:v>5.0000000000000001E-3</c:v>
                </c:pt>
                <c:pt idx="310">
                  <c:v>8.0000000000000002E-3</c:v>
                </c:pt>
                <c:pt idx="311">
                  <c:v>4.0000000000000001E-3</c:v>
                </c:pt>
                <c:pt idx="312">
                  <c:v>8.0000000000000002E-3</c:v>
                </c:pt>
                <c:pt idx="313">
                  <c:v>1.7999999999999999E-2</c:v>
                </c:pt>
                <c:pt idx="314">
                  <c:v>4.0000000000000001E-3</c:v>
                </c:pt>
                <c:pt idx="315">
                  <c:v>5.0000000000000001E-3</c:v>
                </c:pt>
                <c:pt idx="316">
                  <c:v>5.0000000000000001E-3</c:v>
                </c:pt>
                <c:pt idx="317">
                  <c:v>5.0000000000000001E-3</c:v>
                </c:pt>
                <c:pt idx="318">
                  <c:v>8.0000000000000002E-3</c:v>
                </c:pt>
                <c:pt idx="319">
                  <c:v>5.0000000000000001E-3</c:v>
                </c:pt>
                <c:pt idx="320">
                  <c:v>5.0000000000000001E-3</c:v>
                </c:pt>
                <c:pt idx="321">
                  <c:v>5.0000000000000001E-3</c:v>
                </c:pt>
                <c:pt idx="322">
                  <c:v>5.0000000000000001E-3</c:v>
                </c:pt>
                <c:pt idx="323">
                  <c:v>1.4E-2</c:v>
                </c:pt>
                <c:pt idx="324">
                  <c:v>4.0000000000000001E-3</c:v>
                </c:pt>
                <c:pt idx="325">
                  <c:v>8.9999999999999993E-3</c:v>
                </c:pt>
                <c:pt idx="326">
                  <c:v>5.0000000000000001E-3</c:v>
                </c:pt>
                <c:pt idx="327">
                  <c:v>8.9999999999999993E-3</c:v>
                </c:pt>
                <c:pt idx="328">
                  <c:v>5.0000000000000001E-3</c:v>
                </c:pt>
                <c:pt idx="329">
                  <c:v>5.0000000000000001E-3</c:v>
                </c:pt>
                <c:pt idx="330">
                  <c:v>5.0000000000000001E-3</c:v>
                </c:pt>
                <c:pt idx="331">
                  <c:v>5.0000000000000001E-3</c:v>
                </c:pt>
                <c:pt idx="332">
                  <c:v>5.0000000000000001E-3</c:v>
                </c:pt>
                <c:pt idx="333">
                  <c:v>5.0000000000000001E-3</c:v>
                </c:pt>
                <c:pt idx="334">
                  <c:v>2.3E-2</c:v>
                </c:pt>
                <c:pt idx="335">
                  <c:v>5.0000000000000001E-3</c:v>
                </c:pt>
                <c:pt idx="336">
                  <c:v>5.0000000000000001E-3</c:v>
                </c:pt>
                <c:pt idx="337">
                  <c:v>5.0000000000000001E-3</c:v>
                </c:pt>
                <c:pt idx="338">
                  <c:v>5.0000000000000001E-3</c:v>
                </c:pt>
                <c:pt idx="339">
                  <c:v>1.7999999999999999E-2</c:v>
                </c:pt>
                <c:pt idx="340">
                  <c:v>5.000000000000000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3C5D-43A5-BF67-3D8E4B1B646B}"/>
              </c:ext>
            </c:extLst>
          </c:dPt>
          <c:dPt>
            <c:idx val="211"/>
            <c:invertIfNegative val="1"/>
            <c:bubble3D val="0"/>
            <c:spPr>
              <a:solidFill>
                <a:srgbClr val="AEABAB"/>
              </a:solidFill>
            </c:spPr>
            <c:extLst>
              <c:ext xmlns:c16="http://schemas.microsoft.com/office/drawing/2014/chart" uri="{C3380CC4-5D6E-409C-BE32-E72D297353CC}">
                <c16:uniqueId val="{000001A9-3C5D-43A5-BF67-3D8E4B1B646B}"/>
              </c:ext>
            </c:extLst>
          </c:dPt>
          <c:dPt>
            <c:idx val="212"/>
            <c:invertIfNegative val="1"/>
            <c:bubble3D val="0"/>
            <c:spPr>
              <a:solidFill>
                <a:srgbClr val="AEABAB"/>
              </a:solidFill>
            </c:spPr>
            <c:extLst>
              <c:ext xmlns:c16="http://schemas.microsoft.com/office/drawing/2014/chart" uri="{C3380CC4-5D6E-409C-BE32-E72D297353CC}">
                <c16:uniqueId val="{000001AB-3C5D-43A5-BF67-3D8E4B1B646B}"/>
              </c:ext>
            </c:extLst>
          </c:dPt>
          <c:dPt>
            <c:idx val="213"/>
            <c:invertIfNegative val="1"/>
            <c:bubble3D val="0"/>
            <c:spPr>
              <a:solidFill>
                <a:srgbClr val="AEABAB"/>
              </a:solidFill>
            </c:spPr>
            <c:extLst>
              <c:ext xmlns:c16="http://schemas.microsoft.com/office/drawing/2014/chart" uri="{C3380CC4-5D6E-409C-BE32-E72D297353CC}">
                <c16:uniqueId val="{000001AD-3C5D-43A5-BF67-3D8E4B1B646B}"/>
              </c:ext>
            </c:extLst>
          </c:dPt>
          <c:dPt>
            <c:idx val="214"/>
            <c:invertIfNegative val="1"/>
            <c:bubble3D val="0"/>
            <c:spPr>
              <a:solidFill>
                <a:srgbClr val="AEABAB"/>
              </a:solidFill>
            </c:spPr>
            <c:extLst>
              <c:ext xmlns:c16="http://schemas.microsoft.com/office/drawing/2014/chart" uri="{C3380CC4-5D6E-409C-BE32-E72D297353CC}">
                <c16:uniqueId val="{000001AF-3C5D-43A5-BF67-3D8E4B1B646B}"/>
              </c:ext>
            </c:extLst>
          </c:dPt>
          <c:dPt>
            <c:idx val="215"/>
            <c:invertIfNegative val="1"/>
            <c:bubble3D val="0"/>
            <c:spPr>
              <a:solidFill>
                <a:srgbClr val="AEABAB"/>
              </a:solidFill>
            </c:spPr>
            <c:extLst>
              <c:ext xmlns:c16="http://schemas.microsoft.com/office/drawing/2014/chart" uri="{C3380CC4-5D6E-409C-BE32-E72D297353CC}">
                <c16:uniqueId val="{000001B1-3C5D-43A5-BF67-3D8E4B1B646B}"/>
              </c:ext>
            </c:extLst>
          </c:dPt>
          <c:dPt>
            <c:idx val="216"/>
            <c:invertIfNegative val="1"/>
            <c:bubble3D val="0"/>
            <c:spPr>
              <a:solidFill>
                <a:srgbClr val="AEABAB"/>
              </a:solidFill>
            </c:spPr>
            <c:extLst>
              <c:ext xmlns:c16="http://schemas.microsoft.com/office/drawing/2014/chart" uri="{C3380CC4-5D6E-409C-BE32-E72D297353CC}">
                <c16:uniqueId val="{000001B3-3C5D-43A5-BF67-3D8E4B1B646B}"/>
              </c:ext>
            </c:extLst>
          </c:dPt>
          <c:dPt>
            <c:idx val="217"/>
            <c:invertIfNegative val="1"/>
            <c:bubble3D val="0"/>
            <c:spPr>
              <a:solidFill>
                <a:srgbClr val="AEABAB"/>
              </a:solidFill>
            </c:spPr>
            <c:extLst>
              <c:ext xmlns:c16="http://schemas.microsoft.com/office/drawing/2014/chart" uri="{C3380CC4-5D6E-409C-BE32-E72D297353CC}">
                <c16:uniqueId val="{000001B5-3C5D-43A5-BF67-3D8E4B1B646B}"/>
              </c:ext>
            </c:extLst>
          </c:dPt>
          <c:dPt>
            <c:idx val="218"/>
            <c:invertIfNegative val="1"/>
            <c:bubble3D val="0"/>
            <c:spPr>
              <a:solidFill>
                <a:srgbClr val="AEABAB"/>
              </a:solidFill>
            </c:spPr>
            <c:extLst>
              <c:ext xmlns:c16="http://schemas.microsoft.com/office/drawing/2014/chart" uri="{C3380CC4-5D6E-409C-BE32-E72D297353CC}">
                <c16:uniqueId val="{000001B7-3C5D-43A5-BF67-3D8E4B1B646B}"/>
              </c:ext>
            </c:extLst>
          </c:dPt>
          <c:dPt>
            <c:idx val="219"/>
            <c:invertIfNegative val="1"/>
            <c:bubble3D val="0"/>
            <c:spPr>
              <a:solidFill>
                <a:srgbClr val="AEABAB"/>
              </a:solidFill>
            </c:spPr>
            <c:extLst>
              <c:ext xmlns:c16="http://schemas.microsoft.com/office/drawing/2014/chart" uri="{C3380CC4-5D6E-409C-BE32-E72D297353CC}">
                <c16:uniqueId val="{000001B9-3C5D-43A5-BF67-3D8E4B1B646B}"/>
              </c:ext>
            </c:extLst>
          </c:dPt>
          <c:dPt>
            <c:idx val="220"/>
            <c:invertIfNegative val="1"/>
            <c:bubble3D val="0"/>
            <c:spPr>
              <a:solidFill>
                <a:srgbClr val="AEABAB"/>
              </a:solidFill>
            </c:spPr>
            <c:extLst>
              <c:ext xmlns:c16="http://schemas.microsoft.com/office/drawing/2014/chart" uri="{C3380CC4-5D6E-409C-BE32-E72D297353CC}">
                <c16:uniqueId val="{000001BB-3C5D-43A5-BF67-3D8E4B1B646B}"/>
              </c:ext>
            </c:extLst>
          </c:dPt>
          <c:dPt>
            <c:idx val="221"/>
            <c:invertIfNegative val="1"/>
            <c:bubble3D val="0"/>
            <c:spPr>
              <a:solidFill>
                <a:srgbClr val="AEABAB"/>
              </a:solidFill>
            </c:spPr>
            <c:extLst>
              <c:ext xmlns:c16="http://schemas.microsoft.com/office/drawing/2014/chart" uri="{C3380CC4-5D6E-409C-BE32-E72D297353CC}">
                <c16:uniqueId val="{000001BD-3C5D-43A5-BF67-3D8E4B1B646B}"/>
              </c:ext>
            </c:extLst>
          </c:dPt>
          <c:dPt>
            <c:idx val="222"/>
            <c:invertIfNegative val="1"/>
            <c:bubble3D val="0"/>
            <c:spPr>
              <a:solidFill>
                <a:srgbClr val="AEABAB"/>
              </a:solidFill>
            </c:spPr>
            <c:extLst>
              <c:ext xmlns:c16="http://schemas.microsoft.com/office/drawing/2014/chart" uri="{C3380CC4-5D6E-409C-BE32-E72D297353CC}">
                <c16:uniqueId val="{000001BF-3C5D-43A5-BF67-3D8E4B1B646B}"/>
              </c:ext>
            </c:extLst>
          </c:dPt>
          <c:dPt>
            <c:idx val="223"/>
            <c:invertIfNegative val="1"/>
            <c:bubble3D val="0"/>
            <c:spPr>
              <a:solidFill>
                <a:srgbClr val="AEABAB"/>
              </a:solidFill>
            </c:spPr>
            <c:extLst>
              <c:ext xmlns:c16="http://schemas.microsoft.com/office/drawing/2014/chart" uri="{C3380CC4-5D6E-409C-BE32-E72D297353CC}">
                <c16:uniqueId val="{000001C1-3C5D-43A5-BF67-3D8E4B1B646B}"/>
              </c:ext>
            </c:extLst>
          </c:dPt>
          <c:dPt>
            <c:idx val="224"/>
            <c:invertIfNegative val="1"/>
            <c:bubble3D val="0"/>
            <c:spPr>
              <a:solidFill>
                <a:srgbClr val="AEABAB"/>
              </a:solidFill>
            </c:spPr>
            <c:extLst>
              <c:ext xmlns:c16="http://schemas.microsoft.com/office/drawing/2014/chart" uri="{C3380CC4-5D6E-409C-BE32-E72D297353CC}">
                <c16:uniqueId val="{000001C3-3C5D-43A5-BF67-3D8E4B1B646B}"/>
              </c:ext>
            </c:extLst>
          </c:dPt>
          <c:dPt>
            <c:idx val="225"/>
            <c:invertIfNegative val="1"/>
            <c:bubble3D val="0"/>
            <c:spPr>
              <a:solidFill>
                <a:srgbClr val="AEABAB"/>
              </a:solidFill>
            </c:spPr>
            <c:extLst>
              <c:ext xmlns:c16="http://schemas.microsoft.com/office/drawing/2014/chart" uri="{C3380CC4-5D6E-409C-BE32-E72D297353CC}">
                <c16:uniqueId val="{000001C5-3C5D-43A5-BF67-3D8E4B1B646B}"/>
              </c:ext>
            </c:extLst>
          </c:dPt>
          <c:dPt>
            <c:idx val="226"/>
            <c:invertIfNegative val="1"/>
            <c:bubble3D val="0"/>
            <c:spPr>
              <a:solidFill>
                <a:srgbClr val="AEABAB"/>
              </a:solidFill>
            </c:spPr>
            <c:extLst>
              <c:ext xmlns:c16="http://schemas.microsoft.com/office/drawing/2014/chart" uri="{C3380CC4-5D6E-409C-BE32-E72D297353CC}">
                <c16:uniqueId val="{000001C7-3C5D-43A5-BF67-3D8E4B1B646B}"/>
              </c:ext>
            </c:extLst>
          </c:dPt>
          <c:dPt>
            <c:idx val="227"/>
            <c:invertIfNegative val="1"/>
            <c:bubble3D val="0"/>
            <c:spPr>
              <a:solidFill>
                <a:srgbClr val="AEABAB"/>
              </a:solidFill>
            </c:spPr>
            <c:extLst>
              <c:ext xmlns:c16="http://schemas.microsoft.com/office/drawing/2014/chart" uri="{C3380CC4-5D6E-409C-BE32-E72D297353CC}">
                <c16:uniqueId val="{000001C9-3C5D-43A5-BF67-3D8E4B1B646B}"/>
              </c:ext>
            </c:extLst>
          </c:dPt>
          <c:dPt>
            <c:idx val="228"/>
            <c:invertIfNegative val="1"/>
            <c:bubble3D val="0"/>
            <c:spPr>
              <a:solidFill>
                <a:srgbClr val="AEABAB"/>
              </a:solidFill>
            </c:spPr>
            <c:extLst>
              <c:ext xmlns:c16="http://schemas.microsoft.com/office/drawing/2014/chart" uri="{C3380CC4-5D6E-409C-BE32-E72D297353CC}">
                <c16:uniqueId val="{000001CB-3C5D-43A5-BF67-3D8E4B1B646B}"/>
              </c:ext>
            </c:extLst>
          </c:dPt>
          <c:dPt>
            <c:idx val="229"/>
            <c:invertIfNegative val="1"/>
            <c:bubble3D val="0"/>
            <c:spPr>
              <a:solidFill>
                <a:srgbClr val="AEABAB"/>
              </a:solidFill>
            </c:spPr>
            <c:extLst>
              <c:ext xmlns:c16="http://schemas.microsoft.com/office/drawing/2014/chart" uri="{C3380CC4-5D6E-409C-BE32-E72D297353CC}">
                <c16:uniqueId val="{000001CD-3C5D-43A5-BF67-3D8E4B1B646B}"/>
              </c:ext>
            </c:extLst>
          </c:dPt>
          <c:dPt>
            <c:idx val="230"/>
            <c:invertIfNegative val="1"/>
            <c:bubble3D val="0"/>
            <c:spPr>
              <a:solidFill>
                <a:srgbClr val="AEABAB"/>
              </a:solidFill>
            </c:spPr>
            <c:extLst>
              <c:ext xmlns:c16="http://schemas.microsoft.com/office/drawing/2014/chart" uri="{C3380CC4-5D6E-409C-BE32-E72D297353CC}">
                <c16:uniqueId val="{000001CF-3C5D-43A5-BF67-3D8E4B1B646B}"/>
              </c:ext>
            </c:extLst>
          </c:dPt>
          <c:dPt>
            <c:idx val="231"/>
            <c:invertIfNegative val="1"/>
            <c:bubble3D val="0"/>
            <c:spPr>
              <a:solidFill>
                <a:srgbClr val="AEABAB"/>
              </a:solidFill>
            </c:spPr>
            <c:extLst>
              <c:ext xmlns:c16="http://schemas.microsoft.com/office/drawing/2014/chart" uri="{C3380CC4-5D6E-409C-BE32-E72D297353CC}">
                <c16:uniqueId val="{000001D1-3C5D-43A5-BF67-3D8E4B1B646B}"/>
              </c:ext>
            </c:extLst>
          </c:dPt>
          <c:dPt>
            <c:idx val="232"/>
            <c:invertIfNegative val="1"/>
            <c:bubble3D val="0"/>
            <c:spPr>
              <a:solidFill>
                <a:srgbClr val="AEABAB"/>
              </a:solidFill>
            </c:spPr>
            <c:extLst>
              <c:ext xmlns:c16="http://schemas.microsoft.com/office/drawing/2014/chart" uri="{C3380CC4-5D6E-409C-BE32-E72D297353CC}">
                <c16:uniqueId val="{000001D3-3C5D-43A5-BF67-3D8E4B1B646B}"/>
              </c:ext>
            </c:extLst>
          </c:dPt>
          <c:dPt>
            <c:idx val="233"/>
            <c:invertIfNegative val="1"/>
            <c:bubble3D val="0"/>
            <c:spPr>
              <a:solidFill>
                <a:srgbClr val="AEABAB"/>
              </a:solidFill>
            </c:spPr>
            <c:extLst>
              <c:ext xmlns:c16="http://schemas.microsoft.com/office/drawing/2014/chart" uri="{C3380CC4-5D6E-409C-BE32-E72D297353CC}">
                <c16:uniqueId val="{000001D5-3C5D-43A5-BF67-3D8E4B1B646B}"/>
              </c:ext>
            </c:extLst>
          </c:dPt>
          <c:dPt>
            <c:idx val="234"/>
            <c:invertIfNegative val="1"/>
            <c:bubble3D val="0"/>
            <c:spPr>
              <a:solidFill>
                <a:srgbClr val="AEABAB"/>
              </a:solidFill>
            </c:spPr>
            <c:extLst>
              <c:ext xmlns:c16="http://schemas.microsoft.com/office/drawing/2014/chart" uri="{C3380CC4-5D6E-409C-BE32-E72D297353CC}">
                <c16:uniqueId val="{000001D7-3C5D-43A5-BF67-3D8E4B1B646B}"/>
              </c:ext>
            </c:extLst>
          </c:dPt>
          <c:dPt>
            <c:idx val="235"/>
            <c:invertIfNegative val="1"/>
            <c:bubble3D val="0"/>
            <c:spPr>
              <a:solidFill>
                <a:srgbClr val="AEABAB"/>
              </a:solidFill>
            </c:spPr>
            <c:extLst>
              <c:ext xmlns:c16="http://schemas.microsoft.com/office/drawing/2014/chart" uri="{C3380CC4-5D6E-409C-BE32-E72D297353CC}">
                <c16:uniqueId val="{000001D9-3C5D-43A5-BF67-3D8E4B1B646B}"/>
              </c:ext>
            </c:extLst>
          </c:dPt>
          <c:dPt>
            <c:idx val="236"/>
            <c:invertIfNegative val="1"/>
            <c:bubble3D val="0"/>
            <c:spPr>
              <a:solidFill>
                <a:srgbClr val="AEABAB"/>
              </a:solidFill>
            </c:spPr>
            <c:extLst>
              <c:ext xmlns:c16="http://schemas.microsoft.com/office/drawing/2014/chart" uri="{C3380CC4-5D6E-409C-BE32-E72D297353CC}">
                <c16:uniqueId val="{000001DB-3C5D-43A5-BF67-3D8E4B1B646B}"/>
              </c:ext>
            </c:extLst>
          </c:dPt>
          <c:dPt>
            <c:idx val="237"/>
            <c:invertIfNegative val="1"/>
            <c:bubble3D val="0"/>
            <c:spPr>
              <a:solidFill>
                <a:srgbClr val="AEABAB"/>
              </a:solidFill>
            </c:spPr>
            <c:extLst>
              <c:ext xmlns:c16="http://schemas.microsoft.com/office/drawing/2014/chart" uri="{C3380CC4-5D6E-409C-BE32-E72D297353CC}">
                <c16:uniqueId val="{000001DD-3C5D-43A5-BF67-3D8E4B1B646B}"/>
              </c:ext>
            </c:extLst>
          </c:dPt>
          <c:dPt>
            <c:idx val="238"/>
            <c:invertIfNegative val="1"/>
            <c:bubble3D val="0"/>
            <c:spPr>
              <a:solidFill>
                <a:srgbClr val="AEABAB"/>
              </a:solidFill>
            </c:spPr>
            <c:extLst>
              <c:ext xmlns:c16="http://schemas.microsoft.com/office/drawing/2014/chart" uri="{C3380CC4-5D6E-409C-BE32-E72D297353CC}">
                <c16:uniqueId val="{000001DF-3C5D-43A5-BF67-3D8E4B1B646B}"/>
              </c:ext>
            </c:extLst>
          </c:dPt>
          <c:dPt>
            <c:idx val="239"/>
            <c:invertIfNegative val="1"/>
            <c:bubble3D val="0"/>
            <c:spPr>
              <a:solidFill>
                <a:srgbClr val="AEABAB"/>
              </a:solidFill>
            </c:spPr>
            <c:extLst>
              <c:ext xmlns:c16="http://schemas.microsoft.com/office/drawing/2014/chart" uri="{C3380CC4-5D6E-409C-BE32-E72D297353CC}">
                <c16:uniqueId val="{000001E1-3C5D-43A5-BF67-3D8E4B1B646B}"/>
              </c:ext>
            </c:extLst>
          </c:dPt>
          <c:dPt>
            <c:idx val="240"/>
            <c:invertIfNegative val="1"/>
            <c:bubble3D val="0"/>
            <c:spPr>
              <a:solidFill>
                <a:srgbClr val="AEABAB"/>
              </a:solidFill>
            </c:spPr>
            <c:extLst>
              <c:ext xmlns:c16="http://schemas.microsoft.com/office/drawing/2014/chart" uri="{C3380CC4-5D6E-409C-BE32-E72D297353CC}">
                <c16:uniqueId val="{000001E3-3C5D-43A5-BF67-3D8E4B1B646B}"/>
              </c:ext>
            </c:extLst>
          </c:dPt>
          <c:dPt>
            <c:idx val="241"/>
            <c:invertIfNegative val="1"/>
            <c:bubble3D val="0"/>
            <c:spPr>
              <a:solidFill>
                <a:srgbClr val="AEABAB"/>
              </a:solidFill>
            </c:spPr>
            <c:extLst>
              <c:ext xmlns:c16="http://schemas.microsoft.com/office/drawing/2014/chart" uri="{C3380CC4-5D6E-409C-BE32-E72D297353CC}">
                <c16:uniqueId val="{000001E5-3C5D-43A5-BF67-3D8E4B1B646B}"/>
              </c:ext>
            </c:extLst>
          </c:dPt>
          <c:dPt>
            <c:idx val="242"/>
            <c:invertIfNegative val="1"/>
            <c:bubble3D val="0"/>
            <c:spPr>
              <a:solidFill>
                <a:srgbClr val="AEABAB"/>
              </a:solidFill>
            </c:spPr>
            <c:extLst>
              <c:ext xmlns:c16="http://schemas.microsoft.com/office/drawing/2014/chart" uri="{C3380CC4-5D6E-409C-BE32-E72D297353CC}">
                <c16:uniqueId val="{000001E7-3C5D-43A5-BF67-3D8E4B1B646B}"/>
              </c:ext>
            </c:extLst>
          </c:dPt>
          <c:dPt>
            <c:idx val="243"/>
            <c:invertIfNegative val="1"/>
            <c:bubble3D val="0"/>
            <c:spPr>
              <a:solidFill>
                <a:srgbClr val="AEABAB"/>
              </a:solidFill>
            </c:spPr>
            <c:extLst>
              <c:ext xmlns:c16="http://schemas.microsoft.com/office/drawing/2014/chart" uri="{C3380CC4-5D6E-409C-BE32-E72D297353CC}">
                <c16:uniqueId val="{000001E9-3C5D-43A5-BF67-3D8E4B1B646B}"/>
              </c:ext>
            </c:extLst>
          </c:dPt>
          <c:dPt>
            <c:idx val="244"/>
            <c:invertIfNegative val="1"/>
            <c:bubble3D val="0"/>
            <c:spPr>
              <a:solidFill>
                <a:srgbClr val="AEABAB"/>
              </a:solidFill>
            </c:spPr>
            <c:extLst>
              <c:ext xmlns:c16="http://schemas.microsoft.com/office/drawing/2014/chart" uri="{C3380CC4-5D6E-409C-BE32-E72D297353CC}">
                <c16:uniqueId val="{000001EB-3C5D-43A5-BF67-3D8E4B1B646B}"/>
              </c:ext>
            </c:extLst>
          </c:dPt>
          <c:dPt>
            <c:idx val="245"/>
            <c:invertIfNegative val="1"/>
            <c:bubble3D val="0"/>
            <c:spPr>
              <a:solidFill>
                <a:srgbClr val="AEABAB"/>
              </a:solidFill>
            </c:spPr>
            <c:extLst>
              <c:ext xmlns:c16="http://schemas.microsoft.com/office/drawing/2014/chart" uri="{C3380CC4-5D6E-409C-BE32-E72D297353CC}">
                <c16:uniqueId val="{000001ED-3C5D-43A5-BF67-3D8E4B1B646B}"/>
              </c:ext>
            </c:extLst>
          </c:dPt>
          <c:dPt>
            <c:idx val="246"/>
            <c:invertIfNegative val="1"/>
            <c:bubble3D val="0"/>
            <c:spPr>
              <a:solidFill>
                <a:srgbClr val="AEABAB"/>
              </a:solidFill>
            </c:spPr>
            <c:extLst>
              <c:ext xmlns:c16="http://schemas.microsoft.com/office/drawing/2014/chart" uri="{C3380CC4-5D6E-409C-BE32-E72D297353CC}">
                <c16:uniqueId val="{000001EF-3C5D-43A5-BF67-3D8E4B1B646B}"/>
              </c:ext>
            </c:extLst>
          </c:dPt>
          <c:dPt>
            <c:idx val="247"/>
            <c:invertIfNegative val="1"/>
            <c:bubble3D val="0"/>
            <c:spPr>
              <a:solidFill>
                <a:srgbClr val="AEABAB"/>
              </a:solidFill>
            </c:spPr>
            <c:extLst>
              <c:ext xmlns:c16="http://schemas.microsoft.com/office/drawing/2014/chart" uri="{C3380CC4-5D6E-409C-BE32-E72D297353CC}">
                <c16:uniqueId val="{000001F1-3C5D-43A5-BF67-3D8E4B1B646B}"/>
              </c:ext>
            </c:extLst>
          </c:dPt>
          <c:dPt>
            <c:idx val="248"/>
            <c:invertIfNegative val="1"/>
            <c:bubble3D val="0"/>
            <c:spPr>
              <a:solidFill>
                <a:srgbClr val="AEABAB"/>
              </a:solidFill>
            </c:spPr>
            <c:extLst>
              <c:ext xmlns:c16="http://schemas.microsoft.com/office/drawing/2014/chart" uri="{C3380CC4-5D6E-409C-BE32-E72D297353CC}">
                <c16:uniqueId val="{000001F3-3C5D-43A5-BF67-3D8E4B1B646B}"/>
              </c:ext>
            </c:extLst>
          </c:dPt>
          <c:dPt>
            <c:idx val="249"/>
            <c:invertIfNegative val="1"/>
            <c:bubble3D val="0"/>
            <c:spPr>
              <a:solidFill>
                <a:srgbClr val="AEABAB"/>
              </a:solidFill>
            </c:spPr>
            <c:extLst>
              <c:ext xmlns:c16="http://schemas.microsoft.com/office/drawing/2014/chart" uri="{C3380CC4-5D6E-409C-BE32-E72D297353CC}">
                <c16:uniqueId val="{000001F5-3C5D-43A5-BF67-3D8E4B1B646B}"/>
              </c:ext>
            </c:extLst>
          </c:dPt>
          <c:dPt>
            <c:idx val="250"/>
            <c:invertIfNegative val="1"/>
            <c:bubble3D val="0"/>
            <c:spPr>
              <a:solidFill>
                <a:srgbClr val="AEABAB"/>
              </a:solidFill>
            </c:spPr>
            <c:extLst>
              <c:ext xmlns:c16="http://schemas.microsoft.com/office/drawing/2014/chart" uri="{C3380CC4-5D6E-409C-BE32-E72D297353CC}">
                <c16:uniqueId val="{000001F7-3C5D-43A5-BF67-3D8E4B1B646B}"/>
              </c:ext>
            </c:extLst>
          </c:dPt>
          <c:dPt>
            <c:idx val="251"/>
            <c:invertIfNegative val="1"/>
            <c:bubble3D val="0"/>
            <c:spPr>
              <a:solidFill>
                <a:srgbClr val="AEABAB"/>
              </a:solidFill>
            </c:spPr>
            <c:extLst>
              <c:ext xmlns:c16="http://schemas.microsoft.com/office/drawing/2014/chart" uri="{C3380CC4-5D6E-409C-BE32-E72D297353CC}">
                <c16:uniqueId val="{000001F9-3C5D-43A5-BF67-3D8E4B1B646B}"/>
              </c:ext>
            </c:extLst>
          </c:dPt>
          <c:dPt>
            <c:idx val="252"/>
            <c:invertIfNegative val="1"/>
            <c:bubble3D val="0"/>
            <c:spPr>
              <a:solidFill>
                <a:srgbClr val="AEABAB"/>
              </a:solidFill>
            </c:spPr>
            <c:extLst>
              <c:ext xmlns:c16="http://schemas.microsoft.com/office/drawing/2014/chart" uri="{C3380CC4-5D6E-409C-BE32-E72D297353CC}">
                <c16:uniqueId val="{000001FB-3C5D-43A5-BF67-3D8E4B1B646B}"/>
              </c:ext>
            </c:extLst>
          </c:dPt>
          <c:dPt>
            <c:idx val="253"/>
            <c:invertIfNegative val="1"/>
            <c:bubble3D val="0"/>
            <c:spPr>
              <a:solidFill>
                <a:srgbClr val="AEABAB"/>
              </a:solidFill>
            </c:spPr>
            <c:extLst>
              <c:ext xmlns:c16="http://schemas.microsoft.com/office/drawing/2014/chart" uri="{C3380CC4-5D6E-409C-BE32-E72D297353CC}">
                <c16:uniqueId val="{000001FD-3C5D-43A5-BF67-3D8E4B1B646B}"/>
              </c:ext>
            </c:extLst>
          </c:dPt>
          <c:dPt>
            <c:idx val="254"/>
            <c:invertIfNegative val="1"/>
            <c:bubble3D val="0"/>
            <c:spPr>
              <a:solidFill>
                <a:srgbClr val="AEABAB"/>
              </a:solidFill>
            </c:spPr>
            <c:extLst>
              <c:ext xmlns:c16="http://schemas.microsoft.com/office/drawing/2014/chart" uri="{C3380CC4-5D6E-409C-BE32-E72D297353CC}">
                <c16:uniqueId val="{000001FF-3C5D-43A5-BF67-3D8E4B1B646B}"/>
              </c:ext>
            </c:extLst>
          </c:dPt>
          <c:dPt>
            <c:idx val="255"/>
            <c:invertIfNegative val="1"/>
            <c:bubble3D val="0"/>
            <c:spPr>
              <a:solidFill>
                <a:srgbClr val="AEABAB"/>
              </a:solidFill>
            </c:spPr>
            <c:extLst>
              <c:ext xmlns:c16="http://schemas.microsoft.com/office/drawing/2014/chart" uri="{C3380CC4-5D6E-409C-BE32-E72D297353CC}">
                <c16:uniqueId val="{00000201-3C5D-43A5-BF67-3D8E4B1B646B}"/>
              </c:ext>
            </c:extLst>
          </c:dPt>
          <c:dPt>
            <c:idx val="256"/>
            <c:invertIfNegative val="1"/>
            <c:bubble3D val="0"/>
            <c:spPr>
              <a:solidFill>
                <a:srgbClr val="AEABAB"/>
              </a:solidFill>
            </c:spPr>
            <c:extLst>
              <c:ext xmlns:c16="http://schemas.microsoft.com/office/drawing/2014/chart" uri="{C3380CC4-5D6E-409C-BE32-E72D297353CC}">
                <c16:uniqueId val="{00000203-3C5D-43A5-BF67-3D8E4B1B646B}"/>
              </c:ext>
            </c:extLst>
          </c:dPt>
          <c:dPt>
            <c:idx val="257"/>
            <c:invertIfNegative val="1"/>
            <c:bubble3D val="0"/>
            <c:spPr>
              <a:solidFill>
                <a:srgbClr val="AEABAB"/>
              </a:solidFill>
            </c:spPr>
            <c:extLst>
              <c:ext xmlns:c16="http://schemas.microsoft.com/office/drawing/2014/chart" uri="{C3380CC4-5D6E-409C-BE32-E72D297353CC}">
                <c16:uniqueId val="{00000205-3C5D-43A5-BF67-3D8E4B1B646B}"/>
              </c:ext>
            </c:extLst>
          </c:dPt>
          <c:dPt>
            <c:idx val="258"/>
            <c:invertIfNegative val="1"/>
            <c:bubble3D val="0"/>
            <c:spPr>
              <a:solidFill>
                <a:srgbClr val="AEABAB"/>
              </a:solidFill>
            </c:spPr>
            <c:extLst>
              <c:ext xmlns:c16="http://schemas.microsoft.com/office/drawing/2014/chart" uri="{C3380CC4-5D6E-409C-BE32-E72D297353CC}">
                <c16:uniqueId val="{00000207-3C5D-43A5-BF67-3D8E4B1B646B}"/>
              </c:ext>
            </c:extLst>
          </c:dPt>
          <c:dPt>
            <c:idx val="259"/>
            <c:invertIfNegative val="1"/>
            <c:bubble3D val="0"/>
            <c:spPr>
              <a:solidFill>
                <a:srgbClr val="AEABAB"/>
              </a:solidFill>
            </c:spPr>
            <c:extLst>
              <c:ext xmlns:c16="http://schemas.microsoft.com/office/drawing/2014/chart" uri="{C3380CC4-5D6E-409C-BE32-E72D297353CC}">
                <c16:uniqueId val="{00000209-3C5D-43A5-BF67-3D8E4B1B646B}"/>
              </c:ext>
            </c:extLst>
          </c:dPt>
          <c:dPt>
            <c:idx val="260"/>
            <c:invertIfNegative val="1"/>
            <c:bubble3D val="0"/>
            <c:spPr>
              <a:solidFill>
                <a:srgbClr val="AEABAB"/>
              </a:solidFill>
            </c:spPr>
            <c:extLst>
              <c:ext xmlns:c16="http://schemas.microsoft.com/office/drawing/2014/chart" uri="{C3380CC4-5D6E-409C-BE32-E72D297353CC}">
                <c16:uniqueId val="{0000020B-3C5D-43A5-BF67-3D8E4B1B646B}"/>
              </c:ext>
            </c:extLst>
          </c:dPt>
          <c:dPt>
            <c:idx val="261"/>
            <c:invertIfNegative val="1"/>
            <c:bubble3D val="0"/>
            <c:spPr>
              <a:solidFill>
                <a:srgbClr val="AEABAB"/>
              </a:solidFill>
            </c:spPr>
            <c:extLst>
              <c:ext xmlns:c16="http://schemas.microsoft.com/office/drawing/2014/chart" uri="{C3380CC4-5D6E-409C-BE32-E72D297353CC}">
                <c16:uniqueId val="{0000020D-3C5D-43A5-BF67-3D8E4B1B646B}"/>
              </c:ext>
            </c:extLst>
          </c:dPt>
          <c:dPt>
            <c:idx val="262"/>
            <c:invertIfNegative val="1"/>
            <c:bubble3D val="0"/>
            <c:spPr>
              <a:solidFill>
                <a:srgbClr val="AEABAB"/>
              </a:solidFill>
            </c:spPr>
            <c:extLst>
              <c:ext xmlns:c16="http://schemas.microsoft.com/office/drawing/2014/chart" uri="{C3380CC4-5D6E-409C-BE32-E72D297353CC}">
                <c16:uniqueId val="{0000020F-3C5D-43A5-BF67-3D8E4B1B646B}"/>
              </c:ext>
            </c:extLst>
          </c:dPt>
          <c:dPt>
            <c:idx val="263"/>
            <c:invertIfNegative val="1"/>
            <c:bubble3D val="0"/>
            <c:spPr>
              <a:solidFill>
                <a:srgbClr val="AEABAB"/>
              </a:solidFill>
            </c:spPr>
            <c:extLst>
              <c:ext xmlns:c16="http://schemas.microsoft.com/office/drawing/2014/chart" uri="{C3380CC4-5D6E-409C-BE32-E72D297353CC}">
                <c16:uniqueId val="{00000211-3C5D-43A5-BF67-3D8E4B1B646B}"/>
              </c:ext>
            </c:extLst>
          </c:dPt>
          <c:dPt>
            <c:idx val="264"/>
            <c:invertIfNegative val="1"/>
            <c:bubble3D val="0"/>
            <c:spPr>
              <a:solidFill>
                <a:srgbClr val="AEABAB"/>
              </a:solidFill>
            </c:spPr>
            <c:extLst>
              <c:ext xmlns:c16="http://schemas.microsoft.com/office/drawing/2014/chart" uri="{C3380CC4-5D6E-409C-BE32-E72D297353CC}">
                <c16:uniqueId val="{00000213-3C5D-43A5-BF67-3D8E4B1B646B}"/>
              </c:ext>
            </c:extLst>
          </c:dPt>
          <c:dPt>
            <c:idx val="265"/>
            <c:invertIfNegative val="1"/>
            <c:bubble3D val="0"/>
            <c:spPr>
              <a:solidFill>
                <a:srgbClr val="AEABAB"/>
              </a:solidFill>
            </c:spPr>
            <c:extLst>
              <c:ext xmlns:c16="http://schemas.microsoft.com/office/drawing/2014/chart" uri="{C3380CC4-5D6E-409C-BE32-E72D297353CC}">
                <c16:uniqueId val="{00000215-3C5D-43A5-BF67-3D8E4B1B646B}"/>
              </c:ext>
            </c:extLst>
          </c:dPt>
          <c:dPt>
            <c:idx val="266"/>
            <c:invertIfNegative val="1"/>
            <c:bubble3D val="0"/>
            <c:spPr>
              <a:solidFill>
                <a:srgbClr val="AEABAB"/>
              </a:solidFill>
            </c:spPr>
            <c:extLst>
              <c:ext xmlns:c16="http://schemas.microsoft.com/office/drawing/2014/chart" uri="{C3380CC4-5D6E-409C-BE32-E72D297353CC}">
                <c16:uniqueId val="{00000217-3C5D-43A5-BF67-3D8E4B1B646B}"/>
              </c:ext>
            </c:extLst>
          </c:dPt>
          <c:dPt>
            <c:idx val="267"/>
            <c:invertIfNegative val="1"/>
            <c:bubble3D val="0"/>
            <c:spPr>
              <a:solidFill>
                <a:srgbClr val="AEABAB"/>
              </a:solidFill>
            </c:spPr>
            <c:extLst>
              <c:ext xmlns:c16="http://schemas.microsoft.com/office/drawing/2014/chart" uri="{C3380CC4-5D6E-409C-BE32-E72D297353CC}">
                <c16:uniqueId val="{00000219-3C5D-43A5-BF67-3D8E4B1B646B}"/>
              </c:ext>
            </c:extLst>
          </c:dPt>
          <c:dPt>
            <c:idx val="268"/>
            <c:invertIfNegative val="1"/>
            <c:bubble3D val="0"/>
            <c:spPr>
              <a:solidFill>
                <a:srgbClr val="AEABAB"/>
              </a:solidFill>
            </c:spPr>
            <c:extLst>
              <c:ext xmlns:c16="http://schemas.microsoft.com/office/drawing/2014/chart" uri="{C3380CC4-5D6E-409C-BE32-E72D297353CC}">
                <c16:uniqueId val="{0000021B-3C5D-43A5-BF67-3D8E4B1B646B}"/>
              </c:ext>
            </c:extLst>
          </c:dPt>
          <c:dPt>
            <c:idx val="269"/>
            <c:invertIfNegative val="1"/>
            <c:bubble3D val="0"/>
            <c:spPr>
              <a:solidFill>
                <a:srgbClr val="AEABAB"/>
              </a:solidFill>
            </c:spPr>
            <c:extLst>
              <c:ext xmlns:c16="http://schemas.microsoft.com/office/drawing/2014/chart" uri="{C3380CC4-5D6E-409C-BE32-E72D297353CC}">
                <c16:uniqueId val="{0000021D-3C5D-43A5-BF67-3D8E4B1B646B}"/>
              </c:ext>
            </c:extLst>
          </c:dPt>
          <c:dPt>
            <c:idx val="270"/>
            <c:invertIfNegative val="1"/>
            <c:bubble3D val="0"/>
            <c:spPr>
              <a:solidFill>
                <a:srgbClr val="AEABAB"/>
              </a:solidFill>
            </c:spPr>
            <c:extLst>
              <c:ext xmlns:c16="http://schemas.microsoft.com/office/drawing/2014/chart" uri="{C3380CC4-5D6E-409C-BE32-E72D297353CC}">
                <c16:uniqueId val="{0000021F-3C5D-43A5-BF67-3D8E4B1B646B}"/>
              </c:ext>
            </c:extLst>
          </c:dPt>
          <c:dPt>
            <c:idx val="271"/>
            <c:invertIfNegative val="1"/>
            <c:bubble3D val="0"/>
            <c:spPr>
              <a:solidFill>
                <a:srgbClr val="AEABAB"/>
              </a:solidFill>
            </c:spPr>
            <c:extLst>
              <c:ext xmlns:c16="http://schemas.microsoft.com/office/drawing/2014/chart" uri="{C3380CC4-5D6E-409C-BE32-E72D297353CC}">
                <c16:uniqueId val="{00000221-3C5D-43A5-BF67-3D8E4B1B646B}"/>
              </c:ext>
            </c:extLst>
          </c:dPt>
          <c:dPt>
            <c:idx val="272"/>
            <c:invertIfNegative val="1"/>
            <c:bubble3D val="0"/>
            <c:spPr>
              <a:solidFill>
                <a:srgbClr val="AEABAB"/>
              </a:solidFill>
            </c:spPr>
            <c:extLst>
              <c:ext xmlns:c16="http://schemas.microsoft.com/office/drawing/2014/chart" uri="{C3380CC4-5D6E-409C-BE32-E72D297353CC}">
                <c16:uniqueId val="{00000223-3C5D-43A5-BF67-3D8E4B1B646B}"/>
              </c:ext>
            </c:extLst>
          </c:dPt>
          <c:dPt>
            <c:idx val="273"/>
            <c:invertIfNegative val="1"/>
            <c:bubble3D val="0"/>
            <c:spPr>
              <a:solidFill>
                <a:srgbClr val="AEABAB"/>
              </a:solidFill>
            </c:spPr>
            <c:extLst>
              <c:ext xmlns:c16="http://schemas.microsoft.com/office/drawing/2014/chart" uri="{C3380CC4-5D6E-409C-BE32-E72D297353CC}">
                <c16:uniqueId val="{00000225-3C5D-43A5-BF67-3D8E4B1B646B}"/>
              </c:ext>
            </c:extLst>
          </c:dPt>
          <c:dPt>
            <c:idx val="274"/>
            <c:invertIfNegative val="1"/>
            <c:bubble3D val="0"/>
            <c:spPr>
              <a:solidFill>
                <a:srgbClr val="AEABAB"/>
              </a:solidFill>
            </c:spPr>
            <c:extLst>
              <c:ext xmlns:c16="http://schemas.microsoft.com/office/drawing/2014/chart" uri="{C3380CC4-5D6E-409C-BE32-E72D297353CC}">
                <c16:uniqueId val="{00000227-3C5D-43A5-BF67-3D8E4B1B646B}"/>
              </c:ext>
            </c:extLst>
          </c:dPt>
          <c:dPt>
            <c:idx val="275"/>
            <c:invertIfNegative val="1"/>
            <c:bubble3D val="0"/>
            <c:spPr>
              <a:solidFill>
                <a:srgbClr val="AEABAB"/>
              </a:solidFill>
            </c:spPr>
            <c:extLst>
              <c:ext xmlns:c16="http://schemas.microsoft.com/office/drawing/2014/chart" uri="{C3380CC4-5D6E-409C-BE32-E72D297353CC}">
                <c16:uniqueId val="{00000229-3C5D-43A5-BF67-3D8E4B1B646B}"/>
              </c:ext>
            </c:extLst>
          </c:dPt>
          <c:dPt>
            <c:idx val="276"/>
            <c:invertIfNegative val="1"/>
            <c:bubble3D val="0"/>
            <c:spPr>
              <a:solidFill>
                <a:srgbClr val="AEABAB"/>
              </a:solidFill>
            </c:spPr>
            <c:extLst>
              <c:ext xmlns:c16="http://schemas.microsoft.com/office/drawing/2014/chart" uri="{C3380CC4-5D6E-409C-BE32-E72D297353CC}">
                <c16:uniqueId val="{0000022B-3C5D-43A5-BF67-3D8E4B1B646B}"/>
              </c:ext>
            </c:extLst>
          </c:dPt>
          <c:dPt>
            <c:idx val="277"/>
            <c:invertIfNegative val="1"/>
            <c:bubble3D val="0"/>
            <c:spPr>
              <a:solidFill>
                <a:srgbClr val="AEABAB"/>
              </a:solidFill>
            </c:spPr>
            <c:extLst>
              <c:ext xmlns:c16="http://schemas.microsoft.com/office/drawing/2014/chart" uri="{C3380CC4-5D6E-409C-BE32-E72D297353CC}">
                <c16:uniqueId val="{0000022D-3C5D-43A5-BF67-3D8E4B1B646B}"/>
              </c:ext>
            </c:extLst>
          </c:dPt>
          <c:dPt>
            <c:idx val="278"/>
            <c:invertIfNegative val="1"/>
            <c:bubble3D val="0"/>
            <c:spPr>
              <a:solidFill>
                <a:srgbClr val="AEABAB"/>
              </a:solidFill>
            </c:spPr>
            <c:extLst>
              <c:ext xmlns:c16="http://schemas.microsoft.com/office/drawing/2014/chart" uri="{C3380CC4-5D6E-409C-BE32-E72D297353CC}">
                <c16:uniqueId val="{0000022F-3C5D-43A5-BF67-3D8E4B1B646B}"/>
              </c:ext>
            </c:extLst>
          </c:dPt>
          <c:dPt>
            <c:idx val="279"/>
            <c:invertIfNegative val="1"/>
            <c:bubble3D val="0"/>
            <c:spPr>
              <a:solidFill>
                <a:srgbClr val="AEABAB"/>
              </a:solidFill>
            </c:spPr>
            <c:extLst>
              <c:ext xmlns:c16="http://schemas.microsoft.com/office/drawing/2014/chart" uri="{C3380CC4-5D6E-409C-BE32-E72D297353CC}">
                <c16:uniqueId val="{00000231-3C5D-43A5-BF67-3D8E4B1B646B}"/>
              </c:ext>
            </c:extLst>
          </c:dPt>
          <c:dPt>
            <c:idx val="280"/>
            <c:invertIfNegative val="1"/>
            <c:bubble3D val="0"/>
            <c:spPr>
              <a:solidFill>
                <a:srgbClr val="AEABAB"/>
              </a:solidFill>
            </c:spPr>
            <c:extLst>
              <c:ext xmlns:c16="http://schemas.microsoft.com/office/drawing/2014/chart" uri="{C3380CC4-5D6E-409C-BE32-E72D297353CC}">
                <c16:uniqueId val="{00000233-3C5D-43A5-BF67-3D8E4B1B646B}"/>
              </c:ext>
            </c:extLst>
          </c:dPt>
          <c:dPt>
            <c:idx val="281"/>
            <c:invertIfNegative val="1"/>
            <c:bubble3D val="0"/>
            <c:spPr>
              <a:solidFill>
                <a:srgbClr val="AEABAB"/>
              </a:solidFill>
            </c:spPr>
            <c:extLst>
              <c:ext xmlns:c16="http://schemas.microsoft.com/office/drawing/2014/chart" uri="{C3380CC4-5D6E-409C-BE32-E72D297353CC}">
                <c16:uniqueId val="{00000235-3C5D-43A5-BF67-3D8E4B1B646B}"/>
              </c:ext>
            </c:extLst>
          </c:dPt>
          <c:dPt>
            <c:idx val="282"/>
            <c:invertIfNegative val="1"/>
            <c:bubble3D val="0"/>
            <c:spPr>
              <a:solidFill>
                <a:srgbClr val="AEABAB"/>
              </a:solidFill>
            </c:spPr>
            <c:extLst>
              <c:ext xmlns:c16="http://schemas.microsoft.com/office/drawing/2014/chart" uri="{C3380CC4-5D6E-409C-BE32-E72D297353CC}">
                <c16:uniqueId val="{00000237-3C5D-43A5-BF67-3D8E4B1B646B}"/>
              </c:ext>
            </c:extLst>
          </c:dPt>
          <c:dPt>
            <c:idx val="283"/>
            <c:invertIfNegative val="1"/>
            <c:bubble3D val="0"/>
            <c:spPr>
              <a:solidFill>
                <a:srgbClr val="AEABAB"/>
              </a:solidFill>
            </c:spPr>
            <c:extLst>
              <c:ext xmlns:c16="http://schemas.microsoft.com/office/drawing/2014/chart" uri="{C3380CC4-5D6E-409C-BE32-E72D297353CC}">
                <c16:uniqueId val="{00000239-3C5D-43A5-BF67-3D8E4B1B646B}"/>
              </c:ext>
            </c:extLst>
          </c:dPt>
          <c:dPt>
            <c:idx val="284"/>
            <c:invertIfNegative val="1"/>
            <c:bubble3D val="0"/>
            <c:spPr>
              <a:solidFill>
                <a:srgbClr val="AEABAB"/>
              </a:solidFill>
            </c:spPr>
            <c:extLst>
              <c:ext xmlns:c16="http://schemas.microsoft.com/office/drawing/2014/chart" uri="{C3380CC4-5D6E-409C-BE32-E72D297353CC}">
                <c16:uniqueId val="{0000023B-3C5D-43A5-BF67-3D8E4B1B646B}"/>
              </c:ext>
            </c:extLst>
          </c:dPt>
          <c:dPt>
            <c:idx val="285"/>
            <c:invertIfNegative val="1"/>
            <c:bubble3D val="0"/>
            <c:spPr>
              <a:solidFill>
                <a:srgbClr val="AEABAB"/>
              </a:solidFill>
            </c:spPr>
            <c:extLst>
              <c:ext xmlns:c16="http://schemas.microsoft.com/office/drawing/2014/chart" uri="{C3380CC4-5D6E-409C-BE32-E72D297353CC}">
                <c16:uniqueId val="{0000023D-3C5D-43A5-BF67-3D8E4B1B646B}"/>
              </c:ext>
            </c:extLst>
          </c:dPt>
          <c:dPt>
            <c:idx val="286"/>
            <c:invertIfNegative val="1"/>
            <c:bubble3D val="0"/>
            <c:spPr>
              <a:solidFill>
                <a:srgbClr val="AEABAB"/>
              </a:solidFill>
            </c:spPr>
            <c:extLst>
              <c:ext xmlns:c16="http://schemas.microsoft.com/office/drawing/2014/chart" uri="{C3380CC4-5D6E-409C-BE32-E72D297353CC}">
                <c16:uniqueId val="{0000023F-3C5D-43A5-BF67-3D8E4B1B646B}"/>
              </c:ext>
            </c:extLst>
          </c:dPt>
          <c:dPt>
            <c:idx val="287"/>
            <c:invertIfNegative val="1"/>
            <c:bubble3D val="0"/>
            <c:spPr>
              <a:solidFill>
                <a:srgbClr val="AEABAB"/>
              </a:solidFill>
            </c:spPr>
            <c:extLst>
              <c:ext xmlns:c16="http://schemas.microsoft.com/office/drawing/2014/chart" uri="{C3380CC4-5D6E-409C-BE32-E72D297353CC}">
                <c16:uniqueId val="{00000241-3C5D-43A5-BF67-3D8E4B1B646B}"/>
              </c:ext>
            </c:extLst>
          </c:dPt>
          <c:dPt>
            <c:idx val="288"/>
            <c:invertIfNegative val="1"/>
            <c:bubble3D val="0"/>
            <c:spPr>
              <a:solidFill>
                <a:srgbClr val="AEABAB"/>
              </a:solidFill>
            </c:spPr>
            <c:extLst>
              <c:ext xmlns:c16="http://schemas.microsoft.com/office/drawing/2014/chart" uri="{C3380CC4-5D6E-409C-BE32-E72D297353CC}">
                <c16:uniqueId val="{00000243-3C5D-43A5-BF67-3D8E4B1B646B}"/>
              </c:ext>
            </c:extLst>
          </c:dPt>
          <c:dPt>
            <c:idx val="289"/>
            <c:invertIfNegative val="1"/>
            <c:bubble3D val="0"/>
            <c:spPr>
              <a:solidFill>
                <a:srgbClr val="AEABAB"/>
              </a:solidFill>
            </c:spPr>
            <c:extLst>
              <c:ext xmlns:c16="http://schemas.microsoft.com/office/drawing/2014/chart" uri="{C3380CC4-5D6E-409C-BE32-E72D297353CC}">
                <c16:uniqueId val="{00000245-3C5D-43A5-BF67-3D8E4B1B646B}"/>
              </c:ext>
            </c:extLst>
          </c:dPt>
          <c:dPt>
            <c:idx val="290"/>
            <c:invertIfNegative val="1"/>
            <c:bubble3D val="0"/>
            <c:spPr>
              <a:solidFill>
                <a:srgbClr val="AEABAB"/>
              </a:solidFill>
            </c:spPr>
            <c:extLst>
              <c:ext xmlns:c16="http://schemas.microsoft.com/office/drawing/2014/chart" uri="{C3380CC4-5D6E-409C-BE32-E72D297353CC}">
                <c16:uniqueId val="{00000247-3C5D-43A5-BF67-3D8E4B1B646B}"/>
              </c:ext>
            </c:extLst>
          </c:dPt>
          <c:dPt>
            <c:idx val="291"/>
            <c:invertIfNegative val="1"/>
            <c:bubble3D val="0"/>
            <c:spPr>
              <a:solidFill>
                <a:srgbClr val="AEABAB"/>
              </a:solidFill>
            </c:spPr>
            <c:extLst>
              <c:ext xmlns:c16="http://schemas.microsoft.com/office/drawing/2014/chart" uri="{C3380CC4-5D6E-409C-BE32-E72D297353CC}">
                <c16:uniqueId val="{00000249-3C5D-43A5-BF67-3D8E4B1B646B}"/>
              </c:ext>
            </c:extLst>
          </c:dPt>
          <c:dPt>
            <c:idx val="292"/>
            <c:invertIfNegative val="1"/>
            <c:bubble3D val="0"/>
            <c:spPr>
              <a:solidFill>
                <a:srgbClr val="AEABAB"/>
              </a:solidFill>
            </c:spPr>
            <c:extLst>
              <c:ext xmlns:c16="http://schemas.microsoft.com/office/drawing/2014/chart" uri="{C3380CC4-5D6E-409C-BE32-E72D297353CC}">
                <c16:uniqueId val="{0000024B-3C5D-43A5-BF67-3D8E4B1B646B}"/>
              </c:ext>
            </c:extLst>
          </c:dPt>
          <c:dPt>
            <c:idx val="293"/>
            <c:invertIfNegative val="1"/>
            <c:bubble3D val="0"/>
            <c:spPr>
              <a:solidFill>
                <a:srgbClr val="AEABAB"/>
              </a:solidFill>
            </c:spPr>
            <c:extLst>
              <c:ext xmlns:c16="http://schemas.microsoft.com/office/drawing/2014/chart" uri="{C3380CC4-5D6E-409C-BE32-E72D297353CC}">
                <c16:uniqueId val="{0000024D-3C5D-43A5-BF67-3D8E4B1B646B}"/>
              </c:ext>
            </c:extLst>
          </c:dPt>
          <c:dPt>
            <c:idx val="294"/>
            <c:invertIfNegative val="1"/>
            <c:bubble3D val="0"/>
            <c:spPr>
              <a:solidFill>
                <a:srgbClr val="AEABAB"/>
              </a:solidFill>
            </c:spPr>
            <c:extLst>
              <c:ext xmlns:c16="http://schemas.microsoft.com/office/drawing/2014/chart" uri="{C3380CC4-5D6E-409C-BE32-E72D297353CC}">
                <c16:uniqueId val="{0000024F-3C5D-43A5-BF67-3D8E4B1B646B}"/>
              </c:ext>
            </c:extLst>
          </c:dPt>
          <c:dPt>
            <c:idx val="295"/>
            <c:invertIfNegative val="1"/>
            <c:bubble3D val="0"/>
            <c:spPr>
              <a:solidFill>
                <a:srgbClr val="AEABAB"/>
              </a:solidFill>
            </c:spPr>
            <c:extLst>
              <c:ext xmlns:c16="http://schemas.microsoft.com/office/drawing/2014/chart" uri="{C3380CC4-5D6E-409C-BE32-E72D297353CC}">
                <c16:uniqueId val="{00000251-3C5D-43A5-BF67-3D8E4B1B646B}"/>
              </c:ext>
            </c:extLst>
          </c:dPt>
          <c:dPt>
            <c:idx val="296"/>
            <c:invertIfNegative val="1"/>
            <c:bubble3D val="0"/>
            <c:spPr>
              <a:solidFill>
                <a:srgbClr val="AEABAB"/>
              </a:solidFill>
            </c:spPr>
            <c:extLst>
              <c:ext xmlns:c16="http://schemas.microsoft.com/office/drawing/2014/chart" uri="{C3380CC4-5D6E-409C-BE32-E72D297353CC}">
                <c16:uniqueId val="{00000253-3C5D-43A5-BF67-3D8E4B1B646B}"/>
              </c:ext>
            </c:extLst>
          </c:dPt>
          <c:dPt>
            <c:idx val="297"/>
            <c:invertIfNegative val="1"/>
            <c:bubble3D val="0"/>
            <c:spPr>
              <a:solidFill>
                <a:srgbClr val="AEABAB"/>
              </a:solidFill>
            </c:spPr>
            <c:extLst>
              <c:ext xmlns:c16="http://schemas.microsoft.com/office/drawing/2014/chart" uri="{C3380CC4-5D6E-409C-BE32-E72D297353CC}">
                <c16:uniqueId val="{00000255-3C5D-43A5-BF67-3D8E4B1B646B}"/>
              </c:ext>
            </c:extLst>
          </c:dPt>
          <c:dPt>
            <c:idx val="298"/>
            <c:invertIfNegative val="1"/>
            <c:bubble3D val="0"/>
            <c:spPr>
              <a:solidFill>
                <a:srgbClr val="AEABAB"/>
              </a:solidFill>
            </c:spPr>
            <c:extLst>
              <c:ext xmlns:c16="http://schemas.microsoft.com/office/drawing/2014/chart" uri="{C3380CC4-5D6E-409C-BE32-E72D297353CC}">
                <c16:uniqueId val="{00000257-3C5D-43A5-BF67-3D8E4B1B646B}"/>
              </c:ext>
            </c:extLst>
          </c:dPt>
          <c:dPt>
            <c:idx val="299"/>
            <c:invertIfNegative val="1"/>
            <c:bubble3D val="0"/>
            <c:spPr>
              <a:solidFill>
                <a:srgbClr val="AEABAB"/>
              </a:solidFill>
            </c:spPr>
            <c:extLst>
              <c:ext xmlns:c16="http://schemas.microsoft.com/office/drawing/2014/chart" uri="{C3380CC4-5D6E-409C-BE32-E72D297353CC}">
                <c16:uniqueId val="{00000259-3C5D-43A5-BF67-3D8E4B1B646B}"/>
              </c:ext>
            </c:extLst>
          </c:dPt>
          <c:dPt>
            <c:idx val="300"/>
            <c:invertIfNegative val="1"/>
            <c:bubble3D val="0"/>
            <c:spPr>
              <a:solidFill>
                <a:srgbClr val="AEABAB"/>
              </a:solidFill>
            </c:spPr>
            <c:extLst>
              <c:ext xmlns:c16="http://schemas.microsoft.com/office/drawing/2014/chart" uri="{C3380CC4-5D6E-409C-BE32-E72D297353CC}">
                <c16:uniqueId val="{0000025B-3C5D-43A5-BF67-3D8E4B1B646B}"/>
              </c:ext>
            </c:extLst>
          </c:dPt>
          <c:dPt>
            <c:idx val="301"/>
            <c:invertIfNegative val="1"/>
            <c:bubble3D val="0"/>
            <c:spPr>
              <a:solidFill>
                <a:srgbClr val="AEABAB"/>
              </a:solidFill>
            </c:spPr>
            <c:extLst>
              <c:ext xmlns:c16="http://schemas.microsoft.com/office/drawing/2014/chart" uri="{C3380CC4-5D6E-409C-BE32-E72D297353CC}">
                <c16:uniqueId val="{0000025D-3C5D-43A5-BF67-3D8E4B1B646B}"/>
              </c:ext>
            </c:extLst>
          </c:dPt>
          <c:dPt>
            <c:idx val="302"/>
            <c:invertIfNegative val="1"/>
            <c:bubble3D val="0"/>
            <c:spPr>
              <a:solidFill>
                <a:srgbClr val="AEABAB"/>
              </a:solidFill>
            </c:spPr>
            <c:extLst>
              <c:ext xmlns:c16="http://schemas.microsoft.com/office/drawing/2014/chart" uri="{C3380CC4-5D6E-409C-BE32-E72D297353CC}">
                <c16:uniqueId val="{0000025F-3C5D-43A5-BF67-3D8E4B1B646B}"/>
              </c:ext>
            </c:extLst>
          </c:dPt>
          <c:dPt>
            <c:idx val="303"/>
            <c:invertIfNegative val="1"/>
            <c:bubble3D val="0"/>
            <c:spPr>
              <a:solidFill>
                <a:srgbClr val="AEABAB"/>
              </a:solidFill>
            </c:spPr>
            <c:extLst>
              <c:ext xmlns:c16="http://schemas.microsoft.com/office/drawing/2014/chart" uri="{C3380CC4-5D6E-409C-BE32-E72D297353CC}">
                <c16:uniqueId val="{00000261-3C5D-43A5-BF67-3D8E4B1B646B}"/>
              </c:ext>
            </c:extLst>
          </c:dPt>
          <c:dPt>
            <c:idx val="304"/>
            <c:invertIfNegative val="1"/>
            <c:bubble3D val="0"/>
            <c:spPr>
              <a:solidFill>
                <a:srgbClr val="AEABAB"/>
              </a:solidFill>
            </c:spPr>
            <c:extLst>
              <c:ext xmlns:c16="http://schemas.microsoft.com/office/drawing/2014/chart" uri="{C3380CC4-5D6E-409C-BE32-E72D297353CC}">
                <c16:uniqueId val="{00000263-3C5D-43A5-BF67-3D8E4B1B646B}"/>
              </c:ext>
            </c:extLst>
          </c:dPt>
          <c:dPt>
            <c:idx val="305"/>
            <c:invertIfNegative val="1"/>
            <c:bubble3D val="0"/>
            <c:spPr>
              <a:solidFill>
                <a:srgbClr val="AEABAB"/>
              </a:solidFill>
            </c:spPr>
            <c:extLst>
              <c:ext xmlns:c16="http://schemas.microsoft.com/office/drawing/2014/chart" uri="{C3380CC4-5D6E-409C-BE32-E72D297353CC}">
                <c16:uniqueId val="{00000265-3C5D-43A5-BF67-3D8E4B1B646B}"/>
              </c:ext>
            </c:extLst>
          </c:dPt>
          <c:dPt>
            <c:idx val="306"/>
            <c:invertIfNegative val="1"/>
            <c:bubble3D val="0"/>
            <c:spPr>
              <a:solidFill>
                <a:srgbClr val="AEABAB"/>
              </a:solidFill>
            </c:spPr>
            <c:extLst>
              <c:ext xmlns:c16="http://schemas.microsoft.com/office/drawing/2014/chart" uri="{C3380CC4-5D6E-409C-BE32-E72D297353CC}">
                <c16:uniqueId val="{00000267-3C5D-43A5-BF67-3D8E4B1B646B}"/>
              </c:ext>
            </c:extLst>
          </c:dPt>
          <c:dPt>
            <c:idx val="307"/>
            <c:invertIfNegative val="1"/>
            <c:bubble3D val="0"/>
            <c:spPr>
              <a:solidFill>
                <a:srgbClr val="AEABAB"/>
              </a:solidFill>
            </c:spPr>
            <c:extLst>
              <c:ext xmlns:c16="http://schemas.microsoft.com/office/drawing/2014/chart" uri="{C3380CC4-5D6E-409C-BE32-E72D297353CC}">
                <c16:uniqueId val="{00000269-3C5D-43A5-BF67-3D8E4B1B646B}"/>
              </c:ext>
            </c:extLst>
          </c:dPt>
          <c:dPt>
            <c:idx val="308"/>
            <c:invertIfNegative val="1"/>
            <c:bubble3D val="0"/>
            <c:spPr>
              <a:solidFill>
                <a:srgbClr val="AEABAB"/>
              </a:solidFill>
            </c:spPr>
            <c:extLst>
              <c:ext xmlns:c16="http://schemas.microsoft.com/office/drawing/2014/chart" uri="{C3380CC4-5D6E-409C-BE32-E72D297353CC}">
                <c16:uniqueId val="{0000026B-3C5D-43A5-BF67-3D8E4B1B646B}"/>
              </c:ext>
            </c:extLst>
          </c:dPt>
          <c:dPt>
            <c:idx val="309"/>
            <c:invertIfNegative val="1"/>
            <c:bubble3D val="0"/>
            <c:spPr>
              <a:solidFill>
                <a:srgbClr val="AEABAB"/>
              </a:solidFill>
            </c:spPr>
            <c:extLst>
              <c:ext xmlns:c16="http://schemas.microsoft.com/office/drawing/2014/chart" uri="{C3380CC4-5D6E-409C-BE32-E72D297353CC}">
                <c16:uniqueId val="{0000026D-3C5D-43A5-BF67-3D8E4B1B646B}"/>
              </c:ext>
            </c:extLst>
          </c:dPt>
          <c:dPt>
            <c:idx val="310"/>
            <c:invertIfNegative val="1"/>
            <c:bubble3D val="0"/>
            <c:spPr>
              <a:solidFill>
                <a:srgbClr val="AEABAB"/>
              </a:solidFill>
            </c:spPr>
            <c:extLst>
              <c:ext xmlns:c16="http://schemas.microsoft.com/office/drawing/2014/chart" uri="{C3380CC4-5D6E-409C-BE32-E72D297353CC}">
                <c16:uniqueId val="{0000026F-3C5D-43A5-BF67-3D8E4B1B646B}"/>
              </c:ext>
            </c:extLst>
          </c:dPt>
          <c:dPt>
            <c:idx val="311"/>
            <c:invertIfNegative val="1"/>
            <c:bubble3D val="0"/>
            <c:spPr>
              <a:solidFill>
                <a:srgbClr val="AEABAB"/>
              </a:solidFill>
            </c:spPr>
            <c:extLst>
              <c:ext xmlns:c16="http://schemas.microsoft.com/office/drawing/2014/chart" uri="{C3380CC4-5D6E-409C-BE32-E72D297353CC}">
                <c16:uniqueId val="{00000271-3C5D-43A5-BF67-3D8E4B1B646B}"/>
              </c:ext>
            </c:extLst>
          </c:dPt>
          <c:dPt>
            <c:idx val="312"/>
            <c:invertIfNegative val="1"/>
            <c:bubble3D val="0"/>
            <c:spPr>
              <a:solidFill>
                <a:srgbClr val="AEABAB"/>
              </a:solidFill>
            </c:spPr>
            <c:extLst>
              <c:ext xmlns:c16="http://schemas.microsoft.com/office/drawing/2014/chart" uri="{C3380CC4-5D6E-409C-BE32-E72D297353CC}">
                <c16:uniqueId val="{00000273-3C5D-43A5-BF67-3D8E4B1B646B}"/>
              </c:ext>
            </c:extLst>
          </c:dPt>
          <c:dPt>
            <c:idx val="313"/>
            <c:invertIfNegative val="1"/>
            <c:bubble3D val="0"/>
            <c:spPr>
              <a:solidFill>
                <a:srgbClr val="AEABAB"/>
              </a:solidFill>
            </c:spPr>
            <c:extLst>
              <c:ext xmlns:c16="http://schemas.microsoft.com/office/drawing/2014/chart" uri="{C3380CC4-5D6E-409C-BE32-E72D297353CC}">
                <c16:uniqueId val="{00000275-3C5D-43A5-BF67-3D8E4B1B646B}"/>
              </c:ext>
            </c:extLst>
          </c:dPt>
          <c:dPt>
            <c:idx val="314"/>
            <c:invertIfNegative val="1"/>
            <c:bubble3D val="0"/>
            <c:spPr>
              <a:solidFill>
                <a:srgbClr val="AEABAB"/>
              </a:solidFill>
            </c:spPr>
            <c:extLst>
              <c:ext xmlns:c16="http://schemas.microsoft.com/office/drawing/2014/chart" uri="{C3380CC4-5D6E-409C-BE32-E72D297353CC}">
                <c16:uniqueId val="{00000277-3C5D-43A5-BF67-3D8E4B1B646B}"/>
              </c:ext>
            </c:extLst>
          </c:dPt>
          <c:dPt>
            <c:idx val="315"/>
            <c:invertIfNegative val="1"/>
            <c:bubble3D val="0"/>
            <c:spPr>
              <a:solidFill>
                <a:srgbClr val="AEABAB"/>
              </a:solidFill>
            </c:spPr>
            <c:extLst>
              <c:ext xmlns:c16="http://schemas.microsoft.com/office/drawing/2014/chart" uri="{C3380CC4-5D6E-409C-BE32-E72D297353CC}">
                <c16:uniqueId val="{00000279-3C5D-43A5-BF67-3D8E4B1B646B}"/>
              </c:ext>
            </c:extLst>
          </c:dPt>
          <c:dPt>
            <c:idx val="316"/>
            <c:invertIfNegative val="1"/>
            <c:bubble3D val="0"/>
            <c:spPr>
              <a:solidFill>
                <a:srgbClr val="AEABAB"/>
              </a:solidFill>
            </c:spPr>
            <c:extLst>
              <c:ext xmlns:c16="http://schemas.microsoft.com/office/drawing/2014/chart" uri="{C3380CC4-5D6E-409C-BE32-E72D297353CC}">
                <c16:uniqueId val="{0000027B-3C5D-43A5-BF67-3D8E4B1B646B}"/>
              </c:ext>
            </c:extLst>
          </c:dPt>
          <c:dPt>
            <c:idx val="317"/>
            <c:invertIfNegative val="1"/>
            <c:bubble3D val="0"/>
            <c:spPr>
              <a:solidFill>
                <a:srgbClr val="AEABAB"/>
              </a:solidFill>
            </c:spPr>
            <c:extLst>
              <c:ext xmlns:c16="http://schemas.microsoft.com/office/drawing/2014/chart" uri="{C3380CC4-5D6E-409C-BE32-E72D297353CC}">
                <c16:uniqueId val="{0000027D-3C5D-43A5-BF67-3D8E4B1B646B}"/>
              </c:ext>
            </c:extLst>
          </c:dPt>
          <c:dPt>
            <c:idx val="318"/>
            <c:invertIfNegative val="1"/>
            <c:bubble3D val="0"/>
            <c:spPr>
              <a:solidFill>
                <a:srgbClr val="AEABAB"/>
              </a:solidFill>
            </c:spPr>
            <c:extLst>
              <c:ext xmlns:c16="http://schemas.microsoft.com/office/drawing/2014/chart" uri="{C3380CC4-5D6E-409C-BE32-E72D297353CC}">
                <c16:uniqueId val="{0000027F-3C5D-43A5-BF67-3D8E4B1B646B}"/>
              </c:ext>
            </c:extLst>
          </c:dPt>
          <c:dPt>
            <c:idx val="319"/>
            <c:invertIfNegative val="1"/>
            <c:bubble3D val="0"/>
            <c:spPr>
              <a:solidFill>
                <a:srgbClr val="AEABAB"/>
              </a:solidFill>
            </c:spPr>
            <c:extLst>
              <c:ext xmlns:c16="http://schemas.microsoft.com/office/drawing/2014/chart" uri="{C3380CC4-5D6E-409C-BE32-E72D297353CC}">
                <c16:uniqueId val="{00000281-3C5D-43A5-BF67-3D8E4B1B646B}"/>
              </c:ext>
            </c:extLst>
          </c:dPt>
          <c:dPt>
            <c:idx val="320"/>
            <c:invertIfNegative val="1"/>
            <c:bubble3D val="0"/>
            <c:spPr>
              <a:solidFill>
                <a:srgbClr val="AEABAB"/>
              </a:solidFill>
            </c:spPr>
            <c:extLst>
              <c:ext xmlns:c16="http://schemas.microsoft.com/office/drawing/2014/chart" uri="{C3380CC4-5D6E-409C-BE32-E72D297353CC}">
                <c16:uniqueId val="{00000283-3C5D-43A5-BF67-3D8E4B1B646B}"/>
              </c:ext>
            </c:extLst>
          </c:dPt>
          <c:dPt>
            <c:idx val="321"/>
            <c:invertIfNegative val="1"/>
            <c:bubble3D val="0"/>
            <c:spPr>
              <a:solidFill>
                <a:srgbClr val="AEABAB"/>
              </a:solidFill>
            </c:spPr>
            <c:extLst>
              <c:ext xmlns:c16="http://schemas.microsoft.com/office/drawing/2014/chart" uri="{C3380CC4-5D6E-409C-BE32-E72D297353CC}">
                <c16:uniqueId val="{00000285-3C5D-43A5-BF67-3D8E4B1B646B}"/>
              </c:ext>
            </c:extLst>
          </c:dPt>
          <c:dPt>
            <c:idx val="322"/>
            <c:invertIfNegative val="1"/>
            <c:bubble3D val="0"/>
            <c:spPr>
              <a:solidFill>
                <a:srgbClr val="AEABAB"/>
              </a:solidFill>
            </c:spPr>
            <c:extLst>
              <c:ext xmlns:c16="http://schemas.microsoft.com/office/drawing/2014/chart" uri="{C3380CC4-5D6E-409C-BE32-E72D297353CC}">
                <c16:uniqueId val="{00000287-3C5D-43A5-BF67-3D8E4B1B646B}"/>
              </c:ext>
            </c:extLst>
          </c:dPt>
          <c:dPt>
            <c:idx val="323"/>
            <c:invertIfNegative val="1"/>
            <c:bubble3D val="0"/>
            <c:spPr>
              <a:solidFill>
                <a:srgbClr val="AEABAB"/>
              </a:solidFill>
            </c:spPr>
            <c:extLst>
              <c:ext xmlns:c16="http://schemas.microsoft.com/office/drawing/2014/chart" uri="{C3380CC4-5D6E-409C-BE32-E72D297353CC}">
                <c16:uniqueId val="{00000289-3C5D-43A5-BF67-3D8E4B1B646B}"/>
              </c:ext>
            </c:extLst>
          </c:dPt>
          <c:dPt>
            <c:idx val="324"/>
            <c:invertIfNegative val="1"/>
            <c:bubble3D val="0"/>
            <c:spPr>
              <a:solidFill>
                <a:srgbClr val="AEABAB"/>
              </a:solidFill>
            </c:spPr>
            <c:extLst>
              <c:ext xmlns:c16="http://schemas.microsoft.com/office/drawing/2014/chart" uri="{C3380CC4-5D6E-409C-BE32-E72D297353CC}">
                <c16:uniqueId val="{0000028B-3C5D-43A5-BF67-3D8E4B1B646B}"/>
              </c:ext>
            </c:extLst>
          </c:dPt>
          <c:dPt>
            <c:idx val="325"/>
            <c:invertIfNegative val="1"/>
            <c:bubble3D val="0"/>
            <c:spPr>
              <a:solidFill>
                <a:srgbClr val="AEABAB"/>
              </a:solidFill>
            </c:spPr>
            <c:extLst>
              <c:ext xmlns:c16="http://schemas.microsoft.com/office/drawing/2014/chart" uri="{C3380CC4-5D6E-409C-BE32-E72D297353CC}">
                <c16:uniqueId val="{0000028D-3C5D-43A5-BF67-3D8E4B1B646B}"/>
              </c:ext>
            </c:extLst>
          </c:dPt>
          <c:dPt>
            <c:idx val="326"/>
            <c:invertIfNegative val="1"/>
            <c:bubble3D val="0"/>
            <c:spPr>
              <a:solidFill>
                <a:srgbClr val="AEABAB"/>
              </a:solidFill>
            </c:spPr>
            <c:extLst>
              <c:ext xmlns:c16="http://schemas.microsoft.com/office/drawing/2014/chart" uri="{C3380CC4-5D6E-409C-BE32-E72D297353CC}">
                <c16:uniqueId val="{0000028F-3C5D-43A5-BF67-3D8E4B1B646B}"/>
              </c:ext>
            </c:extLst>
          </c:dPt>
          <c:dPt>
            <c:idx val="327"/>
            <c:invertIfNegative val="1"/>
            <c:bubble3D val="0"/>
            <c:spPr>
              <a:solidFill>
                <a:srgbClr val="AEABAB"/>
              </a:solidFill>
            </c:spPr>
            <c:extLst>
              <c:ext xmlns:c16="http://schemas.microsoft.com/office/drawing/2014/chart" uri="{C3380CC4-5D6E-409C-BE32-E72D297353CC}">
                <c16:uniqueId val="{00000291-3C5D-43A5-BF67-3D8E4B1B646B}"/>
              </c:ext>
            </c:extLst>
          </c:dPt>
          <c:dPt>
            <c:idx val="328"/>
            <c:invertIfNegative val="1"/>
            <c:bubble3D val="0"/>
            <c:spPr>
              <a:solidFill>
                <a:srgbClr val="AEABAB"/>
              </a:solidFill>
            </c:spPr>
            <c:extLst>
              <c:ext xmlns:c16="http://schemas.microsoft.com/office/drawing/2014/chart" uri="{C3380CC4-5D6E-409C-BE32-E72D297353CC}">
                <c16:uniqueId val="{00000293-3C5D-43A5-BF67-3D8E4B1B646B}"/>
              </c:ext>
            </c:extLst>
          </c:dPt>
          <c:dPt>
            <c:idx val="329"/>
            <c:invertIfNegative val="1"/>
            <c:bubble3D val="0"/>
            <c:spPr>
              <a:solidFill>
                <a:srgbClr val="AEABAB"/>
              </a:solidFill>
            </c:spPr>
            <c:extLst>
              <c:ext xmlns:c16="http://schemas.microsoft.com/office/drawing/2014/chart" uri="{C3380CC4-5D6E-409C-BE32-E72D297353CC}">
                <c16:uniqueId val="{00000295-3C5D-43A5-BF67-3D8E4B1B646B}"/>
              </c:ext>
            </c:extLst>
          </c:dPt>
          <c:dPt>
            <c:idx val="330"/>
            <c:invertIfNegative val="1"/>
            <c:bubble3D val="0"/>
            <c:spPr>
              <a:solidFill>
                <a:srgbClr val="AEABAB"/>
              </a:solidFill>
            </c:spPr>
            <c:extLst>
              <c:ext xmlns:c16="http://schemas.microsoft.com/office/drawing/2014/chart" uri="{C3380CC4-5D6E-409C-BE32-E72D297353CC}">
                <c16:uniqueId val="{00000297-3C5D-43A5-BF67-3D8E4B1B646B}"/>
              </c:ext>
            </c:extLst>
          </c:dPt>
          <c:dPt>
            <c:idx val="331"/>
            <c:invertIfNegative val="1"/>
            <c:bubble3D val="0"/>
            <c:spPr>
              <a:solidFill>
                <a:srgbClr val="AEABAB"/>
              </a:solidFill>
            </c:spPr>
            <c:extLst>
              <c:ext xmlns:c16="http://schemas.microsoft.com/office/drawing/2014/chart" uri="{C3380CC4-5D6E-409C-BE32-E72D297353CC}">
                <c16:uniqueId val="{00000299-3C5D-43A5-BF67-3D8E4B1B646B}"/>
              </c:ext>
            </c:extLst>
          </c:dPt>
          <c:dPt>
            <c:idx val="332"/>
            <c:invertIfNegative val="1"/>
            <c:bubble3D val="0"/>
            <c:spPr>
              <a:solidFill>
                <a:srgbClr val="AEABAB"/>
              </a:solidFill>
            </c:spPr>
            <c:extLst>
              <c:ext xmlns:c16="http://schemas.microsoft.com/office/drawing/2014/chart" uri="{C3380CC4-5D6E-409C-BE32-E72D297353CC}">
                <c16:uniqueId val="{0000029B-3C5D-43A5-BF67-3D8E4B1B646B}"/>
              </c:ext>
            </c:extLst>
          </c:dPt>
          <c:dPt>
            <c:idx val="333"/>
            <c:invertIfNegative val="1"/>
            <c:bubble3D val="0"/>
            <c:spPr>
              <a:solidFill>
                <a:srgbClr val="AEABAB"/>
              </a:solidFill>
            </c:spPr>
            <c:extLst>
              <c:ext xmlns:c16="http://schemas.microsoft.com/office/drawing/2014/chart" uri="{C3380CC4-5D6E-409C-BE32-E72D297353CC}">
                <c16:uniqueId val="{0000029D-3C5D-43A5-BF67-3D8E4B1B646B}"/>
              </c:ext>
            </c:extLst>
          </c:dPt>
          <c:dPt>
            <c:idx val="334"/>
            <c:invertIfNegative val="1"/>
            <c:bubble3D val="0"/>
            <c:spPr>
              <a:solidFill>
                <a:srgbClr val="AEABAB"/>
              </a:solidFill>
            </c:spPr>
            <c:extLst>
              <c:ext xmlns:c16="http://schemas.microsoft.com/office/drawing/2014/chart" uri="{C3380CC4-5D6E-409C-BE32-E72D297353CC}">
                <c16:uniqueId val="{0000029F-3C5D-43A5-BF67-3D8E4B1B646B}"/>
              </c:ext>
            </c:extLst>
          </c:dPt>
          <c:dPt>
            <c:idx val="335"/>
            <c:invertIfNegative val="1"/>
            <c:bubble3D val="0"/>
            <c:spPr>
              <a:solidFill>
                <a:srgbClr val="AEABAB"/>
              </a:solidFill>
            </c:spPr>
            <c:extLst>
              <c:ext xmlns:c16="http://schemas.microsoft.com/office/drawing/2014/chart" uri="{C3380CC4-5D6E-409C-BE32-E72D297353CC}">
                <c16:uniqueId val="{000002A1-3C5D-43A5-BF67-3D8E4B1B646B}"/>
              </c:ext>
            </c:extLst>
          </c:dPt>
          <c:dPt>
            <c:idx val="336"/>
            <c:invertIfNegative val="1"/>
            <c:bubble3D val="0"/>
            <c:spPr>
              <a:solidFill>
                <a:srgbClr val="AEABAB"/>
              </a:solidFill>
            </c:spPr>
            <c:extLst>
              <c:ext xmlns:c16="http://schemas.microsoft.com/office/drawing/2014/chart" uri="{C3380CC4-5D6E-409C-BE32-E72D297353CC}">
                <c16:uniqueId val="{000002A3-3C5D-43A5-BF67-3D8E4B1B646B}"/>
              </c:ext>
            </c:extLst>
          </c:dPt>
          <c:dPt>
            <c:idx val="337"/>
            <c:invertIfNegative val="1"/>
            <c:bubble3D val="0"/>
            <c:spPr>
              <a:solidFill>
                <a:srgbClr val="AEABAB"/>
              </a:solidFill>
            </c:spPr>
            <c:extLst>
              <c:ext xmlns:c16="http://schemas.microsoft.com/office/drawing/2014/chart" uri="{C3380CC4-5D6E-409C-BE32-E72D297353CC}">
                <c16:uniqueId val="{000002A5-3C5D-43A5-BF67-3D8E4B1B646B}"/>
              </c:ext>
            </c:extLst>
          </c:dPt>
          <c:dPt>
            <c:idx val="338"/>
            <c:invertIfNegative val="1"/>
            <c:bubble3D val="0"/>
            <c:spPr>
              <a:solidFill>
                <a:srgbClr val="AEABAB"/>
              </a:solidFill>
            </c:spPr>
            <c:extLst>
              <c:ext xmlns:c16="http://schemas.microsoft.com/office/drawing/2014/chart" uri="{C3380CC4-5D6E-409C-BE32-E72D297353CC}">
                <c16:uniqueId val="{000002A7-3C5D-43A5-BF67-3D8E4B1B646B}"/>
              </c:ext>
            </c:extLst>
          </c:dPt>
          <c:dPt>
            <c:idx val="339"/>
            <c:invertIfNegative val="1"/>
            <c:bubble3D val="0"/>
            <c:spPr>
              <a:solidFill>
                <a:srgbClr val="AEABAB"/>
              </a:solidFill>
            </c:spPr>
            <c:extLst>
              <c:ext xmlns:c16="http://schemas.microsoft.com/office/drawing/2014/chart" uri="{C3380CC4-5D6E-409C-BE32-E72D297353CC}">
                <c16:uniqueId val="{000002A9-3C5D-43A5-BF67-3D8E4B1B646B}"/>
              </c:ext>
            </c:extLst>
          </c:dPt>
          <c:dPt>
            <c:idx val="340"/>
            <c:invertIfNegative val="1"/>
            <c:bubble3D val="0"/>
            <c:spPr>
              <a:solidFill>
                <a:srgbClr val="AEABAB"/>
              </a:solidFill>
            </c:spPr>
            <c:extLst>
              <c:ext xmlns:c16="http://schemas.microsoft.com/office/drawing/2014/chart" uri="{C3380CC4-5D6E-409C-BE32-E72D297353CC}">
                <c16:uniqueId val="{000002AB-3C5D-43A5-BF67-3D8E4B1B646B}"/>
              </c:ext>
            </c:extLst>
          </c:dPt>
          <c:cat>
            <c:strRef>
              <c:f>Sheet1!$A$2:$A$342</c:f>
              <c:strCache>
                <c:ptCount val="341"/>
                <c:pt idx="0">
                  <c:v>Private Lab</c:v>
                </c:pt>
                <c:pt idx="1">
                  <c:v>Private Lab</c:v>
                </c:pt>
                <c:pt idx="2">
                  <c:v>Galbani</c:v>
                </c:pt>
                <c:pt idx="3">
                  <c:v>Private Lab</c:v>
                </c:pt>
                <c:pt idx="4">
                  <c:v>Private Lab</c:v>
                </c:pt>
                <c:pt idx="5">
                  <c:v>Salakis</c:v>
                </c:pt>
                <c:pt idx="6">
                  <c:v>Islos</c:v>
                </c:pt>
                <c:pt idx="7">
                  <c:v>Private Lab</c:v>
                </c:pt>
                <c:pt idx="8">
                  <c:v>Private Lab</c:v>
                </c:pt>
                <c:pt idx="9">
                  <c:v>Galbani</c:v>
                </c:pt>
                <c:pt idx="10">
                  <c:v>Salakis</c:v>
                </c:pt>
                <c:pt idx="11">
                  <c:v>Galbani</c:v>
                </c:pt>
                <c:pt idx="12">
                  <c:v>Casa Azzurr</c:v>
                </c:pt>
                <c:pt idx="13">
                  <c:v>Private Lab</c:v>
                </c:pt>
                <c:pt idx="14">
                  <c:v>Casa Azzurr</c:v>
                </c:pt>
                <c:pt idx="15">
                  <c:v>Galbani</c:v>
                </c:pt>
                <c:pt idx="16">
                  <c:v>Boursin</c:v>
                </c:pt>
                <c:pt idx="17">
                  <c:v>All Others</c:v>
                </c:pt>
                <c:pt idx="18">
                  <c:v>Private Lab</c:v>
                </c:pt>
                <c:pt idx="19">
                  <c:v>All Others</c:v>
                </c:pt>
                <c:pt idx="20">
                  <c:v>Casa Azzurr</c:v>
                </c:pt>
                <c:pt idx="21">
                  <c:v>Salakis</c:v>
                </c:pt>
                <c:pt idx="22">
                  <c:v>Private Lab</c:v>
                </c:pt>
                <c:pt idx="23">
                  <c:v>Casa Azzurr</c:v>
                </c:pt>
                <c:pt idx="24">
                  <c:v>Private Lab</c:v>
                </c:pt>
                <c:pt idx="25">
                  <c:v>Casa Azzurr</c:v>
                </c:pt>
                <c:pt idx="26">
                  <c:v>Casa Azzurr</c:v>
                </c:pt>
                <c:pt idx="27">
                  <c:v>Salakis</c:v>
                </c:pt>
                <c:pt idx="28">
                  <c:v>Casa Azzurr</c:v>
                </c:pt>
                <c:pt idx="29">
                  <c:v>Galbani</c:v>
                </c:pt>
                <c:pt idx="30">
                  <c:v>Private Lab</c:v>
                </c:pt>
                <c:pt idx="31">
                  <c:v>All Others</c:v>
                </c:pt>
                <c:pt idx="32">
                  <c:v>Salakis</c:v>
                </c:pt>
                <c:pt idx="33">
                  <c:v>All Others</c:v>
                </c:pt>
                <c:pt idx="34">
                  <c:v>All Others</c:v>
                </c:pt>
                <c:pt idx="35">
                  <c:v>Salakis</c:v>
                </c:pt>
                <c:pt idx="36">
                  <c:v>All Others</c:v>
                </c:pt>
                <c:pt idx="37">
                  <c:v>Galbani</c:v>
                </c:pt>
                <c:pt idx="38">
                  <c:v>All Others</c:v>
                </c:pt>
                <c:pt idx="39">
                  <c:v>Galbani</c:v>
                </c:pt>
                <c:pt idx="40">
                  <c:v>Private Lab</c:v>
                </c:pt>
                <c:pt idx="41">
                  <c:v>Casa Azzurr</c:v>
                </c:pt>
                <c:pt idx="42">
                  <c:v>Galbani</c:v>
                </c:pt>
                <c:pt idx="43">
                  <c:v>Private Lab</c:v>
                </c:pt>
                <c:pt idx="44">
                  <c:v>All Others</c:v>
                </c:pt>
                <c:pt idx="45">
                  <c:v>Casa Azzurr</c:v>
                </c:pt>
                <c:pt idx="46">
                  <c:v>Casa Azzurr</c:v>
                </c:pt>
                <c:pt idx="47">
                  <c:v>Casa Azzurr</c:v>
                </c:pt>
                <c:pt idx="48">
                  <c:v>All Others</c:v>
                </c:pt>
                <c:pt idx="49">
                  <c:v>Galbani</c:v>
                </c:pt>
                <c:pt idx="50">
                  <c:v>Private Lab</c:v>
                </c:pt>
                <c:pt idx="51">
                  <c:v>All Others</c:v>
                </c:pt>
                <c:pt idx="52">
                  <c:v>All Others</c:v>
                </c:pt>
                <c:pt idx="53">
                  <c:v>All Others</c:v>
                </c:pt>
                <c:pt idx="54">
                  <c:v>All Others</c:v>
                </c:pt>
                <c:pt idx="55">
                  <c:v>All Others</c:v>
                </c:pt>
                <c:pt idx="56">
                  <c:v>Private Lab</c:v>
                </c:pt>
                <c:pt idx="57">
                  <c:v>Boursin</c:v>
                </c:pt>
                <c:pt idx="58">
                  <c:v>All Others</c:v>
                </c:pt>
                <c:pt idx="59">
                  <c:v>All Others</c:v>
                </c:pt>
                <c:pt idx="60">
                  <c:v>All Others</c:v>
                </c:pt>
                <c:pt idx="61">
                  <c:v>Galbani</c:v>
                </c:pt>
                <c:pt idx="62">
                  <c:v>All Others</c:v>
                </c:pt>
                <c:pt idx="63">
                  <c:v>Galbani</c:v>
                </c:pt>
                <c:pt idx="64">
                  <c:v>All Others</c:v>
                </c:pt>
                <c:pt idx="65">
                  <c:v>Salakis</c:v>
                </c:pt>
                <c:pt idx="66">
                  <c:v>Casa Azzurr</c:v>
                </c:pt>
                <c:pt idx="67">
                  <c:v>All Others</c:v>
                </c:pt>
                <c:pt idx="68">
                  <c:v>All Others</c:v>
                </c:pt>
                <c:pt idx="69">
                  <c:v>All Others</c:v>
                </c:pt>
                <c:pt idx="70">
                  <c:v>Boursin</c:v>
                </c:pt>
                <c:pt idx="71">
                  <c:v>All Others</c:v>
                </c:pt>
                <c:pt idx="72">
                  <c:v>All Others</c:v>
                </c:pt>
                <c:pt idx="73">
                  <c:v>All Others</c:v>
                </c:pt>
                <c:pt idx="74">
                  <c:v>Galbani</c:v>
                </c:pt>
                <c:pt idx="75">
                  <c:v>All Others</c:v>
                </c:pt>
                <c:pt idx="76">
                  <c:v>All Others</c:v>
                </c:pt>
                <c:pt idx="77">
                  <c:v>Casa Azzurr</c:v>
                </c:pt>
                <c:pt idx="78">
                  <c:v>Private Lab</c:v>
                </c:pt>
                <c:pt idx="79">
                  <c:v>All Others</c:v>
                </c:pt>
                <c:pt idx="80">
                  <c:v>All Others</c:v>
                </c:pt>
                <c:pt idx="81">
                  <c:v>All Others</c:v>
                </c:pt>
                <c:pt idx="82">
                  <c:v>Private Lab</c:v>
                </c:pt>
                <c:pt idx="83">
                  <c:v>All Others</c:v>
                </c:pt>
                <c:pt idx="84">
                  <c:v>Lactalis: A</c:v>
                </c:pt>
                <c:pt idx="85">
                  <c:v>Casa Azzurr</c:v>
                </c:pt>
                <c:pt idx="86">
                  <c:v>All Others</c:v>
                </c:pt>
                <c:pt idx="87">
                  <c:v>All Others</c:v>
                </c:pt>
                <c:pt idx="88">
                  <c:v>Casa Azzurr</c:v>
                </c:pt>
                <c:pt idx="89">
                  <c:v>Galbani</c:v>
                </c:pt>
                <c:pt idx="90">
                  <c:v>Islos</c:v>
                </c:pt>
                <c:pt idx="91">
                  <c:v>All Others</c:v>
                </c:pt>
                <c:pt idx="92">
                  <c:v>All Others</c:v>
                </c:pt>
                <c:pt idx="93">
                  <c:v>All Others</c:v>
                </c:pt>
                <c:pt idx="94">
                  <c:v>All Others</c:v>
                </c:pt>
                <c:pt idx="95">
                  <c:v>Private Lab</c:v>
                </c:pt>
                <c:pt idx="96">
                  <c:v>All Others</c:v>
                </c:pt>
                <c:pt idx="97">
                  <c:v>Private Lab</c:v>
                </c:pt>
                <c:pt idx="98">
                  <c:v>All Others</c:v>
                </c:pt>
                <c:pt idx="99">
                  <c:v>All Others</c:v>
                </c:pt>
                <c:pt idx="100">
                  <c:v>Private Lab</c:v>
                </c:pt>
                <c:pt idx="101">
                  <c:v>Islos</c:v>
                </c:pt>
                <c:pt idx="102">
                  <c:v>Salakis</c:v>
                </c:pt>
                <c:pt idx="103">
                  <c:v>Private Lab</c:v>
                </c:pt>
                <c:pt idx="104">
                  <c:v>Boursin</c:v>
                </c:pt>
                <c:pt idx="105">
                  <c:v>Lactalis: A</c:v>
                </c:pt>
                <c:pt idx="106">
                  <c:v>Private Lab</c:v>
                </c:pt>
                <c:pt idx="107">
                  <c:v>Private Lab</c:v>
                </c:pt>
                <c:pt idx="108">
                  <c:v>All Others</c:v>
                </c:pt>
                <c:pt idx="109">
                  <c:v>All Others</c:v>
                </c:pt>
                <c:pt idx="110">
                  <c:v>Private Lab</c:v>
                </c:pt>
                <c:pt idx="111">
                  <c:v>All Others</c:v>
                </c:pt>
                <c:pt idx="112">
                  <c:v>All Others</c:v>
                </c:pt>
                <c:pt idx="113">
                  <c:v>All Others</c:v>
                </c:pt>
                <c:pt idx="114">
                  <c:v>All Others</c:v>
                </c:pt>
                <c:pt idx="115">
                  <c:v>All Others</c:v>
                </c:pt>
                <c:pt idx="116">
                  <c:v>Boursin</c:v>
                </c:pt>
                <c:pt idx="117">
                  <c:v>All Others</c:v>
                </c:pt>
                <c:pt idx="118">
                  <c:v>All Others</c:v>
                </c:pt>
                <c:pt idx="119">
                  <c:v>All Others</c:v>
                </c:pt>
                <c:pt idx="120">
                  <c:v>Boursin</c:v>
                </c:pt>
                <c:pt idx="121">
                  <c:v>Salakis</c:v>
                </c:pt>
                <c:pt idx="122">
                  <c:v>All Others</c:v>
                </c:pt>
                <c:pt idx="123">
                  <c:v>All Others</c:v>
                </c:pt>
                <c:pt idx="124">
                  <c:v>All Others</c:v>
                </c:pt>
                <c:pt idx="125">
                  <c:v>All Others</c:v>
                </c:pt>
                <c:pt idx="126">
                  <c:v>All Others</c:v>
                </c:pt>
                <c:pt idx="127">
                  <c:v>All Others</c:v>
                </c:pt>
                <c:pt idx="128">
                  <c:v>All Others</c:v>
                </c:pt>
                <c:pt idx="129">
                  <c:v>Private Lab</c:v>
                </c:pt>
                <c:pt idx="130">
                  <c:v>Lactalis: A</c:v>
                </c:pt>
                <c:pt idx="131">
                  <c:v>All Others</c:v>
                </c:pt>
                <c:pt idx="132">
                  <c:v>All Others</c:v>
                </c:pt>
                <c:pt idx="133">
                  <c:v>All Others</c:v>
                </c:pt>
                <c:pt idx="134">
                  <c:v>All Others</c:v>
                </c:pt>
                <c:pt idx="135">
                  <c:v>All Others</c:v>
                </c:pt>
                <c:pt idx="136">
                  <c:v>All Others</c:v>
                </c:pt>
                <c:pt idx="137">
                  <c:v>All Others</c:v>
                </c:pt>
                <c:pt idx="138">
                  <c:v>All Others</c:v>
                </c:pt>
                <c:pt idx="139">
                  <c:v>All Others</c:v>
                </c:pt>
                <c:pt idx="140">
                  <c:v>All Others</c:v>
                </c:pt>
                <c:pt idx="141">
                  <c:v>All Others</c:v>
                </c:pt>
                <c:pt idx="142">
                  <c:v>All Others</c:v>
                </c:pt>
                <c:pt idx="143">
                  <c:v>All Others</c:v>
                </c:pt>
                <c:pt idx="144">
                  <c:v>Casa Azzurr</c:v>
                </c:pt>
                <c:pt idx="145">
                  <c:v>All Others</c:v>
                </c:pt>
                <c:pt idx="146">
                  <c:v>All Others</c:v>
                </c:pt>
                <c:pt idx="147">
                  <c:v>All Others</c:v>
                </c:pt>
                <c:pt idx="148">
                  <c:v>All Others</c:v>
                </c:pt>
                <c:pt idx="149">
                  <c:v>All Others</c:v>
                </c:pt>
                <c:pt idx="150">
                  <c:v>All Others</c:v>
                </c:pt>
                <c:pt idx="151">
                  <c:v>Salakis</c:v>
                </c:pt>
                <c:pt idx="152">
                  <c:v>All Others</c:v>
                </c:pt>
                <c:pt idx="153">
                  <c:v>Salakis</c:v>
                </c:pt>
                <c:pt idx="154">
                  <c:v>All Others</c:v>
                </c:pt>
                <c:pt idx="155">
                  <c:v>All Others</c:v>
                </c:pt>
                <c:pt idx="156">
                  <c:v>All Others</c:v>
                </c:pt>
                <c:pt idx="157">
                  <c:v>All Others</c:v>
                </c:pt>
                <c:pt idx="158">
                  <c:v>Casa Azzurr</c:v>
                </c:pt>
                <c:pt idx="159">
                  <c:v>All Others</c:v>
                </c:pt>
                <c:pt idx="160">
                  <c:v>All Others</c:v>
                </c:pt>
                <c:pt idx="161">
                  <c:v>All Others</c:v>
                </c:pt>
                <c:pt idx="162">
                  <c:v>All Others</c:v>
                </c:pt>
                <c:pt idx="163">
                  <c:v>All Others</c:v>
                </c:pt>
                <c:pt idx="164">
                  <c:v>Casa Azzurr</c:v>
                </c:pt>
                <c:pt idx="165">
                  <c:v>Private Lab</c:v>
                </c:pt>
                <c:pt idx="166">
                  <c:v>All Others</c:v>
                </c:pt>
                <c:pt idx="167">
                  <c:v>All Others</c:v>
                </c:pt>
                <c:pt idx="168">
                  <c:v>All Others</c:v>
                </c:pt>
                <c:pt idx="169">
                  <c:v>Private Lab</c:v>
                </c:pt>
                <c:pt idx="170">
                  <c:v>All Others</c:v>
                </c:pt>
                <c:pt idx="171">
                  <c:v>All Others</c:v>
                </c:pt>
                <c:pt idx="172">
                  <c:v>All Others</c:v>
                </c:pt>
                <c:pt idx="173">
                  <c:v>All Others</c:v>
                </c:pt>
                <c:pt idx="174">
                  <c:v>All Others</c:v>
                </c:pt>
                <c:pt idx="175">
                  <c:v>All Others</c:v>
                </c:pt>
                <c:pt idx="176">
                  <c:v>All Others</c:v>
                </c:pt>
                <c:pt idx="177">
                  <c:v>All Others</c:v>
                </c:pt>
                <c:pt idx="178">
                  <c:v>All Others</c:v>
                </c:pt>
                <c:pt idx="179">
                  <c:v>All Others</c:v>
                </c:pt>
                <c:pt idx="180">
                  <c:v>Lactalis: A</c:v>
                </c:pt>
                <c:pt idx="181">
                  <c:v>All Others</c:v>
                </c:pt>
                <c:pt idx="182">
                  <c:v>Galbani</c:v>
                </c:pt>
                <c:pt idx="183">
                  <c:v>All Others</c:v>
                </c:pt>
                <c:pt idx="184">
                  <c:v>All Others</c:v>
                </c:pt>
                <c:pt idx="185">
                  <c:v>All Others</c:v>
                </c:pt>
                <c:pt idx="186">
                  <c:v>All Others</c:v>
                </c:pt>
                <c:pt idx="187">
                  <c:v>All Others</c:v>
                </c:pt>
                <c:pt idx="188">
                  <c:v>All Others</c:v>
                </c:pt>
                <c:pt idx="189">
                  <c:v>All Others</c:v>
                </c:pt>
                <c:pt idx="190">
                  <c:v>Savencia: A</c:v>
                </c:pt>
                <c:pt idx="191">
                  <c:v>All Others</c:v>
                </c:pt>
                <c:pt idx="192">
                  <c:v>All Others</c:v>
                </c:pt>
                <c:pt idx="193">
                  <c:v>All Others</c:v>
                </c:pt>
                <c:pt idx="194">
                  <c:v>All Others</c:v>
                </c:pt>
                <c:pt idx="195">
                  <c:v>Salakis</c:v>
                </c:pt>
                <c:pt idx="196">
                  <c:v>All Others</c:v>
                </c:pt>
                <c:pt idx="197">
                  <c:v>Private Lab</c:v>
                </c:pt>
                <c:pt idx="198">
                  <c:v>All Others</c:v>
                </c:pt>
                <c:pt idx="199">
                  <c:v>Savencia: A</c:v>
                </c:pt>
                <c:pt idx="200">
                  <c:v>All Others</c:v>
                </c:pt>
                <c:pt idx="201">
                  <c:v>All Others</c:v>
                </c:pt>
                <c:pt idx="202">
                  <c:v>Islos</c:v>
                </c:pt>
                <c:pt idx="203">
                  <c:v>All Others</c:v>
                </c:pt>
                <c:pt idx="204">
                  <c:v>All Others</c:v>
                </c:pt>
                <c:pt idx="205">
                  <c:v>All Others</c:v>
                </c:pt>
                <c:pt idx="206">
                  <c:v>All Others</c:v>
                </c:pt>
                <c:pt idx="207">
                  <c:v>All Others</c:v>
                </c:pt>
                <c:pt idx="208">
                  <c:v>All Others</c:v>
                </c:pt>
                <c:pt idx="209">
                  <c:v>All Others</c:v>
                </c:pt>
                <c:pt idx="210">
                  <c:v>All Others</c:v>
                </c:pt>
                <c:pt idx="211">
                  <c:v>All Others</c:v>
                </c:pt>
                <c:pt idx="212">
                  <c:v>All Others</c:v>
                </c:pt>
                <c:pt idx="213">
                  <c:v>All Others</c:v>
                </c:pt>
                <c:pt idx="214">
                  <c:v>All Others</c:v>
                </c:pt>
                <c:pt idx="215">
                  <c:v>All Others</c:v>
                </c:pt>
                <c:pt idx="216">
                  <c:v>All Others</c:v>
                </c:pt>
                <c:pt idx="217">
                  <c:v>All Others</c:v>
                </c:pt>
                <c:pt idx="218">
                  <c:v>All Others</c:v>
                </c:pt>
                <c:pt idx="219">
                  <c:v>All Others</c:v>
                </c:pt>
                <c:pt idx="220">
                  <c:v>All Others</c:v>
                </c:pt>
                <c:pt idx="221">
                  <c:v>All Others</c:v>
                </c:pt>
                <c:pt idx="222">
                  <c:v>All Others</c:v>
                </c:pt>
                <c:pt idx="223">
                  <c:v>All Others</c:v>
                </c:pt>
                <c:pt idx="224">
                  <c:v>All Others</c:v>
                </c:pt>
                <c:pt idx="225">
                  <c:v>All Others</c:v>
                </c:pt>
                <c:pt idx="226">
                  <c:v>All Others</c:v>
                </c:pt>
                <c:pt idx="227">
                  <c:v>All Others</c:v>
                </c:pt>
                <c:pt idx="228">
                  <c:v>All Others</c:v>
                </c:pt>
                <c:pt idx="229">
                  <c:v>All Others</c:v>
                </c:pt>
                <c:pt idx="230">
                  <c:v>All Others</c:v>
                </c:pt>
                <c:pt idx="231">
                  <c:v>All Others</c:v>
                </c:pt>
                <c:pt idx="232">
                  <c:v>All Others</c:v>
                </c:pt>
                <c:pt idx="233">
                  <c:v>All Others</c:v>
                </c:pt>
                <c:pt idx="234">
                  <c:v>All Others</c:v>
                </c:pt>
                <c:pt idx="235">
                  <c:v>All Others</c:v>
                </c:pt>
                <c:pt idx="236">
                  <c:v>All Others</c:v>
                </c:pt>
                <c:pt idx="237">
                  <c:v>All Others</c:v>
                </c:pt>
                <c:pt idx="238">
                  <c:v>All Others</c:v>
                </c:pt>
                <c:pt idx="239">
                  <c:v>All Others</c:v>
                </c:pt>
                <c:pt idx="240">
                  <c:v>All Others</c:v>
                </c:pt>
                <c:pt idx="241">
                  <c:v>All Others</c:v>
                </c:pt>
                <c:pt idx="242">
                  <c:v>All Others</c:v>
                </c:pt>
                <c:pt idx="243">
                  <c:v>All Others</c:v>
                </c:pt>
                <c:pt idx="244">
                  <c:v>All Others</c:v>
                </c:pt>
                <c:pt idx="245">
                  <c:v>All Others</c:v>
                </c:pt>
                <c:pt idx="246">
                  <c:v>All Others</c:v>
                </c:pt>
                <c:pt idx="247">
                  <c:v>All Others</c:v>
                </c:pt>
                <c:pt idx="248">
                  <c:v>All Others</c:v>
                </c:pt>
                <c:pt idx="249">
                  <c:v>All Others</c:v>
                </c:pt>
                <c:pt idx="250">
                  <c:v>All Others</c:v>
                </c:pt>
                <c:pt idx="251">
                  <c:v>All Others</c:v>
                </c:pt>
                <c:pt idx="252">
                  <c:v>All Others</c:v>
                </c:pt>
                <c:pt idx="253">
                  <c:v>All Others</c:v>
                </c:pt>
                <c:pt idx="254">
                  <c:v>All Others</c:v>
                </c:pt>
                <c:pt idx="255">
                  <c:v>All Others</c:v>
                </c:pt>
                <c:pt idx="256">
                  <c:v>All Others</c:v>
                </c:pt>
                <c:pt idx="257">
                  <c:v>All Others</c:v>
                </c:pt>
                <c:pt idx="258">
                  <c:v>All Others</c:v>
                </c:pt>
                <c:pt idx="259">
                  <c:v>All Others</c:v>
                </c:pt>
                <c:pt idx="260">
                  <c:v>All Others</c:v>
                </c:pt>
                <c:pt idx="261">
                  <c:v>All Others</c:v>
                </c:pt>
                <c:pt idx="262">
                  <c:v>All Others</c:v>
                </c:pt>
                <c:pt idx="263">
                  <c:v>All Others</c:v>
                </c:pt>
                <c:pt idx="264">
                  <c:v>All Others</c:v>
                </c:pt>
                <c:pt idx="265">
                  <c:v>All Others</c:v>
                </c:pt>
                <c:pt idx="266">
                  <c:v>All Others</c:v>
                </c:pt>
                <c:pt idx="267">
                  <c:v>All Others</c:v>
                </c:pt>
                <c:pt idx="268">
                  <c:v>All Others</c:v>
                </c:pt>
                <c:pt idx="269">
                  <c:v>Private Lab</c:v>
                </c:pt>
                <c:pt idx="270">
                  <c:v>All Others</c:v>
                </c:pt>
                <c:pt idx="271">
                  <c:v>All Others</c:v>
                </c:pt>
                <c:pt idx="272">
                  <c:v>All Others</c:v>
                </c:pt>
                <c:pt idx="273">
                  <c:v>All Others</c:v>
                </c:pt>
                <c:pt idx="274">
                  <c:v>All Others</c:v>
                </c:pt>
                <c:pt idx="275">
                  <c:v>All Others</c:v>
                </c:pt>
                <c:pt idx="276">
                  <c:v>All Others</c:v>
                </c:pt>
                <c:pt idx="277">
                  <c:v>All Others</c:v>
                </c:pt>
                <c:pt idx="278">
                  <c:v>All Others</c:v>
                </c:pt>
                <c:pt idx="279">
                  <c:v>All Others</c:v>
                </c:pt>
                <c:pt idx="280">
                  <c:v>All Others</c:v>
                </c:pt>
                <c:pt idx="281">
                  <c:v>All Others</c:v>
                </c:pt>
                <c:pt idx="282">
                  <c:v>All Others</c:v>
                </c:pt>
                <c:pt idx="283">
                  <c:v>All Others</c:v>
                </c:pt>
                <c:pt idx="284">
                  <c:v>All Others</c:v>
                </c:pt>
                <c:pt idx="285">
                  <c:v>All Others</c:v>
                </c:pt>
                <c:pt idx="286">
                  <c:v>All Others</c:v>
                </c:pt>
                <c:pt idx="287">
                  <c:v>All Others</c:v>
                </c:pt>
                <c:pt idx="288">
                  <c:v>All Others</c:v>
                </c:pt>
                <c:pt idx="289">
                  <c:v>All Others</c:v>
                </c:pt>
                <c:pt idx="290">
                  <c:v>All Others</c:v>
                </c:pt>
                <c:pt idx="291">
                  <c:v>All Others</c:v>
                </c:pt>
                <c:pt idx="292">
                  <c:v>All Others</c:v>
                </c:pt>
                <c:pt idx="293">
                  <c:v>All Others</c:v>
                </c:pt>
                <c:pt idx="294">
                  <c:v>All Others</c:v>
                </c:pt>
                <c:pt idx="295">
                  <c:v>All Others</c:v>
                </c:pt>
                <c:pt idx="296">
                  <c:v>All Others</c:v>
                </c:pt>
                <c:pt idx="297">
                  <c:v>All Others</c:v>
                </c:pt>
                <c:pt idx="298">
                  <c:v>All Others</c:v>
                </c:pt>
                <c:pt idx="299">
                  <c:v>All Others</c:v>
                </c:pt>
                <c:pt idx="300">
                  <c:v>All Others</c:v>
                </c:pt>
                <c:pt idx="301">
                  <c:v>All Others</c:v>
                </c:pt>
                <c:pt idx="302">
                  <c:v>All Others</c:v>
                </c:pt>
                <c:pt idx="303">
                  <c:v>All Others</c:v>
                </c:pt>
                <c:pt idx="304">
                  <c:v>All Others</c:v>
                </c:pt>
                <c:pt idx="305">
                  <c:v>All Others</c:v>
                </c:pt>
                <c:pt idx="306">
                  <c:v>All Others</c:v>
                </c:pt>
                <c:pt idx="307">
                  <c:v>All Others</c:v>
                </c:pt>
                <c:pt idx="308">
                  <c:v>All Others</c:v>
                </c:pt>
                <c:pt idx="309">
                  <c:v>All Others</c:v>
                </c:pt>
                <c:pt idx="310">
                  <c:v>All Others</c:v>
                </c:pt>
                <c:pt idx="311">
                  <c:v>Galbani</c:v>
                </c:pt>
                <c:pt idx="312">
                  <c:v>All Others</c:v>
                </c:pt>
                <c:pt idx="313">
                  <c:v>All Others</c:v>
                </c:pt>
                <c:pt idx="314">
                  <c:v>All Others</c:v>
                </c:pt>
                <c:pt idx="315">
                  <c:v>All Others</c:v>
                </c:pt>
                <c:pt idx="316">
                  <c:v>All Others</c:v>
                </c:pt>
                <c:pt idx="317">
                  <c:v>All Others</c:v>
                </c:pt>
                <c:pt idx="318">
                  <c:v>All Others</c:v>
                </c:pt>
                <c:pt idx="319">
                  <c:v>All Others</c:v>
                </c:pt>
                <c:pt idx="320">
                  <c:v>All Others</c:v>
                </c:pt>
                <c:pt idx="321">
                  <c:v>Salakis</c:v>
                </c:pt>
                <c:pt idx="322">
                  <c:v>Societe</c:v>
                </c:pt>
                <c:pt idx="323">
                  <c:v>All Others</c:v>
                </c:pt>
                <c:pt idx="324">
                  <c:v>All Others</c:v>
                </c:pt>
                <c:pt idx="325">
                  <c:v>All Others</c:v>
                </c:pt>
                <c:pt idx="326">
                  <c:v>All Others</c:v>
                </c:pt>
                <c:pt idx="327">
                  <c:v>All Others</c:v>
                </c:pt>
                <c:pt idx="328">
                  <c:v>All Others</c:v>
                </c:pt>
                <c:pt idx="329">
                  <c:v>All Others</c:v>
                </c:pt>
                <c:pt idx="330">
                  <c:v>All Others</c:v>
                </c:pt>
                <c:pt idx="331">
                  <c:v>All Others</c:v>
                </c:pt>
                <c:pt idx="332">
                  <c:v>All Others</c:v>
                </c:pt>
                <c:pt idx="333">
                  <c:v>All Others</c:v>
                </c:pt>
                <c:pt idx="334">
                  <c:v>All Others</c:v>
                </c:pt>
                <c:pt idx="335">
                  <c:v>All Others</c:v>
                </c:pt>
                <c:pt idx="336">
                  <c:v>All Others</c:v>
                </c:pt>
                <c:pt idx="337">
                  <c:v>All Others</c:v>
                </c:pt>
                <c:pt idx="338">
                  <c:v>All Others</c:v>
                </c:pt>
                <c:pt idx="339">
                  <c:v>All Others</c:v>
                </c:pt>
                <c:pt idx="340">
                  <c:v>All Others</c:v>
                </c:pt>
              </c:strCache>
            </c:strRef>
          </c:cat>
          <c:val>
            <c:numRef>
              <c:f>Sheet1!$C$2:$C$342</c:f>
              <c:numCache>
                <c:formatCode>General</c:formatCode>
                <c:ptCount val="341"/>
                <c:pt idx="0">
                  <c:v>0.27532492288520405</c:v>
                </c:pt>
                <c:pt idx="1">
                  <c:v>0.32522544566331557</c:v>
                </c:pt>
                <c:pt idx="2">
                  <c:v>0.36313873928435408</c:v>
                </c:pt>
                <c:pt idx="3">
                  <c:v>0.3935224271666653</c:v>
                </c:pt>
                <c:pt idx="4">
                  <c:v>0.42317635692583777</c:v>
                </c:pt>
                <c:pt idx="5">
                  <c:v>0.45012768533185499</c:v>
                </c:pt>
                <c:pt idx="6">
                  <c:v>0.4940168445789474</c:v>
                </c:pt>
                <c:pt idx="7">
                  <c:v>0.51062817098897173</c:v>
                </c:pt>
                <c:pt idx="8">
                  <c:v>0.54232418396649995</c:v>
                </c:pt>
                <c:pt idx="9">
                  <c:v>0.57149565471258401</c:v>
                </c:pt>
                <c:pt idx="10">
                  <c:v>0.58543714465450114</c:v>
                </c:pt>
                <c:pt idx="11">
                  <c:v>0.59856328539637316</c:v>
                </c:pt>
                <c:pt idx="12">
                  <c:v>0.6115876668708542</c:v>
                </c:pt>
                <c:pt idx="13">
                  <c:v>0.63509496690291989</c:v>
                </c:pt>
                <c:pt idx="14">
                  <c:v>0.6457327949106425</c:v>
                </c:pt>
                <c:pt idx="15">
                  <c:v>0.65617504738601917</c:v>
                </c:pt>
                <c:pt idx="16">
                  <c:v>0.66659429650828861</c:v>
                </c:pt>
                <c:pt idx="17">
                  <c:v>0.6767961216158539</c:v>
                </c:pt>
                <c:pt idx="18">
                  <c:v>0.68648573280515301</c:v>
                </c:pt>
                <c:pt idx="19">
                  <c:v>0.69593552802880199</c:v>
                </c:pt>
                <c:pt idx="20">
                  <c:v>0.70512520559965375</c:v>
                </c:pt>
                <c:pt idx="21">
                  <c:v>0.72933515825904571</c:v>
                </c:pt>
                <c:pt idx="22">
                  <c:v>0.7369639417893723</c:v>
                </c:pt>
                <c:pt idx="23">
                  <c:v>0.74452246632775765</c:v>
                </c:pt>
                <c:pt idx="24">
                  <c:v>0.75189305002232254</c:v>
                </c:pt>
                <c:pt idx="25">
                  <c:v>0.75902769519058422</c:v>
                </c:pt>
                <c:pt idx="26">
                  <c:v>0.76541121973968218</c:v>
                </c:pt>
                <c:pt idx="27">
                  <c:v>0.77750935829392598</c:v>
                </c:pt>
                <c:pt idx="28">
                  <c:v>0.78344248847661091</c:v>
                </c:pt>
                <c:pt idx="29">
                  <c:v>0.78875118892898477</c:v>
                </c:pt>
                <c:pt idx="30">
                  <c:v>0.79395843842787794</c:v>
                </c:pt>
                <c:pt idx="31">
                  <c:v>0.79880656492913804</c:v>
                </c:pt>
                <c:pt idx="32">
                  <c:v>0.80811314050294447</c:v>
                </c:pt>
                <c:pt idx="33">
                  <c:v>0.8126899768914021</c:v>
                </c:pt>
                <c:pt idx="34">
                  <c:v>0.81714855137977638</c:v>
                </c:pt>
                <c:pt idx="35">
                  <c:v>0.82144806724437169</c:v>
                </c:pt>
                <c:pt idx="36">
                  <c:v>0.82571216358889432</c:v>
                </c:pt>
                <c:pt idx="37">
                  <c:v>0.829911352016801</c:v>
                </c:pt>
                <c:pt idx="38">
                  <c:v>0.83402316219225325</c:v>
                </c:pt>
                <c:pt idx="39">
                  <c:v>0.83808181173363949</c:v>
                </c:pt>
                <c:pt idx="40">
                  <c:v>0.84208136429177072</c:v>
                </c:pt>
                <c:pt idx="41">
                  <c:v>0.84583242106382672</c:v>
                </c:pt>
                <c:pt idx="42">
                  <c:v>0.84945992234272849</c:v>
                </c:pt>
                <c:pt idx="43">
                  <c:v>0.85301084680735684</c:v>
                </c:pt>
                <c:pt idx="44">
                  <c:v>0.85650740873623477</c:v>
                </c:pt>
                <c:pt idx="45">
                  <c:v>0.85989747695021712</c:v>
                </c:pt>
                <c:pt idx="46">
                  <c:v>0.86296898896124397</c:v>
                </c:pt>
                <c:pt idx="47">
                  <c:v>0.86587727227221301</c:v>
                </c:pt>
                <c:pt idx="48">
                  <c:v>0.86864750411058234</c:v>
                </c:pt>
                <c:pt idx="49">
                  <c:v>0.87127865502143098</c:v>
                </c:pt>
                <c:pt idx="50">
                  <c:v>0.87381236305963339</c:v>
                </c:pt>
                <c:pt idx="51">
                  <c:v>0.87632727440062408</c:v>
                </c:pt>
                <c:pt idx="52">
                  <c:v>0.87880934769733365</c:v>
                </c:pt>
                <c:pt idx="53">
                  <c:v>0.881188292603864</c:v>
                </c:pt>
                <c:pt idx="54">
                  <c:v>0.8835462303592152</c:v>
                </c:pt>
                <c:pt idx="55">
                  <c:v>0.88590062511742718</c:v>
                </c:pt>
                <c:pt idx="56">
                  <c:v>0.88825497284470378</c:v>
                </c:pt>
                <c:pt idx="57">
                  <c:v>0.89057395330850264</c:v>
                </c:pt>
                <c:pt idx="58">
                  <c:v>0.89273753311017068</c:v>
                </c:pt>
                <c:pt idx="59">
                  <c:v>0.89486464825986656</c:v>
                </c:pt>
                <c:pt idx="60">
                  <c:v>0.89695410208156534</c:v>
                </c:pt>
                <c:pt idx="61">
                  <c:v>0.89902495255545378</c:v>
                </c:pt>
                <c:pt idx="62">
                  <c:v>0.90107018684648643</c:v>
                </c:pt>
                <c:pt idx="63">
                  <c:v>0.90310895177106143</c:v>
                </c:pt>
                <c:pt idx="64">
                  <c:v>0.90505217596304721</c:v>
                </c:pt>
                <c:pt idx="65">
                  <c:v>0.90692640577269013</c:v>
                </c:pt>
                <c:pt idx="66">
                  <c:v>0.90878572155012771</c:v>
                </c:pt>
                <c:pt idx="67">
                  <c:v>0.91062867056201979</c:v>
                </c:pt>
                <c:pt idx="68">
                  <c:v>0.91246876636382634</c:v>
                </c:pt>
                <c:pt idx="69">
                  <c:v>0.91427197946090089</c:v>
                </c:pt>
                <c:pt idx="70">
                  <c:v>0.91603908847650861</c:v>
                </c:pt>
                <c:pt idx="71">
                  <c:v>0.91780415948491234</c:v>
                </c:pt>
                <c:pt idx="72">
                  <c:v>0.91949902375796988</c:v>
                </c:pt>
                <c:pt idx="73">
                  <c:v>0.92112451740120072</c:v>
                </c:pt>
                <c:pt idx="74">
                  <c:v>0.92272565424551467</c:v>
                </c:pt>
                <c:pt idx="75">
                  <c:v>0.92432320628741338</c:v>
                </c:pt>
                <c:pt idx="76">
                  <c:v>0.92591254881824192</c:v>
                </c:pt>
                <c:pt idx="77">
                  <c:v>0.92737763039188403</c:v>
                </c:pt>
                <c:pt idx="78">
                  <c:v>0.928819844479566</c:v>
                </c:pt>
                <c:pt idx="79">
                  <c:v>0.93024489750145878</c:v>
                </c:pt>
                <c:pt idx="80">
                  <c:v>0.93163128586873101</c:v>
                </c:pt>
                <c:pt idx="81">
                  <c:v>0.93298306991881219</c:v>
                </c:pt>
                <c:pt idx="82">
                  <c:v>0.93429190427348496</c:v>
                </c:pt>
                <c:pt idx="83">
                  <c:v>0.93559679325523726</c:v>
                </c:pt>
                <c:pt idx="84">
                  <c:v>0.93686449121834725</c:v>
                </c:pt>
                <c:pt idx="85">
                  <c:v>0.93811537300919501</c:v>
                </c:pt>
                <c:pt idx="86">
                  <c:v>0.93935871939904758</c:v>
                </c:pt>
                <c:pt idx="87">
                  <c:v>0.94057447953241391</c:v>
                </c:pt>
                <c:pt idx="88">
                  <c:v>0.94178246911010777</c:v>
                </c:pt>
                <c:pt idx="89">
                  <c:v>0.9441684059490455</c:v>
                </c:pt>
                <c:pt idx="90">
                  <c:v>0.94531630044252035</c:v>
                </c:pt>
                <c:pt idx="91">
                  <c:v>0.94644946380187234</c:v>
                </c:pt>
                <c:pt idx="92">
                  <c:v>0.94869214441135108</c:v>
                </c:pt>
                <c:pt idx="93">
                  <c:v>0.9498068089360826</c:v>
                </c:pt>
                <c:pt idx="94">
                  <c:v>0.9509100188151961</c:v>
                </c:pt>
                <c:pt idx="95">
                  <c:v>0.95201177596096931</c:v>
                </c:pt>
                <c:pt idx="96">
                  <c:v>0.95311223714318716</c:v>
                </c:pt>
                <c:pt idx="97">
                  <c:v>0.95417777524298453</c:v>
                </c:pt>
                <c:pt idx="98">
                  <c:v>0.95524127533557801</c:v>
                </c:pt>
                <c:pt idx="99">
                  <c:v>0.95623231643358186</c:v>
                </c:pt>
                <c:pt idx="100">
                  <c:v>0.95718160973786182</c:v>
                </c:pt>
                <c:pt idx="101">
                  <c:v>0.95810599754897763</c:v>
                </c:pt>
                <c:pt idx="102">
                  <c:v>0.95901564377465154</c:v>
                </c:pt>
                <c:pt idx="103">
                  <c:v>0.95992080638447674</c:v>
                </c:pt>
                <c:pt idx="104">
                  <c:v>0.96081638513478385</c:v>
                </c:pt>
                <c:pt idx="105">
                  <c:v>0.96169380994399734</c:v>
                </c:pt>
                <c:pt idx="106">
                  <c:v>0.96254235775882879</c:v>
                </c:pt>
                <c:pt idx="107">
                  <c:v>0.96338761863383637</c:v>
                </c:pt>
                <c:pt idx="108">
                  <c:v>0.96422564197044025</c:v>
                </c:pt>
                <c:pt idx="109">
                  <c:v>0.96505436885879836</c:v>
                </c:pt>
                <c:pt idx="110">
                  <c:v>0.96586279406000952</c:v>
                </c:pt>
                <c:pt idx="111">
                  <c:v>0.96665263681604829</c:v>
                </c:pt>
                <c:pt idx="112">
                  <c:v>0.96743908289341374</c:v>
                </c:pt>
                <c:pt idx="113">
                  <c:v>0.96890093500948649</c:v>
                </c:pt>
                <c:pt idx="114">
                  <c:v>0.96961904513760577</c:v>
                </c:pt>
                <c:pt idx="115">
                  <c:v>0.97033711868610861</c:v>
                </c:pt>
                <c:pt idx="116">
                  <c:v>0.97101290619795921</c:v>
                </c:pt>
                <c:pt idx="117">
                  <c:v>0.97166429510561692</c:v>
                </c:pt>
                <c:pt idx="118">
                  <c:v>0.97230855621372037</c:v>
                </c:pt>
                <c:pt idx="119">
                  <c:v>0.97294163963615898</c:v>
                </c:pt>
                <c:pt idx="120">
                  <c:v>0.97357045369478834</c:v>
                </c:pt>
                <c:pt idx="121">
                  <c:v>0.97419851525845014</c:v>
                </c:pt>
                <c:pt idx="122">
                  <c:v>0.97481722811727123</c:v>
                </c:pt>
                <c:pt idx="123">
                  <c:v>0.97542634143959572</c:v>
                </c:pt>
                <c:pt idx="124">
                  <c:v>0.97603307708684894</c:v>
                </c:pt>
                <c:pt idx="125">
                  <c:v>0.97661135379247987</c:v>
                </c:pt>
                <c:pt idx="126">
                  <c:v>0.97710236198450584</c:v>
                </c:pt>
                <c:pt idx="127">
                  <c:v>0.97758610128417112</c:v>
                </c:pt>
                <c:pt idx="128">
                  <c:v>0.9780664543564821</c:v>
                </c:pt>
                <c:pt idx="129">
                  <c:v>0.97854639982735236</c:v>
                </c:pt>
                <c:pt idx="130">
                  <c:v>0.97901864790178306</c:v>
                </c:pt>
                <c:pt idx="131">
                  <c:v>0.97948063800662055</c:v>
                </c:pt>
                <c:pt idx="132">
                  <c:v>0.97992854495911286</c:v>
                </c:pt>
                <c:pt idx="133">
                  <c:v>0.98036173645446067</c:v>
                </c:pt>
                <c:pt idx="134">
                  <c:v>0.98077913600680766</c:v>
                </c:pt>
                <c:pt idx="135">
                  <c:v>0.98119619589128737</c:v>
                </c:pt>
                <c:pt idx="136">
                  <c:v>0.98161182917072431</c:v>
                </c:pt>
                <c:pt idx="137">
                  <c:v>0.98202360591345228</c:v>
                </c:pt>
                <c:pt idx="138">
                  <c:v>0.98241404106279318</c:v>
                </c:pt>
                <c:pt idx="139">
                  <c:v>0.98279543059554431</c:v>
                </c:pt>
                <c:pt idx="140">
                  <c:v>0.98314066379023357</c:v>
                </c:pt>
                <c:pt idx="141">
                  <c:v>0.98348254211152553</c:v>
                </c:pt>
                <c:pt idx="142">
                  <c:v>0.98381052017855475</c:v>
                </c:pt>
                <c:pt idx="143">
                  <c:v>0.98413280227673183</c:v>
                </c:pt>
                <c:pt idx="144">
                  <c:v>0.98444981168447621</c:v>
                </c:pt>
                <c:pt idx="145">
                  <c:v>0.98476014792504252</c:v>
                </c:pt>
                <c:pt idx="146">
                  <c:v>0.9850697996042147</c:v>
                </c:pt>
                <c:pt idx="147">
                  <c:v>0.98537572538816531</c:v>
                </c:pt>
                <c:pt idx="148">
                  <c:v>0.9856774340649016</c:v>
                </c:pt>
                <c:pt idx="149">
                  <c:v>0.98596869664830278</c:v>
                </c:pt>
                <c:pt idx="150">
                  <c:v>0.9862566252609446</c:v>
                </c:pt>
                <c:pt idx="151">
                  <c:v>0.98654324745871214</c:v>
                </c:pt>
                <c:pt idx="152">
                  <c:v>0.98681906299263922</c:v>
                </c:pt>
                <c:pt idx="153">
                  <c:v>0.98707950463632521</c:v>
                </c:pt>
                <c:pt idx="154">
                  <c:v>0.98733130826486226</c:v>
                </c:pt>
                <c:pt idx="155">
                  <c:v>0.98757529953245082</c:v>
                </c:pt>
                <c:pt idx="156">
                  <c:v>0.98781859578732623</c:v>
                </c:pt>
                <c:pt idx="157">
                  <c:v>0.98805873051820581</c:v>
                </c:pt>
                <c:pt idx="158">
                  <c:v>0.98829718781238673</c:v>
                </c:pt>
                <c:pt idx="159">
                  <c:v>0.98853180947249664</c:v>
                </c:pt>
                <c:pt idx="160">
                  <c:v>0.98876566296066037</c:v>
                </c:pt>
                <c:pt idx="161">
                  <c:v>0.98899811597207887</c:v>
                </c:pt>
                <c:pt idx="162">
                  <c:v>0.98923054808085942</c:v>
                </c:pt>
                <c:pt idx="163">
                  <c:v>0.98945550749655875</c:v>
                </c:pt>
                <c:pt idx="164">
                  <c:v>0.98967703887962788</c:v>
                </c:pt>
                <c:pt idx="165">
                  <c:v>0.98988971799550862</c:v>
                </c:pt>
                <c:pt idx="166">
                  <c:v>0.99010063083847921</c:v>
                </c:pt>
                <c:pt idx="167">
                  <c:v>0.99031073892988719</c:v>
                </c:pt>
                <c:pt idx="168">
                  <c:v>0.99051912255366115</c:v>
                </c:pt>
                <c:pt idx="169">
                  <c:v>0.99072543681627412</c:v>
                </c:pt>
                <c:pt idx="170">
                  <c:v>0.99091908408026563</c:v>
                </c:pt>
                <c:pt idx="171">
                  <c:v>0.99110361256843438</c:v>
                </c:pt>
                <c:pt idx="172">
                  <c:v>0.99128678761079336</c:v>
                </c:pt>
                <c:pt idx="173">
                  <c:v>0.99146975885243194</c:v>
                </c:pt>
                <c:pt idx="174">
                  <c:v>0.99165179992667996</c:v>
                </c:pt>
                <c:pt idx="175">
                  <c:v>0.99183380964697099</c:v>
                </c:pt>
                <c:pt idx="176">
                  <c:v>0.9920133894355958</c:v>
                </c:pt>
                <c:pt idx="177">
                  <c:v>0.99218752931268395</c:v>
                </c:pt>
                <c:pt idx="178">
                  <c:v>0.99236068154012702</c:v>
                </c:pt>
                <c:pt idx="179">
                  <c:v>0.99253161286228375</c:v>
                </c:pt>
                <c:pt idx="180">
                  <c:v>0.9927000358678818</c:v>
                </c:pt>
                <c:pt idx="181">
                  <c:v>0.99285998807943476</c:v>
                </c:pt>
                <c:pt idx="182">
                  <c:v>0.99301608375427863</c:v>
                </c:pt>
                <c:pt idx="183">
                  <c:v>0.99317095662480015</c:v>
                </c:pt>
                <c:pt idx="184">
                  <c:v>0.99332191025069871</c:v>
                </c:pt>
                <c:pt idx="185">
                  <c:v>0.99346974415787737</c:v>
                </c:pt>
                <c:pt idx="186">
                  <c:v>0.99360960893432271</c:v>
                </c:pt>
                <c:pt idx="187">
                  <c:v>0.99374377251625645</c:v>
                </c:pt>
                <c:pt idx="188">
                  <c:v>0.99387769049219377</c:v>
                </c:pt>
                <c:pt idx="189">
                  <c:v>0.99400997806236802</c:v>
                </c:pt>
                <c:pt idx="190">
                  <c:v>0.99414210886275733</c:v>
                </c:pt>
                <c:pt idx="191">
                  <c:v>0.99427212849670976</c:v>
                </c:pt>
                <c:pt idx="192">
                  <c:v>0.99440170394960492</c:v>
                </c:pt>
                <c:pt idx="193">
                  <c:v>0.99452826419697005</c:v>
                </c:pt>
                <c:pt idx="194">
                  <c:v>0.99465407717502707</c:v>
                </c:pt>
                <c:pt idx="195">
                  <c:v>0.9947796706753852</c:v>
                </c:pt>
                <c:pt idx="196">
                  <c:v>0.99490508127766097</c:v>
                </c:pt>
                <c:pt idx="197">
                  <c:v>0.995028960761704</c:v>
                </c:pt>
                <c:pt idx="198">
                  <c:v>0.99515083881815958</c:v>
                </c:pt>
                <c:pt idx="199">
                  <c:v>0.99527216295470844</c:v>
                </c:pt>
                <c:pt idx="200">
                  <c:v>0.99539267711403523</c:v>
                </c:pt>
                <c:pt idx="201">
                  <c:v>0.99550890100691469</c:v>
                </c:pt>
                <c:pt idx="202">
                  <c:v>0.9956209286952179</c:v>
                </c:pt>
                <c:pt idx="203">
                  <c:v>0.9957308034118082</c:v>
                </c:pt>
                <c:pt idx="204">
                  <c:v>0.99583932990824819</c:v>
                </c:pt>
                <c:pt idx="205">
                  <c:v>0.99594719797159148</c:v>
                </c:pt>
                <c:pt idx="206">
                  <c:v>0.99603902848593762</c:v>
                </c:pt>
                <c:pt idx="207">
                  <c:v>0.99612933833337003</c:v>
                </c:pt>
                <c:pt idx="208">
                  <c:v>0.99621911516353367</c:v>
                </c:pt>
                <c:pt idx="209">
                  <c:v>0.99630872999825293</c:v>
                </c:pt>
                <c:pt idx="210">
                  <c:v>0.99639576858283996</c:v>
                </c:pt>
                <c:pt idx="211">
                  <c:v>0.99647915443143842</c:v>
                </c:pt>
                <c:pt idx="212">
                  <c:v>0.99655821343397311</c:v>
                </c:pt>
                <c:pt idx="213">
                  <c:v>0.99663283062593511</c:v>
                </c:pt>
                <c:pt idx="214">
                  <c:v>0.99670734853036669</c:v>
                </c:pt>
                <c:pt idx="215">
                  <c:v>0.9967773619163115</c:v>
                </c:pt>
                <c:pt idx="216">
                  <c:v>0.99684530594109544</c:v>
                </c:pt>
                <c:pt idx="217">
                  <c:v>0.99691104996323099</c:v>
                </c:pt>
                <c:pt idx="218">
                  <c:v>0.99697609897265338</c:v>
                </c:pt>
                <c:pt idx="219">
                  <c:v>0.997038754630026</c:v>
                </c:pt>
                <c:pt idx="220">
                  <c:v>0.99709311194011696</c:v>
                </c:pt>
                <c:pt idx="221">
                  <c:v>0.99714741699361298</c:v>
                </c:pt>
                <c:pt idx="222">
                  <c:v>0.99720111064494776</c:v>
                </c:pt>
                <c:pt idx="223">
                  <c:v>0.99725398386774144</c:v>
                </c:pt>
                <c:pt idx="224">
                  <c:v>0.99730647561739183</c:v>
                </c:pt>
                <c:pt idx="225">
                  <c:v>0.99735867995576988</c:v>
                </c:pt>
                <c:pt idx="226">
                  <c:v>0.99741012134786133</c:v>
                </c:pt>
                <c:pt idx="227">
                  <c:v>0.99746097224042962</c:v>
                </c:pt>
                <c:pt idx="228">
                  <c:v>0.99751030769174365</c:v>
                </c:pt>
                <c:pt idx="229">
                  <c:v>0.9975589220020471</c:v>
                </c:pt>
                <c:pt idx="230">
                  <c:v>0.99760751018405303</c:v>
                </c:pt>
                <c:pt idx="231">
                  <c:v>0.99770329652263856</c:v>
                </c:pt>
                <c:pt idx="232">
                  <c:v>0.9977460215146885</c:v>
                </c:pt>
                <c:pt idx="233">
                  <c:v>0.99778758641033005</c:v>
                </c:pt>
                <c:pt idx="234">
                  <c:v>0.99782799643522269</c:v>
                </c:pt>
                <c:pt idx="235">
                  <c:v>0.99786738745651338</c:v>
                </c:pt>
                <c:pt idx="236">
                  <c:v>0.99790642835861776</c:v>
                </c:pt>
                <c:pt idx="237">
                  <c:v>0.99794466450915953</c:v>
                </c:pt>
                <c:pt idx="238">
                  <c:v>0.99797968687911043</c:v>
                </c:pt>
                <c:pt idx="239">
                  <c:v>0.99801316767950965</c:v>
                </c:pt>
                <c:pt idx="240">
                  <c:v>0.99804664325424941</c:v>
                </c:pt>
                <c:pt idx="241">
                  <c:v>0.99811162433009837</c:v>
                </c:pt>
                <c:pt idx="242">
                  <c:v>0.99814386664919674</c:v>
                </c:pt>
                <c:pt idx="243">
                  <c:v>0.99817600445510513</c:v>
                </c:pt>
                <c:pt idx="244">
                  <c:v>0.9982080116195261</c:v>
                </c:pt>
                <c:pt idx="245">
                  <c:v>0.99826881739343676</c:v>
                </c:pt>
                <c:pt idx="246">
                  <c:v>0.99829845210844592</c:v>
                </c:pt>
                <c:pt idx="247">
                  <c:v>0.99832680131121876</c:v>
                </c:pt>
                <c:pt idx="248">
                  <c:v>0.99835505645212064</c:v>
                </c:pt>
                <c:pt idx="249">
                  <c:v>0.9983828308323488</c:v>
                </c:pt>
                <c:pt idx="250">
                  <c:v>0.99841041186317558</c:v>
                </c:pt>
                <c:pt idx="251">
                  <c:v>0.99843748600503113</c:v>
                </c:pt>
                <c:pt idx="252">
                  <c:v>0.99846422570467885</c:v>
                </c:pt>
                <c:pt idx="253">
                  <c:v>0.99851606947255167</c:v>
                </c:pt>
                <c:pt idx="254">
                  <c:v>0.99854092793478033</c:v>
                </c:pt>
                <c:pt idx="255">
                  <c:v>0.99856570801211653</c:v>
                </c:pt>
                <c:pt idx="256">
                  <c:v>0.99858969378920914</c:v>
                </c:pt>
                <c:pt idx="257">
                  <c:v>0.99861202303224117</c:v>
                </c:pt>
                <c:pt idx="258">
                  <c:v>0.99863422163378568</c:v>
                </c:pt>
                <c:pt idx="259">
                  <c:v>0.99867812239922249</c:v>
                </c:pt>
                <c:pt idx="260">
                  <c:v>0.99869984024009328</c:v>
                </c:pt>
                <c:pt idx="261">
                  <c:v>0.99874296760792447</c:v>
                </c:pt>
                <c:pt idx="262">
                  <c:v>0.99876440326318239</c:v>
                </c:pt>
                <c:pt idx="263">
                  <c:v>0.99878573963090989</c:v>
                </c:pt>
                <c:pt idx="264">
                  <c:v>0.99880618241086339</c:v>
                </c:pt>
                <c:pt idx="265">
                  <c:v>0.99882585179321126</c:v>
                </c:pt>
                <c:pt idx="266">
                  <c:v>0.99884475300361297</c:v>
                </c:pt>
                <c:pt idx="267">
                  <c:v>0.99886345563895385</c:v>
                </c:pt>
                <c:pt idx="268">
                  <c:v>0.99888206421242376</c:v>
                </c:pt>
                <c:pt idx="269">
                  <c:v>0.99890050556478971</c:v>
                </c:pt>
                <c:pt idx="270">
                  <c:v>0.99891888943490126</c:v>
                </c:pt>
                <c:pt idx="271">
                  <c:v>0.99893726285369377</c:v>
                </c:pt>
                <c:pt idx="272">
                  <c:v>0.99895508757823903</c:v>
                </c:pt>
                <c:pt idx="273">
                  <c:v>0.99898984866521512</c:v>
                </c:pt>
                <c:pt idx="274">
                  <c:v>0.99902375796969312</c:v>
                </c:pt>
                <c:pt idx="275">
                  <c:v>0.99904045917744644</c:v>
                </c:pt>
                <c:pt idx="276">
                  <c:v>0.99905687297392742</c:v>
                </c:pt>
                <c:pt idx="277">
                  <c:v>0.99908914664698278</c:v>
                </c:pt>
                <c:pt idx="278">
                  <c:v>0.99912017661307784</c:v>
                </c:pt>
                <c:pt idx="279">
                  <c:v>0.9991355975342544</c:v>
                </c:pt>
                <c:pt idx="280">
                  <c:v>0.99915085123432701</c:v>
                </c:pt>
                <c:pt idx="281">
                  <c:v>0.99916601087252865</c:v>
                </c:pt>
                <c:pt idx="282">
                  <c:v>0.9991955463000074</c:v>
                </c:pt>
                <c:pt idx="283">
                  <c:v>0.99921014679264286</c:v>
                </c:pt>
                <c:pt idx="284">
                  <c:v>0.99922432923251858</c:v>
                </c:pt>
                <c:pt idx="285">
                  <c:v>0.99923831832299281</c:v>
                </c:pt>
                <c:pt idx="286">
                  <c:v>0.99926606134926399</c:v>
                </c:pt>
                <c:pt idx="287">
                  <c:v>0.9992794965198315</c:v>
                </c:pt>
                <c:pt idx="288">
                  <c:v>0.99929260769951023</c:v>
                </c:pt>
                <c:pt idx="289">
                  <c:v>0.99931831271857752</c:v>
                </c:pt>
                <c:pt idx="290">
                  <c:v>0.99933107377906993</c:v>
                </c:pt>
                <c:pt idx="291">
                  <c:v>0.99936869330179101</c:v>
                </c:pt>
                <c:pt idx="292">
                  <c:v>0.99938090566803617</c:v>
                </c:pt>
                <c:pt idx="293">
                  <c:v>0.99939305532636735</c:v>
                </c:pt>
                <c:pt idx="294">
                  <c:v>0.99942776938240796</c:v>
                </c:pt>
                <c:pt idx="295">
                  <c:v>0.99944960741344713</c:v>
                </c:pt>
                <c:pt idx="296">
                  <c:v>0.99946025730750265</c:v>
                </c:pt>
                <c:pt idx="297">
                  <c:v>0.99947071907781626</c:v>
                </c:pt>
                <c:pt idx="298">
                  <c:v>0.99948118084812987</c:v>
                </c:pt>
                <c:pt idx="299">
                  <c:v>0.99951858089315204</c:v>
                </c:pt>
                <c:pt idx="300">
                  <c:v>0.99953571583064371</c:v>
                </c:pt>
                <c:pt idx="301">
                  <c:v>0.99955257380818197</c:v>
                </c:pt>
                <c:pt idx="302">
                  <c:v>0.99959254487767679</c:v>
                </c:pt>
                <c:pt idx="303">
                  <c:v>0.99959999144246048</c:v>
                </c:pt>
                <c:pt idx="304">
                  <c:v>0.99960706175976033</c:v>
                </c:pt>
                <c:pt idx="305">
                  <c:v>0.99963465846756561</c:v>
                </c:pt>
                <c:pt idx="306">
                  <c:v>0.99964786370911529</c:v>
                </c:pt>
                <c:pt idx="307">
                  <c:v>0.99965435920387047</c:v>
                </c:pt>
                <c:pt idx="308">
                  <c:v>0.99966078153939264</c:v>
                </c:pt>
                <c:pt idx="309">
                  <c:v>0.99967339628141916</c:v>
                </c:pt>
                <c:pt idx="310">
                  <c:v>0.99971639823342251</c:v>
                </c:pt>
                <c:pt idx="311">
                  <c:v>0.99972225097205947</c:v>
                </c:pt>
                <c:pt idx="312">
                  <c:v>0.99976364342093771</c:v>
                </c:pt>
                <c:pt idx="313">
                  <c:v>0.99977759070613603</c:v>
                </c:pt>
                <c:pt idx="314">
                  <c:v>0.99978213180423914</c:v>
                </c:pt>
                <c:pt idx="315">
                  <c:v>0.99979071233713379</c:v>
                </c:pt>
                <c:pt idx="316">
                  <c:v>0.99979872849880269</c:v>
                </c:pt>
                <c:pt idx="317">
                  <c:v>0.99982440738957257</c:v>
                </c:pt>
                <c:pt idx="318">
                  <c:v>0.99982785632484084</c:v>
                </c:pt>
                <c:pt idx="319">
                  <c:v>0.99983472284142028</c:v>
                </c:pt>
                <c:pt idx="320">
                  <c:v>0.99984136988030081</c:v>
                </c:pt>
                <c:pt idx="321">
                  <c:v>0.99985641977965301</c:v>
                </c:pt>
                <c:pt idx="322">
                  <c:v>0.99985924686144101</c:v>
                </c:pt>
                <c:pt idx="323">
                  <c:v>0.99986999081736738</c:v>
                </c:pt>
                <c:pt idx="324">
                  <c:v>0.99990154334941217</c:v>
                </c:pt>
                <c:pt idx="325">
                  <c:v>0.99991475904228089</c:v>
                </c:pt>
                <c:pt idx="326">
                  <c:v>0.99992005786101101</c:v>
                </c:pt>
                <c:pt idx="327">
                  <c:v>0.99992177710298558</c:v>
                </c:pt>
                <c:pt idx="328">
                  <c:v>0.99992348066798165</c:v>
                </c:pt>
                <c:pt idx="329">
                  <c:v>0.99993778852368542</c:v>
                </c:pt>
                <c:pt idx="330">
                  <c:v>0.99994082463185341</c:v>
                </c:pt>
                <c:pt idx="331">
                  <c:v>0.9999481980374042</c:v>
                </c:pt>
                <c:pt idx="332">
                  <c:v>0.99995234198538563</c:v>
                </c:pt>
                <c:pt idx="333">
                  <c:v>0.9999559058851627</c:v>
                </c:pt>
                <c:pt idx="334">
                  <c:v>0.99996081277943072</c:v>
                </c:pt>
                <c:pt idx="335">
                  <c:v>0.99997424272433877</c:v>
                </c:pt>
                <c:pt idx="336">
                  <c:v>0.99997640092171114</c:v>
                </c:pt>
                <c:pt idx="337">
                  <c:v>0.99998840426157631</c:v>
                </c:pt>
                <c:pt idx="338">
                  <c:v>0.99998882231433606</c:v>
                </c:pt>
                <c:pt idx="339">
                  <c:v>0.99999713111293653</c:v>
                </c:pt>
                <c:pt idx="340">
                  <c:v>0.9999984479791298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79</c:f>
              <c:strCache>
                <c:ptCount val="178"/>
                <c:pt idx="0">
                  <c:v>Private Lab</c:v>
                </c:pt>
                <c:pt idx="1">
                  <c:v>Private Lab</c:v>
                </c:pt>
                <c:pt idx="2">
                  <c:v>Private Lab</c:v>
                </c:pt>
                <c:pt idx="3">
                  <c:v>Private Lab</c:v>
                </c:pt>
                <c:pt idx="4">
                  <c:v>Private Lab</c:v>
                </c:pt>
                <c:pt idx="5">
                  <c:v>Galbani</c:v>
                </c:pt>
                <c:pt idx="6">
                  <c:v>Salakis</c:v>
                </c:pt>
                <c:pt idx="7">
                  <c:v>Private Lab</c:v>
                </c:pt>
                <c:pt idx="8">
                  <c:v>Galbani</c:v>
                </c:pt>
                <c:pt idx="9">
                  <c:v>Private Lab</c:v>
                </c:pt>
                <c:pt idx="10">
                  <c:v>Galbani</c:v>
                </c:pt>
                <c:pt idx="11">
                  <c:v>Private Lab</c:v>
                </c:pt>
                <c:pt idx="12">
                  <c:v>Private Lab</c:v>
                </c:pt>
                <c:pt idx="13">
                  <c:v>Galbani</c:v>
                </c:pt>
                <c:pt idx="14">
                  <c:v>Galbani</c:v>
                </c:pt>
                <c:pt idx="15">
                  <c:v>Private Lab</c:v>
                </c:pt>
                <c:pt idx="16">
                  <c:v>Private Lab</c:v>
                </c:pt>
                <c:pt idx="17">
                  <c:v>Islos</c:v>
                </c:pt>
                <c:pt idx="18">
                  <c:v>Salakis</c:v>
                </c:pt>
                <c:pt idx="19">
                  <c:v>Galbani</c:v>
                </c:pt>
                <c:pt idx="20">
                  <c:v>All Others</c:v>
                </c:pt>
                <c:pt idx="21">
                  <c:v>Private Lab</c:v>
                </c:pt>
                <c:pt idx="22">
                  <c:v>Casa Azzurr</c:v>
                </c:pt>
                <c:pt idx="23">
                  <c:v>Casa Azzurr</c:v>
                </c:pt>
                <c:pt idx="24">
                  <c:v>Salakis</c:v>
                </c:pt>
                <c:pt idx="25">
                  <c:v>Private Lab</c:v>
                </c:pt>
                <c:pt idx="26">
                  <c:v>Boursin</c:v>
                </c:pt>
                <c:pt idx="27">
                  <c:v>Private Lab</c:v>
                </c:pt>
                <c:pt idx="28">
                  <c:v>Galbani</c:v>
                </c:pt>
                <c:pt idx="29">
                  <c:v>Les Mousque</c:v>
                </c:pt>
                <c:pt idx="30">
                  <c:v>Private Lab</c:v>
                </c:pt>
                <c:pt idx="31">
                  <c:v>Casa Azzurr</c:v>
                </c:pt>
                <c:pt idx="32">
                  <c:v>Casa Azzurr</c:v>
                </c:pt>
                <c:pt idx="33">
                  <c:v>Salakis</c:v>
                </c:pt>
                <c:pt idx="34">
                  <c:v>Casa Azzurr</c:v>
                </c:pt>
                <c:pt idx="35">
                  <c:v>Galbani</c:v>
                </c:pt>
                <c:pt idx="36">
                  <c:v>Private Lab</c:v>
                </c:pt>
                <c:pt idx="37">
                  <c:v>Private Lab</c:v>
                </c:pt>
                <c:pt idx="38">
                  <c:v>Private Lab</c:v>
                </c:pt>
                <c:pt idx="39">
                  <c:v>Casa Azzurr</c:v>
                </c:pt>
                <c:pt idx="40">
                  <c:v>Salakis</c:v>
                </c:pt>
                <c:pt idx="41">
                  <c:v>Private Lab</c:v>
                </c:pt>
                <c:pt idx="42">
                  <c:v>Galbani</c:v>
                </c:pt>
                <c:pt idx="43">
                  <c:v>Salakis</c:v>
                </c:pt>
                <c:pt idx="44">
                  <c:v>Casa Azzurr</c:v>
                </c:pt>
                <c:pt idx="45">
                  <c:v>Private Lab</c:v>
                </c:pt>
                <c:pt idx="46">
                  <c:v>Galbani</c:v>
                </c:pt>
                <c:pt idx="47">
                  <c:v>All Others</c:v>
                </c:pt>
                <c:pt idx="48">
                  <c:v>Casa Azzurr</c:v>
                </c:pt>
                <c:pt idx="49">
                  <c:v>Casa Azzurr</c:v>
                </c:pt>
                <c:pt idx="50">
                  <c:v>Islos</c:v>
                </c:pt>
                <c:pt idx="51">
                  <c:v>Boursin</c:v>
                </c:pt>
                <c:pt idx="52">
                  <c:v>All Others</c:v>
                </c:pt>
                <c:pt idx="53">
                  <c:v>Galbani</c:v>
                </c:pt>
                <c:pt idx="54">
                  <c:v>Lactalis: A</c:v>
                </c:pt>
                <c:pt idx="55">
                  <c:v>Salakis</c:v>
                </c:pt>
                <c:pt idx="56">
                  <c:v>All Others</c:v>
                </c:pt>
                <c:pt idx="57">
                  <c:v>Galbani</c:v>
                </c:pt>
                <c:pt idx="58">
                  <c:v>All Others</c:v>
                </c:pt>
                <c:pt idx="59">
                  <c:v>Galbani</c:v>
                </c:pt>
                <c:pt idx="60">
                  <c:v>Boursin</c:v>
                </c:pt>
                <c:pt idx="61">
                  <c:v>Islos</c:v>
                </c:pt>
                <c:pt idx="62">
                  <c:v>All Others</c:v>
                </c:pt>
                <c:pt idx="63">
                  <c:v>Galbani</c:v>
                </c:pt>
                <c:pt idx="64">
                  <c:v>All Others</c:v>
                </c:pt>
                <c:pt idx="65">
                  <c:v>Boursin</c:v>
                </c:pt>
                <c:pt idx="66">
                  <c:v>All Others</c:v>
                </c:pt>
                <c:pt idx="67">
                  <c:v>All Others</c:v>
                </c:pt>
                <c:pt idx="68">
                  <c:v>All Others</c:v>
                </c:pt>
                <c:pt idx="69">
                  <c:v>All Others</c:v>
                </c:pt>
                <c:pt idx="70">
                  <c:v>All Others</c:v>
                </c:pt>
                <c:pt idx="71">
                  <c:v>Boursin</c:v>
                </c:pt>
                <c:pt idx="72">
                  <c:v>Les Mousque</c:v>
                </c:pt>
                <c:pt idx="73">
                  <c:v>All Others</c:v>
                </c:pt>
                <c:pt idx="74">
                  <c:v>All Others</c:v>
                </c:pt>
                <c:pt idx="75">
                  <c:v>All Others</c:v>
                </c:pt>
                <c:pt idx="76">
                  <c:v>All Others</c:v>
                </c:pt>
                <c:pt idx="77">
                  <c:v>All Others</c:v>
                </c:pt>
                <c:pt idx="78">
                  <c:v>All Others</c:v>
                </c:pt>
                <c:pt idx="79">
                  <c:v>All Others</c:v>
                </c:pt>
                <c:pt idx="80">
                  <c:v>All Others</c:v>
                </c:pt>
                <c:pt idx="81">
                  <c:v>All Others</c:v>
                </c:pt>
                <c:pt idx="82">
                  <c:v>Boursin</c:v>
                </c:pt>
                <c:pt idx="83">
                  <c:v>All Others</c:v>
                </c:pt>
                <c:pt idx="84">
                  <c:v>All Others</c:v>
                </c:pt>
                <c:pt idx="85">
                  <c:v>All Others</c:v>
                </c:pt>
                <c:pt idx="86">
                  <c:v>Salakis</c:v>
                </c:pt>
                <c:pt idx="87">
                  <c:v>All Others</c:v>
                </c:pt>
                <c:pt idx="88">
                  <c:v>All Others</c:v>
                </c:pt>
                <c:pt idx="89">
                  <c:v>All Others</c:v>
                </c:pt>
                <c:pt idx="90">
                  <c:v>All Others</c:v>
                </c:pt>
                <c:pt idx="91">
                  <c:v>All Others</c:v>
                </c:pt>
                <c:pt idx="92">
                  <c:v>Private Lab</c:v>
                </c:pt>
                <c:pt idx="93">
                  <c:v>All Others</c:v>
                </c:pt>
                <c:pt idx="94">
                  <c:v>All Others</c:v>
                </c:pt>
                <c:pt idx="95">
                  <c:v>All Others</c:v>
                </c:pt>
                <c:pt idx="96">
                  <c:v>Salakis</c:v>
                </c:pt>
                <c:pt idx="97">
                  <c:v>Entremont</c:v>
                </c:pt>
                <c:pt idx="98">
                  <c:v>All Others</c:v>
                </c:pt>
                <c:pt idx="99">
                  <c:v>All Others</c:v>
                </c:pt>
                <c:pt idx="100">
                  <c:v>All Others</c:v>
                </c:pt>
                <c:pt idx="101">
                  <c:v>Entremont</c:v>
                </c:pt>
                <c:pt idx="102">
                  <c:v>All Others</c:v>
                </c:pt>
                <c:pt idx="103">
                  <c:v>All Others</c:v>
                </c:pt>
                <c:pt idx="104">
                  <c:v>All Others</c:v>
                </c:pt>
                <c:pt idx="105">
                  <c:v>All Others</c:v>
                </c:pt>
                <c:pt idx="106">
                  <c:v>All Others</c:v>
                </c:pt>
                <c:pt idx="107">
                  <c:v>All Others</c:v>
                </c:pt>
                <c:pt idx="108">
                  <c:v>All Others</c:v>
                </c:pt>
                <c:pt idx="109">
                  <c:v>All Others</c:v>
                </c:pt>
                <c:pt idx="110">
                  <c:v>Casa Azzurr</c:v>
                </c:pt>
                <c:pt idx="111">
                  <c:v>All Others</c:v>
                </c:pt>
                <c:pt idx="112">
                  <c:v>All Others</c:v>
                </c:pt>
                <c:pt idx="113">
                  <c:v>All Others</c:v>
                </c:pt>
                <c:pt idx="114">
                  <c:v>Entremont</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All Others</c:v>
                </c:pt>
                <c:pt idx="126">
                  <c:v>All Others</c:v>
                </c:pt>
                <c:pt idx="127">
                  <c:v>All Others</c:v>
                </c:pt>
                <c:pt idx="128">
                  <c:v>All Others</c:v>
                </c:pt>
                <c:pt idx="129">
                  <c:v>All Others</c:v>
                </c:pt>
                <c:pt idx="130">
                  <c:v>All Others</c:v>
                </c:pt>
                <c:pt idx="131">
                  <c:v>All Others</c:v>
                </c:pt>
                <c:pt idx="132">
                  <c:v>All Others</c:v>
                </c:pt>
                <c:pt idx="133">
                  <c:v>All Others</c:v>
                </c:pt>
                <c:pt idx="134">
                  <c:v>All Others</c:v>
                </c:pt>
                <c:pt idx="135">
                  <c:v>All Others</c:v>
                </c:pt>
                <c:pt idx="136">
                  <c:v>All Others</c:v>
                </c:pt>
                <c:pt idx="137">
                  <c:v>All Others</c:v>
                </c:pt>
                <c:pt idx="138">
                  <c:v>All Others</c:v>
                </c:pt>
                <c:pt idx="139">
                  <c:v>All Others</c:v>
                </c:pt>
                <c:pt idx="140">
                  <c:v>All Others</c:v>
                </c:pt>
                <c:pt idx="141">
                  <c:v>All Others</c:v>
                </c:pt>
                <c:pt idx="142">
                  <c:v>All Others</c:v>
                </c:pt>
                <c:pt idx="143">
                  <c:v>All Others</c:v>
                </c:pt>
                <c:pt idx="144">
                  <c:v>Savencia: A</c:v>
                </c:pt>
                <c:pt idx="145">
                  <c:v>All Others</c:v>
                </c:pt>
                <c:pt idx="146">
                  <c:v>All Others</c:v>
                </c:pt>
                <c:pt idx="147">
                  <c:v>All Others</c:v>
                </c:pt>
                <c:pt idx="148">
                  <c:v>All Others</c:v>
                </c:pt>
                <c:pt idx="149">
                  <c:v>All Others</c:v>
                </c:pt>
                <c:pt idx="150">
                  <c:v>All Others</c:v>
                </c:pt>
                <c:pt idx="151">
                  <c:v>All Others</c:v>
                </c:pt>
                <c:pt idx="152">
                  <c:v>All Others</c:v>
                </c:pt>
                <c:pt idx="153">
                  <c:v>All Others</c:v>
                </c:pt>
                <c:pt idx="154">
                  <c:v>Other Suppl</c:v>
                </c:pt>
                <c:pt idx="155">
                  <c:v>All Others</c:v>
                </c:pt>
                <c:pt idx="156">
                  <c:v>Savencia: A</c:v>
                </c:pt>
                <c:pt idx="157">
                  <c:v>All Others</c:v>
                </c:pt>
                <c:pt idx="158">
                  <c:v>All Others</c:v>
                </c:pt>
                <c:pt idx="159">
                  <c:v>All Others</c:v>
                </c:pt>
                <c:pt idx="160">
                  <c:v>All Others</c:v>
                </c:pt>
                <c:pt idx="161">
                  <c:v>All Others</c:v>
                </c:pt>
                <c:pt idx="162">
                  <c:v>All Others</c:v>
                </c:pt>
                <c:pt idx="163">
                  <c:v>All Others</c:v>
                </c:pt>
                <c:pt idx="164">
                  <c:v>All Others</c:v>
                </c:pt>
                <c:pt idx="165">
                  <c:v>All Others</c:v>
                </c:pt>
                <c:pt idx="166">
                  <c:v>All Others</c:v>
                </c:pt>
                <c:pt idx="167">
                  <c:v>All Others</c:v>
                </c:pt>
                <c:pt idx="168">
                  <c:v>Netto</c:v>
                </c:pt>
                <c:pt idx="169">
                  <c:v>All Others</c:v>
                </c:pt>
                <c:pt idx="170">
                  <c:v>All Others</c:v>
                </c:pt>
                <c:pt idx="171">
                  <c:v>All Others</c:v>
                </c:pt>
                <c:pt idx="172">
                  <c:v>All Others</c:v>
                </c:pt>
                <c:pt idx="173">
                  <c:v>All Others</c:v>
                </c:pt>
                <c:pt idx="174">
                  <c:v>All Others</c:v>
                </c:pt>
                <c:pt idx="175">
                  <c:v>All Others</c:v>
                </c:pt>
                <c:pt idx="176">
                  <c:v>All Others</c:v>
                </c:pt>
                <c:pt idx="177">
                  <c:v>All Others</c:v>
                </c:pt>
              </c:strCache>
            </c:strRef>
          </c:cat>
          <c:val>
            <c:numRef>
              <c:f>Sheet1!$B$2:$B$179</c:f>
              <c:numCache>
                <c:formatCode>General</c:formatCode>
                <c:ptCount val="178"/>
                <c:pt idx="0">
                  <c:v>0.999</c:v>
                </c:pt>
                <c:pt idx="1">
                  <c:v>0.99</c:v>
                </c:pt>
                <c:pt idx="2">
                  <c:v>0.97699999999999998</c:v>
                </c:pt>
                <c:pt idx="3">
                  <c:v>0.98399999999999999</c:v>
                </c:pt>
                <c:pt idx="4">
                  <c:v>0.98899999999999999</c:v>
                </c:pt>
                <c:pt idx="5">
                  <c:v>0.995</c:v>
                </c:pt>
                <c:pt idx="6">
                  <c:v>0.98399999999999999</c:v>
                </c:pt>
                <c:pt idx="7">
                  <c:v>0.98399999999999999</c:v>
                </c:pt>
                <c:pt idx="8">
                  <c:v>0.95299999999999996</c:v>
                </c:pt>
                <c:pt idx="9">
                  <c:v>0.98099999999999998</c:v>
                </c:pt>
                <c:pt idx="10">
                  <c:v>0.93200000000000005</c:v>
                </c:pt>
                <c:pt idx="11">
                  <c:v>0.98499999999999999</c:v>
                </c:pt>
                <c:pt idx="12">
                  <c:v>0.98799999999999999</c:v>
                </c:pt>
                <c:pt idx="13">
                  <c:v>0.96599999999999997</c:v>
                </c:pt>
                <c:pt idx="14">
                  <c:v>0.92700000000000005</c:v>
                </c:pt>
                <c:pt idx="15">
                  <c:v>0.998</c:v>
                </c:pt>
                <c:pt idx="16">
                  <c:v>0.97299999999999998</c:v>
                </c:pt>
                <c:pt idx="17">
                  <c:v>0.92500000000000004</c:v>
                </c:pt>
                <c:pt idx="18">
                  <c:v>0.995</c:v>
                </c:pt>
                <c:pt idx="19">
                  <c:v>0.92700000000000005</c:v>
                </c:pt>
                <c:pt idx="20">
                  <c:v>0.497</c:v>
                </c:pt>
                <c:pt idx="21">
                  <c:v>0.72399999999999998</c:v>
                </c:pt>
                <c:pt idx="22">
                  <c:v>0.93500000000000005</c:v>
                </c:pt>
                <c:pt idx="23">
                  <c:v>0.86499999999999999</c:v>
                </c:pt>
                <c:pt idx="24">
                  <c:v>0.85699999999999998</c:v>
                </c:pt>
                <c:pt idx="25">
                  <c:v>0.86799999999999999</c:v>
                </c:pt>
                <c:pt idx="26">
                  <c:v>0.96799999999999997</c:v>
                </c:pt>
                <c:pt idx="27">
                  <c:v>0.93899999999999995</c:v>
                </c:pt>
                <c:pt idx="28">
                  <c:v>0.83899999999999997</c:v>
                </c:pt>
                <c:pt idx="29">
                  <c:v>0.91300000000000003</c:v>
                </c:pt>
                <c:pt idx="30">
                  <c:v>0.95899999999999996</c:v>
                </c:pt>
                <c:pt idx="31">
                  <c:v>0.75700000000000001</c:v>
                </c:pt>
                <c:pt idx="32">
                  <c:v>0.80400000000000005</c:v>
                </c:pt>
                <c:pt idx="33">
                  <c:v>0.94699999999999995</c:v>
                </c:pt>
                <c:pt idx="34">
                  <c:v>0.83599999999999997</c:v>
                </c:pt>
                <c:pt idx="35">
                  <c:v>0.86099999999999999</c:v>
                </c:pt>
                <c:pt idx="36">
                  <c:v>0.75600000000000001</c:v>
                </c:pt>
                <c:pt idx="37">
                  <c:v>0.57199999999999995</c:v>
                </c:pt>
                <c:pt idx="38">
                  <c:v>0.86399999999999999</c:v>
                </c:pt>
                <c:pt idx="39">
                  <c:v>0.67200000000000004</c:v>
                </c:pt>
                <c:pt idx="40">
                  <c:v>0.57599999999999996</c:v>
                </c:pt>
                <c:pt idx="41">
                  <c:v>0.77100000000000002</c:v>
                </c:pt>
                <c:pt idx="42">
                  <c:v>0.45300000000000001</c:v>
                </c:pt>
                <c:pt idx="43">
                  <c:v>0.92400000000000004</c:v>
                </c:pt>
                <c:pt idx="44">
                  <c:v>0.34100000000000003</c:v>
                </c:pt>
                <c:pt idx="45">
                  <c:v>0.45100000000000001</c:v>
                </c:pt>
                <c:pt idx="46">
                  <c:v>0.36</c:v>
                </c:pt>
                <c:pt idx="47">
                  <c:v>0.252</c:v>
                </c:pt>
                <c:pt idx="48">
                  <c:v>0.33900000000000002</c:v>
                </c:pt>
                <c:pt idx="49">
                  <c:v>0.77600000000000002</c:v>
                </c:pt>
                <c:pt idx="50">
                  <c:v>0.66900000000000004</c:v>
                </c:pt>
                <c:pt idx="51">
                  <c:v>0.82299999999999995</c:v>
                </c:pt>
                <c:pt idx="52">
                  <c:v>0.36</c:v>
                </c:pt>
                <c:pt idx="53">
                  <c:v>0.55100000000000005</c:v>
                </c:pt>
                <c:pt idx="54">
                  <c:v>0.32200000000000001</c:v>
                </c:pt>
                <c:pt idx="55">
                  <c:v>0.438</c:v>
                </c:pt>
                <c:pt idx="56">
                  <c:v>0.13600000000000001</c:v>
                </c:pt>
                <c:pt idx="57">
                  <c:v>0.39700000000000002</c:v>
                </c:pt>
                <c:pt idx="58">
                  <c:v>0.20699999999999999</c:v>
                </c:pt>
                <c:pt idx="59">
                  <c:v>0.30099999999999999</c:v>
                </c:pt>
                <c:pt idx="60">
                  <c:v>0.84499999999999997</c:v>
                </c:pt>
                <c:pt idx="61">
                  <c:v>0.54400000000000004</c:v>
                </c:pt>
                <c:pt idx="62">
                  <c:v>0.254</c:v>
                </c:pt>
                <c:pt idx="63">
                  <c:v>0.56699999999999995</c:v>
                </c:pt>
                <c:pt idx="64">
                  <c:v>0.14699999999999999</c:v>
                </c:pt>
                <c:pt idx="65">
                  <c:v>0.66</c:v>
                </c:pt>
                <c:pt idx="66">
                  <c:v>0.214</c:v>
                </c:pt>
                <c:pt idx="67">
                  <c:v>0.193</c:v>
                </c:pt>
                <c:pt idx="68">
                  <c:v>0.307</c:v>
                </c:pt>
                <c:pt idx="69">
                  <c:v>4.5999999999999999E-2</c:v>
                </c:pt>
                <c:pt idx="70">
                  <c:v>0.14199999999999999</c:v>
                </c:pt>
                <c:pt idx="71">
                  <c:v>0.80300000000000005</c:v>
                </c:pt>
                <c:pt idx="72">
                  <c:v>0.56599999999999995</c:v>
                </c:pt>
                <c:pt idx="73">
                  <c:v>6.0999999999999999E-2</c:v>
                </c:pt>
                <c:pt idx="74">
                  <c:v>0.06</c:v>
                </c:pt>
                <c:pt idx="75">
                  <c:v>0.21299999999999999</c:v>
                </c:pt>
                <c:pt idx="76">
                  <c:v>0.12</c:v>
                </c:pt>
                <c:pt idx="77">
                  <c:v>7.1999999999999995E-2</c:v>
                </c:pt>
                <c:pt idx="78">
                  <c:v>0.25800000000000001</c:v>
                </c:pt>
                <c:pt idx="79">
                  <c:v>0.09</c:v>
                </c:pt>
                <c:pt idx="80">
                  <c:v>0.11700000000000001</c:v>
                </c:pt>
                <c:pt idx="81">
                  <c:v>4.9000000000000002E-2</c:v>
                </c:pt>
                <c:pt idx="82">
                  <c:v>0.41399999999999998</c:v>
                </c:pt>
                <c:pt idx="83">
                  <c:v>2.1000000000000001E-2</c:v>
                </c:pt>
                <c:pt idx="84">
                  <c:v>8.6999999999999994E-2</c:v>
                </c:pt>
                <c:pt idx="85">
                  <c:v>3.6999999999999998E-2</c:v>
                </c:pt>
                <c:pt idx="86">
                  <c:v>0.25</c:v>
                </c:pt>
                <c:pt idx="87">
                  <c:v>1.4999999999999999E-2</c:v>
                </c:pt>
                <c:pt idx="88">
                  <c:v>0.42699999999999999</c:v>
                </c:pt>
                <c:pt idx="89">
                  <c:v>2.1999999999999999E-2</c:v>
                </c:pt>
                <c:pt idx="90">
                  <c:v>3.5000000000000003E-2</c:v>
                </c:pt>
                <c:pt idx="91">
                  <c:v>0.155</c:v>
                </c:pt>
                <c:pt idx="92">
                  <c:v>0.19900000000000001</c:v>
                </c:pt>
                <c:pt idx="93">
                  <c:v>0.104</c:v>
                </c:pt>
                <c:pt idx="94">
                  <c:v>0.11799999999999999</c:v>
                </c:pt>
                <c:pt idx="95">
                  <c:v>7.0000000000000007E-2</c:v>
                </c:pt>
                <c:pt idx="96">
                  <c:v>0.23499999999999999</c:v>
                </c:pt>
                <c:pt idx="97">
                  <c:v>0.38900000000000001</c:v>
                </c:pt>
                <c:pt idx="98">
                  <c:v>4.5999999999999999E-2</c:v>
                </c:pt>
                <c:pt idx="99">
                  <c:v>7.3999999999999996E-2</c:v>
                </c:pt>
                <c:pt idx="100">
                  <c:v>1.4E-2</c:v>
                </c:pt>
                <c:pt idx="101">
                  <c:v>0.4</c:v>
                </c:pt>
                <c:pt idx="102">
                  <c:v>1.9E-2</c:v>
                </c:pt>
                <c:pt idx="103">
                  <c:v>0.14000000000000001</c:v>
                </c:pt>
                <c:pt idx="104">
                  <c:v>2.1999999999999999E-2</c:v>
                </c:pt>
                <c:pt idx="105">
                  <c:v>9.8000000000000004E-2</c:v>
                </c:pt>
                <c:pt idx="106">
                  <c:v>7.6999999999999999E-2</c:v>
                </c:pt>
                <c:pt idx="107">
                  <c:v>0.35699999999999998</c:v>
                </c:pt>
                <c:pt idx="108">
                  <c:v>8.8999999999999996E-2</c:v>
                </c:pt>
                <c:pt idx="109">
                  <c:v>0.04</c:v>
                </c:pt>
                <c:pt idx="110">
                  <c:v>8.2000000000000003E-2</c:v>
                </c:pt>
                <c:pt idx="111">
                  <c:v>0.09</c:v>
                </c:pt>
                <c:pt idx="112">
                  <c:v>0.125</c:v>
                </c:pt>
                <c:pt idx="113">
                  <c:v>0.13600000000000001</c:v>
                </c:pt>
                <c:pt idx="114">
                  <c:v>0.33400000000000002</c:v>
                </c:pt>
                <c:pt idx="115">
                  <c:v>7.1999999999999995E-2</c:v>
                </c:pt>
                <c:pt idx="116">
                  <c:v>0.111</c:v>
                </c:pt>
                <c:pt idx="117">
                  <c:v>0.12</c:v>
                </c:pt>
                <c:pt idx="118">
                  <c:v>1.4E-2</c:v>
                </c:pt>
                <c:pt idx="119">
                  <c:v>1.6E-2</c:v>
                </c:pt>
                <c:pt idx="120">
                  <c:v>1.7000000000000001E-2</c:v>
                </c:pt>
                <c:pt idx="121">
                  <c:v>1.2E-2</c:v>
                </c:pt>
                <c:pt idx="122">
                  <c:v>2.1999999999999999E-2</c:v>
                </c:pt>
                <c:pt idx="123">
                  <c:v>1.4E-2</c:v>
                </c:pt>
                <c:pt idx="124">
                  <c:v>3.5000000000000003E-2</c:v>
                </c:pt>
                <c:pt idx="125">
                  <c:v>6.7000000000000004E-2</c:v>
                </c:pt>
                <c:pt idx="126">
                  <c:v>8.9999999999999993E-3</c:v>
                </c:pt>
                <c:pt idx="127">
                  <c:v>8.9999999999999993E-3</c:v>
                </c:pt>
                <c:pt idx="128">
                  <c:v>1.2999999999999999E-2</c:v>
                </c:pt>
                <c:pt idx="129">
                  <c:v>2.3E-2</c:v>
                </c:pt>
                <c:pt idx="130">
                  <c:v>0.10299999999999999</c:v>
                </c:pt>
                <c:pt idx="131">
                  <c:v>1.9E-2</c:v>
                </c:pt>
                <c:pt idx="132">
                  <c:v>1.9E-2</c:v>
                </c:pt>
                <c:pt idx="133">
                  <c:v>7.8E-2</c:v>
                </c:pt>
                <c:pt idx="134">
                  <c:v>3.7999999999999999E-2</c:v>
                </c:pt>
                <c:pt idx="135">
                  <c:v>0.01</c:v>
                </c:pt>
                <c:pt idx="136">
                  <c:v>0.01</c:v>
                </c:pt>
                <c:pt idx="137">
                  <c:v>8.9999999999999993E-3</c:v>
                </c:pt>
                <c:pt idx="138">
                  <c:v>4.2999999999999997E-2</c:v>
                </c:pt>
                <c:pt idx="139">
                  <c:v>1E-3</c:v>
                </c:pt>
                <c:pt idx="140">
                  <c:v>1.4999999999999999E-2</c:v>
                </c:pt>
                <c:pt idx="141">
                  <c:v>0.01</c:v>
                </c:pt>
                <c:pt idx="142">
                  <c:v>8.9999999999999993E-3</c:v>
                </c:pt>
                <c:pt idx="143">
                  <c:v>6.0999999999999999E-2</c:v>
                </c:pt>
                <c:pt idx="144">
                  <c:v>1.7999999999999999E-2</c:v>
                </c:pt>
                <c:pt idx="145">
                  <c:v>1.4E-2</c:v>
                </c:pt>
                <c:pt idx="146">
                  <c:v>0.01</c:v>
                </c:pt>
                <c:pt idx="147">
                  <c:v>1.4E-2</c:v>
                </c:pt>
                <c:pt idx="148">
                  <c:v>1.2999999999999999E-2</c:v>
                </c:pt>
                <c:pt idx="149">
                  <c:v>1E-3</c:v>
                </c:pt>
                <c:pt idx="150">
                  <c:v>1.0999999999999999E-2</c:v>
                </c:pt>
                <c:pt idx="151">
                  <c:v>1.7999999999999999E-2</c:v>
                </c:pt>
                <c:pt idx="152">
                  <c:v>8.9999999999999993E-3</c:v>
                </c:pt>
                <c:pt idx="153">
                  <c:v>0.01</c:v>
                </c:pt>
                <c:pt idx="154">
                  <c:v>4.5999999999999999E-2</c:v>
                </c:pt>
                <c:pt idx="155">
                  <c:v>2.4E-2</c:v>
                </c:pt>
                <c:pt idx="156">
                  <c:v>1.4999999999999999E-2</c:v>
                </c:pt>
                <c:pt idx="157">
                  <c:v>8.0000000000000002E-3</c:v>
                </c:pt>
                <c:pt idx="158">
                  <c:v>4.0000000000000001E-3</c:v>
                </c:pt>
                <c:pt idx="159">
                  <c:v>3.5000000000000003E-2</c:v>
                </c:pt>
                <c:pt idx="160">
                  <c:v>1.4999999999999999E-2</c:v>
                </c:pt>
                <c:pt idx="161">
                  <c:v>3.0000000000000001E-3</c:v>
                </c:pt>
                <c:pt idx="162">
                  <c:v>1.2999999999999999E-2</c:v>
                </c:pt>
                <c:pt idx="163">
                  <c:v>2.5000000000000001E-2</c:v>
                </c:pt>
                <c:pt idx="164">
                  <c:v>3.0000000000000001E-3</c:v>
                </c:pt>
                <c:pt idx="165">
                  <c:v>1.0999999999999999E-2</c:v>
                </c:pt>
                <c:pt idx="166">
                  <c:v>1.2999999999999999E-2</c:v>
                </c:pt>
                <c:pt idx="167">
                  <c:v>5.0000000000000001E-3</c:v>
                </c:pt>
                <c:pt idx="168">
                  <c:v>1E-3</c:v>
                </c:pt>
                <c:pt idx="169">
                  <c:v>1E-3</c:v>
                </c:pt>
                <c:pt idx="170">
                  <c:v>2E-3</c:v>
                </c:pt>
                <c:pt idx="171">
                  <c:v>8.0000000000000002E-3</c:v>
                </c:pt>
                <c:pt idx="172">
                  <c:v>1.2999999999999999E-2</c:v>
                </c:pt>
                <c:pt idx="173">
                  <c:v>0.01</c:v>
                </c:pt>
                <c:pt idx="174">
                  <c:v>8.0000000000000002E-3</c:v>
                </c:pt>
                <c:pt idx="175">
                  <c:v>3.0000000000000001E-3</c:v>
                </c:pt>
                <c:pt idx="176">
                  <c:v>1E-3</c:v>
                </c:pt>
                <c:pt idx="177">
                  <c:v>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79</c:f>
              <c:strCache>
                <c:ptCount val="178"/>
                <c:pt idx="0">
                  <c:v>Private Lab</c:v>
                </c:pt>
                <c:pt idx="1">
                  <c:v>Private Lab</c:v>
                </c:pt>
                <c:pt idx="2">
                  <c:v>Private Lab</c:v>
                </c:pt>
                <c:pt idx="3">
                  <c:v>Private Lab</c:v>
                </c:pt>
                <c:pt idx="4">
                  <c:v>Private Lab</c:v>
                </c:pt>
                <c:pt idx="5">
                  <c:v>Galbani</c:v>
                </c:pt>
                <c:pt idx="6">
                  <c:v>Salakis</c:v>
                </c:pt>
                <c:pt idx="7">
                  <c:v>Private Lab</c:v>
                </c:pt>
                <c:pt idx="8">
                  <c:v>Galbani</c:v>
                </c:pt>
                <c:pt idx="9">
                  <c:v>Private Lab</c:v>
                </c:pt>
                <c:pt idx="10">
                  <c:v>Galbani</c:v>
                </c:pt>
                <c:pt idx="11">
                  <c:v>Private Lab</c:v>
                </c:pt>
                <c:pt idx="12">
                  <c:v>Private Lab</c:v>
                </c:pt>
                <c:pt idx="13">
                  <c:v>Galbani</c:v>
                </c:pt>
                <c:pt idx="14">
                  <c:v>Galbani</c:v>
                </c:pt>
                <c:pt idx="15">
                  <c:v>Private Lab</c:v>
                </c:pt>
                <c:pt idx="16">
                  <c:v>Private Lab</c:v>
                </c:pt>
                <c:pt idx="17">
                  <c:v>Islos</c:v>
                </c:pt>
                <c:pt idx="18">
                  <c:v>Salakis</c:v>
                </c:pt>
                <c:pt idx="19">
                  <c:v>Galbani</c:v>
                </c:pt>
                <c:pt idx="20">
                  <c:v>All Others</c:v>
                </c:pt>
                <c:pt idx="21">
                  <c:v>Private Lab</c:v>
                </c:pt>
                <c:pt idx="22">
                  <c:v>Casa Azzurr</c:v>
                </c:pt>
                <c:pt idx="23">
                  <c:v>Casa Azzurr</c:v>
                </c:pt>
                <c:pt idx="24">
                  <c:v>Salakis</c:v>
                </c:pt>
                <c:pt idx="25">
                  <c:v>Private Lab</c:v>
                </c:pt>
                <c:pt idx="26">
                  <c:v>Boursin</c:v>
                </c:pt>
                <c:pt idx="27">
                  <c:v>Private Lab</c:v>
                </c:pt>
                <c:pt idx="28">
                  <c:v>Galbani</c:v>
                </c:pt>
                <c:pt idx="29">
                  <c:v>Les Mousque</c:v>
                </c:pt>
                <c:pt idx="30">
                  <c:v>Private Lab</c:v>
                </c:pt>
                <c:pt idx="31">
                  <c:v>Casa Azzurr</c:v>
                </c:pt>
                <c:pt idx="32">
                  <c:v>Casa Azzurr</c:v>
                </c:pt>
                <c:pt idx="33">
                  <c:v>Salakis</c:v>
                </c:pt>
                <c:pt idx="34">
                  <c:v>Casa Azzurr</c:v>
                </c:pt>
                <c:pt idx="35">
                  <c:v>Galbani</c:v>
                </c:pt>
                <c:pt idx="36">
                  <c:v>Private Lab</c:v>
                </c:pt>
                <c:pt idx="37">
                  <c:v>Private Lab</c:v>
                </c:pt>
                <c:pt idx="38">
                  <c:v>Private Lab</c:v>
                </c:pt>
                <c:pt idx="39">
                  <c:v>Casa Azzurr</c:v>
                </c:pt>
                <c:pt idx="40">
                  <c:v>Salakis</c:v>
                </c:pt>
                <c:pt idx="41">
                  <c:v>Private Lab</c:v>
                </c:pt>
                <c:pt idx="42">
                  <c:v>Galbani</c:v>
                </c:pt>
                <c:pt idx="43">
                  <c:v>Salakis</c:v>
                </c:pt>
                <c:pt idx="44">
                  <c:v>Casa Azzurr</c:v>
                </c:pt>
                <c:pt idx="45">
                  <c:v>Private Lab</c:v>
                </c:pt>
                <c:pt idx="46">
                  <c:v>Galbani</c:v>
                </c:pt>
                <c:pt idx="47">
                  <c:v>All Others</c:v>
                </c:pt>
                <c:pt idx="48">
                  <c:v>Casa Azzurr</c:v>
                </c:pt>
                <c:pt idx="49">
                  <c:v>Casa Azzurr</c:v>
                </c:pt>
                <c:pt idx="50">
                  <c:v>Islos</c:v>
                </c:pt>
                <c:pt idx="51">
                  <c:v>Boursin</c:v>
                </c:pt>
                <c:pt idx="52">
                  <c:v>All Others</c:v>
                </c:pt>
                <c:pt idx="53">
                  <c:v>Galbani</c:v>
                </c:pt>
                <c:pt idx="54">
                  <c:v>Lactalis: A</c:v>
                </c:pt>
                <c:pt idx="55">
                  <c:v>Salakis</c:v>
                </c:pt>
                <c:pt idx="56">
                  <c:v>All Others</c:v>
                </c:pt>
                <c:pt idx="57">
                  <c:v>Galbani</c:v>
                </c:pt>
                <c:pt idx="58">
                  <c:v>All Others</c:v>
                </c:pt>
                <c:pt idx="59">
                  <c:v>Galbani</c:v>
                </c:pt>
                <c:pt idx="60">
                  <c:v>Boursin</c:v>
                </c:pt>
                <c:pt idx="61">
                  <c:v>Islos</c:v>
                </c:pt>
                <c:pt idx="62">
                  <c:v>All Others</c:v>
                </c:pt>
                <c:pt idx="63">
                  <c:v>Galbani</c:v>
                </c:pt>
                <c:pt idx="64">
                  <c:v>All Others</c:v>
                </c:pt>
                <c:pt idx="65">
                  <c:v>Boursin</c:v>
                </c:pt>
                <c:pt idx="66">
                  <c:v>All Others</c:v>
                </c:pt>
                <c:pt idx="67">
                  <c:v>All Others</c:v>
                </c:pt>
                <c:pt idx="68">
                  <c:v>All Others</c:v>
                </c:pt>
                <c:pt idx="69">
                  <c:v>All Others</c:v>
                </c:pt>
                <c:pt idx="70">
                  <c:v>All Others</c:v>
                </c:pt>
                <c:pt idx="71">
                  <c:v>Boursin</c:v>
                </c:pt>
                <c:pt idx="72">
                  <c:v>Les Mousque</c:v>
                </c:pt>
                <c:pt idx="73">
                  <c:v>All Others</c:v>
                </c:pt>
                <c:pt idx="74">
                  <c:v>All Others</c:v>
                </c:pt>
                <c:pt idx="75">
                  <c:v>All Others</c:v>
                </c:pt>
                <c:pt idx="76">
                  <c:v>All Others</c:v>
                </c:pt>
                <c:pt idx="77">
                  <c:v>All Others</c:v>
                </c:pt>
                <c:pt idx="78">
                  <c:v>All Others</c:v>
                </c:pt>
                <c:pt idx="79">
                  <c:v>All Others</c:v>
                </c:pt>
                <c:pt idx="80">
                  <c:v>All Others</c:v>
                </c:pt>
                <c:pt idx="81">
                  <c:v>All Others</c:v>
                </c:pt>
                <c:pt idx="82">
                  <c:v>Boursin</c:v>
                </c:pt>
                <c:pt idx="83">
                  <c:v>All Others</c:v>
                </c:pt>
                <c:pt idx="84">
                  <c:v>All Others</c:v>
                </c:pt>
                <c:pt idx="85">
                  <c:v>All Others</c:v>
                </c:pt>
                <c:pt idx="86">
                  <c:v>Salakis</c:v>
                </c:pt>
                <c:pt idx="87">
                  <c:v>All Others</c:v>
                </c:pt>
                <c:pt idx="88">
                  <c:v>All Others</c:v>
                </c:pt>
                <c:pt idx="89">
                  <c:v>All Others</c:v>
                </c:pt>
                <c:pt idx="90">
                  <c:v>All Others</c:v>
                </c:pt>
                <c:pt idx="91">
                  <c:v>All Others</c:v>
                </c:pt>
                <c:pt idx="92">
                  <c:v>Private Lab</c:v>
                </c:pt>
                <c:pt idx="93">
                  <c:v>All Others</c:v>
                </c:pt>
                <c:pt idx="94">
                  <c:v>All Others</c:v>
                </c:pt>
                <c:pt idx="95">
                  <c:v>All Others</c:v>
                </c:pt>
                <c:pt idx="96">
                  <c:v>Salakis</c:v>
                </c:pt>
                <c:pt idx="97">
                  <c:v>Entremont</c:v>
                </c:pt>
                <c:pt idx="98">
                  <c:v>All Others</c:v>
                </c:pt>
                <c:pt idx="99">
                  <c:v>All Others</c:v>
                </c:pt>
                <c:pt idx="100">
                  <c:v>All Others</c:v>
                </c:pt>
                <c:pt idx="101">
                  <c:v>Entremont</c:v>
                </c:pt>
                <c:pt idx="102">
                  <c:v>All Others</c:v>
                </c:pt>
                <c:pt idx="103">
                  <c:v>All Others</c:v>
                </c:pt>
                <c:pt idx="104">
                  <c:v>All Others</c:v>
                </c:pt>
                <c:pt idx="105">
                  <c:v>All Others</c:v>
                </c:pt>
                <c:pt idx="106">
                  <c:v>All Others</c:v>
                </c:pt>
                <c:pt idx="107">
                  <c:v>All Others</c:v>
                </c:pt>
                <c:pt idx="108">
                  <c:v>All Others</c:v>
                </c:pt>
                <c:pt idx="109">
                  <c:v>All Others</c:v>
                </c:pt>
                <c:pt idx="110">
                  <c:v>Casa Azzurr</c:v>
                </c:pt>
                <c:pt idx="111">
                  <c:v>All Others</c:v>
                </c:pt>
                <c:pt idx="112">
                  <c:v>All Others</c:v>
                </c:pt>
                <c:pt idx="113">
                  <c:v>All Others</c:v>
                </c:pt>
                <c:pt idx="114">
                  <c:v>Entremont</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All Others</c:v>
                </c:pt>
                <c:pt idx="126">
                  <c:v>All Others</c:v>
                </c:pt>
                <c:pt idx="127">
                  <c:v>All Others</c:v>
                </c:pt>
                <c:pt idx="128">
                  <c:v>All Others</c:v>
                </c:pt>
                <c:pt idx="129">
                  <c:v>All Others</c:v>
                </c:pt>
                <c:pt idx="130">
                  <c:v>All Others</c:v>
                </c:pt>
                <c:pt idx="131">
                  <c:v>All Others</c:v>
                </c:pt>
                <c:pt idx="132">
                  <c:v>All Others</c:v>
                </c:pt>
                <c:pt idx="133">
                  <c:v>All Others</c:v>
                </c:pt>
                <c:pt idx="134">
                  <c:v>All Others</c:v>
                </c:pt>
                <c:pt idx="135">
                  <c:v>All Others</c:v>
                </c:pt>
                <c:pt idx="136">
                  <c:v>All Others</c:v>
                </c:pt>
                <c:pt idx="137">
                  <c:v>All Others</c:v>
                </c:pt>
                <c:pt idx="138">
                  <c:v>All Others</c:v>
                </c:pt>
                <c:pt idx="139">
                  <c:v>All Others</c:v>
                </c:pt>
                <c:pt idx="140">
                  <c:v>All Others</c:v>
                </c:pt>
                <c:pt idx="141">
                  <c:v>All Others</c:v>
                </c:pt>
                <c:pt idx="142">
                  <c:v>All Others</c:v>
                </c:pt>
                <c:pt idx="143">
                  <c:v>All Others</c:v>
                </c:pt>
                <c:pt idx="144">
                  <c:v>Savencia: A</c:v>
                </c:pt>
                <c:pt idx="145">
                  <c:v>All Others</c:v>
                </c:pt>
                <c:pt idx="146">
                  <c:v>All Others</c:v>
                </c:pt>
                <c:pt idx="147">
                  <c:v>All Others</c:v>
                </c:pt>
                <c:pt idx="148">
                  <c:v>All Others</c:v>
                </c:pt>
                <c:pt idx="149">
                  <c:v>All Others</c:v>
                </c:pt>
                <c:pt idx="150">
                  <c:v>All Others</c:v>
                </c:pt>
                <c:pt idx="151">
                  <c:v>All Others</c:v>
                </c:pt>
                <c:pt idx="152">
                  <c:v>All Others</c:v>
                </c:pt>
                <c:pt idx="153">
                  <c:v>All Others</c:v>
                </c:pt>
                <c:pt idx="154">
                  <c:v>Other Suppl</c:v>
                </c:pt>
                <c:pt idx="155">
                  <c:v>All Others</c:v>
                </c:pt>
                <c:pt idx="156">
                  <c:v>Savencia: A</c:v>
                </c:pt>
                <c:pt idx="157">
                  <c:v>All Others</c:v>
                </c:pt>
                <c:pt idx="158">
                  <c:v>All Others</c:v>
                </c:pt>
                <c:pt idx="159">
                  <c:v>All Others</c:v>
                </c:pt>
                <c:pt idx="160">
                  <c:v>All Others</c:v>
                </c:pt>
                <c:pt idx="161">
                  <c:v>All Others</c:v>
                </c:pt>
                <c:pt idx="162">
                  <c:v>All Others</c:v>
                </c:pt>
                <c:pt idx="163">
                  <c:v>All Others</c:v>
                </c:pt>
                <c:pt idx="164">
                  <c:v>All Others</c:v>
                </c:pt>
                <c:pt idx="165">
                  <c:v>All Others</c:v>
                </c:pt>
                <c:pt idx="166">
                  <c:v>All Others</c:v>
                </c:pt>
                <c:pt idx="167">
                  <c:v>All Others</c:v>
                </c:pt>
                <c:pt idx="168">
                  <c:v>Netto</c:v>
                </c:pt>
                <c:pt idx="169">
                  <c:v>All Others</c:v>
                </c:pt>
                <c:pt idx="170">
                  <c:v>All Others</c:v>
                </c:pt>
                <c:pt idx="171">
                  <c:v>All Others</c:v>
                </c:pt>
                <c:pt idx="172">
                  <c:v>All Others</c:v>
                </c:pt>
                <c:pt idx="173">
                  <c:v>All Others</c:v>
                </c:pt>
                <c:pt idx="174">
                  <c:v>All Others</c:v>
                </c:pt>
                <c:pt idx="175">
                  <c:v>All Others</c:v>
                </c:pt>
                <c:pt idx="176">
                  <c:v>All Others</c:v>
                </c:pt>
                <c:pt idx="177">
                  <c:v>All Others</c:v>
                </c:pt>
              </c:strCache>
            </c:strRef>
          </c:cat>
          <c:val>
            <c:numRef>
              <c:f>Sheet1!$C$2:$C$179</c:f>
              <c:numCache>
                <c:formatCode>General</c:formatCode>
                <c:ptCount val="178"/>
                <c:pt idx="0">
                  <c:v>0.10076065529963776</c:v>
                </c:pt>
                <c:pt idx="1">
                  <c:v>0.18236468352702712</c:v>
                </c:pt>
                <c:pt idx="2">
                  <c:v>0.25911142821926225</c:v>
                </c:pt>
                <c:pt idx="3">
                  <c:v>0.3079252495119173</c:v>
                </c:pt>
                <c:pt idx="4">
                  <c:v>0.35157288836730877</c:v>
                </c:pt>
                <c:pt idx="5">
                  <c:v>0.39511825053149952</c:v>
                </c:pt>
                <c:pt idx="6">
                  <c:v>0.4328575432301468</c:v>
                </c:pt>
                <c:pt idx="7">
                  <c:v>0.46406503119691572</c:v>
                </c:pt>
                <c:pt idx="8">
                  <c:v>0.49516173909861971</c:v>
                </c:pt>
                <c:pt idx="9">
                  <c:v>0.52490517251679913</c:v>
                </c:pt>
                <c:pt idx="10">
                  <c:v>0.55326279219993324</c:v>
                </c:pt>
                <c:pt idx="11">
                  <c:v>0.58078397800160886</c:v>
                </c:pt>
                <c:pt idx="12">
                  <c:v>0.60617534558008668</c:v>
                </c:pt>
                <c:pt idx="13">
                  <c:v>0.62699849546483055</c:v>
                </c:pt>
                <c:pt idx="14">
                  <c:v>0.64775645281661509</c:v>
                </c:pt>
                <c:pt idx="15">
                  <c:v>0.66837263025570304</c:v>
                </c:pt>
                <c:pt idx="16">
                  <c:v>0.68872714975859417</c:v>
                </c:pt>
                <c:pt idx="17">
                  <c:v>0.70861986438470759</c:v>
                </c:pt>
                <c:pt idx="18">
                  <c:v>0.72748016028077822</c:v>
                </c:pt>
                <c:pt idx="19">
                  <c:v>0.74394034632368411</c:v>
                </c:pt>
                <c:pt idx="20">
                  <c:v>0.75921955708874034</c:v>
                </c:pt>
                <c:pt idx="21">
                  <c:v>0.77208942157729654</c:v>
                </c:pt>
                <c:pt idx="22">
                  <c:v>0.78354633321039013</c:v>
                </c:pt>
                <c:pt idx="23">
                  <c:v>0.79378946152930729</c:v>
                </c:pt>
                <c:pt idx="24">
                  <c:v>0.80303281625462608</c:v>
                </c:pt>
                <c:pt idx="25">
                  <c:v>0.81217249334975494</c:v>
                </c:pt>
                <c:pt idx="26">
                  <c:v>0.82107673938976267</c:v>
                </c:pt>
                <c:pt idx="27">
                  <c:v>0.82984462193816555</c:v>
                </c:pt>
                <c:pt idx="28">
                  <c:v>0.83858400515213249</c:v>
                </c:pt>
                <c:pt idx="29">
                  <c:v>0.84674089096640914</c:v>
                </c:pt>
                <c:pt idx="30">
                  <c:v>0.85489235221460003</c:v>
                </c:pt>
                <c:pt idx="31">
                  <c:v>0.86303028462755282</c:v>
                </c:pt>
                <c:pt idx="32">
                  <c:v>0.87095580373877568</c:v>
                </c:pt>
                <c:pt idx="33">
                  <c:v>0.87815745278731783</c:v>
                </c:pt>
                <c:pt idx="34">
                  <c:v>0.88519862916165137</c:v>
                </c:pt>
                <c:pt idx="35">
                  <c:v>0.89148360799163062</c:v>
                </c:pt>
                <c:pt idx="36">
                  <c:v>0.89767182429143033</c:v>
                </c:pt>
                <c:pt idx="37">
                  <c:v>0.9038146485389833</c:v>
                </c:pt>
                <c:pt idx="38">
                  <c:v>0.90956183784201261</c:v>
                </c:pt>
                <c:pt idx="39">
                  <c:v>0.91511567312955944</c:v>
                </c:pt>
                <c:pt idx="40">
                  <c:v>0.92040754097113286</c:v>
                </c:pt>
                <c:pt idx="41">
                  <c:v>0.92513215884201394</c:v>
                </c:pt>
                <c:pt idx="42">
                  <c:v>0.92979408469313141</c:v>
                </c:pt>
                <c:pt idx="43">
                  <c:v>0.93396367008450454</c:v>
                </c:pt>
                <c:pt idx="44">
                  <c:v>0.93787185817949281</c:v>
                </c:pt>
                <c:pt idx="45">
                  <c:v>0.94132836562539801</c:v>
                </c:pt>
                <c:pt idx="46">
                  <c:v>0.94446341458825644</c:v>
                </c:pt>
                <c:pt idx="47">
                  <c:v>0.94739490385799641</c:v>
                </c:pt>
                <c:pt idx="48">
                  <c:v>0.95002235678711833</c:v>
                </c:pt>
                <c:pt idx="49">
                  <c:v>0.95252370891723015</c:v>
                </c:pt>
                <c:pt idx="50">
                  <c:v>0.95496506502063305</c:v>
                </c:pt>
                <c:pt idx="51">
                  <c:v>0.9572012079971105</c:v>
                </c:pt>
                <c:pt idx="52">
                  <c:v>0.95916896527224571</c:v>
                </c:pt>
                <c:pt idx="53">
                  <c:v>0.96112642727480968</c:v>
                </c:pt>
                <c:pt idx="54">
                  <c:v>0.96303211969472868</c:v>
                </c:pt>
                <c:pt idx="55">
                  <c:v>0.96493086443466092</c:v>
                </c:pt>
                <c:pt idx="56">
                  <c:v>0.96677708210749491</c:v>
                </c:pt>
                <c:pt idx="57">
                  <c:v>0.96857925979710657</c:v>
                </c:pt>
                <c:pt idx="58">
                  <c:v>0.97015500665010279</c:v>
                </c:pt>
                <c:pt idx="59">
                  <c:v>0.97168680311481204</c:v>
                </c:pt>
                <c:pt idx="60">
                  <c:v>0.97320043624262731</c:v>
                </c:pt>
                <c:pt idx="61">
                  <c:v>0.97452100042975442</c:v>
                </c:pt>
                <c:pt idx="62">
                  <c:v>0.9757963110295349</c:v>
                </c:pt>
                <c:pt idx="63">
                  <c:v>0.97694458415598118</c:v>
                </c:pt>
                <c:pt idx="64">
                  <c:v>0.97789512126010691</c:v>
                </c:pt>
                <c:pt idx="65">
                  <c:v>0.97876279933902077</c:v>
                </c:pt>
                <c:pt idx="66">
                  <c:v>0.97960480439645936</c:v>
                </c:pt>
                <c:pt idx="67">
                  <c:v>0.98043156202490001</c:v>
                </c:pt>
                <c:pt idx="68">
                  <c:v>0.98125089956369471</c:v>
                </c:pt>
                <c:pt idx="69">
                  <c:v>0.98203341358405993</c:v>
                </c:pt>
                <c:pt idx="70">
                  <c:v>0.98279876610180839</c:v>
                </c:pt>
                <c:pt idx="71">
                  <c:v>0.98351704055352673</c:v>
                </c:pt>
                <c:pt idx="72">
                  <c:v>0.98412941379165964</c:v>
                </c:pt>
                <c:pt idx="73">
                  <c:v>0.98471933128099587</c:v>
                </c:pt>
                <c:pt idx="74">
                  <c:v>0.9852877215508653</c:v>
                </c:pt>
                <c:pt idx="75">
                  <c:v>0.9858462645228403</c:v>
                </c:pt>
                <c:pt idx="76">
                  <c:v>0.98639824262955222</c:v>
                </c:pt>
                <c:pt idx="77">
                  <c:v>0.98691533572643597</c:v>
                </c:pt>
                <c:pt idx="78">
                  <c:v>0.98736371765289932</c:v>
                </c:pt>
                <c:pt idx="79">
                  <c:v>0.98776462240862051</c:v>
                </c:pt>
                <c:pt idx="80">
                  <c:v>0.98815418118752851</c:v>
                </c:pt>
                <c:pt idx="81">
                  <c:v>0.98853830725535663</c:v>
                </c:pt>
                <c:pt idx="82">
                  <c:v>0.98891304214496101</c:v>
                </c:pt>
                <c:pt idx="83">
                  <c:v>0.98928553716118162</c:v>
                </c:pt>
                <c:pt idx="84">
                  <c:v>0.98965658236844833</c:v>
                </c:pt>
                <c:pt idx="85">
                  <c:v>0.99002511077253119</c:v>
                </c:pt>
                <c:pt idx="86">
                  <c:v>0.9903805746060409</c:v>
                </c:pt>
                <c:pt idx="87">
                  <c:v>0.99073142837287709</c:v>
                </c:pt>
                <c:pt idx="88">
                  <c:v>0.99106487628727269</c:v>
                </c:pt>
                <c:pt idx="89">
                  <c:v>0.99139667891285554</c:v>
                </c:pt>
                <c:pt idx="90">
                  <c:v>0.99172303253737015</c:v>
                </c:pt>
                <c:pt idx="91">
                  <c:v>0.99204623404915926</c:v>
                </c:pt>
                <c:pt idx="92">
                  <c:v>0.9923684418716654</c:v>
                </c:pt>
                <c:pt idx="93">
                  <c:v>0.99266632874172067</c:v>
                </c:pt>
                <c:pt idx="94">
                  <c:v>0.99296196759339805</c:v>
                </c:pt>
                <c:pt idx="95">
                  <c:v>0.99325105786980061</c:v>
                </c:pt>
                <c:pt idx="96">
                  <c:v>0.9935327850715161</c:v>
                </c:pt>
                <c:pt idx="97">
                  <c:v>0.99379584394670206</c:v>
                </c:pt>
                <c:pt idx="98">
                  <c:v>0.99405129539737724</c:v>
                </c:pt>
                <c:pt idx="99">
                  <c:v>0.99429724978490519</c:v>
                </c:pt>
                <c:pt idx="100">
                  <c:v>0.99453981585487805</c:v>
                </c:pt>
                <c:pt idx="101">
                  <c:v>0.99477876554746036</c:v>
                </c:pt>
                <c:pt idx="102">
                  <c:v>0.99501345540811637</c:v>
                </c:pt>
                <c:pt idx="103">
                  <c:v>0.99522613749465239</c:v>
                </c:pt>
                <c:pt idx="104">
                  <c:v>0.99543717429237566</c:v>
                </c:pt>
                <c:pt idx="105">
                  <c:v>0.99563991948608177</c:v>
                </c:pt>
                <c:pt idx="106">
                  <c:v>0.99584077504115143</c:v>
                </c:pt>
                <c:pt idx="107">
                  <c:v>0.99603089549396717</c:v>
                </c:pt>
                <c:pt idx="108">
                  <c:v>0.99621375061202533</c:v>
                </c:pt>
                <c:pt idx="109">
                  <c:v>0.99639579123067124</c:v>
                </c:pt>
                <c:pt idx="110">
                  <c:v>0.99657763636945818</c:v>
                </c:pt>
                <c:pt idx="111">
                  <c:v>0.99674316708501698</c:v>
                </c:pt>
                <c:pt idx="112">
                  <c:v>0.99690688961188056</c:v>
                </c:pt>
                <c:pt idx="113">
                  <c:v>0.99706618126194124</c:v>
                </c:pt>
                <c:pt idx="114">
                  <c:v>0.99721679849326117</c:v>
                </c:pt>
                <c:pt idx="115">
                  <c:v>0.99736396224707291</c:v>
                </c:pt>
                <c:pt idx="116">
                  <c:v>0.99749416812312086</c:v>
                </c:pt>
                <c:pt idx="117">
                  <c:v>0.99761137458854876</c:v>
                </c:pt>
                <c:pt idx="118">
                  <c:v>0.99772299358800842</c:v>
                </c:pt>
                <c:pt idx="119">
                  <c:v>0.99782767305247544</c:v>
                </c:pt>
                <c:pt idx="120">
                  <c:v>0.99793184752730679</c:v>
                </c:pt>
                <c:pt idx="121">
                  <c:v>0.99803433598835467</c:v>
                </c:pt>
                <c:pt idx="122">
                  <c:v>0.99813624615481988</c:v>
                </c:pt>
                <c:pt idx="123">
                  <c:v>0.99822960407745609</c:v>
                </c:pt>
                <c:pt idx="124">
                  <c:v>0.9983205755168143</c:v>
                </c:pt>
                <c:pt idx="125">
                  <c:v>0.9984088428181237</c:v>
                </c:pt>
                <c:pt idx="126">
                  <c:v>0.99849557886053797</c:v>
                </c:pt>
                <c:pt idx="127">
                  <c:v>0.99858122347373979</c:v>
                </c:pt>
                <c:pt idx="128">
                  <c:v>0.99866547529294658</c:v>
                </c:pt>
                <c:pt idx="129">
                  <c:v>0.99874316224689041</c:v>
                </c:pt>
                <c:pt idx="130">
                  <c:v>0.99881840570259739</c:v>
                </c:pt>
                <c:pt idx="131">
                  <c:v>0.99889171879469718</c:v>
                </c:pt>
                <c:pt idx="132">
                  <c:v>0.99895820638172206</c:v>
                </c:pt>
                <c:pt idx="133">
                  <c:v>0.99902266586521038</c:v>
                </c:pt>
                <c:pt idx="134">
                  <c:v>0.99908012065375307</c:v>
                </c:pt>
                <c:pt idx="135">
                  <c:v>0.99913598716844176</c:v>
                </c:pt>
                <c:pt idx="136">
                  <c:v>0.99918396118382535</c:v>
                </c:pt>
                <c:pt idx="137">
                  <c:v>0.9992274554524414</c:v>
                </c:pt>
                <c:pt idx="138">
                  <c:v>0.9992700293367216</c:v>
                </c:pt>
                <c:pt idx="139">
                  <c:v>0.99931241588613695</c:v>
                </c:pt>
                <c:pt idx="140">
                  <c:v>0.99935296166688048</c:v>
                </c:pt>
                <c:pt idx="141">
                  <c:v>0.99939328753278278</c:v>
                </c:pt>
                <c:pt idx="142">
                  <c:v>0.99943354823873209</c:v>
                </c:pt>
                <c:pt idx="143">
                  <c:v>0.99947360531982832</c:v>
                </c:pt>
                <c:pt idx="144">
                  <c:v>0.9995130270913829</c:v>
                </c:pt>
                <c:pt idx="145">
                  <c:v>0.99955241628296099</c:v>
                </c:pt>
                <c:pt idx="146">
                  <c:v>0.99959052671046189</c:v>
                </c:pt>
                <c:pt idx="147">
                  <c:v>0.99962775747859745</c:v>
                </c:pt>
                <c:pt idx="148">
                  <c:v>0.9996604514850066</c:v>
                </c:pt>
                <c:pt idx="149">
                  <c:v>0.99968887751449542</c:v>
                </c:pt>
                <c:pt idx="150">
                  <c:v>0.99971397224138792</c:v>
                </c:pt>
                <c:pt idx="151">
                  <c:v>0.99973559720078409</c:v>
                </c:pt>
                <c:pt idx="152">
                  <c:v>0.99975429810729022</c:v>
                </c:pt>
                <c:pt idx="153">
                  <c:v>0.99977246958917831</c:v>
                </c:pt>
                <c:pt idx="154">
                  <c:v>0.99978870256246521</c:v>
                </c:pt>
                <c:pt idx="155">
                  <c:v>0.99980490295577562</c:v>
                </c:pt>
                <c:pt idx="156">
                  <c:v>0.99982093230420943</c:v>
                </c:pt>
                <c:pt idx="157">
                  <c:v>0.99983645666300758</c:v>
                </c:pt>
                <c:pt idx="158">
                  <c:v>0.99985113394241698</c:v>
                </c:pt>
                <c:pt idx="159">
                  <c:v>0.99987961698686456</c:v>
                </c:pt>
                <c:pt idx="160">
                  <c:v>0.99989309695213791</c:v>
                </c:pt>
                <c:pt idx="161">
                  <c:v>0.99990431260904511</c:v>
                </c:pt>
                <c:pt idx="162">
                  <c:v>0.99991550383096994</c:v>
                </c:pt>
                <c:pt idx="163">
                  <c:v>0.99992636110813571</c:v>
                </c:pt>
                <c:pt idx="164">
                  <c:v>0.99993602921615954</c:v>
                </c:pt>
                <c:pt idx="165">
                  <c:v>0.99994529821947131</c:v>
                </c:pt>
                <c:pt idx="166">
                  <c:v>0.99995361425847074</c:v>
                </c:pt>
                <c:pt idx="167">
                  <c:v>0.99996773767827973</c:v>
                </c:pt>
                <c:pt idx="168">
                  <c:v>0.99997124817074667</c:v>
                </c:pt>
                <c:pt idx="169">
                  <c:v>0.99997690894166213</c:v>
                </c:pt>
                <c:pt idx="170">
                  <c:v>0.99997941759985198</c:v>
                </c:pt>
                <c:pt idx="171">
                  <c:v>0.99998182851811235</c:v>
                </c:pt>
                <c:pt idx="172">
                  <c:v>0.99998405210150787</c:v>
                </c:pt>
                <c:pt idx="173">
                  <c:v>0.99999169210599503</c:v>
                </c:pt>
                <c:pt idx="174">
                  <c:v>0.99999794746148141</c:v>
                </c:pt>
                <c:pt idx="175">
                  <c:v>0.99999869680094078</c:v>
                </c:pt>
                <c:pt idx="176">
                  <c:v>0.99999934840047067</c:v>
                </c:pt>
                <c:pt idx="177">
                  <c:v>0.9999998941150769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07</c:f>
              <c:strCache>
                <c:ptCount val="306"/>
                <c:pt idx="0">
                  <c:v>Private Lab</c:v>
                </c:pt>
                <c:pt idx="1">
                  <c:v>Private Lab</c:v>
                </c:pt>
                <c:pt idx="2">
                  <c:v>Galbani</c:v>
                </c:pt>
                <c:pt idx="3">
                  <c:v>Private Lab</c:v>
                </c:pt>
                <c:pt idx="4">
                  <c:v>Private Lab</c:v>
                </c:pt>
                <c:pt idx="5">
                  <c:v>Private Lab</c:v>
                </c:pt>
                <c:pt idx="6">
                  <c:v>Salakis</c:v>
                </c:pt>
                <c:pt idx="7">
                  <c:v>Galbani</c:v>
                </c:pt>
                <c:pt idx="8">
                  <c:v>Islos</c:v>
                </c:pt>
                <c:pt idx="9">
                  <c:v>Private Lab</c:v>
                </c:pt>
                <c:pt idx="10">
                  <c:v>Galbani</c:v>
                </c:pt>
                <c:pt idx="11">
                  <c:v>Salakis</c:v>
                </c:pt>
                <c:pt idx="12">
                  <c:v>Casa Azzurr</c:v>
                </c:pt>
                <c:pt idx="13">
                  <c:v>All Others</c:v>
                </c:pt>
                <c:pt idx="14">
                  <c:v>All Others</c:v>
                </c:pt>
                <c:pt idx="15">
                  <c:v>Galbani</c:v>
                </c:pt>
                <c:pt idx="16">
                  <c:v>Private Lab</c:v>
                </c:pt>
                <c:pt idx="17">
                  <c:v>Casa Azzurr</c:v>
                </c:pt>
                <c:pt idx="18">
                  <c:v>Salakis</c:v>
                </c:pt>
                <c:pt idx="19">
                  <c:v>Private Lab</c:v>
                </c:pt>
                <c:pt idx="20">
                  <c:v>All Others</c:v>
                </c:pt>
                <c:pt idx="21">
                  <c:v>Salakis</c:v>
                </c:pt>
                <c:pt idx="22">
                  <c:v>Boursin</c:v>
                </c:pt>
                <c:pt idx="23">
                  <c:v>Private Lab</c:v>
                </c:pt>
                <c:pt idx="24">
                  <c:v>Galbani</c:v>
                </c:pt>
                <c:pt idx="25">
                  <c:v>Casa Azzurr</c:v>
                </c:pt>
                <c:pt idx="26">
                  <c:v>Casa Azzurr</c:v>
                </c:pt>
                <c:pt idx="27">
                  <c:v>Casa Azzurr</c:v>
                </c:pt>
                <c:pt idx="28">
                  <c:v>Salakis</c:v>
                </c:pt>
                <c:pt idx="29">
                  <c:v>Galbani</c:v>
                </c:pt>
                <c:pt idx="30">
                  <c:v>All Others</c:v>
                </c:pt>
                <c:pt idx="31">
                  <c:v>Casa Azzurr</c:v>
                </c:pt>
                <c:pt idx="32">
                  <c:v>All Others</c:v>
                </c:pt>
                <c:pt idx="33">
                  <c:v>All Others</c:v>
                </c:pt>
                <c:pt idx="34">
                  <c:v>Casa Azzurr</c:v>
                </c:pt>
                <c:pt idx="35">
                  <c:v>Salakis</c:v>
                </c:pt>
                <c:pt idx="36">
                  <c:v>Casa Azzurr</c:v>
                </c:pt>
                <c:pt idx="37">
                  <c:v>Galbani</c:v>
                </c:pt>
                <c:pt idx="38">
                  <c:v>Private Lab</c:v>
                </c:pt>
                <c:pt idx="39">
                  <c:v>Casa Azzurr</c:v>
                </c:pt>
                <c:pt idx="40">
                  <c:v>All Others</c:v>
                </c:pt>
                <c:pt idx="41">
                  <c:v>Galbani</c:v>
                </c:pt>
                <c:pt idx="42">
                  <c:v>Galbani</c:v>
                </c:pt>
                <c:pt idx="43">
                  <c:v>All Others</c:v>
                </c:pt>
                <c:pt idx="44">
                  <c:v>Salakis</c:v>
                </c:pt>
                <c:pt idx="45">
                  <c:v>All Others</c:v>
                </c:pt>
                <c:pt idx="46">
                  <c:v>All Others</c:v>
                </c:pt>
                <c:pt idx="47">
                  <c:v>Casa Azzurr</c:v>
                </c:pt>
                <c:pt idx="48">
                  <c:v>Casa Azzurr</c:v>
                </c:pt>
                <c:pt idx="49">
                  <c:v>Boursin</c:v>
                </c:pt>
                <c:pt idx="50">
                  <c:v>All Others</c:v>
                </c:pt>
                <c:pt idx="51">
                  <c:v>All Others</c:v>
                </c:pt>
                <c:pt idx="52">
                  <c:v>All Others</c:v>
                </c:pt>
                <c:pt idx="53">
                  <c:v>Private Lab</c:v>
                </c:pt>
                <c:pt idx="54">
                  <c:v>Lactalis: A</c:v>
                </c:pt>
                <c:pt idx="55">
                  <c:v>All Others</c:v>
                </c:pt>
                <c:pt idx="56">
                  <c:v>Casa Azzurr</c:v>
                </c:pt>
                <c:pt idx="57">
                  <c:v>All Others</c:v>
                </c:pt>
                <c:pt idx="58">
                  <c:v>Private Lab</c:v>
                </c:pt>
                <c:pt idx="59">
                  <c:v>Private Lab</c:v>
                </c:pt>
                <c:pt idx="60">
                  <c:v>All Others</c:v>
                </c:pt>
                <c:pt idx="61">
                  <c:v>Private Lab</c:v>
                </c:pt>
                <c:pt idx="62">
                  <c:v>All Others</c:v>
                </c:pt>
                <c:pt idx="63">
                  <c:v>All Others</c:v>
                </c:pt>
                <c:pt idx="64">
                  <c:v>Galbani</c:v>
                </c:pt>
                <c:pt idx="65">
                  <c:v>Galbani</c:v>
                </c:pt>
                <c:pt idx="66">
                  <c:v>Private Lab</c:v>
                </c:pt>
                <c:pt idx="67">
                  <c:v>Private Lab</c:v>
                </c:pt>
                <c:pt idx="68">
                  <c:v>Private Lab</c:v>
                </c:pt>
                <c:pt idx="69">
                  <c:v>All Others</c:v>
                </c:pt>
                <c:pt idx="70">
                  <c:v>Private Lab</c:v>
                </c:pt>
                <c:pt idx="71">
                  <c:v>All Others</c:v>
                </c:pt>
                <c:pt idx="72">
                  <c:v>Private Lab</c:v>
                </c:pt>
                <c:pt idx="73">
                  <c:v>All Others</c:v>
                </c:pt>
                <c:pt idx="74">
                  <c:v>Private Lab</c:v>
                </c:pt>
                <c:pt idx="75">
                  <c:v>All Others</c:v>
                </c:pt>
                <c:pt idx="76">
                  <c:v>Boursin</c:v>
                </c:pt>
                <c:pt idx="77">
                  <c:v>Islos</c:v>
                </c:pt>
                <c:pt idx="78">
                  <c:v>All Others</c:v>
                </c:pt>
                <c:pt idx="79">
                  <c:v>All Others</c:v>
                </c:pt>
                <c:pt idx="80">
                  <c:v>Casa Azzurr</c:v>
                </c:pt>
                <c:pt idx="81">
                  <c:v>Galbani</c:v>
                </c:pt>
                <c:pt idx="82">
                  <c:v>Casa Azzurr</c:v>
                </c:pt>
                <c:pt idx="83">
                  <c:v>Private Lab</c:v>
                </c:pt>
                <c:pt idx="84">
                  <c:v>All Others</c:v>
                </c:pt>
                <c:pt idx="85">
                  <c:v>All Others</c:v>
                </c:pt>
                <c:pt idx="86">
                  <c:v>Casa Azzurr</c:v>
                </c:pt>
                <c:pt idx="87">
                  <c:v>All Others</c:v>
                </c:pt>
                <c:pt idx="88">
                  <c:v>All Others</c:v>
                </c:pt>
                <c:pt idx="89">
                  <c:v>All Others</c:v>
                </c:pt>
                <c:pt idx="90">
                  <c:v>All Others</c:v>
                </c:pt>
                <c:pt idx="91">
                  <c:v>Galbani</c:v>
                </c:pt>
                <c:pt idx="92">
                  <c:v>All Others</c:v>
                </c:pt>
                <c:pt idx="93">
                  <c:v>All Others</c:v>
                </c:pt>
                <c:pt idx="94">
                  <c:v>All Others</c:v>
                </c:pt>
                <c:pt idx="95">
                  <c:v>Salakis</c:v>
                </c:pt>
                <c:pt idx="96">
                  <c:v>All Others</c:v>
                </c:pt>
                <c:pt idx="97">
                  <c:v>All Others</c:v>
                </c:pt>
                <c:pt idx="98">
                  <c:v>Private Lab</c:v>
                </c:pt>
                <c:pt idx="99">
                  <c:v>All Others</c:v>
                </c:pt>
                <c:pt idx="100">
                  <c:v>All Others</c:v>
                </c:pt>
                <c:pt idx="101">
                  <c:v>All Others</c:v>
                </c:pt>
                <c:pt idx="102">
                  <c:v>All Others</c:v>
                </c:pt>
                <c:pt idx="103">
                  <c:v>All Others</c:v>
                </c:pt>
                <c:pt idx="104">
                  <c:v>All Others</c:v>
                </c:pt>
                <c:pt idx="105">
                  <c:v>Salakis</c:v>
                </c:pt>
                <c:pt idx="106">
                  <c:v>Private Lab</c:v>
                </c:pt>
                <c:pt idx="107">
                  <c:v>Private Lab</c:v>
                </c:pt>
                <c:pt idx="108">
                  <c:v>All Others</c:v>
                </c:pt>
                <c:pt idx="109">
                  <c:v>All Others</c:v>
                </c:pt>
                <c:pt idx="110">
                  <c:v>Private Lab</c:v>
                </c:pt>
                <c:pt idx="111">
                  <c:v>Boursin</c:v>
                </c:pt>
                <c:pt idx="112">
                  <c:v>All Others</c:v>
                </c:pt>
                <c:pt idx="113">
                  <c:v>All Others</c:v>
                </c:pt>
                <c:pt idx="114">
                  <c:v>Islos</c:v>
                </c:pt>
                <c:pt idx="115">
                  <c:v>All Others</c:v>
                </c:pt>
                <c:pt idx="116">
                  <c:v>Boursin</c:v>
                </c:pt>
                <c:pt idx="117">
                  <c:v>All Others</c:v>
                </c:pt>
                <c:pt idx="118">
                  <c:v>All Others</c:v>
                </c:pt>
                <c:pt idx="119">
                  <c:v>Casa Azzurr</c:v>
                </c:pt>
                <c:pt idx="120">
                  <c:v>All Others</c:v>
                </c:pt>
                <c:pt idx="121">
                  <c:v>Boursin</c:v>
                </c:pt>
                <c:pt idx="122">
                  <c:v>All Others</c:v>
                </c:pt>
                <c:pt idx="123">
                  <c:v>All Others</c:v>
                </c:pt>
                <c:pt idx="124">
                  <c:v>All Others</c:v>
                </c:pt>
                <c:pt idx="125">
                  <c:v>Salakis</c:v>
                </c:pt>
                <c:pt idx="126">
                  <c:v>All Others</c:v>
                </c:pt>
                <c:pt idx="127">
                  <c:v>Lactalis: A</c:v>
                </c:pt>
                <c:pt idx="128">
                  <c:v>Casa Azzurr</c:v>
                </c:pt>
                <c:pt idx="129">
                  <c:v>All Others</c:v>
                </c:pt>
                <c:pt idx="130">
                  <c:v>All Others</c:v>
                </c:pt>
                <c:pt idx="131">
                  <c:v>All Others</c:v>
                </c:pt>
                <c:pt idx="132">
                  <c:v>Casa Azzurr</c:v>
                </c:pt>
                <c:pt idx="133">
                  <c:v>All Others</c:v>
                </c:pt>
                <c:pt idx="134">
                  <c:v>All Others</c:v>
                </c:pt>
                <c:pt idx="135">
                  <c:v>All Others</c:v>
                </c:pt>
                <c:pt idx="136">
                  <c:v>All Others</c:v>
                </c:pt>
                <c:pt idx="137">
                  <c:v>All Others</c:v>
                </c:pt>
                <c:pt idx="138">
                  <c:v>All Others</c:v>
                </c:pt>
                <c:pt idx="139">
                  <c:v>All Others</c:v>
                </c:pt>
                <c:pt idx="140">
                  <c:v>All Others</c:v>
                </c:pt>
                <c:pt idx="141">
                  <c:v>All Others</c:v>
                </c:pt>
                <c:pt idx="142">
                  <c:v>All Others</c:v>
                </c:pt>
                <c:pt idx="143">
                  <c:v>All Others</c:v>
                </c:pt>
                <c:pt idx="144">
                  <c:v>All Others</c:v>
                </c:pt>
                <c:pt idx="145">
                  <c:v>All Others</c:v>
                </c:pt>
                <c:pt idx="146">
                  <c:v>All Others</c:v>
                </c:pt>
                <c:pt idx="147">
                  <c:v>All Others</c:v>
                </c:pt>
                <c:pt idx="148">
                  <c:v>Galbani</c:v>
                </c:pt>
                <c:pt idx="149">
                  <c:v>All Others</c:v>
                </c:pt>
                <c:pt idx="150">
                  <c:v>All Others</c:v>
                </c:pt>
                <c:pt idx="151">
                  <c:v>All Others</c:v>
                </c:pt>
                <c:pt idx="152">
                  <c:v>All Others</c:v>
                </c:pt>
                <c:pt idx="153">
                  <c:v>Savencia: A</c:v>
                </c:pt>
                <c:pt idx="154">
                  <c:v>Lactalis: A</c:v>
                </c:pt>
                <c:pt idx="155">
                  <c:v>All Others</c:v>
                </c:pt>
                <c:pt idx="156">
                  <c:v>All Others</c:v>
                </c:pt>
                <c:pt idx="157">
                  <c:v>All Others</c:v>
                </c:pt>
                <c:pt idx="158">
                  <c:v>Salakis</c:v>
                </c:pt>
                <c:pt idx="159">
                  <c:v>All Others</c:v>
                </c:pt>
                <c:pt idx="160">
                  <c:v>Savencia: A</c:v>
                </c:pt>
                <c:pt idx="161">
                  <c:v>Salakis</c:v>
                </c:pt>
                <c:pt idx="162">
                  <c:v>All Others</c:v>
                </c:pt>
                <c:pt idx="163">
                  <c:v>All Others</c:v>
                </c:pt>
                <c:pt idx="164">
                  <c:v>All Others</c:v>
                </c:pt>
                <c:pt idx="165">
                  <c:v>All Others</c:v>
                </c:pt>
                <c:pt idx="166">
                  <c:v>All Others</c:v>
                </c:pt>
                <c:pt idx="167">
                  <c:v>Islos</c:v>
                </c:pt>
                <c:pt idx="168">
                  <c:v>All Others</c:v>
                </c:pt>
                <c:pt idx="169">
                  <c:v>All Others</c:v>
                </c:pt>
                <c:pt idx="170">
                  <c:v>All Others</c:v>
                </c:pt>
                <c:pt idx="171">
                  <c:v>All Others</c:v>
                </c:pt>
                <c:pt idx="172">
                  <c:v>All Others</c:v>
                </c:pt>
                <c:pt idx="173">
                  <c:v>All Others</c:v>
                </c:pt>
                <c:pt idx="174">
                  <c:v>All Others</c:v>
                </c:pt>
                <c:pt idx="175">
                  <c:v>All Others</c:v>
                </c:pt>
                <c:pt idx="176">
                  <c:v>All Others</c:v>
                </c:pt>
                <c:pt idx="177">
                  <c:v>All Others</c:v>
                </c:pt>
                <c:pt idx="178">
                  <c:v>All Others</c:v>
                </c:pt>
                <c:pt idx="179">
                  <c:v>All Others</c:v>
                </c:pt>
                <c:pt idx="180">
                  <c:v>Private Lab</c:v>
                </c:pt>
                <c:pt idx="181">
                  <c:v>Private Lab</c:v>
                </c:pt>
                <c:pt idx="182">
                  <c:v>All Others</c:v>
                </c:pt>
                <c:pt idx="183">
                  <c:v>All Others</c:v>
                </c:pt>
                <c:pt idx="184">
                  <c:v>All Others</c:v>
                </c:pt>
                <c:pt idx="185">
                  <c:v>All Others</c:v>
                </c:pt>
                <c:pt idx="186">
                  <c:v>All Others</c:v>
                </c:pt>
                <c:pt idx="187">
                  <c:v>All Others</c:v>
                </c:pt>
                <c:pt idx="188">
                  <c:v>All Others</c:v>
                </c:pt>
                <c:pt idx="189">
                  <c:v>All Others</c:v>
                </c:pt>
                <c:pt idx="190">
                  <c:v>All Others</c:v>
                </c:pt>
                <c:pt idx="191">
                  <c:v>All Others</c:v>
                </c:pt>
                <c:pt idx="192">
                  <c:v>All Others</c:v>
                </c:pt>
                <c:pt idx="193">
                  <c:v>Lactalis: A</c:v>
                </c:pt>
                <c:pt idx="194">
                  <c:v>All Others</c:v>
                </c:pt>
                <c:pt idx="195">
                  <c:v>All Others</c:v>
                </c:pt>
                <c:pt idx="196">
                  <c:v>All Others</c:v>
                </c:pt>
                <c:pt idx="197">
                  <c:v>All Others</c:v>
                </c:pt>
                <c:pt idx="198">
                  <c:v>All Others</c:v>
                </c:pt>
                <c:pt idx="199">
                  <c:v>All Others</c:v>
                </c:pt>
                <c:pt idx="200">
                  <c:v>All Others</c:v>
                </c:pt>
                <c:pt idx="201">
                  <c:v>All Others</c:v>
                </c:pt>
                <c:pt idx="202">
                  <c:v>Private Lab</c:v>
                </c:pt>
                <c:pt idx="203">
                  <c:v>All Others</c:v>
                </c:pt>
                <c:pt idx="204">
                  <c:v>All Others</c:v>
                </c:pt>
                <c:pt idx="205">
                  <c:v>All Others</c:v>
                </c:pt>
                <c:pt idx="206">
                  <c:v>All Others</c:v>
                </c:pt>
                <c:pt idx="207">
                  <c:v>All Others</c:v>
                </c:pt>
                <c:pt idx="208">
                  <c:v>All Others</c:v>
                </c:pt>
                <c:pt idx="209">
                  <c:v>All Others</c:v>
                </c:pt>
                <c:pt idx="210">
                  <c:v>All Others</c:v>
                </c:pt>
                <c:pt idx="211">
                  <c:v>All Others</c:v>
                </c:pt>
                <c:pt idx="212">
                  <c:v>All Others</c:v>
                </c:pt>
                <c:pt idx="213">
                  <c:v>All Others</c:v>
                </c:pt>
                <c:pt idx="214">
                  <c:v>All Others</c:v>
                </c:pt>
                <c:pt idx="215">
                  <c:v>All Others</c:v>
                </c:pt>
                <c:pt idx="216">
                  <c:v>All Others</c:v>
                </c:pt>
                <c:pt idx="217">
                  <c:v>All Others</c:v>
                </c:pt>
                <c:pt idx="218">
                  <c:v>All Others</c:v>
                </c:pt>
                <c:pt idx="219">
                  <c:v>All Others</c:v>
                </c:pt>
                <c:pt idx="220">
                  <c:v>All Others</c:v>
                </c:pt>
                <c:pt idx="221">
                  <c:v>All Others</c:v>
                </c:pt>
                <c:pt idx="222">
                  <c:v>All Others</c:v>
                </c:pt>
                <c:pt idx="223">
                  <c:v>All Others</c:v>
                </c:pt>
                <c:pt idx="224">
                  <c:v>All Others</c:v>
                </c:pt>
                <c:pt idx="225">
                  <c:v>All Others</c:v>
                </c:pt>
                <c:pt idx="226">
                  <c:v>All Others</c:v>
                </c:pt>
                <c:pt idx="227">
                  <c:v>All Others</c:v>
                </c:pt>
                <c:pt idx="228">
                  <c:v>All Others</c:v>
                </c:pt>
                <c:pt idx="229">
                  <c:v>All Others</c:v>
                </c:pt>
                <c:pt idx="230">
                  <c:v>Private Lab</c:v>
                </c:pt>
                <c:pt idx="231">
                  <c:v>All Others</c:v>
                </c:pt>
                <c:pt idx="232">
                  <c:v>All Others</c:v>
                </c:pt>
                <c:pt idx="233">
                  <c:v>All Others</c:v>
                </c:pt>
                <c:pt idx="234">
                  <c:v>All Others</c:v>
                </c:pt>
                <c:pt idx="235">
                  <c:v>All Others</c:v>
                </c:pt>
                <c:pt idx="236">
                  <c:v>All Others</c:v>
                </c:pt>
                <c:pt idx="237">
                  <c:v>All Others</c:v>
                </c:pt>
                <c:pt idx="238">
                  <c:v>All Others</c:v>
                </c:pt>
                <c:pt idx="239">
                  <c:v>All Others</c:v>
                </c:pt>
                <c:pt idx="240">
                  <c:v>All Others</c:v>
                </c:pt>
                <c:pt idx="241">
                  <c:v>All Others</c:v>
                </c:pt>
                <c:pt idx="242">
                  <c:v>All Others</c:v>
                </c:pt>
                <c:pt idx="243">
                  <c:v>All Others</c:v>
                </c:pt>
                <c:pt idx="244">
                  <c:v>All Others</c:v>
                </c:pt>
                <c:pt idx="245">
                  <c:v>All Others</c:v>
                </c:pt>
                <c:pt idx="246">
                  <c:v>All Others</c:v>
                </c:pt>
                <c:pt idx="247">
                  <c:v>All Others</c:v>
                </c:pt>
                <c:pt idx="248">
                  <c:v>All Others</c:v>
                </c:pt>
                <c:pt idx="249">
                  <c:v>All Others</c:v>
                </c:pt>
                <c:pt idx="250">
                  <c:v>All Others</c:v>
                </c:pt>
                <c:pt idx="251">
                  <c:v>All Others</c:v>
                </c:pt>
                <c:pt idx="252">
                  <c:v>All Others</c:v>
                </c:pt>
                <c:pt idx="253">
                  <c:v>All Others</c:v>
                </c:pt>
                <c:pt idx="254">
                  <c:v>All Others</c:v>
                </c:pt>
                <c:pt idx="255">
                  <c:v>All Others</c:v>
                </c:pt>
                <c:pt idx="256">
                  <c:v>All Others</c:v>
                </c:pt>
                <c:pt idx="257">
                  <c:v>All Others</c:v>
                </c:pt>
                <c:pt idx="258">
                  <c:v>All Others</c:v>
                </c:pt>
                <c:pt idx="259">
                  <c:v>All Others</c:v>
                </c:pt>
                <c:pt idx="260">
                  <c:v>All Others</c:v>
                </c:pt>
                <c:pt idx="261">
                  <c:v>All Others</c:v>
                </c:pt>
                <c:pt idx="262">
                  <c:v>All Others</c:v>
                </c:pt>
                <c:pt idx="263">
                  <c:v>All Others</c:v>
                </c:pt>
                <c:pt idx="264">
                  <c:v>All Others</c:v>
                </c:pt>
                <c:pt idx="265">
                  <c:v>All Others</c:v>
                </c:pt>
                <c:pt idx="266">
                  <c:v>All Others</c:v>
                </c:pt>
                <c:pt idx="267">
                  <c:v>All Others</c:v>
                </c:pt>
                <c:pt idx="268">
                  <c:v>All Others</c:v>
                </c:pt>
                <c:pt idx="269">
                  <c:v>All Others</c:v>
                </c:pt>
                <c:pt idx="270">
                  <c:v>All Others</c:v>
                </c:pt>
                <c:pt idx="271">
                  <c:v>All Others</c:v>
                </c:pt>
                <c:pt idx="272">
                  <c:v>Salakis</c:v>
                </c:pt>
                <c:pt idx="273">
                  <c:v>Societe</c:v>
                </c:pt>
                <c:pt idx="274">
                  <c:v>All Others</c:v>
                </c:pt>
                <c:pt idx="275">
                  <c:v>All Others</c:v>
                </c:pt>
                <c:pt idx="276">
                  <c:v>All Others</c:v>
                </c:pt>
                <c:pt idx="277">
                  <c:v>All Others</c:v>
                </c:pt>
                <c:pt idx="278">
                  <c:v>All Others</c:v>
                </c:pt>
                <c:pt idx="279">
                  <c:v>All Others</c:v>
                </c:pt>
                <c:pt idx="280">
                  <c:v>All Others</c:v>
                </c:pt>
                <c:pt idx="281">
                  <c:v>All Others</c:v>
                </c:pt>
                <c:pt idx="282">
                  <c:v>All Others</c:v>
                </c:pt>
                <c:pt idx="283">
                  <c:v>All Others</c:v>
                </c:pt>
                <c:pt idx="284">
                  <c:v>All Others</c:v>
                </c:pt>
                <c:pt idx="285">
                  <c:v>All Others</c:v>
                </c:pt>
                <c:pt idx="286">
                  <c:v>All Others</c:v>
                </c:pt>
                <c:pt idx="287">
                  <c:v>All Others</c:v>
                </c:pt>
                <c:pt idx="288">
                  <c:v>All Others</c:v>
                </c:pt>
                <c:pt idx="289">
                  <c:v>All Others</c:v>
                </c:pt>
                <c:pt idx="290">
                  <c:v>All Others</c:v>
                </c:pt>
                <c:pt idx="291">
                  <c:v>All Others</c:v>
                </c:pt>
                <c:pt idx="292">
                  <c:v>All Others</c:v>
                </c:pt>
                <c:pt idx="293">
                  <c:v>All Others</c:v>
                </c:pt>
                <c:pt idx="294">
                  <c:v>All Others</c:v>
                </c:pt>
                <c:pt idx="295">
                  <c:v>All Others</c:v>
                </c:pt>
                <c:pt idx="296">
                  <c:v>All Others</c:v>
                </c:pt>
                <c:pt idx="297">
                  <c:v>All Others</c:v>
                </c:pt>
                <c:pt idx="298">
                  <c:v>All Others</c:v>
                </c:pt>
                <c:pt idx="299">
                  <c:v>All Others</c:v>
                </c:pt>
                <c:pt idx="300">
                  <c:v>All Others</c:v>
                </c:pt>
                <c:pt idx="301">
                  <c:v>All Others</c:v>
                </c:pt>
                <c:pt idx="302">
                  <c:v>All Others</c:v>
                </c:pt>
                <c:pt idx="303">
                  <c:v>All Others</c:v>
                </c:pt>
                <c:pt idx="304">
                  <c:v>All Others</c:v>
                </c:pt>
                <c:pt idx="305">
                  <c:v>All Others</c:v>
                </c:pt>
              </c:strCache>
            </c:strRef>
          </c:cat>
          <c:val>
            <c:numRef>
              <c:f>Sheet1!$B$2:$B$307</c:f>
              <c:numCache>
                <c:formatCode>General</c:formatCode>
                <c:ptCount val="306"/>
                <c:pt idx="0">
                  <c:v>0.53</c:v>
                </c:pt>
                <c:pt idx="1">
                  <c:v>1</c:v>
                </c:pt>
                <c:pt idx="2">
                  <c:v>1</c:v>
                </c:pt>
                <c:pt idx="3">
                  <c:v>1</c:v>
                </c:pt>
                <c:pt idx="4">
                  <c:v>1</c:v>
                </c:pt>
                <c:pt idx="5">
                  <c:v>1</c:v>
                </c:pt>
                <c:pt idx="6">
                  <c:v>1</c:v>
                </c:pt>
                <c:pt idx="7">
                  <c:v>0.99</c:v>
                </c:pt>
                <c:pt idx="8">
                  <c:v>1</c:v>
                </c:pt>
                <c:pt idx="9">
                  <c:v>1</c:v>
                </c:pt>
                <c:pt idx="10">
                  <c:v>1</c:v>
                </c:pt>
                <c:pt idx="11">
                  <c:v>0.99</c:v>
                </c:pt>
                <c:pt idx="12">
                  <c:v>1</c:v>
                </c:pt>
                <c:pt idx="13">
                  <c:v>0.99</c:v>
                </c:pt>
                <c:pt idx="14">
                  <c:v>0.97</c:v>
                </c:pt>
                <c:pt idx="15">
                  <c:v>0.99</c:v>
                </c:pt>
                <c:pt idx="16">
                  <c:v>1</c:v>
                </c:pt>
                <c:pt idx="17">
                  <c:v>0.99</c:v>
                </c:pt>
                <c:pt idx="18">
                  <c:v>1</c:v>
                </c:pt>
                <c:pt idx="19">
                  <c:v>1</c:v>
                </c:pt>
                <c:pt idx="20">
                  <c:v>0.96</c:v>
                </c:pt>
                <c:pt idx="21">
                  <c:v>0.99</c:v>
                </c:pt>
                <c:pt idx="22">
                  <c:v>1</c:v>
                </c:pt>
                <c:pt idx="23">
                  <c:v>1</c:v>
                </c:pt>
                <c:pt idx="24">
                  <c:v>0.96</c:v>
                </c:pt>
                <c:pt idx="25">
                  <c:v>0.94</c:v>
                </c:pt>
                <c:pt idx="26">
                  <c:v>0.97</c:v>
                </c:pt>
                <c:pt idx="27">
                  <c:v>0.94</c:v>
                </c:pt>
                <c:pt idx="28">
                  <c:v>0.95</c:v>
                </c:pt>
                <c:pt idx="29">
                  <c:v>0.99</c:v>
                </c:pt>
                <c:pt idx="30">
                  <c:v>0.91</c:v>
                </c:pt>
                <c:pt idx="31">
                  <c:v>0.92</c:v>
                </c:pt>
                <c:pt idx="32">
                  <c:v>0.96</c:v>
                </c:pt>
                <c:pt idx="33">
                  <c:v>0.97</c:v>
                </c:pt>
                <c:pt idx="34">
                  <c:v>0.99</c:v>
                </c:pt>
                <c:pt idx="35">
                  <c:v>0.98</c:v>
                </c:pt>
                <c:pt idx="36">
                  <c:v>0.93</c:v>
                </c:pt>
                <c:pt idx="37">
                  <c:v>0.99</c:v>
                </c:pt>
                <c:pt idx="38">
                  <c:v>0.99</c:v>
                </c:pt>
                <c:pt idx="39">
                  <c:v>0.97</c:v>
                </c:pt>
                <c:pt idx="40">
                  <c:v>0.89</c:v>
                </c:pt>
                <c:pt idx="41">
                  <c:v>0.81</c:v>
                </c:pt>
                <c:pt idx="42">
                  <c:v>0.95</c:v>
                </c:pt>
                <c:pt idx="43">
                  <c:v>0.34</c:v>
                </c:pt>
                <c:pt idx="44">
                  <c:v>0.95</c:v>
                </c:pt>
                <c:pt idx="45">
                  <c:v>0.94</c:v>
                </c:pt>
                <c:pt idx="46">
                  <c:v>0.97</c:v>
                </c:pt>
                <c:pt idx="47">
                  <c:v>0.93</c:v>
                </c:pt>
                <c:pt idx="48">
                  <c:v>0.92</c:v>
                </c:pt>
                <c:pt idx="49">
                  <c:v>1</c:v>
                </c:pt>
                <c:pt idx="50">
                  <c:v>0.96</c:v>
                </c:pt>
                <c:pt idx="51">
                  <c:v>0.97</c:v>
                </c:pt>
                <c:pt idx="52">
                  <c:v>0.95</c:v>
                </c:pt>
                <c:pt idx="53">
                  <c:v>0.98</c:v>
                </c:pt>
                <c:pt idx="54">
                  <c:v>0.92</c:v>
                </c:pt>
                <c:pt idx="55">
                  <c:v>0.91</c:v>
                </c:pt>
                <c:pt idx="56">
                  <c:v>0.9</c:v>
                </c:pt>
                <c:pt idx="57">
                  <c:v>0.95</c:v>
                </c:pt>
                <c:pt idx="58">
                  <c:v>0.99</c:v>
                </c:pt>
                <c:pt idx="59">
                  <c:v>1</c:v>
                </c:pt>
                <c:pt idx="60">
                  <c:v>0.96</c:v>
                </c:pt>
                <c:pt idx="61">
                  <c:v>0.97</c:v>
                </c:pt>
                <c:pt idx="62">
                  <c:v>0.87</c:v>
                </c:pt>
                <c:pt idx="63">
                  <c:v>0.88</c:v>
                </c:pt>
                <c:pt idx="64">
                  <c:v>0.89</c:v>
                </c:pt>
                <c:pt idx="65">
                  <c:v>0.83</c:v>
                </c:pt>
                <c:pt idx="66">
                  <c:v>0.96</c:v>
                </c:pt>
                <c:pt idx="67">
                  <c:v>0.93</c:v>
                </c:pt>
                <c:pt idx="68">
                  <c:v>1</c:v>
                </c:pt>
                <c:pt idx="69">
                  <c:v>0.71</c:v>
                </c:pt>
                <c:pt idx="70">
                  <c:v>1</c:v>
                </c:pt>
                <c:pt idx="71">
                  <c:v>0.87</c:v>
                </c:pt>
                <c:pt idx="72">
                  <c:v>0.97</c:v>
                </c:pt>
                <c:pt idx="73">
                  <c:v>0.92</c:v>
                </c:pt>
                <c:pt idx="74">
                  <c:v>0.96</c:v>
                </c:pt>
                <c:pt idx="75">
                  <c:v>0.95</c:v>
                </c:pt>
                <c:pt idx="76">
                  <c:v>1</c:v>
                </c:pt>
                <c:pt idx="77">
                  <c:v>0.93</c:v>
                </c:pt>
                <c:pt idx="78">
                  <c:v>0.56000000000000005</c:v>
                </c:pt>
                <c:pt idx="79">
                  <c:v>0.96</c:v>
                </c:pt>
                <c:pt idx="80">
                  <c:v>0.88</c:v>
                </c:pt>
                <c:pt idx="81">
                  <c:v>0.84</c:v>
                </c:pt>
                <c:pt idx="82">
                  <c:v>0.88</c:v>
                </c:pt>
                <c:pt idx="83">
                  <c:v>0.85</c:v>
                </c:pt>
                <c:pt idx="84">
                  <c:v>0.86</c:v>
                </c:pt>
                <c:pt idx="85">
                  <c:v>0.22</c:v>
                </c:pt>
                <c:pt idx="86">
                  <c:v>0.92</c:v>
                </c:pt>
                <c:pt idx="87">
                  <c:v>0.94</c:v>
                </c:pt>
                <c:pt idx="88">
                  <c:v>0.67</c:v>
                </c:pt>
                <c:pt idx="89">
                  <c:v>0.83</c:v>
                </c:pt>
                <c:pt idx="90">
                  <c:v>0.87</c:v>
                </c:pt>
                <c:pt idx="91">
                  <c:v>0.99</c:v>
                </c:pt>
                <c:pt idx="92">
                  <c:v>0.71</c:v>
                </c:pt>
                <c:pt idx="93">
                  <c:v>0.23</c:v>
                </c:pt>
                <c:pt idx="94">
                  <c:v>0.87</c:v>
                </c:pt>
                <c:pt idx="95">
                  <c:v>0.73</c:v>
                </c:pt>
                <c:pt idx="96">
                  <c:v>0.84</c:v>
                </c:pt>
                <c:pt idx="97">
                  <c:v>0.76</c:v>
                </c:pt>
                <c:pt idx="98">
                  <c:v>0.93</c:v>
                </c:pt>
                <c:pt idx="99">
                  <c:v>0.93</c:v>
                </c:pt>
                <c:pt idx="100">
                  <c:v>0.91</c:v>
                </c:pt>
                <c:pt idx="101">
                  <c:v>0.9</c:v>
                </c:pt>
                <c:pt idx="102">
                  <c:v>0.47</c:v>
                </c:pt>
                <c:pt idx="103">
                  <c:v>0.36</c:v>
                </c:pt>
                <c:pt idx="104">
                  <c:v>0.82</c:v>
                </c:pt>
                <c:pt idx="105">
                  <c:v>0.96</c:v>
                </c:pt>
                <c:pt idx="106">
                  <c:v>0.79</c:v>
                </c:pt>
                <c:pt idx="107">
                  <c:v>0.93</c:v>
                </c:pt>
                <c:pt idx="108">
                  <c:v>0.85</c:v>
                </c:pt>
                <c:pt idx="109">
                  <c:v>0.22</c:v>
                </c:pt>
                <c:pt idx="110">
                  <c:v>0.9</c:v>
                </c:pt>
                <c:pt idx="111">
                  <c:v>0.95</c:v>
                </c:pt>
                <c:pt idx="112">
                  <c:v>0.67</c:v>
                </c:pt>
                <c:pt idx="113">
                  <c:v>0.1</c:v>
                </c:pt>
                <c:pt idx="114">
                  <c:v>0.99</c:v>
                </c:pt>
                <c:pt idx="115">
                  <c:v>0.89</c:v>
                </c:pt>
                <c:pt idx="116">
                  <c:v>0.96</c:v>
                </c:pt>
                <c:pt idx="117">
                  <c:v>0.55000000000000004</c:v>
                </c:pt>
                <c:pt idx="118">
                  <c:v>0.09</c:v>
                </c:pt>
                <c:pt idx="119">
                  <c:v>0.72</c:v>
                </c:pt>
                <c:pt idx="120">
                  <c:v>0.68</c:v>
                </c:pt>
                <c:pt idx="121">
                  <c:v>0.94</c:v>
                </c:pt>
                <c:pt idx="122">
                  <c:v>0.6</c:v>
                </c:pt>
                <c:pt idx="123">
                  <c:v>0.22</c:v>
                </c:pt>
                <c:pt idx="124">
                  <c:v>0.53</c:v>
                </c:pt>
                <c:pt idx="125">
                  <c:v>0.7</c:v>
                </c:pt>
                <c:pt idx="126">
                  <c:v>0.42</c:v>
                </c:pt>
                <c:pt idx="127">
                  <c:v>0.3</c:v>
                </c:pt>
                <c:pt idx="128">
                  <c:v>0.18</c:v>
                </c:pt>
                <c:pt idx="129">
                  <c:v>0.41</c:v>
                </c:pt>
                <c:pt idx="130">
                  <c:v>0.77</c:v>
                </c:pt>
                <c:pt idx="131">
                  <c:v>0.15</c:v>
                </c:pt>
                <c:pt idx="132">
                  <c:v>0.59</c:v>
                </c:pt>
                <c:pt idx="133">
                  <c:v>0.72</c:v>
                </c:pt>
                <c:pt idx="134">
                  <c:v>0.68</c:v>
                </c:pt>
                <c:pt idx="135">
                  <c:v>0.81</c:v>
                </c:pt>
                <c:pt idx="136">
                  <c:v>0.02</c:v>
                </c:pt>
                <c:pt idx="137">
                  <c:v>0.28000000000000003</c:v>
                </c:pt>
                <c:pt idx="138">
                  <c:v>0.08</c:v>
                </c:pt>
                <c:pt idx="139">
                  <c:v>0.57999999999999996</c:v>
                </c:pt>
                <c:pt idx="140">
                  <c:v>0.11</c:v>
                </c:pt>
                <c:pt idx="141">
                  <c:v>0.31</c:v>
                </c:pt>
                <c:pt idx="142">
                  <c:v>0.11</c:v>
                </c:pt>
                <c:pt idx="143">
                  <c:v>0.13</c:v>
                </c:pt>
                <c:pt idx="144">
                  <c:v>0.36</c:v>
                </c:pt>
                <c:pt idx="145">
                  <c:v>0.9</c:v>
                </c:pt>
                <c:pt idx="146">
                  <c:v>0.39</c:v>
                </c:pt>
                <c:pt idx="147">
                  <c:v>0.66</c:v>
                </c:pt>
                <c:pt idx="148">
                  <c:v>0.72</c:v>
                </c:pt>
                <c:pt idx="149">
                  <c:v>0.2</c:v>
                </c:pt>
                <c:pt idx="150">
                  <c:v>0.15</c:v>
                </c:pt>
                <c:pt idx="151">
                  <c:v>0.14000000000000001</c:v>
                </c:pt>
                <c:pt idx="152">
                  <c:v>0.72</c:v>
                </c:pt>
                <c:pt idx="153">
                  <c:v>0.56999999999999995</c:v>
                </c:pt>
                <c:pt idx="154">
                  <c:v>0.24</c:v>
                </c:pt>
                <c:pt idx="155">
                  <c:v>0.69</c:v>
                </c:pt>
                <c:pt idx="156">
                  <c:v>0.12</c:v>
                </c:pt>
                <c:pt idx="157">
                  <c:v>0.09</c:v>
                </c:pt>
                <c:pt idx="158">
                  <c:v>0.54</c:v>
                </c:pt>
                <c:pt idx="159">
                  <c:v>0.14000000000000001</c:v>
                </c:pt>
                <c:pt idx="160">
                  <c:v>0.53</c:v>
                </c:pt>
                <c:pt idx="161">
                  <c:v>0.55000000000000004</c:v>
                </c:pt>
                <c:pt idx="162">
                  <c:v>0.13</c:v>
                </c:pt>
                <c:pt idx="163">
                  <c:v>0.61</c:v>
                </c:pt>
                <c:pt idx="164">
                  <c:v>0.1</c:v>
                </c:pt>
                <c:pt idx="165">
                  <c:v>0.04</c:v>
                </c:pt>
                <c:pt idx="166">
                  <c:v>0.01</c:v>
                </c:pt>
                <c:pt idx="167">
                  <c:v>0.46</c:v>
                </c:pt>
                <c:pt idx="168">
                  <c:v>0.3</c:v>
                </c:pt>
                <c:pt idx="169">
                  <c:v>0.72</c:v>
                </c:pt>
                <c:pt idx="170">
                  <c:v>0.68</c:v>
                </c:pt>
                <c:pt idx="171">
                  <c:v>0.72</c:v>
                </c:pt>
                <c:pt idx="172">
                  <c:v>0.31</c:v>
                </c:pt>
                <c:pt idx="173">
                  <c:v>0.6</c:v>
                </c:pt>
                <c:pt idx="174">
                  <c:v>0.69</c:v>
                </c:pt>
                <c:pt idx="175">
                  <c:v>0.06</c:v>
                </c:pt>
                <c:pt idx="176">
                  <c:v>0.48</c:v>
                </c:pt>
                <c:pt idx="177">
                  <c:v>0.02</c:v>
                </c:pt>
                <c:pt idx="178">
                  <c:v>0.14000000000000001</c:v>
                </c:pt>
                <c:pt idx="179">
                  <c:v>0.34</c:v>
                </c:pt>
                <c:pt idx="180">
                  <c:v>0.7</c:v>
                </c:pt>
                <c:pt idx="181">
                  <c:v>0.69</c:v>
                </c:pt>
                <c:pt idx="182">
                  <c:v>0.28999999999999998</c:v>
                </c:pt>
                <c:pt idx="183">
                  <c:v>0.1</c:v>
                </c:pt>
                <c:pt idx="184">
                  <c:v>0.08</c:v>
                </c:pt>
                <c:pt idx="185">
                  <c:v>0.08</c:v>
                </c:pt>
                <c:pt idx="186">
                  <c:v>0.68</c:v>
                </c:pt>
                <c:pt idx="187">
                  <c:v>0.17</c:v>
                </c:pt>
                <c:pt idx="188">
                  <c:v>0.01</c:v>
                </c:pt>
                <c:pt idx="189">
                  <c:v>0.69</c:v>
                </c:pt>
                <c:pt idx="190">
                  <c:v>0.15</c:v>
                </c:pt>
                <c:pt idx="191">
                  <c:v>0.08</c:v>
                </c:pt>
                <c:pt idx="192">
                  <c:v>0.1</c:v>
                </c:pt>
                <c:pt idx="193">
                  <c:v>0.65</c:v>
                </c:pt>
                <c:pt idx="194">
                  <c:v>0.08</c:v>
                </c:pt>
                <c:pt idx="195">
                  <c:v>0.17</c:v>
                </c:pt>
                <c:pt idx="196">
                  <c:v>0.14000000000000001</c:v>
                </c:pt>
                <c:pt idx="197">
                  <c:v>0.3</c:v>
                </c:pt>
                <c:pt idx="198">
                  <c:v>7.0000000000000007E-2</c:v>
                </c:pt>
                <c:pt idx="199">
                  <c:v>0.09</c:v>
                </c:pt>
                <c:pt idx="200">
                  <c:v>0.1</c:v>
                </c:pt>
                <c:pt idx="201">
                  <c:v>0.05</c:v>
                </c:pt>
                <c:pt idx="202">
                  <c:v>0.54</c:v>
                </c:pt>
                <c:pt idx="203">
                  <c:v>0.18</c:v>
                </c:pt>
                <c:pt idx="204">
                  <c:v>7.0000000000000007E-2</c:v>
                </c:pt>
                <c:pt idx="205">
                  <c:v>0.05</c:v>
                </c:pt>
                <c:pt idx="206">
                  <c:v>0.01</c:v>
                </c:pt>
                <c:pt idx="207">
                  <c:v>7.0000000000000007E-2</c:v>
                </c:pt>
                <c:pt idx="208">
                  <c:v>7.0000000000000007E-2</c:v>
                </c:pt>
                <c:pt idx="209">
                  <c:v>0.13</c:v>
                </c:pt>
                <c:pt idx="210">
                  <c:v>0.18</c:v>
                </c:pt>
                <c:pt idx="211">
                  <c:v>0.01</c:v>
                </c:pt>
                <c:pt idx="212">
                  <c:v>0.02</c:v>
                </c:pt>
                <c:pt idx="213">
                  <c:v>0.15</c:v>
                </c:pt>
                <c:pt idx="214">
                  <c:v>0.66</c:v>
                </c:pt>
                <c:pt idx="215">
                  <c:v>0.02</c:v>
                </c:pt>
                <c:pt idx="216">
                  <c:v>0.13</c:v>
                </c:pt>
                <c:pt idx="217">
                  <c:v>0.06</c:v>
                </c:pt>
                <c:pt idx="218">
                  <c:v>0.06</c:v>
                </c:pt>
                <c:pt idx="219">
                  <c:v>0.14000000000000001</c:v>
                </c:pt>
                <c:pt idx="220">
                  <c:v>0.08</c:v>
                </c:pt>
                <c:pt idx="221">
                  <c:v>0.06</c:v>
                </c:pt>
                <c:pt idx="222">
                  <c:v>0.03</c:v>
                </c:pt>
                <c:pt idx="223">
                  <c:v>0.09</c:v>
                </c:pt>
                <c:pt idx="224">
                  <c:v>0.56999999999999995</c:v>
                </c:pt>
                <c:pt idx="225">
                  <c:v>0.14000000000000001</c:v>
                </c:pt>
                <c:pt idx="226">
                  <c:v>0.38</c:v>
                </c:pt>
                <c:pt idx="227">
                  <c:v>0.02</c:v>
                </c:pt>
                <c:pt idx="228">
                  <c:v>0.01</c:v>
                </c:pt>
                <c:pt idx="229">
                  <c:v>0.01</c:v>
                </c:pt>
                <c:pt idx="230">
                  <c:v>0.13</c:v>
                </c:pt>
                <c:pt idx="231">
                  <c:v>0.04</c:v>
                </c:pt>
                <c:pt idx="232">
                  <c:v>0.01</c:v>
                </c:pt>
                <c:pt idx="233">
                  <c:v>0.05</c:v>
                </c:pt>
                <c:pt idx="234">
                  <c:v>7.0000000000000007E-2</c:v>
                </c:pt>
                <c:pt idx="235">
                  <c:v>0.04</c:v>
                </c:pt>
                <c:pt idx="236">
                  <c:v>7.0000000000000007E-2</c:v>
                </c:pt>
                <c:pt idx="237">
                  <c:v>0.04</c:v>
                </c:pt>
                <c:pt idx="238">
                  <c:v>0.05</c:v>
                </c:pt>
                <c:pt idx="239">
                  <c:v>0.01</c:v>
                </c:pt>
                <c:pt idx="240">
                  <c:v>0.13</c:v>
                </c:pt>
                <c:pt idx="241">
                  <c:v>0.02</c:v>
                </c:pt>
                <c:pt idx="242">
                  <c:v>0.01</c:v>
                </c:pt>
                <c:pt idx="243">
                  <c:v>0.02</c:v>
                </c:pt>
                <c:pt idx="244">
                  <c:v>0.03</c:v>
                </c:pt>
                <c:pt idx="245">
                  <c:v>0.01</c:v>
                </c:pt>
                <c:pt idx="246">
                  <c:v>0.08</c:v>
                </c:pt>
                <c:pt idx="247">
                  <c:v>0.01</c:v>
                </c:pt>
                <c:pt idx="248">
                  <c:v>0.01</c:v>
                </c:pt>
                <c:pt idx="249">
                  <c:v>0.06</c:v>
                </c:pt>
                <c:pt idx="250">
                  <c:v>0.06</c:v>
                </c:pt>
                <c:pt idx="251">
                  <c:v>0.01</c:v>
                </c:pt>
                <c:pt idx="252">
                  <c:v>0.02</c:v>
                </c:pt>
                <c:pt idx="253">
                  <c:v>0.01</c:v>
                </c:pt>
                <c:pt idx="254">
                  <c:v>0.01</c:v>
                </c:pt>
                <c:pt idx="255">
                  <c:v>0.12</c:v>
                </c:pt>
                <c:pt idx="256">
                  <c:v>0.09</c:v>
                </c:pt>
                <c:pt idx="257">
                  <c:v>0.01</c:v>
                </c:pt>
                <c:pt idx="258">
                  <c:v>0.03</c:v>
                </c:pt>
                <c:pt idx="259">
                  <c:v>7.0000000000000007E-2</c:v>
                </c:pt>
                <c:pt idx="260">
                  <c:v>0.01</c:v>
                </c:pt>
                <c:pt idx="261">
                  <c:v>0.13</c:v>
                </c:pt>
                <c:pt idx="262">
                  <c:v>0.04</c:v>
                </c:pt>
                <c:pt idx="263">
                  <c:v>0.01</c:v>
                </c:pt>
                <c:pt idx="264">
                  <c:v>0.02</c:v>
                </c:pt>
                <c:pt idx="265">
                  <c:v>0.01</c:v>
                </c:pt>
                <c:pt idx="266">
                  <c:v>0.01</c:v>
                </c:pt>
                <c:pt idx="267">
                  <c:v>0.01</c:v>
                </c:pt>
                <c:pt idx="268">
                  <c:v>0.01</c:v>
                </c:pt>
                <c:pt idx="269">
                  <c:v>0.01</c:v>
                </c:pt>
                <c:pt idx="270">
                  <c:v>0.02</c:v>
                </c:pt>
                <c:pt idx="271">
                  <c:v>0.01</c:v>
                </c:pt>
                <c:pt idx="272">
                  <c:v>0.01</c:v>
                </c:pt>
                <c:pt idx="273">
                  <c:v>0.01</c:v>
                </c:pt>
                <c:pt idx="274">
                  <c:v>0.14000000000000001</c:v>
                </c:pt>
                <c:pt idx="275">
                  <c:v>0.01</c:v>
                </c:pt>
                <c:pt idx="276">
                  <c:v>0.03</c:v>
                </c:pt>
                <c:pt idx="277">
                  <c:v>0.01</c:v>
                </c:pt>
                <c:pt idx="278">
                  <c:v>0.04</c:v>
                </c:pt>
                <c:pt idx="279">
                  <c:v>0.02</c:v>
                </c:pt>
                <c:pt idx="280">
                  <c:v>0.02</c:v>
                </c:pt>
                <c:pt idx="281">
                  <c:v>0.01</c:v>
                </c:pt>
                <c:pt idx="282">
                  <c:v>0.01</c:v>
                </c:pt>
                <c:pt idx="283">
                  <c:v>0.01</c:v>
                </c:pt>
                <c:pt idx="284">
                  <c:v>0.01</c:v>
                </c:pt>
                <c:pt idx="285">
                  <c:v>0.01</c:v>
                </c:pt>
                <c:pt idx="286">
                  <c:v>0.01</c:v>
                </c:pt>
                <c:pt idx="287">
                  <c:v>0.01</c:v>
                </c:pt>
                <c:pt idx="288">
                  <c:v>0.01</c:v>
                </c:pt>
                <c:pt idx="289">
                  <c:v>0.01</c:v>
                </c:pt>
                <c:pt idx="290">
                  <c:v>0.01</c:v>
                </c:pt>
                <c:pt idx="291">
                  <c:v>0.01</c:v>
                </c:pt>
                <c:pt idx="292">
                  <c:v>0.01</c:v>
                </c:pt>
                <c:pt idx="293">
                  <c:v>0.05</c:v>
                </c:pt>
                <c:pt idx="294">
                  <c:v>0.01</c:v>
                </c:pt>
                <c:pt idx="295">
                  <c:v>0.01</c:v>
                </c:pt>
                <c:pt idx="296">
                  <c:v>0.01</c:v>
                </c:pt>
                <c:pt idx="297">
                  <c:v>0.01</c:v>
                </c:pt>
                <c:pt idx="298">
                  <c:v>0.01</c:v>
                </c:pt>
                <c:pt idx="299">
                  <c:v>0.01</c:v>
                </c:pt>
                <c:pt idx="300">
                  <c:v>0.01</c:v>
                </c:pt>
                <c:pt idx="301">
                  <c:v>0.04</c:v>
                </c:pt>
                <c:pt idx="302">
                  <c:v>0.01</c:v>
                </c:pt>
                <c:pt idx="303">
                  <c:v>0.01</c:v>
                </c:pt>
                <c:pt idx="304">
                  <c:v>0.01</c:v>
                </c:pt>
                <c:pt idx="30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EF27-44BF-919C-257769637A10}"/>
              </c:ext>
            </c:extLst>
          </c:dPt>
          <c:dPt>
            <c:idx val="211"/>
            <c:invertIfNegative val="1"/>
            <c:bubble3D val="0"/>
            <c:spPr>
              <a:solidFill>
                <a:srgbClr val="AEABAB"/>
              </a:solidFill>
            </c:spPr>
            <c:extLst>
              <c:ext xmlns:c16="http://schemas.microsoft.com/office/drawing/2014/chart" uri="{C3380CC4-5D6E-409C-BE32-E72D297353CC}">
                <c16:uniqueId val="{000001A9-EF27-44BF-919C-257769637A10}"/>
              </c:ext>
            </c:extLst>
          </c:dPt>
          <c:dPt>
            <c:idx val="212"/>
            <c:invertIfNegative val="1"/>
            <c:bubble3D val="0"/>
            <c:spPr>
              <a:solidFill>
                <a:srgbClr val="AEABAB"/>
              </a:solidFill>
            </c:spPr>
            <c:extLst>
              <c:ext xmlns:c16="http://schemas.microsoft.com/office/drawing/2014/chart" uri="{C3380CC4-5D6E-409C-BE32-E72D297353CC}">
                <c16:uniqueId val="{000001AB-EF27-44BF-919C-257769637A10}"/>
              </c:ext>
            </c:extLst>
          </c:dPt>
          <c:dPt>
            <c:idx val="213"/>
            <c:invertIfNegative val="1"/>
            <c:bubble3D val="0"/>
            <c:spPr>
              <a:solidFill>
                <a:srgbClr val="AEABAB"/>
              </a:solidFill>
            </c:spPr>
            <c:extLst>
              <c:ext xmlns:c16="http://schemas.microsoft.com/office/drawing/2014/chart" uri="{C3380CC4-5D6E-409C-BE32-E72D297353CC}">
                <c16:uniqueId val="{000001AD-EF27-44BF-919C-257769637A10}"/>
              </c:ext>
            </c:extLst>
          </c:dPt>
          <c:dPt>
            <c:idx val="214"/>
            <c:invertIfNegative val="1"/>
            <c:bubble3D val="0"/>
            <c:spPr>
              <a:solidFill>
                <a:srgbClr val="AEABAB"/>
              </a:solidFill>
            </c:spPr>
            <c:extLst>
              <c:ext xmlns:c16="http://schemas.microsoft.com/office/drawing/2014/chart" uri="{C3380CC4-5D6E-409C-BE32-E72D297353CC}">
                <c16:uniqueId val="{000001AF-EF27-44BF-919C-257769637A10}"/>
              </c:ext>
            </c:extLst>
          </c:dPt>
          <c:dPt>
            <c:idx val="215"/>
            <c:invertIfNegative val="1"/>
            <c:bubble3D val="0"/>
            <c:spPr>
              <a:solidFill>
                <a:srgbClr val="AEABAB"/>
              </a:solidFill>
            </c:spPr>
            <c:extLst>
              <c:ext xmlns:c16="http://schemas.microsoft.com/office/drawing/2014/chart" uri="{C3380CC4-5D6E-409C-BE32-E72D297353CC}">
                <c16:uniqueId val="{000001B1-EF27-44BF-919C-257769637A10}"/>
              </c:ext>
            </c:extLst>
          </c:dPt>
          <c:dPt>
            <c:idx val="216"/>
            <c:invertIfNegative val="1"/>
            <c:bubble3D val="0"/>
            <c:spPr>
              <a:solidFill>
                <a:srgbClr val="AEABAB"/>
              </a:solidFill>
            </c:spPr>
            <c:extLst>
              <c:ext xmlns:c16="http://schemas.microsoft.com/office/drawing/2014/chart" uri="{C3380CC4-5D6E-409C-BE32-E72D297353CC}">
                <c16:uniqueId val="{000001B3-EF27-44BF-919C-257769637A10}"/>
              </c:ext>
            </c:extLst>
          </c:dPt>
          <c:dPt>
            <c:idx val="217"/>
            <c:invertIfNegative val="1"/>
            <c:bubble3D val="0"/>
            <c:spPr>
              <a:solidFill>
                <a:srgbClr val="AEABAB"/>
              </a:solidFill>
            </c:spPr>
            <c:extLst>
              <c:ext xmlns:c16="http://schemas.microsoft.com/office/drawing/2014/chart" uri="{C3380CC4-5D6E-409C-BE32-E72D297353CC}">
                <c16:uniqueId val="{000001B5-EF27-44BF-919C-257769637A10}"/>
              </c:ext>
            </c:extLst>
          </c:dPt>
          <c:dPt>
            <c:idx val="218"/>
            <c:invertIfNegative val="1"/>
            <c:bubble3D val="0"/>
            <c:spPr>
              <a:solidFill>
                <a:srgbClr val="AEABAB"/>
              </a:solidFill>
            </c:spPr>
            <c:extLst>
              <c:ext xmlns:c16="http://schemas.microsoft.com/office/drawing/2014/chart" uri="{C3380CC4-5D6E-409C-BE32-E72D297353CC}">
                <c16:uniqueId val="{000001B7-EF27-44BF-919C-257769637A10}"/>
              </c:ext>
            </c:extLst>
          </c:dPt>
          <c:dPt>
            <c:idx val="219"/>
            <c:invertIfNegative val="1"/>
            <c:bubble3D val="0"/>
            <c:spPr>
              <a:solidFill>
                <a:srgbClr val="AEABAB"/>
              </a:solidFill>
            </c:spPr>
            <c:extLst>
              <c:ext xmlns:c16="http://schemas.microsoft.com/office/drawing/2014/chart" uri="{C3380CC4-5D6E-409C-BE32-E72D297353CC}">
                <c16:uniqueId val="{000001B9-EF27-44BF-919C-257769637A10}"/>
              </c:ext>
            </c:extLst>
          </c:dPt>
          <c:dPt>
            <c:idx val="220"/>
            <c:invertIfNegative val="1"/>
            <c:bubble3D val="0"/>
            <c:spPr>
              <a:solidFill>
                <a:srgbClr val="AEABAB"/>
              </a:solidFill>
            </c:spPr>
            <c:extLst>
              <c:ext xmlns:c16="http://schemas.microsoft.com/office/drawing/2014/chart" uri="{C3380CC4-5D6E-409C-BE32-E72D297353CC}">
                <c16:uniqueId val="{000001BB-EF27-44BF-919C-257769637A10}"/>
              </c:ext>
            </c:extLst>
          </c:dPt>
          <c:dPt>
            <c:idx val="221"/>
            <c:invertIfNegative val="1"/>
            <c:bubble3D val="0"/>
            <c:spPr>
              <a:solidFill>
                <a:srgbClr val="AEABAB"/>
              </a:solidFill>
            </c:spPr>
            <c:extLst>
              <c:ext xmlns:c16="http://schemas.microsoft.com/office/drawing/2014/chart" uri="{C3380CC4-5D6E-409C-BE32-E72D297353CC}">
                <c16:uniqueId val="{000001BD-EF27-44BF-919C-257769637A10}"/>
              </c:ext>
            </c:extLst>
          </c:dPt>
          <c:dPt>
            <c:idx val="222"/>
            <c:invertIfNegative val="1"/>
            <c:bubble3D val="0"/>
            <c:spPr>
              <a:solidFill>
                <a:srgbClr val="AEABAB"/>
              </a:solidFill>
            </c:spPr>
            <c:extLst>
              <c:ext xmlns:c16="http://schemas.microsoft.com/office/drawing/2014/chart" uri="{C3380CC4-5D6E-409C-BE32-E72D297353CC}">
                <c16:uniqueId val="{000001BF-EF27-44BF-919C-257769637A10}"/>
              </c:ext>
            </c:extLst>
          </c:dPt>
          <c:dPt>
            <c:idx val="223"/>
            <c:invertIfNegative val="1"/>
            <c:bubble3D val="0"/>
            <c:spPr>
              <a:solidFill>
                <a:srgbClr val="AEABAB"/>
              </a:solidFill>
            </c:spPr>
            <c:extLst>
              <c:ext xmlns:c16="http://schemas.microsoft.com/office/drawing/2014/chart" uri="{C3380CC4-5D6E-409C-BE32-E72D297353CC}">
                <c16:uniqueId val="{000001C1-EF27-44BF-919C-257769637A10}"/>
              </c:ext>
            </c:extLst>
          </c:dPt>
          <c:dPt>
            <c:idx val="224"/>
            <c:invertIfNegative val="1"/>
            <c:bubble3D val="0"/>
            <c:spPr>
              <a:solidFill>
                <a:srgbClr val="AEABAB"/>
              </a:solidFill>
            </c:spPr>
            <c:extLst>
              <c:ext xmlns:c16="http://schemas.microsoft.com/office/drawing/2014/chart" uri="{C3380CC4-5D6E-409C-BE32-E72D297353CC}">
                <c16:uniqueId val="{000001C3-EF27-44BF-919C-257769637A10}"/>
              </c:ext>
            </c:extLst>
          </c:dPt>
          <c:dPt>
            <c:idx val="225"/>
            <c:invertIfNegative val="1"/>
            <c:bubble3D val="0"/>
            <c:spPr>
              <a:solidFill>
                <a:srgbClr val="AEABAB"/>
              </a:solidFill>
            </c:spPr>
            <c:extLst>
              <c:ext xmlns:c16="http://schemas.microsoft.com/office/drawing/2014/chart" uri="{C3380CC4-5D6E-409C-BE32-E72D297353CC}">
                <c16:uniqueId val="{000001C5-EF27-44BF-919C-257769637A10}"/>
              </c:ext>
            </c:extLst>
          </c:dPt>
          <c:dPt>
            <c:idx val="226"/>
            <c:invertIfNegative val="1"/>
            <c:bubble3D val="0"/>
            <c:spPr>
              <a:solidFill>
                <a:srgbClr val="AEABAB"/>
              </a:solidFill>
            </c:spPr>
            <c:extLst>
              <c:ext xmlns:c16="http://schemas.microsoft.com/office/drawing/2014/chart" uri="{C3380CC4-5D6E-409C-BE32-E72D297353CC}">
                <c16:uniqueId val="{000001C7-EF27-44BF-919C-257769637A10}"/>
              </c:ext>
            </c:extLst>
          </c:dPt>
          <c:dPt>
            <c:idx val="227"/>
            <c:invertIfNegative val="1"/>
            <c:bubble3D val="0"/>
            <c:spPr>
              <a:solidFill>
                <a:srgbClr val="AEABAB"/>
              </a:solidFill>
            </c:spPr>
            <c:extLst>
              <c:ext xmlns:c16="http://schemas.microsoft.com/office/drawing/2014/chart" uri="{C3380CC4-5D6E-409C-BE32-E72D297353CC}">
                <c16:uniqueId val="{000001C9-EF27-44BF-919C-257769637A10}"/>
              </c:ext>
            </c:extLst>
          </c:dPt>
          <c:dPt>
            <c:idx val="228"/>
            <c:invertIfNegative val="1"/>
            <c:bubble3D val="0"/>
            <c:spPr>
              <a:solidFill>
                <a:srgbClr val="AEABAB"/>
              </a:solidFill>
            </c:spPr>
            <c:extLst>
              <c:ext xmlns:c16="http://schemas.microsoft.com/office/drawing/2014/chart" uri="{C3380CC4-5D6E-409C-BE32-E72D297353CC}">
                <c16:uniqueId val="{000001CB-EF27-44BF-919C-257769637A10}"/>
              </c:ext>
            </c:extLst>
          </c:dPt>
          <c:dPt>
            <c:idx val="229"/>
            <c:invertIfNegative val="1"/>
            <c:bubble3D val="0"/>
            <c:spPr>
              <a:solidFill>
                <a:srgbClr val="AEABAB"/>
              </a:solidFill>
            </c:spPr>
            <c:extLst>
              <c:ext xmlns:c16="http://schemas.microsoft.com/office/drawing/2014/chart" uri="{C3380CC4-5D6E-409C-BE32-E72D297353CC}">
                <c16:uniqueId val="{000001CD-EF27-44BF-919C-257769637A10}"/>
              </c:ext>
            </c:extLst>
          </c:dPt>
          <c:dPt>
            <c:idx val="230"/>
            <c:invertIfNegative val="1"/>
            <c:bubble3D val="0"/>
            <c:spPr>
              <a:solidFill>
                <a:srgbClr val="AEABAB"/>
              </a:solidFill>
            </c:spPr>
            <c:extLst>
              <c:ext xmlns:c16="http://schemas.microsoft.com/office/drawing/2014/chart" uri="{C3380CC4-5D6E-409C-BE32-E72D297353CC}">
                <c16:uniqueId val="{000001CF-EF27-44BF-919C-257769637A10}"/>
              </c:ext>
            </c:extLst>
          </c:dPt>
          <c:dPt>
            <c:idx val="231"/>
            <c:invertIfNegative val="1"/>
            <c:bubble3D val="0"/>
            <c:spPr>
              <a:solidFill>
                <a:srgbClr val="AEABAB"/>
              </a:solidFill>
            </c:spPr>
            <c:extLst>
              <c:ext xmlns:c16="http://schemas.microsoft.com/office/drawing/2014/chart" uri="{C3380CC4-5D6E-409C-BE32-E72D297353CC}">
                <c16:uniqueId val="{000001D1-EF27-44BF-919C-257769637A10}"/>
              </c:ext>
            </c:extLst>
          </c:dPt>
          <c:dPt>
            <c:idx val="232"/>
            <c:invertIfNegative val="1"/>
            <c:bubble3D val="0"/>
            <c:spPr>
              <a:solidFill>
                <a:srgbClr val="AEABAB"/>
              </a:solidFill>
            </c:spPr>
            <c:extLst>
              <c:ext xmlns:c16="http://schemas.microsoft.com/office/drawing/2014/chart" uri="{C3380CC4-5D6E-409C-BE32-E72D297353CC}">
                <c16:uniqueId val="{000001D3-EF27-44BF-919C-257769637A10}"/>
              </c:ext>
            </c:extLst>
          </c:dPt>
          <c:dPt>
            <c:idx val="233"/>
            <c:invertIfNegative val="1"/>
            <c:bubble3D val="0"/>
            <c:spPr>
              <a:solidFill>
                <a:srgbClr val="AEABAB"/>
              </a:solidFill>
            </c:spPr>
            <c:extLst>
              <c:ext xmlns:c16="http://schemas.microsoft.com/office/drawing/2014/chart" uri="{C3380CC4-5D6E-409C-BE32-E72D297353CC}">
                <c16:uniqueId val="{000001D5-EF27-44BF-919C-257769637A10}"/>
              </c:ext>
            </c:extLst>
          </c:dPt>
          <c:dPt>
            <c:idx val="234"/>
            <c:invertIfNegative val="1"/>
            <c:bubble3D val="0"/>
            <c:spPr>
              <a:solidFill>
                <a:srgbClr val="AEABAB"/>
              </a:solidFill>
            </c:spPr>
            <c:extLst>
              <c:ext xmlns:c16="http://schemas.microsoft.com/office/drawing/2014/chart" uri="{C3380CC4-5D6E-409C-BE32-E72D297353CC}">
                <c16:uniqueId val="{000001D7-EF27-44BF-919C-257769637A10}"/>
              </c:ext>
            </c:extLst>
          </c:dPt>
          <c:dPt>
            <c:idx val="235"/>
            <c:invertIfNegative val="1"/>
            <c:bubble3D val="0"/>
            <c:spPr>
              <a:solidFill>
                <a:srgbClr val="AEABAB"/>
              </a:solidFill>
            </c:spPr>
            <c:extLst>
              <c:ext xmlns:c16="http://schemas.microsoft.com/office/drawing/2014/chart" uri="{C3380CC4-5D6E-409C-BE32-E72D297353CC}">
                <c16:uniqueId val="{000001D9-EF27-44BF-919C-257769637A10}"/>
              </c:ext>
            </c:extLst>
          </c:dPt>
          <c:dPt>
            <c:idx val="236"/>
            <c:invertIfNegative val="1"/>
            <c:bubble3D val="0"/>
            <c:spPr>
              <a:solidFill>
                <a:srgbClr val="AEABAB"/>
              </a:solidFill>
            </c:spPr>
            <c:extLst>
              <c:ext xmlns:c16="http://schemas.microsoft.com/office/drawing/2014/chart" uri="{C3380CC4-5D6E-409C-BE32-E72D297353CC}">
                <c16:uniqueId val="{000001DB-EF27-44BF-919C-257769637A10}"/>
              </c:ext>
            </c:extLst>
          </c:dPt>
          <c:dPt>
            <c:idx val="237"/>
            <c:invertIfNegative val="1"/>
            <c:bubble3D val="0"/>
            <c:spPr>
              <a:solidFill>
                <a:srgbClr val="AEABAB"/>
              </a:solidFill>
            </c:spPr>
            <c:extLst>
              <c:ext xmlns:c16="http://schemas.microsoft.com/office/drawing/2014/chart" uri="{C3380CC4-5D6E-409C-BE32-E72D297353CC}">
                <c16:uniqueId val="{000001DD-EF27-44BF-919C-257769637A10}"/>
              </c:ext>
            </c:extLst>
          </c:dPt>
          <c:dPt>
            <c:idx val="238"/>
            <c:invertIfNegative val="1"/>
            <c:bubble3D val="0"/>
            <c:spPr>
              <a:solidFill>
                <a:srgbClr val="AEABAB"/>
              </a:solidFill>
            </c:spPr>
            <c:extLst>
              <c:ext xmlns:c16="http://schemas.microsoft.com/office/drawing/2014/chart" uri="{C3380CC4-5D6E-409C-BE32-E72D297353CC}">
                <c16:uniqueId val="{000001DF-EF27-44BF-919C-257769637A10}"/>
              </c:ext>
            </c:extLst>
          </c:dPt>
          <c:dPt>
            <c:idx val="239"/>
            <c:invertIfNegative val="1"/>
            <c:bubble3D val="0"/>
            <c:spPr>
              <a:solidFill>
                <a:srgbClr val="AEABAB"/>
              </a:solidFill>
            </c:spPr>
            <c:extLst>
              <c:ext xmlns:c16="http://schemas.microsoft.com/office/drawing/2014/chart" uri="{C3380CC4-5D6E-409C-BE32-E72D297353CC}">
                <c16:uniqueId val="{000001E1-EF27-44BF-919C-257769637A10}"/>
              </c:ext>
            </c:extLst>
          </c:dPt>
          <c:dPt>
            <c:idx val="240"/>
            <c:invertIfNegative val="1"/>
            <c:bubble3D val="0"/>
            <c:spPr>
              <a:solidFill>
                <a:srgbClr val="AEABAB"/>
              </a:solidFill>
            </c:spPr>
            <c:extLst>
              <c:ext xmlns:c16="http://schemas.microsoft.com/office/drawing/2014/chart" uri="{C3380CC4-5D6E-409C-BE32-E72D297353CC}">
                <c16:uniqueId val="{000001E3-EF27-44BF-919C-257769637A10}"/>
              </c:ext>
            </c:extLst>
          </c:dPt>
          <c:dPt>
            <c:idx val="241"/>
            <c:invertIfNegative val="1"/>
            <c:bubble3D val="0"/>
            <c:spPr>
              <a:solidFill>
                <a:srgbClr val="AEABAB"/>
              </a:solidFill>
            </c:spPr>
            <c:extLst>
              <c:ext xmlns:c16="http://schemas.microsoft.com/office/drawing/2014/chart" uri="{C3380CC4-5D6E-409C-BE32-E72D297353CC}">
                <c16:uniqueId val="{000001E5-EF27-44BF-919C-257769637A10}"/>
              </c:ext>
            </c:extLst>
          </c:dPt>
          <c:dPt>
            <c:idx val="242"/>
            <c:invertIfNegative val="1"/>
            <c:bubble3D val="0"/>
            <c:spPr>
              <a:solidFill>
                <a:srgbClr val="AEABAB"/>
              </a:solidFill>
            </c:spPr>
            <c:extLst>
              <c:ext xmlns:c16="http://schemas.microsoft.com/office/drawing/2014/chart" uri="{C3380CC4-5D6E-409C-BE32-E72D297353CC}">
                <c16:uniqueId val="{000001E7-EF27-44BF-919C-257769637A10}"/>
              </c:ext>
            </c:extLst>
          </c:dPt>
          <c:dPt>
            <c:idx val="243"/>
            <c:invertIfNegative val="1"/>
            <c:bubble3D val="0"/>
            <c:spPr>
              <a:solidFill>
                <a:srgbClr val="AEABAB"/>
              </a:solidFill>
            </c:spPr>
            <c:extLst>
              <c:ext xmlns:c16="http://schemas.microsoft.com/office/drawing/2014/chart" uri="{C3380CC4-5D6E-409C-BE32-E72D297353CC}">
                <c16:uniqueId val="{000001E9-EF27-44BF-919C-257769637A10}"/>
              </c:ext>
            </c:extLst>
          </c:dPt>
          <c:dPt>
            <c:idx val="244"/>
            <c:invertIfNegative val="1"/>
            <c:bubble3D val="0"/>
            <c:spPr>
              <a:solidFill>
                <a:srgbClr val="AEABAB"/>
              </a:solidFill>
            </c:spPr>
            <c:extLst>
              <c:ext xmlns:c16="http://schemas.microsoft.com/office/drawing/2014/chart" uri="{C3380CC4-5D6E-409C-BE32-E72D297353CC}">
                <c16:uniqueId val="{000001EB-EF27-44BF-919C-257769637A10}"/>
              </c:ext>
            </c:extLst>
          </c:dPt>
          <c:dPt>
            <c:idx val="245"/>
            <c:invertIfNegative val="1"/>
            <c:bubble3D val="0"/>
            <c:spPr>
              <a:solidFill>
                <a:srgbClr val="AEABAB"/>
              </a:solidFill>
            </c:spPr>
            <c:extLst>
              <c:ext xmlns:c16="http://schemas.microsoft.com/office/drawing/2014/chart" uri="{C3380CC4-5D6E-409C-BE32-E72D297353CC}">
                <c16:uniqueId val="{000001ED-EF27-44BF-919C-257769637A10}"/>
              </c:ext>
            </c:extLst>
          </c:dPt>
          <c:dPt>
            <c:idx val="246"/>
            <c:invertIfNegative val="1"/>
            <c:bubble3D val="0"/>
            <c:spPr>
              <a:solidFill>
                <a:srgbClr val="AEABAB"/>
              </a:solidFill>
            </c:spPr>
            <c:extLst>
              <c:ext xmlns:c16="http://schemas.microsoft.com/office/drawing/2014/chart" uri="{C3380CC4-5D6E-409C-BE32-E72D297353CC}">
                <c16:uniqueId val="{000001EF-EF27-44BF-919C-257769637A10}"/>
              </c:ext>
            </c:extLst>
          </c:dPt>
          <c:dPt>
            <c:idx val="247"/>
            <c:invertIfNegative val="1"/>
            <c:bubble3D val="0"/>
            <c:spPr>
              <a:solidFill>
                <a:srgbClr val="AEABAB"/>
              </a:solidFill>
            </c:spPr>
            <c:extLst>
              <c:ext xmlns:c16="http://schemas.microsoft.com/office/drawing/2014/chart" uri="{C3380CC4-5D6E-409C-BE32-E72D297353CC}">
                <c16:uniqueId val="{000001F1-EF27-44BF-919C-257769637A10}"/>
              </c:ext>
            </c:extLst>
          </c:dPt>
          <c:dPt>
            <c:idx val="248"/>
            <c:invertIfNegative val="1"/>
            <c:bubble3D val="0"/>
            <c:spPr>
              <a:solidFill>
                <a:srgbClr val="AEABAB"/>
              </a:solidFill>
            </c:spPr>
            <c:extLst>
              <c:ext xmlns:c16="http://schemas.microsoft.com/office/drawing/2014/chart" uri="{C3380CC4-5D6E-409C-BE32-E72D297353CC}">
                <c16:uniqueId val="{000001F3-EF27-44BF-919C-257769637A10}"/>
              </c:ext>
            </c:extLst>
          </c:dPt>
          <c:dPt>
            <c:idx val="249"/>
            <c:invertIfNegative val="1"/>
            <c:bubble3D val="0"/>
            <c:spPr>
              <a:solidFill>
                <a:srgbClr val="AEABAB"/>
              </a:solidFill>
            </c:spPr>
            <c:extLst>
              <c:ext xmlns:c16="http://schemas.microsoft.com/office/drawing/2014/chart" uri="{C3380CC4-5D6E-409C-BE32-E72D297353CC}">
                <c16:uniqueId val="{000001F5-EF27-44BF-919C-257769637A10}"/>
              </c:ext>
            </c:extLst>
          </c:dPt>
          <c:dPt>
            <c:idx val="250"/>
            <c:invertIfNegative val="1"/>
            <c:bubble3D val="0"/>
            <c:spPr>
              <a:solidFill>
                <a:srgbClr val="AEABAB"/>
              </a:solidFill>
            </c:spPr>
            <c:extLst>
              <c:ext xmlns:c16="http://schemas.microsoft.com/office/drawing/2014/chart" uri="{C3380CC4-5D6E-409C-BE32-E72D297353CC}">
                <c16:uniqueId val="{000001F7-EF27-44BF-919C-257769637A10}"/>
              </c:ext>
            </c:extLst>
          </c:dPt>
          <c:dPt>
            <c:idx val="251"/>
            <c:invertIfNegative val="1"/>
            <c:bubble3D val="0"/>
            <c:spPr>
              <a:solidFill>
                <a:srgbClr val="AEABAB"/>
              </a:solidFill>
            </c:spPr>
            <c:extLst>
              <c:ext xmlns:c16="http://schemas.microsoft.com/office/drawing/2014/chart" uri="{C3380CC4-5D6E-409C-BE32-E72D297353CC}">
                <c16:uniqueId val="{000001F9-EF27-44BF-919C-257769637A10}"/>
              </c:ext>
            </c:extLst>
          </c:dPt>
          <c:dPt>
            <c:idx val="252"/>
            <c:invertIfNegative val="1"/>
            <c:bubble3D val="0"/>
            <c:spPr>
              <a:solidFill>
                <a:srgbClr val="AEABAB"/>
              </a:solidFill>
            </c:spPr>
            <c:extLst>
              <c:ext xmlns:c16="http://schemas.microsoft.com/office/drawing/2014/chart" uri="{C3380CC4-5D6E-409C-BE32-E72D297353CC}">
                <c16:uniqueId val="{000001FB-EF27-44BF-919C-257769637A10}"/>
              </c:ext>
            </c:extLst>
          </c:dPt>
          <c:dPt>
            <c:idx val="253"/>
            <c:invertIfNegative val="1"/>
            <c:bubble3D val="0"/>
            <c:spPr>
              <a:solidFill>
                <a:srgbClr val="AEABAB"/>
              </a:solidFill>
            </c:spPr>
            <c:extLst>
              <c:ext xmlns:c16="http://schemas.microsoft.com/office/drawing/2014/chart" uri="{C3380CC4-5D6E-409C-BE32-E72D297353CC}">
                <c16:uniqueId val="{000001FD-EF27-44BF-919C-257769637A10}"/>
              </c:ext>
            </c:extLst>
          </c:dPt>
          <c:dPt>
            <c:idx val="254"/>
            <c:invertIfNegative val="1"/>
            <c:bubble3D val="0"/>
            <c:spPr>
              <a:solidFill>
                <a:srgbClr val="AEABAB"/>
              </a:solidFill>
            </c:spPr>
            <c:extLst>
              <c:ext xmlns:c16="http://schemas.microsoft.com/office/drawing/2014/chart" uri="{C3380CC4-5D6E-409C-BE32-E72D297353CC}">
                <c16:uniqueId val="{000001FF-EF27-44BF-919C-257769637A10}"/>
              </c:ext>
            </c:extLst>
          </c:dPt>
          <c:dPt>
            <c:idx val="255"/>
            <c:invertIfNegative val="1"/>
            <c:bubble3D val="0"/>
            <c:spPr>
              <a:solidFill>
                <a:srgbClr val="AEABAB"/>
              </a:solidFill>
            </c:spPr>
            <c:extLst>
              <c:ext xmlns:c16="http://schemas.microsoft.com/office/drawing/2014/chart" uri="{C3380CC4-5D6E-409C-BE32-E72D297353CC}">
                <c16:uniqueId val="{00000201-EF27-44BF-919C-257769637A10}"/>
              </c:ext>
            </c:extLst>
          </c:dPt>
          <c:dPt>
            <c:idx val="256"/>
            <c:invertIfNegative val="1"/>
            <c:bubble3D val="0"/>
            <c:spPr>
              <a:solidFill>
                <a:srgbClr val="AEABAB"/>
              </a:solidFill>
            </c:spPr>
            <c:extLst>
              <c:ext xmlns:c16="http://schemas.microsoft.com/office/drawing/2014/chart" uri="{C3380CC4-5D6E-409C-BE32-E72D297353CC}">
                <c16:uniqueId val="{00000203-EF27-44BF-919C-257769637A10}"/>
              </c:ext>
            </c:extLst>
          </c:dPt>
          <c:dPt>
            <c:idx val="257"/>
            <c:invertIfNegative val="1"/>
            <c:bubble3D val="0"/>
            <c:spPr>
              <a:solidFill>
                <a:srgbClr val="AEABAB"/>
              </a:solidFill>
            </c:spPr>
            <c:extLst>
              <c:ext xmlns:c16="http://schemas.microsoft.com/office/drawing/2014/chart" uri="{C3380CC4-5D6E-409C-BE32-E72D297353CC}">
                <c16:uniqueId val="{00000205-EF27-44BF-919C-257769637A10}"/>
              </c:ext>
            </c:extLst>
          </c:dPt>
          <c:dPt>
            <c:idx val="258"/>
            <c:invertIfNegative val="1"/>
            <c:bubble3D val="0"/>
            <c:spPr>
              <a:solidFill>
                <a:srgbClr val="AEABAB"/>
              </a:solidFill>
            </c:spPr>
            <c:extLst>
              <c:ext xmlns:c16="http://schemas.microsoft.com/office/drawing/2014/chart" uri="{C3380CC4-5D6E-409C-BE32-E72D297353CC}">
                <c16:uniqueId val="{00000207-EF27-44BF-919C-257769637A10}"/>
              </c:ext>
            </c:extLst>
          </c:dPt>
          <c:dPt>
            <c:idx val="259"/>
            <c:invertIfNegative val="1"/>
            <c:bubble3D val="0"/>
            <c:spPr>
              <a:solidFill>
                <a:srgbClr val="AEABAB"/>
              </a:solidFill>
            </c:spPr>
            <c:extLst>
              <c:ext xmlns:c16="http://schemas.microsoft.com/office/drawing/2014/chart" uri="{C3380CC4-5D6E-409C-BE32-E72D297353CC}">
                <c16:uniqueId val="{00000209-EF27-44BF-919C-257769637A10}"/>
              </c:ext>
            </c:extLst>
          </c:dPt>
          <c:dPt>
            <c:idx val="260"/>
            <c:invertIfNegative val="1"/>
            <c:bubble3D val="0"/>
            <c:spPr>
              <a:solidFill>
                <a:srgbClr val="AEABAB"/>
              </a:solidFill>
            </c:spPr>
            <c:extLst>
              <c:ext xmlns:c16="http://schemas.microsoft.com/office/drawing/2014/chart" uri="{C3380CC4-5D6E-409C-BE32-E72D297353CC}">
                <c16:uniqueId val="{0000020B-EF27-44BF-919C-257769637A10}"/>
              </c:ext>
            </c:extLst>
          </c:dPt>
          <c:dPt>
            <c:idx val="261"/>
            <c:invertIfNegative val="1"/>
            <c:bubble3D val="0"/>
            <c:spPr>
              <a:solidFill>
                <a:srgbClr val="AEABAB"/>
              </a:solidFill>
            </c:spPr>
            <c:extLst>
              <c:ext xmlns:c16="http://schemas.microsoft.com/office/drawing/2014/chart" uri="{C3380CC4-5D6E-409C-BE32-E72D297353CC}">
                <c16:uniqueId val="{0000020D-EF27-44BF-919C-257769637A10}"/>
              </c:ext>
            </c:extLst>
          </c:dPt>
          <c:dPt>
            <c:idx val="262"/>
            <c:invertIfNegative val="1"/>
            <c:bubble3D val="0"/>
            <c:spPr>
              <a:solidFill>
                <a:srgbClr val="AEABAB"/>
              </a:solidFill>
            </c:spPr>
            <c:extLst>
              <c:ext xmlns:c16="http://schemas.microsoft.com/office/drawing/2014/chart" uri="{C3380CC4-5D6E-409C-BE32-E72D297353CC}">
                <c16:uniqueId val="{0000020F-EF27-44BF-919C-257769637A10}"/>
              </c:ext>
            </c:extLst>
          </c:dPt>
          <c:dPt>
            <c:idx val="263"/>
            <c:invertIfNegative val="1"/>
            <c:bubble3D val="0"/>
            <c:spPr>
              <a:solidFill>
                <a:srgbClr val="AEABAB"/>
              </a:solidFill>
            </c:spPr>
            <c:extLst>
              <c:ext xmlns:c16="http://schemas.microsoft.com/office/drawing/2014/chart" uri="{C3380CC4-5D6E-409C-BE32-E72D297353CC}">
                <c16:uniqueId val="{00000211-EF27-44BF-919C-257769637A10}"/>
              </c:ext>
            </c:extLst>
          </c:dPt>
          <c:dPt>
            <c:idx val="264"/>
            <c:invertIfNegative val="1"/>
            <c:bubble3D val="0"/>
            <c:spPr>
              <a:solidFill>
                <a:srgbClr val="AEABAB"/>
              </a:solidFill>
            </c:spPr>
            <c:extLst>
              <c:ext xmlns:c16="http://schemas.microsoft.com/office/drawing/2014/chart" uri="{C3380CC4-5D6E-409C-BE32-E72D297353CC}">
                <c16:uniqueId val="{00000213-EF27-44BF-919C-257769637A10}"/>
              </c:ext>
            </c:extLst>
          </c:dPt>
          <c:dPt>
            <c:idx val="265"/>
            <c:invertIfNegative val="1"/>
            <c:bubble3D val="0"/>
            <c:spPr>
              <a:solidFill>
                <a:srgbClr val="AEABAB"/>
              </a:solidFill>
            </c:spPr>
            <c:extLst>
              <c:ext xmlns:c16="http://schemas.microsoft.com/office/drawing/2014/chart" uri="{C3380CC4-5D6E-409C-BE32-E72D297353CC}">
                <c16:uniqueId val="{00000215-EF27-44BF-919C-257769637A10}"/>
              </c:ext>
            </c:extLst>
          </c:dPt>
          <c:dPt>
            <c:idx val="266"/>
            <c:invertIfNegative val="1"/>
            <c:bubble3D val="0"/>
            <c:spPr>
              <a:solidFill>
                <a:srgbClr val="AEABAB"/>
              </a:solidFill>
            </c:spPr>
            <c:extLst>
              <c:ext xmlns:c16="http://schemas.microsoft.com/office/drawing/2014/chart" uri="{C3380CC4-5D6E-409C-BE32-E72D297353CC}">
                <c16:uniqueId val="{00000217-EF27-44BF-919C-257769637A10}"/>
              </c:ext>
            </c:extLst>
          </c:dPt>
          <c:dPt>
            <c:idx val="267"/>
            <c:invertIfNegative val="1"/>
            <c:bubble3D val="0"/>
            <c:spPr>
              <a:solidFill>
                <a:srgbClr val="AEABAB"/>
              </a:solidFill>
            </c:spPr>
            <c:extLst>
              <c:ext xmlns:c16="http://schemas.microsoft.com/office/drawing/2014/chart" uri="{C3380CC4-5D6E-409C-BE32-E72D297353CC}">
                <c16:uniqueId val="{00000219-EF27-44BF-919C-257769637A10}"/>
              </c:ext>
            </c:extLst>
          </c:dPt>
          <c:dPt>
            <c:idx val="268"/>
            <c:invertIfNegative val="1"/>
            <c:bubble3D val="0"/>
            <c:spPr>
              <a:solidFill>
                <a:srgbClr val="AEABAB"/>
              </a:solidFill>
            </c:spPr>
            <c:extLst>
              <c:ext xmlns:c16="http://schemas.microsoft.com/office/drawing/2014/chart" uri="{C3380CC4-5D6E-409C-BE32-E72D297353CC}">
                <c16:uniqueId val="{0000021B-EF27-44BF-919C-257769637A10}"/>
              </c:ext>
            </c:extLst>
          </c:dPt>
          <c:dPt>
            <c:idx val="269"/>
            <c:invertIfNegative val="1"/>
            <c:bubble3D val="0"/>
            <c:spPr>
              <a:solidFill>
                <a:srgbClr val="AEABAB"/>
              </a:solidFill>
            </c:spPr>
            <c:extLst>
              <c:ext xmlns:c16="http://schemas.microsoft.com/office/drawing/2014/chart" uri="{C3380CC4-5D6E-409C-BE32-E72D297353CC}">
                <c16:uniqueId val="{0000021D-EF27-44BF-919C-257769637A10}"/>
              </c:ext>
            </c:extLst>
          </c:dPt>
          <c:dPt>
            <c:idx val="270"/>
            <c:invertIfNegative val="1"/>
            <c:bubble3D val="0"/>
            <c:spPr>
              <a:solidFill>
                <a:srgbClr val="AEABAB"/>
              </a:solidFill>
            </c:spPr>
            <c:extLst>
              <c:ext xmlns:c16="http://schemas.microsoft.com/office/drawing/2014/chart" uri="{C3380CC4-5D6E-409C-BE32-E72D297353CC}">
                <c16:uniqueId val="{0000021F-EF27-44BF-919C-257769637A10}"/>
              </c:ext>
            </c:extLst>
          </c:dPt>
          <c:dPt>
            <c:idx val="271"/>
            <c:invertIfNegative val="1"/>
            <c:bubble3D val="0"/>
            <c:spPr>
              <a:solidFill>
                <a:srgbClr val="AEABAB"/>
              </a:solidFill>
            </c:spPr>
            <c:extLst>
              <c:ext xmlns:c16="http://schemas.microsoft.com/office/drawing/2014/chart" uri="{C3380CC4-5D6E-409C-BE32-E72D297353CC}">
                <c16:uniqueId val="{00000221-EF27-44BF-919C-257769637A10}"/>
              </c:ext>
            </c:extLst>
          </c:dPt>
          <c:dPt>
            <c:idx val="272"/>
            <c:invertIfNegative val="1"/>
            <c:bubble3D val="0"/>
            <c:spPr>
              <a:solidFill>
                <a:srgbClr val="AEABAB"/>
              </a:solidFill>
            </c:spPr>
            <c:extLst>
              <c:ext xmlns:c16="http://schemas.microsoft.com/office/drawing/2014/chart" uri="{C3380CC4-5D6E-409C-BE32-E72D297353CC}">
                <c16:uniqueId val="{00000223-EF27-44BF-919C-257769637A10}"/>
              </c:ext>
            </c:extLst>
          </c:dPt>
          <c:dPt>
            <c:idx val="273"/>
            <c:invertIfNegative val="1"/>
            <c:bubble3D val="0"/>
            <c:spPr>
              <a:solidFill>
                <a:srgbClr val="AEABAB"/>
              </a:solidFill>
            </c:spPr>
            <c:extLst>
              <c:ext xmlns:c16="http://schemas.microsoft.com/office/drawing/2014/chart" uri="{C3380CC4-5D6E-409C-BE32-E72D297353CC}">
                <c16:uniqueId val="{00000225-EF27-44BF-919C-257769637A10}"/>
              </c:ext>
            </c:extLst>
          </c:dPt>
          <c:dPt>
            <c:idx val="274"/>
            <c:invertIfNegative val="1"/>
            <c:bubble3D val="0"/>
            <c:spPr>
              <a:solidFill>
                <a:srgbClr val="AEABAB"/>
              </a:solidFill>
            </c:spPr>
            <c:extLst>
              <c:ext xmlns:c16="http://schemas.microsoft.com/office/drawing/2014/chart" uri="{C3380CC4-5D6E-409C-BE32-E72D297353CC}">
                <c16:uniqueId val="{00000227-EF27-44BF-919C-257769637A10}"/>
              </c:ext>
            </c:extLst>
          </c:dPt>
          <c:dPt>
            <c:idx val="275"/>
            <c:invertIfNegative val="1"/>
            <c:bubble3D val="0"/>
            <c:spPr>
              <a:solidFill>
                <a:srgbClr val="AEABAB"/>
              </a:solidFill>
            </c:spPr>
            <c:extLst>
              <c:ext xmlns:c16="http://schemas.microsoft.com/office/drawing/2014/chart" uri="{C3380CC4-5D6E-409C-BE32-E72D297353CC}">
                <c16:uniqueId val="{00000229-EF27-44BF-919C-257769637A10}"/>
              </c:ext>
            </c:extLst>
          </c:dPt>
          <c:dPt>
            <c:idx val="276"/>
            <c:invertIfNegative val="1"/>
            <c:bubble3D val="0"/>
            <c:spPr>
              <a:solidFill>
                <a:srgbClr val="AEABAB"/>
              </a:solidFill>
            </c:spPr>
            <c:extLst>
              <c:ext xmlns:c16="http://schemas.microsoft.com/office/drawing/2014/chart" uri="{C3380CC4-5D6E-409C-BE32-E72D297353CC}">
                <c16:uniqueId val="{0000022B-EF27-44BF-919C-257769637A10}"/>
              </c:ext>
            </c:extLst>
          </c:dPt>
          <c:dPt>
            <c:idx val="277"/>
            <c:invertIfNegative val="1"/>
            <c:bubble3D val="0"/>
            <c:spPr>
              <a:solidFill>
                <a:srgbClr val="AEABAB"/>
              </a:solidFill>
            </c:spPr>
            <c:extLst>
              <c:ext xmlns:c16="http://schemas.microsoft.com/office/drawing/2014/chart" uri="{C3380CC4-5D6E-409C-BE32-E72D297353CC}">
                <c16:uniqueId val="{0000022D-EF27-44BF-919C-257769637A10}"/>
              </c:ext>
            </c:extLst>
          </c:dPt>
          <c:dPt>
            <c:idx val="278"/>
            <c:invertIfNegative val="1"/>
            <c:bubble3D val="0"/>
            <c:spPr>
              <a:solidFill>
                <a:srgbClr val="AEABAB"/>
              </a:solidFill>
            </c:spPr>
            <c:extLst>
              <c:ext xmlns:c16="http://schemas.microsoft.com/office/drawing/2014/chart" uri="{C3380CC4-5D6E-409C-BE32-E72D297353CC}">
                <c16:uniqueId val="{0000022F-EF27-44BF-919C-257769637A10}"/>
              </c:ext>
            </c:extLst>
          </c:dPt>
          <c:dPt>
            <c:idx val="279"/>
            <c:invertIfNegative val="1"/>
            <c:bubble3D val="0"/>
            <c:spPr>
              <a:solidFill>
                <a:srgbClr val="AEABAB"/>
              </a:solidFill>
            </c:spPr>
            <c:extLst>
              <c:ext xmlns:c16="http://schemas.microsoft.com/office/drawing/2014/chart" uri="{C3380CC4-5D6E-409C-BE32-E72D297353CC}">
                <c16:uniqueId val="{00000231-EF27-44BF-919C-257769637A10}"/>
              </c:ext>
            </c:extLst>
          </c:dPt>
          <c:dPt>
            <c:idx val="280"/>
            <c:invertIfNegative val="1"/>
            <c:bubble3D val="0"/>
            <c:spPr>
              <a:solidFill>
                <a:srgbClr val="AEABAB"/>
              </a:solidFill>
            </c:spPr>
            <c:extLst>
              <c:ext xmlns:c16="http://schemas.microsoft.com/office/drawing/2014/chart" uri="{C3380CC4-5D6E-409C-BE32-E72D297353CC}">
                <c16:uniqueId val="{00000233-EF27-44BF-919C-257769637A10}"/>
              </c:ext>
            </c:extLst>
          </c:dPt>
          <c:dPt>
            <c:idx val="281"/>
            <c:invertIfNegative val="1"/>
            <c:bubble3D val="0"/>
            <c:spPr>
              <a:solidFill>
                <a:srgbClr val="AEABAB"/>
              </a:solidFill>
            </c:spPr>
            <c:extLst>
              <c:ext xmlns:c16="http://schemas.microsoft.com/office/drawing/2014/chart" uri="{C3380CC4-5D6E-409C-BE32-E72D297353CC}">
                <c16:uniqueId val="{00000235-EF27-44BF-919C-257769637A10}"/>
              </c:ext>
            </c:extLst>
          </c:dPt>
          <c:dPt>
            <c:idx val="282"/>
            <c:invertIfNegative val="1"/>
            <c:bubble3D val="0"/>
            <c:spPr>
              <a:solidFill>
                <a:srgbClr val="AEABAB"/>
              </a:solidFill>
            </c:spPr>
            <c:extLst>
              <c:ext xmlns:c16="http://schemas.microsoft.com/office/drawing/2014/chart" uri="{C3380CC4-5D6E-409C-BE32-E72D297353CC}">
                <c16:uniqueId val="{00000237-EF27-44BF-919C-257769637A10}"/>
              </c:ext>
            </c:extLst>
          </c:dPt>
          <c:dPt>
            <c:idx val="283"/>
            <c:invertIfNegative val="1"/>
            <c:bubble3D val="0"/>
            <c:spPr>
              <a:solidFill>
                <a:srgbClr val="AEABAB"/>
              </a:solidFill>
            </c:spPr>
            <c:extLst>
              <c:ext xmlns:c16="http://schemas.microsoft.com/office/drawing/2014/chart" uri="{C3380CC4-5D6E-409C-BE32-E72D297353CC}">
                <c16:uniqueId val="{00000239-EF27-44BF-919C-257769637A10}"/>
              </c:ext>
            </c:extLst>
          </c:dPt>
          <c:dPt>
            <c:idx val="284"/>
            <c:invertIfNegative val="1"/>
            <c:bubble3D val="0"/>
            <c:spPr>
              <a:solidFill>
                <a:srgbClr val="AEABAB"/>
              </a:solidFill>
            </c:spPr>
            <c:extLst>
              <c:ext xmlns:c16="http://schemas.microsoft.com/office/drawing/2014/chart" uri="{C3380CC4-5D6E-409C-BE32-E72D297353CC}">
                <c16:uniqueId val="{0000023B-EF27-44BF-919C-257769637A10}"/>
              </c:ext>
            </c:extLst>
          </c:dPt>
          <c:dPt>
            <c:idx val="285"/>
            <c:invertIfNegative val="1"/>
            <c:bubble3D val="0"/>
            <c:spPr>
              <a:solidFill>
                <a:srgbClr val="AEABAB"/>
              </a:solidFill>
            </c:spPr>
            <c:extLst>
              <c:ext xmlns:c16="http://schemas.microsoft.com/office/drawing/2014/chart" uri="{C3380CC4-5D6E-409C-BE32-E72D297353CC}">
                <c16:uniqueId val="{0000023D-EF27-44BF-919C-257769637A10}"/>
              </c:ext>
            </c:extLst>
          </c:dPt>
          <c:dPt>
            <c:idx val="286"/>
            <c:invertIfNegative val="1"/>
            <c:bubble3D val="0"/>
            <c:spPr>
              <a:solidFill>
                <a:srgbClr val="AEABAB"/>
              </a:solidFill>
            </c:spPr>
            <c:extLst>
              <c:ext xmlns:c16="http://schemas.microsoft.com/office/drawing/2014/chart" uri="{C3380CC4-5D6E-409C-BE32-E72D297353CC}">
                <c16:uniqueId val="{0000023F-EF27-44BF-919C-257769637A10}"/>
              </c:ext>
            </c:extLst>
          </c:dPt>
          <c:dPt>
            <c:idx val="287"/>
            <c:invertIfNegative val="1"/>
            <c:bubble3D val="0"/>
            <c:spPr>
              <a:solidFill>
                <a:srgbClr val="AEABAB"/>
              </a:solidFill>
            </c:spPr>
            <c:extLst>
              <c:ext xmlns:c16="http://schemas.microsoft.com/office/drawing/2014/chart" uri="{C3380CC4-5D6E-409C-BE32-E72D297353CC}">
                <c16:uniqueId val="{00000241-EF27-44BF-919C-257769637A10}"/>
              </c:ext>
            </c:extLst>
          </c:dPt>
          <c:dPt>
            <c:idx val="288"/>
            <c:invertIfNegative val="1"/>
            <c:bubble3D val="0"/>
            <c:spPr>
              <a:solidFill>
                <a:srgbClr val="AEABAB"/>
              </a:solidFill>
            </c:spPr>
            <c:extLst>
              <c:ext xmlns:c16="http://schemas.microsoft.com/office/drawing/2014/chart" uri="{C3380CC4-5D6E-409C-BE32-E72D297353CC}">
                <c16:uniqueId val="{00000243-EF27-44BF-919C-257769637A10}"/>
              </c:ext>
            </c:extLst>
          </c:dPt>
          <c:dPt>
            <c:idx val="289"/>
            <c:invertIfNegative val="1"/>
            <c:bubble3D val="0"/>
            <c:spPr>
              <a:solidFill>
                <a:srgbClr val="AEABAB"/>
              </a:solidFill>
            </c:spPr>
            <c:extLst>
              <c:ext xmlns:c16="http://schemas.microsoft.com/office/drawing/2014/chart" uri="{C3380CC4-5D6E-409C-BE32-E72D297353CC}">
                <c16:uniqueId val="{00000245-EF27-44BF-919C-257769637A10}"/>
              </c:ext>
            </c:extLst>
          </c:dPt>
          <c:dPt>
            <c:idx val="290"/>
            <c:invertIfNegative val="1"/>
            <c:bubble3D val="0"/>
            <c:spPr>
              <a:solidFill>
                <a:srgbClr val="AEABAB"/>
              </a:solidFill>
            </c:spPr>
            <c:extLst>
              <c:ext xmlns:c16="http://schemas.microsoft.com/office/drawing/2014/chart" uri="{C3380CC4-5D6E-409C-BE32-E72D297353CC}">
                <c16:uniqueId val="{00000247-EF27-44BF-919C-257769637A10}"/>
              </c:ext>
            </c:extLst>
          </c:dPt>
          <c:dPt>
            <c:idx val="291"/>
            <c:invertIfNegative val="1"/>
            <c:bubble3D val="0"/>
            <c:spPr>
              <a:solidFill>
                <a:srgbClr val="AEABAB"/>
              </a:solidFill>
            </c:spPr>
            <c:extLst>
              <c:ext xmlns:c16="http://schemas.microsoft.com/office/drawing/2014/chart" uri="{C3380CC4-5D6E-409C-BE32-E72D297353CC}">
                <c16:uniqueId val="{00000249-EF27-44BF-919C-257769637A10}"/>
              </c:ext>
            </c:extLst>
          </c:dPt>
          <c:dPt>
            <c:idx val="292"/>
            <c:invertIfNegative val="1"/>
            <c:bubble3D val="0"/>
            <c:spPr>
              <a:solidFill>
                <a:srgbClr val="AEABAB"/>
              </a:solidFill>
            </c:spPr>
            <c:extLst>
              <c:ext xmlns:c16="http://schemas.microsoft.com/office/drawing/2014/chart" uri="{C3380CC4-5D6E-409C-BE32-E72D297353CC}">
                <c16:uniqueId val="{0000024B-EF27-44BF-919C-257769637A10}"/>
              </c:ext>
            </c:extLst>
          </c:dPt>
          <c:dPt>
            <c:idx val="293"/>
            <c:invertIfNegative val="1"/>
            <c:bubble3D val="0"/>
            <c:spPr>
              <a:solidFill>
                <a:srgbClr val="AEABAB"/>
              </a:solidFill>
            </c:spPr>
            <c:extLst>
              <c:ext xmlns:c16="http://schemas.microsoft.com/office/drawing/2014/chart" uri="{C3380CC4-5D6E-409C-BE32-E72D297353CC}">
                <c16:uniqueId val="{0000024D-EF27-44BF-919C-257769637A10}"/>
              </c:ext>
            </c:extLst>
          </c:dPt>
          <c:dPt>
            <c:idx val="294"/>
            <c:invertIfNegative val="1"/>
            <c:bubble3D val="0"/>
            <c:spPr>
              <a:solidFill>
                <a:srgbClr val="AEABAB"/>
              </a:solidFill>
            </c:spPr>
            <c:extLst>
              <c:ext xmlns:c16="http://schemas.microsoft.com/office/drawing/2014/chart" uri="{C3380CC4-5D6E-409C-BE32-E72D297353CC}">
                <c16:uniqueId val="{0000024F-EF27-44BF-919C-257769637A10}"/>
              </c:ext>
            </c:extLst>
          </c:dPt>
          <c:dPt>
            <c:idx val="295"/>
            <c:invertIfNegative val="1"/>
            <c:bubble3D val="0"/>
            <c:spPr>
              <a:solidFill>
                <a:srgbClr val="AEABAB"/>
              </a:solidFill>
            </c:spPr>
            <c:extLst>
              <c:ext xmlns:c16="http://schemas.microsoft.com/office/drawing/2014/chart" uri="{C3380CC4-5D6E-409C-BE32-E72D297353CC}">
                <c16:uniqueId val="{00000251-EF27-44BF-919C-257769637A10}"/>
              </c:ext>
            </c:extLst>
          </c:dPt>
          <c:dPt>
            <c:idx val="296"/>
            <c:invertIfNegative val="1"/>
            <c:bubble3D val="0"/>
            <c:spPr>
              <a:solidFill>
                <a:srgbClr val="AEABAB"/>
              </a:solidFill>
            </c:spPr>
            <c:extLst>
              <c:ext xmlns:c16="http://schemas.microsoft.com/office/drawing/2014/chart" uri="{C3380CC4-5D6E-409C-BE32-E72D297353CC}">
                <c16:uniqueId val="{00000253-EF27-44BF-919C-257769637A10}"/>
              </c:ext>
            </c:extLst>
          </c:dPt>
          <c:dPt>
            <c:idx val="297"/>
            <c:invertIfNegative val="1"/>
            <c:bubble3D val="0"/>
            <c:spPr>
              <a:solidFill>
                <a:srgbClr val="AEABAB"/>
              </a:solidFill>
            </c:spPr>
            <c:extLst>
              <c:ext xmlns:c16="http://schemas.microsoft.com/office/drawing/2014/chart" uri="{C3380CC4-5D6E-409C-BE32-E72D297353CC}">
                <c16:uniqueId val="{00000255-EF27-44BF-919C-257769637A10}"/>
              </c:ext>
            </c:extLst>
          </c:dPt>
          <c:dPt>
            <c:idx val="298"/>
            <c:invertIfNegative val="1"/>
            <c:bubble3D val="0"/>
            <c:spPr>
              <a:solidFill>
                <a:srgbClr val="AEABAB"/>
              </a:solidFill>
            </c:spPr>
            <c:extLst>
              <c:ext xmlns:c16="http://schemas.microsoft.com/office/drawing/2014/chart" uri="{C3380CC4-5D6E-409C-BE32-E72D297353CC}">
                <c16:uniqueId val="{00000257-EF27-44BF-919C-257769637A10}"/>
              </c:ext>
            </c:extLst>
          </c:dPt>
          <c:dPt>
            <c:idx val="299"/>
            <c:invertIfNegative val="1"/>
            <c:bubble3D val="0"/>
            <c:spPr>
              <a:solidFill>
                <a:srgbClr val="AEABAB"/>
              </a:solidFill>
            </c:spPr>
            <c:extLst>
              <c:ext xmlns:c16="http://schemas.microsoft.com/office/drawing/2014/chart" uri="{C3380CC4-5D6E-409C-BE32-E72D297353CC}">
                <c16:uniqueId val="{00000259-EF27-44BF-919C-257769637A10}"/>
              </c:ext>
            </c:extLst>
          </c:dPt>
          <c:dPt>
            <c:idx val="300"/>
            <c:invertIfNegative val="1"/>
            <c:bubble3D val="0"/>
            <c:spPr>
              <a:solidFill>
                <a:srgbClr val="AEABAB"/>
              </a:solidFill>
            </c:spPr>
            <c:extLst>
              <c:ext xmlns:c16="http://schemas.microsoft.com/office/drawing/2014/chart" uri="{C3380CC4-5D6E-409C-BE32-E72D297353CC}">
                <c16:uniqueId val="{0000025B-EF27-44BF-919C-257769637A10}"/>
              </c:ext>
            </c:extLst>
          </c:dPt>
          <c:dPt>
            <c:idx val="301"/>
            <c:invertIfNegative val="1"/>
            <c:bubble3D val="0"/>
            <c:spPr>
              <a:solidFill>
                <a:srgbClr val="AEABAB"/>
              </a:solidFill>
            </c:spPr>
            <c:extLst>
              <c:ext xmlns:c16="http://schemas.microsoft.com/office/drawing/2014/chart" uri="{C3380CC4-5D6E-409C-BE32-E72D297353CC}">
                <c16:uniqueId val="{0000025D-EF27-44BF-919C-257769637A10}"/>
              </c:ext>
            </c:extLst>
          </c:dPt>
          <c:dPt>
            <c:idx val="302"/>
            <c:invertIfNegative val="1"/>
            <c:bubble3D val="0"/>
            <c:spPr>
              <a:solidFill>
                <a:srgbClr val="AEABAB"/>
              </a:solidFill>
            </c:spPr>
            <c:extLst>
              <c:ext xmlns:c16="http://schemas.microsoft.com/office/drawing/2014/chart" uri="{C3380CC4-5D6E-409C-BE32-E72D297353CC}">
                <c16:uniqueId val="{0000025F-EF27-44BF-919C-257769637A10}"/>
              </c:ext>
            </c:extLst>
          </c:dPt>
          <c:dPt>
            <c:idx val="303"/>
            <c:invertIfNegative val="1"/>
            <c:bubble3D val="0"/>
            <c:spPr>
              <a:solidFill>
                <a:srgbClr val="AEABAB"/>
              </a:solidFill>
            </c:spPr>
            <c:extLst>
              <c:ext xmlns:c16="http://schemas.microsoft.com/office/drawing/2014/chart" uri="{C3380CC4-5D6E-409C-BE32-E72D297353CC}">
                <c16:uniqueId val="{00000261-EF27-44BF-919C-257769637A10}"/>
              </c:ext>
            </c:extLst>
          </c:dPt>
          <c:dPt>
            <c:idx val="304"/>
            <c:invertIfNegative val="1"/>
            <c:bubble3D val="0"/>
            <c:spPr>
              <a:solidFill>
                <a:srgbClr val="AEABAB"/>
              </a:solidFill>
            </c:spPr>
            <c:extLst>
              <c:ext xmlns:c16="http://schemas.microsoft.com/office/drawing/2014/chart" uri="{C3380CC4-5D6E-409C-BE32-E72D297353CC}">
                <c16:uniqueId val="{00000263-EF27-44BF-919C-257769637A10}"/>
              </c:ext>
            </c:extLst>
          </c:dPt>
          <c:dPt>
            <c:idx val="305"/>
            <c:invertIfNegative val="1"/>
            <c:bubble3D val="0"/>
            <c:spPr>
              <a:solidFill>
                <a:srgbClr val="AEABAB"/>
              </a:solidFill>
            </c:spPr>
            <c:extLst>
              <c:ext xmlns:c16="http://schemas.microsoft.com/office/drawing/2014/chart" uri="{C3380CC4-5D6E-409C-BE32-E72D297353CC}">
                <c16:uniqueId val="{00000265-EF27-44BF-919C-257769637A10}"/>
              </c:ext>
            </c:extLst>
          </c:dPt>
          <c:cat>
            <c:strRef>
              <c:f>Sheet1!$A$2:$A$307</c:f>
              <c:strCache>
                <c:ptCount val="306"/>
                <c:pt idx="0">
                  <c:v>Private Lab</c:v>
                </c:pt>
                <c:pt idx="1">
                  <c:v>Private Lab</c:v>
                </c:pt>
                <c:pt idx="2">
                  <c:v>Galbani</c:v>
                </c:pt>
                <c:pt idx="3">
                  <c:v>Private Lab</c:v>
                </c:pt>
                <c:pt idx="4">
                  <c:v>Private Lab</c:v>
                </c:pt>
                <c:pt idx="5">
                  <c:v>Private Lab</c:v>
                </c:pt>
                <c:pt idx="6">
                  <c:v>Salakis</c:v>
                </c:pt>
                <c:pt idx="7">
                  <c:v>Galbani</c:v>
                </c:pt>
                <c:pt idx="8">
                  <c:v>Islos</c:v>
                </c:pt>
                <c:pt idx="9">
                  <c:v>Private Lab</c:v>
                </c:pt>
                <c:pt idx="10">
                  <c:v>Galbani</c:v>
                </c:pt>
                <c:pt idx="11">
                  <c:v>Salakis</c:v>
                </c:pt>
                <c:pt idx="12">
                  <c:v>Casa Azzurr</c:v>
                </c:pt>
                <c:pt idx="13">
                  <c:v>All Others</c:v>
                </c:pt>
                <c:pt idx="14">
                  <c:v>All Others</c:v>
                </c:pt>
                <c:pt idx="15">
                  <c:v>Galbani</c:v>
                </c:pt>
                <c:pt idx="16">
                  <c:v>Private Lab</c:v>
                </c:pt>
                <c:pt idx="17">
                  <c:v>Casa Azzurr</c:v>
                </c:pt>
                <c:pt idx="18">
                  <c:v>Salakis</c:v>
                </c:pt>
                <c:pt idx="19">
                  <c:v>Private Lab</c:v>
                </c:pt>
                <c:pt idx="20">
                  <c:v>All Others</c:v>
                </c:pt>
                <c:pt idx="21">
                  <c:v>Salakis</c:v>
                </c:pt>
                <c:pt idx="22">
                  <c:v>Boursin</c:v>
                </c:pt>
                <c:pt idx="23">
                  <c:v>Private Lab</c:v>
                </c:pt>
                <c:pt idx="24">
                  <c:v>Galbani</c:v>
                </c:pt>
                <c:pt idx="25">
                  <c:v>Casa Azzurr</c:v>
                </c:pt>
                <c:pt idx="26">
                  <c:v>Casa Azzurr</c:v>
                </c:pt>
                <c:pt idx="27">
                  <c:v>Casa Azzurr</c:v>
                </c:pt>
                <c:pt idx="28">
                  <c:v>Salakis</c:v>
                </c:pt>
                <c:pt idx="29">
                  <c:v>Galbani</c:v>
                </c:pt>
                <c:pt idx="30">
                  <c:v>All Others</c:v>
                </c:pt>
                <c:pt idx="31">
                  <c:v>Casa Azzurr</c:v>
                </c:pt>
                <c:pt idx="32">
                  <c:v>All Others</c:v>
                </c:pt>
                <c:pt idx="33">
                  <c:v>All Others</c:v>
                </c:pt>
                <c:pt idx="34">
                  <c:v>Casa Azzurr</c:v>
                </c:pt>
                <c:pt idx="35">
                  <c:v>Salakis</c:v>
                </c:pt>
                <c:pt idx="36">
                  <c:v>Casa Azzurr</c:v>
                </c:pt>
                <c:pt idx="37">
                  <c:v>Galbani</c:v>
                </c:pt>
                <c:pt idx="38">
                  <c:v>Private Lab</c:v>
                </c:pt>
                <c:pt idx="39">
                  <c:v>Casa Azzurr</c:v>
                </c:pt>
                <c:pt idx="40">
                  <c:v>All Others</c:v>
                </c:pt>
                <c:pt idx="41">
                  <c:v>Galbani</c:v>
                </c:pt>
                <c:pt idx="42">
                  <c:v>Galbani</c:v>
                </c:pt>
                <c:pt idx="43">
                  <c:v>All Others</c:v>
                </c:pt>
                <c:pt idx="44">
                  <c:v>Salakis</c:v>
                </c:pt>
                <c:pt idx="45">
                  <c:v>All Others</c:v>
                </c:pt>
                <c:pt idx="46">
                  <c:v>All Others</c:v>
                </c:pt>
                <c:pt idx="47">
                  <c:v>Casa Azzurr</c:v>
                </c:pt>
                <c:pt idx="48">
                  <c:v>Casa Azzurr</c:v>
                </c:pt>
                <c:pt idx="49">
                  <c:v>Boursin</c:v>
                </c:pt>
                <c:pt idx="50">
                  <c:v>All Others</c:v>
                </c:pt>
                <c:pt idx="51">
                  <c:v>All Others</c:v>
                </c:pt>
                <c:pt idx="52">
                  <c:v>All Others</c:v>
                </c:pt>
                <c:pt idx="53">
                  <c:v>Private Lab</c:v>
                </c:pt>
                <c:pt idx="54">
                  <c:v>Lactalis: A</c:v>
                </c:pt>
                <c:pt idx="55">
                  <c:v>All Others</c:v>
                </c:pt>
                <c:pt idx="56">
                  <c:v>Casa Azzurr</c:v>
                </c:pt>
                <c:pt idx="57">
                  <c:v>All Others</c:v>
                </c:pt>
                <c:pt idx="58">
                  <c:v>Private Lab</c:v>
                </c:pt>
                <c:pt idx="59">
                  <c:v>Private Lab</c:v>
                </c:pt>
                <c:pt idx="60">
                  <c:v>All Others</c:v>
                </c:pt>
                <c:pt idx="61">
                  <c:v>Private Lab</c:v>
                </c:pt>
                <c:pt idx="62">
                  <c:v>All Others</c:v>
                </c:pt>
                <c:pt idx="63">
                  <c:v>All Others</c:v>
                </c:pt>
                <c:pt idx="64">
                  <c:v>Galbani</c:v>
                </c:pt>
                <c:pt idx="65">
                  <c:v>Galbani</c:v>
                </c:pt>
                <c:pt idx="66">
                  <c:v>Private Lab</c:v>
                </c:pt>
                <c:pt idx="67">
                  <c:v>Private Lab</c:v>
                </c:pt>
                <c:pt idx="68">
                  <c:v>Private Lab</c:v>
                </c:pt>
                <c:pt idx="69">
                  <c:v>All Others</c:v>
                </c:pt>
                <c:pt idx="70">
                  <c:v>Private Lab</c:v>
                </c:pt>
                <c:pt idx="71">
                  <c:v>All Others</c:v>
                </c:pt>
                <c:pt idx="72">
                  <c:v>Private Lab</c:v>
                </c:pt>
                <c:pt idx="73">
                  <c:v>All Others</c:v>
                </c:pt>
                <c:pt idx="74">
                  <c:v>Private Lab</c:v>
                </c:pt>
                <c:pt idx="75">
                  <c:v>All Others</c:v>
                </c:pt>
                <c:pt idx="76">
                  <c:v>Boursin</c:v>
                </c:pt>
                <c:pt idx="77">
                  <c:v>Islos</c:v>
                </c:pt>
                <c:pt idx="78">
                  <c:v>All Others</c:v>
                </c:pt>
                <c:pt idx="79">
                  <c:v>All Others</c:v>
                </c:pt>
                <c:pt idx="80">
                  <c:v>Casa Azzurr</c:v>
                </c:pt>
                <c:pt idx="81">
                  <c:v>Galbani</c:v>
                </c:pt>
                <c:pt idx="82">
                  <c:v>Casa Azzurr</c:v>
                </c:pt>
                <c:pt idx="83">
                  <c:v>Private Lab</c:v>
                </c:pt>
                <c:pt idx="84">
                  <c:v>All Others</c:v>
                </c:pt>
                <c:pt idx="85">
                  <c:v>All Others</c:v>
                </c:pt>
                <c:pt idx="86">
                  <c:v>Casa Azzurr</c:v>
                </c:pt>
                <c:pt idx="87">
                  <c:v>All Others</c:v>
                </c:pt>
                <c:pt idx="88">
                  <c:v>All Others</c:v>
                </c:pt>
                <c:pt idx="89">
                  <c:v>All Others</c:v>
                </c:pt>
                <c:pt idx="90">
                  <c:v>All Others</c:v>
                </c:pt>
                <c:pt idx="91">
                  <c:v>Galbani</c:v>
                </c:pt>
                <c:pt idx="92">
                  <c:v>All Others</c:v>
                </c:pt>
                <c:pt idx="93">
                  <c:v>All Others</c:v>
                </c:pt>
                <c:pt idx="94">
                  <c:v>All Others</c:v>
                </c:pt>
                <c:pt idx="95">
                  <c:v>Salakis</c:v>
                </c:pt>
                <c:pt idx="96">
                  <c:v>All Others</c:v>
                </c:pt>
                <c:pt idx="97">
                  <c:v>All Others</c:v>
                </c:pt>
                <c:pt idx="98">
                  <c:v>Private Lab</c:v>
                </c:pt>
                <c:pt idx="99">
                  <c:v>All Others</c:v>
                </c:pt>
                <c:pt idx="100">
                  <c:v>All Others</c:v>
                </c:pt>
                <c:pt idx="101">
                  <c:v>All Others</c:v>
                </c:pt>
                <c:pt idx="102">
                  <c:v>All Others</c:v>
                </c:pt>
                <c:pt idx="103">
                  <c:v>All Others</c:v>
                </c:pt>
                <c:pt idx="104">
                  <c:v>All Others</c:v>
                </c:pt>
                <c:pt idx="105">
                  <c:v>Salakis</c:v>
                </c:pt>
                <c:pt idx="106">
                  <c:v>Private Lab</c:v>
                </c:pt>
                <c:pt idx="107">
                  <c:v>Private Lab</c:v>
                </c:pt>
                <c:pt idx="108">
                  <c:v>All Others</c:v>
                </c:pt>
                <c:pt idx="109">
                  <c:v>All Others</c:v>
                </c:pt>
                <c:pt idx="110">
                  <c:v>Private Lab</c:v>
                </c:pt>
                <c:pt idx="111">
                  <c:v>Boursin</c:v>
                </c:pt>
                <c:pt idx="112">
                  <c:v>All Others</c:v>
                </c:pt>
                <c:pt idx="113">
                  <c:v>All Others</c:v>
                </c:pt>
                <c:pt idx="114">
                  <c:v>Islos</c:v>
                </c:pt>
                <c:pt idx="115">
                  <c:v>All Others</c:v>
                </c:pt>
                <c:pt idx="116">
                  <c:v>Boursin</c:v>
                </c:pt>
                <c:pt idx="117">
                  <c:v>All Others</c:v>
                </c:pt>
                <c:pt idx="118">
                  <c:v>All Others</c:v>
                </c:pt>
                <c:pt idx="119">
                  <c:v>Casa Azzurr</c:v>
                </c:pt>
                <c:pt idx="120">
                  <c:v>All Others</c:v>
                </c:pt>
                <c:pt idx="121">
                  <c:v>Boursin</c:v>
                </c:pt>
                <c:pt idx="122">
                  <c:v>All Others</c:v>
                </c:pt>
                <c:pt idx="123">
                  <c:v>All Others</c:v>
                </c:pt>
                <c:pt idx="124">
                  <c:v>All Others</c:v>
                </c:pt>
                <c:pt idx="125">
                  <c:v>Salakis</c:v>
                </c:pt>
                <c:pt idx="126">
                  <c:v>All Others</c:v>
                </c:pt>
                <c:pt idx="127">
                  <c:v>Lactalis: A</c:v>
                </c:pt>
                <c:pt idx="128">
                  <c:v>Casa Azzurr</c:v>
                </c:pt>
                <c:pt idx="129">
                  <c:v>All Others</c:v>
                </c:pt>
                <c:pt idx="130">
                  <c:v>All Others</c:v>
                </c:pt>
                <c:pt idx="131">
                  <c:v>All Others</c:v>
                </c:pt>
                <c:pt idx="132">
                  <c:v>Casa Azzurr</c:v>
                </c:pt>
                <c:pt idx="133">
                  <c:v>All Others</c:v>
                </c:pt>
                <c:pt idx="134">
                  <c:v>All Others</c:v>
                </c:pt>
                <c:pt idx="135">
                  <c:v>All Others</c:v>
                </c:pt>
                <c:pt idx="136">
                  <c:v>All Others</c:v>
                </c:pt>
                <c:pt idx="137">
                  <c:v>All Others</c:v>
                </c:pt>
                <c:pt idx="138">
                  <c:v>All Others</c:v>
                </c:pt>
                <c:pt idx="139">
                  <c:v>All Others</c:v>
                </c:pt>
                <c:pt idx="140">
                  <c:v>All Others</c:v>
                </c:pt>
                <c:pt idx="141">
                  <c:v>All Others</c:v>
                </c:pt>
                <c:pt idx="142">
                  <c:v>All Others</c:v>
                </c:pt>
                <c:pt idx="143">
                  <c:v>All Others</c:v>
                </c:pt>
                <c:pt idx="144">
                  <c:v>All Others</c:v>
                </c:pt>
                <c:pt idx="145">
                  <c:v>All Others</c:v>
                </c:pt>
                <c:pt idx="146">
                  <c:v>All Others</c:v>
                </c:pt>
                <c:pt idx="147">
                  <c:v>All Others</c:v>
                </c:pt>
                <c:pt idx="148">
                  <c:v>Galbani</c:v>
                </c:pt>
                <c:pt idx="149">
                  <c:v>All Others</c:v>
                </c:pt>
                <c:pt idx="150">
                  <c:v>All Others</c:v>
                </c:pt>
                <c:pt idx="151">
                  <c:v>All Others</c:v>
                </c:pt>
                <c:pt idx="152">
                  <c:v>All Others</c:v>
                </c:pt>
                <c:pt idx="153">
                  <c:v>Savencia: A</c:v>
                </c:pt>
                <c:pt idx="154">
                  <c:v>Lactalis: A</c:v>
                </c:pt>
                <c:pt idx="155">
                  <c:v>All Others</c:v>
                </c:pt>
                <c:pt idx="156">
                  <c:v>All Others</c:v>
                </c:pt>
                <c:pt idx="157">
                  <c:v>All Others</c:v>
                </c:pt>
                <c:pt idx="158">
                  <c:v>Salakis</c:v>
                </c:pt>
                <c:pt idx="159">
                  <c:v>All Others</c:v>
                </c:pt>
                <c:pt idx="160">
                  <c:v>Savencia: A</c:v>
                </c:pt>
                <c:pt idx="161">
                  <c:v>Salakis</c:v>
                </c:pt>
                <c:pt idx="162">
                  <c:v>All Others</c:v>
                </c:pt>
                <c:pt idx="163">
                  <c:v>All Others</c:v>
                </c:pt>
                <c:pt idx="164">
                  <c:v>All Others</c:v>
                </c:pt>
                <c:pt idx="165">
                  <c:v>All Others</c:v>
                </c:pt>
                <c:pt idx="166">
                  <c:v>All Others</c:v>
                </c:pt>
                <c:pt idx="167">
                  <c:v>Islos</c:v>
                </c:pt>
                <c:pt idx="168">
                  <c:v>All Others</c:v>
                </c:pt>
                <c:pt idx="169">
                  <c:v>All Others</c:v>
                </c:pt>
                <c:pt idx="170">
                  <c:v>All Others</c:v>
                </c:pt>
                <c:pt idx="171">
                  <c:v>All Others</c:v>
                </c:pt>
                <c:pt idx="172">
                  <c:v>All Others</c:v>
                </c:pt>
                <c:pt idx="173">
                  <c:v>All Others</c:v>
                </c:pt>
                <c:pt idx="174">
                  <c:v>All Others</c:v>
                </c:pt>
                <c:pt idx="175">
                  <c:v>All Others</c:v>
                </c:pt>
                <c:pt idx="176">
                  <c:v>All Others</c:v>
                </c:pt>
                <c:pt idx="177">
                  <c:v>All Others</c:v>
                </c:pt>
                <c:pt idx="178">
                  <c:v>All Others</c:v>
                </c:pt>
                <c:pt idx="179">
                  <c:v>All Others</c:v>
                </c:pt>
                <c:pt idx="180">
                  <c:v>Private Lab</c:v>
                </c:pt>
                <c:pt idx="181">
                  <c:v>Private Lab</c:v>
                </c:pt>
                <c:pt idx="182">
                  <c:v>All Others</c:v>
                </c:pt>
                <c:pt idx="183">
                  <c:v>All Others</c:v>
                </c:pt>
                <c:pt idx="184">
                  <c:v>All Others</c:v>
                </c:pt>
                <c:pt idx="185">
                  <c:v>All Others</c:v>
                </c:pt>
                <c:pt idx="186">
                  <c:v>All Others</c:v>
                </c:pt>
                <c:pt idx="187">
                  <c:v>All Others</c:v>
                </c:pt>
                <c:pt idx="188">
                  <c:v>All Others</c:v>
                </c:pt>
                <c:pt idx="189">
                  <c:v>All Others</c:v>
                </c:pt>
                <c:pt idx="190">
                  <c:v>All Others</c:v>
                </c:pt>
                <c:pt idx="191">
                  <c:v>All Others</c:v>
                </c:pt>
                <c:pt idx="192">
                  <c:v>All Others</c:v>
                </c:pt>
                <c:pt idx="193">
                  <c:v>Lactalis: A</c:v>
                </c:pt>
                <c:pt idx="194">
                  <c:v>All Others</c:v>
                </c:pt>
                <c:pt idx="195">
                  <c:v>All Others</c:v>
                </c:pt>
                <c:pt idx="196">
                  <c:v>All Others</c:v>
                </c:pt>
                <c:pt idx="197">
                  <c:v>All Others</c:v>
                </c:pt>
                <c:pt idx="198">
                  <c:v>All Others</c:v>
                </c:pt>
                <c:pt idx="199">
                  <c:v>All Others</c:v>
                </c:pt>
                <c:pt idx="200">
                  <c:v>All Others</c:v>
                </c:pt>
                <c:pt idx="201">
                  <c:v>All Others</c:v>
                </c:pt>
                <c:pt idx="202">
                  <c:v>Private Lab</c:v>
                </c:pt>
                <c:pt idx="203">
                  <c:v>All Others</c:v>
                </c:pt>
                <c:pt idx="204">
                  <c:v>All Others</c:v>
                </c:pt>
                <c:pt idx="205">
                  <c:v>All Others</c:v>
                </c:pt>
                <c:pt idx="206">
                  <c:v>All Others</c:v>
                </c:pt>
                <c:pt idx="207">
                  <c:v>All Others</c:v>
                </c:pt>
                <c:pt idx="208">
                  <c:v>All Others</c:v>
                </c:pt>
                <c:pt idx="209">
                  <c:v>All Others</c:v>
                </c:pt>
                <c:pt idx="210">
                  <c:v>All Others</c:v>
                </c:pt>
                <c:pt idx="211">
                  <c:v>All Others</c:v>
                </c:pt>
                <c:pt idx="212">
                  <c:v>All Others</c:v>
                </c:pt>
                <c:pt idx="213">
                  <c:v>All Others</c:v>
                </c:pt>
                <c:pt idx="214">
                  <c:v>All Others</c:v>
                </c:pt>
                <c:pt idx="215">
                  <c:v>All Others</c:v>
                </c:pt>
                <c:pt idx="216">
                  <c:v>All Others</c:v>
                </c:pt>
                <c:pt idx="217">
                  <c:v>All Others</c:v>
                </c:pt>
                <c:pt idx="218">
                  <c:v>All Others</c:v>
                </c:pt>
                <c:pt idx="219">
                  <c:v>All Others</c:v>
                </c:pt>
                <c:pt idx="220">
                  <c:v>All Others</c:v>
                </c:pt>
                <c:pt idx="221">
                  <c:v>All Others</c:v>
                </c:pt>
                <c:pt idx="222">
                  <c:v>All Others</c:v>
                </c:pt>
                <c:pt idx="223">
                  <c:v>All Others</c:v>
                </c:pt>
                <c:pt idx="224">
                  <c:v>All Others</c:v>
                </c:pt>
                <c:pt idx="225">
                  <c:v>All Others</c:v>
                </c:pt>
                <c:pt idx="226">
                  <c:v>All Others</c:v>
                </c:pt>
                <c:pt idx="227">
                  <c:v>All Others</c:v>
                </c:pt>
                <c:pt idx="228">
                  <c:v>All Others</c:v>
                </c:pt>
                <c:pt idx="229">
                  <c:v>All Others</c:v>
                </c:pt>
                <c:pt idx="230">
                  <c:v>Private Lab</c:v>
                </c:pt>
                <c:pt idx="231">
                  <c:v>All Others</c:v>
                </c:pt>
                <c:pt idx="232">
                  <c:v>All Others</c:v>
                </c:pt>
                <c:pt idx="233">
                  <c:v>All Others</c:v>
                </c:pt>
                <c:pt idx="234">
                  <c:v>All Others</c:v>
                </c:pt>
                <c:pt idx="235">
                  <c:v>All Others</c:v>
                </c:pt>
                <c:pt idx="236">
                  <c:v>All Others</c:v>
                </c:pt>
                <c:pt idx="237">
                  <c:v>All Others</c:v>
                </c:pt>
                <c:pt idx="238">
                  <c:v>All Others</c:v>
                </c:pt>
                <c:pt idx="239">
                  <c:v>All Others</c:v>
                </c:pt>
                <c:pt idx="240">
                  <c:v>All Others</c:v>
                </c:pt>
                <c:pt idx="241">
                  <c:v>All Others</c:v>
                </c:pt>
                <c:pt idx="242">
                  <c:v>All Others</c:v>
                </c:pt>
                <c:pt idx="243">
                  <c:v>All Others</c:v>
                </c:pt>
                <c:pt idx="244">
                  <c:v>All Others</c:v>
                </c:pt>
                <c:pt idx="245">
                  <c:v>All Others</c:v>
                </c:pt>
                <c:pt idx="246">
                  <c:v>All Others</c:v>
                </c:pt>
                <c:pt idx="247">
                  <c:v>All Others</c:v>
                </c:pt>
                <c:pt idx="248">
                  <c:v>All Others</c:v>
                </c:pt>
                <c:pt idx="249">
                  <c:v>All Others</c:v>
                </c:pt>
                <c:pt idx="250">
                  <c:v>All Others</c:v>
                </c:pt>
                <c:pt idx="251">
                  <c:v>All Others</c:v>
                </c:pt>
                <c:pt idx="252">
                  <c:v>All Others</c:v>
                </c:pt>
                <c:pt idx="253">
                  <c:v>All Others</c:v>
                </c:pt>
                <c:pt idx="254">
                  <c:v>All Others</c:v>
                </c:pt>
                <c:pt idx="255">
                  <c:v>All Others</c:v>
                </c:pt>
                <c:pt idx="256">
                  <c:v>All Others</c:v>
                </c:pt>
                <c:pt idx="257">
                  <c:v>All Others</c:v>
                </c:pt>
                <c:pt idx="258">
                  <c:v>All Others</c:v>
                </c:pt>
                <c:pt idx="259">
                  <c:v>All Others</c:v>
                </c:pt>
                <c:pt idx="260">
                  <c:v>All Others</c:v>
                </c:pt>
                <c:pt idx="261">
                  <c:v>All Others</c:v>
                </c:pt>
                <c:pt idx="262">
                  <c:v>All Others</c:v>
                </c:pt>
                <c:pt idx="263">
                  <c:v>All Others</c:v>
                </c:pt>
                <c:pt idx="264">
                  <c:v>All Others</c:v>
                </c:pt>
                <c:pt idx="265">
                  <c:v>All Others</c:v>
                </c:pt>
                <c:pt idx="266">
                  <c:v>All Others</c:v>
                </c:pt>
                <c:pt idx="267">
                  <c:v>All Others</c:v>
                </c:pt>
                <c:pt idx="268">
                  <c:v>All Others</c:v>
                </c:pt>
                <c:pt idx="269">
                  <c:v>All Others</c:v>
                </c:pt>
                <c:pt idx="270">
                  <c:v>All Others</c:v>
                </c:pt>
                <c:pt idx="271">
                  <c:v>All Others</c:v>
                </c:pt>
                <c:pt idx="272">
                  <c:v>Salakis</c:v>
                </c:pt>
                <c:pt idx="273">
                  <c:v>Societe</c:v>
                </c:pt>
                <c:pt idx="274">
                  <c:v>All Others</c:v>
                </c:pt>
                <c:pt idx="275">
                  <c:v>All Others</c:v>
                </c:pt>
                <c:pt idx="276">
                  <c:v>All Others</c:v>
                </c:pt>
                <c:pt idx="277">
                  <c:v>All Others</c:v>
                </c:pt>
                <c:pt idx="278">
                  <c:v>All Others</c:v>
                </c:pt>
                <c:pt idx="279">
                  <c:v>All Others</c:v>
                </c:pt>
                <c:pt idx="280">
                  <c:v>All Others</c:v>
                </c:pt>
                <c:pt idx="281">
                  <c:v>All Others</c:v>
                </c:pt>
                <c:pt idx="282">
                  <c:v>All Others</c:v>
                </c:pt>
                <c:pt idx="283">
                  <c:v>All Others</c:v>
                </c:pt>
                <c:pt idx="284">
                  <c:v>All Others</c:v>
                </c:pt>
                <c:pt idx="285">
                  <c:v>All Others</c:v>
                </c:pt>
                <c:pt idx="286">
                  <c:v>All Others</c:v>
                </c:pt>
                <c:pt idx="287">
                  <c:v>All Others</c:v>
                </c:pt>
                <c:pt idx="288">
                  <c:v>All Others</c:v>
                </c:pt>
                <c:pt idx="289">
                  <c:v>All Others</c:v>
                </c:pt>
                <c:pt idx="290">
                  <c:v>All Others</c:v>
                </c:pt>
                <c:pt idx="291">
                  <c:v>All Others</c:v>
                </c:pt>
                <c:pt idx="292">
                  <c:v>All Others</c:v>
                </c:pt>
                <c:pt idx="293">
                  <c:v>All Others</c:v>
                </c:pt>
                <c:pt idx="294">
                  <c:v>All Others</c:v>
                </c:pt>
                <c:pt idx="295">
                  <c:v>All Others</c:v>
                </c:pt>
                <c:pt idx="296">
                  <c:v>All Others</c:v>
                </c:pt>
                <c:pt idx="297">
                  <c:v>All Others</c:v>
                </c:pt>
                <c:pt idx="298">
                  <c:v>All Others</c:v>
                </c:pt>
                <c:pt idx="299">
                  <c:v>All Others</c:v>
                </c:pt>
                <c:pt idx="300">
                  <c:v>All Others</c:v>
                </c:pt>
                <c:pt idx="301">
                  <c:v>All Others</c:v>
                </c:pt>
                <c:pt idx="302">
                  <c:v>All Others</c:v>
                </c:pt>
                <c:pt idx="303">
                  <c:v>All Others</c:v>
                </c:pt>
                <c:pt idx="304">
                  <c:v>All Others</c:v>
                </c:pt>
                <c:pt idx="305">
                  <c:v>All Others</c:v>
                </c:pt>
              </c:strCache>
            </c:strRef>
          </c:cat>
          <c:val>
            <c:numRef>
              <c:f>Sheet1!$C$2:$C$307</c:f>
              <c:numCache>
                <c:formatCode>General</c:formatCode>
                <c:ptCount val="306"/>
                <c:pt idx="0">
                  <c:v>0.22652255899692811</c:v>
                </c:pt>
                <c:pt idx="1">
                  <c:v>0.30281023218496761</c:v>
                </c:pt>
                <c:pt idx="2">
                  <c:v>0.33075272223793273</c:v>
                </c:pt>
                <c:pt idx="3">
                  <c:v>0.35405182281068087</c:v>
                </c:pt>
                <c:pt idx="4">
                  <c:v>0.37569434954625186</c:v>
                </c:pt>
                <c:pt idx="5">
                  <c:v>0.39612806697788938</c:v>
                </c:pt>
                <c:pt idx="6">
                  <c:v>0.41628534171375015</c:v>
                </c:pt>
                <c:pt idx="7">
                  <c:v>0.43508990275174086</c:v>
                </c:pt>
                <c:pt idx="8">
                  <c:v>0.45102164372903764</c:v>
                </c:pt>
                <c:pt idx="9">
                  <c:v>0.48211593748599774</c:v>
                </c:pt>
                <c:pt idx="10">
                  <c:v>0.49722783244843294</c:v>
                </c:pt>
                <c:pt idx="11">
                  <c:v>0.51226664728109639</c:v>
                </c:pt>
                <c:pt idx="12">
                  <c:v>0.54122239283755236</c:v>
                </c:pt>
                <c:pt idx="13">
                  <c:v>0.55494543067294266</c:v>
                </c:pt>
                <c:pt idx="14">
                  <c:v>0.58081859785185819</c:v>
                </c:pt>
                <c:pt idx="15">
                  <c:v>0.61594968874322453</c:v>
                </c:pt>
                <c:pt idx="16">
                  <c:v>0.63744314242574851</c:v>
                </c:pt>
                <c:pt idx="17">
                  <c:v>0.64754856509904468</c:v>
                </c:pt>
                <c:pt idx="18">
                  <c:v>0.6575937239339843</c:v>
                </c:pt>
                <c:pt idx="19">
                  <c:v>0.66625384326059844</c:v>
                </c:pt>
                <c:pt idx="20">
                  <c:v>0.6744806132830945</c:v>
                </c:pt>
                <c:pt idx="21">
                  <c:v>0.6825908715654524</c:v>
                </c:pt>
                <c:pt idx="22">
                  <c:v>0.69070072081723322</c:v>
                </c:pt>
                <c:pt idx="23">
                  <c:v>0.69843959173046777</c:v>
                </c:pt>
                <c:pt idx="24">
                  <c:v>0.70581537983478027</c:v>
                </c:pt>
                <c:pt idx="25">
                  <c:v>0.71300111745914185</c:v>
                </c:pt>
                <c:pt idx="26">
                  <c:v>0.72014693122020712</c:v>
                </c:pt>
                <c:pt idx="27">
                  <c:v>0.72716765599388156</c:v>
                </c:pt>
                <c:pt idx="28">
                  <c:v>0.73409962113232941</c:v>
                </c:pt>
                <c:pt idx="29">
                  <c:v>0.74068528611038154</c:v>
                </c:pt>
                <c:pt idx="30">
                  <c:v>0.7469219984267198</c:v>
                </c:pt>
                <c:pt idx="31">
                  <c:v>0.75296640439750029</c:v>
                </c:pt>
                <c:pt idx="32">
                  <c:v>0.75896020213051651</c:v>
                </c:pt>
                <c:pt idx="33">
                  <c:v>0.76492567759478636</c:v>
                </c:pt>
                <c:pt idx="34">
                  <c:v>0.77081568072015183</c:v>
                </c:pt>
                <c:pt idx="35">
                  <c:v>0.77663114112156084</c:v>
                </c:pt>
                <c:pt idx="36">
                  <c:v>0.78171687857859173</c:v>
                </c:pt>
                <c:pt idx="37">
                  <c:v>0.78636329240610592</c:v>
                </c:pt>
                <c:pt idx="38">
                  <c:v>0.79081718917534072</c:v>
                </c:pt>
                <c:pt idx="39">
                  <c:v>0.79515251665668596</c:v>
                </c:pt>
                <c:pt idx="40">
                  <c:v>0.79948767060990766</c:v>
                </c:pt>
                <c:pt idx="41">
                  <c:v>0.80362627917340901</c:v>
                </c:pt>
                <c:pt idx="42">
                  <c:v>0.80770645833871768</c:v>
                </c:pt>
                <c:pt idx="43">
                  <c:v>0.81170212930782826</c:v>
                </c:pt>
                <c:pt idx="44">
                  <c:v>0.81952901616433094</c:v>
                </c:pt>
                <c:pt idx="45">
                  <c:v>0.8233734821634473</c:v>
                </c:pt>
                <c:pt idx="46">
                  <c:v>0.82716587733061464</c:v>
                </c:pt>
                <c:pt idx="47">
                  <c:v>0.83085434154660565</c:v>
                </c:pt>
                <c:pt idx="48">
                  <c:v>0.8342606242438747</c:v>
                </c:pt>
                <c:pt idx="49">
                  <c:v>0.83765916014991126</c:v>
                </c:pt>
                <c:pt idx="50">
                  <c:v>0.8409032188413369</c:v>
                </c:pt>
                <c:pt idx="51">
                  <c:v>0.84414217084798204</c:v>
                </c:pt>
                <c:pt idx="52">
                  <c:v>0.84734849956738845</c:v>
                </c:pt>
                <c:pt idx="53">
                  <c:v>0.85051773045294021</c:v>
                </c:pt>
                <c:pt idx="54">
                  <c:v>0.85352461338398888</c:v>
                </c:pt>
                <c:pt idx="55">
                  <c:v>0.85650686771635087</c:v>
                </c:pt>
                <c:pt idx="56">
                  <c:v>0.85947386396870118</c:v>
                </c:pt>
                <c:pt idx="57">
                  <c:v>0.86235747995765688</c:v>
                </c:pt>
                <c:pt idx="58">
                  <c:v>0.86802207005045284</c:v>
                </c:pt>
                <c:pt idx="59">
                  <c:v>0.87078875287382729</c:v>
                </c:pt>
                <c:pt idx="60">
                  <c:v>0.87355449368738791</c:v>
                </c:pt>
                <c:pt idx="61">
                  <c:v>0.87616777764949105</c:v>
                </c:pt>
                <c:pt idx="62">
                  <c:v>0.87875453659841385</c:v>
                </c:pt>
                <c:pt idx="63">
                  <c:v>0.88128544428126621</c:v>
                </c:pt>
                <c:pt idx="64">
                  <c:v>0.88369201906355188</c:v>
                </c:pt>
                <c:pt idx="65">
                  <c:v>0.88596606793886346</c:v>
                </c:pt>
                <c:pt idx="66">
                  <c:v>0.88809618763050646</c:v>
                </c:pt>
                <c:pt idx="67">
                  <c:v>0.89010870483380578</c:v>
                </c:pt>
                <c:pt idx="68">
                  <c:v>0.89210835616622597</c:v>
                </c:pt>
                <c:pt idx="69">
                  <c:v>0.894095178812365</c:v>
                </c:pt>
                <c:pt idx="70">
                  <c:v>0.89608122058194783</c:v>
                </c:pt>
                <c:pt idx="71">
                  <c:v>0.89805567315184665</c:v>
                </c:pt>
                <c:pt idx="72">
                  <c:v>0.90002172200261632</c:v>
                </c:pt>
                <c:pt idx="73">
                  <c:v>0.90198065620031798</c:v>
                </c:pt>
                <c:pt idx="74">
                  <c:v>0.90393638012773292</c:v>
                </c:pt>
                <c:pt idx="75">
                  <c:v>0.9058867370781819</c:v>
                </c:pt>
                <c:pt idx="76">
                  <c:v>0.90782385631177265</c:v>
                </c:pt>
                <c:pt idx="77">
                  <c:v>0.90973458687570863</c:v>
                </c:pt>
                <c:pt idx="78">
                  <c:v>0.91162107308180318</c:v>
                </c:pt>
                <c:pt idx="79">
                  <c:v>0.91344446942009949</c:v>
                </c:pt>
                <c:pt idx="80">
                  <c:v>0.91526489099056252</c:v>
                </c:pt>
                <c:pt idx="81">
                  <c:v>0.917072211187693</c:v>
                </c:pt>
                <c:pt idx="82">
                  <c:v>0.91886643001149082</c:v>
                </c:pt>
                <c:pt idx="83">
                  <c:v>0.92065707911388872</c:v>
                </c:pt>
                <c:pt idx="84">
                  <c:v>0.92242448784258879</c:v>
                </c:pt>
                <c:pt idx="85">
                  <c:v>0.92418934322889867</c:v>
                </c:pt>
                <c:pt idx="86">
                  <c:v>0.92765543115448335</c:v>
                </c:pt>
                <c:pt idx="87">
                  <c:v>0.92935503996631585</c:v>
                </c:pt>
                <c:pt idx="88">
                  <c:v>0.93105164922058303</c:v>
                </c:pt>
                <c:pt idx="89">
                  <c:v>0.93270460375689634</c:v>
                </c:pt>
                <c:pt idx="90">
                  <c:v>0.93435382743855211</c:v>
                </c:pt>
                <c:pt idx="91">
                  <c:v>0.93595230653891781</c:v>
                </c:pt>
                <c:pt idx="92">
                  <c:v>0.93748044477489167</c:v>
                </c:pt>
                <c:pt idx="93">
                  <c:v>0.93899906375379893</c:v>
                </c:pt>
                <c:pt idx="94">
                  <c:v>0.94051142332539017</c:v>
                </c:pt>
                <c:pt idx="95">
                  <c:v>0.94200113747685033</c:v>
                </c:pt>
                <c:pt idx="96">
                  <c:v>0.94347447801036133</c:v>
                </c:pt>
                <c:pt idx="97">
                  <c:v>0.94492297923246416</c:v>
                </c:pt>
                <c:pt idx="98">
                  <c:v>0.94634555039495327</c:v>
                </c:pt>
                <c:pt idx="99">
                  <c:v>0.94776215962690979</c:v>
                </c:pt>
                <c:pt idx="100">
                  <c:v>0.94916509732169896</c:v>
                </c:pt>
                <c:pt idx="101">
                  <c:v>0.95054177029549314</c:v>
                </c:pt>
                <c:pt idx="102">
                  <c:v>0.95312566603037641</c:v>
                </c:pt>
                <c:pt idx="103">
                  <c:v>0.95430916501799479</c:v>
                </c:pt>
                <c:pt idx="104">
                  <c:v>0.9554737990196035</c:v>
                </c:pt>
                <c:pt idx="105">
                  <c:v>0.9566176840155749</c:v>
                </c:pt>
                <c:pt idx="106">
                  <c:v>0.95775607808592056</c:v>
                </c:pt>
                <c:pt idx="107">
                  <c:v>0.95883438184603331</c:v>
                </c:pt>
                <c:pt idx="108">
                  <c:v>0.95986187905052622</c:v>
                </c:pt>
                <c:pt idx="109">
                  <c:v>0.96087751436828384</c:v>
                </c:pt>
                <c:pt idx="110">
                  <c:v>0.96188394030062407</c:v>
                </c:pt>
                <c:pt idx="111">
                  <c:v>0.96287850434622901</c:v>
                </c:pt>
                <c:pt idx="112">
                  <c:v>0.96386773859946595</c:v>
                </c:pt>
                <c:pt idx="113">
                  <c:v>0.96485283296746815</c:v>
                </c:pt>
                <c:pt idx="114">
                  <c:v>0.96575200612455148</c:v>
                </c:pt>
                <c:pt idx="115">
                  <c:v>0.96662378662783632</c:v>
                </c:pt>
                <c:pt idx="116">
                  <c:v>0.96746656314474633</c:v>
                </c:pt>
                <c:pt idx="117">
                  <c:v>0.9682550625435643</c:v>
                </c:pt>
                <c:pt idx="118">
                  <c:v>0.96901949111266439</c:v>
                </c:pt>
                <c:pt idx="119">
                  <c:v>0.96977141326199856</c:v>
                </c:pt>
                <c:pt idx="120">
                  <c:v>0.97046672805843803</c:v>
                </c:pt>
                <c:pt idx="121">
                  <c:v>0.9711586342667351</c:v>
                </c:pt>
                <c:pt idx="122">
                  <c:v>0.9718492142243732</c:v>
                </c:pt>
                <c:pt idx="123">
                  <c:v>0.97250228731757959</c:v>
                </c:pt>
                <c:pt idx="124">
                  <c:v>0.97314745248629575</c:v>
                </c:pt>
                <c:pt idx="125">
                  <c:v>0.97376435736059541</c:v>
                </c:pt>
                <c:pt idx="126">
                  <c:v>0.97437201566487985</c:v>
                </c:pt>
                <c:pt idx="127">
                  <c:v>0.97493879570118813</c:v>
                </c:pt>
                <c:pt idx="128">
                  <c:v>0.97549693651591385</c:v>
                </c:pt>
                <c:pt idx="129">
                  <c:v>0.97605092505053892</c:v>
                </c:pt>
                <c:pt idx="130">
                  <c:v>0.97660223629411391</c:v>
                </c:pt>
                <c:pt idx="131">
                  <c:v>0.97713582287934875</c:v>
                </c:pt>
                <c:pt idx="132">
                  <c:v>0.97766127843250594</c:v>
                </c:pt>
                <c:pt idx="133">
                  <c:v>0.97817167422350693</c:v>
                </c:pt>
                <c:pt idx="134">
                  <c:v>0.97867362911078093</c:v>
                </c:pt>
                <c:pt idx="135">
                  <c:v>0.97916834539632713</c:v>
                </c:pt>
                <c:pt idx="136">
                  <c:v>0.97965851276606164</c:v>
                </c:pt>
                <c:pt idx="137">
                  <c:v>0.98012527862884069</c:v>
                </c:pt>
                <c:pt idx="138">
                  <c:v>0.98059097853314614</c:v>
                </c:pt>
                <c:pt idx="139">
                  <c:v>0.98103227294635242</c:v>
                </c:pt>
                <c:pt idx="140">
                  <c:v>0.98147260056001284</c:v>
                </c:pt>
                <c:pt idx="141">
                  <c:v>0.98190913534468582</c:v>
                </c:pt>
                <c:pt idx="142">
                  <c:v>0.98234312918183453</c:v>
                </c:pt>
                <c:pt idx="143">
                  <c:v>0.98277491673284023</c:v>
                </c:pt>
                <c:pt idx="144">
                  <c:v>0.98319615625290357</c:v>
                </c:pt>
                <c:pt idx="145">
                  <c:v>0.98360465385074758</c:v>
                </c:pt>
                <c:pt idx="146">
                  <c:v>0.98401008991669647</c:v>
                </c:pt>
                <c:pt idx="147">
                  <c:v>0.98439083540962879</c:v>
                </c:pt>
                <c:pt idx="148">
                  <c:v>0.9847595702774341</c:v>
                </c:pt>
                <c:pt idx="149">
                  <c:v>0.98512611125396243</c:v>
                </c:pt>
                <c:pt idx="150">
                  <c:v>0.98547621663821161</c:v>
                </c:pt>
                <c:pt idx="151">
                  <c:v>0.98582016177407261</c:v>
                </c:pt>
                <c:pt idx="152">
                  <c:v>0.98616084706018303</c:v>
                </c:pt>
                <c:pt idx="153">
                  <c:v>0.98647425124628874</c:v>
                </c:pt>
                <c:pt idx="154">
                  <c:v>0.9867862796022715</c:v>
                </c:pt>
                <c:pt idx="155">
                  <c:v>0.98709587856452374</c:v>
                </c:pt>
                <c:pt idx="156">
                  <c:v>0.9874042752247767</c:v>
                </c:pt>
                <c:pt idx="157">
                  <c:v>0.98770574315495119</c:v>
                </c:pt>
                <c:pt idx="158">
                  <c:v>0.98800364136372576</c:v>
                </c:pt>
                <c:pt idx="159">
                  <c:v>0.98829892425578014</c:v>
                </c:pt>
                <c:pt idx="160">
                  <c:v>0.98858669585905545</c:v>
                </c:pt>
                <c:pt idx="161">
                  <c:v>0.98886839397800441</c:v>
                </c:pt>
                <c:pt idx="162">
                  <c:v>0.9891465595601513</c:v>
                </c:pt>
                <c:pt idx="163">
                  <c:v>0.98941938295506415</c:v>
                </c:pt>
                <c:pt idx="164">
                  <c:v>0.98969009922276174</c:v>
                </c:pt>
                <c:pt idx="165">
                  <c:v>0.98995942726547048</c:v>
                </c:pt>
                <c:pt idx="166">
                  <c:v>0.99021945915870013</c:v>
                </c:pt>
                <c:pt idx="167">
                  <c:v>0.99047894567782702</c:v>
                </c:pt>
                <c:pt idx="168">
                  <c:v>0.99073006566242272</c:v>
                </c:pt>
                <c:pt idx="169">
                  <c:v>0.99097938839145239</c:v>
                </c:pt>
                <c:pt idx="170">
                  <c:v>0.99122763276714254</c:v>
                </c:pt>
                <c:pt idx="171">
                  <c:v>0.99147214628817504</c:v>
                </c:pt>
                <c:pt idx="172">
                  <c:v>0.99171602767104294</c:v>
                </c:pt>
                <c:pt idx="173">
                  <c:v>0.99195562043028451</c:v>
                </c:pt>
                <c:pt idx="174">
                  <c:v>0.99219177981165174</c:v>
                </c:pt>
                <c:pt idx="175">
                  <c:v>0.99241306535385243</c:v>
                </c:pt>
                <c:pt idx="176">
                  <c:v>0.99263088033358093</c:v>
                </c:pt>
                <c:pt idx="177">
                  <c:v>0.99284508840731156</c:v>
                </c:pt>
                <c:pt idx="178">
                  <c:v>0.993058032204713</c:v>
                </c:pt>
                <c:pt idx="179">
                  <c:v>0.99327059176126931</c:v>
                </c:pt>
                <c:pt idx="180">
                  <c:v>0.99347430138352155</c:v>
                </c:pt>
                <c:pt idx="181">
                  <c:v>0.99367343730023006</c:v>
                </c:pt>
                <c:pt idx="182">
                  <c:v>0.99386591717391148</c:v>
                </c:pt>
                <c:pt idx="183">
                  <c:v>0.99405055109743257</c:v>
                </c:pt>
                <c:pt idx="184">
                  <c:v>0.99422897519310161</c:v>
                </c:pt>
                <c:pt idx="185">
                  <c:v>0.99440572598186439</c:v>
                </c:pt>
                <c:pt idx="186">
                  <c:v>0.9945819313965244</c:v>
                </c:pt>
                <c:pt idx="187">
                  <c:v>0.99475011733290042</c:v>
                </c:pt>
                <c:pt idx="188">
                  <c:v>0.99490264855355359</c:v>
                </c:pt>
                <c:pt idx="189">
                  <c:v>0.99505472116416582</c:v>
                </c:pt>
                <c:pt idx="190">
                  <c:v>0.99520455030403709</c:v>
                </c:pt>
                <c:pt idx="191">
                  <c:v>0.99535421831065074</c:v>
                </c:pt>
                <c:pt idx="192">
                  <c:v>0.99549278051735335</c:v>
                </c:pt>
                <c:pt idx="193">
                  <c:v>0.99562747552587261</c:v>
                </c:pt>
                <c:pt idx="194">
                  <c:v>0.99576013777637251</c:v>
                </c:pt>
                <c:pt idx="195">
                  <c:v>0.99588906917221476</c:v>
                </c:pt>
                <c:pt idx="196">
                  <c:v>0.99601642642007859</c:v>
                </c:pt>
                <c:pt idx="197">
                  <c:v>0.99614073453091323</c:v>
                </c:pt>
                <c:pt idx="198">
                  <c:v>0.99626455924197499</c:v>
                </c:pt>
                <c:pt idx="199">
                  <c:v>0.99638182706893741</c:v>
                </c:pt>
                <c:pt idx="200">
                  <c:v>0.99649884699858038</c:v>
                </c:pt>
                <c:pt idx="201">
                  <c:v>0.9966126318682047</c:v>
                </c:pt>
                <c:pt idx="202">
                  <c:v>0.99671759159325679</c:v>
                </c:pt>
                <c:pt idx="203">
                  <c:v>0.9968222786312575</c:v>
                </c:pt>
                <c:pt idx="204">
                  <c:v>0.99691915690369581</c:v>
                </c:pt>
                <c:pt idx="205">
                  <c:v>0.99701500640225837</c:v>
                </c:pt>
                <c:pt idx="206">
                  <c:v>0.99710928175284252</c:v>
                </c:pt>
                <c:pt idx="207">
                  <c:v>0.99720271425254059</c:v>
                </c:pt>
                <c:pt idx="208">
                  <c:v>0.99729428752234284</c:v>
                </c:pt>
                <c:pt idx="209">
                  <c:v>0.99738498075666104</c:v>
                </c:pt>
                <c:pt idx="210">
                  <c:v>0.99747088957271401</c:v>
                </c:pt>
                <c:pt idx="211">
                  <c:v>0.99755052658658505</c:v>
                </c:pt>
                <c:pt idx="212">
                  <c:v>0.99762913482658044</c:v>
                </c:pt>
                <c:pt idx="213">
                  <c:v>0.99770590862641195</c:v>
                </c:pt>
                <c:pt idx="214">
                  <c:v>0.99778218663160456</c:v>
                </c:pt>
                <c:pt idx="215">
                  <c:v>0.99785794405242634</c:v>
                </c:pt>
                <c:pt idx="216">
                  <c:v>0.99793334202213491</c:v>
                </c:pt>
                <c:pt idx="217">
                  <c:v>0.99800267890238303</c:v>
                </c:pt>
                <c:pt idx="218">
                  <c:v>0.99807127209067292</c:v>
                </c:pt>
                <c:pt idx="219">
                  <c:v>0.99813882411022115</c:v>
                </c:pt>
                <c:pt idx="220">
                  <c:v>0.99820584315053251</c:v>
                </c:pt>
                <c:pt idx="221">
                  <c:v>0.99827172186317448</c:v>
                </c:pt>
                <c:pt idx="222">
                  <c:v>0.99833285334214905</c:v>
                </c:pt>
                <c:pt idx="223">
                  <c:v>0.99839086131489874</c:v>
                </c:pt>
                <c:pt idx="224">
                  <c:v>0.99844796446243245</c:v>
                </c:pt>
                <c:pt idx="225">
                  <c:v>0.99850484450237864</c:v>
                </c:pt>
                <c:pt idx="226">
                  <c:v>0.99856060900438737</c:v>
                </c:pt>
                <c:pt idx="227">
                  <c:v>0.9986114775343371</c:v>
                </c:pt>
                <c:pt idx="228">
                  <c:v>0.99865712782571248</c:v>
                </c:pt>
                <c:pt idx="229">
                  <c:v>0.99870126594343933</c:v>
                </c:pt>
                <c:pt idx="230">
                  <c:v>0.99874500742545502</c:v>
                </c:pt>
                <c:pt idx="231">
                  <c:v>0.99878861256394502</c:v>
                </c:pt>
                <c:pt idx="232">
                  <c:v>0.99882982549330246</c:v>
                </c:pt>
                <c:pt idx="233">
                  <c:v>0.99886994767445425</c:v>
                </c:pt>
                <c:pt idx="234">
                  <c:v>0.99894498619304972</c:v>
                </c:pt>
                <c:pt idx="235">
                  <c:v>0.99898167499632728</c:v>
                </c:pt>
                <c:pt idx="236">
                  <c:v>0.99901763250251252</c:v>
                </c:pt>
                <c:pt idx="237">
                  <c:v>0.99905282152700747</c:v>
                </c:pt>
                <c:pt idx="238">
                  <c:v>0.99908748996713159</c:v>
                </c:pt>
                <c:pt idx="239">
                  <c:v>0.99911997691084453</c:v>
                </c:pt>
                <c:pt idx="240">
                  <c:v>0.99915188129585686</c:v>
                </c:pt>
                <c:pt idx="241">
                  <c:v>0.99918149263066436</c:v>
                </c:pt>
                <c:pt idx="242">
                  <c:v>0.99920979010967881</c:v>
                </c:pt>
                <c:pt idx="243">
                  <c:v>0.99923765376838414</c:v>
                </c:pt>
                <c:pt idx="244">
                  <c:v>0.99926347227420409</c:v>
                </c:pt>
                <c:pt idx="245">
                  <c:v>0.99928879498538514</c:v>
                </c:pt>
                <c:pt idx="246">
                  <c:v>0.99931360950706138</c:v>
                </c:pt>
                <c:pt idx="247">
                  <c:v>0.99933763075731541</c:v>
                </c:pt>
                <c:pt idx="248">
                  <c:v>0.99936114381806462</c:v>
                </c:pt>
                <c:pt idx="249">
                  <c:v>0.99940389371080252</c:v>
                </c:pt>
                <c:pt idx="250">
                  <c:v>0.99942288264547186</c:v>
                </c:pt>
                <c:pt idx="251">
                  <c:v>0.99944053293461621</c:v>
                </c:pt>
                <c:pt idx="252">
                  <c:v>0.99945797251103907</c:v>
                </c:pt>
                <c:pt idx="253">
                  <c:v>0.99947470558010143</c:v>
                </c:pt>
                <c:pt idx="254">
                  <c:v>0.99949136427996799</c:v>
                </c:pt>
                <c:pt idx="255">
                  <c:v>0.99950757676465951</c:v>
                </c:pt>
                <c:pt idx="256">
                  <c:v>0.99953837800660028</c:v>
                </c:pt>
                <c:pt idx="257">
                  <c:v>0.99955361129688003</c:v>
                </c:pt>
                <c:pt idx="258">
                  <c:v>0.99956780341841811</c:v>
                </c:pt>
                <c:pt idx="259">
                  <c:v>0.99958163608884298</c:v>
                </c:pt>
                <c:pt idx="260">
                  <c:v>0.9996207047063872</c:v>
                </c:pt>
                <c:pt idx="261">
                  <c:v>0.99964425495173426</c:v>
                </c:pt>
                <c:pt idx="262">
                  <c:v>0.9996659459671855</c:v>
                </c:pt>
                <c:pt idx="263">
                  <c:v>0.99967542803965415</c:v>
                </c:pt>
                <c:pt idx="264">
                  <c:v>0.99969408231294221</c:v>
                </c:pt>
                <c:pt idx="265">
                  <c:v>0.99973769984629823</c:v>
                </c:pt>
                <c:pt idx="266">
                  <c:v>0.99975409825397943</c:v>
                </c:pt>
                <c:pt idx="267">
                  <c:v>0.99976227886552105</c:v>
                </c:pt>
                <c:pt idx="268">
                  <c:v>0.99977829303235699</c:v>
                </c:pt>
                <c:pt idx="269">
                  <c:v>0.99978600263899164</c:v>
                </c:pt>
                <c:pt idx="270">
                  <c:v>0.99979338997911105</c:v>
                </c:pt>
                <c:pt idx="271">
                  <c:v>0.99980792915689642</c:v>
                </c:pt>
                <c:pt idx="272">
                  <c:v>0.99981464717425328</c:v>
                </c:pt>
                <c:pt idx="273">
                  <c:v>0.99982135279674422</c:v>
                </c:pt>
                <c:pt idx="274">
                  <c:v>0.99982795926030743</c:v>
                </c:pt>
                <c:pt idx="275">
                  <c:v>0.99983426824708721</c:v>
                </c:pt>
                <c:pt idx="276">
                  <c:v>0.99984056483900108</c:v>
                </c:pt>
                <c:pt idx="277">
                  <c:v>0.99985097652641775</c:v>
                </c:pt>
                <c:pt idx="278">
                  <c:v>0.99986622221156352</c:v>
                </c:pt>
                <c:pt idx="279">
                  <c:v>0.99987517130479542</c:v>
                </c:pt>
                <c:pt idx="280">
                  <c:v>0.99987924921570026</c:v>
                </c:pt>
                <c:pt idx="281">
                  <c:v>0.99989064009752859</c:v>
                </c:pt>
                <c:pt idx="282">
                  <c:v>0.99989796546331822</c:v>
                </c:pt>
                <c:pt idx="283">
                  <c:v>0.99990155997445018</c:v>
                </c:pt>
                <c:pt idx="284">
                  <c:v>0.99990866223265218</c:v>
                </c:pt>
                <c:pt idx="285">
                  <c:v>0.99991212040025845</c:v>
                </c:pt>
                <c:pt idx="286">
                  <c:v>0.9999154918038029</c:v>
                </c:pt>
                <c:pt idx="287">
                  <c:v>0.99991867728435779</c:v>
                </c:pt>
                <c:pt idx="288">
                  <c:v>0.99993048959162922</c:v>
                </c:pt>
                <c:pt idx="289">
                  <c:v>0.99993334041080284</c:v>
                </c:pt>
                <c:pt idx="290">
                  <c:v>0.99993619122997646</c:v>
                </c:pt>
                <c:pt idx="291">
                  <c:v>0.99994404957500282</c:v>
                </c:pt>
                <c:pt idx="292">
                  <c:v>0.99995610977959359</c:v>
                </c:pt>
                <c:pt idx="293">
                  <c:v>0.99996281540208443</c:v>
                </c:pt>
                <c:pt idx="294">
                  <c:v>0.99997486321180928</c:v>
                </c:pt>
                <c:pt idx="295">
                  <c:v>0.9999782841948176</c:v>
                </c:pt>
                <c:pt idx="296">
                  <c:v>0.99999018326615086</c:v>
                </c:pt>
                <c:pt idx="297">
                  <c:v>0.99999117485542866</c:v>
                </c:pt>
                <c:pt idx="298">
                  <c:v>0.99999198052171689</c:v>
                </c:pt>
                <c:pt idx="299">
                  <c:v>0.99999338114157177</c:v>
                </c:pt>
                <c:pt idx="300">
                  <c:v>0.99999555024311693</c:v>
                </c:pt>
                <c:pt idx="301">
                  <c:v>0.9999974466576107</c:v>
                </c:pt>
                <c:pt idx="302">
                  <c:v>0.99999850022121839</c:v>
                </c:pt>
                <c:pt idx="303">
                  <c:v>0.99999909517478502</c:v>
                </c:pt>
                <c:pt idx="304">
                  <c:v>0.99999935546697039</c:v>
                </c:pt>
                <c:pt idx="305">
                  <c:v>0.9999998264718772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07</c:f>
              <c:strCache>
                <c:ptCount val="206"/>
                <c:pt idx="0">
                  <c:v>Private Lab</c:v>
                </c:pt>
                <c:pt idx="1">
                  <c:v>Private Lab</c:v>
                </c:pt>
                <c:pt idx="2">
                  <c:v>Galbani</c:v>
                </c:pt>
                <c:pt idx="3">
                  <c:v>Salakis</c:v>
                </c:pt>
                <c:pt idx="4">
                  <c:v>Private Lab</c:v>
                </c:pt>
                <c:pt idx="5">
                  <c:v>Private Lab</c:v>
                </c:pt>
                <c:pt idx="6">
                  <c:v>Islos</c:v>
                </c:pt>
                <c:pt idx="7">
                  <c:v>Private Lab</c:v>
                </c:pt>
                <c:pt idx="8">
                  <c:v>Casa Azzurr</c:v>
                </c:pt>
                <c:pt idx="9">
                  <c:v>Casa Azzurr</c:v>
                </c:pt>
                <c:pt idx="10">
                  <c:v>Galbani</c:v>
                </c:pt>
                <c:pt idx="11">
                  <c:v>Private Lab</c:v>
                </c:pt>
                <c:pt idx="12">
                  <c:v>Salakis</c:v>
                </c:pt>
                <c:pt idx="13">
                  <c:v>Galbani</c:v>
                </c:pt>
                <c:pt idx="14">
                  <c:v>Casa Azzurr</c:v>
                </c:pt>
                <c:pt idx="15">
                  <c:v>Galbani</c:v>
                </c:pt>
                <c:pt idx="16">
                  <c:v>Casa Azzurr</c:v>
                </c:pt>
                <c:pt idx="17">
                  <c:v>Private Lab</c:v>
                </c:pt>
                <c:pt idx="18">
                  <c:v>Boursin</c:v>
                </c:pt>
                <c:pt idx="19">
                  <c:v>Salakis</c:v>
                </c:pt>
                <c:pt idx="20">
                  <c:v>Private Lab</c:v>
                </c:pt>
                <c:pt idx="21">
                  <c:v>Private Lab</c:v>
                </c:pt>
                <c:pt idx="22">
                  <c:v>Casa Azzurr</c:v>
                </c:pt>
                <c:pt idx="23">
                  <c:v>Casa Azzurr</c:v>
                </c:pt>
                <c:pt idx="24">
                  <c:v>Galbani</c:v>
                </c:pt>
                <c:pt idx="25">
                  <c:v>All Others</c:v>
                </c:pt>
                <c:pt idx="26">
                  <c:v>Casa Azzurr</c:v>
                </c:pt>
                <c:pt idx="27">
                  <c:v>All Others</c:v>
                </c:pt>
                <c:pt idx="28">
                  <c:v>Galbani</c:v>
                </c:pt>
                <c:pt idx="29">
                  <c:v>All Others</c:v>
                </c:pt>
                <c:pt idx="30">
                  <c:v>All Others</c:v>
                </c:pt>
                <c:pt idx="31">
                  <c:v>All Others</c:v>
                </c:pt>
                <c:pt idx="32">
                  <c:v>Private Lab</c:v>
                </c:pt>
                <c:pt idx="33">
                  <c:v>Casa Azzurr</c:v>
                </c:pt>
                <c:pt idx="34">
                  <c:v>Salakis</c:v>
                </c:pt>
                <c:pt idx="35">
                  <c:v>Casa Azzurr</c:v>
                </c:pt>
                <c:pt idx="36">
                  <c:v>Private Lab</c:v>
                </c:pt>
                <c:pt idx="37">
                  <c:v>All Others</c:v>
                </c:pt>
                <c:pt idx="38">
                  <c:v>Salakis</c:v>
                </c:pt>
                <c:pt idx="39">
                  <c:v>Salakis</c:v>
                </c:pt>
                <c:pt idx="40">
                  <c:v>All Others</c:v>
                </c:pt>
                <c:pt idx="41">
                  <c:v>Galbani</c:v>
                </c:pt>
                <c:pt idx="42">
                  <c:v>All Others</c:v>
                </c:pt>
                <c:pt idx="43">
                  <c:v>All Others</c:v>
                </c:pt>
                <c:pt idx="44">
                  <c:v>Galbani</c:v>
                </c:pt>
                <c:pt idx="45">
                  <c:v>Casa Azzurr</c:v>
                </c:pt>
                <c:pt idx="46">
                  <c:v>All Others</c:v>
                </c:pt>
                <c:pt idx="47">
                  <c:v>Private Lab</c:v>
                </c:pt>
                <c:pt idx="48">
                  <c:v>All Others</c:v>
                </c:pt>
                <c:pt idx="49">
                  <c:v>Private Lab</c:v>
                </c:pt>
                <c:pt idx="50">
                  <c:v>Private Lab</c:v>
                </c:pt>
                <c:pt idx="51">
                  <c:v>Casa Azzurr</c:v>
                </c:pt>
                <c:pt idx="52">
                  <c:v>All Others</c:v>
                </c:pt>
                <c:pt idx="53">
                  <c:v>All Others</c:v>
                </c:pt>
                <c:pt idx="54">
                  <c:v>Private Lab</c:v>
                </c:pt>
                <c:pt idx="55">
                  <c:v>All Others</c:v>
                </c:pt>
                <c:pt idx="56">
                  <c:v>Galbani</c:v>
                </c:pt>
                <c:pt idx="57">
                  <c:v>Boursin</c:v>
                </c:pt>
                <c:pt idx="58">
                  <c:v>Galbani</c:v>
                </c:pt>
                <c:pt idx="59">
                  <c:v>All Others</c:v>
                </c:pt>
                <c:pt idx="60">
                  <c:v>Boursin</c:v>
                </c:pt>
                <c:pt idx="61">
                  <c:v>All Others</c:v>
                </c:pt>
                <c:pt idx="62">
                  <c:v>All Others</c:v>
                </c:pt>
                <c:pt idx="63">
                  <c:v>All Others</c:v>
                </c:pt>
                <c:pt idx="64">
                  <c:v>All Others</c:v>
                </c:pt>
                <c:pt idx="65">
                  <c:v>Islos</c:v>
                </c:pt>
                <c:pt idx="66">
                  <c:v>Casa Azzurr</c:v>
                </c:pt>
                <c:pt idx="67">
                  <c:v>All Others</c:v>
                </c:pt>
                <c:pt idx="68">
                  <c:v>Casa Azzurr</c:v>
                </c:pt>
                <c:pt idx="69">
                  <c:v>Private Lab</c:v>
                </c:pt>
                <c:pt idx="70">
                  <c:v>All Others</c:v>
                </c:pt>
                <c:pt idx="71">
                  <c:v>All Others</c:v>
                </c:pt>
                <c:pt idx="72">
                  <c:v>All Others</c:v>
                </c:pt>
                <c:pt idx="73">
                  <c:v>All Others</c:v>
                </c:pt>
                <c:pt idx="74">
                  <c:v>All Others</c:v>
                </c:pt>
                <c:pt idx="75">
                  <c:v>All Others</c:v>
                </c:pt>
                <c:pt idx="76">
                  <c:v>All Others</c:v>
                </c:pt>
                <c:pt idx="77">
                  <c:v>All Others</c:v>
                </c:pt>
                <c:pt idx="78">
                  <c:v>Lactalis: A</c:v>
                </c:pt>
                <c:pt idx="79">
                  <c:v>Private Lab</c:v>
                </c:pt>
                <c:pt idx="80">
                  <c:v>Galbani</c:v>
                </c:pt>
                <c:pt idx="81">
                  <c:v>All Others</c:v>
                </c:pt>
                <c:pt idx="82">
                  <c:v>All Others</c:v>
                </c:pt>
                <c:pt idx="83">
                  <c:v>All Others</c:v>
                </c:pt>
                <c:pt idx="84">
                  <c:v>Private Lab</c:v>
                </c:pt>
                <c:pt idx="85">
                  <c:v>All Others</c:v>
                </c:pt>
                <c:pt idx="86">
                  <c:v>Boursin</c:v>
                </c:pt>
                <c:pt idx="87">
                  <c:v>Private Lab</c:v>
                </c:pt>
                <c:pt idx="88">
                  <c:v>All Others</c:v>
                </c:pt>
                <c:pt idx="89">
                  <c:v>All Others</c:v>
                </c:pt>
                <c:pt idx="90">
                  <c:v>Casa Azzurr</c:v>
                </c:pt>
                <c:pt idx="91">
                  <c:v>All Others</c:v>
                </c:pt>
                <c:pt idx="92">
                  <c:v>Salakis</c:v>
                </c:pt>
                <c:pt idx="93">
                  <c:v>All Others</c:v>
                </c:pt>
                <c:pt idx="94">
                  <c:v>All Others</c:v>
                </c:pt>
                <c:pt idx="95">
                  <c:v>Galbani</c:v>
                </c:pt>
                <c:pt idx="96">
                  <c:v>Private Lab</c:v>
                </c:pt>
                <c:pt idx="97">
                  <c:v>Boursin</c:v>
                </c:pt>
                <c:pt idx="98">
                  <c:v>All Others</c:v>
                </c:pt>
                <c:pt idx="99">
                  <c:v>Boursin</c:v>
                </c:pt>
                <c:pt idx="100">
                  <c:v>All Others</c:v>
                </c:pt>
                <c:pt idx="101">
                  <c:v>All Others</c:v>
                </c:pt>
                <c:pt idx="102">
                  <c:v>All Others</c:v>
                </c:pt>
                <c:pt idx="103">
                  <c:v>All Others</c:v>
                </c:pt>
                <c:pt idx="104">
                  <c:v>Galbani</c:v>
                </c:pt>
                <c:pt idx="105">
                  <c:v>All Others</c:v>
                </c:pt>
                <c:pt idx="106">
                  <c:v>Lactalis: A</c:v>
                </c:pt>
                <c:pt idx="107">
                  <c:v>All Others</c:v>
                </c:pt>
                <c:pt idx="108">
                  <c:v>All Others</c:v>
                </c:pt>
                <c:pt idx="109">
                  <c:v>All Others</c:v>
                </c:pt>
                <c:pt idx="110">
                  <c:v>All Others</c:v>
                </c:pt>
                <c:pt idx="111">
                  <c:v>Salakis</c:v>
                </c:pt>
                <c:pt idx="112">
                  <c:v>All Others</c:v>
                </c:pt>
                <c:pt idx="113">
                  <c:v>All Others</c:v>
                </c:pt>
                <c:pt idx="114">
                  <c:v>All Others</c:v>
                </c:pt>
                <c:pt idx="115">
                  <c:v>All Others</c:v>
                </c:pt>
                <c:pt idx="116">
                  <c:v>All Others</c:v>
                </c:pt>
                <c:pt idx="117">
                  <c:v>Salakis</c:v>
                </c:pt>
                <c:pt idx="118">
                  <c:v>All Others</c:v>
                </c:pt>
                <c:pt idx="119">
                  <c:v>All Others</c:v>
                </c:pt>
                <c:pt idx="120">
                  <c:v>All Others</c:v>
                </c:pt>
                <c:pt idx="121">
                  <c:v>Private Lab</c:v>
                </c:pt>
                <c:pt idx="122">
                  <c:v>All Others</c:v>
                </c:pt>
                <c:pt idx="123">
                  <c:v>Private Lab</c:v>
                </c:pt>
                <c:pt idx="124">
                  <c:v>All Others</c:v>
                </c:pt>
                <c:pt idx="125">
                  <c:v>All Others</c:v>
                </c:pt>
                <c:pt idx="126">
                  <c:v>Islos</c:v>
                </c:pt>
                <c:pt idx="127">
                  <c:v>All Others</c:v>
                </c:pt>
                <c:pt idx="128">
                  <c:v>All Others</c:v>
                </c:pt>
                <c:pt idx="129">
                  <c:v>All Others</c:v>
                </c:pt>
                <c:pt idx="130">
                  <c:v>Lactalis: A</c:v>
                </c:pt>
                <c:pt idx="131">
                  <c:v>All Others</c:v>
                </c:pt>
                <c:pt idx="132">
                  <c:v>All Others</c:v>
                </c:pt>
                <c:pt idx="133">
                  <c:v>All Others</c:v>
                </c:pt>
                <c:pt idx="134">
                  <c:v>All Others</c:v>
                </c:pt>
                <c:pt idx="135">
                  <c:v>All Others</c:v>
                </c:pt>
                <c:pt idx="136">
                  <c:v>All Others</c:v>
                </c:pt>
                <c:pt idx="137">
                  <c:v>All Others</c:v>
                </c:pt>
                <c:pt idx="138">
                  <c:v>Private Lab</c:v>
                </c:pt>
                <c:pt idx="139">
                  <c:v>All Others</c:v>
                </c:pt>
                <c:pt idx="140">
                  <c:v>All Others</c:v>
                </c:pt>
                <c:pt idx="141">
                  <c:v>All Others</c:v>
                </c:pt>
                <c:pt idx="142">
                  <c:v>All Others</c:v>
                </c:pt>
                <c:pt idx="143">
                  <c:v>All Others</c:v>
                </c:pt>
                <c:pt idx="144">
                  <c:v>All Others</c:v>
                </c:pt>
                <c:pt idx="145">
                  <c:v>All Others</c:v>
                </c:pt>
                <c:pt idx="146">
                  <c:v>All Others</c:v>
                </c:pt>
                <c:pt idx="147">
                  <c:v>All Others</c:v>
                </c:pt>
                <c:pt idx="148">
                  <c:v>All Others</c:v>
                </c:pt>
                <c:pt idx="149">
                  <c:v>All Others</c:v>
                </c:pt>
                <c:pt idx="150">
                  <c:v>All Others</c:v>
                </c:pt>
                <c:pt idx="151">
                  <c:v>All Others</c:v>
                </c:pt>
                <c:pt idx="152">
                  <c:v>All Others</c:v>
                </c:pt>
                <c:pt idx="153">
                  <c:v>All Others</c:v>
                </c:pt>
                <c:pt idx="154">
                  <c:v>All Others</c:v>
                </c:pt>
                <c:pt idx="155">
                  <c:v>All Others</c:v>
                </c:pt>
                <c:pt idx="156">
                  <c:v>All Others</c:v>
                </c:pt>
                <c:pt idx="157">
                  <c:v>All Others</c:v>
                </c:pt>
                <c:pt idx="158">
                  <c:v>All Others</c:v>
                </c:pt>
                <c:pt idx="159">
                  <c:v>All Others</c:v>
                </c:pt>
                <c:pt idx="160">
                  <c:v>All Others</c:v>
                </c:pt>
                <c:pt idx="161">
                  <c:v>All Others</c:v>
                </c:pt>
                <c:pt idx="162">
                  <c:v>All Others</c:v>
                </c:pt>
                <c:pt idx="163">
                  <c:v>All Others</c:v>
                </c:pt>
                <c:pt idx="164">
                  <c:v>All Others</c:v>
                </c:pt>
                <c:pt idx="165">
                  <c:v>All Others</c:v>
                </c:pt>
                <c:pt idx="166">
                  <c:v>All Others</c:v>
                </c:pt>
                <c:pt idx="167">
                  <c:v>All Others</c:v>
                </c:pt>
                <c:pt idx="168">
                  <c:v>All Others</c:v>
                </c:pt>
                <c:pt idx="169">
                  <c:v>All Others</c:v>
                </c:pt>
                <c:pt idx="170">
                  <c:v>All Others</c:v>
                </c:pt>
                <c:pt idx="171">
                  <c:v>All Others</c:v>
                </c:pt>
                <c:pt idx="172">
                  <c:v>All Others</c:v>
                </c:pt>
                <c:pt idx="173">
                  <c:v>All Others</c:v>
                </c:pt>
                <c:pt idx="174">
                  <c:v>All Others</c:v>
                </c:pt>
                <c:pt idx="175">
                  <c:v>All Others</c:v>
                </c:pt>
                <c:pt idx="176">
                  <c:v>All Others</c:v>
                </c:pt>
                <c:pt idx="177">
                  <c:v>All Others</c:v>
                </c:pt>
                <c:pt idx="178">
                  <c:v>All Others</c:v>
                </c:pt>
                <c:pt idx="179">
                  <c:v>All Others</c:v>
                </c:pt>
                <c:pt idx="180">
                  <c:v>All Others</c:v>
                </c:pt>
                <c:pt idx="181">
                  <c:v>All Others</c:v>
                </c:pt>
                <c:pt idx="182">
                  <c:v>All Others</c:v>
                </c:pt>
                <c:pt idx="183">
                  <c:v>Private Lab</c:v>
                </c:pt>
                <c:pt idx="184">
                  <c:v>All Others</c:v>
                </c:pt>
                <c:pt idx="185">
                  <c:v>All Others</c:v>
                </c:pt>
                <c:pt idx="186">
                  <c:v>All Others</c:v>
                </c:pt>
                <c:pt idx="187">
                  <c:v>All Others</c:v>
                </c:pt>
                <c:pt idx="188">
                  <c:v>All Others</c:v>
                </c:pt>
                <c:pt idx="189">
                  <c:v>All Others</c:v>
                </c:pt>
                <c:pt idx="190">
                  <c:v>All Others</c:v>
                </c:pt>
                <c:pt idx="191">
                  <c:v>All Others</c:v>
                </c:pt>
                <c:pt idx="192">
                  <c:v>All Others</c:v>
                </c:pt>
                <c:pt idx="193">
                  <c:v>All Others</c:v>
                </c:pt>
                <c:pt idx="194">
                  <c:v>All Others</c:v>
                </c:pt>
                <c:pt idx="195">
                  <c:v>Galbani</c:v>
                </c:pt>
                <c:pt idx="196">
                  <c:v>All Others</c:v>
                </c:pt>
                <c:pt idx="197">
                  <c:v>All Others</c:v>
                </c:pt>
                <c:pt idx="198">
                  <c:v>All Others</c:v>
                </c:pt>
                <c:pt idx="199">
                  <c:v>All Others</c:v>
                </c:pt>
                <c:pt idx="200">
                  <c:v>All Others</c:v>
                </c:pt>
                <c:pt idx="201">
                  <c:v>Islos</c:v>
                </c:pt>
                <c:pt idx="202">
                  <c:v>All Others</c:v>
                </c:pt>
                <c:pt idx="203">
                  <c:v>All Others</c:v>
                </c:pt>
                <c:pt idx="204">
                  <c:v>All Others</c:v>
                </c:pt>
                <c:pt idx="205">
                  <c:v>All Others</c:v>
                </c:pt>
              </c:strCache>
            </c:strRef>
          </c:cat>
          <c:val>
            <c:numRef>
              <c:f>Sheet1!$B$2:$B$207</c:f>
              <c:numCache>
                <c:formatCode>General</c:formatCode>
                <c:ptCount val="206"/>
                <c:pt idx="0">
                  <c:v>0.35</c:v>
                </c:pt>
                <c:pt idx="1">
                  <c:v>1</c:v>
                </c:pt>
                <c:pt idx="2">
                  <c:v>0.99</c:v>
                </c:pt>
                <c:pt idx="3">
                  <c:v>0.99</c:v>
                </c:pt>
                <c:pt idx="4">
                  <c:v>1</c:v>
                </c:pt>
                <c:pt idx="5">
                  <c:v>1</c:v>
                </c:pt>
                <c:pt idx="6">
                  <c:v>0.95</c:v>
                </c:pt>
                <c:pt idx="7">
                  <c:v>1</c:v>
                </c:pt>
                <c:pt idx="8">
                  <c:v>0.93</c:v>
                </c:pt>
                <c:pt idx="9">
                  <c:v>0.95</c:v>
                </c:pt>
                <c:pt idx="10">
                  <c:v>0.95</c:v>
                </c:pt>
                <c:pt idx="11">
                  <c:v>0.98</c:v>
                </c:pt>
                <c:pt idx="12">
                  <c:v>0.96</c:v>
                </c:pt>
                <c:pt idx="13">
                  <c:v>0.94</c:v>
                </c:pt>
                <c:pt idx="14">
                  <c:v>0.94</c:v>
                </c:pt>
                <c:pt idx="15">
                  <c:v>0.98</c:v>
                </c:pt>
                <c:pt idx="16">
                  <c:v>0.92</c:v>
                </c:pt>
                <c:pt idx="17">
                  <c:v>1</c:v>
                </c:pt>
                <c:pt idx="18">
                  <c:v>0.99</c:v>
                </c:pt>
                <c:pt idx="19">
                  <c:v>0.91</c:v>
                </c:pt>
                <c:pt idx="20">
                  <c:v>0.95</c:v>
                </c:pt>
                <c:pt idx="21">
                  <c:v>0.96</c:v>
                </c:pt>
                <c:pt idx="22">
                  <c:v>0.86</c:v>
                </c:pt>
                <c:pt idx="23">
                  <c:v>0.83</c:v>
                </c:pt>
                <c:pt idx="24">
                  <c:v>0.92</c:v>
                </c:pt>
                <c:pt idx="25">
                  <c:v>0.72</c:v>
                </c:pt>
                <c:pt idx="26">
                  <c:v>0.69</c:v>
                </c:pt>
                <c:pt idx="27">
                  <c:v>0.77</c:v>
                </c:pt>
                <c:pt idx="28">
                  <c:v>0.84</c:v>
                </c:pt>
                <c:pt idx="29">
                  <c:v>0.71</c:v>
                </c:pt>
                <c:pt idx="30">
                  <c:v>0.87</c:v>
                </c:pt>
                <c:pt idx="31">
                  <c:v>0.75</c:v>
                </c:pt>
                <c:pt idx="32">
                  <c:v>0.74</c:v>
                </c:pt>
                <c:pt idx="33">
                  <c:v>0.57999999999999996</c:v>
                </c:pt>
                <c:pt idx="34">
                  <c:v>0.55000000000000004</c:v>
                </c:pt>
                <c:pt idx="35">
                  <c:v>0.6</c:v>
                </c:pt>
                <c:pt idx="36">
                  <c:v>0.99</c:v>
                </c:pt>
                <c:pt idx="37">
                  <c:v>0.8</c:v>
                </c:pt>
                <c:pt idx="38">
                  <c:v>0.8</c:v>
                </c:pt>
                <c:pt idx="39">
                  <c:v>0.59</c:v>
                </c:pt>
                <c:pt idx="40">
                  <c:v>0.64</c:v>
                </c:pt>
                <c:pt idx="41">
                  <c:v>0.67</c:v>
                </c:pt>
                <c:pt idx="42">
                  <c:v>0.41</c:v>
                </c:pt>
                <c:pt idx="43">
                  <c:v>0.61</c:v>
                </c:pt>
                <c:pt idx="44">
                  <c:v>0.79</c:v>
                </c:pt>
                <c:pt idx="45">
                  <c:v>0.81</c:v>
                </c:pt>
                <c:pt idx="46">
                  <c:v>0.73</c:v>
                </c:pt>
                <c:pt idx="47">
                  <c:v>0.9</c:v>
                </c:pt>
                <c:pt idx="48">
                  <c:v>0.67</c:v>
                </c:pt>
                <c:pt idx="49">
                  <c:v>0.85</c:v>
                </c:pt>
                <c:pt idx="50">
                  <c:v>0.9</c:v>
                </c:pt>
                <c:pt idx="51">
                  <c:v>0.82</c:v>
                </c:pt>
                <c:pt idx="52">
                  <c:v>0.74</c:v>
                </c:pt>
                <c:pt idx="53">
                  <c:v>0.78</c:v>
                </c:pt>
                <c:pt idx="54">
                  <c:v>0.64</c:v>
                </c:pt>
                <c:pt idx="55">
                  <c:v>0.67</c:v>
                </c:pt>
                <c:pt idx="56">
                  <c:v>0.45</c:v>
                </c:pt>
                <c:pt idx="57">
                  <c:v>0.91</c:v>
                </c:pt>
                <c:pt idx="58">
                  <c:v>0.93</c:v>
                </c:pt>
                <c:pt idx="59">
                  <c:v>0.56000000000000005</c:v>
                </c:pt>
                <c:pt idx="60">
                  <c:v>0.95</c:v>
                </c:pt>
                <c:pt idx="61">
                  <c:v>0.52</c:v>
                </c:pt>
                <c:pt idx="62">
                  <c:v>0.63</c:v>
                </c:pt>
                <c:pt idx="63">
                  <c:v>0.72</c:v>
                </c:pt>
                <c:pt idx="64">
                  <c:v>0.74</c:v>
                </c:pt>
                <c:pt idx="65">
                  <c:v>0.86</c:v>
                </c:pt>
                <c:pt idx="66">
                  <c:v>0.51</c:v>
                </c:pt>
                <c:pt idx="67">
                  <c:v>0.46</c:v>
                </c:pt>
                <c:pt idx="68">
                  <c:v>0.49</c:v>
                </c:pt>
                <c:pt idx="69">
                  <c:v>0.55000000000000004</c:v>
                </c:pt>
                <c:pt idx="70">
                  <c:v>0.56000000000000005</c:v>
                </c:pt>
                <c:pt idx="71">
                  <c:v>0.08</c:v>
                </c:pt>
                <c:pt idx="72">
                  <c:v>0.66</c:v>
                </c:pt>
                <c:pt idx="73">
                  <c:v>7.0000000000000007E-2</c:v>
                </c:pt>
                <c:pt idx="74">
                  <c:v>0.56000000000000005</c:v>
                </c:pt>
                <c:pt idx="75">
                  <c:v>0.48</c:v>
                </c:pt>
                <c:pt idx="76">
                  <c:v>0.61</c:v>
                </c:pt>
                <c:pt idx="77">
                  <c:v>0.21</c:v>
                </c:pt>
                <c:pt idx="78">
                  <c:v>0.24</c:v>
                </c:pt>
                <c:pt idx="79">
                  <c:v>0.63</c:v>
                </c:pt>
                <c:pt idx="80">
                  <c:v>0.64</c:v>
                </c:pt>
                <c:pt idx="81">
                  <c:v>0.64</c:v>
                </c:pt>
                <c:pt idx="82">
                  <c:v>0.11</c:v>
                </c:pt>
                <c:pt idx="83">
                  <c:v>0.55000000000000004</c:v>
                </c:pt>
                <c:pt idx="84">
                  <c:v>0.5</c:v>
                </c:pt>
                <c:pt idx="85">
                  <c:v>0.42</c:v>
                </c:pt>
                <c:pt idx="86">
                  <c:v>0.72</c:v>
                </c:pt>
                <c:pt idx="87">
                  <c:v>0.51</c:v>
                </c:pt>
                <c:pt idx="88">
                  <c:v>0.4</c:v>
                </c:pt>
                <c:pt idx="89">
                  <c:v>0.49</c:v>
                </c:pt>
                <c:pt idx="90">
                  <c:v>0.53</c:v>
                </c:pt>
                <c:pt idx="91">
                  <c:v>0.5</c:v>
                </c:pt>
                <c:pt idx="92">
                  <c:v>0.76</c:v>
                </c:pt>
                <c:pt idx="93">
                  <c:v>0.3</c:v>
                </c:pt>
                <c:pt idx="94">
                  <c:v>0.35</c:v>
                </c:pt>
                <c:pt idx="95">
                  <c:v>0.5</c:v>
                </c:pt>
                <c:pt idx="96">
                  <c:v>0.72</c:v>
                </c:pt>
                <c:pt idx="97">
                  <c:v>0.71</c:v>
                </c:pt>
                <c:pt idx="98">
                  <c:v>0.3</c:v>
                </c:pt>
                <c:pt idx="99">
                  <c:v>0.79</c:v>
                </c:pt>
                <c:pt idx="100">
                  <c:v>0.28999999999999998</c:v>
                </c:pt>
                <c:pt idx="101">
                  <c:v>0.5</c:v>
                </c:pt>
                <c:pt idx="102">
                  <c:v>7.0000000000000007E-2</c:v>
                </c:pt>
                <c:pt idx="103">
                  <c:v>0.05</c:v>
                </c:pt>
                <c:pt idx="104">
                  <c:v>0.42</c:v>
                </c:pt>
                <c:pt idx="105">
                  <c:v>7.0000000000000007E-2</c:v>
                </c:pt>
                <c:pt idx="106">
                  <c:v>0.15</c:v>
                </c:pt>
                <c:pt idx="107">
                  <c:v>0.64</c:v>
                </c:pt>
                <c:pt idx="108">
                  <c:v>0.51</c:v>
                </c:pt>
                <c:pt idx="109">
                  <c:v>0.09</c:v>
                </c:pt>
                <c:pt idx="110">
                  <c:v>0.41</c:v>
                </c:pt>
                <c:pt idx="111">
                  <c:v>0.37</c:v>
                </c:pt>
                <c:pt idx="112">
                  <c:v>0.16</c:v>
                </c:pt>
                <c:pt idx="113">
                  <c:v>0.52</c:v>
                </c:pt>
                <c:pt idx="114">
                  <c:v>7.0000000000000007E-2</c:v>
                </c:pt>
                <c:pt idx="115">
                  <c:v>0.09</c:v>
                </c:pt>
                <c:pt idx="116">
                  <c:v>0.56000000000000005</c:v>
                </c:pt>
                <c:pt idx="117">
                  <c:v>0.53</c:v>
                </c:pt>
                <c:pt idx="118">
                  <c:v>0.5</c:v>
                </c:pt>
                <c:pt idx="119">
                  <c:v>0.17</c:v>
                </c:pt>
                <c:pt idx="120">
                  <c:v>0.3</c:v>
                </c:pt>
                <c:pt idx="121">
                  <c:v>0.48</c:v>
                </c:pt>
                <c:pt idx="122">
                  <c:v>0.09</c:v>
                </c:pt>
                <c:pt idx="123">
                  <c:v>0.48</c:v>
                </c:pt>
                <c:pt idx="124">
                  <c:v>0.05</c:v>
                </c:pt>
                <c:pt idx="125">
                  <c:v>0.22</c:v>
                </c:pt>
                <c:pt idx="126">
                  <c:v>0.32</c:v>
                </c:pt>
                <c:pt idx="127">
                  <c:v>0.09</c:v>
                </c:pt>
                <c:pt idx="128">
                  <c:v>0.13</c:v>
                </c:pt>
                <c:pt idx="129">
                  <c:v>0.56000000000000005</c:v>
                </c:pt>
                <c:pt idx="130">
                  <c:v>0.42</c:v>
                </c:pt>
                <c:pt idx="131">
                  <c:v>0.42</c:v>
                </c:pt>
                <c:pt idx="132">
                  <c:v>0.06</c:v>
                </c:pt>
                <c:pt idx="133">
                  <c:v>0.03</c:v>
                </c:pt>
                <c:pt idx="134">
                  <c:v>0.6</c:v>
                </c:pt>
                <c:pt idx="135">
                  <c:v>0.14000000000000001</c:v>
                </c:pt>
                <c:pt idx="136">
                  <c:v>0.13</c:v>
                </c:pt>
                <c:pt idx="137">
                  <c:v>0.03</c:v>
                </c:pt>
                <c:pt idx="138">
                  <c:v>0.52</c:v>
                </c:pt>
                <c:pt idx="139">
                  <c:v>0.52</c:v>
                </c:pt>
                <c:pt idx="140">
                  <c:v>0.04</c:v>
                </c:pt>
                <c:pt idx="141">
                  <c:v>0.04</c:v>
                </c:pt>
                <c:pt idx="142">
                  <c:v>0.02</c:v>
                </c:pt>
                <c:pt idx="143">
                  <c:v>0.37</c:v>
                </c:pt>
                <c:pt idx="144">
                  <c:v>0.03</c:v>
                </c:pt>
                <c:pt idx="145">
                  <c:v>0.06</c:v>
                </c:pt>
                <c:pt idx="146">
                  <c:v>0.35</c:v>
                </c:pt>
                <c:pt idx="147">
                  <c:v>0.11</c:v>
                </c:pt>
                <c:pt idx="148">
                  <c:v>0.01</c:v>
                </c:pt>
                <c:pt idx="149">
                  <c:v>0.02</c:v>
                </c:pt>
                <c:pt idx="150">
                  <c:v>0.01</c:v>
                </c:pt>
                <c:pt idx="151">
                  <c:v>0.01</c:v>
                </c:pt>
                <c:pt idx="152">
                  <c:v>0.03</c:v>
                </c:pt>
                <c:pt idx="153">
                  <c:v>0.02</c:v>
                </c:pt>
                <c:pt idx="154">
                  <c:v>0.01</c:v>
                </c:pt>
                <c:pt idx="155">
                  <c:v>0.01</c:v>
                </c:pt>
                <c:pt idx="156">
                  <c:v>0.04</c:v>
                </c:pt>
                <c:pt idx="157">
                  <c:v>0.01</c:v>
                </c:pt>
                <c:pt idx="158">
                  <c:v>0.01</c:v>
                </c:pt>
                <c:pt idx="159">
                  <c:v>0.02</c:v>
                </c:pt>
                <c:pt idx="160">
                  <c:v>0.03</c:v>
                </c:pt>
                <c:pt idx="161">
                  <c:v>0.02</c:v>
                </c:pt>
                <c:pt idx="162">
                  <c:v>0.01</c:v>
                </c:pt>
                <c:pt idx="163">
                  <c:v>0.01</c:v>
                </c:pt>
                <c:pt idx="164">
                  <c:v>0.01</c:v>
                </c:pt>
                <c:pt idx="165">
                  <c:v>0.01</c:v>
                </c:pt>
                <c:pt idx="166">
                  <c:v>0.01</c:v>
                </c:pt>
                <c:pt idx="167">
                  <c:v>0.01</c:v>
                </c:pt>
                <c:pt idx="168">
                  <c:v>0.02</c:v>
                </c:pt>
                <c:pt idx="169">
                  <c:v>0.01</c:v>
                </c:pt>
                <c:pt idx="170">
                  <c:v>0.04</c:v>
                </c:pt>
                <c:pt idx="171">
                  <c:v>7.0000000000000007E-2</c:v>
                </c:pt>
                <c:pt idx="172">
                  <c:v>0.01</c:v>
                </c:pt>
                <c:pt idx="173">
                  <c:v>0.01</c:v>
                </c:pt>
                <c:pt idx="174">
                  <c:v>0.01</c:v>
                </c:pt>
                <c:pt idx="175">
                  <c:v>0.03</c:v>
                </c:pt>
                <c:pt idx="176">
                  <c:v>0.03</c:v>
                </c:pt>
                <c:pt idx="177">
                  <c:v>0.01</c:v>
                </c:pt>
                <c:pt idx="178">
                  <c:v>0.03</c:v>
                </c:pt>
                <c:pt idx="179">
                  <c:v>0.03</c:v>
                </c:pt>
                <c:pt idx="180">
                  <c:v>0.03</c:v>
                </c:pt>
                <c:pt idx="181">
                  <c:v>0.01</c:v>
                </c:pt>
                <c:pt idx="182">
                  <c:v>0.01</c:v>
                </c:pt>
                <c:pt idx="183">
                  <c:v>0.04</c:v>
                </c:pt>
                <c:pt idx="184">
                  <c:v>0.02</c:v>
                </c:pt>
                <c:pt idx="185">
                  <c:v>0.03</c:v>
                </c:pt>
                <c:pt idx="186">
                  <c:v>0.03</c:v>
                </c:pt>
                <c:pt idx="187">
                  <c:v>0.01</c:v>
                </c:pt>
                <c:pt idx="188">
                  <c:v>0.01</c:v>
                </c:pt>
                <c:pt idx="189">
                  <c:v>0.01</c:v>
                </c:pt>
                <c:pt idx="190">
                  <c:v>0.01</c:v>
                </c:pt>
                <c:pt idx="191">
                  <c:v>0.03</c:v>
                </c:pt>
                <c:pt idx="192">
                  <c:v>0.02</c:v>
                </c:pt>
                <c:pt idx="193">
                  <c:v>0.01</c:v>
                </c:pt>
                <c:pt idx="194">
                  <c:v>0.01</c:v>
                </c:pt>
                <c:pt idx="195">
                  <c:v>0.01</c:v>
                </c:pt>
                <c:pt idx="196">
                  <c:v>0.01</c:v>
                </c:pt>
                <c:pt idx="197">
                  <c:v>0.01</c:v>
                </c:pt>
                <c:pt idx="198">
                  <c:v>0.05</c:v>
                </c:pt>
                <c:pt idx="199">
                  <c:v>0.01</c:v>
                </c:pt>
                <c:pt idx="200">
                  <c:v>0.01</c:v>
                </c:pt>
                <c:pt idx="201">
                  <c:v>0.02</c:v>
                </c:pt>
                <c:pt idx="202">
                  <c:v>0.01</c:v>
                </c:pt>
                <c:pt idx="203">
                  <c:v>0.01</c:v>
                </c:pt>
                <c:pt idx="204">
                  <c:v>0.01</c:v>
                </c:pt>
                <c:pt idx="20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7ECAC4"/>
              </a:solidFill>
            </c:spPr>
            <c:extLst>
              <c:ext xmlns:c16="http://schemas.microsoft.com/office/drawing/2014/chart" uri="{C3380CC4-5D6E-409C-BE32-E72D297353CC}">
                <c16:uniqueId val="{00000072-C76F-4230-900D-40618C09729F}"/>
              </c:ext>
            </c:extLst>
          </c:dPt>
          <c:dPt>
            <c:idx val="55"/>
            <c:invertIfNegative val="0"/>
            <c:bubble3D val="0"/>
            <c:spPr>
              <a:solidFill>
                <a:srgbClr val="7ECAC4"/>
              </a:solidFill>
            </c:spPr>
            <c:extLst>
              <c:ext xmlns:c16="http://schemas.microsoft.com/office/drawing/2014/chart" uri="{C3380CC4-5D6E-409C-BE32-E72D297353CC}">
                <c16:uniqueId val="{00000074-C76F-4230-900D-40618C09729F}"/>
              </c:ext>
            </c:extLst>
          </c:dPt>
          <c:dPt>
            <c:idx val="56"/>
            <c:invertIfNegative val="0"/>
            <c:bubble3D val="0"/>
            <c:spPr>
              <a:solidFill>
                <a:srgbClr val="7ECAC4"/>
              </a:solidFill>
            </c:spPr>
            <c:extLst>
              <c:ext xmlns:c16="http://schemas.microsoft.com/office/drawing/2014/chart" uri="{C3380CC4-5D6E-409C-BE32-E72D297353CC}">
                <c16:uniqueId val="{00000076-C76F-4230-900D-40618C09729F}"/>
              </c:ext>
            </c:extLst>
          </c:dPt>
          <c:dPt>
            <c:idx val="57"/>
            <c:invertIfNegative val="0"/>
            <c:bubble3D val="0"/>
            <c:spPr>
              <a:solidFill>
                <a:srgbClr val="7ECAC4"/>
              </a:solidFill>
            </c:spPr>
            <c:extLst>
              <c:ext xmlns:c16="http://schemas.microsoft.com/office/drawing/2014/chart" uri="{C3380CC4-5D6E-409C-BE32-E72D297353CC}">
                <c16:uniqueId val="{00000078-C76F-4230-900D-40618C09729F}"/>
              </c:ext>
            </c:extLst>
          </c:dPt>
          <c:dPt>
            <c:idx val="58"/>
            <c:invertIfNegative val="0"/>
            <c:bubble3D val="0"/>
            <c:spPr>
              <a:solidFill>
                <a:srgbClr val="7ECAC4"/>
              </a:solidFill>
            </c:spPr>
            <c:extLst>
              <c:ext xmlns:c16="http://schemas.microsoft.com/office/drawing/2014/chart" uri="{C3380CC4-5D6E-409C-BE32-E72D297353CC}">
                <c16:uniqueId val="{0000007A-C76F-4230-900D-40618C09729F}"/>
              </c:ext>
            </c:extLst>
          </c:dPt>
          <c:dPt>
            <c:idx val="59"/>
            <c:invertIfNegative val="0"/>
            <c:bubble3D val="0"/>
            <c:spPr>
              <a:solidFill>
                <a:srgbClr val="7ECAC4"/>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07</c:f>
              <c:strCache>
                <c:ptCount val="206"/>
                <c:pt idx="0">
                  <c:v>Private Lab</c:v>
                </c:pt>
                <c:pt idx="1">
                  <c:v>Private Lab</c:v>
                </c:pt>
                <c:pt idx="2">
                  <c:v>Galbani</c:v>
                </c:pt>
                <c:pt idx="3">
                  <c:v>Salakis</c:v>
                </c:pt>
                <c:pt idx="4">
                  <c:v>Private Lab</c:v>
                </c:pt>
                <c:pt idx="5">
                  <c:v>Private Lab</c:v>
                </c:pt>
                <c:pt idx="6">
                  <c:v>Islos</c:v>
                </c:pt>
                <c:pt idx="7">
                  <c:v>Private Lab</c:v>
                </c:pt>
                <c:pt idx="8">
                  <c:v>Casa Azzurr</c:v>
                </c:pt>
                <c:pt idx="9">
                  <c:v>Casa Azzurr</c:v>
                </c:pt>
                <c:pt idx="10">
                  <c:v>Galbani</c:v>
                </c:pt>
                <c:pt idx="11">
                  <c:v>Private Lab</c:v>
                </c:pt>
                <c:pt idx="12">
                  <c:v>Salakis</c:v>
                </c:pt>
                <c:pt idx="13">
                  <c:v>Galbani</c:v>
                </c:pt>
                <c:pt idx="14">
                  <c:v>Casa Azzurr</c:v>
                </c:pt>
                <c:pt idx="15">
                  <c:v>Galbani</c:v>
                </c:pt>
                <c:pt idx="16">
                  <c:v>Casa Azzurr</c:v>
                </c:pt>
                <c:pt idx="17">
                  <c:v>Private Lab</c:v>
                </c:pt>
                <c:pt idx="18">
                  <c:v>Boursin</c:v>
                </c:pt>
                <c:pt idx="19">
                  <c:v>Salakis</c:v>
                </c:pt>
                <c:pt idx="20">
                  <c:v>Private Lab</c:v>
                </c:pt>
                <c:pt idx="21">
                  <c:v>Private Lab</c:v>
                </c:pt>
                <c:pt idx="22">
                  <c:v>Casa Azzurr</c:v>
                </c:pt>
                <c:pt idx="23">
                  <c:v>Casa Azzurr</c:v>
                </c:pt>
                <c:pt idx="24">
                  <c:v>Galbani</c:v>
                </c:pt>
                <c:pt idx="25">
                  <c:v>All Others</c:v>
                </c:pt>
                <c:pt idx="26">
                  <c:v>Casa Azzurr</c:v>
                </c:pt>
                <c:pt idx="27">
                  <c:v>All Others</c:v>
                </c:pt>
                <c:pt idx="28">
                  <c:v>Galbani</c:v>
                </c:pt>
                <c:pt idx="29">
                  <c:v>All Others</c:v>
                </c:pt>
                <c:pt idx="30">
                  <c:v>All Others</c:v>
                </c:pt>
                <c:pt idx="31">
                  <c:v>All Others</c:v>
                </c:pt>
                <c:pt idx="32">
                  <c:v>Private Lab</c:v>
                </c:pt>
                <c:pt idx="33">
                  <c:v>Casa Azzurr</c:v>
                </c:pt>
                <c:pt idx="34">
                  <c:v>Salakis</c:v>
                </c:pt>
                <c:pt idx="35">
                  <c:v>Casa Azzurr</c:v>
                </c:pt>
                <c:pt idx="36">
                  <c:v>Private Lab</c:v>
                </c:pt>
                <c:pt idx="37">
                  <c:v>All Others</c:v>
                </c:pt>
                <c:pt idx="38">
                  <c:v>Salakis</c:v>
                </c:pt>
                <c:pt idx="39">
                  <c:v>Salakis</c:v>
                </c:pt>
                <c:pt idx="40">
                  <c:v>All Others</c:v>
                </c:pt>
                <c:pt idx="41">
                  <c:v>Galbani</c:v>
                </c:pt>
                <c:pt idx="42">
                  <c:v>All Others</c:v>
                </c:pt>
                <c:pt idx="43">
                  <c:v>All Others</c:v>
                </c:pt>
                <c:pt idx="44">
                  <c:v>Galbani</c:v>
                </c:pt>
                <c:pt idx="45">
                  <c:v>Casa Azzurr</c:v>
                </c:pt>
                <c:pt idx="46">
                  <c:v>All Others</c:v>
                </c:pt>
                <c:pt idx="47">
                  <c:v>Private Lab</c:v>
                </c:pt>
                <c:pt idx="48">
                  <c:v>All Others</c:v>
                </c:pt>
                <c:pt idx="49">
                  <c:v>Private Lab</c:v>
                </c:pt>
                <c:pt idx="50">
                  <c:v>Private Lab</c:v>
                </c:pt>
                <c:pt idx="51">
                  <c:v>Casa Azzurr</c:v>
                </c:pt>
                <c:pt idx="52">
                  <c:v>All Others</c:v>
                </c:pt>
                <c:pt idx="53">
                  <c:v>All Others</c:v>
                </c:pt>
                <c:pt idx="54">
                  <c:v>Private Lab</c:v>
                </c:pt>
                <c:pt idx="55">
                  <c:v>All Others</c:v>
                </c:pt>
                <c:pt idx="56">
                  <c:v>Galbani</c:v>
                </c:pt>
                <c:pt idx="57">
                  <c:v>Boursin</c:v>
                </c:pt>
                <c:pt idx="58">
                  <c:v>Galbani</c:v>
                </c:pt>
                <c:pt idx="59">
                  <c:v>All Others</c:v>
                </c:pt>
                <c:pt idx="60">
                  <c:v>Boursin</c:v>
                </c:pt>
                <c:pt idx="61">
                  <c:v>All Others</c:v>
                </c:pt>
                <c:pt idx="62">
                  <c:v>All Others</c:v>
                </c:pt>
                <c:pt idx="63">
                  <c:v>All Others</c:v>
                </c:pt>
                <c:pt idx="64">
                  <c:v>All Others</c:v>
                </c:pt>
                <c:pt idx="65">
                  <c:v>Islos</c:v>
                </c:pt>
                <c:pt idx="66">
                  <c:v>Casa Azzurr</c:v>
                </c:pt>
                <c:pt idx="67">
                  <c:v>All Others</c:v>
                </c:pt>
                <c:pt idx="68">
                  <c:v>Casa Azzurr</c:v>
                </c:pt>
                <c:pt idx="69">
                  <c:v>Private Lab</c:v>
                </c:pt>
                <c:pt idx="70">
                  <c:v>All Others</c:v>
                </c:pt>
                <c:pt idx="71">
                  <c:v>All Others</c:v>
                </c:pt>
                <c:pt idx="72">
                  <c:v>All Others</c:v>
                </c:pt>
                <c:pt idx="73">
                  <c:v>All Others</c:v>
                </c:pt>
                <c:pt idx="74">
                  <c:v>All Others</c:v>
                </c:pt>
                <c:pt idx="75">
                  <c:v>All Others</c:v>
                </c:pt>
                <c:pt idx="76">
                  <c:v>All Others</c:v>
                </c:pt>
                <c:pt idx="77">
                  <c:v>All Others</c:v>
                </c:pt>
                <c:pt idx="78">
                  <c:v>Lactalis: A</c:v>
                </c:pt>
                <c:pt idx="79">
                  <c:v>Private Lab</c:v>
                </c:pt>
                <c:pt idx="80">
                  <c:v>Galbani</c:v>
                </c:pt>
                <c:pt idx="81">
                  <c:v>All Others</c:v>
                </c:pt>
                <c:pt idx="82">
                  <c:v>All Others</c:v>
                </c:pt>
                <c:pt idx="83">
                  <c:v>All Others</c:v>
                </c:pt>
                <c:pt idx="84">
                  <c:v>Private Lab</c:v>
                </c:pt>
                <c:pt idx="85">
                  <c:v>All Others</c:v>
                </c:pt>
                <c:pt idx="86">
                  <c:v>Boursin</c:v>
                </c:pt>
                <c:pt idx="87">
                  <c:v>Private Lab</c:v>
                </c:pt>
                <c:pt idx="88">
                  <c:v>All Others</c:v>
                </c:pt>
                <c:pt idx="89">
                  <c:v>All Others</c:v>
                </c:pt>
                <c:pt idx="90">
                  <c:v>Casa Azzurr</c:v>
                </c:pt>
                <c:pt idx="91">
                  <c:v>All Others</c:v>
                </c:pt>
                <c:pt idx="92">
                  <c:v>Salakis</c:v>
                </c:pt>
                <c:pt idx="93">
                  <c:v>All Others</c:v>
                </c:pt>
                <c:pt idx="94">
                  <c:v>All Others</c:v>
                </c:pt>
                <c:pt idx="95">
                  <c:v>Galbani</c:v>
                </c:pt>
                <c:pt idx="96">
                  <c:v>Private Lab</c:v>
                </c:pt>
                <c:pt idx="97">
                  <c:v>Boursin</c:v>
                </c:pt>
                <c:pt idx="98">
                  <c:v>All Others</c:v>
                </c:pt>
                <c:pt idx="99">
                  <c:v>Boursin</c:v>
                </c:pt>
                <c:pt idx="100">
                  <c:v>All Others</c:v>
                </c:pt>
                <c:pt idx="101">
                  <c:v>All Others</c:v>
                </c:pt>
                <c:pt idx="102">
                  <c:v>All Others</c:v>
                </c:pt>
                <c:pt idx="103">
                  <c:v>All Others</c:v>
                </c:pt>
                <c:pt idx="104">
                  <c:v>Galbani</c:v>
                </c:pt>
                <c:pt idx="105">
                  <c:v>All Others</c:v>
                </c:pt>
                <c:pt idx="106">
                  <c:v>Lactalis: A</c:v>
                </c:pt>
                <c:pt idx="107">
                  <c:v>All Others</c:v>
                </c:pt>
                <c:pt idx="108">
                  <c:v>All Others</c:v>
                </c:pt>
                <c:pt idx="109">
                  <c:v>All Others</c:v>
                </c:pt>
                <c:pt idx="110">
                  <c:v>All Others</c:v>
                </c:pt>
                <c:pt idx="111">
                  <c:v>Salakis</c:v>
                </c:pt>
                <c:pt idx="112">
                  <c:v>All Others</c:v>
                </c:pt>
                <c:pt idx="113">
                  <c:v>All Others</c:v>
                </c:pt>
                <c:pt idx="114">
                  <c:v>All Others</c:v>
                </c:pt>
                <c:pt idx="115">
                  <c:v>All Others</c:v>
                </c:pt>
                <c:pt idx="116">
                  <c:v>All Others</c:v>
                </c:pt>
                <c:pt idx="117">
                  <c:v>Salakis</c:v>
                </c:pt>
                <c:pt idx="118">
                  <c:v>All Others</c:v>
                </c:pt>
                <c:pt idx="119">
                  <c:v>All Others</c:v>
                </c:pt>
                <c:pt idx="120">
                  <c:v>All Others</c:v>
                </c:pt>
                <c:pt idx="121">
                  <c:v>Private Lab</c:v>
                </c:pt>
                <c:pt idx="122">
                  <c:v>All Others</c:v>
                </c:pt>
                <c:pt idx="123">
                  <c:v>Private Lab</c:v>
                </c:pt>
                <c:pt idx="124">
                  <c:v>All Others</c:v>
                </c:pt>
                <c:pt idx="125">
                  <c:v>All Others</c:v>
                </c:pt>
                <c:pt idx="126">
                  <c:v>Islos</c:v>
                </c:pt>
                <c:pt idx="127">
                  <c:v>All Others</c:v>
                </c:pt>
                <c:pt idx="128">
                  <c:v>All Others</c:v>
                </c:pt>
                <c:pt idx="129">
                  <c:v>All Others</c:v>
                </c:pt>
                <c:pt idx="130">
                  <c:v>Lactalis: A</c:v>
                </c:pt>
                <c:pt idx="131">
                  <c:v>All Others</c:v>
                </c:pt>
                <c:pt idx="132">
                  <c:v>All Others</c:v>
                </c:pt>
                <c:pt idx="133">
                  <c:v>All Others</c:v>
                </c:pt>
                <c:pt idx="134">
                  <c:v>All Others</c:v>
                </c:pt>
                <c:pt idx="135">
                  <c:v>All Others</c:v>
                </c:pt>
                <c:pt idx="136">
                  <c:v>All Others</c:v>
                </c:pt>
                <c:pt idx="137">
                  <c:v>All Others</c:v>
                </c:pt>
                <c:pt idx="138">
                  <c:v>Private Lab</c:v>
                </c:pt>
                <c:pt idx="139">
                  <c:v>All Others</c:v>
                </c:pt>
                <c:pt idx="140">
                  <c:v>All Others</c:v>
                </c:pt>
                <c:pt idx="141">
                  <c:v>All Others</c:v>
                </c:pt>
                <c:pt idx="142">
                  <c:v>All Others</c:v>
                </c:pt>
                <c:pt idx="143">
                  <c:v>All Others</c:v>
                </c:pt>
                <c:pt idx="144">
                  <c:v>All Others</c:v>
                </c:pt>
                <c:pt idx="145">
                  <c:v>All Others</c:v>
                </c:pt>
                <c:pt idx="146">
                  <c:v>All Others</c:v>
                </c:pt>
                <c:pt idx="147">
                  <c:v>All Others</c:v>
                </c:pt>
                <c:pt idx="148">
                  <c:v>All Others</c:v>
                </c:pt>
                <c:pt idx="149">
                  <c:v>All Others</c:v>
                </c:pt>
                <c:pt idx="150">
                  <c:v>All Others</c:v>
                </c:pt>
                <c:pt idx="151">
                  <c:v>All Others</c:v>
                </c:pt>
                <c:pt idx="152">
                  <c:v>All Others</c:v>
                </c:pt>
                <c:pt idx="153">
                  <c:v>All Others</c:v>
                </c:pt>
                <c:pt idx="154">
                  <c:v>All Others</c:v>
                </c:pt>
                <c:pt idx="155">
                  <c:v>All Others</c:v>
                </c:pt>
                <c:pt idx="156">
                  <c:v>All Others</c:v>
                </c:pt>
                <c:pt idx="157">
                  <c:v>All Others</c:v>
                </c:pt>
                <c:pt idx="158">
                  <c:v>All Others</c:v>
                </c:pt>
                <c:pt idx="159">
                  <c:v>All Others</c:v>
                </c:pt>
                <c:pt idx="160">
                  <c:v>All Others</c:v>
                </c:pt>
                <c:pt idx="161">
                  <c:v>All Others</c:v>
                </c:pt>
                <c:pt idx="162">
                  <c:v>All Others</c:v>
                </c:pt>
                <c:pt idx="163">
                  <c:v>All Others</c:v>
                </c:pt>
                <c:pt idx="164">
                  <c:v>All Others</c:v>
                </c:pt>
                <c:pt idx="165">
                  <c:v>All Others</c:v>
                </c:pt>
                <c:pt idx="166">
                  <c:v>All Others</c:v>
                </c:pt>
                <c:pt idx="167">
                  <c:v>All Others</c:v>
                </c:pt>
                <c:pt idx="168">
                  <c:v>All Others</c:v>
                </c:pt>
                <c:pt idx="169">
                  <c:v>All Others</c:v>
                </c:pt>
                <c:pt idx="170">
                  <c:v>All Others</c:v>
                </c:pt>
                <c:pt idx="171">
                  <c:v>All Others</c:v>
                </c:pt>
                <c:pt idx="172">
                  <c:v>All Others</c:v>
                </c:pt>
                <c:pt idx="173">
                  <c:v>All Others</c:v>
                </c:pt>
                <c:pt idx="174">
                  <c:v>All Others</c:v>
                </c:pt>
                <c:pt idx="175">
                  <c:v>All Others</c:v>
                </c:pt>
                <c:pt idx="176">
                  <c:v>All Others</c:v>
                </c:pt>
                <c:pt idx="177">
                  <c:v>All Others</c:v>
                </c:pt>
                <c:pt idx="178">
                  <c:v>All Others</c:v>
                </c:pt>
                <c:pt idx="179">
                  <c:v>All Others</c:v>
                </c:pt>
                <c:pt idx="180">
                  <c:v>All Others</c:v>
                </c:pt>
                <c:pt idx="181">
                  <c:v>All Others</c:v>
                </c:pt>
                <c:pt idx="182">
                  <c:v>All Others</c:v>
                </c:pt>
                <c:pt idx="183">
                  <c:v>Private Lab</c:v>
                </c:pt>
                <c:pt idx="184">
                  <c:v>All Others</c:v>
                </c:pt>
                <c:pt idx="185">
                  <c:v>All Others</c:v>
                </c:pt>
                <c:pt idx="186">
                  <c:v>All Others</c:v>
                </c:pt>
                <c:pt idx="187">
                  <c:v>All Others</c:v>
                </c:pt>
                <c:pt idx="188">
                  <c:v>All Others</c:v>
                </c:pt>
                <c:pt idx="189">
                  <c:v>All Others</c:v>
                </c:pt>
                <c:pt idx="190">
                  <c:v>All Others</c:v>
                </c:pt>
                <c:pt idx="191">
                  <c:v>All Others</c:v>
                </c:pt>
                <c:pt idx="192">
                  <c:v>All Others</c:v>
                </c:pt>
                <c:pt idx="193">
                  <c:v>All Others</c:v>
                </c:pt>
                <c:pt idx="194">
                  <c:v>All Others</c:v>
                </c:pt>
                <c:pt idx="195">
                  <c:v>Galbani</c:v>
                </c:pt>
                <c:pt idx="196">
                  <c:v>All Others</c:v>
                </c:pt>
                <c:pt idx="197">
                  <c:v>All Others</c:v>
                </c:pt>
                <c:pt idx="198">
                  <c:v>All Others</c:v>
                </c:pt>
                <c:pt idx="199">
                  <c:v>All Others</c:v>
                </c:pt>
                <c:pt idx="200">
                  <c:v>All Others</c:v>
                </c:pt>
                <c:pt idx="201">
                  <c:v>Islos</c:v>
                </c:pt>
                <c:pt idx="202">
                  <c:v>All Others</c:v>
                </c:pt>
                <c:pt idx="203">
                  <c:v>All Others</c:v>
                </c:pt>
                <c:pt idx="204">
                  <c:v>All Others</c:v>
                </c:pt>
                <c:pt idx="205">
                  <c:v>All Others</c:v>
                </c:pt>
              </c:strCache>
            </c:strRef>
          </c:cat>
          <c:val>
            <c:numRef>
              <c:f>Sheet1!$C$2:$C$207</c:f>
              <c:numCache>
                <c:formatCode>General</c:formatCode>
                <c:ptCount val="206"/>
                <c:pt idx="0">
                  <c:v>0.24883847696116629</c:v>
                </c:pt>
                <c:pt idx="1">
                  <c:v>0.29322538497708489</c:v>
                </c:pt>
                <c:pt idx="2">
                  <c:v>0.33151032382279072</c:v>
                </c:pt>
                <c:pt idx="3">
                  <c:v>0.36124002150477519</c:v>
                </c:pt>
                <c:pt idx="4">
                  <c:v>0.39083761760378999</c:v>
                </c:pt>
                <c:pt idx="5">
                  <c:v>0.4184890761074575</c:v>
                </c:pt>
                <c:pt idx="6">
                  <c:v>0.46870978319946993</c:v>
                </c:pt>
                <c:pt idx="7">
                  <c:v>0.48584165244405542</c:v>
                </c:pt>
                <c:pt idx="8">
                  <c:v>0.50278188743711938</c:v>
                </c:pt>
                <c:pt idx="9">
                  <c:v>0.51908136291866458</c:v>
                </c:pt>
                <c:pt idx="10">
                  <c:v>0.53520640854372847</c:v>
                </c:pt>
                <c:pt idx="11">
                  <c:v>0.55127876301405765</c:v>
                </c:pt>
                <c:pt idx="12">
                  <c:v>0.59606062472363552</c:v>
                </c:pt>
                <c:pt idx="13">
                  <c:v>0.62122039239674975</c:v>
                </c:pt>
                <c:pt idx="14">
                  <c:v>0.63317862552981308</c:v>
                </c:pt>
                <c:pt idx="15">
                  <c:v>0.64505749135342605</c:v>
                </c:pt>
                <c:pt idx="16">
                  <c:v>0.65653713472370812</c:v>
                </c:pt>
                <c:pt idx="17">
                  <c:v>0.66797778433981803</c:v>
                </c:pt>
                <c:pt idx="18">
                  <c:v>0.67881521653283439</c:v>
                </c:pt>
                <c:pt idx="19">
                  <c:v>0.68941861433617668</c:v>
                </c:pt>
                <c:pt idx="20">
                  <c:v>0.69954424163364437</c:v>
                </c:pt>
                <c:pt idx="21">
                  <c:v>0.70958114484541168</c:v>
                </c:pt>
                <c:pt idx="22">
                  <c:v>0.71951763878086239</c:v>
                </c:pt>
                <c:pt idx="23">
                  <c:v>0.72900492121874672</c:v>
                </c:pt>
                <c:pt idx="24">
                  <c:v>0.74673434495271984</c:v>
                </c:pt>
                <c:pt idx="25">
                  <c:v>0.75493312312446759</c:v>
                </c:pt>
                <c:pt idx="26">
                  <c:v>0.76219744537011691</c:v>
                </c:pt>
                <c:pt idx="27">
                  <c:v>0.7694104993809221</c:v>
                </c:pt>
                <c:pt idx="28">
                  <c:v>0.77576498652645787</c:v>
                </c:pt>
                <c:pt idx="29">
                  <c:v>0.78773526417334216</c:v>
                </c:pt>
                <c:pt idx="30">
                  <c:v>0.79356651924114685</c:v>
                </c:pt>
                <c:pt idx="31">
                  <c:v>0.79938311392220041</c:v>
                </c:pt>
                <c:pt idx="32">
                  <c:v>0.80494756432406389</c:v>
                </c:pt>
                <c:pt idx="33">
                  <c:v>0.81023578141909536</c:v>
                </c:pt>
                <c:pt idx="34">
                  <c:v>0.81531291769076786</c:v>
                </c:pt>
                <c:pt idx="35">
                  <c:v>0.82035923840440672</c:v>
                </c:pt>
                <c:pt idx="36">
                  <c:v>0.82535493766496992</c:v>
                </c:pt>
                <c:pt idx="37">
                  <c:v>0.83034031716309453</c:v>
                </c:pt>
                <c:pt idx="38">
                  <c:v>0.83531756158386516</c:v>
                </c:pt>
                <c:pt idx="39">
                  <c:v>0.84000772113702238</c:v>
                </c:pt>
                <c:pt idx="40">
                  <c:v>0.84464370912384157</c:v>
                </c:pt>
                <c:pt idx="41">
                  <c:v>0.84924317550013673</c:v>
                </c:pt>
                <c:pt idx="42">
                  <c:v>0.85777645482958786</c:v>
                </c:pt>
                <c:pt idx="43">
                  <c:v>0.86171710929656098</c:v>
                </c:pt>
                <c:pt idx="44">
                  <c:v>0.86563012462262989</c:v>
                </c:pt>
                <c:pt idx="45">
                  <c:v>0.86947791560058474</c:v>
                </c:pt>
                <c:pt idx="46">
                  <c:v>0.87331966994870092</c:v>
                </c:pt>
                <c:pt idx="47">
                  <c:v>0.87714808621945928</c:v>
                </c:pt>
                <c:pt idx="48">
                  <c:v>0.88091175244873376</c:v>
                </c:pt>
                <c:pt idx="49">
                  <c:v>0.88420559640142127</c:v>
                </c:pt>
                <c:pt idx="50">
                  <c:v>0.88746705814690274</c:v>
                </c:pt>
                <c:pt idx="51">
                  <c:v>0.89059850238400173</c:v>
                </c:pt>
                <c:pt idx="52">
                  <c:v>0.89371604799954363</c:v>
                </c:pt>
                <c:pt idx="53">
                  <c:v>0.89682886492171188</c:v>
                </c:pt>
                <c:pt idx="54">
                  <c:v>0.89970976027464955</c:v>
                </c:pt>
                <c:pt idx="55">
                  <c:v>0.9025371883347304</c:v>
                </c:pt>
                <c:pt idx="56">
                  <c:v>0.90535408103844994</c:v>
                </c:pt>
                <c:pt idx="57">
                  <c:v>0.90796817172544642</c:v>
                </c:pt>
                <c:pt idx="58">
                  <c:v>0.91051810166101477</c:v>
                </c:pt>
                <c:pt idx="59">
                  <c:v>0.91306738481481464</c:v>
                </c:pt>
                <c:pt idx="60">
                  <c:v>0.91550444414532794</c:v>
                </c:pt>
                <c:pt idx="61">
                  <c:v>0.91790196355039799</c:v>
                </c:pt>
                <c:pt idx="62">
                  <c:v>0.92024137320680666</c:v>
                </c:pt>
                <c:pt idx="63">
                  <c:v>0.92253660048196751</c:v>
                </c:pt>
                <c:pt idx="64">
                  <c:v>0.92482535993944404</c:v>
                </c:pt>
                <c:pt idx="65">
                  <c:v>0.92693963204872654</c:v>
                </c:pt>
                <c:pt idx="66">
                  <c:v>0.9290413709646298</c:v>
                </c:pt>
                <c:pt idx="67">
                  <c:v>0.93112712718438873</c:v>
                </c:pt>
                <c:pt idx="68">
                  <c:v>0.93307116633222065</c:v>
                </c:pt>
                <c:pt idx="69">
                  <c:v>0.93496149384741656</c:v>
                </c:pt>
                <c:pt idx="70">
                  <c:v>0.93684171719409681</c:v>
                </c:pt>
                <c:pt idx="71">
                  <c:v>0.93871851978386855</c:v>
                </c:pt>
                <c:pt idx="72">
                  <c:v>0.94048812907521928</c:v>
                </c:pt>
                <c:pt idx="73">
                  <c:v>0.94221476331128984</c:v>
                </c:pt>
                <c:pt idx="74">
                  <c:v>0.94389530356666373</c:v>
                </c:pt>
                <c:pt idx="75">
                  <c:v>0.94554968509273674</c:v>
                </c:pt>
                <c:pt idx="76">
                  <c:v>0.94718617232321645</c:v>
                </c:pt>
                <c:pt idx="77">
                  <c:v>0.94871609866411544</c:v>
                </c:pt>
                <c:pt idx="78">
                  <c:v>0.95168543064418964</c:v>
                </c:pt>
                <c:pt idx="79">
                  <c:v>0.95312937812867204</c:v>
                </c:pt>
                <c:pt idx="80">
                  <c:v>0.95453634406892851</c:v>
                </c:pt>
                <c:pt idx="81">
                  <c:v>0.95593365140144315</c:v>
                </c:pt>
                <c:pt idx="82">
                  <c:v>0.95732996700191286</c:v>
                </c:pt>
                <c:pt idx="83">
                  <c:v>0.95866360226255765</c:v>
                </c:pt>
                <c:pt idx="84">
                  <c:v>0.95998368385192179</c:v>
                </c:pt>
                <c:pt idx="85">
                  <c:v>0.96130001410702903</c:v>
                </c:pt>
                <c:pt idx="86">
                  <c:v>0.96260940223782177</c:v>
                </c:pt>
                <c:pt idx="87">
                  <c:v>0.96389051881887011</c:v>
                </c:pt>
                <c:pt idx="88">
                  <c:v>0.96515961963195385</c:v>
                </c:pt>
                <c:pt idx="89">
                  <c:v>0.96640075072678511</c:v>
                </c:pt>
                <c:pt idx="90">
                  <c:v>0.96761215860612493</c:v>
                </c:pt>
                <c:pt idx="91">
                  <c:v>0.96880186336390195</c:v>
                </c:pt>
                <c:pt idx="92">
                  <c:v>0.96997736766862985</c:v>
                </c:pt>
                <c:pt idx="93">
                  <c:v>0.97113799599268391</c:v>
                </c:pt>
                <c:pt idx="94">
                  <c:v>0.9722905611040249</c:v>
                </c:pt>
                <c:pt idx="95">
                  <c:v>0.97343937488110899</c:v>
                </c:pt>
                <c:pt idx="96">
                  <c:v>0.97441252272988765</c:v>
                </c:pt>
                <c:pt idx="97">
                  <c:v>0.97533972032725147</c:v>
                </c:pt>
                <c:pt idx="98">
                  <c:v>0.97625209943565416</c:v>
                </c:pt>
                <c:pt idx="99">
                  <c:v>0.97713354800259777</c:v>
                </c:pt>
                <c:pt idx="100">
                  <c:v>0.97794958537336085</c:v>
                </c:pt>
                <c:pt idx="101">
                  <c:v>0.97873510901758232</c:v>
                </c:pt>
                <c:pt idx="102">
                  <c:v>0.9795149122363852</c:v>
                </c:pt>
                <c:pt idx="103">
                  <c:v>0.98028236910987521</c:v>
                </c:pt>
                <c:pt idx="104">
                  <c:v>0.98101097595847486</c:v>
                </c:pt>
                <c:pt idx="105">
                  <c:v>0.98172354261921746</c:v>
                </c:pt>
                <c:pt idx="106">
                  <c:v>0.98242035655066684</c:v>
                </c:pt>
                <c:pt idx="107">
                  <c:v>0.98311643746277866</c:v>
                </c:pt>
                <c:pt idx="108">
                  <c:v>0.98379949650195275</c:v>
                </c:pt>
                <c:pt idx="109">
                  <c:v>0.98447568528145324</c:v>
                </c:pt>
                <c:pt idx="110">
                  <c:v>0.98513577638138394</c:v>
                </c:pt>
                <c:pt idx="111">
                  <c:v>0.98577078672162777</c:v>
                </c:pt>
                <c:pt idx="112">
                  <c:v>0.98639817940993235</c:v>
                </c:pt>
                <c:pt idx="113">
                  <c:v>0.98701436121425079</c:v>
                </c:pt>
                <c:pt idx="114">
                  <c:v>0.98759389205169157</c:v>
                </c:pt>
                <c:pt idx="115">
                  <c:v>0.98817199996924188</c:v>
                </c:pt>
                <c:pt idx="116">
                  <c:v>0.98871272390057696</c:v>
                </c:pt>
                <c:pt idx="117">
                  <c:v>0.98917441109980997</c:v>
                </c:pt>
                <c:pt idx="118">
                  <c:v>0.98962015872168319</c:v>
                </c:pt>
                <c:pt idx="119">
                  <c:v>0.98999937405897731</c:v>
                </c:pt>
                <c:pt idx="120">
                  <c:v>0.99036686108687066</c:v>
                </c:pt>
                <c:pt idx="121">
                  <c:v>0.99071560581640772</c:v>
                </c:pt>
                <c:pt idx="122">
                  <c:v>0.9910542607503573</c:v>
                </c:pt>
                <c:pt idx="123">
                  <c:v>0.99139080286386327</c:v>
                </c:pt>
                <c:pt idx="124">
                  <c:v>0.99172559148013051</c:v>
                </c:pt>
                <c:pt idx="125">
                  <c:v>0.99206032260468491</c:v>
                </c:pt>
                <c:pt idx="126">
                  <c:v>0.99238714861873634</c:v>
                </c:pt>
                <c:pt idx="127">
                  <c:v>0.99270733433996516</c:v>
                </c:pt>
                <c:pt idx="128">
                  <c:v>0.9930265858208619</c:v>
                </c:pt>
                <c:pt idx="129">
                  <c:v>0.99334401193987876</c:v>
                </c:pt>
                <c:pt idx="130">
                  <c:v>0.99365032778540685</c:v>
                </c:pt>
                <c:pt idx="131">
                  <c:v>0.9939302118159985</c:v>
                </c:pt>
                <c:pt idx="132">
                  <c:v>0.99420947781067803</c:v>
                </c:pt>
                <c:pt idx="133">
                  <c:v>0.99448072371142904</c:v>
                </c:pt>
                <c:pt idx="134">
                  <c:v>0.9947424834795765</c:v>
                </c:pt>
                <c:pt idx="135">
                  <c:v>0.99499950018142214</c:v>
                </c:pt>
                <c:pt idx="136">
                  <c:v>0.99524131032524554</c:v>
                </c:pt>
                <c:pt idx="137">
                  <c:v>0.99546890564309176</c:v>
                </c:pt>
                <c:pt idx="138">
                  <c:v>0.99568792032281006</c:v>
                </c:pt>
                <c:pt idx="139">
                  <c:v>0.99585910189752103</c:v>
                </c:pt>
                <c:pt idx="140">
                  <c:v>0.99602449118217251</c:v>
                </c:pt>
                <c:pt idx="141">
                  <c:v>0.99628625095031986</c:v>
                </c:pt>
                <c:pt idx="142">
                  <c:v>0.99640093254432649</c:v>
                </c:pt>
                <c:pt idx="143">
                  <c:v>0.99651536979855393</c:v>
                </c:pt>
                <c:pt idx="144">
                  <c:v>0.99662969206935581</c:v>
                </c:pt>
                <c:pt idx="145">
                  <c:v>0.99673707221584329</c:v>
                </c:pt>
                <c:pt idx="146">
                  <c:v>0.99684244015238455</c:v>
                </c:pt>
                <c:pt idx="147">
                  <c:v>0.99694218827400449</c:v>
                </c:pt>
                <c:pt idx="148">
                  <c:v>0.99703426125197248</c:v>
                </c:pt>
                <c:pt idx="149">
                  <c:v>0.99712598927966389</c:v>
                </c:pt>
                <c:pt idx="150">
                  <c:v>0.99720298505596339</c:v>
                </c:pt>
                <c:pt idx="151">
                  <c:v>0.99727617200629326</c:v>
                </c:pt>
                <c:pt idx="152">
                  <c:v>0.99734855407264456</c:v>
                </c:pt>
                <c:pt idx="153">
                  <c:v>0.99741755850087188</c:v>
                </c:pt>
                <c:pt idx="154">
                  <c:v>0.99755226158384347</c:v>
                </c:pt>
                <c:pt idx="155">
                  <c:v>0.99761708348996825</c:v>
                </c:pt>
                <c:pt idx="156">
                  <c:v>0.99772886175248099</c:v>
                </c:pt>
                <c:pt idx="157">
                  <c:v>0.99783342480504367</c:v>
                </c:pt>
                <c:pt idx="158">
                  <c:v>0.99788401751226308</c:v>
                </c:pt>
                <c:pt idx="159">
                  <c:v>0.99793429401506228</c:v>
                </c:pt>
                <c:pt idx="160">
                  <c:v>0.99802626638253289</c:v>
                </c:pt>
                <c:pt idx="161">
                  <c:v>0.99810763152900128</c:v>
                </c:pt>
                <c:pt idx="162">
                  <c:v>0.99814669714781445</c:v>
                </c:pt>
                <c:pt idx="163">
                  <c:v>0.99818518784950006</c:v>
                </c:pt>
                <c:pt idx="164">
                  <c:v>0.99826179555673844</c:v>
                </c:pt>
                <c:pt idx="165">
                  <c:v>0.99829902144074356</c:v>
                </c:pt>
                <c:pt idx="166">
                  <c:v>0.9983729270374827</c:v>
                </c:pt>
                <c:pt idx="167">
                  <c:v>0.99840875874745372</c:v>
                </c:pt>
                <c:pt idx="168">
                  <c:v>0.99844345499609788</c:v>
                </c:pt>
                <c:pt idx="169">
                  <c:v>0.99847806500717295</c:v>
                </c:pt>
                <c:pt idx="170">
                  <c:v>0.99851241630554066</c:v>
                </c:pt>
                <c:pt idx="171">
                  <c:v>0.99854652326412918</c:v>
                </c:pt>
                <c:pt idx="172">
                  <c:v>0.99858051523929214</c:v>
                </c:pt>
                <c:pt idx="173">
                  <c:v>0.99870716948247873</c:v>
                </c:pt>
                <c:pt idx="174">
                  <c:v>0.99873564225321776</c:v>
                </c:pt>
                <c:pt idx="175">
                  <c:v>0.99876305142727095</c:v>
                </c:pt>
                <c:pt idx="176">
                  <c:v>0.9987901875156886</c:v>
                </c:pt>
                <c:pt idx="177">
                  <c:v>0.99881581444664658</c:v>
                </c:pt>
                <c:pt idx="178">
                  <c:v>0.99886626342458407</c:v>
                </c:pt>
                <c:pt idx="179">
                  <c:v>0.99889128669255822</c:v>
                </c:pt>
                <c:pt idx="180">
                  <c:v>0.99891607999368137</c:v>
                </c:pt>
                <c:pt idx="181">
                  <c:v>0.99894045647988705</c:v>
                </c:pt>
                <c:pt idx="182">
                  <c:v>0.99898767154898238</c:v>
                </c:pt>
                <c:pt idx="183">
                  <c:v>0.99900953277275528</c:v>
                </c:pt>
                <c:pt idx="184">
                  <c:v>0.99907163819545275</c:v>
                </c:pt>
                <c:pt idx="185">
                  <c:v>0.99916900041099366</c:v>
                </c:pt>
                <c:pt idx="186">
                  <c:v>0.99920677246626988</c:v>
                </c:pt>
                <c:pt idx="187">
                  <c:v>0.99927984443317419</c:v>
                </c:pt>
                <c:pt idx="188">
                  <c:v>0.99929743689727546</c:v>
                </c:pt>
                <c:pt idx="189">
                  <c:v>0.9993979036653049</c:v>
                </c:pt>
                <c:pt idx="190">
                  <c:v>0.99941302398575793</c:v>
                </c:pt>
                <c:pt idx="191">
                  <c:v>0.99942798620400097</c:v>
                </c:pt>
                <c:pt idx="192">
                  <c:v>0.99945585531175618</c:v>
                </c:pt>
                <c:pt idx="193">
                  <c:v>0.99946963894988783</c:v>
                </c:pt>
                <c:pt idx="194">
                  <c:v>0.99948323573995301</c:v>
                </c:pt>
                <c:pt idx="195">
                  <c:v>0.99949670317366457</c:v>
                </c:pt>
                <c:pt idx="196">
                  <c:v>0.99953517950242199</c:v>
                </c:pt>
                <c:pt idx="197">
                  <c:v>0.99962810048315298</c:v>
                </c:pt>
                <c:pt idx="198">
                  <c:v>0.99964810759918976</c:v>
                </c:pt>
                <c:pt idx="199">
                  <c:v>0.99970161801083102</c:v>
                </c:pt>
                <c:pt idx="200">
                  <c:v>0.99975610578158913</c:v>
                </c:pt>
                <c:pt idx="201">
                  <c:v>0.9997705793202738</c:v>
                </c:pt>
                <c:pt idx="202">
                  <c:v>0.99981857052749123</c:v>
                </c:pt>
                <c:pt idx="203">
                  <c:v>0.99987380569051498</c:v>
                </c:pt>
                <c:pt idx="204">
                  <c:v>0.99992442714359053</c:v>
                </c:pt>
                <c:pt idx="205">
                  <c:v>0.9999564931463765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6</c:f>
              <c:strCache>
                <c:ptCount val="95"/>
                <c:pt idx="0">
                  <c:v>Private Lab</c:v>
                </c:pt>
                <c:pt idx="1">
                  <c:v>Galbani</c:v>
                </c:pt>
                <c:pt idx="2">
                  <c:v>Private Lab</c:v>
                </c:pt>
                <c:pt idx="3">
                  <c:v>Private Lab</c:v>
                </c:pt>
                <c:pt idx="4">
                  <c:v>Salakis</c:v>
                </c:pt>
                <c:pt idx="5">
                  <c:v>Private Lab</c:v>
                </c:pt>
                <c:pt idx="6">
                  <c:v>Private Lab</c:v>
                </c:pt>
                <c:pt idx="7">
                  <c:v>Boursin</c:v>
                </c:pt>
                <c:pt idx="8">
                  <c:v>Salakis</c:v>
                </c:pt>
                <c:pt idx="9">
                  <c:v>Casa Azzurr</c:v>
                </c:pt>
                <c:pt idx="10">
                  <c:v>Private Lab</c:v>
                </c:pt>
                <c:pt idx="11">
                  <c:v>Private Lab</c:v>
                </c:pt>
                <c:pt idx="12">
                  <c:v>Galbani</c:v>
                </c:pt>
                <c:pt idx="13">
                  <c:v>Private Lab</c:v>
                </c:pt>
                <c:pt idx="14">
                  <c:v>All Others</c:v>
                </c:pt>
                <c:pt idx="15">
                  <c:v>Islos</c:v>
                </c:pt>
                <c:pt idx="16">
                  <c:v>Casa Azzurr</c:v>
                </c:pt>
                <c:pt idx="17">
                  <c:v>Private Lab</c:v>
                </c:pt>
                <c:pt idx="18">
                  <c:v>Private Lab</c:v>
                </c:pt>
                <c:pt idx="19">
                  <c:v>All Others</c:v>
                </c:pt>
                <c:pt idx="20">
                  <c:v>Galbani</c:v>
                </c:pt>
                <c:pt idx="21">
                  <c:v>All Others</c:v>
                </c:pt>
                <c:pt idx="22">
                  <c:v>All Others</c:v>
                </c:pt>
                <c:pt idx="23">
                  <c:v>All Others</c:v>
                </c:pt>
                <c:pt idx="24">
                  <c:v>All Others</c:v>
                </c:pt>
                <c:pt idx="25">
                  <c:v>All Others</c:v>
                </c:pt>
                <c:pt idx="26">
                  <c:v>All Others</c:v>
                </c:pt>
                <c:pt idx="27">
                  <c:v>All Others</c:v>
                </c:pt>
                <c:pt idx="28">
                  <c:v>All Others</c:v>
                </c:pt>
                <c:pt idx="29">
                  <c:v>All Others</c:v>
                </c:pt>
                <c:pt idx="30">
                  <c:v>All Others</c:v>
                </c:pt>
                <c:pt idx="31">
                  <c:v>Salakis</c:v>
                </c:pt>
                <c:pt idx="32">
                  <c:v>All Others</c:v>
                </c:pt>
                <c:pt idx="33">
                  <c:v>All Others</c:v>
                </c:pt>
                <c:pt idx="34">
                  <c:v>Private Lab</c:v>
                </c:pt>
                <c:pt idx="35">
                  <c:v>All Others</c:v>
                </c:pt>
                <c:pt idx="36">
                  <c:v>All Others</c:v>
                </c:pt>
                <c:pt idx="37">
                  <c:v>All Others</c:v>
                </c:pt>
                <c:pt idx="38">
                  <c:v>Galbani</c:v>
                </c:pt>
                <c:pt idx="39">
                  <c:v>All Others</c:v>
                </c:pt>
                <c:pt idx="40">
                  <c:v>Galbani</c:v>
                </c:pt>
                <c:pt idx="41">
                  <c:v>Casa Azzurr</c:v>
                </c:pt>
                <c:pt idx="42">
                  <c:v>Casa Azzurr</c:v>
                </c:pt>
                <c:pt idx="43">
                  <c:v>Casa Azzurr</c:v>
                </c:pt>
                <c:pt idx="44">
                  <c:v>All Others</c:v>
                </c:pt>
                <c:pt idx="45">
                  <c:v>All Others</c:v>
                </c:pt>
                <c:pt idx="46">
                  <c:v>All Others</c:v>
                </c:pt>
                <c:pt idx="47">
                  <c:v>All Others</c:v>
                </c:pt>
                <c:pt idx="48">
                  <c:v>All Others</c:v>
                </c:pt>
                <c:pt idx="49">
                  <c:v>All Others</c:v>
                </c:pt>
                <c:pt idx="50">
                  <c:v>All Others</c:v>
                </c:pt>
                <c:pt idx="51">
                  <c:v>All Others</c:v>
                </c:pt>
                <c:pt idx="52">
                  <c:v>All Others</c:v>
                </c:pt>
                <c:pt idx="53">
                  <c:v>All Others</c:v>
                </c:pt>
                <c:pt idx="54">
                  <c:v>All Others</c:v>
                </c:pt>
                <c:pt idx="55">
                  <c:v>All Others</c:v>
                </c:pt>
                <c:pt idx="56">
                  <c:v>All Others</c:v>
                </c:pt>
                <c:pt idx="57">
                  <c:v>All Others</c:v>
                </c:pt>
                <c:pt idx="58">
                  <c:v>Lactalis: A</c:v>
                </c:pt>
                <c:pt idx="59">
                  <c:v>All Others</c:v>
                </c:pt>
                <c:pt idx="60">
                  <c:v>All Others</c:v>
                </c:pt>
                <c:pt idx="61">
                  <c:v>All Others</c:v>
                </c:pt>
                <c:pt idx="62">
                  <c:v>All Others</c:v>
                </c:pt>
                <c:pt idx="63">
                  <c:v>Lactalis: A</c:v>
                </c:pt>
                <c:pt idx="64">
                  <c:v>Galbani</c:v>
                </c:pt>
                <c:pt idx="65">
                  <c:v>All Others</c:v>
                </c:pt>
                <c:pt idx="66">
                  <c:v>All Others</c:v>
                </c:pt>
                <c:pt idx="67">
                  <c:v>All Others</c:v>
                </c:pt>
                <c:pt idx="68">
                  <c:v>All Others</c:v>
                </c:pt>
                <c:pt idx="69">
                  <c:v>All Others</c:v>
                </c:pt>
                <c:pt idx="70">
                  <c:v>All Others</c:v>
                </c:pt>
                <c:pt idx="71">
                  <c:v>All Others</c:v>
                </c:pt>
                <c:pt idx="72">
                  <c:v>All Others</c:v>
                </c:pt>
                <c:pt idx="73">
                  <c:v>All Others</c:v>
                </c:pt>
                <c:pt idx="74">
                  <c:v>All Others</c:v>
                </c:pt>
                <c:pt idx="75">
                  <c:v>All Others</c:v>
                </c:pt>
                <c:pt idx="76">
                  <c:v>All Others</c:v>
                </c:pt>
                <c:pt idx="77">
                  <c:v>All Others</c:v>
                </c:pt>
                <c:pt idx="78">
                  <c:v>Private Lab</c:v>
                </c:pt>
                <c:pt idx="79">
                  <c:v>All Others</c:v>
                </c:pt>
                <c:pt idx="80">
                  <c:v>All Others</c:v>
                </c:pt>
                <c:pt idx="81">
                  <c:v>All Others</c:v>
                </c:pt>
                <c:pt idx="82">
                  <c:v>All Others</c:v>
                </c:pt>
                <c:pt idx="83">
                  <c:v>All Others</c:v>
                </c:pt>
                <c:pt idx="84">
                  <c:v>All Others</c:v>
                </c:pt>
                <c:pt idx="85">
                  <c:v>All Others</c:v>
                </c:pt>
                <c:pt idx="86">
                  <c:v>All Others</c:v>
                </c:pt>
                <c:pt idx="87">
                  <c:v>All Others</c:v>
                </c:pt>
                <c:pt idx="88">
                  <c:v>All Others</c:v>
                </c:pt>
                <c:pt idx="89">
                  <c:v>All Others</c:v>
                </c:pt>
                <c:pt idx="90">
                  <c:v>All Others</c:v>
                </c:pt>
                <c:pt idx="91">
                  <c:v>All Others</c:v>
                </c:pt>
                <c:pt idx="92">
                  <c:v>All Others</c:v>
                </c:pt>
                <c:pt idx="93">
                  <c:v>All Others</c:v>
                </c:pt>
                <c:pt idx="94">
                  <c:v>All Others</c:v>
                </c:pt>
              </c:strCache>
            </c:strRef>
          </c:cat>
          <c:val>
            <c:numRef>
              <c:f>Sheet1!$B$2:$B$96</c:f>
              <c:numCache>
                <c:formatCode>General</c:formatCode>
                <c:ptCount val="95"/>
                <c:pt idx="0">
                  <c:v>1</c:v>
                </c:pt>
                <c:pt idx="1">
                  <c:v>0.74</c:v>
                </c:pt>
                <c:pt idx="2">
                  <c:v>0.84</c:v>
                </c:pt>
                <c:pt idx="3">
                  <c:v>0.95</c:v>
                </c:pt>
                <c:pt idx="4">
                  <c:v>0.66</c:v>
                </c:pt>
                <c:pt idx="5">
                  <c:v>0.88</c:v>
                </c:pt>
                <c:pt idx="6">
                  <c:v>0.68</c:v>
                </c:pt>
                <c:pt idx="7">
                  <c:v>0.79</c:v>
                </c:pt>
                <c:pt idx="8">
                  <c:v>0.68</c:v>
                </c:pt>
                <c:pt idx="9">
                  <c:v>0.35</c:v>
                </c:pt>
                <c:pt idx="10">
                  <c:v>0.56999999999999995</c:v>
                </c:pt>
                <c:pt idx="11">
                  <c:v>0.66</c:v>
                </c:pt>
                <c:pt idx="12">
                  <c:v>0.28000000000000003</c:v>
                </c:pt>
                <c:pt idx="13">
                  <c:v>0.82</c:v>
                </c:pt>
                <c:pt idx="14">
                  <c:v>0.27</c:v>
                </c:pt>
                <c:pt idx="15">
                  <c:v>0.14000000000000001</c:v>
                </c:pt>
                <c:pt idx="16">
                  <c:v>0.25</c:v>
                </c:pt>
                <c:pt idx="17">
                  <c:v>0.92</c:v>
                </c:pt>
                <c:pt idx="18">
                  <c:v>0.6</c:v>
                </c:pt>
                <c:pt idx="19">
                  <c:v>0.22</c:v>
                </c:pt>
                <c:pt idx="20">
                  <c:v>0.16</c:v>
                </c:pt>
                <c:pt idx="21">
                  <c:v>0.16</c:v>
                </c:pt>
                <c:pt idx="22">
                  <c:v>0.28999999999999998</c:v>
                </c:pt>
                <c:pt idx="23">
                  <c:v>0.18</c:v>
                </c:pt>
                <c:pt idx="24">
                  <c:v>0.19</c:v>
                </c:pt>
                <c:pt idx="25">
                  <c:v>0.08</c:v>
                </c:pt>
                <c:pt idx="26">
                  <c:v>0.08</c:v>
                </c:pt>
                <c:pt idx="27">
                  <c:v>0.08</c:v>
                </c:pt>
                <c:pt idx="28">
                  <c:v>0.24</c:v>
                </c:pt>
                <c:pt idx="29">
                  <c:v>0.1</c:v>
                </c:pt>
                <c:pt idx="30">
                  <c:v>7.0000000000000007E-2</c:v>
                </c:pt>
                <c:pt idx="31">
                  <c:v>0.11</c:v>
                </c:pt>
                <c:pt idx="32">
                  <c:v>0.1</c:v>
                </c:pt>
                <c:pt idx="33">
                  <c:v>7.0000000000000007E-2</c:v>
                </c:pt>
                <c:pt idx="34">
                  <c:v>0.11</c:v>
                </c:pt>
                <c:pt idx="35">
                  <c:v>0.05</c:v>
                </c:pt>
                <c:pt idx="36">
                  <c:v>0.06</c:v>
                </c:pt>
                <c:pt idx="37">
                  <c:v>0.18</c:v>
                </c:pt>
                <c:pt idx="38">
                  <c:v>0.08</c:v>
                </c:pt>
                <c:pt idx="39">
                  <c:v>0.05</c:v>
                </c:pt>
                <c:pt idx="40">
                  <c:v>7.0000000000000007E-2</c:v>
                </c:pt>
                <c:pt idx="41">
                  <c:v>0.09</c:v>
                </c:pt>
                <c:pt idx="42">
                  <c:v>0.08</c:v>
                </c:pt>
                <c:pt idx="43">
                  <c:v>0.06</c:v>
                </c:pt>
                <c:pt idx="44">
                  <c:v>0.05</c:v>
                </c:pt>
                <c:pt idx="45">
                  <c:v>0.04</c:v>
                </c:pt>
                <c:pt idx="46">
                  <c:v>0.04</c:v>
                </c:pt>
                <c:pt idx="47">
                  <c:v>0.08</c:v>
                </c:pt>
                <c:pt idx="48">
                  <c:v>0.08</c:v>
                </c:pt>
                <c:pt idx="49">
                  <c:v>0.01</c:v>
                </c:pt>
                <c:pt idx="50">
                  <c:v>0.03</c:v>
                </c:pt>
                <c:pt idx="51">
                  <c:v>0.03</c:v>
                </c:pt>
                <c:pt idx="52">
                  <c:v>0.03</c:v>
                </c:pt>
                <c:pt idx="53">
                  <c:v>0.02</c:v>
                </c:pt>
                <c:pt idx="54">
                  <c:v>0.02</c:v>
                </c:pt>
                <c:pt idx="55">
                  <c:v>0.03</c:v>
                </c:pt>
                <c:pt idx="56">
                  <c:v>0.02</c:v>
                </c:pt>
                <c:pt idx="57">
                  <c:v>0.03</c:v>
                </c:pt>
                <c:pt idx="58">
                  <c:v>0.02</c:v>
                </c:pt>
                <c:pt idx="59">
                  <c:v>0.02</c:v>
                </c:pt>
                <c:pt idx="60">
                  <c:v>0.01</c:v>
                </c:pt>
                <c:pt idx="61">
                  <c:v>0.01</c:v>
                </c:pt>
                <c:pt idx="62">
                  <c:v>0.02</c:v>
                </c:pt>
                <c:pt idx="63">
                  <c:v>0.02</c:v>
                </c:pt>
                <c:pt idx="64">
                  <c:v>0.04</c:v>
                </c:pt>
                <c:pt idx="65">
                  <c:v>0.01</c:v>
                </c:pt>
                <c:pt idx="66">
                  <c:v>0.01</c:v>
                </c:pt>
                <c:pt idx="67">
                  <c:v>0.01</c:v>
                </c:pt>
                <c:pt idx="68">
                  <c:v>0.01</c:v>
                </c:pt>
                <c:pt idx="69">
                  <c:v>0.04</c:v>
                </c:pt>
                <c:pt idx="70">
                  <c:v>0.01</c:v>
                </c:pt>
                <c:pt idx="71">
                  <c:v>0.01</c:v>
                </c:pt>
                <c:pt idx="72">
                  <c:v>0.01</c:v>
                </c:pt>
                <c:pt idx="73">
                  <c:v>0.01</c:v>
                </c:pt>
                <c:pt idx="74">
                  <c:v>0.01</c:v>
                </c:pt>
                <c:pt idx="75">
                  <c:v>0.03</c:v>
                </c:pt>
                <c:pt idx="76">
                  <c:v>0.01</c:v>
                </c:pt>
                <c:pt idx="77">
                  <c:v>0.01</c:v>
                </c:pt>
                <c:pt idx="78">
                  <c:v>0.02</c:v>
                </c:pt>
                <c:pt idx="79">
                  <c:v>0.02</c:v>
                </c:pt>
                <c:pt idx="80">
                  <c:v>0.03</c:v>
                </c:pt>
                <c:pt idx="81">
                  <c:v>0.01</c:v>
                </c:pt>
                <c:pt idx="82">
                  <c:v>0.01</c:v>
                </c:pt>
                <c:pt idx="83">
                  <c:v>0.01</c:v>
                </c:pt>
                <c:pt idx="84">
                  <c:v>0.01</c:v>
                </c:pt>
                <c:pt idx="85">
                  <c:v>0.01</c:v>
                </c:pt>
                <c:pt idx="86">
                  <c:v>0.01</c:v>
                </c:pt>
                <c:pt idx="87">
                  <c:v>0.01</c:v>
                </c:pt>
                <c:pt idx="88">
                  <c:v>0.01</c:v>
                </c:pt>
                <c:pt idx="89">
                  <c:v>0.01</c:v>
                </c:pt>
                <c:pt idx="90">
                  <c:v>0.01</c:v>
                </c:pt>
                <c:pt idx="91">
                  <c:v>0.01</c:v>
                </c:pt>
                <c:pt idx="92">
                  <c:v>0.01</c:v>
                </c:pt>
                <c:pt idx="93">
                  <c:v>0.01</c:v>
                </c:pt>
                <c:pt idx="9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6</c:f>
              <c:strCache>
                <c:ptCount val="95"/>
                <c:pt idx="0">
                  <c:v>Private Lab</c:v>
                </c:pt>
                <c:pt idx="1">
                  <c:v>Galbani</c:v>
                </c:pt>
                <c:pt idx="2">
                  <c:v>Private Lab</c:v>
                </c:pt>
                <c:pt idx="3">
                  <c:v>Private Lab</c:v>
                </c:pt>
                <c:pt idx="4">
                  <c:v>Salakis</c:v>
                </c:pt>
                <c:pt idx="5">
                  <c:v>Private Lab</c:v>
                </c:pt>
                <c:pt idx="6">
                  <c:v>Private Lab</c:v>
                </c:pt>
                <c:pt idx="7">
                  <c:v>Boursin</c:v>
                </c:pt>
                <c:pt idx="8">
                  <c:v>Salakis</c:v>
                </c:pt>
                <c:pt idx="9">
                  <c:v>Casa Azzurr</c:v>
                </c:pt>
                <c:pt idx="10">
                  <c:v>Private Lab</c:v>
                </c:pt>
                <c:pt idx="11">
                  <c:v>Private Lab</c:v>
                </c:pt>
                <c:pt idx="12">
                  <c:v>Galbani</c:v>
                </c:pt>
                <c:pt idx="13">
                  <c:v>Private Lab</c:v>
                </c:pt>
                <c:pt idx="14">
                  <c:v>All Others</c:v>
                </c:pt>
                <c:pt idx="15">
                  <c:v>Islos</c:v>
                </c:pt>
                <c:pt idx="16">
                  <c:v>Casa Azzurr</c:v>
                </c:pt>
                <c:pt idx="17">
                  <c:v>Private Lab</c:v>
                </c:pt>
                <c:pt idx="18">
                  <c:v>Private Lab</c:v>
                </c:pt>
                <c:pt idx="19">
                  <c:v>All Others</c:v>
                </c:pt>
                <c:pt idx="20">
                  <c:v>Galbani</c:v>
                </c:pt>
                <c:pt idx="21">
                  <c:v>All Others</c:v>
                </c:pt>
                <c:pt idx="22">
                  <c:v>All Others</c:v>
                </c:pt>
                <c:pt idx="23">
                  <c:v>All Others</c:v>
                </c:pt>
                <c:pt idx="24">
                  <c:v>All Others</c:v>
                </c:pt>
                <c:pt idx="25">
                  <c:v>All Others</c:v>
                </c:pt>
                <c:pt idx="26">
                  <c:v>All Others</c:v>
                </c:pt>
                <c:pt idx="27">
                  <c:v>All Others</c:v>
                </c:pt>
                <c:pt idx="28">
                  <c:v>All Others</c:v>
                </c:pt>
                <c:pt idx="29">
                  <c:v>All Others</c:v>
                </c:pt>
                <c:pt idx="30">
                  <c:v>All Others</c:v>
                </c:pt>
                <c:pt idx="31">
                  <c:v>Salakis</c:v>
                </c:pt>
                <c:pt idx="32">
                  <c:v>All Others</c:v>
                </c:pt>
                <c:pt idx="33">
                  <c:v>All Others</c:v>
                </c:pt>
                <c:pt idx="34">
                  <c:v>Private Lab</c:v>
                </c:pt>
                <c:pt idx="35">
                  <c:v>All Others</c:v>
                </c:pt>
                <c:pt idx="36">
                  <c:v>All Others</c:v>
                </c:pt>
                <c:pt idx="37">
                  <c:v>All Others</c:v>
                </c:pt>
                <c:pt idx="38">
                  <c:v>Galbani</c:v>
                </c:pt>
                <c:pt idx="39">
                  <c:v>All Others</c:v>
                </c:pt>
                <c:pt idx="40">
                  <c:v>Galbani</c:v>
                </c:pt>
                <c:pt idx="41">
                  <c:v>Casa Azzurr</c:v>
                </c:pt>
                <c:pt idx="42">
                  <c:v>Casa Azzurr</c:v>
                </c:pt>
                <c:pt idx="43">
                  <c:v>Casa Azzurr</c:v>
                </c:pt>
                <c:pt idx="44">
                  <c:v>All Others</c:v>
                </c:pt>
                <c:pt idx="45">
                  <c:v>All Others</c:v>
                </c:pt>
                <c:pt idx="46">
                  <c:v>All Others</c:v>
                </c:pt>
                <c:pt idx="47">
                  <c:v>All Others</c:v>
                </c:pt>
                <c:pt idx="48">
                  <c:v>All Others</c:v>
                </c:pt>
                <c:pt idx="49">
                  <c:v>All Others</c:v>
                </c:pt>
                <c:pt idx="50">
                  <c:v>All Others</c:v>
                </c:pt>
                <c:pt idx="51">
                  <c:v>All Others</c:v>
                </c:pt>
                <c:pt idx="52">
                  <c:v>All Others</c:v>
                </c:pt>
                <c:pt idx="53">
                  <c:v>All Others</c:v>
                </c:pt>
                <c:pt idx="54">
                  <c:v>All Others</c:v>
                </c:pt>
                <c:pt idx="55">
                  <c:v>All Others</c:v>
                </c:pt>
                <c:pt idx="56">
                  <c:v>All Others</c:v>
                </c:pt>
                <c:pt idx="57">
                  <c:v>All Others</c:v>
                </c:pt>
                <c:pt idx="58">
                  <c:v>Lactalis: A</c:v>
                </c:pt>
                <c:pt idx="59">
                  <c:v>All Others</c:v>
                </c:pt>
                <c:pt idx="60">
                  <c:v>All Others</c:v>
                </c:pt>
                <c:pt idx="61">
                  <c:v>All Others</c:v>
                </c:pt>
                <c:pt idx="62">
                  <c:v>All Others</c:v>
                </c:pt>
                <c:pt idx="63">
                  <c:v>Lactalis: A</c:v>
                </c:pt>
                <c:pt idx="64">
                  <c:v>Galbani</c:v>
                </c:pt>
                <c:pt idx="65">
                  <c:v>All Others</c:v>
                </c:pt>
                <c:pt idx="66">
                  <c:v>All Others</c:v>
                </c:pt>
                <c:pt idx="67">
                  <c:v>All Others</c:v>
                </c:pt>
                <c:pt idx="68">
                  <c:v>All Others</c:v>
                </c:pt>
                <c:pt idx="69">
                  <c:v>All Others</c:v>
                </c:pt>
                <c:pt idx="70">
                  <c:v>All Others</c:v>
                </c:pt>
                <c:pt idx="71">
                  <c:v>All Others</c:v>
                </c:pt>
                <c:pt idx="72">
                  <c:v>All Others</c:v>
                </c:pt>
                <c:pt idx="73">
                  <c:v>All Others</c:v>
                </c:pt>
                <c:pt idx="74">
                  <c:v>All Others</c:v>
                </c:pt>
                <c:pt idx="75">
                  <c:v>All Others</c:v>
                </c:pt>
                <c:pt idx="76">
                  <c:v>All Others</c:v>
                </c:pt>
                <c:pt idx="77">
                  <c:v>All Others</c:v>
                </c:pt>
                <c:pt idx="78">
                  <c:v>Private Lab</c:v>
                </c:pt>
                <c:pt idx="79">
                  <c:v>All Others</c:v>
                </c:pt>
                <c:pt idx="80">
                  <c:v>All Others</c:v>
                </c:pt>
                <c:pt idx="81">
                  <c:v>All Others</c:v>
                </c:pt>
                <c:pt idx="82">
                  <c:v>All Others</c:v>
                </c:pt>
                <c:pt idx="83">
                  <c:v>All Others</c:v>
                </c:pt>
                <c:pt idx="84">
                  <c:v>All Others</c:v>
                </c:pt>
                <c:pt idx="85">
                  <c:v>All Others</c:v>
                </c:pt>
                <c:pt idx="86">
                  <c:v>All Others</c:v>
                </c:pt>
                <c:pt idx="87">
                  <c:v>All Others</c:v>
                </c:pt>
                <c:pt idx="88">
                  <c:v>All Others</c:v>
                </c:pt>
                <c:pt idx="89">
                  <c:v>All Others</c:v>
                </c:pt>
                <c:pt idx="90">
                  <c:v>All Others</c:v>
                </c:pt>
                <c:pt idx="91">
                  <c:v>All Others</c:v>
                </c:pt>
                <c:pt idx="92">
                  <c:v>All Others</c:v>
                </c:pt>
                <c:pt idx="93">
                  <c:v>All Others</c:v>
                </c:pt>
                <c:pt idx="94">
                  <c:v>All Others</c:v>
                </c:pt>
              </c:strCache>
            </c:strRef>
          </c:cat>
          <c:val>
            <c:numRef>
              <c:f>Sheet1!$C$2:$C$96</c:f>
              <c:numCache>
                <c:formatCode>General</c:formatCode>
                <c:ptCount val="95"/>
                <c:pt idx="0">
                  <c:v>0.42249174620932789</c:v>
                </c:pt>
                <c:pt idx="1">
                  <c:v>0.55672680412621911</c:v>
                </c:pt>
                <c:pt idx="2">
                  <c:v>0.61126166260548997</c:v>
                </c:pt>
                <c:pt idx="3">
                  <c:v>0.65348243753113022</c:v>
                </c:pt>
                <c:pt idx="4">
                  <c:v>0.68906505430021747</c:v>
                </c:pt>
                <c:pt idx="5">
                  <c:v>0.75401650748404336</c:v>
                </c:pt>
                <c:pt idx="6">
                  <c:v>0.7713698281053406</c:v>
                </c:pt>
                <c:pt idx="7">
                  <c:v>0.7856135827751749</c:v>
                </c:pt>
                <c:pt idx="8">
                  <c:v>0.79890237792655516</c:v>
                </c:pt>
                <c:pt idx="9">
                  <c:v>0.81211240801296125</c:v>
                </c:pt>
                <c:pt idx="10">
                  <c:v>0.82504262508442072</c:v>
                </c:pt>
                <c:pt idx="11">
                  <c:v>0.84879749243947811</c:v>
                </c:pt>
                <c:pt idx="12">
                  <c:v>0.85920231373716249</c:v>
                </c:pt>
                <c:pt idx="13">
                  <c:v>0.86948529000382291</c:v>
                </c:pt>
                <c:pt idx="14">
                  <c:v>0.8786237646314986</c:v>
                </c:pt>
                <c:pt idx="15">
                  <c:v>0.88763701302245823</c:v>
                </c:pt>
                <c:pt idx="16">
                  <c:v>0.89650341005540402</c:v>
                </c:pt>
                <c:pt idx="17">
                  <c:v>0.90471745331673892</c:v>
                </c:pt>
                <c:pt idx="18">
                  <c:v>0.9125329764855874</c:v>
                </c:pt>
                <c:pt idx="19">
                  <c:v>0.91974538012973905</c:v>
                </c:pt>
                <c:pt idx="20">
                  <c:v>0.9256410352463692</c:v>
                </c:pt>
                <c:pt idx="21">
                  <c:v>0.93057871451716523</c:v>
                </c:pt>
                <c:pt idx="22">
                  <c:v>0.93477924229661602</c:v>
                </c:pt>
                <c:pt idx="23">
                  <c:v>0.93863196806896365</c:v>
                </c:pt>
                <c:pt idx="24">
                  <c:v>0.94211100979926909</c:v>
                </c:pt>
                <c:pt idx="25">
                  <c:v>0.94474523661093612</c:v>
                </c:pt>
                <c:pt idx="26">
                  <c:v>0.94735443277039244</c:v>
                </c:pt>
                <c:pt idx="27">
                  <c:v>0.9522769574286255</c:v>
                </c:pt>
                <c:pt idx="28">
                  <c:v>0.95454214631542456</c:v>
                </c:pt>
                <c:pt idx="29">
                  <c:v>0.95674837086698672</c:v>
                </c:pt>
                <c:pt idx="30">
                  <c:v>0.95884878070803692</c:v>
                </c:pt>
                <c:pt idx="31">
                  <c:v>0.96054252150763031</c:v>
                </c:pt>
                <c:pt idx="32">
                  <c:v>0.96222066984068622</c:v>
                </c:pt>
                <c:pt idx="33">
                  <c:v>0.96369305113093295</c:v>
                </c:pt>
                <c:pt idx="34">
                  <c:v>0.96514461003216856</c:v>
                </c:pt>
                <c:pt idx="35">
                  <c:v>0.96655926757343946</c:v>
                </c:pt>
                <c:pt idx="36">
                  <c:v>0.96795456223894771</c:v>
                </c:pt>
                <c:pt idx="37">
                  <c:v>0.96931631242496263</c:v>
                </c:pt>
                <c:pt idx="38">
                  <c:v>0.97066166741215343</c:v>
                </c:pt>
                <c:pt idx="39">
                  <c:v>0.97191954890532106</c:v>
                </c:pt>
                <c:pt idx="40">
                  <c:v>0.97304244974822884</c:v>
                </c:pt>
                <c:pt idx="41">
                  <c:v>0.97525030408958513</c:v>
                </c:pt>
                <c:pt idx="42">
                  <c:v>0.97635102033111665</c:v>
                </c:pt>
                <c:pt idx="43">
                  <c:v>0.97738690985919663</c:v>
                </c:pt>
                <c:pt idx="44">
                  <c:v>0.97837833288364084</c:v>
                </c:pt>
                <c:pt idx="45">
                  <c:v>0.97931694585371232</c:v>
                </c:pt>
                <c:pt idx="46">
                  <c:v>0.98114165364213235</c:v>
                </c:pt>
                <c:pt idx="47">
                  <c:v>0.98203052153565284</c:v>
                </c:pt>
                <c:pt idx="48">
                  <c:v>0.98282829147724993</c:v>
                </c:pt>
                <c:pt idx="49">
                  <c:v>0.98360392546791231</c:v>
                </c:pt>
                <c:pt idx="50">
                  <c:v>0.98435126922677585</c:v>
                </c:pt>
                <c:pt idx="51">
                  <c:v>0.98497929777757942</c:v>
                </c:pt>
                <c:pt idx="52">
                  <c:v>0.98558232000139301</c:v>
                </c:pt>
                <c:pt idx="53">
                  <c:v>0.98617952849743373</c:v>
                </c:pt>
                <c:pt idx="54">
                  <c:v>0.98676330947158875</c:v>
                </c:pt>
                <c:pt idx="55">
                  <c:v>0.98732167059000009</c:v>
                </c:pt>
                <c:pt idx="56">
                  <c:v>0.98787905869957915</c:v>
                </c:pt>
                <c:pt idx="57">
                  <c:v>0.98843065740660607</c:v>
                </c:pt>
                <c:pt idx="58">
                  <c:v>0.98889147438958003</c:v>
                </c:pt>
                <c:pt idx="59">
                  <c:v>0.98933365825341557</c:v>
                </c:pt>
                <c:pt idx="60">
                  <c:v>0.99020795533967254</c:v>
                </c:pt>
                <c:pt idx="61">
                  <c:v>0.99064196592931686</c:v>
                </c:pt>
                <c:pt idx="62">
                  <c:v>0.99106729241513292</c:v>
                </c:pt>
                <c:pt idx="63">
                  <c:v>0.99147391280614816</c:v>
                </c:pt>
                <c:pt idx="64">
                  <c:v>0.99187306535437558</c:v>
                </c:pt>
                <c:pt idx="65">
                  <c:v>0.99220427756088814</c:v>
                </c:pt>
                <c:pt idx="66">
                  <c:v>0.99253018686926475</c:v>
                </c:pt>
                <c:pt idx="67">
                  <c:v>0.99283184393249646</c:v>
                </c:pt>
                <c:pt idx="68">
                  <c:v>0.99313143335195952</c:v>
                </c:pt>
                <c:pt idx="69">
                  <c:v>0.99338482917710946</c:v>
                </c:pt>
                <c:pt idx="70">
                  <c:v>0.99363338428331871</c:v>
                </c:pt>
                <c:pt idx="71">
                  <c:v>0.99387950686744719</c:v>
                </c:pt>
                <c:pt idx="72">
                  <c:v>0.99412273475029966</c:v>
                </c:pt>
                <c:pt idx="73">
                  <c:v>0.99436219222392697</c:v>
                </c:pt>
                <c:pt idx="74">
                  <c:v>0.99459712520648413</c:v>
                </c:pt>
                <c:pt idx="75">
                  <c:v>0.99482626878648917</c:v>
                </c:pt>
                <c:pt idx="76">
                  <c:v>0.99505256631565975</c:v>
                </c:pt>
                <c:pt idx="77">
                  <c:v>0.995259719896055</c:v>
                </c:pt>
                <c:pt idx="78">
                  <c:v>0.99543683182875309</c:v>
                </c:pt>
                <c:pt idx="79">
                  <c:v>0.99561158421503293</c:v>
                </c:pt>
                <c:pt idx="80">
                  <c:v>0.99578205536245068</c:v>
                </c:pt>
                <c:pt idx="81">
                  <c:v>0.99595235623332279</c:v>
                </c:pt>
                <c:pt idx="82">
                  <c:v>0.99610434021292693</c:v>
                </c:pt>
                <c:pt idx="83">
                  <c:v>0.9962440399560234</c:v>
                </c:pt>
                <c:pt idx="84">
                  <c:v>0.99637911790716649</c:v>
                </c:pt>
                <c:pt idx="85">
                  <c:v>0.99651363637823098</c:v>
                </c:pt>
                <c:pt idx="86">
                  <c:v>0.99664744941789207</c:v>
                </c:pt>
                <c:pt idx="87">
                  <c:v>0.99698036438986115</c:v>
                </c:pt>
                <c:pt idx="88">
                  <c:v>0.99707552465365945</c:v>
                </c:pt>
                <c:pt idx="89">
                  <c:v>0.99726029903091196</c:v>
                </c:pt>
                <c:pt idx="90">
                  <c:v>0.99734828335457204</c:v>
                </c:pt>
                <c:pt idx="91">
                  <c:v>0.99760596041858396</c:v>
                </c:pt>
                <c:pt idx="92">
                  <c:v>0.99783673378838311</c:v>
                </c:pt>
                <c:pt idx="93">
                  <c:v>0.99797633623059645</c:v>
                </c:pt>
                <c:pt idx="94">
                  <c:v>0.9985068692964043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La Vache Qui Rit</c:v>
                </c:pt>
                <c:pt idx="3">
                  <c:v>Caprice Des Dieux</c:v>
                </c:pt>
                <c:pt idx="4">
                  <c:v>Soignon</c:v>
                </c:pt>
                <c:pt idx="5">
                  <c:v>St Moret</c:v>
                </c:pt>
                <c:pt idx="6">
                  <c:v>Kiri</c:v>
                </c:pt>
                <c:pt idx="7">
                  <c:v>Mini Babybel</c:v>
                </c:pt>
                <c:pt idx="8">
                  <c:v>Boursin</c:v>
                </c:pt>
                <c:pt idx="9">
                  <c:v>Others</c:v>
                </c:pt>
              </c:strCache>
            </c:strRef>
          </c:cat>
          <c:val>
            <c:numRef>
              <c:f>Sheet1!$B$2:$B$11</c:f>
              <c:numCache>
                <c:formatCode>General</c:formatCode>
                <c:ptCount val="10"/>
                <c:pt idx="0">
                  <c:v>0.31491576024754253</c:v>
                </c:pt>
                <c:pt idx="1">
                  <c:v>5.4708257279571897E-2</c:v>
                </c:pt>
                <c:pt idx="2">
                  <c:v>4.8945842641343856E-2</c:v>
                </c:pt>
                <c:pt idx="3">
                  <c:v>4.8675589102453322E-2</c:v>
                </c:pt>
                <c:pt idx="4">
                  <c:v>4.243471408296344E-2</c:v>
                </c:pt>
                <c:pt idx="5">
                  <c:v>4.1032014350235527E-2</c:v>
                </c:pt>
                <c:pt idx="6">
                  <c:v>3.6271201064473263E-2</c:v>
                </c:pt>
                <c:pt idx="7">
                  <c:v>3.3967743817102929E-2</c:v>
                </c:pt>
                <c:pt idx="8">
                  <c:v>2.0759860075392805E-2</c:v>
                </c:pt>
                <c:pt idx="9">
                  <c:v>0.3582890173389204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La Vache Qui Rit</c:v>
                </c:pt>
                <c:pt idx="3">
                  <c:v>Caprice Des Dieux</c:v>
                </c:pt>
                <c:pt idx="4">
                  <c:v>Soignon</c:v>
                </c:pt>
                <c:pt idx="5">
                  <c:v>St Moret</c:v>
                </c:pt>
                <c:pt idx="6">
                  <c:v>Kiri</c:v>
                </c:pt>
                <c:pt idx="7">
                  <c:v>Mini Babybel</c:v>
                </c:pt>
                <c:pt idx="8">
                  <c:v>Boursin</c:v>
                </c:pt>
                <c:pt idx="9">
                  <c:v>Others</c:v>
                </c:pt>
              </c:strCache>
            </c:strRef>
          </c:cat>
          <c:val>
            <c:numRef>
              <c:f>Sheet1!$C$2:$C$11</c:f>
              <c:numCache>
                <c:formatCode>General</c:formatCode>
                <c:ptCount val="10"/>
                <c:pt idx="0">
                  <c:v>0.16749779466037779</c:v>
                </c:pt>
                <c:pt idx="1">
                  <c:v>3.3737195528111344E-2</c:v>
                </c:pt>
                <c:pt idx="2">
                  <c:v>1.8974922138009262E-2</c:v>
                </c:pt>
                <c:pt idx="3">
                  <c:v>2.4897834266477053E-2</c:v>
                </c:pt>
                <c:pt idx="4">
                  <c:v>2.8804435883126017E-2</c:v>
                </c:pt>
                <c:pt idx="5">
                  <c:v>3.0784740850090933E-2</c:v>
                </c:pt>
                <c:pt idx="6">
                  <c:v>2.1171260374097622E-2</c:v>
                </c:pt>
                <c:pt idx="7">
                  <c:v>2.3223576430770353E-2</c:v>
                </c:pt>
                <c:pt idx="8">
                  <c:v>3.4745350784020766E-2</c:v>
                </c:pt>
                <c:pt idx="9">
                  <c:v>0.6161628890849193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La Vache Qui Rit</c:v>
                </c:pt>
                <c:pt idx="3">
                  <c:v>Caprice Des Dieux</c:v>
                </c:pt>
                <c:pt idx="4">
                  <c:v>Soignon</c:v>
                </c:pt>
                <c:pt idx="5">
                  <c:v>St Moret</c:v>
                </c:pt>
                <c:pt idx="6">
                  <c:v>Kiri</c:v>
                </c:pt>
                <c:pt idx="7">
                  <c:v>Mini Babybel</c:v>
                </c:pt>
                <c:pt idx="8">
                  <c:v>Boursin</c:v>
                </c:pt>
                <c:pt idx="9">
                  <c:v>Others</c:v>
                </c:pt>
              </c:strCache>
            </c:strRef>
          </c:cat>
          <c:val>
            <c:numRef>
              <c:f>Sheet1!$D$2:$D$11</c:f>
              <c:numCache>
                <c:formatCode>General</c:formatCode>
                <c:ptCount val="10"/>
                <c:pt idx="0">
                  <c:v>53.18812704982264</c:v>
                </c:pt>
                <c:pt idx="1">
                  <c:v>61.667465215911456</c:v>
                </c:pt>
                <c:pt idx="2">
                  <c:v>38.767178403792393</c:v>
                </c:pt>
                <c:pt idx="3">
                  <c:v>51.150555597943779</c:v>
                </c:pt>
                <c:pt idx="4">
                  <c:v>67.879415487072492</c:v>
                </c:pt>
                <c:pt idx="5">
                  <c:v>75.026150525593749</c:v>
                </c:pt>
                <c:pt idx="6">
                  <c:v>58.369339180318306</c:v>
                </c:pt>
                <c:pt idx="7">
                  <c:v>68.369499475196719</c:v>
                </c:pt>
                <c:pt idx="8">
                  <c:v>167.36794302966098</c:v>
                </c:pt>
                <c:pt idx="9">
                  <c:v>171.9737025882837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67</c:f>
              <c:strCache>
                <c:ptCount val="166"/>
                <c:pt idx="0">
                  <c:v>Private Lab</c:v>
                </c:pt>
                <c:pt idx="1">
                  <c:v>Private Lab</c:v>
                </c:pt>
                <c:pt idx="2">
                  <c:v>Private Lab</c:v>
                </c:pt>
                <c:pt idx="3">
                  <c:v>Private Lab</c:v>
                </c:pt>
                <c:pt idx="4">
                  <c:v>Private Lab</c:v>
                </c:pt>
                <c:pt idx="5">
                  <c:v>Galbani</c:v>
                </c:pt>
                <c:pt idx="6">
                  <c:v>Salakis</c:v>
                </c:pt>
                <c:pt idx="7">
                  <c:v>Private Lab</c:v>
                </c:pt>
                <c:pt idx="8">
                  <c:v>Galbani</c:v>
                </c:pt>
                <c:pt idx="9">
                  <c:v>Private Lab</c:v>
                </c:pt>
                <c:pt idx="10">
                  <c:v>Galbani</c:v>
                </c:pt>
                <c:pt idx="11">
                  <c:v>Private Lab</c:v>
                </c:pt>
                <c:pt idx="12">
                  <c:v>Private Lab</c:v>
                </c:pt>
                <c:pt idx="13">
                  <c:v>Private Lab</c:v>
                </c:pt>
                <c:pt idx="14">
                  <c:v>Galbani</c:v>
                </c:pt>
                <c:pt idx="15">
                  <c:v>Galbani</c:v>
                </c:pt>
                <c:pt idx="16">
                  <c:v>Islos</c:v>
                </c:pt>
                <c:pt idx="17">
                  <c:v>Private Lab</c:v>
                </c:pt>
                <c:pt idx="18">
                  <c:v>Salakis</c:v>
                </c:pt>
                <c:pt idx="19">
                  <c:v>Galbani</c:v>
                </c:pt>
                <c:pt idx="20">
                  <c:v>All Others</c:v>
                </c:pt>
                <c:pt idx="21">
                  <c:v>Private Lab</c:v>
                </c:pt>
                <c:pt idx="22">
                  <c:v>Casa Azzurr</c:v>
                </c:pt>
                <c:pt idx="23">
                  <c:v>Casa Azzurr</c:v>
                </c:pt>
                <c:pt idx="24">
                  <c:v>Boursin</c:v>
                </c:pt>
                <c:pt idx="25">
                  <c:v>Galbani</c:v>
                </c:pt>
                <c:pt idx="26">
                  <c:v>Salakis</c:v>
                </c:pt>
                <c:pt idx="27">
                  <c:v>Casa Azzurr</c:v>
                </c:pt>
                <c:pt idx="28">
                  <c:v>Private Lab</c:v>
                </c:pt>
                <c:pt idx="29">
                  <c:v>Private Lab</c:v>
                </c:pt>
                <c:pt idx="30">
                  <c:v>Private Lab</c:v>
                </c:pt>
                <c:pt idx="31">
                  <c:v>Casa Azzurr</c:v>
                </c:pt>
                <c:pt idx="32">
                  <c:v>Salakis</c:v>
                </c:pt>
                <c:pt idx="33">
                  <c:v>Casa Azzurr</c:v>
                </c:pt>
                <c:pt idx="34">
                  <c:v>Les Mousque</c:v>
                </c:pt>
                <c:pt idx="35">
                  <c:v>Galbani</c:v>
                </c:pt>
                <c:pt idx="36">
                  <c:v>Private Lab</c:v>
                </c:pt>
                <c:pt idx="37">
                  <c:v>Private Lab</c:v>
                </c:pt>
                <c:pt idx="38">
                  <c:v>Private Lab</c:v>
                </c:pt>
                <c:pt idx="39">
                  <c:v>Casa Azzurr</c:v>
                </c:pt>
                <c:pt idx="40">
                  <c:v>Salakis</c:v>
                </c:pt>
                <c:pt idx="41">
                  <c:v>Galbani</c:v>
                </c:pt>
                <c:pt idx="42">
                  <c:v>Salakis</c:v>
                </c:pt>
                <c:pt idx="43">
                  <c:v>Private Lab</c:v>
                </c:pt>
                <c:pt idx="44">
                  <c:v>Casa Azzurr</c:v>
                </c:pt>
                <c:pt idx="45">
                  <c:v>Private Lab</c:v>
                </c:pt>
                <c:pt idx="46">
                  <c:v>Galbani</c:v>
                </c:pt>
                <c:pt idx="47">
                  <c:v>Casa Azzurr</c:v>
                </c:pt>
                <c:pt idx="48">
                  <c:v>Islos</c:v>
                </c:pt>
                <c:pt idx="49">
                  <c:v>Boursin</c:v>
                </c:pt>
                <c:pt idx="50">
                  <c:v>Casa Azzurr</c:v>
                </c:pt>
                <c:pt idx="51">
                  <c:v>All Others</c:v>
                </c:pt>
                <c:pt idx="52">
                  <c:v>All Others</c:v>
                </c:pt>
                <c:pt idx="53">
                  <c:v>Galbani</c:v>
                </c:pt>
                <c:pt idx="54">
                  <c:v>Salakis</c:v>
                </c:pt>
                <c:pt idx="55">
                  <c:v>Lactalis: A</c:v>
                </c:pt>
                <c:pt idx="56">
                  <c:v>Galbani</c:v>
                </c:pt>
                <c:pt idx="57">
                  <c:v>All Others</c:v>
                </c:pt>
                <c:pt idx="58">
                  <c:v>Boursin</c:v>
                </c:pt>
                <c:pt idx="59">
                  <c:v>All Others</c:v>
                </c:pt>
                <c:pt idx="60">
                  <c:v>Galbani</c:v>
                </c:pt>
                <c:pt idx="61">
                  <c:v>Islos</c:v>
                </c:pt>
                <c:pt idx="62">
                  <c:v>All Others</c:v>
                </c:pt>
                <c:pt idx="63">
                  <c:v>All Others</c:v>
                </c:pt>
                <c:pt idx="64">
                  <c:v>Galbani</c:v>
                </c:pt>
                <c:pt idx="65">
                  <c:v>Boursin</c:v>
                </c:pt>
                <c:pt idx="66">
                  <c:v>All Others</c:v>
                </c:pt>
                <c:pt idx="67">
                  <c:v>All Others</c:v>
                </c:pt>
                <c:pt idx="68">
                  <c:v>All Others</c:v>
                </c:pt>
                <c:pt idx="69">
                  <c:v>Boursin</c:v>
                </c:pt>
                <c:pt idx="70">
                  <c:v>All Others</c:v>
                </c:pt>
                <c:pt idx="71">
                  <c:v>All Others</c:v>
                </c:pt>
                <c:pt idx="72">
                  <c:v>All Others</c:v>
                </c:pt>
                <c:pt idx="73">
                  <c:v>All Others</c:v>
                </c:pt>
                <c:pt idx="74">
                  <c:v>Les Mousque</c:v>
                </c:pt>
                <c:pt idx="75">
                  <c:v>All Others</c:v>
                </c:pt>
                <c:pt idx="76">
                  <c:v>All Others</c:v>
                </c:pt>
                <c:pt idx="77">
                  <c:v>All Others</c:v>
                </c:pt>
                <c:pt idx="78">
                  <c:v>Boursin</c:v>
                </c:pt>
                <c:pt idx="79">
                  <c:v>All Others</c:v>
                </c:pt>
                <c:pt idx="80">
                  <c:v>All Others</c:v>
                </c:pt>
                <c:pt idx="81">
                  <c:v>Salakis</c:v>
                </c:pt>
                <c:pt idx="82">
                  <c:v>All Others</c:v>
                </c:pt>
                <c:pt idx="83">
                  <c:v>All Others</c:v>
                </c:pt>
                <c:pt idx="84">
                  <c:v>All Others</c:v>
                </c:pt>
                <c:pt idx="85">
                  <c:v>All Others</c:v>
                </c:pt>
                <c:pt idx="86">
                  <c:v>All Others</c:v>
                </c:pt>
                <c:pt idx="87">
                  <c:v>All Others</c:v>
                </c:pt>
                <c:pt idx="88">
                  <c:v>All Others</c:v>
                </c:pt>
                <c:pt idx="89">
                  <c:v>All Others</c:v>
                </c:pt>
                <c:pt idx="90">
                  <c:v>Salakis</c:v>
                </c:pt>
                <c:pt idx="91">
                  <c:v>All Others</c:v>
                </c:pt>
                <c:pt idx="92">
                  <c:v>All Others</c:v>
                </c:pt>
                <c:pt idx="93">
                  <c:v>All Others</c:v>
                </c:pt>
                <c:pt idx="94">
                  <c:v>Entremont</c:v>
                </c:pt>
                <c:pt idx="95">
                  <c:v>Private Lab</c:v>
                </c:pt>
                <c:pt idx="96">
                  <c:v>Entremont</c:v>
                </c:pt>
                <c:pt idx="97">
                  <c:v>All Others</c:v>
                </c:pt>
                <c:pt idx="98">
                  <c:v>All Others</c:v>
                </c:pt>
                <c:pt idx="99">
                  <c:v>All Others</c:v>
                </c:pt>
                <c:pt idx="100">
                  <c:v>All Others</c:v>
                </c:pt>
                <c:pt idx="101">
                  <c:v>All Others</c:v>
                </c:pt>
                <c:pt idx="102">
                  <c:v>All Others</c:v>
                </c:pt>
                <c:pt idx="103">
                  <c:v>All Others</c:v>
                </c:pt>
                <c:pt idx="104">
                  <c:v>All Others</c:v>
                </c:pt>
                <c:pt idx="105">
                  <c:v>All Others</c:v>
                </c:pt>
                <c:pt idx="106">
                  <c:v>All Others</c:v>
                </c:pt>
                <c:pt idx="107">
                  <c:v>All Others</c:v>
                </c:pt>
                <c:pt idx="108">
                  <c:v>All Others</c:v>
                </c:pt>
                <c:pt idx="109">
                  <c:v>Entremont</c:v>
                </c:pt>
                <c:pt idx="110">
                  <c:v>All Others</c:v>
                </c:pt>
                <c:pt idx="111">
                  <c:v>All Others</c:v>
                </c:pt>
                <c:pt idx="112">
                  <c:v>All Others</c:v>
                </c:pt>
                <c:pt idx="113">
                  <c:v>All Others</c:v>
                </c:pt>
                <c:pt idx="114">
                  <c:v>All Others</c:v>
                </c:pt>
                <c:pt idx="115">
                  <c:v>All Others</c:v>
                </c:pt>
                <c:pt idx="116">
                  <c:v>Casa Azzurr</c:v>
                </c:pt>
                <c:pt idx="117">
                  <c:v>All Others</c:v>
                </c:pt>
                <c:pt idx="118">
                  <c:v>All Others</c:v>
                </c:pt>
                <c:pt idx="119">
                  <c:v>All Others</c:v>
                </c:pt>
                <c:pt idx="120">
                  <c:v>All Others</c:v>
                </c:pt>
                <c:pt idx="121">
                  <c:v>All Others</c:v>
                </c:pt>
                <c:pt idx="122">
                  <c:v>All Others</c:v>
                </c:pt>
                <c:pt idx="123">
                  <c:v>All Others</c:v>
                </c:pt>
                <c:pt idx="124">
                  <c:v>All Others</c:v>
                </c:pt>
                <c:pt idx="125">
                  <c:v>All Others</c:v>
                </c:pt>
                <c:pt idx="126">
                  <c:v>All Others</c:v>
                </c:pt>
                <c:pt idx="127">
                  <c:v>All Others</c:v>
                </c:pt>
                <c:pt idx="128">
                  <c:v>All Others</c:v>
                </c:pt>
                <c:pt idx="129">
                  <c:v>All Others</c:v>
                </c:pt>
                <c:pt idx="130">
                  <c:v>All Others</c:v>
                </c:pt>
                <c:pt idx="131">
                  <c:v>All Others</c:v>
                </c:pt>
                <c:pt idx="132">
                  <c:v>All Others</c:v>
                </c:pt>
                <c:pt idx="133">
                  <c:v>All Others</c:v>
                </c:pt>
                <c:pt idx="134">
                  <c:v>All Others</c:v>
                </c:pt>
                <c:pt idx="135">
                  <c:v>All Others</c:v>
                </c:pt>
                <c:pt idx="136">
                  <c:v>All Others</c:v>
                </c:pt>
                <c:pt idx="137">
                  <c:v>All Others</c:v>
                </c:pt>
                <c:pt idx="138">
                  <c:v>All Others</c:v>
                </c:pt>
                <c:pt idx="139">
                  <c:v>Savencia: A</c:v>
                </c:pt>
                <c:pt idx="140">
                  <c:v>All Others</c:v>
                </c:pt>
                <c:pt idx="141">
                  <c:v>All Others</c:v>
                </c:pt>
                <c:pt idx="142">
                  <c:v>All Others</c:v>
                </c:pt>
                <c:pt idx="143">
                  <c:v>All Others</c:v>
                </c:pt>
                <c:pt idx="144">
                  <c:v>All Others</c:v>
                </c:pt>
                <c:pt idx="145">
                  <c:v>All Others</c:v>
                </c:pt>
                <c:pt idx="146">
                  <c:v>All Others</c:v>
                </c:pt>
                <c:pt idx="147">
                  <c:v>All Others</c:v>
                </c:pt>
                <c:pt idx="148">
                  <c:v>All Others</c:v>
                </c:pt>
                <c:pt idx="149">
                  <c:v>All Others</c:v>
                </c:pt>
                <c:pt idx="150">
                  <c:v>All Others</c:v>
                </c:pt>
                <c:pt idx="151">
                  <c:v>Other Suppl</c:v>
                </c:pt>
                <c:pt idx="152">
                  <c:v>All Others</c:v>
                </c:pt>
                <c:pt idx="153">
                  <c:v>All Others</c:v>
                </c:pt>
                <c:pt idx="154">
                  <c:v>All Others</c:v>
                </c:pt>
                <c:pt idx="155">
                  <c:v>All Others</c:v>
                </c:pt>
                <c:pt idx="156">
                  <c:v>All Others</c:v>
                </c:pt>
                <c:pt idx="157">
                  <c:v>Savencia: A</c:v>
                </c:pt>
                <c:pt idx="158">
                  <c:v>All Others</c:v>
                </c:pt>
                <c:pt idx="159">
                  <c:v>All Others</c:v>
                </c:pt>
                <c:pt idx="160">
                  <c:v>All Others</c:v>
                </c:pt>
                <c:pt idx="161">
                  <c:v>All Others</c:v>
                </c:pt>
                <c:pt idx="162">
                  <c:v>All Others</c:v>
                </c:pt>
                <c:pt idx="163">
                  <c:v>All Others</c:v>
                </c:pt>
                <c:pt idx="164">
                  <c:v>All Others</c:v>
                </c:pt>
                <c:pt idx="165">
                  <c:v>All Others</c:v>
                </c:pt>
              </c:strCache>
            </c:strRef>
          </c:cat>
          <c:val>
            <c:numRef>
              <c:f>Sheet1!$B$2:$B$167</c:f>
              <c:numCache>
                <c:formatCode>General</c:formatCode>
                <c:ptCount val="166"/>
                <c:pt idx="0">
                  <c:v>1</c:v>
                </c:pt>
                <c:pt idx="1">
                  <c:v>0.99</c:v>
                </c:pt>
                <c:pt idx="2">
                  <c:v>0.98</c:v>
                </c:pt>
                <c:pt idx="3">
                  <c:v>0.99</c:v>
                </c:pt>
                <c:pt idx="4">
                  <c:v>0.99</c:v>
                </c:pt>
                <c:pt idx="5">
                  <c:v>1</c:v>
                </c:pt>
                <c:pt idx="6">
                  <c:v>0.99</c:v>
                </c:pt>
                <c:pt idx="7">
                  <c:v>0.99</c:v>
                </c:pt>
                <c:pt idx="8">
                  <c:v>0.98</c:v>
                </c:pt>
                <c:pt idx="9">
                  <c:v>0.99</c:v>
                </c:pt>
                <c:pt idx="10">
                  <c:v>0.97</c:v>
                </c:pt>
                <c:pt idx="11">
                  <c:v>0.99</c:v>
                </c:pt>
                <c:pt idx="12">
                  <c:v>0.99</c:v>
                </c:pt>
                <c:pt idx="13">
                  <c:v>1</c:v>
                </c:pt>
                <c:pt idx="14">
                  <c:v>0.95</c:v>
                </c:pt>
                <c:pt idx="15">
                  <c:v>0.98</c:v>
                </c:pt>
                <c:pt idx="16">
                  <c:v>0.96</c:v>
                </c:pt>
                <c:pt idx="17">
                  <c:v>0.98</c:v>
                </c:pt>
                <c:pt idx="18">
                  <c:v>1</c:v>
                </c:pt>
                <c:pt idx="19">
                  <c:v>0.96</c:v>
                </c:pt>
                <c:pt idx="20">
                  <c:v>0.49</c:v>
                </c:pt>
                <c:pt idx="21">
                  <c:v>0.75</c:v>
                </c:pt>
                <c:pt idx="22">
                  <c:v>0.97</c:v>
                </c:pt>
                <c:pt idx="23">
                  <c:v>0.9</c:v>
                </c:pt>
                <c:pt idx="24">
                  <c:v>0.98</c:v>
                </c:pt>
                <c:pt idx="25">
                  <c:v>0.87</c:v>
                </c:pt>
                <c:pt idx="26">
                  <c:v>0.9</c:v>
                </c:pt>
                <c:pt idx="27">
                  <c:v>0.8</c:v>
                </c:pt>
                <c:pt idx="28">
                  <c:v>0.97</c:v>
                </c:pt>
                <c:pt idx="29">
                  <c:v>0.87</c:v>
                </c:pt>
                <c:pt idx="30">
                  <c:v>0.94</c:v>
                </c:pt>
                <c:pt idx="31">
                  <c:v>0.83</c:v>
                </c:pt>
                <c:pt idx="32">
                  <c:v>0.97</c:v>
                </c:pt>
                <c:pt idx="33">
                  <c:v>0.89</c:v>
                </c:pt>
                <c:pt idx="34">
                  <c:v>0.92</c:v>
                </c:pt>
                <c:pt idx="35">
                  <c:v>0.9</c:v>
                </c:pt>
                <c:pt idx="36">
                  <c:v>0.77</c:v>
                </c:pt>
                <c:pt idx="37">
                  <c:v>0.89</c:v>
                </c:pt>
                <c:pt idx="38">
                  <c:v>0.56999999999999995</c:v>
                </c:pt>
                <c:pt idx="39">
                  <c:v>0.68</c:v>
                </c:pt>
                <c:pt idx="40">
                  <c:v>0.57999999999999996</c:v>
                </c:pt>
                <c:pt idx="41">
                  <c:v>0.44</c:v>
                </c:pt>
                <c:pt idx="42">
                  <c:v>0.95</c:v>
                </c:pt>
                <c:pt idx="43">
                  <c:v>0.76</c:v>
                </c:pt>
                <c:pt idx="44">
                  <c:v>0.34</c:v>
                </c:pt>
                <c:pt idx="45">
                  <c:v>0.45</c:v>
                </c:pt>
                <c:pt idx="46">
                  <c:v>0.33</c:v>
                </c:pt>
                <c:pt idx="47">
                  <c:v>0.81</c:v>
                </c:pt>
                <c:pt idx="48">
                  <c:v>0.71</c:v>
                </c:pt>
                <c:pt idx="49">
                  <c:v>0.86</c:v>
                </c:pt>
                <c:pt idx="50">
                  <c:v>0.3</c:v>
                </c:pt>
                <c:pt idx="51">
                  <c:v>0.21</c:v>
                </c:pt>
                <c:pt idx="52">
                  <c:v>0.39</c:v>
                </c:pt>
                <c:pt idx="53">
                  <c:v>0.54</c:v>
                </c:pt>
                <c:pt idx="54">
                  <c:v>0.42</c:v>
                </c:pt>
                <c:pt idx="55">
                  <c:v>0.28999999999999998</c:v>
                </c:pt>
                <c:pt idx="56">
                  <c:v>0.36</c:v>
                </c:pt>
                <c:pt idx="57">
                  <c:v>0.21</c:v>
                </c:pt>
                <c:pt idx="58">
                  <c:v>0.88</c:v>
                </c:pt>
                <c:pt idx="59">
                  <c:v>0.11</c:v>
                </c:pt>
                <c:pt idx="60">
                  <c:v>0.28000000000000003</c:v>
                </c:pt>
                <c:pt idx="61">
                  <c:v>0.56000000000000005</c:v>
                </c:pt>
                <c:pt idx="62">
                  <c:v>0.27</c:v>
                </c:pt>
                <c:pt idx="63">
                  <c:v>0.15</c:v>
                </c:pt>
                <c:pt idx="64">
                  <c:v>0.56000000000000005</c:v>
                </c:pt>
                <c:pt idx="65">
                  <c:v>0.67</c:v>
                </c:pt>
                <c:pt idx="66">
                  <c:v>0.23</c:v>
                </c:pt>
                <c:pt idx="67">
                  <c:v>0.21</c:v>
                </c:pt>
                <c:pt idx="68">
                  <c:v>0.31</c:v>
                </c:pt>
                <c:pt idx="69">
                  <c:v>0.83</c:v>
                </c:pt>
                <c:pt idx="70">
                  <c:v>0.15</c:v>
                </c:pt>
                <c:pt idx="71">
                  <c:v>0.04</c:v>
                </c:pt>
                <c:pt idx="72">
                  <c:v>0.13</c:v>
                </c:pt>
                <c:pt idx="73">
                  <c:v>0.06</c:v>
                </c:pt>
                <c:pt idx="74">
                  <c:v>0.56999999999999995</c:v>
                </c:pt>
                <c:pt idx="75">
                  <c:v>0.28000000000000003</c:v>
                </c:pt>
                <c:pt idx="76">
                  <c:v>0.05</c:v>
                </c:pt>
                <c:pt idx="77">
                  <c:v>0.04</c:v>
                </c:pt>
                <c:pt idx="78">
                  <c:v>0.4</c:v>
                </c:pt>
                <c:pt idx="79">
                  <c:v>0.05</c:v>
                </c:pt>
                <c:pt idx="80">
                  <c:v>0.05</c:v>
                </c:pt>
                <c:pt idx="81">
                  <c:v>0.24</c:v>
                </c:pt>
                <c:pt idx="82">
                  <c:v>7.0000000000000007E-2</c:v>
                </c:pt>
                <c:pt idx="83">
                  <c:v>0.12</c:v>
                </c:pt>
                <c:pt idx="84">
                  <c:v>0.16</c:v>
                </c:pt>
                <c:pt idx="85">
                  <c:v>0.03</c:v>
                </c:pt>
                <c:pt idx="86">
                  <c:v>0.01</c:v>
                </c:pt>
                <c:pt idx="87">
                  <c:v>0.44</c:v>
                </c:pt>
                <c:pt idx="88">
                  <c:v>0.1</c:v>
                </c:pt>
                <c:pt idx="89">
                  <c:v>0.04</c:v>
                </c:pt>
                <c:pt idx="90">
                  <c:v>0.23</c:v>
                </c:pt>
                <c:pt idx="91">
                  <c:v>0.02</c:v>
                </c:pt>
                <c:pt idx="92">
                  <c:v>0.02</c:v>
                </c:pt>
                <c:pt idx="93">
                  <c:v>0.1</c:v>
                </c:pt>
                <c:pt idx="94">
                  <c:v>0.39</c:v>
                </c:pt>
                <c:pt idx="95">
                  <c:v>0.16</c:v>
                </c:pt>
                <c:pt idx="96">
                  <c:v>0.4</c:v>
                </c:pt>
                <c:pt idx="97">
                  <c:v>0.01</c:v>
                </c:pt>
                <c:pt idx="98">
                  <c:v>7.0000000000000007E-2</c:v>
                </c:pt>
                <c:pt idx="99">
                  <c:v>7.0000000000000007E-2</c:v>
                </c:pt>
                <c:pt idx="100">
                  <c:v>0.15</c:v>
                </c:pt>
                <c:pt idx="101">
                  <c:v>7.0000000000000007E-2</c:v>
                </c:pt>
                <c:pt idx="102">
                  <c:v>0.02</c:v>
                </c:pt>
                <c:pt idx="103">
                  <c:v>0.08</c:v>
                </c:pt>
                <c:pt idx="104">
                  <c:v>7.0000000000000007E-2</c:v>
                </c:pt>
                <c:pt idx="105">
                  <c:v>0.14000000000000001</c:v>
                </c:pt>
                <c:pt idx="106">
                  <c:v>0.04</c:v>
                </c:pt>
                <c:pt idx="107">
                  <c:v>0.36</c:v>
                </c:pt>
                <c:pt idx="108">
                  <c:v>0.14000000000000001</c:v>
                </c:pt>
                <c:pt idx="109">
                  <c:v>0.34</c:v>
                </c:pt>
                <c:pt idx="110">
                  <c:v>7.0000000000000007E-2</c:v>
                </c:pt>
                <c:pt idx="111">
                  <c:v>0.12</c:v>
                </c:pt>
                <c:pt idx="112">
                  <c:v>0.13</c:v>
                </c:pt>
                <c:pt idx="113">
                  <c:v>0.05</c:v>
                </c:pt>
                <c:pt idx="114">
                  <c:v>7.0000000000000007E-2</c:v>
                </c:pt>
                <c:pt idx="115">
                  <c:v>7.0000000000000007E-2</c:v>
                </c:pt>
                <c:pt idx="116">
                  <c:v>0.06</c:v>
                </c:pt>
                <c:pt idx="117">
                  <c:v>0.01</c:v>
                </c:pt>
                <c:pt idx="118">
                  <c:v>0.01</c:v>
                </c:pt>
                <c:pt idx="119">
                  <c:v>0.04</c:v>
                </c:pt>
                <c:pt idx="120">
                  <c:v>0.01</c:v>
                </c:pt>
                <c:pt idx="121">
                  <c:v>0.01</c:v>
                </c:pt>
                <c:pt idx="122">
                  <c:v>0.01</c:v>
                </c:pt>
                <c:pt idx="123">
                  <c:v>0.02</c:v>
                </c:pt>
                <c:pt idx="124">
                  <c:v>0.06</c:v>
                </c:pt>
                <c:pt idx="125">
                  <c:v>0.11</c:v>
                </c:pt>
                <c:pt idx="126">
                  <c:v>0.01</c:v>
                </c:pt>
                <c:pt idx="127">
                  <c:v>0.09</c:v>
                </c:pt>
                <c:pt idx="128">
                  <c:v>0.01</c:v>
                </c:pt>
                <c:pt idx="129">
                  <c:v>0.02</c:v>
                </c:pt>
                <c:pt idx="130">
                  <c:v>0.02</c:v>
                </c:pt>
                <c:pt idx="131">
                  <c:v>0.01</c:v>
                </c:pt>
                <c:pt idx="132">
                  <c:v>0.01</c:v>
                </c:pt>
                <c:pt idx="133">
                  <c:v>0.04</c:v>
                </c:pt>
                <c:pt idx="134">
                  <c:v>0.02</c:v>
                </c:pt>
                <c:pt idx="135">
                  <c:v>0.01</c:v>
                </c:pt>
                <c:pt idx="136">
                  <c:v>0.01</c:v>
                </c:pt>
                <c:pt idx="137">
                  <c:v>0.06</c:v>
                </c:pt>
                <c:pt idx="138">
                  <c:v>0.01</c:v>
                </c:pt>
                <c:pt idx="139">
                  <c:v>0.01</c:v>
                </c:pt>
                <c:pt idx="140">
                  <c:v>0.01</c:v>
                </c:pt>
                <c:pt idx="141">
                  <c:v>0.01</c:v>
                </c:pt>
                <c:pt idx="142">
                  <c:v>0.01</c:v>
                </c:pt>
                <c:pt idx="143">
                  <c:v>0.01</c:v>
                </c:pt>
                <c:pt idx="144">
                  <c:v>0.02</c:v>
                </c:pt>
                <c:pt idx="145">
                  <c:v>0.01</c:v>
                </c:pt>
                <c:pt idx="146">
                  <c:v>0.01</c:v>
                </c:pt>
                <c:pt idx="147">
                  <c:v>0.01</c:v>
                </c:pt>
                <c:pt idx="148">
                  <c:v>0.01</c:v>
                </c:pt>
                <c:pt idx="149">
                  <c:v>0.01</c:v>
                </c:pt>
                <c:pt idx="150">
                  <c:v>0.02</c:v>
                </c:pt>
                <c:pt idx="151">
                  <c:v>0.04</c:v>
                </c:pt>
                <c:pt idx="152">
                  <c:v>0.04</c:v>
                </c:pt>
                <c:pt idx="153">
                  <c:v>0.01</c:v>
                </c:pt>
                <c:pt idx="154">
                  <c:v>0.01</c:v>
                </c:pt>
                <c:pt idx="155">
                  <c:v>0.01</c:v>
                </c:pt>
                <c:pt idx="156">
                  <c:v>0.01</c:v>
                </c:pt>
                <c:pt idx="157">
                  <c:v>0.01</c:v>
                </c:pt>
                <c:pt idx="158">
                  <c:v>0.02</c:v>
                </c:pt>
                <c:pt idx="159">
                  <c:v>0.01</c:v>
                </c:pt>
                <c:pt idx="160">
                  <c:v>0.01</c:v>
                </c:pt>
                <c:pt idx="161">
                  <c:v>0.01</c:v>
                </c:pt>
                <c:pt idx="162">
                  <c:v>0.01</c:v>
                </c:pt>
                <c:pt idx="163">
                  <c:v>0.01</c:v>
                </c:pt>
                <c:pt idx="164">
                  <c:v>0.01</c:v>
                </c:pt>
                <c:pt idx="16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67</c:f>
              <c:strCache>
                <c:ptCount val="166"/>
                <c:pt idx="0">
                  <c:v>Private Lab</c:v>
                </c:pt>
                <c:pt idx="1">
                  <c:v>Private Lab</c:v>
                </c:pt>
                <c:pt idx="2">
                  <c:v>Private Lab</c:v>
                </c:pt>
                <c:pt idx="3">
                  <c:v>Private Lab</c:v>
                </c:pt>
                <c:pt idx="4">
                  <c:v>Private Lab</c:v>
                </c:pt>
                <c:pt idx="5">
                  <c:v>Galbani</c:v>
                </c:pt>
                <c:pt idx="6">
                  <c:v>Salakis</c:v>
                </c:pt>
                <c:pt idx="7">
                  <c:v>Private Lab</c:v>
                </c:pt>
                <c:pt idx="8">
                  <c:v>Galbani</c:v>
                </c:pt>
                <c:pt idx="9">
                  <c:v>Private Lab</c:v>
                </c:pt>
                <c:pt idx="10">
                  <c:v>Galbani</c:v>
                </c:pt>
                <c:pt idx="11">
                  <c:v>Private Lab</c:v>
                </c:pt>
                <c:pt idx="12">
                  <c:v>Private Lab</c:v>
                </c:pt>
                <c:pt idx="13">
                  <c:v>Private Lab</c:v>
                </c:pt>
                <c:pt idx="14">
                  <c:v>Galbani</c:v>
                </c:pt>
                <c:pt idx="15">
                  <c:v>Galbani</c:v>
                </c:pt>
                <c:pt idx="16">
                  <c:v>Islos</c:v>
                </c:pt>
                <c:pt idx="17">
                  <c:v>Private Lab</c:v>
                </c:pt>
                <c:pt idx="18">
                  <c:v>Salakis</c:v>
                </c:pt>
                <c:pt idx="19">
                  <c:v>Galbani</c:v>
                </c:pt>
                <c:pt idx="20">
                  <c:v>All Others</c:v>
                </c:pt>
                <c:pt idx="21">
                  <c:v>Private Lab</c:v>
                </c:pt>
                <c:pt idx="22">
                  <c:v>Casa Azzurr</c:v>
                </c:pt>
                <c:pt idx="23">
                  <c:v>Casa Azzurr</c:v>
                </c:pt>
                <c:pt idx="24">
                  <c:v>Boursin</c:v>
                </c:pt>
                <c:pt idx="25">
                  <c:v>Galbani</c:v>
                </c:pt>
                <c:pt idx="26">
                  <c:v>Salakis</c:v>
                </c:pt>
                <c:pt idx="27">
                  <c:v>Casa Azzurr</c:v>
                </c:pt>
                <c:pt idx="28">
                  <c:v>Private Lab</c:v>
                </c:pt>
                <c:pt idx="29">
                  <c:v>Private Lab</c:v>
                </c:pt>
                <c:pt idx="30">
                  <c:v>Private Lab</c:v>
                </c:pt>
                <c:pt idx="31">
                  <c:v>Casa Azzurr</c:v>
                </c:pt>
                <c:pt idx="32">
                  <c:v>Salakis</c:v>
                </c:pt>
                <c:pt idx="33">
                  <c:v>Casa Azzurr</c:v>
                </c:pt>
                <c:pt idx="34">
                  <c:v>Les Mousque</c:v>
                </c:pt>
                <c:pt idx="35">
                  <c:v>Galbani</c:v>
                </c:pt>
                <c:pt idx="36">
                  <c:v>Private Lab</c:v>
                </c:pt>
                <c:pt idx="37">
                  <c:v>Private Lab</c:v>
                </c:pt>
                <c:pt idx="38">
                  <c:v>Private Lab</c:v>
                </c:pt>
                <c:pt idx="39">
                  <c:v>Casa Azzurr</c:v>
                </c:pt>
                <c:pt idx="40">
                  <c:v>Salakis</c:v>
                </c:pt>
                <c:pt idx="41">
                  <c:v>Galbani</c:v>
                </c:pt>
                <c:pt idx="42">
                  <c:v>Salakis</c:v>
                </c:pt>
                <c:pt idx="43">
                  <c:v>Private Lab</c:v>
                </c:pt>
                <c:pt idx="44">
                  <c:v>Casa Azzurr</c:v>
                </c:pt>
                <c:pt idx="45">
                  <c:v>Private Lab</c:v>
                </c:pt>
                <c:pt idx="46">
                  <c:v>Galbani</c:v>
                </c:pt>
                <c:pt idx="47">
                  <c:v>Casa Azzurr</c:v>
                </c:pt>
                <c:pt idx="48">
                  <c:v>Islos</c:v>
                </c:pt>
                <c:pt idx="49">
                  <c:v>Boursin</c:v>
                </c:pt>
                <c:pt idx="50">
                  <c:v>Casa Azzurr</c:v>
                </c:pt>
                <c:pt idx="51">
                  <c:v>All Others</c:v>
                </c:pt>
                <c:pt idx="52">
                  <c:v>All Others</c:v>
                </c:pt>
                <c:pt idx="53">
                  <c:v>Galbani</c:v>
                </c:pt>
                <c:pt idx="54">
                  <c:v>Salakis</c:v>
                </c:pt>
                <c:pt idx="55">
                  <c:v>Lactalis: A</c:v>
                </c:pt>
                <c:pt idx="56">
                  <c:v>Galbani</c:v>
                </c:pt>
                <c:pt idx="57">
                  <c:v>All Others</c:v>
                </c:pt>
                <c:pt idx="58">
                  <c:v>Boursin</c:v>
                </c:pt>
                <c:pt idx="59">
                  <c:v>All Others</c:v>
                </c:pt>
                <c:pt idx="60">
                  <c:v>Galbani</c:v>
                </c:pt>
                <c:pt idx="61">
                  <c:v>Islos</c:v>
                </c:pt>
                <c:pt idx="62">
                  <c:v>All Others</c:v>
                </c:pt>
                <c:pt idx="63">
                  <c:v>All Others</c:v>
                </c:pt>
                <c:pt idx="64">
                  <c:v>Galbani</c:v>
                </c:pt>
                <c:pt idx="65">
                  <c:v>Boursin</c:v>
                </c:pt>
                <c:pt idx="66">
                  <c:v>All Others</c:v>
                </c:pt>
                <c:pt idx="67">
                  <c:v>All Others</c:v>
                </c:pt>
                <c:pt idx="68">
                  <c:v>All Others</c:v>
                </c:pt>
                <c:pt idx="69">
                  <c:v>Boursin</c:v>
                </c:pt>
                <c:pt idx="70">
                  <c:v>All Others</c:v>
                </c:pt>
                <c:pt idx="71">
                  <c:v>All Others</c:v>
                </c:pt>
                <c:pt idx="72">
                  <c:v>All Others</c:v>
                </c:pt>
                <c:pt idx="73">
                  <c:v>All Others</c:v>
                </c:pt>
                <c:pt idx="74">
                  <c:v>Les Mousque</c:v>
                </c:pt>
                <c:pt idx="75">
                  <c:v>All Others</c:v>
                </c:pt>
                <c:pt idx="76">
                  <c:v>All Others</c:v>
                </c:pt>
                <c:pt idx="77">
                  <c:v>All Others</c:v>
                </c:pt>
                <c:pt idx="78">
                  <c:v>Boursin</c:v>
                </c:pt>
                <c:pt idx="79">
                  <c:v>All Others</c:v>
                </c:pt>
                <c:pt idx="80">
                  <c:v>All Others</c:v>
                </c:pt>
                <c:pt idx="81">
                  <c:v>Salakis</c:v>
                </c:pt>
                <c:pt idx="82">
                  <c:v>All Others</c:v>
                </c:pt>
                <c:pt idx="83">
                  <c:v>All Others</c:v>
                </c:pt>
                <c:pt idx="84">
                  <c:v>All Others</c:v>
                </c:pt>
                <c:pt idx="85">
                  <c:v>All Others</c:v>
                </c:pt>
                <c:pt idx="86">
                  <c:v>All Others</c:v>
                </c:pt>
                <c:pt idx="87">
                  <c:v>All Others</c:v>
                </c:pt>
                <c:pt idx="88">
                  <c:v>All Others</c:v>
                </c:pt>
                <c:pt idx="89">
                  <c:v>All Others</c:v>
                </c:pt>
                <c:pt idx="90">
                  <c:v>Salakis</c:v>
                </c:pt>
                <c:pt idx="91">
                  <c:v>All Others</c:v>
                </c:pt>
                <c:pt idx="92">
                  <c:v>All Others</c:v>
                </c:pt>
                <c:pt idx="93">
                  <c:v>All Others</c:v>
                </c:pt>
                <c:pt idx="94">
                  <c:v>Entremont</c:v>
                </c:pt>
                <c:pt idx="95">
                  <c:v>Private Lab</c:v>
                </c:pt>
                <c:pt idx="96">
                  <c:v>Entremont</c:v>
                </c:pt>
                <c:pt idx="97">
                  <c:v>All Others</c:v>
                </c:pt>
                <c:pt idx="98">
                  <c:v>All Others</c:v>
                </c:pt>
                <c:pt idx="99">
                  <c:v>All Others</c:v>
                </c:pt>
                <c:pt idx="100">
                  <c:v>All Others</c:v>
                </c:pt>
                <c:pt idx="101">
                  <c:v>All Others</c:v>
                </c:pt>
                <c:pt idx="102">
                  <c:v>All Others</c:v>
                </c:pt>
                <c:pt idx="103">
                  <c:v>All Others</c:v>
                </c:pt>
                <c:pt idx="104">
                  <c:v>All Others</c:v>
                </c:pt>
                <c:pt idx="105">
                  <c:v>All Others</c:v>
                </c:pt>
                <c:pt idx="106">
                  <c:v>All Others</c:v>
                </c:pt>
                <c:pt idx="107">
                  <c:v>All Others</c:v>
                </c:pt>
                <c:pt idx="108">
                  <c:v>All Others</c:v>
                </c:pt>
                <c:pt idx="109">
                  <c:v>Entremont</c:v>
                </c:pt>
                <c:pt idx="110">
                  <c:v>All Others</c:v>
                </c:pt>
                <c:pt idx="111">
                  <c:v>All Others</c:v>
                </c:pt>
                <c:pt idx="112">
                  <c:v>All Others</c:v>
                </c:pt>
                <c:pt idx="113">
                  <c:v>All Others</c:v>
                </c:pt>
                <c:pt idx="114">
                  <c:v>All Others</c:v>
                </c:pt>
                <c:pt idx="115">
                  <c:v>All Others</c:v>
                </c:pt>
                <c:pt idx="116">
                  <c:v>Casa Azzurr</c:v>
                </c:pt>
                <c:pt idx="117">
                  <c:v>All Others</c:v>
                </c:pt>
                <c:pt idx="118">
                  <c:v>All Others</c:v>
                </c:pt>
                <c:pt idx="119">
                  <c:v>All Others</c:v>
                </c:pt>
                <c:pt idx="120">
                  <c:v>All Others</c:v>
                </c:pt>
                <c:pt idx="121">
                  <c:v>All Others</c:v>
                </c:pt>
                <c:pt idx="122">
                  <c:v>All Others</c:v>
                </c:pt>
                <c:pt idx="123">
                  <c:v>All Others</c:v>
                </c:pt>
                <c:pt idx="124">
                  <c:v>All Others</c:v>
                </c:pt>
                <c:pt idx="125">
                  <c:v>All Others</c:v>
                </c:pt>
                <c:pt idx="126">
                  <c:v>All Others</c:v>
                </c:pt>
                <c:pt idx="127">
                  <c:v>All Others</c:v>
                </c:pt>
                <c:pt idx="128">
                  <c:v>All Others</c:v>
                </c:pt>
                <c:pt idx="129">
                  <c:v>All Others</c:v>
                </c:pt>
                <c:pt idx="130">
                  <c:v>All Others</c:v>
                </c:pt>
                <c:pt idx="131">
                  <c:v>All Others</c:v>
                </c:pt>
                <c:pt idx="132">
                  <c:v>All Others</c:v>
                </c:pt>
                <c:pt idx="133">
                  <c:v>All Others</c:v>
                </c:pt>
                <c:pt idx="134">
                  <c:v>All Others</c:v>
                </c:pt>
                <c:pt idx="135">
                  <c:v>All Others</c:v>
                </c:pt>
                <c:pt idx="136">
                  <c:v>All Others</c:v>
                </c:pt>
                <c:pt idx="137">
                  <c:v>All Others</c:v>
                </c:pt>
                <c:pt idx="138">
                  <c:v>All Others</c:v>
                </c:pt>
                <c:pt idx="139">
                  <c:v>Savencia: A</c:v>
                </c:pt>
                <c:pt idx="140">
                  <c:v>All Others</c:v>
                </c:pt>
                <c:pt idx="141">
                  <c:v>All Others</c:v>
                </c:pt>
                <c:pt idx="142">
                  <c:v>All Others</c:v>
                </c:pt>
                <c:pt idx="143">
                  <c:v>All Others</c:v>
                </c:pt>
                <c:pt idx="144">
                  <c:v>All Others</c:v>
                </c:pt>
                <c:pt idx="145">
                  <c:v>All Others</c:v>
                </c:pt>
                <c:pt idx="146">
                  <c:v>All Others</c:v>
                </c:pt>
                <c:pt idx="147">
                  <c:v>All Others</c:v>
                </c:pt>
                <c:pt idx="148">
                  <c:v>All Others</c:v>
                </c:pt>
                <c:pt idx="149">
                  <c:v>All Others</c:v>
                </c:pt>
                <c:pt idx="150">
                  <c:v>All Others</c:v>
                </c:pt>
                <c:pt idx="151">
                  <c:v>Other Suppl</c:v>
                </c:pt>
                <c:pt idx="152">
                  <c:v>All Others</c:v>
                </c:pt>
                <c:pt idx="153">
                  <c:v>All Others</c:v>
                </c:pt>
                <c:pt idx="154">
                  <c:v>All Others</c:v>
                </c:pt>
                <c:pt idx="155">
                  <c:v>All Others</c:v>
                </c:pt>
                <c:pt idx="156">
                  <c:v>All Others</c:v>
                </c:pt>
                <c:pt idx="157">
                  <c:v>Savencia: A</c:v>
                </c:pt>
                <c:pt idx="158">
                  <c:v>All Others</c:v>
                </c:pt>
                <c:pt idx="159">
                  <c:v>All Others</c:v>
                </c:pt>
                <c:pt idx="160">
                  <c:v>All Others</c:v>
                </c:pt>
                <c:pt idx="161">
                  <c:v>All Others</c:v>
                </c:pt>
                <c:pt idx="162">
                  <c:v>All Others</c:v>
                </c:pt>
                <c:pt idx="163">
                  <c:v>All Others</c:v>
                </c:pt>
                <c:pt idx="164">
                  <c:v>All Others</c:v>
                </c:pt>
                <c:pt idx="165">
                  <c:v>All Others</c:v>
                </c:pt>
              </c:strCache>
            </c:strRef>
          </c:cat>
          <c:val>
            <c:numRef>
              <c:f>Sheet1!$C$2:$C$167</c:f>
              <c:numCache>
                <c:formatCode>General</c:formatCode>
                <c:ptCount val="166"/>
                <c:pt idx="0">
                  <c:v>9.9715112520719892E-2</c:v>
                </c:pt>
                <c:pt idx="1">
                  <c:v>0.17901983404623356</c:v>
                </c:pt>
                <c:pt idx="2">
                  <c:v>0.25588428828440091</c:v>
                </c:pt>
                <c:pt idx="3">
                  <c:v>0.30369263937828211</c:v>
                </c:pt>
                <c:pt idx="4">
                  <c:v>0.3484107610310283</c:v>
                </c:pt>
                <c:pt idx="5">
                  <c:v>0.39125233198719961</c:v>
                </c:pt>
                <c:pt idx="6">
                  <c:v>0.42877094304972063</c:v>
                </c:pt>
                <c:pt idx="7">
                  <c:v>0.4608221757078963</c:v>
                </c:pt>
                <c:pt idx="8">
                  <c:v>0.49221009707537422</c:v>
                </c:pt>
                <c:pt idx="9">
                  <c:v>0.52272501868428567</c:v>
                </c:pt>
                <c:pt idx="10">
                  <c:v>0.55233190609092842</c:v>
                </c:pt>
                <c:pt idx="11">
                  <c:v>0.58047492827063762</c:v>
                </c:pt>
                <c:pt idx="12">
                  <c:v>0.60569693399276492</c:v>
                </c:pt>
                <c:pt idx="13">
                  <c:v>0.62692396547906437</c:v>
                </c:pt>
                <c:pt idx="14">
                  <c:v>0.6477885425518215</c:v>
                </c:pt>
                <c:pt idx="15">
                  <c:v>0.66855395299824094</c:v>
                </c:pt>
                <c:pt idx="16">
                  <c:v>0.68884558736788182</c:v>
                </c:pt>
                <c:pt idx="17">
                  <c:v>0.70856462825233413</c:v>
                </c:pt>
                <c:pt idx="18">
                  <c:v>0.72807576055383894</c:v>
                </c:pt>
                <c:pt idx="19">
                  <c:v>0.74482999755862878</c:v>
                </c:pt>
                <c:pt idx="20">
                  <c:v>0.75948479270829372</c:v>
                </c:pt>
                <c:pt idx="21">
                  <c:v>0.7729371291474586</c:v>
                </c:pt>
                <c:pt idx="22">
                  <c:v>0.7842715377115258</c:v>
                </c:pt>
                <c:pt idx="23">
                  <c:v>0.7949003796156584</c:v>
                </c:pt>
                <c:pt idx="24">
                  <c:v>0.80413809500764355</c:v>
                </c:pt>
                <c:pt idx="25">
                  <c:v>0.81331038273113287</c:v>
                </c:pt>
                <c:pt idx="26">
                  <c:v>0.82206813750949304</c:v>
                </c:pt>
                <c:pt idx="27">
                  <c:v>0.83070627951511067</c:v>
                </c:pt>
                <c:pt idx="28">
                  <c:v>0.83921089635635471</c:v>
                </c:pt>
                <c:pt idx="29">
                  <c:v>0.84735213504631257</c:v>
                </c:pt>
                <c:pt idx="30">
                  <c:v>0.85526773389467747</c:v>
                </c:pt>
                <c:pt idx="31">
                  <c:v>0.86314888408425094</c:v>
                </c:pt>
                <c:pt idx="32">
                  <c:v>0.87081687615686876</c:v>
                </c:pt>
                <c:pt idx="33">
                  <c:v>0.87846751998405215</c:v>
                </c:pt>
                <c:pt idx="34">
                  <c:v>0.88604251870208439</c:v>
                </c:pt>
                <c:pt idx="35">
                  <c:v>0.892627822548267</c:v>
                </c:pt>
                <c:pt idx="36">
                  <c:v>0.89882412015331692</c:v>
                </c:pt>
                <c:pt idx="37">
                  <c:v>0.90480608807158969</c:v>
                </c:pt>
                <c:pt idx="38">
                  <c:v>0.91070598977688166</c:v>
                </c:pt>
                <c:pt idx="39">
                  <c:v>0.9163186766343826</c:v>
                </c:pt>
                <c:pt idx="40">
                  <c:v>0.92132557177338625</c:v>
                </c:pt>
                <c:pt idx="41">
                  <c:v>0.92618417320920821</c:v>
                </c:pt>
                <c:pt idx="42">
                  <c:v>0.93066901007667202</c:v>
                </c:pt>
                <c:pt idx="43">
                  <c:v>0.93503194735722239</c:v>
                </c:pt>
                <c:pt idx="44">
                  <c:v>0.93928466695379143</c:v>
                </c:pt>
                <c:pt idx="45">
                  <c:v>0.94278994753439982</c:v>
                </c:pt>
                <c:pt idx="46">
                  <c:v>0.94595033598369471</c:v>
                </c:pt>
                <c:pt idx="47">
                  <c:v>0.94850743356545741</c:v>
                </c:pt>
                <c:pt idx="48">
                  <c:v>0.95102599325914783</c:v>
                </c:pt>
                <c:pt idx="49">
                  <c:v>0.95340608241200642</c:v>
                </c:pt>
                <c:pt idx="50">
                  <c:v>0.95577017513076301</c:v>
                </c:pt>
                <c:pt idx="51">
                  <c:v>0.95811482429651973</c:v>
                </c:pt>
                <c:pt idx="52">
                  <c:v>0.96019094740615807</c:v>
                </c:pt>
                <c:pt idx="53">
                  <c:v>0.96215592909407111</c:v>
                </c:pt>
                <c:pt idx="54">
                  <c:v>0.96396668037403366</c:v>
                </c:pt>
                <c:pt idx="55">
                  <c:v>0.96569661586649802</c:v>
                </c:pt>
                <c:pt idx="56">
                  <c:v>0.9673579919942128</c:v>
                </c:pt>
                <c:pt idx="57">
                  <c:v>0.96898281289047627</c:v>
                </c:pt>
                <c:pt idx="58">
                  <c:v>0.9705824112402931</c:v>
                </c:pt>
                <c:pt idx="59">
                  <c:v>0.97217361709475369</c:v>
                </c:pt>
                <c:pt idx="60">
                  <c:v>0.973693030502361</c:v>
                </c:pt>
                <c:pt idx="61">
                  <c:v>0.97514011073858187</c:v>
                </c:pt>
                <c:pt idx="62">
                  <c:v>0.97651124170810188</c:v>
                </c:pt>
                <c:pt idx="63">
                  <c:v>0.97762650858765177</c:v>
                </c:pt>
                <c:pt idx="64">
                  <c:v>0.97873190724447401</c:v>
                </c:pt>
                <c:pt idx="65">
                  <c:v>0.9796408201241088</c:v>
                </c:pt>
                <c:pt idx="66">
                  <c:v>0.9805423205716034</c:v>
                </c:pt>
                <c:pt idx="67">
                  <c:v>0.98139880570172378</c:v>
                </c:pt>
                <c:pt idx="68">
                  <c:v>0.98225072846859685</c:v>
                </c:pt>
                <c:pt idx="69">
                  <c:v>0.98303027300370582</c:v>
                </c:pt>
                <c:pt idx="70">
                  <c:v>0.98379012615373718</c:v>
                </c:pt>
                <c:pt idx="71">
                  <c:v>0.98453349847060567</c:v>
                </c:pt>
                <c:pt idx="72">
                  <c:v>0.9852375443427912</c:v>
                </c:pt>
                <c:pt idx="73">
                  <c:v>0.98590008960706721</c:v>
                </c:pt>
                <c:pt idx="74">
                  <c:v>0.98655028832783909</c:v>
                </c:pt>
                <c:pt idx="75">
                  <c:v>0.9870591889690753</c:v>
                </c:pt>
                <c:pt idx="76">
                  <c:v>0.98745920120747388</c:v>
                </c:pt>
                <c:pt idx="77">
                  <c:v>0.9878568139807572</c:v>
                </c:pt>
                <c:pt idx="78">
                  <c:v>0.98825354807667432</c:v>
                </c:pt>
                <c:pt idx="79">
                  <c:v>0.98864669987256015</c:v>
                </c:pt>
                <c:pt idx="80">
                  <c:v>0.98903172953535623</c:v>
                </c:pt>
                <c:pt idx="81">
                  <c:v>0.98941009026224502</c:v>
                </c:pt>
                <c:pt idx="82">
                  <c:v>0.98974430308403127</c:v>
                </c:pt>
                <c:pt idx="83">
                  <c:v>0.99007716409448498</c:v>
                </c:pt>
                <c:pt idx="84">
                  <c:v>0.99039320631894279</c:v>
                </c:pt>
                <c:pt idx="85">
                  <c:v>0.99070772775565152</c:v>
                </c:pt>
                <c:pt idx="86">
                  <c:v>0.99102086358574437</c:v>
                </c:pt>
                <c:pt idx="87">
                  <c:v>0.99133019181391713</c:v>
                </c:pt>
                <c:pt idx="88">
                  <c:v>0.99163294122693812</c:v>
                </c:pt>
                <c:pt idx="89">
                  <c:v>0.9919303960455732</c:v>
                </c:pt>
                <c:pt idx="90">
                  <c:v>0.9922261723651371</c:v>
                </c:pt>
                <c:pt idx="91">
                  <c:v>0.99251700330824266</c:v>
                </c:pt>
                <c:pt idx="92">
                  <c:v>0.99280393652867271</c:v>
                </c:pt>
                <c:pt idx="93">
                  <c:v>0.99308703961699385</c:v>
                </c:pt>
                <c:pt idx="94">
                  <c:v>0.99336855432699922</c:v>
                </c:pt>
                <c:pt idx="95">
                  <c:v>0.99364092178032093</c:v>
                </c:pt>
                <c:pt idx="96">
                  <c:v>0.9938933612815819</c:v>
                </c:pt>
                <c:pt idx="97">
                  <c:v>0.99414355902904972</c:v>
                </c:pt>
                <c:pt idx="98">
                  <c:v>0.99439114327460787</c:v>
                </c:pt>
                <c:pt idx="99">
                  <c:v>0.99463809667487746</c:v>
                </c:pt>
                <c:pt idx="100">
                  <c:v>0.99487613938544661</c:v>
                </c:pt>
                <c:pt idx="101">
                  <c:v>0.99510035982514033</c:v>
                </c:pt>
                <c:pt idx="102">
                  <c:v>0.99532162881009134</c:v>
                </c:pt>
                <c:pt idx="103">
                  <c:v>0.99553345764590329</c:v>
                </c:pt>
                <c:pt idx="104">
                  <c:v>0.99574142255432307</c:v>
                </c:pt>
                <c:pt idx="105">
                  <c:v>0.99594027400134244</c:v>
                </c:pt>
                <c:pt idx="106">
                  <c:v>0.99611753026232419</c:v>
                </c:pt>
                <c:pt idx="107">
                  <c:v>0.99628905259023703</c:v>
                </c:pt>
                <c:pt idx="108">
                  <c:v>0.99645594496433587</c:v>
                </c:pt>
                <c:pt idx="109">
                  <c:v>0.9966185002770761</c:v>
                </c:pt>
                <c:pt idx="110">
                  <c:v>0.99677084941425553</c:v>
                </c:pt>
                <c:pt idx="111">
                  <c:v>0.99691988661367015</c:v>
                </c:pt>
                <c:pt idx="112">
                  <c:v>0.9970580867922354</c:v>
                </c:pt>
                <c:pt idx="113">
                  <c:v>0.99719589269249531</c:v>
                </c:pt>
                <c:pt idx="114">
                  <c:v>0.9973335296163387</c:v>
                </c:pt>
                <c:pt idx="115">
                  <c:v>0.99746855303827242</c:v>
                </c:pt>
                <c:pt idx="116">
                  <c:v>0.99760078271678554</c:v>
                </c:pt>
                <c:pt idx="117">
                  <c:v>0.99772564502353622</c:v>
                </c:pt>
                <c:pt idx="118">
                  <c:v>0.99783458975184602</c:v>
                </c:pt>
                <c:pt idx="119">
                  <c:v>0.99794213760844552</c:v>
                </c:pt>
                <c:pt idx="120">
                  <c:v>0.99804476261877562</c:v>
                </c:pt>
                <c:pt idx="121">
                  <c:v>0.99814200291396438</c:v>
                </c:pt>
                <c:pt idx="122">
                  <c:v>0.99823834200159811</c:v>
                </c:pt>
                <c:pt idx="123">
                  <c:v>0.99833428681092651</c:v>
                </c:pt>
                <c:pt idx="124">
                  <c:v>0.998429127641</c:v>
                </c:pt>
                <c:pt idx="125">
                  <c:v>0.99851957508424261</c:v>
                </c:pt>
                <c:pt idx="126">
                  <c:v>0.99860655287839828</c:v>
                </c:pt>
                <c:pt idx="127">
                  <c:v>0.99868794318571275</c:v>
                </c:pt>
                <c:pt idx="128">
                  <c:v>0.99876891668453305</c:v>
                </c:pt>
                <c:pt idx="129">
                  <c:v>0.9988407541917641</c:v>
                </c:pt>
                <c:pt idx="130">
                  <c:v>0.99891184820276224</c:v>
                </c:pt>
                <c:pt idx="131">
                  <c:v>0.99897580014388676</c:v>
                </c:pt>
                <c:pt idx="132">
                  <c:v>0.99903930148123377</c:v>
                </c:pt>
                <c:pt idx="133">
                  <c:v>0.99910157492328699</c:v>
                </c:pt>
                <c:pt idx="134">
                  <c:v>0.99916311613420172</c:v>
                </c:pt>
                <c:pt idx="135">
                  <c:v>0.99922428559700005</c:v>
                </c:pt>
                <c:pt idx="136">
                  <c:v>0.99927938317389631</c:v>
                </c:pt>
                <c:pt idx="137">
                  <c:v>0.99932946778376763</c:v>
                </c:pt>
                <c:pt idx="138">
                  <c:v>0.99937688256625712</c:v>
                </c:pt>
                <c:pt idx="139">
                  <c:v>0.99945734913582762</c:v>
                </c:pt>
                <c:pt idx="140">
                  <c:v>0.99949102050310279</c:v>
                </c:pt>
                <c:pt idx="141">
                  <c:v>0.99952421873641151</c:v>
                </c:pt>
                <c:pt idx="142">
                  <c:v>0.99955631299046532</c:v>
                </c:pt>
                <c:pt idx="143">
                  <c:v>0.99958800170111939</c:v>
                </c:pt>
                <c:pt idx="144">
                  <c:v>0.99964597187709736</c:v>
                </c:pt>
                <c:pt idx="145">
                  <c:v>0.99967172388298264</c:v>
                </c:pt>
                <c:pt idx="146">
                  <c:v>0.99969673239263501</c:v>
                </c:pt>
                <c:pt idx="147">
                  <c:v>0.99972109879190441</c:v>
                </c:pt>
                <c:pt idx="148">
                  <c:v>0.99974529621475716</c:v>
                </c:pt>
                <c:pt idx="149">
                  <c:v>0.99976547199889565</c:v>
                </c:pt>
                <c:pt idx="150">
                  <c:v>0.99980263554544657</c:v>
                </c:pt>
                <c:pt idx="151">
                  <c:v>0.99981936421068696</c:v>
                </c:pt>
                <c:pt idx="152">
                  <c:v>0.99983581124856646</c:v>
                </c:pt>
                <c:pt idx="153">
                  <c:v>0.99985024183454152</c:v>
                </c:pt>
                <c:pt idx="154">
                  <c:v>0.99986416549126689</c:v>
                </c:pt>
                <c:pt idx="155">
                  <c:v>0.99990005608214638</c:v>
                </c:pt>
                <c:pt idx="156">
                  <c:v>0.99991039743884047</c:v>
                </c:pt>
                <c:pt idx="157">
                  <c:v>0.99992000656439606</c:v>
                </c:pt>
                <c:pt idx="158">
                  <c:v>0.99992959315976282</c:v>
                </c:pt>
                <c:pt idx="159">
                  <c:v>0.9999565955911307</c:v>
                </c:pt>
                <c:pt idx="160">
                  <c:v>0.99996253229589949</c:v>
                </c:pt>
                <c:pt idx="161">
                  <c:v>0.99996844647047944</c:v>
                </c:pt>
                <c:pt idx="162">
                  <c:v>0.99997178093843309</c:v>
                </c:pt>
                <c:pt idx="163">
                  <c:v>0.99998030861492271</c:v>
                </c:pt>
                <c:pt idx="164">
                  <c:v>0.99999315082258211</c:v>
                </c:pt>
                <c:pt idx="165">
                  <c:v>0.9999976343301684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70</c:f>
              <c:strCache>
                <c:ptCount val="169"/>
                <c:pt idx="0">
                  <c:v>Private Lab</c:v>
                </c:pt>
                <c:pt idx="1">
                  <c:v>Private Lab</c:v>
                </c:pt>
                <c:pt idx="2">
                  <c:v>Private Lab</c:v>
                </c:pt>
                <c:pt idx="3">
                  <c:v>Private Lab</c:v>
                </c:pt>
                <c:pt idx="4">
                  <c:v>Galbani</c:v>
                </c:pt>
                <c:pt idx="5">
                  <c:v>Private Lab</c:v>
                </c:pt>
                <c:pt idx="6">
                  <c:v>Galbani</c:v>
                </c:pt>
                <c:pt idx="7">
                  <c:v>Private Lab</c:v>
                </c:pt>
                <c:pt idx="8">
                  <c:v>Galbani</c:v>
                </c:pt>
                <c:pt idx="9">
                  <c:v>Salakis</c:v>
                </c:pt>
                <c:pt idx="10">
                  <c:v>Private Lab</c:v>
                </c:pt>
                <c:pt idx="11">
                  <c:v>Private Lab</c:v>
                </c:pt>
                <c:pt idx="12">
                  <c:v>Private Lab</c:v>
                </c:pt>
                <c:pt idx="13">
                  <c:v>Galbani</c:v>
                </c:pt>
                <c:pt idx="14">
                  <c:v>Islos</c:v>
                </c:pt>
                <c:pt idx="15">
                  <c:v>Salakis</c:v>
                </c:pt>
                <c:pt idx="16">
                  <c:v>Galbani</c:v>
                </c:pt>
                <c:pt idx="17">
                  <c:v>All Others</c:v>
                </c:pt>
                <c:pt idx="18">
                  <c:v>Private Lab</c:v>
                </c:pt>
                <c:pt idx="19">
                  <c:v>Private Lab</c:v>
                </c:pt>
                <c:pt idx="20">
                  <c:v>Galbani</c:v>
                </c:pt>
                <c:pt idx="21">
                  <c:v>Salakis</c:v>
                </c:pt>
                <c:pt idx="22">
                  <c:v>Casa Azzurr</c:v>
                </c:pt>
                <c:pt idx="23">
                  <c:v>Private Lab</c:v>
                </c:pt>
                <c:pt idx="24">
                  <c:v>Casa Azzurr</c:v>
                </c:pt>
                <c:pt idx="25">
                  <c:v>Casa Azzurr</c:v>
                </c:pt>
                <c:pt idx="26">
                  <c:v>Casa Azzurr</c:v>
                </c:pt>
                <c:pt idx="27">
                  <c:v>Galbani</c:v>
                </c:pt>
                <c:pt idx="28">
                  <c:v>Casa Azzurr</c:v>
                </c:pt>
                <c:pt idx="29">
                  <c:v>Salakis</c:v>
                </c:pt>
                <c:pt idx="30">
                  <c:v>Boursin</c:v>
                </c:pt>
                <c:pt idx="31">
                  <c:v>Salakis</c:v>
                </c:pt>
                <c:pt idx="32">
                  <c:v>Casa Azzurr</c:v>
                </c:pt>
                <c:pt idx="33">
                  <c:v>Private Lab</c:v>
                </c:pt>
                <c:pt idx="34">
                  <c:v>Private Lab</c:v>
                </c:pt>
                <c:pt idx="35">
                  <c:v>Private Lab</c:v>
                </c:pt>
                <c:pt idx="36">
                  <c:v>Private Lab</c:v>
                </c:pt>
                <c:pt idx="37">
                  <c:v>Galbani</c:v>
                </c:pt>
                <c:pt idx="38">
                  <c:v>Galbani</c:v>
                </c:pt>
                <c:pt idx="39">
                  <c:v>Private Lab</c:v>
                </c:pt>
                <c:pt idx="40">
                  <c:v>Les Mousque</c:v>
                </c:pt>
                <c:pt idx="41">
                  <c:v>Private Lab</c:v>
                </c:pt>
                <c:pt idx="42">
                  <c:v>All Others</c:v>
                </c:pt>
                <c:pt idx="43">
                  <c:v>Galbani</c:v>
                </c:pt>
                <c:pt idx="44">
                  <c:v>Salakis</c:v>
                </c:pt>
                <c:pt idx="45">
                  <c:v>Casa Azzurr</c:v>
                </c:pt>
                <c:pt idx="46">
                  <c:v>Private Lab</c:v>
                </c:pt>
                <c:pt idx="47">
                  <c:v>Casa Azzurr</c:v>
                </c:pt>
                <c:pt idx="48">
                  <c:v>Lactalis: A</c:v>
                </c:pt>
                <c:pt idx="49">
                  <c:v>Casa Azzurr</c:v>
                </c:pt>
                <c:pt idx="50">
                  <c:v>Islos</c:v>
                </c:pt>
                <c:pt idx="51">
                  <c:v>Private Lab</c:v>
                </c:pt>
                <c:pt idx="52">
                  <c:v>All Others</c:v>
                </c:pt>
                <c:pt idx="53">
                  <c:v>Boursin</c:v>
                </c:pt>
                <c:pt idx="54">
                  <c:v>Galbani</c:v>
                </c:pt>
                <c:pt idx="55">
                  <c:v>Salakis</c:v>
                </c:pt>
                <c:pt idx="56">
                  <c:v>Galbani</c:v>
                </c:pt>
                <c:pt idx="57">
                  <c:v>All Others</c:v>
                </c:pt>
                <c:pt idx="58">
                  <c:v>Boursin</c:v>
                </c:pt>
                <c:pt idx="59">
                  <c:v>All Others</c:v>
                </c:pt>
                <c:pt idx="60">
                  <c:v>All Others</c:v>
                </c:pt>
                <c:pt idx="61">
                  <c:v>Galbani</c:v>
                </c:pt>
                <c:pt idx="62">
                  <c:v>All Others</c:v>
                </c:pt>
                <c:pt idx="63">
                  <c:v>Islos</c:v>
                </c:pt>
                <c:pt idx="64">
                  <c:v>Galbani</c:v>
                </c:pt>
                <c:pt idx="65">
                  <c:v>All Others</c:v>
                </c:pt>
                <c:pt idx="66">
                  <c:v>Boursin</c:v>
                </c:pt>
                <c:pt idx="67">
                  <c:v>All Others</c:v>
                </c:pt>
                <c:pt idx="68">
                  <c:v>All Others</c:v>
                </c:pt>
                <c:pt idx="69">
                  <c:v>All Others</c:v>
                </c:pt>
                <c:pt idx="70">
                  <c:v>All Others</c:v>
                </c:pt>
                <c:pt idx="71">
                  <c:v>All Others</c:v>
                </c:pt>
                <c:pt idx="72">
                  <c:v>All Others</c:v>
                </c:pt>
                <c:pt idx="73">
                  <c:v>Boursin</c:v>
                </c:pt>
                <c:pt idx="74">
                  <c:v>All Others</c:v>
                </c:pt>
                <c:pt idx="75">
                  <c:v>All Others</c:v>
                </c:pt>
                <c:pt idx="76">
                  <c:v>All Others</c:v>
                </c:pt>
                <c:pt idx="77">
                  <c:v>All Others</c:v>
                </c:pt>
                <c:pt idx="78">
                  <c:v>Les Mousque</c:v>
                </c:pt>
                <c:pt idx="79">
                  <c:v>All Others</c:v>
                </c:pt>
                <c:pt idx="80">
                  <c:v>All Others</c:v>
                </c:pt>
                <c:pt idx="81">
                  <c:v>All Others</c:v>
                </c:pt>
                <c:pt idx="82">
                  <c:v>Private Lab</c:v>
                </c:pt>
                <c:pt idx="83">
                  <c:v>All Others</c:v>
                </c:pt>
                <c:pt idx="84">
                  <c:v>Boursin</c:v>
                </c:pt>
                <c:pt idx="85">
                  <c:v>All Others</c:v>
                </c:pt>
                <c:pt idx="86">
                  <c:v>All Others</c:v>
                </c:pt>
                <c:pt idx="87">
                  <c:v>Salakis</c:v>
                </c:pt>
                <c:pt idx="88">
                  <c:v>All Others</c:v>
                </c:pt>
                <c:pt idx="89">
                  <c:v>Entremont</c:v>
                </c:pt>
                <c:pt idx="90">
                  <c:v>Salakis</c:v>
                </c:pt>
                <c:pt idx="91">
                  <c:v>All Others</c:v>
                </c:pt>
                <c:pt idx="92">
                  <c:v>All Others</c:v>
                </c:pt>
                <c:pt idx="93">
                  <c:v>Entremont</c:v>
                </c:pt>
                <c:pt idx="94">
                  <c:v>All Others</c:v>
                </c:pt>
                <c:pt idx="95">
                  <c:v>All Others</c:v>
                </c:pt>
                <c:pt idx="96">
                  <c:v>All Others</c:v>
                </c:pt>
                <c:pt idx="97">
                  <c:v>All Others</c:v>
                </c:pt>
                <c:pt idx="98">
                  <c:v>All Others</c:v>
                </c:pt>
                <c:pt idx="99">
                  <c:v>All Others</c:v>
                </c:pt>
                <c:pt idx="100">
                  <c:v>Casa Azzurr</c:v>
                </c:pt>
                <c:pt idx="101">
                  <c:v>All Others</c:v>
                </c:pt>
                <c:pt idx="102">
                  <c:v>All Others</c:v>
                </c:pt>
                <c:pt idx="103">
                  <c:v>All Others</c:v>
                </c:pt>
                <c:pt idx="104">
                  <c:v>All Others</c:v>
                </c:pt>
                <c:pt idx="105">
                  <c:v>All Others</c:v>
                </c:pt>
                <c:pt idx="106">
                  <c:v>All Others</c:v>
                </c:pt>
                <c:pt idx="107">
                  <c:v>All Others</c:v>
                </c:pt>
                <c:pt idx="108">
                  <c:v>All Others</c:v>
                </c:pt>
                <c:pt idx="109">
                  <c:v>Entremont</c:v>
                </c:pt>
                <c:pt idx="110">
                  <c:v>All Others</c:v>
                </c:pt>
                <c:pt idx="111">
                  <c:v>All Others</c:v>
                </c:pt>
                <c:pt idx="112">
                  <c:v>All Others</c:v>
                </c:pt>
                <c:pt idx="113">
                  <c:v>All Others</c:v>
                </c:pt>
                <c:pt idx="114">
                  <c:v>All Others</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All Others</c:v>
                </c:pt>
                <c:pt idx="126">
                  <c:v>Savencia: A</c:v>
                </c:pt>
                <c:pt idx="127">
                  <c:v>All Others</c:v>
                </c:pt>
                <c:pt idx="128">
                  <c:v>All Others</c:v>
                </c:pt>
                <c:pt idx="129">
                  <c:v>All Others</c:v>
                </c:pt>
                <c:pt idx="130">
                  <c:v>All Others</c:v>
                </c:pt>
                <c:pt idx="131">
                  <c:v>All Others</c:v>
                </c:pt>
                <c:pt idx="132">
                  <c:v>All Others</c:v>
                </c:pt>
                <c:pt idx="133">
                  <c:v>All Others</c:v>
                </c:pt>
                <c:pt idx="134">
                  <c:v>Savencia: A</c:v>
                </c:pt>
                <c:pt idx="135">
                  <c:v>All Others</c:v>
                </c:pt>
                <c:pt idx="136">
                  <c:v>All Others</c:v>
                </c:pt>
                <c:pt idx="137">
                  <c:v>All Others</c:v>
                </c:pt>
                <c:pt idx="138">
                  <c:v>All Others</c:v>
                </c:pt>
                <c:pt idx="139">
                  <c:v>All Others</c:v>
                </c:pt>
                <c:pt idx="140">
                  <c:v>All Others</c:v>
                </c:pt>
                <c:pt idx="141">
                  <c:v>All Others</c:v>
                </c:pt>
                <c:pt idx="142">
                  <c:v>All Others</c:v>
                </c:pt>
                <c:pt idx="143">
                  <c:v>All Others</c:v>
                </c:pt>
                <c:pt idx="144">
                  <c:v>All Others</c:v>
                </c:pt>
                <c:pt idx="145">
                  <c:v>All Others</c:v>
                </c:pt>
                <c:pt idx="146">
                  <c:v>All Others</c:v>
                </c:pt>
                <c:pt idx="147">
                  <c:v>Other Suppl</c:v>
                </c:pt>
                <c:pt idx="148">
                  <c:v>All Others</c:v>
                </c:pt>
                <c:pt idx="149">
                  <c:v>All Others</c:v>
                </c:pt>
                <c:pt idx="150">
                  <c:v>All Others</c:v>
                </c:pt>
                <c:pt idx="151">
                  <c:v>All Others</c:v>
                </c:pt>
                <c:pt idx="152">
                  <c:v>All Others</c:v>
                </c:pt>
                <c:pt idx="153">
                  <c:v>All Others</c:v>
                </c:pt>
                <c:pt idx="154">
                  <c:v>All Others</c:v>
                </c:pt>
                <c:pt idx="155">
                  <c:v>All Others</c:v>
                </c:pt>
                <c:pt idx="156">
                  <c:v>All Others</c:v>
                </c:pt>
                <c:pt idx="157">
                  <c:v>All Others</c:v>
                </c:pt>
                <c:pt idx="158">
                  <c:v>All Others</c:v>
                </c:pt>
                <c:pt idx="159">
                  <c:v>All Others</c:v>
                </c:pt>
                <c:pt idx="160">
                  <c:v>All Others</c:v>
                </c:pt>
                <c:pt idx="161">
                  <c:v>All Others</c:v>
                </c:pt>
                <c:pt idx="162">
                  <c:v>All Others</c:v>
                </c:pt>
                <c:pt idx="163">
                  <c:v>All Others</c:v>
                </c:pt>
                <c:pt idx="164">
                  <c:v>All Others</c:v>
                </c:pt>
                <c:pt idx="165">
                  <c:v>All Others</c:v>
                </c:pt>
                <c:pt idx="166">
                  <c:v>All Others</c:v>
                </c:pt>
                <c:pt idx="167">
                  <c:v>All Others</c:v>
                </c:pt>
                <c:pt idx="168">
                  <c:v>All Others</c:v>
                </c:pt>
              </c:strCache>
            </c:strRef>
          </c:cat>
          <c:val>
            <c:numRef>
              <c:f>Sheet1!$B$2:$B$170</c:f>
              <c:numCache>
                <c:formatCode>General</c:formatCode>
                <c:ptCount val="169"/>
                <c:pt idx="0">
                  <c:v>1</c:v>
                </c:pt>
                <c:pt idx="1">
                  <c:v>0.99</c:v>
                </c:pt>
                <c:pt idx="2">
                  <c:v>0.99</c:v>
                </c:pt>
                <c:pt idx="3">
                  <c:v>0.99</c:v>
                </c:pt>
                <c:pt idx="4">
                  <c:v>1</c:v>
                </c:pt>
                <c:pt idx="5">
                  <c:v>1</c:v>
                </c:pt>
                <c:pt idx="6">
                  <c:v>0.99</c:v>
                </c:pt>
                <c:pt idx="7">
                  <c:v>0.99</c:v>
                </c:pt>
                <c:pt idx="8">
                  <c:v>0.98</c:v>
                </c:pt>
                <c:pt idx="9">
                  <c:v>0.99</c:v>
                </c:pt>
                <c:pt idx="10">
                  <c:v>0.99</c:v>
                </c:pt>
                <c:pt idx="11">
                  <c:v>0.99</c:v>
                </c:pt>
                <c:pt idx="12">
                  <c:v>1</c:v>
                </c:pt>
                <c:pt idx="13">
                  <c:v>0.99</c:v>
                </c:pt>
                <c:pt idx="14">
                  <c:v>0.98</c:v>
                </c:pt>
                <c:pt idx="15">
                  <c:v>1</c:v>
                </c:pt>
                <c:pt idx="16">
                  <c:v>0.99</c:v>
                </c:pt>
                <c:pt idx="17">
                  <c:v>0.66</c:v>
                </c:pt>
                <c:pt idx="18">
                  <c:v>1</c:v>
                </c:pt>
                <c:pt idx="19">
                  <c:v>0.98</c:v>
                </c:pt>
                <c:pt idx="20">
                  <c:v>0.99</c:v>
                </c:pt>
                <c:pt idx="21">
                  <c:v>0.99</c:v>
                </c:pt>
                <c:pt idx="22">
                  <c:v>0.98</c:v>
                </c:pt>
                <c:pt idx="23">
                  <c:v>0.85</c:v>
                </c:pt>
                <c:pt idx="24">
                  <c:v>0.97</c:v>
                </c:pt>
                <c:pt idx="25">
                  <c:v>0.96</c:v>
                </c:pt>
                <c:pt idx="26">
                  <c:v>0.98</c:v>
                </c:pt>
                <c:pt idx="27">
                  <c:v>0.98</c:v>
                </c:pt>
                <c:pt idx="28">
                  <c:v>0.96</c:v>
                </c:pt>
                <c:pt idx="29">
                  <c:v>0.99</c:v>
                </c:pt>
                <c:pt idx="30">
                  <c:v>1</c:v>
                </c:pt>
                <c:pt idx="31">
                  <c:v>0.88</c:v>
                </c:pt>
                <c:pt idx="32">
                  <c:v>0.96</c:v>
                </c:pt>
                <c:pt idx="33">
                  <c:v>0.99</c:v>
                </c:pt>
                <c:pt idx="34">
                  <c:v>0.96</c:v>
                </c:pt>
                <c:pt idx="35">
                  <c:v>0.78</c:v>
                </c:pt>
                <c:pt idx="36">
                  <c:v>0.98</c:v>
                </c:pt>
                <c:pt idx="37">
                  <c:v>0.97</c:v>
                </c:pt>
                <c:pt idx="38">
                  <c:v>0.8</c:v>
                </c:pt>
                <c:pt idx="39">
                  <c:v>0.99</c:v>
                </c:pt>
                <c:pt idx="40">
                  <c:v>0.98</c:v>
                </c:pt>
                <c:pt idx="41">
                  <c:v>0.92</c:v>
                </c:pt>
                <c:pt idx="42">
                  <c:v>0.56999999999999995</c:v>
                </c:pt>
                <c:pt idx="43">
                  <c:v>0.76</c:v>
                </c:pt>
                <c:pt idx="44">
                  <c:v>0.98</c:v>
                </c:pt>
                <c:pt idx="45">
                  <c:v>0.53</c:v>
                </c:pt>
                <c:pt idx="46">
                  <c:v>0.96</c:v>
                </c:pt>
                <c:pt idx="47">
                  <c:v>0.68</c:v>
                </c:pt>
                <c:pt idx="48">
                  <c:v>0.68</c:v>
                </c:pt>
                <c:pt idx="49">
                  <c:v>0.94</c:v>
                </c:pt>
                <c:pt idx="50">
                  <c:v>0.84</c:v>
                </c:pt>
                <c:pt idx="51">
                  <c:v>0.64</c:v>
                </c:pt>
                <c:pt idx="52">
                  <c:v>0.28999999999999998</c:v>
                </c:pt>
                <c:pt idx="53">
                  <c:v>0.95</c:v>
                </c:pt>
                <c:pt idx="54">
                  <c:v>0.76</c:v>
                </c:pt>
                <c:pt idx="55">
                  <c:v>0.73</c:v>
                </c:pt>
                <c:pt idx="56">
                  <c:v>0.56000000000000005</c:v>
                </c:pt>
                <c:pt idx="57">
                  <c:v>0.98</c:v>
                </c:pt>
                <c:pt idx="58">
                  <c:v>0.97</c:v>
                </c:pt>
                <c:pt idx="59">
                  <c:v>0.12</c:v>
                </c:pt>
                <c:pt idx="60">
                  <c:v>0.36</c:v>
                </c:pt>
                <c:pt idx="61">
                  <c:v>0.71</c:v>
                </c:pt>
                <c:pt idx="62">
                  <c:v>0.23</c:v>
                </c:pt>
                <c:pt idx="63">
                  <c:v>0.77</c:v>
                </c:pt>
                <c:pt idx="64">
                  <c:v>0.86</c:v>
                </c:pt>
                <c:pt idx="65">
                  <c:v>0.45</c:v>
                </c:pt>
                <c:pt idx="66">
                  <c:v>0.93</c:v>
                </c:pt>
                <c:pt idx="67">
                  <c:v>0.25</c:v>
                </c:pt>
                <c:pt idx="68">
                  <c:v>0.21</c:v>
                </c:pt>
                <c:pt idx="69">
                  <c:v>0.19</c:v>
                </c:pt>
                <c:pt idx="70">
                  <c:v>0.11</c:v>
                </c:pt>
                <c:pt idx="71">
                  <c:v>0.25</c:v>
                </c:pt>
                <c:pt idx="72">
                  <c:v>0.11</c:v>
                </c:pt>
                <c:pt idx="73">
                  <c:v>0.99</c:v>
                </c:pt>
                <c:pt idx="74">
                  <c:v>0.12</c:v>
                </c:pt>
                <c:pt idx="75">
                  <c:v>0.12</c:v>
                </c:pt>
                <c:pt idx="76">
                  <c:v>0.22</c:v>
                </c:pt>
                <c:pt idx="77">
                  <c:v>0.15</c:v>
                </c:pt>
                <c:pt idx="78">
                  <c:v>0.85</c:v>
                </c:pt>
                <c:pt idx="79">
                  <c:v>0.05</c:v>
                </c:pt>
                <c:pt idx="80">
                  <c:v>0.18</c:v>
                </c:pt>
                <c:pt idx="81">
                  <c:v>0.39</c:v>
                </c:pt>
                <c:pt idx="82">
                  <c:v>0.5</c:v>
                </c:pt>
                <c:pt idx="83">
                  <c:v>0.31</c:v>
                </c:pt>
                <c:pt idx="84">
                  <c:v>0.73</c:v>
                </c:pt>
                <c:pt idx="85">
                  <c:v>0.37</c:v>
                </c:pt>
                <c:pt idx="86">
                  <c:v>0.06</c:v>
                </c:pt>
                <c:pt idx="87">
                  <c:v>0.45</c:v>
                </c:pt>
                <c:pt idx="88">
                  <c:v>0.18</c:v>
                </c:pt>
                <c:pt idx="89">
                  <c:v>0.65</c:v>
                </c:pt>
                <c:pt idx="90">
                  <c:v>0.4</c:v>
                </c:pt>
                <c:pt idx="91">
                  <c:v>0.16</c:v>
                </c:pt>
                <c:pt idx="92">
                  <c:v>0.14000000000000001</c:v>
                </c:pt>
                <c:pt idx="93">
                  <c:v>0.67</c:v>
                </c:pt>
                <c:pt idx="94">
                  <c:v>0.03</c:v>
                </c:pt>
                <c:pt idx="95">
                  <c:v>0.24</c:v>
                </c:pt>
                <c:pt idx="96">
                  <c:v>0.14000000000000001</c:v>
                </c:pt>
                <c:pt idx="97">
                  <c:v>0.06</c:v>
                </c:pt>
                <c:pt idx="98">
                  <c:v>0.04</c:v>
                </c:pt>
                <c:pt idx="99">
                  <c:v>0.03</c:v>
                </c:pt>
                <c:pt idx="100">
                  <c:v>0.21</c:v>
                </c:pt>
                <c:pt idx="101">
                  <c:v>0.04</c:v>
                </c:pt>
                <c:pt idx="102">
                  <c:v>0.15</c:v>
                </c:pt>
                <c:pt idx="103">
                  <c:v>0.04</c:v>
                </c:pt>
                <c:pt idx="104">
                  <c:v>0.12</c:v>
                </c:pt>
                <c:pt idx="105">
                  <c:v>0.2</c:v>
                </c:pt>
                <c:pt idx="106">
                  <c:v>0.5</c:v>
                </c:pt>
                <c:pt idx="107">
                  <c:v>0.03</c:v>
                </c:pt>
                <c:pt idx="108">
                  <c:v>0.04</c:v>
                </c:pt>
                <c:pt idx="109">
                  <c:v>0.51</c:v>
                </c:pt>
                <c:pt idx="110">
                  <c:v>0.15</c:v>
                </c:pt>
                <c:pt idx="111">
                  <c:v>0.05</c:v>
                </c:pt>
                <c:pt idx="112">
                  <c:v>0.03</c:v>
                </c:pt>
                <c:pt idx="113">
                  <c:v>0.16</c:v>
                </c:pt>
                <c:pt idx="114">
                  <c:v>0.05</c:v>
                </c:pt>
                <c:pt idx="115">
                  <c:v>0.02</c:v>
                </c:pt>
                <c:pt idx="116">
                  <c:v>0.44</c:v>
                </c:pt>
                <c:pt idx="117">
                  <c:v>0.05</c:v>
                </c:pt>
                <c:pt idx="118">
                  <c:v>0.17</c:v>
                </c:pt>
                <c:pt idx="119">
                  <c:v>0.03</c:v>
                </c:pt>
                <c:pt idx="120">
                  <c:v>0.15</c:v>
                </c:pt>
                <c:pt idx="121">
                  <c:v>0.02</c:v>
                </c:pt>
                <c:pt idx="122">
                  <c:v>0.04</c:v>
                </c:pt>
                <c:pt idx="123">
                  <c:v>0.04</c:v>
                </c:pt>
                <c:pt idx="124">
                  <c:v>0.15</c:v>
                </c:pt>
                <c:pt idx="125">
                  <c:v>0.15</c:v>
                </c:pt>
                <c:pt idx="126">
                  <c:v>0.08</c:v>
                </c:pt>
                <c:pt idx="127">
                  <c:v>0.01</c:v>
                </c:pt>
                <c:pt idx="128">
                  <c:v>0.03</c:v>
                </c:pt>
                <c:pt idx="129">
                  <c:v>0.03</c:v>
                </c:pt>
                <c:pt idx="130">
                  <c:v>0.14000000000000001</c:v>
                </c:pt>
                <c:pt idx="131">
                  <c:v>0.15</c:v>
                </c:pt>
                <c:pt idx="132">
                  <c:v>0.02</c:v>
                </c:pt>
                <c:pt idx="133">
                  <c:v>0.11</c:v>
                </c:pt>
                <c:pt idx="134">
                  <c:v>0.06</c:v>
                </c:pt>
                <c:pt idx="135">
                  <c:v>0.13</c:v>
                </c:pt>
                <c:pt idx="136">
                  <c:v>0.01</c:v>
                </c:pt>
                <c:pt idx="137">
                  <c:v>0.06</c:v>
                </c:pt>
                <c:pt idx="138">
                  <c:v>0.15</c:v>
                </c:pt>
                <c:pt idx="139">
                  <c:v>0.04</c:v>
                </c:pt>
                <c:pt idx="140">
                  <c:v>0.06</c:v>
                </c:pt>
                <c:pt idx="141">
                  <c:v>0.05</c:v>
                </c:pt>
                <c:pt idx="142">
                  <c:v>0.04</c:v>
                </c:pt>
                <c:pt idx="143">
                  <c:v>0.01</c:v>
                </c:pt>
                <c:pt idx="144">
                  <c:v>0.08</c:v>
                </c:pt>
                <c:pt idx="145">
                  <c:v>0.02</c:v>
                </c:pt>
                <c:pt idx="146">
                  <c:v>0.02</c:v>
                </c:pt>
                <c:pt idx="147">
                  <c:v>0.12</c:v>
                </c:pt>
                <c:pt idx="148">
                  <c:v>0.12</c:v>
                </c:pt>
                <c:pt idx="149">
                  <c:v>0.04</c:v>
                </c:pt>
                <c:pt idx="150">
                  <c:v>0.01</c:v>
                </c:pt>
                <c:pt idx="151">
                  <c:v>0.02</c:v>
                </c:pt>
                <c:pt idx="152">
                  <c:v>0.04</c:v>
                </c:pt>
                <c:pt idx="153">
                  <c:v>0.04</c:v>
                </c:pt>
                <c:pt idx="154">
                  <c:v>0.02</c:v>
                </c:pt>
                <c:pt idx="155">
                  <c:v>0.02</c:v>
                </c:pt>
                <c:pt idx="156">
                  <c:v>0.02</c:v>
                </c:pt>
                <c:pt idx="157">
                  <c:v>0.02</c:v>
                </c:pt>
                <c:pt idx="158">
                  <c:v>0.02</c:v>
                </c:pt>
                <c:pt idx="159">
                  <c:v>0.05</c:v>
                </c:pt>
                <c:pt idx="160">
                  <c:v>0.04</c:v>
                </c:pt>
                <c:pt idx="161">
                  <c:v>0.01</c:v>
                </c:pt>
                <c:pt idx="162">
                  <c:v>0.01</c:v>
                </c:pt>
                <c:pt idx="163">
                  <c:v>0.02</c:v>
                </c:pt>
                <c:pt idx="164">
                  <c:v>0.01</c:v>
                </c:pt>
                <c:pt idx="165">
                  <c:v>0.02</c:v>
                </c:pt>
                <c:pt idx="166">
                  <c:v>0.04</c:v>
                </c:pt>
                <c:pt idx="167">
                  <c:v>0.01</c:v>
                </c:pt>
                <c:pt idx="16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70</c:f>
              <c:strCache>
                <c:ptCount val="169"/>
                <c:pt idx="0">
                  <c:v>Private Lab</c:v>
                </c:pt>
                <c:pt idx="1">
                  <c:v>Private Lab</c:v>
                </c:pt>
                <c:pt idx="2">
                  <c:v>Private Lab</c:v>
                </c:pt>
                <c:pt idx="3">
                  <c:v>Private Lab</c:v>
                </c:pt>
                <c:pt idx="4">
                  <c:v>Galbani</c:v>
                </c:pt>
                <c:pt idx="5">
                  <c:v>Private Lab</c:v>
                </c:pt>
                <c:pt idx="6">
                  <c:v>Galbani</c:v>
                </c:pt>
                <c:pt idx="7">
                  <c:v>Private Lab</c:v>
                </c:pt>
                <c:pt idx="8">
                  <c:v>Galbani</c:v>
                </c:pt>
                <c:pt idx="9">
                  <c:v>Salakis</c:v>
                </c:pt>
                <c:pt idx="10">
                  <c:v>Private Lab</c:v>
                </c:pt>
                <c:pt idx="11">
                  <c:v>Private Lab</c:v>
                </c:pt>
                <c:pt idx="12">
                  <c:v>Private Lab</c:v>
                </c:pt>
                <c:pt idx="13">
                  <c:v>Galbani</c:v>
                </c:pt>
                <c:pt idx="14">
                  <c:v>Islos</c:v>
                </c:pt>
                <c:pt idx="15">
                  <c:v>Salakis</c:v>
                </c:pt>
                <c:pt idx="16">
                  <c:v>Galbani</c:v>
                </c:pt>
                <c:pt idx="17">
                  <c:v>All Others</c:v>
                </c:pt>
                <c:pt idx="18">
                  <c:v>Private Lab</c:v>
                </c:pt>
                <c:pt idx="19">
                  <c:v>Private Lab</c:v>
                </c:pt>
                <c:pt idx="20">
                  <c:v>Galbani</c:v>
                </c:pt>
                <c:pt idx="21">
                  <c:v>Salakis</c:v>
                </c:pt>
                <c:pt idx="22">
                  <c:v>Casa Azzurr</c:v>
                </c:pt>
                <c:pt idx="23">
                  <c:v>Private Lab</c:v>
                </c:pt>
                <c:pt idx="24">
                  <c:v>Casa Azzurr</c:v>
                </c:pt>
                <c:pt idx="25">
                  <c:v>Casa Azzurr</c:v>
                </c:pt>
                <c:pt idx="26">
                  <c:v>Casa Azzurr</c:v>
                </c:pt>
                <c:pt idx="27">
                  <c:v>Galbani</c:v>
                </c:pt>
                <c:pt idx="28">
                  <c:v>Casa Azzurr</c:v>
                </c:pt>
                <c:pt idx="29">
                  <c:v>Salakis</c:v>
                </c:pt>
                <c:pt idx="30">
                  <c:v>Boursin</c:v>
                </c:pt>
                <c:pt idx="31">
                  <c:v>Salakis</c:v>
                </c:pt>
                <c:pt idx="32">
                  <c:v>Casa Azzurr</c:v>
                </c:pt>
                <c:pt idx="33">
                  <c:v>Private Lab</c:v>
                </c:pt>
                <c:pt idx="34">
                  <c:v>Private Lab</c:v>
                </c:pt>
                <c:pt idx="35">
                  <c:v>Private Lab</c:v>
                </c:pt>
                <c:pt idx="36">
                  <c:v>Private Lab</c:v>
                </c:pt>
                <c:pt idx="37">
                  <c:v>Galbani</c:v>
                </c:pt>
                <c:pt idx="38">
                  <c:v>Galbani</c:v>
                </c:pt>
                <c:pt idx="39">
                  <c:v>Private Lab</c:v>
                </c:pt>
                <c:pt idx="40">
                  <c:v>Les Mousque</c:v>
                </c:pt>
                <c:pt idx="41">
                  <c:v>Private Lab</c:v>
                </c:pt>
                <c:pt idx="42">
                  <c:v>All Others</c:v>
                </c:pt>
                <c:pt idx="43">
                  <c:v>Galbani</c:v>
                </c:pt>
                <c:pt idx="44">
                  <c:v>Salakis</c:v>
                </c:pt>
                <c:pt idx="45">
                  <c:v>Casa Azzurr</c:v>
                </c:pt>
                <c:pt idx="46">
                  <c:v>Private Lab</c:v>
                </c:pt>
                <c:pt idx="47">
                  <c:v>Casa Azzurr</c:v>
                </c:pt>
                <c:pt idx="48">
                  <c:v>Lactalis: A</c:v>
                </c:pt>
                <c:pt idx="49">
                  <c:v>Casa Azzurr</c:v>
                </c:pt>
                <c:pt idx="50">
                  <c:v>Islos</c:v>
                </c:pt>
                <c:pt idx="51">
                  <c:v>Private Lab</c:v>
                </c:pt>
                <c:pt idx="52">
                  <c:v>All Others</c:v>
                </c:pt>
                <c:pt idx="53">
                  <c:v>Boursin</c:v>
                </c:pt>
                <c:pt idx="54">
                  <c:v>Galbani</c:v>
                </c:pt>
                <c:pt idx="55">
                  <c:v>Salakis</c:v>
                </c:pt>
                <c:pt idx="56">
                  <c:v>Galbani</c:v>
                </c:pt>
                <c:pt idx="57">
                  <c:v>All Others</c:v>
                </c:pt>
                <c:pt idx="58">
                  <c:v>Boursin</c:v>
                </c:pt>
                <c:pt idx="59">
                  <c:v>All Others</c:v>
                </c:pt>
                <c:pt idx="60">
                  <c:v>All Others</c:v>
                </c:pt>
                <c:pt idx="61">
                  <c:v>Galbani</c:v>
                </c:pt>
                <c:pt idx="62">
                  <c:v>All Others</c:v>
                </c:pt>
                <c:pt idx="63">
                  <c:v>Islos</c:v>
                </c:pt>
                <c:pt idx="64">
                  <c:v>Galbani</c:v>
                </c:pt>
                <c:pt idx="65">
                  <c:v>All Others</c:v>
                </c:pt>
                <c:pt idx="66">
                  <c:v>Boursin</c:v>
                </c:pt>
                <c:pt idx="67">
                  <c:v>All Others</c:v>
                </c:pt>
                <c:pt idx="68">
                  <c:v>All Others</c:v>
                </c:pt>
                <c:pt idx="69">
                  <c:v>All Others</c:v>
                </c:pt>
                <c:pt idx="70">
                  <c:v>All Others</c:v>
                </c:pt>
                <c:pt idx="71">
                  <c:v>All Others</c:v>
                </c:pt>
                <c:pt idx="72">
                  <c:v>All Others</c:v>
                </c:pt>
                <c:pt idx="73">
                  <c:v>Boursin</c:v>
                </c:pt>
                <c:pt idx="74">
                  <c:v>All Others</c:v>
                </c:pt>
                <c:pt idx="75">
                  <c:v>All Others</c:v>
                </c:pt>
                <c:pt idx="76">
                  <c:v>All Others</c:v>
                </c:pt>
                <c:pt idx="77">
                  <c:v>All Others</c:v>
                </c:pt>
                <c:pt idx="78">
                  <c:v>Les Mousque</c:v>
                </c:pt>
                <c:pt idx="79">
                  <c:v>All Others</c:v>
                </c:pt>
                <c:pt idx="80">
                  <c:v>All Others</c:v>
                </c:pt>
                <c:pt idx="81">
                  <c:v>All Others</c:v>
                </c:pt>
                <c:pt idx="82">
                  <c:v>Private Lab</c:v>
                </c:pt>
                <c:pt idx="83">
                  <c:v>All Others</c:v>
                </c:pt>
                <c:pt idx="84">
                  <c:v>Boursin</c:v>
                </c:pt>
                <c:pt idx="85">
                  <c:v>All Others</c:v>
                </c:pt>
                <c:pt idx="86">
                  <c:v>All Others</c:v>
                </c:pt>
                <c:pt idx="87">
                  <c:v>Salakis</c:v>
                </c:pt>
                <c:pt idx="88">
                  <c:v>All Others</c:v>
                </c:pt>
                <c:pt idx="89">
                  <c:v>Entremont</c:v>
                </c:pt>
                <c:pt idx="90">
                  <c:v>Salakis</c:v>
                </c:pt>
                <c:pt idx="91">
                  <c:v>All Others</c:v>
                </c:pt>
                <c:pt idx="92">
                  <c:v>All Others</c:v>
                </c:pt>
                <c:pt idx="93">
                  <c:v>Entremont</c:v>
                </c:pt>
                <c:pt idx="94">
                  <c:v>All Others</c:v>
                </c:pt>
                <c:pt idx="95">
                  <c:v>All Others</c:v>
                </c:pt>
                <c:pt idx="96">
                  <c:v>All Others</c:v>
                </c:pt>
                <c:pt idx="97">
                  <c:v>All Others</c:v>
                </c:pt>
                <c:pt idx="98">
                  <c:v>All Others</c:v>
                </c:pt>
                <c:pt idx="99">
                  <c:v>All Others</c:v>
                </c:pt>
                <c:pt idx="100">
                  <c:v>Casa Azzurr</c:v>
                </c:pt>
                <c:pt idx="101">
                  <c:v>All Others</c:v>
                </c:pt>
                <c:pt idx="102">
                  <c:v>All Others</c:v>
                </c:pt>
                <c:pt idx="103">
                  <c:v>All Others</c:v>
                </c:pt>
                <c:pt idx="104">
                  <c:v>All Others</c:v>
                </c:pt>
                <c:pt idx="105">
                  <c:v>All Others</c:v>
                </c:pt>
                <c:pt idx="106">
                  <c:v>All Others</c:v>
                </c:pt>
                <c:pt idx="107">
                  <c:v>All Others</c:v>
                </c:pt>
                <c:pt idx="108">
                  <c:v>All Others</c:v>
                </c:pt>
                <c:pt idx="109">
                  <c:v>Entremont</c:v>
                </c:pt>
                <c:pt idx="110">
                  <c:v>All Others</c:v>
                </c:pt>
                <c:pt idx="111">
                  <c:v>All Others</c:v>
                </c:pt>
                <c:pt idx="112">
                  <c:v>All Others</c:v>
                </c:pt>
                <c:pt idx="113">
                  <c:v>All Others</c:v>
                </c:pt>
                <c:pt idx="114">
                  <c:v>All Others</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All Others</c:v>
                </c:pt>
                <c:pt idx="126">
                  <c:v>Savencia: A</c:v>
                </c:pt>
                <c:pt idx="127">
                  <c:v>All Others</c:v>
                </c:pt>
                <c:pt idx="128">
                  <c:v>All Others</c:v>
                </c:pt>
                <c:pt idx="129">
                  <c:v>All Others</c:v>
                </c:pt>
                <c:pt idx="130">
                  <c:v>All Others</c:v>
                </c:pt>
                <c:pt idx="131">
                  <c:v>All Others</c:v>
                </c:pt>
                <c:pt idx="132">
                  <c:v>All Others</c:v>
                </c:pt>
                <c:pt idx="133">
                  <c:v>All Others</c:v>
                </c:pt>
                <c:pt idx="134">
                  <c:v>Savencia: A</c:v>
                </c:pt>
                <c:pt idx="135">
                  <c:v>All Others</c:v>
                </c:pt>
                <c:pt idx="136">
                  <c:v>All Others</c:v>
                </c:pt>
                <c:pt idx="137">
                  <c:v>All Others</c:v>
                </c:pt>
                <c:pt idx="138">
                  <c:v>All Others</c:v>
                </c:pt>
                <c:pt idx="139">
                  <c:v>All Others</c:v>
                </c:pt>
                <c:pt idx="140">
                  <c:v>All Others</c:v>
                </c:pt>
                <c:pt idx="141">
                  <c:v>All Others</c:v>
                </c:pt>
                <c:pt idx="142">
                  <c:v>All Others</c:v>
                </c:pt>
                <c:pt idx="143">
                  <c:v>All Others</c:v>
                </c:pt>
                <c:pt idx="144">
                  <c:v>All Others</c:v>
                </c:pt>
                <c:pt idx="145">
                  <c:v>All Others</c:v>
                </c:pt>
                <c:pt idx="146">
                  <c:v>All Others</c:v>
                </c:pt>
                <c:pt idx="147">
                  <c:v>Other Suppl</c:v>
                </c:pt>
                <c:pt idx="148">
                  <c:v>All Others</c:v>
                </c:pt>
                <c:pt idx="149">
                  <c:v>All Others</c:v>
                </c:pt>
                <c:pt idx="150">
                  <c:v>All Others</c:v>
                </c:pt>
                <c:pt idx="151">
                  <c:v>All Others</c:v>
                </c:pt>
                <c:pt idx="152">
                  <c:v>All Others</c:v>
                </c:pt>
                <c:pt idx="153">
                  <c:v>All Others</c:v>
                </c:pt>
                <c:pt idx="154">
                  <c:v>All Others</c:v>
                </c:pt>
                <c:pt idx="155">
                  <c:v>All Others</c:v>
                </c:pt>
                <c:pt idx="156">
                  <c:v>All Others</c:v>
                </c:pt>
                <c:pt idx="157">
                  <c:v>All Others</c:v>
                </c:pt>
                <c:pt idx="158">
                  <c:v>All Others</c:v>
                </c:pt>
                <c:pt idx="159">
                  <c:v>All Others</c:v>
                </c:pt>
                <c:pt idx="160">
                  <c:v>All Others</c:v>
                </c:pt>
                <c:pt idx="161">
                  <c:v>All Others</c:v>
                </c:pt>
                <c:pt idx="162">
                  <c:v>All Others</c:v>
                </c:pt>
                <c:pt idx="163">
                  <c:v>All Others</c:v>
                </c:pt>
                <c:pt idx="164">
                  <c:v>All Others</c:v>
                </c:pt>
                <c:pt idx="165">
                  <c:v>All Others</c:v>
                </c:pt>
                <c:pt idx="166">
                  <c:v>All Others</c:v>
                </c:pt>
                <c:pt idx="167">
                  <c:v>All Others</c:v>
                </c:pt>
                <c:pt idx="168">
                  <c:v>All Others</c:v>
                </c:pt>
              </c:strCache>
            </c:strRef>
          </c:cat>
          <c:val>
            <c:numRef>
              <c:f>Sheet1!$C$2:$C$170</c:f>
              <c:numCache>
                <c:formatCode>General</c:formatCode>
                <c:ptCount val="169"/>
                <c:pt idx="0">
                  <c:v>8.9198485359325008E-2</c:v>
                </c:pt>
                <c:pt idx="1">
                  <c:v>0.15522436455987682</c:v>
                </c:pt>
                <c:pt idx="2">
                  <c:v>0.21573689504731927</c:v>
                </c:pt>
                <c:pt idx="3">
                  <c:v>0.25542830130028327</c:v>
                </c:pt>
                <c:pt idx="4">
                  <c:v>0.29320073440496025</c:v>
                </c:pt>
                <c:pt idx="5">
                  <c:v>0.33038643520955302</c:v>
                </c:pt>
                <c:pt idx="6">
                  <c:v>0.36508483115843809</c:v>
                </c:pt>
                <c:pt idx="7">
                  <c:v>0.39961781147018333</c:v>
                </c:pt>
                <c:pt idx="8">
                  <c:v>0.43322779023172608</c:v>
                </c:pt>
                <c:pt idx="9">
                  <c:v>0.46585482324428629</c:v>
                </c:pt>
                <c:pt idx="10">
                  <c:v>0.49783290339600328</c:v>
                </c:pt>
                <c:pt idx="11">
                  <c:v>0.52640295350378907</c:v>
                </c:pt>
                <c:pt idx="12">
                  <c:v>0.55109642239363521</c:v>
                </c:pt>
                <c:pt idx="13">
                  <c:v>0.57308892456313465</c:v>
                </c:pt>
                <c:pt idx="14">
                  <c:v>0.59433149192511192</c:v>
                </c:pt>
                <c:pt idx="15">
                  <c:v>0.61449525340588029</c:v>
                </c:pt>
                <c:pt idx="16">
                  <c:v>0.63430042464268088</c:v>
                </c:pt>
                <c:pt idx="17">
                  <c:v>0.65369433314861092</c:v>
                </c:pt>
                <c:pt idx="18">
                  <c:v>0.67234741229493467</c:v>
                </c:pt>
                <c:pt idx="19">
                  <c:v>0.68940526755220533</c:v>
                </c:pt>
                <c:pt idx="20">
                  <c:v>0.70557047275232665</c:v>
                </c:pt>
                <c:pt idx="21">
                  <c:v>0.72158189705431186</c:v>
                </c:pt>
                <c:pt idx="22">
                  <c:v>0.73633228005221485</c:v>
                </c:pt>
                <c:pt idx="23">
                  <c:v>0.7503651664007962</c:v>
                </c:pt>
                <c:pt idx="24">
                  <c:v>0.76232289587642099</c:v>
                </c:pt>
                <c:pt idx="25">
                  <c:v>0.77426361586948067</c:v>
                </c:pt>
                <c:pt idx="26">
                  <c:v>0.78580907089779983</c:v>
                </c:pt>
                <c:pt idx="27">
                  <c:v>0.79576480324518173</c:v>
                </c:pt>
                <c:pt idx="28">
                  <c:v>0.80490951840527192</c:v>
                </c:pt>
                <c:pt idx="29">
                  <c:v>0.81395040616620939</c:v>
                </c:pt>
                <c:pt idx="30">
                  <c:v>0.82298876463605908</c:v>
                </c:pt>
                <c:pt idx="31">
                  <c:v>0.83159524665267293</c:v>
                </c:pt>
                <c:pt idx="32">
                  <c:v>0.83953766329419421</c:v>
                </c:pt>
                <c:pt idx="33">
                  <c:v>0.84715980845172734</c:v>
                </c:pt>
                <c:pt idx="34">
                  <c:v>0.85449007341773242</c:v>
                </c:pt>
                <c:pt idx="35">
                  <c:v>0.86171328613844789</c:v>
                </c:pt>
                <c:pt idx="36">
                  <c:v>0.86887402536929548</c:v>
                </c:pt>
                <c:pt idx="37">
                  <c:v>0.87585505846835743</c:v>
                </c:pt>
                <c:pt idx="38">
                  <c:v>0.88268363854710441</c:v>
                </c:pt>
                <c:pt idx="39">
                  <c:v>0.88907597914548919</c:v>
                </c:pt>
                <c:pt idx="40">
                  <c:v>0.8951775145010582</c:v>
                </c:pt>
                <c:pt idx="41">
                  <c:v>0.9010516665878372</c:v>
                </c:pt>
                <c:pt idx="42">
                  <c:v>0.90678266079904868</c:v>
                </c:pt>
                <c:pt idx="43">
                  <c:v>0.91232926968996209</c:v>
                </c:pt>
                <c:pt idx="44">
                  <c:v>0.91742711910962893</c:v>
                </c:pt>
                <c:pt idx="45">
                  <c:v>0.92232388988781844</c:v>
                </c:pt>
                <c:pt idx="46">
                  <c:v>0.92661805706434808</c:v>
                </c:pt>
                <c:pt idx="47">
                  <c:v>0.9307674223261031</c:v>
                </c:pt>
                <c:pt idx="48">
                  <c:v>0.93458747388823127</c:v>
                </c:pt>
                <c:pt idx="49">
                  <c:v>0.9380877598245887</c:v>
                </c:pt>
                <c:pt idx="50">
                  <c:v>0.94155927507482284</c:v>
                </c:pt>
                <c:pt idx="51">
                  <c:v>0.94483173511644991</c:v>
                </c:pt>
                <c:pt idx="52">
                  <c:v>0.9478936949072978</c:v>
                </c:pt>
                <c:pt idx="53">
                  <c:v>0.95072940961034513</c:v>
                </c:pt>
                <c:pt idx="54">
                  <c:v>0.95349006760036303</c:v>
                </c:pt>
                <c:pt idx="55">
                  <c:v>0.95616093575676531</c:v>
                </c:pt>
                <c:pt idx="56">
                  <c:v>0.9584288878428866</c:v>
                </c:pt>
                <c:pt idx="57">
                  <c:v>0.9606755306515935</c:v>
                </c:pt>
                <c:pt idx="58">
                  <c:v>0.9625776207818697</c:v>
                </c:pt>
                <c:pt idx="59">
                  <c:v>0.96447926828620556</c:v>
                </c:pt>
                <c:pt idx="60">
                  <c:v>0.96614499616433014</c:v>
                </c:pt>
                <c:pt idx="61">
                  <c:v>0.9678092697000793</c:v>
                </c:pt>
                <c:pt idx="62">
                  <c:v>0.96938286815033203</c:v>
                </c:pt>
                <c:pt idx="63">
                  <c:v>0.97079446550641346</c:v>
                </c:pt>
                <c:pt idx="64">
                  <c:v>0.97211639949343365</c:v>
                </c:pt>
                <c:pt idx="65">
                  <c:v>0.97332426245239567</c:v>
                </c:pt>
                <c:pt idx="66">
                  <c:v>0.97448387918385859</c:v>
                </c:pt>
                <c:pt idx="67">
                  <c:v>0.97562503209038076</c:v>
                </c:pt>
                <c:pt idx="68">
                  <c:v>0.97674348460939031</c:v>
                </c:pt>
                <c:pt idx="69">
                  <c:v>0.97781463938505864</c:v>
                </c:pt>
                <c:pt idx="70">
                  <c:v>0.97885582206133692</c:v>
                </c:pt>
                <c:pt idx="71">
                  <c:v>0.97976421695550764</c:v>
                </c:pt>
                <c:pt idx="72">
                  <c:v>0.9806599021619623</c:v>
                </c:pt>
                <c:pt idx="73">
                  <c:v>0.98152156840328653</c:v>
                </c:pt>
                <c:pt idx="74">
                  <c:v>0.98238234939273006</c:v>
                </c:pt>
                <c:pt idx="75">
                  <c:v>0.98320904818476595</c:v>
                </c:pt>
                <c:pt idx="76">
                  <c:v>0.98397871146277271</c:v>
                </c:pt>
                <c:pt idx="77">
                  <c:v>0.98461280473847534</c:v>
                </c:pt>
                <c:pt idx="78">
                  <c:v>0.9852368440821041</c:v>
                </c:pt>
                <c:pt idx="79">
                  <c:v>0.98583793010911136</c:v>
                </c:pt>
                <c:pt idx="80">
                  <c:v>0.98642845634582721</c:v>
                </c:pt>
                <c:pt idx="81">
                  <c:v>0.98695416949841908</c:v>
                </c:pt>
                <c:pt idx="82">
                  <c:v>0.98747444467517231</c:v>
                </c:pt>
                <c:pt idx="83">
                  <c:v>0.9879706283543146</c:v>
                </c:pt>
                <c:pt idx="84">
                  <c:v>0.98846187991583567</c:v>
                </c:pt>
                <c:pt idx="85">
                  <c:v>0.98894996986349704</c:v>
                </c:pt>
                <c:pt idx="86">
                  <c:v>0.98942946022146006</c:v>
                </c:pt>
                <c:pt idx="87">
                  <c:v>0.9898873883728998</c:v>
                </c:pt>
                <c:pt idx="88">
                  <c:v>0.99031294159841621</c:v>
                </c:pt>
                <c:pt idx="89">
                  <c:v>0.99069132354514577</c:v>
                </c:pt>
                <c:pt idx="90">
                  <c:v>0.99105667964277333</c:v>
                </c:pt>
                <c:pt idx="91">
                  <c:v>0.99142064463030266</c:v>
                </c:pt>
                <c:pt idx="92">
                  <c:v>0.99178347143684253</c:v>
                </c:pt>
                <c:pt idx="93">
                  <c:v>0.99213118572913295</c:v>
                </c:pt>
                <c:pt idx="94">
                  <c:v>0.99245904508638438</c:v>
                </c:pt>
                <c:pt idx="95">
                  <c:v>0.99276837738641799</c:v>
                </c:pt>
                <c:pt idx="96">
                  <c:v>0.99307182908467251</c:v>
                </c:pt>
                <c:pt idx="97">
                  <c:v>0.99334644686452656</c:v>
                </c:pt>
                <c:pt idx="98">
                  <c:v>0.99361815595962966</c:v>
                </c:pt>
                <c:pt idx="99">
                  <c:v>0.99388246687830106</c:v>
                </c:pt>
                <c:pt idx="100">
                  <c:v>0.99414450143499344</c:v>
                </c:pt>
                <c:pt idx="101">
                  <c:v>0.99440223619683665</c:v>
                </c:pt>
                <c:pt idx="102">
                  <c:v>0.99464561723175682</c:v>
                </c:pt>
                <c:pt idx="103">
                  <c:v>0.99487767968905927</c:v>
                </c:pt>
                <c:pt idx="104">
                  <c:v>0.99510329245408791</c:v>
                </c:pt>
                <c:pt idx="105">
                  <c:v>0.99530177857220026</c:v>
                </c:pt>
                <c:pt idx="106">
                  <c:v>0.99549552226952298</c:v>
                </c:pt>
                <c:pt idx="107">
                  <c:v>0.99568661021120364</c:v>
                </c:pt>
                <c:pt idx="108">
                  <c:v>0.99587169108655083</c:v>
                </c:pt>
                <c:pt idx="109">
                  <c:v>0.99605063843101016</c:v>
                </c:pt>
                <c:pt idx="110">
                  <c:v>0.99622395810279918</c:v>
                </c:pt>
                <c:pt idx="111">
                  <c:v>0.99639582343221278</c:v>
                </c:pt>
                <c:pt idx="112">
                  <c:v>0.99656711967113165</c:v>
                </c:pt>
                <c:pt idx="113">
                  <c:v>0.996728804603917</c:v>
                </c:pt>
                <c:pt idx="114">
                  <c:v>0.996890046910762</c:v>
                </c:pt>
                <c:pt idx="115">
                  <c:v>0.99704913932018235</c:v>
                </c:pt>
                <c:pt idx="116">
                  <c:v>0.99719172810525514</c:v>
                </c:pt>
                <c:pt idx="117">
                  <c:v>0.997326223158847</c:v>
                </c:pt>
                <c:pt idx="118">
                  <c:v>0.99745894770867749</c:v>
                </c:pt>
                <c:pt idx="119">
                  <c:v>0.99758585488900609</c:v>
                </c:pt>
                <c:pt idx="120">
                  <c:v>0.99771244590794872</c:v>
                </c:pt>
                <c:pt idx="121">
                  <c:v>0.99783650763580356</c:v>
                </c:pt>
                <c:pt idx="122">
                  <c:v>0.99795449906504774</c:v>
                </c:pt>
                <c:pt idx="123">
                  <c:v>0.99807128908102527</c:v>
                </c:pt>
                <c:pt idx="124">
                  <c:v>0.99818536010908343</c:v>
                </c:pt>
                <c:pt idx="125">
                  <c:v>0.99829405639358015</c:v>
                </c:pt>
                <c:pt idx="126">
                  <c:v>0.9984025629812453</c:v>
                </c:pt>
                <c:pt idx="127">
                  <c:v>0.99849443948000838</c:v>
                </c:pt>
                <c:pt idx="128">
                  <c:v>0.99857657820808354</c:v>
                </c:pt>
                <c:pt idx="129">
                  <c:v>0.99865618764507091</c:v>
                </c:pt>
                <c:pt idx="130">
                  <c:v>0.99873314132641611</c:v>
                </c:pt>
                <c:pt idx="131">
                  <c:v>0.99880958914954376</c:v>
                </c:pt>
                <c:pt idx="132">
                  <c:v>0.99888432970118723</c:v>
                </c:pt>
                <c:pt idx="133">
                  <c:v>0.99895818500095002</c:v>
                </c:pt>
                <c:pt idx="134">
                  <c:v>0.99902868899002151</c:v>
                </c:pt>
                <c:pt idx="135">
                  <c:v>0.9990990665145385</c:v>
                </c:pt>
                <c:pt idx="136">
                  <c:v>0.99916836909034323</c:v>
                </c:pt>
                <c:pt idx="137">
                  <c:v>0.99923647025288131</c:v>
                </c:pt>
                <c:pt idx="138">
                  <c:v>0.9993037493958159</c:v>
                </c:pt>
                <c:pt idx="139">
                  <c:v>0.9993618598585573</c:v>
                </c:pt>
                <c:pt idx="140">
                  <c:v>0.99941623961694426</c:v>
                </c:pt>
                <c:pt idx="141">
                  <c:v>0.99946922826523288</c:v>
                </c:pt>
                <c:pt idx="142">
                  <c:v>0.99952044640976012</c:v>
                </c:pt>
                <c:pt idx="143">
                  <c:v>0.99956628981072582</c:v>
                </c:pt>
                <c:pt idx="144">
                  <c:v>0.99960808634595111</c:v>
                </c:pt>
                <c:pt idx="145">
                  <c:v>0.99964393904712012</c:v>
                </c:pt>
                <c:pt idx="146">
                  <c:v>0.99971235637104416</c:v>
                </c:pt>
                <c:pt idx="147">
                  <c:v>0.99974447836785874</c:v>
                </c:pt>
                <c:pt idx="148">
                  <c:v>0.99977432400269439</c:v>
                </c:pt>
                <c:pt idx="149">
                  <c:v>0.99980309468881767</c:v>
                </c:pt>
                <c:pt idx="150">
                  <c:v>0.9998314859812778</c:v>
                </c:pt>
                <c:pt idx="151">
                  <c:v>0.9998593081832432</c:v>
                </c:pt>
                <c:pt idx="152">
                  <c:v>0.99988535988144722</c:v>
                </c:pt>
                <c:pt idx="153">
                  <c:v>0.99990142087985456</c:v>
                </c:pt>
                <c:pt idx="154">
                  <c:v>0.99991602753588638</c:v>
                </c:pt>
                <c:pt idx="155">
                  <c:v>0.99993031803053223</c:v>
                </c:pt>
                <c:pt idx="156">
                  <c:v>0.99994245862775355</c:v>
                </c:pt>
                <c:pt idx="157">
                  <c:v>0.99995169054022393</c:v>
                </c:pt>
                <c:pt idx="158">
                  <c:v>0.99995972103942754</c:v>
                </c:pt>
                <c:pt idx="159">
                  <c:v>0.99996756184179958</c:v>
                </c:pt>
                <c:pt idx="160">
                  <c:v>0.99997407476635058</c:v>
                </c:pt>
                <c:pt idx="161">
                  <c:v>0.99997907011624887</c:v>
                </c:pt>
                <c:pt idx="162">
                  <c:v>0.99998387576931558</c:v>
                </c:pt>
                <c:pt idx="163">
                  <c:v>0.99998830202871913</c:v>
                </c:pt>
                <c:pt idx="164">
                  <c:v>0.99999114748119289</c:v>
                </c:pt>
                <c:pt idx="165">
                  <c:v>0.99999392970138945</c:v>
                </c:pt>
                <c:pt idx="166">
                  <c:v>0.99999595313425971</c:v>
                </c:pt>
                <c:pt idx="167">
                  <c:v>0.99999778687029839</c:v>
                </c:pt>
                <c:pt idx="168">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9</c:f>
              <c:strCache>
                <c:ptCount val="138"/>
                <c:pt idx="0">
                  <c:v>Private Lab</c:v>
                </c:pt>
                <c:pt idx="1">
                  <c:v>Private Lab</c:v>
                </c:pt>
                <c:pt idx="2">
                  <c:v>Private Lab</c:v>
                </c:pt>
                <c:pt idx="3">
                  <c:v>Private Lab</c:v>
                </c:pt>
                <c:pt idx="4">
                  <c:v>Galbani</c:v>
                </c:pt>
                <c:pt idx="5">
                  <c:v>Private Lab</c:v>
                </c:pt>
                <c:pt idx="6">
                  <c:v>Salakis</c:v>
                </c:pt>
                <c:pt idx="7">
                  <c:v>Private Lab</c:v>
                </c:pt>
                <c:pt idx="8">
                  <c:v>Galbani</c:v>
                </c:pt>
                <c:pt idx="9">
                  <c:v>Private Lab</c:v>
                </c:pt>
                <c:pt idx="10">
                  <c:v>Private Lab</c:v>
                </c:pt>
                <c:pt idx="11">
                  <c:v>Private Lab</c:v>
                </c:pt>
                <c:pt idx="12">
                  <c:v>Galbani</c:v>
                </c:pt>
                <c:pt idx="13">
                  <c:v>Private Lab</c:v>
                </c:pt>
                <c:pt idx="14">
                  <c:v>Private Lab</c:v>
                </c:pt>
                <c:pt idx="15">
                  <c:v>Galbani</c:v>
                </c:pt>
                <c:pt idx="16">
                  <c:v>Galbani</c:v>
                </c:pt>
                <c:pt idx="17">
                  <c:v>Islos</c:v>
                </c:pt>
                <c:pt idx="18">
                  <c:v>Private Lab</c:v>
                </c:pt>
                <c:pt idx="19">
                  <c:v>Galbani</c:v>
                </c:pt>
                <c:pt idx="20">
                  <c:v>Private Lab</c:v>
                </c:pt>
                <c:pt idx="21">
                  <c:v>All Others</c:v>
                </c:pt>
                <c:pt idx="22">
                  <c:v>Salakis</c:v>
                </c:pt>
                <c:pt idx="23">
                  <c:v>Les Mousque</c:v>
                </c:pt>
                <c:pt idx="24">
                  <c:v>Casa Azzurr</c:v>
                </c:pt>
                <c:pt idx="25">
                  <c:v>Private Lab</c:v>
                </c:pt>
                <c:pt idx="26">
                  <c:v>Boursin</c:v>
                </c:pt>
                <c:pt idx="27">
                  <c:v>Private Lab</c:v>
                </c:pt>
                <c:pt idx="28">
                  <c:v>Casa Azzurr</c:v>
                </c:pt>
                <c:pt idx="29">
                  <c:v>Private Lab</c:v>
                </c:pt>
                <c:pt idx="30">
                  <c:v>Private Lab</c:v>
                </c:pt>
                <c:pt idx="31">
                  <c:v>Private Lab</c:v>
                </c:pt>
                <c:pt idx="32">
                  <c:v>Salakis</c:v>
                </c:pt>
                <c:pt idx="33">
                  <c:v>Galbani</c:v>
                </c:pt>
                <c:pt idx="34">
                  <c:v>Casa Azzurr</c:v>
                </c:pt>
                <c:pt idx="35">
                  <c:v>Galbani</c:v>
                </c:pt>
                <c:pt idx="36">
                  <c:v>Salakis</c:v>
                </c:pt>
                <c:pt idx="37">
                  <c:v>Private Lab</c:v>
                </c:pt>
                <c:pt idx="38">
                  <c:v>Private Lab</c:v>
                </c:pt>
                <c:pt idx="39">
                  <c:v>All Others</c:v>
                </c:pt>
                <c:pt idx="40">
                  <c:v>Salakis</c:v>
                </c:pt>
                <c:pt idx="41">
                  <c:v>Casa Azzurr</c:v>
                </c:pt>
                <c:pt idx="42">
                  <c:v>Casa Azzurr</c:v>
                </c:pt>
                <c:pt idx="43">
                  <c:v>Casa Azzurr</c:v>
                </c:pt>
                <c:pt idx="44">
                  <c:v>Casa Azzurr</c:v>
                </c:pt>
                <c:pt idx="45">
                  <c:v>Galbani</c:v>
                </c:pt>
                <c:pt idx="46">
                  <c:v>All Others</c:v>
                </c:pt>
                <c:pt idx="47">
                  <c:v>All Others</c:v>
                </c:pt>
                <c:pt idx="48">
                  <c:v>Salakis</c:v>
                </c:pt>
                <c:pt idx="49">
                  <c:v>Galbani</c:v>
                </c:pt>
                <c:pt idx="50">
                  <c:v>All Others</c:v>
                </c:pt>
                <c:pt idx="51">
                  <c:v>Salakis</c:v>
                </c:pt>
                <c:pt idx="52">
                  <c:v>Galbani</c:v>
                </c:pt>
                <c:pt idx="53">
                  <c:v>All Others</c:v>
                </c:pt>
                <c:pt idx="54">
                  <c:v>Casa Azzurr</c:v>
                </c:pt>
                <c:pt idx="55">
                  <c:v>Casa Azzurr</c:v>
                </c:pt>
                <c:pt idx="56">
                  <c:v>All Others</c:v>
                </c:pt>
                <c:pt idx="57">
                  <c:v>Galbani</c:v>
                </c:pt>
                <c:pt idx="58">
                  <c:v>All Others</c:v>
                </c:pt>
                <c:pt idx="59">
                  <c:v>Islos</c:v>
                </c:pt>
                <c:pt idx="60">
                  <c:v>Lactalis: A</c:v>
                </c:pt>
                <c:pt idx="61">
                  <c:v>Boursin</c:v>
                </c:pt>
                <c:pt idx="62">
                  <c:v>Galbani</c:v>
                </c:pt>
                <c:pt idx="63">
                  <c:v>All Others</c:v>
                </c:pt>
                <c:pt idx="64">
                  <c:v>All Others</c:v>
                </c:pt>
                <c:pt idx="65">
                  <c:v>Galbani</c:v>
                </c:pt>
                <c:pt idx="66">
                  <c:v>All Others</c:v>
                </c:pt>
                <c:pt idx="67">
                  <c:v>Boursin</c:v>
                </c:pt>
                <c:pt idx="68">
                  <c:v>All Others</c:v>
                </c:pt>
                <c:pt idx="69">
                  <c:v>Islos</c:v>
                </c:pt>
                <c:pt idx="70">
                  <c:v>All Others</c:v>
                </c:pt>
                <c:pt idx="71">
                  <c:v>All Others</c:v>
                </c:pt>
                <c:pt idx="72">
                  <c:v>All Others</c:v>
                </c:pt>
                <c:pt idx="73">
                  <c:v>All Others</c:v>
                </c:pt>
                <c:pt idx="74">
                  <c:v>All Others</c:v>
                </c:pt>
                <c:pt idx="75">
                  <c:v>All Others</c:v>
                </c:pt>
                <c:pt idx="76">
                  <c:v>All Others</c:v>
                </c:pt>
                <c:pt idx="77">
                  <c:v>Les Mousque</c:v>
                </c:pt>
                <c:pt idx="78">
                  <c:v>Boursin</c:v>
                </c:pt>
                <c:pt idx="79">
                  <c:v>All Others</c:v>
                </c:pt>
                <c:pt idx="80">
                  <c:v>Private Lab</c:v>
                </c:pt>
                <c:pt idx="81">
                  <c:v>All Others</c:v>
                </c:pt>
                <c:pt idx="82">
                  <c:v>All Others</c:v>
                </c:pt>
                <c:pt idx="83">
                  <c:v>Casa Azzurr</c:v>
                </c:pt>
                <c:pt idx="84">
                  <c:v>All Others</c:v>
                </c:pt>
                <c:pt idx="85">
                  <c:v>All Others</c:v>
                </c:pt>
                <c:pt idx="86">
                  <c:v>Boursin</c:v>
                </c:pt>
                <c:pt idx="87">
                  <c:v>All Others</c:v>
                </c:pt>
                <c:pt idx="88">
                  <c:v>All Others</c:v>
                </c:pt>
                <c:pt idx="89">
                  <c:v>All Others</c:v>
                </c:pt>
                <c:pt idx="90">
                  <c:v>All Others</c:v>
                </c:pt>
                <c:pt idx="91">
                  <c:v>All Others</c:v>
                </c:pt>
                <c:pt idx="92">
                  <c:v>All Others</c:v>
                </c:pt>
                <c:pt idx="93">
                  <c:v>All Others</c:v>
                </c:pt>
                <c:pt idx="94">
                  <c:v>All Others</c:v>
                </c:pt>
                <c:pt idx="95">
                  <c:v>Boursin</c:v>
                </c:pt>
                <c:pt idx="96">
                  <c:v>All Others</c:v>
                </c:pt>
                <c:pt idx="97">
                  <c:v>All Others</c:v>
                </c:pt>
                <c:pt idx="98">
                  <c:v>Salakis</c:v>
                </c:pt>
                <c:pt idx="99">
                  <c:v>All Others</c:v>
                </c:pt>
                <c:pt idx="100">
                  <c:v>Salakis</c:v>
                </c:pt>
                <c:pt idx="101">
                  <c:v>All Others</c:v>
                </c:pt>
                <c:pt idx="102">
                  <c:v>All Others</c:v>
                </c:pt>
                <c:pt idx="103">
                  <c:v>All Others</c:v>
                </c:pt>
                <c:pt idx="104">
                  <c:v>All Others</c:v>
                </c:pt>
                <c:pt idx="105">
                  <c:v>All Others</c:v>
                </c:pt>
                <c:pt idx="106">
                  <c:v>All Others</c:v>
                </c:pt>
                <c:pt idx="107">
                  <c:v>All Others</c:v>
                </c:pt>
                <c:pt idx="108">
                  <c:v>All Others</c:v>
                </c:pt>
                <c:pt idx="109">
                  <c:v>All Others</c:v>
                </c:pt>
                <c:pt idx="110">
                  <c:v>Entremont</c:v>
                </c:pt>
                <c:pt idx="111">
                  <c:v>All Others</c:v>
                </c:pt>
                <c:pt idx="112">
                  <c:v>All Others</c:v>
                </c:pt>
                <c:pt idx="113">
                  <c:v>Entremont</c:v>
                </c:pt>
                <c:pt idx="114">
                  <c:v>All Others</c:v>
                </c:pt>
                <c:pt idx="115">
                  <c:v>All Others</c:v>
                </c:pt>
                <c:pt idx="116">
                  <c:v>Entremont</c:v>
                </c:pt>
                <c:pt idx="117">
                  <c:v>All Others</c:v>
                </c:pt>
                <c:pt idx="118">
                  <c:v>All Others</c:v>
                </c:pt>
                <c:pt idx="119">
                  <c:v>All Others</c:v>
                </c:pt>
                <c:pt idx="120">
                  <c:v>All Others</c:v>
                </c:pt>
                <c:pt idx="121">
                  <c:v>All Others</c:v>
                </c:pt>
                <c:pt idx="122">
                  <c:v>All Others</c:v>
                </c:pt>
                <c:pt idx="123">
                  <c:v>All Others</c:v>
                </c:pt>
                <c:pt idx="124">
                  <c:v>All Others</c:v>
                </c:pt>
                <c:pt idx="125">
                  <c:v>All Others</c:v>
                </c:pt>
                <c:pt idx="126">
                  <c:v>All Others</c:v>
                </c:pt>
                <c:pt idx="127">
                  <c:v>All Others</c:v>
                </c:pt>
                <c:pt idx="128">
                  <c:v>All Others</c:v>
                </c:pt>
                <c:pt idx="129">
                  <c:v>All Others</c:v>
                </c:pt>
                <c:pt idx="130">
                  <c:v>All Others</c:v>
                </c:pt>
                <c:pt idx="131">
                  <c:v>All Others</c:v>
                </c:pt>
                <c:pt idx="132">
                  <c:v>All Others</c:v>
                </c:pt>
                <c:pt idx="133">
                  <c:v>All Others</c:v>
                </c:pt>
                <c:pt idx="134">
                  <c:v>Netto</c:v>
                </c:pt>
                <c:pt idx="135">
                  <c:v>All Others</c:v>
                </c:pt>
                <c:pt idx="136">
                  <c:v>All Others</c:v>
                </c:pt>
                <c:pt idx="137">
                  <c:v>All Others</c:v>
                </c:pt>
              </c:strCache>
            </c:strRef>
          </c:cat>
          <c:val>
            <c:numRef>
              <c:f>Sheet1!$B$2:$B$139</c:f>
              <c:numCache>
                <c:formatCode>General</c:formatCode>
                <c:ptCount val="138"/>
                <c:pt idx="0">
                  <c:v>0.99</c:v>
                </c:pt>
                <c:pt idx="1">
                  <c:v>0.99</c:v>
                </c:pt>
                <c:pt idx="2">
                  <c:v>0.94</c:v>
                </c:pt>
                <c:pt idx="3">
                  <c:v>0.94</c:v>
                </c:pt>
                <c:pt idx="4">
                  <c:v>0.96</c:v>
                </c:pt>
                <c:pt idx="5">
                  <c:v>0.97</c:v>
                </c:pt>
                <c:pt idx="6">
                  <c:v>0.94</c:v>
                </c:pt>
                <c:pt idx="7">
                  <c:v>0.96</c:v>
                </c:pt>
                <c:pt idx="8">
                  <c:v>0.73</c:v>
                </c:pt>
                <c:pt idx="9">
                  <c:v>0.94</c:v>
                </c:pt>
                <c:pt idx="10">
                  <c:v>0.92</c:v>
                </c:pt>
                <c:pt idx="11">
                  <c:v>0.95</c:v>
                </c:pt>
                <c:pt idx="12">
                  <c:v>0.85</c:v>
                </c:pt>
                <c:pt idx="13">
                  <c:v>0.91</c:v>
                </c:pt>
                <c:pt idx="14">
                  <c:v>0.98</c:v>
                </c:pt>
                <c:pt idx="15">
                  <c:v>0.7</c:v>
                </c:pt>
                <c:pt idx="16">
                  <c:v>0.63</c:v>
                </c:pt>
                <c:pt idx="17">
                  <c:v>0.63</c:v>
                </c:pt>
                <c:pt idx="18">
                  <c:v>0.75</c:v>
                </c:pt>
                <c:pt idx="19">
                  <c:v>0.64</c:v>
                </c:pt>
                <c:pt idx="20">
                  <c:v>0.87</c:v>
                </c:pt>
                <c:pt idx="21">
                  <c:v>0.35</c:v>
                </c:pt>
                <c:pt idx="22">
                  <c:v>0.96</c:v>
                </c:pt>
                <c:pt idx="23">
                  <c:v>0.79</c:v>
                </c:pt>
                <c:pt idx="24">
                  <c:v>0.65</c:v>
                </c:pt>
                <c:pt idx="25">
                  <c:v>0.41</c:v>
                </c:pt>
                <c:pt idx="26">
                  <c:v>0.85</c:v>
                </c:pt>
                <c:pt idx="27">
                  <c:v>0.85</c:v>
                </c:pt>
                <c:pt idx="28">
                  <c:v>0.51</c:v>
                </c:pt>
                <c:pt idx="29">
                  <c:v>0.62</c:v>
                </c:pt>
                <c:pt idx="30">
                  <c:v>0.47</c:v>
                </c:pt>
                <c:pt idx="31">
                  <c:v>0.34</c:v>
                </c:pt>
                <c:pt idx="32">
                  <c:v>0.42</c:v>
                </c:pt>
                <c:pt idx="33">
                  <c:v>0.47</c:v>
                </c:pt>
                <c:pt idx="34">
                  <c:v>0.43</c:v>
                </c:pt>
                <c:pt idx="35">
                  <c:v>0.48</c:v>
                </c:pt>
                <c:pt idx="36">
                  <c:v>0.2</c:v>
                </c:pt>
                <c:pt idx="37">
                  <c:v>0.24</c:v>
                </c:pt>
                <c:pt idx="38">
                  <c:v>0.56000000000000005</c:v>
                </c:pt>
                <c:pt idx="39">
                  <c:v>0.16</c:v>
                </c:pt>
                <c:pt idx="40">
                  <c:v>0.75</c:v>
                </c:pt>
                <c:pt idx="41">
                  <c:v>0.28999999999999998</c:v>
                </c:pt>
                <c:pt idx="42">
                  <c:v>0.2</c:v>
                </c:pt>
                <c:pt idx="43">
                  <c:v>0.24</c:v>
                </c:pt>
                <c:pt idx="44">
                  <c:v>0.34</c:v>
                </c:pt>
                <c:pt idx="45">
                  <c:v>0.44</c:v>
                </c:pt>
                <c:pt idx="46">
                  <c:v>0.08</c:v>
                </c:pt>
                <c:pt idx="47">
                  <c:v>0.13</c:v>
                </c:pt>
                <c:pt idx="48">
                  <c:v>0.69</c:v>
                </c:pt>
                <c:pt idx="49">
                  <c:v>0.14000000000000001</c:v>
                </c:pt>
                <c:pt idx="50">
                  <c:v>0.16</c:v>
                </c:pt>
                <c:pt idx="51">
                  <c:v>0.22</c:v>
                </c:pt>
                <c:pt idx="52">
                  <c:v>0.22</c:v>
                </c:pt>
                <c:pt idx="53">
                  <c:v>0.16</c:v>
                </c:pt>
                <c:pt idx="54">
                  <c:v>0.13</c:v>
                </c:pt>
                <c:pt idx="55">
                  <c:v>0.36</c:v>
                </c:pt>
                <c:pt idx="56">
                  <c:v>0.16</c:v>
                </c:pt>
                <c:pt idx="57">
                  <c:v>0.27</c:v>
                </c:pt>
                <c:pt idx="58">
                  <c:v>7.0000000000000007E-2</c:v>
                </c:pt>
                <c:pt idx="59">
                  <c:v>0.2</c:v>
                </c:pt>
                <c:pt idx="60">
                  <c:v>0.12</c:v>
                </c:pt>
                <c:pt idx="61">
                  <c:v>0.43</c:v>
                </c:pt>
                <c:pt idx="62">
                  <c:v>0.14000000000000001</c:v>
                </c:pt>
                <c:pt idx="63">
                  <c:v>0.15</c:v>
                </c:pt>
                <c:pt idx="64">
                  <c:v>0.19</c:v>
                </c:pt>
                <c:pt idx="65">
                  <c:v>0.09</c:v>
                </c:pt>
                <c:pt idx="66">
                  <c:v>0.1</c:v>
                </c:pt>
                <c:pt idx="67">
                  <c:v>0.47</c:v>
                </c:pt>
                <c:pt idx="68">
                  <c:v>0.11</c:v>
                </c:pt>
                <c:pt idx="69">
                  <c:v>0.18</c:v>
                </c:pt>
                <c:pt idx="70">
                  <c:v>0.26</c:v>
                </c:pt>
                <c:pt idx="71">
                  <c:v>0.06</c:v>
                </c:pt>
                <c:pt idx="72">
                  <c:v>0.03</c:v>
                </c:pt>
                <c:pt idx="73">
                  <c:v>0.03</c:v>
                </c:pt>
                <c:pt idx="74">
                  <c:v>7.0000000000000007E-2</c:v>
                </c:pt>
                <c:pt idx="75">
                  <c:v>0.03</c:v>
                </c:pt>
                <c:pt idx="76">
                  <c:v>7.0000000000000007E-2</c:v>
                </c:pt>
                <c:pt idx="77">
                  <c:v>0.21</c:v>
                </c:pt>
                <c:pt idx="78">
                  <c:v>0.28000000000000003</c:v>
                </c:pt>
                <c:pt idx="79">
                  <c:v>7.0000000000000007E-2</c:v>
                </c:pt>
                <c:pt idx="80">
                  <c:v>0.11</c:v>
                </c:pt>
                <c:pt idx="81">
                  <c:v>0.14000000000000001</c:v>
                </c:pt>
                <c:pt idx="82">
                  <c:v>0.04</c:v>
                </c:pt>
                <c:pt idx="83">
                  <c:v>0.08</c:v>
                </c:pt>
                <c:pt idx="84">
                  <c:v>0.24</c:v>
                </c:pt>
                <c:pt idx="85">
                  <c:v>0.01</c:v>
                </c:pt>
                <c:pt idx="86">
                  <c:v>0.41</c:v>
                </c:pt>
                <c:pt idx="87">
                  <c:v>0.13</c:v>
                </c:pt>
                <c:pt idx="88">
                  <c:v>0.09</c:v>
                </c:pt>
                <c:pt idx="89">
                  <c:v>7.0000000000000007E-2</c:v>
                </c:pt>
                <c:pt idx="90">
                  <c:v>0.03</c:v>
                </c:pt>
                <c:pt idx="91">
                  <c:v>0.03</c:v>
                </c:pt>
                <c:pt idx="92">
                  <c:v>0.04</c:v>
                </c:pt>
                <c:pt idx="93">
                  <c:v>0.01</c:v>
                </c:pt>
                <c:pt idx="94">
                  <c:v>0.01</c:v>
                </c:pt>
                <c:pt idx="95">
                  <c:v>0.14000000000000001</c:v>
                </c:pt>
                <c:pt idx="96">
                  <c:v>0.04</c:v>
                </c:pt>
                <c:pt idx="97">
                  <c:v>0.09</c:v>
                </c:pt>
                <c:pt idx="98">
                  <c:v>0.08</c:v>
                </c:pt>
                <c:pt idx="99">
                  <c:v>0.01</c:v>
                </c:pt>
                <c:pt idx="100">
                  <c:v>0.08</c:v>
                </c:pt>
                <c:pt idx="101">
                  <c:v>0.02</c:v>
                </c:pt>
                <c:pt idx="102">
                  <c:v>0.04</c:v>
                </c:pt>
                <c:pt idx="103">
                  <c:v>0.06</c:v>
                </c:pt>
                <c:pt idx="104">
                  <c:v>7.0000000000000007E-2</c:v>
                </c:pt>
                <c:pt idx="105">
                  <c:v>0.01</c:v>
                </c:pt>
                <c:pt idx="106">
                  <c:v>0.03</c:v>
                </c:pt>
                <c:pt idx="107">
                  <c:v>0.01</c:v>
                </c:pt>
                <c:pt idx="108">
                  <c:v>0.02</c:v>
                </c:pt>
                <c:pt idx="109">
                  <c:v>0.01</c:v>
                </c:pt>
                <c:pt idx="110">
                  <c:v>0.09</c:v>
                </c:pt>
                <c:pt idx="111">
                  <c:v>0.01</c:v>
                </c:pt>
                <c:pt idx="112">
                  <c:v>0.01</c:v>
                </c:pt>
                <c:pt idx="113">
                  <c:v>0.08</c:v>
                </c:pt>
                <c:pt idx="114">
                  <c:v>0.04</c:v>
                </c:pt>
                <c:pt idx="115">
                  <c:v>0.01</c:v>
                </c:pt>
                <c:pt idx="116">
                  <c:v>0.09</c:v>
                </c:pt>
                <c:pt idx="117">
                  <c:v>0.01</c:v>
                </c:pt>
                <c:pt idx="118">
                  <c:v>0.01</c:v>
                </c:pt>
                <c:pt idx="119">
                  <c:v>0.01</c:v>
                </c:pt>
                <c:pt idx="120">
                  <c:v>0.01</c:v>
                </c:pt>
                <c:pt idx="121">
                  <c:v>0.01</c:v>
                </c:pt>
                <c:pt idx="122">
                  <c:v>0.01</c:v>
                </c:pt>
                <c:pt idx="123">
                  <c:v>0.02</c:v>
                </c:pt>
                <c:pt idx="124">
                  <c:v>0.02</c:v>
                </c:pt>
                <c:pt idx="125">
                  <c:v>0.01</c:v>
                </c:pt>
                <c:pt idx="126">
                  <c:v>0.01</c:v>
                </c:pt>
                <c:pt idx="127">
                  <c:v>0.02</c:v>
                </c:pt>
                <c:pt idx="128">
                  <c:v>0.01</c:v>
                </c:pt>
                <c:pt idx="129">
                  <c:v>0.01</c:v>
                </c:pt>
                <c:pt idx="130">
                  <c:v>0.03</c:v>
                </c:pt>
                <c:pt idx="131">
                  <c:v>0.01</c:v>
                </c:pt>
                <c:pt idx="132">
                  <c:v>0.02</c:v>
                </c:pt>
                <c:pt idx="133">
                  <c:v>0.01</c:v>
                </c:pt>
                <c:pt idx="134">
                  <c:v>0.01</c:v>
                </c:pt>
                <c:pt idx="135">
                  <c:v>0.01</c:v>
                </c:pt>
                <c:pt idx="136">
                  <c:v>0.02</c:v>
                </c:pt>
                <c:pt idx="13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9</c:f>
              <c:strCache>
                <c:ptCount val="138"/>
                <c:pt idx="0">
                  <c:v>Private Lab</c:v>
                </c:pt>
                <c:pt idx="1">
                  <c:v>Private Lab</c:v>
                </c:pt>
                <c:pt idx="2">
                  <c:v>Private Lab</c:v>
                </c:pt>
                <c:pt idx="3">
                  <c:v>Private Lab</c:v>
                </c:pt>
                <c:pt idx="4">
                  <c:v>Galbani</c:v>
                </c:pt>
                <c:pt idx="5">
                  <c:v>Private Lab</c:v>
                </c:pt>
                <c:pt idx="6">
                  <c:v>Salakis</c:v>
                </c:pt>
                <c:pt idx="7">
                  <c:v>Private Lab</c:v>
                </c:pt>
                <c:pt idx="8">
                  <c:v>Galbani</c:v>
                </c:pt>
                <c:pt idx="9">
                  <c:v>Private Lab</c:v>
                </c:pt>
                <c:pt idx="10">
                  <c:v>Private Lab</c:v>
                </c:pt>
                <c:pt idx="11">
                  <c:v>Private Lab</c:v>
                </c:pt>
                <c:pt idx="12">
                  <c:v>Galbani</c:v>
                </c:pt>
                <c:pt idx="13">
                  <c:v>Private Lab</c:v>
                </c:pt>
                <c:pt idx="14">
                  <c:v>Private Lab</c:v>
                </c:pt>
                <c:pt idx="15">
                  <c:v>Galbani</c:v>
                </c:pt>
                <c:pt idx="16">
                  <c:v>Galbani</c:v>
                </c:pt>
                <c:pt idx="17">
                  <c:v>Islos</c:v>
                </c:pt>
                <c:pt idx="18">
                  <c:v>Private Lab</c:v>
                </c:pt>
                <c:pt idx="19">
                  <c:v>Galbani</c:v>
                </c:pt>
                <c:pt idx="20">
                  <c:v>Private Lab</c:v>
                </c:pt>
                <c:pt idx="21">
                  <c:v>All Others</c:v>
                </c:pt>
                <c:pt idx="22">
                  <c:v>Salakis</c:v>
                </c:pt>
                <c:pt idx="23">
                  <c:v>Les Mousque</c:v>
                </c:pt>
                <c:pt idx="24">
                  <c:v>Casa Azzurr</c:v>
                </c:pt>
                <c:pt idx="25">
                  <c:v>Private Lab</c:v>
                </c:pt>
                <c:pt idx="26">
                  <c:v>Boursin</c:v>
                </c:pt>
                <c:pt idx="27">
                  <c:v>Private Lab</c:v>
                </c:pt>
                <c:pt idx="28">
                  <c:v>Casa Azzurr</c:v>
                </c:pt>
                <c:pt idx="29">
                  <c:v>Private Lab</c:v>
                </c:pt>
                <c:pt idx="30">
                  <c:v>Private Lab</c:v>
                </c:pt>
                <c:pt idx="31">
                  <c:v>Private Lab</c:v>
                </c:pt>
                <c:pt idx="32">
                  <c:v>Salakis</c:v>
                </c:pt>
                <c:pt idx="33">
                  <c:v>Galbani</c:v>
                </c:pt>
                <c:pt idx="34">
                  <c:v>Casa Azzurr</c:v>
                </c:pt>
                <c:pt idx="35">
                  <c:v>Galbani</c:v>
                </c:pt>
                <c:pt idx="36">
                  <c:v>Salakis</c:v>
                </c:pt>
                <c:pt idx="37">
                  <c:v>Private Lab</c:v>
                </c:pt>
                <c:pt idx="38">
                  <c:v>Private Lab</c:v>
                </c:pt>
                <c:pt idx="39">
                  <c:v>All Others</c:v>
                </c:pt>
                <c:pt idx="40">
                  <c:v>Salakis</c:v>
                </c:pt>
                <c:pt idx="41">
                  <c:v>Casa Azzurr</c:v>
                </c:pt>
                <c:pt idx="42">
                  <c:v>Casa Azzurr</c:v>
                </c:pt>
                <c:pt idx="43">
                  <c:v>Casa Azzurr</c:v>
                </c:pt>
                <c:pt idx="44">
                  <c:v>Casa Azzurr</c:v>
                </c:pt>
                <c:pt idx="45">
                  <c:v>Galbani</c:v>
                </c:pt>
                <c:pt idx="46">
                  <c:v>All Others</c:v>
                </c:pt>
                <c:pt idx="47">
                  <c:v>All Others</c:v>
                </c:pt>
                <c:pt idx="48">
                  <c:v>Salakis</c:v>
                </c:pt>
                <c:pt idx="49">
                  <c:v>Galbani</c:v>
                </c:pt>
                <c:pt idx="50">
                  <c:v>All Others</c:v>
                </c:pt>
                <c:pt idx="51">
                  <c:v>Salakis</c:v>
                </c:pt>
                <c:pt idx="52">
                  <c:v>Galbani</c:v>
                </c:pt>
                <c:pt idx="53">
                  <c:v>All Others</c:v>
                </c:pt>
                <c:pt idx="54">
                  <c:v>Casa Azzurr</c:v>
                </c:pt>
                <c:pt idx="55">
                  <c:v>Casa Azzurr</c:v>
                </c:pt>
                <c:pt idx="56">
                  <c:v>All Others</c:v>
                </c:pt>
                <c:pt idx="57">
                  <c:v>Galbani</c:v>
                </c:pt>
                <c:pt idx="58">
                  <c:v>All Others</c:v>
                </c:pt>
                <c:pt idx="59">
                  <c:v>Islos</c:v>
                </c:pt>
                <c:pt idx="60">
                  <c:v>Lactalis: A</c:v>
                </c:pt>
                <c:pt idx="61">
                  <c:v>Boursin</c:v>
                </c:pt>
                <c:pt idx="62">
                  <c:v>Galbani</c:v>
                </c:pt>
                <c:pt idx="63">
                  <c:v>All Others</c:v>
                </c:pt>
                <c:pt idx="64">
                  <c:v>All Others</c:v>
                </c:pt>
                <c:pt idx="65">
                  <c:v>Galbani</c:v>
                </c:pt>
                <c:pt idx="66">
                  <c:v>All Others</c:v>
                </c:pt>
                <c:pt idx="67">
                  <c:v>Boursin</c:v>
                </c:pt>
                <c:pt idx="68">
                  <c:v>All Others</c:v>
                </c:pt>
                <c:pt idx="69">
                  <c:v>Islos</c:v>
                </c:pt>
                <c:pt idx="70">
                  <c:v>All Others</c:v>
                </c:pt>
                <c:pt idx="71">
                  <c:v>All Others</c:v>
                </c:pt>
                <c:pt idx="72">
                  <c:v>All Others</c:v>
                </c:pt>
                <c:pt idx="73">
                  <c:v>All Others</c:v>
                </c:pt>
                <c:pt idx="74">
                  <c:v>All Others</c:v>
                </c:pt>
                <c:pt idx="75">
                  <c:v>All Others</c:v>
                </c:pt>
                <c:pt idx="76">
                  <c:v>All Others</c:v>
                </c:pt>
                <c:pt idx="77">
                  <c:v>Les Mousque</c:v>
                </c:pt>
                <c:pt idx="78">
                  <c:v>Boursin</c:v>
                </c:pt>
                <c:pt idx="79">
                  <c:v>All Others</c:v>
                </c:pt>
                <c:pt idx="80">
                  <c:v>Private Lab</c:v>
                </c:pt>
                <c:pt idx="81">
                  <c:v>All Others</c:v>
                </c:pt>
                <c:pt idx="82">
                  <c:v>All Others</c:v>
                </c:pt>
                <c:pt idx="83">
                  <c:v>Casa Azzurr</c:v>
                </c:pt>
                <c:pt idx="84">
                  <c:v>All Others</c:v>
                </c:pt>
                <c:pt idx="85">
                  <c:v>All Others</c:v>
                </c:pt>
                <c:pt idx="86">
                  <c:v>Boursin</c:v>
                </c:pt>
                <c:pt idx="87">
                  <c:v>All Others</c:v>
                </c:pt>
                <c:pt idx="88">
                  <c:v>All Others</c:v>
                </c:pt>
                <c:pt idx="89">
                  <c:v>All Others</c:v>
                </c:pt>
                <c:pt idx="90">
                  <c:v>All Others</c:v>
                </c:pt>
                <c:pt idx="91">
                  <c:v>All Others</c:v>
                </c:pt>
                <c:pt idx="92">
                  <c:v>All Others</c:v>
                </c:pt>
                <c:pt idx="93">
                  <c:v>All Others</c:v>
                </c:pt>
                <c:pt idx="94">
                  <c:v>All Others</c:v>
                </c:pt>
                <c:pt idx="95">
                  <c:v>Boursin</c:v>
                </c:pt>
                <c:pt idx="96">
                  <c:v>All Others</c:v>
                </c:pt>
                <c:pt idx="97">
                  <c:v>All Others</c:v>
                </c:pt>
                <c:pt idx="98">
                  <c:v>Salakis</c:v>
                </c:pt>
                <c:pt idx="99">
                  <c:v>All Others</c:v>
                </c:pt>
                <c:pt idx="100">
                  <c:v>Salakis</c:v>
                </c:pt>
                <c:pt idx="101">
                  <c:v>All Others</c:v>
                </c:pt>
                <c:pt idx="102">
                  <c:v>All Others</c:v>
                </c:pt>
                <c:pt idx="103">
                  <c:v>All Others</c:v>
                </c:pt>
                <c:pt idx="104">
                  <c:v>All Others</c:v>
                </c:pt>
                <c:pt idx="105">
                  <c:v>All Others</c:v>
                </c:pt>
                <c:pt idx="106">
                  <c:v>All Others</c:v>
                </c:pt>
                <c:pt idx="107">
                  <c:v>All Others</c:v>
                </c:pt>
                <c:pt idx="108">
                  <c:v>All Others</c:v>
                </c:pt>
                <c:pt idx="109">
                  <c:v>All Others</c:v>
                </c:pt>
                <c:pt idx="110">
                  <c:v>Entremont</c:v>
                </c:pt>
                <c:pt idx="111">
                  <c:v>All Others</c:v>
                </c:pt>
                <c:pt idx="112">
                  <c:v>All Others</c:v>
                </c:pt>
                <c:pt idx="113">
                  <c:v>Entremont</c:v>
                </c:pt>
                <c:pt idx="114">
                  <c:v>All Others</c:v>
                </c:pt>
                <c:pt idx="115">
                  <c:v>All Others</c:v>
                </c:pt>
                <c:pt idx="116">
                  <c:v>Entremont</c:v>
                </c:pt>
                <c:pt idx="117">
                  <c:v>All Others</c:v>
                </c:pt>
                <c:pt idx="118">
                  <c:v>All Others</c:v>
                </c:pt>
                <c:pt idx="119">
                  <c:v>All Others</c:v>
                </c:pt>
                <c:pt idx="120">
                  <c:v>All Others</c:v>
                </c:pt>
                <c:pt idx="121">
                  <c:v>All Others</c:v>
                </c:pt>
                <c:pt idx="122">
                  <c:v>All Others</c:v>
                </c:pt>
                <c:pt idx="123">
                  <c:v>All Others</c:v>
                </c:pt>
                <c:pt idx="124">
                  <c:v>All Others</c:v>
                </c:pt>
                <c:pt idx="125">
                  <c:v>All Others</c:v>
                </c:pt>
                <c:pt idx="126">
                  <c:v>All Others</c:v>
                </c:pt>
                <c:pt idx="127">
                  <c:v>All Others</c:v>
                </c:pt>
                <c:pt idx="128">
                  <c:v>All Others</c:v>
                </c:pt>
                <c:pt idx="129">
                  <c:v>All Others</c:v>
                </c:pt>
                <c:pt idx="130">
                  <c:v>All Others</c:v>
                </c:pt>
                <c:pt idx="131">
                  <c:v>All Others</c:v>
                </c:pt>
                <c:pt idx="132">
                  <c:v>All Others</c:v>
                </c:pt>
                <c:pt idx="133">
                  <c:v>All Others</c:v>
                </c:pt>
                <c:pt idx="134">
                  <c:v>Netto</c:v>
                </c:pt>
                <c:pt idx="135">
                  <c:v>All Others</c:v>
                </c:pt>
                <c:pt idx="136">
                  <c:v>All Others</c:v>
                </c:pt>
                <c:pt idx="137">
                  <c:v>All Others</c:v>
                </c:pt>
              </c:strCache>
            </c:strRef>
          </c:cat>
          <c:val>
            <c:numRef>
              <c:f>Sheet1!$C$2:$C$139</c:f>
              <c:numCache>
                <c:formatCode>General</c:formatCode>
                <c:ptCount val="138"/>
                <c:pt idx="0">
                  <c:v>0.11591515370412976</c:v>
                </c:pt>
                <c:pt idx="1">
                  <c:v>0.22228362855927924</c:v>
                </c:pt>
                <c:pt idx="2">
                  <c:v>0.31257002012885438</c:v>
                </c:pt>
                <c:pt idx="3">
                  <c:v>0.37422165268806656</c:v>
                </c:pt>
                <c:pt idx="4">
                  <c:v>0.42622056089768701</c:v>
                </c:pt>
                <c:pt idx="5">
                  <c:v>0.47026220835769383</c:v>
                </c:pt>
                <c:pt idx="6">
                  <c:v>0.51352305527587361</c:v>
                </c:pt>
                <c:pt idx="7">
                  <c:v>0.54034767421436858</c:v>
                </c:pt>
                <c:pt idx="8">
                  <c:v>0.56689192402216459</c:v>
                </c:pt>
                <c:pt idx="9">
                  <c:v>0.59331193182302333</c:v>
                </c:pt>
                <c:pt idx="10">
                  <c:v>0.61963375545379806</c:v>
                </c:pt>
                <c:pt idx="11">
                  <c:v>0.64320845637277657</c:v>
                </c:pt>
                <c:pt idx="12">
                  <c:v>0.66519841201123342</c:v>
                </c:pt>
                <c:pt idx="13">
                  <c:v>0.68701288955847628</c:v>
                </c:pt>
                <c:pt idx="14">
                  <c:v>0.70635478624465065</c:v>
                </c:pt>
                <c:pt idx="15">
                  <c:v>0.72551911581471562</c:v>
                </c:pt>
                <c:pt idx="16">
                  <c:v>0.74321381637086348</c:v>
                </c:pt>
                <c:pt idx="17">
                  <c:v>0.75998621243569031</c:v>
                </c:pt>
                <c:pt idx="18">
                  <c:v>0.77557143764219449</c:v>
                </c:pt>
                <c:pt idx="19">
                  <c:v>0.79085309454679287</c:v>
                </c:pt>
                <c:pt idx="20">
                  <c:v>0.80584547647771709</c:v>
                </c:pt>
                <c:pt idx="21">
                  <c:v>0.82059454198266601</c:v>
                </c:pt>
                <c:pt idx="22">
                  <c:v>0.83514547996858768</c:v>
                </c:pt>
                <c:pt idx="23">
                  <c:v>0.84792893796997904</c:v>
                </c:pt>
                <c:pt idx="24">
                  <c:v>0.85712031766372254</c:v>
                </c:pt>
                <c:pt idx="25">
                  <c:v>0.8661365491122881</c:v>
                </c:pt>
                <c:pt idx="26">
                  <c:v>0.87329684686430487</c:v>
                </c:pt>
                <c:pt idx="27">
                  <c:v>0.88018507661086487</c:v>
                </c:pt>
                <c:pt idx="28">
                  <c:v>0.88705521979977786</c:v>
                </c:pt>
                <c:pt idx="29">
                  <c:v>0.89391909591400465</c:v>
                </c:pt>
                <c:pt idx="30">
                  <c:v>0.90034092336549598</c:v>
                </c:pt>
                <c:pt idx="31">
                  <c:v>0.90672993113639377</c:v>
                </c:pt>
                <c:pt idx="32">
                  <c:v>0.91245886201468307</c:v>
                </c:pt>
                <c:pt idx="33">
                  <c:v>0.91802814741149197</c:v>
                </c:pt>
                <c:pt idx="34">
                  <c:v>0.92302300593640396</c:v>
                </c:pt>
                <c:pt idx="35">
                  <c:v>0.92723722884250692</c:v>
                </c:pt>
                <c:pt idx="36">
                  <c:v>0.93103804471667728</c:v>
                </c:pt>
                <c:pt idx="37">
                  <c:v>0.93441654771593985</c:v>
                </c:pt>
                <c:pt idx="38">
                  <c:v>0.93778905851221295</c:v>
                </c:pt>
                <c:pt idx="39">
                  <c:v>0.94115046449193673</c:v>
                </c:pt>
                <c:pt idx="40">
                  <c:v>0.94447729161220761</c:v>
                </c:pt>
                <c:pt idx="41">
                  <c:v>0.94766728760182961</c:v>
                </c:pt>
                <c:pt idx="42">
                  <c:v>0.95025679888270154</c:v>
                </c:pt>
                <c:pt idx="43">
                  <c:v>0.9526475229524739</c:v>
                </c:pt>
                <c:pt idx="44">
                  <c:v>0.95488563825620298</c:v>
                </c:pt>
                <c:pt idx="45">
                  <c:v>0.95706130271042733</c:v>
                </c:pt>
                <c:pt idx="46">
                  <c:v>0.9591666000102802</c:v>
                </c:pt>
                <c:pt idx="47">
                  <c:v>0.96120032072029582</c:v>
                </c:pt>
                <c:pt idx="48">
                  <c:v>0.96302442427435941</c:v>
                </c:pt>
                <c:pt idx="49">
                  <c:v>0.96484286547146958</c:v>
                </c:pt>
                <c:pt idx="50">
                  <c:v>0.96654437624877654</c:v>
                </c:pt>
                <c:pt idx="51">
                  <c:v>0.96820124786252904</c:v>
                </c:pt>
                <c:pt idx="52">
                  <c:v>0.96985723988685191</c:v>
                </c:pt>
                <c:pt idx="53">
                  <c:v>0.97128058050703392</c:v>
                </c:pt>
                <c:pt idx="54">
                  <c:v>0.97264795724975484</c:v>
                </c:pt>
                <c:pt idx="55">
                  <c:v>0.97400879204609281</c:v>
                </c:pt>
                <c:pt idx="56">
                  <c:v>0.9753469224402781</c:v>
                </c:pt>
                <c:pt idx="57">
                  <c:v>0.97655344426605284</c:v>
                </c:pt>
                <c:pt idx="58">
                  <c:v>0.97773209410177575</c:v>
                </c:pt>
                <c:pt idx="59">
                  <c:v>0.97890106845377256</c:v>
                </c:pt>
                <c:pt idx="60">
                  <c:v>0.98000011544611276</c:v>
                </c:pt>
                <c:pt idx="61">
                  <c:v>0.98101252287963303</c:v>
                </c:pt>
                <c:pt idx="62">
                  <c:v>0.98196473341156199</c:v>
                </c:pt>
                <c:pt idx="63">
                  <c:v>0.98288907195343911</c:v>
                </c:pt>
                <c:pt idx="64">
                  <c:v>0.98380466957535917</c:v>
                </c:pt>
                <c:pt idx="65">
                  <c:v>0.98471944258218891</c:v>
                </c:pt>
                <c:pt idx="66">
                  <c:v>0.98560650852198484</c:v>
                </c:pt>
                <c:pt idx="67">
                  <c:v>0.98636290045713926</c:v>
                </c:pt>
                <c:pt idx="68">
                  <c:v>0.98701951396636844</c:v>
                </c:pt>
                <c:pt idx="69">
                  <c:v>0.98764352769236152</c:v>
                </c:pt>
                <c:pt idx="70">
                  <c:v>0.98821614041105976</c:v>
                </c:pt>
                <c:pt idx="71">
                  <c:v>0.98878177138866019</c:v>
                </c:pt>
                <c:pt idx="72">
                  <c:v>0.98931694658225922</c:v>
                </c:pt>
                <c:pt idx="73">
                  <c:v>0.98984327090722246</c:v>
                </c:pt>
                <c:pt idx="74">
                  <c:v>0.99033721534630692</c:v>
                </c:pt>
                <c:pt idx="75">
                  <c:v>0.99078756513428468</c:v>
                </c:pt>
                <c:pt idx="76">
                  <c:v>0.99122263205592231</c:v>
                </c:pt>
                <c:pt idx="77">
                  <c:v>0.99164027211198513</c:v>
                </c:pt>
                <c:pt idx="78">
                  <c:v>0.99205290950316682</c:v>
                </c:pt>
                <c:pt idx="79">
                  <c:v>0.99245867510192942</c:v>
                </c:pt>
                <c:pt idx="80">
                  <c:v>0.99285190655131961</c:v>
                </c:pt>
                <c:pt idx="81">
                  <c:v>0.9932272163660808</c:v>
                </c:pt>
                <c:pt idx="82">
                  <c:v>0.99359818320803317</c:v>
                </c:pt>
                <c:pt idx="83">
                  <c:v>0.99395243785082232</c:v>
                </c:pt>
                <c:pt idx="84">
                  <c:v>0.99427464245376873</c:v>
                </c:pt>
                <c:pt idx="85">
                  <c:v>0.99459200931485214</c:v>
                </c:pt>
                <c:pt idx="86">
                  <c:v>0.99488661679944357</c:v>
                </c:pt>
                <c:pt idx="87">
                  <c:v>0.9951605539324383</c:v>
                </c:pt>
                <c:pt idx="88">
                  <c:v>0.9954335565016641</c:v>
                </c:pt>
                <c:pt idx="89">
                  <c:v>0.99569451969057154</c:v>
                </c:pt>
                <c:pt idx="90">
                  <c:v>0.99595168965006375</c:v>
                </c:pt>
                <c:pt idx="91">
                  <c:v>0.99616592465052145</c:v>
                </c:pt>
                <c:pt idx="92">
                  <c:v>0.99635948929938245</c:v>
                </c:pt>
                <c:pt idx="93">
                  <c:v>0.99655162461542035</c:v>
                </c:pt>
                <c:pt idx="94">
                  <c:v>0.9967336996273567</c:v>
                </c:pt>
                <c:pt idx="95">
                  <c:v>0.99689977710654132</c:v>
                </c:pt>
                <c:pt idx="96">
                  <c:v>0.99706294094574033</c:v>
                </c:pt>
                <c:pt idx="97">
                  <c:v>0.99722445555475869</c:v>
                </c:pt>
                <c:pt idx="98">
                  <c:v>0.99737909837135796</c:v>
                </c:pt>
                <c:pt idx="99">
                  <c:v>0.99752829872836135</c:v>
                </c:pt>
                <c:pt idx="100">
                  <c:v>0.99766875816540768</c:v>
                </c:pt>
                <c:pt idx="101">
                  <c:v>0.99780608406511084</c:v>
                </c:pt>
                <c:pt idx="102">
                  <c:v>0.99793527376258984</c:v>
                </c:pt>
                <c:pt idx="103">
                  <c:v>0.99805841628273995</c:v>
                </c:pt>
                <c:pt idx="104">
                  <c:v>0.99816792516673059</c:v>
                </c:pt>
                <c:pt idx="105">
                  <c:v>0.99827627958959486</c:v>
                </c:pt>
                <c:pt idx="106">
                  <c:v>0.99837523340042977</c:v>
                </c:pt>
                <c:pt idx="107">
                  <c:v>0.99846824998261463</c:v>
                </c:pt>
                <c:pt idx="108">
                  <c:v>0.99855357015729007</c:v>
                </c:pt>
                <c:pt idx="109">
                  <c:v>0.99863817566555391</c:v>
                </c:pt>
                <c:pt idx="110">
                  <c:v>0.99871673399648897</c:v>
                </c:pt>
                <c:pt idx="111">
                  <c:v>0.99879380802026152</c:v>
                </c:pt>
                <c:pt idx="112">
                  <c:v>0.9989429534029256</c:v>
                </c:pt>
                <c:pt idx="113">
                  <c:v>0.99901568445388933</c:v>
                </c:pt>
                <c:pt idx="114">
                  <c:v>0.99908742596674471</c:v>
                </c:pt>
                <c:pt idx="115">
                  <c:v>0.99915515435282731</c:v>
                </c:pt>
                <c:pt idx="116">
                  <c:v>0.99922288273890991</c:v>
                </c:pt>
                <c:pt idx="117">
                  <c:v>0.9992884671257577</c:v>
                </c:pt>
                <c:pt idx="118">
                  <c:v>0.99934717972018638</c:v>
                </c:pt>
                <c:pt idx="119">
                  <c:v>0.99940402318707711</c:v>
                </c:pt>
                <c:pt idx="120">
                  <c:v>0.99949544551342073</c:v>
                </c:pt>
                <c:pt idx="121">
                  <c:v>0.99953579667850567</c:v>
                </c:pt>
                <c:pt idx="122">
                  <c:v>0.99957570804887574</c:v>
                </c:pt>
                <c:pt idx="123">
                  <c:v>0.99961506967585234</c:v>
                </c:pt>
                <c:pt idx="124">
                  <c:v>0.99965267212396958</c:v>
                </c:pt>
                <c:pt idx="125">
                  <c:v>0.99968521693286638</c:v>
                </c:pt>
                <c:pt idx="126">
                  <c:v>0.99974057609259459</c:v>
                </c:pt>
                <c:pt idx="127">
                  <c:v>0.9997676234675561</c:v>
                </c:pt>
                <c:pt idx="128">
                  <c:v>0.99979318653535509</c:v>
                </c:pt>
                <c:pt idx="129">
                  <c:v>0.99981776006504575</c:v>
                </c:pt>
                <c:pt idx="130">
                  <c:v>0.99983744087853399</c:v>
                </c:pt>
                <c:pt idx="131">
                  <c:v>0.99985635205127132</c:v>
                </c:pt>
                <c:pt idx="132">
                  <c:v>0.99989027121865204</c:v>
                </c:pt>
                <c:pt idx="133">
                  <c:v>0.99990483941858055</c:v>
                </c:pt>
                <c:pt idx="134">
                  <c:v>0.99992875325619901</c:v>
                </c:pt>
                <c:pt idx="135">
                  <c:v>0.99998279303178284</c:v>
                </c:pt>
                <c:pt idx="136">
                  <c:v>0.99998532185139311</c:v>
                </c:pt>
                <c:pt idx="137">
                  <c:v>0.9999919187721154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6</c:f>
              <c:strCache>
                <c:ptCount val="125"/>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Apericube Edition Limitee Best Of Foot Fromage Fondu Cube Assortis 1X250Gr 48P</c:v>
                </c:pt>
                <c:pt idx="8">
                  <c:v>Kiri Creme Fromage Blanc Frais Carre 1X216Gr 12P</c:v>
                </c:pt>
                <c:pt idx="9">
                  <c:v>Apericube Cocktail Fromage Fondu Cube Assortis 1X250Gr 48P</c:v>
                </c:pt>
                <c:pt idx="10">
                  <c:v>Boursin Classique Fromage Frais A Tartiner Afh Boite 1X150Gr 1P</c:v>
                </c:pt>
                <c:pt idx="11">
                  <c:v>Boursin Classique Fromage Frais A Tartiner Afh 1X160Gr 10P</c:v>
                </c:pt>
                <c:pt idx="12">
                  <c:v>Kiri Gouter Fromage Blanc Dips Boite 1X175Gr 5P</c:v>
                </c:pt>
                <c:pt idx="13">
                  <c:v>Apericube Long Drink Fromage Fondu Cube Assortis 1X250Gr 48P</c:v>
                </c:pt>
                <c:pt idx="14">
                  <c:v>Boursin Aperitif Roules Fromage Frais Roule Afh Et Jambon Fume Boite 1X100Gr 20P</c:v>
                </c:pt>
                <c:pt idx="15">
                  <c:v>Boursin Classique Fromage Frais A Tartiner Afh Boite 1X250Gr 1P</c:v>
                </c:pt>
                <c:pt idx="16">
                  <c:v>Boursin Salade &amp; Aperitif Fromage Frais Des Afh 1X120Gr 1P</c:v>
                </c:pt>
                <c:pt idx="17">
                  <c:v>Kiri Gouter Fromage Blanc Dips Boite 1X280Gr 8P</c:v>
                </c:pt>
                <c:pt idx="18">
                  <c:v>Apericube Tonic Fromage Fondu Cube Assortis 1X250Gr 48P</c:v>
                </c:pt>
                <c:pt idx="19">
                  <c:v>La Vache Qui Rit Pik Et Croq' Fromage Fondu Dips Boite 1X175Gr 5P</c:v>
                </c:pt>
                <c:pt idx="20">
                  <c:v>Mini Babybel Rouge Filet St Paulin Ferme 1X440Gr 20P</c:v>
                </c:pt>
                <c:pt idx="21">
                  <c:v>Apericube Edition Limitee Saison Fromage Fondu Cube Assortis 1X250Gr 48P</c:v>
                </c:pt>
                <c:pt idx="22">
                  <c:v>Apericube Nature Fromage Fondu Cube 1X125Gr 24P</c:v>
                </c:pt>
                <c:pt idx="23">
                  <c:v>La Vache Qui Rit Nature Fromage Fondu Boite Ronde 1X128Gr 8P</c:v>
                </c:pt>
                <c:pt idx="24">
                  <c:v>Mini Babybel Rouge Filet Soft Cheese Enfant 352G</c:v>
                </c:pt>
                <c:pt idx="25">
                  <c:v>La Vache Qui Rit Nature Fromage Fondu Boite Ronde 1X512Gr 24+8P</c:v>
                </c:pt>
                <c:pt idx="26">
                  <c:v>Kiri Creme Fromage Blanc Frais Carre 1X432Gr 18+6P</c:v>
                </c:pt>
                <c:pt idx="27">
                  <c:v>Apericube Incontournable Fromage Fondu Cube Assortis 1X250Gr 48P</c:v>
                </c:pt>
                <c:pt idx="28">
                  <c:v>Babybel St Paulin 1X200Gr 1P</c:v>
                </c:pt>
                <c:pt idx="29">
                  <c:v>Boursin Aperitif Roules Fromage Frais Roule Ciboulette &amp; Echalote Jambon Fume Boite 1X100Gr 20P</c:v>
                </c:pt>
                <c:pt idx="30">
                  <c:v>Mini Babybel Rouge Filet Soft Cheese Enfant 484G</c:v>
                </c:pt>
                <c:pt idx="31">
                  <c:v>Boursin Classique Fromage Frais A Tartiner Afh Boite 1X96Gr 6P</c:v>
                </c:pt>
                <c:pt idx="32">
                  <c:v>Port Salut St Paulin 1X320Gr 1P</c:v>
                </c:pt>
                <c:pt idx="33">
                  <c:v>Apericube Campagne Fromage Fondu Cube Assortis 1X125Gr 24P</c:v>
                </c:pt>
                <c:pt idx="34">
                  <c:v>Apericube Carrement Toque Fromage Fondu Cube Assortis 1X250Gr 48P</c:v>
                </c:pt>
                <c:pt idx="35">
                  <c:v>Apericube Best Of Des Saveurs Fromage Fondu Cube Assortis 1X125Gr 24P</c:v>
                </c:pt>
                <c:pt idx="36">
                  <c:v>Mini Babybel Rouge Filet St Paulin Ferme 1X396Gr 12+6P</c:v>
                </c:pt>
                <c:pt idx="37">
                  <c:v>Toastinette Cheddar Fondu Tranche A Chaud Sachet 1X200Gr 10P</c:v>
                </c:pt>
                <c:pt idx="38">
                  <c:v>Toastinette Fromage Fondu Tranche A Chaud Sachet 1X200Gr 10P</c:v>
                </c:pt>
                <c:pt idx="39">
                  <c:v>Cousteron St Paulin 1X320Gr 1P</c:v>
                </c:pt>
                <c:pt idx="40">
                  <c:v>Kiri Delicieusement Fouette Fromage Frais A Tartiner 1X125Gr 1P</c:v>
                </c:pt>
                <c:pt idx="41">
                  <c:v>Boursin Classique Fromage Frais A Tartiner Ciboulette &amp; Echalote Boite 1X150Gr 1P</c:v>
                </c:pt>
                <c:pt idx="42">
                  <c:v>Apericube Edition Voyage Fromage Fondu Cube Assortis 1X250Gr 48P</c:v>
                </c:pt>
                <c:pt idx="43">
                  <c:v>Apericube Long Drink Fromage Fondu Cube Assortis 1X125Gr 24P</c:v>
                </c:pt>
                <c:pt idx="44">
                  <c:v>Boursin Onctueux Fromage Frais A Tartiner Afh 1X125Gr 1P</c:v>
                </c:pt>
                <c:pt idx="45">
                  <c:v>Mini Babybel Aros St Paulin Ferme Assortis Filet 1X180Gr 9P</c:v>
                </c:pt>
                <c:pt idx="46">
                  <c:v>Apericube Vertical Soiree Apero Fromage Fondu Cube Assortis 1X125Gr 24P</c:v>
                </c:pt>
                <c:pt idx="47">
                  <c:v>Kiri Delicieusement Fouette Fromage Frais A Tartiner 1X210Gr 1P</c:v>
                </c:pt>
                <c:pt idx="48">
                  <c:v>Babybel Mini Rolls St Paulin Ferme Sachet 1X85Gr 5P</c:v>
                </c:pt>
                <c:pt idx="49">
                  <c:v>Boursin Salade &amp; Aperitif Fromage Frais Des Ciboulette Echalote 1X120Gr 1P</c:v>
                </c:pt>
                <c:pt idx="50">
                  <c:v>La Vache Qui Rit Pik Et Croq' Fromage Fondu Dips Boite 1X280Gr 8P</c:v>
                </c:pt>
                <c:pt idx="51">
                  <c:v>Boursin Classique Fromage Frais A Tartiner Figue Et 3 Noix Boite 1X150Gr 1P</c:v>
                </c:pt>
                <c:pt idx="52">
                  <c:v>Apericube Soiree Match Aperitif 250G</c:v>
                </c:pt>
                <c:pt idx="53">
                  <c:v>Kiri Delicieusement Fouette Fromage Frais A Tartiner 1X160Gr 10P</c:v>
                </c:pt>
                <c:pt idx="54">
                  <c:v>Boursin Cuisine Sauce Fromage Afh 1X240Gr 1P</c:v>
                </c:pt>
                <c:pt idx="55">
                  <c:v>La Vache Qui Rit Allegee Fromage Fondu Boite Ronde Allege 1X267Gr 16P</c:v>
                </c:pt>
                <c:pt idx="56">
                  <c:v>Apericube Charcut' Fromages Fromage Fondu Cube Assortis 1X250Gr 48P</c:v>
                </c:pt>
                <c:pt idx="57">
                  <c:v>Boursin Salade &amp; Aperitif Fromage Frais Des Figue Noix 1X120Gr 1P</c:v>
                </c:pt>
                <c:pt idx="58">
                  <c:v>Apericube Nature Fromage Fondu Cube 1X250Gr 48P</c:v>
                </c:pt>
                <c:pt idx="59">
                  <c:v>Kiri Bio Fromage Blanc Frais Carre 1X144Gr 8P</c:v>
                </c:pt>
                <c:pt idx="60">
                  <c:v>Mini Babybel Aros Soft Cheese Enfant 180G</c:v>
                </c:pt>
                <c:pt idx="61">
                  <c:v>Apericube Selection Du Fromager Fromage Fondu Cube Assortis 1X250Gr 48P</c:v>
                </c:pt>
                <c:pt idx="62">
                  <c:v>Apericube Sucre Sale Fromage Fondu Cube Assortis 1X250Gr 48P</c:v>
                </c:pt>
                <c:pt idx="63">
                  <c:v>Port Salut St Paulin 1X185Gr 1P</c:v>
                </c:pt>
                <c:pt idx="64">
                  <c:v>Babybel St Paulin 1X380Gr 1P</c:v>
                </c:pt>
                <c:pt idx="65">
                  <c:v>Apericube Vertical Nature Fromage Fondu Cube 1X125Gr 24P</c:v>
                </c:pt>
                <c:pt idx="66">
                  <c:v>Boursin Salade &amp; Aperitif Fromage Frais Des Citron Romarin 1X120Gr 1P</c:v>
                </c:pt>
                <c:pt idx="67">
                  <c:v>Mini Babybel Aros St Paulin Ferme Raclette Filet 1X132Gr 6P</c:v>
                </c:pt>
                <c:pt idx="68">
                  <c:v>La Vache Qui Rit Bio Fromage Fondu Boite Ronde 1X128Gr 8P</c:v>
                </c:pt>
                <c:pt idx="69">
                  <c:v>Mini Babybel Aros Soft Cheese Enfant 110G</c:v>
                </c:pt>
                <c:pt idx="70">
                  <c:v>Nurishh Le Coeur Fleuri Vegetal Camembert Boite 1X140Gr 1P</c:v>
                </c:pt>
                <c:pt idx="71">
                  <c:v>Boursin Classique Fromage Frais A Tartiner Afh Boite 1X80Gr 1P</c:v>
                </c:pt>
                <c:pt idx="72">
                  <c:v>Apericube Hot Chalenge Aperitif 250G</c:v>
                </c:pt>
                <c:pt idx="73">
                  <c:v>Port Salut St Paulin Tranche Boite 1X200Gr 6P</c:v>
                </c:pt>
                <c:pt idx="74">
                  <c:v>Boursin Salade &amp; Aperitif Fromage Frais Des Noisette Et 3 Noix 1X120Gr 1P</c:v>
                </c:pt>
                <c:pt idx="75">
                  <c:v>Boursin Classique Fromage Frais A Tartiner Afh 1X256Gr 16P</c:v>
                </c:pt>
                <c:pt idx="76">
                  <c:v>Nurishh Les Tranches Vegetales Emmental Vegetal Tranche Boite 1X160Gr 8P</c:v>
                </c:pt>
                <c:pt idx="77">
                  <c:v>Boursin Salade &amp; Aperitif Soft Cheese Salade 120G</c:v>
                </c:pt>
                <c:pt idx="78">
                  <c:v>Nurishh Le Rape Vegetal Specialite Vegetale Sachet 1X150Gr 1P</c:v>
                </c:pt>
                <c:pt idx="79">
                  <c:v>Nurishh Les Tranches Vegetales Cheddar Vegetal Tranche Boite 1X160Gr 8P</c:v>
                </c:pt>
                <c:pt idx="80">
                  <c:v>Nurishh Le Palet Vegetal Specialite Vegetale Ovale Saveur Chevre Boite 1X140Gr 1P</c:v>
                </c:pt>
                <c:pt idx="81">
                  <c:v>Boursin Classique Fromage Frais A Tartiner 3 Noix Boite 1X150Gr 1P</c:v>
                </c:pt>
                <c:pt idx="82">
                  <c:v>Apericube Fromages Du Monde Aperitif 250G</c:v>
                </c:pt>
                <c:pt idx="83">
                  <c:v>Apericube Jambon Fromage Fondu Cube 1X78Gr 15P</c:v>
                </c:pt>
                <c:pt idx="84">
                  <c:v>Boursin Classique Fromage Frais A Tartiner Poivre Boite 1X150Gr 1P</c:v>
                </c:pt>
                <c:pt idx="85">
                  <c:v>Mini Babybel Aros St Paulin Ferme Emmental Filet 1X120Gr 6P</c:v>
                </c:pt>
                <c:pt idx="86">
                  <c:v>Apericube P'Tits Plaisirs Fromage Fondu Cube 3 Fromages &amp; Jambon Cru Olive Verte 1X78Gr 15P</c:v>
                </c:pt>
                <c:pt idx="87">
                  <c:v>Apericube Saveurs De L'Authentique Fromage Fondu Cube Assortis 1X250Gr 48P</c:v>
                </c:pt>
                <c:pt idx="88">
                  <c:v>Nurishh Le Rape Vegetal Specialite Vegetale Emmental Sachet 1X150Gr 1P</c:v>
                </c:pt>
                <c:pt idx="89">
                  <c:v>Nurishh Des Vegetaux Feta Vegetale Sachet 1X150Gr 1P</c:v>
                </c:pt>
                <c:pt idx="90">
                  <c:v>Boursin Vegetal Specialite Vegetale A Tartiner Afh 1X130Gr 1P</c:v>
                </c:pt>
                <c:pt idx="91">
                  <c:v>Boursin Onctueux Fromage Frais A Tartiner Afh 1X210Gr 1P</c:v>
                </c:pt>
                <c:pt idx="92">
                  <c:v>Nurishh Le Rape Vegetal Mozzarella Vegetale Sachet 1X150Gr 1P</c:v>
                </c:pt>
                <c:pt idx="93">
                  <c:v>Boursin Aperitif Roules Aperitif 100G</c:v>
                </c:pt>
                <c:pt idx="94">
                  <c:v>Boursin Aperitif Roules Fromage Frais Roule Jambon Fume &amp; Trio De Noix Boite 1X100Gr 20P</c:v>
                </c:pt>
                <c:pt idx="95">
                  <c:v>Apericube Montagne Aperitif 250G</c:v>
                </c:pt>
                <c:pt idx="96">
                  <c:v>Boursin Classique Fromage Frais A Tartiner Truffe Boite 1X150Gr 1P</c:v>
                </c:pt>
                <c:pt idx="97">
                  <c:v>Boursin Classique Fromage Frais A Tartiner Afh Boite 1X320Gr 16+4P</c:v>
                </c:pt>
                <c:pt idx="98">
                  <c:v>Boursin Vegetal Alternative Vegetale 150G</c:v>
                </c:pt>
                <c:pt idx="99">
                  <c:v>Boursin Classique Fromage Frais A Tartiner 3 Noix 1X160Gr 10P</c:v>
                </c:pt>
                <c:pt idx="100">
                  <c:v>Mini Babybel Rouge Filet St Paulin Ferme Sachet 1X40Gr 1P</c:v>
                </c:pt>
                <c:pt idx="101">
                  <c:v>La Vache Qui Rit Le Fondant Fromage Fondu 1X200Gr 1P</c:v>
                </c:pt>
                <c:pt idx="102">
                  <c:v>Nurishh Les Tranches Vegetales Emmental Vegetal Tranche Boite 1X200Gr 10P</c:v>
                </c:pt>
                <c:pt idx="103">
                  <c:v>Mini Babybel Aros Soft Cheese Enfant 120G</c:v>
                </c:pt>
                <c:pt idx="104">
                  <c:v>Nurishh Les Tranches Vegetales Cheddar Vegetal Tranche Boite 1X200Gr 10P</c:v>
                </c:pt>
                <c:pt idx="105">
                  <c:v>La Vache Qui Rit Aro Fromage Fondu Boite Ronde Jambon 1X133Gr 8P</c:v>
                </c:pt>
                <c:pt idx="106">
                  <c:v>Nurishh Les Tranches Vegetales Specialite Vegetale Tranche Piment Boite 1X120Gr 6P</c:v>
                </c:pt>
                <c:pt idx="107">
                  <c:v>Toastinette Fromage Fondu Tranche A Chaud Sachet 1X340Gr 20P</c:v>
                </c:pt>
                <c:pt idx="108">
                  <c:v>Nurishh Le Tartinable Vegetal Specialite Vegetale A Tartiner 1X130Gr 1P</c:v>
                </c:pt>
                <c:pt idx="109">
                  <c:v>Toastinette Cheddar Fondu Tranche A Chaud Sachet 1X340Gr 20P</c:v>
                </c:pt>
                <c:pt idx="110">
                  <c:v>La Vache Qui Rit Pik Et Croq' Fromage Fondu Dips Boite 1X35Gr 1P</c:v>
                </c:pt>
                <c:pt idx="111">
                  <c:v>Kiri Chevre Fromage Blanc Frais Carre 1X144Gr 8P</c:v>
                </c:pt>
                <c:pt idx="112">
                  <c:v>Boursin Classique Fromage Frais A Tartiner Citron &amp; Romarin Boite 1X150Gr 1P</c:v>
                </c:pt>
                <c:pt idx="113">
                  <c:v>Mini Babybel Bio St Paulin Ferme Filet 1X100Gr 5P</c:v>
                </c:pt>
                <c:pt idx="114">
                  <c:v>Boursin Classique Fromage Frais A Tartiner Ciboulette &amp; Echalote 1X160Gr 10P</c:v>
                </c:pt>
                <c:pt idx="115">
                  <c:v>Cousteron St Paulin 1X460Gr 1P</c:v>
                </c:pt>
                <c:pt idx="116">
                  <c:v>Mini Babybel Rouge Filet St Paulin Ferme 1X110Gr 5P</c:v>
                </c:pt>
                <c:pt idx="117">
                  <c:v>Port Salut Pause Fondante Specialite Roux Sachet 1X180Gr 1P</c:v>
                </c:pt>
                <c:pt idx="118">
                  <c:v>Limiano Queijo Flamengo Tranche Sachet 1X200Gr 1P</c:v>
                </c:pt>
                <c:pt idx="119">
                  <c:v>Limiano Queijo Flamengo Bloc 1X600Gr 1P</c:v>
                </c:pt>
                <c:pt idx="120">
                  <c:v>Limiano Queijo Flamengo Autre Sachet 1X450Gr 1P</c:v>
                </c:pt>
                <c:pt idx="121">
                  <c:v>Nurishh Le Rape Vegetal Specialite Vegetale Sachet 1X200Gr 1P</c:v>
                </c:pt>
                <c:pt idx="122">
                  <c:v>Nurishh Le Rape Vegetal Mozzarella Vegetale Sachet 1X200Gr 1P</c:v>
                </c:pt>
                <c:pt idx="123">
                  <c:v>Boursin Aperitif Roules Fromage Frais Roule Basilic &amp; Jambon Fume Tomate Boite 1X100Gr 20P</c:v>
                </c:pt>
                <c:pt idx="124">
                  <c:v>Mini Babybel Rouge Filet St Paulin Ferme 1X396Gr 18P</c:v>
                </c:pt>
              </c:strCache>
            </c:strRef>
          </c:cat>
          <c:val>
            <c:numRef>
              <c:f>Sheet1!$B$2:$B$126</c:f>
              <c:numCache>
                <c:formatCode>General</c:formatCode>
                <c:ptCount val="125"/>
                <c:pt idx="0">
                  <c:v>0.82699999999999996</c:v>
                </c:pt>
                <c:pt idx="1">
                  <c:v>0.86799999999999999</c:v>
                </c:pt>
                <c:pt idx="2">
                  <c:v>0.99</c:v>
                </c:pt>
                <c:pt idx="3">
                  <c:v>0.89800000000000002</c:v>
                </c:pt>
                <c:pt idx="4">
                  <c:v>0.98099999999999998</c:v>
                </c:pt>
                <c:pt idx="5">
                  <c:v>0.77800000000000002</c:v>
                </c:pt>
                <c:pt idx="6">
                  <c:v>0.99</c:v>
                </c:pt>
                <c:pt idx="7">
                  <c:v>0.90800000000000003</c:v>
                </c:pt>
                <c:pt idx="8">
                  <c:v>0.83399999999999996</c:v>
                </c:pt>
                <c:pt idx="9">
                  <c:v>0.878</c:v>
                </c:pt>
                <c:pt idx="10">
                  <c:v>0.96799999999999997</c:v>
                </c:pt>
                <c:pt idx="11">
                  <c:v>0.91500000000000004</c:v>
                </c:pt>
                <c:pt idx="12">
                  <c:v>0.94899999999999995</c:v>
                </c:pt>
                <c:pt idx="13">
                  <c:v>0.85799999999999998</c:v>
                </c:pt>
                <c:pt idx="14">
                  <c:v>0.90500000000000003</c:v>
                </c:pt>
                <c:pt idx="15">
                  <c:v>0.81699999999999995</c:v>
                </c:pt>
                <c:pt idx="16">
                  <c:v>0.96199999999999997</c:v>
                </c:pt>
                <c:pt idx="17">
                  <c:v>0.73199999999999998</c:v>
                </c:pt>
                <c:pt idx="18">
                  <c:v>0.75700000000000001</c:v>
                </c:pt>
                <c:pt idx="19">
                  <c:v>0.90800000000000003</c:v>
                </c:pt>
                <c:pt idx="20">
                  <c:v>0.82</c:v>
                </c:pt>
                <c:pt idx="21">
                  <c:v>0.76200000000000001</c:v>
                </c:pt>
                <c:pt idx="22">
                  <c:v>0.85</c:v>
                </c:pt>
                <c:pt idx="23">
                  <c:v>0.69399999999999995</c:v>
                </c:pt>
                <c:pt idx="24">
                  <c:v>0.80800000000000005</c:v>
                </c:pt>
                <c:pt idx="25">
                  <c:v>0.72499999999999998</c:v>
                </c:pt>
                <c:pt idx="26">
                  <c:v>0.71599999999999997</c:v>
                </c:pt>
                <c:pt idx="27">
                  <c:v>0.63800000000000001</c:v>
                </c:pt>
                <c:pt idx="28">
                  <c:v>0.95899999999999996</c:v>
                </c:pt>
                <c:pt idx="29">
                  <c:v>0.78800000000000003</c:v>
                </c:pt>
                <c:pt idx="30">
                  <c:v>0.443</c:v>
                </c:pt>
                <c:pt idx="31">
                  <c:v>0.82099999999999995</c:v>
                </c:pt>
                <c:pt idx="32">
                  <c:v>0.82</c:v>
                </c:pt>
                <c:pt idx="33">
                  <c:v>0.76300000000000001</c:v>
                </c:pt>
                <c:pt idx="34">
                  <c:v>0.65400000000000003</c:v>
                </c:pt>
                <c:pt idx="35">
                  <c:v>0.81599999999999995</c:v>
                </c:pt>
                <c:pt idx="36">
                  <c:v>0.73599999999999999</c:v>
                </c:pt>
                <c:pt idx="37">
                  <c:v>0.85399999999999998</c:v>
                </c:pt>
                <c:pt idx="38">
                  <c:v>0.76400000000000001</c:v>
                </c:pt>
                <c:pt idx="39">
                  <c:v>0.82</c:v>
                </c:pt>
                <c:pt idx="40">
                  <c:v>0.77400000000000002</c:v>
                </c:pt>
                <c:pt idx="41">
                  <c:v>0.79300000000000004</c:v>
                </c:pt>
                <c:pt idx="42">
                  <c:v>0.54</c:v>
                </c:pt>
                <c:pt idx="43">
                  <c:v>0.77900000000000003</c:v>
                </c:pt>
                <c:pt idx="44">
                  <c:v>0.77400000000000002</c:v>
                </c:pt>
                <c:pt idx="45">
                  <c:v>0.69199999999999995</c:v>
                </c:pt>
                <c:pt idx="46">
                  <c:v>0.106</c:v>
                </c:pt>
                <c:pt idx="47">
                  <c:v>0.64300000000000002</c:v>
                </c:pt>
                <c:pt idx="48">
                  <c:v>0.61799999999999999</c:v>
                </c:pt>
                <c:pt idx="49">
                  <c:v>0.81699999999999995</c:v>
                </c:pt>
                <c:pt idx="50">
                  <c:v>0.434</c:v>
                </c:pt>
                <c:pt idx="51">
                  <c:v>0.69399999999999995</c:v>
                </c:pt>
                <c:pt idx="52">
                  <c:v>0.75900000000000001</c:v>
                </c:pt>
                <c:pt idx="53">
                  <c:v>0.68899999999999995</c:v>
                </c:pt>
                <c:pt idx="54">
                  <c:v>0.77300000000000002</c:v>
                </c:pt>
                <c:pt idx="55">
                  <c:v>0.495</c:v>
                </c:pt>
                <c:pt idx="56">
                  <c:v>0.505</c:v>
                </c:pt>
                <c:pt idx="57">
                  <c:v>0.80100000000000005</c:v>
                </c:pt>
                <c:pt idx="58">
                  <c:v>0.51600000000000001</c:v>
                </c:pt>
                <c:pt idx="59">
                  <c:v>0.502</c:v>
                </c:pt>
                <c:pt idx="60">
                  <c:v>0.69699999999999995</c:v>
                </c:pt>
                <c:pt idx="61">
                  <c:v>0.49399999999999999</c:v>
                </c:pt>
                <c:pt idx="62">
                  <c:v>0.46800000000000003</c:v>
                </c:pt>
                <c:pt idx="63">
                  <c:v>0.14000000000000001</c:v>
                </c:pt>
                <c:pt idx="64">
                  <c:v>0.40200000000000002</c:v>
                </c:pt>
                <c:pt idx="65">
                  <c:v>6.3E-2</c:v>
                </c:pt>
                <c:pt idx="66">
                  <c:v>0.70699999999999996</c:v>
                </c:pt>
                <c:pt idx="67">
                  <c:v>0.42299999999999999</c:v>
                </c:pt>
                <c:pt idx="68">
                  <c:v>0.48199999999999998</c:v>
                </c:pt>
                <c:pt idx="69">
                  <c:v>0.64500000000000002</c:v>
                </c:pt>
                <c:pt idx="70">
                  <c:v>0.52600000000000002</c:v>
                </c:pt>
                <c:pt idx="71">
                  <c:v>0.44700000000000001</c:v>
                </c:pt>
                <c:pt idx="72">
                  <c:v>0.47199999999999998</c:v>
                </c:pt>
                <c:pt idx="73">
                  <c:v>0.13300000000000001</c:v>
                </c:pt>
                <c:pt idx="74">
                  <c:v>0.73799999999999999</c:v>
                </c:pt>
                <c:pt idx="75">
                  <c:v>0.26500000000000001</c:v>
                </c:pt>
                <c:pt idx="76">
                  <c:v>0.432</c:v>
                </c:pt>
                <c:pt idx="77">
                  <c:v>0.69799999999999995</c:v>
                </c:pt>
                <c:pt idx="78">
                  <c:v>0.499</c:v>
                </c:pt>
                <c:pt idx="79">
                  <c:v>0.44600000000000001</c:v>
                </c:pt>
                <c:pt idx="80">
                  <c:v>0.39600000000000002</c:v>
                </c:pt>
                <c:pt idx="81">
                  <c:v>0.53700000000000003</c:v>
                </c:pt>
                <c:pt idx="82">
                  <c:v>0.35099999999999998</c:v>
                </c:pt>
                <c:pt idx="83">
                  <c:v>0.06</c:v>
                </c:pt>
                <c:pt idx="84">
                  <c:v>0.40200000000000002</c:v>
                </c:pt>
                <c:pt idx="85">
                  <c:v>0.31900000000000001</c:v>
                </c:pt>
                <c:pt idx="86">
                  <c:v>0.38600000000000001</c:v>
                </c:pt>
                <c:pt idx="87">
                  <c:v>0.14099999999999999</c:v>
                </c:pt>
                <c:pt idx="88">
                  <c:v>0.41399999999999998</c:v>
                </c:pt>
                <c:pt idx="89">
                  <c:v>0.47399999999999998</c:v>
                </c:pt>
                <c:pt idx="90">
                  <c:v>0.442</c:v>
                </c:pt>
                <c:pt idx="91">
                  <c:v>0.28100000000000003</c:v>
                </c:pt>
                <c:pt idx="92">
                  <c:v>0.35199999999999998</c:v>
                </c:pt>
                <c:pt idx="93">
                  <c:v>0.35199999999999998</c:v>
                </c:pt>
                <c:pt idx="94">
                  <c:v>0.40899999999999997</c:v>
                </c:pt>
                <c:pt idx="95">
                  <c:v>0.26900000000000002</c:v>
                </c:pt>
                <c:pt idx="96">
                  <c:v>0.51100000000000001</c:v>
                </c:pt>
                <c:pt idx="97">
                  <c:v>0.52800000000000002</c:v>
                </c:pt>
                <c:pt idx="98">
                  <c:v>0.45500000000000002</c:v>
                </c:pt>
                <c:pt idx="99">
                  <c:v>0.379</c:v>
                </c:pt>
                <c:pt idx="100">
                  <c:v>0.128</c:v>
                </c:pt>
                <c:pt idx="101">
                  <c:v>0.26900000000000002</c:v>
                </c:pt>
                <c:pt idx="102">
                  <c:v>0.46200000000000002</c:v>
                </c:pt>
                <c:pt idx="103">
                  <c:v>0.31</c:v>
                </c:pt>
                <c:pt idx="104">
                  <c:v>0.46100000000000002</c:v>
                </c:pt>
                <c:pt idx="105">
                  <c:v>3.6999999999999998E-2</c:v>
                </c:pt>
                <c:pt idx="106">
                  <c:v>0.27900000000000003</c:v>
                </c:pt>
                <c:pt idx="107">
                  <c:v>7.2999999999999995E-2</c:v>
                </c:pt>
                <c:pt idx="108">
                  <c:v>0.32500000000000001</c:v>
                </c:pt>
                <c:pt idx="109">
                  <c:v>7.2999999999999995E-2</c:v>
                </c:pt>
                <c:pt idx="110">
                  <c:v>8.0000000000000002E-3</c:v>
                </c:pt>
                <c:pt idx="111">
                  <c:v>0.26700000000000002</c:v>
                </c:pt>
                <c:pt idx="112">
                  <c:v>0.32400000000000001</c:v>
                </c:pt>
                <c:pt idx="113">
                  <c:v>0.316</c:v>
                </c:pt>
                <c:pt idx="114">
                  <c:v>7.4999999999999997E-2</c:v>
                </c:pt>
                <c:pt idx="115">
                  <c:v>4.1000000000000002E-2</c:v>
                </c:pt>
                <c:pt idx="116">
                  <c:v>2.3E-2</c:v>
                </c:pt>
                <c:pt idx="117">
                  <c:v>1.7999999999999999E-2</c:v>
                </c:pt>
                <c:pt idx="118">
                  <c:v>8.9999999999999993E-3</c:v>
                </c:pt>
                <c:pt idx="119">
                  <c:v>1.4E-2</c:v>
                </c:pt>
                <c:pt idx="120">
                  <c:v>5.0000000000000001E-3</c:v>
                </c:pt>
                <c:pt idx="121">
                  <c:v>1.7999999999999999E-2</c:v>
                </c:pt>
                <c:pt idx="122">
                  <c:v>1.4E-2</c:v>
                </c:pt>
                <c:pt idx="123">
                  <c:v>8.9999999999999993E-3</c:v>
                </c:pt>
                <c:pt idx="124">
                  <c:v>5.000000000000000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00A097"/>
              </a:solidFill>
            </c:spPr>
            <c:extLst>
              <c:ext xmlns:c16="http://schemas.microsoft.com/office/drawing/2014/chart" uri="{C3380CC4-5D6E-409C-BE32-E72D297353CC}">
                <c16:uniqueId val="{00000023-FA3E-4872-B6E1-C4ABDF5766E2}"/>
              </c:ext>
            </c:extLst>
          </c:dPt>
          <c:dPt>
            <c:idx val="17"/>
            <c:invertIfNegative val="1"/>
            <c:bubble3D val="0"/>
            <c:spPr>
              <a:solidFill>
                <a:srgbClr val="00A097"/>
              </a:solidFill>
            </c:spPr>
            <c:extLst>
              <c:ext xmlns:c16="http://schemas.microsoft.com/office/drawing/2014/chart" uri="{C3380CC4-5D6E-409C-BE32-E72D297353CC}">
                <c16:uniqueId val="{00000025-FA3E-4872-B6E1-C4ABDF5766E2}"/>
              </c:ext>
            </c:extLst>
          </c:dPt>
          <c:dPt>
            <c:idx val="18"/>
            <c:invertIfNegative val="1"/>
            <c:bubble3D val="0"/>
            <c:spPr>
              <a:solidFill>
                <a:srgbClr val="00A097"/>
              </a:solidFill>
            </c:spPr>
            <c:extLst>
              <c:ext xmlns:c16="http://schemas.microsoft.com/office/drawing/2014/chart" uri="{C3380CC4-5D6E-409C-BE32-E72D297353CC}">
                <c16:uniqueId val="{00000027-FA3E-4872-B6E1-C4ABDF5766E2}"/>
              </c:ext>
            </c:extLst>
          </c:dPt>
          <c:dPt>
            <c:idx val="19"/>
            <c:invertIfNegative val="1"/>
            <c:bubble3D val="0"/>
            <c:spPr>
              <a:solidFill>
                <a:srgbClr val="00A097"/>
              </a:solidFill>
            </c:spPr>
            <c:extLst>
              <c:ext xmlns:c16="http://schemas.microsoft.com/office/drawing/2014/chart" uri="{C3380CC4-5D6E-409C-BE32-E72D297353CC}">
                <c16:uniqueId val="{00000029-FA3E-4872-B6E1-C4ABDF5766E2}"/>
              </c:ext>
            </c:extLst>
          </c:dPt>
          <c:dPt>
            <c:idx val="20"/>
            <c:invertIfNegative val="1"/>
            <c:bubble3D val="0"/>
            <c:spPr>
              <a:solidFill>
                <a:srgbClr val="00A097"/>
              </a:solidFill>
            </c:spPr>
            <c:extLst>
              <c:ext xmlns:c16="http://schemas.microsoft.com/office/drawing/2014/chart" uri="{C3380CC4-5D6E-409C-BE32-E72D297353CC}">
                <c16:uniqueId val="{0000002B-FA3E-4872-B6E1-C4ABDF5766E2}"/>
              </c:ext>
            </c:extLst>
          </c:dPt>
          <c:dPt>
            <c:idx val="21"/>
            <c:invertIfNegative val="1"/>
            <c:bubble3D val="0"/>
            <c:spPr>
              <a:solidFill>
                <a:srgbClr val="00A097"/>
              </a:solidFill>
            </c:spPr>
            <c:extLst>
              <c:ext xmlns:c16="http://schemas.microsoft.com/office/drawing/2014/chart" uri="{C3380CC4-5D6E-409C-BE32-E72D297353CC}">
                <c16:uniqueId val="{0000002D-FA3E-4872-B6E1-C4ABDF5766E2}"/>
              </c:ext>
            </c:extLst>
          </c:dPt>
          <c:dPt>
            <c:idx val="22"/>
            <c:invertIfNegative val="1"/>
            <c:bubble3D val="0"/>
            <c:spPr>
              <a:solidFill>
                <a:srgbClr val="00A097"/>
              </a:solidFill>
            </c:spPr>
            <c:extLst>
              <c:ext xmlns:c16="http://schemas.microsoft.com/office/drawing/2014/chart" uri="{C3380CC4-5D6E-409C-BE32-E72D297353CC}">
                <c16:uniqueId val="{0000002F-FA3E-4872-B6E1-C4ABDF5766E2}"/>
              </c:ext>
            </c:extLst>
          </c:dPt>
          <c:dPt>
            <c:idx val="23"/>
            <c:invertIfNegative val="1"/>
            <c:bubble3D val="0"/>
            <c:spPr>
              <a:solidFill>
                <a:srgbClr val="00A097"/>
              </a:solidFill>
            </c:spPr>
            <c:extLst>
              <c:ext xmlns:c16="http://schemas.microsoft.com/office/drawing/2014/chart" uri="{C3380CC4-5D6E-409C-BE32-E72D297353CC}">
                <c16:uniqueId val="{00000031-FA3E-4872-B6E1-C4ABDF5766E2}"/>
              </c:ext>
            </c:extLst>
          </c:dPt>
          <c:dPt>
            <c:idx val="24"/>
            <c:invertIfNegative val="1"/>
            <c:bubble3D val="0"/>
            <c:spPr>
              <a:solidFill>
                <a:srgbClr val="00A097"/>
              </a:solidFill>
            </c:spPr>
            <c:extLst>
              <c:ext xmlns:c16="http://schemas.microsoft.com/office/drawing/2014/chart" uri="{C3380CC4-5D6E-409C-BE32-E72D297353CC}">
                <c16:uniqueId val="{00000033-FA3E-4872-B6E1-C4ABDF5766E2}"/>
              </c:ext>
            </c:extLst>
          </c:dPt>
          <c:dPt>
            <c:idx val="25"/>
            <c:invertIfNegative val="1"/>
            <c:bubble3D val="0"/>
            <c:spPr>
              <a:solidFill>
                <a:srgbClr val="00A097"/>
              </a:solidFill>
            </c:spPr>
            <c:extLst>
              <c:ext xmlns:c16="http://schemas.microsoft.com/office/drawing/2014/chart" uri="{C3380CC4-5D6E-409C-BE32-E72D297353CC}">
                <c16:uniqueId val="{00000035-FA3E-4872-B6E1-C4ABDF5766E2}"/>
              </c:ext>
            </c:extLst>
          </c:dPt>
          <c:dPt>
            <c:idx val="26"/>
            <c:invertIfNegative val="1"/>
            <c:bubble3D val="0"/>
            <c:spPr>
              <a:solidFill>
                <a:srgbClr val="00A097"/>
              </a:solidFill>
            </c:spPr>
            <c:extLst>
              <c:ext xmlns:c16="http://schemas.microsoft.com/office/drawing/2014/chart" uri="{C3380CC4-5D6E-409C-BE32-E72D297353CC}">
                <c16:uniqueId val="{00000037-FA3E-4872-B6E1-C4ABDF5766E2}"/>
              </c:ext>
            </c:extLst>
          </c:dPt>
          <c:dPt>
            <c:idx val="27"/>
            <c:invertIfNegative val="1"/>
            <c:bubble3D val="0"/>
            <c:spPr>
              <a:solidFill>
                <a:srgbClr val="00A097"/>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7ECAC4"/>
              </a:solidFill>
            </c:spPr>
            <c:extLst>
              <c:ext xmlns:c16="http://schemas.microsoft.com/office/drawing/2014/chart" uri="{C3380CC4-5D6E-409C-BE32-E72D297353CC}">
                <c16:uniqueId val="{0000003F-FA3E-4872-B6E1-C4ABDF5766E2}"/>
              </c:ext>
            </c:extLst>
          </c:dPt>
          <c:dPt>
            <c:idx val="31"/>
            <c:invertIfNegative val="1"/>
            <c:bubble3D val="0"/>
            <c:spPr>
              <a:solidFill>
                <a:srgbClr val="7ECAC4"/>
              </a:solidFill>
            </c:spPr>
            <c:extLst>
              <c:ext xmlns:c16="http://schemas.microsoft.com/office/drawing/2014/chart" uri="{C3380CC4-5D6E-409C-BE32-E72D297353CC}">
                <c16:uniqueId val="{00000041-FA3E-4872-B6E1-C4ABDF5766E2}"/>
              </c:ext>
            </c:extLst>
          </c:dPt>
          <c:dPt>
            <c:idx val="32"/>
            <c:invertIfNegative val="1"/>
            <c:bubble3D val="0"/>
            <c:spPr>
              <a:solidFill>
                <a:srgbClr val="7ECAC4"/>
              </a:solidFill>
            </c:spPr>
            <c:extLst>
              <c:ext xmlns:c16="http://schemas.microsoft.com/office/drawing/2014/chart" uri="{C3380CC4-5D6E-409C-BE32-E72D297353CC}">
                <c16:uniqueId val="{00000043-FA3E-4872-B6E1-C4ABDF5766E2}"/>
              </c:ext>
            </c:extLst>
          </c:dPt>
          <c:dPt>
            <c:idx val="33"/>
            <c:invertIfNegative val="1"/>
            <c:bubble3D val="0"/>
            <c:spPr>
              <a:solidFill>
                <a:srgbClr val="7ECAC4"/>
              </a:solidFill>
            </c:spPr>
            <c:extLst>
              <c:ext xmlns:c16="http://schemas.microsoft.com/office/drawing/2014/chart" uri="{C3380CC4-5D6E-409C-BE32-E72D297353CC}">
                <c16:uniqueId val="{00000045-FA3E-4872-B6E1-C4ABDF5766E2}"/>
              </c:ext>
            </c:extLst>
          </c:dPt>
          <c:dPt>
            <c:idx val="34"/>
            <c:invertIfNegative val="1"/>
            <c:bubble3D val="0"/>
            <c:spPr>
              <a:solidFill>
                <a:srgbClr val="7ECAC4"/>
              </a:solidFill>
            </c:spPr>
            <c:extLst>
              <c:ext xmlns:c16="http://schemas.microsoft.com/office/drawing/2014/chart" uri="{C3380CC4-5D6E-409C-BE32-E72D297353CC}">
                <c16:uniqueId val="{00000047-FA3E-4872-B6E1-C4ABDF5766E2}"/>
              </c:ext>
            </c:extLst>
          </c:dPt>
          <c:dPt>
            <c:idx val="35"/>
            <c:invertIfNegative val="1"/>
            <c:bubble3D val="0"/>
            <c:spPr>
              <a:solidFill>
                <a:srgbClr val="7ECAC4"/>
              </a:solidFill>
            </c:spPr>
            <c:extLst>
              <c:ext xmlns:c16="http://schemas.microsoft.com/office/drawing/2014/chart" uri="{C3380CC4-5D6E-409C-BE32-E72D297353CC}">
                <c16:uniqueId val="{00000049-FA3E-4872-B6E1-C4ABDF5766E2}"/>
              </c:ext>
            </c:extLst>
          </c:dPt>
          <c:dPt>
            <c:idx val="36"/>
            <c:invertIfNegative val="1"/>
            <c:bubble3D val="0"/>
            <c:spPr>
              <a:solidFill>
                <a:srgbClr val="7ECAC4"/>
              </a:solidFill>
            </c:spPr>
            <c:extLst>
              <c:ext xmlns:c16="http://schemas.microsoft.com/office/drawing/2014/chart" uri="{C3380CC4-5D6E-409C-BE32-E72D297353CC}">
                <c16:uniqueId val="{0000004B-FA3E-4872-B6E1-C4ABDF5766E2}"/>
              </c:ext>
            </c:extLst>
          </c:dPt>
          <c:dPt>
            <c:idx val="37"/>
            <c:invertIfNegative val="1"/>
            <c:bubble3D val="0"/>
            <c:spPr>
              <a:solidFill>
                <a:srgbClr val="7ECAC4"/>
              </a:solidFill>
            </c:spPr>
            <c:extLst>
              <c:ext xmlns:c16="http://schemas.microsoft.com/office/drawing/2014/chart" uri="{C3380CC4-5D6E-409C-BE32-E72D297353CC}">
                <c16:uniqueId val="{0000004D-FA3E-4872-B6E1-C4ABDF5766E2}"/>
              </c:ext>
            </c:extLst>
          </c:dPt>
          <c:dPt>
            <c:idx val="38"/>
            <c:invertIfNegative val="1"/>
            <c:bubble3D val="0"/>
            <c:spPr>
              <a:solidFill>
                <a:srgbClr val="7ECAC4"/>
              </a:solidFill>
            </c:spPr>
            <c:extLst>
              <c:ext xmlns:c16="http://schemas.microsoft.com/office/drawing/2014/chart" uri="{C3380CC4-5D6E-409C-BE32-E72D297353CC}">
                <c16:uniqueId val="{0000004F-FA3E-4872-B6E1-C4ABDF5766E2}"/>
              </c:ext>
            </c:extLst>
          </c:dPt>
          <c:dPt>
            <c:idx val="39"/>
            <c:invertIfNegative val="1"/>
            <c:bubble3D val="0"/>
            <c:spPr>
              <a:solidFill>
                <a:srgbClr val="7ECAC4"/>
              </a:solidFill>
            </c:spPr>
            <c:extLst>
              <c:ext xmlns:c16="http://schemas.microsoft.com/office/drawing/2014/chart" uri="{C3380CC4-5D6E-409C-BE32-E72D297353CC}">
                <c16:uniqueId val="{00000051-FA3E-4872-B6E1-C4ABDF5766E2}"/>
              </c:ext>
            </c:extLst>
          </c:dPt>
          <c:dPt>
            <c:idx val="40"/>
            <c:invertIfNegative val="1"/>
            <c:bubble3D val="0"/>
            <c:spPr>
              <a:solidFill>
                <a:srgbClr val="7ECAC4"/>
              </a:solidFill>
            </c:spPr>
            <c:extLst>
              <c:ext xmlns:c16="http://schemas.microsoft.com/office/drawing/2014/chart" uri="{C3380CC4-5D6E-409C-BE32-E72D297353CC}">
                <c16:uniqueId val="{00000053-FA3E-4872-B6E1-C4ABDF5766E2}"/>
              </c:ext>
            </c:extLst>
          </c:dPt>
          <c:dPt>
            <c:idx val="41"/>
            <c:invertIfNegative val="1"/>
            <c:bubble3D val="0"/>
            <c:spPr>
              <a:solidFill>
                <a:srgbClr val="7ECAC4"/>
              </a:solidFill>
            </c:spPr>
            <c:extLst>
              <c:ext xmlns:c16="http://schemas.microsoft.com/office/drawing/2014/chart" uri="{C3380CC4-5D6E-409C-BE32-E72D297353CC}">
                <c16:uniqueId val="{00000055-FA3E-4872-B6E1-C4ABDF5766E2}"/>
              </c:ext>
            </c:extLst>
          </c:dPt>
          <c:dPt>
            <c:idx val="42"/>
            <c:invertIfNegative val="1"/>
            <c:bubble3D val="0"/>
            <c:spPr>
              <a:solidFill>
                <a:srgbClr val="7ECAC4"/>
              </a:solidFill>
            </c:spPr>
            <c:extLst>
              <c:ext xmlns:c16="http://schemas.microsoft.com/office/drawing/2014/chart" uri="{C3380CC4-5D6E-409C-BE32-E72D297353CC}">
                <c16:uniqueId val="{00000057-FA3E-4872-B6E1-C4ABDF5766E2}"/>
              </c:ext>
            </c:extLst>
          </c:dPt>
          <c:dPt>
            <c:idx val="43"/>
            <c:invertIfNegative val="1"/>
            <c:bubble3D val="0"/>
            <c:spPr>
              <a:solidFill>
                <a:srgbClr val="7ECAC4"/>
              </a:solidFill>
            </c:spPr>
            <c:extLst>
              <c:ext xmlns:c16="http://schemas.microsoft.com/office/drawing/2014/chart" uri="{C3380CC4-5D6E-409C-BE32-E72D297353CC}">
                <c16:uniqueId val="{00000059-FA3E-4872-B6E1-C4ABDF5766E2}"/>
              </c:ext>
            </c:extLst>
          </c:dPt>
          <c:dPt>
            <c:idx val="44"/>
            <c:invertIfNegative val="1"/>
            <c:bubble3D val="0"/>
            <c:spPr>
              <a:solidFill>
                <a:srgbClr val="7ECAC4"/>
              </a:solidFill>
            </c:spPr>
            <c:extLst>
              <c:ext xmlns:c16="http://schemas.microsoft.com/office/drawing/2014/chart" uri="{C3380CC4-5D6E-409C-BE32-E72D297353CC}">
                <c16:uniqueId val="{0000005B-865E-4030-B8CF-6E9627B7DF4F}"/>
              </c:ext>
            </c:extLst>
          </c:dPt>
          <c:dPt>
            <c:idx val="45"/>
            <c:invertIfNegative val="1"/>
            <c:bubble3D val="0"/>
            <c:spPr>
              <a:solidFill>
                <a:srgbClr val="7ECAC4"/>
              </a:solidFill>
            </c:spPr>
            <c:extLst>
              <c:ext xmlns:c16="http://schemas.microsoft.com/office/drawing/2014/chart" uri="{C3380CC4-5D6E-409C-BE32-E72D297353CC}">
                <c16:uniqueId val="{0000005D-865E-4030-B8CF-6E9627B7DF4F}"/>
              </c:ext>
            </c:extLst>
          </c:dPt>
          <c:dPt>
            <c:idx val="46"/>
            <c:invertIfNegative val="1"/>
            <c:bubble3D val="0"/>
            <c:spPr>
              <a:solidFill>
                <a:srgbClr val="7ECAC4"/>
              </a:solidFill>
            </c:spPr>
            <c:extLst>
              <c:ext xmlns:c16="http://schemas.microsoft.com/office/drawing/2014/chart" uri="{C3380CC4-5D6E-409C-BE32-E72D297353CC}">
                <c16:uniqueId val="{0000005F-865E-4030-B8CF-6E9627B7DF4F}"/>
              </c:ext>
            </c:extLst>
          </c:dPt>
          <c:dPt>
            <c:idx val="47"/>
            <c:invertIfNegative val="1"/>
            <c:bubble3D val="0"/>
            <c:spPr>
              <a:solidFill>
                <a:srgbClr val="7ECAC4"/>
              </a:solidFill>
            </c:spPr>
            <c:extLst>
              <c:ext xmlns:c16="http://schemas.microsoft.com/office/drawing/2014/chart" uri="{C3380CC4-5D6E-409C-BE32-E72D297353CC}">
                <c16:uniqueId val="{00000061-865E-4030-B8CF-6E9627B7DF4F}"/>
              </c:ext>
            </c:extLst>
          </c:dPt>
          <c:dPt>
            <c:idx val="48"/>
            <c:invertIfNegative val="1"/>
            <c:bubble3D val="0"/>
            <c:spPr>
              <a:solidFill>
                <a:srgbClr val="7ECAC4"/>
              </a:solidFill>
            </c:spPr>
            <c:extLst>
              <c:ext xmlns:c16="http://schemas.microsoft.com/office/drawing/2014/chart" uri="{C3380CC4-5D6E-409C-BE32-E72D297353CC}">
                <c16:uniqueId val="{00000063-865E-4030-B8CF-6E9627B7DF4F}"/>
              </c:ext>
            </c:extLst>
          </c:dPt>
          <c:dPt>
            <c:idx val="49"/>
            <c:invertIfNegative val="1"/>
            <c:bubble3D val="0"/>
            <c:spPr>
              <a:solidFill>
                <a:srgbClr val="7ECAC4"/>
              </a:solidFill>
            </c:spPr>
            <c:extLst>
              <c:ext xmlns:c16="http://schemas.microsoft.com/office/drawing/2014/chart" uri="{C3380CC4-5D6E-409C-BE32-E72D297353CC}">
                <c16:uniqueId val="{00000065-865E-4030-B8CF-6E9627B7DF4F}"/>
              </c:ext>
            </c:extLst>
          </c:dPt>
          <c:dPt>
            <c:idx val="50"/>
            <c:invertIfNegative val="1"/>
            <c:bubble3D val="0"/>
            <c:spPr>
              <a:solidFill>
                <a:srgbClr val="7ECAC4"/>
              </a:solidFill>
            </c:spPr>
            <c:extLst>
              <c:ext xmlns:c16="http://schemas.microsoft.com/office/drawing/2014/chart" uri="{C3380CC4-5D6E-409C-BE32-E72D297353CC}">
                <c16:uniqueId val="{00000067-865E-4030-B8CF-6E9627B7DF4F}"/>
              </c:ext>
            </c:extLst>
          </c:dPt>
          <c:dPt>
            <c:idx val="51"/>
            <c:invertIfNegative val="1"/>
            <c:bubble3D val="0"/>
            <c:spPr>
              <a:solidFill>
                <a:srgbClr val="7ECAC4"/>
              </a:solidFill>
            </c:spPr>
            <c:extLst>
              <c:ext xmlns:c16="http://schemas.microsoft.com/office/drawing/2014/chart" uri="{C3380CC4-5D6E-409C-BE32-E72D297353CC}">
                <c16:uniqueId val="{00000069-865E-4030-B8CF-6E9627B7DF4F}"/>
              </c:ext>
            </c:extLst>
          </c:dPt>
          <c:dPt>
            <c:idx val="52"/>
            <c:invertIfNegative val="1"/>
            <c:bubble3D val="0"/>
            <c:spPr>
              <a:solidFill>
                <a:srgbClr val="7ECAC4"/>
              </a:solidFill>
            </c:spPr>
            <c:extLst>
              <c:ext xmlns:c16="http://schemas.microsoft.com/office/drawing/2014/chart" uri="{C3380CC4-5D6E-409C-BE32-E72D297353CC}">
                <c16:uniqueId val="{0000006B-865E-4030-B8CF-6E9627B7DF4F}"/>
              </c:ext>
            </c:extLst>
          </c:dPt>
          <c:dPt>
            <c:idx val="53"/>
            <c:invertIfNegative val="1"/>
            <c:bubble3D val="0"/>
            <c:spPr>
              <a:solidFill>
                <a:srgbClr val="7ECAC4"/>
              </a:solidFill>
            </c:spPr>
            <c:extLst>
              <c:ext xmlns:c16="http://schemas.microsoft.com/office/drawing/2014/chart" uri="{C3380CC4-5D6E-409C-BE32-E72D297353CC}">
                <c16:uniqueId val="{0000006D-865E-4030-B8CF-6E9627B7DF4F}"/>
              </c:ext>
            </c:extLst>
          </c:dPt>
          <c:dPt>
            <c:idx val="54"/>
            <c:invertIfNegative val="1"/>
            <c:bubble3D val="0"/>
            <c:spPr>
              <a:solidFill>
                <a:srgbClr val="7ECAC4"/>
              </a:solidFill>
            </c:spPr>
            <c:extLst>
              <c:ext xmlns:c16="http://schemas.microsoft.com/office/drawing/2014/chart" uri="{C3380CC4-5D6E-409C-BE32-E72D297353CC}">
                <c16:uniqueId val="{0000006F-865E-4030-B8CF-6E9627B7DF4F}"/>
              </c:ext>
            </c:extLst>
          </c:dPt>
          <c:dPt>
            <c:idx val="55"/>
            <c:invertIfNegative val="1"/>
            <c:bubble3D val="0"/>
            <c:spPr>
              <a:solidFill>
                <a:srgbClr val="7ECAC4"/>
              </a:solidFill>
            </c:spPr>
            <c:extLst>
              <c:ext xmlns:c16="http://schemas.microsoft.com/office/drawing/2014/chart" uri="{C3380CC4-5D6E-409C-BE32-E72D297353CC}">
                <c16:uniqueId val="{00000071-865E-4030-B8CF-6E9627B7DF4F}"/>
              </c:ext>
            </c:extLst>
          </c:dPt>
          <c:dPt>
            <c:idx val="56"/>
            <c:invertIfNegative val="1"/>
            <c:bubble3D val="0"/>
            <c:spPr>
              <a:solidFill>
                <a:srgbClr val="AEABAB"/>
              </a:solidFill>
            </c:spPr>
            <c:extLst>
              <c:ext xmlns:c16="http://schemas.microsoft.com/office/drawing/2014/chart" uri="{C3380CC4-5D6E-409C-BE32-E72D297353CC}">
                <c16:uniqueId val="{00000073-865E-4030-B8CF-6E9627B7DF4F}"/>
              </c:ext>
            </c:extLst>
          </c:dPt>
          <c:dPt>
            <c:idx val="57"/>
            <c:invertIfNegative val="1"/>
            <c:bubble3D val="0"/>
            <c:spPr>
              <a:solidFill>
                <a:srgbClr val="AEABAB"/>
              </a:solidFill>
            </c:spPr>
            <c:extLst>
              <c:ext xmlns:c16="http://schemas.microsoft.com/office/drawing/2014/chart" uri="{C3380CC4-5D6E-409C-BE32-E72D297353CC}">
                <c16:uniqueId val="{00000075-865E-4030-B8CF-6E9627B7DF4F}"/>
              </c:ext>
            </c:extLst>
          </c:dPt>
          <c:dPt>
            <c:idx val="58"/>
            <c:invertIfNegative val="1"/>
            <c:bubble3D val="0"/>
            <c:spPr>
              <a:solidFill>
                <a:srgbClr val="AEABAB"/>
              </a:solidFill>
            </c:spPr>
            <c:extLst>
              <c:ext xmlns:c16="http://schemas.microsoft.com/office/drawing/2014/chart" uri="{C3380CC4-5D6E-409C-BE32-E72D297353CC}">
                <c16:uniqueId val="{00000077-865E-4030-B8CF-6E9627B7DF4F}"/>
              </c:ext>
            </c:extLst>
          </c:dPt>
          <c:dPt>
            <c:idx val="59"/>
            <c:invertIfNegative val="1"/>
            <c:bubble3D val="0"/>
            <c:spPr>
              <a:solidFill>
                <a:srgbClr val="AEABAB"/>
              </a:solidFill>
            </c:spPr>
            <c:extLst>
              <c:ext xmlns:c16="http://schemas.microsoft.com/office/drawing/2014/chart" uri="{C3380CC4-5D6E-409C-BE32-E72D297353CC}">
                <c16:uniqueId val="{00000079-865E-4030-B8CF-6E9627B7DF4F}"/>
              </c:ext>
            </c:extLst>
          </c:dPt>
          <c:dPt>
            <c:idx val="60"/>
            <c:invertIfNegative val="1"/>
            <c:bubble3D val="0"/>
            <c:spPr>
              <a:solidFill>
                <a:srgbClr val="AEABAB"/>
              </a:solidFill>
            </c:spPr>
            <c:extLst>
              <c:ext xmlns:c16="http://schemas.microsoft.com/office/drawing/2014/chart" uri="{C3380CC4-5D6E-409C-BE32-E72D297353CC}">
                <c16:uniqueId val="{0000007B-865E-4030-B8CF-6E9627B7DF4F}"/>
              </c:ext>
            </c:extLst>
          </c:dPt>
          <c:dPt>
            <c:idx val="61"/>
            <c:invertIfNegative val="1"/>
            <c:bubble3D val="0"/>
            <c:spPr>
              <a:solidFill>
                <a:srgbClr val="AEABAB"/>
              </a:solidFill>
            </c:spPr>
            <c:extLst>
              <c:ext xmlns:c16="http://schemas.microsoft.com/office/drawing/2014/chart" uri="{C3380CC4-5D6E-409C-BE32-E72D297353CC}">
                <c16:uniqueId val="{0000007D-865E-4030-B8CF-6E9627B7DF4F}"/>
              </c:ext>
            </c:extLst>
          </c:dPt>
          <c:dPt>
            <c:idx val="62"/>
            <c:invertIfNegative val="1"/>
            <c:bubble3D val="0"/>
            <c:spPr>
              <a:solidFill>
                <a:srgbClr val="AEABAB"/>
              </a:solidFill>
            </c:spPr>
            <c:extLst>
              <c:ext xmlns:c16="http://schemas.microsoft.com/office/drawing/2014/chart" uri="{C3380CC4-5D6E-409C-BE32-E72D297353CC}">
                <c16:uniqueId val="{0000007F-865E-4030-B8CF-6E9627B7DF4F}"/>
              </c:ext>
            </c:extLst>
          </c:dPt>
          <c:dPt>
            <c:idx val="63"/>
            <c:invertIfNegative val="1"/>
            <c:bubble3D val="0"/>
            <c:spPr>
              <a:solidFill>
                <a:srgbClr val="AEABAB"/>
              </a:solidFill>
            </c:spPr>
            <c:extLst>
              <c:ext xmlns:c16="http://schemas.microsoft.com/office/drawing/2014/chart" uri="{C3380CC4-5D6E-409C-BE32-E72D297353CC}">
                <c16:uniqueId val="{00000081-865E-4030-B8CF-6E9627B7DF4F}"/>
              </c:ext>
            </c:extLst>
          </c:dPt>
          <c:dPt>
            <c:idx val="64"/>
            <c:invertIfNegative val="1"/>
            <c:bubble3D val="0"/>
            <c:spPr>
              <a:solidFill>
                <a:srgbClr val="AEABAB"/>
              </a:solidFill>
            </c:spPr>
            <c:extLst>
              <c:ext xmlns:c16="http://schemas.microsoft.com/office/drawing/2014/chart" uri="{C3380CC4-5D6E-409C-BE32-E72D297353CC}">
                <c16:uniqueId val="{00000083-865E-4030-B8CF-6E9627B7DF4F}"/>
              </c:ext>
            </c:extLst>
          </c:dPt>
          <c:dPt>
            <c:idx val="65"/>
            <c:invertIfNegative val="1"/>
            <c:bubble3D val="0"/>
            <c:spPr>
              <a:solidFill>
                <a:srgbClr val="AEABAB"/>
              </a:solidFill>
            </c:spPr>
            <c:extLst>
              <c:ext xmlns:c16="http://schemas.microsoft.com/office/drawing/2014/chart" uri="{C3380CC4-5D6E-409C-BE32-E72D297353CC}">
                <c16:uniqueId val="{00000085-865E-4030-B8CF-6E9627B7DF4F}"/>
              </c:ext>
            </c:extLst>
          </c:dPt>
          <c:dPt>
            <c:idx val="66"/>
            <c:invertIfNegative val="1"/>
            <c:bubble3D val="0"/>
            <c:spPr>
              <a:solidFill>
                <a:srgbClr val="AEABAB"/>
              </a:solidFill>
            </c:spPr>
            <c:extLst>
              <c:ext xmlns:c16="http://schemas.microsoft.com/office/drawing/2014/chart" uri="{C3380CC4-5D6E-409C-BE32-E72D297353CC}">
                <c16:uniqueId val="{00000087-865E-4030-B8CF-6E9627B7DF4F}"/>
              </c:ext>
            </c:extLst>
          </c:dPt>
          <c:dPt>
            <c:idx val="67"/>
            <c:invertIfNegative val="1"/>
            <c:bubble3D val="0"/>
            <c:spPr>
              <a:solidFill>
                <a:srgbClr val="AEABAB"/>
              </a:solidFill>
            </c:spPr>
            <c:extLst>
              <c:ext xmlns:c16="http://schemas.microsoft.com/office/drawing/2014/chart" uri="{C3380CC4-5D6E-409C-BE32-E72D297353CC}">
                <c16:uniqueId val="{00000089-865E-4030-B8CF-6E9627B7DF4F}"/>
              </c:ext>
            </c:extLst>
          </c:dPt>
          <c:dPt>
            <c:idx val="68"/>
            <c:invertIfNegative val="1"/>
            <c:bubble3D val="0"/>
            <c:spPr>
              <a:solidFill>
                <a:srgbClr val="AEABAB"/>
              </a:solidFill>
            </c:spPr>
            <c:extLst>
              <c:ext xmlns:c16="http://schemas.microsoft.com/office/drawing/2014/chart" uri="{C3380CC4-5D6E-409C-BE32-E72D297353CC}">
                <c16:uniqueId val="{0000008B-865E-4030-B8CF-6E9627B7DF4F}"/>
              </c:ext>
            </c:extLst>
          </c:dPt>
          <c:dPt>
            <c:idx val="69"/>
            <c:invertIfNegative val="1"/>
            <c:bubble3D val="0"/>
            <c:spPr>
              <a:solidFill>
                <a:srgbClr val="AEABAB"/>
              </a:solidFill>
            </c:spPr>
            <c:extLst>
              <c:ext xmlns:c16="http://schemas.microsoft.com/office/drawing/2014/chart" uri="{C3380CC4-5D6E-409C-BE32-E72D297353CC}">
                <c16:uniqueId val="{0000008D-865E-4030-B8CF-6E9627B7DF4F}"/>
              </c:ext>
            </c:extLst>
          </c:dPt>
          <c:dPt>
            <c:idx val="70"/>
            <c:invertIfNegative val="1"/>
            <c:bubble3D val="0"/>
            <c:spPr>
              <a:solidFill>
                <a:srgbClr val="AEABAB"/>
              </a:solidFill>
            </c:spPr>
            <c:extLst>
              <c:ext xmlns:c16="http://schemas.microsoft.com/office/drawing/2014/chart" uri="{C3380CC4-5D6E-409C-BE32-E72D297353CC}">
                <c16:uniqueId val="{0000008F-865E-4030-B8CF-6E9627B7DF4F}"/>
              </c:ext>
            </c:extLst>
          </c:dPt>
          <c:dPt>
            <c:idx val="71"/>
            <c:invertIfNegative val="1"/>
            <c:bubble3D val="0"/>
            <c:spPr>
              <a:solidFill>
                <a:srgbClr val="AEABAB"/>
              </a:solidFill>
            </c:spPr>
            <c:extLst>
              <c:ext xmlns:c16="http://schemas.microsoft.com/office/drawing/2014/chart" uri="{C3380CC4-5D6E-409C-BE32-E72D297353CC}">
                <c16:uniqueId val="{00000091-865E-4030-B8CF-6E9627B7DF4F}"/>
              </c:ext>
            </c:extLst>
          </c:dPt>
          <c:dPt>
            <c:idx val="72"/>
            <c:invertIfNegative val="1"/>
            <c:bubble3D val="0"/>
            <c:spPr>
              <a:solidFill>
                <a:srgbClr val="AEABAB"/>
              </a:solidFill>
            </c:spPr>
            <c:extLst>
              <c:ext xmlns:c16="http://schemas.microsoft.com/office/drawing/2014/chart" uri="{C3380CC4-5D6E-409C-BE32-E72D297353CC}">
                <c16:uniqueId val="{00000093-865E-4030-B8CF-6E9627B7DF4F}"/>
              </c:ext>
            </c:extLst>
          </c:dPt>
          <c:dPt>
            <c:idx val="73"/>
            <c:invertIfNegative val="1"/>
            <c:bubble3D val="0"/>
            <c:spPr>
              <a:solidFill>
                <a:srgbClr val="AEABAB"/>
              </a:solidFill>
            </c:spPr>
            <c:extLst>
              <c:ext xmlns:c16="http://schemas.microsoft.com/office/drawing/2014/chart" uri="{C3380CC4-5D6E-409C-BE32-E72D297353CC}">
                <c16:uniqueId val="{00000095-865E-4030-B8CF-6E9627B7DF4F}"/>
              </c:ext>
            </c:extLst>
          </c:dPt>
          <c:dPt>
            <c:idx val="74"/>
            <c:invertIfNegative val="1"/>
            <c:bubble3D val="0"/>
            <c:spPr>
              <a:solidFill>
                <a:srgbClr val="AEABAB"/>
              </a:solidFill>
            </c:spPr>
            <c:extLst>
              <c:ext xmlns:c16="http://schemas.microsoft.com/office/drawing/2014/chart" uri="{C3380CC4-5D6E-409C-BE32-E72D297353CC}">
                <c16:uniqueId val="{00000097-865E-4030-B8CF-6E9627B7DF4F}"/>
              </c:ext>
            </c:extLst>
          </c:dPt>
          <c:dPt>
            <c:idx val="75"/>
            <c:invertIfNegative val="1"/>
            <c:bubble3D val="0"/>
            <c:spPr>
              <a:solidFill>
                <a:srgbClr val="AEABAB"/>
              </a:solidFill>
            </c:spPr>
            <c:extLst>
              <c:ext xmlns:c16="http://schemas.microsoft.com/office/drawing/2014/chart" uri="{C3380CC4-5D6E-409C-BE32-E72D297353CC}">
                <c16:uniqueId val="{00000099-865E-4030-B8CF-6E9627B7DF4F}"/>
              </c:ext>
            </c:extLst>
          </c:dPt>
          <c:dPt>
            <c:idx val="76"/>
            <c:invertIfNegative val="1"/>
            <c:bubble3D val="0"/>
            <c:spPr>
              <a:solidFill>
                <a:srgbClr val="AEABAB"/>
              </a:solidFill>
            </c:spPr>
            <c:extLst>
              <c:ext xmlns:c16="http://schemas.microsoft.com/office/drawing/2014/chart" uri="{C3380CC4-5D6E-409C-BE32-E72D297353CC}">
                <c16:uniqueId val="{0000009B-865E-4030-B8CF-6E9627B7DF4F}"/>
              </c:ext>
            </c:extLst>
          </c:dPt>
          <c:dPt>
            <c:idx val="77"/>
            <c:invertIfNegative val="1"/>
            <c:bubble3D val="0"/>
            <c:spPr>
              <a:solidFill>
                <a:srgbClr val="AEABAB"/>
              </a:solidFill>
            </c:spPr>
            <c:extLst>
              <c:ext xmlns:c16="http://schemas.microsoft.com/office/drawing/2014/chart" uri="{C3380CC4-5D6E-409C-BE32-E72D297353CC}">
                <c16:uniqueId val="{0000009D-865E-4030-B8CF-6E9627B7DF4F}"/>
              </c:ext>
            </c:extLst>
          </c:dPt>
          <c:dPt>
            <c:idx val="78"/>
            <c:invertIfNegative val="1"/>
            <c:bubble3D val="0"/>
            <c:spPr>
              <a:solidFill>
                <a:srgbClr val="AEABAB"/>
              </a:solidFill>
            </c:spPr>
            <c:extLst>
              <c:ext xmlns:c16="http://schemas.microsoft.com/office/drawing/2014/chart" uri="{C3380CC4-5D6E-409C-BE32-E72D297353CC}">
                <c16:uniqueId val="{0000009F-865E-4030-B8CF-6E9627B7DF4F}"/>
              </c:ext>
            </c:extLst>
          </c:dPt>
          <c:dPt>
            <c:idx val="79"/>
            <c:invertIfNegative val="1"/>
            <c:bubble3D val="0"/>
            <c:spPr>
              <a:solidFill>
                <a:srgbClr val="AEABAB"/>
              </a:solidFill>
            </c:spPr>
            <c:extLst>
              <c:ext xmlns:c16="http://schemas.microsoft.com/office/drawing/2014/chart" uri="{C3380CC4-5D6E-409C-BE32-E72D297353CC}">
                <c16:uniqueId val="{000000A1-865E-4030-B8CF-6E9627B7DF4F}"/>
              </c:ext>
            </c:extLst>
          </c:dPt>
          <c:dPt>
            <c:idx val="80"/>
            <c:invertIfNegative val="1"/>
            <c:bubble3D val="0"/>
            <c:spPr>
              <a:solidFill>
                <a:srgbClr val="AEABAB"/>
              </a:solidFill>
            </c:spPr>
            <c:extLst>
              <c:ext xmlns:c16="http://schemas.microsoft.com/office/drawing/2014/chart" uri="{C3380CC4-5D6E-409C-BE32-E72D297353CC}">
                <c16:uniqueId val="{000000A3-865E-4030-B8CF-6E9627B7DF4F}"/>
              </c:ext>
            </c:extLst>
          </c:dPt>
          <c:dPt>
            <c:idx val="81"/>
            <c:invertIfNegative val="1"/>
            <c:bubble3D val="0"/>
            <c:spPr>
              <a:solidFill>
                <a:srgbClr val="AEABAB"/>
              </a:solidFill>
            </c:spPr>
            <c:extLst>
              <c:ext xmlns:c16="http://schemas.microsoft.com/office/drawing/2014/chart" uri="{C3380CC4-5D6E-409C-BE32-E72D297353CC}">
                <c16:uniqueId val="{000000A5-865E-4030-B8CF-6E9627B7DF4F}"/>
              </c:ext>
            </c:extLst>
          </c:dPt>
          <c:dPt>
            <c:idx val="82"/>
            <c:invertIfNegative val="1"/>
            <c:bubble3D val="0"/>
            <c:spPr>
              <a:solidFill>
                <a:srgbClr val="AEABAB"/>
              </a:solidFill>
            </c:spPr>
            <c:extLst>
              <c:ext xmlns:c16="http://schemas.microsoft.com/office/drawing/2014/chart" uri="{C3380CC4-5D6E-409C-BE32-E72D297353CC}">
                <c16:uniqueId val="{000000A7-865E-4030-B8CF-6E9627B7DF4F}"/>
              </c:ext>
            </c:extLst>
          </c:dPt>
          <c:dPt>
            <c:idx val="83"/>
            <c:invertIfNegative val="1"/>
            <c:bubble3D val="0"/>
            <c:spPr>
              <a:solidFill>
                <a:srgbClr val="AEABAB"/>
              </a:solidFill>
            </c:spPr>
            <c:extLst>
              <c:ext xmlns:c16="http://schemas.microsoft.com/office/drawing/2014/chart" uri="{C3380CC4-5D6E-409C-BE32-E72D297353CC}">
                <c16:uniqueId val="{000000A9-865E-4030-B8CF-6E9627B7DF4F}"/>
              </c:ext>
            </c:extLst>
          </c:dPt>
          <c:dPt>
            <c:idx val="84"/>
            <c:invertIfNegative val="1"/>
            <c:bubble3D val="0"/>
            <c:spPr>
              <a:solidFill>
                <a:srgbClr val="AEABAB"/>
              </a:solidFill>
            </c:spPr>
            <c:extLst>
              <c:ext xmlns:c16="http://schemas.microsoft.com/office/drawing/2014/chart" uri="{C3380CC4-5D6E-409C-BE32-E72D297353CC}">
                <c16:uniqueId val="{000000AB-865E-4030-B8CF-6E9627B7DF4F}"/>
              </c:ext>
            </c:extLst>
          </c:dPt>
          <c:dPt>
            <c:idx val="85"/>
            <c:invertIfNegative val="1"/>
            <c:bubble3D val="0"/>
            <c:spPr>
              <a:solidFill>
                <a:srgbClr val="AEABAB"/>
              </a:solidFill>
            </c:spPr>
            <c:extLst>
              <c:ext xmlns:c16="http://schemas.microsoft.com/office/drawing/2014/chart" uri="{C3380CC4-5D6E-409C-BE32-E72D297353CC}">
                <c16:uniqueId val="{000000AD-865E-4030-B8CF-6E9627B7DF4F}"/>
              </c:ext>
            </c:extLst>
          </c:dPt>
          <c:dPt>
            <c:idx val="86"/>
            <c:invertIfNegative val="1"/>
            <c:bubble3D val="0"/>
            <c:spPr>
              <a:solidFill>
                <a:srgbClr val="AEABAB"/>
              </a:solidFill>
            </c:spPr>
            <c:extLst>
              <c:ext xmlns:c16="http://schemas.microsoft.com/office/drawing/2014/chart" uri="{C3380CC4-5D6E-409C-BE32-E72D297353CC}">
                <c16:uniqueId val="{000000AF-865E-4030-B8CF-6E9627B7DF4F}"/>
              </c:ext>
            </c:extLst>
          </c:dPt>
          <c:dPt>
            <c:idx val="87"/>
            <c:invertIfNegative val="1"/>
            <c:bubble3D val="0"/>
            <c:spPr>
              <a:solidFill>
                <a:srgbClr val="AEABAB"/>
              </a:solidFill>
            </c:spPr>
            <c:extLst>
              <c:ext xmlns:c16="http://schemas.microsoft.com/office/drawing/2014/chart" uri="{C3380CC4-5D6E-409C-BE32-E72D297353CC}">
                <c16:uniqueId val="{000000B1-865E-4030-B8CF-6E9627B7DF4F}"/>
              </c:ext>
            </c:extLst>
          </c:dPt>
          <c:dPt>
            <c:idx val="88"/>
            <c:invertIfNegative val="1"/>
            <c:bubble3D val="0"/>
            <c:spPr>
              <a:solidFill>
                <a:srgbClr val="AEABAB"/>
              </a:solidFill>
            </c:spPr>
            <c:extLst>
              <c:ext xmlns:c16="http://schemas.microsoft.com/office/drawing/2014/chart" uri="{C3380CC4-5D6E-409C-BE32-E72D297353CC}">
                <c16:uniqueId val="{000000B3-865E-4030-B8CF-6E9627B7DF4F}"/>
              </c:ext>
            </c:extLst>
          </c:dPt>
          <c:dPt>
            <c:idx val="89"/>
            <c:invertIfNegative val="1"/>
            <c:bubble3D val="0"/>
            <c:spPr>
              <a:solidFill>
                <a:srgbClr val="AEABAB"/>
              </a:solidFill>
            </c:spPr>
            <c:extLst>
              <c:ext xmlns:c16="http://schemas.microsoft.com/office/drawing/2014/chart" uri="{C3380CC4-5D6E-409C-BE32-E72D297353CC}">
                <c16:uniqueId val="{000000B5-865E-4030-B8CF-6E9627B7DF4F}"/>
              </c:ext>
            </c:extLst>
          </c:dPt>
          <c:dPt>
            <c:idx val="90"/>
            <c:invertIfNegative val="1"/>
            <c:bubble3D val="0"/>
            <c:spPr>
              <a:solidFill>
                <a:srgbClr val="AEABAB"/>
              </a:solidFill>
            </c:spPr>
            <c:extLst>
              <c:ext xmlns:c16="http://schemas.microsoft.com/office/drawing/2014/chart" uri="{C3380CC4-5D6E-409C-BE32-E72D297353CC}">
                <c16:uniqueId val="{000000B7-865E-4030-B8CF-6E9627B7DF4F}"/>
              </c:ext>
            </c:extLst>
          </c:dPt>
          <c:dPt>
            <c:idx val="91"/>
            <c:invertIfNegative val="1"/>
            <c:bubble3D val="0"/>
            <c:spPr>
              <a:solidFill>
                <a:srgbClr val="AEABAB"/>
              </a:solidFill>
            </c:spPr>
            <c:extLst>
              <c:ext xmlns:c16="http://schemas.microsoft.com/office/drawing/2014/chart" uri="{C3380CC4-5D6E-409C-BE32-E72D297353CC}">
                <c16:uniqueId val="{000000B9-865E-4030-B8CF-6E9627B7DF4F}"/>
              </c:ext>
            </c:extLst>
          </c:dPt>
          <c:dPt>
            <c:idx val="92"/>
            <c:invertIfNegative val="1"/>
            <c:bubble3D val="0"/>
            <c:spPr>
              <a:solidFill>
                <a:srgbClr val="AEABAB"/>
              </a:solidFill>
            </c:spPr>
            <c:extLst>
              <c:ext xmlns:c16="http://schemas.microsoft.com/office/drawing/2014/chart" uri="{C3380CC4-5D6E-409C-BE32-E72D297353CC}">
                <c16:uniqueId val="{000000BB-865E-4030-B8CF-6E9627B7DF4F}"/>
              </c:ext>
            </c:extLst>
          </c:dPt>
          <c:dPt>
            <c:idx val="93"/>
            <c:invertIfNegative val="1"/>
            <c:bubble3D val="0"/>
            <c:spPr>
              <a:solidFill>
                <a:srgbClr val="AEABAB"/>
              </a:solidFill>
            </c:spPr>
            <c:extLst>
              <c:ext xmlns:c16="http://schemas.microsoft.com/office/drawing/2014/chart" uri="{C3380CC4-5D6E-409C-BE32-E72D297353CC}">
                <c16:uniqueId val="{000000BD-865E-4030-B8CF-6E9627B7DF4F}"/>
              </c:ext>
            </c:extLst>
          </c:dPt>
          <c:dPt>
            <c:idx val="94"/>
            <c:invertIfNegative val="1"/>
            <c:bubble3D val="0"/>
            <c:spPr>
              <a:solidFill>
                <a:srgbClr val="AEABAB"/>
              </a:solidFill>
            </c:spPr>
            <c:extLst>
              <c:ext xmlns:c16="http://schemas.microsoft.com/office/drawing/2014/chart" uri="{C3380CC4-5D6E-409C-BE32-E72D297353CC}">
                <c16:uniqueId val="{000000BF-865E-4030-B8CF-6E9627B7DF4F}"/>
              </c:ext>
            </c:extLst>
          </c:dPt>
          <c:dPt>
            <c:idx val="95"/>
            <c:invertIfNegative val="1"/>
            <c:bubble3D val="0"/>
            <c:spPr>
              <a:solidFill>
                <a:srgbClr val="AEABAB"/>
              </a:solidFill>
            </c:spPr>
            <c:extLst>
              <c:ext xmlns:c16="http://schemas.microsoft.com/office/drawing/2014/chart" uri="{C3380CC4-5D6E-409C-BE32-E72D297353CC}">
                <c16:uniqueId val="{000000C1-865E-4030-B8CF-6E9627B7DF4F}"/>
              </c:ext>
            </c:extLst>
          </c:dPt>
          <c:dPt>
            <c:idx val="96"/>
            <c:invertIfNegative val="1"/>
            <c:bubble3D val="0"/>
            <c:spPr>
              <a:solidFill>
                <a:srgbClr val="AEABAB"/>
              </a:solidFill>
            </c:spPr>
            <c:extLst>
              <c:ext xmlns:c16="http://schemas.microsoft.com/office/drawing/2014/chart" uri="{C3380CC4-5D6E-409C-BE32-E72D297353CC}">
                <c16:uniqueId val="{000000C3-865E-4030-B8CF-6E9627B7DF4F}"/>
              </c:ext>
            </c:extLst>
          </c:dPt>
          <c:dPt>
            <c:idx val="97"/>
            <c:invertIfNegative val="1"/>
            <c:bubble3D val="0"/>
            <c:spPr>
              <a:solidFill>
                <a:srgbClr val="AEABAB"/>
              </a:solidFill>
            </c:spPr>
            <c:extLst>
              <c:ext xmlns:c16="http://schemas.microsoft.com/office/drawing/2014/chart" uri="{C3380CC4-5D6E-409C-BE32-E72D297353CC}">
                <c16:uniqueId val="{000000C5-865E-4030-B8CF-6E9627B7DF4F}"/>
              </c:ext>
            </c:extLst>
          </c:dPt>
          <c:dPt>
            <c:idx val="98"/>
            <c:invertIfNegative val="1"/>
            <c:bubble3D val="0"/>
            <c:spPr>
              <a:solidFill>
                <a:srgbClr val="AEABAB"/>
              </a:solidFill>
            </c:spPr>
            <c:extLst>
              <c:ext xmlns:c16="http://schemas.microsoft.com/office/drawing/2014/chart" uri="{C3380CC4-5D6E-409C-BE32-E72D297353CC}">
                <c16:uniqueId val="{000000C7-865E-4030-B8CF-6E9627B7DF4F}"/>
              </c:ext>
            </c:extLst>
          </c:dPt>
          <c:dPt>
            <c:idx val="99"/>
            <c:invertIfNegative val="1"/>
            <c:bubble3D val="0"/>
            <c:spPr>
              <a:solidFill>
                <a:srgbClr val="AEABAB"/>
              </a:solidFill>
            </c:spPr>
            <c:extLst>
              <c:ext xmlns:c16="http://schemas.microsoft.com/office/drawing/2014/chart" uri="{C3380CC4-5D6E-409C-BE32-E72D297353CC}">
                <c16:uniqueId val="{000000C9-865E-4030-B8CF-6E9627B7DF4F}"/>
              </c:ext>
            </c:extLst>
          </c:dPt>
          <c:dPt>
            <c:idx val="100"/>
            <c:invertIfNegative val="1"/>
            <c:bubble3D val="0"/>
            <c:spPr>
              <a:solidFill>
                <a:srgbClr val="AEABAB"/>
              </a:solidFill>
            </c:spPr>
            <c:extLst>
              <c:ext xmlns:c16="http://schemas.microsoft.com/office/drawing/2014/chart" uri="{C3380CC4-5D6E-409C-BE32-E72D297353CC}">
                <c16:uniqueId val="{000000CB-865E-4030-B8CF-6E9627B7DF4F}"/>
              </c:ext>
            </c:extLst>
          </c:dPt>
          <c:dPt>
            <c:idx val="101"/>
            <c:invertIfNegative val="1"/>
            <c:bubble3D val="0"/>
            <c:spPr>
              <a:solidFill>
                <a:srgbClr val="AEABAB"/>
              </a:solidFill>
            </c:spPr>
            <c:extLst>
              <c:ext xmlns:c16="http://schemas.microsoft.com/office/drawing/2014/chart" uri="{C3380CC4-5D6E-409C-BE32-E72D297353CC}">
                <c16:uniqueId val="{000000CD-865E-4030-B8CF-6E9627B7DF4F}"/>
              </c:ext>
            </c:extLst>
          </c:dPt>
          <c:dPt>
            <c:idx val="102"/>
            <c:invertIfNegative val="1"/>
            <c:bubble3D val="0"/>
            <c:spPr>
              <a:solidFill>
                <a:srgbClr val="AEABAB"/>
              </a:solidFill>
            </c:spPr>
            <c:extLst>
              <c:ext xmlns:c16="http://schemas.microsoft.com/office/drawing/2014/chart" uri="{C3380CC4-5D6E-409C-BE32-E72D297353CC}">
                <c16:uniqueId val="{000000CF-865E-4030-B8CF-6E9627B7DF4F}"/>
              </c:ext>
            </c:extLst>
          </c:dPt>
          <c:dPt>
            <c:idx val="103"/>
            <c:invertIfNegative val="1"/>
            <c:bubble3D val="0"/>
            <c:spPr>
              <a:solidFill>
                <a:srgbClr val="AEABAB"/>
              </a:solidFill>
            </c:spPr>
            <c:extLst>
              <c:ext xmlns:c16="http://schemas.microsoft.com/office/drawing/2014/chart" uri="{C3380CC4-5D6E-409C-BE32-E72D297353CC}">
                <c16:uniqueId val="{000000D1-865E-4030-B8CF-6E9627B7DF4F}"/>
              </c:ext>
            </c:extLst>
          </c:dPt>
          <c:dPt>
            <c:idx val="104"/>
            <c:invertIfNegative val="1"/>
            <c:bubble3D val="0"/>
            <c:spPr>
              <a:solidFill>
                <a:srgbClr val="AEABAB"/>
              </a:solidFill>
            </c:spPr>
            <c:extLst>
              <c:ext xmlns:c16="http://schemas.microsoft.com/office/drawing/2014/chart" uri="{C3380CC4-5D6E-409C-BE32-E72D297353CC}">
                <c16:uniqueId val="{000000D3-865E-4030-B8CF-6E9627B7DF4F}"/>
              </c:ext>
            </c:extLst>
          </c:dPt>
          <c:dPt>
            <c:idx val="105"/>
            <c:invertIfNegative val="1"/>
            <c:bubble3D val="0"/>
            <c:spPr>
              <a:solidFill>
                <a:srgbClr val="AEABAB"/>
              </a:solidFill>
            </c:spPr>
            <c:extLst>
              <c:ext xmlns:c16="http://schemas.microsoft.com/office/drawing/2014/chart" uri="{C3380CC4-5D6E-409C-BE32-E72D297353CC}">
                <c16:uniqueId val="{000000D5-865E-4030-B8CF-6E9627B7DF4F}"/>
              </c:ext>
            </c:extLst>
          </c:dPt>
          <c:dPt>
            <c:idx val="106"/>
            <c:invertIfNegative val="1"/>
            <c:bubble3D val="0"/>
            <c:spPr>
              <a:solidFill>
                <a:srgbClr val="AEABAB"/>
              </a:solidFill>
            </c:spPr>
            <c:extLst>
              <c:ext xmlns:c16="http://schemas.microsoft.com/office/drawing/2014/chart" uri="{C3380CC4-5D6E-409C-BE32-E72D297353CC}">
                <c16:uniqueId val="{000000D7-865E-4030-B8CF-6E9627B7DF4F}"/>
              </c:ext>
            </c:extLst>
          </c:dPt>
          <c:dPt>
            <c:idx val="107"/>
            <c:invertIfNegative val="1"/>
            <c:bubble3D val="0"/>
            <c:spPr>
              <a:solidFill>
                <a:srgbClr val="AEABAB"/>
              </a:solidFill>
            </c:spPr>
            <c:extLst>
              <c:ext xmlns:c16="http://schemas.microsoft.com/office/drawing/2014/chart" uri="{C3380CC4-5D6E-409C-BE32-E72D297353CC}">
                <c16:uniqueId val="{000000D9-865E-4030-B8CF-6E9627B7DF4F}"/>
              </c:ext>
            </c:extLst>
          </c:dPt>
          <c:dPt>
            <c:idx val="108"/>
            <c:invertIfNegative val="1"/>
            <c:bubble3D val="0"/>
            <c:spPr>
              <a:solidFill>
                <a:srgbClr val="AEABAB"/>
              </a:solidFill>
            </c:spPr>
            <c:extLst>
              <c:ext xmlns:c16="http://schemas.microsoft.com/office/drawing/2014/chart" uri="{C3380CC4-5D6E-409C-BE32-E72D297353CC}">
                <c16:uniqueId val="{000000DB-865E-4030-B8CF-6E9627B7DF4F}"/>
              </c:ext>
            </c:extLst>
          </c:dPt>
          <c:dPt>
            <c:idx val="109"/>
            <c:invertIfNegative val="1"/>
            <c:bubble3D val="0"/>
            <c:spPr>
              <a:solidFill>
                <a:srgbClr val="AEABAB"/>
              </a:solidFill>
            </c:spPr>
            <c:extLst>
              <c:ext xmlns:c16="http://schemas.microsoft.com/office/drawing/2014/chart" uri="{C3380CC4-5D6E-409C-BE32-E72D297353CC}">
                <c16:uniqueId val="{000000DD-865E-4030-B8CF-6E9627B7DF4F}"/>
              </c:ext>
            </c:extLst>
          </c:dPt>
          <c:dPt>
            <c:idx val="110"/>
            <c:invertIfNegative val="1"/>
            <c:bubble3D val="0"/>
            <c:spPr>
              <a:solidFill>
                <a:srgbClr val="AEABAB"/>
              </a:solidFill>
            </c:spPr>
            <c:extLst>
              <c:ext xmlns:c16="http://schemas.microsoft.com/office/drawing/2014/chart" uri="{C3380CC4-5D6E-409C-BE32-E72D297353CC}">
                <c16:uniqueId val="{000000DF-865E-4030-B8CF-6E9627B7DF4F}"/>
              </c:ext>
            </c:extLst>
          </c:dPt>
          <c:dPt>
            <c:idx val="111"/>
            <c:invertIfNegative val="1"/>
            <c:bubble3D val="0"/>
            <c:spPr>
              <a:solidFill>
                <a:srgbClr val="AEABAB"/>
              </a:solidFill>
            </c:spPr>
            <c:extLst>
              <c:ext xmlns:c16="http://schemas.microsoft.com/office/drawing/2014/chart" uri="{C3380CC4-5D6E-409C-BE32-E72D297353CC}">
                <c16:uniqueId val="{000000E1-865E-4030-B8CF-6E9627B7DF4F}"/>
              </c:ext>
            </c:extLst>
          </c:dPt>
          <c:dPt>
            <c:idx val="112"/>
            <c:invertIfNegative val="1"/>
            <c:bubble3D val="0"/>
            <c:spPr>
              <a:solidFill>
                <a:srgbClr val="AEABAB"/>
              </a:solidFill>
            </c:spPr>
            <c:extLst>
              <c:ext xmlns:c16="http://schemas.microsoft.com/office/drawing/2014/chart" uri="{C3380CC4-5D6E-409C-BE32-E72D297353CC}">
                <c16:uniqueId val="{000000E3-865E-4030-B8CF-6E9627B7DF4F}"/>
              </c:ext>
            </c:extLst>
          </c:dPt>
          <c:dPt>
            <c:idx val="113"/>
            <c:invertIfNegative val="1"/>
            <c:bubble3D val="0"/>
            <c:spPr>
              <a:solidFill>
                <a:srgbClr val="AEABAB"/>
              </a:solidFill>
            </c:spPr>
            <c:extLst>
              <c:ext xmlns:c16="http://schemas.microsoft.com/office/drawing/2014/chart" uri="{C3380CC4-5D6E-409C-BE32-E72D297353CC}">
                <c16:uniqueId val="{000000E5-865E-4030-B8CF-6E9627B7DF4F}"/>
              </c:ext>
            </c:extLst>
          </c:dPt>
          <c:dPt>
            <c:idx val="114"/>
            <c:invertIfNegative val="1"/>
            <c:bubble3D val="0"/>
            <c:spPr>
              <a:solidFill>
                <a:srgbClr val="AEABAB"/>
              </a:solidFill>
            </c:spPr>
            <c:extLst>
              <c:ext xmlns:c16="http://schemas.microsoft.com/office/drawing/2014/chart" uri="{C3380CC4-5D6E-409C-BE32-E72D297353CC}">
                <c16:uniqueId val="{000000E7-865E-4030-B8CF-6E9627B7DF4F}"/>
              </c:ext>
            </c:extLst>
          </c:dPt>
          <c:dPt>
            <c:idx val="115"/>
            <c:invertIfNegative val="1"/>
            <c:bubble3D val="0"/>
            <c:spPr>
              <a:solidFill>
                <a:srgbClr val="AEABAB"/>
              </a:solidFill>
            </c:spPr>
            <c:extLst>
              <c:ext xmlns:c16="http://schemas.microsoft.com/office/drawing/2014/chart" uri="{C3380CC4-5D6E-409C-BE32-E72D297353CC}">
                <c16:uniqueId val="{000000E9-865E-4030-B8CF-6E9627B7DF4F}"/>
              </c:ext>
            </c:extLst>
          </c:dPt>
          <c:dPt>
            <c:idx val="116"/>
            <c:invertIfNegative val="1"/>
            <c:bubble3D val="0"/>
            <c:spPr>
              <a:solidFill>
                <a:srgbClr val="AEABAB"/>
              </a:solidFill>
            </c:spPr>
            <c:extLst>
              <c:ext xmlns:c16="http://schemas.microsoft.com/office/drawing/2014/chart" uri="{C3380CC4-5D6E-409C-BE32-E72D297353CC}">
                <c16:uniqueId val="{000000EB-865E-4030-B8CF-6E9627B7DF4F}"/>
              </c:ext>
            </c:extLst>
          </c:dPt>
          <c:dPt>
            <c:idx val="117"/>
            <c:invertIfNegative val="1"/>
            <c:bubble3D val="0"/>
            <c:spPr>
              <a:solidFill>
                <a:srgbClr val="AEABAB"/>
              </a:solidFill>
            </c:spPr>
            <c:extLst>
              <c:ext xmlns:c16="http://schemas.microsoft.com/office/drawing/2014/chart" uri="{C3380CC4-5D6E-409C-BE32-E72D297353CC}">
                <c16:uniqueId val="{000000ED-865E-4030-B8CF-6E9627B7DF4F}"/>
              </c:ext>
            </c:extLst>
          </c:dPt>
          <c:dPt>
            <c:idx val="118"/>
            <c:invertIfNegative val="1"/>
            <c:bubble3D val="0"/>
            <c:spPr>
              <a:solidFill>
                <a:srgbClr val="AEABAB"/>
              </a:solidFill>
            </c:spPr>
            <c:extLst>
              <c:ext xmlns:c16="http://schemas.microsoft.com/office/drawing/2014/chart" uri="{C3380CC4-5D6E-409C-BE32-E72D297353CC}">
                <c16:uniqueId val="{000000EF-865E-4030-B8CF-6E9627B7DF4F}"/>
              </c:ext>
            </c:extLst>
          </c:dPt>
          <c:dPt>
            <c:idx val="119"/>
            <c:invertIfNegative val="1"/>
            <c:bubble3D val="0"/>
            <c:spPr>
              <a:solidFill>
                <a:srgbClr val="AEABAB"/>
              </a:solidFill>
            </c:spPr>
            <c:extLst>
              <c:ext xmlns:c16="http://schemas.microsoft.com/office/drawing/2014/chart" uri="{C3380CC4-5D6E-409C-BE32-E72D297353CC}">
                <c16:uniqueId val="{000000F1-865E-4030-B8CF-6E9627B7DF4F}"/>
              </c:ext>
            </c:extLst>
          </c:dPt>
          <c:dPt>
            <c:idx val="120"/>
            <c:invertIfNegative val="1"/>
            <c:bubble3D val="0"/>
            <c:spPr>
              <a:solidFill>
                <a:srgbClr val="AEABAB"/>
              </a:solidFill>
            </c:spPr>
            <c:extLst>
              <c:ext xmlns:c16="http://schemas.microsoft.com/office/drawing/2014/chart" uri="{C3380CC4-5D6E-409C-BE32-E72D297353CC}">
                <c16:uniqueId val="{000000F3-865E-4030-B8CF-6E9627B7DF4F}"/>
              </c:ext>
            </c:extLst>
          </c:dPt>
          <c:dPt>
            <c:idx val="121"/>
            <c:invertIfNegative val="1"/>
            <c:bubble3D val="0"/>
            <c:spPr>
              <a:solidFill>
                <a:srgbClr val="AEABAB"/>
              </a:solidFill>
            </c:spPr>
            <c:extLst>
              <c:ext xmlns:c16="http://schemas.microsoft.com/office/drawing/2014/chart" uri="{C3380CC4-5D6E-409C-BE32-E72D297353CC}">
                <c16:uniqueId val="{000000F5-865E-4030-B8CF-6E9627B7DF4F}"/>
              </c:ext>
            </c:extLst>
          </c:dPt>
          <c:dPt>
            <c:idx val="122"/>
            <c:invertIfNegative val="1"/>
            <c:bubble3D val="0"/>
            <c:spPr>
              <a:solidFill>
                <a:srgbClr val="AEABAB"/>
              </a:solidFill>
            </c:spPr>
            <c:extLst>
              <c:ext xmlns:c16="http://schemas.microsoft.com/office/drawing/2014/chart" uri="{C3380CC4-5D6E-409C-BE32-E72D297353CC}">
                <c16:uniqueId val="{000000F7-865E-4030-B8CF-6E9627B7DF4F}"/>
              </c:ext>
            </c:extLst>
          </c:dPt>
          <c:dPt>
            <c:idx val="123"/>
            <c:invertIfNegative val="1"/>
            <c:bubble3D val="0"/>
            <c:spPr>
              <a:solidFill>
                <a:srgbClr val="AEABAB"/>
              </a:solidFill>
            </c:spPr>
            <c:extLst>
              <c:ext xmlns:c16="http://schemas.microsoft.com/office/drawing/2014/chart" uri="{C3380CC4-5D6E-409C-BE32-E72D297353CC}">
                <c16:uniqueId val="{000000F9-865E-4030-B8CF-6E9627B7DF4F}"/>
              </c:ext>
            </c:extLst>
          </c:dPt>
          <c:dPt>
            <c:idx val="124"/>
            <c:invertIfNegative val="1"/>
            <c:bubble3D val="0"/>
            <c:spPr>
              <a:solidFill>
                <a:srgbClr val="AEABAB"/>
              </a:solidFill>
            </c:spPr>
            <c:extLst>
              <c:ext xmlns:c16="http://schemas.microsoft.com/office/drawing/2014/chart" uri="{C3380CC4-5D6E-409C-BE32-E72D297353CC}">
                <c16:uniqueId val="{000000FB-865E-4030-B8CF-6E9627B7DF4F}"/>
              </c:ext>
            </c:extLst>
          </c:dPt>
          <c:cat>
            <c:strRef>
              <c:f>Sheet1!$A$2:$A$126</c:f>
              <c:strCache>
                <c:ptCount val="125"/>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Apericube Edition Limitee Best Of Foot Fromage Fondu Cube Assortis 1X250Gr 48P</c:v>
                </c:pt>
                <c:pt idx="8">
                  <c:v>Kiri Creme Fromage Blanc Frais Carre 1X216Gr 12P</c:v>
                </c:pt>
                <c:pt idx="9">
                  <c:v>Apericube Cocktail Fromage Fondu Cube Assortis 1X250Gr 48P</c:v>
                </c:pt>
                <c:pt idx="10">
                  <c:v>Boursin Classique Fromage Frais A Tartiner Afh Boite 1X150Gr 1P</c:v>
                </c:pt>
                <c:pt idx="11">
                  <c:v>Boursin Classique Fromage Frais A Tartiner Afh 1X160Gr 10P</c:v>
                </c:pt>
                <c:pt idx="12">
                  <c:v>Kiri Gouter Fromage Blanc Dips Boite 1X175Gr 5P</c:v>
                </c:pt>
                <c:pt idx="13">
                  <c:v>Apericube Long Drink Fromage Fondu Cube Assortis 1X250Gr 48P</c:v>
                </c:pt>
                <c:pt idx="14">
                  <c:v>Boursin Aperitif Roules Fromage Frais Roule Afh Et Jambon Fume Boite 1X100Gr 20P</c:v>
                </c:pt>
                <c:pt idx="15">
                  <c:v>Boursin Classique Fromage Frais A Tartiner Afh Boite 1X250Gr 1P</c:v>
                </c:pt>
                <c:pt idx="16">
                  <c:v>Boursin Salade &amp; Aperitif Fromage Frais Des Afh 1X120Gr 1P</c:v>
                </c:pt>
                <c:pt idx="17">
                  <c:v>Kiri Gouter Fromage Blanc Dips Boite 1X280Gr 8P</c:v>
                </c:pt>
                <c:pt idx="18">
                  <c:v>Apericube Tonic Fromage Fondu Cube Assortis 1X250Gr 48P</c:v>
                </c:pt>
                <c:pt idx="19">
                  <c:v>La Vache Qui Rit Pik Et Croq' Fromage Fondu Dips Boite 1X175Gr 5P</c:v>
                </c:pt>
                <c:pt idx="20">
                  <c:v>Mini Babybel Rouge Filet St Paulin Ferme 1X440Gr 20P</c:v>
                </c:pt>
                <c:pt idx="21">
                  <c:v>Apericube Edition Limitee Saison Fromage Fondu Cube Assortis 1X250Gr 48P</c:v>
                </c:pt>
                <c:pt idx="22">
                  <c:v>Apericube Nature Fromage Fondu Cube 1X125Gr 24P</c:v>
                </c:pt>
                <c:pt idx="23">
                  <c:v>La Vache Qui Rit Nature Fromage Fondu Boite Ronde 1X128Gr 8P</c:v>
                </c:pt>
                <c:pt idx="24">
                  <c:v>Mini Babybel Rouge Filet Soft Cheese Enfant 352G</c:v>
                </c:pt>
                <c:pt idx="25">
                  <c:v>La Vache Qui Rit Nature Fromage Fondu Boite Ronde 1X512Gr 24+8P</c:v>
                </c:pt>
                <c:pt idx="26">
                  <c:v>Kiri Creme Fromage Blanc Frais Carre 1X432Gr 18+6P</c:v>
                </c:pt>
                <c:pt idx="27">
                  <c:v>Apericube Incontournable Fromage Fondu Cube Assortis 1X250Gr 48P</c:v>
                </c:pt>
                <c:pt idx="28">
                  <c:v>Babybel St Paulin 1X200Gr 1P</c:v>
                </c:pt>
                <c:pt idx="29">
                  <c:v>Boursin Aperitif Roules Fromage Frais Roule Ciboulette &amp; Echalote Jambon Fume Boite 1X100Gr 20P</c:v>
                </c:pt>
                <c:pt idx="30">
                  <c:v>Mini Babybel Rouge Filet Soft Cheese Enfant 484G</c:v>
                </c:pt>
                <c:pt idx="31">
                  <c:v>Boursin Classique Fromage Frais A Tartiner Afh Boite 1X96Gr 6P</c:v>
                </c:pt>
                <c:pt idx="32">
                  <c:v>Port Salut St Paulin 1X320Gr 1P</c:v>
                </c:pt>
                <c:pt idx="33">
                  <c:v>Apericube Campagne Fromage Fondu Cube Assortis 1X125Gr 24P</c:v>
                </c:pt>
                <c:pt idx="34">
                  <c:v>Apericube Carrement Toque Fromage Fondu Cube Assortis 1X250Gr 48P</c:v>
                </c:pt>
                <c:pt idx="35">
                  <c:v>Apericube Best Of Des Saveurs Fromage Fondu Cube Assortis 1X125Gr 24P</c:v>
                </c:pt>
                <c:pt idx="36">
                  <c:v>Mini Babybel Rouge Filet St Paulin Ferme 1X396Gr 12+6P</c:v>
                </c:pt>
                <c:pt idx="37">
                  <c:v>Toastinette Cheddar Fondu Tranche A Chaud Sachet 1X200Gr 10P</c:v>
                </c:pt>
                <c:pt idx="38">
                  <c:v>Toastinette Fromage Fondu Tranche A Chaud Sachet 1X200Gr 10P</c:v>
                </c:pt>
                <c:pt idx="39">
                  <c:v>Cousteron St Paulin 1X320Gr 1P</c:v>
                </c:pt>
                <c:pt idx="40">
                  <c:v>Kiri Delicieusement Fouette Fromage Frais A Tartiner 1X125Gr 1P</c:v>
                </c:pt>
                <c:pt idx="41">
                  <c:v>Boursin Classique Fromage Frais A Tartiner Ciboulette &amp; Echalote Boite 1X150Gr 1P</c:v>
                </c:pt>
                <c:pt idx="42">
                  <c:v>Apericube Edition Voyage Fromage Fondu Cube Assortis 1X250Gr 48P</c:v>
                </c:pt>
                <c:pt idx="43">
                  <c:v>Apericube Long Drink Fromage Fondu Cube Assortis 1X125Gr 24P</c:v>
                </c:pt>
                <c:pt idx="44">
                  <c:v>Boursin Onctueux Fromage Frais A Tartiner Afh 1X125Gr 1P</c:v>
                </c:pt>
                <c:pt idx="45">
                  <c:v>Mini Babybel Aros St Paulin Ferme Assortis Filet 1X180Gr 9P</c:v>
                </c:pt>
                <c:pt idx="46">
                  <c:v>Apericube Vertical Soiree Apero Fromage Fondu Cube Assortis 1X125Gr 24P</c:v>
                </c:pt>
                <c:pt idx="47">
                  <c:v>Kiri Delicieusement Fouette Fromage Frais A Tartiner 1X210Gr 1P</c:v>
                </c:pt>
                <c:pt idx="48">
                  <c:v>Babybel Mini Rolls St Paulin Ferme Sachet 1X85Gr 5P</c:v>
                </c:pt>
                <c:pt idx="49">
                  <c:v>Boursin Salade &amp; Aperitif Fromage Frais Des Ciboulette Echalote 1X120Gr 1P</c:v>
                </c:pt>
                <c:pt idx="50">
                  <c:v>La Vache Qui Rit Pik Et Croq' Fromage Fondu Dips Boite 1X280Gr 8P</c:v>
                </c:pt>
                <c:pt idx="51">
                  <c:v>Boursin Classique Fromage Frais A Tartiner Figue Et 3 Noix Boite 1X150Gr 1P</c:v>
                </c:pt>
                <c:pt idx="52">
                  <c:v>Apericube Soiree Match Aperitif 250G</c:v>
                </c:pt>
                <c:pt idx="53">
                  <c:v>Kiri Delicieusement Fouette Fromage Frais A Tartiner 1X160Gr 10P</c:v>
                </c:pt>
                <c:pt idx="54">
                  <c:v>Boursin Cuisine Sauce Fromage Afh 1X240Gr 1P</c:v>
                </c:pt>
                <c:pt idx="55">
                  <c:v>La Vache Qui Rit Allegee Fromage Fondu Boite Ronde Allege 1X267Gr 16P</c:v>
                </c:pt>
                <c:pt idx="56">
                  <c:v>Apericube Charcut' Fromages Fromage Fondu Cube Assortis 1X250Gr 48P</c:v>
                </c:pt>
                <c:pt idx="57">
                  <c:v>Boursin Salade &amp; Aperitif Fromage Frais Des Figue Noix 1X120Gr 1P</c:v>
                </c:pt>
                <c:pt idx="58">
                  <c:v>Apericube Nature Fromage Fondu Cube 1X250Gr 48P</c:v>
                </c:pt>
                <c:pt idx="59">
                  <c:v>Kiri Bio Fromage Blanc Frais Carre 1X144Gr 8P</c:v>
                </c:pt>
                <c:pt idx="60">
                  <c:v>Mini Babybel Aros Soft Cheese Enfant 180G</c:v>
                </c:pt>
                <c:pt idx="61">
                  <c:v>Apericube Selection Du Fromager Fromage Fondu Cube Assortis 1X250Gr 48P</c:v>
                </c:pt>
                <c:pt idx="62">
                  <c:v>Apericube Sucre Sale Fromage Fondu Cube Assortis 1X250Gr 48P</c:v>
                </c:pt>
                <c:pt idx="63">
                  <c:v>Port Salut St Paulin 1X185Gr 1P</c:v>
                </c:pt>
                <c:pt idx="64">
                  <c:v>Babybel St Paulin 1X380Gr 1P</c:v>
                </c:pt>
                <c:pt idx="65">
                  <c:v>Apericube Vertical Nature Fromage Fondu Cube 1X125Gr 24P</c:v>
                </c:pt>
                <c:pt idx="66">
                  <c:v>Boursin Salade &amp; Aperitif Fromage Frais Des Citron Romarin 1X120Gr 1P</c:v>
                </c:pt>
                <c:pt idx="67">
                  <c:v>Mini Babybel Aros St Paulin Ferme Raclette Filet 1X132Gr 6P</c:v>
                </c:pt>
                <c:pt idx="68">
                  <c:v>La Vache Qui Rit Bio Fromage Fondu Boite Ronde 1X128Gr 8P</c:v>
                </c:pt>
                <c:pt idx="69">
                  <c:v>Mini Babybel Aros Soft Cheese Enfant 110G</c:v>
                </c:pt>
                <c:pt idx="70">
                  <c:v>Nurishh Le Coeur Fleuri Vegetal Camembert Boite 1X140Gr 1P</c:v>
                </c:pt>
                <c:pt idx="71">
                  <c:v>Boursin Classique Fromage Frais A Tartiner Afh Boite 1X80Gr 1P</c:v>
                </c:pt>
                <c:pt idx="72">
                  <c:v>Apericube Hot Chalenge Aperitif 250G</c:v>
                </c:pt>
                <c:pt idx="73">
                  <c:v>Port Salut St Paulin Tranche Boite 1X200Gr 6P</c:v>
                </c:pt>
                <c:pt idx="74">
                  <c:v>Boursin Salade &amp; Aperitif Fromage Frais Des Noisette Et 3 Noix 1X120Gr 1P</c:v>
                </c:pt>
                <c:pt idx="75">
                  <c:v>Boursin Classique Fromage Frais A Tartiner Afh 1X256Gr 16P</c:v>
                </c:pt>
                <c:pt idx="76">
                  <c:v>Nurishh Les Tranches Vegetales Emmental Vegetal Tranche Boite 1X160Gr 8P</c:v>
                </c:pt>
                <c:pt idx="77">
                  <c:v>Boursin Salade &amp; Aperitif Soft Cheese Salade 120G</c:v>
                </c:pt>
                <c:pt idx="78">
                  <c:v>Nurishh Le Rape Vegetal Specialite Vegetale Sachet 1X150Gr 1P</c:v>
                </c:pt>
                <c:pt idx="79">
                  <c:v>Nurishh Les Tranches Vegetales Cheddar Vegetal Tranche Boite 1X160Gr 8P</c:v>
                </c:pt>
                <c:pt idx="80">
                  <c:v>Nurishh Le Palet Vegetal Specialite Vegetale Ovale Saveur Chevre Boite 1X140Gr 1P</c:v>
                </c:pt>
                <c:pt idx="81">
                  <c:v>Boursin Classique Fromage Frais A Tartiner 3 Noix Boite 1X150Gr 1P</c:v>
                </c:pt>
                <c:pt idx="82">
                  <c:v>Apericube Fromages Du Monde Aperitif 250G</c:v>
                </c:pt>
                <c:pt idx="83">
                  <c:v>Apericube Jambon Fromage Fondu Cube 1X78Gr 15P</c:v>
                </c:pt>
                <c:pt idx="84">
                  <c:v>Boursin Classique Fromage Frais A Tartiner Poivre Boite 1X150Gr 1P</c:v>
                </c:pt>
                <c:pt idx="85">
                  <c:v>Mini Babybel Aros St Paulin Ferme Emmental Filet 1X120Gr 6P</c:v>
                </c:pt>
                <c:pt idx="86">
                  <c:v>Apericube P'Tits Plaisirs Fromage Fondu Cube 3 Fromages &amp; Jambon Cru Olive Verte 1X78Gr 15P</c:v>
                </c:pt>
                <c:pt idx="87">
                  <c:v>Apericube Saveurs De L'Authentique Fromage Fondu Cube Assortis 1X250Gr 48P</c:v>
                </c:pt>
                <c:pt idx="88">
                  <c:v>Nurishh Le Rape Vegetal Specialite Vegetale Emmental Sachet 1X150Gr 1P</c:v>
                </c:pt>
                <c:pt idx="89">
                  <c:v>Nurishh Des Vegetaux Feta Vegetale Sachet 1X150Gr 1P</c:v>
                </c:pt>
                <c:pt idx="90">
                  <c:v>Boursin Vegetal Specialite Vegetale A Tartiner Afh 1X130Gr 1P</c:v>
                </c:pt>
                <c:pt idx="91">
                  <c:v>Boursin Onctueux Fromage Frais A Tartiner Afh 1X210Gr 1P</c:v>
                </c:pt>
                <c:pt idx="92">
                  <c:v>Nurishh Le Rape Vegetal Mozzarella Vegetale Sachet 1X150Gr 1P</c:v>
                </c:pt>
                <c:pt idx="93">
                  <c:v>Boursin Aperitif Roules Aperitif 100G</c:v>
                </c:pt>
                <c:pt idx="94">
                  <c:v>Boursin Aperitif Roules Fromage Frais Roule Jambon Fume &amp; Trio De Noix Boite 1X100Gr 20P</c:v>
                </c:pt>
                <c:pt idx="95">
                  <c:v>Apericube Montagne Aperitif 250G</c:v>
                </c:pt>
                <c:pt idx="96">
                  <c:v>Boursin Classique Fromage Frais A Tartiner Truffe Boite 1X150Gr 1P</c:v>
                </c:pt>
                <c:pt idx="97">
                  <c:v>Boursin Classique Fromage Frais A Tartiner Afh Boite 1X320Gr 16+4P</c:v>
                </c:pt>
                <c:pt idx="98">
                  <c:v>Boursin Vegetal Alternative Vegetale 150G</c:v>
                </c:pt>
                <c:pt idx="99">
                  <c:v>Boursin Classique Fromage Frais A Tartiner 3 Noix 1X160Gr 10P</c:v>
                </c:pt>
                <c:pt idx="100">
                  <c:v>Mini Babybel Rouge Filet St Paulin Ferme Sachet 1X40Gr 1P</c:v>
                </c:pt>
                <c:pt idx="101">
                  <c:v>La Vache Qui Rit Le Fondant Fromage Fondu 1X200Gr 1P</c:v>
                </c:pt>
                <c:pt idx="102">
                  <c:v>Nurishh Les Tranches Vegetales Emmental Vegetal Tranche Boite 1X200Gr 10P</c:v>
                </c:pt>
                <c:pt idx="103">
                  <c:v>Mini Babybel Aros Soft Cheese Enfant 120G</c:v>
                </c:pt>
                <c:pt idx="104">
                  <c:v>Nurishh Les Tranches Vegetales Cheddar Vegetal Tranche Boite 1X200Gr 10P</c:v>
                </c:pt>
                <c:pt idx="105">
                  <c:v>La Vache Qui Rit Aro Fromage Fondu Boite Ronde Jambon 1X133Gr 8P</c:v>
                </c:pt>
                <c:pt idx="106">
                  <c:v>Nurishh Les Tranches Vegetales Specialite Vegetale Tranche Piment Boite 1X120Gr 6P</c:v>
                </c:pt>
                <c:pt idx="107">
                  <c:v>Toastinette Fromage Fondu Tranche A Chaud Sachet 1X340Gr 20P</c:v>
                </c:pt>
                <c:pt idx="108">
                  <c:v>Nurishh Le Tartinable Vegetal Specialite Vegetale A Tartiner 1X130Gr 1P</c:v>
                </c:pt>
                <c:pt idx="109">
                  <c:v>Toastinette Cheddar Fondu Tranche A Chaud Sachet 1X340Gr 20P</c:v>
                </c:pt>
                <c:pt idx="110">
                  <c:v>La Vache Qui Rit Pik Et Croq' Fromage Fondu Dips Boite 1X35Gr 1P</c:v>
                </c:pt>
                <c:pt idx="111">
                  <c:v>Kiri Chevre Fromage Blanc Frais Carre 1X144Gr 8P</c:v>
                </c:pt>
                <c:pt idx="112">
                  <c:v>Boursin Classique Fromage Frais A Tartiner Citron &amp; Romarin Boite 1X150Gr 1P</c:v>
                </c:pt>
                <c:pt idx="113">
                  <c:v>Mini Babybel Bio St Paulin Ferme Filet 1X100Gr 5P</c:v>
                </c:pt>
                <c:pt idx="114">
                  <c:v>Boursin Classique Fromage Frais A Tartiner Ciboulette &amp; Echalote 1X160Gr 10P</c:v>
                </c:pt>
                <c:pt idx="115">
                  <c:v>Cousteron St Paulin 1X460Gr 1P</c:v>
                </c:pt>
                <c:pt idx="116">
                  <c:v>Mini Babybel Rouge Filet St Paulin Ferme 1X110Gr 5P</c:v>
                </c:pt>
                <c:pt idx="117">
                  <c:v>Port Salut Pause Fondante Specialite Roux Sachet 1X180Gr 1P</c:v>
                </c:pt>
                <c:pt idx="118">
                  <c:v>Limiano Queijo Flamengo Tranche Sachet 1X200Gr 1P</c:v>
                </c:pt>
                <c:pt idx="119">
                  <c:v>Limiano Queijo Flamengo Bloc 1X600Gr 1P</c:v>
                </c:pt>
                <c:pt idx="120">
                  <c:v>Limiano Queijo Flamengo Autre Sachet 1X450Gr 1P</c:v>
                </c:pt>
                <c:pt idx="121">
                  <c:v>Nurishh Le Rape Vegetal Specialite Vegetale Sachet 1X200Gr 1P</c:v>
                </c:pt>
                <c:pt idx="122">
                  <c:v>Nurishh Le Rape Vegetal Mozzarella Vegetale Sachet 1X200Gr 1P</c:v>
                </c:pt>
                <c:pt idx="123">
                  <c:v>Boursin Aperitif Roules Fromage Frais Roule Basilic &amp; Jambon Fume Tomate Boite 1X100Gr 20P</c:v>
                </c:pt>
                <c:pt idx="124">
                  <c:v>Mini Babybel Rouge Filet St Paulin Ferme 1X396Gr 18P</c:v>
                </c:pt>
              </c:strCache>
            </c:strRef>
          </c:cat>
          <c:val>
            <c:numRef>
              <c:f>Sheet1!$C$2:$C$126</c:f>
              <c:numCache>
                <c:formatCode>General</c:formatCode>
                <c:ptCount val="125"/>
                <c:pt idx="0">
                  <c:v>9.4729334206069188E-2</c:v>
                </c:pt>
                <c:pt idx="1">
                  <c:v>0.16376398918378254</c:v>
                </c:pt>
                <c:pt idx="2">
                  <c:v>0.22089293420912337</c:v>
                </c:pt>
                <c:pt idx="3">
                  <c:v>0.27323281034545105</c:v>
                </c:pt>
                <c:pt idx="4">
                  <c:v>0.32409159295641277</c:v>
                </c:pt>
                <c:pt idx="5">
                  <c:v>0.37477460010842983</c:v>
                </c:pt>
                <c:pt idx="6">
                  <c:v>0.41257718469118532</c:v>
                </c:pt>
                <c:pt idx="7">
                  <c:v>0.44662098212172618</c:v>
                </c:pt>
                <c:pt idx="8">
                  <c:v>0.47523185160805576</c:v>
                </c:pt>
                <c:pt idx="9">
                  <c:v>0.50354988471828721</c:v>
                </c:pt>
                <c:pt idx="10">
                  <c:v>0.53075218146212566</c:v>
                </c:pt>
                <c:pt idx="11">
                  <c:v>0.55727016886529523</c:v>
                </c:pt>
                <c:pt idx="12">
                  <c:v>0.58344845070524443</c:v>
                </c:pt>
                <c:pt idx="13">
                  <c:v>0.60790858786132551</c:v>
                </c:pt>
                <c:pt idx="14">
                  <c:v>0.62850039234535893</c:v>
                </c:pt>
                <c:pt idx="15">
                  <c:v>0.64539108374862642</c:v>
                </c:pt>
                <c:pt idx="16">
                  <c:v>0.66134920158387756</c:v>
                </c:pt>
                <c:pt idx="17">
                  <c:v>0.67609662012493421</c:v>
                </c:pt>
                <c:pt idx="18">
                  <c:v>0.69035184817226258</c:v>
                </c:pt>
                <c:pt idx="19">
                  <c:v>0.70458397777798654</c:v>
                </c:pt>
                <c:pt idx="20">
                  <c:v>0.7184155263018337</c:v>
                </c:pt>
                <c:pt idx="21">
                  <c:v>0.73182181858944972</c:v>
                </c:pt>
                <c:pt idx="22">
                  <c:v>0.74441936128342945</c:v>
                </c:pt>
                <c:pt idx="23">
                  <c:v>0.7566820646139446</c:v>
                </c:pt>
                <c:pt idx="24">
                  <c:v>0.76859594626031513</c:v>
                </c:pt>
                <c:pt idx="25">
                  <c:v>0.77983248971731178</c:v>
                </c:pt>
                <c:pt idx="26">
                  <c:v>0.78921902888356876</c:v>
                </c:pt>
                <c:pt idx="27">
                  <c:v>0.79796393400043708</c:v>
                </c:pt>
                <c:pt idx="28">
                  <c:v>0.8062465021187899</c:v>
                </c:pt>
                <c:pt idx="29">
                  <c:v>0.81427653207777284</c:v>
                </c:pt>
                <c:pt idx="30">
                  <c:v>0.82226604772234091</c:v>
                </c:pt>
                <c:pt idx="31">
                  <c:v>0.83006310036439368</c:v>
                </c:pt>
                <c:pt idx="32">
                  <c:v>0.83740839679095269</c:v>
                </c:pt>
                <c:pt idx="33">
                  <c:v>0.84442989884691411</c:v>
                </c:pt>
                <c:pt idx="34">
                  <c:v>0.85138011267717562</c:v>
                </c:pt>
                <c:pt idx="35">
                  <c:v>0.85819378478402419</c:v>
                </c:pt>
                <c:pt idx="36">
                  <c:v>0.86499813267587999</c:v>
                </c:pt>
                <c:pt idx="37">
                  <c:v>0.87169008575988771</c:v>
                </c:pt>
                <c:pt idx="38">
                  <c:v>0.87758711950219681</c:v>
                </c:pt>
                <c:pt idx="39">
                  <c:v>0.88337343119282397</c:v>
                </c:pt>
                <c:pt idx="40">
                  <c:v>0.88912888893598585</c:v>
                </c:pt>
                <c:pt idx="41">
                  <c:v>0.89464524659443267</c:v>
                </c:pt>
                <c:pt idx="42">
                  <c:v>0.90002282952003898</c:v>
                </c:pt>
                <c:pt idx="43">
                  <c:v>0.9049840402254159</c:v>
                </c:pt>
                <c:pt idx="44">
                  <c:v>0.90973259480001423</c:v>
                </c:pt>
                <c:pt idx="45">
                  <c:v>0.91417208166117081</c:v>
                </c:pt>
                <c:pt idx="46">
                  <c:v>0.91833371491916183</c:v>
                </c:pt>
                <c:pt idx="47">
                  <c:v>0.92215307345254816</c:v>
                </c:pt>
                <c:pt idx="48">
                  <c:v>0.92591158047813205</c:v>
                </c:pt>
                <c:pt idx="49">
                  <c:v>0.92946333003941772</c:v>
                </c:pt>
                <c:pt idx="50">
                  <c:v>0.933008356561567</c:v>
                </c:pt>
                <c:pt idx="51">
                  <c:v>0.93655196644332683</c:v>
                </c:pt>
                <c:pt idx="52">
                  <c:v>0.93985771680116459</c:v>
                </c:pt>
                <c:pt idx="53">
                  <c:v>0.94295347623302428</c:v>
                </c:pt>
                <c:pt idx="54">
                  <c:v>0.94600306279252933</c:v>
                </c:pt>
                <c:pt idx="55">
                  <c:v>0.9489244714094518</c:v>
                </c:pt>
                <c:pt idx="56">
                  <c:v>0.95170764953955911</c:v>
                </c:pt>
                <c:pt idx="57">
                  <c:v>0.95441415300903953</c:v>
                </c:pt>
                <c:pt idx="58">
                  <c:v>0.95690218171744112</c:v>
                </c:pt>
                <c:pt idx="59">
                  <c:v>0.95929985758202041</c:v>
                </c:pt>
                <c:pt idx="60">
                  <c:v>0.96143095694122349</c:v>
                </c:pt>
                <c:pt idx="61">
                  <c:v>0.96343788016685383</c:v>
                </c:pt>
                <c:pt idx="62">
                  <c:v>0.96515972252224691</c:v>
                </c:pt>
                <c:pt idx="63">
                  <c:v>0.96685552910822248</c:v>
                </c:pt>
                <c:pt idx="64">
                  <c:v>0.96853500831343819</c:v>
                </c:pt>
                <c:pt idx="65">
                  <c:v>0.97014493607806429</c:v>
                </c:pt>
                <c:pt idx="66">
                  <c:v>0.97151660413786733</c:v>
                </c:pt>
                <c:pt idx="67">
                  <c:v>0.97278791483132365</c:v>
                </c:pt>
                <c:pt idx="68">
                  <c:v>0.97405358297407629</c:v>
                </c:pt>
                <c:pt idx="69">
                  <c:v>0.97527157356428662</c:v>
                </c:pt>
                <c:pt idx="70">
                  <c:v>0.976445720334986</c:v>
                </c:pt>
                <c:pt idx="71">
                  <c:v>0.97757893660313355</c:v>
                </c:pt>
                <c:pt idx="72">
                  <c:v>0.97869657783061514</c:v>
                </c:pt>
                <c:pt idx="73">
                  <c:v>0.97976249167483664</c:v>
                </c:pt>
                <c:pt idx="74">
                  <c:v>0.98079752756073879</c:v>
                </c:pt>
                <c:pt idx="75">
                  <c:v>0.98180748811138574</c:v>
                </c:pt>
                <c:pt idx="76">
                  <c:v>0.9827797836356329</c:v>
                </c:pt>
                <c:pt idx="77">
                  <c:v>0.98374287499915758</c:v>
                </c:pt>
                <c:pt idx="78">
                  <c:v>0.98468331612368709</c:v>
                </c:pt>
                <c:pt idx="79">
                  <c:v>0.98555354150733132</c:v>
                </c:pt>
                <c:pt idx="80">
                  <c:v>0.98634427495680566</c:v>
                </c:pt>
                <c:pt idx="81">
                  <c:v>0.98711028523021771</c:v>
                </c:pt>
                <c:pt idx="82">
                  <c:v>0.98783899064004077</c:v>
                </c:pt>
                <c:pt idx="83">
                  <c:v>0.98854040371241736</c:v>
                </c:pt>
                <c:pt idx="84">
                  <c:v>0.98923715867910655</c:v>
                </c:pt>
                <c:pt idx="85">
                  <c:v>0.98991895488371728</c:v>
                </c:pt>
                <c:pt idx="86">
                  <c:v>0.99058698486533436</c:v>
                </c:pt>
                <c:pt idx="87">
                  <c:v>0.99112947009469732</c:v>
                </c:pt>
                <c:pt idx="88">
                  <c:v>0.99166711313515843</c:v>
                </c:pt>
                <c:pt idx="89">
                  <c:v>0.99220349160397248</c:v>
                </c:pt>
                <c:pt idx="90">
                  <c:v>0.99273898167118635</c:v>
                </c:pt>
                <c:pt idx="91">
                  <c:v>0.99324689927432297</c:v>
                </c:pt>
                <c:pt idx="92">
                  <c:v>0.99374603690849217</c:v>
                </c:pt>
                <c:pt idx="93">
                  <c:v>0.99416552253613122</c:v>
                </c:pt>
                <c:pt idx="94">
                  <c:v>0.99457370705512671</c:v>
                </c:pt>
                <c:pt idx="95">
                  <c:v>0.99497561673759483</c:v>
                </c:pt>
                <c:pt idx="96">
                  <c:v>0.99536697765151327</c:v>
                </c:pt>
                <c:pt idx="97">
                  <c:v>0.99575256795683964</c:v>
                </c:pt>
                <c:pt idx="98">
                  <c:v>0.99613650951685395</c:v>
                </c:pt>
                <c:pt idx="99">
                  <c:v>0.99650186667582696</c:v>
                </c:pt>
                <c:pt idx="100">
                  <c:v>0.99683420090685138</c:v>
                </c:pt>
                <c:pt idx="101">
                  <c:v>0.99715663466238569</c:v>
                </c:pt>
                <c:pt idx="102">
                  <c:v>0.9974299181996622</c:v>
                </c:pt>
                <c:pt idx="103">
                  <c:v>0.99770068059726247</c:v>
                </c:pt>
                <c:pt idx="104">
                  <c:v>0.99794759221316465</c:v>
                </c:pt>
                <c:pt idx="105">
                  <c:v>0.99818806892017908</c:v>
                </c:pt>
                <c:pt idx="106">
                  <c:v>0.9984141391147584</c:v>
                </c:pt>
                <c:pt idx="107">
                  <c:v>0.99863194157192359</c:v>
                </c:pt>
                <c:pt idx="108">
                  <c:v>0.99884467773888241</c:v>
                </c:pt>
                <c:pt idx="109">
                  <c:v>0.9990444960663577</c:v>
                </c:pt>
                <c:pt idx="110">
                  <c:v>0.99923266912961461</c:v>
                </c:pt>
                <c:pt idx="111">
                  <c:v>0.99936899475534102</c:v>
                </c:pt>
                <c:pt idx="112">
                  <c:v>0.99949932567117084</c:v>
                </c:pt>
                <c:pt idx="113">
                  <c:v>0.99962395801097081</c:v>
                </c:pt>
                <c:pt idx="114">
                  <c:v>0.99973445596134825</c:v>
                </c:pt>
                <c:pt idx="115">
                  <c:v>0.99981636498815996</c:v>
                </c:pt>
                <c:pt idx="116">
                  <c:v>0.99991338484579251</c:v>
                </c:pt>
                <c:pt idx="117">
                  <c:v>0.99994218986704475</c:v>
                </c:pt>
                <c:pt idx="118">
                  <c:v>0.99996817761475409</c:v>
                </c:pt>
                <c:pt idx="119">
                  <c:v>0.99998906705778501</c:v>
                </c:pt>
                <c:pt idx="120">
                  <c:v>0.99999402129733905</c:v>
                </c:pt>
                <c:pt idx="121">
                  <c:v>0.99999611824526013</c:v>
                </c:pt>
                <c:pt idx="122">
                  <c:v>0.99999691860706208</c:v>
                </c:pt>
                <c:pt idx="123">
                  <c:v>0.99999871942111651</c:v>
                </c:pt>
                <c:pt idx="124">
                  <c:v>0.9999998959529654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6</c:f>
              <c:strCache>
                <c:ptCount val="125"/>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Apericube Edition Limitee Best Of Foot Fromage Fondu Cube Assortis 1X250Gr 48P</c:v>
                </c:pt>
                <c:pt idx="8">
                  <c:v>Kiri Creme Fromage Blanc Frais Carre 1X216Gr 12P</c:v>
                </c:pt>
                <c:pt idx="9">
                  <c:v>Apericube Cocktail Fromage Fondu Cube Assortis 1X250Gr 48P</c:v>
                </c:pt>
                <c:pt idx="10">
                  <c:v>Boursin Classique Fromage Frais A Tartiner Afh Boite 1X150Gr 1P</c:v>
                </c:pt>
                <c:pt idx="11">
                  <c:v>Boursin Classique Fromage Frais A Tartiner Afh 1X160Gr 10P</c:v>
                </c:pt>
                <c:pt idx="12">
                  <c:v>Kiri Gouter Fromage Blanc Dips Boite 1X175Gr 5P</c:v>
                </c:pt>
                <c:pt idx="13">
                  <c:v>Apericube Long Drink Fromage Fondu Cube Assortis 1X250Gr 48P</c:v>
                </c:pt>
                <c:pt idx="14">
                  <c:v>Boursin Aperitif Roules Fromage Frais Roule Afh Et Jambon Fume Boite 1X100Gr 20P</c:v>
                </c:pt>
                <c:pt idx="15">
                  <c:v>Boursin Classique Fromage Frais A Tartiner Afh Boite 1X250Gr 1P</c:v>
                </c:pt>
                <c:pt idx="16">
                  <c:v>Boursin Salade &amp; Aperitif Fromage Frais Des Afh 1X120Gr 1P</c:v>
                </c:pt>
                <c:pt idx="17">
                  <c:v>Kiri Gouter Fromage Blanc Dips Boite 1X280Gr 8P</c:v>
                </c:pt>
                <c:pt idx="18">
                  <c:v>Apericube Tonic Fromage Fondu Cube Assortis 1X250Gr 48P</c:v>
                </c:pt>
                <c:pt idx="19">
                  <c:v>La Vache Qui Rit Pik Et Croq' Fromage Fondu Dips Boite 1X175Gr 5P</c:v>
                </c:pt>
                <c:pt idx="20">
                  <c:v>Mini Babybel Rouge Filet St Paulin Ferme 1X440Gr 20P</c:v>
                </c:pt>
                <c:pt idx="21">
                  <c:v>Apericube Edition Limitee Saison Fromage Fondu Cube Assortis 1X250Gr 48P</c:v>
                </c:pt>
                <c:pt idx="22">
                  <c:v>Apericube Nature Fromage Fondu Cube 1X125Gr 24P</c:v>
                </c:pt>
                <c:pt idx="23">
                  <c:v>La Vache Qui Rit Nature Fromage Fondu Boite Ronde 1X128Gr 8P</c:v>
                </c:pt>
                <c:pt idx="24">
                  <c:v>Mini Babybel Rouge Filet Soft Cheese Enfant 352G</c:v>
                </c:pt>
                <c:pt idx="25">
                  <c:v>La Vache Qui Rit Nature Fromage Fondu Boite Ronde 1X512Gr 24+8P</c:v>
                </c:pt>
                <c:pt idx="26">
                  <c:v>Kiri Creme Fromage Blanc Frais Carre 1X432Gr 18+6P</c:v>
                </c:pt>
                <c:pt idx="27">
                  <c:v>Apericube Incontournable Fromage Fondu Cube Assortis 1X250Gr 48P</c:v>
                </c:pt>
                <c:pt idx="28">
                  <c:v>Babybel St Paulin 1X200Gr 1P</c:v>
                </c:pt>
                <c:pt idx="29">
                  <c:v>Boursin Aperitif Roules Fromage Frais Roule Ciboulette &amp; Echalote Jambon Fume Boite 1X100Gr 20P</c:v>
                </c:pt>
                <c:pt idx="30">
                  <c:v>Mini Babybel Rouge Filet Soft Cheese Enfant 484G</c:v>
                </c:pt>
                <c:pt idx="31">
                  <c:v>Boursin Classique Fromage Frais A Tartiner Afh Boite 1X96Gr 6P</c:v>
                </c:pt>
                <c:pt idx="32">
                  <c:v>Port Salut St Paulin 1X320Gr 1P</c:v>
                </c:pt>
                <c:pt idx="33">
                  <c:v>Apericube Campagne Fromage Fondu Cube Assortis 1X125Gr 24P</c:v>
                </c:pt>
                <c:pt idx="34">
                  <c:v>Apericube Carrement Toque Fromage Fondu Cube Assortis 1X250Gr 48P</c:v>
                </c:pt>
                <c:pt idx="35">
                  <c:v>Apericube Best Of Des Saveurs Fromage Fondu Cube Assortis 1X125Gr 24P</c:v>
                </c:pt>
                <c:pt idx="36">
                  <c:v>Mini Babybel Rouge Filet St Paulin Ferme 1X396Gr 12+6P</c:v>
                </c:pt>
                <c:pt idx="37">
                  <c:v>Toastinette Cheddar Fondu Tranche A Chaud Sachet 1X200Gr 10P</c:v>
                </c:pt>
                <c:pt idx="38">
                  <c:v>Toastinette Fromage Fondu Tranche A Chaud Sachet 1X200Gr 10P</c:v>
                </c:pt>
                <c:pt idx="39">
                  <c:v>Cousteron St Paulin 1X320Gr 1P</c:v>
                </c:pt>
                <c:pt idx="40">
                  <c:v>Kiri Delicieusement Fouette Fromage Frais A Tartiner 1X125Gr 1P</c:v>
                </c:pt>
                <c:pt idx="41">
                  <c:v>Boursin Classique Fromage Frais A Tartiner Ciboulette &amp; Echalote Boite 1X150Gr 1P</c:v>
                </c:pt>
                <c:pt idx="42">
                  <c:v>Apericube Edition Voyage Fromage Fondu Cube Assortis 1X250Gr 48P</c:v>
                </c:pt>
                <c:pt idx="43">
                  <c:v>Apericube Long Drink Fromage Fondu Cube Assortis 1X125Gr 24P</c:v>
                </c:pt>
                <c:pt idx="44">
                  <c:v>Boursin Onctueux Fromage Frais A Tartiner Afh 1X125Gr 1P</c:v>
                </c:pt>
                <c:pt idx="45">
                  <c:v>Mini Babybel Aros St Paulin Ferme Assortis Filet 1X180Gr 9P</c:v>
                </c:pt>
                <c:pt idx="46">
                  <c:v>Apericube Vertical Soiree Apero Fromage Fondu Cube Assortis 1X125Gr 24P</c:v>
                </c:pt>
                <c:pt idx="47">
                  <c:v>Kiri Delicieusement Fouette Fromage Frais A Tartiner 1X210Gr 1P</c:v>
                </c:pt>
                <c:pt idx="48">
                  <c:v>Babybel Mini Rolls St Paulin Ferme Sachet 1X85Gr 5P</c:v>
                </c:pt>
                <c:pt idx="49">
                  <c:v>Boursin Salade &amp; Aperitif Fromage Frais Des Ciboulette Echalote 1X120Gr 1P</c:v>
                </c:pt>
                <c:pt idx="50">
                  <c:v>La Vache Qui Rit Pik Et Croq' Fromage Fondu Dips Boite 1X280Gr 8P</c:v>
                </c:pt>
                <c:pt idx="51">
                  <c:v>Boursin Classique Fromage Frais A Tartiner Figue Et 3 Noix Boite 1X150Gr 1P</c:v>
                </c:pt>
                <c:pt idx="52">
                  <c:v>Apericube Soiree Match Aperitif 250G</c:v>
                </c:pt>
                <c:pt idx="53">
                  <c:v>Kiri Delicieusement Fouette Fromage Frais A Tartiner 1X160Gr 10P</c:v>
                </c:pt>
                <c:pt idx="54">
                  <c:v>Boursin Cuisine Sauce Fromage Afh 1X240Gr 1P</c:v>
                </c:pt>
                <c:pt idx="55">
                  <c:v>La Vache Qui Rit Allegee Fromage Fondu Boite Ronde Allege 1X267Gr 16P</c:v>
                </c:pt>
                <c:pt idx="56">
                  <c:v>Apericube Charcut' Fromages Fromage Fondu Cube Assortis 1X250Gr 48P</c:v>
                </c:pt>
                <c:pt idx="57">
                  <c:v>Boursin Salade &amp; Aperitif Fromage Frais Des Figue Noix 1X120Gr 1P</c:v>
                </c:pt>
                <c:pt idx="58">
                  <c:v>Apericube Nature Fromage Fondu Cube 1X250Gr 48P</c:v>
                </c:pt>
                <c:pt idx="59">
                  <c:v>Kiri Bio Fromage Blanc Frais Carre 1X144Gr 8P</c:v>
                </c:pt>
                <c:pt idx="60">
                  <c:v>Mini Babybel Aros Soft Cheese Enfant 180G</c:v>
                </c:pt>
                <c:pt idx="61">
                  <c:v>Apericube Selection Du Fromager Fromage Fondu Cube Assortis 1X250Gr 48P</c:v>
                </c:pt>
                <c:pt idx="62">
                  <c:v>Apericube Sucre Sale Fromage Fondu Cube Assortis 1X250Gr 48P</c:v>
                </c:pt>
                <c:pt idx="63">
                  <c:v>Port Salut St Paulin 1X185Gr 1P</c:v>
                </c:pt>
                <c:pt idx="64">
                  <c:v>Babybel St Paulin 1X380Gr 1P</c:v>
                </c:pt>
                <c:pt idx="65">
                  <c:v>Apericube Vertical Nature Fromage Fondu Cube 1X125Gr 24P</c:v>
                </c:pt>
                <c:pt idx="66">
                  <c:v>Boursin Salade &amp; Aperitif Fromage Frais Des Citron Romarin 1X120Gr 1P</c:v>
                </c:pt>
                <c:pt idx="67">
                  <c:v>Mini Babybel Aros St Paulin Ferme Raclette Filet 1X132Gr 6P</c:v>
                </c:pt>
                <c:pt idx="68">
                  <c:v>La Vache Qui Rit Bio Fromage Fondu Boite Ronde 1X128Gr 8P</c:v>
                </c:pt>
                <c:pt idx="69">
                  <c:v>Mini Babybel Aros Soft Cheese Enfant 110G</c:v>
                </c:pt>
                <c:pt idx="70">
                  <c:v>Nurishh Le Coeur Fleuri Vegetal Camembert Boite 1X140Gr 1P</c:v>
                </c:pt>
                <c:pt idx="71">
                  <c:v>Boursin Classique Fromage Frais A Tartiner Afh Boite 1X80Gr 1P</c:v>
                </c:pt>
                <c:pt idx="72">
                  <c:v>Apericube Hot Chalenge Aperitif 250G</c:v>
                </c:pt>
                <c:pt idx="73">
                  <c:v>Port Salut St Paulin Tranche Boite 1X200Gr 6P</c:v>
                </c:pt>
                <c:pt idx="74">
                  <c:v>Boursin Salade &amp; Aperitif Fromage Frais Des Noisette Et 3 Noix 1X120Gr 1P</c:v>
                </c:pt>
                <c:pt idx="75">
                  <c:v>Boursin Classique Fromage Frais A Tartiner Afh 1X256Gr 16P</c:v>
                </c:pt>
                <c:pt idx="76">
                  <c:v>Nurishh Les Tranches Vegetales Emmental Vegetal Tranche Boite 1X160Gr 8P</c:v>
                </c:pt>
                <c:pt idx="77">
                  <c:v>Boursin Salade &amp; Aperitif Soft Cheese Salade 120G</c:v>
                </c:pt>
                <c:pt idx="78">
                  <c:v>Nurishh Le Rape Vegetal Specialite Vegetale Sachet 1X150Gr 1P</c:v>
                </c:pt>
                <c:pt idx="79">
                  <c:v>Nurishh Les Tranches Vegetales Cheddar Vegetal Tranche Boite 1X160Gr 8P</c:v>
                </c:pt>
                <c:pt idx="80">
                  <c:v>Nurishh Le Palet Vegetal Specialite Vegetale Ovale Saveur Chevre Boite 1X140Gr 1P</c:v>
                </c:pt>
                <c:pt idx="81">
                  <c:v>Boursin Classique Fromage Frais A Tartiner 3 Noix Boite 1X150Gr 1P</c:v>
                </c:pt>
                <c:pt idx="82">
                  <c:v>Apericube Fromages Du Monde Aperitif 250G</c:v>
                </c:pt>
                <c:pt idx="83">
                  <c:v>Apericube Jambon Fromage Fondu Cube 1X78Gr 15P</c:v>
                </c:pt>
                <c:pt idx="84">
                  <c:v>Boursin Classique Fromage Frais A Tartiner Poivre Boite 1X150Gr 1P</c:v>
                </c:pt>
                <c:pt idx="85">
                  <c:v>Mini Babybel Aros St Paulin Ferme Emmental Filet 1X120Gr 6P</c:v>
                </c:pt>
                <c:pt idx="86">
                  <c:v>Apericube P'Tits Plaisirs Fromage Fondu Cube 3 Fromages &amp; Jambon Cru Olive Verte 1X78Gr 15P</c:v>
                </c:pt>
                <c:pt idx="87">
                  <c:v>Apericube Saveurs De L'Authentique Fromage Fondu Cube Assortis 1X250Gr 48P</c:v>
                </c:pt>
                <c:pt idx="88">
                  <c:v>Nurishh Le Rape Vegetal Specialite Vegetale Emmental Sachet 1X150Gr 1P</c:v>
                </c:pt>
                <c:pt idx="89">
                  <c:v>Nurishh Des Vegetaux Feta Vegetale Sachet 1X150Gr 1P</c:v>
                </c:pt>
                <c:pt idx="90">
                  <c:v>Boursin Vegetal Specialite Vegetale A Tartiner Afh 1X130Gr 1P</c:v>
                </c:pt>
                <c:pt idx="91">
                  <c:v>Boursin Onctueux Fromage Frais A Tartiner Afh 1X210Gr 1P</c:v>
                </c:pt>
                <c:pt idx="92">
                  <c:v>Nurishh Le Rape Vegetal Mozzarella Vegetale Sachet 1X150Gr 1P</c:v>
                </c:pt>
                <c:pt idx="93">
                  <c:v>Boursin Aperitif Roules Aperitif 100G</c:v>
                </c:pt>
                <c:pt idx="94">
                  <c:v>Boursin Aperitif Roules Fromage Frais Roule Jambon Fume &amp; Trio De Noix Boite 1X100Gr 20P</c:v>
                </c:pt>
                <c:pt idx="95">
                  <c:v>Apericube Montagne Aperitif 250G</c:v>
                </c:pt>
                <c:pt idx="96">
                  <c:v>Boursin Classique Fromage Frais A Tartiner Truffe Boite 1X150Gr 1P</c:v>
                </c:pt>
                <c:pt idx="97">
                  <c:v>Boursin Classique Fromage Frais A Tartiner Afh Boite 1X320Gr 16+4P</c:v>
                </c:pt>
                <c:pt idx="98">
                  <c:v>Boursin Vegetal Alternative Vegetale 150G</c:v>
                </c:pt>
                <c:pt idx="99">
                  <c:v>Boursin Classique Fromage Frais A Tartiner 3 Noix 1X160Gr 10P</c:v>
                </c:pt>
                <c:pt idx="100">
                  <c:v>Mini Babybel Rouge Filet St Paulin Ferme Sachet 1X40Gr 1P</c:v>
                </c:pt>
                <c:pt idx="101">
                  <c:v>La Vache Qui Rit Le Fondant Fromage Fondu 1X200Gr 1P</c:v>
                </c:pt>
                <c:pt idx="102">
                  <c:v>Nurishh Les Tranches Vegetales Emmental Vegetal Tranche Boite 1X200Gr 10P</c:v>
                </c:pt>
                <c:pt idx="103">
                  <c:v>Mini Babybel Aros Soft Cheese Enfant 120G</c:v>
                </c:pt>
                <c:pt idx="104">
                  <c:v>Nurishh Les Tranches Vegetales Cheddar Vegetal Tranche Boite 1X200Gr 10P</c:v>
                </c:pt>
                <c:pt idx="105">
                  <c:v>La Vache Qui Rit Aro Fromage Fondu Boite Ronde Jambon 1X133Gr 8P</c:v>
                </c:pt>
                <c:pt idx="106">
                  <c:v>Nurishh Les Tranches Vegetales Specialite Vegetale Tranche Piment Boite 1X120Gr 6P</c:v>
                </c:pt>
                <c:pt idx="107">
                  <c:v>Toastinette Fromage Fondu Tranche A Chaud Sachet 1X340Gr 20P</c:v>
                </c:pt>
                <c:pt idx="108">
                  <c:v>Nurishh Le Tartinable Vegetal Specialite Vegetale A Tartiner 1X130Gr 1P</c:v>
                </c:pt>
                <c:pt idx="109">
                  <c:v>Toastinette Cheddar Fondu Tranche A Chaud Sachet 1X340Gr 20P</c:v>
                </c:pt>
                <c:pt idx="110">
                  <c:v>La Vache Qui Rit Pik Et Croq' Fromage Fondu Dips Boite 1X35Gr 1P</c:v>
                </c:pt>
                <c:pt idx="111">
                  <c:v>Kiri Chevre Fromage Blanc Frais Carre 1X144Gr 8P</c:v>
                </c:pt>
                <c:pt idx="112">
                  <c:v>Boursin Classique Fromage Frais A Tartiner Citron &amp; Romarin Boite 1X150Gr 1P</c:v>
                </c:pt>
                <c:pt idx="113">
                  <c:v>Mini Babybel Bio St Paulin Ferme Filet 1X100Gr 5P</c:v>
                </c:pt>
                <c:pt idx="114">
                  <c:v>Boursin Classique Fromage Frais A Tartiner Ciboulette &amp; Echalote 1X160Gr 10P</c:v>
                </c:pt>
                <c:pt idx="115">
                  <c:v>Cousteron St Paulin 1X460Gr 1P</c:v>
                </c:pt>
                <c:pt idx="116">
                  <c:v>Mini Babybel Rouge Filet St Paulin Ferme 1X110Gr 5P</c:v>
                </c:pt>
                <c:pt idx="117">
                  <c:v>Port Salut Pause Fondante Specialite Roux Sachet 1X180Gr 1P</c:v>
                </c:pt>
                <c:pt idx="118">
                  <c:v>Limiano Queijo Flamengo Tranche Sachet 1X200Gr 1P</c:v>
                </c:pt>
                <c:pt idx="119">
                  <c:v>Limiano Queijo Flamengo Bloc 1X600Gr 1P</c:v>
                </c:pt>
                <c:pt idx="120">
                  <c:v>Limiano Queijo Flamengo Autre Sachet 1X450Gr 1P</c:v>
                </c:pt>
                <c:pt idx="121">
                  <c:v>Nurishh Le Rape Vegetal Specialite Vegetale Sachet 1X200Gr 1P</c:v>
                </c:pt>
                <c:pt idx="122">
                  <c:v>Nurishh Le Rape Vegetal Mozzarella Vegetale Sachet 1X200Gr 1P</c:v>
                </c:pt>
                <c:pt idx="123">
                  <c:v>Boursin Aperitif Roules Fromage Frais Roule Basilic &amp; Jambon Fume Tomate Boite 1X100Gr 20P</c:v>
                </c:pt>
                <c:pt idx="124">
                  <c:v>Mini Babybel Rouge Filet St Paulin Ferme 1X396Gr 18P</c:v>
                </c:pt>
              </c:strCache>
            </c:strRef>
          </c:cat>
          <c:val>
            <c:numRef>
              <c:f>Sheet1!$D$2:$D$126</c:f>
              <c:numCache>
                <c:formatCode>General</c:formatCode>
                <c:ptCount val="125"/>
                <c:pt idx="0">
                  <c:v>143117.46070133013</c:v>
                </c:pt>
                <c:pt idx="1">
                  <c:v>99371.32488479263</c:v>
                </c:pt>
                <c:pt idx="2">
                  <c:v>72099.898989898997</c:v>
                </c:pt>
                <c:pt idx="3">
                  <c:v>72823.240534521159</c:v>
                </c:pt>
                <c:pt idx="4">
                  <c:v>64775.474006116208</c:v>
                </c:pt>
                <c:pt idx="5">
                  <c:v>81394.755784061694</c:v>
                </c:pt>
                <c:pt idx="6">
                  <c:v>47708.959595959597</c:v>
                </c:pt>
                <c:pt idx="7">
                  <c:v>46845.275330396478</c:v>
                </c:pt>
                <c:pt idx="8">
                  <c:v>42862.613908872903</c:v>
                </c:pt>
                <c:pt idx="9">
                  <c:v>40297.881548974947</c:v>
                </c:pt>
                <c:pt idx="10">
                  <c:v>35111.053719008269</c:v>
                </c:pt>
                <c:pt idx="11">
                  <c:v>36210.382513661199</c:v>
                </c:pt>
                <c:pt idx="12">
                  <c:v>34465.816649104323</c:v>
                </c:pt>
                <c:pt idx="13">
                  <c:v>35619.289044289042</c:v>
                </c:pt>
                <c:pt idx="14">
                  <c:v>28428.861878453037</c:v>
                </c:pt>
                <c:pt idx="15">
                  <c:v>25830.86903304774</c:v>
                </c:pt>
                <c:pt idx="16">
                  <c:v>20726.226611226612</c:v>
                </c:pt>
                <c:pt idx="17">
                  <c:v>25172.049180327867</c:v>
                </c:pt>
                <c:pt idx="18">
                  <c:v>23528.375165125493</c:v>
                </c:pt>
                <c:pt idx="19">
                  <c:v>19583.832599118945</c:v>
                </c:pt>
                <c:pt idx="20">
                  <c:v>21075.146341463416</c:v>
                </c:pt>
                <c:pt idx="21">
                  <c:v>21982.007874015748</c:v>
                </c:pt>
                <c:pt idx="22">
                  <c:v>18517.423529411764</c:v>
                </c:pt>
                <c:pt idx="23">
                  <c:v>22077.017291066284</c:v>
                </c:pt>
                <c:pt idx="24">
                  <c:v>18422.797029702968</c:v>
                </c:pt>
                <c:pt idx="25">
                  <c:v>19364.593103448275</c:v>
                </c:pt>
                <c:pt idx="26">
                  <c:v>16379.706703910615</c:v>
                </c:pt>
                <c:pt idx="27">
                  <c:v>17125.689655172413</c:v>
                </c:pt>
                <c:pt idx="28">
                  <c:v>10790.959332638166</c:v>
                </c:pt>
                <c:pt idx="29">
                  <c:v>12732.233502538071</c:v>
                </c:pt>
                <c:pt idx="30">
                  <c:v>22533.589164785553</c:v>
                </c:pt>
                <c:pt idx="31">
                  <c:v>11865.907429963459</c:v>
                </c:pt>
                <c:pt idx="32">
                  <c:v>11192.036585365853</c:v>
                </c:pt>
                <c:pt idx="33">
                  <c:v>11497.916120576672</c:v>
                </c:pt>
                <c:pt idx="34">
                  <c:v>13278.042813455657</c:v>
                </c:pt>
                <c:pt idx="35">
                  <c:v>10432.892156862747</c:v>
                </c:pt>
                <c:pt idx="36">
                  <c:v>11551.073369565218</c:v>
                </c:pt>
                <c:pt idx="37">
                  <c:v>9790.5854800936777</c:v>
                </c:pt>
                <c:pt idx="38">
                  <c:v>9643.9267015706791</c:v>
                </c:pt>
                <c:pt idx="39">
                  <c:v>8816.6097560975613</c:v>
                </c:pt>
                <c:pt idx="40">
                  <c:v>9290.7881136950891</c:v>
                </c:pt>
                <c:pt idx="41">
                  <c:v>8691.4627994955863</c:v>
                </c:pt>
                <c:pt idx="42">
                  <c:v>12442.481481481482</c:v>
                </c:pt>
                <c:pt idx="43">
                  <c:v>7957.2657252888312</c:v>
                </c:pt>
                <c:pt idx="44">
                  <c:v>7665.3875968992243</c:v>
                </c:pt>
                <c:pt idx="45">
                  <c:v>8015.6791907514462</c:v>
                </c:pt>
                <c:pt idx="46">
                  <c:v>49053.67924528302</c:v>
                </c:pt>
                <c:pt idx="47">
                  <c:v>7421.5241057542771</c:v>
                </c:pt>
                <c:pt idx="48">
                  <c:v>7598.7216828478968</c:v>
                </c:pt>
                <c:pt idx="49">
                  <c:v>5431.6768665850677</c:v>
                </c:pt>
                <c:pt idx="50">
                  <c:v>10205.714285714286</c:v>
                </c:pt>
                <c:pt idx="51">
                  <c:v>6379.6974063400585</c:v>
                </c:pt>
                <c:pt idx="52">
                  <c:v>5441.7918313570481</c:v>
                </c:pt>
                <c:pt idx="53">
                  <c:v>5613.8606676342533</c:v>
                </c:pt>
                <c:pt idx="54">
                  <c:v>4929.184993531695</c:v>
                </c:pt>
                <c:pt idx="55">
                  <c:v>7373.9595959595963</c:v>
                </c:pt>
                <c:pt idx="56">
                  <c:v>6885.9405940594061</c:v>
                </c:pt>
                <c:pt idx="57">
                  <c:v>4221.7228464419468</c:v>
                </c:pt>
                <c:pt idx="58">
                  <c:v>6024.4767441860467</c:v>
                </c:pt>
                <c:pt idx="59">
                  <c:v>5967.6095617529882</c:v>
                </c:pt>
                <c:pt idx="60">
                  <c:v>3820.1865136298429</c:v>
                </c:pt>
                <c:pt idx="61">
                  <c:v>5075.9514170040484</c:v>
                </c:pt>
                <c:pt idx="62">
                  <c:v>4596.8589743589737</c:v>
                </c:pt>
                <c:pt idx="63">
                  <c:v>15134.285714285712</c:v>
                </c:pt>
                <c:pt idx="64">
                  <c:v>5219.9004975124371</c:v>
                </c:pt>
                <c:pt idx="65">
                  <c:v>31928.571428571431</c:v>
                </c:pt>
                <c:pt idx="66">
                  <c:v>2424.0594059405939</c:v>
                </c:pt>
                <c:pt idx="67">
                  <c:v>3755.1300236406623</c:v>
                </c:pt>
                <c:pt idx="68">
                  <c:v>3280.8506224066391</c:v>
                </c:pt>
                <c:pt idx="69">
                  <c:v>2359.3798449612405</c:v>
                </c:pt>
                <c:pt idx="70">
                  <c:v>2789.0114068441062</c:v>
                </c:pt>
                <c:pt idx="71">
                  <c:v>3167.5167785234898</c:v>
                </c:pt>
                <c:pt idx="72">
                  <c:v>2958.5169491525426</c:v>
                </c:pt>
                <c:pt idx="73">
                  <c:v>10013.45864661654</c:v>
                </c:pt>
                <c:pt idx="74">
                  <c:v>1752.3170731707319</c:v>
                </c:pt>
                <c:pt idx="75">
                  <c:v>4761.8113207547167</c:v>
                </c:pt>
                <c:pt idx="76">
                  <c:v>2812.083333333333</c:v>
                </c:pt>
                <c:pt idx="77">
                  <c:v>1723.9541547277938</c:v>
                </c:pt>
                <c:pt idx="78">
                  <c:v>2354.7494989979959</c:v>
                </c:pt>
                <c:pt idx="79">
                  <c:v>2437.8699551569507</c:v>
                </c:pt>
                <c:pt idx="80">
                  <c:v>2494.8737373737372</c:v>
                </c:pt>
                <c:pt idx="81">
                  <c:v>1782.2718808193667</c:v>
                </c:pt>
                <c:pt idx="82">
                  <c:v>2593.9316239316245</c:v>
                </c:pt>
                <c:pt idx="83">
                  <c:v>14606.166666666666</c:v>
                </c:pt>
                <c:pt idx="84">
                  <c:v>2165.5472636815921</c:v>
                </c:pt>
                <c:pt idx="85">
                  <c:v>2670.4075235109717</c:v>
                </c:pt>
                <c:pt idx="86">
                  <c:v>2162.3316062176164</c:v>
                </c:pt>
                <c:pt idx="87">
                  <c:v>4807.0921985815612</c:v>
                </c:pt>
                <c:pt idx="88">
                  <c:v>1622.5845410628019</c:v>
                </c:pt>
                <c:pt idx="89">
                  <c:v>1413.8607594936709</c:v>
                </c:pt>
                <c:pt idx="90">
                  <c:v>1513.710407239819</c:v>
                </c:pt>
                <c:pt idx="91">
                  <c:v>2258.3985765124553</c:v>
                </c:pt>
                <c:pt idx="92">
                  <c:v>1771.7045454545457</c:v>
                </c:pt>
                <c:pt idx="93">
                  <c:v>1488.977272727273</c:v>
                </c:pt>
                <c:pt idx="94">
                  <c:v>1246.9437652811737</c:v>
                </c:pt>
                <c:pt idx="95">
                  <c:v>1866.7657992565055</c:v>
                </c:pt>
                <c:pt idx="96">
                  <c:v>956.90802348336592</c:v>
                </c:pt>
                <c:pt idx="97">
                  <c:v>912.44318181818176</c:v>
                </c:pt>
                <c:pt idx="98">
                  <c:v>1054.3076923076924</c:v>
                </c:pt>
                <c:pt idx="99">
                  <c:v>1204.4591029023748</c:v>
                </c:pt>
                <c:pt idx="100">
                  <c:v>3243.984375</c:v>
                </c:pt>
                <c:pt idx="101">
                  <c:v>1497.620817843866</c:v>
                </c:pt>
                <c:pt idx="102">
                  <c:v>739.06926406926402</c:v>
                </c:pt>
                <c:pt idx="103">
                  <c:v>1091.2903225806451</c:v>
                </c:pt>
                <c:pt idx="104">
                  <c:v>669.19739696312365</c:v>
                </c:pt>
                <c:pt idx="105">
                  <c:v>8120.5405405405409</c:v>
                </c:pt>
                <c:pt idx="106">
                  <c:v>1012.4014336917562</c:v>
                </c:pt>
                <c:pt idx="107">
                  <c:v>3727.8082191780823</c:v>
                </c:pt>
                <c:pt idx="108">
                  <c:v>817.84615384615381</c:v>
                </c:pt>
                <c:pt idx="109">
                  <c:v>3420</c:v>
                </c:pt>
                <c:pt idx="110">
                  <c:v>29388.75</c:v>
                </c:pt>
                <c:pt idx="111">
                  <c:v>637.94007490636693</c:v>
                </c:pt>
                <c:pt idx="112">
                  <c:v>502.59259259259261</c:v>
                </c:pt>
                <c:pt idx="113">
                  <c:v>492.78481012658227</c:v>
                </c:pt>
                <c:pt idx="114">
                  <c:v>1840.8</c:v>
                </c:pt>
                <c:pt idx="115">
                  <c:v>2496.0975609756092</c:v>
                </c:pt>
                <c:pt idx="116">
                  <c:v>1634.7826086956522</c:v>
                </c:pt>
                <c:pt idx="117">
                  <c:v>1999.4444444444446</c:v>
                </c:pt>
                <c:pt idx="118">
                  <c:v>3607.7777777777783</c:v>
                </c:pt>
                <c:pt idx="119">
                  <c:v>1864.2857142857142</c:v>
                </c:pt>
                <c:pt idx="120">
                  <c:v>1238</c:v>
                </c:pt>
                <c:pt idx="121">
                  <c:v>62.777777777777786</c:v>
                </c:pt>
                <c:pt idx="122">
                  <c:v>71.428571428571416</c:v>
                </c:pt>
                <c:pt idx="123">
                  <c:v>63.333333333333343</c:v>
                </c:pt>
                <c:pt idx="124">
                  <c:v>5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7</c:f>
              <c:strCache>
                <c:ptCount val="86"/>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Apericube Edition Limitee Best Of Foot Fromage Fondu Cube Assortis 1X250Gr 48P</c:v>
                </c:pt>
                <c:pt idx="7">
                  <c:v>Kiri Creme Fromage Blanc Frais Carre 1X432Gr 24P</c:v>
                </c:pt>
                <c:pt idx="8">
                  <c:v>Apericube Cocktail Fromage Fondu Cube Assortis 1X250Gr 48P</c:v>
                </c:pt>
                <c:pt idx="9">
                  <c:v>Apericube Long Drink Fromage Fondu Cube Assortis 1X250Gr 48P</c:v>
                </c:pt>
                <c:pt idx="10">
                  <c:v>Boursin Classique Fromage Frais A Tartiner Afh Boite 1X250Gr 1P</c:v>
                </c:pt>
                <c:pt idx="11">
                  <c:v>Boursin Classique Fromage Frais A Tartiner Afh 1X160Gr 10P</c:v>
                </c:pt>
                <c:pt idx="12">
                  <c:v>Kiri Gouter Fromage Blanc Dips Boite 1X280Gr 8P</c:v>
                </c:pt>
                <c:pt idx="13">
                  <c:v>Kiri Creme Fromage Blanc Frais Carre 1X144Gr 8P</c:v>
                </c:pt>
                <c:pt idx="14">
                  <c:v>Boursin Classique Fromage Frais A Tartiner Afh Boite 1X150Gr 1P</c:v>
                </c:pt>
                <c:pt idx="15">
                  <c:v>Apericube Tonic Fromage Fondu Cube Assortis 1X250Gr 48P</c:v>
                </c:pt>
                <c:pt idx="16">
                  <c:v>Port Salut St Paulin 1X320Gr 1P</c:v>
                </c:pt>
                <c:pt idx="17">
                  <c:v>Boursin Aperitif Roules Fromage Frais Roule Afh Et Jambon Fume Boite 1X100Gr 20P</c:v>
                </c:pt>
                <c:pt idx="18">
                  <c:v>Apericube Incontournable Fromage Fondu Cube Assortis 1X250Gr 48P</c:v>
                </c:pt>
                <c:pt idx="19">
                  <c:v>Kiri Gouter Fromage Blanc Dips Boite 1X175Gr 5P</c:v>
                </c:pt>
                <c:pt idx="20">
                  <c:v>Mini Babybel Rouge Filet St Paulin Ferme 1X440Gr 20P</c:v>
                </c:pt>
                <c:pt idx="21">
                  <c:v>Apericube Edition Limitee Saison Fromage Fondu Cube Assortis 1X250Gr 48P</c:v>
                </c:pt>
                <c:pt idx="22">
                  <c:v>Babybel St Paulin 1X200Gr 1P</c:v>
                </c:pt>
                <c:pt idx="23">
                  <c:v>Apericube Nature Fromage Fondu Cube 1X125Gr 24P</c:v>
                </c:pt>
                <c:pt idx="24">
                  <c:v>Cousteron St Paulin 1X320Gr 1P</c:v>
                </c:pt>
                <c:pt idx="25">
                  <c:v>Apericube Edition Voyage Fromage Fondu Cube Assortis 1X250Gr 48P</c:v>
                </c:pt>
                <c:pt idx="26">
                  <c:v>La Vache Qui Rit Pik Et Croq' Fromage Fondu Dips Boite 1X175Gr 5P</c:v>
                </c:pt>
                <c:pt idx="27">
                  <c:v>Boursin Aperitif Roules Fromage Frais Roule Ciboulette &amp; Echalote Jambon Fume Boite 1X100Gr 20P</c:v>
                </c:pt>
                <c:pt idx="28">
                  <c:v>Apericube Campagne Fromage Fondu Cube Assortis 1X125Gr 24P</c:v>
                </c:pt>
                <c:pt idx="29">
                  <c:v>La Vache Qui Rit Pik Et Croq' Fromage Fondu Dips Boite 1X280Gr 8P</c:v>
                </c:pt>
                <c:pt idx="30">
                  <c:v>Boursin Onctueux Fromage Frais A Tartiner Afh 1X125Gr 1P</c:v>
                </c:pt>
                <c:pt idx="31">
                  <c:v>Boursin Salade &amp; Aperitif Fromage Frais Des Afh 1X120Gr 1P</c:v>
                </c:pt>
                <c:pt idx="32">
                  <c:v>Boursin Classique Fromage Frais A Tartiner Afh Boite 1X96Gr 6P</c:v>
                </c:pt>
                <c:pt idx="33">
                  <c:v>Apericube Saveurs De L'Authentique Fromage Fondu Cube Assortis 1X250Gr 48P</c:v>
                </c:pt>
                <c:pt idx="34">
                  <c:v>Boursin Classique Fromage Frais A Tartiner Figue Et 3 Noix Boite 1X150Gr 1P</c:v>
                </c:pt>
                <c:pt idx="35">
                  <c:v>La Vache Qui Rit Allegee Fromage Fondu Boite Ronde Allege 1X267Gr 16P</c:v>
                </c:pt>
                <c:pt idx="36">
                  <c:v>Boursin Classique Fromage Frais A Tartiner Ciboulette &amp; Echalote Boite 1X150Gr 1P</c:v>
                </c:pt>
                <c:pt idx="37">
                  <c:v>Boursin Classique Fromage Frais A Tartiner Afh 1X256Gr 16P</c:v>
                </c:pt>
                <c:pt idx="38">
                  <c:v>Boursin Cuisine Sauce Fromage Afh 1X240Gr 1P</c:v>
                </c:pt>
                <c:pt idx="39">
                  <c:v>Boursin Classique Fromage Frais A Tartiner Poivre Boite 1X150Gr 1P</c:v>
                </c:pt>
                <c:pt idx="40">
                  <c:v>Babybel Mini Rolls St Paulin Ferme Sachet 1X85Gr 5P</c:v>
                </c:pt>
                <c:pt idx="41">
                  <c:v>Boursin Aperitif Roules Fromage Frais Roule Basilic &amp; Jambon Fume Tomate Boite 1X100Gr 20P</c:v>
                </c:pt>
                <c:pt idx="42">
                  <c:v>Mini Babybel Aros St Paulin Ferme Assortis Filet 1X180Gr 9P</c:v>
                </c:pt>
                <c:pt idx="43">
                  <c:v>Kiri Delicieusement Fouette Fromage Frais A Tartiner 1X125Gr 1P</c:v>
                </c:pt>
                <c:pt idx="44">
                  <c:v>Apericube Long Drink Fromage Fondu Cube Assortis 1X125Gr 24P</c:v>
                </c:pt>
                <c:pt idx="45">
                  <c:v>Boursin Classique Fromage Frais A Tartiner Ciboulette &amp; Echalote 1X160Gr 10P</c:v>
                </c:pt>
                <c:pt idx="46">
                  <c:v>La Vache Qui Rit Aro Fromage Fondu Boite Ronde Jambon 1X133Gr 8P</c:v>
                </c:pt>
                <c:pt idx="47">
                  <c:v>Kiri Bio Fromage Blanc Frais Carre 1X144Gr 8P</c:v>
                </c:pt>
                <c:pt idx="48">
                  <c:v>Kiri Chevre Fromage Blanc Frais Carre 1X144Gr 8P</c:v>
                </c:pt>
                <c:pt idx="49">
                  <c:v>Mini Babybel Aros Soft Cheese Enfant 180G</c:v>
                </c:pt>
                <c:pt idx="50">
                  <c:v>Apericube Soiree Match Aperitif 250G</c:v>
                </c:pt>
                <c:pt idx="51">
                  <c:v>Mini Babybel Rouge Filet St Paulin Ferme 1X396Gr 12+6P</c:v>
                </c:pt>
                <c:pt idx="52">
                  <c:v>Boursin Salade &amp; Aperitif Fromage Frais Des Ciboulette Echalote 1X120Gr 1P</c:v>
                </c:pt>
                <c:pt idx="53">
                  <c:v>Kiri Creme Fromage Blanc Frais Carre 1X432Gr 18+6P</c:v>
                </c:pt>
                <c:pt idx="54">
                  <c:v>Kiri Delicieusement Fouette Fromage Frais A Tartiner 1X160Gr 10P</c:v>
                </c:pt>
                <c:pt idx="55">
                  <c:v>Mini Babybel Aros St Paulin Ferme Raclette Filet 1X132Gr 6P</c:v>
                </c:pt>
                <c:pt idx="56">
                  <c:v>Boursin Salade &amp; Aperitif Fromage Frais Des Figue Noix 1X120Gr 1P</c:v>
                </c:pt>
                <c:pt idx="57">
                  <c:v>Apericube Hot Chalenge Aperitif 250G</c:v>
                </c:pt>
                <c:pt idx="58">
                  <c:v>Nurishh Les Tranches Vegetales Cheddar Vegetal Tranche Boite 1X160Gr 8P</c:v>
                </c:pt>
                <c:pt idx="59">
                  <c:v>Apericube Best Of Des Saveurs Fromage Fondu Cube Assortis 1X125Gr 24P</c:v>
                </c:pt>
                <c:pt idx="60">
                  <c:v>Nurishh Le Rape Vegetal Specialite Vegetale Sachet 1X150Gr 1P</c:v>
                </c:pt>
                <c:pt idx="61">
                  <c:v>Boursin Salade &amp; Aperitif Fromage Frais Des Citron Romarin 1X120Gr 1P</c:v>
                </c:pt>
                <c:pt idx="62">
                  <c:v>Boursin Classique Fromage Frais A Tartiner Afh Boite 1X80Gr 1P</c:v>
                </c:pt>
                <c:pt idx="63">
                  <c:v>Boursin Salade &amp; Aperitif Fromage Frais Des Noisette Et 3 Noix 1X120Gr 1P</c:v>
                </c:pt>
                <c:pt idx="64">
                  <c:v>Mini Babybel Aros Soft Cheese Enfant 110G</c:v>
                </c:pt>
                <c:pt idx="65">
                  <c:v>Nurishh Le Rape Vegetal Specialite Vegetale Emmental Sachet 1X150Gr 1P</c:v>
                </c:pt>
                <c:pt idx="66">
                  <c:v>Apericube Fromages Du Monde Aperitif 250G</c:v>
                </c:pt>
                <c:pt idx="67">
                  <c:v>Nurishh Le Coeur Fleuri Vegetal Camembert Boite 1X140Gr 1P</c:v>
                </c:pt>
                <c:pt idx="68">
                  <c:v>Nurishh Le Palet Vegetal Specialite Vegetale Ovale Saveur Chevre Boite 1X140Gr 1P</c:v>
                </c:pt>
                <c:pt idx="69">
                  <c:v>Nurishh Des Vegetaux Feta Vegetale Sachet 1X150Gr 1P</c:v>
                </c:pt>
                <c:pt idx="70">
                  <c:v>Apericube Montagne Aperitif 250G</c:v>
                </c:pt>
                <c:pt idx="71">
                  <c:v>Boursin Aperitif Roules Fromage Frais Roule Jambon Fume &amp; Trio De Noix Boite 1X100Gr 20P</c:v>
                </c:pt>
                <c:pt idx="72">
                  <c:v>Boursin Aperitif Roules Aperitif 100G</c:v>
                </c:pt>
                <c:pt idx="73">
                  <c:v>Boursin Salade &amp; Aperitif Soft Cheese Salade 120G</c:v>
                </c:pt>
                <c:pt idx="74">
                  <c:v>Boursin Classique Fromage Frais A Tartiner Truffe Boite 1X150Gr 1P</c:v>
                </c:pt>
                <c:pt idx="75">
                  <c:v>La Vache Qui Rit Nature Fromage Fondu Boite Ronde 1X512Gr 24+8P</c:v>
                </c:pt>
                <c:pt idx="76">
                  <c:v>Mini Babybel Rouge Filet St Paulin Ferme Sachet 1X40Gr 1P</c:v>
                </c:pt>
                <c:pt idx="77">
                  <c:v>Mini Babybel Bio St Paulin Ferme Filet 1X100Gr 5P</c:v>
                </c:pt>
                <c:pt idx="78">
                  <c:v>Kiri Delicieusement Fouette Fromage Frais A Tartiner 1X210Gr 1P</c:v>
                </c:pt>
                <c:pt idx="79">
                  <c:v>Limiano Queijo Flamengo Tranche Sachet 1X200Gr 1P</c:v>
                </c:pt>
                <c:pt idx="80">
                  <c:v>Limiano Queijo Flamengo Bloc 1X600Gr 1P</c:v>
                </c:pt>
                <c:pt idx="81">
                  <c:v>La Vache Qui Rit Nature Fromage Fondu Boite Ronde 1X128Gr 8P</c:v>
                </c:pt>
                <c:pt idx="82">
                  <c:v>Toastinette Fromage Fondu Tranche A Chaud Sachet 1X200Gr 10P</c:v>
                </c:pt>
                <c:pt idx="83">
                  <c:v>Apericube Carrement Toque Fromage Fondu Cube Assortis 1X250Gr 48P</c:v>
                </c:pt>
                <c:pt idx="84">
                  <c:v>Toastinette Fromage Fondu Tranche A Chaud Sachet 1X340Gr 20P</c:v>
                </c:pt>
                <c:pt idx="85">
                  <c:v>Toastinette Cheddar Fondu Tranche A Chaud Sachet 1X340Gr 20P</c:v>
                </c:pt>
              </c:strCache>
            </c:strRef>
          </c:cat>
          <c:val>
            <c:numRef>
              <c:f>Sheet1!$B$2:$B$87</c:f>
              <c:numCache>
                <c:formatCode>General</c:formatCode>
                <c:ptCount val="86"/>
                <c:pt idx="0">
                  <c:v>0.98599999999999999</c:v>
                </c:pt>
                <c:pt idx="1">
                  <c:v>0.94699999999999995</c:v>
                </c:pt>
                <c:pt idx="2">
                  <c:v>0.998</c:v>
                </c:pt>
                <c:pt idx="3">
                  <c:v>0.998</c:v>
                </c:pt>
                <c:pt idx="4">
                  <c:v>0.94099999999999995</c:v>
                </c:pt>
                <c:pt idx="5">
                  <c:v>0.97499999999999998</c:v>
                </c:pt>
                <c:pt idx="6">
                  <c:v>0.95599999999999996</c:v>
                </c:pt>
                <c:pt idx="7">
                  <c:v>0.86099999999999999</c:v>
                </c:pt>
                <c:pt idx="8">
                  <c:v>0.96399999999999997</c:v>
                </c:pt>
                <c:pt idx="9">
                  <c:v>0.93500000000000005</c:v>
                </c:pt>
                <c:pt idx="10">
                  <c:v>0.98</c:v>
                </c:pt>
                <c:pt idx="11">
                  <c:v>0.98099999999999998</c:v>
                </c:pt>
                <c:pt idx="12">
                  <c:v>0.93200000000000005</c:v>
                </c:pt>
                <c:pt idx="13">
                  <c:v>0.98299999999999998</c:v>
                </c:pt>
                <c:pt idx="14">
                  <c:v>0.998</c:v>
                </c:pt>
                <c:pt idx="15">
                  <c:v>0.93400000000000005</c:v>
                </c:pt>
                <c:pt idx="16">
                  <c:v>0.97099999999999997</c:v>
                </c:pt>
                <c:pt idx="17">
                  <c:v>0.96599999999999997</c:v>
                </c:pt>
                <c:pt idx="18">
                  <c:v>0.86499999999999999</c:v>
                </c:pt>
                <c:pt idx="19">
                  <c:v>0.98099999999999998</c:v>
                </c:pt>
                <c:pt idx="20">
                  <c:v>0.85199999999999998</c:v>
                </c:pt>
                <c:pt idx="21">
                  <c:v>0.88400000000000001</c:v>
                </c:pt>
                <c:pt idx="22">
                  <c:v>0.98399999999999999</c:v>
                </c:pt>
                <c:pt idx="23">
                  <c:v>0.94</c:v>
                </c:pt>
                <c:pt idx="24">
                  <c:v>0.95599999999999996</c:v>
                </c:pt>
                <c:pt idx="25">
                  <c:v>0.86799999999999999</c:v>
                </c:pt>
                <c:pt idx="26">
                  <c:v>0.95499999999999996</c:v>
                </c:pt>
                <c:pt idx="27">
                  <c:v>0.91100000000000003</c:v>
                </c:pt>
                <c:pt idx="28">
                  <c:v>0.92</c:v>
                </c:pt>
                <c:pt idx="29">
                  <c:v>0.84799999999999998</c:v>
                </c:pt>
                <c:pt idx="30">
                  <c:v>0.95399999999999996</c:v>
                </c:pt>
                <c:pt idx="31">
                  <c:v>0.96799999999999997</c:v>
                </c:pt>
                <c:pt idx="32">
                  <c:v>0.93899999999999995</c:v>
                </c:pt>
                <c:pt idx="33">
                  <c:v>0.83599999999999997</c:v>
                </c:pt>
                <c:pt idx="34">
                  <c:v>0.98</c:v>
                </c:pt>
                <c:pt idx="35">
                  <c:v>0.84099999999999997</c:v>
                </c:pt>
                <c:pt idx="36">
                  <c:v>0.97299999999999998</c:v>
                </c:pt>
                <c:pt idx="37">
                  <c:v>0.86</c:v>
                </c:pt>
                <c:pt idx="38">
                  <c:v>0.873</c:v>
                </c:pt>
                <c:pt idx="39">
                  <c:v>0.94</c:v>
                </c:pt>
                <c:pt idx="40">
                  <c:v>0.78500000000000003</c:v>
                </c:pt>
                <c:pt idx="41">
                  <c:v>0.873</c:v>
                </c:pt>
                <c:pt idx="42">
                  <c:v>0.81</c:v>
                </c:pt>
                <c:pt idx="43">
                  <c:v>0.83699999999999997</c:v>
                </c:pt>
                <c:pt idx="44">
                  <c:v>0.76700000000000002</c:v>
                </c:pt>
                <c:pt idx="45">
                  <c:v>0.80800000000000005</c:v>
                </c:pt>
                <c:pt idx="46">
                  <c:v>0.67900000000000005</c:v>
                </c:pt>
                <c:pt idx="47">
                  <c:v>0.60299999999999998</c:v>
                </c:pt>
                <c:pt idx="48">
                  <c:v>0.67200000000000004</c:v>
                </c:pt>
                <c:pt idx="49">
                  <c:v>0.71</c:v>
                </c:pt>
                <c:pt idx="50">
                  <c:v>0.76700000000000002</c:v>
                </c:pt>
                <c:pt idx="51">
                  <c:v>0.876</c:v>
                </c:pt>
                <c:pt idx="52">
                  <c:v>0.82299999999999995</c:v>
                </c:pt>
                <c:pt idx="53">
                  <c:v>0.81699999999999995</c:v>
                </c:pt>
                <c:pt idx="54">
                  <c:v>0.89500000000000002</c:v>
                </c:pt>
                <c:pt idx="55">
                  <c:v>0.73899999999999999</c:v>
                </c:pt>
                <c:pt idx="56">
                  <c:v>0.84499999999999997</c:v>
                </c:pt>
                <c:pt idx="57">
                  <c:v>0.501</c:v>
                </c:pt>
                <c:pt idx="58">
                  <c:v>0.74399999999999999</c:v>
                </c:pt>
                <c:pt idx="59">
                  <c:v>0.66700000000000004</c:v>
                </c:pt>
                <c:pt idx="60">
                  <c:v>0.31900000000000001</c:v>
                </c:pt>
                <c:pt idx="61">
                  <c:v>0.66</c:v>
                </c:pt>
                <c:pt idx="62">
                  <c:v>0.32500000000000001</c:v>
                </c:pt>
                <c:pt idx="63">
                  <c:v>0.80300000000000005</c:v>
                </c:pt>
                <c:pt idx="64">
                  <c:v>0.58499999999999996</c:v>
                </c:pt>
                <c:pt idx="65">
                  <c:v>0.254</c:v>
                </c:pt>
                <c:pt idx="66">
                  <c:v>0.28399999999999997</c:v>
                </c:pt>
                <c:pt idx="67">
                  <c:v>0.215</c:v>
                </c:pt>
                <c:pt idx="68">
                  <c:v>0.21099999999999999</c:v>
                </c:pt>
                <c:pt idx="69">
                  <c:v>0.64800000000000002</c:v>
                </c:pt>
                <c:pt idx="70">
                  <c:v>0.27100000000000002</c:v>
                </c:pt>
                <c:pt idx="71">
                  <c:v>0.75</c:v>
                </c:pt>
                <c:pt idx="72">
                  <c:v>0.66100000000000003</c:v>
                </c:pt>
                <c:pt idx="73">
                  <c:v>0.41399999999999998</c:v>
                </c:pt>
                <c:pt idx="74">
                  <c:v>0.68700000000000006</c:v>
                </c:pt>
                <c:pt idx="75">
                  <c:v>0.23100000000000001</c:v>
                </c:pt>
                <c:pt idx="76">
                  <c:v>0.114</c:v>
                </c:pt>
                <c:pt idx="77">
                  <c:v>0.312</c:v>
                </c:pt>
                <c:pt idx="78">
                  <c:v>0.372</c:v>
                </c:pt>
                <c:pt idx="79">
                  <c:v>0.01</c:v>
                </c:pt>
                <c:pt idx="80">
                  <c:v>1.2E-2</c:v>
                </c:pt>
                <c:pt idx="81">
                  <c:v>0.112</c:v>
                </c:pt>
                <c:pt idx="82">
                  <c:v>1E-3</c:v>
                </c:pt>
                <c:pt idx="83">
                  <c:v>1E-3</c:v>
                </c:pt>
                <c:pt idx="84">
                  <c:v>1E-3</c:v>
                </c:pt>
                <c:pt idx="85">
                  <c:v>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00A097"/>
              </a:solidFill>
            </c:spPr>
            <c:extLst>
              <c:ext xmlns:c16="http://schemas.microsoft.com/office/drawing/2014/chart" uri="{C3380CC4-5D6E-409C-BE32-E72D297353CC}">
                <c16:uniqueId val="{00000023-FA3E-4872-B6E1-C4ABDF5766E2}"/>
              </c:ext>
            </c:extLst>
          </c:dPt>
          <c:dPt>
            <c:idx val="17"/>
            <c:invertIfNegative val="1"/>
            <c:bubble3D val="0"/>
            <c:spPr>
              <a:solidFill>
                <a:srgbClr val="00A097"/>
              </a:solidFill>
            </c:spPr>
            <c:extLst>
              <c:ext xmlns:c16="http://schemas.microsoft.com/office/drawing/2014/chart" uri="{C3380CC4-5D6E-409C-BE32-E72D297353CC}">
                <c16:uniqueId val="{00000025-FA3E-4872-B6E1-C4ABDF5766E2}"/>
              </c:ext>
            </c:extLst>
          </c:dPt>
          <c:dPt>
            <c:idx val="18"/>
            <c:invertIfNegative val="1"/>
            <c:bubble3D val="0"/>
            <c:spPr>
              <a:solidFill>
                <a:srgbClr val="00A097"/>
              </a:solidFill>
            </c:spPr>
            <c:extLst>
              <c:ext xmlns:c16="http://schemas.microsoft.com/office/drawing/2014/chart" uri="{C3380CC4-5D6E-409C-BE32-E72D297353CC}">
                <c16:uniqueId val="{00000027-FA3E-4872-B6E1-C4ABDF5766E2}"/>
              </c:ext>
            </c:extLst>
          </c:dPt>
          <c:dPt>
            <c:idx val="19"/>
            <c:invertIfNegative val="1"/>
            <c:bubble3D val="0"/>
            <c:spPr>
              <a:solidFill>
                <a:srgbClr val="00A097"/>
              </a:solidFill>
            </c:spPr>
            <c:extLst>
              <c:ext xmlns:c16="http://schemas.microsoft.com/office/drawing/2014/chart" uri="{C3380CC4-5D6E-409C-BE32-E72D297353CC}">
                <c16:uniqueId val="{00000029-FA3E-4872-B6E1-C4ABDF5766E2}"/>
              </c:ext>
            </c:extLst>
          </c:dPt>
          <c:dPt>
            <c:idx val="20"/>
            <c:invertIfNegative val="1"/>
            <c:bubble3D val="0"/>
            <c:spPr>
              <a:solidFill>
                <a:srgbClr val="00A097"/>
              </a:solidFill>
            </c:spPr>
            <c:extLst>
              <c:ext xmlns:c16="http://schemas.microsoft.com/office/drawing/2014/chart" uri="{C3380CC4-5D6E-409C-BE32-E72D297353CC}">
                <c16:uniqueId val="{0000002B-FA3E-4872-B6E1-C4ABDF5766E2}"/>
              </c:ext>
            </c:extLst>
          </c:dPt>
          <c:dPt>
            <c:idx val="21"/>
            <c:invertIfNegative val="1"/>
            <c:bubble3D val="0"/>
            <c:spPr>
              <a:solidFill>
                <a:srgbClr val="00A097"/>
              </a:solidFill>
            </c:spPr>
            <c:extLst>
              <c:ext xmlns:c16="http://schemas.microsoft.com/office/drawing/2014/chart" uri="{C3380CC4-5D6E-409C-BE32-E72D297353CC}">
                <c16:uniqueId val="{0000002D-FA3E-4872-B6E1-C4ABDF5766E2}"/>
              </c:ext>
            </c:extLst>
          </c:dPt>
          <c:dPt>
            <c:idx val="22"/>
            <c:invertIfNegative val="1"/>
            <c:bubble3D val="0"/>
            <c:spPr>
              <a:solidFill>
                <a:srgbClr val="00A097"/>
              </a:solidFill>
            </c:spPr>
            <c:extLst>
              <c:ext xmlns:c16="http://schemas.microsoft.com/office/drawing/2014/chart" uri="{C3380CC4-5D6E-409C-BE32-E72D297353CC}">
                <c16:uniqueId val="{0000002F-FA3E-4872-B6E1-C4ABDF5766E2}"/>
              </c:ext>
            </c:extLst>
          </c:dPt>
          <c:dPt>
            <c:idx val="23"/>
            <c:invertIfNegative val="1"/>
            <c:bubble3D val="0"/>
            <c:spPr>
              <a:solidFill>
                <a:srgbClr val="00A097"/>
              </a:solidFill>
            </c:spPr>
            <c:extLst>
              <c:ext xmlns:c16="http://schemas.microsoft.com/office/drawing/2014/chart" uri="{C3380CC4-5D6E-409C-BE32-E72D297353CC}">
                <c16:uniqueId val="{00000031-FA3E-4872-B6E1-C4ABDF5766E2}"/>
              </c:ext>
            </c:extLst>
          </c:dPt>
          <c:dPt>
            <c:idx val="24"/>
            <c:invertIfNegative val="1"/>
            <c:bubble3D val="0"/>
            <c:spPr>
              <a:solidFill>
                <a:srgbClr val="00A097"/>
              </a:solidFill>
            </c:spPr>
            <c:extLst>
              <c:ext xmlns:c16="http://schemas.microsoft.com/office/drawing/2014/chart" uri="{C3380CC4-5D6E-409C-BE32-E72D297353CC}">
                <c16:uniqueId val="{00000033-FA3E-4872-B6E1-C4ABDF5766E2}"/>
              </c:ext>
            </c:extLst>
          </c:dPt>
          <c:dPt>
            <c:idx val="25"/>
            <c:invertIfNegative val="1"/>
            <c:bubble3D val="0"/>
            <c:spPr>
              <a:solidFill>
                <a:srgbClr val="00A097"/>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7ECAC4"/>
              </a:solidFill>
            </c:spPr>
            <c:extLst>
              <c:ext xmlns:c16="http://schemas.microsoft.com/office/drawing/2014/chart" uri="{C3380CC4-5D6E-409C-BE32-E72D297353CC}">
                <c16:uniqueId val="{0000003F-FA3E-4872-B6E1-C4ABDF5766E2}"/>
              </c:ext>
            </c:extLst>
          </c:dPt>
          <c:dPt>
            <c:idx val="31"/>
            <c:invertIfNegative val="1"/>
            <c:bubble3D val="0"/>
            <c:spPr>
              <a:solidFill>
                <a:srgbClr val="7ECAC4"/>
              </a:solidFill>
            </c:spPr>
            <c:extLst>
              <c:ext xmlns:c16="http://schemas.microsoft.com/office/drawing/2014/chart" uri="{C3380CC4-5D6E-409C-BE32-E72D297353CC}">
                <c16:uniqueId val="{00000041-FA3E-4872-B6E1-C4ABDF5766E2}"/>
              </c:ext>
            </c:extLst>
          </c:dPt>
          <c:dPt>
            <c:idx val="32"/>
            <c:invertIfNegative val="1"/>
            <c:bubble3D val="0"/>
            <c:spPr>
              <a:solidFill>
                <a:srgbClr val="7ECAC4"/>
              </a:solidFill>
            </c:spPr>
            <c:extLst>
              <c:ext xmlns:c16="http://schemas.microsoft.com/office/drawing/2014/chart" uri="{C3380CC4-5D6E-409C-BE32-E72D297353CC}">
                <c16:uniqueId val="{00000043-FA3E-4872-B6E1-C4ABDF5766E2}"/>
              </c:ext>
            </c:extLst>
          </c:dPt>
          <c:dPt>
            <c:idx val="33"/>
            <c:invertIfNegative val="1"/>
            <c:bubble3D val="0"/>
            <c:spPr>
              <a:solidFill>
                <a:srgbClr val="7ECAC4"/>
              </a:solidFill>
            </c:spPr>
            <c:extLst>
              <c:ext xmlns:c16="http://schemas.microsoft.com/office/drawing/2014/chart" uri="{C3380CC4-5D6E-409C-BE32-E72D297353CC}">
                <c16:uniqueId val="{00000045-FA3E-4872-B6E1-C4ABDF5766E2}"/>
              </c:ext>
            </c:extLst>
          </c:dPt>
          <c:dPt>
            <c:idx val="34"/>
            <c:invertIfNegative val="1"/>
            <c:bubble3D val="0"/>
            <c:spPr>
              <a:solidFill>
                <a:srgbClr val="7ECAC4"/>
              </a:solidFill>
            </c:spPr>
            <c:extLst>
              <c:ext xmlns:c16="http://schemas.microsoft.com/office/drawing/2014/chart" uri="{C3380CC4-5D6E-409C-BE32-E72D297353CC}">
                <c16:uniqueId val="{00000047-FA3E-4872-B6E1-C4ABDF5766E2}"/>
              </c:ext>
            </c:extLst>
          </c:dPt>
          <c:dPt>
            <c:idx val="35"/>
            <c:invertIfNegative val="1"/>
            <c:bubble3D val="0"/>
            <c:spPr>
              <a:solidFill>
                <a:srgbClr val="7ECAC4"/>
              </a:solidFill>
            </c:spPr>
            <c:extLst>
              <c:ext xmlns:c16="http://schemas.microsoft.com/office/drawing/2014/chart" uri="{C3380CC4-5D6E-409C-BE32-E72D297353CC}">
                <c16:uniqueId val="{00000049-FA3E-4872-B6E1-C4ABDF5766E2}"/>
              </c:ext>
            </c:extLst>
          </c:dPt>
          <c:dPt>
            <c:idx val="36"/>
            <c:invertIfNegative val="1"/>
            <c:bubble3D val="0"/>
            <c:spPr>
              <a:solidFill>
                <a:srgbClr val="7ECAC4"/>
              </a:solidFill>
            </c:spPr>
            <c:extLst>
              <c:ext xmlns:c16="http://schemas.microsoft.com/office/drawing/2014/chart" uri="{C3380CC4-5D6E-409C-BE32-E72D297353CC}">
                <c16:uniqueId val="{0000004B-FA3E-4872-B6E1-C4ABDF5766E2}"/>
              </c:ext>
            </c:extLst>
          </c:dPt>
          <c:dPt>
            <c:idx val="37"/>
            <c:invertIfNegative val="1"/>
            <c:bubble3D val="0"/>
            <c:spPr>
              <a:solidFill>
                <a:srgbClr val="7ECAC4"/>
              </a:solidFill>
            </c:spPr>
            <c:extLst>
              <c:ext xmlns:c16="http://schemas.microsoft.com/office/drawing/2014/chart" uri="{C3380CC4-5D6E-409C-BE32-E72D297353CC}">
                <c16:uniqueId val="{0000004D-FA3E-4872-B6E1-C4ABDF5766E2}"/>
              </c:ext>
            </c:extLst>
          </c:dPt>
          <c:dPt>
            <c:idx val="38"/>
            <c:invertIfNegative val="1"/>
            <c:bubble3D val="0"/>
            <c:spPr>
              <a:solidFill>
                <a:srgbClr val="7ECAC4"/>
              </a:solidFill>
            </c:spPr>
            <c:extLst>
              <c:ext xmlns:c16="http://schemas.microsoft.com/office/drawing/2014/chart" uri="{C3380CC4-5D6E-409C-BE32-E72D297353CC}">
                <c16:uniqueId val="{0000004F-FA3E-4872-B6E1-C4ABDF5766E2}"/>
              </c:ext>
            </c:extLst>
          </c:dPt>
          <c:dPt>
            <c:idx val="39"/>
            <c:invertIfNegative val="1"/>
            <c:bubble3D val="0"/>
            <c:spPr>
              <a:solidFill>
                <a:srgbClr val="7ECAC4"/>
              </a:solidFill>
            </c:spPr>
            <c:extLst>
              <c:ext xmlns:c16="http://schemas.microsoft.com/office/drawing/2014/chart" uri="{C3380CC4-5D6E-409C-BE32-E72D297353CC}">
                <c16:uniqueId val="{00000051-FA3E-4872-B6E1-C4ABDF5766E2}"/>
              </c:ext>
            </c:extLst>
          </c:dPt>
          <c:dPt>
            <c:idx val="40"/>
            <c:invertIfNegative val="1"/>
            <c:bubble3D val="0"/>
            <c:spPr>
              <a:solidFill>
                <a:srgbClr val="7ECAC4"/>
              </a:solidFill>
            </c:spPr>
            <c:extLst>
              <c:ext xmlns:c16="http://schemas.microsoft.com/office/drawing/2014/chart" uri="{C3380CC4-5D6E-409C-BE32-E72D297353CC}">
                <c16:uniqueId val="{00000053-FA3E-4872-B6E1-C4ABDF5766E2}"/>
              </c:ext>
            </c:extLst>
          </c:dPt>
          <c:dPt>
            <c:idx val="41"/>
            <c:invertIfNegative val="1"/>
            <c:bubble3D val="0"/>
            <c:spPr>
              <a:solidFill>
                <a:srgbClr val="7ECAC4"/>
              </a:solidFill>
            </c:spPr>
            <c:extLst>
              <c:ext xmlns:c16="http://schemas.microsoft.com/office/drawing/2014/chart" uri="{C3380CC4-5D6E-409C-BE32-E72D297353CC}">
                <c16:uniqueId val="{00000055-FA3E-4872-B6E1-C4ABDF5766E2}"/>
              </c:ext>
            </c:extLst>
          </c:dPt>
          <c:dPt>
            <c:idx val="42"/>
            <c:invertIfNegative val="1"/>
            <c:bubble3D val="0"/>
            <c:spPr>
              <a:solidFill>
                <a:srgbClr val="7ECAC4"/>
              </a:solidFill>
            </c:spPr>
            <c:extLst>
              <c:ext xmlns:c16="http://schemas.microsoft.com/office/drawing/2014/chart" uri="{C3380CC4-5D6E-409C-BE32-E72D297353CC}">
                <c16:uniqueId val="{00000057-FA3E-4872-B6E1-C4ABDF5766E2}"/>
              </c:ext>
            </c:extLst>
          </c:dPt>
          <c:dPt>
            <c:idx val="43"/>
            <c:invertIfNegative val="1"/>
            <c:bubble3D val="0"/>
            <c:spPr>
              <a:solidFill>
                <a:srgbClr val="7ECAC4"/>
              </a:solidFill>
            </c:spPr>
            <c:extLst>
              <c:ext xmlns:c16="http://schemas.microsoft.com/office/drawing/2014/chart" uri="{C3380CC4-5D6E-409C-BE32-E72D297353CC}">
                <c16:uniqueId val="{00000059-FA3E-4872-B6E1-C4ABDF5766E2}"/>
              </c:ext>
            </c:extLst>
          </c:dPt>
          <c:dPt>
            <c:idx val="44"/>
            <c:invertIfNegative val="1"/>
            <c:bubble3D val="0"/>
            <c:spPr>
              <a:solidFill>
                <a:srgbClr val="7ECAC4"/>
              </a:solidFill>
            </c:spPr>
            <c:extLst>
              <c:ext xmlns:c16="http://schemas.microsoft.com/office/drawing/2014/chart" uri="{C3380CC4-5D6E-409C-BE32-E72D297353CC}">
                <c16:uniqueId val="{0000005B-F51C-4547-B27B-B4531AC7AB00}"/>
              </c:ext>
            </c:extLst>
          </c:dPt>
          <c:dPt>
            <c:idx val="45"/>
            <c:invertIfNegative val="1"/>
            <c:bubble3D val="0"/>
            <c:spPr>
              <a:solidFill>
                <a:srgbClr val="AEABAB"/>
              </a:solidFill>
            </c:spPr>
            <c:extLst>
              <c:ext xmlns:c16="http://schemas.microsoft.com/office/drawing/2014/chart" uri="{C3380CC4-5D6E-409C-BE32-E72D297353CC}">
                <c16:uniqueId val="{0000005D-F51C-4547-B27B-B4531AC7AB00}"/>
              </c:ext>
            </c:extLst>
          </c:dPt>
          <c:dPt>
            <c:idx val="46"/>
            <c:invertIfNegative val="1"/>
            <c:bubble3D val="0"/>
            <c:spPr>
              <a:solidFill>
                <a:srgbClr val="AEABAB"/>
              </a:solidFill>
            </c:spPr>
            <c:extLst>
              <c:ext xmlns:c16="http://schemas.microsoft.com/office/drawing/2014/chart" uri="{C3380CC4-5D6E-409C-BE32-E72D297353CC}">
                <c16:uniqueId val="{0000005F-F51C-4547-B27B-B4531AC7AB00}"/>
              </c:ext>
            </c:extLst>
          </c:dPt>
          <c:dPt>
            <c:idx val="47"/>
            <c:invertIfNegative val="1"/>
            <c:bubble3D val="0"/>
            <c:spPr>
              <a:solidFill>
                <a:srgbClr val="AEABAB"/>
              </a:solidFill>
            </c:spPr>
            <c:extLst>
              <c:ext xmlns:c16="http://schemas.microsoft.com/office/drawing/2014/chart" uri="{C3380CC4-5D6E-409C-BE32-E72D297353CC}">
                <c16:uniqueId val="{00000061-F51C-4547-B27B-B4531AC7AB00}"/>
              </c:ext>
            </c:extLst>
          </c:dPt>
          <c:dPt>
            <c:idx val="48"/>
            <c:invertIfNegative val="1"/>
            <c:bubble3D val="0"/>
            <c:spPr>
              <a:solidFill>
                <a:srgbClr val="AEABAB"/>
              </a:solidFill>
            </c:spPr>
            <c:extLst>
              <c:ext xmlns:c16="http://schemas.microsoft.com/office/drawing/2014/chart" uri="{C3380CC4-5D6E-409C-BE32-E72D297353CC}">
                <c16:uniqueId val="{00000063-F51C-4547-B27B-B4531AC7AB00}"/>
              </c:ext>
            </c:extLst>
          </c:dPt>
          <c:dPt>
            <c:idx val="49"/>
            <c:invertIfNegative val="1"/>
            <c:bubble3D val="0"/>
            <c:spPr>
              <a:solidFill>
                <a:srgbClr val="AEABAB"/>
              </a:solidFill>
            </c:spPr>
            <c:extLst>
              <c:ext xmlns:c16="http://schemas.microsoft.com/office/drawing/2014/chart" uri="{C3380CC4-5D6E-409C-BE32-E72D297353CC}">
                <c16:uniqueId val="{00000065-F51C-4547-B27B-B4531AC7AB00}"/>
              </c:ext>
            </c:extLst>
          </c:dPt>
          <c:dPt>
            <c:idx val="50"/>
            <c:invertIfNegative val="1"/>
            <c:bubble3D val="0"/>
            <c:spPr>
              <a:solidFill>
                <a:srgbClr val="AEABAB"/>
              </a:solidFill>
            </c:spPr>
            <c:extLst>
              <c:ext xmlns:c16="http://schemas.microsoft.com/office/drawing/2014/chart" uri="{C3380CC4-5D6E-409C-BE32-E72D297353CC}">
                <c16:uniqueId val="{00000067-F51C-4547-B27B-B4531AC7AB00}"/>
              </c:ext>
            </c:extLst>
          </c:dPt>
          <c:dPt>
            <c:idx val="51"/>
            <c:invertIfNegative val="1"/>
            <c:bubble3D val="0"/>
            <c:spPr>
              <a:solidFill>
                <a:srgbClr val="AEABAB"/>
              </a:solidFill>
            </c:spPr>
            <c:extLst>
              <c:ext xmlns:c16="http://schemas.microsoft.com/office/drawing/2014/chart" uri="{C3380CC4-5D6E-409C-BE32-E72D297353CC}">
                <c16:uniqueId val="{00000069-F51C-4547-B27B-B4531AC7AB00}"/>
              </c:ext>
            </c:extLst>
          </c:dPt>
          <c:dPt>
            <c:idx val="52"/>
            <c:invertIfNegative val="1"/>
            <c:bubble3D val="0"/>
            <c:spPr>
              <a:solidFill>
                <a:srgbClr val="AEABAB"/>
              </a:solidFill>
            </c:spPr>
            <c:extLst>
              <c:ext xmlns:c16="http://schemas.microsoft.com/office/drawing/2014/chart" uri="{C3380CC4-5D6E-409C-BE32-E72D297353CC}">
                <c16:uniqueId val="{0000006B-F51C-4547-B27B-B4531AC7AB00}"/>
              </c:ext>
            </c:extLst>
          </c:dPt>
          <c:dPt>
            <c:idx val="53"/>
            <c:invertIfNegative val="1"/>
            <c:bubble3D val="0"/>
            <c:spPr>
              <a:solidFill>
                <a:srgbClr val="AEABAB"/>
              </a:solidFill>
            </c:spPr>
            <c:extLst>
              <c:ext xmlns:c16="http://schemas.microsoft.com/office/drawing/2014/chart" uri="{C3380CC4-5D6E-409C-BE32-E72D297353CC}">
                <c16:uniqueId val="{0000006D-F51C-4547-B27B-B4531AC7AB00}"/>
              </c:ext>
            </c:extLst>
          </c:dPt>
          <c:dPt>
            <c:idx val="54"/>
            <c:invertIfNegative val="1"/>
            <c:bubble3D val="0"/>
            <c:spPr>
              <a:solidFill>
                <a:srgbClr val="AEABAB"/>
              </a:solidFill>
            </c:spPr>
            <c:extLst>
              <c:ext xmlns:c16="http://schemas.microsoft.com/office/drawing/2014/chart" uri="{C3380CC4-5D6E-409C-BE32-E72D297353CC}">
                <c16:uniqueId val="{0000006F-F51C-4547-B27B-B4531AC7AB00}"/>
              </c:ext>
            </c:extLst>
          </c:dPt>
          <c:dPt>
            <c:idx val="55"/>
            <c:invertIfNegative val="1"/>
            <c:bubble3D val="0"/>
            <c:spPr>
              <a:solidFill>
                <a:srgbClr val="AEABAB"/>
              </a:solidFill>
            </c:spPr>
            <c:extLst>
              <c:ext xmlns:c16="http://schemas.microsoft.com/office/drawing/2014/chart" uri="{C3380CC4-5D6E-409C-BE32-E72D297353CC}">
                <c16:uniqueId val="{00000071-F51C-4547-B27B-B4531AC7AB00}"/>
              </c:ext>
            </c:extLst>
          </c:dPt>
          <c:dPt>
            <c:idx val="56"/>
            <c:invertIfNegative val="1"/>
            <c:bubble3D val="0"/>
            <c:spPr>
              <a:solidFill>
                <a:srgbClr val="AEABAB"/>
              </a:solidFill>
            </c:spPr>
            <c:extLst>
              <c:ext xmlns:c16="http://schemas.microsoft.com/office/drawing/2014/chart" uri="{C3380CC4-5D6E-409C-BE32-E72D297353CC}">
                <c16:uniqueId val="{00000073-F51C-4547-B27B-B4531AC7AB00}"/>
              </c:ext>
            </c:extLst>
          </c:dPt>
          <c:dPt>
            <c:idx val="57"/>
            <c:invertIfNegative val="1"/>
            <c:bubble3D val="0"/>
            <c:spPr>
              <a:solidFill>
                <a:srgbClr val="AEABAB"/>
              </a:solidFill>
            </c:spPr>
            <c:extLst>
              <c:ext xmlns:c16="http://schemas.microsoft.com/office/drawing/2014/chart" uri="{C3380CC4-5D6E-409C-BE32-E72D297353CC}">
                <c16:uniqueId val="{00000075-F51C-4547-B27B-B4531AC7AB00}"/>
              </c:ext>
            </c:extLst>
          </c:dPt>
          <c:dPt>
            <c:idx val="58"/>
            <c:invertIfNegative val="1"/>
            <c:bubble3D val="0"/>
            <c:spPr>
              <a:solidFill>
                <a:srgbClr val="AEABAB"/>
              </a:solidFill>
            </c:spPr>
            <c:extLst>
              <c:ext xmlns:c16="http://schemas.microsoft.com/office/drawing/2014/chart" uri="{C3380CC4-5D6E-409C-BE32-E72D297353CC}">
                <c16:uniqueId val="{00000077-F51C-4547-B27B-B4531AC7AB00}"/>
              </c:ext>
            </c:extLst>
          </c:dPt>
          <c:dPt>
            <c:idx val="59"/>
            <c:invertIfNegative val="1"/>
            <c:bubble3D val="0"/>
            <c:spPr>
              <a:solidFill>
                <a:srgbClr val="AEABAB"/>
              </a:solidFill>
            </c:spPr>
            <c:extLst>
              <c:ext xmlns:c16="http://schemas.microsoft.com/office/drawing/2014/chart" uri="{C3380CC4-5D6E-409C-BE32-E72D297353CC}">
                <c16:uniqueId val="{00000079-F51C-4547-B27B-B4531AC7AB00}"/>
              </c:ext>
            </c:extLst>
          </c:dPt>
          <c:dPt>
            <c:idx val="60"/>
            <c:invertIfNegative val="1"/>
            <c:bubble3D val="0"/>
            <c:spPr>
              <a:solidFill>
                <a:srgbClr val="AEABAB"/>
              </a:solidFill>
            </c:spPr>
            <c:extLst>
              <c:ext xmlns:c16="http://schemas.microsoft.com/office/drawing/2014/chart" uri="{C3380CC4-5D6E-409C-BE32-E72D297353CC}">
                <c16:uniqueId val="{0000007B-F51C-4547-B27B-B4531AC7AB00}"/>
              </c:ext>
            </c:extLst>
          </c:dPt>
          <c:dPt>
            <c:idx val="61"/>
            <c:invertIfNegative val="1"/>
            <c:bubble3D val="0"/>
            <c:spPr>
              <a:solidFill>
                <a:srgbClr val="AEABAB"/>
              </a:solidFill>
            </c:spPr>
            <c:extLst>
              <c:ext xmlns:c16="http://schemas.microsoft.com/office/drawing/2014/chart" uri="{C3380CC4-5D6E-409C-BE32-E72D297353CC}">
                <c16:uniqueId val="{0000007D-F51C-4547-B27B-B4531AC7AB00}"/>
              </c:ext>
            </c:extLst>
          </c:dPt>
          <c:dPt>
            <c:idx val="62"/>
            <c:invertIfNegative val="1"/>
            <c:bubble3D val="0"/>
            <c:spPr>
              <a:solidFill>
                <a:srgbClr val="AEABAB"/>
              </a:solidFill>
            </c:spPr>
            <c:extLst>
              <c:ext xmlns:c16="http://schemas.microsoft.com/office/drawing/2014/chart" uri="{C3380CC4-5D6E-409C-BE32-E72D297353CC}">
                <c16:uniqueId val="{0000007F-F51C-4547-B27B-B4531AC7AB00}"/>
              </c:ext>
            </c:extLst>
          </c:dPt>
          <c:dPt>
            <c:idx val="63"/>
            <c:invertIfNegative val="1"/>
            <c:bubble3D val="0"/>
            <c:spPr>
              <a:solidFill>
                <a:srgbClr val="AEABAB"/>
              </a:solidFill>
            </c:spPr>
            <c:extLst>
              <c:ext xmlns:c16="http://schemas.microsoft.com/office/drawing/2014/chart" uri="{C3380CC4-5D6E-409C-BE32-E72D297353CC}">
                <c16:uniqueId val="{00000081-F51C-4547-B27B-B4531AC7AB00}"/>
              </c:ext>
            </c:extLst>
          </c:dPt>
          <c:dPt>
            <c:idx val="64"/>
            <c:invertIfNegative val="1"/>
            <c:bubble3D val="0"/>
            <c:spPr>
              <a:solidFill>
                <a:srgbClr val="AEABAB"/>
              </a:solidFill>
            </c:spPr>
            <c:extLst>
              <c:ext xmlns:c16="http://schemas.microsoft.com/office/drawing/2014/chart" uri="{C3380CC4-5D6E-409C-BE32-E72D297353CC}">
                <c16:uniqueId val="{00000083-F51C-4547-B27B-B4531AC7AB00}"/>
              </c:ext>
            </c:extLst>
          </c:dPt>
          <c:dPt>
            <c:idx val="65"/>
            <c:invertIfNegative val="1"/>
            <c:bubble3D val="0"/>
            <c:spPr>
              <a:solidFill>
                <a:srgbClr val="AEABAB"/>
              </a:solidFill>
            </c:spPr>
            <c:extLst>
              <c:ext xmlns:c16="http://schemas.microsoft.com/office/drawing/2014/chart" uri="{C3380CC4-5D6E-409C-BE32-E72D297353CC}">
                <c16:uniqueId val="{00000085-F51C-4547-B27B-B4531AC7AB00}"/>
              </c:ext>
            </c:extLst>
          </c:dPt>
          <c:dPt>
            <c:idx val="66"/>
            <c:invertIfNegative val="1"/>
            <c:bubble3D val="0"/>
            <c:spPr>
              <a:solidFill>
                <a:srgbClr val="AEABAB"/>
              </a:solidFill>
            </c:spPr>
            <c:extLst>
              <c:ext xmlns:c16="http://schemas.microsoft.com/office/drawing/2014/chart" uri="{C3380CC4-5D6E-409C-BE32-E72D297353CC}">
                <c16:uniqueId val="{00000087-F51C-4547-B27B-B4531AC7AB00}"/>
              </c:ext>
            </c:extLst>
          </c:dPt>
          <c:dPt>
            <c:idx val="67"/>
            <c:invertIfNegative val="1"/>
            <c:bubble3D val="0"/>
            <c:spPr>
              <a:solidFill>
                <a:srgbClr val="AEABAB"/>
              </a:solidFill>
            </c:spPr>
            <c:extLst>
              <c:ext xmlns:c16="http://schemas.microsoft.com/office/drawing/2014/chart" uri="{C3380CC4-5D6E-409C-BE32-E72D297353CC}">
                <c16:uniqueId val="{00000089-F51C-4547-B27B-B4531AC7AB00}"/>
              </c:ext>
            </c:extLst>
          </c:dPt>
          <c:dPt>
            <c:idx val="68"/>
            <c:invertIfNegative val="1"/>
            <c:bubble3D val="0"/>
            <c:spPr>
              <a:solidFill>
                <a:srgbClr val="AEABAB"/>
              </a:solidFill>
            </c:spPr>
            <c:extLst>
              <c:ext xmlns:c16="http://schemas.microsoft.com/office/drawing/2014/chart" uri="{C3380CC4-5D6E-409C-BE32-E72D297353CC}">
                <c16:uniqueId val="{0000008B-F51C-4547-B27B-B4531AC7AB00}"/>
              </c:ext>
            </c:extLst>
          </c:dPt>
          <c:dPt>
            <c:idx val="69"/>
            <c:invertIfNegative val="1"/>
            <c:bubble3D val="0"/>
            <c:spPr>
              <a:solidFill>
                <a:srgbClr val="AEABAB"/>
              </a:solidFill>
            </c:spPr>
            <c:extLst>
              <c:ext xmlns:c16="http://schemas.microsoft.com/office/drawing/2014/chart" uri="{C3380CC4-5D6E-409C-BE32-E72D297353CC}">
                <c16:uniqueId val="{0000008D-F51C-4547-B27B-B4531AC7AB00}"/>
              </c:ext>
            </c:extLst>
          </c:dPt>
          <c:dPt>
            <c:idx val="70"/>
            <c:invertIfNegative val="1"/>
            <c:bubble3D val="0"/>
            <c:spPr>
              <a:solidFill>
                <a:srgbClr val="AEABAB"/>
              </a:solidFill>
            </c:spPr>
            <c:extLst>
              <c:ext xmlns:c16="http://schemas.microsoft.com/office/drawing/2014/chart" uri="{C3380CC4-5D6E-409C-BE32-E72D297353CC}">
                <c16:uniqueId val="{0000008F-F51C-4547-B27B-B4531AC7AB00}"/>
              </c:ext>
            </c:extLst>
          </c:dPt>
          <c:dPt>
            <c:idx val="71"/>
            <c:invertIfNegative val="1"/>
            <c:bubble3D val="0"/>
            <c:spPr>
              <a:solidFill>
                <a:srgbClr val="AEABAB"/>
              </a:solidFill>
            </c:spPr>
            <c:extLst>
              <c:ext xmlns:c16="http://schemas.microsoft.com/office/drawing/2014/chart" uri="{C3380CC4-5D6E-409C-BE32-E72D297353CC}">
                <c16:uniqueId val="{00000091-F51C-4547-B27B-B4531AC7AB00}"/>
              </c:ext>
            </c:extLst>
          </c:dPt>
          <c:dPt>
            <c:idx val="72"/>
            <c:invertIfNegative val="1"/>
            <c:bubble3D val="0"/>
            <c:spPr>
              <a:solidFill>
                <a:srgbClr val="AEABAB"/>
              </a:solidFill>
            </c:spPr>
            <c:extLst>
              <c:ext xmlns:c16="http://schemas.microsoft.com/office/drawing/2014/chart" uri="{C3380CC4-5D6E-409C-BE32-E72D297353CC}">
                <c16:uniqueId val="{00000093-F51C-4547-B27B-B4531AC7AB00}"/>
              </c:ext>
            </c:extLst>
          </c:dPt>
          <c:dPt>
            <c:idx val="73"/>
            <c:invertIfNegative val="1"/>
            <c:bubble3D val="0"/>
            <c:spPr>
              <a:solidFill>
                <a:srgbClr val="AEABAB"/>
              </a:solidFill>
            </c:spPr>
            <c:extLst>
              <c:ext xmlns:c16="http://schemas.microsoft.com/office/drawing/2014/chart" uri="{C3380CC4-5D6E-409C-BE32-E72D297353CC}">
                <c16:uniqueId val="{00000095-F51C-4547-B27B-B4531AC7AB00}"/>
              </c:ext>
            </c:extLst>
          </c:dPt>
          <c:dPt>
            <c:idx val="74"/>
            <c:invertIfNegative val="1"/>
            <c:bubble3D val="0"/>
            <c:spPr>
              <a:solidFill>
                <a:srgbClr val="AEABAB"/>
              </a:solidFill>
            </c:spPr>
            <c:extLst>
              <c:ext xmlns:c16="http://schemas.microsoft.com/office/drawing/2014/chart" uri="{C3380CC4-5D6E-409C-BE32-E72D297353CC}">
                <c16:uniqueId val="{00000097-F51C-4547-B27B-B4531AC7AB00}"/>
              </c:ext>
            </c:extLst>
          </c:dPt>
          <c:dPt>
            <c:idx val="75"/>
            <c:invertIfNegative val="1"/>
            <c:bubble3D val="0"/>
            <c:spPr>
              <a:solidFill>
                <a:srgbClr val="AEABAB"/>
              </a:solidFill>
            </c:spPr>
            <c:extLst>
              <c:ext xmlns:c16="http://schemas.microsoft.com/office/drawing/2014/chart" uri="{C3380CC4-5D6E-409C-BE32-E72D297353CC}">
                <c16:uniqueId val="{00000099-F51C-4547-B27B-B4531AC7AB00}"/>
              </c:ext>
            </c:extLst>
          </c:dPt>
          <c:dPt>
            <c:idx val="76"/>
            <c:invertIfNegative val="1"/>
            <c:bubble3D val="0"/>
            <c:spPr>
              <a:solidFill>
                <a:srgbClr val="AEABAB"/>
              </a:solidFill>
            </c:spPr>
            <c:extLst>
              <c:ext xmlns:c16="http://schemas.microsoft.com/office/drawing/2014/chart" uri="{C3380CC4-5D6E-409C-BE32-E72D297353CC}">
                <c16:uniqueId val="{0000009B-F51C-4547-B27B-B4531AC7AB00}"/>
              </c:ext>
            </c:extLst>
          </c:dPt>
          <c:dPt>
            <c:idx val="77"/>
            <c:invertIfNegative val="1"/>
            <c:bubble3D val="0"/>
            <c:spPr>
              <a:solidFill>
                <a:srgbClr val="AEABAB"/>
              </a:solidFill>
            </c:spPr>
            <c:extLst>
              <c:ext xmlns:c16="http://schemas.microsoft.com/office/drawing/2014/chart" uri="{C3380CC4-5D6E-409C-BE32-E72D297353CC}">
                <c16:uniqueId val="{0000009D-F51C-4547-B27B-B4531AC7AB00}"/>
              </c:ext>
            </c:extLst>
          </c:dPt>
          <c:dPt>
            <c:idx val="78"/>
            <c:invertIfNegative val="1"/>
            <c:bubble3D val="0"/>
            <c:spPr>
              <a:solidFill>
                <a:srgbClr val="AEABAB"/>
              </a:solidFill>
            </c:spPr>
            <c:extLst>
              <c:ext xmlns:c16="http://schemas.microsoft.com/office/drawing/2014/chart" uri="{C3380CC4-5D6E-409C-BE32-E72D297353CC}">
                <c16:uniqueId val="{0000009F-F51C-4547-B27B-B4531AC7AB00}"/>
              </c:ext>
            </c:extLst>
          </c:dPt>
          <c:dPt>
            <c:idx val="79"/>
            <c:invertIfNegative val="1"/>
            <c:bubble3D val="0"/>
            <c:spPr>
              <a:solidFill>
                <a:srgbClr val="AEABAB"/>
              </a:solidFill>
            </c:spPr>
            <c:extLst>
              <c:ext xmlns:c16="http://schemas.microsoft.com/office/drawing/2014/chart" uri="{C3380CC4-5D6E-409C-BE32-E72D297353CC}">
                <c16:uniqueId val="{000000A1-F51C-4547-B27B-B4531AC7AB00}"/>
              </c:ext>
            </c:extLst>
          </c:dPt>
          <c:dPt>
            <c:idx val="80"/>
            <c:invertIfNegative val="1"/>
            <c:bubble3D val="0"/>
            <c:spPr>
              <a:solidFill>
                <a:srgbClr val="AEABAB"/>
              </a:solidFill>
            </c:spPr>
            <c:extLst>
              <c:ext xmlns:c16="http://schemas.microsoft.com/office/drawing/2014/chart" uri="{C3380CC4-5D6E-409C-BE32-E72D297353CC}">
                <c16:uniqueId val="{000000A3-F51C-4547-B27B-B4531AC7AB00}"/>
              </c:ext>
            </c:extLst>
          </c:dPt>
          <c:dPt>
            <c:idx val="81"/>
            <c:invertIfNegative val="1"/>
            <c:bubble3D val="0"/>
            <c:spPr>
              <a:solidFill>
                <a:srgbClr val="AEABAB"/>
              </a:solidFill>
            </c:spPr>
            <c:extLst>
              <c:ext xmlns:c16="http://schemas.microsoft.com/office/drawing/2014/chart" uri="{C3380CC4-5D6E-409C-BE32-E72D297353CC}">
                <c16:uniqueId val="{000000A5-F51C-4547-B27B-B4531AC7AB00}"/>
              </c:ext>
            </c:extLst>
          </c:dPt>
          <c:dPt>
            <c:idx val="82"/>
            <c:invertIfNegative val="1"/>
            <c:bubble3D val="0"/>
            <c:spPr>
              <a:solidFill>
                <a:srgbClr val="AEABAB"/>
              </a:solidFill>
            </c:spPr>
            <c:extLst>
              <c:ext xmlns:c16="http://schemas.microsoft.com/office/drawing/2014/chart" uri="{C3380CC4-5D6E-409C-BE32-E72D297353CC}">
                <c16:uniqueId val="{000000A7-F51C-4547-B27B-B4531AC7AB00}"/>
              </c:ext>
            </c:extLst>
          </c:dPt>
          <c:dPt>
            <c:idx val="83"/>
            <c:invertIfNegative val="1"/>
            <c:bubble3D val="0"/>
            <c:spPr>
              <a:solidFill>
                <a:srgbClr val="AEABAB"/>
              </a:solidFill>
            </c:spPr>
            <c:extLst>
              <c:ext xmlns:c16="http://schemas.microsoft.com/office/drawing/2014/chart" uri="{C3380CC4-5D6E-409C-BE32-E72D297353CC}">
                <c16:uniqueId val="{000000A9-F51C-4547-B27B-B4531AC7AB00}"/>
              </c:ext>
            </c:extLst>
          </c:dPt>
          <c:dPt>
            <c:idx val="84"/>
            <c:invertIfNegative val="1"/>
            <c:bubble3D val="0"/>
            <c:spPr>
              <a:solidFill>
                <a:srgbClr val="AEABAB"/>
              </a:solidFill>
            </c:spPr>
            <c:extLst>
              <c:ext xmlns:c16="http://schemas.microsoft.com/office/drawing/2014/chart" uri="{C3380CC4-5D6E-409C-BE32-E72D297353CC}">
                <c16:uniqueId val="{000000AB-F51C-4547-B27B-B4531AC7AB00}"/>
              </c:ext>
            </c:extLst>
          </c:dPt>
          <c:dPt>
            <c:idx val="85"/>
            <c:invertIfNegative val="1"/>
            <c:bubble3D val="0"/>
            <c:spPr>
              <a:solidFill>
                <a:srgbClr val="AEABAB"/>
              </a:solidFill>
            </c:spPr>
            <c:extLst>
              <c:ext xmlns:c16="http://schemas.microsoft.com/office/drawing/2014/chart" uri="{C3380CC4-5D6E-409C-BE32-E72D297353CC}">
                <c16:uniqueId val="{000000AD-F51C-4547-B27B-B4531AC7AB00}"/>
              </c:ext>
            </c:extLst>
          </c:dPt>
          <c:cat>
            <c:strRef>
              <c:f>Sheet1!$A$2:$A$87</c:f>
              <c:strCache>
                <c:ptCount val="86"/>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Apericube Edition Limitee Best Of Foot Fromage Fondu Cube Assortis 1X250Gr 48P</c:v>
                </c:pt>
                <c:pt idx="7">
                  <c:v>Kiri Creme Fromage Blanc Frais Carre 1X432Gr 24P</c:v>
                </c:pt>
                <c:pt idx="8">
                  <c:v>Apericube Cocktail Fromage Fondu Cube Assortis 1X250Gr 48P</c:v>
                </c:pt>
                <c:pt idx="9">
                  <c:v>Apericube Long Drink Fromage Fondu Cube Assortis 1X250Gr 48P</c:v>
                </c:pt>
                <c:pt idx="10">
                  <c:v>Boursin Classique Fromage Frais A Tartiner Afh Boite 1X250Gr 1P</c:v>
                </c:pt>
                <c:pt idx="11">
                  <c:v>Boursin Classique Fromage Frais A Tartiner Afh 1X160Gr 10P</c:v>
                </c:pt>
                <c:pt idx="12">
                  <c:v>Kiri Gouter Fromage Blanc Dips Boite 1X280Gr 8P</c:v>
                </c:pt>
                <c:pt idx="13">
                  <c:v>Kiri Creme Fromage Blanc Frais Carre 1X144Gr 8P</c:v>
                </c:pt>
                <c:pt idx="14">
                  <c:v>Boursin Classique Fromage Frais A Tartiner Afh Boite 1X150Gr 1P</c:v>
                </c:pt>
                <c:pt idx="15">
                  <c:v>Apericube Tonic Fromage Fondu Cube Assortis 1X250Gr 48P</c:v>
                </c:pt>
                <c:pt idx="16">
                  <c:v>Port Salut St Paulin 1X320Gr 1P</c:v>
                </c:pt>
                <c:pt idx="17">
                  <c:v>Boursin Aperitif Roules Fromage Frais Roule Afh Et Jambon Fume Boite 1X100Gr 20P</c:v>
                </c:pt>
                <c:pt idx="18">
                  <c:v>Apericube Incontournable Fromage Fondu Cube Assortis 1X250Gr 48P</c:v>
                </c:pt>
                <c:pt idx="19">
                  <c:v>Kiri Gouter Fromage Blanc Dips Boite 1X175Gr 5P</c:v>
                </c:pt>
                <c:pt idx="20">
                  <c:v>Mini Babybel Rouge Filet St Paulin Ferme 1X440Gr 20P</c:v>
                </c:pt>
                <c:pt idx="21">
                  <c:v>Apericube Edition Limitee Saison Fromage Fondu Cube Assortis 1X250Gr 48P</c:v>
                </c:pt>
                <c:pt idx="22">
                  <c:v>Babybel St Paulin 1X200Gr 1P</c:v>
                </c:pt>
                <c:pt idx="23">
                  <c:v>Apericube Nature Fromage Fondu Cube 1X125Gr 24P</c:v>
                </c:pt>
                <c:pt idx="24">
                  <c:v>Cousteron St Paulin 1X320Gr 1P</c:v>
                </c:pt>
                <c:pt idx="25">
                  <c:v>Apericube Edition Voyage Fromage Fondu Cube Assortis 1X250Gr 48P</c:v>
                </c:pt>
                <c:pt idx="26">
                  <c:v>La Vache Qui Rit Pik Et Croq' Fromage Fondu Dips Boite 1X175Gr 5P</c:v>
                </c:pt>
                <c:pt idx="27">
                  <c:v>Boursin Aperitif Roules Fromage Frais Roule Ciboulette &amp; Echalote Jambon Fume Boite 1X100Gr 20P</c:v>
                </c:pt>
                <c:pt idx="28">
                  <c:v>Apericube Campagne Fromage Fondu Cube Assortis 1X125Gr 24P</c:v>
                </c:pt>
                <c:pt idx="29">
                  <c:v>La Vache Qui Rit Pik Et Croq' Fromage Fondu Dips Boite 1X280Gr 8P</c:v>
                </c:pt>
                <c:pt idx="30">
                  <c:v>Boursin Onctueux Fromage Frais A Tartiner Afh 1X125Gr 1P</c:v>
                </c:pt>
                <c:pt idx="31">
                  <c:v>Boursin Salade &amp; Aperitif Fromage Frais Des Afh 1X120Gr 1P</c:v>
                </c:pt>
                <c:pt idx="32">
                  <c:v>Boursin Classique Fromage Frais A Tartiner Afh Boite 1X96Gr 6P</c:v>
                </c:pt>
                <c:pt idx="33">
                  <c:v>Apericube Saveurs De L'Authentique Fromage Fondu Cube Assortis 1X250Gr 48P</c:v>
                </c:pt>
                <c:pt idx="34">
                  <c:v>Boursin Classique Fromage Frais A Tartiner Figue Et 3 Noix Boite 1X150Gr 1P</c:v>
                </c:pt>
                <c:pt idx="35">
                  <c:v>La Vache Qui Rit Allegee Fromage Fondu Boite Ronde Allege 1X267Gr 16P</c:v>
                </c:pt>
                <c:pt idx="36">
                  <c:v>Boursin Classique Fromage Frais A Tartiner Ciboulette &amp; Echalote Boite 1X150Gr 1P</c:v>
                </c:pt>
                <c:pt idx="37">
                  <c:v>Boursin Classique Fromage Frais A Tartiner Afh 1X256Gr 16P</c:v>
                </c:pt>
                <c:pt idx="38">
                  <c:v>Boursin Cuisine Sauce Fromage Afh 1X240Gr 1P</c:v>
                </c:pt>
                <c:pt idx="39">
                  <c:v>Boursin Classique Fromage Frais A Tartiner Poivre Boite 1X150Gr 1P</c:v>
                </c:pt>
                <c:pt idx="40">
                  <c:v>Babybel Mini Rolls St Paulin Ferme Sachet 1X85Gr 5P</c:v>
                </c:pt>
                <c:pt idx="41">
                  <c:v>Boursin Aperitif Roules Fromage Frais Roule Basilic &amp; Jambon Fume Tomate Boite 1X100Gr 20P</c:v>
                </c:pt>
                <c:pt idx="42">
                  <c:v>Mini Babybel Aros St Paulin Ferme Assortis Filet 1X180Gr 9P</c:v>
                </c:pt>
                <c:pt idx="43">
                  <c:v>Kiri Delicieusement Fouette Fromage Frais A Tartiner 1X125Gr 1P</c:v>
                </c:pt>
                <c:pt idx="44">
                  <c:v>Apericube Long Drink Fromage Fondu Cube Assortis 1X125Gr 24P</c:v>
                </c:pt>
                <c:pt idx="45">
                  <c:v>Boursin Classique Fromage Frais A Tartiner Ciboulette &amp; Echalote 1X160Gr 10P</c:v>
                </c:pt>
                <c:pt idx="46">
                  <c:v>La Vache Qui Rit Aro Fromage Fondu Boite Ronde Jambon 1X133Gr 8P</c:v>
                </c:pt>
                <c:pt idx="47">
                  <c:v>Kiri Bio Fromage Blanc Frais Carre 1X144Gr 8P</c:v>
                </c:pt>
                <c:pt idx="48">
                  <c:v>Kiri Chevre Fromage Blanc Frais Carre 1X144Gr 8P</c:v>
                </c:pt>
                <c:pt idx="49">
                  <c:v>Mini Babybel Aros Soft Cheese Enfant 180G</c:v>
                </c:pt>
                <c:pt idx="50">
                  <c:v>Apericube Soiree Match Aperitif 250G</c:v>
                </c:pt>
                <c:pt idx="51">
                  <c:v>Mini Babybel Rouge Filet St Paulin Ferme 1X396Gr 12+6P</c:v>
                </c:pt>
                <c:pt idx="52">
                  <c:v>Boursin Salade &amp; Aperitif Fromage Frais Des Ciboulette Echalote 1X120Gr 1P</c:v>
                </c:pt>
                <c:pt idx="53">
                  <c:v>Kiri Creme Fromage Blanc Frais Carre 1X432Gr 18+6P</c:v>
                </c:pt>
                <c:pt idx="54">
                  <c:v>Kiri Delicieusement Fouette Fromage Frais A Tartiner 1X160Gr 10P</c:v>
                </c:pt>
                <c:pt idx="55">
                  <c:v>Mini Babybel Aros St Paulin Ferme Raclette Filet 1X132Gr 6P</c:v>
                </c:pt>
                <c:pt idx="56">
                  <c:v>Boursin Salade &amp; Aperitif Fromage Frais Des Figue Noix 1X120Gr 1P</c:v>
                </c:pt>
                <c:pt idx="57">
                  <c:v>Apericube Hot Chalenge Aperitif 250G</c:v>
                </c:pt>
                <c:pt idx="58">
                  <c:v>Nurishh Les Tranches Vegetales Cheddar Vegetal Tranche Boite 1X160Gr 8P</c:v>
                </c:pt>
                <c:pt idx="59">
                  <c:v>Apericube Best Of Des Saveurs Fromage Fondu Cube Assortis 1X125Gr 24P</c:v>
                </c:pt>
                <c:pt idx="60">
                  <c:v>Nurishh Le Rape Vegetal Specialite Vegetale Sachet 1X150Gr 1P</c:v>
                </c:pt>
                <c:pt idx="61">
                  <c:v>Boursin Salade &amp; Aperitif Fromage Frais Des Citron Romarin 1X120Gr 1P</c:v>
                </c:pt>
                <c:pt idx="62">
                  <c:v>Boursin Classique Fromage Frais A Tartiner Afh Boite 1X80Gr 1P</c:v>
                </c:pt>
                <c:pt idx="63">
                  <c:v>Boursin Salade &amp; Aperitif Fromage Frais Des Noisette Et 3 Noix 1X120Gr 1P</c:v>
                </c:pt>
                <c:pt idx="64">
                  <c:v>Mini Babybel Aros Soft Cheese Enfant 110G</c:v>
                </c:pt>
                <c:pt idx="65">
                  <c:v>Nurishh Le Rape Vegetal Specialite Vegetale Emmental Sachet 1X150Gr 1P</c:v>
                </c:pt>
                <c:pt idx="66">
                  <c:v>Apericube Fromages Du Monde Aperitif 250G</c:v>
                </c:pt>
                <c:pt idx="67">
                  <c:v>Nurishh Le Coeur Fleuri Vegetal Camembert Boite 1X140Gr 1P</c:v>
                </c:pt>
                <c:pt idx="68">
                  <c:v>Nurishh Le Palet Vegetal Specialite Vegetale Ovale Saveur Chevre Boite 1X140Gr 1P</c:v>
                </c:pt>
                <c:pt idx="69">
                  <c:v>Nurishh Des Vegetaux Feta Vegetale Sachet 1X150Gr 1P</c:v>
                </c:pt>
                <c:pt idx="70">
                  <c:v>Apericube Montagne Aperitif 250G</c:v>
                </c:pt>
                <c:pt idx="71">
                  <c:v>Boursin Aperitif Roules Fromage Frais Roule Jambon Fume &amp; Trio De Noix Boite 1X100Gr 20P</c:v>
                </c:pt>
                <c:pt idx="72">
                  <c:v>Boursin Aperitif Roules Aperitif 100G</c:v>
                </c:pt>
                <c:pt idx="73">
                  <c:v>Boursin Salade &amp; Aperitif Soft Cheese Salade 120G</c:v>
                </c:pt>
                <c:pt idx="74">
                  <c:v>Boursin Classique Fromage Frais A Tartiner Truffe Boite 1X150Gr 1P</c:v>
                </c:pt>
                <c:pt idx="75">
                  <c:v>La Vache Qui Rit Nature Fromage Fondu Boite Ronde 1X512Gr 24+8P</c:v>
                </c:pt>
                <c:pt idx="76">
                  <c:v>Mini Babybel Rouge Filet St Paulin Ferme Sachet 1X40Gr 1P</c:v>
                </c:pt>
                <c:pt idx="77">
                  <c:v>Mini Babybel Bio St Paulin Ferme Filet 1X100Gr 5P</c:v>
                </c:pt>
                <c:pt idx="78">
                  <c:v>Kiri Delicieusement Fouette Fromage Frais A Tartiner 1X210Gr 1P</c:v>
                </c:pt>
                <c:pt idx="79">
                  <c:v>Limiano Queijo Flamengo Tranche Sachet 1X200Gr 1P</c:v>
                </c:pt>
                <c:pt idx="80">
                  <c:v>Limiano Queijo Flamengo Bloc 1X600Gr 1P</c:v>
                </c:pt>
                <c:pt idx="81">
                  <c:v>La Vache Qui Rit Nature Fromage Fondu Boite Ronde 1X128Gr 8P</c:v>
                </c:pt>
                <c:pt idx="82">
                  <c:v>Toastinette Fromage Fondu Tranche A Chaud Sachet 1X200Gr 10P</c:v>
                </c:pt>
                <c:pt idx="83">
                  <c:v>Apericube Carrement Toque Fromage Fondu Cube Assortis 1X250Gr 48P</c:v>
                </c:pt>
                <c:pt idx="84">
                  <c:v>Toastinette Fromage Fondu Tranche A Chaud Sachet 1X340Gr 20P</c:v>
                </c:pt>
                <c:pt idx="85">
                  <c:v>Toastinette Cheddar Fondu Tranche A Chaud Sachet 1X340Gr 20P</c:v>
                </c:pt>
              </c:strCache>
            </c:strRef>
          </c:cat>
          <c:val>
            <c:numRef>
              <c:f>Sheet1!$C$2:$C$87</c:f>
              <c:numCache>
                <c:formatCode>General</c:formatCode>
                <c:ptCount val="86"/>
                <c:pt idx="0">
                  <c:v>9.1065843996160023E-2</c:v>
                </c:pt>
                <c:pt idx="1">
                  <c:v>0.15984766270992573</c:v>
                </c:pt>
                <c:pt idx="2">
                  <c:v>0.2162442840148831</c:v>
                </c:pt>
                <c:pt idx="3">
                  <c:v>0.26433039271872083</c:v>
                </c:pt>
                <c:pt idx="4">
                  <c:v>0.30931963221573722</c:v>
                </c:pt>
                <c:pt idx="5">
                  <c:v>0.35013108212471977</c:v>
                </c:pt>
                <c:pt idx="6">
                  <c:v>0.38565218483451075</c:v>
                </c:pt>
                <c:pt idx="7">
                  <c:v>0.41982850387722676</c:v>
                </c:pt>
                <c:pt idx="8">
                  <c:v>0.45144908216697593</c:v>
                </c:pt>
                <c:pt idx="9">
                  <c:v>0.47818875723431581</c:v>
                </c:pt>
                <c:pt idx="10">
                  <c:v>0.50316300895981725</c:v>
                </c:pt>
                <c:pt idx="11">
                  <c:v>0.52788361358829272</c:v>
                </c:pt>
                <c:pt idx="12">
                  <c:v>0.55149578919088404</c:v>
                </c:pt>
                <c:pt idx="13">
                  <c:v>0.57470064461222181</c:v>
                </c:pt>
                <c:pt idx="14">
                  <c:v>0.59713726277249712</c:v>
                </c:pt>
                <c:pt idx="15">
                  <c:v>0.61920448697943065</c:v>
                </c:pt>
                <c:pt idx="16">
                  <c:v>0.63998482841032034</c:v>
                </c:pt>
                <c:pt idx="17">
                  <c:v>0.65987659942400467</c:v>
                </c:pt>
                <c:pt idx="18">
                  <c:v>0.67870565794141891</c:v>
                </c:pt>
                <c:pt idx="19">
                  <c:v>0.69719230935557197</c:v>
                </c:pt>
                <c:pt idx="20">
                  <c:v>0.71445139779982836</c:v>
                </c:pt>
                <c:pt idx="21">
                  <c:v>0.73059196003514804</c:v>
                </c:pt>
                <c:pt idx="22">
                  <c:v>0.74638118057912017</c:v>
                </c:pt>
                <c:pt idx="23">
                  <c:v>0.76165648837659516</c:v>
                </c:pt>
                <c:pt idx="24">
                  <c:v>0.77599909291960623</c:v>
                </c:pt>
                <c:pt idx="25">
                  <c:v>0.78976352159279395</c:v>
                </c:pt>
                <c:pt idx="26">
                  <c:v>0.80223248991920315</c:v>
                </c:pt>
                <c:pt idx="27">
                  <c:v>0.81449453465021837</c:v>
                </c:pt>
                <c:pt idx="28">
                  <c:v>0.82671387461338219</c:v>
                </c:pt>
                <c:pt idx="29">
                  <c:v>0.83815758980258837</c:v>
                </c:pt>
                <c:pt idx="30">
                  <c:v>0.84904888929704814</c:v>
                </c:pt>
                <c:pt idx="31">
                  <c:v>0.85905651592002619</c:v>
                </c:pt>
                <c:pt idx="32">
                  <c:v>0.86888856324024111</c:v>
                </c:pt>
                <c:pt idx="33">
                  <c:v>0.87855494535492407</c:v>
                </c:pt>
                <c:pt idx="34">
                  <c:v>0.88780357139653132</c:v>
                </c:pt>
                <c:pt idx="35">
                  <c:v>0.89573649695379975</c:v>
                </c:pt>
                <c:pt idx="36">
                  <c:v>0.90342795977545909</c:v>
                </c:pt>
                <c:pt idx="37">
                  <c:v>0.91012414976317657</c:v>
                </c:pt>
                <c:pt idx="38">
                  <c:v>0.91661361754990367</c:v>
                </c:pt>
                <c:pt idx="39">
                  <c:v>0.92283431535075366</c:v>
                </c:pt>
                <c:pt idx="40">
                  <c:v>0.92893614468203234</c:v>
                </c:pt>
                <c:pt idx="41">
                  <c:v>0.93495059630502775</c:v>
                </c:pt>
                <c:pt idx="42">
                  <c:v>0.94031605446246591</c:v>
                </c:pt>
                <c:pt idx="43">
                  <c:v>0.94502048126158711</c:v>
                </c:pt>
                <c:pt idx="44">
                  <c:v>0.94953224685080473</c:v>
                </c:pt>
                <c:pt idx="45">
                  <c:v>0.95382923446288848</c:v>
                </c:pt>
                <c:pt idx="46">
                  <c:v>0.95801898870935354</c:v>
                </c:pt>
                <c:pt idx="47">
                  <c:v>0.96193320794883919</c:v>
                </c:pt>
                <c:pt idx="48">
                  <c:v>0.96531914220484449</c:v>
                </c:pt>
                <c:pt idx="49">
                  <c:v>0.96842639237774164</c:v>
                </c:pt>
                <c:pt idx="50">
                  <c:v>0.97147860695271326</c:v>
                </c:pt>
                <c:pt idx="51">
                  <c:v>0.97406027265799633</c:v>
                </c:pt>
                <c:pt idx="52">
                  <c:v>0.97657351003751536</c:v>
                </c:pt>
                <c:pt idx="53">
                  <c:v>0.97908424829557172</c:v>
                </c:pt>
                <c:pt idx="54">
                  <c:v>0.98156471331305262</c:v>
                </c:pt>
                <c:pt idx="55">
                  <c:v>0.98357743067391301</c:v>
                </c:pt>
                <c:pt idx="56">
                  <c:v>0.9852786275095895</c:v>
                </c:pt>
                <c:pt idx="57">
                  <c:v>0.98655988955091511</c:v>
                </c:pt>
                <c:pt idx="58">
                  <c:v>0.98781205925521354</c:v>
                </c:pt>
                <c:pt idx="59">
                  <c:v>0.98889210997877419</c:v>
                </c:pt>
                <c:pt idx="60">
                  <c:v>0.98992345071954013</c:v>
                </c:pt>
                <c:pt idx="61">
                  <c:v>0.99089864819316087</c:v>
                </c:pt>
                <c:pt idx="62">
                  <c:v>0.9917111281429748</c:v>
                </c:pt>
                <c:pt idx="63">
                  <c:v>0.9925184084554598</c:v>
                </c:pt>
                <c:pt idx="64">
                  <c:v>0.99326595701869935</c:v>
                </c:pt>
                <c:pt idx="65">
                  <c:v>0.99398001003090597</c:v>
                </c:pt>
                <c:pt idx="66">
                  <c:v>0.99465606358087233</c:v>
                </c:pt>
                <c:pt idx="67">
                  <c:v>0.99529679987588249</c:v>
                </c:pt>
                <c:pt idx="68">
                  <c:v>0.99592070142961098</c:v>
                </c:pt>
                <c:pt idx="69">
                  <c:v>0.99652412483421116</c:v>
                </c:pt>
                <c:pt idx="70">
                  <c:v>0.99710663068371164</c:v>
                </c:pt>
                <c:pt idx="71">
                  <c:v>0.99763882454947983</c:v>
                </c:pt>
                <c:pt idx="72">
                  <c:v>0.99808087611106089</c:v>
                </c:pt>
                <c:pt idx="73">
                  <c:v>0.99850204673470644</c:v>
                </c:pt>
                <c:pt idx="74">
                  <c:v>0.99890973308760278</c:v>
                </c:pt>
                <c:pt idx="75">
                  <c:v>0.99918996424590223</c:v>
                </c:pt>
                <c:pt idx="76">
                  <c:v>0.99944569852129272</c:v>
                </c:pt>
                <c:pt idx="77">
                  <c:v>0.99966757107400739</c:v>
                </c:pt>
                <c:pt idx="78">
                  <c:v>0.99983149696423568</c:v>
                </c:pt>
                <c:pt idx="79">
                  <c:v>0.9999220329029388</c:v>
                </c:pt>
                <c:pt idx="80">
                  <c:v>0.99997706850086432</c:v>
                </c:pt>
                <c:pt idx="81">
                  <c:v>0.99998675374081858</c:v>
                </c:pt>
                <c:pt idx="82">
                  <c:v>0.99999485528841747</c:v>
                </c:pt>
                <c:pt idx="83">
                  <c:v>0.99999732694700694</c:v>
                </c:pt>
                <c:pt idx="84">
                  <c:v>0.99999824237611412</c:v>
                </c:pt>
                <c:pt idx="85">
                  <c:v>0.9999988831764892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87</c:f>
              <c:strCache>
                <c:ptCount val="86"/>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Apericube Edition Limitee Best Of Foot Fromage Fondu Cube Assortis 1X250Gr 48P</c:v>
                </c:pt>
                <c:pt idx="7">
                  <c:v>Kiri Creme Fromage Blanc Frais Carre 1X432Gr 24P</c:v>
                </c:pt>
                <c:pt idx="8">
                  <c:v>Apericube Cocktail Fromage Fondu Cube Assortis 1X250Gr 48P</c:v>
                </c:pt>
                <c:pt idx="9">
                  <c:v>Apericube Long Drink Fromage Fondu Cube Assortis 1X250Gr 48P</c:v>
                </c:pt>
                <c:pt idx="10">
                  <c:v>Boursin Classique Fromage Frais A Tartiner Afh Boite 1X250Gr 1P</c:v>
                </c:pt>
                <c:pt idx="11">
                  <c:v>Boursin Classique Fromage Frais A Tartiner Afh 1X160Gr 10P</c:v>
                </c:pt>
                <c:pt idx="12">
                  <c:v>Kiri Gouter Fromage Blanc Dips Boite 1X280Gr 8P</c:v>
                </c:pt>
                <c:pt idx="13">
                  <c:v>Kiri Creme Fromage Blanc Frais Carre 1X144Gr 8P</c:v>
                </c:pt>
                <c:pt idx="14">
                  <c:v>Boursin Classique Fromage Frais A Tartiner Afh Boite 1X150Gr 1P</c:v>
                </c:pt>
                <c:pt idx="15">
                  <c:v>Apericube Tonic Fromage Fondu Cube Assortis 1X250Gr 48P</c:v>
                </c:pt>
                <c:pt idx="16">
                  <c:v>Port Salut St Paulin 1X320Gr 1P</c:v>
                </c:pt>
                <c:pt idx="17">
                  <c:v>Boursin Aperitif Roules Fromage Frais Roule Afh Et Jambon Fume Boite 1X100Gr 20P</c:v>
                </c:pt>
                <c:pt idx="18">
                  <c:v>Apericube Incontournable Fromage Fondu Cube Assortis 1X250Gr 48P</c:v>
                </c:pt>
                <c:pt idx="19">
                  <c:v>Kiri Gouter Fromage Blanc Dips Boite 1X175Gr 5P</c:v>
                </c:pt>
                <c:pt idx="20">
                  <c:v>Mini Babybel Rouge Filet St Paulin Ferme 1X440Gr 20P</c:v>
                </c:pt>
                <c:pt idx="21">
                  <c:v>Apericube Edition Limitee Saison Fromage Fondu Cube Assortis 1X250Gr 48P</c:v>
                </c:pt>
                <c:pt idx="22">
                  <c:v>Babybel St Paulin 1X200Gr 1P</c:v>
                </c:pt>
                <c:pt idx="23">
                  <c:v>Apericube Nature Fromage Fondu Cube 1X125Gr 24P</c:v>
                </c:pt>
                <c:pt idx="24">
                  <c:v>Cousteron St Paulin 1X320Gr 1P</c:v>
                </c:pt>
                <c:pt idx="25">
                  <c:v>Apericube Edition Voyage Fromage Fondu Cube Assortis 1X250Gr 48P</c:v>
                </c:pt>
                <c:pt idx="26">
                  <c:v>La Vache Qui Rit Pik Et Croq' Fromage Fondu Dips Boite 1X175Gr 5P</c:v>
                </c:pt>
                <c:pt idx="27">
                  <c:v>Boursin Aperitif Roules Fromage Frais Roule Ciboulette &amp; Echalote Jambon Fume Boite 1X100Gr 20P</c:v>
                </c:pt>
                <c:pt idx="28">
                  <c:v>Apericube Campagne Fromage Fondu Cube Assortis 1X125Gr 24P</c:v>
                </c:pt>
                <c:pt idx="29">
                  <c:v>La Vache Qui Rit Pik Et Croq' Fromage Fondu Dips Boite 1X280Gr 8P</c:v>
                </c:pt>
                <c:pt idx="30">
                  <c:v>Boursin Onctueux Fromage Frais A Tartiner Afh 1X125Gr 1P</c:v>
                </c:pt>
                <c:pt idx="31">
                  <c:v>Boursin Salade &amp; Aperitif Fromage Frais Des Afh 1X120Gr 1P</c:v>
                </c:pt>
                <c:pt idx="32">
                  <c:v>Boursin Classique Fromage Frais A Tartiner Afh Boite 1X96Gr 6P</c:v>
                </c:pt>
                <c:pt idx="33">
                  <c:v>Apericube Saveurs De L'Authentique Fromage Fondu Cube Assortis 1X250Gr 48P</c:v>
                </c:pt>
                <c:pt idx="34">
                  <c:v>Boursin Classique Fromage Frais A Tartiner Figue Et 3 Noix Boite 1X150Gr 1P</c:v>
                </c:pt>
                <c:pt idx="35">
                  <c:v>La Vache Qui Rit Allegee Fromage Fondu Boite Ronde Allege 1X267Gr 16P</c:v>
                </c:pt>
                <c:pt idx="36">
                  <c:v>Boursin Classique Fromage Frais A Tartiner Ciboulette &amp; Echalote Boite 1X150Gr 1P</c:v>
                </c:pt>
                <c:pt idx="37">
                  <c:v>Boursin Classique Fromage Frais A Tartiner Afh 1X256Gr 16P</c:v>
                </c:pt>
                <c:pt idx="38">
                  <c:v>Boursin Cuisine Sauce Fromage Afh 1X240Gr 1P</c:v>
                </c:pt>
                <c:pt idx="39">
                  <c:v>Boursin Classique Fromage Frais A Tartiner Poivre Boite 1X150Gr 1P</c:v>
                </c:pt>
                <c:pt idx="40">
                  <c:v>Babybel Mini Rolls St Paulin Ferme Sachet 1X85Gr 5P</c:v>
                </c:pt>
                <c:pt idx="41">
                  <c:v>Boursin Aperitif Roules Fromage Frais Roule Basilic &amp; Jambon Fume Tomate Boite 1X100Gr 20P</c:v>
                </c:pt>
                <c:pt idx="42">
                  <c:v>Mini Babybel Aros St Paulin Ferme Assortis Filet 1X180Gr 9P</c:v>
                </c:pt>
                <c:pt idx="43">
                  <c:v>Kiri Delicieusement Fouette Fromage Frais A Tartiner 1X125Gr 1P</c:v>
                </c:pt>
                <c:pt idx="44">
                  <c:v>Apericube Long Drink Fromage Fondu Cube Assortis 1X125Gr 24P</c:v>
                </c:pt>
                <c:pt idx="45">
                  <c:v>Boursin Classique Fromage Frais A Tartiner Ciboulette &amp; Echalote 1X160Gr 10P</c:v>
                </c:pt>
                <c:pt idx="46">
                  <c:v>La Vache Qui Rit Aro Fromage Fondu Boite Ronde Jambon 1X133Gr 8P</c:v>
                </c:pt>
                <c:pt idx="47">
                  <c:v>Kiri Bio Fromage Blanc Frais Carre 1X144Gr 8P</c:v>
                </c:pt>
                <c:pt idx="48">
                  <c:v>Kiri Chevre Fromage Blanc Frais Carre 1X144Gr 8P</c:v>
                </c:pt>
                <c:pt idx="49">
                  <c:v>Mini Babybel Aros Soft Cheese Enfant 180G</c:v>
                </c:pt>
                <c:pt idx="50">
                  <c:v>Apericube Soiree Match Aperitif 250G</c:v>
                </c:pt>
                <c:pt idx="51">
                  <c:v>Mini Babybel Rouge Filet St Paulin Ferme 1X396Gr 12+6P</c:v>
                </c:pt>
                <c:pt idx="52">
                  <c:v>Boursin Salade &amp; Aperitif Fromage Frais Des Ciboulette Echalote 1X120Gr 1P</c:v>
                </c:pt>
                <c:pt idx="53">
                  <c:v>Kiri Creme Fromage Blanc Frais Carre 1X432Gr 18+6P</c:v>
                </c:pt>
                <c:pt idx="54">
                  <c:v>Kiri Delicieusement Fouette Fromage Frais A Tartiner 1X160Gr 10P</c:v>
                </c:pt>
                <c:pt idx="55">
                  <c:v>Mini Babybel Aros St Paulin Ferme Raclette Filet 1X132Gr 6P</c:v>
                </c:pt>
                <c:pt idx="56">
                  <c:v>Boursin Salade &amp; Aperitif Fromage Frais Des Figue Noix 1X120Gr 1P</c:v>
                </c:pt>
                <c:pt idx="57">
                  <c:v>Apericube Hot Chalenge Aperitif 250G</c:v>
                </c:pt>
                <c:pt idx="58">
                  <c:v>Nurishh Les Tranches Vegetales Cheddar Vegetal Tranche Boite 1X160Gr 8P</c:v>
                </c:pt>
                <c:pt idx="59">
                  <c:v>Apericube Best Of Des Saveurs Fromage Fondu Cube Assortis 1X125Gr 24P</c:v>
                </c:pt>
                <c:pt idx="60">
                  <c:v>Nurishh Le Rape Vegetal Specialite Vegetale Sachet 1X150Gr 1P</c:v>
                </c:pt>
                <c:pt idx="61">
                  <c:v>Boursin Salade &amp; Aperitif Fromage Frais Des Citron Romarin 1X120Gr 1P</c:v>
                </c:pt>
                <c:pt idx="62">
                  <c:v>Boursin Classique Fromage Frais A Tartiner Afh Boite 1X80Gr 1P</c:v>
                </c:pt>
                <c:pt idx="63">
                  <c:v>Boursin Salade &amp; Aperitif Fromage Frais Des Noisette Et 3 Noix 1X120Gr 1P</c:v>
                </c:pt>
                <c:pt idx="64">
                  <c:v>Mini Babybel Aros Soft Cheese Enfant 110G</c:v>
                </c:pt>
                <c:pt idx="65">
                  <c:v>Nurishh Le Rape Vegetal Specialite Vegetale Emmental Sachet 1X150Gr 1P</c:v>
                </c:pt>
                <c:pt idx="66">
                  <c:v>Apericube Fromages Du Monde Aperitif 250G</c:v>
                </c:pt>
                <c:pt idx="67">
                  <c:v>Nurishh Le Coeur Fleuri Vegetal Camembert Boite 1X140Gr 1P</c:v>
                </c:pt>
                <c:pt idx="68">
                  <c:v>Nurishh Le Palet Vegetal Specialite Vegetale Ovale Saveur Chevre Boite 1X140Gr 1P</c:v>
                </c:pt>
                <c:pt idx="69">
                  <c:v>Nurishh Des Vegetaux Feta Vegetale Sachet 1X150Gr 1P</c:v>
                </c:pt>
                <c:pt idx="70">
                  <c:v>Apericube Montagne Aperitif 250G</c:v>
                </c:pt>
                <c:pt idx="71">
                  <c:v>Boursin Aperitif Roules Fromage Frais Roule Jambon Fume &amp; Trio De Noix Boite 1X100Gr 20P</c:v>
                </c:pt>
                <c:pt idx="72">
                  <c:v>Boursin Aperitif Roules Aperitif 100G</c:v>
                </c:pt>
                <c:pt idx="73">
                  <c:v>Boursin Salade &amp; Aperitif Soft Cheese Salade 120G</c:v>
                </c:pt>
                <c:pt idx="74">
                  <c:v>Boursin Classique Fromage Frais A Tartiner Truffe Boite 1X150Gr 1P</c:v>
                </c:pt>
                <c:pt idx="75">
                  <c:v>La Vache Qui Rit Nature Fromage Fondu Boite Ronde 1X512Gr 24+8P</c:v>
                </c:pt>
                <c:pt idx="76">
                  <c:v>Mini Babybel Rouge Filet St Paulin Ferme Sachet 1X40Gr 1P</c:v>
                </c:pt>
                <c:pt idx="77">
                  <c:v>Mini Babybel Bio St Paulin Ferme Filet 1X100Gr 5P</c:v>
                </c:pt>
                <c:pt idx="78">
                  <c:v>Kiri Delicieusement Fouette Fromage Frais A Tartiner 1X210Gr 1P</c:v>
                </c:pt>
                <c:pt idx="79">
                  <c:v>Limiano Queijo Flamengo Tranche Sachet 1X200Gr 1P</c:v>
                </c:pt>
                <c:pt idx="80">
                  <c:v>Limiano Queijo Flamengo Bloc 1X600Gr 1P</c:v>
                </c:pt>
                <c:pt idx="81">
                  <c:v>La Vache Qui Rit Nature Fromage Fondu Boite Ronde 1X128Gr 8P</c:v>
                </c:pt>
                <c:pt idx="82">
                  <c:v>Toastinette Fromage Fondu Tranche A Chaud Sachet 1X200Gr 10P</c:v>
                </c:pt>
                <c:pt idx="83">
                  <c:v>Apericube Carrement Toque Fromage Fondu Cube Assortis 1X250Gr 48P</c:v>
                </c:pt>
                <c:pt idx="84">
                  <c:v>Toastinette Fromage Fondu Tranche A Chaud Sachet 1X340Gr 20P</c:v>
                </c:pt>
                <c:pt idx="85">
                  <c:v>Toastinette Cheddar Fondu Tranche A Chaud Sachet 1X340Gr 20P</c:v>
                </c:pt>
              </c:strCache>
            </c:strRef>
          </c:cat>
          <c:val>
            <c:numRef>
              <c:f>Sheet1!$D$2:$D$87</c:f>
              <c:numCache>
                <c:formatCode>General</c:formatCode>
                <c:ptCount val="86"/>
                <c:pt idx="0">
                  <c:v>100891.33874239352</c:v>
                </c:pt>
                <c:pt idx="1">
                  <c:v>79341.235480464631</c:v>
                </c:pt>
                <c:pt idx="2">
                  <c:v>61730.220440881763</c:v>
                </c:pt>
                <c:pt idx="3">
                  <c:v>52633.757515030062</c:v>
                </c:pt>
                <c:pt idx="4">
                  <c:v>52226.907545164722</c:v>
                </c:pt>
                <c:pt idx="5">
                  <c:v>45724.892307692309</c:v>
                </c:pt>
                <c:pt idx="6">
                  <c:v>40588.577405857744</c:v>
                </c:pt>
                <c:pt idx="7">
                  <c:v>43360.813008130084</c:v>
                </c:pt>
                <c:pt idx="8">
                  <c:v>35831.753112033199</c:v>
                </c:pt>
                <c:pt idx="9">
                  <c:v>31240.631016042782</c:v>
                </c:pt>
                <c:pt idx="10">
                  <c:v>27838.234693877552</c:v>
                </c:pt>
                <c:pt idx="11">
                  <c:v>27527.410805300715</c:v>
                </c:pt>
                <c:pt idx="12">
                  <c:v>27675.493562231757</c:v>
                </c:pt>
                <c:pt idx="13">
                  <c:v>25786.988809766022</c:v>
                </c:pt>
                <c:pt idx="14">
                  <c:v>24558.517034068136</c:v>
                </c:pt>
                <c:pt idx="15">
                  <c:v>25809.293361884367</c:v>
                </c:pt>
                <c:pt idx="16">
                  <c:v>23378.074150360455</c:v>
                </c:pt>
                <c:pt idx="17">
                  <c:v>22494.254658385096</c:v>
                </c:pt>
                <c:pt idx="18">
                  <c:v>23778.682080924857</c:v>
                </c:pt>
                <c:pt idx="19">
                  <c:v>20585.647298674823</c:v>
                </c:pt>
                <c:pt idx="20">
                  <c:v>22128.579812206572</c:v>
                </c:pt>
                <c:pt idx="21">
                  <c:v>19945.35067873303</c:v>
                </c:pt>
                <c:pt idx="22">
                  <c:v>17528.343495934958</c:v>
                </c:pt>
                <c:pt idx="23">
                  <c:v>17751.59574468085</c:v>
                </c:pt>
                <c:pt idx="24">
                  <c:v>16388.734309623433</c:v>
                </c:pt>
                <c:pt idx="25">
                  <c:v>17322.626728110601</c:v>
                </c:pt>
                <c:pt idx="26">
                  <c:v>14262.722513089006</c:v>
                </c:pt>
                <c:pt idx="27">
                  <c:v>14703.468715697034</c:v>
                </c:pt>
                <c:pt idx="28">
                  <c:v>14508.923913043478</c:v>
                </c:pt>
                <c:pt idx="29">
                  <c:v>14741.662735849057</c:v>
                </c:pt>
                <c:pt idx="30">
                  <c:v>12471.153039832287</c:v>
                </c:pt>
                <c:pt idx="31">
                  <c:v>11293.564049586777</c:v>
                </c:pt>
                <c:pt idx="32">
                  <c:v>11438.093716719915</c:v>
                </c:pt>
                <c:pt idx="33">
                  <c:v>12630.861244019139</c:v>
                </c:pt>
                <c:pt idx="34">
                  <c:v>10309.234693877552</c:v>
                </c:pt>
                <c:pt idx="35">
                  <c:v>10304.161712247325</c:v>
                </c:pt>
                <c:pt idx="36">
                  <c:v>8635.1798561151081</c:v>
                </c:pt>
                <c:pt idx="37">
                  <c:v>8505.5930232558148</c:v>
                </c:pt>
                <c:pt idx="38">
                  <c:v>8120.2634593356242</c:v>
                </c:pt>
                <c:pt idx="39">
                  <c:v>7229.1382978723404</c:v>
                </c:pt>
                <c:pt idx="40">
                  <c:v>8491.133757961783</c:v>
                </c:pt>
                <c:pt idx="41">
                  <c:v>7525.8762886597942</c:v>
                </c:pt>
                <c:pt idx="42">
                  <c:v>7235.9753086419751</c:v>
                </c:pt>
                <c:pt idx="43">
                  <c:v>6139.8327359617679</c:v>
                </c:pt>
                <c:pt idx="44">
                  <c:v>6425.7887874837024</c:v>
                </c:pt>
                <c:pt idx="45">
                  <c:v>5809.3564356435636</c:v>
                </c:pt>
                <c:pt idx="46">
                  <c:v>6740.5301914580259</c:v>
                </c:pt>
                <c:pt idx="47">
                  <c:v>7090.9286898839136</c:v>
                </c:pt>
                <c:pt idx="48">
                  <c:v>5504.0773809523807</c:v>
                </c:pt>
                <c:pt idx="49">
                  <c:v>4780.7183098591549</c:v>
                </c:pt>
                <c:pt idx="50">
                  <c:v>4347.0534550195562</c:v>
                </c:pt>
                <c:pt idx="51">
                  <c:v>3219.3721461187215</c:v>
                </c:pt>
                <c:pt idx="52">
                  <c:v>3335.8687727825031</c:v>
                </c:pt>
                <c:pt idx="53">
                  <c:v>3357.0257037943702</c:v>
                </c:pt>
                <c:pt idx="54">
                  <c:v>3027.5083798882683</c:v>
                </c:pt>
                <c:pt idx="55">
                  <c:v>2975.1826792963461</c:v>
                </c:pt>
                <c:pt idx="56">
                  <c:v>2199.2426035502958</c:v>
                </c:pt>
                <c:pt idx="57">
                  <c:v>2793.6726546906189</c:v>
                </c:pt>
                <c:pt idx="58">
                  <c:v>1838.5080645161288</c:v>
                </c:pt>
                <c:pt idx="59">
                  <c:v>1768.8605697151424</c:v>
                </c:pt>
                <c:pt idx="60">
                  <c:v>3531.7241379310344</c:v>
                </c:pt>
                <c:pt idx="61">
                  <c:v>1614.0757575757575</c:v>
                </c:pt>
                <c:pt idx="62">
                  <c:v>2730.8923076923079</c:v>
                </c:pt>
                <c:pt idx="63">
                  <c:v>1098.2067247820671</c:v>
                </c:pt>
                <c:pt idx="64">
                  <c:v>1395.91452991453</c:v>
                </c:pt>
                <c:pt idx="65">
                  <c:v>3070.944881889764</c:v>
                </c:pt>
                <c:pt idx="66">
                  <c:v>2600.3873239436621</c:v>
                </c:pt>
                <c:pt idx="67">
                  <c:v>3255.4883720930234</c:v>
                </c:pt>
                <c:pt idx="68">
                  <c:v>3230.0473933649291</c:v>
                </c:pt>
                <c:pt idx="69">
                  <c:v>1017.2376543209876</c:v>
                </c:pt>
                <c:pt idx="70">
                  <c:v>2348.0442804428044</c:v>
                </c:pt>
                <c:pt idx="71">
                  <c:v>775.14666666666665</c:v>
                </c:pt>
                <c:pt idx="72">
                  <c:v>730.54462934947037</c:v>
                </c:pt>
                <c:pt idx="73">
                  <c:v>1111.304347826087</c:v>
                </c:pt>
                <c:pt idx="74">
                  <c:v>648.25327510917032</c:v>
                </c:pt>
                <c:pt idx="75">
                  <c:v>1325.1948051948052</c:v>
                </c:pt>
                <c:pt idx="76">
                  <c:v>2450.5263157894738</c:v>
                </c:pt>
                <c:pt idx="77">
                  <c:v>776.82692307692309</c:v>
                </c:pt>
                <c:pt idx="78">
                  <c:v>481.37096774193543</c:v>
                </c:pt>
                <c:pt idx="79">
                  <c:v>9890</c:v>
                </c:pt>
                <c:pt idx="80">
                  <c:v>5010</c:v>
                </c:pt>
                <c:pt idx="81">
                  <c:v>94.464285714285708</c:v>
                </c:pt>
                <c:pt idx="82">
                  <c:v>3580</c:v>
                </c:pt>
                <c:pt idx="83">
                  <c:v>1070</c:v>
                </c:pt>
                <c:pt idx="84">
                  <c:v>1000</c:v>
                </c:pt>
                <c:pt idx="85">
                  <c:v>70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3</c:f>
              <c:strCache>
                <c:ptCount val="122"/>
                <c:pt idx="0">
                  <c:v>La Vache Qui Rit Nature Fromage Fondu Boite Ronde 1X512Gr 32P</c:v>
                </c:pt>
                <c:pt idx="1">
                  <c:v>Mini Babybel Rouge Filet St Paulin Ferme 1X264Gr 12P</c:v>
                </c:pt>
                <c:pt idx="2">
                  <c:v>Kiri Creme Fromage Blanc Frais Carre 1X432Gr 24P</c:v>
                </c:pt>
                <c:pt idx="3">
                  <c:v>La Vache Qui Rit Nature Fromage Fondu Boite Ronde 1X384Gr 24P</c:v>
                </c:pt>
                <c:pt idx="4">
                  <c:v>Mini Babybel Rouge Filet St Paulin Ferme 1X132Gr 6P</c:v>
                </c:pt>
                <c:pt idx="5">
                  <c:v>Kiri Creme Fromage Blanc Frais Carre 1X216Gr 12P</c:v>
                </c:pt>
                <c:pt idx="6">
                  <c:v>La Vache Qui Rit Nature Fromage Fondu Boite Ronde 1X192Gr 12P</c:v>
                </c:pt>
                <c:pt idx="7">
                  <c:v>Kiri Gouter Fromage Blanc Dips Boite 1X175Gr 5P</c:v>
                </c:pt>
                <c:pt idx="8">
                  <c:v>Apericube Edition Limitee Best Of Foot Fromage Fondu Cube Assortis 1X250Gr 48P</c:v>
                </c:pt>
                <c:pt idx="9">
                  <c:v>Boursin Classique Fromage Frais A Tartiner Afh 1X160Gr 10P</c:v>
                </c:pt>
                <c:pt idx="10">
                  <c:v>Apericube Long Drink Fromage Fondu Cube Assortis 1X250Gr 48P</c:v>
                </c:pt>
                <c:pt idx="11">
                  <c:v>Apericube Cocktail Fromage Fondu Cube Assortis 1X250Gr 48P</c:v>
                </c:pt>
                <c:pt idx="12">
                  <c:v>Kiri Creme Fromage Blanc Frais Carre 1X144Gr 8P</c:v>
                </c:pt>
                <c:pt idx="13">
                  <c:v>Boursin Classique Fromage Frais A Tartiner Afh Boite 1X250Gr 1P</c:v>
                </c:pt>
                <c:pt idx="14">
                  <c:v>Kiri Gouter Fromage Blanc Dips Boite 1X280Gr 8P</c:v>
                </c:pt>
                <c:pt idx="15">
                  <c:v>Mini Babybel Rouge Filet Soft Cheese Enfant 484G</c:v>
                </c:pt>
                <c:pt idx="16">
                  <c:v>Mini Babybel Rouge Filet St Paulin Ferme 1X440Gr 20P</c:v>
                </c:pt>
                <c:pt idx="17">
                  <c:v>Apericube Incontournable Fromage Fondu Cube Assortis 1X250Gr 48P</c:v>
                </c:pt>
                <c:pt idx="18">
                  <c:v>Boursin Classique Fromage Frais A Tartiner Afh Boite 1X150Gr 1P</c:v>
                </c:pt>
                <c:pt idx="19">
                  <c:v>La Vache Qui Rit Nature Fromage Fondu Boite Ronde 1X512Gr 24+8P</c:v>
                </c:pt>
                <c:pt idx="20">
                  <c:v>Apericube Tonic Fromage Fondu Cube Assortis 1X250Gr 48P</c:v>
                </c:pt>
                <c:pt idx="21">
                  <c:v>Kiri Creme Fromage Blanc Frais Carre 1X432Gr 18+6P</c:v>
                </c:pt>
                <c:pt idx="22">
                  <c:v>Apericube Edition Limitee Saison Fromage Fondu Cube Assortis 1X250Gr 48P</c:v>
                </c:pt>
                <c:pt idx="23">
                  <c:v>Boursin Aperitif Roules Fromage Frais Roule Afh Et Jambon Fume Boite 1X100Gr 20P</c:v>
                </c:pt>
                <c:pt idx="24">
                  <c:v>La Vache Qui Rit Nature Fromage Fondu Boite Ronde 1X128Gr 8P</c:v>
                </c:pt>
                <c:pt idx="25">
                  <c:v>Apericube Carrement Toque Fromage Fondu Cube Assortis 1X250Gr 48P</c:v>
                </c:pt>
                <c:pt idx="26">
                  <c:v>Mini Babybel Rouge Filet Soft Cheese Enfant 352G</c:v>
                </c:pt>
                <c:pt idx="27">
                  <c:v>La Vache Qui Rit Pik Et Croq' Fromage Fondu Dips Boite 1X175Gr 5P</c:v>
                </c:pt>
                <c:pt idx="28">
                  <c:v>Apericube Nature Fromage Fondu Cube 1X125Gr 24P</c:v>
                </c:pt>
                <c:pt idx="29">
                  <c:v>Boursin Salade &amp; Aperitif Fromage Frais Des Afh 1X120Gr 1P</c:v>
                </c:pt>
                <c:pt idx="30">
                  <c:v>Mini Babybel Rouge Filet St Paulin Ferme 1X396Gr 12+6P</c:v>
                </c:pt>
                <c:pt idx="31">
                  <c:v>Apericube Edition Voyage Fromage Fondu Cube Assortis 1X250Gr 48P</c:v>
                </c:pt>
                <c:pt idx="32">
                  <c:v>La Vache Qui Rit Pik Et Croq' Fromage Fondu Dips Boite 1X280Gr 8P</c:v>
                </c:pt>
                <c:pt idx="33">
                  <c:v>Toastinette Fromage Fondu Tranche A Chaud Sachet 1X200Gr 10P</c:v>
                </c:pt>
                <c:pt idx="34">
                  <c:v>Apericube Campagne Fromage Fondu Cube Assortis 1X125Gr 24P</c:v>
                </c:pt>
                <c:pt idx="35">
                  <c:v>Toastinette Cheddar Fondu Tranche A Chaud Sachet 1X200Gr 10P</c:v>
                </c:pt>
                <c:pt idx="36">
                  <c:v>Port Salut St Paulin 1X320Gr 1P</c:v>
                </c:pt>
                <c:pt idx="37">
                  <c:v>Boursin Classique Fromage Frais A Tartiner Afh Boite 1X96Gr 6P</c:v>
                </c:pt>
                <c:pt idx="38">
                  <c:v>Boursin Aperitif Roules Fromage Frais Roule Ciboulette &amp; Echalote Jambon Fume Boite 1X100Gr 20P</c:v>
                </c:pt>
                <c:pt idx="39">
                  <c:v>Boursin Classique Fromage Frais A Tartiner Figue Et 3 Noix Boite 1X150Gr 1P</c:v>
                </c:pt>
                <c:pt idx="40">
                  <c:v>Kiri Delicieusement Fouette Fromage Frais A Tartiner 1X210Gr 1P</c:v>
                </c:pt>
                <c:pt idx="41">
                  <c:v>Boursin Classique Fromage Frais A Tartiner Ciboulette &amp; Echalote Boite 1X150Gr 1P</c:v>
                </c:pt>
                <c:pt idx="42">
                  <c:v>Apericube Best Of Des Saveurs Fromage Fondu Cube Assortis 1X125Gr 24P</c:v>
                </c:pt>
                <c:pt idx="43">
                  <c:v>Cousteron St Paulin 1X320Gr 1P</c:v>
                </c:pt>
                <c:pt idx="44">
                  <c:v>Mini Babybel Aros St Paulin Ferme Assortis Filet 1X180Gr 9P</c:v>
                </c:pt>
                <c:pt idx="45">
                  <c:v>Boursin Salade &amp; Aperitif Fromage Frais Des Ciboulette Echalote 1X120Gr 1P</c:v>
                </c:pt>
                <c:pt idx="46">
                  <c:v>Apericube Long Drink Fromage Fondu Cube Assortis 1X125Gr 24P</c:v>
                </c:pt>
                <c:pt idx="47">
                  <c:v>Babybel Mini Rolls St Paulin Ferme Sachet 1X85Gr 5P</c:v>
                </c:pt>
                <c:pt idx="48">
                  <c:v>La Vache Qui Rit Allegee Fromage Fondu Boite Ronde Allege 1X267Gr 16P</c:v>
                </c:pt>
                <c:pt idx="49">
                  <c:v>Babybel St Paulin 1X200Gr 1P</c:v>
                </c:pt>
                <c:pt idx="50">
                  <c:v>Boursin Onctueux Fromage Frais A Tartiner Afh 1X125Gr 1P</c:v>
                </c:pt>
                <c:pt idx="51">
                  <c:v>Apericube Charcut' Fromages Fromage Fondu Cube Assortis 1X250Gr 48P</c:v>
                </c:pt>
                <c:pt idx="52">
                  <c:v>Apericube Nature Fromage Fondu Cube 1X250Gr 48P</c:v>
                </c:pt>
                <c:pt idx="53">
                  <c:v>Kiri Delicieusement Fouette Fromage Frais A Tartiner 1X125Gr 1P</c:v>
                </c:pt>
                <c:pt idx="54">
                  <c:v>Babybel St Paulin 1X380Gr 1P</c:v>
                </c:pt>
                <c:pt idx="55">
                  <c:v>Boursin Cuisine Sauce Fromage Afh 1X240Gr 1P</c:v>
                </c:pt>
                <c:pt idx="56">
                  <c:v>Apericube Soiree Match Aperitif 250G</c:v>
                </c:pt>
                <c:pt idx="57">
                  <c:v>Apericube Selection Du Fromager Fromage Fondu Cube Assortis 1X250Gr 48P</c:v>
                </c:pt>
                <c:pt idx="58">
                  <c:v>Boursin Salade &amp; Aperitif Fromage Frais Des Figue Noix 1X120Gr 1P</c:v>
                </c:pt>
                <c:pt idx="59">
                  <c:v>Mini Babybel Aros Soft Cheese Enfant 180G</c:v>
                </c:pt>
                <c:pt idx="60">
                  <c:v>Kiri Bio Fromage Blanc Frais Carre 1X144Gr 8P</c:v>
                </c:pt>
                <c:pt idx="61">
                  <c:v>Apericube Sucre Sale Fromage Fondu Cube Assortis 1X250Gr 48P</c:v>
                </c:pt>
                <c:pt idx="62">
                  <c:v>Apericube Hot Chalenge Aperitif 250G</c:v>
                </c:pt>
                <c:pt idx="63">
                  <c:v>Boursin Classique Fromage Frais A Tartiner Afh 1X256Gr 16P</c:v>
                </c:pt>
                <c:pt idx="64">
                  <c:v>Kiri Delicieusement Fouette Fromage Frais A Tartiner 1X160Gr 10P</c:v>
                </c:pt>
                <c:pt idx="65">
                  <c:v>Boursin Classique Fromage Frais A Tartiner Afh Boite 1X80Gr 1P</c:v>
                </c:pt>
                <c:pt idx="66">
                  <c:v>Mini Babybel Aros St Paulin Ferme Raclette Filet 1X132Gr 6P</c:v>
                </c:pt>
                <c:pt idx="67">
                  <c:v>Mini Babybel Aros Soft Cheese Enfant 110G</c:v>
                </c:pt>
                <c:pt idx="68">
                  <c:v>Boursin Classique Fromage Frais A Tartiner Poivre Boite 1X150Gr 1P</c:v>
                </c:pt>
                <c:pt idx="69">
                  <c:v>Mini Babybel Aros St Paulin Ferme Emmental Filet 1X120Gr 6P</c:v>
                </c:pt>
                <c:pt idx="70">
                  <c:v>Nurishh Le Coeur Fleuri Vegetal Camembert Boite 1X140Gr 1P</c:v>
                </c:pt>
                <c:pt idx="71">
                  <c:v>Apericube Fromages Du Monde Aperitif 250G</c:v>
                </c:pt>
                <c:pt idx="72">
                  <c:v>La Vache Qui Rit Bio Fromage Fondu Boite Ronde 1X128Gr 8P</c:v>
                </c:pt>
                <c:pt idx="73">
                  <c:v>Apericube P'Tits Plaisirs Fromage Fondu Cube 3 Fromages &amp; Jambon Cru Olive Verte 1X78Gr 15P</c:v>
                </c:pt>
                <c:pt idx="74">
                  <c:v>Boursin Salade &amp; Aperitif Fromage Frais Des Citron Romarin 1X120Gr 1P</c:v>
                </c:pt>
                <c:pt idx="75">
                  <c:v>Nurishh Le Rape Vegetal Specialite Vegetale Sachet 1X150Gr 1P</c:v>
                </c:pt>
                <c:pt idx="76">
                  <c:v>Boursin Salade &amp; Aperitif Fromage Frais Des Noisette Et 3 Noix 1X120Gr 1P</c:v>
                </c:pt>
                <c:pt idx="77">
                  <c:v>Apericube Saveurs De L'Authentique Fromage Fondu Cube Assortis 1X250Gr 48P</c:v>
                </c:pt>
                <c:pt idx="78">
                  <c:v>Nurishh Le Palet Vegetal Specialite Vegetale Ovale Saveur Chevre Boite 1X140Gr 1P</c:v>
                </c:pt>
                <c:pt idx="79">
                  <c:v>Nurishh Les Tranches Vegetales Cheddar Vegetal Tranche Boite 1X160Gr 8P</c:v>
                </c:pt>
                <c:pt idx="80">
                  <c:v>Nurishh Les Tranches Vegetales Emmental Vegetal Tranche Boite 1X160Gr 8P</c:v>
                </c:pt>
                <c:pt idx="81">
                  <c:v>Nurishh Le Rape Vegetal Specialite Vegetale Emmental Sachet 1X150Gr 1P</c:v>
                </c:pt>
                <c:pt idx="82">
                  <c:v>Boursin Onctueux Fromage Frais A Tartiner Afh 1X210Gr 1P</c:v>
                </c:pt>
                <c:pt idx="83">
                  <c:v>Boursin Classique Fromage Frais A Tartiner 3 Noix Boite 1X150Gr 1P</c:v>
                </c:pt>
                <c:pt idx="84">
                  <c:v>Nurishh Le Rape Vegetal Mozzarella Vegetale Sachet 1X150Gr 1P</c:v>
                </c:pt>
                <c:pt idx="85">
                  <c:v>Boursin Salade &amp; Aperitif Soft Cheese Salade 120G</c:v>
                </c:pt>
                <c:pt idx="86">
                  <c:v>Port Salut St Paulin Tranche Boite 1X200Gr 6P</c:v>
                </c:pt>
                <c:pt idx="87">
                  <c:v>Apericube Jambon Fromage Fondu Cube 1X78Gr 15P</c:v>
                </c:pt>
                <c:pt idx="88">
                  <c:v>Nurishh Des Vegetaux Feta Vegetale Sachet 1X150Gr 1P</c:v>
                </c:pt>
                <c:pt idx="89">
                  <c:v>Apericube Montagne Aperitif 250G</c:v>
                </c:pt>
                <c:pt idx="90">
                  <c:v>Boursin Vegetal Specialite Vegetale A Tartiner Afh 1X130Gr 1P</c:v>
                </c:pt>
                <c:pt idx="91">
                  <c:v>La Vache Qui Rit Le Fondant Fromage Fondu 1X200Gr 1P</c:v>
                </c:pt>
                <c:pt idx="92">
                  <c:v>Mini Babybel Aros Soft Cheese Enfant 120G</c:v>
                </c:pt>
                <c:pt idx="93">
                  <c:v>Boursin Classique Fromage Frais A Tartiner Truffe Boite 1X150Gr 1P</c:v>
                </c:pt>
                <c:pt idx="94">
                  <c:v>Boursin Vegetal Alternative Vegetale 150G</c:v>
                </c:pt>
                <c:pt idx="95">
                  <c:v>Boursin Aperitif Roules Aperitif 100G</c:v>
                </c:pt>
                <c:pt idx="96">
                  <c:v>La Vache Qui Rit Aro Fromage Fondu Boite Ronde Jambon 1X133Gr 8P</c:v>
                </c:pt>
                <c:pt idx="97">
                  <c:v>Boursin Classique Fromage Frais A Tartiner Afh Boite 1X320Gr 16+4P</c:v>
                </c:pt>
                <c:pt idx="98">
                  <c:v>Nurishh Les Tranches Vegetales Specialite Vegetale Tranche Piment Boite 1X120Gr 6P</c:v>
                </c:pt>
                <c:pt idx="99">
                  <c:v>Toastinette Fromage Fondu Tranche A Chaud Sachet 1X340Gr 20P</c:v>
                </c:pt>
                <c:pt idx="100">
                  <c:v>Boursin Aperitif Roules Fromage Frais Roule Jambon Fume &amp; Trio De Noix Boite 1X100Gr 20P</c:v>
                </c:pt>
                <c:pt idx="101">
                  <c:v>Boursin Classique Fromage Frais A Tartiner 3 Noix 1X160Gr 10P</c:v>
                </c:pt>
                <c:pt idx="102">
                  <c:v>Toastinette Cheddar Fondu Tranche A Chaud Sachet 1X340Gr 20P</c:v>
                </c:pt>
                <c:pt idx="103">
                  <c:v>Nurishh Le Tartinable Vegetal Specialite Vegetale A Tartiner 1X130Gr 1P</c:v>
                </c:pt>
                <c:pt idx="104">
                  <c:v>Boursin Classique Fromage Frais A Tartiner Citron &amp; Romarin Boite 1X150Gr 1P</c:v>
                </c:pt>
                <c:pt idx="105">
                  <c:v>Port Salut St Paulin 1X185Gr 1P</c:v>
                </c:pt>
                <c:pt idx="106">
                  <c:v>Kiri Chevre Fromage Blanc Frais Carre 1X144Gr 8P</c:v>
                </c:pt>
                <c:pt idx="107">
                  <c:v>Nurishh Les Tranches Vegetales Cheddar Vegetal Tranche Boite 1X200Gr 10P</c:v>
                </c:pt>
                <c:pt idx="108">
                  <c:v>Nurishh Les Tranches Vegetales Emmental Vegetal Tranche Boite 1X200Gr 10P</c:v>
                </c:pt>
                <c:pt idx="109">
                  <c:v>Boursin Classique Fromage Frais A Tartiner Ciboulette &amp; Echalote 1X160Gr 10P</c:v>
                </c:pt>
                <c:pt idx="110">
                  <c:v>Mini Babybel Rouge Filet St Paulin Ferme Sachet 1X40Gr 1P</c:v>
                </c:pt>
                <c:pt idx="111">
                  <c:v>Mini Babybel Bio St Paulin Ferme Filet 1X100Gr 5P</c:v>
                </c:pt>
                <c:pt idx="112">
                  <c:v>Cousteron St Paulin 1X460Gr 1P</c:v>
                </c:pt>
                <c:pt idx="113">
                  <c:v>Mini Babybel Rouge Filet St Paulin Ferme 1X110Gr 5P</c:v>
                </c:pt>
                <c:pt idx="114">
                  <c:v>Port Salut Pause Fondante Specialite Roux Sachet 1X180Gr 1P</c:v>
                </c:pt>
                <c:pt idx="115">
                  <c:v>Limiano Queijo Flamengo Tranche Sachet 1X200Gr 1P</c:v>
                </c:pt>
                <c:pt idx="116">
                  <c:v>Limiano Queijo Flamengo Bloc 1X600Gr 1P</c:v>
                </c:pt>
                <c:pt idx="117">
                  <c:v>Limiano Queijo Flamengo Autre Sachet 1X450Gr 1P</c:v>
                </c:pt>
                <c:pt idx="118">
                  <c:v>Nurishh Le Rape Vegetal Specialite Vegetale Sachet 1X200Gr 1P</c:v>
                </c:pt>
                <c:pt idx="119">
                  <c:v>Nurishh Le Rape Vegetal Mozzarella Vegetale Sachet 1X200Gr 1P</c:v>
                </c:pt>
                <c:pt idx="120">
                  <c:v>Boursin Aperitif Roules Fromage Frais Roule Basilic &amp; Jambon Fume Tomate Boite 1X100Gr 20P</c:v>
                </c:pt>
                <c:pt idx="121">
                  <c:v>Mini Babybel Rouge Filet St Paulin Ferme 1X396Gr 18P</c:v>
                </c:pt>
              </c:strCache>
            </c:strRef>
          </c:cat>
          <c:val>
            <c:numRef>
              <c:f>Sheet1!$B$2:$B$123</c:f>
              <c:numCache>
                <c:formatCode>General</c:formatCode>
                <c:ptCount val="122"/>
                <c:pt idx="0">
                  <c:v>0.99</c:v>
                </c:pt>
                <c:pt idx="1">
                  <c:v>1</c:v>
                </c:pt>
                <c:pt idx="2">
                  <c:v>0.99</c:v>
                </c:pt>
                <c:pt idx="3">
                  <c:v>1</c:v>
                </c:pt>
                <c:pt idx="4">
                  <c:v>1</c:v>
                </c:pt>
                <c:pt idx="5">
                  <c:v>1</c:v>
                </c:pt>
                <c:pt idx="6">
                  <c:v>1</c:v>
                </c:pt>
                <c:pt idx="7">
                  <c:v>1</c:v>
                </c:pt>
                <c:pt idx="8">
                  <c:v>1</c:v>
                </c:pt>
                <c:pt idx="9">
                  <c:v>1</c:v>
                </c:pt>
                <c:pt idx="10">
                  <c:v>1</c:v>
                </c:pt>
                <c:pt idx="11">
                  <c:v>1</c:v>
                </c:pt>
                <c:pt idx="12">
                  <c:v>1</c:v>
                </c:pt>
                <c:pt idx="13">
                  <c:v>1</c:v>
                </c:pt>
                <c:pt idx="14">
                  <c:v>0.99</c:v>
                </c:pt>
                <c:pt idx="15">
                  <c:v>0.97</c:v>
                </c:pt>
                <c:pt idx="16">
                  <c:v>1</c:v>
                </c:pt>
                <c:pt idx="17">
                  <c:v>0.99</c:v>
                </c:pt>
                <c:pt idx="18">
                  <c:v>1</c:v>
                </c:pt>
                <c:pt idx="19">
                  <c:v>0.94</c:v>
                </c:pt>
                <c:pt idx="20">
                  <c:v>0.97</c:v>
                </c:pt>
                <c:pt idx="21">
                  <c:v>0.98</c:v>
                </c:pt>
                <c:pt idx="22">
                  <c:v>0.98</c:v>
                </c:pt>
                <c:pt idx="23">
                  <c:v>1</c:v>
                </c:pt>
                <c:pt idx="24">
                  <c:v>0.94</c:v>
                </c:pt>
                <c:pt idx="25">
                  <c:v>1</c:v>
                </c:pt>
                <c:pt idx="26">
                  <c:v>0.99</c:v>
                </c:pt>
                <c:pt idx="27">
                  <c:v>1</c:v>
                </c:pt>
                <c:pt idx="28">
                  <c:v>1</c:v>
                </c:pt>
                <c:pt idx="29">
                  <c:v>1</c:v>
                </c:pt>
                <c:pt idx="30">
                  <c:v>0.94</c:v>
                </c:pt>
                <c:pt idx="31">
                  <c:v>0.91</c:v>
                </c:pt>
                <c:pt idx="32">
                  <c:v>0.95</c:v>
                </c:pt>
                <c:pt idx="33">
                  <c:v>1</c:v>
                </c:pt>
                <c:pt idx="34">
                  <c:v>0.99</c:v>
                </c:pt>
                <c:pt idx="35">
                  <c:v>1</c:v>
                </c:pt>
                <c:pt idx="36">
                  <c:v>1</c:v>
                </c:pt>
                <c:pt idx="37">
                  <c:v>1</c:v>
                </c:pt>
                <c:pt idx="38">
                  <c:v>0.95</c:v>
                </c:pt>
                <c:pt idx="39">
                  <c:v>0.98</c:v>
                </c:pt>
                <c:pt idx="40">
                  <c:v>0.96</c:v>
                </c:pt>
                <c:pt idx="41">
                  <c:v>0.97</c:v>
                </c:pt>
                <c:pt idx="42">
                  <c:v>0.97</c:v>
                </c:pt>
                <c:pt idx="43">
                  <c:v>1</c:v>
                </c:pt>
                <c:pt idx="44">
                  <c:v>0.96</c:v>
                </c:pt>
                <c:pt idx="45">
                  <c:v>1</c:v>
                </c:pt>
                <c:pt idx="46">
                  <c:v>0.98</c:v>
                </c:pt>
                <c:pt idx="47">
                  <c:v>0.92</c:v>
                </c:pt>
                <c:pt idx="48">
                  <c:v>0.86</c:v>
                </c:pt>
                <c:pt idx="49">
                  <c:v>1</c:v>
                </c:pt>
                <c:pt idx="50">
                  <c:v>0.99</c:v>
                </c:pt>
                <c:pt idx="51">
                  <c:v>0.7</c:v>
                </c:pt>
                <c:pt idx="52">
                  <c:v>0.79</c:v>
                </c:pt>
                <c:pt idx="53">
                  <c:v>0.98</c:v>
                </c:pt>
                <c:pt idx="54">
                  <c:v>0.88</c:v>
                </c:pt>
                <c:pt idx="55">
                  <c:v>0.98</c:v>
                </c:pt>
                <c:pt idx="56">
                  <c:v>0.97</c:v>
                </c:pt>
                <c:pt idx="57">
                  <c:v>0.7</c:v>
                </c:pt>
                <c:pt idx="58">
                  <c:v>1</c:v>
                </c:pt>
                <c:pt idx="59">
                  <c:v>0.96</c:v>
                </c:pt>
                <c:pt idx="60">
                  <c:v>0.75</c:v>
                </c:pt>
                <c:pt idx="61">
                  <c:v>0.66</c:v>
                </c:pt>
                <c:pt idx="62">
                  <c:v>0.96</c:v>
                </c:pt>
                <c:pt idx="63">
                  <c:v>0.57999999999999996</c:v>
                </c:pt>
                <c:pt idx="64">
                  <c:v>0.89</c:v>
                </c:pt>
                <c:pt idx="65">
                  <c:v>0.94</c:v>
                </c:pt>
                <c:pt idx="66">
                  <c:v>0.88</c:v>
                </c:pt>
                <c:pt idx="67">
                  <c:v>0.94</c:v>
                </c:pt>
                <c:pt idx="68">
                  <c:v>0.88</c:v>
                </c:pt>
                <c:pt idx="69">
                  <c:v>0.7</c:v>
                </c:pt>
                <c:pt idx="70">
                  <c:v>0.78</c:v>
                </c:pt>
                <c:pt idx="71">
                  <c:v>0.71</c:v>
                </c:pt>
                <c:pt idx="72">
                  <c:v>0.82</c:v>
                </c:pt>
                <c:pt idx="73">
                  <c:v>0.83</c:v>
                </c:pt>
                <c:pt idx="74">
                  <c:v>0.95</c:v>
                </c:pt>
                <c:pt idx="75">
                  <c:v>0.72</c:v>
                </c:pt>
                <c:pt idx="76">
                  <c:v>0.96</c:v>
                </c:pt>
                <c:pt idx="77">
                  <c:v>0.31</c:v>
                </c:pt>
                <c:pt idx="78">
                  <c:v>0.66</c:v>
                </c:pt>
                <c:pt idx="79">
                  <c:v>0.75</c:v>
                </c:pt>
                <c:pt idx="80">
                  <c:v>0.71</c:v>
                </c:pt>
                <c:pt idx="81">
                  <c:v>0.8</c:v>
                </c:pt>
                <c:pt idx="82">
                  <c:v>0.59</c:v>
                </c:pt>
                <c:pt idx="83">
                  <c:v>0.67</c:v>
                </c:pt>
                <c:pt idx="84">
                  <c:v>0.68</c:v>
                </c:pt>
                <c:pt idx="85">
                  <c:v>0.94</c:v>
                </c:pt>
                <c:pt idx="86">
                  <c:v>0.21</c:v>
                </c:pt>
                <c:pt idx="87">
                  <c:v>0.09</c:v>
                </c:pt>
                <c:pt idx="88">
                  <c:v>0.78</c:v>
                </c:pt>
                <c:pt idx="89">
                  <c:v>0.54</c:v>
                </c:pt>
                <c:pt idx="90">
                  <c:v>0.77</c:v>
                </c:pt>
                <c:pt idx="91">
                  <c:v>0.59</c:v>
                </c:pt>
                <c:pt idx="92">
                  <c:v>0.68</c:v>
                </c:pt>
                <c:pt idx="93">
                  <c:v>0.66</c:v>
                </c:pt>
                <c:pt idx="94">
                  <c:v>0.79</c:v>
                </c:pt>
                <c:pt idx="95">
                  <c:v>0.53</c:v>
                </c:pt>
                <c:pt idx="96">
                  <c:v>0.08</c:v>
                </c:pt>
                <c:pt idx="97">
                  <c:v>0.85</c:v>
                </c:pt>
                <c:pt idx="98">
                  <c:v>0.56999999999999995</c:v>
                </c:pt>
                <c:pt idx="99">
                  <c:v>0.16</c:v>
                </c:pt>
                <c:pt idx="100">
                  <c:v>0.48</c:v>
                </c:pt>
                <c:pt idx="101">
                  <c:v>0.49</c:v>
                </c:pt>
                <c:pt idx="102">
                  <c:v>0.16</c:v>
                </c:pt>
                <c:pt idx="103">
                  <c:v>0.62</c:v>
                </c:pt>
                <c:pt idx="104">
                  <c:v>0.71</c:v>
                </c:pt>
                <c:pt idx="105">
                  <c:v>0.09</c:v>
                </c:pt>
                <c:pt idx="106">
                  <c:v>0.56000000000000005</c:v>
                </c:pt>
                <c:pt idx="107">
                  <c:v>0.72</c:v>
                </c:pt>
                <c:pt idx="108">
                  <c:v>0.74</c:v>
                </c:pt>
                <c:pt idx="109">
                  <c:v>0.14000000000000001</c:v>
                </c:pt>
                <c:pt idx="110">
                  <c:v>0.21</c:v>
                </c:pt>
                <c:pt idx="111">
                  <c:v>0.67</c:v>
                </c:pt>
                <c:pt idx="112">
                  <c:v>0.09</c:v>
                </c:pt>
                <c:pt idx="113">
                  <c:v>0.05</c:v>
                </c:pt>
                <c:pt idx="114">
                  <c:v>0.04</c:v>
                </c:pt>
                <c:pt idx="115">
                  <c:v>0.02</c:v>
                </c:pt>
                <c:pt idx="116">
                  <c:v>0.03</c:v>
                </c:pt>
                <c:pt idx="117">
                  <c:v>0.01</c:v>
                </c:pt>
                <c:pt idx="118">
                  <c:v>0.04</c:v>
                </c:pt>
                <c:pt idx="119">
                  <c:v>0.03</c:v>
                </c:pt>
                <c:pt idx="120">
                  <c:v>0.02</c:v>
                </c:pt>
                <c:pt idx="1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00A097"/>
              </a:solidFill>
            </c:spPr>
            <c:extLst>
              <c:ext xmlns:c16="http://schemas.microsoft.com/office/drawing/2014/chart" uri="{C3380CC4-5D6E-409C-BE32-E72D297353CC}">
                <c16:uniqueId val="{00000023-FA3E-4872-B6E1-C4ABDF5766E2}"/>
              </c:ext>
            </c:extLst>
          </c:dPt>
          <c:dPt>
            <c:idx val="17"/>
            <c:invertIfNegative val="1"/>
            <c:bubble3D val="0"/>
            <c:spPr>
              <a:solidFill>
                <a:srgbClr val="00A097"/>
              </a:solidFill>
            </c:spPr>
            <c:extLst>
              <c:ext xmlns:c16="http://schemas.microsoft.com/office/drawing/2014/chart" uri="{C3380CC4-5D6E-409C-BE32-E72D297353CC}">
                <c16:uniqueId val="{00000025-FA3E-4872-B6E1-C4ABDF5766E2}"/>
              </c:ext>
            </c:extLst>
          </c:dPt>
          <c:dPt>
            <c:idx val="18"/>
            <c:invertIfNegative val="1"/>
            <c:bubble3D val="0"/>
            <c:spPr>
              <a:solidFill>
                <a:srgbClr val="00A097"/>
              </a:solidFill>
            </c:spPr>
            <c:extLst>
              <c:ext xmlns:c16="http://schemas.microsoft.com/office/drawing/2014/chart" uri="{C3380CC4-5D6E-409C-BE32-E72D297353CC}">
                <c16:uniqueId val="{00000027-FA3E-4872-B6E1-C4ABDF5766E2}"/>
              </c:ext>
            </c:extLst>
          </c:dPt>
          <c:dPt>
            <c:idx val="19"/>
            <c:invertIfNegative val="1"/>
            <c:bubble3D val="0"/>
            <c:spPr>
              <a:solidFill>
                <a:srgbClr val="00A097"/>
              </a:solidFill>
            </c:spPr>
            <c:extLst>
              <c:ext xmlns:c16="http://schemas.microsoft.com/office/drawing/2014/chart" uri="{C3380CC4-5D6E-409C-BE32-E72D297353CC}">
                <c16:uniqueId val="{00000029-FA3E-4872-B6E1-C4ABDF5766E2}"/>
              </c:ext>
            </c:extLst>
          </c:dPt>
          <c:dPt>
            <c:idx val="20"/>
            <c:invertIfNegative val="1"/>
            <c:bubble3D val="0"/>
            <c:spPr>
              <a:solidFill>
                <a:srgbClr val="00A097"/>
              </a:solidFill>
            </c:spPr>
            <c:extLst>
              <c:ext xmlns:c16="http://schemas.microsoft.com/office/drawing/2014/chart" uri="{C3380CC4-5D6E-409C-BE32-E72D297353CC}">
                <c16:uniqueId val="{0000002B-FA3E-4872-B6E1-C4ABDF5766E2}"/>
              </c:ext>
            </c:extLst>
          </c:dPt>
          <c:dPt>
            <c:idx val="21"/>
            <c:invertIfNegative val="1"/>
            <c:bubble3D val="0"/>
            <c:spPr>
              <a:solidFill>
                <a:srgbClr val="00A097"/>
              </a:solidFill>
            </c:spPr>
            <c:extLst>
              <c:ext xmlns:c16="http://schemas.microsoft.com/office/drawing/2014/chart" uri="{C3380CC4-5D6E-409C-BE32-E72D297353CC}">
                <c16:uniqueId val="{0000002D-FA3E-4872-B6E1-C4ABDF5766E2}"/>
              </c:ext>
            </c:extLst>
          </c:dPt>
          <c:dPt>
            <c:idx val="22"/>
            <c:invertIfNegative val="1"/>
            <c:bubble3D val="0"/>
            <c:spPr>
              <a:solidFill>
                <a:srgbClr val="00A097"/>
              </a:solidFill>
            </c:spPr>
            <c:extLst>
              <c:ext xmlns:c16="http://schemas.microsoft.com/office/drawing/2014/chart" uri="{C3380CC4-5D6E-409C-BE32-E72D297353CC}">
                <c16:uniqueId val="{0000002F-FA3E-4872-B6E1-C4ABDF5766E2}"/>
              </c:ext>
            </c:extLst>
          </c:dPt>
          <c:dPt>
            <c:idx val="23"/>
            <c:invertIfNegative val="1"/>
            <c:bubble3D val="0"/>
            <c:spPr>
              <a:solidFill>
                <a:srgbClr val="00A097"/>
              </a:solidFill>
            </c:spPr>
            <c:extLst>
              <c:ext xmlns:c16="http://schemas.microsoft.com/office/drawing/2014/chart" uri="{C3380CC4-5D6E-409C-BE32-E72D297353CC}">
                <c16:uniqueId val="{00000031-FA3E-4872-B6E1-C4ABDF5766E2}"/>
              </c:ext>
            </c:extLst>
          </c:dPt>
          <c:dPt>
            <c:idx val="24"/>
            <c:invertIfNegative val="1"/>
            <c:bubble3D val="0"/>
            <c:spPr>
              <a:solidFill>
                <a:srgbClr val="00A097"/>
              </a:solidFill>
            </c:spPr>
            <c:extLst>
              <c:ext xmlns:c16="http://schemas.microsoft.com/office/drawing/2014/chart" uri="{C3380CC4-5D6E-409C-BE32-E72D297353CC}">
                <c16:uniqueId val="{00000033-FA3E-4872-B6E1-C4ABDF5766E2}"/>
              </c:ext>
            </c:extLst>
          </c:dPt>
          <c:dPt>
            <c:idx val="25"/>
            <c:invertIfNegative val="1"/>
            <c:bubble3D val="0"/>
            <c:spPr>
              <a:solidFill>
                <a:srgbClr val="00A097"/>
              </a:solidFill>
            </c:spPr>
            <c:extLst>
              <c:ext xmlns:c16="http://schemas.microsoft.com/office/drawing/2014/chart" uri="{C3380CC4-5D6E-409C-BE32-E72D297353CC}">
                <c16:uniqueId val="{00000035-FA3E-4872-B6E1-C4ABDF5766E2}"/>
              </c:ext>
            </c:extLst>
          </c:dPt>
          <c:dPt>
            <c:idx val="26"/>
            <c:invertIfNegative val="1"/>
            <c:bubble3D val="0"/>
            <c:spPr>
              <a:solidFill>
                <a:srgbClr val="00A097"/>
              </a:solidFill>
            </c:spPr>
            <c:extLst>
              <c:ext xmlns:c16="http://schemas.microsoft.com/office/drawing/2014/chart" uri="{C3380CC4-5D6E-409C-BE32-E72D297353CC}">
                <c16:uniqueId val="{00000037-FA3E-4872-B6E1-C4ABDF5766E2}"/>
              </c:ext>
            </c:extLst>
          </c:dPt>
          <c:dPt>
            <c:idx val="27"/>
            <c:invertIfNegative val="1"/>
            <c:bubble3D val="0"/>
            <c:spPr>
              <a:solidFill>
                <a:srgbClr val="00A097"/>
              </a:solidFill>
            </c:spPr>
            <c:extLst>
              <c:ext xmlns:c16="http://schemas.microsoft.com/office/drawing/2014/chart" uri="{C3380CC4-5D6E-409C-BE32-E72D297353CC}">
                <c16:uniqueId val="{00000039-FA3E-4872-B6E1-C4ABDF5766E2}"/>
              </c:ext>
            </c:extLst>
          </c:dPt>
          <c:dPt>
            <c:idx val="28"/>
            <c:invertIfNegative val="1"/>
            <c:bubble3D val="0"/>
            <c:spPr>
              <a:solidFill>
                <a:srgbClr val="00A097"/>
              </a:solidFill>
            </c:spPr>
            <c:extLst>
              <c:ext xmlns:c16="http://schemas.microsoft.com/office/drawing/2014/chart" uri="{C3380CC4-5D6E-409C-BE32-E72D297353CC}">
                <c16:uniqueId val="{0000003B-FA3E-4872-B6E1-C4ABDF5766E2}"/>
              </c:ext>
            </c:extLst>
          </c:dPt>
          <c:dPt>
            <c:idx val="29"/>
            <c:invertIfNegative val="1"/>
            <c:bubble3D val="0"/>
            <c:spPr>
              <a:solidFill>
                <a:srgbClr val="00A097"/>
              </a:solidFill>
            </c:spPr>
            <c:extLst>
              <c:ext xmlns:c16="http://schemas.microsoft.com/office/drawing/2014/chart" uri="{C3380CC4-5D6E-409C-BE32-E72D297353CC}">
                <c16:uniqueId val="{0000003D-FA3E-4872-B6E1-C4ABDF5766E2}"/>
              </c:ext>
            </c:extLst>
          </c:dPt>
          <c:dPt>
            <c:idx val="30"/>
            <c:invertIfNegative val="1"/>
            <c:bubble3D val="0"/>
            <c:spPr>
              <a:solidFill>
                <a:srgbClr val="7ECAC4"/>
              </a:solidFill>
            </c:spPr>
            <c:extLst>
              <c:ext xmlns:c16="http://schemas.microsoft.com/office/drawing/2014/chart" uri="{C3380CC4-5D6E-409C-BE32-E72D297353CC}">
                <c16:uniqueId val="{0000003F-FA3E-4872-B6E1-C4ABDF5766E2}"/>
              </c:ext>
            </c:extLst>
          </c:dPt>
          <c:dPt>
            <c:idx val="31"/>
            <c:invertIfNegative val="1"/>
            <c:bubble3D val="0"/>
            <c:spPr>
              <a:solidFill>
                <a:srgbClr val="7ECAC4"/>
              </a:solidFill>
            </c:spPr>
            <c:extLst>
              <c:ext xmlns:c16="http://schemas.microsoft.com/office/drawing/2014/chart" uri="{C3380CC4-5D6E-409C-BE32-E72D297353CC}">
                <c16:uniqueId val="{00000041-FA3E-4872-B6E1-C4ABDF5766E2}"/>
              </c:ext>
            </c:extLst>
          </c:dPt>
          <c:dPt>
            <c:idx val="32"/>
            <c:invertIfNegative val="1"/>
            <c:bubble3D val="0"/>
            <c:spPr>
              <a:solidFill>
                <a:srgbClr val="7ECAC4"/>
              </a:solidFill>
            </c:spPr>
            <c:extLst>
              <c:ext xmlns:c16="http://schemas.microsoft.com/office/drawing/2014/chart" uri="{C3380CC4-5D6E-409C-BE32-E72D297353CC}">
                <c16:uniqueId val="{00000043-FA3E-4872-B6E1-C4ABDF5766E2}"/>
              </c:ext>
            </c:extLst>
          </c:dPt>
          <c:dPt>
            <c:idx val="33"/>
            <c:invertIfNegative val="1"/>
            <c:bubble3D val="0"/>
            <c:spPr>
              <a:solidFill>
                <a:srgbClr val="7ECAC4"/>
              </a:solidFill>
            </c:spPr>
            <c:extLst>
              <c:ext xmlns:c16="http://schemas.microsoft.com/office/drawing/2014/chart" uri="{C3380CC4-5D6E-409C-BE32-E72D297353CC}">
                <c16:uniqueId val="{00000045-FA3E-4872-B6E1-C4ABDF5766E2}"/>
              </c:ext>
            </c:extLst>
          </c:dPt>
          <c:dPt>
            <c:idx val="34"/>
            <c:invertIfNegative val="1"/>
            <c:bubble3D val="0"/>
            <c:spPr>
              <a:solidFill>
                <a:srgbClr val="7ECAC4"/>
              </a:solidFill>
            </c:spPr>
            <c:extLst>
              <c:ext xmlns:c16="http://schemas.microsoft.com/office/drawing/2014/chart" uri="{C3380CC4-5D6E-409C-BE32-E72D297353CC}">
                <c16:uniqueId val="{00000047-FA3E-4872-B6E1-C4ABDF5766E2}"/>
              </c:ext>
            </c:extLst>
          </c:dPt>
          <c:dPt>
            <c:idx val="35"/>
            <c:invertIfNegative val="1"/>
            <c:bubble3D val="0"/>
            <c:spPr>
              <a:solidFill>
                <a:srgbClr val="7ECAC4"/>
              </a:solidFill>
            </c:spPr>
            <c:extLst>
              <c:ext xmlns:c16="http://schemas.microsoft.com/office/drawing/2014/chart" uri="{C3380CC4-5D6E-409C-BE32-E72D297353CC}">
                <c16:uniqueId val="{00000049-FA3E-4872-B6E1-C4ABDF5766E2}"/>
              </c:ext>
            </c:extLst>
          </c:dPt>
          <c:dPt>
            <c:idx val="36"/>
            <c:invertIfNegative val="1"/>
            <c:bubble3D val="0"/>
            <c:spPr>
              <a:solidFill>
                <a:srgbClr val="7ECAC4"/>
              </a:solidFill>
            </c:spPr>
            <c:extLst>
              <c:ext xmlns:c16="http://schemas.microsoft.com/office/drawing/2014/chart" uri="{C3380CC4-5D6E-409C-BE32-E72D297353CC}">
                <c16:uniqueId val="{0000004B-FA3E-4872-B6E1-C4ABDF5766E2}"/>
              </c:ext>
            </c:extLst>
          </c:dPt>
          <c:dPt>
            <c:idx val="37"/>
            <c:invertIfNegative val="1"/>
            <c:bubble3D val="0"/>
            <c:spPr>
              <a:solidFill>
                <a:srgbClr val="7ECAC4"/>
              </a:solidFill>
            </c:spPr>
            <c:extLst>
              <c:ext xmlns:c16="http://schemas.microsoft.com/office/drawing/2014/chart" uri="{C3380CC4-5D6E-409C-BE32-E72D297353CC}">
                <c16:uniqueId val="{0000004D-FA3E-4872-B6E1-C4ABDF5766E2}"/>
              </c:ext>
            </c:extLst>
          </c:dPt>
          <c:dPt>
            <c:idx val="38"/>
            <c:invertIfNegative val="1"/>
            <c:bubble3D val="0"/>
            <c:spPr>
              <a:solidFill>
                <a:srgbClr val="7ECAC4"/>
              </a:solidFill>
            </c:spPr>
            <c:extLst>
              <c:ext xmlns:c16="http://schemas.microsoft.com/office/drawing/2014/chart" uri="{C3380CC4-5D6E-409C-BE32-E72D297353CC}">
                <c16:uniqueId val="{0000004F-FA3E-4872-B6E1-C4ABDF5766E2}"/>
              </c:ext>
            </c:extLst>
          </c:dPt>
          <c:dPt>
            <c:idx val="39"/>
            <c:invertIfNegative val="1"/>
            <c:bubble3D val="0"/>
            <c:spPr>
              <a:solidFill>
                <a:srgbClr val="7ECAC4"/>
              </a:solidFill>
            </c:spPr>
            <c:extLst>
              <c:ext xmlns:c16="http://schemas.microsoft.com/office/drawing/2014/chart" uri="{C3380CC4-5D6E-409C-BE32-E72D297353CC}">
                <c16:uniqueId val="{00000051-FA3E-4872-B6E1-C4ABDF5766E2}"/>
              </c:ext>
            </c:extLst>
          </c:dPt>
          <c:dPt>
            <c:idx val="40"/>
            <c:invertIfNegative val="1"/>
            <c:bubble3D val="0"/>
            <c:spPr>
              <a:solidFill>
                <a:srgbClr val="7ECAC4"/>
              </a:solidFill>
            </c:spPr>
            <c:extLst>
              <c:ext xmlns:c16="http://schemas.microsoft.com/office/drawing/2014/chart" uri="{C3380CC4-5D6E-409C-BE32-E72D297353CC}">
                <c16:uniqueId val="{00000053-FA3E-4872-B6E1-C4ABDF5766E2}"/>
              </c:ext>
            </c:extLst>
          </c:dPt>
          <c:dPt>
            <c:idx val="41"/>
            <c:invertIfNegative val="1"/>
            <c:bubble3D val="0"/>
            <c:spPr>
              <a:solidFill>
                <a:srgbClr val="7ECAC4"/>
              </a:solidFill>
            </c:spPr>
            <c:extLst>
              <c:ext xmlns:c16="http://schemas.microsoft.com/office/drawing/2014/chart" uri="{C3380CC4-5D6E-409C-BE32-E72D297353CC}">
                <c16:uniqueId val="{00000055-FA3E-4872-B6E1-C4ABDF5766E2}"/>
              </c:ext>
            </c:extLst>
          </c:dPt>
          <c:dPt>
            <c:idx val="42"/>
            <c:invertIfNegative val="1"/>
            <c:bubble3D val="0"/>
            <c:spPr>
              <a:solidFill>
                <a:srgbClr val="7ECAC4"/>
              </a:solidFill>
            </c:spPr>
            <c:extLst>
              <c:ext xmlns:c16="http://schemas.microsoft.com/office/drawing/2014/chart" uri="{C3380CC4-5D6E-409C-BE32-E72D297353CC}">
                <c16:uniqueId val="{00000057-FA3E-4872-B6E1-C4ABDF5766E2}"/>
              </c:ext>
            </c:extLst>
          </c:dPt>
          <c:dPt>
            <c:idx val="43"/>
            <c:invertIfNegative val="1"/>
            <c:bubble3D val="0"/>
            <c:spPr>
              <a:solidFill>
                <a:srgbClr val="7ECAC4"/>
              </a:solidFill>
            </c:spPr>
            <c:extLst>
              <c:ext xmlns:c16="http://schemas.microsoft.com/office/drawing/2014/chart" uri="{C3380CC4-5D6E-409C-BE32-E72D297353CC}">
                <c16:uniqueId val="{00000059-FA3E-4872-B6E1-C4ABDF5766E2}"/>
              </c:ext>
            </c:extLst>
          </c:dPt>
          <c:dPt>
            <c:idx val="44"/>
            <c:invertIfNegative val="1"/>
            <c:bubble3D val="0"/>
            <c:spPr>
              <a:solidFill>
                <a:srgbClr val="7ECAC4"/>
              </a:solidFill>
            </c:spPr>
            <c:extLst>
              <c:ext xmlns:c16="http://schemas.microsoft.com/office/drawing/2014/chart" uri="{C3380CC4-5D6E-409C-BE32-E72D297353CC}">
                <c16:uniqueId val="{0000005B-C33E-4558-8ACB-7F5EA0664174}"/>
              </c:ext>
            </c:extLst>
          </c:dPt>
          <c:dPt>
            <c:idx val="45"/>
            <c:invertIfNegative val="1"/>
            <c:bubble3D val="0"/>
            <c:spPr>
              <a:solidFill>
                <a:srgbClr val="7ECAC4"/>
              </a:solidFill>
            </c:spPr>
            <c:extLst>
              <c:ext xmlns:c16="http://schemas.microsoft.com/office/drawing/2014/chart" uri="{C3380CC4-5D6E-409C-BE32-E72D297353CC}">
                <c16:uniqueId val="{0000005D-C33E-4558-8ACB-7F5EA0664174}"/>
              </c:ext>
            </c:extLst>
          </c:dPt>
          <c:dPt>
            <c:idx val="46"/>
            <c:invertIfNegative val="1"/>
            <c:bubble3D val="0"/>
            <c:spPr>
              <a:solidFill>
                <a:srgbClr val="7ECAC4"/>
              </a:solidFill>
            </c:spPr>
            <c:extLst>
              <c:ext xmlns:c16="http://schemas.microsoft.com/office/drawing/2014/chart" uri="{C3380CC4-5D6E-409C-BE32-E72D297353CC}">
                <c16:uniqueId val="{0000005F-C33E-4558-8ACB-7F5EA0664174}"/>
              </c:ext>
            </c:extLst>
          </c:dPt>
          <c:dPt>
            <c:idx val="47"/>
            <c:invertIfNegative val="1"/>
            <c:bubble3D val="0"/>
            <c:spPr>
              <a:solidFill>
                <a:srgbClr val="7ECAC4"/>
              </a:solidFill>
            </c:spPr>
            <c:extLst>
              <c:ext xmlns:c16="http://schemas.microsoft.com/office/drawing/2014/chart" uri="{C3380CC4-5D6E-409C-BE32-E72D297353CC}">
                <c16:uniqueId val="{00000061-C33E-4558-8ACB-7F5EA0664174}"/>
              </c:ext>
            </c:extLst>
          </c:dPt>
          <c:dPt>
            <c:idx val="48"/>
            <c:invertIfNegative val="1"/>
            <c:bubble3D val="0"/>
            <c:spPr>
              <a:solidFill>
                <a:srgbClr val="7ECAC4"/>
              </a:solidFill>
            </c:spPr>
            <c:extLst>
              <c:ext xmlns:c16="http://schemas.microsoft.com/office/drawing/2014/chart" uri="{C3380CC4-5D6E-409C-BE32-E72D297353CC}">
                <c16:uniqueId val="{00000063-C33E-4558-8ACB-7F5EA0664174}"/>
              </c:ext>
            </c:extLst>
          </c:dPt>
          <c:dPt>
            <c:idx val="49"/>
            <c:invertIfNegative val="1"/>
            <c:bubble3D val="0"/>
            <c:spPr>
              <a:solidFill>
                <a:srgbClr val="7ECAC4"/>
              </a:solidFill>
            </c:spPr>
            <c:extLst>
              <c:ext xmlns:c16="http://schemas.microsoft.com/office/drawing/2014/chart" uri="{C3380CC4-5D6E-409C-BE32-E72D297353CC}">
                <c16:uniqueId val="{00000065-C33E-4558-8ACB-7F5EA0664174}"/>
              </c:ext>
            </c:extLst>
          </c:dPt>
          <c:dPt>
            <c:idx val="50"/>
            <c:invertIfNegative val="1"/>
            <c:bubble3D val="0"/>
            <c:spPr>
              <a:solidFill>
                <a:srgbClr val="7ECAC4"/>
              </a:solidFill>
            </c:spPr>
            <c:extLst>
              <c:ext xmlns:c16="http://schemas.microsoft.com/office/drawing/2014/chart" uri="{C3380CC4-5D6E-409C-BE32-E72D297353CC}">
                <c16:uniqueId val="{00000067-C33E-4558-8ACB-7F5EA0664174}"/>
              </c:ext>
            </c:extLst>
          </c:dPt>
          <c:dPt>
            <c:idx val="51"/>
            <c:invertIfNegative val="1"/>
            <c:bubble3D val="0"/>
            <c:spPr>
              <a:solidFill>
                <a:srgbClr val="7ECAC4"/>
              </a:solidFill>
            </c:spPr>
            <c:extLst>
              <c:ext xmlns:c16="http://schemas.microsoft.com/office/drawing/2014/chart" uri="{C3380CC4-5D6E-409C-BE32-E72D297353CC}">
                <c16:uniqueId val="{00000069-C33E-4558-8ACB-7F5EA0664174}"/>
              </c:ext>
            </c:extLst>
          </c:dPt>
          <c:dPt>
            <c:idx val="52"/>
            <c:invertIfNegative val="1"/>
            <c:bubble3D val="0"/>
            <c:spPr>
              <a:solidFill>
                <a:srgbClr val="7ECAC4"/>
              </a:solidFill>
            </c:spPr>
            <c:extLst>
              <c:ext xmlns:c16="http://schemas.microsoft.com/office/drawing/2014/chart" uri="{C3380CC4-5D6E-409C-BE32-E72D297353CC}">
                <c16:uniqueId val="{0000006B-C33E-4558-8ACB-7F5EA0664174}"/>
              </c:ext>
            </c:extLst>
          </c:dPt>
          <c:dPt>
            <c:idx val="53"/>
            <c:invertIfNegative val="1"/>
            <c:bubble3D val="0"/>
            <c:spPr>
              <a:solidFill>
                <a:srgbClr val="7ECAC4"/>
              </a:solidFill>
            </c:spPr>
            <c:extLst>
              <c:ext xmlns:c16="http://schemas.microsoft.com/office/drawing/2014/chart" uri="{C3380CC4-5D6E-409C-BE32-E72D297353CC}">
                <c16:uniqueId val="{0000006D-C33E-4558-8ACB-7F5EA0664174}"/>
              </c:ext>
            </c:extLst>
          </c:dPt>
          <c:dPt>
            <c:idx val="54"/>
            <c:invertIfNegative val="1"/>
            <c:bubble3D val="0"/>
            <c:spPr>
              <a:solidFill>
                <a:srgbClr val="7ECAC4"/>
              </a:solidFill>
            </c:spPr>
            <c:extLst>
              <c:ext xmlns:c16="http://schemas.microsoft.com/office/drawing/2014/chart" uri="{C3380CC4-5D6E-409C-BE32-E72D297353CC}">
                <c16:uniqueId val="{0000006F-C33E-4558-8ACB-7F5EA0664174}"/>
              </c:ext>
            </c:extLst>
          </c:dPt>
          <c:dPt>
            <c:idx val="55"/>
            <c:invertIfNegative val="1"/>
            <c:bubble3D val="0"/>
            <c:spPr>
              <a:solidFill>
                <a:srgbClr val="7ECAC4"/>
              </a:solidFill>
            </c:spPr>
            <c:extLst>
              <c:ext xmlns:c16="http://schemas.microsoft.com/office/drawing/2014/chart" uri="{C3380CC4-5D6E-409C-BE32-E72D297353CC}">
                <c16:uniqueId val="{00000071-C33E-4558-8ACB-7F5EA0664174}"/>
              </c:ext>
            </c:extLst>
          </c:dPt>
          <c:dPt>
            <c:idx val="56"/>
            <c:invertIfNegative val="1"/>
            <c:bubble3D val="0"/>
            <c:spPr>
              <a:solidFill>
                <a:srgbClr val="7ECAC4"/>
              </a:solidFill>
            </c:spPr>
            <c:extLst>
              <c:ext xmlns:c16="http://schemas.microsoft.com/office/drawing/2014/chart" uri="{C3380CC4-5D6E-409C-BE32-E72D297353CC}">
                <c16:uniqueId val="{00000073-C33E-4558-8ACB-7F5EA0664174}"/>
              </c:ext>
            </c:extLst>
          </c:dPt>
          <c:dPt>
            <c:idx val="57"/>
            <c:invertIfNegative val="1"/>
            <c:bubble3D val="0"/>
            <c:spPr>
              <a:solidFill>
                <a:srgbClr val="7ECAC4"/>
              </a:solidFill>
            </c:spPr>
            <c:extLst>
              <c:ext xmlns:c16="http://schemas.microsoft.com/office/drawing/2014/chart" uri="{C3380CC4-5D6E-409C-BE32-E72D297353CC}">
                <c16:uniqueId val="{00000075-C33E-4558-8ACB-7F5EA0664174}"/>
              </c:ext>
            </c:extLst>
          </c:dPt>
          <c:dPt>
            <c:idx val="58"/>
            <c:invertIfNegative val="1"/>
            <c:bubble3D val="0"/>
            <c:spPr>
              <a:solidFill>
                <a:srgbClr val="7ECAC4"/>
              </a:solidFill>
            </c:spPr>
            <c:extLst>
              <c:ext xmlns:c16="http://schemas.microsoft.com/office/drawing/2014/chart" uri="{C3380CC4-5D6E-409C-BE32-E72D297353CC}">
                <c16:uniqueId val="{00000077-C33E-4558-8ACB-7F5EA0664174}"/>
              </c:ext>
            </c:extLst>
          </c:dPt>
          <c:dPt>
            <c:idx val="59"/>
            <c:invertIfNegative val="1"/>
            <c:bubble3D val="0"/>
            <c:spPr>
              <a:solidFill>
                <a:srgbClr val="AEABAB"/>
              </a:solidFill>
            </c:spPr>
            <c:extLst>
              <c:ext xmlns:c16="http://schemas.microsoft.com/office/drawing/2014/chart" uri="{C3380CC4-5D6E-409C-BE32-E72D297353CC}">
                <c16:uniqueId val="{00000079-C33E-4558-8ACB-7F5EA0664174}"/>
              </c:ext>
            </c:extLst>
          </c:dPt>
          <c:dPt>
            <c:idx val="60"/>
            <c:invertIfNegative val="1"/>
            <c:bubble3D val="0"/>
            <c:spPr>
              <a:solidFill>
                <a:srgbClr val="AEABAB"/>
              </a:solidFill>
            </c:spPr>
            <c:extLst>
              <c:ext xmlns:c16="http://schemas.microsoft.com/office/drawing/2014/chart" uri="{C3380CC4-5D6E-409C-BE32-E72D297353CC}">
                <c16:uniqueId val="{0000007B-C33E-4558-8ACB-7F5EA0664174}"/>
              </c:ext>
            </c:extLst>
          </c:dPt>
          <c:dPt>
            <c:idx val="61"/>
            <c:invertIfNegative val="1"/>
            <c:bubble3D val="0"/>
            <c:spPr>
              <a:solidFill>
                <a:srgbClr val="AEABAB"/>
              </a:solidFill>
            </c:spPr>
            <c:extLst>
              <c:ext xmlns:c16="http://schemas.microsoft.com/office/drawing/2014/chart" uri="{C3380CC4-5D6E-409C-BE32-E72D297353CC}">
                <c16:uniqueId val="{0000007D-C33E-4558-8ACB-7F5EA0664174}"/>
              </c:ext>
            </c:extLst>
          </c:dPt>
          <c:dPt>
            <c:idx val="62"/>
            <c:invertIfNegative val="1"/>
            <c:bubble3D val="0"/>
            <c:spPr>
              <a:solidFill>
                <a:srgbClr val="AEABAB"/>
              </a:solidFill>
            </c:spPr>
            <c:extLst>
              <c:ext xmlns:c16="http://schemas.microsoft.com/office/drawing/2014/chart" uri="{C3380CC4-5D6E-409C-BE32-E72D297353CC}">
                <c16:uniqueId val="{0000007F-C33E-4558-8ACB-7F5EA0664174}"/>
              </c:ext>
            </c:extLst>
          </c:dPt>
          <c:dPt>
            <c:idx val="63"/>
            <c:invertIfNegative val="1"/>
            <c:bubble3D val="0"/>
            <c:spPr>
              <a:solidFill>
                <a:srgbClr val="AEABAB"/>
              </a:solidFill>
            </c:spPr>
            <c:extLst>
              <c:ext xmlns:c16="http://schemas.microsoft.com/office/drawing/2014/chart" uri="{C3380CC4-5D6E-409C-BE32-E72D297353CC}">
                <c16:uniqueId val="{00000081-C33E-4558-8ACB-7F5EA0664174}"/>
              </c:ext>
            </c:extLst>
          </c:dPt>
          <c:dPt>
            <c:idx val="64"/>
            <c:invertIfNegative val="1"/>
            <c:bubble3D val="0"/>
            <c:spPr>
              <a:solidFill>
                <a:srgbClr val="AEABAB"/>
              </a:solidFill>
            </c:spPr>
            <c:extLst>
              <c:ext xmlns:c16="http://schemas.microsoft.com/office/drawing/2014/chart" uri="{C3380CC4-5D6E-409C-BE32-E72D297353CC}">
                <c16:uniqueId val="{00000083-C33E-4558-8ACB-7F5EA0664174}"/>
              </c:ext>
            </c:extLst>
          </c:dPt>
          <c:dPt>
            <c:idx val="65"/>
            <c:invertIfNegative val="1"/>
            <c:bubble3D val="0"/>
            <c:spPr>
              <a:solidFill>
                <a:srgbClr val="AEABAB"/>
              </a:solidFill>
            </c:spPr>
            <c:extLst>
              <c:ext xmlns:c16="http://schemas.microsoft.com/office/drawing/2014/chart" uri="{C3380CC4-5D6E-409C-BE32-E72D297353CC}">
                <c16:uniqueId val="{00000085-C33E-4558-8ACB-7F5EA0664174}"/>
              </c:ext>
            </c:extLst>
          </c:dPt>
          <c:dPt>
            <c:idx val="66"/>
            <c:invertIfNegative val="1"/>
            <c:bubble3D val="0"/>
            <c:spPr>
              <a:solidFill>
                <a:srgbClr val="AEABAB"/>
              </a:solidFill>
            </c:spPr>
            <c:extLst>
              <c:ext xmlns:c16="http://schemas.microsoft.com/office/drawing/2014/chart" uri="{C3380CC4-5D6E-409C-BE32-E72D297353CC}">
                <c16:uniqueId val="{00000087-C33E-4558-8ACB-7F5EA0664174}"/>
              </c:ext>
            </c:extLst>
          </c:dPt>
          <c:dPt>
            <c:idx val="67"/>
            <c:invertIfNegative val="1"/>
            <c:bubble3D val="0"/>
            <c:spPr>
              <a:solidFill>
                <a:srgbClr val="AEABAB"/>
              </a:solidFill>
            </c:spPr>
            <c:extLst>
              <c:ext xmlns:c16="http://schemas.microsoft.com/office/drawing/2014/chart" uri="{C3380CC4-5D6E-409C-BE32-E72D297353CC}">
                <c16:uniqueId val="{00000089-C33E-4558-8ACB-7F5EA0664174}"/>
              </c:ext>
            </c:extLst>
          </c:dPt>
          <c:dPt>
            <c:idx val="68"/>
            <c:invertIfNegative val="1"/>
            <c:bubble3D val="0"/>
            <c:spPr>
              <a:solidFill>
                <a:srgbClr val="AEABAB"/>
              </a:solidFill>
            </c:spPr>
            <c:extLst>
              <c:ext xmlns:c16="http://schemas.microsoft.com/office/drawing/2014/chart" uri="{C3380CC4-5D6E-409C-BE32-E72D297353CC}">
                <c16:uniqueId val="{0000008B-C33E-4558-8ACB-7F5EA0664174}"/>
              </c:ext>
            </c:extLst>
          </c:dPt>
          <c:dPt>
            <c:idx val="69"/>
            <c:invertIfNegative val="1"/>
            <c:bubble3D val="0"/>
            <c:spPr>
              <a:solidFill>
                <a:srgbClr val="AEABAB"/>
              </a:solidFill>
            </c:spPr>
            <c:extLst>
              <c:ext xmlns:c16="http://schemas.microsoft.com/office/drawing/2014/chart" uri="{C3380CC4-5D6E-409C-BE32-E72D297353CC}">
                <c16:uniqueId val="{0000008D-C33E-4558-8ACB-7F5EA0664174}"/>
              </c:ext>
            </c:extLst>
          </c:dPt>
          <c:dPt>
            <c:idx val="70"/>
            <c:invertIfNegative val="1"/>
            <c:bubble3D val="0"/>
            <c:spPr>
              <a:solidFill>
                <a:srgbClr val="AEABAB"/>
              </a:solidFill>
            </c:spPr>
            <c:extLst>
              <c:ext xmlns:c16="http://schemas.microsoft.com/office/drawing/2014/chart" uri="{C3380CC4-5D6E-409C-BE32-E72D297353CC}">
                <c16:uniqueId val="{0000008F-C33E-4558-8ACB-7F5EA0664174}"/>
              </c:ext>
            </c:extLst>
          </c:dPt>
          <c:dPt>
            <c:idx val="71"/>
            <c:invertIfNegative val="1"/>
            <c:bubble3D val="0"/>
            <c:spPr>
              <a:solidFill>
                <a:srgbClr val="AEABAB"/>
              </a:solidFill>
            </c:spPr>
            <c:extLst>
              <c:ext xmlns:c16="http://schemas.microsoft.com/office/drawing/2014/chart" uri="{C3380CC4-5D6E-409C-BE32-E72D297353CC}">
                <c16:uniqueId val="{00000091-C33E-4558-8ACB-7F5EA0664174}"/>
              </c:ext>
            </c:extLst>
          </c:dPt>
          <c:dPt>
            <c:idx val="72"/>
            <c:invertIfNegative val="1"/>
            <c:bubble3D val="0"/>
            <c:spPr>
              <a:solidFill>
                <a:srgbClr val="AEABAB"/>
              </a:solidFill>
            </c:spPr>
            <c:extLst>
              <c:ext xmlns:c16="http://schemas.microsoft.com/office/drawing/2014/chart" uri="{C3380CC4-5D6E-409C-BE32-E72D297353CC}">
                <c16:uniqueId val="{00000093-C33E-4558-8ACB-7F5EA0664174}"/>
              </c:ext>
            </c:extLst>
          </c:dPt>
          <c:dPt>
            <c:idx val="73"/>
            <c:invertIfNegative val="1"/>
            <c:bubble3D val="0"/>
            <c:spPr>
              <a:solidFill>
                <a:srgbClr val="AEABAB"/>
              </a:solidFill>
            </c:spPr>
            <c:extLst>
              <c:ext xmlns:c16="http://schemas.microsoft.com/office/drawing/2014/chart" uri="{C3380CC4-5D6E-409C-BE32-E72D297353CC}">
                <c16:uniqueId val="{00000095-C33E-4558-8ACB-7F5EA0664174}"/>
              </c:ext>
            </c:extLst>
          </c:dPt>
          <c:dPt>
            <c:idx val="74"/>
            <c:invertIfNegative val="1"/>
            <c:bubble3D val="0"/>
            <c:spPr>
              <a:solidFill>
                <a:srgbClr val="AEABAB"/>
              </a:solidFill>
            </c:spPr>
            <c:extLst>
              <c:ext xmlns:c16="http://schemas.microsoft.com/office/drawing/2014/chart" uri="{C3380CC4-5D6E-409C-BE32-E72D297353CC}">
                <c16:uniqueId val="{00000097-C33E-4558-8ACB-7F5EA0664174}"/>
              </c:ext>
            </c:extLst>
          </c:dPt>
          <c:dPt>
            <c:idx val="75"/>
            <c:invertIfNegative val="1"/>
            <c:bubble3D val="0"/>
            <c:spPr>
              <a:solidFill>
                <a:srgbClr val="AEABAB"/>
              </a:solidFill>
            </c:spPr>
            <c:extLst>
              <c:ext xmlns:c16="http://schemas.microsoft.com/office/drawing/2014/chart" uri="{C3380CC4-5D6E-409C-BE32-E72D297353CC}">
                <c16:uniqueId val="{00000099-C33E-4558-8ACB-7F5EA0664174}"/>
              </c:ext>
            </c:extLst>
          </c:dPt>
          <c:dPt>
            <c:idx val="76"/>
            <c:invertIfNegative val="1"/>
            <c:bubble3D val="0"/>
            <c:spPr>
              <a:solidFill>
                <a:srgbClr val="AEABAB"/>
              </a:solidFill>
            </c:spPr>
            <c:extLst>
              <c:ext xmlns:c16="http://schemas.microsoft.com/office/drawing/2014/chart" uri="{C3380CC4-5D6E-409C-BE32-E72D297353CC}">
                <c16:uniqueId val="{0000009B-C33E-4558-8ACB-7F5EA0664174}"/>
              </c:ext>
            </c:extLst>
          </c:dPt>
          <c:dPt>
            <c:idx val="77"/>
            <c:invertIfNegative val="1"/>
            <c:bubble3D val="0"/>
            <c:spPr>
              <a:solidFill>
                <a:srgbClr val="AEABAB"/>
              </a:solidFill>
            </c:spPr>
            <c:extLst>
              <c:ext xmlns:c16="http://schemas.microsoft.com/office/drawing/2014/chart" uri="{C3380CC4-5D6E-409C-BE32-E72D297353CC}">
                <c16:uniqueId val="{0000009D-C33E-4558-8ACB-7F5EA0664174}"/>
              </c:ext>
            </c:extLst>
          </c:dPt>
          <c:dPt>
            <c:idx val="78"/>
            <c:invertIfNegative val="1"/>
            <c:bubble3D val="0"/>
            <c:spPr>
              <a:solidFill>
                <a:srgbClr val="AEABAB"/>
              </a:solidFill>
            </c:spPr>
            <c:extLst>
              <c:ext xmlns:c16="http://schemas.microsoft.com/office/drawing/2014/chart" uri="{C3380CC4-5D6E-409C-BE32-E72D297353CC}">
                <c16:uniqueId val="{0000009F-C33E-4558-8ACB-7F5EA0664174}"/>
              </c:ext>
            </c:extLst>
          </c:dPt>
          <c:dPt>
            <c:idx val="79"/>
            <c:invertIfNegative val="1"/>
            <c:bubble3D val="0"/>
            <c:spPr>
              <a:solidFill>
                <a:srgbClr val="AEABAB"/>
              </a:solidFill>
            </c:spPr>
            <c:extLst>
              <c:ext xmlns:c16="http://schemas.microsoft.com/office/drawing/2014/chart" uri="{C3380CC4-5D6E-409C-BE32-E72D297353CC}">
                <c16:uniqueId val="{000000A1-C33E-4558-8ACB-7F5EA0664174}"/>
              </c:ext>
            </c:extLst>
          </c:dPt>
          <c:dPt>
            <c:idx val="80"/>
            <c:invertIfNegative val="1"/>
            <c:bubble3D val="0"/>
            <c:spPr>
              <a:solidFill>
                <a:srgbClr val="AEABAB"/>
              </a:solidFill>
            </c:spPr>
            <c:extLst>
              <c:ext xmlns:c16="http://schemas.microsoft.com/office/drawing/2014/chart" uri="{C3380CC4-5D6E-409C-BE32-E72D297353CC}">
                <c16:uniqueId val="{000000A3-C33E-4558-8ACB-7F5EA0664174}"/>
              </c:ext>
            </c:extLst>
          </c:dPt>
          <c:dPt>
            <c:idx val="81"/>
            <c:invertIfNegative val="1"/>
            <c:bubble3D val="0"/>
            <c:spPr>
              <a:solidFill>
                <a:srgbClr val="AEABAB"/>
              </a:solidFill>
            </c:spPr>
            <c:extLst>
              <c:ext xmlns:c16="http://schemas.microsoft.com/office/drawing/2014/chart" uri="{C3380CC4-5D6E-409C-BE32-E72D297353CC}">
                <c16:uniqueId val="{000000A5-C33E-4558-8ACB-7F5EA0664174}"/>
              </c:ext>
            </c:extLst>
          </c:dPt>
          <c:dPt>
            <c:idx val="82"/>
            <c:invertIfNegative val="1"/>
            <c:bubble3D val="0"/>
            <c:spPr>
              <a:solidFill>
                <a:srgbClr val="AEABAB"/>
              </a:solidFill>
            </c:spPr>
            <c:extLst>
              <c:ext xmlns:c16="http://schemas.microsoft.com/office/drawing/2014/chart" uri="{C3380CC4-5D6E-409C-BE32-E72D297353CC}">
                <c16:uniqueId val="{000000A7-C33E-4558-8ACB-7F5EA0664174}"/>
              </c:ext>
            </c:extLst>
          </c:dPt>
          <c:dPt>
            <c:idx val="83"/>
            <c:invertIfNegative val="1"/>
            <c:bubble3D val="0"/>
            <c:spPr>
              <a:solidFill>
                <a:srgbClr val="AEABAB"/>
              </a:solidFill>
            </c:spPr>
            <c:extLst>
              <c:ext xmlns:c16="http://schemas.microsoft.com/office/drawing/2014/chart" uri="{C3380CC4-5D6E-409C-BE32-E72D297353CC}">
                <c16:uniqueId val="{000000A9-C33E-4558-8ACB-7F5EA0664174}"/>
              </c:ext>
            </c:extLst>
          </c:dPt>
          <c:dPt>
            <c:idx val="84"/>
            <c:invertIfNegative val="1"/>
            <c:bubble3D val="0"/>
            <c:spPr>
              <a:solidFill>
                <a:srgbClr val="AEABAB"/>
              </a:solidFill>
            </c:spPr>
            <c:extLst>
              <c:ext xmlns:c16="http://schemas.microsoft.com/office/drawing/2014/chart" uri="{C3380CC4-5D6E-409C-BE32-E72D297353CC}">
                <c16:uniqueId val="{000000AB-C33E-4558-8ACB-7F5EA0664174}"/>
              </c:ext>
            </c:extLst>
          </c:dPt>
          <c:dPt>
            <c:idx val="85"/>
            <c:invertIfNegative val="1"/>
            <c:bubble3D val="0"/>
            <c:spPr>
              <a:solidFill>
                <a:srgbClr val="AEABAB"/>
              </a:solidFill>
            </c:spPr>
            <c:extLst>
              <c:ext xmlns:c16="http://schemas.microsoft.com/office/drawing/2014/chart" uri="{C3380CC4-5D6E-409C-BE32-E72D297353CC}">
                <c16:uniqueId val="{000000AD-C33E-4558-8ACB-7F5EA0664174}"/>
              </c:ext>
            </c:extLst>
          </c:dPt>
          <c:dPt>
            <c:idx val="86"/>
            <c:invertIfNegative val="1"/>
            <c:bubble3D val="0"/>
            <c:spPr>
              <a:solidFill>
                <a:srgbClr val="AEABAB"/>
              </a:solidFill>
            </c:spPr>
            <c:extLst>
              <c:ext xmlns:c16="http://schemas.microsoft.com/office/drawing/2014/chart" uri="{C3380CC4-5D6E-409C-BE32-E72D297353CC}">
                <c16:uniqueId val="{000000AF-C33E-4558-8ACB-7F5EA0664174}"/>
              </c:ext>
            </c:extLst>
          </c:dPt>
          <c:dPt>
            <c:idx val="87"/>
            <c:invertIfNegative val="1"/>
            <c:bubble3D val="0"/>
            <c:spPr>
              <a:solidFill>
                <a:srgbClr val="AEABAB"/>
              </a:solidFill>
            </c:spPr>
            <c:extLst>
              <c:ext xmlns:c16="http://schemas.microsoft.com/office/drawing/2014/chart" uri="{C3380CC4-5D6E-409C-BE32-E72D297353CC}">
                <c16:uniqueId val="{000000B1-C33E-4558-8ACB-7F5EA0664174}"/>
              </c:ext>
            </c:extLst>
          </c:dPt>
          <c:dPt>
            <c:idx val="88"/>
            <c:invertIfNegative val="1"/>
            <c:bubble3D val="0"/>
            <c:spPr>
              <a:solidFill>
                <a:srgbClr val="AEABAB"/>
              </a:solidFill>
            </c:spPr>
            <c:extLst>
              <c:ext xmlns:c16="http://schemas.microsoft.com/office/drawing/2014/chart" uri="{C3380CC4-5D6E-409C-BE32-E72D297353CC}">
                <c16:uniqueId val="{000000B3-C33E-4558-8ACB-7F5EA0664174}"/>
              </c:ext>
            </c:extLst>
          </c:dPt>
          <c:dPt>
            <c:idx val="89"/>
            <c:invertIfNegative val="1"/>
            <c:bubble3D val="0"/>
            <c:spPr>
              <a:solidFill>
                <a:srgbClr val="AEABAB"/>
              </a:solidFill>
            </c:spPr>
            <c:extLst>
              <c:ext xmlns:c16="http://schemas.microsoft.com/office/drawing/2014/chart" uri="{C3380CC4-5D6E-409C-BE32-E72D297353CC}">
                <c16:uniqueId val="{000000B5-C33E-4558-8ACB-7F5EA0664174}"/>
              </c:ext>
            </c:extLst>
          </c:dPt>
          <c:dPt>
            <c:idx val="90"/>
            <c:invertIfNegative val="1"/>
            <c:bubble3D val="0"/>
            <c:spPr>
              <a:solidFill>
                <a:srgbClr val="AEABAB"/>
              </a:solidFill>
            </c:spPr>
            <c:extLst>
              <c:ext xmlns:c16="http://schemas.microsoft.com/office/drawing/2014/chart" uri="{C3380CC4-5D6E-409C-BE32-E72D297353CC}">
                <c16:uniqueId val="{000000B7-C33E-4558-8ACB-7F5EA0664174}"/>
              </c:ext>
            </c:extLst>
          </c:dPt>
          <c:dPt>
            <c:idx val="91"/>
            <c:invertIfNegative val="1"/>
            <c:bubble3D val="0"/>
            <c:spPr>
              <a:solidFill>
                <a:srgbClr val="AEABAB"/>
              </a:solidFill>
            </c:spPr>
            <c:extLst>
              <c:ext xmlns:c16="http://schemas.microsoft.com/office/drawing/2014/chart" uri="{C3380CC4-5D6E-409C-BE32-E72D297353CC}">
                <c16:uniqueId val="{000000B9-C33E-4558-8ACB-7F5EA0664174}"/>
              </c:ext>
            </c:extLst>
          </c:dPt>
          <c:dPt>
            <c:idx val="92"/>
            <c:invertIfNegative val="1"/>
            <c:bubble3D val="0"/>
            <c:spPr>
              <a:solidFill>
                <a:srgbClr val="AEABAB"/>
              </a:solidFill>
            </c:spPr>
            <c:extLst>
              <c:ext xmlns:c16="http://schemas.microsoft.com/office/drawing/2014/chart" uri="{C3380CC4-5D6E-409C-BE32-E72D297353CC}">
                <c16:uniqueId val="{000000BB-C33E-4558-8ACB-7F5EA0664174}"/>
              </c:ext>
            </c:extLst>
          </c:dPt>
          <c:dPt>
            <c:idx val="93"/>
            <c:invertIfNegative val="1"/>
            <c:bubble3D val="0"/>
            <c:spPr>
              <a:solidFill>
                <a:srgbClr val="AEABAB"/>
              </a:solidFill>
            </c:spPr>
            <c:extLst>
              <c:ext xmlns:c16="http://schemas.microsoft.com/office/drawing/2014/chart" uri="{C3380CC4-5D6E-409C-BE32-E72D297353CC}">
                <c16:uniqueId val="{000000BD-C33E-4558-8ACB-7F5EA0664174}"/>
              </c:ext>
            </c:extLst>
          </c:dPt>
          <c:dPt>
            <c:idx val="94"/>
            <c:invertIfNegative val="1"/>
            <c:bubble3D val="0"/>
            <c:spPr>
              <a:solidFill>
                <a:srgbClr val="AEABAB"/>
              </a:solidFill>
            </c:spPr>
            <c:extLst>
              <c:ext xmlns:c16="http://schemas.microsoft.com/office/drawing/2014/chart" uri="{C3380CC4-5D6E-409C-BE32-E72D297353CC}">
                <c16:uniqueId val="{000000BF-C33E-4558-8ACB-7F5EA0664174}"/>
              </c:ext>
            </c:extLst>
          </c:dPt>
          <c:dPt>
            <c:idx val="95"/>
            <c:invertIfNegative val="1"/>
            <c:bubble3D val="0"/>
            <c:spPr>
              <a:solidFill>
                <a:srgbClr val="AEABAB"/>
              </a:solidFill>
            </c:spPr>
            <c:extLst>
              <c:ext xmlns:c16="http://schemas.microsoft.com/office/drawing/2014/chart" uri="{C3380CC4-5D6E-409C-BE32-E72D297353CC}">
                <c16:uniqueId val="{000000C1-C33E-4558-8ACB-7F5EA0664174}"/>
              </c:ext>
            </c:extLst>
          </c:dPt>
          <c:dPt>
            <c:idx val="96"/>
            <c:invertIfNegative val="1"/>
            <c:bubble3D val="0"/>
            <c:spPr>
              <a:solidFill>
                <a:srgbClr val="AEABAB"/>
              </a:solidFill>
            </c:spPr>
            <c:extLst>
              <c:ext xmlns:c16="http://schemas.microsoft.com/office/drawing/2014/chart" uri="{C3380CC4-5D6E-409C-BE32-E72D297353CC}">
                <c16:uniqueId val="{000000C3-C33E-4558-8ACB-7F5EA0664174}"/>
              </c:ext>
            </c:extLst>
          </c:dPt>
          <c:dPt>
            <c:idx val="97"/>
            <c:invertIfNegative val="1"/>
            <c:bubble3D val="0"/>
            <c:spPr>
              <a:solidFill>
                <a:srgbClr val="AEABAB"/>
              </a:solidFill>
            </c:spPr>
            <c:extLst>
              <c:ext xmlns:c16="http://schemas.microsoft.com/office/drawing/2014/chart" uri="{C3380CC4-5D6E-409C-BE32-E72D297353CC}">
                <c16:uniqueId val="{000000C5-C33E-4558-8ACB-7F5EA0664174}"/>
              </c:ext>
            </c:extLst>
          </c:dPt>
          <c:dPt>
            <c:idx val="98"/>
            <c:invertIfNegative val="1"/>
            <c:bubble3D val="0"/>
            <c:spPr>
              <a:solidFill>
                <a:srgbClr val="AEABAB"/>
              </a:solidFill>
            </c:spPr>
            <c:extLst>
              <c:ext xmlns:c16="http://schemas.microsoft.com/office/drawing/2014/chart" uri="{C3380CC4-5D6E-409C-BE32-E72D297353CC}">
                <c16:uniqueId val="{000000C7-C33E-4558-8ACB-7F5EA0664174}"/>
              </c:ext>
            </c:extLst>
          </c:dPt>
          <c:dPt>
            <c:idx val="99"/>
            <c:invertIfNegative val="1"/>
            <c:bubble3D val="0"/>
            <c:spPr>
              <a:solidFill>
                <a:srgbClr val="AEABAB"/>
              </a:solidFill>
            </c:spPr>
            <c:extLst>
              <c:ext xmlns:c16="http://schemas.microsoft.com/office/drawing/2014/chart" uri="{C3380CC4-5D6E-409C-BE32-E72D297353CC}">
                <c16:uniqueId val="{000000C9-C33E-4558-8ACB-7F5EA0664174}"/>
              </c:ext>
            </c:extLst>
          </c:dPt>
          <c:dPt>
            <c:idx val="100"/>
            <c:invertIfNegative val="1"/>
            <c:bubble3D val="0"/>
            <c:spPr>
              <a:solidFill>
                <a:srgbClr val="AEABAB"/>
              </a:solidFill>
            </c:spPr>
            <c:extLst>
              <c:ext xmlns:c16="http://schemas.microsoft.com/office/drawing/2014/chart" uri="{C3380CC4-5D6E-409C-BE32-E72D297353CC}">
                <c16:uniqueId val="{000000CB-C33E-4558-8ACB-7F5EA0664174}"/>
              </c:ext>
            </c:extLst>
          </c:dPt>
          <c:dPt>
            <c:idx val="101"/>
            <c:invertIfNegative val="1"/>
            <c:bubble3D val="0"/>
            <c:spPr>
              <a:solidFill>
                <a:srgbClr val="AEABAB"/>
              </a:solidFill>
            </c:spPr>
            <c:extLst>
              <c:ext xmlns:c16="http://schemas.microsoft.com/office/drawing/2014/chart" uri="{C3380CC4-5D6E-409C-BE32-E72D297353CC}">
                <c16:uniqueId val="{000000CD-C33E-4558-8ACB-7F5EA0664174}"/>
              </c:ext>
            </c:extLst>
          </c:dPt>
          <c:dPt>
            <c:idx val="102"/>
            <c:invertIfNegative val="1"/>
            <c:bubble3D val="0"/>
            <c:spPr>
              <a:solidFill>
                <a:srgbClr val="AEABAB"/>
              </a:solidFill>
            </c:spPr>
            <c:extLst>
              <c:ext xmlns:c16="http://schemas.microsoft.com/office/drawing/2014/chart" uri="{C3380CC4-5D6E-409C-BE32-E72D297353CC}">
                <c16:uniqueId val="{000000CF-C33E-4558-8ACB-7F5EA0664174}"/>
              </c:ext>
            </c:extLst>
          </c:dPt>
          <c:dPt>
            <c:idx val="103"/>
            <c:invertIfNegative val="1"/>
            <c:bubble3D val="0"/>
            <c:spPr>
              <a:solidFill>
                <a:srgbClr val="AEABAB"/>
              </a:solidFill>
            </c:spPr>
            <c:extLst>
              <c:ext xmlns:c16="http://schemas.microsoft.com/office/drawing/2014/chart" uri="{C3380CC4-5D6E-409C-BE32-E72D297353CC}">
                <c16:uniqueId val="{000000D1-C33E-4558-8ACB-7F5EA0664174}"/>
              </c:ext>
            </c:extLst>
          </c:dPt>
          <c:dPt>
            <c:idx val="104"/>
            <c:invertIfNegative val="1"/>
            <c:bubble3D val="0"/>
            <c:spPr>
              <a:solidFill>
                <a:srgbClr val="AEABAB"/>
              </a:solidFill>
            </c:spPr>
            <c:extLst>
              <c:ext xmlns:c16="http://schemas.microsoft.com/office/drawing/2014/chart" uri="{C3380CC4-5D6E-409C-BE32-E72D297353CC}">
                <c16:uniqueId val="{000000D3-C33E-4558-8ACB-7F5EA0664174}"/>
              </c:ext>
            </c:extLst>
          </c:dPt>
          <c:dPt>
            <c:idx val="105"/>
            <c:invertIfNegative val="1"/>
            <c:bubble3D val="0"/>
            <c:spPr>
              <a:solidFill>
                <a:srgbClr val="AEABAB"/>
              </a:solidFill>
            </c:spPr>
            <c:extLst>
              <c:ext xmlns:c16="http://schemas.microsoft.com/office/drawing/2014/chart" uri="{C3380CC4-5D6E-409C-BE32-E72D297353CC}">
                <c16:uniqueId val="{000000D5-C33E-4558-8ACB-7F5EA0664174}"/>
              </c:ext>
            </c:extLst>
          </c:dPt>
          <c:dPt>
            <c:idx val="106"/>
            <c:invertIfNegative val="1"/>
            <c:bubble3D val="0"/>
            <c:spPr>
              <a:solidFill>
                <a:srgbClr val="AEABAB"/>
              </a:solidFill>
            </c:spPr>
            <c:extLst>
              <c:ext xmlns:c16="http://schemas.microsoft.com/office/drawing/2014/chart" uri="{C3380CC4-5D6E-409C-BE32-E72D297353CC}">
                <c16:uniqueId val="{000000D7-C33E-4558-8ACB-7F5EA0664174}"/>
              </c:ext>
            </c:extLst>
          </c:dPt>
          <c:dPt>
            <c:idx val="107"/>
            <c:invertIfNegative val="1"/>
            <c:bubble3D val="0"/>
            <c:spPr>
              <a:solidFill>
                <a:srgbClr val="AEABAB"/>
              </a:solidFill>
            </c:spPr>
            <c:extLst>
              <c:ext xmlns:c16="http://schemas.microsoft.com/office/drawing/2014/chart" uri="{C3380CC4-5D6E-409C-BE32-E72D297353CC}">
                <c16:uniqueId val="{000000D9-C33E-4558-8ACB-7F5EA0664174}"/>
              </c:ext>
            </c:extLst>
          </c:dPt>
          <c:dPt>
            <c:idx val="108"/>
            <c:invertIfNegative val="1"/>
            <c:bubble3D val="0"/>
            <c:spPr>
              <a:solidFill>
                <a:srgbClr val="AEABAB"/>
              </a:solidFill>
            </c:spPr>
            <c:extLst>
              <c:ext xmlns:c16="http://schemas.microsoft.com/office/drawing/2014/chart" uri="{C3380CC4-5D6E-409C-BE32-E72D297353CC}">
                <c16:uniqueId val="{000000DB-C33E-4558-8ACB-7F5EA0664174}"/>
              </c:ext>
            </c:extLst>
          </c:dPt>
          <c:dPt>
            <c:idx val="109"/>
            <c:invertIfNegative val="1"/>
            <c:bubble3D val="0"/>
            <c:spPr>
              <a:solidFill>
                <a:srgbClr val="AEABAB"/>
              </a:solidFill>
            </c:spPr>
            <c:extLst>
              <c:ext xmlns:c16="http://schemas.microsoft.com/office/drawing/2014/chart" uri="{C3380CC4-5D6E-409C-BE32-E72D297353CC}">
                <c16:uniqueId val="{000000DD-C33E-4558-8ACB-7F5EA0664174}"/>
              </c:ext>
            </c:extLst>
          </c:dPt>
          <c:dPt>
            <c:idx val="110"/>
            <c:invertIfNegative val="1"/>
            <c:bubble3D val="0"/>
            <c:spPr>
              <a:solidFill>
                <a:srgbClr val="AEABAB"/>
              </a:solidFill>
            </c:spPr>
            <c:extLst>
              <c:ext xmlns:c16="http://schemas.microsoft.com/office/drawing/2014/chart" uri="{C3380CC4-5D6E-409C-BE32-E72D297353CC}">
                <c16:uniqueId val="{000000DF-C33E-4558-8ACB-7F5EA0664174}"/>
              </c:ext>
            </c:extLst>
          </c:dPt>
          <c:dPt>
            <c:idx val="111"/>
            <c:invertIfNegative val="1"/>
            <c:bubble3D val="0"/>
            <c:spPr>
              <a:solidFill>
                <a:srgbClr val="AEABAB"/>
              </a:solidFill>
            </c:spPr>
            <c:extLst>
              <c:ext xmlns:c16="http://schemas.microsoft.com/office/drawing/2014/chart" uri="{C3380CC4-5D6E-409C-BE32-E72D297353CC}">
                <c16:uniqueId val="{000000E1-C33E-4558-8ACB-7F5EA0664174}"/>
              </c:ext>
            </c:extLst>
          </c:dPt>
          <c:dPt>
            <c:idx val="112"/>
            <c:invertIfNegative val="1"/>
            <c:bubble3D val="0"/>
            <c:spPr>
              <a:solidFill>
                <a:srgbClr val="AEABAB"/>
              </a:solidFill>
            </c:spPr>
            <c:extLst>
              <c:ext xmlns:c16="http://schemas.microsoft.com/office/drawing/2014/chart" uri="{C3380CC4-5D6E-409C-BE32-E72D297353CC}">
                <c16:uniqueId val="{000000E3-C33E-4558-8ACB-7F5EA0664174}"/>
              </c:ext>
            </c:extLst>
          </c:dPt>
          <c:dPt>
            <c:idx val="113"/>
            <c:invertIfNegative val="1"/>
            <c:bubble3D val="0"/>
            <c:spPr>
              <a:solidFill>
                <a:srgbClr val="AEABAB"/>
              </a:solidFill>
            </c:spPr>
            <c:extLst>
              <c:ext xmlns:c16="http://schemas.microsoft.com/office/drawing/2014/chart" uri="{C3380CC4-5D6E-409C-BE32-E72D297353CC}">
                <c16:uniqueId val="{000000E5-C33E-4558-8ACB-7F5EA0664174}"/>
              </c:ext>
            </c:extLst>
          </c:dPt>
          <c:dPt>
            <c:idx val="114"/>
            <c:invertIfNegative val="1"/>
            <c:bubble3D val="0"/>
            <c:spPr>
              <a:solidFill>
                <a:srgbClr val="AEABAB"/>
              </a:solidFill>
            </c:spPr>
            <c:extLst>
              <c:ext xmlns:c16="http://schemas.microsoft.com/office/drawing/2014/chart" uri="{C3380CC4-5D6E-409C-BE32-E72D297353CC}">
                <c16:uniqueId val="{000000E7-C33E-4558-8ACB-7F5EA0664174}"/>
              </c:ext>
            </c:extLst>
          </c:dPt>
          <c:dPt>
            <c:idx val="115"/>
            <c:invertIfNegative val="1"/>
            <c:bubble3D val="0"/>
            <c:spPr>
              <a:solidFill>
                <a:srgbClr val="AEABAB"/>
              </a:solidFill>
            </c:spPr>
            <c:extLst>
              <c:ext xmlns:c16="http://schemas.microsoft.com/office/drawing/2014/chart" uri="{C3380CC4-5D6E-409C-BE32-E72D297353CC}">
                <c16:uniqueId val="{000000E9-C33E-4558-8ACB-7F5EA0664174}"/>
              </c:ext>
            </c:extLst>
          </c:dPt>
          <c:dPt>
            <c:idx val="116"/>
            <c:invertIfNegative val="1"/>
            <c:bubble3D val="0"/>
            <c:spPr>
              <a:solidFill>
                <a:srgbClr val="AEABAB"/>
              </a:solidFill>
            </c:spPr>
            <c:extLst>
              <c:ext xmlns:c16="http://schemas.microsoft.com/office/drawing/2014/chart" uri="{C3380CC4-5D6E-409C-BE32-E72D297353CC}">
                <c16:uniqueId val="{000000EB-C33E-4558-8ACB-7F5EA0664174}"/>
              </c:ext>
            </c:extLst>
          </c:dPt>
          <c:dPt>
            <c:idx val="117"/>
            <c:invertIfNegative val="1"/>
            <c:bubble3D val="0"/>
            <c:spPr>
              <a:solidFill>
                <a:srgbClr val="AEABAB"/>
              </a:solidFill>
            </c:spPr>
            <c:extLst>
              <c:ext xmlns:c16="http://schemas.microsoft.com/office/drawing/2014/chart" uri="{C3380CC4-5D6E-409C-BE32-E72D297353CC}">
                <c16:uniqueId val="{000000ED-C33E-4558-8ACB-7F5EA0664174}"/>
              </c:ext>
            </c:extLst>
          </c:dPt>
          <c:dPt>
            <c:idx val="118"/>
            <c:invertIfNegative val="1"/>
            <c:bubble3D val="0"/>
            <c:spPr>
              <a:solidFill>
                <a:srgbClr val="AEABAB"/>
              </a:solidFill>
            </c:spPr>
            <c:extLst>
              <c:ext xmlns:c16="http://schemas.microsoft.com/office/drawing/2014/chart" uri="{C3380CC4-5D6E-409C-BE32-E72D297353CC}">
                <c16:uniqueId val="{000000EF-C33E-4558-8ACB-7F5EA0664174}"/>
              </c:ext>
            </c:extLst>
          </c:dPt>
          <c:dPt>
            <c:idx val="119"/>
            <c:invertIfNegative val="1"/>
            <c:bubble3D val="0"/>
            <c:spPr>
              <a:solidFill>
                <a:srgbClr val="AEABAB"/>
              </a:solidFill>
            </c:spPr>
            <c:extLst>
              <c:ext xmlns:c16="http://schemas.microsoft.com/office/drawing/2014/chart" uri="{C3380CC4-5D6E-409C-BE32-E72D297353CC}">
                <c16:uniqueId val="{000000F1-C33E-4558-8ACB-7F5EA0664174}"/>
              </c:ext>
            </c:extLst>
          </c:dPt>
          <c:dPt>
            <c:idx val="120"/>
            <c:invertIfNegative val="1"/>
            <c:bubble3D val="0"/>
            <c:spPr>
              <a:solidFill>
                <a:srgbClr val="AEABAB"/>
              </a:solidFill>
            </c:spPr>
            <c:extLst>
              <c:ext xmlns:c16="http://schemas.microsoft.com/office/drawing/2014/chart" uri="{C3380CC4-5D6E-409C-BE32-E72D297353CC}">
                <c16:uniqueId val="{000000F3-C33E-4558-8ACB-7F5EA0664174}"/>
              </c:ext>
            </c:extLst>
          </c:dPt>
          <c:dPt>
            <c:idx val="121"/>
            <c:invertIfNegative val="1"/>
            <c:bubble3D val="0"/>
            <c:spPr>
              <a:solidFill>
                <a:srgbClr val="AEABAB"/>
              </a:solidFill>
            </c:spPr>
            <c:extLst>
              <c:ext xmlns:c16="http://schemas.microsoft.com/office/drawing/2014/chart" uri="{C3380CC4-5D6E-409C-BE32-E72D297353CC}">
                <c16:uniqueId val="{000000F5-C33E-4558-8ACB-7F5EA0664174}"/>
              </c:ext>
            </c:extLst>
          </c:dPt>
          <c:cat>
            <c:strRef>
              <c:f>Sheet1!$A$2:$A$123</c:f>
              <c:strCache>
                <c:ptCount val="122"/>
                <c:pt idx="0">
                  <c:v>La Vache Qui Rit Nature Fromage Fondu Boite Ronde 1X512Gr 32P</c:v>
                </c:pt>
                <c:pt idx="1">
                  <c:v>Mini Babybel Rouge Filet St Paulin Ferme 1X264Gr 12P</c:v>
                </c:pt>
                <c:pt idx="2">
                  <c:v>Kiri Creme Fromage Blanc Frais Carre 1X432Gr 24P</c:v>
                </c:pt>
                <c:pt idx="3">
                  <c:v>La Vache Qui Rit Nature Fromage Fondu Boite Ronde 1X384Gr 24P</c:v>
                </c:pt>
                <c:pt idx="4">
                  <c:v>Mini Babybel Rouge Filet St Paulin Ferme 1X132Gr 6P</c:v>
                </c:pt>
                <c:pt idx="5">
                  <c:v>Kiri Creme Fromage Blanc Frais Carre 1X216Gr 12P</c:v>
                </c:pt>
                <c:pt idx="6">
                  <c:v>La Vache Qui Rit Nature Fromage Fondu Boite Ronde 1X192Gr 12P</c:v>
                </c:pt>
                <c:pt idx="7">
                  <c:v>Kiri Gouter Fromage Blanc Dips Boite 1X175Gr 5P</c:v>
                </c:pt>
                <c:pt idx="8">
                  <c:v>Apericube Edition Limitee Best Of Foot Fromage Fondu Cube Assortis 1X250Gr 48P</c:v>
                </c:pt>
                <c:pt idx="9">
                  <c:v>Boursin Classique Fromage Frais A Tartiner Afh 1X160Gr 10P</c:v>
                </c:pt>
                <c:pt idx="10">
                  <c:v>Apericube Long Drink Fromage Fondu Cube Assortis 1X250Gr 48P</c:v>
                </c:pt>
                <c:pt idx="11">
                  <c:v>Apericube Cocktail Fromage Fondu Cube Assortis 1X250Gr 48P</c:v>
                </c:pt>
                <c:pt idx="12">
                  <c:v>Kiri Creme Fromage Blanc Frais Carre 1X144Gr 8P</c:v>
                </c:pt>
                <c:pt idx="13">
                  <c:v>Boursin Classique Fromage Frais A Tartiner Afh Boite 1X250Gr 1P</c:v>
                </c:pt>
                <c:pt idx="14">
                  <c:v>Kiri Gouter Fromage Blanc Dips Boite 1X280Gr 8P</c:v>
                </c:pt>
                <c:pt idx="15">
                  <c:v>Mini Babybel Rouge Filet Soft Cheese Enfant 484G</c:v>
                </c:pt>
                <c:pt idx="16">
                  <c:v>Mini Babybel Rouge Filet St Paulin Ferme 1X440Gr 20P</c:v>
                </c:pt>
                <c:pt idx="17">
                  <c:v>Apericube Incontournable Fromage Fondu Cube Assortis 1X250Gr 48P</c:v>
                </c:pt>
                <c:pt idx="18">
                  <c:v>Boursin Classique Fromage Frais A Tartiner Afh Boite 1X150Gr 1P</c:v>
                </c:pt>
                <c:pt idx="19">
                  <c:v>La Vache Qui Rit Nature Fromage Fondu Boite Ronde 1X512Gr 24+8P</c:v>
                </c:pt>
                <c:pt idx="20">
                  <c:v>Apericube Tonic Fromage Fondu Cube Assortis 1X250Gr 48P</c:v>
                </c:pt>
                <c:pt idx="21">
                  <c:v>Kiri Creme Fromage Blanc Frais Carre 1X432Gr 18+6P</c:v>
                </c:pt>
                <c:pt idx="22">
                  <c:v>Apericube Edition Limitee Saison Fromage Fondu Cube Assortis 1X250Gr 48P</c:v>
                </c:pt>
                <c:pt idx="23">
                  <c:v>Boursin Aperitif Roules Fromage Frais Roule Afh Et Jambon Fume Boite 1X100Gr 20P</c:v>
                </c:pt>
                <c:pt idx="24">
                  <c:v>La Vache Qui Rit Nature Fromage Fondu Boite Ronde 1X128Gr 8P</c:v>
                </c:pt>
                <c:pt idx="25">
                  <c:v>Apericube Carrement Toque Fromage Fondu Cube Assortis 1X250Gr 48P</c:v>
                </c:pt>
                <c:pt idx="26">
                  <c:v>Mini Babybel Rouge Filet Soft Cheese Enfant 352G</c:v>
                </c:pt>
                <c:pt idx="27">
                  <c:v>La Vache Qui Rit Pik Et Croq' Fromage Fondu Dips Boite 1X175Gr 5P</c:v>
                </c:pt>
                <c:pt idx="28">
                  <c:v>Apericube Nature Fromage Fondu Cube 1X125Gr 24P</c:v>
                </c:pt>
                <c:pt idx="29">
                  <c:v>Boursin Salade &amp; Aperitif Fromage Frais Des Afh 1X120Gr 1P</c:v>
                </c:pt>
                <c:pt idx="30">
                  <c:v>Mini Babybel Rouge Filet St Paulin Ferme 1X396Gr 12+6P</c:v>
                </c:pt>
                <c:pt idx="31">
                  <c:v>Apericube Edition Voyage Fromage Fondu Cube Assortis 1X250Gr 48P</c:v>
                </c:pt>
                <c:pt idx="32">
                  <c:v>La Vache Qui Rit Pik Et Croq' Fromage Fondu Dips Boite 1X280Gr 8P</c:v>
                </c:pt>
                <c:pt idx="33">
                  <c:v>Toastinette Fromage Fondu Tranche A Chaud Sachet 1X200Gr 10P</c:v>
                </c:pt>
                <c:pt idx="34">
                  <c:v>Apericube Campagne Fromage Fondu Cube Assortis 1X125Gr 24P</c:v>
                </c:pt>
                <c:pt idx="35">
                  <c:v>Toastinette Cheddar Fondu Tranche A Chaud Sachet 1X200Gr 10P</c:v>
                </c:pt>
                <c:pt idx="36">
                  <c:v>Port Salut St Paulin 1X320Gr 1P</c:v>
                </c:pt>
                <c:pt idx="37">
                  <c:v>Boursin Classique Fromage Frais A Tartiner Afh Boite 1X96Gr 6P</c:v>
                </c:pt>
                <c:pt idx="38">
                  <c:v>Boursin Aperitif Roules Fromage Frais Roule Ciboulette &amp; Echalote Jambon Fume Boite 1X100Gr 20P</c:v>
                </c:pt>
                <c:pt idx="39">
                  <c:v>Boursin Classique Fromage Frais A Tartiner Figue Et 3 Noix Boite 1X150Gr 1P</c:v>
                </c:pt>
                <c:pt idx="40">
                  <c:v>Kiri Delicieusement Fouette Fromage Frais A Tartiner 1X210Gr 1P</c:v>
                </c:pt>
                <c:pt idx="41">
                  <c:v>Boursin Classique Fromage Frais A Tartiner Ciboulette &amp; Echalote Boite 1X150Gr 1P</c:v>
                </c:pt>
                <c:pt idx="42">
                  <c:v>Apericube Best Of Des Saveurs Fromage Fondu Cube Assortis 1X125Gr 24P</c:v>
                </c:pt>
                <c:pt idx="43">
                  <c:v>Cousteron St Paulin 1X320Gr 1P</c:v>
                </c:pt>
                <c:pt idx="44">
                  <c:v>Mini Babybel Aros St Paulin Ferme Assortis Filet 1X180Gr 9P</c:v>
                </c:pt>
                <c:pt idx="45">
                  <c:v>Boursin Salade &amp; Aperitif Fromage Frais Des Ciboulette Echalote 1X120Gr 1P</c:v>
                </c:pt>
                <c:pt idx="46">
                  <c:v>Apericube Long Drink Fromage Fondu Cube Assortis 1X125Gr 24P</c:v>
                </c:pt>
                <c:pt idx="47">
                  <c:v>Babybel Mini Rolls St Paulin Ferme Sachet 1X85Gr 5P</c:v>
                </c:pt>
                <c:pt idx="48">
                  <c:v>La Vache Qui Rit Allegee Fromage Fondu Boite Ronde Allege 1X267Gr 16P</c:v>
                </c:pt>
                <c:pt idx="49">
                  <c:v>Babybel St Paulin 1X200Gr 1P</c:v>
                </c:pt>
                <c:pt idx="50">
                  <c:v>Boursin Onctueux Fromage Frais A Tartiner Afh 1X125Gr 1P</c:v>
                </c:pt>
                <c:pt idx="51">
                  <c:v>Apericube Charcut' Fromages Fromage Fondu Cube Assortis 1X250Gr 48P</c:v>
                </c:pt>
                <c:pt idx="52">
                  <c:v>Apericube Nature Fromage Fondu Cube 1X250Gr 48P</c:v>
                </c:pt>
                <c:pt idx="53">
                  <c:v>Kiri Delicieusement Fouette Fromage Frais A Tartiner 1X125Gr 1P</c:v>
                </c:pt>
                <c:pt idx="54">
                  <c:v>Babybel St Paulin 1X380Gr 1P</c:v>
                </c:pt>
                <c:pt idx="55">
                  <c:v>Boursin Cuisine Sauce Fromage Afh 1X240Gr 1P</c:v>
                </c:pt>
                <c:pt idx="56">
                  <c:v>Apericube Soiree Match Aperitif 250G</c:v>
                </c:pt>
                <c:pt idx="57">
                  <c:v>Apericube Selection Du Fromager Fromage Fondu Cube Assortis 1X250Gr 48P</c:v>
                </c:pt>
                <c:pt idx="58">
                  <c:v>Boursin Salade &amp; Aperitif Fromage Frais Des Figue Noix 1X120Gr 1P</c:v>
                </c:pt>
                <c:pt idx="59">
                  <c:v>Mini Babybel Aros Soft Cheese Enfant 180G</c:v>
                </c:pt>
                <c:pt idx="60">
                  <c:v>Kiri Bio Fromage Blanc Frais Carre 1X144Gr 8P</c:v>
                </c:pt>
                <c:pt idx="61">
                  <c:v>Apericube Sucre Sale Fromage Fondu Cube Assortis 1X250Gr 48P</c:v>
                </c:pt>
                <c:pt idx="62">
                  <c:v>Apericube Hot Chalenge Aperitif 250G</c:v>
                </c:pt>
                <c:pt idx="63">
                  <c:v>Boursin Classique Fromage Frais A Tartiner Afh 1X256Gr 16P</c:v>
                </c:pt>
                <c:pt idx="64">
                  <c:v>Kiri Delicieusement Fouette Fromage Frais A Tartiner 1X160Gr 10P</c:v>
                </c:pt>
                <c:pt idx="65">
                  <c:v>Boursin Classique Fromage Frais A Tartiner Afh Boite 1X80Gr 1P</c:v>
                </c:pt>
                <c:pt idx="66">
                  <c:v>Mini Babybel Aros St Paulin Ferme Raclette Filet 1X132Gr 6P</c:v>
                </c:pt>
                <c:pt idx="67">
                  <c:v>Mini Babybel Aros Soft Cheese Enfant 110G</c:v>
                </c:pt>
                <c:pt idx="68">
                  <c:v>Boursin Classique Fromage Frais A Tartiner Poivre Boite 1X150Gr 1P</c:v>
                </c:pt>
                <c:pt idx="69">
                  <c:v>Mini Babybel Aros St Paulin Ferme Emmental Filet 1X120Gr 6P</c:v>
                </c:pt>
                <c:pt idx="70">
                  <c:v>Nurishh Le Coeur Fleuri Vegetal Camembert Boite 1X140Gr 1P</c:v>
                </c:pt>
                <c:pt idx="71">
                  <c:v>Apericube Fromages Du Monde Aperitif 250G</c:v>
                </c:pt>
                <c:pt idx="72">
                  <c:v>La Vache Qui Rit Bio Fromage Fondu Boite Ronde 1X128Gr 8P</c:v>
                </c:pt>
                <c:pt idx="73">
                  <c:v>Apericube P'Tits Plaisirs Fromage Fondu Cube 3 Fromages &amp; Jambon Cru Olive Verte 1X78Gr 15P</c:v>
                </c:pt>
                <c:pt idx="74">
                  <c:v>Boursin Salade &amp; Aperitif Fromage Frais Des Citron Romarin 1X120Gr 1P</c:v>
                </c:pt>
                <c:pt idx="75">
                  <c:v>Nurishh Le Rape Vegetal Specialite Vegetale Sachet 1X150Gr 1P</c:v>
                </c:pt>
                <c:pt idx="76">
                  <c:v>Boursin Salade &amp; Aperitif Fromage Frais Des Noisette Et 3 Noix 1X120Gr 1P</c:v>
                </c:pt>
                <c:pt idx="77">
                  <c:v>Apericube Saveurs De L'Authentique Fromage Fondu Cube Assortis 1X250Gr 48P</c:v>
                </c:pt>
                <c:pt idx="78">
                  <c:v>Nurishh Le Palet Vegetal Specialite Vegetale Ovale Saveur Chevre Boite 1X140Gr 1P</c:v>
                </c:pt>
                <c:pt idx="79">
                  <c:v>Nurishh Les Tranches Vegetales Cheddar Vegetal Tranche Boite 1X160Gr 8P</c:v>
                </c:pt>
                <c:pt idx="80">
                  <c:v>Nurishh Les Tranches Vegetales Emmental Vegetal Tranche Boite 1X160Gr 8P</c:v>
                </c:pt>
                <c:pt idx="81">
                  <c:v>Nurishh Le Rape Vegetal Specialite Vegetale Emmental Sachet 1X150Gr 1P</c:v>
                </c:pt>
                <c:pt idx="82">
                  <c:v>Boursin Onctueux Fromage Frais A Tartiner Afh 1X210Gr 1P</c:v>
                </c:pt>
                <c:pt idx="83">
                  <c:v>Boursin Classique Fromage Frais A Tartiner 3 Noix Boite 1X150Gr 1P</c:v>
                </c:pt>
                <c:pt idx="84">
                  <c:v>Nurishh Le Rape Vegetal Mozzarella Vegetale Sachet 1X150Gr 1P</c:v>
                </c:pt>
                <c:pt idx="85">
                  <c:v>Boursin Salade &amp; Aperitif Soft Cheese Salade 120G</c:v>
                </c:pt>
                <c:pt idx="86">
                  <c:v>Port Salut St Paulin Tranche Boite 1X200Gr 6P</c:v>
                </c:pt>
                <c:pt idx="87">
                  <c:v>Apericube Jambon Fromage Fondu Cube 1X78Gr 15P</c:v>
                </c:pt>
                <c:pt idx="88">
                  <c:v>Nurishh Des Vegetaux Feta Vegetale Sachet 1X150Gr 1P</c:v>
                </c:pt>
                <c:pt idx="89">
                  <c:v>Apericube Montagne Aperitif 250G</c:v>
                </c:pt>
                <c:pt idx="90">
                  <c:v>Boursin Vegetal Specialite Vegetale A Tartiner Afh 1X130Gr 1P</c:v>
                </c:pt>
                <c:pt idx="91">
                  <c:v>La Vache Qui Rit Le Fondant Fromage Fondu 1X200Gr 1P</c:v>
                </c:pt>
                <c:pt idx="92">
                  <c:v>Mini Babybel Aros Soft Cheese Enfant 120G</c:v>
                </c:pt>
                <c:pt idx="93">
                  <c:v>Boursin Classique Fromage Frais A Tartiner Truffe Boite 1X150Gr 1P</c:v>
                </c:pt>
                <c:pt idx="94">
                  <c:v>Boursin Vegetal Alternative Vegetale 150G</c:v>
                </c:pt>
                <c:pt idx="95">
                  <c:v>Boursin Aperitif Roules Aperitif 100G</c:v>
                </c:pt>
                <c:pt idx="96">
                  <c:v>La Vache Qui Rit Aro Fromage Fondu Boite Ronde Jambon 1X133Gr 8P</c:v>
                </c:pt>
                <c:pt idx="97">
                  <c:v>Boursin Classique Fromage Frais A Tartiner Afh Boite 1X320Gr 16+4P</c:v>
                </c:pt>
                <c:pt idx="98">
                  <c:v>Nurishh Les Tranches Vegetales Specialite Vegetale Tranche Piment Boite 1X120Gr 6P</c:v>
                </c:pt>
                <c:pt idx="99">
                  <c:v>Toastinette Fromage Fondu Tranche A Chaud Sachet 1X340Gr 20P</c:v>
                </c:pt>
                <c:pt idx="100">
                  <c:v>Boursin Aperitif Roules Fromage Frais Roule Jambon Fume &amp; Trio De Noix Boite 1X100Gr 20P</c:v>
                </c:pt>
                <c:pt idx="101">
                  <c:v>Boursin Classique Fromage Frais A Tartiner 3 Noix 1X160Gr 10P</c:v>
                </c:pt>
                <c:pt idx="102">
                  <c:v>Toastinette Cheddar Fondu Tranche A Chaud Sachet 1X340Gr 20P</c:v>
                </c:pt>
                <c:pt idx="103">
                  <c:v>Nurishh Le Tartinable Vegetal Specialite Vegetale A Tartiner 1X130Gr 1P</c:v>
                </c:pt>
                <c:pt idx="104">
                  <c:v>Boursin Classique Fromage Frais A Tartiner Citron &amp; Romarin Boite 1X150Gr 1P</c:v>
                </c:pt>
                <c:pt idx="105">
                  <c:v>Port Salut St Paulin 1X185Gr 1P</c:v>
                </c:pt>
                <c:pt idx="106">
                  <c:v>Kiri Chevre Fromage Blanc Frais Carre 1X144Gr 8P</c:v>
                </c:pt>
                <c:pt idx="107">
                  <c:v>Nurishh Les Tranches Vegetales Cheddar Vegetal Tranche Boite 1X200Gr 10P</c:v>
                </c:pt>
                <c:pt idx="108">
                  <c:v>Nurishh Les Tranches Vegetales Emmental Vegetal Tranche Boite 1X200Gr 10P</c:v>
                </c:pt>
                <c:pt idx="109">
                  <c:v>Boursin Classique Fromage Frais A Tartiner Ciboulette &amp; Echalote 1X160Gr 10P</c:v>
                </c:pt>
                <c:pt idx="110">
                  <c:v>Mini Babybel Rouge Filet St Paulin Ferme Sachet 1X40Gr 1P</c:v>
                </c:pt>
                <c:pt idx="111">
                  <c:v>Mini Babybel Bio St Paulin Ferme Filet 1X100Gr 5P</c:v>
                </c:pt>
                <c:pt idx="112">
                  <c:v>Cousteron St Paulin 1X460Gr 1P</c:v>
                </c:pt>
                <c:pt idx="113">
                  <c:v>Mini Babybel Rouge Filet St Paulin Ferme 1X110Gr 5P</c:v>
                </c:pt>
                <c:pt idx="114">
                  <c:v>Port Salut Pause Fondante Specialite Roux Sachet 1X180Gr 1P</c:v>
                </c:pt>
                <c:pt idx="115">
                  <c:v>Limiano Queijo Flamengo Tranche Sachet 1X200Gr 1P</c:v>
                </c:pt>
                <c:pt idx="116">
                  <c:v>Limiano Queijo Flamengo Bloc 1X600Gr 1P</c:v>
                </c:pt>
                <c:pt idx="117">
                  <c:v>Limiano Queijo Flamengo Autre Sachet 1X450Gr 1P</c:v>
                </c:pt>
                <c:pt idx="118">
                  <c:v>Nurishh Le Rape Vegetal Specialite Vegetale Sachet 1X200Gr 1P</c:v>
                </c:pt>
                <c:pt idx="119">
                  <c:v>Nurishh Le Rape Vegetal Mozzarella Vegetale Sachet 1X200Gr 1P</c:v>
                </c:pt>
                <c:pt idx="120">
                  <c:v>Boursin Aperitif Roules Fromage Frais Roule Basilic &amp; Jambon Fume Tomate Boite 1X100Gr 20P</c:v>
                </c:pt>
                <c:pt idx="121">
                  <c:v>Mini Babybel Rouge Filet St Paulin Ferme 1X396Gr 18P</c:v>
                </c:pt>
              </c:strCache>
            </c:strRef>
          </c:cat>
          <c:val>
            <c:numRef>
              <c:f>Sheet1!$C$2:$C$123</c:f>
              <c:numCache>
                <c:formatCode>General</c:formatCode>
                <c:ptCount val="122"/>
                <c:pt idx="0">
                  <c:v>0.13336884867209101</c:v>
                </c:pt>
                <c:pt idx="1">
                  <c:v>0.20961355037806173</c:v>
                </c:pt>
                <c:pt idx="2">
                  <c:v>0.28321457823988738</c:v>
                </c:pt>
                <c:pt idx="3">
                  <c:v>0.33085439138906758</c:v>
                </c:pt>
                <c:pt idx="4">
                  <c:v>0.36447328302707577</c:v>
                </c:pt>
                <c:pt idx="5">
                  <c:v>0.3962038268864671</c:v>
                </c:pt>
                <c:pt idx="6">
                  <c:v>0.42343988875353927</c:v>
                </c:pt>
                <c:pt idx="7">
                  <c:v>0.44775586637854969</c:v>
                </c:pt>
                <c:pt idx="8">
                  <c:v>0.47126982985725102</c:v>
                </c:pt>
                <c:pt idx="9">
                  <c:v>0.49453870944979961</c:v>
                </c:pt>
                <c:pt idx="10">
                  <c:v>0.51624253543120613</c:v>
                </c:pt>
                <c:pt idx="11">
                  <c:v>0.53691004257029962</c:v>
                </c:pt>
                <c:pt idx="12">
                  <c:v>0.55614372173081961</c:v>
                </c:pt>
                <c:pt idx="13">
                  <c:v>0.57491687996879282</c:v>
                </c:pt>
                <c:pt idx="14">
                  <c:v>0.59287760363306652</c:v>
                </c:pt>
                <c:pt idx="15">
                  <c:v>0.60913077964153761</c:v>
                </c:pt>
                <c:pt idx="16">
                  <c:v>0.62505738369551433</c:v>
                </c:pt>
                <c:pt idx="17">
                  <c:v>0.64093224437529706</c:v>
                </c:pt>
                <c:pt idx="18">
                  <c:v>0.65678782971051708</c:v>
                </c:pt>
                <c:pt idx="19">
                  <c:v>0.67188523518554011</c:v>
                </c:pt>
                <c:pt idx="20">
                  <c:v>0.68668732998824022</c:v>
                </c:pt>
                <c:pt idx="21">
                  <c:v>0.69985323830925483</c:v>
                </c:pt>
                <c:pt idx="22">
                  <c:v>0.71279677894967997</c:v>
                </c:pt>
                <c:pt idx="23">
                  <c:v>0.72560216331334104</c:v>
                </c:pt>
                <c:pt idx="24">
                  <c:v>0.7381918497222385</c:v>
                </c:pt>
                <c:pt idx="25">
                  <c:v>0.75059131033221571</c:v>
                </c:pt>
                <c:pt idx="26">
                  <c:v>0.76245608397305487</c:v>
                </c:pt>
                <c:pt idx="27">
                  <c:v>0.77426544507512574</c:v>
                </c:pt>
                <c:pt idx="28">
                  <c:v>0.78602167667416345</c:v>
                </c:pt>
                <c:pt idx="29">
                  <c:v>0.79669146048910666</c:v>
                </c:pt>
                <c:pt idx="30">
                  <c:v>0.80652138068673407</c:v>
                </c:pt>
                <c:pt idx="31">
                  <c:v>0.8160467113025156</c:v>
                </c:pt>
                <c:pt idx="32">
                  <c:v>0.82326164236926846</c:v>
                </c:pt>
                <c:pt idx="33">
                  <c:v>0.8304116047619623</c:v>
                </c:pt>
                <c:pt idx="34">
                  <c:v>0.83753255629342349</c:v>
                </c:pt>
                <c:pt idx="35">
                  <c:v>0.84463506415762546</c:v>
                </c:pt>
                <c:pt idx="36">
                  <c:v>0.85167553867942769</c:v>
                </c:pt>
                <c:pt idx="37">
                  <c:v>0.85865003346848834</c:v>
                </c:pt>
                <c:pt idx="38">
                  <c:v>0.86485866761284347</c:v>
                </c:pt>
                <c:pt idx="39">
                  <c:v>0.87088839329256473</c:v>
                </c:pt>
                <c:pt idx="40">
                  <c:v>0.87625990346248606</c:v>
                </c:pt>
                <c:pt idx="41">
                  <c:v>0.88155207814061598</c:v>
                </c:pt>
                <c:pt idx="42">
                  <c:v>0.88664632992791903</c:v>
                </c:pt>
                <c:pt idx="43">
                  <c:v>0.89157245244073713</c:v>
                </c:pt>
                <c:pt idx="44">
                  <c:v>0.89642890974884137</c:v>
                </c:pt>
                <c:pt idx="45">
                  <c:v>0.90090021892845029</c:v>
                </c:pt>
                <c:pt idx="46">
                  <c:v>0.90532805258470539</c:v>
                </c:pt>
                <c:pt idx="47">
                  <c:v>0.90973599121526982</c:v>
                </c:pt>
                <c:pt idx="48">
                  <c:v>0.91410860802153404</c:v>
                </c:pt>
                <c:pt idx="49">
                  <c:v>0.91840937443173809</c:v>
                </c:pt>
                <c:pt idx="50">
                  <c:v>0.92270066624364189</c:v>
                </c:pt>
                <c:pt idx="51">
                  <c:v>0.92664780672589175</c:v>
                </c:pt>
                <c:pt idx="52">
                  <c:v>0.93044067922204776</c:v>
                </c:pt>
                <c:pt idx="53">
                  <c:v>0.93399883933724714</c:v>
                </c:pt>
                <c:pt idx="54">
                  <c:v>0.93742078375605731</c:v>
                </c:pt>
                <c:pt idx="55">
                  <c:v>0.94056106679476026</c:v>
                </c:pt>
                <c:pt idx="56">
                  <c:v>0.94354466835244943</c:v>
                </c:pt>
                <c:pt idx="57">
                  <c:v>0.94619869739439255</c:v>
                </c:pt>
                <c:pt idx="58">
                  <c:v>0.94874728280017473</c:v>
                </c:pt>
                <c:pt idx="59">
                  <c:v>0.95121581518864873</c:v>
                </c:pt>
                <c:pt idx="60">
                  <c:v>0.9535290685323462</c:v>
                </c:pt>
                <c:pt idx="61">
                  <c:v>0.9557131020534424</c:v>
                </c:pt>
                <c:pt idx="62">
                  <c:v>0.95780291142827534</c:v>
                </c:pt>
                <c:pt idx="63">
                  <c:v>0.95986054630664275</c:v>
                </c:pt>
                <c:pt idx="64">
                  <c:v>0.96189628034935226</c:v>
                </c:pt>
                <c:pt idx="65">
                  <c:v>0.9638599519998261</c:v>
                </c:pt>
                <c:pt idx="66">
                  <c:v>0.96574251065211492</c:v>
                </c:pt>
                <c:pt idx="67">
                  <c:v>0.96728112997092519</c:v>
                </c:pt>
                <c:pt idx="68">
                  <c:v>0.96870077051314551</c:v>
                </c:pt>
                <c:pt idx="69">
                  <c:v>0.97008261050655342</c:v>
                </c:pt>
                <c:pt idx="70">
                  <c:v>0.97143258584405989</c:v>
                </c:pt>
                <c:pt idx="71">
                  <c:v>0.97277228752075884</c:v>
                </c:pt>
                <c:pt idx="72">
                  <c:v>0.97410913540278898</c:v>
                </c:pt>
                <c:pt idx="73">
                  <c:v>0.97542946389053664</c:v>
                </c:pt>
                <c:pt idx="74">
                  <c:v>0.97673796951465652</c:v>
                </c:pt>
                <c:pt idx="75">
                  <c:v>0.97792772466575995</c:v>
                </c:pt>
                <c:pt idx="76">
                  <c:v>0.97903652989265932</c:v>
                </c:pt>
                <c:pt idx="77">
                  <c:v>0.98014076904808878</c:v>
                </c:pt>
                <c:pt idx="78">
                  <c:v>0.98119796135997894</c:v>
                </c:pt>
                <c:pt idx="79">
                  <c:v>0.98222669726217215</c:v>
                </c:pt>
                <c:pt idx="80">
                  <c:v>0.98324310477139631</c:v>
                </c:pt>
                <c:pt idx="81">
                  <c:v>0.98424410178940924</c:v>
                </c:pt>
                <c:pt idx="82">
                  <c:v>0.98523056891570859</c:v>
                </c:pt>
                <c:pt idx="83">
                  <c:v>0.98618296988736209</c:v>
                </c:pt>
                <c:pt idx="84">
                  <c:v>0.98712106927087562</c:v>
                </c:pt>
                <c:pt idx="85">
                  <c:v>0.98803138084801445</c:v>
                </c:pt>
                <c:pt idx="86">
                  <c:v>0.9888015792606164</c:v>
                </c:pt>
                <c:pt idx="87">
                  <c:v>0.98956452088106073</c:v>
                </c:pt>
                <c:pt idx="88">
                  <c:v>0.99027480591301698</c:v>
                </c:pt>
                <c:pt idx="89">
                  <c:v>0.990971979796895</c:v>
                </c:pt>
                <c:pt idx="90">
                  <c:v>0.9916369954917057</c:v>
                </c:pt>
                <c:pt idx="91">
                  <c:v>0.9922939553318515</c:v>
                </c:pt>
                <c:pt idx="92">
                  <c:v>0.99284563460981734</c:v>
                </c:pt>
                <c:pt idx="93">
                  <c:v>0.99336235082624136</c:v>
                </c:pt>
                <c:pt idx="94">
                  <c:v>0.99387538157069311</c:v>
                </c:pt>
                <c:pt idx="95">
                  <c:v>0.99438609666461364</c:v>
                </c:pt>
                <c:pt idx="96">
                  <c:v>0.99487606874814194</c:v>
                </c:pt>
                <c:pt idx="97">
                  <c:v>0.99533838348448045</c:v>
                </c:pt>
                <c:pt idx="98">
                  <c:v>0.99578486373725683</c:v>
                </c:pt>
                <c:pt idx="99">
                  <c:v>0.99622824558439282</c:v>
                </c:pt>
                <c:pt idx="100">
                  <c:v>0.99664889491856745</c:v>
                </c:pt>
                <c:pt idx="101">
                  <c:v>0.99706833750528212</c:v>
                </c:pt>
                <c:pt idx="102">
                  <c:v>0.99747546800642595</c:v>
                </c:pt>
                <c:pt idx="103">
                  <c:v>0.99784373797788029</c:v>
                </c:pt>
                <c:pt idx="104">
                  <c:v>0.9981090267302879</c:v>
                </c:pt>
                <c:pt idx="105">
                  <c:v>0.99835135466616054</c:v>
                </c:pt>
                <c:pt idx="106">
                  <c:v>0.99859353583545019</c:v>
                </c:pt>
                <c:pt idx="107">
                  <c:v>0.99882245909007872</c:v>
                </c:pt>
                <c:pt idx="108">
                  <c:v>0.99904810455768778</c:v>
                </c:pt>
                <c:pt idx="109">
                  <c:v>0.99926827073953273</c:v>
                </c:pt>
                <c:pt idx="110">
                  <c:v>0.99945014715062208</c:v>
                </c:pt>
                <c:pt idx="111">
                  <c:v>0.99961892872103142</c:v>
                </c:pt>
                <c:pt idx="112">
                  <c:v>0.99978581863326033</c:v>
                </c:pt>
                <c:pt idx="113">
                  <c:v>0.99984594401008153</c:v>
                </c:pt>
                <c:pt idx="114">
                  <c:v>0.99990463433586929</c:v>
                </c:pt>
                <c:pt idx="115">
                  <c:v>0.99994939814367345</c:v>
                </c:pt>
                <c:pt idx="116">
                  <c:v>0.99998533964910163</c:v>
                </c:pt>
                <c:pt idx="117">
                  <c:v>0.99999341181116463</c:v>
                </c:pt>
                <c:pt idx="118">
                  <c:v>0.99999525454715077</c:v>
                </c:pt>
                <c:pt idx="119">
                  <c:v>0.99999688528696151</c:v>
                </c:pt>
                <c:pt idx="120">
                  <c:v>0.99999924985968702</c:v>
                </c:pt>
                <c:pt idx="121">
                  <c:v>0.99999970646683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3</c:f>
              <c:strCache>
                <c:ptCount val="122"/>
                <c:pt idx="0">
                  <c:v>La Vache Qui Rit Nature Fromage Fondu Boite Ronde 1X512Gr 32P</c:v>
                </c:pt>
                <c:pt idx="1">
                  <c:v>Mini Babybel Rouge Filet St Paulin Ferme 1X264Gr 12P</c:v>
                </c:pt>
                <c:pt idx="2">
                  <c:v>Kiri Creme Fromage Blanc Frais Carre 1X432Gr 24P</c:v>
                </c:pt>
                <c:pt idx="3">
                  <c:v>La Vache Qui Rit Nature Fromage Fondu Boite Ronde 1X384Gr 24P</c:v>
                </c:pt>
                <c:pt idx="4">
                  <c:v>Mini Babybel Rouge Filet St Paulin Ferme 1X132Gr 6P</c:v>
                </c:pt>
                <c:pt idx="5">
                  <c:v>Kiri Creme Fromage Blanc Frais Carre 1X216Gr 12P</c:v>
                </c:pt>
                <c:pt idx="6">
                  <c:v>La Vache Qui Rit Nature Fromage Fondu Boite Ronde 1X192Gr 12P</c:v>
                </c:pt>
                <c:pt idx="7">
                  <c:v>Kiri Gouter Fromage Blanc Dips Boite 1X175Gr 5P</c:v>
                </c:pt>
                <c:pt idx="8">
                  <c:v>Apericube Edition Limitee Best Of Foot Fromage Fondu Cube Assortis 1X250Gr 48P</c:v>
                </c:pt>
                <c:pt idx="9">
                  <c:v>Boursin Classique Fromage Frais A Tartiner Afh 1X160Gr 10P</c:v>
                </c:pt>
                <c:pt idx="10">
                  <c:v>Apericube Long Drink Fromage Fondu Cube Assortis 1X250Gr 48P</c:v>
                </c:pt>
                <c:pt idx="11">
                  <c:v>Apericube Cocktail Fromage Fondu Cube Assortis 1X250Gr 48P</c:v>
                </c:pt>
                <c:pt idx="12">
                  <c:v>Kiri Creme Fromage Blanc Frais Carre 1X144Gr 8P</c:v>
                </c:pt>
                <c:pt idx="13">
                  <c:v>Boursin Classique Fromage Frais A Tartiner Afh Boite 1X250Gr 1P</c:v>
                </c:pt>
                <c:pt idx="14">
                  <c:v>Kiri Gouter Fromage Blanc Dips Boite 1X280Gr 8P</c:v>
                </c:pt>
                <c:pt idx="15">
                  <c:v>Mini Babybel Rouge Filet Soft Cheese Enfant 484G</c:v>
                </c:pt>
                <c:pt idx="16">
                  <c:v>Mini Babybel Rouge Filet St Paulin Ferme 1X440Gr 20P</c:v>
                </c:pt>
                <c:pt idx="17">
                  <c:v>Apericube Incontournable Fromage Fondu Cube Assortis 1X250Gr 48P</c:v>
                </c:pt>
                <c:pt idx="18">
                  <c:v>Boursin Classique Fromage Frais A Tartiner Afh Boite 1X150Gr 1P</c:v>
                </c:pt>
                <c:pt idx="19">
                  <c:v>La Vache Qui Rit Nature Fromage Fondu Boite Ronde 1X512Gr 24+8P</c:v>
                </c:pt>
                <c:pt idx="20">
                  <c:v>Apericube Tonic Fromage Fondu Cube Assortis 1X250Gr 48P</c:v>
                </c:pt>
                <c:pt idx="21">
                  <c:v>Kiri Creme Fromage Blanc Frais Carre 1X432Gr 18+6P</c:v>
                </c:pt>
                <c:pt idx="22">
                  <c:v>Apericube Edition Limitee Saison Fromage Fondu Cube Assortis 1X250Gr 48P</c:v>
                </c:pt>
                <c:pt idx="23">
                  <c:v>Boursin Aperitif Roules Fromage Frais Roule Afh Et Jambon Fume Boite 1X100Gr 20P</c:v>
                </c:pt>
                <c:pt idx="24">
                  <c:v>La Vache Qui Rit Nature Fromage Fondu Boite Ronde 1X128Gr 8P</c:v>
                </c:pt>
                <c:pt idx="25">
                  <c:v>Apericube Carrement Toque Fromage Fondu Cube Assortis 1X250Gr 48P</c:v>
                </c:pt>
                <c:pt idx="26">
                  <c:v>Mini Babybel Rouge Filet Soft Cheese Enfant 352G</c:v>
                </c:pt>
                <c:pt idx="27">
                  <c:v>La Vache Qui Rit Pik Et Croq' Fromage Fondu Dips Boite 1X175Gr 5P</c:v>
                </c:pt>
                <c:pt idx="28">
                  <c:v>Apericube Nature Fromage Fondu Cube 1X125Gr 24P</c:v>
                </c:pt>
                <c:pt idx="29">
                  <c:v>Boursin Salade &amp; Aperitif Fromage Frais Des Afh 1X120Gr 1P</c:v>
                </c:pt>
                <c:pt idx="30">
                  <c:v>Mini Babybel Rouge Filet St Paulin Ferme 1X396Gr 12+6P</c:v>
                </c:pt>
                <c:pt idx="31">
                  <c:v>Apericube Edition Voyage Fromage Fondu Cube Assortis 1X250Gr 48P</c:v>
                </c:pt>
                <c:pt idx="32">
                  <c:v>La Vache Qui Rit Pik Et Croq' Fromage Fondu Dips Boite 1X280Gr 8P</c:v>
                </c:pt>
                <c:pt idx="33">
                  <c:v>Toastinette Fromage Fondu Tranche A Chaud Sachet 1X200Gr 10P</c:v>
                </c:pt>
                <c:pt idx="34">
                  <c:v>Apericube Campagne Fromage Fondu Cube Assortis 1X125Gr 24P</c:v>
                </c:pt>
                <c:pt idx="35">
                  <c:v>Toastinette Cheddar Fondu Tranche A Chaud Sachet 1X200Gr 10P</c:v>
                </c:pt>
                <c:pt idx="36">
                  <c:v>Port Salut St Paulin 1X320Gr 1P</c:v>
                </c:pt>
                <c:pt idx="37">
                  <c:v>Boursin Classique Fromage Frais A Tartiner Afh Boite 1X96Gr 6P</c:v>
                </c:pt>
                <c:pt idx="38">
                  <c:v>Boursin Aperitif Roules Fromage Frais Roule Ciboulette &amp; Echalote Jambon Fume Boite 1X100Gr 20P</c:v>
                </c:pt>
                <c:pt idx="39">
                  <c:v>Boursin Classique Fromage Frais A Tartiner Figue Et 3 Noix Boite 1X150Gr 1P</c:v>
                </c:pt>
                <c:pt idx="40">
                  <c:v>Kiri Delicieusement Fouette Fromage Frais A Tartiner 1X210Gr 1P</c:v>
                </c:pt>
                <c:pt idx="41">
                  <c:v>Boursin Classique Fromage Frais A Tartiner Ciboulette &amp; Echalote Boite 1X150Gr 1P</c:v>
                </c:pt>
                <c:pt idx="42">
                  <c:v>Apericube Best Of Des Saveurs Fromage Fondu Cube Assortis 1X125Gr 24P</c:v>
                </c:pt>
                <c:pt idx="43">
                  <c:v>Cousteron St Paulin 1X320Gr 1P</c:v>
                </c:pt>
                <c:pt idx="44">
                  <c:v>Mini Babybel Aros St Paulin Ferme Assortis Filet 1X180Gr 9P</c:v>
                </c:pt>
                <c:pt idx="45">
                  <c:v>Boursin Salade &amp; Aperitif Fromage Frais Des Ciboulette Echalote 1X120Gr 1P</c:v>
                </c:pt>
                <c:pt idx="46">
                  <c:v>Apericube Long Drink Fromage Fondu Cube Assortis 1X125Gr 24P</c:v>
                </c:pt>
                <c:pt idx="47">
                  <c:v>Babybel Mini Rolls St Paulin Ferme Sachet 1X85Gr 5P</c:v>
                </c:pt>
                <c:pt idx="48">
                  <c:v>La Vache Qui Rit Allegee Fromage Fondu Boite Ronde Allege 1X267Gr 16P</c:v>
                </c:pt>
                <c:pt idx="49">
                  <c:v>Babybel St Paulin 1X200Gr 1P</c:v>
                </c:pt>
                <c:pt idx="50">
                  <c:v>Boursin Onctueux Fromage Frais A Tartiner Afh 1X125Gr 1P</c:v>
                </c:pt>
                <c:pt idx="51">
                  <c:v>Apericube Charcut' Fromages Fromage Fondu Cube Assortis 1X250Gr 48P</c:v>
                </c:pt>
                <c:pt idx="52">
                  <c:v>Apericube Nature Fromage Fondu Cube 1X250Gr 48P</c:v>
                </c:pt>
                <c:pt idx="53">
                  <c:v>Kiri Delicieusement Fouette Fromage Frais A Tartiner 1X125Gr 1P</c:v>
                </c:pt>
                <c:pt idx="54">
                  <c:v>Babybel St Paulin 1X380Gr 1P</c:v>
                </c:pt>
                <c:pt idx="55">
                  <c:v>Boursin Cuisine Sauce Fromage Afh 1X240Gr 1P</c:v>
                </c:pt>
                <c:pt idx="56">
                  <c:v>Apericube Soiree Match Aperitif 250G</c:v>
                </c:pt>
                <c:pt idx="57">
                  <c:v>Apericube Selection Du Fromager Fromage Fondu Cube Assortis 1X250Gr 48P</c:v>
                </c:pt>
                <c:pt idx="58">
                  <c:v>Boursin Salade &amp; Aperitif Fromage Frais Des Figue Noix 1X120Gr 1P</c:v>
                </c:pt>
                <c:pt idx="59">
                  <c:v>Mini Babybel Aros Soft Cheese Enfant 180G</c:v>
                </c:pt>
                <c:pt idx="60">
                  <c:v>Kiri Bio Fromage Blanc Frais Carre 1X144Gr 8P</c:v>
                </c:pt>
                <c:pt idx="61">
                  <c:v>Apericube Sucre Sale Fromage Fondu Cube Assortis 1X250Gr 48P</c:v>
                </c:pt>
                <c:pt idx="62">
                  <c:v>Apericube Hot Chalenge Aperitif 250G</c:v>
                </c:pt>
                <c:pt idx="63">
                  <c:v>Boursin Classique Fromage Frais A Tartiner Afh 1X256Gr 16P</c:v>
                </c:pt>
                <c:pt idx="64">
                  <c:v>Kiri Delicieusement Fouette Fromage Frais A Tartiner 1X160Gr 10P</c:v>
                </c:pt>
                <c:pt idx="65">
                  <c:v>Boursin Classique Fromage Frais A Tartiner Afh Boite 1X80Gr 1P</c:v>
                </c:pt>
                <c:pt idx="66">
                  <c:v>Mini Babybel Aros St Paulin Ferme Raclette Filet 1X132Gr 6P</c:v>
                </c:pt>
                <c:pt idx="67">
                  <c:v>Mini Babybel Aros Soft Cheese Enfant 110G</c:v>
                </c:pt>
                <c:pt idx="68">
                  <c:v>Boursin Classique Fromage Frais A Tartiner Poivre Boite 1X150Gr 1P</c:v>
                </c:pt>
                <c:pt idx="69">
                  <c:v>Mini Babybel Aros St Paulin Ferme Emmental Filet 1X120Gr 6P</c:v>
                </c:pt>
                <c:pt idx="70">
                  <c:v>Nurishh Le Coeur Fleuri Vegetal Camembert Boite 1X140Gr 1P</c:v>
                </c:pt>
                <c:pt idx="71">
                  <c:v>Apericube Fromages Du Monde Aperitif 250G</c:v>
                </c:pt>
                <c:pt idx="72">
                  <c:v>La Vache Qui Rit Bio Fromage Fondu Boite Ronde 1X128Gr 8P</c:v>
                </c:pt>
                <c:pt idx="73">
                  <c:v>Apericube P'Tits Plaisirs Fromage Fondu Cube 3 Fromages &amp; Jambon Cru Olive Verte 1X78Gr 15P</c:v>
                </c:pt>
                <c:pt idx="74">
                  <c:v>Boursin Salade &amp; Aperitif Fromage Frais Des Citron Romarin 1X120Gr 1P</c:v>
                </c:pt>
                <c:pt idx="75">
                  <c:v>Nurishh Le Rape Vegetal Specialite Vegetale Sachet 1X150Gr 1P</c:v>
                </c:pt>
                <c:pt idx="76">
                  <c:v>Boursin Salade &amp; Aperitif Fromage Frais Des Noisette Et 3 Noix 1X120Gr 1P</c:v>
                </c:pt>
                <c:pt idx="77">
                  <c:v>Apericube Saveurs De L'Authentique Fromage Fondu Cube Assortis 1X250Gr 48P</c:v>
                </c:pt>
                <c:pt idx="78">
                  <c:v>Nurishh Le Palet Vegetal Specialite Vegetale Ovale Saveur Chevre Boite 1X140Gr 1P</c:v>
                </c:pt>
                <c:pt idx="79">
                  <c:v>Nurishh Les Tranches Vegetales Cheddar Vegetal Tranche Boite 1X160Gr 8P</c:v>
                </c:pt>
                <c:pt idx="80">
                  <c:v>Nurishh Les Tranches Vegetales Emmental Vegetal Tranche Boite 1X160Gr 8P</c:v>
                </c:pt>
                <c:pt idx="81">
                  <c:v>Nurishh Le Rape Vegetal Specialite Vegetale Emmental Sachet 1X150Gr 1P</c:v>
                </c:pt>
                <c:pt idx="82">
                  <c:v>Boursin Onctueux Fromage Frais A Tartiner Afh 1X210Gr 1P</c:v>
                </c:pt>
                <c:pt idx="83">
                  <c:v>Boursin Classique Fromage Frais A Tartiner 3 Noix Boite 1X150Gr 1P</c:v>
                </c:pt>
                <c:pt idx="84">
                  <c:v>Nurishh Le Rape Vegetal Mozzarella Vegetale Sachet 1X150Gr 1P</c:v>
                </c:pt>
                <c:pt idx="85">
                  <c:v>Boursin Salade &amp; Aperitif Soft Cheese Salade 120G</c:v>
                </c:pt>
                <c:pt idx="86">
                  <c:v>Port Salut St Paulin Tranche Boite 1X200Gr 6P</c:v>
                </c:pt>
                <c:pt idx="87">
                  <c:v>Apericube Jambon Fromage Fondu Cube 1X78Gr 15P</c:v>
                </c:pt>
                <c:pt idx="88">
                  <c:v>Nurishh Des Vegetaux Feta Vegetale Sachet 1X150Gr 1P</c:v>
                </c:pt>
                <c:pt idx="89">
                  <c:v>Apericube Montagne Aperitif 250G</c:v>
                </c:pt>
                <c:pt idx="90">
                  <c:v>Boursin Vegetal Specialite Vegetale A Tartiner Afh 1X130Gr 1P</c:v>
                </c:pt>
                <c:pt idx="91">
                  <c:v>La Vache Qui Rit Le Fondant Fromage Fondu 1X200Gr 1P</c:v>
                </c:pt>
                <c:pt idx="92">
                  <c:v>Mini Babybel Aros Soft Cheese Enfant 120G</c:v>
                </c:pt>
                <c:pt idx="93">
                  <c:v>Boursin Classique Fromage Frais A Tartiner Truffe Boite 1X150Gr 1P</c:v>
                </c:pt>
                <c:pt idx="94">
                  <c:v>Boursin Vegetal Alternative Vegetale 150G</c:v>
                </c:pt>
                <c:pt idx="95">
                  <c:v>Boursin Aperitif Roules Aperitif 100G</c:v>
                </c:pt>
                <c:pt idx="96">
                  <c:v>La Vache Qui Rit Aro Fromage Fondu Boite Ronde Jambon 1X133Gr 8P</c:v>
                </c:pt>
                <c:pt idx="97">
                  <c:v>Boursin Classique Fromage Frais A Tartiner Afh Boite 1X320Gr 16+4P</c:v>
                </c:pt>
                <c:pt idx="98">
                  <c:v>Nurishh Les Tranches Vegetales Specialite Vegetale Tranche Piment Boite 1X120Gr 6P</c:v>
                </c:pt>
                <c:pt idx="99">
                  <c:v>Toastinette Fromage Fondu Tranche A Chaud Sachet 1X340Gr 20P</c:v>
                </c:pt>
                <c:pt idx="100">
                  <c:v>Boursin Aperitif Roules Fromage Frais Roule Jambon Fume &amp; Trio De Noix Boite 1X100Gr 20P</c:v>
                </c:pt>
                <c:pt idx="101">
                  <c:v>Boursin Classique Fromage Frais A Tartiner 3 Noix 1X160Gr 10P</c:v>
                </c:pt>
                <c:pt idx="102">
                  <c:v>Toastinette Cheddar Fondu Tranche A Chaud Sachet 1X340Gr 20P</c:v>
                </c:pt>
                <c:pt idx="103">
                  <c:v>Nurishh Le Tartinable Vegetal Specialite Vegetale A Tartiner 1X130Gr 1P</c:v>
                </c:pt>
                <c:pt idx="104">
                  <c:v>Boursin Classique Fromage Frais A Tartiner Citron &amp; Romarin Boite 1X150Gr 1P</c:v>
                </c:pt>
                <c:pt idx="105">
                  <c:v>Port Salut St Paulin 1X185Gr 1P</c:v>
                </c:pt>
                <c:pt idx="106">
                  <c:v>Kiri Chevre Fromage Blanc Frais Carre 1X144Gr 8P</c:v>
                </c:pt>
                <c:pt idx="107">
                  <c:v>Nurishh Les Tranches Vegetales Cheddar Vegetal Tranche Boite 1X200Gr 10P</c:v>
                </c:pt>
                <c:pt idx="108">
                  <c:v>Nurishh Les Tranches Vegetales Emmental Vegetal Tranche Boite 1X200Gr 10P</c:v>
                </c:pt>
                <c:pt idx="109">
                  <c:v>Boursin Classique Fromage Frais A Tartiner Ciboulette &amp; Echalote 1X160Gr 10P</c:v>
                </c:pt>
                <c:pt idx="110">
                  <c:v>Mini Babybel Rouge Filet St Paulin Ferme Sachet 1X40Gr 1P</c:v>
                </c:pt>
                <c:pt idx="111">
                  <c:v>Mini Babybel Bio St Paulin Ferme Filet 1X100Gr 5P</c:v>
                </c:pt>
                <c:pt idx="112">
                  <c:v>Cousteron St Paulin 1X460Gr 1P</c:v>
                </c:pt>
                <c:pt idx="113">
                  <c:v>Mini Babybel Rouge Filet St Paulin Ferme 1X110Gr 5P</c:v>
                </c:pt>
                <c:pt idx="114">
                  <c:v>Port Salut Pause Fondante Specialite Roux Sachet 1X180Gr 1P</c:v>
                </c:pt>
                <c:pt idx="115">
                  <c:v>Limiano Queijo Flamengo Tranche Sachet 1X200Gr 1P</c:v>
                </c:pt>
                <c:pt idx="116">
                  <c:v>Limiano Queijo Flamengo Bloc 1X600Gr 1P</c:v>
                </c:pt>
                <c:pt idx="117">
                  <c:v>Limiano Queijo Flamengo Autre Sachet 1X450Gr 1P</c:v>
                </c:pt>
                <c:pt idx="118">
                  <c:v>Nurishh Le Rape Vegetal Specialite Vegetale Sachet 1X200Gr 1P</c:v>
                </c:pt>
                <c:pt idx="119">
                  <c:v>Nurishh Le Rape Vegetal Mozzarella Vegetale Sachet 1X200Gr 1P</c:v>
                </c:pt>
                <c:pt idx="120">
                  <c:v>Boursin Aperitif Roules Fromage Frais Roule Basilic &amp; Jambon Fume Tomate Boite 1X100Gr 20P</c:v>
                </c:pt>
                <c:pt idx="121">
                  <c:v>Mini Babybel Rouge Filet St Paulin Ferme 1X396Gr 18P</c:v>
                </c:pt>
              </c:strCache>
            </c:strRef>
          </c:cat>
          <c:val>
            <c:numRef>
              <c:f>Sheet1!$D$2:$D$123</c:f>
              <c:numCache>
                <c:formatCode>General</c:formatCode>
                <c:ptCount val="122"/>
                <c:pt idx="0">
                  <c:v>82610.363636363632</c:v>
                </c:pt>
                <c:pt idx="1">
                  <c:v>46754.67</c:v>
                </c:pt>
                <c:pt idx="2">
                  <c:v>45589.414141414141</c:v>
                </c:pt>
                <c:pt idx="3">
                  <c:v>29213.62</c:v>
                </c:pt>
                <c:pt idx="4">
                  <c:v>20615.73</c:v>
                </c:pt>
                <c:pt idx="5">
                  <c:v>19457.759999999998</c:v>
                </c:pt>
                <c:pt idx="6">
                  <c:v>16701.66</c:v>
                </c:pt>
                <c:pt idx="7">
                  <c:v>14911.01</c:v>
                </c:pt>
                <c:pt idx="8">
                  <c:v>14419.2</c:v>
                </c:pt>
                <c:pt idx="9">
                  <c:v>14268.91</c:v>
                </c:pt>
                <c:pt idx="10">
                  <c:v>13309.19</c:v>
                </c:pt>
                <c:pt idx="11">
                  <c:v>12673.7</c:v>
                </c:pt>
                <c:pt idx="12">
                  <c:v>11794.45</c:v>
                </c:pt>
                <c:pt idx="13">
                  <c:v>11512.05</c:v>
                </c:pt>
                <c:pt idx="14">
                  <c:v>11125.101010101011</c:v>
                </c:pt>
                <c:pt idx="15">
                  <c:v>10275</c:v>
                </c:pt>
                <c:pt idx="16">
                  <c:v>9766.49</c:v>
                </c:pt>
                <c:pt idx="17">
                  <c:v>9833.0909090909099</c:v>
                </c:pt>
                <c:pt idx="18">
                  <c:v>9722.94</c:v>
                </c:pt>
                <c:pt idx="19">
                  <c:v>9848.9468085106382</c:v>
                </c:pt>
                <c:pt idx="20">
                  <c:v>9357.649484536083</c:v>
                </c:pt>
                <c:pt idx="21">
                  <c:v>8238.3469387755104</c:v>
                </c:pt>
                <c:pt idx="22">
                  <c:v>8099.2040816326535</c:v>
                </c:pt>
                <c:pt idx="23">
                  <c:v>7852.5</c:v>
                </c:pt>
                <c:pt idx="24">
                  <c:v>8213.010638297872</c:v>
                </c:pt>
                <c:pt idx="25">
                  <c:v>7603.58</c:v>
                </c:pt>
                <c:pt idx="26">
                  <c:v>7349.1919191919196</c:v>
                </c:pt>
                <c:pt idx="27">
                  <c:v>7241.72</c:v>
                </c:pt>
                <c:pt idx="28">
                  <c:v>7209.14</c:v>
                </c:pt>
                <c:pt idx="29">
                  <c:v>6542.91</c:v>
                </c:pt>
                <c:pt idx="30">
                  <c:v>6412.6489361702124</c:v>
                </c:pt>
                <c:pt idx="31">
                  <c:v>6418.802197802198</c:v>
                </c:pt>
                <c:pt idx="32">
                  <c:v>4657.1894736842105</c:v>
                </c:pt>
                <c:pt idx="33">
                  <c:v>4384.49</c:v>
                </c:pt>
                <c:pt idx="34">
                  <c:v>4410.8080808080804</c:v>
                </c:pt>
                <c:pt idx="35">
                  <c:v>4355.3900000000003</c:v>
                </c:pt>
                <c:pt idx="36">
                  <c:v>4317.3500000000004</c:v>
                </c:pt>
                <c:pt idx="37">
                  <c:v>4276.8900000000003</c:v>
                </c:pt>
                <c:pt idx="38">
                  <c:v>4007.6315789473683</c:v>
                </c:pt>
                <c:pt idx="39">
                  <c:v>3773</c:v>
                </c:pt>
                <c:pt idx="40">
                  <c:v>3431.15625</c:v>
                </c:pt>
                <c:pt idx="41">
                  <c:v>3345.6288659793813</c:v>
                </c:pt>
                <c:pt idx="42">
                  <c:v>3220.5051546391751</c:v>
                </c:pt>
                <c:pt idx="43">
                  <c:v>3020.79</c:v>
                </c:pt>
                <c:pt idx="44">
                  <c:v>3102.15625</c:v>
                </c:pt>
                <c:pt idx="45">
                  <c:v>2741.89</c:v>
                </c:pt>
                <c:pt idx="46">
                  <c:v>2770.6428571428573</c:v>
                </c:pt>
                <c:pt idx="47">
                  <c:v>2938.0760869565215</c:v>
                </c:pt>
                <c:pt idx="48">
                  <c:v>3117.8720930232557</c:v>
                </c:pt>
                <c:pt idx="49">
                  <c:v>2637.31</c:v>
                </c:pt>
                <c:pt idx="50">
                  <c:v>2658.0808080808079</c:v>
                </c:pt>
                <c:pt idx="51">
                  <c:v>3457.8</c:v>
                </c:pt>
                <c:pt idx="52">
                  <c:v>2944.1265822784812</c:v>
                </c:pt>
                <c:pt idx="53">
                  <c:v>2226.4591836734694</c:v>
                </c:pt>
                <c:pt idx="54">
                  <c:v>2384.5454545454545</c:v>
                </c:pt>
                <c:pt idx="55">
                  <c:v>1964.9795918367347</c:v>
                </c:pt>
                <c:pt idx="56">
                  <c:v>1886.1855670103093</c:v>
                </c:pt>
                <c:pt idx="57">
                  <c:v>2325</c:v>
                </c:pt>
                <c:pt idx="58">
                  <c:v>1562.84</c:v>
                </c:pt>
                <c:pt idx="59">
                  <c:v>1576.8229166666667</c:v>
                </c:pt>
                <c:pt idx="60">
                  <c:v>1891.3733333333332</c:v>
                </c:pt>
                <c:pt idx="61">
                  <c:v>2029.2272727272727</c:v>
                </c:pt>
                <c:pt idx="62">
                  <c:v>1334.90625</c:v>
                </c:pt>
                <c:pt idx="63">
                  <c:v>2175.4827586206898</c:v>
                </c:pt>
                <c:pt idx="64">
                  <c:v>1402.6404494382023</c:v>
                </c:pt>
                <c:pt idx="65">
                  <c:v>1281.0212765957447</c:v>
                </c:pt>
                <c:pt idx="66">
                  <c:v>1311.840909090909</c:v>
                </c:pt>
                <c:pt idx="67">
                  <c:v>1003.7340425531914</c:v>
                </c:pt>
                <c:pt idx="68">
                  <c:v>989.26136363636363</c:v>
                </c:pt>
                <c:pt idx="69">
                  <c:v>1210.5285714285715</c:v>
                </c:pt>
                <c:pt idx="70">
                  <c:v>1061.3205128205129</c:v>
                </c:pt>
                <c:pt idx="71">
                  <c:v>1157.0845070422536</c:v>
                </c:pt>
                <c:pt idx="72">
                  <c:v>999.73170731707319</c:v>
                </c:pt>
                <c:pt idx="73">
                  <c:v>975.48192771084337</c:v>
                </c:pt>
                <c:pt idx="74">
                  <c:v>844.63157894736844</c:v>
                </c:pt>
                <c:pt idx="75">
                  <c:v>1013.3055555555555</c:v>
                </c:pt>
                <c:pt idx="76">
                  <c:v>708.27083333333337</c:v>
                </c:pt>
                <c:pt idx="77">
                  <c:v>2184.3225806451615</c:v>
                </c:pt>
                <c:pt idx="78">
                  <c:v>982.25757575757575</c:v>
                </c:pt>
                <c:pt idx="79">
                  <c:v>841.12</c:v>
                </c:pt>
                <c:pt idx="80">
                  <c:v>877.85915492957747</c:v>
                </c:pt>
                <c:pt idx="81">
                  <c:v>767.28750000000002</c:v>
                </c:pt>
                <c:pt idx="82">
                  <c:v>1025.2881355932204</c:v>
                </c:pt>
                <c:pt idx="83">
                  <c:v>871.68656716417911</c:v>
                </c:pt>
                <c:pt idx="84">
                  <c:v>845.97058823529414</c:v>
                </c:pt>
                <c:pt idx="85">
                  <c:v>593.85106382978722</c:v>
                </c:pt>
                <c:pt idx="86">
                  <c:v>2249.0476190476193</c:v>
                </c:pt>
                <c:pt idx="87">
                  <c:v>5198.333333333333</c:v>
                </c:pt>
                <c:pt idx="88">
                  <c:v>558.41025641025647</c:v>
                </c:pt>
                <c:pt idx="89">
                  <c:v>791.7037037037037</c:v>
                </c:pt>
                <c:pt idx="90">
                  <c:v>529.61038961038957</c:v>
                </c:pt>
                <c:pt idx="91">
                  <c:v>682.81355932203394</c:v>
                </c:pt>
                <c:pt idx="92">
                  <c:v>497.5</c:v>
                </c:pt>
                <c:pt idx="93">
                  <c:v>480.09090909090907</c:v>
                </c:pt>
                <c:pt idx="94">
                  <c:v>398.22784810126581</c:v>
                </c:pt>
                <c:pt idx="95">
                  <c:v>590.90566037735846</c:v>
                </c:pt>
                <c:pt idx="96">
                  <c:v>3755.75</c:v>
                </c:pt>
                <c:pt idx="97">
                  <c:v>333.52941176470586</c:v>
                </c:pt>
                <c:pt idx="98">
                  <c:v>480.33333333333337</c:v>
                </c:pt>
                <c:pt idx="99">
                  <c:v>1699.3125</c:v>
                </c:pt>
                <c:pt idx="100">
                  <c:v>537.39583333333337</c:v>
                </c:pt>
                <c:pt idx="101">
                  <c:v>524.91836734693879</c:v>
                </c:pt>
                <c:pt idx="102">
                  <c:v>1560.375</c:v>
                </c:pt>
                <c:pt idx="103">
                  <c:v>364.24193548387098</c:v>
                </c:pt>
                <c:pt idx="104">
                  <c:v>229.12676056338029</c:v>
                </c:pt>
                <c:pt idx="105">
                  <c:v>1651.1111111111111</c:v>
                </c:pt>
                <c:pt idx="106">
                  <c:v>265.19642857142856</c:v>
                </c:pt>
                <c:pt idx="107">
                  <c:v>194.97222222222223</c:v>
                </c:pt>
                <c:pt idx="108">
                  <c:v>186.98648648648648</c:v>
                </c:pt>
                <c:pt idx="109">
                  <c:v>964.35714285714278</c:v>
                </c:pt>
                <c:pt idx="110">
                  <c:v>531.09523809523807</c:v>
                </c:pt>
                <c:pt idx="111">
                  <c:v>154.47761194029852</c:v>
                </c:pt>
                <c:pt idx="112">
                  <c:v>1137.1111111111111</c:v>
                </c:pt>
                <c:pt idx="113">
                  <c:v>737.4</c:v>
                </c:pt>
                <c:pt idx="114">
                  <c:v>899.75</c:v>
                </c:pt>
                <c:pt idx="115">
                  <c:v>1372.5</c:v>
                </c:pt>
                <c:pt idx="116">
                  <c:v>734.66666666666663</c:v>
                </c:pt>
                <c:pt idx="117">
                  <c:v>495</c:v>
                </c:pt>
                <c:pt idx="118">
                  <c:v>28.25</c:v>
                </c:pt>
                <c:pt idx="119">
                  <c:v>33.333333333333336</c:v>
                </c:pt>
                <c:pt idx="120">
                  <c:v>28.5</c:v>
                </c:pt>
                <c:pt idx="121">
                  <c:v>2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9</c:f>
              <c:strCache>
                <c:ptCount val="98"/>
                <c:pt idx="0">
                  <c:v>La Vache Qui Rit Nature Fromage Fondu Boite Ronde 1X512Gr 32P</c:v>
                </c:pt>
                <c:pt idx="1">
                  <c:v>Mini Babybel Rouge Filet St Paulin Ferme 1X264Gr 12P</c:v>
                </c:pt>
                <c:pt idx="2">
                  <c:v>La Vache Qui Rit Nature Fromage Fondu Boite Ronde 1X384Gr 24P</c:v>
                </c:pt>
                <c:pt idx="3">
                  <c:v>Apericube Edition Limitee Best Of Foot Fromage Fondu Cube Assortis 1X250Gr 48P</c:v>
                </c:pt>
                <c:pt idx="4">
                  <c:v>La Vache Qui Rit Nature Fromage Fondu Boite Ronde 1X192Gr 12P</c:v>
                </c:pt>
                <c:pt idx="5">
                  <c:v>Mini Babybel Rouge Filet St Paulin Ferme 1X132Gr 6P</c:v>
                </c:pt>
                <c:pt idx="6">
                  <c:v>Kiri Creme Fromage Blanc Frais Carre 1X432Gr 24P</c:v>
                </c:pt>
                <c:pt idx="7">
                  <c:v>Apericube Cocktail Fromage Fondu Cube Assortis 1X250Gr 48P</c:v>
                </c:pt>
                <c:pt idx="8">
                  <c:v>Apericube Long Drink Fromage Fondu Cube Assortis 1X250Gr 48P</c:v>
                </c:pt>
                <c:pt idx="9">
                  <c:v>Kiri Creme Fromage Blanc Frais Carre 1X216Gr 12P</c:v>
                </c:pt>
                <c:pt idx="10">
                  <c:v>Boursin Classique Fromage Frais A Tartiner Afh 1X160Gr 10P</c:v>
                </c:pt>
                <c:pt idx="11">
                  <c:v>Kiri Creme Fromage Blanc Frais Carre 1X144Gr 8P</c:v>
                </c:pt>
                <c:pt idx="12">
                  <c:v>Boursin Classique Fromage Frais A Tartiner Afh Boite 1X150Gr 1P</c:v>
                </c:pt>
                <c:pt idx="13">
                  <c:v>Boursin Classique Fromage Frais A Tartiner Afh Boite 1X250Gr 1P</c:v>
                </c:pt>
                <c:pt idx="14">
                  <c:v>Kiri Gouter Fromage Blanc Dips Boite 1X175Gr 5P</c:v>
                </c:pt>
                <c:pt idx="15">
                  <c:v>Boursin Aperitif Roules Fromage Frais Roule Afh Et Jambon Fume Boite 1X100Gr 20P</c:v>
                </c:pt>
                <c:pt idx="16">
                  <c:v>Apericube Edition Limitee Saison Fromage Fondu Cube Assortis 1X250Gr 48P</c:v>
                </c:pt>
                <c:pt idx="17">
                  <c:v>Apericube Tonic Fromage Fondu Cube Assortis 1X250Gr 48P</c:v>
                </c:pt>
                <c:pt idx="18">
                  <c:v>Apericube Nature Fromage Fondu Cube 1X125Gr 24P</c:v>
                </c:pt>
                <c:pt idx="19">
                  <c:v>Mini Babybel Rouge Filet Soft Cheese Enfant 352G</c:v>
                </c:pt>
                <c:pt idx="20">
                  <c:v>Boursin Salade &amp; Aperitif Fromage Frais Des Afh 1X120Gr 1P</c:v>
                </c:pt>
                <c:pt idx="21">
                  <c:v>Mini Babybel Rouge Filet St Paulin Ferme 1X440Gr 20P</c:v>
                </c:pt>
                <c:pt idx="22">
                  <c:v>Kiri Gouter Fromage Blanc Dips Boite 1X280Gr 8P</c:v>
                </c:pt>
                <c:pt idx="23">
                  <c:v>La Vache Qui Rit Nature Fromage Fondu Boite Ronde 1X128Gr 8P</c:v>
                </c:pt>
                <c:pt idx="24">
                  <c:v>La Vache Qui Rit Pik Et Croq' Fromage Fondu Dips Boite 1X175Gr 5P</c:v>
                </c:pt>
                <c:pt idx="25">
                  <c:v>Boursin Aperitif Roules Fromage Frais Roule Ciboulette &amp; Echalote Jambon Fume Boite 1X100Gr 20P</c:v>
                </c:pt>
                <c:pt idx="26">
                  <c:v>Boursin Classique Fromage Frais A Tartiner Afh Boite 1X96Gr 6P</c:v>
                </c:pt>
                <c:pt idx="27">
                  <c:v>La Vache Qui Rit Nature Fromage Fondu Boite Ronde 1X512Gr 24+8P</c:v>
                </c:pt>
                <c:pt idx="28">
                  <c:v>Port Salut St Paulin 1X320Gr 1P</c:v>
                </c:pt>
                <c:pt idx="29">
                  <c:v>Apericube Campagne Fromage Fondu Cube Assortis 1X125Gr 24P</c:v>
                </c:pt>
                <c:pt idx="30">
                  <c:v>Apericube Best Of Des Saveurs Fromage Fondu Cube Assortis 1X125Gr 24P</c:v>
                </c:pt>
                <c:pt idx="31">
                  <c:v>Kiri Creme Fromage Blanc Frais Carre 1X432Gr 18+6P</c:v>
                </c:pt>
                <c:pt idx="32">
                  <c:v>Toastinette Cheddar Fondu Tranche A Chaud Sachet 1X200Gr 10P</c:v>
                </c:pt>
                <c:pt idx="33">
                  <c:v>Boursin Onctueux Fromage Frais A Tartiner Afh 1X125Gr 1P</c:v>
                </c:pt>
                <c:pt idx="34">
                  <c:v>Babybel St Paulin 1X200Gr 1P</c:v>
                </c:pt>
                <c:pt idx="35">
                  <c:v>Boursin Classique Fromage Frais A Tartiner Ciboulette &amp; Echalote Boite 1X150Gr 1P</c:v>
                </c:pt>
                <c:pt idx="36">
                  <c:v>Cousteron St Paulin 1X320Gr 1P</c:v>
                </c:pt>
                <c:pt idx="37">
                  <c:v>Toastinette Fromage Fondu Tranche A Chaud Sachet 1X200Gr 10P</c:v>
                </c:pt>
                <c:pt idx="38">
                  <c:v>Apericube Long Drink Fromage Fondu Cube Assortis 1X125Gr 24P</c:v>
                </c:pt>
                <c:pt idx="39">
                  <c:v>Mini Babybel Aros St Paulin Ferme Assortis Filet 1X180Gr 9P</c:v>
                </c:pt>
                <c:pt idx="40">
                  <c:v>Mini Babybel Rouge Filet St Paulin Ferme 1X396Gr 12+6P</c:v>
                </c:pt>
                <c:pt idx="41">
                  <c:v>Apericube Soiree Match Aperitif 250G</c:v>
                </c:pt>
                <c:pt idx="42">
                  <c:v>Boursin Salade &amp; Aperitif Fromage Frais Des Figue Noix 1X120Gr 1P</c:v>
                </c:pt>
                <c:pt idx="43">
                  <c:v>Boursin Salade &amp; Aperitif Fromage Frais Des Ciboulette Echalote 1X120Gr 1P</c:v>
                </c:pt>
                <c:pt idx="44">
                  <c:v>Babybel Mini Rolls St Paulin Ferme Sachet 1X85Gr 5P</c:v>
                </c:pt>
                <c:pt idx="45">
                  <c:v>Kiri Bio Fromage Blanc Frais Carre 1X144Gr 8P</c:v>
                </c:pt>
                <c:pt idx="46">
                  <c:v>Kiri Delicieusement Fouette Fromage Frais A Tartiner 1X160Gr 10P</c:v>
                </c:pt>
                <c:pt idx="47">
                  <c:v>Kiri Delicieusement Fouette Fromage Frais A Tartiner 1X210Gr 1P</c:v>
                </c:pt>
                <c:pt idx="48">
                  <c:v>Kiri Delicieusement Fouette Fromage Frais A Tartiner 1X125Gr 1P</c:v>
                </c:pt>
                <c:pt idx="49">
                  <c:v>Apericube Incontournable Fromage Fondu Cube Assortis 1X250Gr 48P</c:v>
                </c:pt>
                <c:pt idx="50">
                  <c:v>Boursin Cuisine Sauce Fromage Afh 1X240Gr 1P</c:v>
                </c:pt>
                <c:pt idx="51">
                  <c:v>Apericube Carrement Toque Fromage Fondu Cube Assortis 1X250Gr 48P</c:v>
                </c:pt>
                <c:pt idx="52">
                  <c:v>Apericube Charcut' Fromages Fromage Fondu Cube Assortis 1X250Gr 48P</c:v>
                </c:pt>
                <c:pt idx="53">
                  <c:v>Mini Babybel Aros Soft Cheese Enfant 180G</c:v>
                </c:pt>
                <c:pt idx="54">
                  <c:v>La Vache Qui Rit Allegee Fromage Fondu Boite Ronde Allege 1X267Gr 16P</c:v>
                </c:pt>
                <c:pt idx="55">
                  <c:v>Boursin Salade &amp; Aperitif Fromage Frais Des Citron Romarin 1X120Gr 1P</c:v>
                </c:pt>
                <c:pt idx="56">
                  <c:v>Apericube Selection Du Fromager Fromage Fondu Cube Assortis 1X250Gr 48P</c:v>
                </c:pt>
                <c:pt idx="57">
                  <c:v>Apericube Edition Voyage Fromage Fondu Cube Assortis 1X250Gr 48P</c:v>
                </c:pt>
                <c:pt idx="58">
                  <c:v>Apericube Sucre Sale Fromage Fondu Cube Assortis 1X250Gr 48P</c:v>
                </c:pt>
                <c:pt idx="59">
                  <c:v>Apericube Nature Fromage Fondu Cube 1X250Gr 48P</c:v>
                </c:pt>
                <c:pt idx="60">
                  <c:v>Boursin Classique Fromage Frais A Tartiner Figue Et 3 Noix Boite 1X150Gr 1P</c:v>
                </c:pt>
                <c:pt idx="61">
                  <c:v>Boursin Salade &amp; Aperitif Soft Cheese Salade 120G</c:v>
                </c:pt>
                <c:pt idx="62">
                  <c:v>Boursin Salade &amp; Aperitif Fromage Frais Des Noisette Et 3 Noix 1X120Gr 1P</c:v>
                </c:pt>
                <c:pt idx="63">
                  <c:v>Mini Babybel Aros Soft Cheese Enfant 110G</c:v>
                </c:pt>
                <c:pt idx="64">
                  <c:v>Nurishh Le Coeur Fleuri Vegetal Camembert Boite 1X140Gr 1P</c:v>
                </c:pt>
                <c:pt idx="65">
                  <c:v>La Vache Qui Rit Bio Fromage Fondu Boite Ronde 1X128Gr 8P</c:v>
                </c:pt>
                <c:pt idx="66">
                  <c:v>Nurishh Le Rape Vegetal Specialite Vegetale Sachet 1X150Gr 1P</c:v>
                </c:pt>
                <c:pt idx="67">
                  <c:v>Apericube Jambon Fromage Fondu Cube 1X78Gr 15P</c:v>
                </c:pt>
                <c:pt idx="68">
                  <c:v>Boursin Classique Fromage Frais A Tartiner 3 Noix Boite 1X150Gr 1P</c:v>
                </c:pt>
                <c:pt idx="69">
                  <c:v>Nurishh Les Tranches Vegetales Cheddar Vegetal Tranche Boite 1X160Gr 8P</c:v>
                </c:pt>
                <c:pt idx="70">
                  <c:v>Nurishh Le Palet Vegetal Specialite Vegetale Ovale Saveur Chevre Boite 1X140Gr 1P</c:v>
                </c:pt>
                <c:pt idx="71">
                  <c:v>Nurishh Les Tranches Vegetales Emmental Vegetal Tranche Boite 1X160Gr 8P</c:v>
                </c:pt>
                <c:pt idx="72">
                  <c:v>Port Salut St Paulin Tranche Boite 1X200Gr 6P</c:v>
                </c:pt>
                <c:pt idx="73">
                  <c:v>Boursin Vegetal Specialite Vegetale A Tartiner Afh 1X130Gr 1P</c:v>
                </c:pt>
                <c:pt idx="74">
                  <c:v>Boursin Aperitif Roules Fromage Frais Roule Jambon Fume &amp; Trio De Noix Boite 1X100Gr 20P</c:v>
                </c:pt>
                <c:pt idx="75">
                  <c:v>Nurishh Des Vegetaux Feta Vegetale Sachet 1X150Gr 1P</c:v>
                </c:pt>
                <c:pt idx="76">
                  <c:v>Boursin Aperitif Roules Aperitif 100G</c:v>
                </c:pt>
                <c:pt idx="77">
                  <c:v>Boursin Classique Fromage Frais A Tartiner 3 Noix 1X160Gr 10P</c:v>
                </c:pt>
                <c:pt idx="78">
                  <c:v>Boursin Classique Fromage Frais A Tartiner Afh Boite 1X320Gr 16+4P</c:v>
                </c:pt>
                <c:pt idx="79">
                  <c:v>Port Salut St Paulin 1X185Gr 1P</c:v>
                </c:pt>
                <c:pt idx="80">
                  <c:v>Nurishh Les Tranches Vegetales Emmental Vegetal Tranche Boite 1X200Gr 10P</c:v>
                </c:pt>
                <c:pt idx="81">
                  <c:v>Boursin Vegetal Alternative Vegetale 150G</c:v>
                </c:pt>
                <c:pt idx="82">
                  <c:v>Nurishh Les Tranches Vegetales Cheddar Vegetal Tranche Boite 1X200Gr 10P</c:v>
                </c:pt>
                <c:pt idx="83">
                  <c:v>Boursin Classique Fromage Frais A Tartiner Truffe Boite 1X150Gr 1P</c:v>
                </c:pt>
                <c:pt idx="84">
                  <c:v>Apericube Hot Chalenge Aperitif 250G</c:v>
                </c:pt>
                <c:pt idx="85">
                  <c:v>Apericube Fromages Du Monde Aperitif 250G</c:v>
                </c:pt>
                <c:pt idx="86">
                  <c:v>Apericube Montagne Aperitif 250G</c:v>
                </c:pt>
                <c:pt idx="87">
                  <c:v>Mini Babybel Rouge Filet St Paulin Ferme Sachet 1X40Gr 1P</c:v>
                </c:pt>
                <c:pt idx="88">
                  <c:v>Nurishh Le Rape Vegetal Specialite Vegetale Emmental Sachet 1X150Gr 1P</c:v>
                </c:pt>
                <c:pt idx="89">
                  <c:v>Nurishh Le Rape Vegetal Mozzarella Vegetale Sachet 1X150Gr 1P</c:v>
                </c:pt>
                <c:pt idx="90">
                  <c:v>Nurishh Le Tartinable Vegetal Specialite Vegetale A Tartiner 1X130Gr 1P</c:v>
                </c:pt>
                <c:pt idx="91">
                  <c:v>Boursin Onctueux Fromage Frais A Tartiner Afh 1X210Gr 1P</c:v>
                </c:pt>
                <c:pt idx="92">
                  <c:v>Apericube P'Tits Plaisirs Fromage Fondu Cube 3 Fromages &amp; Jambon Cru Olive Verte 1X78Gr 15P</c:v>
                </c:pt>
                <c:pt idx="93">
                  <c:v>Kiri Chevre Fromage Blanc Frais Carre 1X144Gr 8P</c:v>
                </c:pt>
                <c:pt idx="94">
                  <c:v>Nurishh Les Tranches Vegetales Specialite Vegetale Tranche Piment Boite 1X120Gr 6P</c:v>
                </c:pt>
                <c:pt idx="95">
                  <c:v>Apericube Vertical Soiree Apero Fromage Fondu Cube Assortis 1X125Gr 24P</c:v>
                </c:pt>
                <c:pt idx="96">
                  <c:v>Boursin Classique Fromage Frais A Tartiner Ciboulette &amp; Echalote 1X160Gr 10P</c:v>
                </c:pt>
                <c:pt idx="97">
                  <c:v>Apericube Vertical Nature Fromage Fondu Cube 1X125Gr 24P</c:v>
                </c:pt>
              </c:strCache>
            </c:strRef>
          </c:cat>
          <c:val>
            <c:numRef>
              <c:f>Sheet1!$B$2:$B$99</c:f>
              <c:numCache>
                <c:formatCode>General</c:formatCode>
                <c:ptCount val="98"/>
                <c:pt idx="0">
                  <c:v>0.99</c:v>
                </c:pt>
                <c:pt idx="1">
                  <c:v>1</c:v>
                </c:pt>
                <c:pt idx="2">
                  <c:v>0.96</c:v>
                </c:pt>
                <c:pt idx="3">
                  <c:v>0.96</c:v>
                </c:pt>
                <c:pt idx="4">
                  <c:v>0.99</c:v>
                </c:pt>
                <c:pt idx="5">
                  <c:v>0.99</c:v>
                </c:pt>
                <c:pt idx="6">
                  <c:v>0.86</c:v>
                </c:pt>
                <c:pt idx="7">
                  <c:v>0.96</c:v>
                </c:pt>
                <c:pt idx="8">
                  <c:v>0.95</c:v>
                </c:pt>
                <c:pt idx="9">
                  <c:v>0.97</c:v>
                </c:pt>
                <c:pt idx="10">
                  <c:v>0.98</c:v>
                </c:pt>
                <c:pt idx="11">
                  <c:v>0.99</c:v>
                </c:pt>
                <c:pt idx="12">
                  <c:v>0.99</c:v>
                </c:pt>
                <c:pt idx="13">
                  <c:v>0.95</c:v>
                </c:pt>
                <c:pt idx="14">
                  <c:v>0.99</c:v>
                </c:pt>
                <c:pt idx="15">
                  <c:v>0.94</c:v>
                </c:pt>
                <c:pt idx="16">
                  <c:v>0.83</c:v>
                </c:pt>
                <c:pt idx="17">
                  <c:v>0.83</c:v>
                </c:pt>
                <c:pt idx="18">
                  <c:v>0.96</c:v>
                </c:pt>
                <c:pt idx="19">
                  <c:v>0.94</c:v>
                </c:pt>
                <c:pt idx="20">
                  <c:v>0.99</c:v>
                </c:pt>
                <c:pt idx="21">
                  <c:v>0.96</c:v>
                </c:pt>
                <c:pt idx="22">
                  <c:v>0.73</c:v>
                </c:pt>
                <c:pt idx="23">
                  <c:v>0.66</c:v>
                </c:pt>
                <c:pt idx="24">
                  <c:v>0.97</c:v>
                </c:pt>
                <c:pt idx="25">
                  <c:v>0.86</c:v>
                </c:pt>
                <c:pt idx="26">
                  <c:v>0.91</c:v>
                </c:pt>
                <c:pt idx="27">
                  <c:v>0.78</c:v>
                </c:pt>
                <c:pt idx="28">
                  <c:v>0.92</c:v>
                </c:pt>
                <c:pt idx="29">
                  <c:v>0.82</c:v>
                </c:pt>
                <c:pt idx="30">
                  <c:v>0.89</c:v>
                </c:pt>
                <c:pt idx="31">
                  <c:v>0.71</c:v>
                </c:pt>
                <c:pt idx="32">
                  <c:v>0.97</c:v>
                </c:pt>
                <c:pt idx="33">
                  <c:v>0.85</c:v>
                </c:pt>
                <c:pt idx="34">
                  <c:v>0.96</c:v>
                </c:pt>
                <c:pt idx="35">
                  <c:v>0.89</c:v>
                </c:pt>
                <c:pt idx="36">
                  <c:v>0.82</c:v>
                </c:pt>
                <c:pt idx="37">
                  <c:v>0.79</c:v>
                </c:pt>
                <c:pt idx="38">
                  <c:v>0.77</c:v>
                </c:pt>
                <c:pt idx="39">
                  <c:v>0.67</c:v>
                </c:pt>
                <c:pt idx="40">
                  <c:v>0.81</c:v>
                </c:pt>
                <c:pt idx="41">
                  <c:v>0.83</c:v>
                </c:pt>
                <c:pt idx="42">
                  <c:v>0.91</c:v>
                </c:pt>
                <c:pt idx="43">
                  <c:v>0.95</c:v>
                </c:pt>
                <c:pt idx="44">
                  <c:v>0.45</c:v>
                </c:pt>
                <c:pt idx="45">
                  <c:v>0.42</c:v>
                </c:pt>
                <c:pt idx="46">
                  <c:v>0.63</c:v>
                </c:pt>
                <c:pt idx="47">
                  <c:v>0.54</c:v>
                </c:pt>
                <c:pt idx="48">
                  <c:v>0.62</c:v>
                </c:pt>
                <c:pt idx="49">
                  <c:v>0.49</c:v>
                </c:pt>
                <c:pt idx="50">
                  <c:v>0.72</c:v>
                </c:pt>
                <c:pt idx="51">
                  <c:v>0.52</c:v>
                </c:pt>
                <c:pt idx="52">
                  <c:v>0.49</c:v>
                </c:pt>
                <c:pt idx="53">
                  <c:v>0.66</c:v>
                </c:pt>
                <c:pt idx="54">
                  <c:v>0.27</c:v>
                </c:pt>
                <c:pt idx="55">
                  <c:v>0.72</c:v>
                </c:pt>
                <c:pt idx="56">
                  <c:v>0.46</c:v>
                </c:pt>
                <c:pt idx="57">
                  <c:v>0.33</c:v>
                </c:pt>
                <c:pt idx="58">
                  <c:v>0.44</c:v>
                </c:pt>
                <c:pt idx="59">
                  <c:v>0.41</c:v>
                </c:pt>
                <c:pt idx="60">
                  <c:v>0.65</c:v>
                </c:pt>
                <c:pt idx="61">
                  <c:v>0.71</c:v>
                </c:pt>
                <c:pt idx="62">
                  <c:v>0.79</c:v>
                </c:pt>
                <c:pt idx="63">
                  <c:v>0.56999999999999995</c:v>
                </c:pt>
                <c:pt idx="64">
                  <c:v>0.44</c:v>
                </c:pt>
                <c:pt idx="65">
                  <c:v>0.25</c:v>
                </c:pt>
                <c:pt idx="66">
                  <c:v>0.45</c:v>
                </c:pt>
                <c:pt idx="67">
                  <c:v>0.05</c:v>
                </c:pt>
                <c:pt idx="68">
                  <c:v>0.61</c:v>
                </c:pt>
                <c:pt idx="69">
                  <c:v>0.26</c:v>
                </c:pt>
                <c:pt idx="70">
                  <c:v>0.25</c:v>
                </c:pt>
                <c:pt idx="71">
                  <c:v>0.25</c:v>
                </c:pt>
                <c:pt idx="72">
                  <c:v>0.06</c:v>
                </c:pt>
                <c:pt idx="73">
                  <c:v>0.24</c:v>
                </c:pt>
                <c:pt idx="74">
                  <c:v>0.5</c:v>
                </c:pt>
                <c:pt idx="75">
                  <c:v>0.31</c:v>
                </c:pt>
                <c:pt idx="76">
                  <c:v>0.28999999999999998</c:v>
                </c:pt>
                <c:pt idx="77">
                  <c:v>0.41</c:v>
                </c:pt>
                <c:pt idx="78">
                  <c:v>0.37</c:v>
                </c:pt>
                <c:pt idx="79">
                  <c:v>7.0000000000000007E-2</c:v>
                </c:pt>
                <c:pt idx="80">
                  <c:v>0.31</c:v>
                </c:pt>
                <c:pt idx="81">
                  <c:v>0.25</c:v>
                </c:pt>
                <c:pt idx="82">
                  <c:v>0.34</c:v>
                </c:pt>
                <c:pt idx="83">
                  <c:v>0.51</c:v>
                </c:pt>
                <c:pt idx="84">
                  <c:v>0.09</c:v>
                </c:pt>
                <c:pt idx="85">
                  <c:v>7.0000000000000007E-2</c:v>
                </c:pt>
                <c:pt idx="86">
                  <c:v>0.06</c:v>
                </c:pt>
                <c:pt idx="87">
                  <c:v>0.06</c:v>
                </c:pt>
                <c:pt idx="88">
                  <c:v>0.13</c:v>
                </c:pt>
                <c:pt idx="89">
                  <c:v>0.11</c:v>
                </c:pt>
                <c:pt idx="90">
                  <c:v>0.11</c:v>
                </c:pt>
                <c:pt idx="91">
                  <c:v>0.03</c:v>
                </c:pt>
                <c:pt idx="92">
                  <c:v>0.02</c:v>
                </c:pt>
                <c:pt idx="93">
                  <c:v>0.03</c:v>
                </c:pt>
                <c:pt idx="94">
                  <c:v>0.05</c:v>
                </c:pt>
                <c:pt idx="95">
                  <c:v>0.01</c:v>
                </c:pt>
                <c:pt idx="96">
                  <c:v>0.03</c:v>
                </c:pt>
                <c:pt idx="9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00A097"/>
              </a:solidFill>
            </c:spPr>
            <c:extLst>
              <c:ext xmlns:c16="http://schemas.microsoft.com/office/drawing/2014/chart" uri="{C3380CC4-5D6E-409C-BE32-E72D297353CC}">
                <c16:uniqueId val="{00000023-FA3E-4872-B6E1-C4ABDF5766E2}"/>
              </c:ext>
            </c:extLst>
          </c:dPt>
          <c:dPt>
            <c:idx val="17"/>
            <c:invertIfNegative val="1"/>
            <c:bubble3D val="0"/>
            <c:spPr>
              <a:solidFill>
                <a:srgbClr val="00A097"/>
              </a:solidFill>
            </c:spPr>
            <c:extLst>
              <c:ext xmlns:c16="http://schemas.microsoft.com/office/drawing/2014/chart" uri="{C3380CC4-5D6E-409C-BE32-E72D297353CC}">
                <c16:uniqueId val="{00000025-FA3E-4872-B6E1-C4ABDF5766E2}"/>
              </c:ext>
            </c:extLst>
          </c:dPt>
          <c:dPt>
            <c:idx val="18"/>
            <c:invertIfNegative val="1"/>
            <c:bubble3D val="0"/>
            <c:spPr>
              <a:solidFill>
                <a:srgbClr val="00A097"/>
              </a:solidFill>
            </c:spPr>
            <c:extLst>
              <c:ext xmlns:c16="http://schemas.microsoft.com/office/drawing/2014/chart" uri="{C3380CC4-5D6E-409C-BE32-E72D297353CC}">
                <c16:uniqueId val="{00000027-FA3E-4872-B6E1-C4ABDF5766E2}"/>
              </c:ext>
            </c:extLst>
          </c:dPt>
          <c:dPt>
            <c:idx val="19"/>
            <c:invertIfNegative val="1"/>
            <c:bubble3D val="0"/>
            <c:spPr>
              <a:solidFill>
                <a:srgbClr val="00A097"/>
              </a:solidFill>
            </c:spPr>
            <c:extLst>
              <c:ext xmlns:c16="http://schemas.microsoft.com/office/drawing/2014/chart" uri="{C3380CC4-5D6E-409C-BE32-E72D297353CC}">
                <c16:uniqueId val="{00000029-FA3E-4872-B6E1-C4ABDF5766E2}"/>
              </c:ext>
            </c:extLst>
          </c:dPt>
          <c:dPt>
            <c:idx val="20"/>
            <c:invertIfNegative val="1"/>
            <c:bubble3D val="0"/>
            <c:spPr>
              <a:solidFill>
                <a:srgbClr val="00A097"/>
              </a:solidFill>
            </c:spPr>
            <c:extLst>
              <c:ext xmlns:c16="http://schemas.microsoft.com/office/drawing/2014/chart" uri="{C3380CC4-5D6E-409C-BE32-E72D297353CC}">
                <c16:uniqueId val="{0000002B-FA3E-4872-B6E1-C4ABDF5766E2}"/>
              </c:ext>
            </c:extLst>
          </c:dPt>
          <c:dPt>
            <c:idx val="21"/>
            <c:invertIfNegative val="1"/>
            <c:bubble3D val="0"/>
            <c:spPr>
              <a:solidFill>
                <a:srgbClr val="00A097"/>
              </a:solidFill>
            </c:spPr>
            <c:extLst>
              <c:ext xmlns:c16="http://schemas.microsoft.com/office/drawing/2014/chart" uri="{C3380CC4-5D6E-409C-BE32-E72D297353CC}">
                <c16:uniqueId val="{0000002D-FA3E-4872-B6E1-C4ABDF5766E2}"/>
              </c:ext>
            </c:extLst>
          </c:dPt>
          <c:dPt>
            <c:idx val="22"/>
            <c:invertIfNegative val="1"/>
            <c:bubble3D val="0"/>
            <c:spPr>
              <a:solidFill>
                <a:srgbClr val="00A097"/>
              </a:solidFill>
            </c:spPr>
            <c:extLst>
              <c:ext xmlns:c16="http://schemas.microsoft.com/office/drawing/2014/chart" uri="{C3380CC4-5D6E-409C-BE32-E72D297353CC}">
                <c16:uniqueId val="{0000002F-FA3E-4872-B6E1-C4ABDF5766E2}"/>
              </c:ext>
            </c:extLst>
          </c:dPt>
          <c:dPt>
            <c:idx val="23"/>
            <c:invertIfNegative val="1"/>
            <c:bubble3D val="0"/>
            <c:spPr>
              <a:solidFill>
                <a:srgbClr val="00A097"/>
              </a:solidFill>
            </c:spPr>
            <c:extLst>
              <c:ext xmlns:c16="http://schemas.microsoft.com/office/drawing/2014/chart" uri="{C3380CC4-5D6E-409C-BE32-E72D297353CC}">
                <c16:uniqueId val="{00000031-FA3E-4872-B6E1-C4ABDF5766E2}"/>
              </c:ext>
            </c:extLst>
          </c:dPt>
          <c:dPt>
            <c:idx val="24"/>
            <c:invertIfNegative val="1"/>
            <c:bubble3D val="0"/>
            <c:spPr>
              <a:solidFill>
                <a:srgbClr val="00A097"/>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7ECAC4"/>
              </a:solidFill>
            </c:spPr>
            <c:extLst>
              <c:ext xmlns:c16="http://schemas.microsoft.com/office/drawing/2014/chart" uri="{C3380CC4-5D6E-409C-BE32-E72D297353CC}">
                <c16:uniqueId val="{0000003F-FA3E-4872-B6E1-C4ABDF5766E2}"/>
              </c:ext>
            </c:extLst>
          </c:dPt>
          <c:dPt>
            <c:idx val="31"/>
            <c:invertIfNegative val="1"/>
            <c:bubble3D val="0"/>
            <c:spPr>
              <a:solidFill>
                <a:srgbClr val="7ECAC4"/>
              </a:solidFill>
            </c:spPr>
            <c:extLst>
              <c:ext xmlns:c16="http://schemas.microsoft.com/office/drawing/2014/chart" uri="{C3380CC4-5D6E-409C-BE32-E72D297353CC}">
                <c16:uniqueId val="{00000041-FA3E-4872-B6E1-C4ABDF5766E2}"/>
              </c:ext>
            </c:extLst>
          </c:dPt>
          <c:dPt>
            <c:idx val="32"/>
            <c:invertIfNegative val="1"/>
            <c:bubble3D val="0"/>
            <c:spPr>
              <a:solidFill>
                <a:srgbClr val="7ECAC4"/>
              </a:solidFill>
            </c:spPr>
            <c:extLst>
              <c:ext xmlns:c16="http://schemas.microsoft.com/office/drawing/2014/chart" uri="{C3380CC4-5D6E-409C-BE32-E72D297353CC}">
                <c16:uniqueId val="{00000043-FA3E-4872-B6E1-C4ABDF5766E2}"/>
              </c:ext>
            </c:extLst>
          </c:dPt>
          <c:dPt>
            <c:idx val="33"/>
            <c:invertIfNegative val="1"/>
            <c:bubble3D val="0"/>
            <c:spPr>
              <a:solidFill>
                <a:srgbClr val="7ECAC4"/>
              </a:solidFill>
            </c:spPr>
            <c:extLst>
              <c:ext xmlns:c16="http://schemas.microsoft.com/office/drawing/2014/chart" uri="{C3380CC4-5D6E-409C-BE32-E72D297353CC}">
                <c16:uniqueId val="{00000045-FA3E-4872-B6E1-C4ABDF5766E2}"/>
              </c:ext>
            </c:extLst>
          </c:dPt>
          <c:dPt>
            <c:idx val="34"/>
            <c:invertIfNegative val="1"/>
            <c:bubble3D val="0"/>
            <c:spPr>
              <a:solidFill>
                <a:srgbClr val="7ECAC4"/>
              </a:solidFill>
            </c:spPr>
            <c:extLst>
              <c:ext xmlns:c16="http://schemas.microsoft.com/office/drawing/2014/chart" uri="{C3380CC4-5D6E-409C-BE32-E72D297353CC}">
                <c16:uniqueId val="{00000047-FA3E-4872-B6E1-C4ABDF5766E2}"/>
              </c:ext>
            </c:extLst>
          </c:dPt>
          <c:dPt>
            <c:idx val="35"/>
            <c:invertIfNegative val="1"/>
            <c:bubble3D val="0"/>
            <c:spPr>
              <a:solidFill>
                <a:srgbClr val="7ECAC4"/>
              </a:solidFill>
            </c:spPr>
            <c:extLst>
              <c:ext xmlns:c16="http://schemas.microsoft.com/office/drawing/2014/chart" uri="{C3380CC4-5D6E-409C-BE32-E72D297353CC}">
                <c16:uniqueId val="{00000049-FA3E-4872-B6E1-C4ABDF5766E2}"/>
              </c:ext>
            </c:extLst>
          </c:dPt>
          <c:dPt>
            <c:idx val="36"/>
            <c:invertIfNegative val="1"/>
            <c:bubble3D val="0"/>
            <c:spPr>
              <a:solidFill>
                <a:srgbClr val="7ECAC4"/>
              </a:solidFill>
            </c:spPr>
            <c:extLst>
              <c:ext xmlns:c16="http://schemas.microsoft.com/office/drawing/2014/chart" uri="{C3380CC4-5D6E-409C-BE32-E72D297353CC}">
                <c16:uniqueId val="{0000004B-FA3E-4872-B6E1-C4ABDF5766E2}"/>
              </c:ext>
            </c:extLst>
          </c:dPt>
          <c:dPt>
            <c:idx val="37"/>
            <c:invertIfNegative val="1"/>
            <c:bubble3D val="0"/>
            <c:spPr>
              <a:solidFill>
                <a:srgbClr val="7ECAC4"/>
              </a:solidFill>
            </c:spPr>
            <c:extLst>
              <c:ext xmlns:c16="http://schemas.microsoft.com/office/drawing/2014/chart" uri="{C3380CC4-5D6E-409C-BE32-E72D297353CC}">
                <c16:uniqueId val="{0000004D-FA3E-4872-B6E1-C4ABDF5766E2}"/>
              </c:ext>
            </c:extLst>
          </c:dPt>
          <c:dPt>
            <c:idx val="38"/>
            <c:invertIfNegative val="1"/>
            <c:bubble3D val="0"/>
            <c:spPr>
              <a:solidFill>
                <a:srgbClr val="7ECAC4"/>
              </a:solidFill>
            </c:spPr>
            <c:extLst>
              <c:ext xmlns:c16="http://schemas.microsoft.com/office/drawing/2014/chart" uri="{C3380CC4-5D6E-409C-BE32-E72D297353CC}">
                <c16:uniqueId val="{0000004F-FA3E-4872-B6E1-C4ABDF5766E2}"/>
              </c:ext>
            </c:extLst>
          </c:dPt>
          <c:dPt>
            <c:idx val="39"/>
            <c:invertIfNegative val="1"/>
            <c:bubble3D val="0"/>
            <c:spPr>
              <a:solidFill>
                <a:srgbClr val="7ECAC4"/>
              </a:solidFill>
            </c:spPr>
            <c:extLst>
              <c:ext xmlns:c16="http://schemas.microsoft.com/office/drawing/2014/chart" uri="{C3380CC4-5D6E-409C-BE32-E72D297353CC}">
                <c16:uniqueId val="{00000051-FA3E-4872-B6E1-C4ABDF5766E2}"/>
              </c:ext>
            </c:extLst>
          </c:dPt>
          <c:dPt>
            <c:idx val="40"/>
            <c:invertIfNegative val="1"/>
            <c:bubble3D val="0"/>
            <c:spPr>
              <a:solidFill>
                <a:srgbClr val="7ECAC4"/>
              </a:solidFill>
            </c:spPr>
            <c:extLst>
              <c:ext xmlns:c16="http://schemas.microsoft.com/office/drawing/2014/chart" uri="{C3380CC4-5D6E-409C-BE32-E72D297353CC}">
                <c16:uniqueId val="{00000053-FA3E-4872-B6E1-C4ABDF5766E2}"/>
              </c:ext>
            </c:extLst>
          </c:dPt>
          <c:dPt>
            <c:idx val="41"/>
            <c:invertIfNegative val="1"/>
            <c:bubble3D val="0"/>
            <c:spPr>
              <a:solidFill>
                <a:srgbClr val="7ECAC4"/>
              </a:solidFill>
            </c:spPr>
            <c:extLst>
              <c:ext xmlns:c16="http://schemas.microsoft.com/office/drawing/2014/chart" uri="{C3380CC4-5D6E-409C-BE32-E72D297353CC}">
                <c16:uniqueId val="{00000055-FA3E-4872-B6E1-C4ABDF5766E2}"/>
              </c:ext>
            </c:extLst>
          </c:dPt>
          <c:dPt>
            <c:idx val="42"/>
            <c:invertIfNegative val="1"/>
            <c:bubble3D val="0"/>
            <c:spPr>
              <a:solidFill>
                <a:srgbClr val="7ECAC4"/>
              </a:solidFill>
            </c:spPr>
            <c:extLst>
              <c:ext xmlns:c16="http://schemas.microsoft.com/office/drawing/2014/chart" uri="{C3380CC4-5D6E-409C-BE32-E72D297353CC}">
                <c16:uniqueId val="{00000057-FA3E-4872-B6E1-C4ABDF5766E2}"/>
              </c:ext>
            </c:extLst>
          </c:dPt>
          <c:dPt>
            <c:idx val="43"/>
            <c:invertIfNegative val="1"/>
            <c:bubble3D val="0"/>
            <c:spPr>
              <a:solidFill>
                <a:srgbClr val="7ECAC4"/>
              </a:solidFill>
            </c:spPr>
            <c:extLst>
              <c:ext xmlns:c16="http://schemas.microsoft.com/office/drawing/2014/chart" uri="{C3380CC4-5D6E-409C-BE32-E72D297353CC}">
                <c16:uniqueId val="{00000059-FA3E-4872-B6E1-C4ABDF5766E2}"/>
              </c:ext>
            </c:extLst>
          </c:dPt>
          <c:dPt>
            <c:idx val="44"/>
            <c:invertIfNegative val="1"/>
            <c:bubble3D val="0"/>
            <c:spPr>
              <a:solidFill>
                <a:srgbClr val="7ECAC4"/>
              </a:solidFill>
            </c:spPr>
            <c:extLst>
              <c:ext xmlns:c16="http://schemas.microsoft.com/office/drawing/2014/chart" uri="{C3380CC4-5D6E-409C-BE32-E72D297353CC}">
                <c16:uniqueId val="{0000005B-B3F5-4152-AB06-5B7F2F29175C}"/>
              </c:ext>
            </c:extLst>
          </c:dPt>
          <c:dPt>
            <c:idx val="45"/>
            <c:invertIfNegative val="1"/>
            <c:bubble3D val="0"/>
            <c:spPr>
              <a:solidFill>
                <a:srgbClr val="7ECAC4"/>
              </a:solidFill>
            </c:spPr>
            <c:extLst>
              <c:ext xmlns:c16="http://schemas.microsoft.com/office/drawing/2014/chart" uri="{C3380CC4-5D6E-409C-BE32-E72D297353CC}">
                <c16:uniqueId val="{0000005D-B3F5-4152-AB06-5B7F2F29175C}"/>
              </c:ext>
            </c:extLst>
          </c:dPt>
          <c:dPt>
            <c:idx val="46"/>
            <c:invertIfNegative val="1"/>
            <c:bubble3D val="0"/>
            <c:spPr>
              <a:solidFill>
                <a:srgbClr val="7ECAC4"/>
              </a:solidFill>
            </c:spPr>
            <c:extLst>
              <c:ext xmlns:c16="http://schemas.microsoft.com/office/drawing/2014/chart" uri="{C3380CC4-5D6E-409C-BE32-E72D297353CC}">
                <c16:uniqueId val="{0000005F-B3F5-4152-AB06-5B7F2F29175C}"/>
              </c:ext>
            </c:extLst>
          </c:dPt>
          <c:dPt>
            <c:idx val="47"/>
            <c:invertIfNegative val="1"/>
            <c:bubble3D val="0"/>
            <c:spPr>
              <a:solidFill>
                <a:srgbClr val="AEABAB"/>
              </a:solidFill>
            </c:spPr>
            <c:extLst>
              <c:ext xmlns:c16="http://schemas.microsoft.com/office/drawing/2014/chart" uri="{C3380CC4-5D6E-409C-BE32-E72D297353CC}">
                <c16:uniqueId val="{00000061-B3F5-4152-AB06-5B7F2F29175C}"/>
              </c:ext>
            </c:extLst>
          </c:dPt>
          <c:dPt>
            <c:idx val="48"/>
            <c:invertIfNegative val="1"/>
            <c:bubble3D val="0"/>
            <c:spPr>
              <a:solidFill>
                <a:srgbClr val="AEABAB"/>
              </a:solidFill>
            </c:spPr>
            <c:extLst>
              <c:ext xmlns:c16="http://schemas.microsoft.com/office/drawing/2014/chart" uri="{C3380CC4-5D6E-409C-BE32-E72D297353CC}">
                <c16:uniqueId val="{00000063-B3F5-4152-AB06-5B7F2F29175C}"/>
              </c:ext>
            </c:extLst>
          </c:dPt>
          <c:dPt>
            <c:idx val="49"/>
            <c:invertIfNegative val="1"/>
            <c:bubble3D val="0"/>
            <c:spPr>
              <a:solidFill>
                <a:srgbClr val="AEABAB"/>
              </a:solidFill>
            </c:spPr>
            <c:extLst>
              <c:ext xmlns:c16="http://schemas.microsoft.com/office/drawing/2014/chart" uri="{C3380CC4-5D6E-409C-BE32-E72D297353CC}">
                <c16:uniqueId val="{00000065-B3F5-4152-AB06-5B7F2F29175C}"/>
              </c:ext>
            </c:extLst>
          </c:dPt>
          <c:dPt>
            <c:idx val="50"/>
            <c:invertIfNegative val="1"/>
            <c:bubble3D val="0"/>
            <c:spPr>
              <a:solidFill>
                <a:srgbClr val="AEABAB"/>
              </a:solidFill>
            </c:spPr>
            <c:extLst>
              <c:ext xmlns:c16="http://schemas.microsoft.com/office/drawing/2014/chart" uri="{C3380CC4-5D6E-409C-BE32-E72D297353CC}">
                <c16:uniqueId val="{00000067-B3F5-4152-AB06-5B7F2F29175C}"/>
              </c:ext>
            </c:extLst>
          </c:dPt>
          <c:dPt>
            <c:idx val="51"/>
            <c:invertIfNegative val="1"/>
            <c:bubble3D val="0"/>
            <c:spPr>
              <a:solidFill>
                <a:srgbClr val="AEABAB"/>
              </a:solidFill>
            </c:spPr>
            <c:extLst>
              <c:ext xmlns:c16="http://schemas.microsoft.com/office/drawing/2014/chart" uri="{C3380CC4-5D6E-409C-BE32-E72D297353CC}">
                <c16:uniqueId val="{00000069-B3F5-4152-AB06-5B7F2F29175C}"/>
              </c:ext>
            </c:extLst>
          </c:dPt>
          <c:dPt>
            <c:idx val="52"/>
            <c:invertIfNegative val="1"/>
            <c:bubble3D val="0"/>
            <c:spPr>
              <a:solidFill>
                <a:srgbClr val="AEABAB"/>
              </a:solidFill>
            </c:spPr>
            <c:extLst>
              <c:ext xmlns:c16="http://schemas.microsoft.com/office/drawing/2014/chart" uri="{C3380CC4-5D6E-409C-BE32-E72D297353CC}">
                <c16:uniqueId val="{0000006B-B3F5-4152-AB06-5B7F2F29175C}"/>
              </c:ext>
            </c:extLst>
          </c:dPt>
          <c:dPt>
            <c:idx val="53"/>
            <c:invertIfNegative val="1"/>
            <c:bubble3D val="0"/>
            <c:spPr>
              <a:solidFill>
                <a:srgbClr val="AEABAB"/>
              </a:solidFill>
            </c:spPr>
            <c:extLst>
              <c:ext xmlns:c16="http://schemas.microsoft.com/office/drawing/2014/chart" uri="{C3380CC4-5D6E-409C-BE32-E72D297353CC}">
                <c16:uniqueId val="{0000006D-B3F5-4152-AB06-5B7F2F29175C}"/>
              </c:ext>
            </c:extLst>
          </c:dPt>
          <c:dPt>
            <c:idx val="54"/>
            <c:invertIfNegative val="1"/>
            <c:bubble3D val="0"/>
            <c:spPr>
              <a:solidFill>
                <a:srgbClr val="AEABAB"/>
              </a:solidFill>
            </c:spPr>
            <c:extLst>
              <c:ext xmlns:c16="http://schemas.microsoft.com/office/drawing/2014/chart" uri="{C3380CC4-5D6E-409C-BE32-E72D297353CC}">
                <c16:uniqueId val="{0000006F-B3F5-4152-AB06-5B7F2F29175C}"/>
              </c:ext>
            </c:extLst>
          </c:dPt>
          <c:dPt>
            <c:idx val="55"/>
            <c:invertIfNegative val="1"/>
            <c:bubble3D val="0"/>
            <c:spPr>
              <a:solidFill>
                <a:srgbClr val="AEABAB"/>
              </a:solidFill>
            </c:spPr>
            <c:extLst>
              <c:ext xmlns:c16="http://schemas.microsoft.com/office/drawing/2014/chart" uri="{C3380CC4-5D6E-409C-BE32-E72D297353CC}">
                <c16:uniqueId val="{00000071-B3F5-4152-AB06-5B7F2F29175C}"/>
              </c:ext>
            </c:extLst>
          </c:dPt>
          <c:dPt>
            <c:idx val="56"/>
            <c:invertIfNegative val="1"/>
            <c:bubble3D val="0"/>
            <c:spPr>
              <a:solidFill>
                <a:srgbClr val="AEABAB"/>
              </a:solidFill>
            </c:spPr>
            <c:extLst>
              <c:ext xmlns:c16="http://schemas.microsoft.com/office/drawing/2014/chart" uri="{C3380CC4-5D6E-409C-BE32-E72D297353CC}">
                <c16:uniqueId val="{00000073-B3F5-4152-AB06-5B7F2F29175C}"/>
              </c:ext>
            </c:extLst>
          </c:dPt>
          <c:dPt>
            <c:idx val="57"/>
            <c:invertIfNegative val="1"/>
            <c:bubble3D val="0"/>
            <c:spPr>
              <a:solidFill>
                <a:srgbClr val="AEABAB"/>
              </a:solidFill>
            </c:spPr>
            <c:extLst>
              <c:ext xmlns:c16="http://schemas.microsoft.com/office/drawing/2014/chart" uri="{C3380CC4-5D6E-409C-BE32-E72D297353CC}">
                <c16:uniqueId val="{00000075-B3F5-4152-AB06-5B7F2F29175C}"/>
              </c:ext>
            </c:extLst>
          </c:dPt>
          <c:dPt>
            <c:idx val="58"/>
            <c:invertIfNegative val="1"/>
            <c:bubble3D val="0"/>
            <c:spPr>
              <a:solidFill>
                <a:srgbClr val="AEABAB"/>
              </a:solidFill>
            </c:spPr>
            <c:extLst>
              <c:ext xmlns:c16="http://schemas.microsoft.com/office/drawing/2014/chart" uri="{C3380CC4-5D6E-409C-BE32-E72D297353CC}">
                <c16:uniqueId val="{00000077-B3F5-4152-AB06-5B7F2F29175C}"/>
              </c:ext>
            </c:extLst>
          </c:dPt>
          <c:dPt>
            <c:idx val="59"/>
            <c:invertIfNegative val="1"/>
            <c:bubble3D val="0"/>
            <c:spPr>
              <a:solidFill>
                <a:srgbClr val="AEABAB"/>
              </a:solidFill>
            </c:spPr>
            <c:extLst>
              <c:ext xmlns:c16="http://schemas.microsoft.com/office/drawing/2014/chart" uri="{C3380CC4-5D6E-409C-BE32-E72D297353CC}">
                <c16:uniqueId val="{00000079-B3F5-4152-AB06-5B7F2F29175C}"/>
              </c:ext>
            </c:extLst>
          </c:dPt>
          <c:dPt>
            <c:idx val="60"/>
            <c:invertIfNegative val="1"/>
            <c:bubble3D val="0"/>
            <c:spPr>
              <a:solidFill>
                <a:srgbClr val="AEABAB"/>
              </a:solidFill>
            </c:spPr>
            <c:extLst>
              <c:ext xmlns:c16="http://schemas.microsoft.com/office/drawing/2014/chart" uri="{C3380CC4-5D6E-409C-BE32-E72D297353CC}">
                <c16:uniqueId val="{0000007B-B3F5-4152-AB06-5B7F2F29175C}"/>
              </c:ext>
            </c:extLst>
          </c:dPt>
          <c:dPt>
            <c:idx val="61"/>
            <c:invertIfNegative val="1"/>
            <c:bubble3D val="0"/>
            <c:spPr>
              <a:solidFill>
                <a:srgbClr val="AEABAB"/>
              </a:solidFill>
            </c:spPr>
            <c:extLst>
              <c:ext xmlns:c16="http://schemas.microsoft.com/office/drawing/2014/chart" uri="{C3380CC4-5D6E-409C-BE32-E72D297353CC}">
                <c16:uniqueId val="{0000007D-B3F5-4152-AB06-5B7F2F29175C}"/>
              </c:ext>
            </c:extLst>
          </c:dPt>
          <c:dPt>
            <c:idx val="62"/>
            <c:invertIfNegative val="1"/>
            <c:bubble3D val="0"/>
            <c:spPr>
              <a:solidFill>
                <a:srgbClr val="AEABAB"/>
              </a:solidFill>
            </c:spPr>
            <c:extLst>
              <c:ext xmlns:c16="http://schemas.microsoft.com/office/drawing/2014/chart" uri="{C3380CC4-5D6E-409C-BE32-E72D297353CC}">
                <c16:uniqueId val="{0000007F-B3F5-4152-AB06-5B7F2F29175C}"/>
              </c:ext>
            </c:extLst>
          </c:dPt>
          <c:dPt>
            <c:idx val="63"/>
            <c:invertIfNegative val="1"/>
            <c:bubble3D val="0"/>
            <c:spPr>
              <a:solidFill>
                <a:srgbClr val="AEABAB"/>
              </a:solidFill>
            </c:spPr>
            <c:extLst>
              <c:ext xmlns:c16="http://schemas.microsoft.com/office/drawing/2014/chart" uri="{C3380CC4-5D6E-409C-BE32-E72D297353CC}">
                <c16:uniqueId val="{00000081-B3F5-4152-AB06-5B7F2F29175C}"/>
              </c:ext>
            </c:extLst>
          </c:dPt>
          <c:dPt>
            <c:idx val="64"/>
            <c:invertIfNegative val="1"/>
            <c:bubble3D val="0"/>
            <c:spPr>
              <a:solidFill>
                <a:srgbClr val="AEABAB"/>
              </a:solidFill>
            </c:spPr>
            <c:extLst>
              <c:ext xmlns:c16="http://schemas.microsoft.com/office/drawing/2014/chart" uri="{C3380CC4-5D6E-409C-BE32-E72D297353CC}">
                <c16:uniqueId val="{00000083-B3F5-4152-AB06-5B7F2F29175C}"/>
              </c:ext>
            </c:extLst>
          </c:dPt>
          <c:dPt>
            <c:idx val="65"/>
            <c:invertIfNegative val="1"/>
            <c:bubble3D val="0"/>
            <c:spPr>
              <a:solidFill>
                <a:srgbClr val="AEABAB"/>
              </a:solidFill>
            </c:spPr>
            <c:extLst>
              <c:ext xmlns:c16="http://schemas.microsoft.com/office/drawing/2014/chart" uri="{C3380CC4-5D6E-409C-BE32-E72D297353CC}">
                <c16:uniqueId val="{00000085-B3F5-4152-AB06-5B7F2F29175C}"/>
              </c:ext>
            </c:extLst>
          </c:dPt>
          <c:dPt>
            <c:idx val="66"/>
            <c:invertIfNegative val="1"/>
            <c:bubble3D val="0"/>
            <c:spPr>
              <a:solidFill>
                <a:srgbClr val="AEABAB"/>
              </a:solidFill>
            </c:spPr>
            <c:extLst>
              <c:ext xmlns:c16="http://schemas.microsoft.com/office/drawing/2014/chart" uri="{C3380CC4-5D6E-409C-BE32-E72D297353CC}">
                <c16:uniqueId val="{00000087-B3F5-4152-AB06-5B7F2F29175C}"/>
              </c:ext>
            </c:extLst>
          </c:dPt>
          <c:dPt>
            <c:idx val="67"/>
            <c:invertIfNegative val="1"/>
            <c:bubble3D val="0"/>
            <c:spPr>
              <a:solidFill>
                <a:srgbClr val="AEABAB"/>
              </a:solidFill>
            </c:spPr>
            <c:extLst>
              <c:ext xmlns:c16="http://schemas.microsoft.com/office/drawing/2014/chart" uri="{C3380CC4-5D6E-409C-BE32-E72D297353CC}">
                <c16:uniqueId val="{00000089-B3F5-4152-AB06-5B7F2F29175C}"/>
              </c:ext>
            </c:extLst>
          </c:dPt>
          <c:dPt>
            <c:idx val="68"/>
            <c:invertIfNegative val="1"/>
            <c:bubble3D val="0"/>
            <c:spPr>
              <a:solidFill>
                <a:srgbClr val="AEABAB"/>
              </a:solidFill>
            </c:spPr>
            <c:extLst>
              <c:ext xmlns:c16="http://schemas.microsoft.com/office/drawing/2014/chart" uri="{C3380CC4-5D6E-409C-BE32-E72D297353CC}">
                <c16:uniqueId val="{0000008B-B3F5-4152-AB06-5B7F2F29175C}"/>
              </c:ext>
            </c:extLst>
          </c:dPt>
          <c:dPt>
            <c:idx val="69"/>
            <c:invertIfNegative val="1"/>
            <c:bubble3D val="0"/>
            <c:spPr>
              <a:solidFill>
                <a:srgbClr val="AEABAB"/>
              </a:solidFill>
            </c:spPr>
            <c:extLst>
              <c:ext xmlns:c16="http://schemas.microsoft.com/office/drawing/2014/chart" uri="{C3380CC4-5D6E-409C-BE32-E72D297353CC}">
                <c16:uniqueId val="{0000008D-B3F5-4152-AB06-5B7F2F29175C}"/>
              </c:ext>
            </c:extLst>
          </c:dPt>
          <c:dPt>
            <c:idx val="70"/>
            <c:invertIfNegative val="1"/>
            <c:bubble3D val="0"/>
            <c:spPr>
              <a:solidFill>
                <a:srgbClr val="AEABAB"/>
              </a:solidFill>
            </c:spPr>
            <c:extLst>
              <c:ext xmlns:c16="http://schemas.microsoft.com/office/drawing/2014/chart" uri="{C3380CC4-5D6E-409C-BE32-E72D297353CC}">
                <c16:uniqueId val="{0000008F-B3F5-4152-AB06-5B7F2F29175C}"/>
              </c:ext>
            </c:extLst>
          </c:dPt>
          <c:dPt>
            <c:idx val="71"/>
            <c:invertIfNegative val="1"/>
            <c:bubble3D val="0"/>
            <c:spPr>
              <a:solidFill>
                <a:srgbClr val="AEABAB"/>
              </a:solidFill>
            </c:spPr>
            <c:extLst>
              <c:ext xmlns:c16="http://schemas.microsoft.com/office/drawing/2014/chart" uri="{C3380CC4-5D6E-409C-BE32-E72D297353CC}">
                <c16:uniqueId val="{00000091-B3F5-4152-AB06-5B7F2F29175C}"/>
              </c:ext>
            </c:extLst>
          </c:dPt>
          <c:dPt>
            <c:idx val="72"/>
            <c:invertIfNegative val="1"/>
            <c:bubble3D val="0"/>
            <c:spPr>
              <a:solidFill>
                <a:srgbClr val="AEABAB"/>
              </a:solidFill>
            </c:spPr>
            <c:extLst>
              <c:ext xmlns:c16="http://schemas.microsoft.com/office/drawing/2014/chart" uri="{C3380CC4-5D6E-409C-BE32-E72D297353CC}">
                <c16:uniqueId val="{00000093-B3F5-4152-AB06-5B7F2F29175C}"/>
              </c:ext>
            </c:extLst>
          </c:dPt>
          <c:dPt>
            <c:idx val="73"/>
            <c:invertIfNegative val="1"/>
            <c:bubble3D val="0"/>
            <c:spPr>
              <a:solidFill>
                <a:srgbClr val="AEABAB"/>
              </a:solidFill>
            </c:spPr>
            <c:extLst>
              <c:ext xmlns:c16="http://schemas.microsoft.com/office/drawing/2014/chart" uri="{C3380CC4-5D6E-409C-BE32-E72D297353CC}">
                <c16:uniqueId val="{00000095-B3F5-4152-AB06-5B7F2F29175C}"/>
              </c:ext>
            </c:extLst>
          </c:dPt>
          <c:dPt>
            <c:idx val="74"/>
            <c:invertIfNegative val="1"/>
            <c:bubble3D val="0"/>
            <c:spPr>
              <a:solidFill>
                <a:srgbClr val="AEABAB"/>
              </a:solidFill>
            </c:spPr>
            <c:extLst>
              <c:ext xmlns:c16="http://schemas.microsoft.com/office/drawing/2014/chart" uri="{C3380CC4-5D6E-409C-BE32-E72D297353CC}">
                <c16:uniqueId val="{00000097-B3F5-4152-AB06-5B7F2F29175C}"/>
              </c:ext>
            </c:extLst>
          </c:dPt>
          <c:dPt>
            <c:idx val="75"/>
            <c:invertIfNegative val="1"/>
            <c:bubble3D val="0"/>
            <c:spPr>
              <a:solidFill>
                <a:srgbClr val="AEABAB"/>
              </a:solidFill>
            </c:spPr>
            <c:extLst>
              <c:ext xmlns:c16="http://schemas.microsoft.com/office/drawing/2014/chart" uri="{C3380CC4-5D6E-409C-BE32-E72D297353CC}">
                <c16:uniqueId val="{00000099-B3F5-4152-AB06-5B7F2F29175C}"/>
              </c:ext>
            </c:extLst>
          </c:dPt>
          <c:dPt>
            <c:idx val="76"/>
            <c:invertIfNegative val="1"/>
            <c:bubble3D val="0"/>
            <c:spPr>
              <a:solidFill>
                <a:srgbClr val="AEABAB"/>
              </a:solidFill>
            </c:spPr>
            <c:extLst>
              <c:ext xmlns:c16="http://schemas.microsoft.com/office/drawing/2014/chart" uri="{C3380CC4-5D6E-409C-BE32-E72D297353CC}">
                <c16:uniqueId val="{0000009B-B3F5-4152-AB06-5B7F2F29175C}"/>
              </c:ext>
            </c:extLst>
          </c:dPt>
          <c:dPt>
            <c:idx val="77"/>
            <c:invertIfNegative val="1"/>
            <c:bubble3D val="0"/>
            <c:spPr>
              <a:solidFill>
                <a:srgbClr val="AEABAB"/>
              </a:solidFill>
            </c:spPr>
            <c:extLst>
              <c:ext xmlns:c16="http://schemas.microsoft.com/office/drawing/2014/chart" uri="{C3380CC4-5D6E-409C-BE32-E72D297353CC}">
                <c16:uniqueId val="{0000009D-B3F5-4152-AB06-5B7F2F29175C}"/>
              </c:ext>
            </c:extLst>
          </c:dPt>
          <c:dPt>
            <c:idx val="78"/>
            <c:invertIfNegative val="1"/>
            <c:bubble3D val="0"/>
            <c:spPr>
              <a:solidFill>
                <a:srgbClr val="AEABAB"/>
              </a:solidFill>
            </c:spPr>
            <c:extLst>
              <c:ext xmlns:c16="http://schemas.microsoft.com/office/drawing/2014/chart" uri="{C3380CC4-5D6E-409C-BE32-E72D297353CC}">
                <c16:uniqueId val="{0000009F-B3F5-4152-AB06-5B7F2F29175C}"/>
              </c:ext>
            </c:extLst>
          </c:dPt>
          <c:dPt>
            <c:idx val="79"/>
            <c:invertIfNegative val="1"/>
            <c:bubble3D val="0"/>
            <c:spPr>
              <a:solidFill>
                <a:srgbClr val="AEABAB"/>
              </a:solidFill>
            </c:spPr>
            <c:extLst>
              <c:ext xmlns:c16="http://schemas.microsoft.com/office/drawing/2014/chart" uri="{C3380CC4-5D6E-409C-BE32-E72D297353CC}">
                <c16:uniqueId val="{000000A1-B3F5-4152-AB06-5B7F2F29175C}"/>
              </c:ext>
            </c:extLst>
          </c:dPt>
          <c:dPt>
            <c:idx val="80"/>
            <c:invertIfNegative val="1"/>
            <c:bubble3D val="0"/>
            <c:spPr>
              <a:solidFill>
                <a:srgbClr val="AEABAB"/>
              </a:solidFill>
            </c:spPr>
            <c:extLst>
              <c:ext xmlns:c16="http://schemas.microsoft.com/office/drawing/2014/chart" uri="{C3380CC4-5D6E-409C-BE32-E72D297353CC}">
                <c16:uniqueId val="{000000A3-B3F5-4152-AB06-5B7F2F29175C}"/>
              </c:ext>
            </c:extLst>
          </c:dPt>
          <c:dPt>
            <c:idx val="81"/>
            <c:invertIfNegative val="1"/>
            <c:bubble3D val="0"/>
            <c:spPr>
              <a:solidFill>
                <a:srgbClr val="AEABAB"/>
              </a:solidFill>
            </c:spPr>
            <c:extLst>
              <c:ext xmlns:c16="http://schemas.microsoft.com/office/drawing/2014/chart" uri="{C3380CC4-5D6E-409C-BE32-E72D297353CC}">
                <c16:uniqueId val="{000000A5-B3F5-4152-AB06-5B7F2F29175C}"/>
              </c:ext>
            </c:extLst>
          </c:dPt>
          <c:dPt>
            <c:idx val="82"/>
            <c:invertIfNegative val="1"/>
            <c:bubble3D val="0"/>
            <c:spPr>
              <a:solidFill>
                <a:srgbClr val="AEABAB"/>
              </a:solidFill>
            </c:spPr>
            <c:extLst>
              <c:ext xmlns:c16="http://schemas.microsoft.com/office/drawing/2014/chart" uri="{C3380CC4-5D6E-409C-BE32-E72D297353CC}">
                <c16:uniqueId val="{000000A7-B3F5-4152-AB06-5B7F2F29175C}"/>
              </c:ext>
            </c:extLst>
          </c:dPt>
          <c:dPt>
            <c:idx val="83"/>
            <c:invertIfNegative val="1"/>
            <c:bubble3D val="0"/>
            <c:spPr>
              <a:solidFill>
                <a:srgbClr val="AEABAB"/>
              </a:solidFill>
            </c:spPr>
            <c:extLst>
              <c:ext xmlns:c16="http://schemas.microsoft.com/office/drawing/2014/chart" uri="{C3380CC4-5D6E-409C-BE32-E72D297353CC}">
                <c16:uniqueId val="{000000A9-B3F5-4152-AB06-5B7F2F29175C}"/>
              </c:ext>
            </c:extLst>
          </c:dPt>
          <c:dPt>
            <c:idx val="84"/>
            <c:invertIfNegative val="1"/>
            <c:bubble3D val="0"/>
            <c:spPr>
              <a:solidFill>
                <a:srgbClr val="AEABAB"/>
              </a:solidFill>
            </c:spPr>
            <c:extLst>
              <c:ext xmlns:c16="http://schemas.microsoft.com/office/drawing/2014/chart" uri="{C3380CC4-5D6E-409C-BE32-E72D297353CC}">
                <c16:uniqueId val="{000000AB-B3F5-4152-AB06-5B7F2F29175C}"/>
              </c:ext>
            </c:extLst>
          </c:dPt>
          <c:dPt>
            <c:idx val="85"/>
            <c:invertIfNegative val="1"/>
            <c:bubble3D val="0"/>
            <c:spPr>
              <a:solidFill>
                <a:srgbClr val="AEABAB"/>
              </a:solidFill>
            </c:spPr>
            <c:extLst>
              <c:ext xmlns:c16="http://schemas.microsoft.com/office/drawing/2014/chart" uri="{C3380CC4-5D6E-409C-BE32-E72D297353CC}">
                <c16:uniqueId val="{000000AD-B3F5-4152-AB06-5B7F2F29175C}"/>
              </c:ext>
            </c:extLst>
          </c:dPt>
          <c:dPt>
            <c:idx val="86"/>
            <c:invertIfNegative val="1"/>
            <c:bubble3D val="0"/>
            <c:spPr>
              <a:solidFill>
                <a:srgbClr val="AEABAB"/>
              </a:solidFill>
            </c:spPr>
            <c:extLst>
              <c:ext xmlns:c16="http://schemas.microsoft.com/office/drawing/2014/chart" uri="{C3380CC4-5D6E-409C-BE32-E72D297353CC}">
                <c16:uniqueId val="{000000AF-B3F5-4152-AB06-5B7F2F29175C}"/>
              </c:ext>
            </c:extLst>
          </c:dPt>
          <c:dPt>
            <c:idx val="87"/>
            <c:invertIfNegative val="1"/>
            <c:bubble3D val="0"/>
            <c:spPr>
              <a:solidFill>
                <a:srgbClr val="AEABAB"/>
              </a:solidFill>
            </c:spPr>
            <c:extLst>
              <c:ext xmlns:c16="http://schemas.microsoft.com/office/drawing/2014/chart" uri="{C3380CC4-5D6E-409C-BE32-E72D297353CC}">
                <c16:uniqueId val="{000000B1-B3F5-4152-AB06-5B7F2F29175C}"/>
              </c:ext>
            </c:extLst>
          </c:dPt>
          <c:dPt>
            <c:idx val="88"/>
            <c:invertIfNegative val="1"/>
            <c:bubble3D val="0"/>
            <c:spPr>
              <a:solidFill>
                <a:srgbClr val="AEABAB"/>
              </a:solidFill>
            </c:spPr>
            <c:extLst>
              <c:ext xmlns:c16="http://schemas.microsoft.com/office/drawing/2014/chart" uri="{C3380CC4-5D6E-409C-BE32-E72D297353CC}">
                <c16:uniqueId val="{000000B3-B3F5-4152-AB06-5B7F2F29175C}"/>
              </c:ext>
            </c:extLst>
          </c:dPt>
          <c:dPt>
            <c:idx val="89"/>
            <c:invertIfNegative val="1"/>
            <c:bubble3D val="0"/>
            <c:spPr>
              <a:solidFill>
                <a:srgbClr val="AEABAB"/>
              </a:solidFill>
            </c:spPr>
            <c:extLst>
              <c:ext xmlns:c16="http://schemas.microsoft.com/office/drawing/2014/chart" uri="{C3380CC4-5D6E-409C-BE32-E72D297353CC}">
                <c16:uniqueId val="{000000B5-B3F5-4152-AB06-5B7F2F29175C}"/>
              </c:ext>
            </c:extLst>
          </c:dPt>
          <c:dPt>
            <c:idx val="90"/>
            <c:invertIfNegative val="1"/>
            <c:bubble3D val="0"/>
            <c:spPr>
              <a:solidFill>
                <a:srgbClr val="AEABAB"/>
              </a:solidFill>
            </c:spPr>
            <c:extLst>
              <c:ext xmlns:c16="http://schemas.microsoft.com/office/drawing/2014/chart" uri="{C3380CC4-5D6E-409C-BE32-E72D297353CC}">
                <c16:uniqueId val="{000000B7-B3F5-4152-AB06-5B7F2F29175C}"/>
              </c:ext>
            </c:extLst>
          </c:dPt>
          <c:dPt>
            <c:idx val="91"/>
            <c:invertIfNegative val="1"/>
            <c:bubble3D val="0"/>
            <c:spPr>
              <a:solidFill>
                <a:srgbClr val="AEABAB"/>
              </a:solidFill>
            </c:spPr>
            <c:extLst>
              <c:ext xmlns:c16="http://schemas.microsoft.com/office/drawing/2014/chart" uri="{C3380CC4-5D6E-409C-BE32-E72D297353CC}">
                <c16:uniqueId val="{000000B9-B3F5-4152-AB06-5B7F2F29175C}"/>
              </c:ext>
            </c:extLst>
          </c:dPt>
          <c:dPt>
            <c:idx val="92"/>
            <c:invertIfNegative val="1"/>
            <c:bubble3D val="0"/>
            <c:spPr>
              <a:solidFill>
                <a:srgbClr val="AEABAB"/>
              </a:solidFill>
            </c:spPr>
            <c:extLst>
              <c:ext xmlns:c16="http://schemas.microsoft.com/office/drawing/2014/chart" uri="{C3380CC4-5D6E-409C-BE32-E72D297353CC}">
                <c16:uniqueId val="{000000BB-B3F5-4152-AB06-5B7F2F29175C}"/>
              </c:ext>
            </c:extLst>
          </c:dPt>
          <c:dPt>
            <c:idx val="93"/>
            <c:invertIfNegative val="1"/>
            <c:bubble3D val="0"/>
            <c:spPr>
              <a:solidFill>
                <a:srgbClr val="AEABAB"/>
              </a:solidFill>
            </c:spPr>
            <c:extLst>
              <c:ext xmlns:c16="http://schemas.microsoft.com/office/drawing/2014/chart" uri="{C3380CC4-5D6E-409C-BE32-E72D297353CC}">
                <c16:uniqueId val="{000000BD-B3F5-4152-AB06-5B7F2F29175C}"/>
              </c:ext>
            </c:extLst>
          </c:dPt>
          <c:dPt>
            <c:idx val="94"/>
            <c:invertIfNegative val="1"/>
            <c:bubble3D val="0"/>
            <c:spPr>
              <a:solidFill>
                <a:srgbClr val="AEABAB"/>
              </a:solidFill>
            </c:spPr>
            <c:extLst>
              <c:ext xmlns:c16="http://schemas.microsoft.com/office/drawing/2014/chart" uri="{C3380CC4-5D6E-409C-BE32-E72D297353CC}">
                <c16:uniqueId val="{000000BF-B3F5-4152-AB06-5B7F2F29175C}"/>
              </c:ext>
            </c:extLst>
          </c:dPt>
          <c:dPt>
            <c:idx val="95"/>
            <c:invertIfNegative val="1"/>
            <c:bubble3D val="0"/>
            <c:spPr>
              <a:solidFill>
                <a:srgbClr val="AEABAB"/>
              </a:solidFill>
            </c:spPr>
            <c:extLst>
              <c:ext xmlns:c16="http://schemas.microsoft.com/office/drawing/2014/chart" uri="{C3380CC4-5D6E-409C-BE32-E72D297353CC}">
                <c16:uniqueId val="{000000C1-B3F5-4152-AB06-5B7F2F29175C}"/>
              </c:ext>
            </c:extLst>
          </c:dPt>
          <c:dPt>
            <c:idx val="96"/>
            <c:invertIfNegative val="1"/>
            <c:bubble3D val="0"/>
            <c:spPr>
              <a:solidFill>
                <a:srgbClr val="AEABAB"/>
              </a:solidFill>
            </c:spPr>
            <c:extLst>
              <c:ext xmlns:c16="http://schemas.microsoft.com/office/drawing/2014/chart" uri="{C3380CC4-5D6E-409C-BE32-E72D297353CC}">
                <c16:uniqueId val="{000000C3-B3F5-4152-AB06-5B7F2F29175C}"/>
              </c:ext>
            </c:extLst>
          </c:dPt>
          <c:dPt>
            <c:idx val="97"/>
            <c:invertIfNegative val="1"/>
            <c:bubble3D val="0"/>
            <c:spPr>
              <a:solidFill>
                <a:srgbClr val="AEABAB"/>
              </a:solidFill>
            </c:spPr>
            <c:extLst>
              <c:ext xmlns:c16="http://schemas.microsoft.com/office/drawing/2014/chart" uri="{C3380CC4-5D6E-409C-BE32-E72D297353CC}">
                <c16:uniqueId val="{000000C5-B3F5-4152-AB06-5B7F2F29175C}"/>
              </c:ext>
            </c:extLst>
          </c:dPt>
          <c:cat>
            <c:strRef>
              <c:f>Sheet1!$A$2:$A$99</c:f>
              <c:strCache>
                <c:ptCount val="98"/>
                <c:pt idx="0">
                  <c:v>La Vache Qui Rit Nature Fromage Fondu Boite Ronde 1X512Gr 32P</c:v>
                </c:pt>
                <c:pt idx="1">
                  <c:v>Mini Babybel Rouge Filet St Paulin Ferme 1X264Gr 12P</c:v>
                </c:pt>
                <c:pt idx="2">
                  <c:v>La Vache Qui Rit Nature Fromage Fondu Boite Ronde 1X384Gr 24P</c:v>
                </c:pt>
                <c:pt idx="3">
                  <c:v>Apericube Edition Limitee Best Of Foot Fromage Fondu Cube Assortis 1X250Gr 48P</c:v>
                </c:pt>
                <c:pt idx="4">
                  <c:v>La Vache Qui Rit Nature Fromage Fondu Boite Ronde 1X192Gr 12P</c:v>
                </c:pt>
                <c:pt idx="5">
                  <c:v>Mini Babybel Rouge Filet St Paulin Ferme 1X132Gr 6P</c:v>
                </c:pt>
                <c:pt idx="6">
                  <c:v>Kiri Creme Fromage Blanc Frais Carre 1X432Gr 24P</c:v>
                </c:pt>
                <c:pt idx="7">
                  <c:v>Apericube Cocktail Fromage Fondu Cube Assortis 1X250Gr 48P</c:v>
                </c:pt>
                <c:pt idx="8">
                  <c:v>Apericube Long Drink Fromage Fondu Cube Assortis 1X250Gr 48P</c:v>
                </c:pt>
                <c:pt idx="9">
                  <c:v>Kiri Creme Fromage Blanc Frais Carre 1X216Gr 12P</c:v>
                </c:pt>
                <c:pt idx="10">
                  <c:v>Boursin Classique Fromage Frais A Tartiner Afh 1X160Gr 10P</c:v>
                </c:pt>
                <c:pt idx="11">
                  <c:v>Kiri Creme Fromage Blanc Frais Carre 1X144Gr 8P</c:v>
                </c:pt>
                <c:pt idx="12">
                  <c:v>Boursin Classique Fromage Frais A Tartiner Afh Boite 1X150Gr 1P</c:v>
                </c:pt>
                <c:pt idx="13">
                  <c:v>Boursin Classique Fromage Frais A Tartiner Afh Boite 1X250Gr 1P</c:v>
                </c:pt>
                <c:pt idx="14">
                  <c:v>Kiri Gouter Fromage Blanc Dips Boite 1X175Gr 5P</c:v>
                </c:pt>
                <c:pt idx="15">
                  <c:v>Boursin Aperitif Roules Fromage Frais Roule Afh Et Jambon Fume Boite 1X100Gr 20P</c:v>
                </c:pt>
                <c:pt idx="16">
                  <c:v>Apericube Edition Limitee Saison Fromage Fondu Cube Assortis 1X250Gr 48P</c:v>
                </c:pt>
                <c:pt idx="17">
                  <c:v>Apericube Tonic Fromage Fondu Cube Assortis 1X250Gr 48P</c:v>
                </c:pt>
                <c:pt idx="18">
                  <c:v>Apericube Nature Fromage Fondu Cube 1X125Gr 24P</c:v>
                </c:pt>
                <c:pt idx="19">
                  <c:v>Mini Babybel Rouge Filet Soft Cheese Enfant 352G</c:v>
                </c:pt>
                <c:pt idx="20">
                  <c:v>Boursin Salade &amp; Aperitif Fromage Frais Des Afh 1X120Gr 1P</c:v>
                </c:pt>
                <c:pt idx="21">
                  <c:v>Mini Babybel Rouge Filet St Paulin Ferme 1X440Gr 20P</c:v>
                </c:pt>
                <c:pt idx="22">
                  <c:v>Kiri Gouter Fromage Blanc Dips Boite 1X280Gr 8P</c:v>
                </c:pt>
                <c:pt idx="23">
                  <c:v>La Vache Qui Rit Nature Fromage Fondu Boite Ronde 1X128Gr 8P</c:v>
                </c:pt>
                <c:pt idx="24">
                  <c:v>La Vache Qui Rit Pik Et Croq' Fromage Fondu Dips Boite 1X175Gr 5P</c:v>
                </c:pt>
                <c:pt idx="25">
                  <c:v>Boursin Aperitif Roules Fromage Frais Roule Ciboulette &amp; Echalote Jambon Fume Boite 1X100Gr 20P</c:v>
                </c:pt>
                <c:pt idx="26">
                  <c:v>Boursin Classique Fromage Frais A Tartiner Afh Boite 1X96Gr 6P</c:v>
                </c:pt>
                <c:pt idx="27">
                  <c:v>La Vache Qui Rit Nature Fromage Fondu Boite Ronde 1X512Gr 24+8P</c:v>
                </c:pt>
                <c:pt idx="28">
                  <c:v>Port Salut St Paulin 1X320Gr 1P</c:v>
                </c:pt>
                <c:pt idx="29">
                  <c:v>Apericube Campagne Fromage Fondu Cube Assortis 1X125Gr 24P</c:v>
                </c:pt>
                <c:pt idx="30">
                  <c:v>Apericube Best Of Des Saveurs Fromage Fondu Cube Assortis 1X125Gr 24P</c:v>
                </c:pt>
                <c:pt idx="31">
                  <c:v>Kiri Creme Fromage Blanc Frais Carre 1X432Gr 18+6P</c:v>
                </c:pt>
                <c:pt idx="32">
                  <c:v>Toastinette Cheddar Fondu Tranche A Chaud Sachet 1X200Gr 10P</c:v>
                </c:pt>
                <c:pt idx="33">
                  <c:v>Boursin Onctueux Fromage Frais A Tartiner Afh 1X125Gr 1P</c:v>
                </c:pt>
                <c:pt idx="34">
                  <c:v>Babybel St Paulin 1X200Gr 1P</c:v>
                </c:pt>
                <c:pt idx="35">
                  <c:v>Boursin Classique Fromage Frais A Tartiner Ciboulette &amp; Echalote Boite 1X150Gr 1P</c:v>
                </c:pt>
                <c:pt idx="36">
                  <c:v>Cousteron St Paulin 1X320Gr 1P</c:v>
                </c:pt>
                <c:pt idx="37">
                  <c:v>Toastinette Fromage Fondu Tranche A Chaud Sachet 1X200Gr 10P</c:v>
                </c:pt>
                <c:pt idx="38">
                  <c:v>Apericube Long Drink Fromage Fondu Cube Assortis 1X125Gr 24P</c:v>
                </c:pt>
                <c:pt idx="39">
                  <c:v>Mini Babybel Aros St Paulin Ferme Assortis Filet 1X180Gr 9P</c:v>
                </c:pt>
                <c:pt idx="40">
                  <c:v>Mini Babybel Rouge Filet St Paulin Ferme 1X396Gr 12+6P</c:v>
                </c:pt>
                <c:pt idx="41">
                  <c:v>Apericube Soiree Match Aperitif 250G</c:v>
                </c:pt>
                <c:pt idx="42">
                  <c:v>Boursin Salade &amp; Aperitif Fromage Frais Des Figue Noix 1X120Gr 1P</c:v>
                </c:pt>
                <c:pt idx="43">
                  <c:v>Boursin Salade &amp; Aperitif Fromage Frais Des Ciboulette Echalote 1X120Gr 1P</c:v>
                </c:pt>
                <c:pt idx="44">
                  <c:v>Babybel Mini Rolls St Paulin Ferme Sachet 1X85Gr 5P</c:v>
                </c:pt>
                <c:pt idx="45">
                  <c:v>Kiri Bio Fromage Blanc Frais Carre 1X144Gr 8P</c:v>
                </c:pt>
                <c:pt idx="46">
                  <c:v>Kiri Delicieusement Fouette Fromage Frais A Tartiner 1X160Gr 10P</c:v>
                </c:pt>
                <c:pt idx="47">
                  <c:v>Kiri Delicieusement Fouette Fromage Frais A Tartiner 1X210Gr 1P</c:v>
                </c:pt>
                <c:pt idx="48">
                  <c:v>Kiri Delicieusement Fouette Fromage Frais A Tartiner 1X125Gr 1P</c:v>
                </c:pt>
                <c:pt idx="49">
                  <c:v>Apericube Incontournable Fromage Fondu Cube Assortis 1X250Gr 48P</c:v>
                </c:pt>
                <c:pt idx="50">
                  <c:v>Boursin Cuisine Sauce Fromage Afh 1X240Gr 1P</c:v>
                </c:pt>
                <c:pt idx="51">
                  <c:v>Apericube Carrement Toque Fromage Fondu Cube Assortis 1X250Gr 48P</c:v>
                </c:pt>
                <c:pt idx="52">
                  <c:v>Apericube Charcut' Fromages Fromage Fondu Cube Assortis 1X250Gr 48P</c:v>
                </c:pt>
                <c:pt idx="53">
                  <c:v>Mini Babybel Aros Soft Cheese Enfant 180G</c:v>
                </c:pt>
                <c:pt idx="54">
                  <c:v>La Vache Qui Rit Allegee Fromage Fondu Boite Ronde Allege 1X267Gr 16P</c:v>
                </c:pt>
                <c:pt idx="55">
                  <c:v>Boursin Salade &amp; Aperitif Fromage Frais Des Citron Romarin 1X120Gr 1P</c:v>
                </c:pt>
                <c:pt idx="56">
                  <c:v>Apericube Selection Du Fromager Fromage Fondu Cube Assortis 1X250Gr 48P</c:v>
                </c:pt>
                <c:pt idx="57">
                  <c:v>Apericube Edition Voyage Fromage Fondu Cube Assortis 1X250Gr 48P</c:v>
                </c:pt>
                <c:pt idx="58">
                  <c:v>Apericube Sucre Sale Fromage Fondu Cube Assortis 1X250Gr 48P</c:v>
                </c:pt>
                <c:pt idx="59">
                  <c:v>Apericube Nature Fromage Fondu Cube 1X250Gr 48P</c:v>
                </c:pt>
                <c:pt idx="60">
                  <c:v>Boursin Classique Fromage Frais A Tartiner Figue Et 3 Noix Boite 1X150Gr 1P</c:v>
                </c:pt>
                <c:pt idx="61">
                  <c:v>Boursin Salade &amp; Aperitif Soft Cheese Salade 120G</c:v>
                </c:pt>
                <c:pt idx="62">
                  <c:v>Boursin Salade &amp; Aperitif Fromage Frais Des Noisette Et 3 Noix 1X120Gr 1P</c:v>
                </c:pt>
                <c:pt idx="63">
                  <c:v>Mini Babybel Aros Soft Cheese Enfant 110G</c:v>
                </c:pt>
                <c:pt idx="64">
                  <c:v>Nurishh Le Coeur Fleuri Vegetal Camembert Boite 1X140Gr 1P</c:v>
                </c:pt>
                <c:pt idx="65">
                  <c:v>La Vache Qui Rit Bio Fromage Fondu Boite Ronde 1X128Gr 8P</c:v>
                </c:pt>
                <c:pt idx="66">
                  <c:v>Nurishh Le Rape Vegetal Specialite Vegetale Sachet 1X150Gr 1P</c:v>
                </c:pt>
                <c:pt idx="67">
                  <c:v>Apericube Jambon Fromage Fondu Cube 1X78Gr 15P</c:v>
                </c:pt>
                <c:pt idx="68">
                  <c:v>Boursin Classique Fromage Frais A Tartiner 3 Noix Boite 1X150Gr 1P</c:v>
                </c:pt>
                <c:pt idx="69">
                  <c:v>Nurishh Les Tranches Vegetales Cheddar Vegetal Tranche Boite 1X160Gr 8P</c:v>
                </c:pt>
                <c:pt idx="70">
                  <c:v>Nurishh Le Palet Vegetal Specialite Vegetale Ovale Saveur Chevre Boite 1X140Gr 1P</c:v>
                </c:pt>
                <c:pt idx="71">
                  <c:v>Nurishh Les Tranches Vegetales Emmental Vegetal Tranche Boite 1X160Gr 8P</c:v>
                </c:pt>
                <c:pt idx="72">
                  <c:v>Port Salut St Paulin Tranche Boite 1X200Gr 6P</c:v>
                </c:pt>
                <c:pt idx="73">
                  <c:v>Boursin Vegetal Specialite Vegetale A Tartiner Afh 1X130Gr 1P</c:v>
                </c:pt>
                <c:pt idx="74">
                  <c:v>Boursin Aperitif Roules Fromage Frais Roule Jambon Fume &amp; Trio De Noix Boite 1X100Gr 20P</c:v>
                </c:pt>
                <c:pt idx="75">
                  <c:v>Nurishh Des Vegetaux Feta Vegetale Sachet 1X150Gr 1P</c:v>
                </c:pt>
                <c:pt idx="76">
                  <c:v>Boursin Aperitif Roules Aperitif 100G</c:v>
                </c:pt>
                <c:pt idx="77">
                  <c:v>Boursin Classique Fromage Frais A Tartiner 3 Noix 1X160Gr 10P</c:v>
                </c:pt>
                <c:pt idx="78">
                  <c:v>Boursin Classique Fromage Frais A Tartiner Afh Boite 1X320Gr 16+4P</c:v>
                </c:pt>
                <c:pt idx="79">
                  <c:v>Port Salut St Paulin 1X185Gr 1P</c:v>
                </c:pt>
                <c:pt idx="80">
                  <c:v>Nurishh Les Tranches Vegetales Emmental Vegetal Tranche Boite 1X200Gr 10P</c:v>
                </c:pt>
                <c:pt idx="81">
                  <c:v>Boursin Vegetal Alternative Vegetale 150G</c:v>
                </c:pt>
                <c:pt idx="82">
                  <c:v>Nurishh Les Tranches Vegetales Cheddar Vegetal Tranche Boite 1X200Gr 10P</c:v>
                </c:pt>
                <c:pt idx="83">
                  <c:v>Boursin Classique Fromage Frais A Tartiner Truffe Boite 1X150Gr 1P</c:v>
                </c:pt>
                <c:pt idx="84">
                  <c:v>Apericube Hot Chalenge Aperitif 250G</c:v>
                </c:pt>
                <c:pt idx="85">
                  <c:v>Apericube Fromages Du Monde Aperitif 250G</c:v>
                </c:pt>
                <c:pt idx="86">
                  <c:v>Apericube Montagne Aperitif 250G</c:v>
                </c:pt>
                <c:pt idx="87">
                  <c:v>Mini Babybel Rouge Filet St Paulin Ferme Sachet 1X40Gr 1P</c:v>
                </c:pt>
                <c:pt idx="88">
                  <c:v>Nurishh Le Rape Vegetal Specialite Vegetale Emmental Sachet 1X150Gr 1P</c:v>
                </c:pt>
                <c:pt idx="89">
                  <c:v>Nurishh Le Rape Vegetal Mozzarella Vegetale Sachet 1X150Gr 1P</c:v>
                </c:pt>
                <c:pt idx="90">
                  <c:v>Nurishh Le Tartinable Vegetal Specialite Vegetale A Tartiner 1X130Gr 1P</c:v>
                </c:pt>
                <c:pt idx="91">
                  <c:v>Boursin Onctueux Fromage Frais A Tartiner Afh 1X210Gr 1P</c:v>
                </c:pt>
                <c:pt idx="92">
                  <c:v>Apericube P'Tits Plaisirs Fromage Fondu Cube 3 Fromages &amp; Jambon Cru Olive Verte 1X78Gr 15P</c:v>
                </c:pt>
                <c:pt idx="93">
                  <c:v>Kiri Chevre Fromage Blanc Frais Carre 1X144Gr 8P</c:v>
                </c:pt>
                <c:pt idx="94">
                  <c:v>Nurishh Les Tranches Vegetales Specialite Vegetale Tranche Piment Boite 1X120Gr 6P</c:v>
                </c:pt>
                <c:pt idx="95">
                  <c:v>Apericube Vertical Soiree Apero Fromage Fondu Cube Assortis 1X125Gr 24P</c:v>
                </c:pt>
                <c:pt idx="96">
                  <c:v>Boursin Classique Fromage Frais A Tartiner Ciboulette &amp; Echalote 1X160Gr 10P</c:v>
                </c:pt>
                <c:pt idx="97">
                  <c:v>Apericube Vertical Nature Fromage Fondu Cube 1X125Gr 24P</c:v>
                </c:pt>
              </c:strCache>
            </c:strRef>
          </c:cat>
          <c:val>
            <c:numRef>
              <c:f>Sheet1!$C$2:$C$99</c:f>
              <c:numCache>
                <c:formatCode>General</c:formatCode>
                <c:ptCount val="98"/>
                <c:pt idx="0">
                  <c:v>8.216554144375475E-2</c:v>
                </c:pt>
                <c:pt idx="1">
                  <c:v>0.16138409675200105</c:v>
                </c:pt>
                <c:pt idx="2">
                  <c:v>0.21303296365661295</c:v>
                </c:pt>
                <c:pt idx="3">
                  <c:v>0.25806201981073695</c:v>
                </c:pt>
                <c:pt idx="4">
                  <c:v>0.30101986202003123</c:v>
                </c:pt>
                <c:pt idx="5">
                  <c:v>0.34353296614313178</c:v>
                </c:pt>
                <c:pt idx="6">
                  <c:v>0.38443748384184667</c:v>
                </c:pt>
                <c:pt idx="7">
                  <c:v>0.42495086424981982</c:v>
                </c:pt>
                <c:pt idx="8">
                  <c:v>0.46276793562611968</c:v>
                </c:pt>
                <c:pt idx="9">
                  <c:v>0.49850508461601134</c:v>
                </c:pt>
                <c:pt idx="10">
                  <c:v>0.52522040064276843</c:v>
                </c:pt>
                <c:pt idx="11">
                  <c:v>0.55181303340470422</c:v>
                </c:pt>
                <c:pt idx="12">
                  <c:v>0.57664629093859188</c:v>
                </c:pt>
                <c:pt idx="13">
                  <c:v>0.59820447686354949</c:v>
                </c:pt>
                <c:pt idx="14">
                  <c:v>0.61915358943397336</c:v>
                </c:pt>
                <c:pt idx="15">
                  <c:v>0.63978404505041075</c:v>
                </c:pt>
                <c:pt idx="16">
                  <c:v>0.65960202782025279</c:v>
                </c:pt>
                <c:pt idx="17">
                  <c:v>0.67923789839966953</c:v>
                </c:pt>
                <c:pt idx="18">
                  <c:v>0.69804590446830572</c:v>
                </c:pt>
                <c:pt idx="19">
                  <c:v>0.715164697895048</c:v>
                </c:pt>
                <c:pt idx="20">
                  <c:v>0.73213191493297214</c:v>
                </c:pt>
                <c:pt idx="21">
                  <c:v>0.74903407743703754</c:v>
                </c:pt>
                <c:pt idx="22">
                  <c:v>0.7653896333406307</c:v>
                </c:pt>
                <c:pt idx="23">
                  <c:v>0.77962206218641861</c:v>
                </c:pt>
                <c:pt idx="24">
                  <c:v>0.79337485167239985</c:v>
                </c:pt>
                <c:pt idx="25">
                  <c:v>0.80565310172749138</c:v>
                </c:pt>
                <c:pt idx="26">
                  <c:v>0.81696921525397614</c:v>
                </c:pt>
                <c:pt idx="27">
                  <c:v>0.82772144031142991</c:v>
                </c:pt>
                <c:pt idx="28">
                  <c:v>0.83769733142971736</c:v>
                </c:pt>
                <c:pt idx="29">
                  <c:v>0.84758582309815778</c:v>
                </c:pt>
                <c:pt idx="30">
                  <c:v>0.85727305300567347</c:v>
                </c:pt>
                <c:pt idx="31">
                  <c:v>0.86549609460148846</c:v>
                </c:pt>
                <c:pt idx="32">
                  <c:v>0.87352341003490142</c:v>
                </c:pt>
                <c:pt idx="33">
                  <c:v>0.88095117064294781</c:v>
                </c:pt>
                <c:pt idx="34">
                  <c:v>0.88823858357625274</c:v>
                </c:pt>
                <c:pt idx="35">
                  <c:v>0.89536559916699598</c:v>
                </c:pt>
                <c:pt idx="36">
                  <c:v>0.9021114685472581</c:v>
                </c:pt>
                <c:pt idx="37">
                  <c:v>0.9083565462806753</c:v>
                </c:pt>
                <c:pt idx="38">
                  <c:v>0.91437959250749101</c:v>
                </c:pt>
                <c:pt idx="39">
                  <c:v>0.92015691216573581</c:v>
                </c:pt>
                <c:pt idx="40">
                  <c:v>0.92572257393900093</c:v>
                </c:pt>
                <c:pt idx="41">
                  <c:v>0.93077117480634819</c:v>
                </c:pt>
                <c:pt idx="42">
                  <c:v>0.93486382731416895</c:v>
                </c:pt>
                <c:pt idx="43">
                  <c:v>0.93867931735449084</c:v>
                </c:pt>
                <c:pt idx="44">
                  <c:v>0.94239055362263424</c:v>
                </c:pt>
                <c:pt idx="45">
                  <c:v>0.94593965986087347</c:v>
                </c:pt>
                <c:pt idx="46">
                  <c:v>0.94928005603285859</c:v>
                </c:pt>
                <c:pt idx="47">
                  <c:v>0.95260620816474251</c:v>
                </c:pt>
                <c:pt idx="48">
                  <c:v>0.95589284602424451</c:v>
                </c:pt>
                <c:pt idx="49">
                  <c:v>0.95857385340146462</c:v>
                </c:pt>
                <c:pt idx="50">
                  <c:v>0.96102090298258291</c:v>
                </c:pt>
                <c:pt idx="51">
                  <c:v>0.96345175081192735</c:v>
                </c:pt>
                <c:pt idx="52">
                  <c:v>0.96583012296747073</c:v>
                </c:pt>
                <c:pt idx="53">
                  <c:v>0.9681055464919508</c:v>
                </c:pt>
                <c:pt idx="54">
                  <c:v>0.9702842770617468</c:v>
                </c:pt>
                <c:pt idx="55">
                  <c:v>0.97233427121223936</c:v>
                </c:pt>
                <c:pt idx="56">
                  <c:v>0.97431453032280502</c:v>
                </c:pt>
                <c:pt idx="57">
                  <c:v>0.97628873627888846</c:v>
                </c:pt>
                <c:pt idx="58">
                  <c:v>0.9781160238497888</c:v>
                </c:pt>
                <c:pt idx="59">
                  <c:v>0.9798774467992416</c:v>
                </c:pt>
                <c:pt idx="60">
                  <c:v>0.98151868425393829</c:v>
                </c:pt>
                <c:pt idx="61">
                  <c:v>0.98297031620801423</c:v>
                </c:pt>
                <c:pt idx="62">
                  <c:v>0.98435032291778968</c:v>
                </c:pt>
                <c:pt idx="63">
                  <c:v>0.98564999594168623</c:v>
                </c:pt>
                <c:pt idx="64">
                  <c:v>0.98691280998029707</c:v>
                </c:pt>
                <c:pt idx="65">
                  <c:v>0.98798597351342121</c:v>
                </c:pt>
                <c:pt idx="66">
                  <c:v>0.98898832188983354</c:v>
                </c:pt>
                <c:pt idx="67">
                  <c:v>0.98990759128353856</c:v>
                </c:pt>
                <c:pt idx="68">
                  <c:v>0.9907470445473241</c:v>
                </c:pt>
                <c:pt idx="69">
                  <c:v>0.9915638603634922</c:v>
                </c:pt>
                <c:pt idx="70">
                  <c:v>0.99232822300829227</c:v>
                </c:pt>
                <c:pt idx="71">
                  <c:v>0.99305628922863221</c:v>
                </c:pt>
                <c:pt idx="72">
                  <c:v>0.99374025068025429</c:v>
                </c:pt>
                <c:pt idx="73">
                  <c:v>0.99432814924531687</c:v>
                </c:pt>
                <c:pt idx="74">
                  <c:v>0.99489532306956874</c:v>
                </c:pt>
                <c:pt idx="75">
                  <c:v>0.99542325265063492</c:v>
                </c:pt>
                <c:pt idx="76">
                  <c:v>0.99589791897274438</c:v>
                </c:pt>
                <c:pt idx="77">
                  <c:v>0.99634634745795325</c:v>
                </c:pt>
                <c:pt idx="78">
                  <c:v>0.99679250319742718</c:v>
                </c:pt>
                <c:pt idx="79">
                  <c:v>0.99720940577397599</c:v>
                </c:pt>
                <c:pt idx="80">
                  <c:v>0.99759802279221954</c:v>
                </c:pt>
                <c:pt idx="81">
                  <c:v>0.99796956046380147</c:v>
                </c:pt>
                <c:pt idx="82">
                  <c:v>0.99831837067803386</c:v>
                </c:pt>
                <c:pt idx="83">
                  <c:v>0.99860289144113012</c:v>
                </c:pt>
                <c:pt idx="84">
                  <c:v>0.99886146689895505</c:v>
                </c:pt>
                <c:pt idx="85">
                  <c:v>0.99906160353822882</c:v>
                </c:pt>
                <c:pt idx="86">
                  <c:v>0.99922956169828503</c:v>
                </c:pt>
                <c:pt idx="87">
                  <c:v>0.9993768626248295</c:v>
                </c:pt>
                <c:pt idx="88">
                  <c:v>0.99950719671687738</c:v>
                </c:pt>
                <c:pt idx="89">
                  <c:v>0.99961606348782484</c:v>
                </c:pt>
                <c:pt idx="90">
                  <c:v>0.99970600571260304</c:v>
                </c:pt>
                <c:pt idx="91">
                  <c:v>0.99977281543623742</c:v>
                </c:pt>
                <c:pt idx="92">
                  <c:v>0.99982909402121867</c:v>
                </c:pt>
                <c:pt idx="93">
                  <c:v>0.99987533652107341</c:v>
                </c:pt>
                <c:pt idx="94">
                  <c:v>0.99993001743331034</c:v>
                </c:pt>
                <c:pt idx="95">
                  <c:v>0.99994252878606904</c:v>
                </c:pt>
                <c:pt idx="96">
                  <c:v>0.99998096294166605</c:v>
                </c:pt>
                <c:pt idx="97">
                  <c:v>0.99998591347693033</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9</c:f>
              <c:strCache>
                <c:ptCount val="98"/>
                <c:pt idx="0">
                  <c:v>La Vache Qui Rit Nature Fromage Fondu Boite Ronde 1X512Gr 32P</c:v>
                </c:pt>
                <c:pt idx="1">
                  <c:v>Mini Babybel Rouge Filet St Paulin Ferme 1X264Gr 12P</c:v>
                </c:pt>
                <c:pt idx="2">
                  <c:v>La Vache Qui Rit Nature Fromage Fondu Boite Ronde 1X384Gr 24P</c:v>
                </c:pt>
                <c:pt idx="3">
                  <c:v>Apericube Edition Limitee Best Of Foot Fromage Fondu Cube Assortis 1X250Gr 48P</c:v>
                </c:pt>
                <c:pt idx="4">
                  <c:v>La Vache Qui Rit Nature Fromage Fondu Boite Ronde 1X192Gr 12P</c:v>
                </c:pt>
                <c:pt idx="5">
                  <c:v>Mini Babybel Rouge Filet St Paulin Ferme 1X132Gr 6P</c:v>
                </c:pt>
                <c:pt idx="6">
                  <c:v>Kiri Creme Fromage Blanc Frais Carre 1X432Gr 24P</c:v>
                </c:pt>
                <c:pt idx="7">
                  <c:v>Apericube Cocktail Fromage Fondu Cube Assortis 1X250Gr 48P</c:v>
                </c:pt>
                <c:pt idx="8">
                  <c:v>Apericube Long Drink Fromage Fondu Cube Assortis 1X250Gr 48P</c:v>
                </c:pt>
                <c:pt idx="9">
                  <c:v>Kiri Creme Fromage Blanc Frais Carre 1X216Gr 12P</c:v>
                </c:pt>
                <c:pt idx="10">
                  <c:v>Boursin Classique Fromage Frais A Tartiner Afh 1X160Gr 10P</c:v>
                </c:pt>
                <c:pt idx="11">
                  <c:v>Kiri Creme Fromage Blanc Frais Carre 1X144Gr 8P</c:v>
                </c:pt>
                <c:pt idx="12">
                  <c:v>Boursin Classique Fromage Frais A Tartiner Afh Boite 1X150Gr 1P</c:v>
                </c:pt>
                <c:pt idx="13">
                  <c:v>Boursin Classique Fromage Frais A Tartiner Afh Boite 1X250Gr 1P</c:v>
                </c:pt>
                <c:pt idx="14">
                  <c:v>Kiri Gouter Fromage Blanc Dips Boite 1X175Gr 5P</c:v>
                </c:pt>
                <c:pt idx="15">
                  <c:v>Boursin Aperitif Roules Fromage Frais Roule Afh Et Jambon Fume Boite 1X100Gr 20P</c:v>
                </c:pt>
                <c:pt idx="16">
                  <c:v>Apericube Edition Limitee Saison Fromage Fondu Cube Assortis 1X250Gr 48P</c:v>
                </c:pt>
                <c:pt idx="17">
                  <c:v>Apericube Tonic Fromage Fondu Cube Assortis 1X250Gr 48P</c:v>
                </c:pt>
                <c:pt idx="18">
                  <c:v>Apericube Nature Fromage Fondu Cube 1X125Gr 24P</c:v>
                </c:pt>
                <c:pt idx="19">
                  <c:v>Mini Babybel Rouge Filet Soft Cheese Enfant 352G</c:v>
                </c:pt>
                <c:pt idx="20">
                  <c:v>Boursin Salade &amp; Aperitif Fromage Frais Des Afh 1X120Gr 1P</c:v>
                </c:pt>
                <c:pt idx="21">
                  <c:v>Mini Babybel Rouge Filet St Paulin Ferme 1X440Gr 20P</c:v>
                </c:pt>
                <c:pt idx="22">
                  <c:v>Kiri Gouter Fromage Blanc Dips Boite 1X280Gr 8P</c:v>
                </c:pt>
                <c:pt idx="23">
                  <c:v>La Vache Qui Rit Nature Fromage Fondu Boite Ronde 1X128Gr 8P</c:v>
                </c:pt>
                <c:pt idx="24">
                  <c:v>La Vache Qui Rit Pik Et Croq' Fromage Fondu Dips Boite 1X175Gr 5P</c:v>
                </c:pt>
                <c:pt idx="25">
                  <c:v>Boursin Aperitif Roules Fromage Frais Roule Ciboulette &amp; Echalote Jambon Fume Boite 1X100Gr 20P</c:v>
                </c:pt>
                <c:pt idx="26">
                  <c:v>Boursin Classique Fromage Frais A Tartiner Afh Boite 1X96Gr 6P</c:v>
                </c:pt>
                <c:pt idx="27">
                  <c:v>La Vache Qui Rit Nature Fromage Fondu Boite Ronde 1X512Gr 24+8P</c:v>
                </c:pt>
                <c:pt idx="28">
                  <c:v>Port Salut St Paulin 1X320Gr 1P</c:v>
                </c:pt>
                <c:pt idx="29">
                  <c:v>Apericube Campagne Fromage Fondu Cube Assortis 1X125Gr 24P</c:v>
                </c:pt>
                <c:pt idx="30">
                  <c:v>Apericube Best Of Des Saveurs Fromage Fondu Cube Assortis 1X125Gr 24P</c:v>
                </c:pt>
                <c:pt idx="31">
                  <c:v>Kiri Creme Fromage Blanc Frais Carre 1X432Gr 18+6P</c:v>
                </c:pt>
                <c:pt idx="32">
                  <c:v>Toastinette Cheddar Fondu Tranche A Chaud Sachet 1X200Gr 10P</c:v>
                </c:pt>
                <c:pt idx="33">
                  <c:v>Boursin Onctueux Fromage Frais A Tartiner Afh 1X125Gr 1P</c:v>
                </c:pt>
                <c:pt idx="34">
                  <c:v>Babybel St Paulin 1X200Gr 1P</c:v>
                </c:pt>
                <c:pt idx="35">
                  <c:v>Boursin Classique Fromage Frais A Tartiner Ciboulette &amp; Echalote Boite 1X150Gr 1P</c:v>
                </c:pt>
                <c:pt idx="36">
                  <c:v>Cousteron St Paulin 1X320Gr 1P</c:v>
                </c:pt>
                <c:pt idx="37">
                  <c:v>Toastinette Fromage Fondu Tranche A Chaud Sachet 1X200Gr 10P</c:v>
                </c:pt>
                <c:pt idx="38">
                  <c:v>Apericube Long Drink Fromage Fondu Cube Assortis 1X125Gr 24P</c:v>
                </c:pt>
                <c:pt idx="39">
                  <c:v>Mini Babybel Aros St Paulin Ferme Assortis Filet 1X180Gr 9P</c:v>
                </c:pt>
                <c:pt idx="40">
                  <c:v>Mini Babybel Rouge Filet St Paulin Ferme 1X396Gr 12+6P</c:v>
                </c:pt>
                <c:pt idx="41">
                  <c:v>Apericube Soiree Match Aperitif 250G</c:v>
                </c:pt>
                <c:pt idx="42">
                  <c:v>Boursin Salade &amp; Aperitif Fromage Frais Des Figue Noix 1X120Gr 1P</c:v>
                </c:pt>
                <c:pt idx="43">
                  <c:v>Boursin Salade &amp; Aperitif Fromage Frais Des Ciboulette Echalote 1X120Gr 1P</c:v>
                </c:pt>
                <c:pt idx="44">
                  <c:v>Babybel Mini Rolls St Paulin Ferme Sachet 1X85Gr 5P</c:v>
                </c:pt>
                <c:pt idx="45">
                  <c:v>Kiri Bio Fromage Blanc Frais Carre 1X144Gr 8P</c:v>
                </c:pt>
                <c:pt idx="46">
                  <c:v>Kiri Delicieusement Fouette Fromage Frais A Tartiner 1X160Gr 10P</c:v>
                </c:pt>
                <c:pt idx="47">
                  <c:v>Kiri Delicieusement Fouette Fromage Frais A Tartiner 1X210Gr 1P</c:v>
                </c:pt>
                <c:pt idx="48">
                  <c:v>Kiri Delicieusement Fouette Fromage Frais A Tartiner 1X125Gr 1P</c:v>
                </c:pt>
                <c:pt idx="49">
                  <c:v>Apericube Incontournable Fromage Fondu Cube Assortis 1X250Gr 48P</c:v>
                </c:pt>
                <c:pt idx="50">
                  <c:v>Boursin Cuisine Sauce Fromage Afh 1X240Gr 1P</c:v>
                </c:pt>
                <c:pt idx="51">
                  <c:v>Apericube Carrement Toque Fromage Fondu Cube Assortis 1X250Gr 48P</c:v>
                </c:pt>
                <c:pt idx="52">
                  <c:v>Apericube Charcut' Fromages Fromage Fondu Cube Assortis 1X250Gr 48P</c:v>
                </c:pt>
                <c:pt idx="53">
                  <c:v>Mini Babybel Aros Soft Cheese Enfant 180G</c:v>
                </c:pt>
                <c:pt idx="54">
                  <c:v>La Vache Qui Rit Allegee Fromage Fondu Boite Ronde Allege 1X267Gr 16P</c:v>
                </c:pt>
                <c:pt idx="55">
                  <c:v>Boursin Salade &amp; Aperitif Fromage Frais Des Citron Romarin 1X120Gr 1P</c:v>
                </c:pt>
                <c:pt idx="56">
                  <c:v>Apericube Selection Du Fromager Fromage Fondu Cube Assortis 1X250Gr 48P</c:v>
                </c:pt>
                <c:pt idx="57">
                  <c:v>Apericube Edition Voyage Fromage Fondu Cube Assortis 1X250Gr 48P</c:v>
                </c:pt>
                <c:pt idx="58">
                  <c:v>Apericube Sucre Sale Fromage Fondu Cube Assortis 1X250Gr 48P</c:v>
                </c:pt>
                <c:pt idx="59">
                  <c:v>Apericube Nature Fromage Fondu Cube 1X250Gr 48P</c:v>
                </c:pt>
                <c:pt idx="60">
                  <c:v>Boursin Classique Fromage Frais A Tartiner Figue Et 3 Noix Boite 1X150Gr 1P</c:v>
                </c:pt>
                <c:pt idx="61">
                  <c:v>Boursin Salade &amp; Aperitif Soft Cheese Salade 120G</c:v>
                </c:pt>
                <c:pt idx="62">
                  <c:v>Boursin Salade &amp; Aperitif Fromage Frais Des Noisette Et 3 Noix 1X120Gr 1P</c:v>
                </c:pt>
                <c:pt idx="63">
                  <c:v>Mini Babybel Aros Soft Cheese Enfant 110G</c:v>
                </c:pt>
                <c:pt idx="64">
                  <c:v>Nurishh Le Coeur Fleuri Vegetal Camembert Boite 1X140Gr 1P</c:v>
                </c:pt>
                <c:pt idx="65">
                  <c:v>La Vache Qui Rit Bio Fromage Fondu Boite Ronde 1X128Gr 8P</c:v>
                </c:pt>
                <c:pt idx="66">
                  <c:v>Nurishh Le Rape Vegetal Specialite Vegetale Sachet 1X150Gr 1P</c:v>
                </c:pt>
                <c:pt idx="67">
                  <c:v>Apericube Jambon Fromage Fondu Cube 1X78Gr 15P</c:v>
                </c:pt>
                <c:pt idx="68">
                  <c:v>Boursin Classique Fromage Frais A Tartiner 3 Noix Boite 1X150Gr 1P</c:v>
                </c:pt>
                <c:pt idx="69">
                  <c:v>Nurishh Les Tranches Vegetales Cheddar Vegetal Tranche Boite 1X160Gr 8P</c:v>
                </c:pt>
                <c:pt idx="70">
                  <c:v>Nurishh Le Palet Vegetal Specialite Vegetale Ovale Saveur Chevre Boite 1X140Gr 1P</c:v>
                </c:pt>
                <c:pt idx="71">
                  <c:v>Nurishh Les Tranches Vegetales Emmental Vegetal Tranche Boite 1X160Gr 8P</c:v>
                </c:pt>
                <c:pt idx="72">
                  <c:v>Port Salut St Paulin Tranche Boite 1X200Gr 6P</c:v>
                </c:pt>
                <c:pt idx="73">
                  <c:v>Boursin Vegetal Specialite Vegetale A Tartiner Afh 1X130Gr 1P</c:v>
                </c:pt>
                <c:pt idx="74">
                  <c:v>Boursin Aperitif Roules Fromage Frais Roule Jambon Fume &amp; Trio De Noix Boite 1X100Gr 20P</c:v>
                </c:pt>
                <c:pt idx="75">
                  <c:v>Nurishh Des Vegetaux Feta Vegetale Sachet 1X150Gr 1P</c:v>
                </c:pt>
                <c:pt idx="76">
                  <c:v>Boursin Aperitif Roules Aperitif 100G</c:v>
                </c:pt>
                <c:pt idx="77">
                  <c:v>Boursin Classique Fromage Frais A Tartiner 3 Noix 1X160Gr 10P</c:v>
                </c:pt>
                <c:pt idx="78">
                  <c:v>Boursin Classique Fromage Frais A Tartiner Afh Boite 1X320Gr 16+4P</c:v>
                </c:pt>
                <c:pt idx="79">
                  <c:v>Port Salut St Paulin 1X185Gr 1P</c:v>
                </c:pt>
                <c:pt idx="80">
                  <c:v>Nurishh Les Tranches Vegetales Emmental Vegetal Tranche Boite 1X200Gr 10P</c:v>
                </c:pt>
                <c:pt idx="81">
                  <c:v>Boursin Vegetal Alternative Vegetale 150G</c:v>
                </c:pt>
                <c:pt idx="82">
                  <c:v>Nurishh Les Tranches Vegetales Cheddar Vegetal Tranche Boite 1X200Gr 10P</c:v>
                </c:pt>
                <c:pt idx="83">
                  <c:v>Boursin Classique Fromage Frais A Tartiner Truffe Boite 1X150Gr 1P</c:v>
                </c:pt>
                <c:pt idx="84">
                  <c:v>Apericube Hot Chalenge Aperitif 250G</c:v>
                </c:pt>
                <c:pt idx="85">
                  <c:v>Apericube Fromages Du Monde Aperitif 250G</c:v>
                </c:pt>
                <c:pt idx="86">
                  <c:v>Apericube Montagne Aperitif 250G</c:v>
                </c:pt>
                <c:pt idx="87">
                  <c:v>Mini Babybel Rouge Filet St Paulin Ferme Sachet 1X40Gr 1P</c:v>
                </c:pt>
                <c:pt idx="88">
                  <c:v>Nurishh Le Rape Vegetal Specialite Vegetale Emmental Sachet 1X150Gr 1P</c:v>
                </c:pt>
                <c:pt idx="89">
                  <c:v>Nurishh Le Rape Vegetal Mozzarella Vegetale Sachet 1X150Gr 1P</c:v>
                </c:pt>
                <c:pt idx="90">
                  <c:v>Nurishh Le Tartinable Vegetal Specialite Vegetale A Tartiner 1X130Gr 1P</c:v>
                </c:pt>
                <c:pt idx="91">
                  <c:v>Boursin Onctueux Fromage Frais A Tartiner Afh 1X210Gr 1P</c:v>
                </c:pt>
                <c:pt idx="92">
                  <c:v>Apericube P'Tits Plaisirs Fromage Fondu Cube 3 Fromages &amp; Jambon Cru Olive Verte 1X78Gr 15P</c:v>
                </c:pt>
                <c:pt idx="93">
                  <c:v>Kiri Chevre Fromage Blanc Frais Carre 1X144Gr 8P</c:v>
                </c:pt>
                <c:pt idx="94">
                  <c:v>Nurishh Les Tranches Vegetales Specialite Vegetale Tranche Piment Boite 1X120Gr 6P</c:v>
                </c:pt>
                <c:pt idx="95">
                  <c:v>Apericube Vertical Soiree Apero Fromage Fondu Cube Assortis 1X125Gr 24P</c:v>
                </c:pt>
                <c:pt idx="96">
                  <c:v>Boursin Classique Fromage Frais A Tartiner Ciboulette &amp; Echalote 1X160Gr 10P</c:v>
                </c:pt>
                <c:pt idx="97">
                  <c:v>Apericube Vertical Nature Fromage Fondu Cube 1X125Gr 24P</c:v>
                </c:pt>
              </c:strCache>
            </c:strRef>
          </c:cat>
          <c:val>
            <c:numRef>
              <c:f>Sheet1!$D$2:$D$99</c:f>
              <c:numCache>
                <c:formatCode>General</c:formatCode>
                <c:ptCount val="98"/>
                <c:pt idx="0">
                  <c:v>36882.898989898989</c:v>
                </c:pt>
                <c:pt idx="1">
                  <c:v>35204.44</c:v>
                </c:pt>
                <c:pt idx="2">
                  <c:v>23908.927083333332</c:v>
                </c:pt>
                <c:pt idx="3">
                  <c:v>20844.53125</c:v>
                </c:pt>
                <c:pt idx="4">
                  <c:v>19283.141414141413</c:v>
                </c:pt>
                <c:pt idx="5">
                  <c:v>19083.505050505049</c:v>
                </c:pt>
                <c:pt idx="6">
                  <c:v>21137</c:v>
                </c:pt>
                <c:pt idx="7">
                  <c:v>18754.166666666668</c:v>
                </c:pt>
                <c:pt idx="8">
                  <c:v>17690.284210526315</c:v>
                </c:pt>
                <c:pt idx="9">
                  <c:v>16372.639175257733</c:v>
                </c:pt>
                <c:pt idx="10">
                  <c:v>12114.479591836734</c:v>
                </c:pt>
                <c:pt idx="11">
                  <c:v>11937.040404040405</c:v>
                </c:pt>
                <c:pt idx="12">
                  <c:v>11147.282828282829</c:v>
                </c:pt>
                <c:pt idx="13">
                  <c:v>10084.61052631579</c:v>
                </c:pt>
                <c:pt idx="14">
                  <c:v>9403.7474747474753</c:v>
                </c:pt>
                <c:pt idx="15">
                  <c:v>9753.2978723404249</c:v>
                </c:pt>
                <c:pt idx="16">
                  <c:v>10610.89156626506</c:v>
                </c:pt>
                <c:pt idx="17">
                  <c:v>10513.385542168675</c:v>
                </c:pt>
                <c:pt idx="18">
                  <c:v>8706.46875</c:v>
                </c:pt>
                <c:pt idx="19">
                  <c:v>8093.1170212765956</c:v>
                </c:pt>
                <c:pt idx="20">
                  <c:v>7616.333333333333</c:v>
                </c:pt>
                <c:pt idx="21">
                  <c:v>7824.229166666667</c:v>
                </c:pt>
                <c:pt idx="22">
                  <c:v>9956.6438356164381</c:v>
                </c:pt>
                <c:pt idx="23">
                  <c:v>9583.0909090909099</c:v>
                </c:pt>
                <c:pt idx="24">
                  <c:v>6300.7113402061859</c:v>
                </c:pt>
                <c:pt idx="25">
                  <c:v>6344.6627906976746</c:v>
                </c:pt>
                <c:pt idx="26">
                  <c:v>5526.197802197802</c:v>
                </c:pt>
                <c:pt idx="27">
                  <c:v>6125.9615384615381</c:v>
                </c:pt>
                <c:pt idx="28">
                  <c:v>4818.75</c:v>
                </c:pt>
                <c:pt idx="29">
                  <c:v>5359.0365853658541</c:v>
                </c:pt>
                <c:pt idx="30">
                  <c:v>4837.0449438202249</c:v>
                </c:pt>
                <c:pt idx="31">
                  <c:v>5146.8873239436616</c:v>
                </c:pt>
                <c:pt idx="32">
                  <c:v>3677.6391752577319</c:v>
                </c:pt>
                <c:pt idx="33">
                  <c:v>3883.3764705882354</c:v>
                </c:pt>
                <c:pt idx="34">
                  <c:v>3373.4375</c:v>
                </c:pt>
                <c:pt idx="35">
                  <c:v>3558.674157303371</c:v>
                </c:pt>
                <c:pt idx="36">
                  <c:v>3655.9024390243903</c:v>
                </c:pt>
                <c:pt idx="37">
                  <c:v>3513.0253164556962</c:v>
                </c:pt>
                <c:pt idx="38">
                  <c:v>3476.1298701298701</c:v>
                </c:pt>
                <c:pt idx="39">
                  <c:v>3831.9701492537315</c:v>
                </c:pt>
                <c:pt idx="40">
                  <c:v>3053.5308641975307</c:v>
                </c:pt>
                <c:pt idx="41">
                  <c:v>2703.1084337349398</c:v>
                </c:pt>
                <c:pt idx="42">
                  <c:v>1998.6373626373627</c:v>
                </c:pt>
                <c:pt idx="43">
                  <c:v>1784.8315789473684</c:v>
                </c:pt>
                <c:pt idx="44">
                  <c:v>3665.0222222222224</c:v>
                </c:pt>
                <c:pt idx="45">
                  <c:v>3755.2619047619046</c:v>
                </c:pt>
                <c:pt idx="46">
                  <c:v>2356.2857142857142</c:v>
                </c:pt>
                <c:pt idx="47">
                  <c:v>2737.2777777777778</c:v>
                </c:pt>
                <c:pt idx="48">
                  <c:v>2355.7580645161293</c:v>
                </c:pt>
                <c:pt idx="49">
                  <c:v>2431.4897959183672</c:v>
                </c:pt>
                <c:pt idx="50">
                  <c:v>1510.3611111111111</c:v>
                </c:pt>
                <c:pt idx="51">
                  <c:v>2077.4230769230771</c:v>
                </c:pt>
                <c:pt idx="52">
                  <c:v>2157.0204081632655</c:v>
                </c:pt>
                <c:pt idx="53">
                  <c:v>1532.1060606060605</c:v>
                </c:pt>
                <c:pt idx="54">
                  <c:v>3586</c:v>
                </c:pt>
                <c:pt idx="55">
                  <c:v>1265.2916666666667</c:v>
                </c:pt>
                <c:pt idx="56">
                  <c:v>1913.0869565217392</c:v>
                </c:pt>
                <c:pt idx="57">
                  <c:v>2658.5757575757575</c:v>
                </c:pt>
                <c:pt idx="58">
                  <c:v>1845.5454545454545</c:v>
                </c:pt>
                <c:pt idx="59">
                  <c:v>1909.1951219512196</c:v>
                </c:pt>
                <c:pt idx="60">
                  <c:v>1122.0923076923077</c:v>
                </c:pt>
                <c:pt idx="61">
                  <c:v>908.5915492957746</c:v>
                </c:pt>
                <c:pt idx="62">
                  <c:v>776.29113924050637</c:v>
                </c:pt>
                <c:pt idx="63">
                  <c:v>1013.2807017543861</c:v>
                </c:pt>
                <c:pt idx="64">
                  <c:v>1275.4318181818182</c:v>
                </c:pt>
                <c:pt idx="65">
                  <c:v>1907.64</c:v>
                </c:pt>
                <c:pt idx="66">
                  <c:v>989.86666666666667</c:v>
                </c:pt>
                <c:pt idx="67">
                  <c:v>8170.4</c:v>
                </c:pt>
                <c:pt idx="68">
                  <c:v>611.55737704918033</c:v>
                </c:pt>
                <c:pt idx="69">
                  <c:v>1396.1153846153845</c:v>
                </c:pt>
                <c:pt idx="70">
                  <c:v>1358.72</c:v>
                </c:pt>
                <c:pt idx="71">
                  <c:v>1294.2</c:v>
                </c:pt>
                <c:pt idx="72">
                  <c:v>5065.833333333333</c:v>
                </c:pt>
                <c:pt idx="73">
                  <c:v>1088.5833333333333</c:v>
                </c:pt>
                <c:pt idx="74">
                  <c:v>504.1</c:v>
                </c:pt>
                <c:pt idx="75">
                  <c:v>756.80645161290317</c:v>
                </c:pt>
                <c:pt idx="76">
                  <c:v>727.37931034482767</c:v>
                </c:pt>
                <c:pt idx="77">
                  <c:v>486.04878048780489</c:v>
                </c:pt>
                <c:pt idx="78">
                  <c:v>535.8648648648649</c:v>
                </c:pt>
                <c:pt idx="79">
                  <c:v>2646.7142857142853</c:v>
                </c:pt>
                <c:pt idx="80">
                  <c:v>557.09677419354841</c:v>
                </c:pt>
                <c:pt idx="81">
                  <c:v>660.44</c:v>
                </c:pt>
                <c:pt idx="82">
                  <c:v>455.91176470588238</c:v>
                </c:pt>
                <c:pt idx="83">
                  <c:v>247.92156862745097</c:v>
                </c:pt>
                <c:pt idx="84">
                  <c:v>1276.7777777777778</c:v>
                </c:pt>
                <c:pt idx="85">
                  <c:v>1270.5714285714284</c:v>
                </c:pt>
                <c:pt idx="86">
                  <c:v>1244</c:v>
                </c:pt>
                <c:pt idx="87">
                  <c:v>1091</c:v>
                </c:pt>
                <c:pt idx="88">
                  <c:v>445.53846153846155</c:v>
                </c:pt>
                <c:pt idx="89">
                  <c:v>439.81818181818181</c:v>
                </c:pt>
                <c:pt idx="90">
                  <c:v>363.36363636363637</c:v>
                </c:pt>
                <c:pt idx="91">
                  <c:v>989.66666666666663</c:v>
                </c:pt>
                <c:pt idx="92">
                  <c:v>1250.5</c:v>
                </c:pt>
                <c:pt idx="93">
                  <c:v>685</c:v>
                </c:pt>
                <c:pt idx="94">
                  <c:v>173.4</c:v>
                </c:pt>
                <c:pt idx="95">
                  <c:v>556</c:v>
                </c:pt>
                <c:pt idx="96">
                  <c:v>101.66666666666667</c:v>
                </c:pt>
                <c:pt idx="97">
                  <c:v>22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1</c:f>
              <c:strCache>
                <c:ptCount val="50"/>
                <c:pt idx="0">
                  <c:v>Mini Babybel Rouge Filet St Paulin Ferme 1X132Gr 6P</c:v>
                </c:pt>
                <c:pt idx="1">
                  <c:v>La Vache Qui Rit Nature Fromage Fondu Boite Ronde 1X192Gr 12P</c:v>
                </c:pt>
                <c:pt idx="2">
                  <c:v>Kiri Creme Fromage Blanc Frais Carre 1X144Gr 8P</c:v>
                </c:pt>
                <c:pt idx="3">
                  <c:v>La Vache Qui Rit Nature Fromage Fondu Boite Ronde 1X384Gr 24P</c:v>
                </c:pt>
                <c:pt idx="4">
                  <c:v>Boursin Classique Fromage Frais A Tartiner Afh Boite 1X150Gr 1P</c:v>
                </c:pt>
                <c:pt idx="5">
                  <c:v>Boursin Aperitif Roules Fromage Frais Roule Afh Et Jambon Fume Boite 1X100Gr 20P</c:v>
                </c:pt>
                <c:pt idx="6">
                  <c:v>Kiri Gouter Fromage Blanc Dips Boite 1X175Gr 5P</c:v>
                </c:pt>
                <c:pt idx="7">
                  <c:v>Apericube Edition Limitee Best Of Foot Fromage Fondu Cube Assortis 1X250Gr 48P</c:v>
                </c:pt>
                <c:pt idx="8">
                  <c:v>Boursin Classique Fromage Frais A Tartiner Afh 1X160Gr 10P</c:v>
                </c:pt>
                <c:pt idx="9">
                  <c:v>Boursin Salade &amp; Aperitif Fromage Frais Des Afh 1X120Gr 1P</c:v>
                </c:pt>
                <c:pt idx="10">
                  <c:v>Apericube Vertical Soiree Apero Fromage Fondu Cube Assortis 1X125Gr 24P</c:v>
                </c:pt>
                <c:pt idx="11">
                  <c:v>Apericube Cocktail Fromage Fondu Cube Assortis 1X250Gr 48P</c:v>
                </c:pt>
                <c:pt idx="12">
                  <c:v>Babybel St Paulin 1X200Gr 1P</c:v>
                </c:pt>
                <c:pt idx="13">
                  <c:v>La Vache Qui Rit Pik Et Croq' Fromage Fondu Dips Boite 1X175Gr 5P</c:v>
                </c:pt>
                <c:pt idx="14">
                  <c:v>Mini Babybel Rouge Filet St Paulin Ferme 1X264Gr 12P</c:v>
                </c:pt>
                <c:pt idx="15">
                  <c:v>Kiri Delicieusement Fouette Fromage Frais A Tartiner 1X125Gr 1P</c:v>
                </c:pt>
                <c:pt idx="16">
                  <c:v>Apericube Vertical Nature Fromage Fondu Cube 1X125Gr 24P</c:v>
                </c:pt>
                <c:pt idx="17">
                  <c:v>Port Salut St Paulin 1X185Gr 1P</c:v>
                </c:pt>
                <c:pt idx="18">
                  <c:v>La Vache Qui Rit Nature Fromage Fondu Boite Ronde 1X128Gr 8P</c:v>
                </c:pt>
                <c:pt idx="19">
                  <c:v>Cousteron St Paulin 1X320Gr 1P</c:v>
                </c:pt>
                <c:pt idx="20">
                  <c:v>Kiri Delicieusement Fouette Fromage Frais A Tartiner 1X160Gr 10P</c:v>
                </c:pt>
                <c:pt idx="21">
                  <c:v>Apericube Best Of Des Saveurs Fromage Fondu Cube Assortis 1X125Gr 24P</c:v>
                </c:pt>
                <c:pt idx="22">
                  <c:v>Apericube Long Drink Fromage Fondu Cube Assortis 1X125Gr 24P</c:v>
                </c:pt>
                <c:pt idx="23">
                  <c:v>Boursin Cuisine Sauce Fromage Afh 1X240Gr 1P</c:v>
                </c:pt>
                <c:pt idx="24">
                  <c:v>Boursin Aperitif Roules Fromage Frais Roule Ciboulette &amp; Echalote Jambon Fume Boite 1X100Gr 20P</c:v>
                </c:pt>
                <c:pt idx="25">
                  <c:v>Port Salut St Paulin Tranche Boite 1X200Gr 6P</c:v>
                </c:pt>
                <c:pt idx="26">
                  <c:v>Boursin Classique Fromage Frais A Tartiner Ciboulette &amp; Echalote Boite 1X150Gr 1P</c:v>
                </c:pt>
                <c:pt idx="27">
                  <c:v>Apericube Long Drink Fromage Fondu Cube Assortis 1X250Gr 48P</c:v>
                </c:pt>
                <c:pt idx="28">
                  <c:v>Toastinette Cheddar Fondu Tranche A Chaud Sachet 1X200Gr 10P</c:v>
                </c:pt>
                <c:pt idx="29">
                  <c:v>Boursin Classique Fromage Frais A Tartiner Afh Boite 1X96Gr 6P</c:v>
                </c:pt>
                <c:pt idx="30">
                  <c:v>Mini Babybel Aros St Paulin Ferme Raclette Filet 1X132Gr 6P</c:v>
                </c:pt>
                <c:pt idx="31">
                  <c:v>Port Salut St Paulin 1X320Gr 1P</c:v>
                </c:pt>
                <c:pt idx="32">
                  <c:v>Kiri Creme Fromage Blanc Frais Carre 1X216Gr 12P</c:v>
                </c:pt>
                <c:pt idx="33">
                  <c:v>Babybel Mini Rolls St Paulin Ferme Sachet 1X85Gr 5P</c:v>
                </c:pt>
                <c:pt idx="34">
                  <c:v>La Vache Qui Rit Bio Fromage Fondu Boite Ronde 1X128Gr 8P</c:v>
                </c:pt>
                <c:pt idx="35">
                  <c:v>Nurishh Les Tranches Vegetales Emmental Vegetal Tranche Boite 1X160Gr 8P</c:v>
                </c:pt>
                <c:pt idx="36">
                  <c:v>Mini Babybel Rouge Filet St Paulin Ferme Sachet 1X40Gr 1P</c:v>
                </c:pt>
                <c:pt idx="37">
                  <c:v>La Vache Qui Rit Pik Et Croq' Fromage Fondu Dips Boite 1X35Gr 1P</c:v>
                </c:pt>
                <c:pt idx="38">
                  <c:v>Boursin Classique Fromage Frais A Tartiner Afh Boite 1X80Gr 1P</c:v>
                </c:pt>
                <c:pt idx="39">
                  <c:v>Toastinette Fromage Fondu Tranche A Chaud Sachet 1X200Gr 10P</c:v>
                </c:pt>
                <c:pt idx="40">
                  <c:v>Apericube Nature Fromage Fondu Cube 1X125Gr 24P</c:v>
                </c:pt>
                <c:pt idx="41">
                  <c:v>Kiri Gouter Fromage Blanc Dips Boite 1X280Gr 8P</c:v>
                </c:pt>
                <c:pt idx="42">
                  <c:v>Mini Babybel Aros Soft Cheese Enfant 180G</c:v>
                </c:pt>
                <c:pt idx="43">
                  <c:v>Nurishh Les Tranches Vegetales Cheddar Vegetal Tranche Boite 1X160Gr 8P</c:v>
                </c:pt>
                <c:pt idx="44">
                  <c:v>Nurishh Le Coeur Fleuri Vegetal Camembert Boite 1X140Gr 1P</c:v>
                </c:pt>
                <c:pt idx="45">
                  <c:v>Apericube Soiree Match Aperitif 250G</c:v>
                </c:pt>
                <c:pt idx="46">
                  <c:v>Mini Babybel Bio St Paulin Ferme Filet 1X100Gr 5P</c:v>
                </c:pt>
                <c:pt idx="47">
                  <c:v>Boursin Classique Fromage Frais A Tartiner Truffe Boite 1X150Gr 1P</c:v>
                </c:pt>
                <c:pt idx="48">
                  <c:v>Nurishh Les Tranches Vegetales Emmental Vegetal Tranche Boite 1X200Gr 10P</c:v>
                </c:pt>
                <c:pt idx="49">
                  <c:v>Nurishh Les Tranches Vegetales Cheddar Vegetal Tranche Boite 1X200Gr 10P</c:v>
                </c:pt>
              </c:strCache>
            </c:strRef>
          </c:cat>
          <c:val>
            <c:numRef>
              <c:f>Sheet1!$B$2:$B$51</c:f>
              <c:numCache>
                <c:formatCode>General</c:formatCode>
                <c:ptCount val="50"/>
                <c:pt idx="0">
                  <c:v>0.96</c:v>
                </c:pt>
                <c:pt idx="1">
                  <c:v>0.91</c:v>
                </c:pt>
                <c:pt idx="2">
                  <c:v>0.96</c:v>
                </c:pt>
                <c:pt idx="3">
                  <c:v>0.47</c:v>
                </c:pt>
                <c:pt idx="4">
                  <c:v>0.83</c:v>
                </c:pt>
                <c:pt idx="5">
                  <c:v>0.56000000000000005</c:v>
                </c:pt>
                <c:pt idx="6">
                  <c:v>0.71</c:v>
                </c:pt>
                <c:pt idx="7">
                  <c:v>0.53</c:v>
                </c:pt>
                <c:pt idx="8">
                  <c:v>0.53</c:v>
                </c:pt>
                <c:pt idx="9">
                  <c:v>0.79</c:v>
                </c:pt>
                <c:pt idx="10">
                  <c:v>0.62</c:v>
                </c:pt>
                <c:pt idx="11">
                  <c:v>0.35</c:v>
                </c:pt>
                <c:pt idx="12">
                  <c:v>0.84</c:v>
                </c:pt>
                <c:pt idx="13">
                  <c:v>0.51</c:v>
                </c:pt>
                <c:pt idx="14">
                  <c:v>0.2</c:v>
                </c:pt>
                <c:pt idx="15">
                  <c:v>0.56000000000000005</c:v>
                </c:pt>
                <c:pt idx="16">
                  <c:v>0.36</c:v>
                </c:pt>
                <c:pt idx="17">
                  <c:v>0.44</c:v>
                </c:pt>
                <c:pt idx="18">
                  <c:v>0.09</c:v>
                </c:pt>
                <c:pt idx="19">
                  <c:v>0.32</c:v>
                </c:pt>
                <c:pt idx="20">
                  <c:v>0.27</c:v>
                </c:pt>
                <c:pt idx="21">
                  <c:v>0.22</c:v>
                </c:pt>
                <c:pt idx="22">
                  <c:v>0.24</c:v>
                </c:pt>
                <c:pt idx="23">
                  <c:v>0.32</c:v>
                </c:pt>
                <c:pt idx="24">
                  <c:v>0.17</c:v>
                </c:pt>
                <c:pt idx="25">
                  <c:v>0.09</c:v>
                </c:pt>
                <c:pt idx="26">
                  <c:v>0.08</c:v>
                </c:pt>
                <c:pt idx="27">
                  <c:v>0.25</c:v>
                </c:pt>
                <c:pt idx="28">
                  <c:v>0.18</c:v>
                </c:pt>
                <c:pt idx="29">
                  <c:v>0.12</c:v>
                </c:pt>
                <c:pt idx="30">
                  <c:v>0.13</c:v>
                </c:pt>
                <c:pt idx="31">
                  <c:v>0.09</c:v>
                </c:pt>
                <c:pt idx="32">
                  <c:v>0.06</c:v>
                </c:pt>
                <c:pt idx="33">
                  <c:v>0.17</c:v>
                </c:pt>
                <c:pt idx="34">
                  <c:v>0.08</c:v>
                </c:pt>
                <c:pt idx="35">
                  <c:v>0.08</c:v>
                </c:pt>
                <c:pt idx="36">
                  <c:v>0.06</c:v>
                </c:pt>
                <c:pt idx="37">
                  <c:v>0.05</c:v>
                </c:pt>
                <c:pt idx="38">
                  <c:v>0.11</c:v>
                </c:pt>
                <c:pt idx="39">
                  <c:v>0.05</c:v>
                </c:pt>
                <c:pt idx="40">
                  <c:v>0.18</c:v>
                </c:pt>
                <c:pt idx="41">
                  <c:v>0.02</c:v>
                </c:pt>
                <c:pt idx="42">
                  <c:v>0.05</c:v>
                </c:pt>
                <c:pt idx="43">
                  <c:v>0.03</c:v>
                </c:pt>
                <c:pt idx="44">
                  <c:v>0.02</c:v>
                </c:pt>
                <c:pt idx="45">
                  <c:v>0.01</c:v>
                </c:pt>
                <c:pt idx="46">
                  <c:v>0.06</c:v>
                </c:pt>
                <c:pt idx="47">
                  <c:v>0.1</c:v>
                </c:pt>
                <c:pt idx="48">
                  <c:v>0.04</c:v>
                </c:pt>
                <c:pt idx="49">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invertIfNegative val="1"/>
            <c:bubble3D val="0"/>
            <c:spPr>
              <a:solidFill>
                <a:srgbClr val="AEABAB"/>
              </a:solidFill>
            </c:spPr>
            <c:extLst>
              <c:ext xmlns:c16="http://schemas.microsoft.com/office/drawing/2014/chart" uri="{C3380CC4-5D6E-409C-BE32-E72D297353CC}">
                <c16:uniqueId val="{0000005B-F70A-4093-BAE1-4B320A776FC6}"/>
              </c:ext>
            </c:extLst>
          </c:dPt>
          <c:dPt>
            <c:idx val="45"/>
            <c:invertIfNegative val="1"/>
            <c:bubble3D val="0"/>
            <c:spPr>
              <a:solidFill>
                <a:srgbClr val="AEABAB"/>
              </a:solidFill>
            </c:spPr>
            <c:extLst>
              <c:ext xmlns:c16="http://schemas.microsoft.com/office/drawing/2014/chart" uri="{C3380CC4-5D6E-409C-BE32-E72D297353CC}">
                <c16:uniqueId val="{0000005D-F70A-4093-BAE1-4B320A776FC6}"/>
              </c:ext>
            </c:extLst>
          </c:dPt>
          <c:dPt>
            <c:idx val="46"/>
            <c:invertIfNegative val="1"/>
            <c:bubble3D val="0"/>
            <c:spPr>
              <a:solidFill>
                <a:srgbClr val="AEABAB"/>
              </a:solidFill>
            </c:spPr>
            <c:extLst>
              <c:ext xmlns:c16="http://schemas.microsoft.com/office/drawing/2014/chart" uri="{C3380CC4-5D6E-409C-BE32-E72D297353CC}">
                <c16:uniqueId val="{0000005F-F70A-4093-BAE1-4B320A776FC6}"/>
              </c:ext>
            </c:extLst>
          </c:dPt>
          <c:dPt>
            <c:idx val="47"/>
            <c:invertIfNegative val="1"/>
            <c:bubble3D val="0"/>
            <c:spPr>
              <a:solidFill>
                <a:srgbClr val="AEABAB"/>
              </a:solidFill>
            </c:spPr>
            <c:extLst>
              <c:ext xmlns:c16="http://schemas.microsoft.com/office/drawing/2014/chart" uri="{C3380CC4-5D6E-409C-BE32-E72D297353CC}">
                <c16:uniqueId val="{00000061-F70A-4093-BAE1-4B320A776FC6}"/>
              </c:ext>
            </c:extLst>
          </c:dPt>
          <c:dPt>
            <c:idx val="48"/>
            <c:invertIfNegative val="1"/>
            <c:bubble3D val="0"/>
            <c:spPr>
              <a:solidFill>
                <a:srgbClr val="AEABAB"/>
              </a:solidFill>
            </c:spPr>
            <c:extLst>
              <c:ext xmlns:c16="http://schemas.microsoft.com/office/drawing/2014/chart" uri="{C3380CC4-5D6E-409C-BE32-E72D297353CC}">
                <c16:uniqueId val="{00000063-F70A-4093-BAE1-4B320A776FC6}"/>
              </c:ext>
            </c:extLst>
          </c:dPt>
          <c:dPt>
            <c:idx val="49"/>
            <c:invertIfNegative val="1"/>
            <c:bubble3D val="0"/>
            <c:spPr>
              <a:solidFill>
                <a:srgbClr val="AEABAB"/>
              </a:solidFill>
            </c:spPr>
            <c:extLst>
              <c:ext xmlns:c16="http://schemas.microsoft.com/office/drawing/2014/chart" uri="{C3380CC4-5D6E-409C-BE32-E72D297353CC}">
                <c16:uniqueId val="{00000065-F70A-4093-BAE1-4B320A776FC6}"/>
              </c:ext>
            </c:extLst>
          </c:dPt>
          <c:cat>
            <c:strRef>
              <c:f>Sheet1!$A$2:$A$51</c:f>
              <c:strCache>
                <c:ptCount val="50"/>
                <c:pt idx="0">
                  <c:v>Mini Babybel Rouge Filet St Paulin Ferme 1X132Gr 6P</c:v>
                </c:pt>
                <c:pt idx="1">
                  <c:v>La Vache Qui Rit Nature Fromage Fondu Boite Ronde 1X192Gr 12P</c:v>
                </c:pt>
                <c:pt idx="2">
                  <c:v>Kiri Creme Fromage Blanc Frais Carre 1X144Gr 8P</c:v>
                </c:pt>
                <c:pt idx="3">
                  <c:v>La Vache Qui Rit Nature Fromage Fondu Boite Ronde 1X384Gr 24P</c:v>
                </c:pt>
                <c:pt idx="4">
                  <c:v>Boursin Classique Fromage Frais A Tartiner Afh Boite 1X150Gr 1P</c:v>
                </c:pt>
                <c:pt idx="5">
                  <c:v>Boursin Aperitif Roules Fromage Frais Roule Afh Et Jambon Fume Boite 1X100Gr 20P</c:v>
                </c:pt>
                <c:pt idx="6">
                  <c:v>Kiri Gouter Fromage Blanc Dips Boite 1X175Gr 5P</c:v>
                </c:pt>
                <c:pt idx="7">
                  <c:v>Apericube Edition Limitee Best Of Foot Fromage Fondu Cube Assortis 1X250Gr 48P</c:v>
                </c:pt>
                <c:pt idx="8">
                  <c:v>Boursin Classique Fromage Frais A Tartiner Afh 1X160Gr 10P</c:v>
                </c:pt>
                <c:pt idx="9">
                  <c:v>Boursin Salade &amp; Aperitif Fromage Frais Des Afh 1X120Gr 1P</c:v>
                </c:pt>
                <c:pt idx="10">
                  <c:v>Apericube Vertical Soiree Apero Fromage Fondu Cube Assortis 1X125Gr 24P</c:v>
                </c:pt>
                <c:pt idx="11">
                  <c:v>Apericube Cocktail Fromage Fondu Cube Assortis 1X250Gr 48P</c:v>
                </c:pt>
                <c:pt idx="12">
                  <c:v>Babybel St Paulin 1X200Gr 1P</c:v>
                </c:pt>
                <c:pt idx="13">
                  <c:v>La Vache Qui Rit Pik Et Croq' Fromage Fondu Dips Boite 1X175Gr 5P</c:v>
                </c:pt>
                <c:pt idx="14">
                  <c:v>Mini Babybel Rouge Filet St Paulin Ferme 1X264Gr 12P</c:v>
                </c:pt>
                <c:pt idx="15">
                  <c:v>Kiri Delicieusement Fouette Fromage Frais A Tartiner 1X125Gr 1P</c:v>
                </c:pt>
                <c:pt idx="16">
                  <c:v>Apericube Vertical Nature Fromage Fondu Cube 1X125Gr 24P</c:v>
                </c:pt>
                <c:pt idx="17">
                  <c:v>Port Salut St Paulin 1X185Gr 1P</c:v>
                </c:pt>
                <c:pt idx="18">
                  <c:v>La Vache Qui Rit Nature Fromage Fondu Boite Ronde 1X128Gr 8P</c:v>
                </c:pt>
                <c:pt idx="19">
                  <c:v>Cousteron St Paulin 1X320Gr 1P</c:v>
                </c:pt>
                <c:pt idx="20">
                  <c:v>Kiri Delicieusement Fouette Fromage Frais A Tartiner 1X160Gr 10P</c:v>
                </c:pt>
                <c:pt idx="21">
                  <c:v>Apericube Best Of Des Saveurs Fromage Fondu Cube Assortis 1X125Gr 24P</c:v>
                </c:pt>
                <c:pt idx="22">
                  <c:v>Apericube Long Drink Fromage Fondu Cube Assortis 1X125Gr 24P</c:v>
                </c:pt>
                <c:pt idx="23">
                  <c:v>Boursin Cuisine Sauce Fromage Afh 1X240Gr 1P</c:v>
                </c:pt>
                <c:pt idx="24">
                  <c:v>Boursin Aperitif Roules Fromage Frais Roule Ciboulette &amp; Echalote Jambon Fume Boite 1X100Gr 20P</c:v>
                </c:pt>
                <c:pt idx="25">
                  <c:v>Port Salut St Paulin Tranche Boite 1X200Gr 6P</c:v>
                </c:pt>
                <c:pt idx="26">
                  <c:v>Boursin Classique Fromage Frais A Tartiner Ciboulette &amp; Echalote Boite 1X150Gr 1P</c:v>
                </c:pt>
                <c:pt idx="27">
                  <c:v>Apericube Long Drink Fromage Fondu Cube Assortis 1X250Gr 48P</c:v>
                </c:pt>
                <c:pt idx="28">
                  <c:v>Toastinette Cheddar Fondu Tranche A Chaud Sachet 1X200Gr 10P</c:v>
                </c:pt>
                <c:pt idx="29">
                  <c:v>Boursin Classique Fromage Frais A Tartiner Afh Boite 1X96Gr 6P</c:v>
                </c:pt>
                <c:pt idx="30">
                  <c:v>Mini Babybel Aros St Paulin Ferme Raclette Filet 1X132Gr 6P</c:v>
                </c:pt>
                <c:pt idx="31">
                  <c:v>Port Salut St Paulin 1X320Gr 1P</c:v>
                </c:pt>
                <c:pt idx="32">
                  <c:v>Kiri Creme Fromage Blanc Frais Carre 1X216Gr 12P</c:v>
                </c:pt>
                <c:pt idx="33">
                  <c:v>Babybel Mini Rolls St Paulin Ferme Sachet 1X85Gr 5P</c:v>
                </c:pt>
                <c:pt idx="34">
                  <c:v>La Vache Qui Rit Bio Fromage Fondu Boite Ronde 1X128Gr 8P</c:v>
                </c:pt>
                <c:pt idx="35">
                  <c:v>Nurishh Les Tranches Vegetales Emmental Vegetal Tranche Boite 1X160Gr 8P</c:v>
                </c:pt>
                <c:pt idx="36">
                  <c:v>Mini Babybel Rouge Filet St Paulin Ferme Sachet 1X40Gr 1P</c:v>
                </c:pt>
                <c:pt idx="37">
                  <c:v>La Vache Qui Rit Pik Et Croq' Fromage Fondu Dips Boite 1X35Gr 1P</c:v>
                </c:pt>
                <c:pt idx="38">
                  <c:v>Boursin Classique Fromage Frais A Tartiner Afh Boite 1X80Gr 1P</c:v>
                </c:pt>
                <c:pt idx="39">
                  <c:v>Toastinette Fromage Fondu Tranche A Chaud Sachet 1X200Gr 10P</c:v>
                </c:pt>
                <c:pt idx="40">
                  <c:v>Apericube Nature Fromage Fondu Cube 1X125Gr 24P</c:v>
                </c:pt>
                <c:pt idx="41">
                  <c:v>Kiri Gouter Fromage Blanc Dips Boite 1X280Gr 8P</c:v>
                </c:pt>
                <c:pt idx="42">
                  <c:v>Mini Babybel Aros Soft Cheese Enfant 180G</c:v>
                </c:pt>
                <c:pt idx="43">
                  <c:v>Nurishh Les Tranches Vegetales Cheddar Vegetal Tranche Boite 1X160Gr 8P</c:v>
                </c:pt>
                <c:pt idx="44">
                  <c:v>Nurishh Le Coeur Fleuri Vegetal Camembert Boite 1X140Gr 1P</c:v>
                </c:pt>
                <c:pt idx="45">
                  <c:v>Apericube Soiree Match Aperitif 250G</c:v>
                </c:pt>
                <c:pt idx="46">
                  <c:v>Mini Babybel Bio St Paulin Ferme Filet 1X100Gr 5P</c:v>
                </c:pt>
                <c:pt idx="47">
                  <c:v>Boursin Classique Fromage Frais A Tartiner Truffe Boite 1X150Gr 1P</c:v>
                </c:pt>
                <c:pt idx="48">
                  <c:v>Nurishh Les Tranches Vegetales Emmental Vegetal Tranche Boite 1X200Gr 10P</c:v>
                </c:pt>
                <c:pt idx="49">
                  <c:v>Nurishh Les Tranches Vegetales Cheddar Vegetal Tranche Boite 1X200Gr 10P</c:v>
                </c:pt>
              </c:strCache>
            </c:strRef>
          </c:cat>
          <c:val>
            <c:numRef>
              <c:f>Sheet1!$C$2:$C$51</c:f>
              <c:numCache>
                <c:formatCode>General</c:formatCode>
                <c:ptCount val="50"/>
                <c:pt idx="0">
                  <c:v>0.16614800317422682</c:v>
                </c:pt>
                <c:pt idx="1">
                  <c:v>0.31082936424649071</c:v>
                </c:pt>
                <c:pt idx="2">
                  <c:v>0.43396437304693136</c:v>
                </c:pt>
                <c:pt idx="3">
                  <c:v>0.50293050868434219</c:v>
                </c:pt>
                <c:pt idx="4">
                  <c:v>0.57189492395837471</c:v>
                </c:pt>
                <c:pt idx="5">
                  <c:v>0.61728916190881922</c:v>
                </c:pt>
                <c:pt idx="6">
                  <c:v>0.66153555256038543</c:v>
                </c:pt>
                <c:pt idx="7">
                  <c:v>0.70379163917995169</c:v>
                </c:pt>
                <c:pt idx="8">
                  <c:v>0.74023936197665363</c:v>
                </c:pt>
                <c:pt idx="9">
                  <c:v>0.77076564615753707</c:v>
                </c:pt>
                <c:pt idx="10">
                  <c:v>0.7978428624260856</c:v>
                </c:pt>
                <c:pt idx="11">
                  <c:v>0.82236502628454577</c:v>
                </c:pt>
                <c:pt idx="12">
                  <c:v>0.84568231019152651</c:v>
                </c:pt>
                <c:pt idx="13">
                  <c:v>0.86877016018251285</c:v>
                </c:pt>
                <c:pt idx="14">
                  <c:v>0.89116199285642572</c:v>
                </c:pt>
                <c:pt idx="15">
                  <c:v>0.90966147732086666</c:v>
                </c:pt>
                <c:pt idx="16">
                  <c:v>0.92013640500565275</c:v>
                </c:pt>
                <c:pt idx="17">
                  <c:v>0.92944164198987866</c:v>
                </c:pt>
                <c:pt idx="18">
                  <c:v>0.93609569474372689</c:v>
                </c:pt>
                <c:pt idx="19">
                  <c:v>0.94240885488755766</c:v>
                </c:pt>
                <c:pt idx="20">
                  <c:v>0.94832659211550174</c:v>
                </c:pt>
                <c:pt idx="21">
                  <c:v>0.95397970617653205</c:v>
                </c:pt>
                <c:pt idx="22">
                  <c:v>0.95818604676865193</c:v>
                </c:pt>
                <c:pt idx="23">
                  <c:v>0.96234161057500078</c:v>
                </c:pt>
                <c:pt idx="24">
                  <c:v>0.96635235106423256</c:v>
                </c:pt>
                <c:pt idx="25">
                  <c:v>0.96924850461323275</c:v>
                </c:pt>
                <c:pt idx="26">
                  <c:v>0.97175006936192365</c:v>
                </c:pt>
                <c:pt idx="27">
                  <c:v>0.97407719969050155</c:v>
                </c:pt>
                <c:pt idx="28">
                  <c:v>0.97636298916577713</c:v>
                </c:pt>
                <c:pt idx="29">
                  <c:v>0.97863689249407548</c:v>
                </c:pt>
                <c:pt idx="30">
                  <c:v>0.98089807555981934</c:v>
                </c:pt>
                <c:pt idx="31">
                  <c:v>0.98312344378796079</c:v>
                </c:pt>
                <c:pt idx="32">
                  <c:v>0.98525148115467043</c:v>
                </c:pt>
                <c:pt idx="33">
                  <c:v>0.98704336994370878</c:v>
                </c:pt>
                <c:pt idx="34">
                  <c:v>0.98852747008470554</c:v>
                </c:pt>
                <c:pt idx="35">
                  <c:v>0.98992456154454023</c:v>
                </c:pt>
                <c:pt idx="36">
                  <c:v>0.99116655963921174</c:v>
                </c:pt>
                <c:pt idx="37">
                  <c:v>0.99239224034790141</c:v>
                </c:pt>
                <c:pt idx="38">
                  <c:v>0.99349030137325678</c:v>
                </c:pt>
                <c:pt idx="39">
                  <c:v>0.994575590003834</c:v>
                </c:pt>
                <c:pt idx="40">
                  <c:v>0.99547466233176818</c:v>
                </c:pt>
                <c:pt idx="41">
                  <c:v>0.99622401091356838</c:v>
                </c:pt>
                <c:pt idx="42">
                  <c:v>0.99694202802899445</c:v>
                </c:pt>
                <c:pt idx="43">
                  <c:v>0.99742925579061303</c:v>
                </c:pt>
                <c:pt idx="44">
                  <c:v>0.99783588713457028</c:v>
                </c:pt>
                <c:pt idx="45">
                  <c:v>0.99844557348938823</c:v>
                </c:pt>
                <c:pt idx="46">
                  <c:v>0.99871780796094523</c:v>
                </c:pt>
                <c:pt idx="47">
                  <c:v>0.99919419222005823</c:v>
                </c:pt>
                <c:pt idx="48">
                  <c:v>0.9995502553071387</c:v>
                </c:pt>
                <c:pt idx="49">
                  <c:v>0.9996904388563567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51</c:f>
              <c:strCache>
                <c:ptCount val="50"/>
                <c:pt idx="0">
                  <c:v>Mini Babybel Rouge Filet St Paulin Ferme 1X132Gr 6P</c:v>
                </c:pt>
                <c:pt idx="1">
                  <c:v>La Vache Qui Rit Nature Fromage Fondu Boite Ronde 1X192Gr 12P</c:v>
                </c:pt>
                <c:pt idx="2">
                  <c:v>Kiri Creme Fromage Blanc Frais Carre 1X144Gr 8P</c:v>
                </c:pt>
                <c:pt idx="3">
                  <c:v>La Vache Qui Rit Nature Fromage Fondu Boite Ronde 1X384Gr 24P</c:v>
                </c:pt>
                <c:pt idx="4">
                  <c:v>Boursin Classique Fromage Frais A Tartiner Afh Boite 1X150Gr 1P</c:v>
                </c:pt>
                <c:pt idx="5">
                  <c:v>Boursin Aperitif Roules Fromage Frais Roule Afh Et Jambon Fume Boite 1X100Gr 20P</c:v>
                </c:pt>
                <c:pt idx="6">
                  <c:v>Kiri Gouter Fromage Blanc Dips Boite 1X175Gr 5P</c:v>
                </c:pt>
                <c:pt idx="7">
                  <c:v>Apericube Edition Limitee Best Of Foot Fromage Fondu Cube Assortis 1X250Gr 48P</c:v>
                </c:pt>
                <c:pt idx="8">
                  <c:v>Boursin Classique Fromage Frais A Tartiner Afh 1X160Gr 10P</c:v>
                </c:pt>
                <c:pt idx="9">
                  <c:v>Boursin Salade &amp; Aperitif Fromage Frais Des Afh 1X120Gr 1P</c:v>
                </c:pt>
                <c:pt idx="10">
                  <c:v>Apericube Vertical Soiree Apero Fromage Fondu Cube Assortis 1X125Gr 24P</c:v>
                </c:pt>
                <c:pt idx="11">
                  <c:v>Apericube Cocktail Fromage Fondu Cube Assortis 1X250Gr 48P</c:v>
                </c:pt>
                <c:pt idx="12">
                  <c:v>Babybel St Paulin 1X200Gr 1P</c:v>
                </c:pt>
                <c:pt idx="13">
                  <c:v>La Vache Qui Rit Pik Et Croq' Fromage Fondu Dips Boite 1X175Gr 5P</c:v>
                </c:pt>
                <c:pt idx="14">
                  <c:v>Mini Babybel Rouge Filet St Paulin Ferme 1X264Gr 12P</c:v>
                </c:pt>
                <c:pt idx="15">
                  <c:v>Kiri Delicieusement Fouette Fromage Frais A Tartiner 1X125Gr 1P</c:v>
                </c:pt>
                <c:pt idx="16">
                  <c:v>Apericube Vertical Nature Fromage Fondu Cube 1X125Gr 24P</c:v>
                </c:pt>
                <c:pt idx="17">
                  <c:v>Port Salut St Paulin 1X185Gr 1P</c:v>
                </c:pt>
                <c:pt idx="18">
                  <c:v>La Vache Qui Rit Nature Fromage Fondu Boite Ronde 1X128Gr 8P</c:v>
                </c:pt>
                <c:pt idx="19">
                  <c:v>Cousteron St Paulin 1X320Gr 1P</c:v>
                </c:pt>
                <c:pt idx="20">
                  <c:v>Kiri Delicieusement Fouette Fromage Frais A Tartiner 1X160Gr 10P</c:v>
                </c:pt>
                <c:pt idx="21">
                  <c:v>Apericube Best Of Des Saveurs Fromage Fondu Cube Assortis 1X125Gr 24P</c:v>
                </c:pt>
                <c:pt idx="22">
                  <c:v>Apericube Long Drink Fromage Fondu Cube Assortis 1X125Gr 24P</c:v>
                </c:pt>
                <c:pt idx="23">
                  <c:v>Boursin Cuisine Sauce Fromage Afh 1X240Gr 1P</c:v>
                </c:pt>
                <c:pt idx="24">
                  <c:v>Boursin Aperitif Roules Fromage Frais Roule Ciboulette &amp; Echalote Jambon Fume Boite 1X100Gr 20P</c:v>
                </c:pt>
                <c:pt idx="25">
                  <c:v>Port Salut St Paulin Tranche Boite 1X200Gr 6P</c:v>
                </c:pt>
                <c:pt idx="26">
                  <c:v>Boursin Classique Fromage Frais A Tartiner Ciboulette &amp; Echalote Boite 1X150Gr 1P</c:v>
                </c:pt>
                <c:pt idx="27">
                  <c:v>Apericube Long Drink Fromage Fondu Cube Assortis 1X250Gr 48P</c:v>
                </c:pt>
                <c:pt idx="28">
                  <c:v>Toastinette Cheddar Fondu Tranche A Chaud Sachet 1X200Gr 10P</c:v>
                </c:pt>
                <c:pt idx="29">
                  <c:v>Boursin Classique Fromage Frais A Tartiner Afh Boite 1X96Gr 6P</c:v>
                </c:pt>
                <c:pt idx="30">
                  <c:v>Mini Babybel Aros St Paulin Ferme Raclette Filet 1X132Gr 6P</c:v>
                </c:pt>
                <c:pt idx="31">
                  <c:v>Port Salut St Paulin 1X320Gr 1P</c:v>
                </c:pt>
                <c:pt idx="32">
                  <c:v>Kiri Creme Fromage Blanc Frais Carre 1X216Gr 12P</c:v>
                </c:pt>
                <c:pt idx="33">
                  <c:v>Babybel Mini Rolls St Paulin Ferme Sachet 1X85Gr 5P</c:v>
                </c:pt>
                <c:pt idx="34">
                  <c:v>La Vache Qui Rit Bio Fromage Fondu Boite Ronde 1X128Gr 8P</c:v>
                </c:pt>
                <c:pt idx="35">
                  <c:v>Nurishh Les Tranches Vegetales Emmental Vegetal Tranche Boite 1X160Gr 8P</c:v>
                </c:pt>
                <c:pt idx="36">
                  <c:v>Mini Babybel Rouge Filet St Paulin Ferme Sachet 1X40Gr 1P</c:v>
                </c:pt>
                <c:pt idx="37">
                  <c:v>La Vache Qui Rit Pik Et Croq' Fromage Fondu Dips Boite 1X35Gr 1P</c:v>
                </c:pt>
                <c:pt idx="38">
                  <c:v>Boursin Classique Fromage Frais A Tartiner Afh Boite 1X80Gr 1P</c:v>
                </c:pt>
                <c:pt idx="39">
                  <c:v>Toastinette Fromage Fondu Tranche A Chaud Sachet 1X200Gr 10P</c:v>
                </c:pt>
                <c:pt idx="40">
                  <c:v>Apericube Nature Fromage Fondu Cube 1X125Gr 24P</c:v>
                </c:pt>
                <c:pt idx="41">
                  <c:v>Kiri Gouter Fromage Blanc Dips Boite 1X280Gr 8P</c:v>
                </c:pt>
                <c:pt idx="42">
                  <c:v>Mini Babybel Aros Soft Cheese Enfant 180G</c:v>
                </c:pt>
                <c:pt idx="43">
                  <c:v>Nurishh Les Tranches Vegetales Cheddar Vegetal Tranche Boite 1X160Gr 8P</c:v>
                </c:pt>
                <c:pt idx="44">
                  <c:v>Nurishh Le Coeur Fleuri Vegetal Camembert Boite 1X140Gr 1P</c:v>
                </c:pt>
                <c:pt idx="45">
                  <c:v>Apericube Soiree Match Aperitif 250G</c:v>
                </c:pt>
                <c:pt idx="46">
                  <c:v>Mini Babybel Bio St Paulin Ferme Filet 1X100Gr 5P</c:v>
                </c:pt>
                <c:pt idx="47">
                  <c:v>Boursin Classique Fromage Frais A Tartiner Truffe Boite 1X150Gr 1P</c:v>
                </c:pt>
                <c:pt idx="48">
                  <c:v>Nurishh Les Tranches Vegetales Emmental Vegetal Tranche Boite 1X200Gr 10P</c:v>
                </c:pt>
                <c:pt idx="49">
                  <c:v>Nurishh Les Tranches Vegetales Cheddar Vegetal Tranche Boite 1X200Gr 10P</c:v>
                </c:pt>
              </c:strCache>
            </c:strRef>
          </c:cat>
          <c:val>
            <c:numRef>
              <c:f>Sheet1!$D$2:$D$51</c:f>
              <c:numCache>
                <c:formatCode>General</c:formatCode>
                <c:ptCount val="50"/>
                <c:pt idx="0">
                  <c:v>33198.4375</c:v>
                </c:pt>
                <c:pt idx="1">
                  <c:v>30497.54945054945</c:v>
                </c:pt>
                <c:pt idx="2">
                  <c:v>24603.90625</c:v>
                </c:pt>
                <c:pt idx="3">
                  <c:v>28146.978723404256</c:v>
                </c:pt>
                <c:pt idx="4">
                  <c:v>15938.253012048193</c:v>
                </c:pt>
                <c:pt idx="5">
                  <c:v>15549.142857142855</c:v>
                </c:pt>
                <c:pt idx="6">
                  <c:v>11954</c:v>
                </c:pt>
                <c:pt idx="7">
                  <c:v>15293.509433962265</c:v>
                </c:pt>
                <c:pt idx="8">
                  <c:v>13191.32075471698</c:v>
                </c:pt>
                <c:pt idx="9">
                  <c:v>7412.0886075949365</c:v>
                </c:pt>
                <c:pt idx="10">
                  <c:v>8377.3387096774186</c:v>
                </c:pt>
                <c:pt idx="11">
                  <c:v>13439.542857142857</c:v>
                </c:pt>
                <c:pt idx="12">
                  <c:v>5324.666666666667</c:v>
                </c:pt>
                <c:pt idx="13">
                  <c:v>8683.745098039215</c:v>
                </c:pt>
                <c:pt idx="14">
                  <c:v>21476</c:v>
                </c:pt>
                <c:pt idx="15">
                  <c:v>6336.7321428571422</c:v>
                </c:pt>
                <c:pt idx="16">
                  <c:v>5581.3888888888887</c:v>
                </c:pt>
                <c:pt idx="17">
                  <c:v>4056.659090909091</c:v>
                </c:pt>
                <c:pt idx="18">
                  <c:v>14182</c:v>
                </c:pt>
                <c:pt idx="19">
                  <c:v>3784.34375</c:v>
                </c:pt>
                <c:pt idx="20">
                  <c:v>4204.2222222222226</c:v>
                </c:pt>
                <c:pt idx="21">
                  <c:v>4929</c:v>
                </c:pt>
                <c:pt idx="22">
                  <c:v>3361.9166666666665</c:v>
                </c:pt>
                <c:pt idx="23">
                  <c:v>2491</c:v>
                </c:pt>
                <c:pt idx="24">
                  <c:v>4525.5294117647063</c:v>
                </c:pt>
                <c:pt idx="25">
                  <c:v>6172.666666666667</c:v>
                </c:pt>
                <c:pt idx="26">
                  <c:v>5998.125</c:v>
                </c:pt>
                <c:pt idx="27">
                  <c:v>1785.56</c:v>
                </c:pt>
                <c:pt idx="28">
                  <c:v>2435.8888888888887</c:v>
                </c:pt>
                <c:pt idx="29">
                  <c:v>3634.8333333333335</c:v>
                </c:pt>
                <c:pt idx="30">
                  <c:v>3336.4615384615386</c:v>
                </c:pt>
                <c:pt idx="31">
                  <c:v>4743</c:v>
                </c:pt>
                <c:pt idx="32">
                  <c:v>6803.333333333333</c:v>
                </c:pt>
                <c:pt idx="33">
                  <c:v>2021.8823529411766</c:v>
                </c:pt>
                <c:pt idx="34">
                  <c:v>3558.5</c:v>
                </c:pt>
                <c:pt idx="35">
                  <c:v>3349.875</c:v>
                </c:pt>
                <c:pt idx="36">
                  <c:v>3970.6666666666665</c:v>
                </c:pt>
                <c:pt idx="37">
                  <c:v>4702.2</c:v>
                </c:pt>
                <c:pt idx="38">
                  <c:v>1914.8181818181818</c:v>
                </c:pt>
                <c:pt idx="39">
                  <c:v>4163.6000000000004</c:v>
                </c:pt>
                <c:pt idx="40">
                  <c:v>958.11111111111109</c:v>
                </c:pt>
                <c:pt idx="41">
                  <c:v>7187</c:v>
                </c:pt>
                <c:pt idx="42">
                  <c:v>2754.6</c:v>
                </c:pt>
                <c:pt idx="43">
                  <c:v>3115.3333333333335</c:v>
                </c:pt>
                <c:pt idx="44">
                  <c:v>3900</c:v>
                </c:pt>
                <c:pt idx="45">
                  <c:v>5714</c:v>
                </c:pt>
                <c:pt idx="46">
                  <c:v>870.33333333333337</c:v>
                </c:pt>
                <c:pt idx="47">
                  <c:v>456.8</c:v>
                </c:pt>
                <c:pt idx="48">
                  <c:v>759.5</c:v>
                </c:pt>
                <c:pt idx="49">
                  <c:v>655.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3</c:f>
              <c:strCache>
                <c:ptCount val="82"/>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Apericube Edition Limitee Best Of Foot Fromage Fondu Cube Assortis 1X250Gr 48P</c:v>
                </c:pt>
                <c:pt idx="7">
                  <c:v>Kiri Creme Fromage Blanc Frais Carre 1X432Gr 24P</c:v>
                </c:pt>
                <c:pt idx="8">
                  <c:v>Apericube Cocktail Fromage Fondu Cube Assortis 1X250Gr 48P</c:v>
                </c:pt>
                <c:pt idx="9">
                  <c:v>Apericube Long Drink Fromage Fondu Cube Assortis 1X250Gr 48P</c:v>
                </c:pt>
                <c:pt idx="10">
                  <c:v>Boursin Classique Fromage Frais A Tartiner Afh Boite 1X250Gr 1P</c:v>
                </c:pt>
                <c:pt idx="11">
                  <c:v>Boursin Classique Fromage Frais A Tartiner Afh 1X160Gr 10P</c:v>
                </c:pt>
                <c:pt idx="12">
                  <c:v>Kiri Gouter Fromage Blanc Dips Boite 1X280Gr 8P</c:v>
                </c:pt>
                <c:pt idx="13">
                  <c:v>Apericube Tonic Fromage Fondu Cube Assortis 1X250Gr 48P</c:v>
                </c:pt>
                <c:pt idx="14">
                  <c:v>Kiri Creme Fromage Blanc Frais Carre 1X144Gr 8P</c:v>
                </c:pt>
                <c:pt idx="15">
                  <c:v>Boursin Classique Fromage Frais A Tartiner Afh Boite 1X150Gr 1P</c:v>
                </c:pt>
                <c:pt idx="16">
                  <c:v>Port Salut St Paulin 1X320Gr 1P</c:v>
                </c:pt>
                <c:pt idx="17">
                  <c:v>Boursin Aperitif Roules Fromage Frais Roule Afh Et Jambon Fume Boite 1X100Gr 20P</c:v>
                </c:pt>
                <c:pt idx="18">
                  <c:v>Apericube Incontournable Fromage Fondu Cube Assortis 1X250Gr 48P</c:v>
                </c:pt>
                <c:pt idx="19">
                  <c:v>Mini Babybel Rouge Filet St Paulin Ferme 1X440Gr 20P</c:v>
                </c:pt>
                <c:pt idx="20">
                  <c:v>Kiri Gouter Fromage Blanc Dips Boite 1X175Gr 5P</c:v>
                </c:pt>
                <c:pt idx="21">
                  <c:v>Apericube Edition Limitee Saison Fromage Fondu Cube Assortis 1X250Gr 48P</c:v>
                </c:pt>
                <c:pt idx="22">
                  <c:v>Apericube Nature Fromage Fondu Cube 1X125Gr 24P</c:v>
                </c:pt>
                <c:pt idx="23">
                  <c:v>Babybel St Paulin 1X200Gr 1P</c:v>
                </c:pt>
                <c:pt idx="24">
                  <c:v>Cousteron St Paulin 1X320Gr 1P</c:v>
                </c:pt>
                <c:pt idx="25">
                  <c:v>Apericube Edition Voyage Fromage Fondu Cube Assortis 1X250Gr 48P</c:v>
                </c:pt>
                <c:pt idx="26">
                  <c:v>Boursin Aperitif Roules Fromage Frais Roule Ciboulette &amp; Echalote Jambon Fume Boite 1X100Gr 20P</c:v>
                </c:pt>
                <c:pt idx="27">
                  <c:v>Apericube Campagne Fromage Fondu Cube Assortis 1X125Gr 24P</c:v>
                </c:pt>
                <c:pt idx="28">
                  <c:v>La Vache Qui Rit Pik Et Croq' Fromage Fondu Dips Boite 1X175Gr 5P</c:v>
                </c:pt>
                <c:pt idx="29">
                  <c:v>La Vache Qui Rit Pik Et Croq' Fromage Fondu Dips Boite 1X280Gr 8P</c:v>
                </c:pt>
                <c:pt idx="30">
                  <c:v>Boursin Onctueux Fromage Frais A Tartiner Afh 1X125Gr 1P</c:v>
                </c:pt>
                <c:pt idx="31">
                  <c:v>Boursin Salade &amp; Aperitif Fromage Frais Des Afh 1X120Gr 1P</c:v>
                </c:pt>
                <c:pt idx="32">
                  <c:v>Apericube Saveurs De L'Authentique Fromage Fondu Cube Assortis 1X250Gr 48P</c:v>
                </c:pt>
                <c:pt idx="33">
                  <c:v>Boursin Classique Fromage Frais A Tartiner Afh Boite 1X96Gr 6P</c:v>
                </c:pt>
                <c:pt idx="34">
                  <c:v>Boursin Classique Fromage Frais A Tartiner Figue Et 3 Noix Boite 1X150Gr 1P</c:v>
                </c:pt>
                <c:pt idx="35">
                  <c:v>La Vache Qui Rit Allegee Fromage Fondu Boite Ronde Allege 1X267Gr 16P</c:v>
                </c:pt>
                <c:pt idx="36">
                  <c:v>Boursin Classique Fromage Frais A Tartiner Ciboulette &amp; Echalote Boite 1X150Gr 1P</c:v>
                </c:pt>
                <c:pt idx="37">
                  <c:v>Boursin Classique Fromage Frais A Tartiner Afh 1X256Gr 16P</c:v>
                </c:pt>
                <c:pt idx="38">
                  <c:v>Boursin Cuisine Sauce Fromage Afh 1X240Gr 1P</c:v>
                </c:pt>
                <c:pt idx="39">
                  <c:v>Boursin Aperitif Roules Fromage Frais Roule Basilic &amp; Jambon Fume Tomate Boite 1X100Gr 20P</c:v>
                </c:pt>
                <c:pt idx="40">
                  <c:v>Boursin Classique Fromage Frais A Tartiner Poivre Boite 1X150Gr 1P</c:v>
                </c:pt>
                <c:pt idx="41">
                  <c:v>Babybel Mini Rolls St Paulin Ferme Sachet 1X85Gr 5P</c:v>
                </c:pt>
                <c:pt idx="42">
                  <c:v>Mini Babybel Aros St Paulin Ferme Assortis Filet 1X180Gr 9P</c:v>
                </c:pt>
                <c:pt idx="43">
                  <c:v>Kiri Delicieusement Fouette Fromage Frais A Tartiner 1X125Gr 1P</c:v>
                </c:pt>
                <c:pt idx="44">
                  <c:v>Apericube Long Drink Fromage Fondu Cube Assortis 1X125Gr 24P</c:v>
                </c:pt>
                <c:pt idx="45">
                  <c:v>Boursin Classique Fromage Frais A Tartiner Ciboulette &amp; Echalote 1X160Gr 10P</c:v>
                </c:pt>
                <c:pt idx="46">
                  <c:v>La Vache Qui Rit Aro Fromage Fondu Boite Ronde Jambon 1X133Gr 8P</c:v>
                </c:pt>
                <c:pt idx="47">
                  <c:v>Kiri Bio Fromage Blanc Frais Carre 1X144Gr 8P</c:v>
                </c:pt>
                <c:pt idx="48">
                  <c:v>Kiri Chevre Fromage Blanc Frais Carre 1X144Gr 8P</c:v>
                </c:pt>
                <c:pt idx="49">
                  <c:v>Apericube Soiree Match Aperitif 250G</c:v>
                </c:pt>
                <c:pt idx="50">
                  <c:v>Mini Babybel Aros Soft Cheese Enfant 180G</c:v>
                </c:pt>
                <c:pt idx="51">
                  <c:v>Boursin Salade &amp; Aperitif Fromage Frais Des Ciboulette Echalote 1X120Gr 1P</c:v>
                </c:pt>
                <c:pt idx="52">
                  <c:v>Mini Babybel Rouge Filet St Paulin Ferme 1X396Gr 12+6P</c:v>
                </c:pt>
                <c:pt idx="53">
                  <c:v>Kiri Delicieusement Fouette Fromage Frais A Tartiner 1X160Gr 10P</c:v>
                </c:pt>
                <c:pt idx="54">
                  <c:v>Kiri Creme Fromage Blanc Frais Carre 1X432Gr 18+6P</c:v>
                </c:pt>
                <c:pt idx="55">
                  <c:v>Mini Babybel Aros St Paulin Ferme Raclette Filet 1X132Gr 6P</c:v>
                </c:pt>
                <c:pt idx="56">
                  <c:v>Boursin Salade &amp; Aperitif Fromage Frais Des Figue Noix 1X120Gr 1P</c:v>
                </c:pt>
                <c:pt idx="57">
                  <c:v>Apericube Hot Chalenge Aperitif 250G</c:v>
                </c:pt>
                <c:pt idx="58">
                  <c:v>Nurishh Les Tranches Vegetales Cheddar Vegetal Tranche Boite 1X160Gr 8P</c:v>
                </c:pt>
                <c:pt idx="59">
                  <c:v>Boursin Salade &amp; Aperitif Fromage Frais Des Citron Romarin 1X120Gr 1P</c:v>
                </c:pt>
                <c:pt idx="60">
                  <c:v>Apericube Best Of Des Saveurs Fromage Fondu Cube Assortis 1X125Gr 24P</c:v>
                </c:pt>
                <c:pt idx="61">
                  <c:v>Nurishh Le Rape Vegetal Specialite Vegetale Sachet 1X150Gr 1P</c:v>
                </c:pt>
                <c:pt idx="62">
                  <c:v>Boursin Salade &amp; Aperitif Fromage Frais Des Noisette Et 3 Noix 1X120Gr 1P</c:v>
                </c:pt>
                <c:pt idx="63">
                  <c:v>Boursin Classique Fromage Frais A Tartiner Afh Boite 1X80Gr 1P</c:v>
                </c:pt>
                <c:pt idx="64">
                  <c:v>Mini Babybel Aros Soft Cheese Enfant 110G</c:v>
                </c:pt>
                <c:pt idx="65">
                  <c:v>Apericube Fromages Du Monde Aperitif 250G</c:v>
                </c:pt>
                <c:pt idx="66">
                  <c:v>Boursin Aperitif Roules Fromage Frais Roule Jambon Fume &amp; Trio De Noix Boite 1X100Gr 20P</c:v>
                </c:pt>
                <c:pt idx="67">
                  <c:v>Nurishh Le Rape Vegetal Specialite Vegetale Emmental Sachet 1X150Gr 1P</c:v>
                </c:pt>
                <c:pt idx="68">
                  <c:v>Nurishh Des Vegetaux Feta Vegetale Sachet 1X150Gr 1P</c:v>
                </c:pt>
                <c:pt idx="69">
                  <c:v>Apericube Montagne Aperitif 250G</c:v>
                </c:pt>
                <c:pt idx="70">
                  <c:v>Nurishh Le Coeur Fleuri Vegetal Camembert Boite 1X140Gr 1P</c:v>
                </c:pt>
                <c:pt idx="71">
                  <c:v>Nurishh Le Palet Vegetal Specialite Vegetale Ovale Saveur Chevre Boite 1X140Gr 1P</c:v>
                </c:pt>
                <c:pt idx="72">
                  <c:v>Boursin Aperitif Roules Aperitif 100G</c:v>
                </c:pt>
                <c:pt idx="73">
                  <c:v>Boursin Salade &amp; Aperitif Soft Cheese Salade 120G</c:v>
                </c:pt>
                <c:pt idx="74">
                  <c:v>Boursin Classique Fromage Frais A Tartiner Truffe Boite 1X150Gr 1P</c:v>
                </c:pt>
                <c:pt idx="75">
                  <c:v>La Vache Qui Rit Nature Fromage Fondu Boite Ronde 1X512Gr 24+8P</c:v>
                </c:pt>
                <c:pt idx="76">
                  <c:v>Mini Babybel Bio St Paulin Ferme Filet 1X100Gr 5P</c:v>
                </c:pt>
                <c:pt idx="77">
                  <c:v>Mini Babybel Rouge Filet St Paulin Ferme Sachet 1X40Gr 1P</c:v>
                </c:pt>
                <c:pt idx="78">
                  <c:v>Kiri Delicieusement Fouette Fromage Frais A Tartiner 1X210Gr 1P</c:v>
                </c:pt>
                <c:pt idx="79">
                  <c:v>Limiano Queijo Flamengo Tranche Sachet 1X200Gr 1P</c:v>
                </c:pt>
                <c:pt idx="80">
                  <c:v>Limiano Queijo Flamengo Bloc 1X600Gr 1P</c:v>
                </c:pt>
                <c:pt idx="81">
                  <c:v>La Vache Qui Rit Nature Fromage Fondu Boite Ronde 1X128Gr 8P</c:v>
                </c:pt>
              </c:strCache>
            </c:strRef>
          </c:cat>
          <c:val>
            <c:numRef>
              <c:f>Sheet1!$B$2:$B$83</c:f>
              <c:numCache>
                <c:formatCode>General</c:formatCode>
                <c:ptCount val="82"/>
                <c:pt idx="0">
                  <c:v>1</c:v>
                </c:pt>
                <c:pt idx="1">
                  <c:v>0.98</c:v>
                </c:pt>
                <c:pt idx="2">
                  <c:v>1</c:v>
                </c:pt>
                <c:pt idx="3">
                  <c:v>1</c:v>
                </c:pt>
                <c:pt idx="4">
                  <c:v>0.97</c:v>
                </c:pt>
                <c:pt idx="5">
                  <c:v>0.99</c:v>
                </c:pt>
                <c:pt idx="6">
                  <c:v>0.98</c:v>
                </c:pt>
                <c:pt idx="7">
                  <c:v>0.89</c:v>
                </c:pt>
                <c:pt idx="8">
                  <c:v>0.98</c:v>
                </c:pt>
                <c:pt idx="9">
                  <c:v>0.96</c:v>
                </c:pt>
                <c:pt idx="10">
                  <c:v>0.99</c:v>
                </c:pt>
                <c:pt idx="11">
                  <c:v>0.99</c:v>
                </c:pt>
                <c:pt idx="12">
                  <c:v>0.96</c:v>
                </c:pt>
                <c:pt idx="13">
                  <c:v>0.96</c:v>
                </c:pt>
                <c:pt idx="14">
                  <c:v>0.99</c:v>
                </c:pt>
                <c:pt idx="15">
                  <c:v>1</c:v>
                </c:pt>
                <c:pt idx="16">
                  <c:v>0.99</c:v>
                </c:pt>
                <c:pt idx="17">
                  <c:v>0.98</c:v>
                </c:pt>
                <c:pt idx="18">
                  <c:v>0.91</c:v>
                </c:pt>
                <c:pt idx="19">
                  <c:v>0.9</c:v>
                </c:pt>
                <c:pt idx="20">
                  <c:v>0.99</c:v>
                </c:pt>
                <c:pt idx="21">
                  <c:v>0.93</c:v>
                </c:pt>
                <c:pt idx="22">
                  <c:v>0.96</c:v>
                </c:pt>
                <c:pt idx="23">
                  <c:v>0.99</c:v>
                </c:pt>
                <c:pt idx="24">
                  <c:v>0.97</c:v>
                </c:pt>
                <c:pt idx="25">
                  <c:v>0.91</c:v>
                </c:pt>
                <c:pt idx="26">
                  <c:v>0.95</c:v>
                </c:pt>
                <c:pt idx="27">
                  <c:v>0.94</c:v>
                </c:pt>
                <c:pt idx="28">
                  <c:v>0.97</c:v>
                </c:pt>
                <c:pt idx="29">
                  <c:v>0.89</c:v>
                </c:pt>
                <c:pt idx="30">
                  <c:v>0.97</c:v>
                </c:pt>
                <c:pt idx="31">
                  <c:v>0.98</c:v>
                </c:pt>
                <c:pt idx="32">
                  <c:v>0.87</c:v>
                </c:pt>
                <c:pt idx="33">
                  <c:v>0.96</c:v>
                </c:pt>
                <c:pt idx="34">
                  <c:v>0.99</c:v>
                </c:pt>
                <c:pt idx="35">
                  <c:v>0.87</c:v>
                </c:pt>
                <c:pt idx="36">
                  <c:v>0.99</c:v>
                </c:pt>
                <c:pt idx="37">
                  <c:v>0.87</c:v>
                </c:pt>
                <c:pt idx="38">
                  <c:v>0.88</c:v>
                </c:pt>
                <c:pt idx="39">
                  <c:v>0.9</c:v>
                </c:pt>
                <c:pt idx="40">
                  <c:v>0.96</c:v>
                </c:pt>
                <c:pt idx="41">
                  <c:v>0.81</c:v>
                </c:pt>
                <c:pt idx="42">
                  <c:v>0.85</c:v>
                </c:pt>
                <c:pt idx="43">
                  <c:v>0.87</c:v>
                </c:pt>
                <c:pt idx="44">
                  <c:v>0.79</c:v>
                </c:pt>
                <c:pt idx="45">
                  <c:v>0.83</c:v>
                </c:pt>
                <c:pt idx="46">
                  <c:v>0.69</c:v>
                </c:pt>
                <c:pt idx="47">
                  <c:v>0.6</c:v>
                </c:pt>
                <c:pt idx="48">
                  <c:v>0.68</c:v>
                </c:pt>
                <c:pt idx="49">
                  <c:v>0.8</c:v>
                </c:pt>
                <c:pt idx="50">
                  <c:v>0.73</c:v>
                </c:pt>
                <c:pt idx="51">
                  <c:v>0.86</c:v>
                </c:pt>
                <c:pt idx="52">
                  <c:v>0.89</c:v>
                </c:pt>
                <c:pt idx="53">
                  <c:v>0.94</c:v>
                </c:pt>
                <c:pt idx="54">
                  <c:v>0.83</c:v>
                </c:pt>
                <c:pt idx="55">
                  <c:v>0.77</c:v>
                </c:pt>
                <c:pt idx="56">
                  <c:v>0.88</c:v>
                </c:pt>
                <c:pt idx="57">
                  <c:v>0.5</c:v>
                </c:pt>
                <c:pt idx="58">
                  <c:v>0.81</c:v>
                </c:pt>
                <c:pt idx="59">
                  <c:v>0.67</c:v>
                </c:pt>
                <c:pt idx="60">
                  <c:v>0.67</c:v>
                </c:pt>
                <c:pt idx="61">
                  <c:v>0.25</c:v>
                </c:pt>
                <c:pt idx="62">
                  <c:v>0.83</c:v>
                </c:pt>
                <c:pt idx="63">
                  <c:v>0.28999999999999998</c:v>
                </c:pt>
                <c:pt idx="64">
                  <c:v>0.59</c:v>
                </c:pt>
                <c:pt idx="65">
                  <c:v>0.24</c:v>
                </c:pt>
                <c:pt idx="66">
                  <c:v>0.8</c:v>
                </c:pt>
                <c:pt idx="67">
                  <c:v>0.17</c:v>
                </c:pt>
                <c:pt idx="68">
                  <c:v>0.7</c:v>
                </c:pt>
                <c:pt idx="69">
                  <c:v>0.23</c:v>
                </c:pt>
                <c:pt idx="70">
                  <c:v>0.14000000000000001</c:v>
                </c:pt>
                <c:pt idx="71">
                  <c:v>0.14000000000000001</c:v>
                </c:pt>
                <c:pt idx="72">
                  <c:v>0.7</c:v>
                </c:pt>
                <c:pt idx="73">
                  <c:v>0.4</c:v>
                </c:pt>
                <c:pt idx="74">
                  <c:v>0.7</c:v>
                </c:pt>
                <c:pt idx="75">
                  <c:v>0.25</c:v>
                </c:pt>
                <c:pt idx="76">
                  <c:v>0.31</c:v>
                </c:pt>
                <c:pt idx="77">
                  <c:v>0.09</c:v>
                </c:pt>
                <c:pt idx="78">
                  <c:v>0.38</c:v>
                </c:pt>
                <c:pt idx="79">
                  <c:v>0.01</c:v>
                </c:pt>
                <c:pt idx="80">
                  <c:v>0.01</c:v>
                </c:pt>
                <c:pt idx="81">
                  <c:v>0.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00A097"/>
              </a:solidFill>
            </c:spPr>
            <c:extLst>
              <c:ext xmlns:c16="http://schemas.microsoft.com/office/drawing/2014/chart" uri="{C3380CC4-5D6E-409C-BE32-E72D297353CC}">
                <c16:uniqueId val="{00000023-FA3E-4872-B6E1-C4ABDF5766E2}"/>
              </c:ext>
            </c:extLst>
          </c:dPt>
          <c:dPt>
            <c:idx val="17"/>
            <c:invertIfNegative val="1"/>
            <c:bubble3D val="0"/>
            <c:spPr>
              <a:solidFill>
                <a:srgbClr val="00A097"/>
              </a:solidFill>
            </c:spPr>
            <c:extLst>
              <c:ext xmlns:c16="http://schemas.microsoft.com/office/drawing/2014/chart" uri="{C3380CC4-5D6E-409C-BE32-E72D297353CC}">
                <c16:uniqueId val="{00000025-FA3E-4872-B6E1-C4ABDF5766E2}"/>
              </c:ext>
            </c:extLst>
          </c:dPt>
          <c:dPt>
            <c:idx val="18"/>
            <c:invertIfNegative val="1"/>
            <c:bubble3D val="0"/>
            <c:spPr>
              <a:solidFill>
                <a:srgbClr val="00A097"/>
              </a:solidFill>
            </c:spPr>
            <c:extLst>
              <c:ext xmlns:c16="http://schemas.microsoft.com/office/drawing/2014/chart" uri="{C3380CC4-5D6E-409C-BE32-E72D297353CC}">
                <c16:uniqueId val="{00000027-FA3E-4872-B6E1-C4ABDF5766E2}"/>
              </c:ext>
            </c:extLst>
          </c:dPt>
          <c:dPt>
            <c:idx val="19"/>
            <c:invertIfNegative val="1"/>
            <c:bubble3D val="0"/>
            <c:spPr>
              <a:solidFill>
                <a:srgbClr val="00A097"/>
              </a:solidFill>
            </c:spPr>
            <c:extLst>
              <c:ext xmlns:c16="http://schemas.microsoft.com/office/drawing/2014/chart" uri="{C3380CC4-5D6E-409C-BE32-E72D297353CC}">
                <c16:uniqueId val="{00000029-FA3E-4872-B6E1-C4ABDF5766E2}"/>
              </c:ext>
            </c:extLst>
          </c:dPt>
          <c:dPt>
            <c:idx val="20"/>
            <c:invertIfNegative val="1"/>
            <c:bubble3D val="0"/>
            <c:spPr>
              <a:solidFill>
                <a:srgbClr val="00A097"/>
              </a:solidFill>
            </c:spPr>
            <c:extLst>
              <c:ext xmlns:c16="http://schemas.microsoft.com/office/drawing/2014/chart" uri="{C3380CC4-5D6E-409C-BE32-E72D297353CC}">
                <c16:uniqueId val="{0000002B-FA3E-4872-B6E1-C4ABDF5766E2}"/>
              </c:ext>
            </c:extLst>
          </c:dPt>
          <c:dPt>
            <c:idx val="21"/>
            <c:invertIfNegative val="1"/>
            <c:bubble3D val="0"/>
            <c:spPr>
              <a:solidFill>
                <a:srgbClr val="00A097"/>
              </a:solidFill>
            </c:spPr>
            <c:extLst>
              <c:ext xmlns:c16="http://schemas.microsoft.com/office/drawing/2014/chart" uri="{C3380CC4-5D6E-409C-BE32-E72D297353CC}">
                <c16:uniqueId val="{0000002D-FA3E-4872-B6E1-C4ABDF5766E2}"/>
              </c:ext>
            </c:extLst>
          </c:dPt>
          <c:dPt>
            <c:idx val="22"/>
            <c:invertIfNegative val="1"/>
            <c:bubble3D val="0"/>
            <c:spPr>
              <a:solidFill>
                <a:srgbClr val="00A097"/>
              </a:solidFill>
            </c:spPr>
            <c:extLst>
              <c:ext xmlns:c16="http://schemas.microsoft.com/office/drawing/2014/chart" uri="{C3380CC4-5D6E-409C-BE32-E72D297353CC}">
                <c16:uniqueId val="{0000002F-FA3E-4872-B6E1-C4ABDF5766E2}"/>
              </c:ext>
            </c:extLst>
          </c:dPt>
          <c:dPt>
            <c:idx val="23"/>
            <c:invertIfNegative val="1"/>
            <c:bubble3D val="0"/>
            <c:spPr>
              <a:solidFill>
                <a:srgbClr val="00A097"/>
              </a:solidFill>
            </c:spPr>
            <c:extLst>
              <c:ext xmlns:c16="http://schemas.microsoft.com/office/drawing/2014/chart" uri="{C3380CC4-5D6E-409C-BE32-E72D297353CC}">
                <c16:uniqueId val="{00000031-FA3E-4872-B6E1-C4ABDF5766E2}"/>
              </c:ext>
            </c:extLst>
          </c:dPt>
          <c:dPt>
            <c:idx val="24"/>
            <c:invertIfNegative val="1"/>
            <c:bubble3D val="0"/>
            <c:spPr>
              <a:solidFill>
                <a:srgbClr val="00A097"/>
              </a:solidFill>
            </c:spPr>
            <c:extLst>
              <c:ext xmlns:c16="http://schemas.microsoft.com/office/drawing/2014/chart" uri="{C3380CC4-5D6E-409C-BE32-E72D297353CC}">
                <c16:uniqueId val="{00000033-FA3E-4872-B6E1-C4ABDF5766E2}"/>
              </c:ext>
            </c:extLst>
          </c:dPt>
          <c:dPt>
            <c:idx val="25"/>
            <c:invertIfNegative val="1"/>
            <c:bubble3D val="0"/>
            <c:spPr>
              <a:solidFill>
                <a:srgbClr val="00A097"/>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7ECAC4"/>
              </a:solidFill>
            </c:spPr>
            <c:extLst>
              <c:ext xmlns:c16="http://schemas.microsoft.com/office/drawing/2014/chart" uri="{C3380CC4-5D6E-409C-BE32-E72D297353CC}">
                <c16:uniqueId val="{0000003F-FA3E-4872-B6E1-C4ABDF5766E2}"/>
              </c:ext>
            </c:extLst>
          </c:dPt>
          <c:dPt>
            <c:idx val="31"/>
            <c:invertIfNegative val="1"/>
            <c:bubble3D val="0"/>
            <c:spPr>
              <a:solidFill>
                <a:srgbClr val="7ECAC4"/>
              </a:solidFill>
            </c:spPr>
            <c:extLst>
              <c:ext xmlns:c16="http://schemas.microsoft.com/office/drawing/2014/chart" uri="{C3380CC4-5D6E-409C-BE32-E72D297353CC}">
                <c16:uniqueId val="{00000041-FA3E-4872-B6E1-C4ABDF5766E2}"/>
              </c:ext>
            </c:extLst>
          </c:dPt>
          <c:dPt>
            <c:idx val="32"/>
            <c:invertIfNegative val="1"/>
            <c:bubble3D val="0"/>
            <c:spPr>
              <a:solidFill>
                <a:srgbClr val="7ECAC4"/>
              </a:solidFill>
            </c:spPr>
            <c:extLst>
              <c:ext xmlns:c16="http://schemas.microsoft.com/office/drawing/2014/chart" uri="{C3380CC4-5D6E-409C-BE32-E72D297353CC}">
                <c16:uniqueId val="{00000043-FA3E-4872-B6E1-C4ABDF5766E2}"/>
              </c:ext>
            </c:extLst>
          </c:dPt>
          <c:dPt>
            <c:idx val="33"/>
            <c:invertIfNegative val="1"/>
            <c:bubble3D val="0"/>
            <c:spPr>
              <a:solidFill>
                <a:srgbClr val="7ECAC4"/>
              </a:solidFill>
            </c:spPr>
            <c:extLst>
              <c:ext xmlns:c16="http://schemas.microsoft.com/office/drawing/2014/chart" uri="{C3380CC4-5D6E-409C-BE32-E72D297353CC}">
                <c16:uniqueId val="{00000045-FA3E-4872-B6E1-C4ABDF5766E2}"/>
              </c:ext>
            </c:extLst>
          </c:dPt>
          <c:dPt>
            <c:idx val="34"/>
            <c:invertIfNegative val="1"/>
            <c:bubble3D val="0"/>
            <c:spPr>
              <a:solidFill>
                <a:srgbClr val="7ECAC4"/>
              </a:solidFill>
            </c:spPr>
            <c:extLst>
              <c:ext xmlns:c16="http://schemas.microsoft.com/office/drawing/2014/chart" uri="{C3380CC4-5D6E-409C-BE32-E72D297353CC}">
                <c16:uniqueId val="{00000047-FA3E-4872-B6E1-C4ABDF5766E2}"/>
              </c:ext>
            </c:extLst>
          </c:dPt>
          <c:dPt>
            <c:idx val="35"/>
            <c:invertIfNegative val="1"/>
            <c:bubble3D val="0"/>
            <c:spPr>
              <a:solidFill>
                <a:srgbClr val="7ECAC4"/>
              </a:solidFill>
            </c:spPr>
            <c:extLst>
              <c:ext xmlns:c16="http://schemas.microsoft.com/office/drawing/2014/chart" uri="{C3380CC4-5D6E-409C-BE32-E72D297353CC}">
                <c16:uniqueId val="{00000049-FA3E-4872-B6E1-C4ABDF5766E2}"/>
              </c:ext>
            </c:extLst>
          </c:dPt>
          <c:dPt>
            <c:idx val="36"/>
            <c:invertIfNegative val="1"/>
            <c:bubble3D val="0"/>
            <c:spPr>
              <a:solidFill>
                <a:srgbClr val="7ECAC4"/>
              </a:solidFill>
            </c:spPr>
            <c:extLst>
              <c:ext xmlns:c16="http://schemas.microsoft.com/office/drawing/2014/chart" uri="{C3380CC4-5D6E-409C-BE32-E72D297353CC}">
                <c16:uniqueId val="{0000004B-FA3E-4872-B6E1-C4ABDF5766E2}"/>
              </c:ext>
            </c:extLst>
          </c:dPt>
          <c:dPt>
            <c:idx val="37"/>
            <c:invertIfNegative val="1"/>
            <c:bubble3D val="0"/>
            <c:spPr>
              <a:solidFill>
                <a:srgbClr val="7ECAC4"/>
              </a:solidFill>
            </c:spPr>
            <c:extLst>
              <c:ext xmlns:c16="http://schemas.microsoft.com/office/drawing/2014/chart" uri="{C3380CC4-5D6E-409C-BE32-E72D297353CC}">
                <c16:uniqueId val="{0000004D-FA3E-4872-B6E1-C4ABDF5766E2}"/>
              </c:ext>
            </c:extLst>
          </c:dPt>
          <c:dPt>
            <c:idx val="38"/>
            <c:invertIfNegative val="1"/>
            <c:bubble3D val="0"/>
            <c:spPr>
              <a:solidFill>
                <a:srgbClr val="7ECAC4"/>
              </a:solidFill>
            </c:spPr>
            <c:extLst>
              <c:ext xmlns:c16="http://schemas.microsoft.com/office/drawing/2014/chart" uri="{C3380CC4-5D6E-409C-BE32-E72D297353CC}">
                <c16:uniqueId val="{0000004F-FA3E-4872-B6E1-C4ABDF5766E2}"/>
              </c:ext>
            </c:extLst>
          </c:dPt>
          <c:dPt>
            <c:idx val="39"/>
            <c:invertIfNegative val="1"/>
            <c:bubble3D val="0"/>
            <c:spPr>
              <a:solidFill>
                <a:srgbClr val="7ECAC4"/>
              </a:solidFill>
            </c:spPr>
            <c:extLst>
              <c:ext xmlns:c16="http://schemas.microsoft.com/office/drawing/2014/chart" uri="{C3380CC4-5D6E-409C-BE32-E72D297353CC}">
                <c16:uniqueId val="{00000051-FA3E-4872-B6E1-C4ABDF5766E2}"/>
              </c:ext>
            </c:extLst>
          </c:dPt>
          <c:dPt>
            <c:idx val="40"/>
            <c:invertIfNegative val="1"/>
            <c:bubble3D val="0"/>
            <c:spPr>
              <a:solidFill>
                <a:srgbClr val="7ECAC4"/>
              </a:solidFill>
            </c:spPr>
            <c:extLst>
              <c:ext xmlns:c16="http://schemas.microsoft.com/office/drawing/2014/chart" uri="{C3380CC4-5D6E-409C-BE32-E72D297353CC}">
                <c16:uniqueId val="{00000053-FA3E-4872-B6E1-C4ABDF5766E2}"/>
              </c:ext>
            </c:extLst>
          </c:dPt>
          <c:dPt>
            <c:idx val="41"/>
            <c:invertIfNegative val="1"/>
            <c:bubble3D val="0"/>
            <c:spPr>
              <a:solidFill>
                <a:srgbClr val="7ECAC4"/>
              </a:solidFill>
            </c:spPr>
            <c:extLst>
              <c:ext xmlns:c16="http://schemas.microsoft.com/office/drawing/2014/chart" uri="{C3380CC4-5D6E-409C-BE32-E72D297353CC}">
                <c16:uniqueId val="{00000055-FA3E-4872-B6E1-C4ABDF5766E2}"/>
              </c:ext>
            </c:extLst>
          </c:dPt>
          <c:dPt>
            <c:idx val="42"/>
            <c:invertIfNegative val="1"/>
            <c:bubble3D val="0"/>
            <c:spPr>
              <a:solidFill>
                <a:srgbClr val="7ECAC4"/>
              </a:solidFill>
            </c:spPr>
            <c:extLst>
              <c:ext xmlns:c16="http://schemas.microsoft.com/office/drawing/2014/chart" uri="{C3380CC4-5D6E-409C-BE32-E72D297353CC}">
                <c16:uniqueId val="{00000057-FA3E-4872-B6E1-C4ABDF5766E2}"/>
              </c:ext>
            </c:extLst>
          </c:dPt>
          <c:dPt>
            <c:idx val="43"/>
            <c:invertIfNegative val="1"/>
            <c:bubble3D val="0"/>
            <c:spPr>
              <a:solidFill>
                <a:srgbClr val="7ECAC4"/>
              </a:solidFill>
            </c:spPr>
            <c:extLst>
              <c:ext xmlns:c16="http://schemas.microsoft.com/office/drawing/2014/chart" uri="{C3380CC4-5D6E-409C-BE32-E72D297353CC}">
                <c16:uniqueId val="{00000059-FA3E-4872-B6E1-C4ABDF5766E2}"/>
              </c:ext>
            </c:extLst>
          </c:dPt>
          <c:dPt>
            <c:idx val="44"/>
            <c:invertIfNegative val="1"/>
            <c:bubble3D val="0"/>
            <c:spPr>
              <a:solidFill>
                <a:srgbClr val="AEABAB"/>
              </a:solidFill>
            </c:spPr>
            <c:extLst>
              <c:ext xmlns:c16="http://schemas.microsoft.com/office/drawing/2014/chart" uri="{C3380CC4-5D6E-409C-BE32-E72D297353CC}">
                <c16:uniqueId val="{0000005B-D6CE-482F-8247-040D938DB5B0}"/>
              </c:ext>
            </c:extLst>
          </c:dPt>
          <c:dPt>
            <c:idx val="45"/>
            <c:invertIfNegative val="1"/>
            <c:bubble3D val="0"/>
            <c:spPr>
              <a:solidFill>
                <a:srgbClr val="AEABAB"/>
              </a:solidFill>
            </c:spPr>
            <c:extLst>
              <c:ext xmlns:c16="http://schemas.microsoft.com/office/drawing/2014/chart" uri="{C3380CC4-5D6E-409C-BE32-E72D297353CC}">
                <c16:uniqueId val="{0000005D-D6CE-482F-8247-040D938DB5B0}"/>
              </c:ext>
            </c:extLst>
          </c:dPt>
          <c:dPt>
            <c:idx val="46"/>
            <c:invertIfNegative val="1"/>
            <c:bubble3D val="0"/>
            <c:spPr>
              <a:solidFill>
                <a:srgbClr val="AEABAB"/>
              </a:solidFill>
            </c:spPr>
            <c:extLst>
              <c:ext xmlns:c16="http://schemas.microsoft.com/office/drawing/2014/chart" uri="{C3380CC4-5D6E-409C-BE32-E72D297353CC}">
                <c16:uniqueId val="{0000005F-D6CE-482F-8247-040D938DB5B0}"/>
              </c:ext>
            </c:extLst>
          </c:dPt>
          <c:dPt>
            <c:idx val="47"/>
            <c:invertIfNegative val="1"/>
            <c:bubble3D val="0"/>
            <c:spPr>
              <a:solidFill>
                <a:srgbClr val="AEABAB"/>
              </a:solidFill>
            </c:spPr>
            <c:extLst>
              <c:ext xmlns:c16="http://schemas.microsoft.com/office/drawing/2014/chart" uri="{C3380CC4-5D6E-409C-BE32-E72D297353CC}">
                <c16:uniqueId val="{00000061-D6CE-482F-8247-040D938DB5B0}"/>
              </c:ext>
            </c:extLst>
          </c:dPt>
          <c:dPt>
            <c:idx val="48"/>
            <c:invertIfNegative val="1"/>
            <c:bubble3D val="0"/>
            <c:spPr>
              <a:solidFill>
                <a:srgbClr val="AEABAB"/>
              </a:solidFill>
            </c:spPr>
            <c:extLst>
              <c:ext xmlns:c16="http://schemas.microsoft.com/office/drawing/2014/chart" uri="{C3380CC4-5D6E-409C-BE32-E72D297353CC}">
                <c16:uniqueId val="{00000063-D6CE-482F-8247-040D938DB5B0}"/>
              </c:ext>
            </c:extLst>
          </c:dPt>
          <c:dPt>
            <c:idx val="49"/>
            <c:invertIfNegative val="1"/>
            <c:bubble3D val="0"/>
            <c:spPr>
              <a:solidFill>
                <a:srgbClr val="AEABAB"/>
              </a:solidFill>
            </c:spPr>
            <c:extLst>
              <c:ext xmlns:c16="http://schemas.microsoft.com/office/drawing/2014/chart" uri="{C3380CC4-5D6E-409C-BE32-E72D297353CC}">
                <c16:uniqueId val="{00000065-D6CE-482F-8247-040D938DB5B0}"/>
              </c:ext>
            </c:extLst>
          </c:dPt>
          <c:dPt>
            <c:idx val="50"/>
            <c:invertIfNegative val="1"/>
            <c:bubble3D val="0"/>
            <c:spPr>
              <a:solidFill>
                <a:srgbClr val="AEABAB"/>
              </a:solidFill>
            </c:spPr>
            <c:extLst>
              <c:ext xmlns:c16="http://schemas.microsoft.com/office/drawing/2014/chart" uri="{C3380CC4-5D6E-409C-BE32-E72D297353CC}">
                <c16:uniqueId val="{00000067-D6CE-482F-8247-040D938DB5B0}"/>
              </c:ext>
            </c:extLst>
          </c:dPt>
          <c:dPt>
            <c:idx val="51"/>
            <c:invertIfNegative val="1"/>
            <c:bubble3D val="0"/>
            <c:spPr>
              <a:solidFill>
                <a:srgbClr val="AEABAB"/>
              </a:solidFill>
            </c:spPr>
            <c:extLst>
              <c:ext xmlns:c16="http://schemas.microsoft.com/office/drawing/2014/chart" uri="{C3380CC4-5D6E-409C-BE32-E72D297353CC}">
                <c16:uniqueId val="{00000069-D6CE-482F-8247-040D938DB5B0}"/>
              </c:ext>
            </c:extLst>
          </c:dPt>
          <c:dPt>
            <c:idx val="52"/>
            <c:invertIfNegative val="1"/>
            <c:bubble3D val="0"/>
            <c:spPr>
              <a:solidFill>
                <a:srgbClr val="AEABAB"/>
              </a:solidFill>
            </c:spPr>
            <c:extLst>
              <c:ext xmlns:c16="http://schemas.microsoft.com/office/drawing/2014/chart" uri="{C3380CC4-5D6E-409C-BE32-E72D297353CC}">
                <c16:uniqueId val="{0000006B-D6CE-482F-8247-040D938DB5B0}"/>
              </c:ext>
            </c:extLst>
          </c:dPt>
          <c:dPt>
            <c:idx val="53"/>
            <c:invertIfNegative val="1"/>
            <c:bubble3D val="0"/>
            <c:spPr>
              <a:solidFill>
                <a:srgbClr val="AEABAB"/>
              </a:solidFill>
            </c:spPr>
            <c:extLst>
              <c:ext xmlns:c16="http://schemas.microsoft.com/office/drawing/2014/chart" uri="{C3380CC4-5D6E-409C-BE32-E72D297353CC}">
                <c16:uniqueId val="{0000006D-D6CE-482F-8247-040D938DB5B0}"/>
              </c:ext>
            </c:extLst>
          </c:dPt>
          <c:dPt>
            <c:idx val="54"/>
            <c:invertIfNegative val="1"/>
            <c:bubble3D val="0"/>
            <c:spPr>
              <a:solidFill>
                <a:srgbClr val="AEABAB"/>
              </a:solidFill>
            </c:spPr>
            <c:extLst>
              <c:ext xmlns:c16="http://schemas.microsoft.com/office/drawing/2014/chart" uri="{C3380CC4-5D6E-409C-BE32-E72D297353CC}">
                <c16:uniqueId val="{0000006F-D6CE-482F-8247-040D938DB5B0}"/>
              </c:ext>
            </c:extLst>
          </c:dPt>
          <c:dPt>
            <c:idx val="55"/>
            <c:invertIfNegative val="1"/>
            <c:bubble3D val="0"/>
            <c:spPr>
              <a:solidFill>
                <a:srgbClr val="AEABAB"/>
              </a:solidFill>
            </c:spPr>
            <c:extLst>
              <c:ext xmlns:c16="http://schemas.microsoft.com/office/drawing/2014/chart" uri="{C3380CC4-5D6E-409C-BE32-E72D297353CC}">
                <c16:uniqueId val="{00000071-D6CE-482F-8247-040D938DB5B0}"/>
              </c:ext>
            </c:extLst>
          </c:dPt>
          <c:dPt>
            <c:idx val="56"/>
            <c:invertIfNegative val="1"/>
            <c:bubble3D val="0"/>
            <c:spPr>
              <a:solidFill>
                <a:srgbClr val="AEABAB"/>
              </a:solidFill>
            </c:spPr>
            <c:extLst>
              <c:ext xmlns:c16="http://schemas.microsoft.com/office/drawing/2014/chart" uri="{C3380CC4-5D6E-409C-BE32-E72D297353CC}">
                <c16:uniqueId val="{00000073-D6CE-482F-8247-040D938DB5B0}"/>
              </c:ext>
            </c:extLst>
          </c:dPt>
          <c:dPt>
            <c:idx val="57"/>
            <c:invertIfNegative val="1"/>
            <c:bubble3D val="0"/>
            <c:spPr>
              <a:solidFill>
                <a:srgbClr val="AEABAB"/>
              </a:solidFill>
            </c:spPr>
            <c:extLst>
              <c:ext xmlns:c16="http://schemas.microsoft.com/office/drawing/2014/chart" uri="{C3380CC4-5D6E-409C-BE32-E72D297353CC}">
                <c16:uniqueId val="{00000075-D6CE-482F-8247-040D938DB5B0}"/>
              </c:ext>
            </c:extLst>
          </c:dPt>
          <c:dPt>
            <c:idx val="58"/>
            <c:invertIfNegative val="1"/>
            <c:bubble3D val="0"/>
            <c:spPr>
              <a:solidFill>
                <a:srgbClr val="AEABAB"/>
              </a:solidFill>
            </c:spPr>
            <c:extLst>
              <c:ext xmlns:c16="http://schemas.microsoft.com/office/drawing/2014/chart" uri="{C3380CC4-5D6E-409C-BE32-E72D297353CC}">
                <c16:uniqueId val="{00000077-D6CE-482F-8247-040D938DB5B0}"/>
              </c:ext>
            </c:extLst>
          </c:dPt>
          <c:dPt>
            <c:idx val="59"/>
            <c:invertIfNegative val="1"/>
            <c:bubble3D val="0"/>
            <c:spPr>
              <a:solidFill>
                <a:srgbClr val="AEABAB"/>
              </a:solidFill>
            </c:spPr>
            <c:extLst>
              <c:ext xmlns:c16="http://schemas.microsoft.com/office/drawing/2014/chart" uri="{C3380CC4-5D6E-409C-BE32-E72D297353CC}">
                <c16:uniqueId val="{00000079-D6CE-482F-8247-040D938DB5B0}"/>
              </c:ext>
            </c:extLst>
          </c:dPt>
          <c:dPt>
            <c:idx val="60"/>
            <c:invertIfNegative val="1"/>
            <c:bubble3D val="0"/>
            <c:spPr>
              <a:solidFill>
                <a:srgbClr val="AEABAB"/>
              </a:solidFill>
            </c:spPr>
            <c:extLst>
              <c:ext xmlns:c16="http://schemas.microsoft.com/office/drawing/2014/chart" uri="{C3380CC4-5D6E-409C-BE32-E72D297353CC}">
                <c16:uniqueId val="{0000007B-D6CE-482F-8247-040D938DB5B0}"/>
              </c:ext>
            </c:extLst>
          </c:dPt>
          <c:dPt>
            <c:idx val="61"/>
            <c:invertIfNegative val="1"/>
            <c:bubble3D val="0"/>
            <c:spPr>
              <a:solidFill>
                <a:srgbClr val="AEABAB"/>
              </a:solidFill>
            </c:spPr>
            <c:extLst>
              <c:ext xmlns:c16="http://schemas.microsoft.com/office/drawing/2014/chart" uri="{C3380CC4-5D6E-409C-BE32-E72D297353CC}">
                <c16:uniqueId val="{0000007D-D6CE-482F-8247-040D938DB5B0}"/>
              </c:ext>
            </c:extLst>
          </c:dPt>
          <c:dPt>
            <c:idx val="62"/>
            <c:invertIfNegative val="1"/>
            <c:bubble3D val="0"/>
            <c:spPr>
              <a:solidFill>
                <a:srgbClr val="AEABAB"/>
              </a:solidFill>
            </c:spPr>
            <c:extLst>
              <c:ext xmlns:c16="http://schemas.microsoft.com/office/drawing/2014/chart" uri="{C3380CC4-5D6E-409C-BE32-E72D297353CC}">
                <c16:uniqueId val="{0000007F-D6CE-482F-8247-040D938DB5B0}"/>
              </c:ext>
            </c:extLst>
          </c:dPt>
          <c:dPt>
            <c:idx val="63"/>
            <c:invertIfNegative val="1"/>
            <c:bubble3D val="0"/>
            <c:spPr>
              <a:solidFill>
                <a:srgbClr val="AEABAB"/>
              </a:solidFill>
            </c:spPr>
            <c:extLst>
              <c:ext xmlns:c16="http://schemas.microsoft.com/office/drawing/2014/chart" uri="{C3380CC4-5D6E-409C-BE32-E72D297353CC}">
                <c16:uniqueId val="{00000081-D6CE-482F-8247-040D938DB5B0}"/>
              </c:ext>
            </c:extLst>
          </c:dPt>
          <c:dPt>
            <c:idx val="64"/>
            <c:invertIfNegative val="1"/>
            <c:bubble3D val="0"/>
            <c:spPr>
              <a:solidFill>
                <a:srgbClr val="AEABAB"/>
              </a:solidFill>
            </c:spPr>
            <c:extLst>
              <c:ext xmlns:c16="http://schemas.microsoft.com/office/drawing/2014/chart" uri="{C3380CC4-5D6E-409C-BE32-E72D297353CC}">
                <c16:uniqueId val="{00000083-D6CE-482F-8247-040D938DB5B0}"/>
              </c:ext>
            </c:extLst>
          </c:dPt>
          <c:dPt>
            <c:idx val="65"/>
            <c:invertIfNegative val="1"/>
            <c:bubble3D val="0"/>
            <c:spPr>
              <a:solidFill>
                <a:srgbClr val="AEABAB"/>
              </a:solidFill>
            </c:spPr>
            <c:extLst>
              <c:ext xmlns:c16="http://schemas.microsoft.com/office/drawing/2014/chart" uri="{C3380CC4-5D6E-409C-BE32-E72D297353CC}">
                <c16:uniqueId val="{00000085-D6CE-482F-8247-040D938DB5B0}"/>
              </c:ext>
            </c:extLst>
          </c:dPt>
          <c:dPt>
            <c:idx val="66"/>
            <c:invertIfNegative val="1"/>
            <c:bubble3D val="0"/>
            <c:spPr>
              <a:solidFill>
                <a:srgbClr val="AEABAB"/>
              </a:solidFill>
            </c:spPr>
            <c:extLst>
              <c:ext xmlns:c16="http://schemas.microsoft.com/office/drawing/2014/chart" uri="{C3380CC4-5D6E-409C-BE32-E72D297353CC}">
                <c16:uniqueId val="{00000087-D6CE-482F-8247-040D938DB5B0}"/>
              </c:ext>
            </c:extLst>
          </c:dPt>
          <c:dPt>
            <c:idx val="67"/>
            <c:invertIfNegative val="1"/>
            <c:bubble3D val="0"/>
            <c:spPr>
              <a:solidFill>
                <a:srgbClr val="AEABAB"/>
              </a:solidFill>
            </c:spPr>
            <c:extLst>
              <c:ext xmlns:c16="http://schemas.microsoft.com/office/drawing/2014/chart" uri="{C3380CC4-5D6E-409C-BE32-E72D297353CC}">
                <c16:uniqueId val="{00000089-D6CE-482F-8247-040D938DB5B0}"/>
              </c:ext>
            </c:extLst>
          </c:dPt>
          <c:dPt>
            <c:idx val="68"/>
            <c:invertIfNegative val="1"/>
            <c:bubble3D val="0"/>
            <c:spPr>
              <a:solidFill>
                <a:srgbClr val="AEABAB"/>
              </a:solidFill>
            </c:spPr>
            <c:extLst>
              <c:ext xmlns:c16="http://schemas.microsoft.com/office/drawing/2014/chart" uri="{C3380CC4-5D6E-409C-BE32-E72D297353CC}">
                <c16:uniqueId val="{0000008B-D6CE-482F-8247-040D938DB5B0}"/>
              </c:ext>
            </c:extLst>
          </c:dPt>
          <c:dPt>
            <c:idx val="69"/>
            <c:invertIfNegative val="1"/>
            <c:bubble3D val="0"/>
            <c:spPr>
              <a:solidFill>
                <a:srgbClr val="AEABAB"/>
              </a:solidFill>
            </c:spPr>
            <c:extLst>
              <c:ext xmlns:c16="http://schemas.microsoft.com/office/drawing/2014/chart" uri="{C3380CC4-5D6E-409C-BE32-E72D297353CC}">
                <c16:uniqueId val="{0000008D-D6CE-482F-8247-040D938DB5B0}"/>
              </c:ext>
            </c:extLst>
          </c:dPt>
          <c:dPt>
            <c:idx val="70"/>
            <c:invertIfNegative val="1"/>
            <c:bubble3D val="0"/>
            <c:spPr>
              <a:solidFill>
                <a:srgbClr val="AEABAB"/>
              </a:solidFill>
            </c:spPr>
            <c:extLst>
              <c:ext xmlns:c16="http://schemas.microsoft.com/office/drawing/2014/chart" uri="{C3380CC4-5D6E-409C-BE32-E72D297353CC}">
                <c16:uniqueId val="{0000008F-D6CE-482F-8247-040D938DB5B0}"/>
              </c:ext>
            </c:extLst>
          </c:dPt>
          <c:dPt>
            <c:idx val="71"/>
            <c:invertIfNegative val="1"/>
            <c:bubble3D val="0"/>
            <c:spPr>
              <a:solidFill>
                <a:srgbClr val="AEABAB"/>
              </a:solidFill>
            </c:spPr>
            <c:extLst>
              <c:ext xmlns:c16="http://schemas.microsoft.com/office/drawing/2014/chart" uri="{C3380CC4-5D6E-409C-BE32-E72D297353CC}">
                <c16:uniqueId val="{00000091-D6CE-482F-8247-040D938DB5B0}"/>
              </c:ext>
            </c:extLst>
          </c:dPt>
          <c:dPt>
            <c:idx val="72"/>
            <c:invertIfNegative val="1"/>
            <c:bubble3D val="0"/>
            <c:spPr>
              <a:solidFill>
                <a:srgbClr val="AEABAB"/>
              </a:solidFill>
            </c:spPr>
            <c:extLst>
              <c:ext xmlns:c16="http://schemas.microsoft.com/office/drawing/2014/chart" uri="{C3380CC4-5D6E-409C-BE32-E72D297353CC}">
                <c16:uniqueId val="{00000093-D6CE-482F-8247-040D938DB5B0}"/>
              </c:ext>
            </c:extLst>
          </c:dPt>
          <c:dPt>
            <c:idx val="73"/>
            <c:invertIfNegative val="1"/>
            <c:bubble3D val="0"/>
            <c:spPr>
              <a:solidFill>
                <a:srgbClr val="AEABAB"/>
              </a:solidFill>
            </c:spPr>
            <c:extLst>
              <c:ext xmlns:c16="http://schemas.microsoft.com/office/drawing/2014/chart" uri="{C3380CC4-5D6E-409C-BE32-E72D297353CC}">
                <c16:uniqueId val="{00000095-D6CE-482F-8247-040D938DB5B0}"/>
              </c:ext>
            </c:extLst>
          </c:dPt>
          <c:dPt>
            <c:idx val="74"/>
            <c:invertIfNegative val="1"/>
            <c:bubble3D val="0"/>
            <c:spPr>
              <a:solidFill>
                <a:srgbClr val="AEABAB"/>
              </a:solidFill>
            </c:spPr>
            <c:extLst>
              <c:ext xmlns:c16="http://schemas.microsoft.com/office/drawing/2014/chart" uri="{C3380CC4-5D6E-409C-BE32-E72D297353CC}">
                <c16:uniqueId val="{00000097-D6CE-482F-8247-040D938DB5B0}"/>
              </c:ext>
            </c:extLst>
          </c:dPt>
          <c:dPt>
            <c:idx val="75"/>
            <c:invertIfNegative val="1"/>
            <c:bubble3D val="0"/>
            <c:spPr>
              <a:solidFill>
                <a:srgbClr val="AEABAB"/>
              </a:solidFill>
            </c:spPr>
            <c:extLst>
              <c:ext xmlns:c16="http://schemas.microsoft.com/office/drawing/2014/chart" uri="{C3380CC4-5D6E-409C-BE32-E72D297353CC}">
                <c16:uniqueId val="{00000099-D6CE-482F-8247-040D938DB5B0}"/>
              </c:ext>
            </c:extLst>
          </c:dPt>
          <c:dPt>
            <c:idx val="76"/>
            <c:invertIfNegative val="1"/>
            <c:bubble3D val="0"/>
            <c:spPr>
              <a:solidFill>
                <a:srgbClr val="AEABAB"/>
              </a:solidFill>
            </c:spPr>
            <c:extLst>
              <c:ext xmlns:c16="http://schemas.microsoft.com/office/drawing/2014/chart" uri="{C3380CC4-5D6E-409C-BE32-E72D297353CC}">
                <c16:uniqueId val="{0000009B-D6CE-482F-8247-040D938DB5B0}"/>
              </c:ext>
            </c:extLst>
          </c:dPt>
          <c:dPt>
            <c:idx val="77"/>
            <c:invertIfNegative val="1"/>
            <c:bubble3D val="0"/>
            <c:spPr>
              <a:solidFill>
                <a:srgbClr val="AEABAB"/>
              </a:solidFill>
            </c:spPr>
            <c:extLst>
              <c:ext xmlns:c16="http://schemas.microsoft.com/office/drawing/2014/chart" uri="{C3380CC4-5D6E-409C-BE32-E72D297353CC}">
                <c16:uniqueId val="{0000009D-D6CE-482F-8247-040D938DB5B0}"/>
              </c:ext>
            </c:extLst>
          </c:dPt>
          <c:dPt>
            <c:idx val="78"/>
            <c:invertIfNegative val="1"/>
            <c:bubble3D val="0"/>
            <c:spPr>
              <a:solidFill>
                <a:srgbClr val="AEABAB"/>
              </a:solidFill>
            </c:spPr>
            <c:extLst>
              <c:ext xmlns:c16="http://schemas.microsoft.com/office/drawing/2014/chart" uri="{C3380CC4-5D6E-409C-BE32-E72D297353CC}">
                <c16:uniqueId val="{0000009F-D6CE-482F-8247-040D938DB5B0}"/>
              </c:ext>
            </c:extLst>
          </c:dPt>
          <c:dPt>
            <c:idx val="79"/>
            <c:invertIfNegative val="1"/>
            <c:bubble3D val="0"/>
            <c:spPr>
              <a:solidFill>
                <a:srgbClr val="AEABAB"/>
              </a:solidFill>
            </c:spPr>
            <c:extLst>
              <c:ext xmlns:c16="http://schemas.microsoft.com/office/drawing/2014/chart" uri="{C3380CC4-5D6E-409C-BE32-E72D297353CC}">
                <c16:uniqueId val="{000000A1-D6CE-482F-8247-040D938DB5B0}"/>
              </c:ext>
            </c:extLst>
          </c:dPt>
          <c:dPt>
            <c:idx val="80"/>
            <c:invertIfNegative val="1"/>
            <c:bubble3D val="0"/>
            <c:spPr>
              <a:solidFill>
                <a:srgbClr val="AEABAB"/>
              </a:solidFill>
            </c:spPr>
            <c:extLst>
              <c:ext xmlns:c16="http://schemas.microsoft.com/office/drawing/2014/chart" uri="{C3380CC4-5D6E-409C-BE32-E72D297353CC}">
                <c16:uniqueId val="{000000A3-D6CE-482F-8247-040D938DB5B0}"/>
              </c:ext>
            </c:extLst>
          </c:dPt>
          <c:dPt>
            <c:idx val="81"/>
            <c:invertIfNegative val="1"/>
            <c:bubble3D val="0"/>
            <c:spPr>
              <a:solidFill>
                <a:srgbClr val="AEABAB"/>
              </a:solidFill>
            </c:spPr>
            <c:extLst>
              <c:ext xmlns:c16="http://schemas.microsoft.com/office/drawing/2014/chart" uri="{C3380CC4-5D6E-409C-BE32-E72D297353CC}">
                <c16:uniqueId val="{000000A5-D6CE-482F-8247-040D938DB5B0}"/>
              </c:ext>
            </c:extLst>
          </c:dPt>
          <c:cat>
            <c:strRef>
              <c:f>Sheet1!$A$2:$A$83</c:f>
              <c:strCache>
                <c:ptCount val="82"/>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Apericube Edition Limitee Best Of Foot Fromage Fondu Cube Assortis 1X250Gr 48P</c:v>
                </c:pt>
                <c:pt idx="7">
                  <c:v>Kiri Creme Fromage Blanc Frais Carre 1X432Gr 24P</c:v>
                </c:pt>
                <c:pt idx="8">
                  <c:v>Apericube Cocktail Fromage Fondu Cube Assortis 1X250Gr 48P</c:v>
                </c:pt>
                <c:pt idx="9">
                  <c:v>Apericube Long Drink Fromage Fondu Cube Assortis 1X250Gr 48P</c:v>
                </c:pt>
                <c:pt idx="10">
                  <c:v>Boursin Classique Fromage Frais A Tartiner Afh Boite 1X250Gr 1P</c:v>
                </c:pt>
                <c:pt idx="11">
                  <c:v>Boursin Classique Fromage Frais A Tartiner Afh 1X160Gr 10P</c:v>
                </c:pt>
                <c:pt idx="12">
                  <c:v>Kiri Gouter Fromage Blanc Dips Boite 1X280Gr 8P</c:v>
                </c:pt>
                <c:pt idx="13">
                  <c:v>Apericube Tonic Fromage Fondu Cube Assortis 1X250Gr 48P</c:v>
                </c:pt>
                <c:pt idx="14">
                  <c:v>Kiri Creme Fromage Blanc Frais Carre 1X144Gr 8P</c:v>
                </c:pt>
                <c:pt idx="15">
                  <c:v>Boursin Classique Fromage Frais A Tartiner Afh Boite 1X150Gr 1P</c:v>
                </c:pt>
                <c:pt idx="16">
                  <c:v>Port Salut St Paulin 1X320Gr 1P</c:v>
                </c:pt>
                <c:pt idx="17">
                  <c:v>Boursin Aperitif Roules Fromage Frais Roule Afh Et Jambon Fume Boite 1X100Gr 20P</c:v>
                </c:pt>
                <c:pt idx="18">
                  <c:v>Apericube Incontournable Fromage Fondu Cube Assortis 1X250Gr 48P</c:v>
                </c:pt>
                <c:pt idx="19">
                  <c:v>Mini Babybel Rouge Filet St Paulin Ferme 1X440Gr 20P</c:v>
                </c:pt>
                <c:pt idx="20">
                  <c:v>Kiri Gouter Fromage Blanc Dips Boite 1X175Gr 5P</c:v>
                </c:pt>
                <c:pt idx="21">
                  <c:v>Apericube Edition Limitee Saison Fromage Fondu Cube Assortis 1X250Gr 48P</c:v>
                </c:pt>
                <c:pt idx="22">
                  <c:v>Apericube Nature Fromage Fondu Cube 1X125Gr 24P</c:v>
                </c:pt>
                <c:pt idx="23">
                  <c:v>Babybel St Paulin 1X200Gr 1P</c:v>
                </c:pt>
                <c:pt idx="24">
                  <c:v>Cousteron St Paulin 1X320Gr 1P</c:v>
                </c:pt>
                <c:pt idx="25">
                  <c:v>Apericube Edition Voyage Fromage Fondu Cube Assortis 1X250Gr 48P</c:v>
                </c:pt>
                <c:pt idx="26">
                  <c:v>Boursin Aperitif Roules Fromage Frais Roule Ciboulette &amp; Echalote Jambon Fume Boite 1X100Gr 20P</c:v>
                </c:pt>
                <c:pt idx="27">
                  <c:v>Apericube Campagne Fromage Fondu Cube Assortis 1X125Gr 24P</c:v>
                </c:pt>
                <c:pt idx="28">
                  <c:v>La Vache Qui Rit Pik Et Croq' Fromage Fondu Dips Boite 1X175Gr 5P</c:v>
                </c:pt>
                <c:pt idx="29">
                  <c:v>La Vache Qui Rit Pik Et Croq' Fromage Fondu Dips Boite 1X280Gr 8P</c:v>
                </c:pt>
                <c:pt idx="30">
                  <c:v>Boursin Onctueux Fromage Frais A Tartiner Afh 1X125Gr 1P</c:v>
                </c:pt>
                <c:pt idx="31">
                  <c:v>Boursin Salade &amp; Aperitif Fromage Frais Des Afh 1X120Gr 1P</c:v>
                </c:pt>
                <c:pt idx="32">
                  <c:v>Apericube Saveurs De L'Authentique Fromage Fondu Cube Assortis 1X250Gr 48P</c:v>
                </c:pt>
                <c:pt idx="33">
                  <c:v>Boursin Classique Fromage Frais A Tartiner Afh Boite 1X96Gr 6P</c:v>
                </c:pt>
                <c:pt idx="34">
                  <c:v>Boursin Classique Fromage Frais A Tartiner Figue Et 3 Noix Boite 1X150Gr 1P</c:v>
                </c:pt>
                <c:pt idx="35">
                  <c:v>La Vache Qui Rit Allegee Fromage Fondu Boite Ronde Allege 1X267Gr 16P</c:v>
                </c:pt>
                <c:pt idx="36">
                  <c:v>Boursin Classique Fromage Frais A Tartiner Ciboulette &amp; Echalote Boite 1X150Gr 1P</c:v>
                </c:pt>
                <c:pt idx="37">
                  <c:v>Boursin Classique Fromage Frais A Tartiner Afh 1X256Gr 16P</c:v>
                </c:pt>
                <c:pt idx="38">
                  <c:v>Boursin Cuisine Sauce Fromage Afh 1X240Gr 1P</c:v>
                </c:pt>
                <c:pt idx="39">
                  <c:v>Boursin Aperitif Roules Fromage Frais Roule Basilic &amp; Jambon Fume Tomate Boite 1X100Gr 20P</c:v>
                </c:pt>
                <c:pt idx="40">
                  <c:v>Boursin Classique Fromage Frais A Tartiner Poivre Boite 1X150Gr 1P</c:v>
                </c:pt>
                <c:pt idx="41">
                  <c:v>Babybel Mini Rolls St Paulin Ferme Sachet 1X85Gr 5P</c:v>
                </c:pt>
                <c:pt idx="42">
                  <c:v>Mini Babybel Aros St Paulin Ferme Assortis Filet 1X180Gr 9P</c:v>
                </c:pt>
                <c:pt idx="43">
                  <c:v>Kiri Delicieusement Fouette Fromage Frais A Tartiner 1X125Gr 1P</c:v>
                </c:pt>
                <c:pt idx="44">
                  <c:v>Apericube Long Drink Fromage Fondu Cube Assortis 1X125Gr 24P</c:v>
                </c:pt>
                <c:pt idx="45">
                  <c:v>Boursin Classique Fromage Frais A Tartiner Ciboulette &amp; Echalote 1X160Gr 10P</c:v>
                </c:pt>
                <c:pt idx="46">
                  <c:v>La Vache Qui Rit Aro Fromage Fondu Boite Ronde Jambon 1X133Gr 8P</c:v>
                </c:pt>
                <c:pt idx="47">
                  <c:v>Kiri Bio Fromage Blanc Frais Carre 1X144Gr 8P</c:v>
                </c:pt>
                <c:pt idx="48">
                  <c:v>Kiri Chevre Fromage Blanc Frais Carre 1X144Gr 8P</c:v>
                </c:pt>
                <c:pt idx="49">
                  <c:v>Apericube Soiree Match Aperitif 250G</c:v>
                </c:pt>
                <c:pt idx="50">
                  <c:v>Mini Babybel Aros Soft Cheese Enfant 180G</c:v>
                </c:pt>
                <c:pt idx="51">
                  <c:v>Boursin Salade &amp; Aperitif Fromage Frais Des Ciboulette Echalote 1X120Gr 1P</c:v>
                </c:pt>
                <c:pt idx="52">
                  <c:v>Mini Babybel Rouge Filet St Paulin Ferme 1X396Gr 12+6P</c:v>
                </c:pt>
                <c:pt idx="53">
                  <c:v>Kiri Delicieusement Fouette Fromage Frais A Tartiner 1X160Gr 10P</c:v>
                </c:pt>
                <c:pt idx="54">
                  <c:v>Kiri Creme Fromage Blanc Frais Carre 1X432Gr 18+6P</c:v>
                </c:pt>
                <c:pt idx="55">
                  <c:v>Mini Babybel Aros St Paulin Ferme Raclette Filet 1X132Gr 6P</c:v>
                </c:pt>
                <c:pt idx="56">
                  <c:v>Boursin Salade &amp; Aperitif Fromage Frais Des Figue Noix 1X120Gr 1P</c:v>
                </c:pt>
                <c:pt idx="57">
                  <c:v>Apericube Hot Chalenge Aperitif 250G</c:v>
                </c:pt>
                <c:pt idx="58">
                  <c:v>Nurishh Les Tranches Vegetales Cheddar Vegetal Tranche Boite 1X160Gr 8P</c:v>
                </c:pt>
                <c:pt idx="59">
                  <c:v>Boursin Salade &amp; Aperitif Fromage Frais Des Citron Romarin 1X120Gr 1P</c:v>
                </c:pt>
                <c:pt idx="60">
                  <c:v>Apericube Best Of Des Saveurs Fromage Fondu Cube Assortis 1X125Gr 24P</c:v>
                </c:pt>
                <c:pt idx="61">
                  <c:v>Nurishh Le Rape Vegetal Specialite Vegetale Sachet 1X150Gr 1P</c:v>
                </c:pt>
                <c:pt idx="62">
                  <c:v>Boursin Salade &amp; Aperitif Fromage Frais Des Noisette Et 3 Noix 1X120Gr 1P</c:v>
                </c:pt>
                <c:pt idx="63">
                  <c:v>Boursin Classique Fromage Frais A Tartiner Afh Boite 1X80Gr 1P</c:v>
                </c:pt>
                <c:pt idx="64">
                  <c:v>Mini Babybel Aros Soft Cheese Enfant 110G</c:v>
                </c:pt>
                <c:pt idx="65">
                  <c:v>Apericube Fromages Du Monde Aperitif 250G</c:v>
                </c:pt>
                <c:pt idx="66">
                  <c:v>Boursin Aperitif Roules Fromage Frais Roule Jambon Fume &amp; Trio De Noix Boite 1X100Gr 20P</c:v>
                </c:pt>
                <c:pt idx="67">
                  <c:v>Nurishh Le Rape Vegetal Specialite Vegetale Emmental Sachet 1X150Gr 1P</c:v>
                </c:pt>
                <c:pt idx="68">
                  <c:v>Nurishh Des Vegetaux Feta Vegetale Sachet 1X150Gr 1P</c:v>
                </c:pt>
                <c:pt idx="69">
                  <c:v>Apericube Montagne Aperitif 250G</c:v>
                </c:pt>
                <c:pt idx="70">
                  <c:v>Nurishh Le Coeur Fleuri Vegetal Camembert Boite 1X140Gr 1P</c:v>
                </c:pt>
                <c:pt idx="71">
                  <c:v>Nurishh Le Palet Vegetal Specialite Vegetale Ovale Saveur Chevre Boite 1X140Gr 1P</c:v>
                </c:pt>
                <c:pt idx="72">
                  <c:v>Boursin Aperitif Roules Aperitif 100G</c:v>
                </c:pt>
                <c:pt idx="73">
                  <c:v>Boursin Salade &amp; Aperitif Soft Cheese Salade 120G</c:v>
                </c:pt>
                <c:pt idx="74">
                  <c:v>Boursin Classique Fromage Frais A Tartiner Truffe Boite 1X150Gr 1P</c:v>
                </c:pt>
                <c:pt idx="75">
                  <c:v>La Vache Qui Rit Nature Fromage Fondu Boite Ronde 1X512Gr 24+8P</c:v>
                </c:pt>
                <c:pt idx="76">
                  <c:v>Mini Babybel Bio St Paulin Ferme Filet 1X100Gr 5P</c:v>
                </c:pt>
                <c:pt idx="77">
                  <c:v>Mini Babybel Rouge Filet St Paulin Ferme Sachet 1X40Gr 1P</c:v>
                </c:pt>
                <c:pt idx="78">
                  <c:v>Kiri Delicieusement Fouette Fromage Frais A Tartiner 1X210Gr 1P</c:v>
                </c:pt>
                <c:pt idx="79">
                  <c:v>Limiano Queijo Flamengo Tranche Sachet 1X200Gr 1P</c:v>
                </c:pt>
                <c:pt idx="80">
                  <c:v>Limiano Queijo Flamengo Bloc 1X600Gr 1P</c:v>
                </c:pt>
                <c:pt idx="81">
                  <c:v>La Vache Qui Rit Nature Fromage Fondu Boite Ronde 1X128Gr 8P</c:v>
                </c:pt>
              </c:strCache>
            </c:strRef>
          </c:cat>
          <c:val>
            <c:numRef>
              <c:f>Sheet1!$C$2:$C$83</c:f>
              <c:numCache>
                <c:formatCode>General</c:formatCode>
                <c:ptCount val="82"/>
                <c:pt idx="0">
                  <c:v>9.1757765261860941E-2</c:v>
                </c:pt>
                <c:pt idx="1">
                  <c:v>0.1621327904560429</c:v>
                </c:pt>
                <c:pt idx="2">
                  <c:v>0.21723077544066388</c:v>
                </c:pt>
                <c:pt idx="3">
                  <c:v>0.26351586055562309</c:v>
                </c:pt>
                <c:pt idx="4">
                  <c:v>0.30906415066984899</c:v>
                </c:pt>
                <c:pt idx="5">
                  <c:v>0.3494448700111833</c:v>
                </c:pt>
                <c:pt idx="6">
                  <c:v>0.38548608421951003</c:v>
                </c:pt>
                <c:pt idx="7">
                  <c:v>0.42048730794562528</c:v>
                </c:pt>
                <c:pt idx="8">
                  <c:v>0.45267901933336141</c:v>
                </c:pt>
                <c:pt idx="9">
                  <c:v>0.4801469967937913</c:v>
                </c:pt>
                <c:pt idx="10">
                  <c:v>0.50548144232325698</c:v>
                </c:pt>
                <c:pt idx="11">
                  <c:v>0.52982551184133264</c:v>
                </c:pt>
                <c:pt idx="12">
                  <c:v>0.55386392404469365</c:v>
                </c:pt>
                <c:pt idx="13">
                  <c:v>0.57641731456551937</c:v>
                </c:pt>
                <c:pt idx="14">
                  <c:v>0.59887034272642981</c:v>
                </c:pt>
                <c:pt idx="15">
                  <c:v>0.62069969834255512</c:v>
                </c:pt>
                <c:pt idx="16">
                  <c:v>0.64166374395062387</c:v>
                </c:pt>
                <c:pt idx="17">
                  <c:v>0.66110233043715327</c:v>
                </c:pt>
                <c:pt idx="18">
                  <c:v>0.68027032245164876</c:v>
                </c:pt>
                <c:pt idx="19">
                  <c:v>0.69796890470626238</c:v>
                </c:pt>
                <c:pt idx="20">
                  <c:v>0.715564553082085</c:v>
                </c:pt>
                <c:pt idx="21">
                  <c:v>0.73210866960898824</c:v>
                </c:pt>
                <c:pt idx="22">
                  <c:v>0.74752778928325991</c:v>
                </c:pt>
                <c:pt idx="23">
                  <c:v>0.76271962812570882</c:v>
                </c:pt>
                <c:pt idx="24">
                  <c:v>0.77735723762031228</c:v>
                </c:pt>
                <c:pt idx="25">
                  <c:v>0.79150466199309999</c:v>
                </c:pt>
                <c:pt idx="26">
                  <c:v>0.80415619361777313</c:v>
                </c:pt>
                <c:pt idx="27">
                  <c:v>0.81640121807608634</c:v>
                </c:pt>
                <c:pt idx="28">
                  <c:v>0.82835056661285678</c:v>
                </c:pt>
                <c:pt idx="29">
                  <c:v>0.84008498004586685</c:v>
                </c:pt>
                <c:pt idx="30">
                  <c:v>0.85057270650314232</c:v>
                </c:pt>
                <c:pt idx="31">
                  <c:v>0.86056665258709319</c:v>
                </c:pt>
                <c:pt idx="32">
                  <c:v>0.87030493363324168</c:v>
                </c:pt>
                <c:pt idx="33">
                  <c:v>0.87995393056903926</c:v>
                </c:pt>
                <c:pt idx="34">
                  <c:v>0.888894748268655</c:v>
                </c:pt>
                <c:pt idx="35">
                  <c:v>0.89694851382905583</c:v>
                </c:pt>
                <c:pt idx="36">
                  <c:v>0.9044817844693277</c:v>
                </c:pt>
                <c:pt idx="37">
                  <c:v>0.91104099788387161</c:v>
                </c:pt>
                <c:pt idx="38">
                  <c:v>0.91732357192892955</c:v>
                </c:pt>
                <c:pt idx="39">
                  <c:v>0.92350436988805518</c:v>
                </c:pt>
                <c:pt idx="40">
                  <c:v>0.92966275541489374</c:v>
                </c:pt>
                <c:pt idx="41">
                  <c:v>0.93571938923038644</c:v>
                </c:pt>
                <c:pt idx="42">
                  <c:v>0.94114657372409349</c:v>
                </c:pt>
                <c:pt idx="43">
                  <c:v>0.94587116076192723</c:v>
                </c:pt>
                <c:pt idx="44">
                  <c:v>0.95037964271584874</c:v>
                </c:pt>
                <c:pt idx="45">
                  <c:v>0.95478678732639488</c:v>
                </c:pt>
                <c:pt idx="46">
                  <c:v>0.95905132841862062</c:v>
                </c:pt>
                <c:pt idx="47">
                  <c:v>0.96285980881013111</c:v>
                </c:pt>
                <c:pt idx="48">
                  <c:v>0.96632416878942928</c:v>
                </c:pt>
                <c:pt idx="49">
                  <c:v>0.96948134804235653</c:v>
                </c:pt>
                <c:pt idx="50">
                  <c:v>0.97259230089198578</c:v>
                </c:pt>
                <c:pt idx="51">
                  <c:v>0.97516723220988533</c:v>
                </c:pt>
                <c:pt idx="52">
                  <c:v>0.97772954967927095</c:v>
                </c:pt>
                <c:pt idx="53">
                  <c:v>0.98020695827658244</c:v>
                </c:pt>
                <c:pt idx="54">
                  <c:v>0.982653533021971</c:v>
                </c:pt>
                <c:pt idx="55">
                  <c:v>0.98460076998831292</c:v>
                </c:pt>
                <c:pt idx="56">
                  <c:v>0.98633131688066644</c:v>
                </c:pt>
                <c:pt idx="57">
                  <c:v>0.98763937906520904</c:v>
                </c:pt>
                <c:pt idx="58">
                  <c:v>0.98880648301601992</c:v>
                </c:pt>
                <c:pt idx="59">
                  <c:v>0.98978980258461802</c:v>
                </c:pt>
                <c:pt idx="60">
                  <c:v>0.99077044094870104</c:v>
                </c:pt>
                <c:pt idx="61">
                  <c:v>0.99164914479203947</c:v>
                </c:pt>
                <c:pt idx="62">
                  <c:v>0.99249250548495238</c:v>
                </c:pt>
                <c:pt idx="63">
                  <c:v>0.99320523058151655</c:v>
                </c:pt>
                <c:pt idx="64">
                  <c:v>0.99389593323917769</c:v>
                </c:pt>
                <c:pt idx="65">
                  <c:v>0.99447998489360645</c:v>
                </c:pt>
                <c:pt idx="66">
                  <c:v>0.99503984477093355</c:v>
                </c:pt>
                <c:pt idx="67">
                  <c:v>0.99558174057800986</c:v>
                </c:pt>
                <c:pt idx="68">
                  <c:v>0.99611437404221603</c:v>
                </c:pt>
                <c:pt idx="69">
                  <c:v>0.99663318711587645</c:v>
                </c:pt>
                <c:pt idx="70">
                  <c:v>0.99714613810148356</c:v>
                </c:pt>
                <c:pt idx="71">
                  <c:v>0.99763882161841566</c:v>
                </c:pt>
                <c:pt idx="72">
                  <c:v>0.99811066486388988</c:v>
                </c:pt>
                <c:pt idx="73">
                  <c:v>0.99853987695757496</c:v>
                </c:pt>
                <c:pt idx="74">
                  <c:v>0.99893641491805629</c:v>
                </c:pt>
                <c:pt idx="75">
                  <c:v>0.99923830635915667</c:v>
                </c:pt>
                <c:pt idx="76">
                  <c:v>0.9994770188720481</c:v>
                </c:pt>
                <c:pt idx="77">
                  <c:v>0.9996612663714044</c:v>
                </c:pt>
                <c:pt idx="78">
                  <c:v>0.99983380188194726</c:v>
                </c:pt>
                <c:pt idx="79">
                  <c:v>0.99993143428817455</c:v>
                </c:pt>
                <c:pt idx="80">
                  <c:v>0.99997678320635852</c:v>
                </c:pt>
                <c:pt idx="81">
                  <c:v>0.999987910205095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83</c:f>
              <c:strCache>
                <c:ptCount val="82"/>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Apericube Edition Limitee Best Of Foot Fromage Fondu Cube Assortis 1X250Gr 48P</c:v>
                </c:pt>
                <c:pt idx="7">
                  <c:v>Kiri Creme Fromage Blanc Frais Carre 1X432Gr 24P</c:v>
                </c:pt>
                <c:pt idx="8">
                  <c:v>Apericube Cocktail Fromage Fondu Cube Assortis 1X250Gr 48P</c:v>
                </c:pt>
                <c:pt idx="9">
                  <c:v>Apericube Long Drink Fromage Fondu Cube Assortis 1X250Gr 48P</c:v>
                </c:pt>
                <c:pt idx="10">
                  <c:v>Boursin Classique Fromage Frais A Tartiner Afh Boite 1X250Gr 1P</c:v>
                </c:pt>
                <c:pt idx="11">
                  <c:v>Boursin Classique Fromage Frais A Tartiner Afh 1X160Gr 10P</c:v>
                </c:pt>
                <c:pt idx="12">
                  <c:v>Kiri Gouter Fromage Blanc Dips Boite 1X280Gr 8P</c:v>
                </c:pt>
                <c:pt idx="13">
                  <c:v>Apericube Tonic Fromage Fondu Cube Assortis 1X250Gr 48P</c:v>
                </c:pt>
                <c:pt idx="14">
                  <c:v>Kiri Creme Fromage Blanc Frais Carre 1X144Gr 8P</c:v>
                </c:pt>
                <c:pt idx="15">
                  <c:v>Boursin Classique Fromage Frais A Tartiner Afh Boite 1X150Gr 1P</c:v>
                </c:pt>
                <c:pt idx="16">
                  <c:v>Port Salut St Paulin 1X320Gr 1P</c:v>
                </c:pt>
                <c:pt idx="17">
                  <c:v>Boursin Aperitif Roules Fromage Frais Roule Afh Et Jambon Fume Boite 1X100Gr 20P</c:v>
                </c:pt>
                <c:pt idx="18">
                  <c:v>Apericube Incontournable Fromage Fondu Cube Assortis 1X250Gr 48P</c:v>
                </c:pt>
                <c:pt idx="19">
                  <c:v>Mini Babybel Rouge Filet St Paulin Ferme 1X440Gr 20P</c:v>
                </c:pt>
                <c:pt idx="20">
                  <c:v>Kiri Gouter Fromage Blanc Dips Boite 1X175Gr 5P</c:v>
                </c:pt>
                <c:pt idx="21">
                  <c:v>Apericube Edition Limitee Saison Fromage Fondu Cube Assortis 1X250Gr 48P</c:v>
                </c:pt>
                <c:pt idx="22">
                  <c:v>Apericube Nature Fromage Fondu Cube 1X125Gr 24P</c:v>
                </c:pt>
                <c:pt idx="23">
                  <c:v>Babybel St Paulin 1X200Gr 1P</c:v>
                </c:pt>
                <c:pt idx="24">
                  <c:v>Cousteron St Paulin 1X320Gr 1P</c:v>
                </c:pt>
                <c:pt idx="25">
                  <c:v>Apericube Edition Voyage Fromage Fondu Cube Assortis 1X250Gr 48P</c:v>
                </c:pt>
                <c:pt idx="26">
                  <c:v>Boursin Aperitif Roules Fromage Frais Roule Ciboulette &amp; Echalote Jambon Fume Boite 1X100Gr 20P</c:v>
                </c:pt>
                <c:pt idx="27">
                  <c:v>Apericube Campagne Fromage Fondu Cube Assortis 1X125Gr 24P</c:v>
                </c:pt>
                <c:pt idx="28">
                  <c:v>La Vache Qui Rit Pik Et Croq' Fromage Fondu Dips Boite 1X175Gr 5P</c:v>
                </c:pt>
                <c:pt idx="29">
                  <c:v>La Vache Qui Rit Pik Et Croq' Fromage Fondu Dips Boite 1X280Gr 8P</c:v>
                </c:pt>
                <c:pt idx="30">
                  <c:v>Boursin Onctueux Fromage Frais A Tartiner Afh 1X125Gr 1P</c:v>
                </c:pt>
                <c:pt idx="31">
                  <c:v>Boursin Salade &amp; Aperitif Fromage Frais Des Afh 1X120Gr 1P</c:v>
                </c:pt>
                <c:pt idx="32">
                  <c:v>Apericube Saveurs De L'Authentique Fromage Fondu Cube Assortis 1X250Gr 48P</c:v>
                </c:pt>
                <c:pt idx="33">
                  <c:v>Boursin Classique Fromage Frais A Tartiner Afh Boite 1X96Gr 6P</c:v>
                </c:pt>
                <c:pt idx="34">
                  <c:v>Boursin Classique Fromage Frais A Tartiner Figue Et 3 Noix Boite 1X150Gr 1P</c:v>
                </c:pt>
                <c:pt idx="35">
                  <c:v>La Vache Qui Rit Allegee Fromage Fondu Boite Ronde Allege 1X267Gr 16P</c:v>
                </c:pt>
                <c:pt idx="36">
                  <c:v>Boursin Classique Fromage Frais A Tartiner Ciboulette &amp; Echalote Boite 1X150Gr 1P</c:v>
                </c:pt>
                <c:pt idx="37">
                  <c:v>Boursin Classique Fromage Frais A Tartiner Afh 1X256Gr 16P</c:v>
                </c:pt>
                <c:pt idx="38">
                  <c:v>Boursin Cuisine Sauce Fromage Afh 1X240Gr 1P</c:v>
                </c:pt>
                <c:pt idx="39">
                  <c:v>Boursin Aperitif Roules Fromage Frais Roule Basilic &amp; Jambon Fume Tomate Boite 1X100Gr 20P</c:v>
                </c:pt>
                <c:pt idx="40">
                  <c:v>Boursin Classique Fromage Frais A Tartiner Poivre Boite 1X150Gr 1P</c:v>
                </c:pt>
                <c:pt idx="41">
                  <c:v>Babybel Mini Rolls St Paulin Ferme Sachet 1X85Gr 5P</c:v>
                </c:pt>
                <c:pt idx="42">
                  <c:v>Mini Babybel Aros St Paulin Ferme Assortis Filet 1X180Gr 9P</c:v>
                </c:pt>
                <c:pt idx="43">
                  <c:v>Kiri Delicieusement Fouette Fromage Frais A Tartiner 1X125Gr 1P</c:v>
                </c:pt>
                <c:pt idx="44">
                  <c:v>Apericube Long Drink Fromage Fondu Cube Assortis 1X125Gr 24P</c:v>
                </c:pt>
                <c:pt idx="45">
                  <c:v>Boursin Classique Fromage Frais A Tartiner Ciboulette &amp; Echalote 1X160Gr 10P</c:v>
                </c:pt>
                <c:pt idx="46">
                  <c:v>La Vache Qui Rit Aro Fromage Fondu Boite Ronde Jambon 1X133Gr 8P</c:v>
                </c:pt>
                <c:pt idx="47">
                  <c:v>Kiri Bio Fromage Blanc Frais Carre 1X144Gr 8P</c:v>
                </c:pt>
                <c:pt idx="48">
                  <c:v>Kiri Chevre Fromage Blanc Frais Carre 1X144Gr 8P</c:v>
                </c:pt>
                <c:pt idx="49">
                  <c:v>Apericube Soiree Match Aperitif 250G</c:v>
                </c:pt>
                <c:pt idx="50">
                  <c:v>Mini Babybel Aros Soft Cheese Enfant 180G</c:v>
                </c:pt>
                <c:pt idx="51">
                  <c:v>Boursin Salade &amp; Aperitif Fromage Frais Des Ciboulette Echalote 1X120Gr 1P</c:v>
                </c:pt>
                <c:pt idx="52">
                  <c:v>Mini Babybel Rouge Filet St Paulin Ferme 1X396Gr 12+6P</c:v>
                </c:pt>
                <c:pt idx="53">
                  <c:v>Kiri Delicieusement Fouette Fromage Frais A Tartiner 1X160Gr 10P</c:v>
                </c:pt>
                <c:pt idx="54">
                  <c:v>Kiri Creme Fromage Blanc Frais Carre 1X432Gr 18+6P</c:v>
                </c:pt>
                <c:pt idx="55">
                  <c:v>Mini Babybel Aros St Paulin Ferme Raclette Filet 1X132Gr 6P</c:v>
                </c:pt>
                <c:pt idx="56">
                  <c:v>Boursin Salade &amp; Aperitif Fromage Frais Des Figue Noix 1X120Gr 1P</c:v>
                </c:pt>
                <c:pt idx="57">
                  <c:v>Apericube Hot Chalenge Aperitif 250G</c:v>
                </c:pt>
                <c:pt idx="58">
                  <c:v>Nurishh Les Tranches Vegetales Cheddar Vegetal Tranche Boite 1X160Gr 8P</c:v>
                </c:pt>
                <c:pt idx="59">
                  <c:v>Boursin Salade &amp; Aperitif Fromage Frais Des Citron Romarin 1X120Gr 1P</c:v>
                </c:pt>
                <c:pt idx="60">
                  <c:v>Apericube Best Of Des Saveurs Fromage Fondu Cube Assortis 1X125Gr 24P</c:v>
                </c:pt>
                <c:pt idx="61">
                  <c:v>Nurishh Le Rape Vegetal Specialite Vegetale Sachet 1X150Gr 1P</c:v>
                </c:pt>
                <c:pt idx="62">
                  <c:v>Boursin Salade &amp; Aperitif Fromage Frais Des Noisette Et 3 Noix 1X120Gr 1P</c:v>
                </c:pt>
                <c:pt idx="63">
                  <c:v>Boursin Classique Fromage Frais A Tartiner Afh Boite 1X80Gr 1P</c:v>
                </c:pt>
                <c:pt idx="64">
                  <c:v>Mini Babybel Aros Soft Cheese Enfant 110G</c:v>
                </c:pt>
                <c:pt idx="65">
                  <c:v>Apericube Fromages Du Monde Aperitif 250G</c:v>
                </c:pt>
                <c:pt idx="66">
                  <c:v>Boursin Aperitif Roules Fromage Frais Roule Jambon Fume &amp; Trio De Noix Boite 1X100Gr 20P</c:v>
                </c:pt>
                <c:pt idx="67">
                  <c:v>Nurishh Le Rape Vegetal Specialite Vegetale Emmental Sachet 1X150Gr 1P</c:v>
                </c:pt>
                <c:pt idx="68">
                  <c:v>Nurishh Des Vegetaux Feta Vegetale Sachet 1X150Gr 1P</c:v>
                </c:pt>
                <c:pt idx="69">
                  <c:v>Apericube Montagne Aperitif 250G</c:v>
                </c:pt>
                <c:pt idx="70">
                  <c:v>Nurishh Le Coeur Fleuri Vegetal Camembert Boite 1X140Gr 1P</c:v>
                </c:pt>
                <c:pt idx="71">
                  <c:v>Nurishh Le Palet Vegetal Specialite Vegetale Ovale Saveur Chevre Boite 1X140Gr 1P</c:v>
                </c:pt>
                <c:pt idx="72">
                  <c:v>Boursin Aperitif Roules Aperitif 100G</c:v>
                </c:pt>
                <c:pt idx="73">
                  <c:v>Boursin Salade &amp; Aperitif Soft Cheese Salade 120G</c:v>
                </c:pt>
                <c:pt idx="74">
                  <c:v>Boursin Classique Fromage Frais A Tartiner Truffe Boite 1X150Gr 1P</c:v>
                </c:pt>
                <c:pt idx="75">
                  <c:v>La Vache Qui Rit Nature Fromage Fondu Boite Ronde 1X512Gr 24+8P</c:v>
                </c:pt>
                <c:pt idx="76">
                  <c:v>Mini Babybel Bio St Paulin Ferme Filet 1X100Gr 5P</c:v>
                </c:pt>
                <c:pt idx="77">
                  <c:v>Mini Babybel Rouge Filet St Paulin Ferme Sachet 1X40Gr 1P</c:v>
                </c:pt>
                <c:pt idx="78">
                  <c:v>Kiri Delicieusement Fouette Fromage Frais A Tartiner 1X210Gr 1P</c:v>
                </c:pt>
                <c:pt idx="79">
                  <c:v>Limiano Queijo Flamengo Tranche Sachet 1X200Gr 1P</c:v>
                </c:pt>
                <c:pt idx="80">
                  <c:v>Limiano Queijo Flamengo Bloc 1X600Gr 1P</c:v>
                </c:pt>
                <c:pt idx="81">
                  <c:v>La Vache Qui Rit Nature Fromage Fondu Boite Ronde 1X128Gr 8P</c:v>
                </c:pt>
              </c:strCache>
            </c:strRef>
          </c:cat>
          <c:val>
            <c:numRef>
              <c:f>Sheet1!$D$2:$D$83</c:f>
              <c:numCache>
                <c:formatCode>General</c:formatCode>
                <c:ptCount val="82"/>
                <c:pt idx="0">
                  <c:v>75289.7</c:v>
                </c:pt>
                <c:pt idx="1">
                  <c:v>58923.051020408166</c:v>
                </c:pt>
                <c:pt idx="2">
                  <c:v>45209.37</c:v>
                </c:pt>
                <c:pt idx="3">
                  <c:v>37978.15</c:v>
                </c:pt>
                <c:pt idx="4">
                  <c:v>38529.474226804123</c:v>
                </c:pt>
                <c:pt idx="5">
                  <c:v>33468.141414141413</c:v>
                </c:pt>
                <c:pt idx="6">
                  <c:v>30176.306122448979</c:v>
                </c:pt>
                <c:pt idx="7">
                  <c:v>32269.033707865168</c:v>
                </c:pt>
                <c:pt idx="8">
                  <c:v>26953.224489795917</c:v>
                </c:pt>
                <c:pt idx="9">
                  <c:v>23477.302083333332</c:v>
                </c:pt>
                <c:pt idx="10">
                  <c:v>20997.565656565657</c:v>
                </c:pt>
                <c:pt idx="11">
                  <c:v>20176.727272727272</c:v>
                </c:pt>
                <c:pt idx="12">
                  <c:v>20546</c:v>
                </c:pt>
                <c:pt idx="13">
                  <c:v>19276.729166666668</c:v>
                </c:pt>
                <c:pt idx="14">
                  <c:v>18609.404040404039</c:v>
                </c:pt>
                <c:pt idx="15">
                  <c:v>17911.57</c:v>
                </c:pt>
                <c:pt idx="16">
                  <c:v>17375.313131313131</c:v>
                </c:pt>
                <c:pt idx="17">
                  <c:v>16275.387755102041</c:v>
                </c:pt>
                <c:pt idx="18">
                  <c:v>17283.351648351647</c:v>
                </c:pt>
                <c:pt idx="19">
                  <c:v>16135.733333333334</c:v>
                </c:pt>
                <c:pt idx="20">
                  <c:v>14583.535353535353</c:v>
                </c:pt>
                <c:pt idx="21">
                  <c:v>14596.655913978495</c:v>
                </c:pt>
                <c:pt idx="22">
                  <c:v>13178.958333333334</c:v>
                </c:pt>
                <c:pt idx="23">
                  <c:v>12591.222222222223</c:v>
                </c:pt>
                <c:pt idx="24">
                  <c:v>12382.01030927835</c:v>
                </c:pt>
                <c:pt idx="25">
                  <c:v>12756.417582417582</c:v>
                </c:pt>
                <c:pt idx="26">
                  <c:v>10927.284210526315</c:v>
                </c:pt>
                <c:pt idx="27">
                  <c:v>10688.691489361701</c:v>
                </c:pt>
                <c:pt idx="28">
                  <c:v>10108</c:v>
                </c:pt>
                <c:pt idx="29">
                  <c:v>10818.426966292134</c:v>
                </c:pt>
                <c:pt idx="30">
                  <c:v>8871.6082474226805</c:v>
                </c:pt>
                <c:pt idx="31">
                  <c:v>8367.6530612244896</c:v>
                </c:pt>
                <c:pt idx="32">
                  <c:v>9184.5057471264372</c:v>
                </c:pt>
                <c:pt idx="33">
                  <c:v>8247.1458333333339</c:v>
                </c:pt>
                <c:pt idx="34">
                  <c:v>7410.2828282828286</c:v>
                </c:pt>
                <c:pt idx="35">
                  <c:v>7595.7816091954019</c:v>
                </c:pt>
                <c:pt idx="36">
                  <c:v>6243.6868686868684</c:v>
                </c:pt>
                <c:pt idx="37">
                  <c:v>6186.2183908045981</c:v>
                </c:pt>
                <c:pt idx="38">
                  <c:v>5857.977272727273</c:v>
                </c:pt>
                <c:pt idx="39">
                  <c:v>5635.0111111111109</c:v>
                </c:pt>
                <c:pt idx="40">
                  <c:v>5263.666666666667</c:v>
                </c:pt>
                <c:pt idx="41">
                  <c:v>6135.3456790123455</c:v>
                </c:pt>
                <c:pt idx="42">
                  <c:v>5239</c:v>
                </c:pt>
                <c:pt idx="43">
                  <c:v>4455.9195402298847</c:v>
                </c:pt>
                <c:pt idx="44">
                  <c:v>4682.6962025316452</c:v>
                </c:pt>
                <c:pt idx="45">
                  <c:v>4356.8433734939763</c:v>
                </c:pt>
                <c:pt idx="46">
                  <c:v>5071.260869565217</c:v>
                </c:pt>
                <c:pt idx="47">
                  <c:v>5208.2666666666664</c:v>
                </c:pt>
                <c:pt idx="48">
                  <c:v>4180.2941176470586</c:v>
                </c:pt>
                <c:pt idx="49">
                  <c:v>3238.1875</c:v>
                </c:pt>
                <c:pt idx="50">
                  <c:v>3496.7397260273974</c:v>
                </c:pt>
                <c:pt idx="51">
                  <c:v>2456.7441860465115</c:v>
                </c:pt>
                <c:pt idx="52">
                  <c:v>2362.303370786517</c:v>
                </c:pt>
                <c:pt idx="53">
                  <c:v>2162.5319148936169</c:v>
                </c:pt>
                <c:pt idx="54">
                  <c:v>2418.6506024096384</c:v>
                </c:pt>
                <c:pt idx="55">
                  <c:v>2075.0129870129872</c:v>
                </c:pt>
                <c:pt idx="56">
                  <c:v>1613.590909090909</c:v>
                </c:pt>
                <c:pt idx="57">
                  <c:v>2146.6</c:v>
                </c:pt>
                <c:pt idx="58">
                  <c:v>1182.2716049382716</c:v>
                </c:pt>
                <c:pt idx="59">
                  <c:v>1204.2388059701493</c:v>
                </c:pt>
                <c:pt idx="60">
                  <c:v>1200.955223880597</c:v>
                </c:pt>
                <c:pt idx="61">
                  <c:v>2884</c:v>
                </c:pt>
                <c:pt idx="62">
                  <c:v>833.73493975903614</c:v>
                </c:pt>
                <c:pt idx="63">
                  <c:v>2016.5862068965521</c:v>
                </c:pt>
                <c:pt idx="64">
                  <c:v>960.57627118644064</c:v>
                </c:pt>
                <c:pt idx="65">
                  <c:v>1996.7916666666667</c:v>
                </c:pt>
                <c:pt idx="66">
                  <c:v>574.22500000000002</c:v>
                </c:pt>
                <c:pt idx="67">
                  <c:v>2615.5294117647059</c:v>
                </c:pt>
                <c:pt idx="68">
                  <c:v>624.34285714285716</c:v>
                </c:pt>
                <c:pt idx="69">
                  <c:v>1850.8695652173913</c:v>
                </c:pt>
                <c:pt idx="70">
                  <c:v>3006.3571428571427</c:v>
                </c:pt>
                <c:pt idx="71">
                  <c:v>2887.571428571428</c:v>
                </c:pt>
                <c:pt idx="72">
                  <c:v>553.08571428571429</c:v>
                </c:pt>
                <c:pt idx="73">
                  <c:v>880.45</c:v>
                </c:pt>
                <c:pt idx="74">
                  <c:v>464.81428571428569</c:v>
                </c:pt>
                <c:pt idx="75">
                  <c:v>990.84</c:v>
                </c:pt>
                <c:pt idx="76">
                  <c:v>631.83870967741939</c:v>
                </c:pt>
                <c:pt idx="77">
                  <c:v>1679.7777777777778</c:v>
                </c:pt>
                <c:pt idx="78">
                  <c:v>372.55263157894734</c:v>
                </c:pt>
                <c:pt idx="79">
                  <c:v>8011</c:v>
                </c:pt>
                <c:pt idx="80">
                  <c:v>3721</c:v>
                </c:pt>
                <c:pt idx="81">
                  <c:v>76.08333333333332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4</c:f>
              <c:strCache>
                <c:ptCount val="83"/>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432Gr 24P</c:v>
                </c:pt>
                <c:pt idx="6">
                  <c:v>Kiri Creme Fromage Blanc Frais Carre 1X216Gr 12P</c:v>
                </c:pt>
                <c:pt idx="7">
                  <c:v>Apericube Edition Limitee Best Of Foot Fromage Fondu Cube Assortis 1X250Gr 48P</c:v>
                </c:pt>
                <c:pt idx="8">
                  <c:v>Apericube Cocktail Fromage Fondu Cube Assortis 1X250Gr 48P</c:v>
                </c:pt>
                <c:pt idx="9">
                  <c:v>Apericube Long Drink Fromage Fondu Cube Assortis 1X250Gr 48P</c:v>
                </c:pt>
                <c:pt idx="10">
                  <c:v>Boursin Classique Fromage Frais A Tartiner Afh Boite 1X250Gr 1P</c:v>
                </c:pt>
                <c:pt idx="11">
                  <c:v>Apericube Incontournable Fromage Fondu Cube Assortis 1X250Gr 48P</c:v>
                </c:pt>
                <c:pt idx="12">
                  <c:v>Apericube Tonic Fromage Fondu Cube Assortis 1X250Gr 48P</c:v>
                </c:pt>
                <c:pt idx="13">
                  <c:v>Kiri Gouter Fromage Blanc Dips Boite 1X280Gr 8P</c:v>
                </c:pt>
                <c:pt idx="14">
                  <c:v>Boursin Classique Fromage Frais A Tartiner Afh 1X160Gr 10P</c:v>
                </c:pt>
                <c:pt idx="15">
                  <c:v>Mini Babybel Rouge Filet St Paulin Ferme 1X440Gr 20P</c:v>
                </c:pt>
                <c:pt idx="16">
                  <c:v>Boursin Aperitif Roules Fromage Frais Roule Afh Et Jambon Fume Boite 1X100Gr 20P</c:v>
                </c:pt>
                <c:pt idx="17">
                  <c:v>Port Salut St Paulin 1X320Gr 1P</c:v>
                </c:pt>
                <c:pt idx="18">
                  <c:v>Boursin Classique Fromage Frais A Tartiner Afh Boite 1X150Gr 1P</c:v>
                </c:pt>
                <c:pt idx="19">
                  <c:v>Kiri Creme Fromage Blanc Frais Carre 1X144Gr 8P</c:v>
                </c:pt>
                <c:pt idx="20">
                  <c:v>Apericube Edition Limitee Saison Fromage Fondu Cube Assortis 1X250Gr 48P</c:v>
                </c:pt>
                <c:pt idx="21">
                  <c:v>Apericube Nature Fromage Fondu Cube 1X125Gr 24P</c:v>
                </c:pt>
                <c:pt idx="22">
                  <c:v>Kiri Gouter Fromage Blanc Dips Boite 1X175Gr 5P</c:v>
                </c:pt>
                <c:pt idx="23">
                  <c:v>Apericube Edition Voyage Fromage Fondu Cube Assortis 1X250Gr 48P</c:v>
                </c:pt>
                <c:pt idx="24">
                  <c:v>La Vache Qui Rit Pik Et Croq' Fromage Fondu Dips Boite 1X280Gr 8P</c:v>
                </c:pt>
                <c:pt idx="25">
                  <c:v>Babybel St Paulin 1X200Gr 1P</c:v>
                </c:pt>
                <c:pt idx="26">
                  <c:v>La Vache Qui Rit Pik Et Croq' Fromage Fondu Dips Boite 1X175Gr 5P</c:v>
                </c:pt>
                <c:pt idx="27">
                  <c:v>Boursin Aperitif Roules Fromage Frais Roule Ciboulette &amp; Echalote Jambon Fume Boite 1X100Gr 20P</c:v>
                </c:pt>
                <c:pt idx="28">
                  <c:v>Cousteron St Paulin 1X320Gr 1P</c:v>
                </c:pt>
                <c:pt idx="29">
                  <c:v>Apericube Saveurs De L'Authentique Fromage Fondu Cube Assortis 1X250Gr 48P</c:v>
                </c:pt>
                <c:pt idx="30">
                  <c:v>Apericube Campagne Fromage Fondu Cube Assortis 1X125Gr 24P</c:v>
                </c:pt>
                <c:pt idx="31">
                  <c:v>Boursin Salade &amp; Aperitif Fromage Frais Des Afh 1X120Gr 1P</c:v>
                </c:pt>
                <c:pt idx="32">
                  <c:v>Boursin Classique Fromage Frais A Tartiner Afh 1X256Gr 16P</c:v>
                </c:pt>
                <c:pt idx="33">
                  <c:v>Boursin Onctueux Fromage Frais A Tartiner Afh 1X125Gr 1P</c:v>
                </c:pt>
                <c:pt idx="34">
                  <c:v>Boursin Classique Fromage Frais A Tartiner Afh Boite 1X96Gr 6P</c:v>
                </c:pt>
                <c:pt idx="35">
                  <c:v>Boursin Classique Fromage Frais A Tartiner Figue Et 3 Noix Boite 1X150Gr 1P</c:v>
                </c:pt>
                <c:pt idx="36">
                  <c:v>La Vache Qui Rit Allegee Fromage Fondu Boite Ronde Allege 1X267Gr 16P</c:v>
                </c:pt>
                <c:pt idx="37">
                  <c:v>Babybel Mini Rolls St Paulin Ferme Sachet 1X85Gr 5P</c:v>
                </c:pt>
                <c:pt idx="38">
                  <c:v>Boursin Aperitif Roules Fromage Frais Roule Basilic &amp; Jambon Fume Tomate Boite 1X100Gr 20P</c:v>
                </c:pt>
                <c:pt idx="39">
                  <c:v>Apericube Long Drink Fromage Fondu Cube Assortis 1X125Gr 24P</c:v>
                </c:pt>
                <c:pt idx="40">
                  <c:v>Boursin Classique Fromage Frais A Tartiner Ciboulette &amp; Echalote Boite 1X150Gr 1P</c:v>
                </c:pt>
                <c:pt idx="41">
                  <c:v>Mini Babybel Aros St Paulin Ferme Assortis Filet 1X180Gr 9P</c:v>
                </c:pt>
                <c:pt idx="42">
                  <c:v>Boursin Classique Fromage Frais A Tartiner Poivre Boite 1X150Gr 1P</c:v>
                </c:pt>
                <c:pt idx="43">
                  <c:v>Boursin Cuisine Sauce Fromage Afh 1X240Gr 1P</c:v>
                </c:pt>
                <c:pt idx="44">
                  <c:v>Kiri Delicieusement Fouette Fromage Frais A Tartiner 1X125Gr 1P</c:v>
                </c:pt>
                <c:pt idx="45">
                  <c:v>La Vache Qui Rit Aro Fromage Fondu Boite Ronde Jambon 1X133Gr 8P</c:v>
                </c:pt>
                <c:pt idx="46">
                  <c:v>Boursin Classique Fromage Frais A Tartiner Ciboulette &amp; Echalote 1X160Gr 10P</c:v>
                </c:pt>
                <c:pt idx="47">
                  <c:v>Kiri Bio Fromage Blanc Frais Carre 1X144Gr 8P</c:v>
                </c:pt>
                <c:pt idx="48">
                  <c:v>Mini Babybel Aros Soft Cheese Enfant 180G</c:v>
                </c:pt>
                <c:pt idx="49">
                  <c:v>Apericube Soiree Match Aperitif 250G</c:v>
                </c:pt>
                <c:pt idx="50">
                  <c:v>Kiri Chevre Fromage Blanc Frais Carre 1X144Gr 8P</c:v>
                </c:pt>
                <c:pt idx="51">
                  <c:v>Kiri Delicieusement Fouette Fromage Frais A Tartiner 1X160Gr 10P</c:v>
                </c:pt>
                <c:pt idx="52">
                  <c:v>Boursin Salade &amp; Aperitif Fromage Frais Des Ciboulette Echalote 1X120Gr 1P</c:v>
                </c:pt>
                <c:pt idx="53">
                  <c:v>Mini Babybel Rouge Filet St Paulin Ferme 1X396Gr 12+6P</c:v>
                </c:pt>
                <c:pt idx="54">
                  <c:v>Mini Babybel Aros St Paulin Ferme Raclette Filet 1X132Gr 6P</c:v>
                </c:pt>
                <c:pt idx="55">
                  <c:v>Kiri Creme Fromage Blanc Frais Carre 1X432Gr 18+6P</c:v>
                </c:pt>
                <c:pt idx="56">
                  <c:v>Boursin Salade &amp; Aperitif Fromage Frais Des Figue Noix 1X120Gr 1P</c:v>
                </c:pt>
                <c:pt idx="57">
                  <c:v>Nurishh Les Tranches Vegetales Cheddar Vegetal Tranche Boite 1X160Gr 8P</c:v>
                </c:pt>
                <c:pt idx="58">
                  <c:v>Apericube Best Of Des Saveurs Fromage Fondu Cube Assortis 1X125Gr 24P</c:v>
                </c:pt>
                <c:pt idx="59">
                  <c:v>Nurishh Le Rape Vegetal Specialite Vegetale Sachet 1X150Gr 1P</c:v>
                </c:pt>
                <c:pt idx="60">
                  <c:v>Apericube Hot Chalenge Aperitif 250G</c:v>
                </c:pt>
                <c:pt idx="61">
                  <c:v>Apericube Fromages Du Monde Aperitif 250G</c:v>
                </c:pt>
                <c:pt idx="62">
                  <c:v>Nurishh Le Rape Vegetal Specialite Vegetale Emmental Sachet 1X150Gr 1P</c:v>
                </c:pt>
                <c:pt idx="63">
                  <c:v>Boursin Classique Fromage Frais A Tartiner Afh Boite 1X80Gr 1P</c:v>
                </c:pt>
                <c:pt idx="64">
                  <c:v>Nurishh Le Coeur Fleuri Vegetal Camembert Boite 1X140Gr 1P</c:v>
                </c:pt>
                <c:pt idx="65">
                  <c:v>Nurishh Le Palet Vegetal Specialite Vegetale Ovale Saveur Chevre Boite 1X140Gr 1P</c:v>
                </c:pt>
                <c:pt idx="66">
                  <c:v>Apericube Montagne Aperitif 250G</c:v>
                </c:pt>
                <c:pt idx="67">
                  <c:v>Boursin Salade &amp; Aperitif Fromage Frais Des Citron Romarin 1X120Gr 1P</c:v>
                </c:pt>
                <c:pt idx="68">
                  <c:v>Mini Babybel Aros Soft Cheese Enfant 110G</c:v>
                </c:pt>
                <c:pt idx="69">
                  <c:v>Nurishh Des Vegetaux Feta Vegetale Sachet 1X150Gr 1P</c:v>
                </c:pt>
                <c:pt idx="70">
                  <c:v>Boursin Salade &amp; Aperitif Fromage Frais Des Noisette Et 3 Noix 1X120Gr 1P</c:v>
                </c:pt>
                <c:pt idx="71">
                  <c:v>Boursin Aperitif Roules Fromage Frais Roule Jambon Fume &amp; Trio De Noix Boite 1X100Gr 20P</c:v>
                </c:pt>
                <c:pt idx="72">
                  <c:v>Boursin Classique Fromage Frais A Tartiner Truffe Boite 1X150Gr 1P</c:v>
                </c:pt>
                <c:pt idx="73">
                  <c:v>Boursin Salade &amp; Aperitif Soft Cheese Salade 120G</c:v>
                </c:pt>
                <c:pt idx="74">
                  <c:v>Boursin Aperitif Roules Aperitif 100G</c:v>
                </c:pt>
                <c:pt idx="75">
                  <c:v>La Vache Qui Rit Nature Fromage Fondu Boite Ronde 1X512Gr 24+8P</c:v>
                </c:pt>
                <c:pt idx="76">
                  <c:v>Mini Babybel Rouge Filet St Paulin Ferme Sachet 1X40Gr 1P</c:v>
                </c:pt>
                <c:pt idx="77">
                  <c:v>Mini Babybel Bio St Paulin Ferme Filet 1X100Gr 5P</c:v>
                </c:pt>
                <c:pt idx="78">
                  <c:v>Kiri Delicieusement Fouette Fromage Frais A Tartiner 1X210Gr 1P</c:v>
                </c:pt>
                <c:pt idx="79">
                  <c:v>Limiano Queijo Flamengo Bloc 1X600Gr 1P</c:v>
                </c:pt>
                <c:pt idx="80">
                  <c:v>Limiano Queijo Flamengo Tranche Sachet 1X200Gr 1P</c:v>
                </c:pt>
                <c:pt idx="81">
                  <c:v>La Vache Qui Rit Nature Fromage Fondu Boite Ronde 1X128Gr 8P</c:v>
                </c:pt>
                <c:pt idx="82">
                  <c:v>Apericube Carrement Toque Fromage Fondu Cube Assortis 1X250Gr 48P</c:v>
                </c:pt>
              </c:strCache>
            </c:strRef>
          </c:cat>
          <c:val>
            <c:numRef>
              <c:f>Sheet1!$B$2:$B$84</c:f>
              <c:numCache>
                <c:formatCode>General</c:formatCode>
                <c:ptCount val="83"/>
                <c:pt idx="0">
                  <c:v>1</c:v>
                </c:pt>
                <c:pt idx="1">
                  <c:v>0.99</c:v>
                </c:pt>
                <c:pt idx="2">
                  <c:v>1</c:v>
                </c:pt>
                <c:pt idx="3">
                  <c:v>1</c:v>
                </c:pt>
                <c:pt idx="4">
                  <c:v>1</c:v>
                </c:pt>
                <c:pt idx="5">
                  <c:v>0.99</c:v>
                </c:pt>
                <c:pt idx="6">
                  <c:v>1</c:v>
                </c:pt>
                <c:pt idx="7">
                  <c:v>1</c:v>
                </c:pt>
                <c:pt idx="8">
                  <c:v>1</c:v>
                </c:pt>
                <c:pt idx="9">
                  <c:v>0.99</c:v>
                </c:pt>
                <c:pt idx="10">
                  <c:v>1</c:v>
                </c:pt>
                <c:pt idx="11">
                  <c:v>1</c:v>
                </c:pt>
                <c:pt idx="12">
                  <c:v>0.99</c:v>
                </c:pt>
                <c:pt idx="13">
                  <c:v>0.99</c:v>
                </c:pt>
                <c:pt idx="14">
                  <c:v>1</c:v>
                </c:pt>
                <c:pt idx="15">
                  <c:v>0.98</c:v>
                </c:pt>
                <c:pt idx="16">
                  <c:v>0.99</c:v>
                </c:pt>
                <c:pt idx="17">
                  <c:v>1</c:v>
                </c:pt>
                <c:pt idx="18">
                  <c:v>1</c:v>
                </c:pt>
                <c:pt idx="19">
                  <c:v>1</c:v>
                </c:pt>
                <c:pt idx="20">
                  <c:v>0.99</c:v>
                </c:pt>
                <c:pt idx="21">
                  <c:v>0.99</c:v>
                </c:pt>
                <c:pt idx="22">
                  <c:v>1</c:v>
                </c:pt>
                <c:pt idx="23">
                  <c:v>0.99</c:v>
                </c:pt>
                <c:pt idx="24">
                  <c:v>0.98</c:v>
                </c:pt>
                <c:pt idx="25">
                  <c:v>1</c:v>
                </c:pt>
                <c:pt idx="26">
                  <c:v>0.99</c:v>
                </c:pt>
                <c:pt idx="27">
                  <c:v>0.99</c:v>
                </c:pt>
                <c:pt idx="28">
                  <c:v>1</c:v>
                </c:pt>
                <c:pt idx="29">
                  <c:v>0.98</c:v>
                </c:pt>
                <c:pt idx="30">
                  <c:v>0.99</c:v>
                </c:pt>
                <c:pt idx="31">
                  <c:v>1</c:v>
                </c:pt>
                <c:pt idx="32">
                  <c:v>0.99</c:v>
                </c:pt>
                <c:pt idx="33">
                  <c:v>0.99</c:v>
                </c:pt>
                <c:pt idx="34">
                  <c:v>0.99</c:v>
                </c:pt>
                <c:pt idx="35">
                  <c:v>1</c:v>
                </c:pt>
                <c:pt idx="36">
                  <c:v>0.97</c:v>
                </c:pt>
                <c:pt idx="37">
                  <c:v>0.97</c:v>
                </c:pt>
                <c:pt idx="38">
                  <c:v>0.98</c:v>
                </c:pt>
                <c:pt idx="39">
                  <c:v>0.98</c:v>
                </c:pt>
                <c:pt idx="40">
                  <c:v>1</c:v>
                </c:pt>
                <c:pt idx="41">
                  <c:v>0.97</c:v>
                </c:pt>
                <c:pt idx="42">
                  <c:v>0.99</c:v>
                </c:pt>
                <c:pt idx="43">
                  <c:v>0.96</c:v>
                </c:pt>
                <c:pt idx="44">
                  <c:v>0.99</c:v>
                </c:pt>
                <c:pt idx="45">
                  <c:v>0.92</c:v>
                </c:pt>
                <c:pt idx="46">
                  <c:v>0.98</c:v>
                </c:pt>
                <c:pt idx="47">
                  <c:v>0.87</c:v>
                </c:pt>
                <c:pt idx="48">
                  <c:v>0.95</c:v>
                </c:pt>
                <c:pt idx="49">
                  <c:v>0.96</c:v>
                </c:pt>
                <c:pt idx="50">
                  <c:v>0.88</c:v>
                </c:pt>
                <c:pt idx="51">
                  <c:v>0.98</c:v>
                </c:pt>
                <c:pt idx="52">
                  <c:v>0.95</c:v>
                </c:pt>
                <c:pt idx="53">
                  <c:v>0.92</c:v>
                </c:pt>
                <c:pt idx="54">
                  <c:v>0.95</c:v>
                </c:pt>
                <c:pt idx="55">
                  <c:v>0.94</c:v>
                </c:pt>
                <c:pt idx="56">
                  <c:v>0.97</c:v>
                </c:pt>
                <c:pt idx="57">
                  <c:v>0.89</c:v>
                </c:pt>
                <c:pt idx="58">
                  <c:v>0.88</c:v>
                </c:pt>
                <c:pt idx="59">
                  <c:v>0.85</c:v>
                </c:pt>
                <c:pt idx="60">
                  <c:v>0.8</c:v>
                </c:pt>
                <c:pt idx="61">
                  <c:v>0.7</c:v>
                </c:pt>
                <c:pt idx="62">
                  <c:v>0.84</c:v>
                </c:pt>
                <c:pt idx="63">
                  <c:v>0.7</c:v>
                </c:pt>
                <c:pt idx="64">
                  <c:v>0.75</c:v>
                </c:pt>
                <c:pt idx="65">
                  <c:v>0.73</c:v>
                </c:pt>
                <c:pt idx="66">
                  <c:v>0.68</c:v>
                </c:pt>
                <c:pt idx="67">
                  <c:v>0.93</c:v>
                </c:pt>
                <c:pt idx="68">
                  <c:v>0.9</c:v>
                </c:pt>
                <c:pt idx="69">
                  <c:v>0.82</c:v>
                </c:pt>
                <c:pt idx="70">
                  <c:v>0.99</c:v>
                </c:pt>
                <c:pt idx="71">
                  <c:v>0.96</c:v>
                </c:pt>
                <c:pt idx="72">
                  <c:v>0.92</c:v>
                </c:pt>
                <c:pt idx="73">
                  <c:v>0.73</c:v>
                </c:pt>
                <c:pt idx="74">
                  <c:v>0.86</c:v>
                </c:pt>
                <c:pt idx="75">
                  <c:v>0.32</c:v>
                </c:pt>
                <c:pt idx="76">
                  <c:v>0.24</c:v>
                </c:pt>
                <c:pt idx="77">
                  <c:v>0.55000000000000004</c:v>
                </c:pt>
                <c:pt idx="78">
                  <c:v>0.64</c:v>
                </c:pt>
                <c:pt idx="79">
                  <c:v>0.03</c:v>
                </c:pt>
                <c:pt idx="80">
                  <c:v>0.02</c:v>
                </c:pt>
                <c:pt idx="81">
                  <c:v>0.13</c:v>
                </c:pt>
                <c:pt idx="82">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00A097"/>
              </a:solidFill>
            </c:spPr>
            <c:extLst>
              <c:ext xmlns:c16="http://schemas.microsoft.com/office/drawing/2014/chart" uri="{C3380CC4-5D6E-409C-BE32-E72D297353CC}">
                <c16:uniqueId val="{00000023-FA3E-4872-B6E1-C4ABDF5766E2}"/>
              </c:ext>
            </c:extLst>
          </c:dPt>
          <c:dPt>
            <c:idx val="17"/>
            <c:invertIfNegative val="1"/>
            <c:bubble3D val="0"/>
            <c:spPr>
              <a:solidFill>
                <a:srgbClr val="00A097"/>
              </a:solidFill>
            </c:spPr>
            <c:extLst>
              <c:ext xmlns:c16="http://schemas.microsoft.com/office/drawing/2014/chart" uri="{C3380CC4-5D6E-409C-BE32-E72D297353CC}">
                <c16:uniqueId val="{00000025-FA3E-4872-B6E1-C4ABDF5766E2}"/>
              </c:ext>
            </c:extLst>
          </c:dPt>
          <c:dPt>
            <c:idx val="18"/>
            <c:invertIfNegative val="1"/>
            <c:bubble3D val="0"/>
            <c:spPr>
              <a:solidFill>
                <a:srgbClr val="00A097"/>
              </a:solidFill>
            </c:spPr>
            <c:extLst>
              <c:ext xmlns:c16="http://schemas.microsoft.com/office/drawing/2014/chart" uri="{C3380CC4-5D6E-409C-BE32-E72D297353CC}">
                <c16:uniqueId val="{00000027-FA3E-4872-B6E1-C4ABDF5766E2}"/>
              </c:ext>
            </c:extLst>
          </c:dPt>
          <c:dPt>
            <c:idx val="19"/>
            <c:invertIfNegative val="1"/>
            <c:bubble3D val="0"/>
            <c:spPr>
              <a:solidFill>
                <a:srgbClr val="00A097"/>
              </a:solidFill>
            </c:spPr>
            <c:extLst>
              <c:ext xmlns:c16="http://schemas.microsoft.com/office/drawing/2014/chart" uri="{C3380CC4-5D6E-409C-BE32-E72D297353CC}">
                <c16:uniqueId val="{00000029-FA3E-4872-B6E1-C4ABDF5766E2}"/>
              </c:ext>
            </c:extLst>
          </c:dPt>
          <c:dPt>
            <c:idx val="20"/>
            <c:invertIfNegative val="1"/>
            <c:bubble3D val="0"/>
            <c:spPr>
              <a:solidFill>
                <a:srgbClr val="00A097"/>
              </a:solidFill>
            </c:spPr>
            <c:extLst>
              <c:ext xmlns:c16="http://schemas.microsoft.com/office/drawing/2014/chart" uri="{C3380CC4-5D6E-409C-BE32-E72D297353CC}">
                <c16:uniqueId val="{0000002B-FA3E-4872-B6E1-C4ABDF5766E2}"/>
              </c:ext>
            </c:extLst>
          </c:dPt>
          <c:dPt>
            <c:idx val="21"/>
            <c:invertIfNegative val="1"/>
            <c:bubble3D val="0"/>
            <c:spPr>
              <a:solidFill>
                <a:srgbClr val="00A097"/>
              </a:solidFill>
            </c:spPr>
            <c:extLst>
              <c:ext xmlns:c16="http://schemas.microsoft.com/office/drawing/2014/chart" uri="{C3380CC4-5D6E-409C-BE32-E72D297353CC}">
                <c16:uniqueId val="{0000002D-FA3E-4872-B6E1-C4ABDF5766E2}"/>
              </c:ext>
            </c:extLst>
          </c:dPt>
          <c:dPt>
            <c:idx val="22"/>
            <c:invertIfNegative val="1"/>
            <c:bubble3D val="0"/>
            <c:spPr>
              <a:solidFill>
                <a:srgbClr val="00A097"/>
              </a:solidFill>
            </c:spPr>
            <c:extLst>
              <c:ext xmlns:c16="http://schemas.microsoft.com/office/drawing/2014/chart" uri="{C3380CC4-5D6E-409C-BE32-E72D297353CC}">
                <c16:uniqueId val="{0000002F-FA3E-4872-B6E1-C4ABDF5766E2}"/>
              </c:ext>
            </c:extLst>
          </c:dPt>
          <c:dPt>
            <c:idx val="23"/>
            <c:invertIfNegative val="1"/>
            <c:bubble3D val="0"/>
            <c:spPr>
              <a:solidFill>
                <a:srgbClr val="00A097"/>
              </a:solidFill>
            </c:spPr>
            <c:extLst>
              <c:ext xmlns:c16="http://schemas.microsoft.com/office/drawing/2014/chart" uri="{C3380CC4-5D6E-409C-BE32-E72D297353CC}">
                <c16:uniqueId val="{00000031-FA3E-4872-B6E1-C4ABDF5766E2}"/>
              </c:ext>
            </c:extLst>
          </c:dPt>
          <c:dPt>
            <c:idx val="24"/>
            <c:invertIfNegative val="1"/>
            <c:bubble3D val="0"/>
            <c:spPr>
              <a:solidFill>
                <a:srgbClr val="00A097"/>
              </a:solidFill>
            </c:spPr>
            <c:extLst>
              <c:ext xmlns:c16="http://schemas.microsoft.com/office/drawing/2014/chart" uri="{C3380CC4-5D6E-409C-BE32-E72D297353CC}">
                <c16:uniqueId val="{00000033-FA3E-4872-B6E1-C4ABDF5766E2}"/>
              </c:ext>
            </c:extLst>
          </c:dPt>
          <c:dPt>
            <c:idx val="25"/>
            <c:invertIfNegative val="1"/>
            <c:bubble3D val="0"/>
            <c:spPr>
              <a:solidFill>
                <a:srgbClr val="00A097"/>
              </a:solidFill>
            </c:spPr>
            <c:extLst>
              <c:ext xmlns:c16="http://schemas.microsoft.com/office/drawing/2014/chart" uri="{C3380CC4-5D6E-409C-BE32-E72D297353CC}">
                <c16:uniqueId val="{00000035-FA3E-4872-B6E1-C4ABDF5766E2}"/>
              </c:ext>
            </c:extLst>
          </c:dPt>
          <c:dPt>
            <c:idx val="26"/>
            <c:invertIfNegative val="1"/>
            <c:bubble3D val="0"/>
            <c:spPr>
              <a:solidFill>
                <a:srgbClr val="00A097"/>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7ECAC4"/>
              </a:solidFill>
            </c:spPr>
            <c:extLst>
              <c:ext xmlns:c16="http://schemas.microsoft.com/office/drawing/2014/chart" uri="{C3380CC4-5D6E-409C-BE32-E72D297353CC}">
                <c16:uniqueId val="{0000003F-FA3E-4872-B6E1-C4ABDF5766E2}"/>
              </c:ext>
            </c:extLst>
          </c:dPt>
          <c:dPt>
            <c:idx val="31"/>
            <c:invertIfNegative val="1"/>
            <c:bubble3D val="0"/>
            <c:spPr>
              <a:solidFill>
                <a:srgbClr val="7ECAC4"/>
              </a:solidFill>
            </c:spPr>
            <c:extLst>
              <c:ext xmlns:c16="http://schemas.microsoft.com/office/drawing/2014/chart" uri="{C3380CC4-5D6E-409C-BE32-E72D297353CC}">
                <c16:uniqueId val="{00000041-FA3E-4872-B6E1-C4ABDF5766E2}"/>
              </c:ext>
            </c:extLst>
          </c:dPt>
          <c:dPt>
            <c:idx val="32"/>
            <c:invertIfNegative val="1"/>
            <c:bubble3D val="0"/>
            <c:spPr>
              <a:solidFill>
                <a:srgbClr val="7ECAC4"/>
              </a:solidFill>
            </c:spPr>
            <c:extLst>
              <c:ext xmlns:c16="http://schemas.microsoft.com/office/drawing/2014/chart" uri="{C3380CC4-5D6E-409C-BE32-E72D297353CC}">
                <c16:uniqueId val="{00000043-FA3E-4872-B6E1-C4ABDF5766E2}"/>
              </c:ext>
            </c:extLst>
          </c:dPt>
          <c:dPt>
            <c:idx val="33"/>
            <c:invertIfNegative val="1"/>
            <c:bubble3D val="0"/>
            <c:spPr>
              <a:solidFill>
                <a:srgbClr val="7ECAC4"/>
              </a:solidFill>
            </c:spPr>
            <c:extLst>
              <c:ext xmlns:c16="http://schemas.microsoft.com/office/drawing/2014/chart" uri="{C3380CC4-5D6E-409C-BE32-E72D297353CC}">
                <c16:uniqueId val="{00000045-FA3E-4872-B6E1-C4ABDF5766E2}"/>
              </c:ext>
            </c:extLst>
          </c:dPt>
          <c:dPt>
            <c:idx val="34"/>
            <c:invertIfNegative val="1"/>
            <c:bubble3D val="0"/>
            <c:spPr>
              <a:solidFill>
                <a:srgbClr val="7ECAC4"/>
              </a:solidFill>
            </c:spPr>
            <c:extLst>
              <c:ext xmlns:c16="http://schemas.microsoft.com/office/drawing/2014/chart" uri="{C3380CC4-5D6E-409C-BE32-E72D297353CC}">
                <c16:uniqueId val="{00000047-FA3E-4872-B6E1-C4ABDF5766E2}"/>
              </c:ext>
            </c:extLst>
          </c:dPt>
          <c:dPt>
            <c:idx val="35"/>
            <c:invertIfNegative val="1"/>
            <c:bubble3D val="0"/>
            <c:spPr>
              <a:solidFill>
                <a:srgbClr val="7ECAC4"/>
              </a:solidFill>
            </c:spPr>
            <c:extLst>
              <c:ext xmlns:c16="http://schemas.microsoft.com/office/drawing/2014/chart" uri="{C3380CC4-5D6E-409C-BE32-E72D297353CC}">
                <c16:uniqueId val="{00000049-FA3E-4872-B6E1-C4ABDF5766E2}"/>
              </c:ext>
            </c:extLst>
          </c:dPt>
          <c:dPt>
            <c:idx val="36"/>
            <c:invertIfNegative val="1"/>
            <c:bubble3D val="0"/>
            <c:spPr>
              <a:solidFill>
                <a:srgbClr val="7ECAC4"/>
              </a:solidFill>
            </c:spPr>
            <c:extLst>
              <c:ext xmlns:c16="http://schemas.microsoft.com/office/drawing/2014/chart" uri="{C3380CC4-5D6E-409C-BE32-E72D297353CC}">
                <c16:uniqueId val="{0000004B-FA3E-4872-B6E1-C4ABDF5766E2}"/>
              </c:ext>
            </c:extLst>
          </c:dPt>
          <c:dPt>
            <c:idx val="37"/>
            <c:invertIfNegative val="1"/>
            <c:bubble3D val="0"/>
            <c:spPr>
              <a:solidFill>
                <a:srgbClr val="7ECAC4"/>
              </a:solidFill>
            </c:spPr>
            <c:extLst>
              <c:ext xmlns:c16="http://schemas.microsoft.com/office/drawing/2014/chart" uri="{C3380CC4-5D6E-409C-BE32-E72D297353CC}">
                <c16:uniqueId val="{0000004D-FA3E-4872-B6E1-C4ABDF5766E2}"/>
              </c:ext>
            </c:extLst>
          </c:dPt>
          <c:dPt>
            <c:idx val="38"/>
            <c:invertIfNegative val="1"/>
            <c:bubble3D val="0"/>
            <c:spPr>
              <a:solidFill>
                <a:srgbClr val="7ECAC4"/>
              </a:solidFill>
            </c:spPr>
            <c:extLst>
              <c:ext xmlns:c16="http://schemas.microsoft.com/office/drawing/2014/chart" uri="{C3380CC4-5D6E-409C-BE32-E72D297353CC}">
                <c16:uniqueId val="{0000004F-FA3E-4872-B6E1-C4ABDF5766E2}"/>
              </c:ext>
            </c:extLst>
          </c:dPt>
          <c:dPt>
            <c:idx val="39"/>
            <c:invertIfNegative val="1"/>
            <c:bubble3D val="0"/>
            <c:spPr>
              <a:solidFill>
                <a:srgbClr val="7ECAC4"/>
              </a:solidFill>
            </c:spPr>
            <c:extLst>
              <c:ext xmlns:c16="http://schemas.microsoft.com/office/drawing/2014/chart" uri="{C3380CC4-5D6E-409C-BE32-E72D297353CC}">
                <c16:uniqueId val="{00000051-FA3E-4872-B6E1-C4ABDF5766E2}"/>
              </c:ext>
            </c:extLst>
          </c:dPt>
          <c:dPt>
            <c:idx val="40"/>
            <c:invertIfNegative val="1"/>
            <c:bubble3D val="0"/>
            <c:spPr>
              <a:solidFill>
                <a:srgbClr val="7ECAC4"/>
              </a:solidFill>
            </c:spPr>
            <c:extLst>
              <c:ext xmlns:c16="http://schemas.microsoft.com/office/drawing/2014/chart" uri="{C3380CC4-5D6E-409C-BE32-E72D297353CC}">
                <c16:uniqueId val="{00000053-FA3E-4872-B6E1-C4ABDF5766E2}"/>
              </c:ext>
            </c:extLst>
          </c:dPt>
          <c:dPt>
            <c:idx val="41"/>
            <c:invertIfNegative val="1"/>
            <c:bubble3D val="0"/>
            <c:spPr>
              <a:solidFill>
                <a:srgbClr val="7ECAC4"/>
              </a:solidFill>
            </c:spPr>
            <c:extLst>
              <c:ext xmlns:c16="http://schemas.microsoft.com/office/drawing/2014/chart" uri="{C3380CC4-5D6E-409C-BE32-E72D297353CC}">
                <c16:uniqueId val="{00000055-FA3E-4872-B6E1-C4ABDF5766E2}"/>
              </c:ext>
            </c:extLst>
          </c:dPt>
          <c:dPt>
            <c:idx val="42"/>
            <c:invertIfNegative val="1"/>
            <c:bubble3D val="0"/>
            <c:spPr>
              <a:solidFill>
                <a:srgbClr val="7ECAC4"/>
              </a:solidFill>
            </c:spPr>
            <c:extLst>
              <c:ext xmlns:c16="http://schemas.microsoft.com/office/drawing/2014/chart" uri="{C3380CC4-5D6E-409C-BE32-E72D297353CC}">
                <c16:uniqueId val="{00000057-FA3E-4872-B6E1-C4ABDF5766E2}"/>
              </c:ext>
            </c:extLst>
          </c:dPt>
          <c:dPt>
            <c:idx val="43"/>
            <c:invertIfNegative val="1"/>
            <c:bubble3D val="0"/>
            <c:spPr>
              <a:solidFill>
                <a:srgbClr val="7ECAC4"/>
              </a:solidFill>
            </c:spPr>
            <c:extLst>
              <c:ext xmlns:c16="http://schemas.microsoft.com/office/drawing/2014/chart" uri="{C3380CC4-5D6E-409C-BE32-E72D297353CC}">
                <c16:uniqueId val="{00000059-FA3E-4872-B6E1-C4ABDF5766E2}"/>
              </c:ext>
            </c:extLst>
          </c:dPt>
          <c:dPt>
            <c:idx val="44"/>
            <c:invertIfNegative val="1"/>
            <c:bubble3D val="0"/>
            <c:spPr>
              <a:solidFill>
                <a:srgbClr val="7ECAC4"/>
              </a:solidFill>
            </c:spPr>
            <c:extLst>
              <c:ext xmlns:c16="http://schemas.microsoft.com/office/drawing/2014/chart" uri="{C3380CC4-5D6E-409C-BE32-E72D297353CC}">
                <c16:uniqueId val="{0000005B-3ED1-47C2-BB1F-C9EECDB8528E}"/>
              </c:ext>
            </c:extLst>
          </c:dPt>
          <c:dPt>
            <c:idx val="45"/>
            <c:invertIfNegative val="1"/>
            <c:bubble3D val="0"/>
            <c:spPr>
              <a:solidFill>
                <a:srgbClr val="7ECAC4"/>
              </a:solidFill>
            </c:spPr>
            <c:extLst>
              <c:ext xmlns:c16="http://schemas.microsoft.com/office/drawing/2014/chart" uri="{C3380CC4-5D6E-409C-BE32-E72D297353CC}">
                <c16:uniqueId val="{0000005D-3ED1-47C2-BB1F-C9EECDB8528E}"/>
              </c:ext>
            </c:extLst>
          </c:dPt>
          <c:dPt>
            <c:idx val="46"/>
            <c:invertIfNegative val="1"/>
            <c:bubble3D val="0"/>
            <c:spPr>
              <a:solidFill>
                <a:srgbClr val="7ECAC4"/>
              </a:solidFill>
            </c:spPr>
            <c:extLst>
              <c:ext xmlns:c16="http://schemas.microsoft.com/office/drawing/2014/chart" uri="{C3380CC4-5D6E-409C-BE32-E72D297353CC}">
                <c16:uniqueId val="{0000005F-3ED1-47C2-BB1F-C9EECDB8528E}"/>
              </c:ext>
            </c:extLst>
          </c:dPt>
          <c:dPt>
            <c:idx val="47"/>
            <c:invertIfNegative val="1"/>
            <c:bubble3D val="0"/>
            <c:spPr>
              <a:solidFill>
                <a:srgbClr val="AEABAB"/>
              </a:solidFill>
            </c:spPr>
            <c:extLst>
              <c:ext xmlns:c16="http://schemas.microsoft.com/office/drawing/2014/chart" uri="{C3380CC4-5D6E-409C-BE32-E72D297353CC}">
                <c16:uniqueId val="{00000061-3ED1-47C2-BB1F-C9EECDB8528E}"/>
              </c:ext>
            </c:extLst>
          </c:dPt>
          <c:dPt>
            <c:idx val="48"/>
            <c:invertIfNegative val="1"/>
            <c:bubble3D val="0"/>
            <c:spPr>
              <a:solidFill>
                <a:srgbClr val="AEABAB"/>
              </a:solidFill>
            </c:spPr>
            <c:extLst>
              <c:ext xmlns:c16="http://schemas.microsoft.com/office/drawing/2014/chart" uri="{C3380CC4-5D6E-409C-BE32-E72D297353CC}">
                <c16:uniqueId val="{00000063-3ED1-47C2-BB1F-C9EECDB8528E}"/>
              </c:ext>
            </c:extLst>
          </c:dPt>
          <c:dPt>
            <c:idx val="49"/>
            <c:invertIfNegative val="1"/>
            <c:bubble3D val="0"/>
            <c:spPr>
              <a:solidFill>
                <a:srgbClr val="AEABAB"/>
              </a:solidFill>
            </c:spPr>
            <c:extLst>
              <c:ext xmlns:c16="http://schemas.microsoft.com/office/drawing/2014/chart" uri="{C3380CC4-5D6E-409C-BE32-E72D297353CC}">
                <c16:uniqueId val="{00000065-3ED1-47C2-BB1F-C9EECDB8528E}"/>
              </c:ext>
            </c:extLst>
          </c:dPt>
          <c:dPt>
            <c:idx val="50"/>
            <c:invertIfNegative val="1"/>
            <c:bubble3D val="0"/>
            <c:spPr>
              <a:solidFill>
                <a:srgbClr val="AEABAB"/>
              </a:solidFill>
            </c:spPr>
            <c:extLst>
              <c:ext xmlns:c16="http://schemas.microsoft.com/office/drawing/2014/chart" uri="{C3380CC4-5D6E-409C-BE32-E72D297353CC}">
                <c16:uniqueId val="{00000067-3ED1-47C2-BB1F-C9EECDB8528E}"/>
              </c:ext>
            </c:extLst>
          </c:dPt>
          <c:dPt>
            <c:idx val="51"/>
            <c:invertIfNegative val="1"/>
            <c:bubble3D val="0"/>
            <c:spPr>
              <a:solidFill>
                <a:srgbClr val="AEABAB"/>
              </a:solidFill>
            </c:spPr>
            <c:extLst>
              <c:ext xmlns:c16="http://schemas.microsoft.com/office/drawing/2014/chart" uri="{C3380CC4-5D6E-409C-BE32-E72D297353CC}">
                <c16:uniqueId val="{00000069-3ED1-47C2-BB1F-C9EECDB8528E}"/>
              </c:ext>
            </c:extLst>
          </c:dPt>
          <c:dPt>
            <c:idx val="52"/>
            <c:invertIfNegative val="1"/>
            <c:bubble3D val="0"/>
            <c:spPr>
              <a:solidFill>
                <a:srgbClr val="AEABAB"/>
              </a:solidFill>
            </c:spPr>
            <c:extLst>
              <c:ext xmlns:c16="http://schemas.microsoft.com/office/drawing/2014/chart" uri="{C3380CC4-5D6E-409C-BE32-E72D297353CC}">
                <c16:uniqueId val="{0000006B-3ED1-47C2-BB1F-C9EECDB8528E}"/>
              </c:ext>
            </c:extLst>
          </c:dPt>
          <c:dPt>
            <c:idx val="53"/>
            <c:invertIfNegative val="1"/>
            <c:bubble3D val="0"/>
            <c:spPr>
              <a:solidFill>
                <a:srgbClr val="AEABAB"/>
              </a:solidFill>
            </c:spPr>
            <c:extLst>
              <c:ext xmlns:c16="http://schemas.microsoft.com/office/drawing/2014/chart" uri="{C3380CC4-5D6E-409C-BE32-E72D297353CC}">
                <c16:uniqueId val="{0000006D-3ED1-47C2-BB1F-C9EECDB8528E}"/>
              </c:ext>
            </c:extLst>
          </c:dPt>
          <c:dPt>
            <c:idx val="54"/>
            <c:invertIfNegative val="1"/>
            <c:bubble3D val="0"/>
            <c:spPr>
              <a:solidFill>
                <a:srgbClr val="AEABAB"/>
              </a:solidFill>
            </c:spPr>
            <c:extLst>
              <c:ext xmlns:c16="http://schemas.microsoft.com/office/drawing/2014/chart" uri="{C3380CC4-5D6E-409C-BE32-E72D297353CC}">
                <c16:uniqueId val="{0000006F-3ED1-47C2-BB1F-C9EECDB8528E}"/>
              </c:ext>
            </c:extLst>
          </c:dPt>
          <c:dPt>
            <c:idx val="55"/>
            <c:invertIfNegative val="1"/>
            <c:bubble3D val="0"/>
            <c:spPr>
              <a:solidFill>
                <a:srgbClr val="AEABAB"/>
              </a:solidFill>
            </c:spPr>
            <c:extLst>
              <c:ext xmlns:c16="http://schemas.microsoft.com/office/drawing/2014/chart" uri="{C3380CC4-5D6E-409C-BE32-E72D297353CC}">
                <c16:uniqueId val="{00000071-3ED1-47C2-BB1F-C9EECDB8528E}"/>
              </c:ext>
            </c:extLst>
          </c:dPt>
          <c:dPt>
            <c:idx val="56"/>
            <c:invertIfNegative val="1"/>
            <c:bubble3D val="0"/>
            <c:spPr>
              <a:solidFill>
                <a:srgbClr val="AEABAB"/>
              </a:solidFill>
            </c:spPr>
            <c:extLst>
              <c:ext xmlns:c16="http://schemas.microsoft.com/office/drawing/2014/chart" uri="{C3380CC4-5D6E-409C-BE32-E72D297353CC}">
                <c16:uniqueId val="{00000073-3ED1-47C2-BB1F-C9EECDB8528E}"/>
              </c:ext>
            </c:extLst>
          </c:dPt>
          <c:dPt>
            <c:idx val="57"/>
            <c:invertIfNegative val="1"/>
            <c:bubble3D val="0"/>
            <c:spPr>
              <a:solidFill>
                <a:srgbClr val="AEABAB"/>
              </a:solidFill>
            </c:spPr>
            <c:extLst>
              <c:ext xmlns:c16="http://schemas.microsoft.com/office/drawing/2014/chart" uri="{C3380CC4-5D6E-409C-BE32-E72D297353CC}">
                <c16:uniqueId val="{00000075-3ED1-47C2-BB1F-C9EECDB8528E}"/>
              </c:ext>
            </c:extLst>
          </c:dPt>
          <c:dPt>
            <c:idx val="58"/>
            <c:invertIfNegative val="1"/>
            <c:bubble3D val="0"/>
            <c:spPr>
              <a:solidFill>
                <a:srgbClr val="AEABAB"/>
              </a:solidFill>
            </c:spPr>
            <c:extLst>
              <c:ext xmlns:c16="http://schemas.microsoft.com/office/drawing/2014/chart" uri="{C3380CC4-5D6E-409C-BE32-E72D297353CC}">
                <c16:uniqueId val="{00000077-3ED1-47C2-BB1F-C9EECDB8528E}"/>
              </c:ext>
            </c:extLst>
          </c:dPt>
          <c:dPt>
            <c:idx val="59"/>
            <c:invertIfNegative val="1"/>
            <c:bubble3D val="0"/>
            <c:spPr>
              <a:solidFill>
                <a:srgbClr val="AEABAB"/>
              </a:solidFill>
            </c:spPr>
            <c:extLst>
              <c:ext xmlns:c16="http://schemas.microsoft.com/office/drawing/2014/chart" uri="{C3380CC4-5D6E-409C-BE32-E72D297353CC}">
                <c16:uniqueId val="{00000079-3ED1-47C2-BB1F-C9EECDB8528E}"/>
              </c:ext>
            </c:extLst>
          </c:dPt>
          <c:dPt>
            <c:idx val="60"/>
            <c:invertIfNegative val="1"/>
            <c:bubble3D val="0"/>
            <c:spPr>
              <a:solidFill>
                <a:srgbClr val="AEABAB"/>
              </a:solidFill>
            </c:spPr>
            <c:extLst>
              <c:ext xmlns:c16="http://schemas.microsoft.com/office/drawing/2014/chart" uri="{C3380CC4-5D6E-409C-BE32-E72D297353CC}">
                <c16:uniqueId val="{0000007B-3ED1-47C2-BB1F-C9EECDB8528E}"/>
              </c:ext>
            </c:extLst>
          </c:dPt>
          <c:dPt>
            <c:idx val="61"/>
            <c:invertIfNegative val="1"/>
            <c:bubble3D val="0"/>
            <c:spPr>
              <a:solidFill>
                <a:srgbClr val="AEABAB"/>
              </a:solidFill>
            </c:spPr>
            <c:extLst>
              <c:ext xmlns:c16="http://schemas.microsoft.com/office/drawing/2014/chart" uri="{C3380CC4-5D6E-409C-BE32-E72D297353CC}">
                <c16:uniqueId val="{0000007D-3ED1-47C2-BB1F-C9EECDB8528E}"/>
              </c:ext>
            </c:extLst>
          </c:dPt>
          <c:dPt>
            <c:idx val="62"/>
            <c:invertIfNegative val="1"/>
            <c:bubble3D val="0"/>
            <c:spPr>
              <a:solidFill>
                <a:srgbClr val="AEABAB"/>
              </a:solidFill>
            </c:spPr>
            <c:extLst>
              <c:ext xmlns:c16="http://schemas.microsoft.com/office/drawing/2014/chart" uri="{C3380CC4-5D6E-409C-BE32-E72D297353CC}">
                <c16:uniqueId val="{0000007F-3ED1-47C2-BB1F-C9EECDB8528E}"/>
              </c:ext>
            </c:extLst>
          </c:dPt>
          <c:dPt>
            <c:idx val="63"/>
            <c:invertIfNegative val="1"/>
            <c:bubble3D val="0"/>
            <c:spPr>
              <a:solidFill>
                <a:srgbClr val="AEABAB"/>
              </a:solidFill>
            </c:spPr>
            <c:extLst>
              <c:ext xmlns:c16="http://schemas.microsoft.com/office/drawing/2014/chart" uri="{C3380CC4-5D6E-409C-BE32-E72D297353CC}">
                <c16:uniqueId val="{00000081-3ED1-47C2-BB1F-C9EECDB8528E}"/>
              </c:ext>
            </c:extLst>
          </c:dPt>
          <c:dPt>
            <c:idx val="64"/>
            <c:invertIfNegative val="1"/>
            <c:bubble3D val="0"/>
            <c:spPr>
              <a:solidFill>
                <a:srgbClr val="AEABAB"/>
              </a:solidFill>
            </c:spPr>
            <c:extLst>
              <c:ext xmlns:c16="http://schemas.microsoft.com/office/drawing/2014/chart" uri="{C3380CC4-5D6E-409C-BE32-E72D297353CC}">
                <c16:uniqueId val="{00000083-3ED1-47C2-BB1F-C9EECDB8528E}"/>
              </c:ext>
            </c:extLst>
          </c:dPt>
          <c:dPt>
            <c:idx val="65"/>
            <c:invertIfNegative val="1"/>
            <c:bubble3D val="0"/>
            <c:spPr>
              <a:solidFill>
                <a:srgbClr val="AEABAB"/>
              </a:solidFill>
            </c:spPr>
            <c:extLst>
              <c:ext xmlns:c16="http://schemas.microsoft.com/office/drawing/2014/chart" uri="{C3380CC4-5D6E-409C-BE32-E72D297353CC}">
                <c16:uniqueId val="{00000085-3ED1-47C2-BB1F-C9EECDB8528E}"/>
              </c:ext>
            </c:extLst>
          </c:dPt>
          <c:dPt>
            <c:idx val="66"/>
            <c:invertIfNegative val="1"/>
            <c:bubble3D val="0"/>
            <c:spPr>
              <a:solidFill>
                <a:srgbClr val="AEABAB"/>
              </a:solidFill>
            </c:spPr>
            <c:extLst>
              <c:ext xmlns:c16="http://schemas.microsoft.com/office/drawing/2014/chart" uri="{C3380CC4-5D6E-409C-BE32-E72D297353CC}">
                <c16:uniqueId val="{00000087-3ED1-47C2-BB1F-C9EECDB8528E}"/>
              </c:ext>
            </c:extLst>
          </c:dPt>
          <c:dPt>
            <c:idx val="67"/>
            <c:invertIfNegative val="1"/>
            <c:bubble3D val="0"/>
            <c:spPr>
              <a:solidFill>
                <a:srgbClr val="AEABAB"/>
              </a:solidFill>
            </c:spPr>
            <c:extLst>
              <c:ext xmlns:c16="http://schemas.microsoft.com/office/drawing/2014/chart" uri="{C3380CC4-5D6E-409C-BE32-E72D297353CC}">
                <c16:uniqueId val="{00000089-3ED1-47C2-BB1F-C9EECDB8528E}"/>
              </c:ext>
            </c:extLst>
          </c:dPt>
          <c:dPt>
            <c:idx val="68"/>
            <c:invertIfNegative val="1"/>
            <c:bubble3D val="0"/>
            <c:spPr>
              <a:solidFill>
                <a:srgbClr val="AEABAB"/>
              </a:solidFill>
            </c:spPr>
            <c:extLst>
              <c:ext xmlns:c16="http://schemas.microsoft.com/office/drawing/2014/chart" uri="{C3380CC4-5D6E-409C-BE32-E72D297353CC}">
                <c16:uniqueId val="{0000008B-3ED1-47C2-BB1F-C9EECDB8528E}"/>
              </c:ext>
            </c:extLst>
          </c:dPt>
          <c:dPt>
            <c:idx val="69"/>
            <c:invertIfNegative val="1"/>
            <c:bubble3D val="0"/>
            <c:spPr>
              <a:solidFill>
                <a:srgbClr val="AEABAB"/>
              </a:solidFill>
            </c:spPr>
            <c:extLst>
              <c:ext xmlns:c16="http://schemas.microsoft.com/office/drawing/2014/chart" uri="{C3380CC4-5D6E-409C-BE32-E72D297353CC}">
                <c16:uniqueId val="{0000008D-3ED1-47C2-BB1F-C9EECDB8528E}"/>
              </c:ext>
            </c:extLst>
          </c:dPt>
          <c:dPt>
            <c:idx val="70"/>
            <c:invertIfNegative val="1"/>
            <c:bubble3D val="0"/>
            <c:spPr>
              <a:solidFill>
                <a:srgbClr val="AEABAB"/>
              </a:solidFill>
            </c:spPr>
            <c:extLst>
              <c:ext xmlns:c16="http://schemas.microsoft.com/office/drawing/2014/chart" uri="{C3380CC4-5D6E-409C-BE32-E72D297353CC}">
                <c16:uniqueId val="{0000008F-3ED1-47C2-BB1F-C9EECDB8528E}"/>
              </c:ext>
            </c:extLst>
          </c:dPt>
          <c:dPt>
            <c:idx val="71"/>
            <c:invertIfNegative val="1"/>
            <c:bubble3D val="0"/>
            <c:spPr>
              <a:solidFill>
                <a:srgbClr val="AEABAB"/>
              </a:solidFill>
            </c:spPr>
            <c:extLst>
              <c:ext xmlns:c16="http://schemas.microsoft.com/office/drawing/2014/chart" uri="{C3380CC4-5D6E-409C-BE32-E72D297353CC}">
                <c16:uniqueId val="{00000091-3ED1-47C2-BB1F-C9EECDB8528E}"/>
              </c:ext>
            </c:extLst>
          </c:dPt>
          <c:dPt>
            <c:idx val="72"/>
            <c:invertIfNegative val="1"/>
            <c:bubble3D val="0"/>
            <c:spPr>
              <a:solidFill>
                <a:srgbClr val="AEABAB"/>
              </a:solidFill>
            </c:spPr>
            <c:extLst>
              <c:ext xmlns:c16="http://schemas.microsoft.com/office/drawing/2014/chart" uri="{C3380CC4-5D6E-409C-BE32-E72D297353CC}">
                <c16:uniqueId val="{00000093-3ED1-47C2-BB1F-C9EECDB8528E}"/>
              </c:ext>
            </c:extLst>
          </c:dPt>
          <c:dPt>
            <c:idx val="73"/>
            <c:invertIfNegative val="1"/>
            <c:bubble3D val="0"/>
            <c:spPr>
              <a:solidFill>
                <a:srgbClr val="AEABAB"/>
              </a:solidFill>
            </c:spPr>
            <c:extLst>
              <c:ext xmlns:c16="http://schemas.microsoft.com/office/drawing/2014/chart" uri="{C3380CC4-5D6E-409C-BE32-E72D297353CC}">
                <c16:uniqueId val="{00000095-3ED1-47C2-BB1F-C9EECDB8528E}"/>
              </c:ext>
            </c:extLst>
          </c:dPt>
          <c:dPt>
            <c:idx val="74"/>
            <c:invertIfNegative val="1"/>
            <c:bubble3D val="0"/>
            <c:spPr>
              <a:solidFill>
                <a:srgbClr val="AEABAB"/>
              </a:solidFill>
            </c:spPr>
            <c:extLst>
              <c:ext xmlns:c16="http://schemas.microsoft.com/office/drawing/2014/chart" uri="{C3380CC4-5D6E-409C-BE32-E72D297353CC}">
                <c16:uniqueId val="{00000097-3ED1-47C2-BB1F-C9EECDB8528E}"/>
              </c:ext>
            </c:extLst>
          </c:dPt>
          <c:dPt>
            <c:idx val="75"/>
            <c:invertIfNegative val="1"/>
            <c:bubble3D val="0"/>
            <c:spPr>
              <a:solidFill>
                <a:srgbClr val="AEABAB"/>
              </a:solidFill>
            </c:spPr>
            <c:extLst>
              <c:ext xmlns:c16="http://schemas.microsoft.com/office/drawing/2014/chart" uri="{C3380CC4-5D6E-409C-BE32-E72D297353CC}">
                <c16:uniqueId val="{00000099-3ED1-47C2-BB1F-C9EECDB8528E}"/>
              </c:ext>
            </c:extLst>
          </c:dPt>
          <c:dPt>
            <c:idx val="76"/>
            <c:invertIfNegative val="1"/>
            <c:bubble3D val="0"/>
            <c:spPr>
              <a:solidFill>
                <a:srgbClr val="AEABAB"/>
              </a:solidFill>
            </c:spPr>
            <c:extLst>
              <c:ext xmlns:c16="http://schemas.microsoft.com/office/drawing/2014/chart" uri="{C3380CC4-5D6E-409C-BE32-E72D297353CC}">
                <c16:uniqueId val="{0000009B-3ED1-47C2-BB1F-C9EECDB8528E}"/>
              </c:ext>
            </c:extLst>
          </c:dPt>
          <c:dPt>
            <c:idx val="77"/>
            <c:invertIfNegative val="1"/>
            <c:bubble3D val="0"/>
            <c:spPr>
              <a:solidFill>
                <a:srgbClr val="AEABAB"/>
              </a:solidFill>
            </c:spPr>
            <c:extLst>
              <c:ext xmlns:c16="http://schemas.microsoft.com/office/drawing/2014/chart" uri="{C3380CC4-5D6E-409C-BE32-E72D297353CC}">
                <c16:uniqueId val="{0000009D-3ED1-47C2-BB1F-C9EECDB8528E}"/>
              </c:ext>
            </c:extLst>
          </c:dPt>
          <c:dPt>
            <c:idx val="78"/>
            <c:invertIfNegative val="1"/>
            <c:bubble3D val="0"/>
            <c:spPr>
              <a:solidFill>
                <a:srgbClr val="AEABAB"/>
              </a:solidFill>
            </c:spPr>
            <c:extLst>
              <c:ext xmlns:c16="http://schemas.microsoft.com/office/drawing/2014/chart" uri="{C3380CC4-5D6E-409C-BE32-E72D297353CC}">
                <c16:uniqueId val="{0000009F-3ED1-47C2-BB1F-C9EECDB8528E}"/>
              </c:ext>
            </c:extLst>
          </c:dPt>
          <c:dPt>
            <c:idx val="79"/>
            <c:invertIfNegative val="1"/>
            <c:bubble3D val="0"/>
            <c:spPr>
              <a:solidFill>
                <a:srgbClr val="AEABAB"/>
              </a:solidFill>
            </c:spPr>
            <c:extLst>
              <c:ext xmlns:c16="http://schemas.microsoft.com/office/drawing/2014/chart" uri="{C3380CC4-5D6E-409C-BE32-E72D297353CC}">
                <c16:uniqueId val="{000000A1-3ED1-47C2-BB1F-C9EECDB8528E}"/>
              </c:ext>
            </c:extLst>
          </c:dPt>
          <c:dPt>
            <c:idx val="80"/>
            <c:invertIfNegative val="1"/>
            <c:bubble3D val="0"/>
            <c:spPr>
              <a:solidFill>
                <a:srgbClr val="AEABAB"/>
              </a:solidFill>
            </c:spPr>
            <c:extLst>
              <c:ext xmlns:c16="http://schemas.microsoft.com/office/drawing/2014/chart" uri="{C3380CC4-5D6E-409C-BE32-E72D297353CC}">
                <c16:uniqueId val="{000000A3-3ED1-47C2-BB1F-C9EECDB8528E}"/>
              </c:ext>
            </c:extLst>
          </c:dPt>
          <c:dPt>
            <c:idx val="81"/>
            <c:invertIfNegative val="1"/>
            <c:bubble3D val="0"/>
            <c:spPr>
              <a:solidFill>
                <a:srgbClr val="AEABAB"/>
              </a:solidFill>
            </c:spPr>
            <c:extLst>
              <c:ext xmlns:c16="http://schemas.microsoft.com/office/drawing/2014/chart" uri="{C3380CC4-5D6E-409C-BE32-E72D297353CC}">
                <c16:uniqueId val="{000000A5-3ED1-47C2-BB1F-C9EECDB8528E}"/>
              </c:ext>
            </c:extLst>
          </c:dPt>
          <c:dPt>
            <c:idx val="82"/>
            <c:invertIfNegative val="1"/>
            <c:bubble3D val="0"/>
            <c:spPr>
              <a:solidFill>
                <a:srgbClr val="AEABAB"/>
              </a:solidFill>
            </c:spPr>
            <c:extLst>
              <c:ext xmlns:c16="http://schemas.microsoft.com/office/drawing/2014/chart" uri="{C3380CC4-5D6E-409C-BE32-E72D297353CC}">
                <c16:uniqueId val="{000000A7-3ED1-47C2-BB1F-C9EECDB8528E}"/>
              </c:ext>
            </c:extLst>
          </c:dPt>
          <c:cat>
            <c:strRef>
              <c:f>Sheet1!$A$2:$A$84</c:f>
              <c:strCache>
                <c:ptCount val="83"/>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432Gr 24P</c:v>
                </c:pt>
                <c:pt idx="6">
                  <c:v>Kiri Creme Fromage Blanc Frais Carre 1X216Gr 12P</c:v>
                </c:pt>
                <c:pt idx="7">
                  <c:v>Apericube Edition Limitee Best Of Foot Fromage Fondu Cube Assortis 1X250Gr 48P</c:v>
                </c:pt>
                <c:pt idx="8">
                  <c:v>Apericube Cocktail Fromage Fondu Cube Assortis 1X250Gr 48P</c:v>
                </c:pt>
                <c:pt idx="9">
                  <c:v>Apericube Long Drink Fromage Fondu Cube Assortis 1X250Gr 48P</c:v>
                </c:pt>
                <c:pt idx="10">
                  <c:v>Boursin Classique Fromage Frais A Tartiner Afh Boite 1X250Gr 1P</c:v>
                </c:pt>
                <c:pt idx="11">
                  <c:v>Apericube Incontournable Fromage Fondu Cube Assortis 1X250Gr 48P</c:v>
                </c:pt>
                <c:pt idx="12">
                  <c:v>Apericube Tonic Fromage Fondu Cube Assortis 1X250Gr 48P</c:v>
                </c:pt>
                <c:pt idx="13">
                  <c:v>Kiri Gouter Fromage Blanc Dips Boite 1X280Gr 8P</c:v>
                </c:pt>
                <c:pt idx="14">
                  <c:v>Boursin Classique Fromage Frais A Tartiner Afh 1X160Gr 10P</c:v>
                </c:pt>
                <c:pt idx="15">
                  <c:v>Mini Babybel Rouge Filet St Paulin Ferme 1X440Gr 20P</c:v>
                </c:pt>
                <c:pt idx="16">
                  <c:v>Boursin Aperitif Roules Fromage Frais Roule Afh Et Jambon Fume Boite 1X100Gr 20P</c:v>
                </c:pt>
                <c:pt idx="17">
                  <c:v>Port Salut St Paulin 1X320Gr 1P</c:v>
                </c:pt>
                <c:pt idx="18">
                  <c:v>Boursin Classique Fromage Frais A Tartiner Afh Boite 1X150Gr 1P</c:v>
                </c:pt>
                <c:pt idx="19">
                  <c:v>Kiri Creme Fromage Blanc Frais Carre 1X144Gr 8P</c:v>
                </c:pt>
                <c:pt idx="20">
                  <c:v>Apericube Edition Limitee Saison Fromage Fondu Cube Assortis 1X250Gr 48P</c:v>
                </c:pt>
                <c:pt idx="21">
                  <c:v>Apericube Nature Fromage Fondu Cube 1X125Gr 24P</c:v>
                </c:pt>
                <c:pt idx="22">
                  <c:v>Kiri Gouter Fromage Blanc Dips Boite 1X175Gr 5P</c:v>
                </c:pt>
                <c:pt idx="23">
                  <c:v>Apericube Edition Voyage Fromage Fondu Cube Assortis 1X250Gr 48P</c:v>
                </c:pt>
                <c:pt idx="24">
                  <c:v>La Vache Qui Rit Pik Et Croq' Fromage Fondu Dips Boite 1X280Gr 8P</c:v>
                </c:pt>
                <c:pt idx="25">
                  <c:v>Babybel St Paulin 1X200Gr 1P</c:v>
                </c:pt>
                <c:pt idx="26">
                  <c:v>La Vache Qui Rit Pik Et Croq' Fromage Fondu Dips Boite 1X175Gr 5P</c:v>
                </c:pt>
                <c:pt idx="27">
                  <c:v>Boursin Aperitif Roules Fromage Frais Roule Ciboulette &amp; Echalote Jambon Fume Boite 1X100Gr 20P</c:v>
                </c:pt>
                <c:pt idx="28">
                  <c:v>Cousteron St Paulin 1X320Gr 1P</c:v>
                </c:pt>
                <c:pt idx="29">
                  <c:v>Apericube Saveurs De L'Authentique Fromage Fondu Cube Assortis 1X250Gr 48P</c:v>
                </c:pt>
                <c:pt idx="30">
                  <c:v>Apericube Campagne Fromage Fondu Cube Assortis 1X125Gr 24P</c:v>
                </c:pt>
                <c:pt idx="31">
                  <c:v>Boursin Salade &amp; Aperitif Fromage Frais Des Afh 1X120Gr 1P</c:v>
                </c:pt>
                <c:pt idx="32">
                  <c:v>Boursin Classique Fromage Frais A Tartiner Afh 1X256Gr 16P</c:v>
                </c:pt>
                <c:pt idx="33">
                  <c:v>Boursin Onctueux Fromage Frais A Tartiner Afh 1X125Gr 1P</c:v>
                </c:pt>
                <c:pt idx="34">
                  <c:v>Boursin Classique Fromage Frais A Tartiner Afh Boite 1X96Gr 6P</c:v>
                </c:pt>
                <c:pt idx="35">
                  <c:v>Boursin Classique Fromage Frais A Tartiner Figue Et 3 Noix Boite 1X150Gr 1P</c:v>
                </c:pt>
                <c:pt idx="36">
                  <c:v>La Vache Qui Rit Allegee Fromage Fondu Boite Ronde Allege 1X267Gr 16P</c:v>
                </c:pt>
                <c:pt idx="37">
                  <c:v>Babybel Mini Rolls St Paulin Ferme Sachet 1X85Gr 5P</c:v>
                </c:pt>
                <c:pt idx="38">
                  <c:v>Boursin Aperitif Roules Fromage Frais Roule Basilic &amp; Jambon Fume Tomate Boite 1X100Gr 20P</c:v>
                </c:pt>
                <c:pt idx="39">
                  <c:v>Apericube Long Drink Fromage Fondu Cube Assortis 1X125Gr 24P</c:v>
                </c:pt>
                <c:pt idx="40">
                  <c:v>Boursin Classique Fromage Frais A Tartiner Ciboulette &amp; Echalote Boite 1X150Gr 1P</c:v>
                </c:pt>
                <c:pt idx="41">
                  <c:v>Mini Babybel Aros St Paulin Ferme Assortis Filet 1X180Gr 9P</c:v>
                </c:pt>
                <c:pt idx="42">
                  <c:v>Boursin Classique Fromage Frais A Tartiner Poivre Boite 1X150Gr 1P</c:v>
                </c:pt>
                <c:pt idx="43">
                  <c:v>Boursin Cuisine Sauce Fromage Afh 1X240Gr 1P</c:v>
                </c:pt>
                <c:pt idx="44">
                  <c:v>Kiri Delicieusement Fouette Fromage Frais A Tartiner 1X125Gr 1P</c:v>
                </c:pt>
                <c:pt idx="45">
                  <c:v>La Vache Qui Rit Aro Fromage Fondu Boite Ronde Jambon 1X133Gr 8P</c:v>
                </c:pt>
                <c:pt idx="46">
                  <c:v>Boursin Classique Fromage Frais A Tartiner Ciboulette &amp; Echalote 1X160Gr 10P</c:v>
                </c:pt>
                <c:pt idx="47">
                  <c:v>Kiri Bio Fromage Blanc Frais Carre 1X144Gr 8P</c:v>
                </c:pt>
                <c:pt idx="48">
                  <c:v>Mini Babybel Aros Soft Cheese Enfant 180G</c:v>
                </c:pt>
                <c:pt idx="49">
                  <c:v>Apericube Soiree Match Aperitif 250G</c:v>
                </c:pt>
                <c:pt idx="50">
                  <c:v>Kiri Chevre Fromage Blanc Frais Carre 1X144Gr 8P</c:v>
                </c:pt>
                <c:pt idx="51">
                  <c:v>Kiri Delicieusement Fouette Fromage Frais A Tartiner 1X160Gr 10P</c:v>
                </c:pt>
                <c:pt idx="52">
                  <c:v>Boursin Salade &amp; Aperitif Fromage Frais Des Ciboulette Echalote 1X120Gr 1P</c:v>
                </c:pt>
                <c:pt idx="53">
                  <c:v>Mini Babybel Rouge Filet St Paulin Ferme 1X396Gr 12+6P</c:v>
                </c:pt>
                <c:pt idx="54">
                  <c:v>Mini Babybel Aros St Paulin Ferme Raclette Filet 1X132Gr 6P</c:v>
                </c:pt>
                <c:pt idx="55">
                  <c:v>Kiri Creme Fromage Blanc Frais Carre 1X432Gr 18+6P</c:v>
                </c:pt>
                <c:pt idx="56">
                  <c:v>Boursin Salade &amp; Aperitif Fromage Frais Des Figue Noix 1X120Gr 1P</c:v>
                </c:pt>
                <c:pt idx="57">
                  <c:v>Nurishh Les Tranches Vegetales Cheddar Vegetal Tranche Boite 1X160Gr 8P</c:v>
                </c:pt>
                <c:pt idx="58">
                  <c:v>Apericube Best Of Des Saveurs Fromage Fondu Cube Assortis 1X125Gr 24P</c:v>
                </c:pt>
                <c:pt idx="59">
                  <c:v>Nurishh Le Rape Vegetal Specialite Vegetale Sachet 1X150Gr 1P</c:v>
                </c:pt>
                <c:pt idx="60">
                  <c:v>Apericube Hot Chalenge Aperitif 250G</c:v>
                </c:pt>
                <c:pt idx="61">
                  <c:v>Apericube Fromages Du Monde Aperitif 250G</c:v>
                </c:pt>
                <c:pt idx="62">
                  <c:v>Nurishh Le Rape Vegetal Specialite Vegetale Emmental Sachet 1X150Gr 1P</c:v>
                </c:pt>
                <c:pt idx="63">
                  <c:v>Boursin Classique Fromage Frais A Tartiner Afh Boite 1X80Gr 1P</c:v>
                </c:pt>
                <c:pt idx="64">
                  <c:v>Nurishh Le Coeur Fleuri Vegetal Camembert Boite 1X140Gr 1P</c:v>
                </c:pt>
                <c:pt idx="65">
                  <c:v>Nurishh Le Palet Vegetal Specialite Vegetale Ovale Saveur Chevre Boite 1X140Gr 1P</c:v>
                </c:pt>
                <c:pt idx="66">
                  <c:v>Apericube Montagne Aperitif 250G</c:v>
                </c:pt>
                <c:pt idx="67">
                  <c:v>Boursin Salade &amp; Aperitif Fromage Frais Des Citron Romarin 1X120Gr 1P</c:v>
                </c:pt>
                <c:pt idx="68">
                  <c:v>Mini Babybel Aros Soft Cheese Enfant 110G</c:v>
                </c:pt>
                <c:pt idx="69">
                  <c:v>Nurishh Des Vegetaux Feta Vegetale Sachet 1X150Gr 1P</c:v>
                </c:pt>
                <c:pt idx="70">
                  <c:v>Boursin Salade &amp; Aperitif Fromage Frais Des Noisette Et 3 Noix 1X120Gr 1P</c:v>
                </c:pt>
                <c:pt idx="71">
                  <c:v>Boursin Aperitif Roules Fromage Frais Roule Jambon Fume &amp; Trio De Noix Boite 1X100Gr 20P</c:v>
                </c:pt>
                <c:pt idx="72">
                  <c:v>Boursin Classique Fromage Frais A Tartiner Truffe Boite 1X150Gr 1P</c:v>
                </c:pt>
                <c:pt idx="73">
                  <c:v>Boursin Salade &amp; Aperitif Soft Cheese Salade 120G</c:v>
                </c:pt>
                <c:pt idx="74">
                  <c:v>Boursin Aperitif Roules Aperitif 100G</c:v>
                </c:pt>
                <c:pt idx="75">
                  <c:v>La Vache Qui Rit Nature Fromage Fondu Boite Ronde 1X512Gr 24+8P</c:v>
                </c:pt>
                <c:pt idx="76">
                  <c:v>Mini Babybel Rouge Filet St Paulin Ferme Sachet 1X40Gr 1P</c:v>
                </c:pt>
                <c:pt idx="77">
                  <c:v>Mini Babybel Bio St Paulin Ferme Filet 1X100Gr 5P</c:v>
                </c:pt>
                <c:pt idx="78">
                  <c:v>Kiri Delicieusement Fouette Fromage Frais A Tartiner 1X210Gr 1P</c:v>
                </c:pt>
                <c:pt idx="79">
                  <c:v>Limiano Queijo Flamengo Bloc 1X600Gr 1P</c:v>
                </c:pt>
                <c:pt idx="80">
                  <c:v>Limiano Queijo Flamengo Tranche Sachet 1X200Gr 1P</c:v>
                </c:pt>
                <c:pt idx="81">
                  <c:v>La Vache Qui Rit Nature Fromage Fondu Boite Ronde 1X128Gr 8P</c:v>
                </c:pt>
                <c:pt idx="82">
                  <c:v>Apericube Carrement Toque Fromage Fondu Cube Assortis 1X250Gr 48P</c:v>
                </c:pt>
              </c:strCache>
            </c:strRef>
          </c:cat>
          <c:val>
            <c:numRef>
              <c:f>Sheet1!$C$2:$C$84</c:f>
              <c:numCache>
                <c:formatCode>General</c:formatCode>
                <c:ptCount val="83"/>
                <c:pt idx="0">
                  <c:v>8.971624168750679E-2</c:v>
                </c:pt>
                <c:pt idx="1">
                  <c:v>0.16127144294093698</c:v>
                </c:pt>
                <c:pt idx="2">
                  <c:v>0.20998231482644361</c:v>
                </c:pt>
                <c:pt idx="3">
                  <c:v>0.25381771712145629</c:v>
                </c:pt>
                <c:pt idx="4">
                  <c:v>0.29372666434203326</c:v>
                </c:pt>
                <c:pt idx="5">
                  <c:v>0.33110241882027258</c:v>
                </c:pt>
                <c:pt idx="6">
                  <c:v>0.36804575101152542</c:v>
                </c:pt>
                <c:pt idx="7">
                  <c:v>0.4042940329898112</c:v>
                </c:pt>
                <c:pt idx="8">
                  <c:v>0.4364181142821657</c:v>
                </c:pt>
                <c:pt idx="9">
                  <c:v>0.46568244116356627</c:v>
                </c:pt>
                <c:pt idx="10">
                  <c:v>0.49160324199092331</c:v>
                </c:pt>
                <c:pt idx="11">
                  <c:v>0.515615642733946</c:v>
                </c:pt>
                <c:pt idx="12">
                  <c:v>0.5395968038440685</c:v>
                </c:pt>
                <c:pt idx="13">
                  <c:v>0.56314351904725957</c:v>
                </c:pt>
                <c:pt idx="14">
                  <c:v>0.5853593879460296</c:v>
                </c:pt>
                <c:pt idx="15">
                  <c:v>0.60652189942532997</c:v>
                </c:pt>
                <c:pt idx="16">
                  <c:v>0.62728797110978995</c:v>
                </c:pt>
                <c:pt idx="17">
                  <c:v>0.6473385034293403</c:v>
                </c:pt>
                <c:pt idx="18">
                  <c:v>0.66631360822439634</c:v>
                </c:pt>
                <c:pt idx="19">
                  <c:v>0.68474916535163</c:v>
                </c:pt>
                <c:pt idx="20">
                  <c:v>0.70315974342016818</c:v>
                </c:pt>
                <c:pt idx="21">
                  <c:v>0.71992537142595525</c:v>
                </c:pt>
                <c:pt idx="22">
                  <c:v>0.73604647647927579</c:v>
                </c:pt>
                <c:pt idx="23">
                  <c:v>0.75101569911705679</c:v>
                </c:pt>
                <c:pt idx="24">
                  <c:v>0.76502901428334202</c:v>
                </c:pt>
                <c:pt idx="25">
                  <c:v>0.77868332662376849</c:v>
                </c:pt>
                <c:pt idx="26">
                  <c:v>0.79177918309751205</c:v>
                </c:pt>
                <c:pt idx="27">
                  <c:v>0.80467919110345842</c:v>
                </c:pt>
                <c:pt idx="28">
                  <c:v>0.81750192212275707</c:v>
                </c:pt>
                <c:pt idx="29">
                  <c:v>0.83012501038686171</c:v>
                </c:pt>
                <c:pt idx="30">
                  <c:v>0.84114690936952474</c:v>
                </c:pt>
                <c:pt idx="31">
                  <c:v>0.85018610347299972</c:v>
                </c:pt>
                <c:pt idx="32">
                  <c:v>0.8591454278267725</c:v>
                </c:pt>
                <c:pt idx="33">
                  <c:v>0.86784490673198911</c:v>
                </c:pt>
                <c:pt idx="34">
                  <c:v>0.87638312842284249</c:v>
                </c:pt>
                <c:pt idx="35">
                  <c:v>0.8836971232851244</c:v>
                </c:pt>
                <c:pt idx="36">
                  <c:v>0.89087344875302643</c:v>
                </c:pt>
                <c:pt idx="37">
                  <c:v>0.89775742437700645</c:v>
                </c:pt>
                <c:pt idx="38">
                  <c:v>0.90420600552220587</c:v>
                </c:pt>
                <c:pt idx="39">
                  <c:v>0.91048529821138557</c:v>
                </c:pt>
                <c:pt idx="40">
                  <c:v>0.91670091011042265</c:v>
                </c:pt>
                <c:pt idx="41">
                  <c:v>0.92291532048511737</c:v>
                </c:pt>
                <c:pt idx="42">
                  <c:v>0.92847989590499003</c:v>
                </c:pt>
                <c:pt idx="43">
                  <c:v>0.9334562935402384</c:v>
                </c:pt>
                <c:pt idx="44">
                  <c:v>0.93829255549429891</c:v>
                </c:pt>
                <c:pt idx="45">
                  <c:v>0.94305078160423228</c:v>
                </c:pt>
                <c:pt idx="46">
                  <c:v>0.94766697488927953</c:v>
                </c:pt>
                <c:pt idx="47">
                  <c:v>0.95150875411664371</c:v>
                </c:pt>
                <c:pt idx="48">
                  <c:v>0.95507943150950791</c:v>
                </c:pt>
                <c:pt idx="49">
                  <c:v>0.95862399155745759</c:v>
                </c:pt>
                <c:pt idx="50">
                  <c:v>0.96204441516940919</c:v>
                </c:pt>
                <c:pt idx="51">
                  <c:v>0.96498650561687327</c:v>
                </c:pt>
                <c:pt idx="52">
                  <c:v>0.96782248249347402</c:v>
                </c:pt>
                <c:pt idx="53">
                  <c:v>0.9705232562625028</c:v>
                </c:pt>
                <c:pt idx="54">
                  <c:v>0.97311703112694237</c:v>
                </c:pt>
                <c:pt idx="55">
                  <c:v>0.97555056058699119</c:v>
                </c:pt>
                <c:pt idx="56">
                  <c:v>0.97745282657336741</c:v>
                </c:pt>
                <c:pt idx="57">
                  <c:v>0.97934914817615537</c:v>
                </c:pt>
                <c:pt idx="58">
                  <c:v>0.98121492576539926</c:v>
                </c:pt>
                <c:pt idx="59">
                  <c:v>0.98281858133364886</c:v>
                </c:pt>
                <c:pt idx="60">
                  <c:v>0.98441578661332385</c:v>
                </c:pt>
                <c:pt idx="61">
                  <c:v>0.98587146497309897</c:v>
                </c:pt>
                <c:pt idx="62">
                  <c:v>0.9873261947610249</c:v>
                </c:pt>
                <c:pt idx="63">
                  <c:v>0.98868328488660695</c:v>
                </c:pt>
                <c:pt idx="64">
                  <c:v>0.98996455250237669</c:v>
                </c:pt>
                <c:pt idx="65">
                  <c:v>0.99123462697032594</c:v>
                </c:pt>
                <c:pt idx="66">
                  <c:v>0.99239852462928857</c:v>
                </c:pt>
                <c:pt idx="67">
                  <c:v>0.99355824857211472</c:v>
                </c:pt>
                <c:pt idx="68">
                  <c:v>0.99470722203398332</c:v>
                </c:pt>
                <c:pt idx="69">
                  <c:v>0.99568323922868196</c:v>
                </c:pt>
                <c:pt idx="70">
                  <c:v>0.9965449851346142</c:v>
                </c:pt>
                <c:pt idx="71">
                  <c:v>0.99715232407059229</c:v>
                </c:pt>
                <c:pt idx="72">
                  <c:v>0.99764798448085845</c:v>
                </c:pt>
                <c:pt idx="73">
                  <c:v>0.99813928146061837</c:v>
                </c:pt>
                <c:pt idx="74">
                  <c:v>0.99859168699456125</c:v>
                </c:pt>
                <c:pt idx="75">
                  <c:v>0.99895056334417343</c:v>
                </c:pt>
                <c:pt idx="76">
                  <c:v>0.99930488654890948</c:v>
                </c:pt>
                <c:pt idx="77">
                  <c:v>0.99957864438458721</c:v>
                </c:pt>
                <c:pt idx="78">
                  <c:v>0.99981420639380403</c:v>
                </c:pt>
                <c:pt idx="79">
                  <c:v>0.99994112530722634</c:v>
                </c:pt>
                <c:pt idx="80">
                  <c:v>0.99998830094719304</c:v>
                </c:pt>
                <c:pt idx="81">
                  <c:v>0.99999468799764424</c:v>
                </c:pt>
                <c:pt idx="82">
                  <c:v>0.9999999999999997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84</c:f>
              <c:strCache>
                <c:ptCount val="83"/>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432Gr 24P</c:v>
                </c:pt>
                <c:pt idx="6">
                  <c:v>Kiri Creme Fromage Blanc Frais Carre 1X216Gr 12P</c:v>
                </c:pt>
                <c:pt idx="7">
                  <c:v>Apericube Edition Limitee Best Of Foot Fromage Fondu Cube Assortis 1X250Gr 48P</c:v>
                </c:pt>
                <c:pt idx="8">
                  <c:v>Apericube Cocktail Fromage Fondu Cube Assortis 1X250Gr 48P</c:v>
                </c:pt>
                <c:pt idx="9">
                  <c:v>Apericube Long Drink Fromage Fondu Cube Assortis 1X250Gr 48P</c:v>
                </c:pt>
                <c:pt idx="10">
                  <c:v>Boursin Classique Fromage Frais A Tartiner Afh Boite 1X250Gr 1P</c:v>
                </c:pt>
                <c:pt idx="11">
                  <c:v>Apericube Incontournable Fromage Fondu Cube Assortis 1X250Gr 48P</c:v>
                </c:pt>
                <c:pt idx="12">
                  <c:v>Apericube Tonic Fromage Fondu Cube Assortis 1X250Gr 48P</c:v>
                </c:pt>
                <c:pt idx="13">
                  <c:v>Kiri Gouter Fromage Blanc Dips Boite 1X280Gr 8P</c:v>
                </c:pt>
                <c:pt idx="14">
                  <c:v>Boursin Classique Fromage Frais A Tartiner Afh 1X160Gr 10P</c:v>
                </c:pt>
                <c:pt idx="15">
                  <c:v>Mini Babybel Rouge Filet St Paulin Ferme 1X440Gr 20P</c:v>
                </c:pt>
                <c:pt idx="16">
                  <c:v>Boursin Aperitif Roules Fromage Frais Roule Afh Et Jambon Fume Boite 1X100Gr 20P</c:v>
                </c:pt>
                <c:pt idx="17">
                  <c:v>Port Salut St Paulin 1X320Gr 1P</c:v>
                </c:pt>
                <c:pt idx="18">
                  <c:v>Boursin Classique Fromage Frais A Tartiner Afh Boite 1X150Gr 1P</c:v>
                </c:pt>
                <c:pt idx="19">
                  <c:v>Kiri Creme Fromage Blanc Frais Carre 1X144Gr 8P</c:v>
                </c:pt>
                <c:pt idx="20">
                  <c:v>Apericube Edition Limitee Saison Fromage Fondu Cube Assortis 1X250Gr 48P</c:v>
                </c:pt>
                <c:pt idx="21">
                  <c:v>Apericube Nature Fromage Fondu Cube 1X125Gr 24P</c:v>
                </c:pt>
                <c:pt idx="22">
                  <c:v>Kiri Gouter Fromage Blanc Dips Boite 1X175Gr 5P</c:v>
                </c:pt>
                <c:pt idx="23">
                  <c:v>Apericube Edition Voyage Fromage Fondu Cube Assortis 1X250Gr 48P</c:v>
                </c:pt>
                <c:pt idx="24">
                  <c:v>La Vache Qui Rit Pik Et Croq' Fromage Fondu Dips Boite 1X280Gr 8P</c:v>
                </c:pt>
                <c:pt idx="25">
                  <c:v>Babybel St Paulin 1X200Gr 1P</c:v>
                </c:pt>
                <c:pt idx="26">
                  <c:v>La Vache Qui Rit Pik Et Croq' Fromage Fondu Dips Boite 1X175Gr 5P</c:v>
                </c:pt>
                <c:pt idx="27">
                  <c:v>Boursin Aperitif Roules Fromage Frais Roule Ciboulette &amp; Echalote Jambon Fume Boite 1X100Gr 20P</c:v>
                </c:pt>
                <c:pt idx="28">
                  <c:v>Cousteron St Paulin 1X320Gr 1P</c:v>
                </c:pt>
                <c:pt idx="29">
                  <c:v>Apericube Saveurs De L'Authentique Fromage Fondu Cube Assortis 1X250Gr 48P</c:v>
                </c:pt>
                <c:pt idx="30">
                  <c:v>Apericube Campagne Fromage Fondu Cube Assortis 1X125Gr 24P</c:v>
                </c:pt>
                <c:pt idx="31">
                  <c:v>Boursin Salade &amp; Aperitif Fromage Frais Des Afh 1X120Gr 1P</c:v>
                </c:pt>
                <c:pt idx="32">
                  <c:v>Boursin Classique Fromage Frais A Tartiner Afh 1X256Gr 16P</c:v>
                </c:pt>
                <c:pt idx="33">
                  <c:v>Boursin Onctueux Fromage Frais A Tartiner Afh 1X125Gr 1P</c:v>
                </c:pt>
                <c:pt idx="34">
                  <c:v>Boursin Classique Fromage Frais A Tartiner Afh Boite 1X96Gr 6P</c:v>
                </c:pt>
                <c:pt idx="35">
                  <c:v>Boursin Classique Fromage Frais A Tartiner Figue Et 3 Noix Boite 1X150Gr 1P</c:v>
                </c:pt>
                <c:pt idx="36">
                  <c:v>La Vache Qui Rit Allegee Fromage Fondu Boite Ronde Allege 1X267Gr 16P</c:v>
                </c:pt>
                <c:pt idx="37">
                  <c:v>Babybel Mini Rolls St Paulin Ferme Sachet 1X85Gr 5P</c:v>
                </c:pt>
                <c:pt idx="38">
                  <c:v>Boursin Aperitif Roules Fromage Frais Roule Basilic &amp; Jambon Fume Tomate Boite 1X100Gr 20P</c:v>
                </c:pt>
                <c:pt idx="39">
                  <c:v>Apericube Long Drink Fromage Fondu Cube Assortis 1X125Gr 24P</c:v>
                </c:pt>
                <c:pt idx="40">
                  <c:v>Boursin Classique Fromage Frais A Tartiner Ciboulette &amp; Echalote Boite 1X150Gr 1P</c:v>
                </c:pt>
                <c:pt idx="41">
                  <c:v>Mini Babybel Aros St Paulin Ferme Assortis Filet 1X180Gr 9P</c:v>
                </c:pt>
                <c:pt idx="42">
                  <c:v>Boursin Classique Fromage Frais A Tartiner Poivre Boite 1X150Gr 1P</c:v>
                </c:pt>
                <c:pt idx="43">
                  <c:v>Boursin Cuisine Sauce Fromage Afh 1X240Gr 1P</c:v>
                </c:pt>
                <c:pt idx="44">
                  <c:v>Kiri Delicieusement Fouette Fromage Frais A Tartiner 1X125Gr 1P</c:v>
                </c:pt>
                <c:pt idx="45">
                  <c:v>La Vache Qui Rit Aro Fromage Fondu Boite Ronde Jambon 1X133Gr 8P</c:v>
                </c:pt>
                <c:pt idx="46">
                  <c:v>Boursin Classique Fromage Frais A Tartiner Ciboulette &amp; Echalote 1X160Gr 10P</c:v>
                </c:pt>
                <c:pt idx="47">
                  <c:v>Kiri Bio Fromage Blanc Frais Carre 1X144Gr 8P</c:v>
                </c:pt>
                <c:pt idx="48">
                  <c:v>Mini Babybel Aros Soft Cheese Enfant 180G</c:v>
                </c:pt>
                <c:pt idx="49">
                  <c:v>Apericube Soiree Match Aperitif 250G</c:v>
                </c:pt>
                <c:pt idx="50">
                  <c:v>Kiri Chevre Fromage Blanc Frais Carre 1X144Gr 8P</c:v>
                </c:pt>
                <c:pt idx="51">
                  <c:v>Kiri Delicieusement Fouette Fromage Frais A Tartiner 1X160Gr 10P</c:v>
                </c:pt>
                <c:pt idx="52">
                  <c:v>Boursin Salade &amp; Aperitif Fromage Frais Des Ciboulette Echalote 1X120Gr 1P</c:v>
                </c:pt>
                <c:pt idx="53">
                  <c:v>Mini Babybel Rouge Filet St Paulin Ferme 1X396Gr 12+6P</c:v>
                </c:pt>
                <c:pt idx="54">
                  <c:v>Mini Babybel Aros St Paulin Ferme Raclette Filet 1X132Gr 6P</c:v>
                </c:pt>
                <c:pt idx="55">
                  <c:v>Kiri Creme Fromage Blanc Frais Carre 1X432Gr 18+6P</c:v>
                </c:pt>
                <c:pt idx="56">
                  <c:v>Boursin Salade &amp; Aperitif Fromage Frais Des Figue Noix 1X120Gr 1P</c:v>
                </c:pt>
                <c:pt idx="57">
                  <c:v>Nurishh Les Tranches Vegetales Cheddar Vegetal Tranche Boite 1X160Gr 8P</c:v>
                </c:pt>
                <c:pt idx="58">
                  <c:v>Apericube Best Of Des Saveurs Fromage Fondu Cube Assortis 1X125Gr 24P</c:v>
                </c:pt>
                <c:pt idx="59">
                  <c:v>Nurishh Le Rape Vegetal Specialite Vegetale Sachet 1X150Gr 1P</c:v>
                </c:pt>
                <c:pt idx="60">
                  <c:v>Apericube Hot Chalenge Aperitif 250G</c:v>
                </c:pt>
                <c:pt idx="61">
                  <c:v>Apericube Fromages Du Monde Aperitif 250G</c:v>
                </c:pt>
                <c:pt idx="62">
                  <c:v>Nurishh Le Rape Vegetal Specialite Vegetale Emmental Sachet 1X150Gr 1P</c:v>
                </c:pt>
                <c:pt idx="63">
                  <c:v>Boursin Classique Fromage Frais A Tartiner Afh Boite 1X80Gr 1P</c:v>
                </c:pt>
                <c:pt idx="64">
                  <c:v>Nurishh Le Coeur Fleuri Vegetal Camembert Boite 1X140Gr 1P</c:v>
                </c:pt>
                <c:pt idx="65">
                  <c:v>Nurishh Le Palet Vegetal Specialite Vegetale Ovale Saveur Chevre Boite 1X140Gr 1P</c:v>
                </c:pt>
                <c:pt idx="66">
                  <c:v>Apericube Montagne Aperitif 250G</c:v>
                </c:pt>
                <c:pt idx="67">
                  <c:v>Boursin Salade &amp; Aperitif Fromage Frais Des Citron Romarin 1X120Gr 1P</c:v>
                </c:pt>
                <c:pt idx="68">
                  <c:v>Mini Babybel Aros Soft Cheese Enfant 110G</c:v>
                </c:pt>
                <c:pt idx="69">
                  <c:v>Nurishh Des Vegetaux Feta Vegetale Sachet 1X150Gr 1P</c:v>
                </c:pt>
                <c:pt idx="70">
                  <c:v>Boursin Salade &amp; Aperitif Fromage Frais Des Noisette Et 3 Noix 1X120Gr 1P</c:v>
                </c:pt>
                <c:pt idx="71">
                  <c:v>Boursin Aperitif Roules Fromage Frais Roule Jambon Fume &amp; Trio De Noix Boite 1X100Gr 20P</c:v>
                </c:pt>
                <c:pt idx="72">
                  <c:v>Boursin Classique Fromage Frais A Tartiner Truffe Boite 1X150Gr 1P</c:v>
                </c:pt>
                <c:pt idx="73">
                  <c:v>Boursin Salade &amp; Aperitif Soft Cheese Salade 120G</c:v>
                </c:pt>
                <c:pt idx="74">
                  <c:v>Boursin Aperitif Roules Aperitif 100G</c:v>
                </c:pt>
                <c:pt idx="75">
                  <c:v>La Vache Qui Rit Nature Fromage Fondu Boite Ronde 1X512Gr 24+8P</c:v>
                </c:pt>
                <c:pt idx="76">
                  <c:v>Mini Babybel Rouge Filet St Paulin Ferme Sachet 1X40Gr 1P</c:v>
                </c:pt>
                <c:pt idx="77">
                  <c:v>Mini Babybel Bio St Paulin Ferme Filet 1X100Gr 5P</c:v>
                </c:pt>
                <c:pt idx="78">
                  <c:v>Kiri Delicieusement Fouette Fromage Frais A Tartiner 1X210Gr 1P</c:v>
                </c:pt>
                <c:pt idx="79">
                  <c:v>Limiano Queijo Flamengo Bloc 1X600Gr 1P</c:v>
                </c:pt>
                <c:pt idx="80">
                  <c:v>Limiano Queijo Flamengo Tranche Sachet 1X200Gr 1P</c:v>
                </c:pt>
                <c:pt idx="81">
                  <c:v>La Vache Qui Rit Nature Fromage Fondu Boite Ronde 1X128Gr 8P</c:v>
                </c:pt>
                <c:pt idx="82">
                  <c:v>Apericube Carrement Toque Fromage Fondu Cube Assortis 1X250Gr 48P</c:v>
                </c:pt>
              </c:strCache>
            </c:strRef>
          </c:cat>
          <c:val>
            <c:numRef>
              <c:f>Sheet1!$D$2:$D$84</c:f>
              <c:numCache>
                <c:formatCode>General</c:formatCode>
                <c:ptCount val="83"/>
                <c:pt idx="0">
                  <c:v>14187.05</c:v>
                </c:pt>
                <c:pt idx="1">
                  <c:v>11429.494949494949</c:v>
                </c:pt>
                <c:pt idx="2">
                  <c:v>7702.77</c:v>
                </c:pt>
                <c:pt idx="3">
                  <c:v>6931.8</c:v>
                </c:pt>
                <c:pt idx="4">
                  <c:v>6310.9</c:v>
                </c:pt>
                <c:pt idx="5">
                  <c:v>5970.0202020202023</c:v>
                </c:pt>
                <c:pt idx="6">
                  <c:v>5841.94</c:v>
                </c:pt>
                <c:pt idx="7">
                  <c:v>5732.03</c:v>
                </c:pt>
                <c:pt idx="8">
                  <c:v>5079.8599999999997</c:v>
                </c:pt>
                <c:pt idx="9">
                  <c:v>4674.3838383838383</c:v>
                </c:pt>
                <c:pt idx="10">
                  <c:v>4098.92</c:v>
                </c:pt>
                <c:pt idx="11">
                  <c:v>3797.14</c:v>
                </c:pt>
                <c:pt idx="12">
                  <c:v>3830.5050505050503</c:v>
                </c:pt>
                <c:pt idx="13">
                  <c:v>3761.1111111111113</c:v>
                </c:pt>
                <c:pt idx="14">
                  <c:v>3513.05</c:v>
                </c:pt>
                <c:pt idx="15">
                  <c:v>3414.7755102040815</c:v>
                </c:pt>
                <c:pt idx="16">
                  <c:v>3316.9595959595958</c:v>
                </c:pt>
                <c:pt idx="17">
                  <c:v>3170.64</c:v>
                </c:pt>
                <c:pt idx="18">
                  <c:v>3000.58</c:v>
                </c:pt>
                <c:pt idx="19">
                  <c:v>2915.26</c:v>
                </c:pt>
                <c:pt idx="20">
                  <c:v>2940.7171717171718</c:v>
                </c:pt>
                <c:pt idx="21">
                  <c:v>2677.969696969697</c:v>
                </c:pt>
                <c:pt idx="22">
                  <c:v>2549.27</c:v>
                </c:pt>
                <c:pt idx="23">
                  <c:v>2391.030303030303</c:v>
                </c:pt>
                <c:pt idx="24">
                  <c:v>2261.1836734693879</c:v>
                </c:pt>
                <c:pt idx="25">
                  <c:v>2159.19</c:v>
                </c:pt>
                <c:pt idx="26">
                  <c:v>2091.7979797979797</c:v>
                </c:pt>
                <c:pt idx="27">
                  <c:v>2060.5151515151515</c:v>
                </c:pt>
                <c:pt idx="28">
                  <c:v>2027.69</c:v>
                </c:pt>
                <c:pt idx="29">
                  <c:v>2036.8571428571429</c:v>
                </c:pt>
                <c:pt idx="30">
                  <c:v>1760.5252525252524</c:v>
                </c:pt>
                <c:pt idx="31">
                  <c:v>1429.39</c:v>
                </c:pt>
                <c:pt idx="32">
                  <c:v>1431.0707070707072</c:v>
                </c:pt>
                <c:pt idx="33">
                  <c:v>1389.5656565656566</c:v>
                </c:pt>
                <c:pt idx="34">
                  <c:v>1363.8080808080808</c:v>
                </c:pt>
                <c:pt idx="35">
                  <c:v>1156.58</c:v>
                </c:pt>
                <c:pt idx="36">
                  <c:v>1169.9072164948454</c:v>
                </c:pt>
                <c:pt idx="37">
                  <c:v>1122.2474226804125</c:v>
                </c:pt>
                <c:pt idx="38">
                  <c:v>1040.5408163265306</c:v>
                </c:pt>
                <c:pt idx="39">
                  <c:v>1013.2244897959183</c:v>
                </c:pt>
                <c:pt idx="40">
                  <c:v>982.89</c:v>
                </c:pt>
                <c:pt idx="41">
                  <c:v>1013.0927835051547</c:v>
                </c:pt>
                <c:pt idx="42">
                  <c:v>888.82828282828279</c:v>
                </c:pt>
                <c:pt idx="43">
                  <c:v>819.71875</c:v>
                </c:pt>
                <c:pt idx="44">
                  <c:v>772.49494949494954</c:v>
                </c:pt>
                <c:pt idx="45">
                  <c:v>817.85869565217388</c:v>
                </c:pt>
                <c:pt idx="46">
                  <c:v>744.86734693877554</c:v>
                </c:pt>
                <c:pt idx="47">
                  <c:v>698.28735632183907</c:v>
                </c:pt>
                <c:pt idx="48">
                  <c:v>594.35789473684213</c:v>
                </c:pt>
                <c:pt idx="49">
                  <c:v>583.86458333333337</c:v>
                </c:pt>
                <c:pt idx="50">
                  <c:v>614.63636363636363</c:v>
                </c:pt>
                <c:pt idx="51">
                  <c:v>474.73469387755102</c:v>
                </c:pt>
                <c:pt idx="52">
                  <c:v>472.06315789473683</c:v>
                </c:pt>
                <c:pt idx="53">
                  <c:v>464.21739130434781</c:v>
                </c:pt>
                <c:pt idx="54">
                  <c:v>431.74736842105261</c:v>
                </c:pt>
                <c:pt idx="55">
                  <c:v>409.38297872340428</c:v>
                </c:pt>
                <c:pt idx="56">
                  <c:v>310.11340206185565</c:v>
                </c:pt>
                <c:pt idx="57">
                  <c:v>336.93258426966293</c:v>
                </c:pt>
                <c:pt idx="58">
                  <c:v>335.27272727272725</c:v>
                </c:pt>
                <c:pt idx="59">
                  <c:v>298.34117647058821</c:v>
                </c:pt>
                <c:pt idx="60">
                  <c:v>315.71249999999998</c:v>
                </c:pt>
                <c:pt idx="61">
                  <c:v>328.84285714285716</c:v>
                </c:pt>
                <c:pt idx="62">
                  <c:v>273.85714285714283</c:v>
                </c:pt>
                <c:pt idx="63">
                  <c:v>306.57142857142856</c:v>
                </c:pt>
                <c:pt idx="64">
                  <c:v>270.14666666666665</c:v>
                </c:pt>
                <c:pt idx="65">
                  <c:v>275.1232876712329</c:v>
                </c:pt>
                <c:pt idx="66">
                  <c:v>270.66176470588238</c:v>
                </c:pt>
                <c:pt idx="67">
                  <c:v>197.19354838709677</c:v>
                </c:pt>
                <c:pt idx="68">
                  <c:v>201.87777777777777</c:v>
                </c:pt>
                <c:pt idx="69">
                  <c:v>188.21951219512195</c:v>
                </c:pt>
                <c:pt idx="70">
                  <c:v>137.64646464646464</c:v>
                </c:pt>
                <c:pt idx="71">
                  <c:v>100.04166666666667</c:v>
                </c:pt>
                <c:pt idx="72">
                  <c:v>85.195652173913047</c:v>
                </c:pt>
                <c:pt idx="73">
                  <c:v>106.42465753424658</c:v>
                </c:pt>
                <c:pt idx="74">
                  <c:v>83.186046511627907</c:v>
                </c:pt>
                <c:pt idx="75">
                  <c:v>177.34375</c:v>
                </c:pt>
                <c:pt idx="76">
                  <c:v>233.45833333333334</c:v>
                </c:pt>
                <c:pt idx="77">
                  <c:v>78.709090909090904</c:v>
                </c:pt>
                <c:pt idx="78">
                  <c:v>58.203125</c:v>
                </c:pt>
                <c:pt idx="79">
                  <c:v>669</c:v>
                </c:pt>
                <c:pt idx="80">
                  <c:v>373</c:v>
                </c:pt>
                <c:pt idx="81">
                  <c:v>7.7692307692307692</c:v>
                </c:pt>
                <c:pt idx="82">
                  <c:v>2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Coeur De Lion</c:v>
                </c:pt>
                <c:pt idx="6">
                  <c:v>La Vache Qui Rit</c:v>
                </c:pt>
                <c:pt idx="7">
                  <c:v>Kiri</c:v>
                </c:pt>
                <c:pt idx="8">
                  <c:v>Boursin</c:v>
                </c:pt>
                <c:pt idx="9">
                  <c:v>Others</c:v>
                </c:pt>
              </c:strCache>
            </c:strRef>
          </c:cat>
          <c:val>
            <c:numRef>
              <c:f>Sheet1!$B$2:$B$11</c:f>
              <c:numCache>
                <c:formatCode>General</c:formatCode>
                <c:ptCount val="10"/>
                <c:pt idx="0">
                  <c:v>0.3381671645586492</c:v>
                </c:pt>
                <c:pt idx="1">
                  <c:v>5.5784651928815585E-2</c:v>
                </c:pt>
                <c:pt idx="2">
                  <c:v>4.5653636027275631E-2</c:v>
                </c:pt>
                <c:pt idx="3">
                  <c:v>4.1403763843040793E-2</c:v>
                </c:pt>
                <c:pt idx="4">
                  <c:v>3.9387927040302591E-2</c:v>
                </c:pt>
                <c:pt idx="5">
                  <c:v>3.6381099374862752E-2</c:v>
                </c:pt>
                <c:pt idx="6">
                  <c:v>3.4698142280969742E-2</c:v>
                </c:pt>
                <c:pt idx="7">
                  <c:v>2.5743092448033984E-2</c:v>
                </c:pt>
                <c:pt idx="8">
                  <c:v>2.1010312525655186E-2</c:v>
                </c:pt>
                <c:pt idx="9">
                  <c:v>0.3617702099723945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Coeur De Lion</c:v>
                </c:pt>
                <c:pt idx="6">
                  <c:v>La Vache Qui Rit</c:v>
                </c:pt>
                <c:pt idx="7">
                  <c:v>Kiri</c:v>
                </c:pt>
                <c:pt idx="8">
                  <c:v>Boursin</c:v>
                </c:pt>
                <c:pt idx="9">
                  <c:v>Others</c:v>
                </c:pt>
              </c:strCache>
            </c:strRef>
          </c:cat>
          <c:val>
            <c:numRef>
              <c:f>Sheet1!$C$2:$C$11</c:f>
              <c:numCache>
                <c:formatCode>General</c:formatCode>
                <c:ptCount val="10"/>
                <c:pt idx="0">
                  <c:v>0.18947336153516034</c:v>
                </c:pt>
                <c:pt idx="1">
                  <c:v>4.2823861197964573E-2</c:v>
                </c:pt>
                <c:pt idx="2">
                  <c:v>3.5405554533750237E-2</c:v>
                </c:pt>
                <c:pt idx="3">
                  <c:v>3.3780884065967756E-2</c:v>
                </c:pt>
                <c:pt idx="4">
                  <c:v>2.6178652443136535E-2</c:v>
                </c:pt>
                <c:pt idx="5">
                  <c:v>2.0293053767396235E-2</c:v>
                </c:pt>
                <c:pt idx="6">
                  <c:v>2.3143890625957945E-2</c:v>
                </c:pt>
                <c:pt idx="7">
                  <c:v>2.5688185886824842E-2</c:v>
                </c:pt>
                <c:pt idx="8">
                  <c:v>4.0616761694561958E-2</c:v>
                </c:pt>
                <c:pt idx="9">
                  <c:v>0.5625957942492796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Coeur De Lion</c:v>
                </c:pt>
                <c:pt idx="6">
                  <c:v>La Vache Qui Rit</c:v>
                </c:pt>
                <c:pt idx="7">
                  <c:v>Kiri</c:v>
                </c:pt>
                <c:pt idx="8">
                  <c:v>Boursin</c:v>
                </c:pt>
                <c:pt idx="9">
                  <c:v>Others</c:v>
                </c:pt>
              </c:strCache>
            </c:strRef>
          </c:cat>
          <c:val>
            <c:numRef>
              <c:f>Sheet1!$D$2:$D$11</c:f>
              <c:numCache>
                <c:formatCode>General</c:formatCode>
                <c:ptCount val="10"/>
                <c:pt idx="0">
                  <c:v>56.029497063219303</c:v>
                </c:pt>
                <c:pt idx="1">
                  <c:v>76.766385945385622</c:v>
                </c:pt>
                <c:pt idx="2">
                  <c:v>77.552540421089986</c:v>
                </c:pt>
                <c:pt idx="3">
                  <c:v>81.588920741672382</c:v>
                </c:pt>
                <c:pt idx="4">
                  <c:v>66.463646122706493</c:v>
                </c:pt>
                <c:pt idx="5">
                  <c:v>55.779110901243321</c:v>
                </c:pt>
                <c:pt idx="6">
                  <c:v>66.700662065851446</c:v>
                </c:pt>
                <c:pt idx="7">
                  <c:v>99.786713421008074</c:v>
                </c:pt>
                <c:pt idx="8">
                  <c:v>193.3182176370095</c:v>
                </c:pt>
                <c:pt idx="9">
                  <c:v>155.5119185441525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3</c:f>
              <c:strCache>
                <c:ptCount val="82"/>
                <c:pt idx="0">
                  <c:v>Mini Babybel Rouge Filet St Paulin Ferme 1X264Gr 12P</c:v>
                </c:pt>
                <c:pt idx="1">
                  <c:v>La Vache Qui Rit Nature Fromage Fondu Boite Ronde 1X192Gr 12P</c:v>
                </c:pt>
                <c:pt idx="2">
                  <c:v>Mini Babybel Rouge Filet St Paulin Ferme 1X132Gr 6P</c:v>
                </c:pt>
                <c:pt idx="3">
                  <c:v>La Vache Qui Rit Nature Fromage Fondu Boite Ronde 1X512Gr 32P</c:v>
                </c:pt>
                <c:pt idx="4">
                  <c:v>Kiri Creme Fromage Blanc Frais Carre 1X216Gr 12P</c:v>
                </c:pt>
                <c:pt idx="5">
                  <c:v>La Vache Qui Rit Nature Fromage Fondu Boite Ronde 1X384Gr 24P</c:v>
                </c:pt>
                <c:pt idx="6">
                  <c:v>Kiri Creme Fromage Blanc Frais Carre 1X144Gr 8P</c:v>
                </c:pt>
                <c:pt idx="7">
                  <c:v>Boursin Classique Fromage Frais A Tartiner Afh Boite 1X150Gr 1P</c:v>
                </c:pt>
                <c:pt idx="8">
                  <c:v>Boursin Classique Fromage Frais A Tartiner Afh 1X160Gr 10P</c:v>
                </c:pt>
                <c:pt idx="9">
                  <c:v>Apericube Edition Limitee Best Of Foot Fromage Fondu Cube Assortis 1X250Gr 48P</c:v>
                </c:pt>
                <c:pt idx="10">
                  <c:v>Kiri Gouter Fromage Blanc Dips Boite 1X175Gr 5P</c:v>
                </c:pt>
                <c:pt idx="11">
                  <c:v>Apericube Cocktail Fromage Fondu Cube Assortis 1X250Gr 48P</c:v>
                </c:pt>
                <c:pt idx="12">
                  <c:v>Kiri Creme Fromage Blanc Frais Carre 1X432Gr 24P</c:v>
                </c:pt>
                <c:pt idx="13">
                  <c:v>Babybel St Paulin 1X200Gr 1P</c:v>
                </c:pt>
                <c:pt idx="14">
                  <c:v>Boursin Aperitif Roules Fromage Frais Roule Afh Et Jambon Fume Boite 1X100Gr 20P</c:v>
                </c:pt>
                <c:pt idx="15">
                  <c:v>Boursin Classique Fromage Frais A Tartiner Afh Boite 1X250Gr 1P</c:v>
                </c:pt>
                <c:pt idx="16">
                  <c:v>Kiri Gouter Fromage Blanc Dips Boite 1X280Gr 8P</c:v>
                </c:pt>
                <c:pt idx="17">
                  <c:v>Port Salut St Paulin 1X320Gr 1P</c:v>
                </c:pt>
                <c:pt idx="18">
                  <c:v>Apericube Long Drink Fromage Fondu Cube Assortis 1X250Gr 48P</c:v>
                </c:pt>
                <c:pt idx="19">
                  <c:v>Boursin Onctueux Fromage Frais A Tartiner Afh 1X125Gr 1P</c:v>
                </c:pt>
                <c:pt idx="20">
                  <c:v>Apericube Tonic Fromage Fondu Cube Assortis 1X250Gr 48P</c:v>
                </c:pt>
                <c:pt idx="21">
                  <c:v>La Vache Qui Rit Pik Et Croq' Fromage Fondu Dips Boite 1X175Gr 5P</c:v>
                </c:pt>
                <c:pt idx="22">
                  <c:v>Cousteron St Paulin 1X320Gr 1P</c:v>
                </c:pt>
                <c:pt idx="23">
                  <c:v>Boursin Classique Fromage Frais A Tartiner Figue Et 3 Noix Boite 1X150Gr 1P</c:v>
                </c:pt>
                <c:pt idx="24">
                  <c:v>Apericube Campagne Fromage Fondu Cube Assortis 1X125Gr 24P</c:v>
                </c:pt>
                <c:pt idx="25">
                  <c:v>Boursin Classique Fromage Frais A Tartiner Afh Boite 1X96Gr 6P</c:v>
                </c:pt>
                <c:pt idx="26">
                  <c:v>Apericube Nature Fromage Fondu Cube 1X125Gr 24P</c:v>
                </c:pt>
                <c:pt idx="27">
                  <c:v>Boursin Salade &amp; Aperitif Fromage Frais Des Afh 1X120Gr 1P</c:v>
                </c:pt>
                <c:pt idx="28">
                  <c:v>Boursin Classique Fromage Frais A Tartiner Ciboulette &amp; Echalote Boite 1X150Gr 1P</c:v>
                </c:pt>
                <c:pt idx="29">
                  <c:v>Boursin Cuisine Sauce Fromage Afh 1X240Gr 1P</c:v>
                </c:pt>
                <c:pt idx="30">
                  <c:v>Apericube Edition Limitee Saison Fromage Fondu Cube Assortis 1X250Gr 48P</c:v>
                </c:pt>
                <c:pt idx="31">
                  <c:v>Apericube Edition Voyage Fromage Fondu Cube Assortis 1X250Gr 48P</c:v>
                </c:pt>
                <c:pt idx="32">
                  <c:v>Apericube Incontournable Fromage Fondu Cube Assortis 1X250Gr 48P</c:v>
                </c:pt>
                <c:pt idx="33">
                  <c:v>Mini Babybel Rouge Filet St Paulin Ferme 1X440Gr 20P</c:v>
                </c:pt>
                <c:pt idx="34">
                  <c:v>Boursin Aperitif Roules Fromage Frais Roule Ciboulette &amp; Echalote Jambon Fume Boite 1X100Gr 20P</c:v>
                </c:pt>
                <c:pt idx="35">
                  <c:v>La Vache Qui Rit Allegee Fromage Fondu Boite Ronde Allege 1X267Gr 16P</c:v>
                </c:pt>
                <c:pt idx="36">
                  <c:v>Boursin Classique Fromage Frais A Tartiner Poivre Boite 1X150Gr 1P</c:v>
                </c:pt>
                <c:pt idx="37">
                  <c:v>La Vache Qui Rit Pik Et Croq' Fromage Fondu Dips Boite 1X280Gr 8P</c:v>
                </c:pt>
                <c:pt idx="38">
                  <c:v>Babybel Mini Rolls St Paulin Ferme Sachet 1X85Gr 5P</c:v>
                </c:pt>
                <c:pt idx="39">
                  <c:v>Apericube Saveurs De L'Authentique Fromage Fondu Cube Assortis 1X250Gr 48P</c:v>
                </c:pt>
                <c:pt idx="40">
                  <c:v>Kiri Bio Fromage Blanc Frais Carre 1X144Gr 8P</c:v>
                </c:pt>
                <c:pt idx="41">
                  <c:v>Boursin Classique Fromage Frais A Tartiner Afh 1X256Gr 16P</c:v>
                </c:pt>
                <c:pt idx="42">
                  <c:v>Kiri Delicieusement Fouette Fromage Frais A Tartiner 1X125Gr 1P</c:v>
                </c:pt>
                <c:pt idx="43">
                  <c:v>Boursin Aperitif Roules Fromage Frais Roule Basilic &amp; Jambon Fume Tomate Boite 1X100Gr 20P</c:v>
                </c:pt>
                <c:pt idx="44">
                  <c:v>Mini Babybel Aros St Paulin Ferme Assortis Filet 1X180Gr 9P</c:v>
                </c:pt>
                <c:pt idx="45">
                  <c:v>Kiri Creme Fromage Blanc Frais Carre 1X432Gr 18+6P</c:v>
                </c:pt>
                <c:pt idx="46">
                  <c:v>Boursin Classique Fromage Frais A Tartiner Ciboulette &amp; Echalote 1X160Gr 10P</c:v>
                </c:pt>
                <c:pt idx="47">
                  <c:v>La Vache Qui Rit Aro Fromage Fondu Boite Ronde Jambon 1X133Gr 8P</c:v>
                </c:pt>
                <c:pt idx="48">
                  <c:v>Kiri Chevre Fromage Blanc Frais Carre 1X144Gr 8P</c:v>
                </c:pt>
                <c:pt idx="49">
                  <c:v>Mini Babybel Rouge Filet St Paulin Ferme 1X396Gr 12+6P</c:v>
                </c:pt>
                <c:pt idx="50">
                  <c:v>Mini Babybel Aros Soft Cheese Enfant 180G</c:v>
                </c:pt>
                <c:pt idx="51">
                  <c:v>Apericube Long Drink Fromage Fondu Cube Assortis 1X125Gr 24P</c:v>
                </c:pt>
                <c:pt idx="52">
                  <c:v>Kiri Delicieusement Fouette Fromage Frais A Tartiner 1X160Gr 10P</c:v>
                </c:pt>
                <c:pt idx="53">
                  <c:v>Mini Babybel Aros St Paulin Ferme Raclette Filet 1X132Gr 6P</c:v>
                </c:pt>
                <c:pt idx="54">
                  <c:v>Boursin Salade &amp; Aperitif Fromage Frais Des Ciboulette Echalote 1X120Gr 1P</c:v>
                </c:pt>
                <c:pt idx="55">
                  <c:v>Apericube Soiree Match Aperitif 250G</c:v>
                </c:pt>
                <c:pt idx="56">
                  <c:v>Nurishh Le Rape Vegetal Specialite Vegetale Sachet 1X150Gr 1P</c:v>
                </c:pt>
                <c:pt idx="57">
                  <c:v>Boursin Salade &amp; Aperitif Fromage Frais Des Figue Noix 1X120Gr 1P</c:v>
                </c:pt>
                <c:pt idx="58">
                  <c:v>Nurishh Les Tranches Vegetales Cheddar Vegetal Tranche Boite 1X160Gr 8P</c:v>
                </c:pt>
                <c:pt idx="59">
                  <c:v>Nurishh Le Rape Vegetal Specialite Vegetale Emmental Sachet 1X150Gr 1P</c:v>
                </c:pt>
                <c:pt idx="60">
                  <c:v>Boursin Classique Fromage Frais A Tartiner Afh Boite 1X80Gr 1P</c:v>
                </c:pt>
                <c:pt idx="61">
                  <c:v>Apericube Best Of Des Saveurs Fromage Fondu Cube Assortis 1X125Gr 24P</c:v>
                </c:pt>
                <c:pt idx="62">
                  <c:v>Nurishh Le Palet Vegetal Specialite Vegetale Ovale Saveur Chevre Boite 1X140Gr 1P</c:v>
                </c:pt>
                <c:pt idx="63">
                  <c:v>Nurishh Le Coeur Fleuri Vegetal Camembert Boite 1X140Gr 1P</c:v>
                </c:pt>
                <c:pt idx="64">
                  <c:v>Boursin Salade &amp; Aperitif Fromage Frais Des Citron Romarin 1X120Gr 1P</c:v>
                </c:pt>
                <c:pt idx="65">
                  <c:v>Apericube Hot Chalenge Aperitif 250G</c:v>
                </c:pt>
                <c:pt idx="66">
                  <c:v>Mini Babybel Rouge Filet St Paulin Ferme Sachet 1X40Gr 1P</c:v>
                </c:pt>
                <c:pt idx="67">
                  <c:v>Mini Babybel Aros Soft Cheese Enfant 110G</c:v>
                </c:pt>
                <c:pt idx="68">
                  <c:v>Nurishh Des Vegetaux Feta Vegetale Sachet 1X150Gr 1P</c:v>
                </c:pt>
                <c:pt idx="69">
                  <c:v>Boursin Salade &amp; Aperitif Fromage Frais Des Noisette Et 3 Noix 1X120Gr 1P</c:v>
                </c:pt>
                <c:pt idx="70">
                  <c:v>Boursin Classique Fromage Frais A Tartiner Truffe Boite 1X150Gr 1P</c:v>
                </c:pt>
                <c:pt idx="71">
                  <c:v>Boursin Salade &amp; Aperitif Soft Cheese Salade 120G</c:v>
                </c:pt>
                <c:pt idx="72">
                  <c:v>Apericube Fromages Du Monde Aperitif 250G</c:v>
                </c:pt>
                <c:pt idx="73">
                  <c:v>Apericube Montagne Aperitif 250G</c:v>
                </c:pt>
                <c:pt idx="74">
                  <c:v>Boursin Aperitif Roules Fromage Frais Roule Jambon Fume &amp; Trio De Noix Boite 1X100Gr 20P</c:v>
                </c:pt>
                <c:pt idx="75">
                  <c:v>Boursin Aperitif Roules Aperitif 100G</c:v>
                </c:pt>
                <c:pt idx="76">
                  <c:v>Mini Babybel Bio St Paulin Ferme Filet 1X100Gr 5P</c:v>
                </c:pt>
                <c:pt idx="77">
                  <c:v>Toastinette Fromage Fondu Tranche A Chaud Sachet 1X200Gr 10P</c:v>
                </c:pt>
                <c:pt idx="78">
                  <c:v>La Vache Qui Rit Nature Fromage Fondu Boite Ronde 1X128Gr 8P</c:v>
                </c:pt>
                <c:pt idx="79">
                  <c:v>Kiri Delicieusement Fouette Fromage Frais A Tartiner 1X210Gr 1P</c:v>
                </c:pt>
                <c:pt idx="80">
                  <c:v>Toastinette Fromage Fondu Tranche A Chaud Sachet 1X340Gr 20P</c:v>
                </c:pt>
                <c:pt idx="81">
                  <c:v>Toastinette Cheddar Fondu Tranche A Chaud Sachet 1X340Gr 20P</c:v>
                </c:pt>
              </c:strCache>
            </c:strRef>
          </c:cat>
          <c:val>
            <c:numRef>
              <c:f>Sheet1!$B$2:$B$83</c:f>
              <c:numCache>
                <c:formatCode>General</c:formatCode>
                <c:ptCount val="82"/>
                <c:pt idx="0">
                  <c:v>0.88</c:v>
                </c:pt>
                <c:pt idx="1">
                  <c:v>0.98</c:v>
                </c:pt>
                <c:pt idx="2">
                  <c:v>0.98</c:v>
                </c:pt>
                <c:pt idx="3">
                  <c:v>0.68</c:v>
                </c:pt>
                <c:pt idx="4">
                  <c:v>0.85</c:v>
                </c:pt>
                <c:pt idx="5">
                  <c:v>0.68</c:v>
                </c:pt>
                <c:pt idx="6">
                  <c:v>0.92</c:v>
                </c:pt>
                <c:pt idx="7">
                  <c:v>0.98</c:v>
                </c:pt>
                <c:pt idx="8">
                  <c:v>0.9</c:v>
                </c:pt>
                <c:pt idx="9">
                  <c:v>0.75</c:v>
                </c:pt>
                <c:pt idx="10">
                  <c:v>0.9</c:v>
                </c:pt>
                <c:pt idx="11">
                  <c:v>0.82</c:v>
                </c:pt>
                <c:pt idx="12">
                  <c:v>0.52</c:v>
                </c:pt>
                <c:pt idx="13">
                  <c:v>0.93</c:v>
                </c:pt>
                <c:pt idx="14">
                  <c:v>0.85</c:v>
                </c:pt>
                <c:pt idx="15">
                  <c:v>0.89</c:v>
                </c:pt>
                <c:pt idx="16">
                  <c:v>0.68</c:v>
                </c:pt>
                <c:pt idx="17">
                  <c:v>0.81</c:v>
                </c:pt>
                <c:pt idx="18">
                  <c:v>0.71</c:v>
                </c:pt>
                <c:pt idx="19">
                  <c:v>0.81</c:v>
                </c:pt>
                <c:pt idx="20">
                  <c:v>0.7</c:v>
                </c:pt>
                <c:pt idx="21">
                  <c:v>0.82</c:v>
                </c:pt>
                <c:pt idx="22">
                  <c:v>0.81</c:v>
                </c:pt>
                <c:pt idx="23">
                  <c:v>0.89</c:v>
                </c:pt>
                <c:pt idx="24">
                  <c:v>0.71</c:v>
                </c:pt>
                <c:pt idx="25">
                  <c:v>0.74</c:v>
                </c:pt>
                <c:pt idx="26">
                  <c:v>0.75</c:v>
                </c:pt>
                <c:pt idx="27">
                  <c:v>0.85</c:v>
                </c:pt>
                <c:pt idx="28">
                  <c:v>0.83</c:v>
                </c:pt>
                <c:pt idx="29">
                  <c:v>0.73</c:v>
                </c:pt>
                <c:pt idx="30">
                  <c:v>0.46</c:v>
                </c:pt>
                <c:pt idx="31">
                  <c:v>0.45</c:v>
                </c:pt>
                <c:pt idx="32">
                  <c:v>0.41</c:v>
                </c:pt>
                <c:pt idx="33">
                  <c:v>0.39</c:v>
                </c:pt>
                <c:pt idx="34">
                  <c:v>0.56000000000000005</c:v>
                </c:pt>
                <c:pt idx="35">
                  <c:v>0.5</c:v>
                </c:pt>
                <c:pt idx="36">
                  <c:v>0.75</c:v>
                </c:pt>
                <c:pt idx="37">
                  <c:v>0.42</c:v>
                </c:pt>
                <c:pt idx="38">
                  <c:v>0.41</c:v>
                </c:pt>
                <c:pt idx="39">
                  <c:v>0.45</c:v>
                </c:pt>
                <c:pt idx="40">
                  <c:v>0.31</c:v>
                </c:pt>
                <c:pt idx="41">
                  <c:v>0.64</c:v>
                </c:pt>
                <c:pt idx="42">
                  <c:v>0.44</c:v>
                </c:pt>
                <c:pt idx="43">
                  <c:v>0.56999999999999995</c:v>
                </c:pt>
                <c:pt idx="44">
                  <c:v>0.36</c:v>
                </c:pt>
                <c:pt idx="45">
                  <c:v>0.59</c:v>
                </c:pt>
                <c:pt idx="46">
                  <c:v>0.46</c:v>
                </c:pt>
                <c:pt idx="47">
                  <c:v>0.33</c:v>
                </c:pt>
                <c:pt idx="48">
                  <c:v>0.38</c:v>
                </c:pt>
                <c:pt idx="49">
                  <c:v>0.73</c:v>
                </c:pt>
                <c:pt idx="50">
                  <c:v>0.3</c:v>
                </c:pt>
                <c:pt idx="51">
                  <c:v>0.37</c:v>
                </c:pt>
                <c:pt idx="52">
                  <c:v>0.5</c:v>
                </c:pt>
                <c:pt idx="53">
                  <c:v>0.28999999999999998</c:v>
                </c:pt>
                <c:pt idx="54">
                  <c:v>0.43</c:v>
                </c:pt>
                <c:pt idx="55">
                  <c:v>0.33</c:v>
                </c:pt>
                <c:pt idx="56">
                  <c:v>0.16</c:v>
                </c:pt>
                <c:pt idx="57">
                  <c:v>0.47</c:v>
                </c:pt>
                <c:pt idx="58">
                  <c:v>0.14000000000000001</c:v>
                </c:pt>
                <c:pt idx="59">
                  <c:v>0.13</c:v>
                </c:pt>
                <c:pt idx="60">
                  <c:v>0.12</c:v>
                </c:pt>
                <c:pt idx="61">
                  <c:v>0.4</c:v>
                </c:pt>
                <c:pt idx="62">
                  <c:v>0.08</c:v>
                </c:pt>
                <c:pt idx="63">
                  <c:v>0.09</c:v>
                </c:pt>
                <c:pt idx="64">
                  <c:v>0.28000000000000003</c:v>
                </c:pt>
                <c:pt idx="65">
                  <c:v>0.16</c:v>
                </c:pt>
                <c:pt idx="66">
                  <c:v>0.13</c:v>
                </c:pt>
                <c:pt idx="67">
                  <c:v>0.19</c:v>
                </c:pt>
                <c:pt idx="68">
                  <c:v>0.11</c:v>
                </c:pt>
                <c:pt idx="69">
                  <c:v>0.41</c:v>
                </c:pt>
                <c:pt idx="70">
                  <c:v>0.33</c:v>
                </c:pt>
                <c:pt idx="71">
                  <c:v>0.14000000000000001</c:v>
                </c:pt>
                <c:pt idx="72">
                  <c:v>0.09</c:v>
                </c:pt>
                <c:pt idx="73">
                  <c:v>7.0000000000000007E-2</c:v>
                </c:pt>
                <c:pt idx="74">
                  <c:v>0.18</c:v>
                </c:pt>
                <c:pt idx="75">
                  <c:v>0.17</c:v>
                </c:pt>
                <c:pt idx="76">
                  <c:v>0.05</c:v>
                </c:pt>
                <c:pt idx="77">
                  <c:v>0.01</c:v>
                </c:pt>
                <c:pt idx="78">
                  <c:v>0.04</c:v>
                </c:pt>
                <c:pt idx="79">
                  <c:v>0.01</c:v>
                </c:pt>
                <c:pt idx="80">
                  <c:v>0.01</c:v>
                </c:pt>
                <c:pt idx="8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00A097"/>
              </a:solidFill>
            </c:spPr>
            <c:extLst>
              <c:ext xmlns:c16="http://schemas.microsoft.com/office/drawing/2014/chart" uri="{C3380CC4-5D6E-409C-BE32-E72D297353CC}">
                <c16:uniqueId val="{00000023-FA3E-4872-B6E1-C4ABDF5766E2}"/>
              </c:ext>
            </c:extLst>
          </c:dPt>
          <c:dPt>
            <c:idx val="17"/>
            <c:invertIfNegative val="1"/>
            <c:bubble3D val="0"/>
            <c:spPr>
              <a:solidFill>
                <a:srgbClr val="00A097"/>
              </a:solidFill>
            </c:spPr>
            <c:extLst>
              <c:ext xmlns:c16="http://schemas.microsoft.com/office/drawing/2014/chart" uri="{C3380CC4-5D6E-409C-BE32-E72D297353CC}">
                <c16:uniqueId val="{00000025-FA3E-4872-B6E1-C4ABDF5766E2}"/>
              </c:ext>
            </c:extLst>
          </c:dPt>
          <c:dPt>
            <c:idx val="18"/>
            <c:invertIfNegative val="1"/>
            <c:bubble3D val="0"/>
            <c:spPr>
              <a:solidFill>
                <a:srgbClr val="00A097"/>
              </a:solidFill>
            </c:spPr>
            <c:extLst>
              <c:ext xmlns:c16="http://schemas.microsoft.com/office/drawing/2014/chart" uri="{C3380CC4-5D6E-409C-BE32-E72D297353CC}">
                <c16:uniqueId val="{00000027-FA3E-4872-B6E1-C4ABDF5766E2}"/>
              </c:ext>
            </c:extLst>
          </c:dPt>
          <c:dPt>
            <c:idx val="19"/>
            <c:invertIfNegative val="1"/>
            <c:bubble3D val="0"/>
            <c:spPr>
              <a:solidFill>
                <a:srgbClr val="00A097"/>
              </a:solidFill>
            </c:spPr>
            <c:extLst>
              <c:ext xmlns:c16="http://schemas.microsoft.com/office/drawing/2014/chart" uri="{C3380CC4-5D6E-409C-BE32-E72D297353CC}">
                <c16:uniqueId val="{00000029-FA3E-4872-B6E1-C4ABDF5766E2}"/>
              </c:ext>
            </c:extLst>
          </c:dPt>
          <c:dPt>
            <c:idx val="20"/>
            <c:invertIfNegative val="1"/>
            <c:bubble3D val="0"/>
            <c:spPr>
              <a:solidFill>
                <a:srgbClr val="00A097"/>
              </a:solidFill>
            </c:spPr>
            <c:extLst>
              <c:ext xmlns:c16="http://schemas.microsoft.com/office/drawing/2014/chart" uri="{C3380CC4-5D6E-409C-BE32-E72D297353CC}">
                <c16:uniqueId val="{0000002B-FA3E-4872-B6E1-C4ABDF5766E2}"/>
              </c:ext>
            </c:extLst>
          </c:dPt>
          <c:dPt>
            <c:idx val="21"/>
            <c:invertIfNegative val="1"/>
            <c:bubble3D val="0"/>
            <c:spPr>
              <a:solidFill>
                <a:srgbClr val="00A097"/>
              </a:solidFill>
            </c:spPr>
            <c:extLst>
              <c:ext xmlns:c16="http://schemas.microsoft.com/office/drawing/2014/chart" uri="{C3380CC4-5D6E-409C-BE32-E72D297353CC}">
                <c16:uniqueId val="{0000002D-FA3E-4872-B6E1-C4ABDF5766E2}"/>
              </c:ext>
            </c:extLst>
          </c:dPt>
          <c:dPt>
            <c:idx val="22"/>
            <c:invertIfNegative val="1"/>
            <c:bubble3D val="0"/>
            <c:spPr>
              <a:solidFill>
                <a:srgbClr val="00A097"/>
              </a:solidFill>
            </c:spPr>
            <c:extLst>
              <c:ext xmlns:c16="http://schemas.microsoft.com/office/drawing/2014/chart" uri="{C3380CC4-5D6E-409C-BE32-E72D297353CC}">
                <c16:uniqueId val="{0000002F-FA3E-4872-B6E1-C4ABDF5766E2}"/>
              </c:ext>
            </c:extLst>
          </c:dPt>
          <c:dPt>
            <c:idx val="23"/>
            <c:invertIfNegative val="1"/>
            <c:bubble3D val="0"/>
            <c:spPr>
              <a:solidFill>
                <a:srgbClr val="00A097"/>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7ECAC4"/>
              </a:solidFill>
            </c:spPr>
            <c:extLst>
              <c:ext xmlns:c16="http://schemas.microsoft.com/office/drawing/2014/chart" uri="{C3380CC4-5D6E-409C-BE32-E72D297353CC}">
                <c16:uniqueId val="{0000003F-FA3E-4872-B6E1-C4ABDF5766E2}"/>
              </c:ext>
            </c:extLst>
          </c:dPt>
          <c:dPt>
            <c:idx val="31"/>
            <c:invertIfNegative val="1"/>
            <c:bubble3D val="0"/>
            <c:spPr>
              <a:solidFill>
                <a:srgbClr val="7ECAC4"/>
              </a:solidFill>
            </c:spPr>
            <c:extLst>
              <c:ext xmlns:c16="http://schemas.microsoft.com/office/drawing/2014/chart" uri="{C3380CC4-5D6E-409C-BE32-E72D297353CC}">
                <c16:uniqueId val="{00000041-FA3E-4872-B6E1-C4ABDF5766E2}"/>
              </c:ext>
            </c:extLst>
          </c:dPt>
          <c:dPt>
            <c:idx val="32"/>
            <c:invertIfNegative val="1"/>
            <c:bubble3D val="0"/>
            <c:spPr>
              <a:solidFill>
                <a:srgbClr val="7ECAC4"/>
              </a:solidFill>
            </c:spPr>
            <c:extLst>
              <c:ext xmlns:c16="http://schemas.microsoft.com/office/drawing/2014/chart" uri="{C3380CC4-5D6E-409C-BE32-E72D297353CC}">
                <c16:uniqueId val="{00000043-FA3E-4872-B6E1-C4ABDF5766E2}"/>
              </c:ext>
            </c:extLst>
          </c:dPt>
          <c:dPt>
            <c:idx val="33"/>
            <c:invertIfNegative val="1"/>
            <c:bubble3D val="0"/>
            <c:spPr>
              <a:solidFill>
                <a:srgbClr val="7ECAC4"/>
              </a:solidFill>
            </c:spPr>
            <c:extLst>
              <c:ext xmlns:c16="http://schemas.microsoft.com/office/drawing/2014/chart" uri="{C3380CC4-5D6E-409C-BE32-E72D297353CC}">
                <c16:uniqueId val="{00000045-FA3E-4872-B6E1-C4ABDF5766E2}"/>
              </c:ext>
            </c:extLst>
          </c:dPt>
          <c:dPt>
            <c:idx val="34"/>
            <c:invertIfNegative val="1"/>
            <c:bubble3D val="0"/>
            <c:spPr>
              <a:solidFill>
                <a:srgbClr val="7ECAC4"/>
              </a:solidFill>
            </c:spPr>
            <c:extLst>
              <c:ext xmlns:c16="http://schemas.microsoft.com/office/drawing/2014/chart" uri="{C3380CC4-5D6E-409C-BE32-E72D297353CC}">
                <c16:uniqueId val="{00000047-FA3E-4872-B6E1-C4ABDF5766E2}"/>
              </c:ext>
            </c:extLst>
          </c:dPt>
          <c:dPt>
            <c:idx val="35"/>
            <c:invertIfNegative val="1"/>
            <c:bubble3D val="0"/>
            <c:spPr>
              <a:solidFill>
                <a:srgbClr val="7ECAC4"/>
              </a:solidFill>
            </c:spPr>
            <c:extLst>
              <c:ext xmlns:c16="http://schemas.microsoft.com/office/drawing/2014/chart" uri="{C3380CC4-5D6E-409C-BE32-E72D297353CC}">
                <c16:uniqueId val="{00000049-FA3E-4872-B6E1-C4ABDF5766E2}"/>
              </c:ext>
            </c:extLst>
          </c:dPt>
          <c:dPt>
            <c:idx val="36"/>
            <c:invertIfNegative val="1"/>
            <c:bubble3D val="0"/>
            <c:spPr>
              <a:solidFill>
                <a:srgbClr val="7ECAC4"/>
              </a:solidFill>
            </c:spPr>
            <c:extLst>
              <c:ext xmlns:c16="http://schemas.microsoft.com/office/drawing/2014/chart" uri="{C3380CC4-5D6E-409C-BE32-E72D297353CC}">
                <c16:uniqueId val="{0000004B-FA3E-4872-B6E1-C4ABDF5766E2}"/>
              </c:ext>
            </c:extLst>
          </c:dPt>
          <c:dPt>
            <c:idx val="37"/>
            <c:invertIfNegative val="1"/>
            <c:bubble3D val="0"/>
            <c:spPr>
              <a:solidFill>
                <a:srgbClr val="7ECAC4"/>
              </a:solidFill>
            </c:spPr>
            <c:extLst>
              <c:ext xmlns:c16="http://schemas.microsoft.com/office/drawing/2014/chart" uri="{C3380CC4-5D6E-409C-BE32-E72D297353CC}">
                <c16:uniqueId val="{0000004D-FA3E-4872-B6E1-C4ABDF5766E2}"/>
              </c:ext>
            </c:extLst>
          </c:dPt>
          <c:dPt>
            <c:idx val="38"/>
            <c:invertIfNegative val="1"/>
            <c:bubble3D val="0"/>
            <c:spPr>
              <a:solidFill>
                <a:srgbClr val="7ECAC4"/>
              </a:solidFill>
            </c:spPr>
            <c:extLst>
              <c:ext xmlns:c16="http://schemas.microsoft.com/office/drawing/2014/chart" uri="{C3380CC4-5D6E-409C-BE32-E72D297353CC}">
                <c16:uniqueId val="{0000004F-FA3E-4872-B6E1-C4ABDF5766E2}"/>
              </c:ext>
            </c:extLst>
          </c:dPt>
          <c:dPt>
            <c:idx val="39"/>
            <c:invertIfNegative val="1"/>
            <c:bubble3D val="0"/>
            <c:spPr>
              <a:solidFill>
                <a:srgbClr val="7ECAC4"/>
              </a:solidFill>
            </c:spPr>
            <c:extLst>
              <c:ext xmlns:c16="http://schemas.microsoft.com/office/drawing/2014/chart" uri="{C3380CC4-5D6E-409C-BE32-E72D297353CC}">
                <c16:uniqueId val="{00000051-FA3E-4872-B6E1-C4ABDF5766E2}"/>
              </c:ext>
            </c:extLst>
          </c:dPt>
          <c:dPt>
            <c:idx val="40"/>
            <c:invertIfNegative val="1"/>
            <c:bubble3D val="0"/>
            <c:spPr>
              <a:solidFill>
                <a:srgbClr val="7ECAC4"/>
              </a:solidFill>
            </c:spPr>
            <c:extLst>
              <c:ext xmlns:c16="http://schemas.microsoft.com/office/drawing/2014/chart" uri="{C3380CC4-5D6E-409C-BE32-E72D297353CC}">
                <c16:uniqueId val="{00000053-FA3E-4872-B6E1-C4ABDF5766E2}"/>
              </c:ext>
            </c:extLst>
          </c:dPt>
          <c:dPt>
            <c:idx val="41"/>
            <c:invertIfNegative val="1"/>
            <c:bubble3D val="0"/>
            <c:spPr>
              <a:solidFill>
                <a:srgbClr val="7ECAC4"/>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invertIfNegative val="1"/>
            <c:bubble3D val="0"/>
            <c:spPr>
              <a:solidFill>
                <a:srgbClr val="AEABAB"/>
              </a:solidFill>
            </c:spPr>
            <c:extLst>
              <c:ext xmlns:c16="http://schemas.microsoft.com/office/drawing/2014/chart" uri="{C3380CC4-5D6E-409C-BE32-E72D297353CC}">
                <c16:uniqueId val="{0000005B-6C15-4E83-ABBB-FA96853C102E}"/>
              </c:ext>
            </c:extLst>
          </c:dPt>
          <c:dPt>
            <c:idx val="45"/>
            <c:invertIfNegative val="1"/>
            <c:bubble3D val="0"/>
            <c:spPr>
              <a:solidFill>
                <a:srgbClr val="AEABAB"/>
              </a:solidFill>
            </c:spPr>
            <c:extLst>
              <c:ext xmlns:c16="http://schemas.microsoft.com/office/drawing/2014/chart" uri="{C3380CC4-5D6E-409C-BE32-E72D297353CC}">
                <c16:uniqueId val="{0000005D-6C15-4E83-ABBB-FA96853C102E}"/>
              </c:ext>
            </c:extLst>
          </c:dPt>
          <c:dPt>
            <c:idx val="46"/>
            <c:invertIfNegative val="1"/>
            <c:bubble3D val="0"/>
            <c:spPr>
              <a:solidFill>
                <a:srgbClr val="AEABAB"/>
              </a:solidFill>
            </c:spPr>
            <c:extLst>
              <c:ext xmlns:c16="http://schemas.microsoft.com/office/drawing/2014/chart" uri="{C3380CC4-5D6E-409C-BE32-E72D297353CC}">
                <c16:uniqueId val="{0000005F-6C15-4E83-ABBB-FA96853C102E}"/>
              </c:ext>
            </c:extLst>
          </c:dPt>
          <c:dPt>
            <c:idx val="47"/>
            <c:invertIfNegative val="1"/>
            <c:bubble3D val="0"/>
            <c:spPr>
              <a:solidFill>
                <a:srgbClr val="AEABAB"/>
              </a:solidFill>
            </c:spPr>
            <c:extLst>
              <c:ext xmlns:c16="http://schemas.microsoft.com/office/drawing/2014/chart" uri="{C3380CC4-5D6E-409C-BE32-E72D297353CC}">
                <c16:uniqueId val="{00000061-6C15-4E83-ABBB-FA96853C102E}"/>
              </c:ext>
            </c:extLst>
          </c:dPt>
          <c:dPt>
            <c:idx val="48"/>
            <c:invertIfNegative val="1"/>
            <c:bubble3D val="0"/>
            <c:spPr>
              <a:solidFill>
                <a:srgbClr val="AEABAB"/>
              </a:solidFill>
            </c:spPr>
            <c:extLst>
              <c:ext xmlns:c16="http://schemas.microsoft.com/office/drawing/2014/chart" uri="{C3380CC4-5D6E-409C-BE32-E72D297353CC}">
                <c16:uniqueId val="{00000063-6C15-4E83-ABBB-FA96853C102E}"/>
              </c:ext>
            </c:extLst>
          </c:dPt>
          <c:dPt>
            <c:idx val="49"/>
            <c:invertIfNegative val="1"/>
            <c:bubble3D val="0"/>
            <c:spPr>
              <a:solidFill>
                <a:srgbClr val="AEABAB"/>
              </a:solidFill>
            </c:spPr>
            <c:extLst>
              <c:ext xmlns:c16="http://schemas.microsoft.com/office/drawing/2014/chart" uri="{C3380CC4-5D6E-409C-BE32-E72D297353CC}">
                <c16:uniqueId val="{00000065-6C15-4E83-ABBB-FA96853C102E}"/>
              </c:ext>
            </c:extLst>
          </c:dPt>
          <c:dPt>
            <c:idx val="50"/>
            <c:invertIfNegative val="1"/>
            <c:bubble3D val="0"/>
            <c:spPr>
              <a:solidFill>
                <a:srgbClr val="AEABAB"/>
              </a:solidFill>
            </c:spPr>
            <c:extLst>
              <c:ext xmlns:c16="http://schemas.microsoft.com/office/drawing/2014/chart" uri="{C3380CC4-5D6E-409C-BE32-E72D297353CC}">
                <c16:uniqueId val="{00000067-6C15-4E83-ABBB-FA96853C102E}"/>
              </c:ext>
            </c:extLst>
          </c:dPt>
          <c:dPt>
            <c:idx val="51"/>
            <c:invertIfNegative val="1"/>
            <c:bubble3D val="0"/>
            <c:spPr>
              <a:solidFill>
                <a:srgbClr val="AEABAB"/>
              </a:solidFill>
            </c:spPr>
            <c:extLst>
              <c:ext xmlns:c16="http://schemas.microsoft.com/office/drawing/2014/chart" uri="{C3380CC4-5D6E-409C-BE32-E72D297353CC}">
                <c16:uniqueId val="{00000069-6C15-4E83-ABBB-FA96853C102E}"/>
              </c:ext>
            </c:extLst>
          </c:dPt>
          <c:dPt>
            <c:idx val="52"/>
            <c:invertIfNegative val="1"/>
            <c:bubble3D val="0"/>
            <c:spPr>
              <a:solidFill>
                <a:srgbClr val="AEABAB"/>
              </a:solidFill>
            </c:spPr>
            <c:extLst>
              <c:ext xmlns:c16="http://schemas.microsoft.com/office/drawing/2014/chart" uri="{C3380CC4-5D6E-409C-BE32-E72D297353CC}">
                <c16:uniqueId val="{0000006B-6C15-4E83-ABBB-FA96853C102E}"/>
              </c:ext>
            </c:extLst>
          </c:dPt>
          <c:dPt>
            <c:idx val="53"/>
            <c:invertIfNegative val="1"/>
            <c:bubble3D val="0"/>
            <c:spPr>
              <a:solidFill>
                <a:srgbClr val="AEABAB"/>
              </a:solidFill>
            </c:spPr>
            <c:extLst>
              <c:ext xmlns:c16="http://schemas.microsoft.com/office/drawing/2014/chart" uri="{C3380CC4-5D6E-409C-BE32-E72D297353CC}">
                <c16:uniqueId val="{0000006D-6C15-4E83-ABBB-FA96853C102E}"/>
              </c:ext>
            </c:extLst>
          </c:dPt>
          <c:dPt>
            <c:idx val="54"/>
            <c:invertIfNegative val="1"/>
            <c:bubble3D val="0"/>
            <c:spPr>
              <a:solidFill>
                <a:srgbClr val="AEABAB"/>
              </a:solidFill>
            </c:spPr>
            <c:extLst>
              <c:ext xmlns:c16="http://schemas.microsoft.com/office/drawing/2014/chart" uri="{C3380CC4-5D6E-409C-BE32-E72D297353CC}">
                <c16:uniqueId val="{0000006F-6C15-4E83-ABBB-FA96853C102E}"/>
              </c:ext>
            </c:extLst>
          </c:dPt>
          <c:dPt>
            <c:idx val="55"/>
            <c:invertIfNegative val="1"/>
            <c:bubble3D val="0"/>
            <c:spPr>
              <a:solidFill>
                <a:srgbClr val="AEABAB"/>
              </a:solidFill>
            </c:spPr>
            <c:extLst>
              <c:ext xmlns:c16="http://schemas.microsoft.com/office/drawing/2014/chart" uri="{C3380CC4-5D6E-409C-BE32-E72D297353CC}">
                <c16:uniqueId val="{00000071-6C15-4E83-ABBB-FA96853C102E}"/>
              </c:ext>
            </c:extLst>
          </c:dPt>
          <c:dPt>
            <c:idx val="56"/>
            <c:invertIfNegative val="1"/>
            <c:bubble3D val="0"/>
            <c:spPr>
              <a:solidFill>
                <a:srgbClr val="AEABAB"/>
              </a:solidFill>
            </c:spPr>
            <c:extLst>
              <c:ext xmlns:c16="http://schemas.microsoft.com/office/drawing/2014/chart" uri="{C3380CC4-5D6E-409C-BE32-E72D297353CC}">
                <c16:uniqueId val="{00000073-6C15-4E83-ABBB-FA96853C102E}"/>
              </c:ext>
            </c:extLst>
          </c:dPt>
          <c:dPt>
            <c:idx val="57"/>
            <c:invertIfNegative val="1"/>
            <c:bubble3D val="0"/>
            <c:spPr>
              <a:solidFill>
                <a:srgbClr val="AEABAB"/>
              </a:solidFill>
            </c:spPr>
            <c:extLst>
              <c:ext xmlns:c16="http://schemas.microsoft.com/office/drawing/2014/chart" uri="{C3380CC4-5D6E-409C-BE32-E72D297353CC}">
                <c16:uniqueId val="{00000075-6C15-4E83-ABBB-FA96853C102E}"/>
              </c:ext>
            </c:extLst>
          </c:dPt>
          <c:dPt>
            <c:idx val="58"/>
            <c:invertIfNegative val="1"/>
            <c:bubble3D val="0"/>
            <c:spPr>
              <a:solidFill>
                <a:srgbClr val="AEABAB"/>
              </a:solidFill>
            </c:spPr>
            <c:extLst>
              <c:ext xmlns:c16="http://schemas.microsoft.com/office/drawing/2014/chart" uri="{C3380CC4-5D6E-409C-BE32-E72D297353CC}">
                <c16:uniqueId val="{00000077-6C15-4E83-ABBB-FA96853C102E}"/>
              </c:ext>
            </c:extLst>
          </c:dPt>
          <c:dPt>
            <c:idx val="59"/>
            <c:invertIfNegative val="1"/>
            <c:bubble3D val="0"/>
            <c:spPr>
              <a:solidFill>
                <a:srgbClr val="AEABAB"/>
              </a:solidFill>
            </c:spPr>
            <c:extLst>
              <c:ext xmlns:c16="http://schemas.microsoft.com/office/drawing/2014/chart" uri="{C3380CC4-5D6E-409C-BE32-E72D297353CC}">
                <c16:uniqueId val="{00000079-6C15-4E83-ABBB-FA96853C102E}"/>
              </c:ext>
            </c:extLst>
          </c:dPt>
          <c:dPt>
            <c:idx val="60"/>
            <c:invertIfNegative val="1"/>
            <c:bubble3D val="0"/>
            <c:spPr>
              <a:solidFill>
                <a:srgbClr val="AEABAB"/>
              </a:solidFill>
            </c:spPr>
            <c:extLst>
              <c:ext xmlns:c16="http://schemas.microsoft.com/office/drawing/2014/chart" uri="{C3380CC4-5D6E-409C-BE32-E72D297353CC}">
                <c16:uniqueId val="{0000007B-6C15-4E83-ABBB-FA96853C102E}"/>
              </c:ext>
            </c:extLst>
          </c:dPt>
          <c:dPt>
            <c:idx val="61"/>
            <c:invertIfNegative val="1"/>
            <c:bubble3D val="0"/>
            <c:spPr>
              <a:solidFill>
                <a:srgbClr val="AEABAB"/>
              </a:solidFill>
            </c:spPr>
            <c:extLst>
              <c:ext xmlns:c16="http://schemas.microsoft.com/office/drawing/2014/chart" uri="{C3380CC4-5D6E-409C-BE32-E72D297353CC}">
                <c16:uniqueId val="{0000007D-6C15-4E83-ABBB-FA96853C102E}"/>
              </c:ext>
            </c:extLst>
          </c:dPt>
          <c:dPt>
            <c:idx val="62"/>
            <c:invertIfNegative val="1"/>
            <c:bubble3D val="0"/>
            <c:spPr>
              <a:solidFill>
                <a:srgbClr val="AEABAB"/>
              </a:solidFill>
            </c:spPr>
            <c:extLst>
              <c:ext xmlns:c16="http://schemas.microsoft.com/office/drawing/2014/chart" uri="{C3380CC4-5D6E-409C-BE32-E72D297353CC}">
                <c16:uniqueId val="{0000007F-6C15-4E83-ABBB-FA96853C102E}"/>
              </c:ext>
            </c:extLst>
          </c:dPt>
          <c:dPt>
            <c:idx val="63"/>
            <c:invertIfNegative val="1"/>
            <c:bubble3D val="0"/>
            <c:spPr>
              <a:solidFill>
                <a:srgbClr val="AEABAB"/>
              </a:solidFill>
            </c:spPr>
            <c:extLst>
              <c:ext xmlns:c16="http://schemas.microsoft.com/office/drawing/2014/chart" uri="{C3380CC4-5D6E-409C-BE32-E72D297353CC}">
                <c16:uniqueId val="{00000081-6C15-4E83-ABBB-FA96853C102E}"/>
              </c:ext>
            </c:extLst>
          </c:dPt>
          <c:dPt>
            <c:idx val="64"/>
            <c:invertIfNegative val="1"/>
            <c:bubble3D val="0"/>
            <c:spPr>
              <a:solidFill>
                <a:srgbClr val="AEABAB"/>
              </a:solidFill>
            </c:spPr>
            <c:extLst>
              <c:ext xmlns:c16="http://schemas.microsoft.com/office/drawing/2014/chart" uri="{C3380CC4-5D6E-409C-BE32-E72D297353CC}">
                <c16:uniqueId val="{00000083-6C15-4E83-ABBB-FA96853C102E}"/>
              </c:ext>
            </c:extLst>
          </c:dPt>
          <c:dPt>
            <c:idx val="65"/>
            <c:invertIfNegative val="1"/>
            <c:bubble3D val="0"/>
            <c:spPr>
              <a:solidFill>
                <a:srgbClr val="AEABAB"/>
              </a:solidFill>
            </c:spPr>
            <c:extLst>
              <c:ext xmlns:c16="http://schemas.microsoft.com/office/drawing/2014/chart" uri="{C3380CC4-5D6E-409C-BE32-E72D297353CC}">
                <c16:uniqueId val="{00000085-6C15-4E83-ABBB-FA96853C102E}"/>
              </c:ext>
            </c:extLst>
          </c:dPt>
          <c:dPt>
            <c:idx val="66"/>
            <c:invertIfNegative val="1"/>
            <c:bubble3D val="0"/>
            <c:spPr>
              <a:solidFill>
                <a:srgbClr val="AEABAB"/>
              </a:solidFill>
            </c:spPr>
            <c:extLst>
              <c:ext xmlns:c16="http://schemas.microsoft.com/office/drawing/2014/chart" uri="{C3380CC4-5D6E-409C-BE32-E72D297353CC}">
                <c16:uniqueId val="{00000087-6C15-4E83-ABBB-FA96853C102E}"/>
              </c:ext>
            </c:extLst>
          </c:dPt>
          <c:dPt>
            <c:idx val="67"/>
            <c:invertIfNegative val="1"/>
            <c:bubble3D val="0"/>
            <c:spPr>
              <a:solidFill>
                <a:srgbClr val="AEABAB"/>
              </a:solidFill>
            </c:spPr>
            <c:extLst>
              <c:ext xmlns:c16="http://schemas.microsoft.com/office/drawing/2014/chart" uri="{C3380CC4-5D6E-409C-BE32-E72D297353CC}">
                <c16:uniqueId val="{00000089-6C15-4E83-ABBB-FA96853C102E}"/>
              </c:ext>
            </c:extLst>
          </c:dPt>
          <c:dPt>
            <c:idx val="68"/>
            <c:invertIfNegative val="1"/>
            <c:bubble3D val="0"/>
            <c:spPr>
              <a:solidFill>
                <a:srgbClr val="AEABAB"/>
              </a:solidFill>
            </c:spPr>
            <c:extLst>
              <c:ext xmlns:c16="http://schemas.microsoft.com/office/drawing/2014/chart" uri="{C3380CC4-5D6E-409C-BE32-E72D297353CC}">
                <c16:uniqueId val="{0000008B-6C15-4E83-ABBB-FA96853C102E}"/>
              </c:ext>
            </c:extLst>
          </c:dPt>
          <c:dPt>
            <c:idx val="69"/>
            <c:invertIfNegative val="1"/>
            <c:bubble3D val="0"/>
            <c:spPr>
              <a:solidFill>
                <a:srgbClr val="AEABAB"/>
              </a:solidFill>
            </c:spPr>
            <c:extLst>
              <c:ext xmlns:c16="http://schemas.microsoft.com/office/drawing/2014/chart" uri="{C3380CC4-5D6E-409C-BE32-E72D297353CC}">
                <c16:uniqueId val="{0000008D-6C15-4E83-ABBB-FA96853C102E}"/>
              </c:ext>
            </c:extLst>
          </c:dPt>
          <c:dPt>
            <c:idx val="70"/>
            <c:invertIfNegative val="1"/>
            <c:bubble3D val="0"/>
            <c:spPr>
              <a:solidFill>
                <a:srgbClr val="AEABAB"/>
              </a:solidFill>
            </c:spPr>
            <c:extLst>
              <c:ext xmlns:c16="http://schemas.microsoft.com/office/drawing/2014/chart" uri="{C3380CC4-5D6E-409C-BE32-E72D297353CC}">
                <c16:uniqueId val="{0000008F-6C15-4E83-ABBB-FA96853C102E}"/>
              </c:ext>
            </c:extLst>
          </c:dPt>
          <c:dPt>
            <c:idx val="71"/>
            <c:invertIfNegative val="1"/>
            <c:bubble3D val="0"/>
            <c:spPr>
              <a:solidFill>
                <a:srgbClr val="AEABAB"/>
              </a:solidFill>
            </c:spPr>
            <c:extLst>
              <c:ext xmlns:c16="http://schemas.microsoft.com/office/drawing/2014/chart" uri="{C3380CC4-5D6E-409C-BE32-E72D297353CC}">
                <c16:uniqueId val="{00000091-6C15-4E83-ABBB-FA96853C102E}"/>
              </c:ext>
            </c:extLst>
          </c:dPt>
          <c:dPt>
            <c:idx val="72"/>
            <c:invertIfNegative val="1"/>
            <c:bubble3D val="0"/>
            <c:spPr>
              <a:solidFill>
                <a:srgbClr val="AEABAB"/>
              </a:solidFill>
            </c:spPr>
            <c:extLst>
              <c:ext xmlns:c16="http://schemas.microsoft.com/office/drawing/2014/chart" uri="{C3380CC4-5D6E-409C-BE32-E72D297353CC}">
                <c16:uniqueId val="{00000093-6C15-4E83-ABBB-FA96853C102E}"/>
              </c:ext>
            </c:extLst>
          </c:dPt>
          <c:dPt>
            <c:idx val="73"/>
            <c:invertIfNegative val="1"/>
            <c:bubble3D val="0"/>
            <c:spPr>
              <a:solidFill>
                <a:srgbClr val="AEABAB"/>
              </a:solidFill>
            </c:spPr>
            <c:extLst>
              <c:ext xmlns:c16="http://schemas.microsoft.com/office/drawing/2014/chart" uri="{C3380CC4-5D6E-409C-BE32-E72D297353CC}">
                <c16:uniqueId val="{00000095-6C15-4E83-ABBB-FA96853C102E}"/>
              </c:ext>
            </c:extLst>
          </c:dPt>
          <c:dPt>
            <c:idx val="74"/>
            <c:invertIfNegative val="1"/>
            <c:bubble3D val="0"/>
            <c:spPr>
              <a:solidFill>
                <a:srgbClr val="AEABAB"/>
              </a:solidFill>
            </c:spPr>
            <c:extLst>
              <c:ext xmlns:c16="http://schemas.microsoft.com/office/drawing/2014/chart" uri="{C3380CC4-5D6E-409C-BE32-E72D297353CC}">
                <c16:uniqueId val="{00000097-6C15-4E83-ABBB-FA96853C102E}"/>
              </c:ext>
            </c:extLst>
          </c:dPt>
          <c:dPt>
            <c:idx val="75"/>
            <c:invertIfNegative val="1"/>
            <c:bubble3D val="0"/>
            <c:spPr>
              <a:solidFill>
                <a:srgbClr val="AEABAB"/>
              </a:solidFill>
            </c:spPr>
            <c:extLst>
              <c:ext xmlns:c16="http://schemas.microsoft.com/office/drawing/2014/chart" uri="{C3380CC4-5D6E-409C-BE32-E72D297353CC}">
                <c16:uniqueId val="{00000099-6C15-4E83-ABBB-FA96853C102E}"/>
              </c:ext>
            </c:extLst>
          </c:dPt>
          <c:dPt>
            <c:idx val="76"/>
            <c:invertIfNegative val="1"/>
            <c:bubble3D val="0"/>
            <c:spPr>
              <a:solidFill>
                <a:srgbClr val="AEABAB"/>
              </a:solidFill>
            </c:spPr>
            <c:extLst>
              <c:ext xmlns:c16="http://schemas.microsoft.com/office/drawing/2014/chart" uri="{C3380CC4-5D6E-409C-BE32-E72D297353CC}">
                <c16:uniqueId val="{0000009B-6C15-4E83-ABBB-FA96853C102E}"/>
              </c:ext>
            </c:extLst>
          </c:dPt>
          <c:dPt>
            <c:idx val="77"/>
            <c:invertIfNegative val="1"/>
            <c:bubble3D val="0"/>
            <c:spPr>
              <a:solidFill>
                <a:srgbClr val="AEABAB"/>
              </a:solidFill>
            </c:spPr>
            <c:extLst>
              <c:ext xmlns:c16="http://schemas.microsoft.com/office/drawing/2014/chart" uri="{C3380CC4-5D6E-409C-BE32-E72D297353CC}">
                <c16:uniqueId val="{0000009D-6C15-4E83-ABBB-FA96853C102E}"/>
              </c:ext>
            </c:extLst>
          </c:dPt>
          <c:dPt>
            <c:idx val="78"/>
            <c:invertIfNegative val="1"/>
            <c:bubble3D val="0"/>
            <c:spPr>
              <a:solidFill>
                <a:srgbClr val="AEABAB"/>
              </a:solidFill>
            </c:spPr>
            <c:extLst>
              <c:ext xmlns:c16="http://schemas.microsoft.com/office/drawing/2014/chart" uri="{C3380CC4-5D6E-409C-BE32-E72D297353CC}">
                <c16:uniqueId val="{0000009F-6C15-4E83-ABBB-FA96853C102E}"/>
              </c:ext>
            </c:extLst>
          </c:dPt>
          <c:dPt>
            <c:idx val="79"/>
            <c:invertIfNegative val="1"/>
            <c:bubble3D val="0"/>
            <c:spPr>
              <a:solidFill>
                <a:srgbClr val="AEABAB"/>
              </a:solidFill>
            </c:spPr>
            <c:extLst>
              <c:ext xmlns:c16="http://schemas.microsoft.com/office/drawing/2014/chart" uri="{C3380CC4-5D6E-409C-BE32-E72D297353CC}">
                <c16:uniqueId val="{000000A1-6C15-4E83-ABBB-FA96853C102E}"/>
              </c:ext>
            </c:extLst>
          </c:dPt>
          <c:dPt>
            <c:idx val="80"/>
            <c:invertIfNegative val="1"/>
            <c:bubble3D val="0"/>
            <c:spPr>
              <a:solidFill>
                <a:srgbClr val="AEABAB"/>
              </a:solidFill>
            </c:spPr>
            <c:extLst>
              <c:ext xmlns:c16="http://schemas.microsoft.com/office/drawing/2014/chart" uri="{C3380CC4-5D6E-409C-BE32-E72D297353CC}">
                <c16:uniqueId val="{000000A3-6C15-4E83-ABBB-FA96853C102E}"/>
              </c:ext>
            </c:extLst>
          </c:dPt>
          <c:dPt>
            <c:idx val="81"/>
            <c:invertIfNegative val="1"/>
            <c:bubble3D val="0"/>
            <c:spPr>
              <a:solidFill>
                <a:srgbClr val="AEABAB"/>
              </a:solidFill>
            </c:spPr>
            <c:extLst>
              <c:ext xmlns:c16="http://schemas.microsoft.com/office/drawing/2014/chart" uri="{C3380CC4-5D6E-409C-BE32-E72D297353CC}">
                <c16:uniqueId val="{000000A5-6C15-4E83-ABBB-FA96853C102E}"/>
              </c:ext>
            </c:extLst>
          </c:dPt>
          <c:cat>
            <c:strRef>
              <c:f>Sheet1!$A$2:$A$83</c:f>
              <c:strCache>
                <c:ptCount val="82"/>
                <c:pt idx="0">
                  <c:v>Mini Babybel Rouge Filet St Paulin Ferme 1X264Gr 12P</c:v>
                </c:pt>
                <c:pt idx="1">
                  <c:v>La Vache Qui Rit Nature Fromage Fondu Boite Ronde 1X192Gr 12P</c:v>
                </c:pt>
                <c:pt idx="2">
                  <c:v>Mini Babybel Rouge Filet St Paulin Ferme 1X132Gr 6P</c:v>
                </c:pt>
                <c:pt idx="3">
                  <c:v>La Vache Qui Rit Nature Fromage Fondu Boite Ronde 1X512Gr 32P</c:v>
                </c:pt>
                <c:pt idx="4">
                  <c:v>Kiri Creme Fromage Blanc Frais Carre 1X216Gr 12P</c:v>
                </c:pt>
                <c:pt idx="5">
                  <c:v>La Vache Qui Rit Nature Fromage Fondu Boite Ronde 1X384Gr 24P</c:v>
                </c:pt>
                <c:pt idx="6">
                  <c:v>Kiri Creme Fromage Blanc Frais Carre 1X144Gr 8P</c:v>
                </c:pt>
                <c:pt idx="7">
                  <c:v>Boursin Classique Fromage Frais A Tartiner Afh Boite 1X150Gr 1P</c:v>
                </c:pt>
                <c:pt idx="8">
                  <c:v>Boursin Classique Fromage Frais A Tartiner Afh 1X160Gr 10P</c:v>
                </c:pt>
                <c:pt idx="9">
                  <c:v>Apericube Edition Limitee Best Of Foot Fromage Fondu Cube Assortis 1X250Gr 48P</c:v>
                </c:pt>
                <c:pt idx="10">
                  <c:v>Kiri Gouter Fromage Blanc Dips Boite 1X175Gr 5P</c:v>
                </c:pt>
                <c:pt idx="11">
                  <c:v>Apericube Cocktail Fromage Fondu Cube Assortis 1X250Gr 48P</c:v>
                </c:pt>
                <c:pt idx="12">
                  <c:v>Kiri Creme Fromage Blanc Frais Carre 1X432Gr 24P</c:v>
                </c:pt>
                <c:pt idx="13">
                  <c:v>Babybel St Paulin 1X200Gr 1P</c:v>
                </c:pt>
                <c:pt idx="14">
                  <c:v>Boursin Aperitif Roules Fromage Frais Roule Afh Et Jambon Fume Boite 1X100Gr 20P</c:v>
                </c:pt>
                <c:pt idx="15">
                  <c:v>Boursin Classique Fromage Frais A Tartiner Afh Boite 1X250Gr 1P</c:v>
                </c:pt>
                <c:pt idx="16">
                  <c:v>Kiri Gouter Fromage Blanc Dips Boite 1X280Gr 8P</c:v>
                </c:pt>
                <c:pt idx="17">
                  <c:v>Port Salut St Paulin 1X320Gr 1P</c:v>
                </c:pt>
                <c:pt idx="18">
                  <c:v>Apericube Long Drink Fromage Fondu Cube Assortis 1X250Gr 48P</c:v>
                </c:pt>
                <c:pt idx="19">
                  <c:v>Boursin Onctueux Fromage Frais A Tartiner Afh 1X125Gr 1P</c:v>
                </c:pt>
                <c:pt idx="20">
                  <c:v>Apericube Tonic Fromage Fondu Cube Assortis 1X250Gr 48P</c:v>
                </c:pt>
                <c:pt idx="21">
                  <c:v>La Vache Qui Rit Pik Et Croq' Fromage Fondu Dips Boite 1X175Gr 5P</c:v>
                </c:pt>
                <c:pt idx="22">
                  <c:v>Cousteron St Paulin 1X320Gr 1P</c:v>
                </c:pt>
                <c:pt idx="23">
                  <c:v>Boursin Classique Fromage Frais A Tartiner Figue Et 3 Noix Boite 1X150Gr 1P</c:v>
                </c:pt>
                <c:pt idx="24">
                  <c:v>Apericube Campagne Fromage Fondu Cube Assortis 1X125Gr 24P</c:v>
                </c:pt>
                <c:pt idx="25">
                  <c:v>Boursin Classique Fromage Frais A Tartiner Afh Boite 1X96Gr 6P</c:v>
                </c:pt>
                <c:pt idx="26">
                  <c:v>Apericube Nature Fromage Fondu Cube 1X125Gr 24P</c:v>
                </c:pt>
                <c:pt idx="27">
                  <c:v>Boursin Salade &amp; Aperitif Fromage Frais Des Afh 1X120Gr 1P</c:v>
                </c:pt>
                <c:pt idx="28">
                  <c:v>Boursin Classique Fromage Frais A Tartiner Ciboulette &amp; Echalote Boite 1X150Gr 1P</c:v>
                </c:pt>
                <c:pt idx="29">
                  <c:v>Boursin Cuisine Sauce Fromage Afh 1X240Gr 1P</c:v>
                </c:pt>
                <c:pt idx="30">
                  <c:v>Apericube Edition Limitee Saison Fromage Fondu Cube Assortis 1X250Gr 48P</c:v>
                </c:pt>
                <c:pt idx="31">
                  <c:v>Apericube Edition Voyage Fromage Fondu Cube Assortis 1X250Gr 48P</c:v>
                </c:pt>
                <c:pt idx="32">
                  <c:v>Apericube Incontournable Fromage Fondu Cube Assortis 1X250Gr 48P</c:v>
                </c:pt>
                <c:pt idx="33">
                  <c:v>Mini Babybel Rouge Filet St Paulin Ferme 1X440Gr 20P</c:v>
                </c:pt>
                <c:pt idx="34">
                  <c:v>Boursin Aperitif Roules Fromage Frais Roule Ciboulette &amp; Echalote Jambon Fume Boite 1X100Gr 20P</c:v>
                </c:pt>
                <c:pt idx="35">
                  <c:v>La Vache Qui Rit Allegee Fromage Fondu Boite Ronde Allege 1X267Gr 16P</c:v>
                </c:pt>
                <c:pt idx="36">
                  <c:v>Boursin Classique Fromage Frais A Tartiner Poivre Boite 1X150Gr 1P</c:v>
                </c:pt>
                <c:pt idx="37">
                  <c:v>La Vache Qui Rit Pik Et Croq' Fromage Fondu Dips Boite 1X280Gr 8P</c:v>
                </c:pt>
                <c:pt idx="38">
                  <c:v>Babybel Mini Rolls St Paulin Ferme Sachet 1X85Gr 5P</c:v>
                </c:pt>
                <c:pt idx="39">
                  <c:v>Apericube Saveurs De L'Authentique Fromage Fondu Cube Assortis 1X250Gr 48P</c:v>
                </c:pt>
                <c:pt idx="40">
                  <c:v>Kiri Bio Fromage Blanc Frais Carre 1X144Gr 8P</c:v>
                </c:pt>
                <c:pt idx="41">
                  <c:v>Boursin Classique Fromage Frais A Tartiner Afh 1X256Gr 16P</c:v>
                </c:pt>
                <c:pt idx="42">
                  <c:v>Kiri Delicieusement Fouette Fromage Frais A Tartiner 1X125Gr 1P</c:v>
                </c:pt>
                <c:pt idx="43">
                  <c:v>Boursin Aperitif Roules Fromage Frais Roule Basilic &amp; Jambon Fume Tomate Boite 1X100Gr 20P</c:v>
                </c:pt>
                <c:pt idx="44">
                  <c:v>Mini Babybel Aros St Paulin Ferme Assortis Filet 1X180Gr 9P</c:v>
                </c:pt>
                <c:pt idx="45">
                  <c:v>Kiri Creme Fromage Blanc Frais Carre 1X432Gr 18+6P</c:v>
                </c:pt>
                <c:pt idx="46">
                  <c:v>Boursin Classique Fromage Frais A Tartiner Ciboulette &amp; Echalote 1X160Gr 10P</c:v>
                </c:pt>
                <c:pt idx="47">
                  <c:v>La Vache Qui Rit Aro Fromage Fondu Boite Ronde Jambon 1X133Gr 8P</c:v>
                </c:pt>
                <c:pt idx="48">
                  <c:v>Kiri Chevre Fromage Blanc Frais Carre 1X144Gr 8P</c:v>
                </c:pt>
                <c:pt idx="49">
                  <c:v>Mini Babybel Rouge Filet St Paulin Ferme 1X396Gr 12+6P</c:v>
                </c:pt>
                <c:pt idx="50">
                  <c:v>Mini Babybel Aros Soft Cheese Enfant 180G</c:v>
                </c:pt>
                <c:pt idx="51">
                  <c:v>Apericube Long Drink Fromage Fondu Cube Assortis 1X125Gr 24P</c:v>
                </c:pt>
                <c:pt idx="52">
                  <c:v>Kiri Delicieusement Fouette Fromage Frais A Tartiner 1X160Gr 10P</c:v>
                </c:pt>
                <c:pt idx="53">
                  <c:v>Mini Babybel Aros St Paulin Ferme Raclette Filet 1X132Gr 6P</c:v>
                </c:pt>
                <c:pt idx="54">
                  <c:v>Boursin Salade &amp; Aperitif Fromage Frais Des Ciboulette Echalote 1X120Gr 1P</c:v>
                </c:pt>
                <c:pt idx="55">
                  <c:v>Apericube Soiree Match Aperitif 250G</c:v>
                </c:pt>
                <c:pt idx="56">
                  <c:v>Nurishh Le Rape Vegetal Specialite Vegetale Sachet 1X150Gr 1P</c:v>
                </c:pt>
                <c:pt idx="57">
                  <c:v>Boursin Salade &amp; Aperitif Fromage Frais Des Figue Noix 1X120Gr 1P</c:v>
                </c:pt>
                <c:pt idx="58">
                  <c:v>Nurishh Les Tranches Vegetales Cheddar Vegetal Tranche Boite 1X160Gr 8P</c:v>
                </c:pt>
                <c:pt idx="59">
                  <c:v>Nurishh Le Rape Vegetal Specialite Vegetale Emmental Sachet 1X150Gr 1P</c:v>
                </c:pt>
                <c:pt idx="60">
                  <c:v>Boursin Classique Fromage Frais A Tartiner Afh Boite 1X80Gr 1P</c:v>
                </c:pt>
                <c:pt idx="61">
                  <c:v>Apericube Best Of Des Saveurs Fromage Fondu Cube Assortis 1X125Gr 24P</c:v>
                </c:pt>
                <c:pt idx="62">
                  <c:v>Nurishh Le Palet Vegetal Specialite Vegetale Ovale Saveur Chevre Boite 1X140Gr 1P</c:v>
                </c:pt>
                <c:pt idx="63">
                  <c:v>Nurishh Le Coeur Fleuri Vegetal Camembert Boite 1X140Gr 1P</c:v>
                </c:pt>
                <c:pt idx="64">
                  <c:v>Boursin Salade &amp; Aperitif Fromage Frais Des Citron Romarin 1X120Gr 1P</c:v>
                </c:pt>
                <c:pt idx="65">
                  <c:v>Apericube Hot Chalenge Aperitif 250G</c:v>
                </c:pt>
                <c:pt idx="66">
                  <c:v>Mini Babybel Rouge Filet St Paulin Ferme Sachet 1X40Gr 1P</c:v>
                </c:pt>
                <c:pt idx="67">
                  <c:v>Mini Babybel Aros Soft Cheese Enfant 110G</c:v>
                </c:pt>
                <c:pt idx="68">
                  <c:v>Nurishh Des Vegetaux Feta Vegetale Sachet 1X150Gr 1P</c:v>
                </c:pt>
                <c:pt idx="69">
                  <c:v>Boursin Salade &amp; Aperitif Fromage Frais Des Noisette Et 3 Noix 1X120Gr 1P</c:v>
                </c:pt>
                <c:pt idx="70">
                  <c:v>Boursin Classique Fromage Frais A Tartiner Truffe Boite 1X150Gr 1P</c:v>
                </c:pt>
                <c:pt idx="71">
                  <c:v>Boursin Salade &amp; Aperitif Soft Cheese Salade 120G</c:v>
                </c:pt>
                <c:pt idx="72">
                  <c:v>Apericube Fromages Du Monde Aperitif 250G</c:v>
                </c:pt>
                <c:pt idx="73">
                  <c:v>Apericube Montagne Aperitif 250G</c:v>
                </c:pt>
                <c:pt idx="74">
                  <c:v>Boursin Aperitif Roules Fromage Frais Roule Jambon Fume &amp; Trio De Noix Boite 1X100Gr 20P</c:v>
                </c:pt>
                <c:pt idx="75">
                  <c:v>Boursin Aperitif Roules Aperitif 100G</c:v>
                </c:pt>
                <c:pt idx="76">
                  <c:v>Mini Babybel Bio St Paulin Ferme Filet 1X100Gr 5P</c:v>
                </c:pt>
                <c:pt idx="77">
                  <c:v>Toastinette Fromage Fondu Tranche A Chaud Sachet 1X200Gr 10P</c:v>
                </c:pt>
                <c:pt idx="78">
                  <c:v>La Vache Qui Rit Nature Fromage Fondu Boite Ronde 1X128Gr 8P</c:v>
                </c:pt>
                <c:pt idx="79">
                  <c:v>Kiri Delicieusement Fouette Fromage Frais A Tartiner 1X210Gr 1P</c:v>
                </c:pt>
                <c:pt idx="80">
                  <c:v>Toastinette Fromage Fondu Tranche A Chaud Sachet 1X340Gr 20P</c:v>
                </c:pt>
                <c:pt idx="81">
                  <c:v>Toastinette Cheddar Fondu Tranche A Chaud Sachet 1X340Gr 20P</c:v>
                </c:pt>
              </c:strCache>
            </c:strRef>
          </c:cat>
          <c:val>
            <c:numRef>
              <c:f>Sheet1!$C$2:$C$83</c:f>
              <c:numCache>
                <c:formatCode>General</c:formatCode>
                <c:ptCount val="82"/>
                <c:pt idx="0">
                  <c:v>8.7950214500493645E-2</c:v>
                </c:pt>
                <c:pt idx="1">
                  <c:v>0.16440345226735303</c:v>
                </c:pt>
                <c:pt idx="2">
                  <c:v>0.23685421669245407</c:v>
                </c:pt>
                <c:pt idx="3">
                  <c:v>0.29028465940726322</c:v>
                </c:pt>
                <c:pt idx="4">
                  <c:v>0.33958240199049139</c:v>
                </c:pt>
                <c:pt idx="5">
                  <c:v>0.38214246898738247</c:v>
                </c:pt>
                <c:pt idx="6">
                  <c:v>0.417403416742962</c:v>
                </c:pt>
                <c:pt idx="7">
                  <c:v>0.44903463346742323</c:v>
                </c:pt>
                <c:pt idx="8">
                  <c:v>0.47995474685002409</c:v>
                </c:pt>
                <c:pt idx="9">
                  <c:v>0.51071209872826195</c:v>
                </c:pt>
                <c:pt idx="10">
                  <c:v>0.53891661862666917</c:v>
                </c:pt>
                <c:pt idx="11">
                  <c:v>0.56571634231021795</c:v>
                </c:pt>
                <c:pt idx="12">
                  <c:v>0.58949218410638737</c:v>
                </c:pt>
                <c:pt idx="13">
                  <c:v>0.61256008810048956</c:v>
                </c:pt>
                <c:pt idx="14">
                  <c:v>0.63450589616959119</c:v>
                </c:pt>
                <c:pt idx="15">
                  <c:v>0.65556517723329699</c:v>
                </c:pt>
                <c:pt idx="16">
                  <c:v>0.67619306556852909</c:v>
                </c:pt>
                <c:pt idx="17">
                  <c:v>0.69666276484576606</c:v>
                </c:pt>
                <c:pt idx="18">
                  <c:v>0.71463722738107505</c:v>
                </c:pt>
                <c:pt idx="19">
                  <c:v>0.73148801122148677</c:v>
                </c:pt>
                <c:pt idx="20">
                  <c:v>0.74738623137915172</c:v>
                </c:pt>
                <c:pt idx="21">
                  <c:v>0.76273259243288249</c:v>
                </c:pt>
                <c:pt idx="22">
                  <c:v>0.77706008933153281</c:v>
                </c:pt>
                <c:pt idx="23">
                  <c:v>0.79121963675782581</c:v>
                </c:pt>
                <c:pt idx="24">
                  <c:v>0.80491868607588057</c:v>
                </c:pt>
                <c:pt idx="25">
                  <c:v>0.81787049213943686</c:v>
                </c:pt>
                <c:pt idx="26">
                  <c:v>0.8300359253593852</c:v>
                </c:pt>
                <c:pt idx="27">
                  <c:v>0.84148884833089854</c:v>
                </c:pt>
                <c:pt idx="28">
                  <c:v>0.85237382070452927</c:v>
                </c:pt>
                <c:pt idx="29">
                  <c:v>0.86245993393870146</c:v>
                </c:pt>
                <c:pt idx="30">
                  <c:v>0.87253241776543111</c:v>
                </c:pt>
                <c:pt idx="31">
                  <c:v>0.88185827385928861</c:v>
                </c:pt>
                <c:pt idx="32">
                  <c:v>0.89103455819792121</c:v>
                </c:pt>
                <c:pt idx="33">
                  <c:v>0.89969503541359686</c:v>
                </c:pt>
                <c:pt idx="34">
                  <c:v>0.90825984298219142</c:v>
                </c:pt>
                <c:pt idx="35">
                  <c:v>0.9163729456086398</c:v>
                </c:pt>
                <c:pt idx="36">
                  <c:v>0.92395555652475758</c:v>
                </c:pt>
                <c:pt idx="37">
                  <c:v>0.92972888558578459</c:v>
                </c:pt>
                <c:pt idx="38">
                  <c:v>0.93506923914844131</c:v>
                </c:pt>
                <c:pt idx="39">
                  <c:v>0.94010561295929751</c:v>
                </c:pt>
                <c:pt idx="40">
                  <c:v>0.94488346768704878</c:v>
                </c:pt>
                <c:pt idx="41">
                  <c:v>0.94942109311716649</c:v>
                </c:pt>
                <c:pt idx="42">
                  <c:v>0.95379674842786955</c:v>
                </c:pt>
                <c:pt idx="43">
                  <c:v>0.9580073560110256</c:v>
                </c:pt>
                <c:pt idx="44">
                  <c:v>0.96174700161829396</c:v>
                </c:pt>
                <c:pt idx="45">
                  <c:v>0.96482803908527126</c:v>
                </c:pt>
                <c:pt idx="46">
                  <c:v>0.96788639018373113</c:v>
                </c:pt>
                <c:pt idx="47">
                  <c:v>0.97074610366017267</c:v>
                </c:pt>
                <c:pt idx="48">
                  <c:v>0.97351823720233788</c:v>
                </c:pt>
                <c:pt idx="49">
                  <c:v>0.97607388299531794</c:v>
                </c:pt>
                <c:pt idx="50">
                  <c:v>0.97851002966110767</c:v>
                </c:pt>
                <c:pt idx="51">
                  <c:v>0.98058776687698723</c:v>
                </c:pt>
                <c:pt idx="52">
                  <c:v>0.98244840082205531</c:v>
                </c:pt>
                <c:pt idx="53">
                  <c:v>0.98412560932244419</c:v>
                </c:pt>
                <c:pt idx="54">
                  <c:v>0.98574495878994761</c:v>
                </c:pt>
                <c:pt idx="55">
                  <c:v>0.98735525129637625</c:v>
                </c:pt>
                <c:pt idx="56">
                  <c:v>0.98869207633734357</c:v>
                </c:pt>
                <c:pt idx="57">
                  <c:v>0.98990192805994237</c:v>
                </c:pt>
                <c:pt idx="58">
                  <c:v>0.99087216600653405</c:v>
                </c:pt>
                <c:pt idx="59">
                  <c:v>0.99179843812266577</c:v>
                </c:pt>
                <c:pt idx="60">
                  <c:v>0.9925733798503541</c:v>
                </c:pt>
                <c:pt idx="61">
                  <c:v>0.99327815211262827</c:v>
                </c:pt>
                <c:pt idx="62">
                  <c:v>0.99395030172870102</c:v>
                </c:pt>
                <c:pt idx="63">
                  <c:v>0.99462236341311283</c:v>
                </c:pt>
                <c:pt idx="64">
                  <c:v>0.99528237845997869</c:v>
                </c:pt>
                <c:pt idx="65">
                  <c:v>0.99593096239092493</c:v>
                </c:pt>
                <c:pt idx="66">
                  <c:v>0.99656538932446304</c:v>
                </c:pt>
                <c:pt idx="67">
                  <c:v>0.99716490738861585</c:v>
                </c:pt>
                <c:pt idx="68">
                  <c:v>0.99776099611799285</c:v>
                </c:pt>
                <c:pt idx="69">
                  <c:v>0.99823222188886329</c:v>
                </c:pt>
                <c:pt idx="70">
                  <c:v>0.9985980175982907</c:v>
                </c:pt>
                <c:pt idx="71">
                  <c:v>0.99886365914593012</c:v>
                </c:pt>
                <c:pt idx="72">
                  <c:v>0.99911945234754651</c:v>
                </c:pt>
                <c:pt idx="73">
                  <c:v>0.99935308677061108</c:v>
                </c:pt>
                <c:pt idx="74">
                  <c:v>0.99958118149903763</c:v>
                </c:pt>
                <c:pt idx="75">
                  <c:v>0.99979388818680326</c:v>
                </c:pt>
                <c:pt idx="76">
                  <c:v>0.99992174082178098</c:v>
                </c:pt>
                <c:pt idx="77">
                  <c:v>0.99998724990916632</c:v>
                </c:pt>
                <c:pt idx="78">
                  <c:v>0.99999111890224679</c:v>
                </c:pt>
                <c:pt idx="79">
                  <c:v>0.9999968344602066</c:v>
                </c:pt>
                <c:pt idx="80">
                  <c:v>0.99999894482006868</c:v>
                </c:pt>
                <c:pt idx="81">
                  <c:v>0.9999999999999996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83</c:f>
              <c:strCache>
                <c:ptCount val="82"/>
                <c:pt idx="0">
                  <c:v>Mini Babybel Rouge Filet St Paulin Ferme 1X264Gr 12P</c:v>
                </c:pt>
                <c:pt idx="1">
                  <c:v>La Vache Qui Rit Nature Fromage Fondu Boite Ronde 1X192Gr 12P</c:v>
                </c:pt>
                <c:pt idx="2">
                  <c:v>Mini Babybel Rouge Filet St Paulin Ferme 1X132Gr 6P</c:v>
                </c:pt>
                <c:pt idx="3">
                  <c:v>La Vache Qui Rit Nature Fromage Fondu Boite Ronde 1X512Gr 32P</c:v>
                </c:pt>
                <c:pt idx="4">
                  <c:v>Kiri Creme Fromage Blanc Frais Carre 1X216Gr 12P</c:v>
                </c:pt>
                <c:pt idx="5">
                  <c:v>La Vache Qui Rit Nature Fromage Fondu Boite Ronde 1X384Gr 24P</c:v>
                </c:pt>
                <c:pt idx="6">
                  <c:v>Kiri Creme Fromage Blanc Frais Carre 1X144Gr 8P</c:v>
                </c:pt>
                <c:pt idx="7">
                  <c:v>Boursin Classique Fromage Frais A Tartiner Afh Boite 1X150Gr 1P</c:v>
                </c:pt>
                <c:pt idx="8">
                  <c:v>Boursin Classique Fromage Frais A Tartiner Afh 1X160Gr 10P</c:v>
                </c:pt>
                <c:pt idx="9">
                  <c:v>Apericube Edition Limitee Best Of Foot Fromage Fondu Cube Assortis 1X250Gr 48P</c:v>
                </c:pt>
                <c:pt idx="10">
                  <c:v>Kiri Gouter Fromage Blanc Dips Boite 1X175Gr 5P</c:v>
                </c:pt>
                <c:pt idx="11">
                  <c:v>Apericube Cocktail Fromage Fondu Cube Assortis 1X250Gr 48P</c:v>
                </c:pt>
                <c:pt idx="12">
                  <c:v>Kiri Creme Fromage Blanc Frais Carre 1X432Gr 24P</c:v>
                </c:pt>
                <c:pt idx="13">
                  <c:v>Babybel St Paulin 1X200Gr 1P</c:v>
                </c:pt>
                <c:pt idx="14">
                  <c:v>Boursin Aperitif Roules Fromage Frais Roule Afh Et Jambon Fume Boite 1X100Gr 20P</c:v>
                </c:pt>
                <c:pt idx="15">
                  <c:v>Boursin Classique Fromage Frais A Tartiner Afh Boite 1X250Gr 1P</c:v>
                </c:pt>
                <c:pt idx="16">
                  <c:v>Kiri Gouter Fromage Blanc Dips Boite 1X280Gr 8P</c:v>
                </c:pt>
                <c:pt idx="17">
                  <c:v>Port Salut St Paulin 1X320Gr 1P</c:v>
                </c:pt>
                <c:pt idx="18">
                  <c:v>Apericube Long Drink Fromage Fondu Cube Assortis 1X250Gr 48P</c:v>
                </c:pt>
                <c:pt idx="19">
                  <c:v>Boursin Onctueux Fromage Frais A Tartiner Afh 1X125Gr 1P</c:v>
                </c:pt>
                <c:pt idx="20">
                  <c:v>Apericube Tonic Fromage Fondu Cube Assortis 1X250Gr 48P</c:v>
                </c:pt>
                <c:pt idx="21">
                  <c:v>La Vache Qui Rit Pik Et Croq' Fromage Fondu Dips Boite 1X175Gr 5P</c:v>
                </c:pt>
                <c:pt idx="22">
                  <c:v>Cousteron St Paulin 1X320Gr 1P</c:v>
                </c:pt>
                <c:pt idx="23">
                  <c:v>Boursin Classique Fromage Frais A Tartiner Figue Et 3 Noix Boite 1X150Gr 1P</c:v>
                </c:pt>
                <c:pt idx="24">
                  <c:v>Apericube Campagne Fromage Fondu Cube Assortis 1X125Gr 24P</c:v>
                </c:pt>
                <c:pt idx="25">
                  <c:v>Boursin Classique Fromage Frais A Tartiner Afh Boite 1X96Gr 6P</c:v>
                </c:pt>
                <c:pt idx="26">
                  <c:v>Apericube Nature Fromage Fondu Cube 1X125Gr 24P</c:v>
                </c:pt>
                <c:pt idx="27">
                  <c:v>Boursin Salade &amp; Aperitif Fromage Frais Des Afh 1X120Gr 1P</c:v>
                </c:pt>
                <c:pt idx="28">
                  <c:v>Boursin Classique Fromage Frais A Tartiner Ciboulette &amp; Echalote Boite 1X150Gr 1P</c:v>
                </c:pt>
                <c:pt idx="29">
                  <c:v>Boursin Cuisine Sauce Fromage Afh 1X240Gr 1P</c:v>
                </c:pt>
                <c:pt idx="30">
                  <c:v>Apericube Edition Limitee Saison Fromage Fondu Cube Assortis 1X250Gr 48P</c:v>
                </c:pt>
                <c:pt idx="31">
                  <c:v>Apericube Edition Voyage Fromage Fondu Cube Assortis 1X250Gr 48P</c:v>
                </c:pt>
                <c:pt idx="32">
                  <c:v>Apericube Incontournable Fromage Fondu Cube Assortis 1X250Gr 48P</c:v>
                </c:pt>
                <c:pt idx="33">
                  <c:v>Mini Babybel Rouge Filet St Paulin Ferme 1X440Gr 20P</c:v>
                </c:pt>
                <c:pt idx="34">
                  <c:v>Boursin Aperitif Roules Fromage Frais Roule Ciboulette &amp; Echalote Jambon Fume Boite 1X100Gr 20P</c:v>
                </c:pt>
                <c:pt idx="35">
                  <c:v>La Vache Qui Rit Allegee Fromage Fondu Boite Ronde Allege 1X267Gr 16P</c:v>
                </c:pt>
                <c:pt idx="36">
                  <c:v>Boursin Classique Fromage Frais A Tartiner Poivre Boite 1X150Gr 1P</c:v>
                </c:pt>
                <c:pt idx="37">
                  <c:v>La Vache Qui Rit Pik Et Croq' Fromage Fondu Dips Boite 1X280Gr 8P</c:v>
                </c:pt>
                <c:pt idx="38">
                  <c:v>Babybel Mini Rolls St Paulin Ferme Sachet 1X85Gr 5P</c:v>
                </c:pt>
                <c:pt idx="39">
                  <c:v>Apericube Saveurs De L'Authentique Fromage Fondu Cube Assortis 1X250Gr 48P</c:v>
                </c:pt>
                <c:pt idx="40">
                  <c:v>Kiri Bio Fromage Blanc Frais Carre 1X144Gr 8P</c:v>
                </c:pt>
                <c:pt idx="41">
                  <c:v>Boursin Classique Fromage Frais A Tartiner Afh 1X256Gr 16P</c:v>
                </c:pt>
                <c:pt idx="42">
                  <c:v>Kiri Delicieusement Fouette Fromage Frais A Tartiner 1X125Gr 1P</c:v>
                </c:pt>
                <c:pt idx="43">
                  <c:v>Boursin Aperitif Roules Fromage Frais Roule Basilic &amp; Jambon Fume Tomate Boite 1X100Gr 20P</c:v>
                </c:pt>
                <c:pt idx="44">
                  <c:v>Mini Babybel Aros St Paulin Ferme Assortis Filet 1X180Gr 9P</c:v>
                </c:pt>
                <c:pt idx="45">
                  <c:v>Kiri Creme Fromage Blanc Frais Carre 1X432Gr 18+6P</c:v>
                </c:pt>
                <c:pt idx="46">
                  <c:v>Boursin Classique Fromage Frais A Tartiner Ciboulette &amp; Echalote 1X160Gr 10P</c:v>
                </c:pt>
                <c:pt idx="47">
                  <c:v>La Vache Qui Rit Aro Fromage Fondu Boite Ronde Jambon 1X133Gr 8P</c:v>
                </c:pt>
                <c:pt idx="48">
                  <c:v>Kiri Chevre Fromage Blanc Frais Carre 1X144Gr 8P</c:v>
                </c:pt>
                <c:pt idx="49">
                  <c:v>Mini Babybel Rouge Filet St Paulin Ferme 1X396Gr 12+6P</c:v>
                </c:pt>
                <c:pt idx="50">
                  <c:v>Mini Babybel Aros Soft Cheese Enfant 180G</c:v>
                </c:pt>
                <c:pt idx="51">
                  <c:v>Apericube Long Drink Fromage Fondu Cube Assortis 1X125Gr 24P</c:v>
                </c:pt>
                <c:pt idx="52">
                  <c:v>Kiri Delicieusement Fouette Fromage Frais A Tartiner 1X160Gr 10P</c:v>
                </c:pt>
                <c:pt idx="53">
                  <c:v>Mini Babybel Aros St Paulin Ferme Raclette Filet 1X132Gr 6P</c:v>
                </c:pt>
                <c:pt idx="54">
                  <c:v>Boursin Salade &amp; Aperitif Fromage Frais Des Ciboulette Echalote 1X120Gr 1P</c:v>
                </c:pt>
                <c:pt idx="55">
                  <c:v>Apericube Soiree Match Aperitif 250G</c:v>
                </c:pt>
                <c:pt idx="56">
                  <c:v>Nurishh Le Rape Vegetal Specialite Vegetale Sachet 1X150Gr 1P</c:v>
                </c:pt>
                <c:pt idx="57">
                  <c:v>Boursin Salade &amp; Aperitif Fromage Frais Des Figue Noix 1X120Gr 1P</c:v>
                </c:pt>
                <c:pt idx="58">
                  <c:v>Nurishh Les Tranches Vegetales Cheddar Vegetal Tranche Boite 1X160Gr 8P</c:v>
                </c:pt>
                <c:pt idx="59">
                  <c:v>Nurishh Le Rape Vegetal Specialite Vegetale Emmental Sachet 1X150Gr 1P</c:v>
                </c:pt>
                <c:pt idx="60">
                  <c:v>Boursin Classique Fromage Frais A Tartiner Afh Boite 1X80Gr 1P</c:v>
                </c:pt>
                <c:pt idx="61">
                  <c:v>Apericube Best Of Des Saveurs Fromage Fondu Cube Assortis 1X125Gr 24P</c:v>
                </c:pt>
                <c:pt idx="62">
                  <c:v>Nurishh Le Palet Vegetal Specialite Vegetale Ovale Saveur Chevre Boite 1X140Gr 1P</c:v>
                </c:pt>
                <c:pt idx="63">
                  <c:v>Nurishh Le Coeur Fleuri Vegetal Camembert Boite 1X140Gr 1P</c:v>
                </c:pt>
                <c:pt idx="64">
                  <c:v>Boursin Salade &amp; Aperitif Fromage Frais Des Citron Romarin 1X120Gr 1P</c:v>
                </c:pt>
                <c:pt idx="65">
                  <c:v>Apericube Hot Chalenge Aperitif 250G</c:v>
                </c:pt>
                <c:pt idx="66">
                  <c:v>Mini Babybel Rouge Filet St Paulin Ferme Sachet 1X40Gr 1P</c:v>
                </c:pt>
                <c:pt idx="67">
                  <c:v>Mini Babybel Aros Soft Cheese Enfant 110G</c:v>
                </c:pt>
                <c:pt idx="68">
                  <c:v>Nurishh Des Vegetaux Feta Vegetale Sachet 1X150Gr 1P</c:v>
                </c:pt>
                <c:pt idx="69">
                  <c:v>Boursin Salade &amp; Aperitif Fromage Frais Des Noisette Et 3 Noix 1X120Gr 1P</c:v>
                </c:pt>
                <c:pt idx="70">
                  <c:v>Boursin Classique Fromage Frais A Tartiner Truffe Boite 1X150Gr 1P</c:v>
                </c:pt>
                <c:pt idx="71">
                  <c:v>Boursin Salade &amp; Aperitif Soft Cheese Salade 120G</c:v>
                </c:pt>
                <c:pt idx="72">
                  <c:v>Apericube Fromages Du Monde Aperitif 250G</c:v>
                </c:pt>
                <c:pt idx="73">
                  <c:v>Apericube Montagne Aperitif 250G</c:v>
                </c:pt>
                <c:pt idx="74">
                  <c:v>Boursin Aperitif Roules Fromage Frais Roule Jambon Fume &amp; Trio De Noix Boite 1X100Gr 20P</c:v>
                </c:pt>
                <c:pt idx="75">
                  <c:v>Boursin Aperitif Roules Aperitif 100G</c:v>
                </c:pt>
                <c:pt idx="76">
                  <c:v>Mini Babybel Bio St Paulin Ferme Filet 1X100Gr 5P</c:v>
                </c:pt>
                <c:pt idx="77">
                  <c:v>Toastinette Fromage Fondu Tranche A Chaud Sachet 1X200Gr 10P</c:v>
                </c:pt>
                <c:pt idx="78">
                  <c:v>La Vache Qui Rit Nature Fromage Fondu Boite Ronde 1X128Gr 8P</c:v>
                </c:pt>
                <c:pt idx="79">
                  <c:v>Kiri Delicieusement Fouette Fromage Frais A Tartiner 1X210Gr 1P</c:v>
                </c:pt>
                <c:pt idx="80">
                  <c:v>Toastinette Fromage Fondu Tranche A Chaud Sachet 1X340Gr 20P</c:v>
                </c:pt>
                <c:pt idx="81">
                  <c:v>Toastinette Cheddar Fondu Tranche A Chaud Sachet 1X340Gr 20P</c:v>
                </c:pt>
              </c:strCache>
            </c:strRef>
          </c:cat>
          <c:val>
            <c:numRef>
              <c:f>Sheet1!$D$2:$D$83</c:f>
              <c:numCache>
                <c:formatCode>General</c:formatCode>
                <c:ptCount val="82"/>
                <c:pt idx="0">
                  <c:v>11366.03409090909</c:v>
                </c:pt>
                <c:pt idx="1">
                  <c:v>8872.0612244897966</c:v>
                </c:pt>
                <c:pt idx="2">
                  <c:v>8407.5918367346931</c:v>
                </c:pt>
                <c:pt idx="3">
                  <c:v>8935.823529411764</c:v>
                </c:pt>
                <c:pt idx="4">
                  <c:v>6595.7294117647061</c:v>
                </c:pt>
                <c:pt idx="5">
                  <c:v>7117.838235294118</c:v>
                </c:pt>
                <c:pt idx="6">
                  <c:v>4358.739130434783</c:v>
                </c:pt>
                <c:pt idx="7">
                  <c:v>3670.6632653061224</c:v>
                </c:pt>
                <c:pt idx="8">
                  <c:v>3907.088888888889</c:v>
                </c:pt>
                <c:pt idx="9">
                  <c:v>4663.8266666666668</c:v>
                </c:pt>
                <c:pt idx="10">
                  <c:v>3563.9444444444443</c:v>
                </c:pt>
                <c:pt idx="11">
                  <c:v>3716.8170731707319</c:v>
                </c:pt>
                <c:pt idx="12">
                  <c:v>5199.8076923076924</c:v>
                </c:pt>
                <c:pt idx="13">
                  <c:v>2820.8494623655915</c:v>
                </c:pt>
                <c:pt idx="14">
                  <c:v>2936.2117647058822</c:v>
                </c:pt>
                <c:pt idx="15">
                  <c:v>2690.9662921348313</c:v>
                </c:pt>
                <c:pt idx="16">
                  <c:v>3449.8529411764707</c:v>
                </c:pt>
                <c:pt idx="17">
                  <c:v>2873.962962962963</c:v>
                </c:pt>
                <c:pt idx="18">
                  <c:v>2879.0704225352115</c:v>
                </c:pt>
                <c:pt idx="19">
                  <c:v>2365.8641975308642</c:v>
                </c:pt>
                <c:pt idx="20">
                  <c:v>2582.8857142857141</c:v>
                </c:pt>
                <c:pt idx="21">
                  <c:v>2128.3658536585367</c:v>
                </c:pt>
                <c:pt idx="22">
                  <c:v>2011.5925925925926</c:v>
                </c:pt>
                <c:pt idx="23">
                  <c:v>1809.314606741573</c:v>
                </c:pt>
                <c:pt idx="24">
                  <c:v>2194.2535211267605</c:v>
                </c:pt>
                <c:pt idx="25">
                  <c:v>1990.4594594594594</c:v>
                </c:pt>
                <c:pt idx="26">
                  <c:v>1844.68</c:v>
                </c:pt>
                <c:pt idx="27">
                  <c:v>1532.3294117647058</c:v>
                </c:pt>
                <c:pt idx="28">
                  <c:v>1491.433734939759</c:v>
                </c:pt>
                <c:pt idx="29">
                  <c:v>1571.2876712328766</c:v>
                </c:pt>
                <c:pt idx="30">
                  <c:v>2490.195652173913</c:v>
                </c:pt>
                <c:pt idx="31">
                  <c:v>2356.8444444444444</c:v>
                </c:pt>
                <c:pt idx="32">
                  <c:v>2545.2926829268295</c:v>
                </c:pt>
                <c:pt idx="33">
                  <c:v>2525.4102564102564</c:v>
                </c:pt>
                <c:pt idx="34">
                  <c:v>1739.3392857142856</c:v>
                </c:pt>
                <c:pt idx="35">
                  <c:v>1845.32</c:v>
                </c:pt>
                <c:pt idx="36">
                  <c:v>1149.7733333333333</c:v>
                </c:pt>
                <c:pt idx="37">
                  <c:v>1563.2619047619048</c:v>
                </c:pt>
                <c:pt idx="38">
                  <c:v>1481.2926829268292</c:v>
                </c:pt>
                <c:pt idx="39">
                  <c:v>1272.8</c:v>
                </c:pt>
                <c:pt idx="40">
                  <c:v>1752.7741935483871</c:v>
                </c:pt>
                <c:pt idx="41">
                  <c:v>806.3125</c:v>
                </c:pt>
                <c:pt idx="42">
                  <c:v>1130.9545454545455</c:v>
                </c:pt>
                <c:pt idx="43">
                  <c:v>840.0877192982457</c:v>
                </c:pt>
                <c:pt idx="44">
                  <c:v>1181.3611111111111</c:v>
                </c:pt>
                <c:pt idx="45">
                  <c:v>593.88135593220341</c:v>
                </c:pt>
                <c:pt idx="46">
                  <c:v>756.10869565217388</c:v>
                </c:pt>
                <c:pt idx="47">
                  <c:v>985.5151515151515</c:v>
                </c:pt>
                <c:pt idx="48">
                  <c:v>829.63157894736844</c:v>
                </c:pt>
                <c:pt idx="49">
                  <c:v>398.13698630136986</c:v>
                </c:pt>
                <c:pt idx="50">
                  <c:v>923.5</c:v>
                </c:pt>
                <c:pt idx="51">
                  <c:v>638.62162162162167</c:v>
                </c:pt>
                <c:pt idx="52">
                  <c:v>423.2</c:v>
                </c:pt>
                <c:pt idx="53">
                  <c:v>657.72413793103453</c:v>
                </c:pt>
                <c:pt idx="54">
                  <c:v>428.27906976744185</c:v>
                </c:pt>
                <c:pt idx="55">
                  <c:v>554.93939393939399</c:v>
                </c:pt>
                <c:pt idx="56">
                  <c:v>950.1875</c:v>
                </c:pt>
                <c:pt idx="57">
                  <c:v>292.74468085106383</c:v>
                </c:pt>
                <c:pt idx="58">
                  <c:v>788.142857142857</c:v>
                </c:pt>
                <c:pt idx="59">
                  <c:v>810.30769230769226</c:v>
                </c:pt>
                <c:pt idx="60">
                  <c:v>734.41666666666663</c:v>
                </c:pt>
                <c:pt idx="61">
                  <c:v>200.375</c:v>
                </c:pt>
                <c:pt idx="62">
                  <c:v>955.5</c:v>
                </c:pt>
                <c:pt idx="63">
                  <c:v>849.22222222222217</c:v>
                </c:pt>
                <c:pt idx="64">
                  <c:v>268.07142857142856</c:v>
                </c:pt>
                <c:pt idx="65">
                  <c:v>461</c:v>
                </c:pt>
                <c:pt idx="66">
                  <c:v>555</c:v>
                </c:pt>
                <c:pt idx="67">
                  <c:v>358.84210526315792</c:v>
                </c:pt>
                <c:pt idx="68">
                  <c:v>616.27272727272725</c:v>
                </c:pt>
                <c:pt idx="69">
                  <c:v>130.70731707317074</c:v>
                </c:pt>
                <c:pt idx="70">
                  <c:v>126.06060606060606</c:v>
                </c:pt>
                <c:pt idx="71">
                  <c:v>215.78571428571425</c:v>
                </c:pt>
                <c:pt idx="72">
                  <c:v>323.22222222222223</c:v>
                </c:pt>
                <c:pt idx="73">
                  <c:v>379.5714285714285</c:v>
                </c:pt>
                <c:pt idx="74">
                  <c:v>144.11111111111111</c:v>
                </c:pt>
                <c:pt idx="75">
                  <c:v>142.29411764705881</c:v>
                </c:pt>
                <c:pt idx="76">
                  <c:v>64.2</c:v>
                </c:pt>
                <c:pt idx="77">
                  <c:v>139</c:v>
                </c:pt>
                <c:pt idx="78">
                  <c:v>11</c:v>
                </c:pt>
                <c:pt idx="79">
                  <c:v>25</c:v>
                </c:pt>
                <c:pt idx="80">
                  <c:v>24</c:v>
                </c:pt>
                <c:pt idx="81">
                  <c:v>1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4</c:f>
              <c:strCache>
                <c:ptCount val="63"/>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Boursin Classique Fromage Frais A Tartiner Afh Boite 1X150Gr 1P</c:v>
                </c:pt>
                <c:pt idx="9">
                  <c:v>Boursin Classique Fromage Frais A Tartiner Afh 1X160Gr 10P</c:v>
                </c:pt>
                <c:pt idx="10">
                  <c:v>Kiri Gouter Fromage Blanc Dips Boite 1X175Gr 5P</c:v>
                </c:pt>
                <c:pt idx="11">
                  <c:v>Boursin Classique Fromage Frais A Tartiner Afh Boite 1X250Gr 1P</c:v>
                </c:pt>
                <c:pt idx="12">
                  <c:v>Boursin Salade &amp; Aperitif Fromage Frais Des Afh 1X120Gr 1P</c:v>
                </c:pt>
                <c:pt idx="13">
                  <c:v>Kiri Gouter Fromage Blanc Dips Boite 1X280Gr 8P</c:v>
                </c:pt>
                <c:pt idx="14">
                  <c:v>La Vache Qui Rit Pik Et Croq' Fromage Fondu Dips Boite 1X175Gr 5P</c:v>
                </c:pt>
                <c:pt idx="15">
                  <c:v>Mini Babybel Rouge Filet St Paulin Ferme 1X440Gr 20P</c:v>
                </c:pt>
                <c:pt idx="16">
                  <c:v>La Vache Qui Rit Nature Fromage Fondu Boite Ronde 1X128Gr 8P</c:v>
                </c:pt>
                <c:pt idx="17">
                  <c:v>Mini Babybel Rouge Filet Soft Cheese Enfant 352G</c:v>
                </c:pt>
                <c:pt idx="18">
                  <c:v>La Vache Qui Rit Nature Fromage Fondu Boite Ronde 1X512Gr 24+8P</c:v>
                </c:pt>
                <c:pt idx="19">
                  <c:v>Kiri Creme Fromage Blanc Frais Carre 1X432Gr 18+6P</c:v>
                </c:pt>
                <c:pt idx="20">
                  <c:v>Mini Babybel Rouge Filet Soft Cheese Enfant 484G</c:v>
                </c:pt>
                <c:pt idx="21">
                  <c:v>Boursin Classique Fromage Frais A Tartiner Afh Boite 1X96Gr 6P</c:v>
                </c:pt>
                <c:pt idx="22">
                  <c:v>Mini Babybel Rouge Filet St Paulin Ferme 1X396Gr 12+6P</c:v>
                </c:pt>
                <c:pt idx="23">
                  <c:v>Kiri Delicieusement Fouette Fromage Frais A Tartiner 1X125Gr 1P</c:v>
                </c:pt>
                <c:pt idx="24">
                  <c:v>Boursin Classique Fromage Frais A Tartiner Ciboulette &amp; Echalote Boite 1X150Gr 1P</c:v>
                </c:pt>
                <c:pt idx="25">
                  <c:v>Boursin Onctueux Fromage Frais A Tartiner Afh 1X125Gr 1P</c:v>
                </c:pt>
                <c:pt idx="26">
                  <c:v>Mini Babybel Aros St Paulin Ferme Assortis Filet 1X180Gr 9P</c:v>
                </c:pt>
                <c:pt idx="27">
                  <c:v>Kiri Delicieusement Fouette Fromage Frais A Tartiner 1X210Gr 1P</c:v>
                </c:pt>
                <c:pt idx="28">
                  <c:v>Babybel Mini Rolls St Paulin Ferme Sachet 1X85Gr 5P</c:v>
                </c:pt>
                <c:pt idx="29">
                  <c:v>Boursin Salade &amp; Aperitif Fromage Frais Des Ciboulette Echalote 1X120Gr 1P</c:v>
                </c:pt>
                <c:pt idx="30">
                  <c:v>La Vache Qui Rit Pik Et Croq' Fromage Fondu Dips Boite 1X280Gr 8P</c:v>
                </c:pt>
                <c:pt idx="31">
                  <c:v>Boursin Classique Fromage Frais A Tartiner Figue Et 3 Noix Boite 1X150Gr 1P</c:v>
                </c:pt>
                <c:pt idx="32">
                  <c:v>Kiri Delicieusement Fouette Fromage Frais A Tartiner 1X160Gr 10P</c:v>
                </c:pt>
                <c:pt idx="33">
                  <c:v>La Vache Qui Rit Allegee Fromage Fondu Boite Ronde Allege 1X267Gr 16P</c:v>
                </c:pt>
                <c:pt idx="34">
                  <c:v>Boursin Salade &amp; Aperitif Fromage Frais Des Figue Noix 1X120Gr 1P</c:v>
                </c:pt>
                <c:pt idx="35">
                  <c:v>Kiri Bio Fromage Blanc Frais Carre 1X144Gr 8P</c:v>
                </c:pt>
                <c:pt idx="36">
                  <c:v>Mini Babybel Aros Soft Cheese Enfant 180G</c:v>
                </c:pt>
                <c:pt idx="37">
                  <c:v>Boursin Salade &amp; Aperitif Fromage Frais Des Citron Romarin 1X120Gr 1P</c:v>
                </c:pt>
                <c:pt idx="38">
                  <c:v>Mini Babybel Aros St Paulin Ferme Raclette Filet 1X132Gr 6P</c:v>
                </c:pt>
                <c:pt idx="39">
                  <c:v>La Vache Qui Rit Bio Fromage Fondu Boite Ronde 1X128Gr 8P</c:v>
                </c:pt>
                <c:pt idx="40">
                  <c:v>Mini Babybel Aros Soft Cheese Enfant 110G</c:v>
                </c:pt>
                <c:pt idx="41">
                  <c:v>Boursin Classique Fromage Frais A Tartiner Afh Boite 1X80Gr 1P</c:v>
                </c:pt>
                <c:pt idx="42">
                  <c:v>Boursin Salade &amp; Aperitif Fromage Frais Des Noisette Et 3 Noix 1X120Gr 1P</c:v>
                </c:pt>
                <c:pt idx="43">
                  <c:v>Boursin Classique Fromage Frais A Tartiner Afh 1X256Gr 16P</c:v>
                </c:pt>
                <c:pt idx="44">
                  <c:v>Boursin Salade &amp; Aperitif Soft Cheese Salade 120G</c:v>
                </c:pt>
                <c:pt idx="45">
                  <c:v>Boursin Classique Fromage Frais A Tartiner 3 Noix Boite 1X150Gr 1P</c:v>
                </c:pt>
                <c:pt idx="46">
                  <c:v>Boursin Classique Fromage Frais A Tartiner Poivre Boite 1X150Gr 1P</c:v>
                </c:pt>
                <c:pt idx="47">
                  <c:v>Mini Babybel Aros St Paulin Ferme Emmental Filet 1X120Gr 6P</c:v>
                </c:pt>
                <c:pt idx="48">
                  <c:v>Boursin Onctueux Fromage Frais A Tartiner Afh 1X210Gr 1P</c:v>
                </c:pt>
                <c:pt idx="49">
                  <c:v>Boursin Classique Fromage Frais A Tartiner Truffe Boite 1X150Gr 1P</c:v>
                </c:pt>
                <c:pt idx="50">
                  <c:v>Boursin Classique Fromage Frais A Tartiner Afh Boite 1X320Gr 16+4P</c:v>
                </c:pt>
                <c:pt idx="51">
                  <c:v>Boursin Classique Fromage Frais A Tartiner 3 Noix 1X160Gr 10P</c:v>
                </c:pt>
                <c:pt idx="52">
                  <c:v>Mini Babybel Rouge Filet St Paulin Ferme Sachet 1X40Gr 1P</c:v>
                </c:pt>
                <c:pt idx="53">
                  <c:v>Mini Babybel Aros Soft Cheese Enfant 120G</c:v>
                </c:pt>
                <c:pt idx="54">
                  <c:v>La Vache Qui Rit Aro Fromage Fondu Boite Ronde Jambon 1X133Gr 8P</c:v>
                </c:pt>
                <c:pt idx="55">
                  <c:v>La Vache Qui Rit Pik Et Croq' Fromage Fondu Dips Boite 1X35Gr 1P</c:v>
                </c:pt>
                <c:pt idx="56">
                  <c:v>Kiri Chevre Fromage Blanc Frais Carre 1X144Gr 8P</c:v>
                </c:pt>
                <c:pt idx="57">
                  <c:v>Boursin Classique Fromage Frais A Tartiner Citron &amp; Romarin Boite 1X150Gr 1P</c:v>
                </c:pt>
                <c:pt idx="58">
                  <c:v>Mini Babybel Bio St Paulin Ferme Filet 1X100Gr 5P</c:v>
                </c:pt>
                <c:pt idx="59">
                  <c:v>Boursin Classique Fromage Frais A Tartiner Ciboulette &amp; Echalote 1X160Gr 10P</c:v>
                </c:pt>
                <c:pt idx="60">
                  <c:v>Mini Babybel Rouge Filet St Paulin Ferme 1X110Gr 5P</c:v>
                </c:pt>
                <c:pt idx="61">
                  <c:v>Limiano Queijo Flamengo Autre Sachet 1X450Gr 1P</c:v>
                </c:pt>
                <c:pt idx="62">
                  <c:v>Mini Babybel Rouge Filet St Paulin Ferme 1X396Gr 18P</c:v>
                </c:pt>
              </c:strCache>
            </c:strRef>
          </c:cat>
          <c:val>
            <c:numRef>
              <c:f>Sheet1!$B$2:$B$64</c:f>
              <c:numCache>
                <c:formatCode>General</c:formatCode>
                <c:ptCount val="63"/>
                <c:pt idx="0">
                  <c:v>0.82699999999999996</c:v>
                </c:pt>
                <c:pt idx="1">
                  <c:v>0.86799999999999999</c:v>
                </c:pt>
                <c:pt idx="2">
                  <c:v>0.99</c:v>
                </c:pt>
                <c:pt idx="3">
                  <c:v>0.89800000000000002</c:v>
                </c:pt>
                <c:pt idx="4">
                  <c:v>0.98099999999999998</c:v>
                </c:pt>
                <c:pt idx="5">
                  <c:v>0.77800000000000002</c:v>
                </c:pt>
                <c:pt idx="6">
                  <c:v>0.99</c:v>
                </c:pt>
                <c:pt idx="7">
                  <c:v>0.83399999999999996</c:v>
                </c:pt>
                <c:pt idx="8">
                  <c:v>0.96799999999999997</c:v>
                </c:pt>
                <c:pt idx="9">
                  <c:v>0.91500000000000004</c:v>
                </c:pt>
                <c:pt idx="10">
                  <c:v>0.94899999999999995</c:v>
                </c:pt>
                <c:pt idx="11">
                  <c:v>0.81699999999999995</c:v>
                </c:pt>
                <c:pt idx="12">
                  <c:v>0.96199999999999997</c:v>
                </c:pt>
                <c:pt idx="13">
                  <c:v>0.73199999999999998</c:v>
                </c:pt>
                <c:pt idx="14">
                  <c:v>0.90800000000000003</c:v>
                </c:pt>
                <c:pt idx="15">
                  <c:v>0.82</c:v>
                </c:pt>
                <c:pt idx="16">
                  <c:v>0.69399999999999995</c:v>
                </c:pt>
                <c:pt idx="17">
                  <c:v>0.80800000000000005</c:v>
                </c:pt>
                <c:pt idx="18">
                  <c:v>0.72499999999999998</c:v>
                </c:pt>
                <c:pt idx="19">
                  <c:v>0.71599999999999997</c:v>
                </c:pt>
                <c:pt idx="20">
                  <c:v>0.443</c:v>
                </c:pt>
                <c:pt idx="21">
                  <c:v>0.82099999999999995</c:v>
                </c:pt>
                <c:pt idx="22">
                  <c:v>0.73599999999999999</c:v>
                </c:pt>
                <c:pt idx="23">
                  <c:v>0.77400000000000002</c:v>
                </c:pt>
                <c:pt idx="24">
                  <c:v>0.79300000000000004</c:v>
                </c:pt>
                <c:pt idx="25">
                  <c:v>0.77400000000000002</c:v>
                </c:pt>
                <c:pt idx="26">
                  <c:v>0.69199999999999995</c:v>
                </c:pt>
                <c:pt idx="27">
                  <c:v>0.64300000000000002</c:v>
                </c:pt>
                <c:pt idx="28">
                  <c:v>0.61799999999999999</c:v>
                </c:pt>
                <c:pt idx="29">
                  <c:v>0.81699999999999995</c:v>
                </c:pt>
                <c:pt idx="30">
                  <c:v>0.434</c:v>
                </c:pt>
                <c:pt idx="31">
                  <c:v>0.69399999999999995</c:v>
                </c:pt>
                <c:pt idx="32">
                  <c:v>0.68899999999999995</c:v>
                </c:pt>
                <c:pt idx="33">
                  <c:v>0.495</c:v>
                </c:pt>
                <c:pt idx="34">
                  <c:v>0.80100000000000005</c:v>
                </c:pt>
                <c:pt idx="35">
                  <c:v>0.502</c:v>
                </c:pt>
                <c:pt idx="36">
                  <c:v>0.69699999999999995</c:v>
                </c:pt>
                <c:pt idx="37">
                  <c:v>0.70699999999999996</c:v>
                </c:pt>
                <c:pt idx="38">
                  <c:v>0.42299999999999999</c:v>
                </c:pt>
                <c:pt idx="39">
                  <c:v>0.48199999999999998</c:v>
                </c:pt>
                <c:pt idx="40">
                  <c:v>0.64500000000000002</c:v>
                </c:pt>
                <c:pt idx="41">
                  <c:v>0.44700000000000001</c:v>
                </c:pt>
                <c:pt idx="42">
                  <c:v>0.73799999999999999</c:v>
                </c:pt>
                <c:pt idx="43">
                  <c:v>0.26500000000000001</c:v>
                </c:pt>
                <c:pt idx="44">
                  <c:v>0.69799999999999995</c:v>
                </c:pt>
                <c:pt idx="45">
                  <c:v>0.53700000000000003</c:v>
                </c:pt>
                <c:pt idx="46">
                  <c:v>0.40200000000000002</c:v>
                </c:pt>
                <c:pt idx="47">
                  <c:v>0.31900000000000001</c:v>
                </c:pt>
                <c:pt idx="48">
                  <c:v>0.28100000000000003</c:v>
                </c:pt>
                <c:pt idx="49">
                  <c:v>0.51100000000000001</c:v>
                </c:pt>
                <c:pt idx="50">
                  <c:v>0.52800000000000002</c:v>
                </c:pt>
                <c:pt idx="51">
                  <c:v>0.379</c:v>
                </c:pt>
                <c:pt idx="52">
                  <c:v>0.128</c:v>
                </c:pt>
                <c:pt idx="53">
                  <c:v>0.31</c:v>
                </c:pt>
                <c:pt idx="54">
                  <c:v>3.6999999999999998E-2</c:v>
                </c:pt>
                <c:pt idx="55">
                  <c:v>8.0000000000000002E-3</c:v>
                </c:pt>
                <c:pt idx="56">
                  <c:v>0.26700000000000002</c:v>
                </c:pt>
                <c:pt idx="57">
                  <c:v>0.32400000000000001</c:v>
                </c:pt>
                <c:pt idx="58">
                  <c:v>0.316</c:v>
                </c:pt>
                <c:pt idx="59">
                  <c:v>7.4999999999999997E-2</c:v>
                </c:pt>
                <c:pt idx="60">
                  <c:v>2.3E-2</c:v>
                </c:pt>
                <c:pt idx="61">
                  <c:v>5.0000000000000001E-3</c:v>
                </c:pt>
                <c:pt idx="62">
                  <c:v>5.000000000000000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invertIfNegative val="1"/>
            <c:bubble3D val="0"/>
            <c:spPr>
              <a:solidFill>
                <a:srgbClr val="AEABAB"/>
              </a:solidFill>
            </c:spPr>
            <c:extLst>
              <c:ext xmlns:c16="http://schemas.microsoft.com/office/drawing/2014/chart" uri="{C3380CC4-5D6E-409C-BE32-E72D297353CC}">
                <c16:uniqueId val="{0000005B-9AAF-48A5-9AB7-00FEDFA5EE2A}"/>
              </c:ext>
            </c:extLst>
          </c:dPt>
          <c:dPt>
            <c:idx val="45"/>
            <c:invertIfNegative val="1"/>
            <c:bubble3D val="0"/>
            <c:spPr>
              <a:solidFill>
                <a:srgbClr val="AEABAB"/>
              </a:solidFill>
            </c:spPr>
            <c:extLst>
              <c:ext xmlns:c16="http://schemas.microsoft.com/office/drawing/2014/chart" uri="{C3380CC4-5D6E-409C-BE32-E72D297353CC}">
                <c16:uniqueId val="{0000005D-9AAF-48A5-9AB7-00FEDFA5EE2A}"/>
              </c:ext>
            </c:extLst>
          </c:dPt>
          <c:dPt>
            <c:idx val="46"/>
            <c:invertIfNegative val="1"/>
            <c:bubble3D val="0"/>
            <c:spPr>
              <a:solidFill>
                <a:srgbClr val="AEABAB"/>
              </a:solidFill>
            </c:spPr>
            <c:extLst>
              <c:ext xmlns:c16="http://schemas.microsoft.com/office/drawing/2014/chart" uri="{C3380CC4-5D6E-409C-BE32-E72D297353CC}">
                <c16:uniqueId val="{0000005F-9AAF-48A5-9AB7-00FEDFA5EE2A}"/>
              </c:ext>
            </c:extLst>
          </c:dPt>
          <c:dPt>
            <c:idx val="47"/>
            <c:invertIfNegative val="1"/>
            <c:bubble3D val="0"/>
            <c:spPr>
              <a:solidFill>
                <a:srgbClr val="AEABAB"/>
              </a:solidFill>
            </c:spPr>
            <c:extLst>
              <c:ext xmlns:c16="http://schemas.microsoft.com/office/drawing/2014/chart" uri="{C3380CC4-5D6E-409C-BE32-E72D297353CC}">
                <c16:uniqueId val="{00000061-9AAF-48A5-9AB7-00FEDFA5EE2A}"/>
              </c:ext>
            </c:extLst>
          </c:dPt>
          <c:dPt>
            <c:idx val="48"/>
            <c:invertIfNegative val="1"/>
            <c:bubble3D val="0"/>
            <c:spPr>
              <a:solidFill>
                <a:srgbClr val="AEABAB"/>
              </a:solidFill>
            </c:spPr>
            <c:extLst>
              <c:ext xmlns:c16="http://schemas.microsoft.com/office/drawing/2014/chart" uri="{C3380CC4-5D6E-409C-BE32-E72D297353CC}">
                <c16:uniqueId val="{00000063-9AAF-48A5-9AB7-00FEDFA5EE2A}"/>
              </c:ext>
            </c:extLst>
          </c:dPt>
          <c:dPt>
            <c:idx val="49"/>
            <c:invertIfNegative val="1"/>
            <c:bubble3D val="0"/>
            <c:spPr>
              <a:solidFill>
                <a:srgbClr val="AEABAB"/>
              </a:solidFill>
            </c:spPr>
            <c:extLst>
              <c:ext xmlns:c16="http://schemas.microsoft.com/office/drawing/2014/chart" uri="{C3380CC4-5D6E-409C-BE32-E72D297353CC}">
                <c16:uniqueId val="{00000065-9AAF-48A5-9AB7-00FEDFA5EE2A}"/>
              </c:ext>
            </c:extLst>
          </c:dPt>
          <c:dPt>
            <c:idx val="50"/>
            <c:invertIfNegative val="1"/>
            <c:bubble3D val="0"/>
            <c:spPr>
              <a:solidFill>
                <a:srgbClr val="AEABAB"/>
              </a:solidFill>
            </c:spPr>
            <c:extLst>
              <c:ext xmlns:c16="http://schemas.microsoft.com/office/drawing/2014/chart" uri="{C3380CC4-5D6E-409C-BE32-E72D297353CC}">
                <c16:uniqueId val="{00000067-9AAF-48A5-9AB7-00FEDFA5EE2A}"/>
              </c:ext>
            </c:extLst>
          </c:dPt>
          <c:dPt>
            <c:idx val="51"/>
            <c:invertIfNegative val="1"/>
            <c:bubble3D val="0"/>
            <c:spPr>
              <a:solidFill>
                <a:srgbClr val="AEABAB"/>
              </a:solidFill>
            </c:spPr>
            <c:extLst>
              <c:ext xmlns:c16="http://schemas.microsoft.com/office/drawing/2014/chart" uri="{C3380CC4-5D6E-409C-BE32-E72D297353CC}">
                <c16:uniqueId val="{00000069-9AAF-48A5-9AB7-00FEDFA5EE2A}"/>
              </c:ext>
            </c:extLst>
          </c:dPt>
          <c:dPt>
            <c:idx val="52"/>
            <c:invertIfNegative val="1"/>
            <c:bubble3D val="0"/>
            <c:spPr>
              <a:solidFill>
                <a:srgbClr val="AEABAB"/>
              </a:solidFill>
            </c:spPr>
            <c:extLst>
              <c:ext xmlns:c16="http://schemas.microsoft.com/office/drawing/2014/chart" uri="{C3380CC4-5D6E-409C-BE32-E72D297353CC}">
                <c16:uniqueId val="{0000006B-9AAF-48A5-9AB7-00FEDFA5EE2A}"/>
              </c:ext>
            </c:extLst>
          </c:dPt>
          <c:dPt>
            <c:idx val="53"/>
            <c:invertIfNegative val="1"/>
            <c:bubble3D val="0"/>
            <c:spPr>
              <a:solidFill>
                <a:srgbClr val="AEABAB"/>
              </a:solidFill>
            </c:spPr>
            <c:extLst>
              <c:ext xmlns:c16="http://schemas.microsoft.com/office/drawing/2014/chart" uri="{C3380CC4-5D6E-409C-BE32-E72D297353CC}">
                <c16:uniqueId val="{0000006D-9AAF-48A5-9AB7-00FEDFA5EE2A}"/>
              </c:ext>
            </c:extLst>
          </c:dPt>
          <c:dPt>
            <c:idx val="54"/>
            <c:invertIfNegative val="1"/>
            <c:bubble3D val="0"/>
            <c:spPr>
              <a:solidFill>
                <a:srgbClr val="AEABAB"/>
              </a:solidFill>
            </c:spPr>
            <c:extLst>
              <c:ext xmlns:c16="http://schemas.microsoft.com/office/drawing/2014/chart" uri="{C3380CC4-5D6E-409C-BE32-E72D297353CC}">
                <c16:uniqueId val="{0000006F-9AAF-48A5-9AB7-00FEDFA5EE2A}"/>
              </c:ext>
            </c:extLst>
          </c:dPt>
          <c:dPt>
            <c:idx val="55"/>
            <c:invertIfNegative val="1"/>
            <c:bubble3D val="0"/>
            <c:spPr>
              <a:solidFill>
                <a:srgbClr val="AEABAB"/>
              </a:solidFill>
            </c:spPr>
            <c:extLst>
              <c:ext xmlns:c16="http://schemas.microsoft.com/office/drawing/2014/chart" uri="{C3380CC4-5D6E-409C-BE32-E72D297353CC}">
                <c16:uniqueId val="{00000071-9AAF-48A5-9AB7-00FEDFA5EE2A}"/>
              </c:ext>
            </c:extLst>
          </c:dPt>
          <c:dPt>
            <c:idx val="56"/>
            <c:invertIfNegative val="1"/>
            <c:bubble3D val="0"/>
            <c:spPr>
              <a:solidFill>
                <a:srgbClr val="AEABAB"/>
              </a:solidFill>
            </c:spPr>
            <c:extLst>
              <c:ext xmlns:c16="http://schemas.microsoft.com/office/drawing/2014/chart" uri="{C3380CC4-5D6E-409C-BE32-E72D297353CC}">
                <c16:uniqueId val="{00000073-9AAF-48A5-9AB7-00FEDFA5EE2A}"/>
              </c:ext>
            </c:extLst>
          </c:dPt>
          <c:dPt>
            <c:idx val="57"/>
            <c:invertIfNegative val="1"/>
            <c:bubble3D val="0"/>
            <c:spPr>
              <a:solidFill>
                <a:srgbClr val="AEABAB"/>
              </a:solidFill>
            </c:spPr>
            <c:extLst>
              <c:ext xmlns:c16="http://schemas.microsoft.com/office/drawing/2014/chart" uri="{C3380CC4-5D6E-409C-BE32-E72D297353CC}">
                <c16:uniqueId val="{00000075-9AAF-48A5-9AB7-00FEDFA5EE2A}"/>
              </c:ext>
            </c:extLst>
          </c:dPt>
          <c:dPt>
            <c:idx val="58"/>
            <c:invertIfNegative val="1"/>
            <c:bubble3D val="0"/>
            <c:spPr>
              <a:solidFill>
                <a:srgbClr val="AEABAB"/>
              </a:solidFill>
            </c:spPr>
            <c:extLst>
              <c:ext xmlns:c16="http://schemas.microsoft.com/office/drawing/2014/chart" uri="{C3380CC4-5D6E-409C-BE32-E72D297353CC}">
                <c16:uniqueId val="{00000077-9AAF-48A5-9AB7-00FEDFA5EE2A}"/>
              </c:ext>
            </c:extLst>
          </c:dPt>
          <c:dPt>
            <c:idx val="59"/>
            <c:invertIfNegative val="1"/>
            <c:bubble3D val="0"/>
            <c:spPr>
              <a:solidFill>
                <a:srgbClr val="AEABAB"/>
              </a:solidFill>
            </c:spPr>
            <c:extLst>
              <c:ext xmlns:c16="http://schemas.microsoft.com/office/drawing/2014/chart" uri="{C3380CC4-5D6E-409C-BE32-E72D297353CC}">
                <c16:uniqueId val="{00000079-9AAF-48A5-9AB7-00FEDFA5EE2A}"/>
              </c:ext>
            </c:extLst>
          </c:dPt>
          <c:dPt>
            <c:idx val="60"/>
            <c:invertIfNegative val="1"/>
            <c:bubble3D val="0"/>
            <c:spPr>
              <a:solidFill>
                <a:srgbClr val="AEABAB"/>
              </a:solidFill>
            </c:spPr>
            <c:extLst>
              <c:ext xmlns:c16="http://schemas.microsoft.com/office/drawing/2014/chart" uri="{C3380CC4-5D6E-409C-BE32-E72D297353CC}">
                <c16:uniqueId val="{0000007B-9AAF-48A5-9AB7-00FEDFA5EE2A}"/>
              </c:ext>
            </c:extLst>
          </c:dPt>
          <c:dPt>
            <c:idx val="61"/>
            <c:invertIfNegative val="1"/>
            <c:bubble3D val="0"/>
            <c:spPr>
              <a:solidFill>
                <a:srgbClr val="AEABAB"/>
              </a:solidFill>
            </c:spPr>
            <c:extLst>
              <c:ext xmlns:c16="http://schemas.microsoft.com/office/drawing/2014/chart" uri="{C3380CC4-5D6E-409C-BE32-E72D297353CC}">
                <c16:uniqueId val="{0000007D-9AAF-48A5-9AB7-00FEDFA5EE2A}"/>
              </c:ext>
            </c:extLst>
          </c:dPt>
          <c:dPt>
            <c:idx val="62"/>
            <c:invertIfNegative val="1"/>
            <c:bubble3D val="0"/>
            <c:spPr>
              <a:solidFill>
                <a:srgbClr val="AEABAB"/>
              </a:solidFill>
            </c:spPr>
            <c:extLst>
              <c:ext xmlns:c16="http://schemas.microsoft.com/office/drawing/2014/chart" uri="{C3380CC4-5D6E-409C-BE32-E72D297353CC}">
                <c16:uniqueId val="{0000007F-9AAF-48A5-9AB7-00FEDFA5EE2A}"/>
              </c:ext>
            </c:extLst>
          </c:dPt>
          <c:cat>
            <c:strRef>
              <c:f>Sheet1!$A$2:$A$64</c:f>
              <c:strCache>
                <c:ptCount val="63"/>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Boursin Classique Fromage Frais A Tartiner Afh Boite 1X150Gr 1P</c:v>
                </c:pt>
                <c:pt idx="9">
                  <c:v>Boursin Classique Fromage Frais A Tartiner Afh 1X160Gr 10P</c:v>
                </c:pt>
                <c:pt idx="10">
                  <c:v>Kiri Gouter Fromage Blanc Dips Boite 1X175Gr 5P</c:v>
                </c:pt>
                <c:pt idx="11">
                  <c:v>Boursin Classique Fromage Frais A Tartiner Afh Boite 1X250Gr 1P</c:v>
                </c:pt>
                <c:pt idx="12">
                  <c:v>Boursin Salade &amp; Aperitif Fromage Frais Des Afh 1X120Gr 1P</c:v>
                </c:pt>
                <c:pt idx="13">
                  <c:v>Kiri Gouter Fromage Blanc Dips Boite 1X280Gr 8P</c:v>
                </c:pt>
                <c:pt idx="14">
                  <c:v>La Vache Qui Rit Pik Et Croq' Fromage Fondu Dips Boite 1X175Gr 5P</c:v>
                </c:pt>
                <c:pt idx="15">
                  <c:v>Mini Babybel Rouge Filet St Paulin Ferme 1X440Gr 20P</c:v>
                </c:pt>
                <c:pt idx="16">
                  <c:v>La Vache Qui Rit Nature Fromage Fondu Boite Ronde 1X128Gr 8P</c:v>
                </c:pt>
                <c:pt idx="17">
                  <c:v>Mini Babybel Rouge Filet Soft Cheese Enfant 352G</c:v>
                </c:pt>
                <c:pt idx="18">
                  <c:v>La Vache Qui Rit Nature Fromage Fondu Boite Ronde 1X512Gr 24+8P</c:v>
                </c:pt>
                <c:pt idx="19">
                  <c:v>Kiri Creme Fromage Blanc Frais Carre 1X432Gr 18+6P</c:v>
                </c:pt>
                <c:pt idx="20">
                  <c:v>Mini Babybel Rouge Filet Soft Cheese Enfant 484G</c:v>
                </c:pt>
                <c:pt idx="21">
                  <c:v>Boursin Classique Fromage Frais A Tartiner Afh Boite 1X96Gr 6P</c:v>
                </c:pt>
                <c:pt idx="22">
                  <c:v>Mini Babybel Rouge Filet St Paulin Ferme 1X396Gr 12+6P</c:v>
                </c:pt>
                <c:pt idx="23">
                  <c:v>Kiri Delicieusement Fouette Fromage Frais A Tartiner 1X125Gr 1P</c:v>
                </c:pt>
                <c:pt idx="24">
                  <c:v>Boursin Classique Fromage Frais A Tartiner Ciboulette &amp; Echalote Boite 1X150Gr 1P</c:v>
                </c:pt>
                <c:pt idx="25">
                  <c:v>Boursin Onctueux Fromage Frais A Tartiner Afh 1X125Gr 1P</c:v>
                </c:pt>
                <c:pt idx="26">
                  <c:v>Mini Babybel Aros St Paulin Ferme Assortis Filet 1X180Gr 9P</c:v>
                </c:pt>
                <c:pt idx="27">
                  <c:v>Kiri Delicieusement Fouette Fromage Frais A Tartiner 1X210Gr 1P</c:v>
                </c:pt>
                <c:pt idx="28">
                  <c:v>Babybel Mini Rolls St Paulin Ferme Sachet 1X85Gr 5P</c:v>
                </c:pt>
                <c:pt idx="29">
                  <c:v>Boursin Salade &amp; Aperitif Fromage Frais Des Ciboulette Echalote 1X120Gr 1P</c:v>
                </c:pt>
                <c:pt idx="30">
                  <c:v>La Vache Qui Rit Pik Et Croq' Fromage Fondu Dips Boite 1X280Gr 8P</c:v>
                </c:pt>
                <c:pt idx="31">
                  <c:v>Boursin Classique Fromage Frais A Tartiner Figue Et 3 Noix Boite 1X150Gr 1P</c:v>
                </c:pt>
                <c:pt idx="32">
                  <c:v>Kiri Delicieusement Fouette Fromage Frais A Tartiner 1X160Gr 10P</c:v>
                </c:pt>
                <c:pt idx="33">
                  <c:v>La Vache Qui Rit Allegee Fromage Fondu Boite Ronde Allege 1X267Gr 16P</c:v>
                </c:pt>
                <c:pt idx="34">
                  <c:v>Boursin Salade &amp; Aperitif Fromage Frais Des Figue Noix 1X120Gr 1P</c:v>
                </c:pt>
                <c:pt idx="35">
                  <c:v>Kiri Bio Fromage Blanc Frais Carre 1X144Gr 8P</c:v>
                </c:pt>
                <c:pt idx="36">
                  <c:v>Mini Babybel Aros Soft Cheese Enfant 180G</c:v>
                </c:pt>
                <c:pt idx="37">
                  <c:v>Boursin Salade &amp; Aperitif Fromage Frais Des Citron Romarin 1X120Gr 1P</c:v>
                </c:pt>
                <c:pt idx="38">
                  <c:v>Mini Babybel Aros St Paulin Ferme Raclette Filet 1X132Gr 6P</c:v>
                </c:pt>
                <c:pt idx="39">
                  <c:v>La Vache Qui Rit Bio Fromage Fondu Boite Ronde 1X128Gr 8P</c:v>
                </c:pt>
                <c:pt idx="40">
                  <c:v>Mini Babybel Aros Soft Cheese Enfant 110G</c:v>
                </c:pt>
                <c:pt idx="41">
                  <c:v>Boursin Classique Fromage Frais A Tartiner Afh Boite 1X80Gr 1P</c:v>
                </c:pt>
                <c:pt idx="42">
                  <c:v>Boursin Salade &amp; Aperitif Fromage Frais Des Noisette Et 3 Noix 1X120Gr 1P</c:v>
                </c:pt>
                <c:pt idx="43">
                  <c:v>Boursin Classique Fromage Frais A Tartiner Afh 1X256Gr 16P</c:v>
                </c:pt>
                <c:pt idx="44">
                  <c:v>Boursin Salade &amp; Aperitif Soft Cheese Salade 120G</c:v>
                </c:pt>
                <c:pt idx="45">
                  <c:v>Boursin Classique Fromage Frais A Tartiner 3 Noix Boite 1X150Gr 1P</c:v>
                </c:pt>
                <c:pt idx="46">
                  <c:v>Boursin Classique Fromage Frais A Tartiner Poivre Boite 1X150Gr 1P</c:v>
                </c:pt>
                <c:pt idx="47">
                  <c:v>Mini Babybel Aros St Paulin Ferme Emmental Filet 1X120Gr 6P</c:v>
                </c:pt>
                <c:pt idx="48">
                  <c:v>Boursin Onctueux Fromage Frais A Tartiner Afh 1X210Gr 1P</c:v>
                </c:pt>
                <c:pt idx="49">
                  <c:v>Boursin Classique Fromage Frais A Tartiner Truffe Boite 1X150Gr 1P</c:v>
                </c:pt>
                <c:pt idx="50">
                  <c:v>Boursin Classique Fromage Frais A Tartiner Afh Boite 1X320Gr 16+4P</c:v>
                </c:pt>
                <c:pt idx="51">
                  <c:v>Boursin Classique Fromage Frais A Tartiner 3 Noix 1X160Gr 10P</c:v>
                </c:pt>
                <c:pt idx="52">
                  <c:v>Mini Babybel Rouge Filet St Paulin Ferme Sachet 1X40Gr 1P</c:v>
                </c:pt>
                <c:pt idx="53">
                  <c:v>Mini Babybel Aros Soft Cheese Enfant 120G</c:v>
                </c:pt>
                <c:pt idx="54">
                  <c:v>La Vache Qui Rit Aro Fromage Fondu Boite Ronde Jambon 1X133Gr 8P</c:v>
                </c:pt>
                <c:pt idx="55">
                  <c:v>La Vache Qui Rit Pik Et Croq' Fromage Fondu Dips Boite 1X35Gr 1P</c:v>
                </c:pt>
                <c:pt idx="56">
                  <c:v>Kiri Chevre Fromage Blanc Frais Carre 1X144Gr 8P</c:v>
                </c:pt>
                <c:pt idx="57">
                  <c:v>Boursin Classique Fromage Frais A Tartiner Citron &amp; Romarin Boite 1X150Gr 1P</c:v>
                </c:pt>
                <c:pt idx="58">
                  <c:v>Mini Babybel Bio St Paulin Ferme Filet 1X100Gr 5P</c:v>
                </c:pt>
                <c:pt idx="59">
                  <c:v>Boursin Classique Fromage Frais A Tartiner Ciboulette &amp; Echalote 1X160Gr 10P</c:v>
                </c:pt>
                <c:pt idx="60">
                  <c:v>Mini Babybel Rouge Filet St Paulin Ferme 1X110Gr 5P</c:v>
                </c:pt>
                <c:pt idx="61">
                  <c:v>Limiano Queijo Flamengo Autre Sachet 1X450Gr 1P</c:v>
                </c:pt>
                <c:pt idx="62">
                  <c:v>Mini Babybel Rouge Filet St Paulin Ferme 1X396Gr 18P</c:v>
                </c:pt>
              </c:strCache>
            </c:strRef>
          </c:cat>
          <c:val>
            <c:numRef>
              <c:f>Sheet1!$C$2:$C$64</c:f>
              <c:numCache>
                <c:formatCode>General</c:formatCode>
                <c:ptCount val="63"/>
                <c:pt idx="0">
                  <c:v>0.12962986226544976</c:v>
                </c:pt>
                <c:pt idx="1">
                  <c:v>0.2240985175273642</c:v>
                </c:pt>
                <c:pt idx="2">
                  <c:v>0.30227511759609893</c:v>
                </c:pt>
                <c:pt idx="3">
                  <c:v>0.37389824248562403</c:v>
                </c:pt>
                <c:pt idx="4">
                  <c:v>0.44349460395171175</c:v>
                </c:pt>
                <c:pt idx="5">
                  <c:v>0.51285043012085463</c:v>
                </c:pt>
                <c:pt idx="6">
                  <c:v>0.56458038128973598</c:v>
                </c:pt>
                <c:pt idx="7">
                  <c:v>0.60373217204063134</c:v>
                </c:pt>
                <c:pt idx="8">
                  <c:v>0.64095643852324902</c:v>
                </c:pt>
                <c:pt idx="9">
                  <c:v>0.67724427991303437</c:v>
                </c:pt>
                <c:pt idx="10">
                  <c:v>0.71306726017252531</c:v>
                </c:pt>
                <c:pt idx="11">
                  <c:v>0.73618088192997133</c:v>
                </c:pt>
                <c:pt idx="12">
                  <c:v>0.75801834795184164</c:v>
                </c:pt>
                <c:pt idx="13">
                  <c:v>0.77819906441385633</c:v>
                </c:pt>
                <c:pt idx="14">
                  <c:v>0.7976746473047982</c:v>
                </c:pt>
                <c:pt idx="15">
                  <c:v>0.81660206556537451</c:v>
                </c:pt>
                <c:pt idx="16">
                  <c:v>0.83338263894382547</c:v>
                </c:pt>
                <c:pt idx="17">
                  <c:v>0.84968587647641791</c:v>
                </c:pt>
                <c:pt idx="18">
                  <c:v>0.8650622284045506</c:v>
                </c:pt>
                <c:pt idx="19">
                  <c:v>0.87790699068931699</c:v>
                </c:pt>
                <c:pt idx="20">
                  <c:v>0.888840032932811</c:v>
                </c:pt>
                <c:pt idx="21">
                  <c:v>0.8995097042499034</c:v>
                </c:pt>
                <c:pt idx="22">
                  <c:v>0.90882093489899374</c:v>
                </c:pt>
                <c:pt idx="23">
                  <c:v>0.91669683945140734</c:v>
                </c:pt>
                <c:pt idx="24">
                  <c:v>0.92424555379068329</c:v>
                </c:pt>
                <c:pt idx="25">
                  <c:v>0.93074358822346115</c:v>
                </c:pt>
                <c:pt idx="26">
                  <c:v>0.93681868708448679</c:v>
                </c:pt>
                <c:pt idx="27">
                  <c:v>0.94204518766928147</c:v>
                </c:pt>
                <c:pt idx="28">
                  <c:v>0.9471884176110259</c:v>
                </c:pt>
                <c:pt idx="29">
                  <c:v>0.95204871574665173</c:v>
                </c:pt>
                <c:pt idx="30">
                  <c:v>0.95689981391645329</c:v>
                </c:pt>
                <c:pt idx="31">
                  <c:v>0.96174897352202748</c:v>
                </c:pt>
                <c:pt idx="32">
                  <c:v>0.965985283975619</c:v>
                </c:pt>
                <c:pt idx="33">
                  <c:v>0.96998300864883324</c:v>
                </c:pt>
                <c:pt idx="34">
                  <c:v>0.97368665203353699</c:v>
                </c:pt>
                <c:pt idx="35">
                  <c:v>0.97696768841669657</c:v>
                </c:pt>
                <c:pt idx="36">
                  <c:v>0.97988393520258177</c:v>
                </c:pt>
                <c:pt idx="37">
                  <c:v>0.98176095822988818</c:v>
                </c:pt>
                <c:pt idx="38">
                  <c:v>0.98350064986258612</c:v>
                </c:pt>
                <c:pt idx="39">
                  <c:v>0.98523262009539569</c:v>
                </c:pt>
                <c:pt idx="40">
                  <c:v>0.98689934723723449</c:v>
                </c:pt>
                <c:pt idx="41">
                  <c:v>0.98845006719096484</c:v>
                </c:pt>
                <c:pt idx="42">
                  <c:v>0.98986643478663927</c:v>
                </c:pt>
                <c:pt idx="43">
                  <c:v>0.99124848870025706</c:v>
                </c:pt>
                <c:pt idx="44">
                  <c:v>0.99256640570927102</c:v>
                </c:pt>
                <c:pt idx="45">
                  <c:v>0.99361463229154934</c:v>
                </c:pt>
                <c:pt idx="46">
                  <c:v>0.99456808827349685</c:v>
                </c:pt>
                <c:pt idx="47">
                  <c:v>0.99550107433148527</c:v>
                </c:pt>
                <c:pt idx="48">
                  <c:v>0.99619612079717224</c:v>
                </c:pt>
                <c:pt idx="49">
                  <c:v>0.99673166833155014</c:v>
                </c:pt>
                <c:pt idx="50">
                  <c:v>0.99725931922859556</c:v>
                </c:pt>
                <c:pt idx="51">
                  <c:v>0.99775928260944591</c:v>
                </c:pt>
                <c:pt idx="52">
                  <c:v>0.99821405663435436</c:v>
                </c:pt>
                <c:pt idx="53">
                  <c:v>0.99858457430558845</c:v>
                </c:pt>
                <c:pt idx="54">
                  <c:v>0.99891364832125207</c:v>
                </c:pt>
                <c:pt idx="55">
                  <c:v>0.99917114879327051</c:v>
                </c:pt>
                <c:pt idx="56">
                  <c:v>0.9993577000050391</c:v>
                </c:pt>
                <c:pt idx="57">
                  <c:v>0.99953604791394768</c:v>
                </c:pt>
                <c:pt idx="58">
                  <c:v>0.9997065977565861</c:v>
                </c:pt>
                <c:pt idx="59">
                  <c:v>0.99985780576631289</c:v>
                </c:pt>
                <c:pt idx="60">
                  <c:v>0.99999057003503</c:v>
                </c:pt>
                <c:pt idx="61">
                  <c:v>0.99999734953365527</c:v>
                </c:pt>
                <c:pt idx="62">
                  <c:v>0.9999998576195764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4</c:f>
              <c:strCache>
                <c:ptCount val="63"/>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Boursin Classique Fromage Frais A Tartiner Afh Boite 1X150Gr 1P</c:v>
                </c:pt>
                <c:pt idx="9">
                  <c:v>Boursin Classique Fromage Frais A Tartiner Afh 1X160Gr 10P</c:v>
                </c:pt>
                <c:pt idx="10">
                  <c:v>Kiri Gouter Fromage Blanc Dips Boite 1X175Gr 5P</c:v>
                </c:pt>
                <c:pt idx="11">
                  <c:v>Boursin Classique Fromage Frais A Tartiner Afh Boite 1X250Gr 1P</c:v>
                </c:pt>
                <c:pt idx="12">
                  <c:v>Boursin Salade &amp; Aperitif Fromage Frais Des Afh 1X120Gr 1P</c:v>
                </c:pt>
                <c:pt idx="13">
                  <c:v>Kiri Gouter Fromage Blanc Dips Boite 1X280Gr 8P</c:v>
                </c:pt>
                <c:pt idx="14">
                  <c:v>La Vache Qui Rit Pik Et Croq' Fromage Fondu Dips Boite 1X175Gr 5P</c:v>
                </c:pt>
                <c:pt idx="15">
                  <c:v>Mini Babybel Rouge Filet St Paulin Ferme 1X440Gr 20P</c:v>
                </c:pt>
                <c:pt idx="16">
                  <c:v>La Vache Qui Rit Nature Fromage Fondu Boite Ronde 1X128Gr 8P</c:v>
                </c:pt>
                <c:pt idx="17">
                  <c:v>Mini Babybel Rouge Filet Soft Cheese Enfant 352G</c:v>
                </c:pt>
                <c:pt idx="18">
                  <c:v>La Vache Qui Rit Nature Fromage Fondu Boite Ronde 1X512Gr 24+8P</c:v>
                </c:pt>
                <c:pt idx="19">
                  <c:v>Kiri Creme Fromage Blanc Frais Carre 1X432Gr 18+6P</c:v>
                </c:pt>
                <c:pt idx="20">
                  <c:v>Mini Babybel Rouge Filet Soft Cheese Enfant 484G</c:v>
                </c:pt>
                <c:pt idx="21">
                  <c:v>Boursin Classique Fromage Frais A Tartiner Afh Boite 1X96Gr 6P</c:v>
                </c:pt>
                <c:pt idx="22">
                  <c:v>Mini Babybel Rouge Filet St Paulin Ferme 1X396Gr 12+6P</c:v>
                </c:pt>
                <c:pt idx="23">
                  <c:v>Kiri Delicieusement Fouette Fromage Frais A Tartiner 1X125Gr 1P</c:v>
                </c:pt>
                <c:pt idx="24">
                  <c:v>Boursin Classique Fromage Frais A Tartiner Ciboulette &amp; Echalote Boite 1X150Gr 1P</c:v>
                </c:pt>
                <c:pt idx="25">
                  <c:v>Boursin Onctueux Fromage Frais A Tartiner Afh 1X125Gr 1P</c:v>
                </c:pt>
                <c:pt idx="26">
                  <c:v>Mini Babybel Aros St Paulin Ferme Assortis Filet 1X180Gr 9P</c:v>
                </c:pt>
                <c:pt idx="27">
                  <c:v>Kiri Delicieusement Fouette Fromage Frais A Tartiner 1X210Gr 1P</c:v>
                </c:pt>
                <c:pt idx="28">
                  <c:v>Babybel Mini Rolls St Paulin Ferme Sachet 1X85Gr 5P</c:v>
                </c:pt>
                <c:pt idx="29">
                  <c:v>Boursin Salade &amp; Aperitif Fromage Frais Des Ciboulette Echalote 1X120Gr 1P</c:v>
                </c:pt>
                <c:pt idx="30">
                  <c:v>La Vache Qui Rit Pik Et Croq' Fromage Fondu Dips Boite 1X280Gr 8P</c:v>
                </c:pt>
                <c:pt idx="31">
                  <c:v>Boursin Classique Fromage Frais A Tartiner Figue Et 3 Noix Boite 1X150Gr 1P</c:v>
                </c:pt>
                <c:pt idx="32">
                  <c:v>Kiri Delicieusement Fouette Fromage Frais A Tartiner 1X160Gr 10P</c:v>
                </c:pt>
                <c:pt idx="33">
                  <c:v>La Vache Qui Rit Allegee Fromage Fondu Boite Ronde Allege 1X267Gr 16P</c:v>
                </c:pt>
                <c:pt idx="34">
                  <c:v>Boursin Salade &amp; Aperitif Fromage Frais Des Figue Noix 1X120Gr 1P</c:v>
                </c:pt>
                <c:pt idx="35">
                  <c:v>Kiri Bio Fromage Blanc Frais Carre 1X144Gr 8P</c:v>
                </c:pt>
                <c:pt idx="36">
                  <c:v>Mini Babybel Aros Soft Cheese Enfant 180G</c:v>
                </c:pt>
                <c:pt idx="37">
                  <c:v>Boursin Salade &amp; Aperitif Fromage Frais Des Citron Romarin 1X120Gr 1P</c:v>
                </c:pt>
                <c:pt idx="38">
                  <c:v>Mini Babybel Aros St Paulin Ferme Raclette Filet 1X132Gr 6P</c:v>
                </c:pt>
                <c:pt idx="39">
                  <c:v>La Vache Qui Rit Bio Fromage Fondu Boite Ronde 1X128Gr 8P</c:v>
                </c:pt>
                <c:pt idx="40">
                  <c:v>Mini Babybel Aros Soft Cheese Enfant 110G</c:v>
                </c:pt>
                <c:pt idx="41">
                  <c:v>Boursin Classique Fromage Frais A Tartiner Afh Boite 1X80Gr 1P</c:v>
                </c:pt>
                <c:pt idx="42">
                  <c:v>Boursin Salade &amp; Aperitif Fromage Frais Des Noisette Et 3 Noix 1X120Gr 1P</c:v>
                </c:pt>
                <c:pt idx="43">
                  <c:v>Boursin Classique Fromage Frais A Tartiner Afh 1X256Gr 16P</c:v>
                </c:pt>
                <c:pt idx="44">
                  <c:v>Boursin Salade &amp; Aperitif Soft Cheese Salade 120G</c:v>
                </c:pt>
                <c:pt idx="45">
                  <c:v>Boursin Classique Fromage Frais A Tartiner 3 Noix Boite 1X150Gr 1P</c:v>
                </c:pt>
                <c:pt idx="46">
                  <c:v>Boursin Classique Fromage Frais A Tartiner Poivre Boite 1X150Gr 1P</c:v>
                </c:pt>
                <c:pt idx="47">
                  <c:v>Mini Babybel Aros St Paulin Ferme Emmental Filet 1X120Gr 6P</c:v>
                </c:pt>
                <c:pt idx="48">
                  <c:v>Boursin Onctueux Fromage Frais A Tartiner Afh 1X210Gr 1P</c:v>
                </c:pt>
                <c:pt idx="49">
                  <c:v>Boursin Classique Fromage Frais A Tartiner Truffe Boite 1X150Gr 1P</c:v>
                </c:pt>
                <c:pt idx="50">
                  <c:v>Boursin Classique Fromage Frais A Tartiner Afh Boite 1X320Gr 16+4P</c:v>
                </c:pt>
                <c:pt idx="51">
                  <c:v>Boursin Classique Fromage Frais A Tartiner 3 Noix 1X160Gr 10P</c:v>
                </c:pt>
                <c:pt idx="52">
                  <c:v>Mini Babybel Rouge Filet St Paulin Ferme Sachet 1X40Gr 1P</c:v>
                </c:pt>
                <c:pt idx="53">
                  <c:v>Mini Babybel Aros Soft Cheese Enfant 120G</c:v>
                </c:pt>
                <c:pt idx="54">
                  <c:v>La Vache Qui Rit Aro Fromage Fondu Boite Ronde Jambon 1X133Gr 8P</c:v>
                </c:pt>
                <c:pt idx="55">
                  <c:v>La Vache Qui Rit Pik Et Croq' Fromage Fondu Dips Boite 1X35Gr 1P</c:v>
                </c:pt>
                <c:pt idx="56">
                  <c:v>Kiri Chevre Fromage Blanc Frais Carre 1X144Gr 8P</c:v>
                </c:pt>
                <c:pt idx="57">
                  <c:v>Boursin Classique Fromage Frais A Tartiner Citron &amp; Romarin Boite 1X150Gr 1P</c:v>
                </c:pt>
                <c:pt idx="58">
                  <c:v>Mini Babybel Bio St Paulin Ferme Filet 1X100Gr 5P</c:v>
                </c:pt>
                <c:pt idx="59">
                  <c:v>Boursin Classique Fromage Frais A Tartiner Ciboulette &amp; Echalote 1X160Gr 10P</c:v>
                </c:pt>
                <c:pt idx="60">
                  <c:v>Mini Babybel Rouge Filet St Paulin Ferme 1X110Gr 5P</c:v>
                </c:pt>
                <c:pt idx="61">
                  <c:v>Limiano Queijo Flamengo Autre Sachet 1X450Gr 1P</c:v>
                </c:pt>
                <c:pt idx="62">
                  <c:v>Mini Babybel Rouge Filet St Paulin Ferme 1X396Gr 18P</c:v>
                </c:pt>
              </c:strCache>
            </c:strRef>
          </c:cat>
          <c:val>
            <c:numRef>
              <c:f>Sheet1!$D$2:$D$64</c:f>
              <c:numCache>
                <c:formatCode>General</c:formatCode>
                <c:ptCount val="63"/>
                <c:pt idx="0">
                  <c:v>143117.46070133013</c:v>
                </c:pt>
                <c:pt idx="1">
                  <c:v>99371.32488479263</c:v>
                </c:pt>
                <c:pt idx="2">
                  <c:v>72099.898989898997</c:v>
                </c:pt>
                <c:pt idx="3">
                  <c:v>72823.240534521159</c:v>
                </c:pt>
                <c:pt idx="4">
                  <c:v>64775.474006116208</c:v>
                </c:pt>
                <c:pt idx="5">
                  <c:v>81394.755784061694</c:v>
                </c:pt>
                <c:pt idx="6">
                  <c:v>47708.959595959597</c:v>
                </c:pt>
                <c:pt idx="7">
                  <c:v>42862.613908872903</c:v>
                </c:pt>
                <c:pt idx="8">
                  <c:v>35111.053719008269</c:v>
                </c:pt>
                <c:pt idx="9">
                  <c:v>36210.382513661199</c:v>
                </c:pt>
                <c:pt idx="10">
                  <c:v>34465.816649104323</c:v>
                </c:pt>
                <c:pt idx="11">
                  <c:v>25830.86903304774</c:v>
                </c:pt>
                <c:pt idx="12">
                  <c:v>20726.226611226612</c:v>
                </c:pt>
                <c:pt idx="13">
                  <c:v>25172.049180327867</c:v>
                </c:pt>
                <c:pt idx="14">
                  <c:v>19583.832599118945</c:v>
                </c:pt>
                <c:pt idx="15">
                  <c:v>21075.146341463416</c:v>
                </c:pt>
                <c:pt idx="16">
                  <c:v>22077.017291066284</c:v>
                </c:pt>
                <c:pt idx="17">
                  <c:v>18422.797029702968</c:v>
                </c:pt>
                <c:pt idx="18">
                  <c:v>19364.593103448275</c:v>
                </c:pt>
                <c:pt idx="19">
                  <c:v>16379.706703910615</c:v>
                </c:pt>
                <c:pt idx="20">
                  <c:v>22533.589164785553</c:v>
                </c:pt>
                <c:pt idx="21">
                  <c:v>11865.907429963459</c:v>
                </c:pt>
                <c:pt idx="22">
                  <c:v>11551.073369565218</c:v>
                </c:pt>
                <c:pt idx="23">
                  <c:v>9290.7881136950891</c:v>
                </c:pt>
                <c:pt idx="24">
                  <c:v>8691.4627994955863</c:v>
                </c:pt>
                <c:pt idx="25">
                  <c:v>7665.3875968992243</c:v>
                </c:pt>
                <c:pt idx="26">
                  <c:v>8015.6791907514462</c:v>
                </c:pt>
                <c:pt idx="27">
                  <c:v>7421.5241057542771</c:v>
                </c:pt>
                <c:pt idx="28">
                  <c:v>7598.7216828478968</c:v>
                </c:pt>
                <c:pt idx="29">
                  <c:v>5431.6768665850677</c:v>
                </c:pt>
                <c:pt idx="30">
                  <c:v>10205.714285714286</c:v>
                </c:pt>
                <c:pt idx="31">
                  <c:v>6379.6974063400585</c:v>
                </c:pt>
                <c:pt idx="32">
                  <c:v>5613.8606676342533</c:v>
                </c:pt>
                <c:pt idx="33">
                  <c:v>7373.9595959595963</c:v>
                </c:pt>
                <c:pt idx="34">
                  <c:v>4221.7228464419468</c:v>
                </c:pt>
                <c:pt idx="35">
                  <c:v>5967.6095617529882</c:v>
                </c:pt>
                <c:pt idx="36">
                  <c:v>3820.1865136298429</c:v>
                </c:pt>
                <c:pt idx="37">
                  <c:v>2424.0594059405939</c:v>
                </c:pt>
                <c:pt idx="38">
                  <c:v>3755.1300236406623</c:v>
                </c:pt>
                <c:pt idx="39">
                  <c:v>3280.8506224066391</c:v>
                </c:pt>
                <c:pt idx="40">
                  <c:v>2359.3798449612405</c:v>
                </c:pt>
                <c:pt idx="41">
                  <c:v>3167.5167785234898</c:v>
                </c:pt>
                <c:pt idx="42">
                  <c:v>1752.3170731707319</c:v>
                </c:pt>
                <c:pt idx="43">
                  <c:v>4761.8113207547167</c:v>
                </c:pt>
                <c:pt idx="44">
                  <c:v>1723.9541547277938</c:v>
                </c:pt>
                <c:pt idx="45">
                  <c:v>1782.2718808193667</c:v>
                </c:pt>
                <c:pt idx="46">
                  <c:v>2165.5472636815921</c:v>
                </c:pt>
                <c:pt idx="47">
                  <c:v>2670.4075235109717</c:v>
                </c:pt>
                <c:pt idx="48">
                  <c:v>2258.3985765124553</c:v>
                </c:pt>
                <c:pt idx="49">
                  <c:v>956.90802348336592</c:v>
                </c:pt>
                <c:pt idx="50">
                  <c:v>912.44318181818176</c:v>
                </c:pt>
                <c:pt idx="51">
                  <c:v>1204.4591029023748</c:v>
                </c:pt>
                <c:pt idx="52">
                  <c:v>3243.984375</c:v>
                </c:pt>
                <c:pt idx="53">
                  <c:v>1091.2903225806451</c:v>
                </c:pt>
                <c:pt idx="54">
                  <c:v>8120.5405405405409</c:v>
                </c:pt>
                <c:pt idx="55">
                  <c:v>29388.75</c:v>
                </c:pt>
                <c:pt idx="56">
                  <c:v>637.94007490636693</c:v>
                </c:pt>
                <c:pt idx="57">
                  <c:v>502.59259259259261</c:v>
                </c:pt>
                <c:pt idx="58">
                  <c:v>492.78481012658227</c:v>
                </c:pt>
                <c:pt idx="59">
                  <c:v>1840.8</c:v>
                </c:pt>
                <c:pt idx="60">
                  <c:v>1634.7826086956522</c:v>
                </c:pt>
                <c:pt idx="61">
                  <c:v>1238</c:v>
                </c:pt>
                <c:pt idx="62">
                  <c:v>5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0</c:f>
              <c:strCache>
                <c:ptCount val="49"/>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Boursin Classique Fromage Frais A Tartiner Afh Boite 1X250Gr 1P</c:v>
                </c:pt>
                <c:pt idx="8">
                  <c:v>Boursin Classique Fromage Frais A Tartiner Afh 1X160Gr 10P</c:v>
                </c:pt>
                <c:pt idx="9">
                  <c:v>Kiri Gouter Fromage Blanc Dips Boite 1X280Gr 8P</c:v>
                </c:pt>
                <c:pt idx="10">
                  <c:v>Kiri Creme Fromage Blanc Frais Carre 1X144Gr 8P</c:v>
                </c:pt>
                <c:pt idx="11">
                  <c:v>Boursin Classique Fromage Frais A Tartiner Afh Boite 1X150Gr 1P</c:v>
                </c:pt>
                <c:pt idx="12">
                  <c:v>Kiri Gouter Fromage Blanc Dips Boite 1X175Gr 5P</c:v>
                </c:pt>
                <c:pt idx="13">
                  <c:v>Mini Babybel Rouge Filet St Paulin Ferme 1X440Gr 20P</c:v>
                </c:pt>
                <c:pt idx="14">
                  <c:v>La Vache Qui Rit Pik Et Croq' Fromage Fondu Dips Boite 1X175Gr 5P</c:v>
                </c:pt>
                <c:pt idx="15">
                  <c:v>La Vache Qui Rit Pik Et Croq' Fromage Fondu Dips Boite 1X280Gr 8P</c:v>
                </c:pt>
                <c:pt idx="16">
                  <c:v>Boursin Onctueux Fromage Frais A Tartiner Afh 1X125Gr 1P</c:v>
                </c:pt>
                <c:pt idx="17">
                  <c:v>Boursin Salade &amp; Aperitif Fromage Frais Des Afh 1X120Gr 1P</c:v>
                </c:pt>
                <c:pt idx="18">
                  <c:v>Boursin Classique Fromage Frais A Tartiner Afh Boite 1X96Gr 6P</c:v>
                </c:pt>
                <c:pt idx="19">
                  <c:v>Boursin Classique Fromage Frais A Tartiner Figue Et 3 Noix Boite 1X150Gr 1P</c:v>
                </c:pt>
                <c:pt idx="20">
                  <c:v>La Vache Qui Rit Allegee Fromage Fondu Boite Ronde Allege 1X267Gr 16P</c:v>
                </c:pt>
                <c:pt idx="21">
                  <c:v>Boursin Classique Fromage Frais A Tartiner Ciboulette &amp; Echalote Boite 1X150Gr 1P</c:v>
                </c:pt>
                <c:pt idx="22">
                  <c:v>Boursin Classique Fromage Frais A Tartiner Afh 1X256Gr 16P</c:v>
                </c:pt>
                <c:pt idx="23">
                  <c:v>Boursin Classique Fromage Frais A Tartiner Poivre Boite 1X150Gr 1P</c:v>
                </c:pt>
                <c:pt idx="24">
                  <c:v>Babybel Mini Rolls St Paulin Ferme Sachet 1X85Gr 5P</c:v>
                </c:pt>
                <c:pt idx="25">
                  <c:v>Mini Babybel Aros St Paulin Ferme Assortis Filet 1X180Gr 9P</c:v>
                </c:pt>
                <c:pt idx="26">
                  <c:v>Kiri Delicieusement Fouette Fromage Frais A Tartiner 1X125Gr 1P</c:v>
                </c:pt>
                <c:pt idx="27">
                  <c:v>Boursin Classique Fromage Frais A Tartiner Ciboulette &amp; Echalote 1X160Gr 10P</c:v>
                </c:pt>
                <c:pt idx="28">
                  <c:v>La Vache Qui Rit Aro Fromage Fondu Boite Ronde Jambon 1X133Gr 8P</c:v>
                </c:pt>
                <c:pt idx="29">
                  <c:v>Kiri Bio Fromage Blanc Frais Carre 1X144Gr 8P</c:v>
                </c:pt>
                <c:pt idx="30">
                  <c:v>Kiri Chevre Fromage Blanc Frais Carre 1X144Gr 8P</c:v>
                </c:pt>
                <c:pt idx="31">
                  <c:v>Mini Babybel Aros Soft Cheese Enfant 180G</c:v>
                </c:pt>
                <c:pt idx="32">
                  <c:v>Mini Babybel Rouge Filet St Paulin Ferme 1X396Gr 12+6P</c:v>
                </c:pt>
                <c:pt idx="33">
                  <c:v>Boursin Salade &amp; Aperitif Fromage Frais Des Ciboulette Echalote 1X120Gr 1P</c:v>
                </c:pt>
                <c:pt idx="34">
                  <c:v>Kiri Creme Fromage Blanc Frais Carre 1X432Gr 18+6P</c:v>
                </c:pt>
                <c:pt idx="35">
                  <c:v>Kiri Delicieusement Fouette Fromage Frais A Tartiner 1X160Gr 10P</c:v>
                </c:pt>
                <c:pt idx="36">
                  <c:v>Mini Babybel Aros St Paulin Ferme Raclette Filet 1X132Gr 6P</c:v>
                </c:pt>
                <c:pt idx="37">
                  <c:v>Boursin Salade &amp; Aperitif Fromage Frais Des Figue Noix 1X120Gr 1P</c:v>
                </c:pt>
                <c:pt idx="38">
                  <c:v>Boursin Salade &amp; Aperitif Fromage Frais Des Citron Romarin 1X120Gr 1P</c:v>
                </c:pt>
                <c:pt idx="39">
                  <c:v>Boursin Classique Fromage Frais A Tartiner Afh Boite 1X80Gr 1P</c:v>
                </c:pt>
                <c:pt idx="40">
                  <c:v>Boursin Salade &amp; Aperitif Fromage Frais Des Noisette Et 3 Noix 1X120Gr 1P</c:v>
                </c:pt>
                <c:pt idx="41">
                  <c:v>Mini Babybel Aros Soft Cheese Enfant 110G</c:v>
                </c:pt>
                <c:pt idx="42">
                  <c:v>Boursin Salade &amp; Aperitif Soft Cheese Salade 120G</c:v>
                </c:pt>
                <c:pt idx="43">
                  <c:v>Boursin Classique Fromage Frais A Tartiner Truffe Boite 1X150Gr 1P</c:v>
                </c:pt>
                <c:pt idx="44">
                  <c:v>La Vache Qui Rit Nature Fromage Fondu Boite Ronde 1X512Gr 24+8P</c:v>
                </c:pt>
                <c:pt idx="45">
                  <c:v>Mini Babybel Rouge Filet St Paulin Ferme Sachet 1X40Gr 1P</c:v>
                </c:pt>
                <c:pt idx="46">
                  <c:v>Mini Babybel Bio St Paulin Ferme Filet 1X100Gr 5P</c:v>
                </c:pt>
                <c:pt idx="47">
                  <c:v>Kiri Delicieusement Fouette Fromage Frais A Tartiner 1X210Gr 1P</c:v>
                </c:pt>
                <c:pt idx="48">
                  <c:v>La Vache Qui Rit Nature Fromage Fondu Boite Ronde 1X128Gr 8P</c:v>
                </c:pt>
              </c:strCache>
            </c:strRef>
          </c:cat>
          <c:val>
            <c:numRef>
              <c:f>Sheet1!$B$2:$B$50</c:f>
              <c:numCache>
                <c:formatCode>General</c:formatCode>
                <c:ptCount val="49"/>
                <c:pt idx="0">
                  <c:v>0.98599999999999999</c:v>
                </c:pt>
                <c:pt idx="1">
                  <c:v>0.94699999999999995</c:v>
                </c:pt>
                <c:pt idx="2">
                  <c:v>0.998</c:v>
                </c:pt>
                <c:pt idx="3">
                  <c:v>0.998</c:v>
                </c:pt>
                <c:pt idx="4">
                  <c:v>0.94099999999999995</c:v>
                </c:pt>
                <c:pt idx="5">
                  <c:v>0.97499999999999998</c:v>
                </c:pt>
                <c:pt idx="6">
                  <c:v>0.86099999999999999</c:v>
                </c:pt>
                <c:pt idx="7">
                  <c:v>0.98</c:v>
                </c:pt>
                <c:pt idx="8">
                  <c:v>0.98099999999999998</c:v>
                </c:pt>
                <c:pt idx="9">
                  <c:v>0.93200000000000005</c:v>
                </c:pt>
                <c:pt idx="10">
                  <c:v>0.98299999999999998</c:v>
                </c:pt>
                <c:pt idx="11">
                  <c:v>0.998</c:v>
                </c:pt>
                <c:pt idx="12">
                  <c:v>0.98099999999999998</c:v>
                </c:pt>
                <c:pt idx="13">
                  <c:v>0.85199999999999998</c:v>
                </c:pt>
                <c:pt idx="14">
                  <c:v>0.95499999999999996</c:v>
                </c:pt>
                <c:pt idx="15">
                  <c:v>0.84799999999999998</c:v>
                </c:pt>
                <c:pt idx="16">
                  <c:v>0.95399999999999996</c:v>
                </c:pt>
                <c:pt idx="17">
                  <c:v>0.96799999999999997</c:v>
                </c:pt>
                <c:pt idx="18">
                  <c:v>0.93899999999999995</c:v>
                </c:pt>
                <c:pt idx="19">
                  <c:v>0.98</c:v>
                </c:pt>
                <c:pt idx="20">
                  <c:v>0.84099999999999997</c:v>
                </c:pt>
                <c:pt idx="21">
                  <c:v>0.97299999999999998</c:v>
                </c:pt>
                <c:pt idx="22">
                  <c:v>0.86</c:v>
                </c:pt>
                <c:pt idx="23">
                  <c:v>0.94</c:v>
                </c:pt>
                <c:pt idx="24">
                  <c:v>0.78500000000000003</c:v>
                </c:pt>
                <c:pt idx="25">
                  <c:v>0.81</c:v>
                </c:pt>
                <c:pt idx="26">
                  <c:v>0.83699999999999997</c:v>
                </c:pt>
                <c:pt idx="27">
                  <c:v>0.80800000000000005</c:v>
                </c:pt>
                <c:pt idx="28">
                  <c:v>0.67900000000000005</c:v>
                </c:pt>
                <c:pt idx="29">
                  <c:v>0.60299999999999998</c:v>
                </c:pt>
                <c:pt idx="30">
                  <c:v>0.67200000000000004</c:v>
                </c:pt>
                <c:pt idx="31">
                  <c:v>0.71</c:v>
                </c:pt>
                <c:pt idx="32">
                  <c:v>0.876</c:v>
                </c:pt>
                <c:pt idx="33">
                  <c:v>0.82299999999999995</c:v>
                </c:pt>
                <c:pt idx="34">
                  <c:v>0.81699999999999995</c:v>
                </c:pt>
                <c:pt idx="35">
                  <c:v>0.89500000000000002</c:v>
                </c:pt>
                <c:pt idx="36">
                  <c:v>0.73899999999999999</c:v>
                </c:pt>
                <c:pt idx="37">
                  <c:v>0.84499999999999997</c:v>
                </c:pt>
                <c:pt idx="38">
                  <c:v>0.66</c:v>
                </c:pt>
                <c:pt idx="39">
                  <c:v>0.32500000000000001</c:v>
                </c:pt>
                <c:pt idx="40">
                  <c:v>0.80300000000000005</c:v>
                </c:pt>
                <c:pt idx="41">
                  <c:v>0.58499999999999996</c:v>
                </c:pt>
                <c:pt idx="42">
                  <c:v>0.41399999999999998</c:v>
                </c:pt>
                <c:pt idx="43">
                  <c:v>0.68700000000000006</c:v>
                </c:pt>
                <c:pt idx="44">
                  <c:v>0.23100000000000001</c:v>
                </c:pt>
                <c:pt idx="45">
                  <c:v>0.114</c:v>
                </c:pt>
                <c:pt idx="46">
                  <c:v>0.312</c:v>
                </c:pt>
                <c:pt idx="47">
                  <c:v>0.372</c:v>
                </c:pt>
                <c:pt idx="48">
                  <c:v>0.1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invertIfNegative val="1"/>
            <c:bubble3D val="0"/>
            <c:spPr>
              <a:solidFill>
                <a:srgbClr val="AEABAB"/>
              </a:solidFill>
            </c:spPr>
            <c:extLst>
              <c:ext xmlns:c16="http://schemas.microsoft.com/office/drawing/2014/chart" uri="{C3380CC4-5D6E-409C-BE32-E72D297353CC}">
                <c16:uniqueId val="{0000005B-7E02-46AA-9D45-4C8F9F039E1D}"/>
              </c:ext>
            </c:extLst>
          </c:dPt>
          <c:dPt>
            <c:idx val="45"/>
            <c:invertIfNegative val="1"/>
            <c:bubble3D val="0"/>
            <c:spPr>
              <a:solidFill>
                <a:srgbClr val="AEABAB"/>
              </a:solidFill>
            </c:spPr>
            <c:extLst>
              <c:ext xmlns:c16="http://schemas.microsoft.com/office/drawing/2014/chart" uri="{C3380CC4-5D6E-409C-BE32-E72D297353CC}">
                <c16:uniqueId val="{0000005D-7E02-46AA-9D45-4C8F9F039E1D}"/>
              </c:ext>
            </c:extLst>
          </c:dPt>
          <c:dPt>
            <c:idx val="46"/>
            <c:invertIfNegative val="1"/>
            <c:bubble3D val="0"/>
            <c:spPr>
              <a:solidFill>
                <a:srgbClr val="AEABAB"/>
              </a:solidFill>
            </c:spPr>
            <c:extLst>
              <c:ext xmlns:c16="http://schemas.microsoft.com/office/drawing/2014/chart" uri="{C3380CC4-5D6E-409C-BE32-E72D297353CC}">
                <c16:uniqueId val="{0000005F-7E02-46AA-9D45-4C8F9F039E1D}"/>
              </c:ext>
            </c:extLst>
          </c:dPt>
          <c:dPt>
            <c:idx val="47"/>
            <c:invertIfNegative val="1"/>
            <c:bubble3D val="0"/>
            <c:spPr>
              <a:solidFill>
                <a:srgbClr val="AEABAB"/>
              </a:solidFill>
            </c:spPr>
            <c:extLst>
              <c:ext xmlns:c16="http://schemas.microsoft.com/office/drawing/2014/chart" uri="{C3380CC4-5D6E-409C-BE32-E72D297353CC}">
                <c16:uniqueId val="{00000061-7E02-46AA-9D45-4C8F9F039E1D}"/>
              </c:ext>
            </c:extLst>
          </c:dPt>
          <c:dPt>
            <c:idx val="48"/>
            <c:invertIfNegative val="1"/>
            <c:bubble3D val="0"/>
            <c:spPr>
              <a:solidFill>
                <a:srgbClr val="AEABAB"/>
              </a:solidFill>
            </c:spPr>
            <c:extLst>
              <c:ext xmlns:c16="http://schemas.microsoft.com/office/drawing/2014/chart" uri="{C3380CC4-5D6E-409C-BE32-E72D297353CC}">
                <c16:uniqueId val="{00000063-7E02-46AA-9D45-4C8F9F039E1D}"/>
              </c:ext>
            </c:extLst>
          </c:dPt>
          <c:cat>
            <c:strRef>
              <c:f>Sheet1!$A$2:$A$50</c:f>
              <c:strCache>
                <c:ptCount val="49"/>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Boursin Classique Fromage Frais A Tartiner Afh Boite 1X250Gr 1P</c:v>
                </c:pt>
                <c:pt idx="8">
                  <c:v>Boursin Classique Fromage Frais A Tartiner Afh 1X160Gr 10P</c:v>
                </c:pt>
                <c:pt idx="9">
                  <c:v>Kiri Gouter Fromage Blanc Dips Boite 1X280Gr 8P</c:v>
                </c:pt>
                <c:pt idx="10">
                  <c:v>Kiri Creme Fromage Blanc Frais Carre 1X144Gr 8P</c:v>
                </c:pt>
                <c:pt idx="11">
                  <c:v>Boursin Classique Fromage Frais A Tartiner Afh Boite 1X150Gr 1P</c:v>
                </c:pt>
                <c:pt idx="12">
                  <c:v>Kiri Gouter Fromage Blanc Dips Boite 1X175Gr 5P</c:v>
                </c:pt>
                <c:pt idx="13">
                  <c:v>Mini Babybel Rouge Filet St Paulin Ferme 1X440Gr 20P</c:v>
                </c:pt>
                <c:pt idx="14">
                  <c:v>La Vache Qui Rit Pik Et Croq' Fromage Fondu Dips Boite 1X175Gr 5P</c:v>
                </c:pt>
                <c:pt idx="15">
                  <c:v>La Vache Qui Rit Pik Et Croq' Fromage Fondu Dips Boite 1X280Gr 8P</c:v>
                </c:pt>
                <c:pt idx="16">
                  <c:v>Boursin Onctueux Fromage Frais A Tartiner Afh 1X125Gr 1P</c:v>
                </c:pt>
                <c:pt idx="17">
                  <c:v>Boursin Salade &amp; Aperitif Fromage Frais Des Afh 1X120Gr 1P</c:v>
                </c:pt>
                <c:pt idx="18">
                  <c:v>Boursin Classique Fromage Frais A Tartiner Afh Boite 1X96Gr 6P</c:v>
                </c:pt>
                <c:pt idx="19">
                  <c:v>Boursin Classique Fromage Frais A Tartiner Figue Et 3 Noix Boite 1X150Gr 1P</c:v>
                </c:pt>
                <c:pt idx="20">
                  <c:v>La Vache Qui Rit Allegee Fromage Fondu Boite Ronde Allege 1X267Gr 16P</c:v>
                </c:pt>
                <c:pt idx="21">
                  <c:v>Boursin Classique Fromage Frais A Tartiner Ciboulette &amp; Echalote Boite 1X150Gr 1P</c:v>
                </c:pt>
                <c:pt idx="22">
                  <c:v>Boursin Classique Fromage Frais A Tartiner Afh 1X256Gr 16P</c:v>
                </c:pt>
                <c:pt idx="23">
                  <c:v>Boursin Classique Fromage Frais A Tartiner Poivre Boite 1X150Gr 1P</c:v>
                </c:pt>
                <c:pt idx="24">
                  <c:v>Babybel Mini Rolls St Paulin Ferme Sachet 1X85Gr 5P</c:v>
                </c:pt>
                <c:pt idx="25">
                  <c:v>Mini Babybel Aros St Paulin Ferme Assortis Filet 1X180Gr 9P</c:v>
                </c:pt>
                <c:pt idx="26">
                  <c:v>Kiri Delicieusement Fouette Fromage Frais A Tartiner 1X125Gr 1P</c:v>
                </c:pt>
                <c:pt idx="27">
                  <c:v>Boursin Classique Fromage Frais A Tartiner Ciboulette &amp; Echalote 1X160Gr 10P</c:v>
                </c:pt>
                <c:pt idx="28">
                  <c:v>La Vache Qui Rit Aro Fromage Fondu Boite Ronde Jambon 1X133Gr 8P</c:v>
                </c:pt>
                <c:pt idx="29">
                  <c:v>Kiri Bio Fromage Blanc Frais Carre 1X144Gr 8P</c:v>
                </c:pt>
                <c:pt idx="30">
                  <c:v>Kiri Chevre Fromage Blanc Frais Carre 1X144Gr 8P</c:v>
                </c:pt>
                <c:pt idx="31">
                  <c:v>Mini Babybel Aros Soft Cheese Enfant 180G</c:v>
                </c:pt>
                <c:pt idx="32">
                  <c:v>Mini Babybel Rouge Filet St Paulin Ferme 1X396Gr 12+6P</c:v>
                </c:pt>
                <c:pt idx="33">
                  <c:v>Boursin Salade &amp; Aperitif Fromage Frais Des Ciboulette Echalote 1X120Gr 1P</c:v>
                </c:pt>
                <c:pt idx="34">
                  <c:v>Kiri Creme Fromage Blanc Frais Carre 1X432Gr 18+6P</c:v>
                </c:pt>
                <c:pt idx="35">
                  <c:v>Kiri Delicieusement Fouette Fromage Frais A Tartiner 1X160Gr 10P</c:v>
                </c:pt>
                <c:pt idx="36">
                  <c:v>Mini Babybel Aros St Paulin Ferme Raclette Filet 1X132Gr 6P</c:v>
                </c:pt>
                <c:pt idx="37">
                  <c:v>Boursin Salade &amp; Aperitif Fromage Frais Des Figue Noix 1X120Gr 1P</c:v>
                </c:pt>
                <c:pt idx="38">
                  <c:v>Boursin Salade &amp; Aperitif Fromage Frais Des Citron Romarin 1X120Gr 1P</c:v>
                </c:pt>
                <c:pt idx="39">
                  <c:v>Boursin Classique Fromage Frais A Tartiner Afh Boite 1X80Gr 1P</c:v>
                </c:pt>
                <c:pt idx="40">
                  <c:v>Boursin Salade &amp; Aperitif Fromage Frais Des Noisette Et 3 Noix 1X120Gr 1P</c:v>
                </c:pt>
                <c:pt idx="41">
                  <c:v>Mini Babybel Aros Soft Cheese Enfant 110G</c:v>
                </c:pt>
                <c:pt idx="42">
                  <c:v>Boursin Salade &amp; Aperitif Soft Cheese Salade 120G</c:v>
                </c:pt>
                <c:pt idx="43">
                  <c:v>Boursin Classique Fromage Frais A Tartiner Truffe Boite 1X150Gr 1P</c:v>
                </c:pt>
                <c:pt idx="44">
                  <c:v>La Vache Qui Rit Nature Fromage Fondu Boite Ronde 1X512Gr 24+8P</c:v>
                </c:pt>
                <c:pt idx="45">
                  <c:v>Mini Babybel Rouge Filet St Paulin Ferme Sachet 1X40Gr 1P</c:v>
                </c:pt>
                <c:pt idx="46">
                  <c:v>Mini Babybel Bio St Paulin Ferme Filet 1X100Gr 5P</c:v>
                </c:pt>
                <c:pt idx="47">
                  <c:v>Kiri Delicieusement Fouette Fromage Frais A Tartiner 1X210Gr 1P</c:v>
                </c:pt>
                <c:pt idx="48">
                  <c:v>La Vache Qui Rit Nature Fromage Fondu Boite Ronde 1X128Gr 8P</c:v>
                </c:pt>
              </c:strCache>
            </c:strRef>
          </c:cat>
          <c:val>
            <c:numRef>
              <c:f>Sheet1!$C$2:$C$50</c:f>
              <c:numCache>
                <c:formatCode>General</c:formatCode>
                <c:ptCount val="49"/>
                <c:pt idx="0">
                  <c:v>0.13286438311026449</c:v>
                </c:pt>
                <c:pt idx="1">
                  <c:v>0.23321654053376434</c:v>
                </c:pt>
                <c:pt idx="2">
                  <c:v>0.31549878786573132</c:v>
                </c:pt>
                <c:pt idx="3">
                  <c:v>0.38565605966763672</c:v>
                </c:pt>
                <c:pt idx="4">
                  <c:v>0.45129502253304515</c:v>
                </c:pt>
                <c:pt idx="5">
                  <c:v>0.51083862173606875</c:v>
                </c:pt>
                <c:pt idx="6">
                  <c:v>0.56070161478955127</c:v>
                </c:pt>
                <c:pt idx="7">
                  <c:v>0.59713886067165312</c:v>
                </c:pt>
                <c:pt idx="8">
                  <c:v>0.63320603734234471</c:v>
                </c:pt>
                <c:pt idx="9">
                  <c:v>0.66765602438097371</c:v>
                </c:pt>
                <c:pt idx="10">
                  <c:v>0.70151173433133585</c:v>
                </c:pt>
                <c:pt idx="11">
                  <c:v>0.73424659188200259</c:v>
                </c:pt>
                <c:pt idx="12">
                  <c:v>0.76121847758724592</c:v>
                </c:pt>
                <c:pt idx="13">
                  <c:v>0.78639935812999162</c:v>
                </c:pt>
                <c:pt idx="14">
                  <c:v>0.80459148936175884</c:v>
                </c:pt>
                <c:pt idx="15">
                  <c:v>0.82128778395896873</c:v>
                </c:pt>
                <c:pt idx="16">
                  <c:v>0.83717810820239802</c:v>
                </c:pt>
                <c:pt idx="17">
                  <c:v>0.85177916035666013</c:v>
                </c:pt>
                <c:pt idx="18">
                  <c:v>0.8661240436255877</c:v>
                </c:pt>
                <c:pt idx="19">
                  <c:v>0.87961771962652058</c:v>
                </c:pt>
                <c:pt idx="20">
                  <c:v>0.89119179849269303</c:v>
                </c:pt>
                <c:pt idx="21">
                  <c:v>0.90241358503934155</c:v>
                </c:pt>
                <c:pt idx="22">
                  <c:v>0.91218327598894422</c:v>
                </c:pt>
                <c:pt idx="23">
                  <c:v>0.92125922740559352</c:v>
                </c:pt>
                <c:pt idx="24">
                  <c:v>0.93016175061702555</c:v>
                </c:pt>
                <c:pt idx="25">
                  <c:v>0.93798991381092323</c:v>
                </c:pt>
                <c:pt idx="26">
                  <c:v>0.94485363721284976</c:v>
                </c:pt>
                <c:pt idx="27">
                  <c:v>0.95112290989796355</c:v>
                </c:pt>
                <c:pt idx="28">
                  <c:v>0.95723572990722705</c:v>
                </c:pt>
                <c:pt idx="29">
                  <c:v>0.96294654640868638</c:v>
                </c:pt>
                <c:pt idx="30">
                  <c:v>0.96788659908304608</c:v>
                </c:pt>
                <c:pt idx="31">
                  <c:v>0.9724200537711577</c:v>
                </c:pt>
                <c:pt idx="32">
                  <c:v>0.97618668466455627</c:v>
                </c:pt>
                <c:pt idx="33">
                  <c:v>0.97985347914409271</c:v>
                </c:pt>
                <c:pt idx="34">
                  <c:v>0.98351662742416635</c:v>
                </c:pt>
                <c:pt idx="35">
                  <c:v>0.9871356072733849</c:v>
                </c:pt>
                <c:pt idx="36">
                  <c:v>0.99007214680117217</c:v>
                </c:pt>
                <c:pt idx="37">
                  <c:v>0.99255418022009945</c:v>
                </c:pt>
                <c:pt idx="38">
                  <c:v>0.99397698601706508</c:v>
                </c:pt>
                <c:pt idx="39">
                  <c:v>0.99516238816768965</c:v>
                </c:pt>
                <c:pt idx="40">
                  <c:v>0.99634020408646495</c:v>
                </c:pt>
                <c:pt idx="41">
                  <c:v>0.997430871831267</c:v>
                </c:pt>
                <c:pt idx="42">
                  <c:v>0.99804535661106208</c:v>
                </c:pt>
                <c:pt idx="43">
                  <c:v>0.99864016794100852</c:v>
                </c:pt>
                <c:pt idx="44">
                  <c:v>0.99904902309835264</c:v>
                </c:pt>
                <c:pt idx="45">
                  <c:v>0.99942213748733622</c:v>
                </c:pt>
                <c:pt idx="46">
                  <c:v>0.99974584787700527</c:v>
                </c:pt>
                <c:pt idx="47">
                  <c:v>0.99998501452088873</c:v>
                </c:pt>
                <c:pt idx="48">
                  <c:v>0.99999914521331223</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50</c:f>
              <c:strCache>
                <c:ptCount val="49"/>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Boursin Classique Fromage Frais A Tartiner Afh Boite 1X250Gr 1P</c:v>
                </c:pt>
                <c:pt idx="8">
                  <c:v>Boursin Classique Fromage Frais A Tartiner Afh 1X160Gr 10P</c:v>
                </c:pt>
                <c:pt idx="9">
                  <c:v>Kiri Gouter Fromage Blanc Dips Boite 1X280Gr 8P</c:v>
                </c:pt>
                <c:pt idx="10">
                  <c:v>Kiri Creme Fromage Blanc Frais Carre 1X144Gr 8P</c:v>
                </c:pt>
                <c:pt idx="11">
                  <c:v>Boursin Classique Fromage Frais A Tartiner Afh Boite 1X150Gr 1P</c:v>
                </c:pt>
                <c:pt idx="12">
                  <c:v>Kiri Gouter Fromage Blanc Dips Boite 1X175Gr 5P</c:v>
                </c:pt>
                <c:pt idx="13">
                  <c:v>Mini Babybel Rouge Filet St Paulin Ferme 1X440Gr 20P</c:v>
                </c:pt>
                <c:pt idx="14">
                  <c:v>La Vache Qui Rit Pik Et Croq' Fromage Fondu Dips Boite 1X175Gr 5P</c:v>
                </c:pt>
                <c:pt idx="15">
                  <c:v>La Vache Qui Rit Pik Et Croq' Fromage Fondu Dips Boite 1X280Gr 8P</c:v>
                </c:pt>
                <c:pt idx="16">
                  <c:v>Boursin Onctueux Fromage Frais A Tartiner Afh 1X125Gr 1P</c:v>
                </c:pt>
                <c:pt idx="17">
                  <c:v>Boursin Salade &amp; Aperitif Fromage Frais Des Afh 1X120Gr 1P</c:v>
                </c:pt>
                <c:pt idx="18">
                  <c:v>Boursin Classique Fromage Frais A Tartiner Afh Boite 1X96Gr 6P</c:v>
                </c:pt>
                <c:pt idx="19">
                  <c:v>Boursin Classique Fromage Frais A Tartiner Figue Et 3 Noix Boite 1X150Gr 1P</c:v>
                </c:pt>
                <c:pt idx="20">
                  <c:v>La Vache Qui Rit Allegee Fromage Fondu Boite Ronde Allege 1X267Gr 16P</c:v>
                </c:pt>
                <c:pt idx="21">
                  <c:v>Boursin Classique Fromage Frais A Tartiner Ciboulette &amp; Echalote Boite 1X150Gr 1P</c:v>
                </c:pt>
                <c:pt idx="22">
                  <c:v>Boursin Classique Fromage Frais A Tartiner Afh 1X256Gr 16P</c:v>
                </c:pt>
                <c:pt idx="23">
                  <c:v>Boursin Classique Fromage Frais A Tartiner Poivre Boite 1X150Gr 1P</c:v>
                </c:pt>
                <c:pt idx="24">
                  <c:v>Babybel Mini Rolls St Paulin Ferme Sachet 1X85Gr 5P</c:v>
                </c:pt>
                <c:pt idx="25">
                  <c:v>Mini Babybel Aros St Paulin Ferme Assortis Filet 1X180Gr 9P</c:v>
                </c:pt>
                <c:pt idx="26">
                  <c:v>Kiri Delicieusement Fouette Fromage Frais A Tartiner 1X125Gr 1P</c:v>
                </c:pt>
                <c:pt idx="27">
                  <c:v>Boursin Classique Fromage Frais A Tartiner Ciboulette &amp; Echalote 1X160Gr 10P</c:v>
                </c:pt>
                <c:pt idx="28">
                  <c:v>La Vache Qui Rit Aro Fromage Fondu Boite Ronde Jambon 1X133Gr 8P</c:v>
                </c:pt>
                <c:pt idx="29">
                  <c:v>Kiri Bio Fromage Blanc Frais Carre 1X144Gr 8P</c:v>
                </c:pt>
                <c:pt idx="30">
                  <c:v>Kiri Chevre Fromage Blanc Frais Carre 1X144Gr 8P</c:v>
                </c:pt>
                <c:pt idx="31">
                  <c:v>Mini Babybel Aros Soft Cheese Enfant 180G</c:v>
                </c:pt>
                <c:pt idx="32">
                  <c:v>Mini Babybel Rouge Filet St Paulin Ferme 1X396Gr 12+6P</c:v>
                </c:pt>
                <c:pt idx="33">
                  <c:v>Boursin Salade &amp; Aperitif Fromage Frais Des Ciboulette Echalote 1X120Gr 1P</c:v>
                </c:pt>
                <c:pt idx="34">
                  <c:v>Kiri Creme Fromage Blanc Frais Carre 1X432Gr 18+6P</c:v>
                </c:pt>
                <c:pt idx="35">
                  <c:v>Kiri Delicieusement Fouette Fromage Frais A Tartiner 1X160Gr 10P</c:v>
                </c:pt>
                <c:pt idx="36">
                  <c:v>Mini Babybel Aros St Paulin Ferme Raclette Filet 1X132Gr 6P</c:v>
                </c:pt>
                <c:pt idx="37">
                  <c:v>Boursin Salade &amp; Aperitif Fromage Frais Des Figue Noix 1X120Gr 1P</c:v>
                </c:pt>
                <c:pt idx="38">
                  <c:v>Boursin Salade &amp; Aperitif Fromage Frais Des Citron Romarin 1X120Gr 1P</c:v>
                </c:pt>
                <c:pt idx="39">
                  <c:v>Boursin Classique Fromage Frais A Tartiner Afh Boite 1X80Gr 1P</c:v>
                </c:pt>
                <c:pt idx="40">
                  <c:v>Boursin Salade &amp; Aperitif Fromage Frais Des Noisette Et 3 Noix 1X120Gr 1P</c:v>
                </c:pt>
                <c:pt idx="41">
                  <c:v>Mini Babybel Aros Soft Cheese Enfant 110G</c:v>
                </c:pt>
                <c:pt idx="42">
                  <c:v>Boursin Salade &amp; Aperitif Soft Cheese Salade 120G</c:v>
                </c:pt>
                <c:pt idx="43">
                  <c:v>Boursin Classique Fromage Frais A Tartiner Truffe Boite 1X150Gr 1P</c:v>
                </c:pt>
                <c:pt idx="44">
                  <c:v>La Vache Qui Rit Nature Fromage Fondu Boite Ronde 1X512Gr 24+8P</c:v>
                </c:pt>
                <c:pt idx="45">
                  <c:v>Mini Babybel Rouge Filet St Paulin Ferme Sachet 1X40Gr 1P</c:v>
                </c:pt>
                <c:pt idx="46">
                  <c:v>Mini Babybel Bio St Paulin Ferme Filet 1X100Gr 5P</c:v>
                </c:pt>
                <c:pt idx="47">
                  <c:v>Kiri Delicieusement Fouette Fromage Frais A Tartiner 1X210Gr 1P</c:v>
                </c:pt>
                <c:pt idx="48">
                  <c:v>La Vache Qui Rit Nature Fromage Fondu Boite Ronde 1X128Gr 8P</c:v>
                </c:pt>
              </c:strCache>
            </c:strRef>
          </c:cat>
          <c:val>
            <c:numRef>
              <c:f>Sheet1!$D$2:$D$50</c:f>
              <c:numCache>
                <c:formatCode>General</c:formatCode>
                <c:ptCount val="49"/>
                <c:pt idx="0">
                  <c:v>100891.33874239352</c:v>
                </c:pt>
                <c:pt idx="1">
                  <c:v>79341.235480464631</c:v>
                </c:pt>
                <c:pt idx="2">
                  <c:v>61730.220440881763</c:v>
                </c:pt>
                <c:pt idx="3">
                  <c:v>52633.757515030062</c:v>
                </c:pt>
                <c:pt idx="4">
                  <c:v>52226.907545164722</c:v>
                </c:pt>
                <c:pt idx="5">
                  <c:v>45724.892307692309</c:v>
                </c:pt>
                <c:pt idx="6">
                  <c:v>43360.813008130084</c:v>
                </c:pt>
                <c:pt idx="7">
                  <c:v>27838.234693877552</c:v>
                </c:pt>
                <c:pt idx="8">
                  <c:v>27527.410805300715</c:v>
                </c:pt>
                <c:pt idx="9">
                  <c:v>27675.493562231757</c:v>
                </c:pt>
                <c:pt idx="10">
                  <c:v>25786.988809766022</c:v>
                </c:pt>
                <c:pt idx="11">
                  <c:v>24558.517034068136</c:v>
                </c:pt>
                <c:pt idx="12">
                  <c:v>20585.647298674823</c:v>
                </c:pt>
                <c:pt idx="13">
                  <c:v>22128.579812206572</c:v>
                </c:pt>
                <c:pt idx="14">
                  <c:v>14262.722513089006</c:v>
                </c:pt>
                <c:pt idx="15">
                  <c:v>14741.662735849057</c:v>
                </c:pt>
                <c:pt idx="16">
                  <c:v>12471.153039832287</c:v>
                </c:pt>
                <c:pt idx="17">
                  <c:v>11293.564049586777</c:v>
                </c:pt>
                <c:pt idx="18">
                  <c:v>11438.093716719915</c:v>
                </c:pt>
                <c:pt idx="19">
                  <c:v>10309.234693877552</c:v>
                </c:pt>
                <c:pt idx="20">
                  <c:v>10304.161712247325</c:v>
                </c:pt>
                <c:pt idx="21">
                  <c:v>8635.1798561151081</c:v>
                </c:pt>
                <c:pt idx="22">
                  <c:v>8505.5930232558148</c:v>
                </c:pt>
                <c:pt idx="23">
                  <c:v>7229.1382978723404</c:v>
                </c:pt>
                <c:pt idx="24">
                  <c:v>8491.133757961783</c:v>
                </c:pt>
                <c:pt idx="25">
                  <c:v>7235.9753086419751</c:v>
                </c:pt>
                <c:pt idx="26">
                  <c:v>6139.8327359617679</c:v>
                </c:pt>
                <c:pt idx="27">
                  <c:v>5809.3564356435636</c:v>
                </c:pt>
                <c:pt idx="28">
                  <c:v>6740.5301914580259</c:v>
                </c:pt>
                <c:pt idx="29">
                  <c:v>7090.9286898839136</c:v>
                </c:pt>
                <c:pt idx="30">
                  <c:v>5504.0773809523807</c:v>
                </c:pt>
                <c:pt idx="31">
                  <c:v>4780.7183098591549</c:v>
                </c:pt>
                <c:pt idx="32">
                  <c:v>3219.3721461187215</c:v>
                </c:pt>
                <c:pt idx="33">
                  <c:v>3335.8687727825031</c:v>
                </c:pt>
                <c:pt idx="34">
                  <c:v>3357.0257037943702</c:v>
                </c:pt>
                <c:pt idx="35">
                  <c:v>3027.5083798882683</c:v>
                </c:pt>
                <c:pt idx="36">
                  <c:v>2975.1826792963461</c:v>
                </c:pt>
                <c:pt idx="37">
                  <c:v>2199.2426035502958</c:v>
                </c:pt>
                <c:pt idx="38">
                  <c:v>1614.0757575757575</c:v>
                </c:pt>
                <c:pt idx="39">
                  <c:v>2730.8923076923079</c:v>
                </c:pt>
                <c:pt idx="40">
                  <c:v>1098.2067247820671</c:v>
                </c:pt>
                <c:pt idx="41">
                  <c:v>1395.91452991453</c:v>
                </c:pt>
                <c:pt idx="42">
                  <c:v>1111.304347826087</c:v>
                </c:pt>
                <c:pt idx="43">
                  <c:v>648.25327510917032</c:v>
                </c:pt>
                <c:pt idx="44">
                  <c:v>1325.1948051948052</c:v>
                </c:pt>
                <c:pt idx="45">
                  <c:v>2450.5263157894738</c:v>
                </c:pt>
                <c:pt idx="46">
                  <c:v>776.82692307692309</c:v>
                </c:pt>
                <c:pt idx="47">
                  <c:v>481.37096774193543</c:v>
                </c:pt>
                <c:pt idx="48">
                  <c:v>94.46428571428570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3</c:f>
              <c:strCache>
                <c:ptCount val="62"/>
                <c:pt idx="0">
                  <c:v>La Vache Qui Rit Nature Fromage Fondu Boite Ronde 1X512Gr 32P</c:v>
                </c:pt>
                <c:pt idx="1">
                  <c:v>Mini Babybel Rouge Filet St Paulin Ferme 1X264Gr 12P</c:v>
                </c:pt>
                <c:pt idx="2">
                  <c:v>Kiri Creme Fromage Blanc Frais Carre 1X432Gr 24P</c:v>
                </c:pt>
                <c:pt idx="3">
                  <c:v>La Vache Qui Rit Nature Fromage Fondu Boite Ronde 1X384Gr 24P</c:v>
                </c:pt>
                <c:pt idx="4">
                  <c:v>Mini Babybel Rouge Filet St Paulin Ferme 1X132Gr 6P</c:v>
                </c:pt>
                <c:pt idx="5">
                  <c:v>Kiri Creme Fromage Blanc Frais Carre 1X216Gr 12P</c:v>
                </c:pt>
                <c:pt idx="6">
                  <c:v>La Vache Qui Rit Nature Fromage Fondu Boite Ronde 1X192Gr 12P</c:v>
                </c:pt>
                <c:pt idx="7">
                  <c:v>Kiri Gouter Fromage Blanc Dips Boite 1X175Gr 5P</c:v>
                </c:pt>
                <c:pt idx="8">
                  <c:v>Boursin Classique Fromage Frais A Tartiner Afh 1X160Gr 10P</c:v>
                </c:pt>
                <c:pt idx="9">
                  <c:v>Kiri Creme Fromage Blanc Frais Carre 1X144Gr 8P</c:v>
                </c:pt>
                <c:pt idx="10">
                  <c:v>Boursin Classique Fromage Frais A Tartiner Afh Boite 1X250Gr 1P</c:v>
                </c:pt>
                <c:pt idx="11">
                  <c:v>Kiri Gouter Fromage Blanc Dips Boite 1X280Gr 8P</c:v>
                </c:pt>
                <c:pt idx="12">
                  <c:v>Mini Babybel Rouge Filet Soft Cheese Enfant 484G</c:v>
                </c:pt>
                <c:pt idx="13">
                  <c:v>Mini Babybel Rouge Filet St Paulin Ferme 1X440Gr 20P</c:v>
                </c:pt>
                <c:pt idx="14">
                  <c:v>Boursin Classique Fromage Frais A Tartiner Afh Boite 1X150Gr 1P</c:v>
                </c:pt>
                <c:pt idx="15">
                  <c:v>La Vache Qui Rit Nature Fromage Fondu Boite Ronde 1X512Gr 24+8P</c:v>
                </c:pt>
                <c:pt idx="16">
                  <c:v>Kiri Creme Fromage Blanc Frais Carre 1X432Gr 18+6P</c:v>
                </c:pt>
                <c:pt idx="17">
                  <c:v>La Vache Qui Rit Nature Fromage Fondu Boite Ronde 1X128Gr 8P</c:v>
                </c:pt>
                <c:pt idx="18">
                  <c:v>Mini Babybel Rouge Filet Soft Cheese Enfant 352G</c:v>
                </c:pt>
                <c:pt idx="19">
                  <c:v>La Vache Qui Rit Pik Et Croq' Fromage Fondu Dips Boite 1X175Gr 5P</c:v>
                </c:pt>
                <c:pt idx="20">
                  <c:v>Boursin Salade &amp; Aperitif Fromage Frais Des Afh 1X120Gr 1P</c:v>
                </c:pt>
                <c:pt idx="21">
                  <c:v>Mini Babybel Rouge Filet St Paulin Ferme 1X396Gr 12+6P</c:v>
                </c:pt>
                <c:pt idx="22">
                  <c:v>La Vache Qui Rit Pik Et Croq' Fromage Fondu Dips Boite 1X280Gr 8P</c:v>
                </c:pt>
                <c:pt idx="23">
                  <c:v>Boursin Classique Fromage Frais A Tartiner Afh Boite 1X96Gr 6P</c:v>
                </c:pt>
                <c:pt idx="24">
                  <c:v>Boursin Classique Fromage Frais A Tartiner Figue Et 3 Noix Boite 1X150Gr 1P</c:v>
                </c:pt>
                <c:pt idx="25">
                  <c:v>Kiri Delicieusement Fouette Fromage Frais A Tartiner 1X210Gr 1P</c:v>
                </c:pt>
                <c:pt idx="26">
                  <c:v>Boursin Classique Fromage Frais A Tartiner Ciboulette &amp; Echalote Boite 1X150Gr 1P</c:v>
                </c:pt>
                <c:pt idx="27">
                  <c:v>Mini Babybel Aros St Paulin Ferme Assortis Filet 1X180Gr 9P</c:v>
                </c:pt>
                <c:pt idx="28">
                  <c:v>Boursin Salade &amp; Aperitif Fromage Frais Des Ciboulette Echalote 1X120Gr 1P</c:v>
                </c:pt>
                <c:pt idx="29">
                  <c:v>Babybel Mini Rolls St Paulin Ferme Sachet 1X85Gr 5P</c:v>
                </c:pt>
                <c:pt idx="30">
                  <c:v>La Vache Qui Rit Allegee Fromage Fondu Boite Ronde Allege 1X267Gr 16P</c:v>
                </c:pt>
                <c:pt idx="31">
                  <c:v>Boursin Onctueux Fromage Frais A Tartiner Afh 1X125Gr 1P</c:v>
                </c:pt>
                <c:pt idx="32">
                  <c:v>Kiri Delicieusement Fouette Fromage Frais A Tartiner 1X125Gr 1P</c:v>
                </c:pt>
                <c:pt idx="33">
                  <c:v>Boursin Salade &amp; Aperitif Fromage Frais Des Figue Noix 1X120Gr 1P</c:v>
                </c:pt>
                <c:pt idx="34">
                  <c:v>Mini Babybel Aros Soft Cheese Enfant 180G</c:v>
                </c:pt>
                <c:pt idx="35">
                  <c:v>Kiri Bio Fromage Blanc Frais Carre 1X144Gr 8P</c:v>
                </c:pt>
                <c:pt idx="36">
                  <c:v>Boursin Classique Fromage Frais A Tartiner Afh 1X256Gr 16P</c:v>
                </c:pt>
                <c:pt idx="37">
                  <c:v>Kiri Delicieusement Fouette Fromage Frais A Tartiner 1X160Gr 10P</c:v>
                </c:pt>
                <c:pt idx="38">
                  <c:v>Boursin Classique Fromage Frais A Tartiner Afh Boite 1X80Gr 1P</c:v>
                </c:pt>
                <c:pt idx="39">
                  <c:v>Mini Babybel Aros St Paulin Ferme Raclette Filet 1X132Gr 6P</c:v>
                </c:pt>
                <c:pt idx="40">
                  <c:v>Mini Babybel Aros Soft Cheese Enfant 110G</c:v>
                </c:pt>
                <c:pt idx="41">
                  <c:v>Boursin Classique Fromage Frais A Tartiner Poivre Boite 1X150Gr 1P</c:v>
                </c:pt>
                <c:pt idx="42">
                  <c:v>Mini Babybel Aros St Paulin Ferme Emmental Filet 1X120Gr 6P</c:v>
                </c:pt>
                <c:pt idx="43">
                  <c:v>La Vache Qui Rit Bio Fromage Fondu Boite Ronde 1X128Gr 8P</c:v>
                </c:pt>
                <c:pt idx="44">
                  <c:v>Boursin Salade &amp; Aperitif Fromage Frais Des Citron Romarin 1X120Gr 1P</c:v>
                </c:pt>
                <c:pt idx="45">
                  <c:v>Boursin Salade &amp; Aperitif Fromage Frais Des Noisette Et 3 Noix 1X120Gr 1P</c:v>
                </c:pt>
                <c:pt idx="46">
                  <c:v>Boursin Onctueux Fromage Frais A Tartiner Afh 1X210Gr 1P</c:v>
                </c:pt>
                <c:pt idx="47">
                  <c:v>Boursin Classique Fromage Frais A Tartiner 3 Noix Boite 1X150Gr 1P</c:v>
                </c:pt>
                <c:pt idx="48">
                  <c:v>Boursin Salade &amp; Aperitif Soft Cheese Salade 120G</c:v>
                </c:pt>
                <c:pt idx="49">
                  <c:v>Mini Babybel Aros Soft Cheese Enfant 120G</c:v>
                </c:pt>
                <c:pt idx="50">
                  <c:v>Boursin Classique Fromage Frais A Tartiner Truffe Boite 1X150Gr 1P</c:v>
                </c:pt>
                <c:pt idx="51">
                  <c:v>La Vache Qui Rit Aro Fromage Fondu Boite Ronde Jambon 1X133Gr 8P</c:v>
                </c:pt>
                <c:pt idx="52">
                  <c:v>Boursin Classique Fromage Frais A Tartiner Afh Boite 1X320Gr 16+4P</c:v>
                </c:pt>
                <c:pt idx="53">
                  <c:v>Boursin Classique Fromage Frais A Tartiner 3 Noix 1X160Gr 10P</c:v>
                </c:pt>
                <c:pt idx="54">
                  <c:v>Boursin Classique Fromage Frais A Tartiner Citron &amp; Romarin Boite 1X150Gr 1P</c:v>
                </c:pt>
                <c:pt idx="55">
                  <c:v>Kiri Chevre Fromage Blanc Frais Carre 1X144Gr 8P</c:v>
                </c:pt>
                <c:pt idx="56">
                  <c:v>Boursin Classique Fromage Frais A Tartiner Ciboulette &amp; Echalote 1X160Gr 10P</c:v>
                </c:pt>
                <c:pt idx="57">
                  <c:v>Mini Babybel Rouge Filet St Paulin Ferme Sachet 1X40Gr 1P</c:v>
                </c:pt>
                <c:pt idx="58">
                  <c:v>Mini Babybel Bio St Paulin Ferme Filet 1X100Gr 5P</c:v>
                </c:pt>
                <c:pt idx="59">
                  <c:v>Mini Babybel Rouge Filet St Paulin Ferme 1X110Gr 5P</c:v>
                </c:pt>
                <c:pt idx="60">
                  <c:v>Limiano Queijo Flamengo Autre Sachet 1X450Gr 1P</c:v>
                </c:pt>
                <c:pt idx="61">
                  <c:v>Mini Babybel Rouge Filet St Paulin Ferme 1X396Gr 18P</c:v>
                </c:pt>
              </c:strCache>
            </c:strRef>
          </c:cat>
          <c:val>
            <c:numRef>
              <c:f>Sheet1!$B$2:$B$63</c:f>
              <c:numCache>
                <c:formatCode>General</c:formatCode>
                <c:ptCount val="62"/>
                <c:pt idx="0">
                  <c:v>0.99</c:v>
                </c:pt>
                <c:pt idx="1">
                  <c:v>1</c:v>
                </c:pt>
                <c:pt idx="2">
                  <c:v>0.99</c:v>
                </c:pt>
                <c:pt idx="3">
                  <c:v>1</c:v>
                </c:pt>
                <c:pt idx="4">
                  <c:v>1</c:v>
                </c:pt>
                <c:pt idx="5">
                  <c:v>1</c:v>
                </c:pt>
                <c:pt idx="6">
                  <c:v>1</c:v>
                </c:pt>
                <c:pt idx="7">
                  <c:v>1</c:v>
                </c:pt>
                <c:pt idx="8">
                  <c:v>1</c:v>
                </c:pt>
                <c:pt idx="9">
                  <c:v>1</c:v>
                </c:pt>
                <c:pt idx="10">
                  <c:v>1</c:v>
                </c:pt>
                <c:pt idx="11">
                  <c:v>0.99</c:v>
                </c:pt>
                <c:pt idx="12">
                  <c:v>0.97</c:v>
                </c:pt>
                <c:pt idx="13">
                  <c:v>1</c:v>
                </c:pt>
                <c:pt idx="14">
                  <c:v>1</c:v>
                </c:pt>
                <c:pt idx="15">
                  <c:v>0.94</c:v>
                </c:pt>
                <c:pt idx="16">
                  <c:v>0.98</c:v>
                </c:pt>
                <c:pt idx="17">
                  <c:v>0.94</c:v>
                </c:pt>
                <c:pt idx="18">
                  <c:v>0.99</c:v>
                </c:pt>
                <c:pt idx="19">
                  <c:v>1</c:v>
                </c:pt>
                <c:pt idx="20">
                  <c:v>1</c:v>
                </c:pt>
                <c:pt idx="21">
                  <c:v>0.94</c:v>
                </c:pt>
                <c:pt idx="22">
                  <c:v>0.95</c:v>
                </c:pt>
                <c:pt idx="23">
                  <c:v>1</c:v>
                </c:pt>
                <c:pt idx="24">
                  <c:v>0.98</c:v>
                </c:pt>
                <c:pt idx="25">
                  <c:v>0.96</c:v>
                </c:pt>
                <c:pt idx="26">
                  <c:v>0.97</c:v>
                </c:pt>
                <c:pt idx="27">
                  <c:v>0.96</c:v>
                </c:pt>
                <c:pt idx="28">
                  <c:v>1</c:v>
                </c:pt>
                <c:pt idx="29">
                  <c:v>0.92</c:v>
                </c:pt>
                <c:pt idx="30">
                  <c:v>0.86</c:v>
                </c:pt>
                <c:pt idx="31">
                  <c:v>0.99</c:v>
                </c:pt>
                <c:pt idx="32">
                  <c:v>0.98</c:v>
                </c:pt>
                <c:pt idx="33">
                  <c:v>1</c:v>
                </c:pt>
                <c:pt idx="34">
                  <c:v>0.96</c:v>
                </c:pt>
                <c:pt idx="35">
                  <c:v>0.75</c:v>
                </c:pt>
                <c:pt idx="36">
                  <c:v>0.57999999999999996</c:v>
                </c:pt>
                <c:pt idx="37">
                  <c:v>0.89</c:v>
                </c:pt>
                <c:pt idx="38">
                  <c:v>0.94</c:v>
                </c:pt>
                <c:pt idx="39">
                  <c:v>0.88</c:v>
                </c:pt>
                <c:pt idx="40">
                  <c:v>0.94</c:v>
                </c:pt>
                <c:pt idx="41">
                  <c:v>0.88</c:v>
                </c:pt>
                <c:pt idx="42">
                  <c:v>0.7</c:v>
                </c:pt>
                <c:pt idx="43">
                  <c:v>0.82</c:v>
                </c:pt>
                <c:pt idx="44">
                  <c:v>0.95</c:v>
                </c:pt>
                <c:pt idx="45">
                  <c:v>0.96</c:v>
                </c:pt>
                <c:pt idx="46">
                  <c:v>0.59</c:v>
                </c:pt>
                <c:pt idx="47">
                  <c:v>0.67</c:v>
                </c:pt>
                <c:pt idx="48">
                  <c:v>0.94</c:v>
                </c:pt>
                <c:pt idx="49">
                  <c:v>0.68</c:v>
                </c:pt>
                <c:pt idx="50">
                  <c:v>0.66</c:v>
                </c:pt>
                <c:pt idx="51">
                  <c:v>0.08</c:v>
                </c:pt>
                <c:pt idx="52">
                  <c:v>0.85</c:v>
                </c:pt>
                <c:pt idx="53">
                  <c:v>0.49</c:v>
                </c:pt>
                <c:pt idx="54">
                  <c:v>0.71</c:v>
                </c:pt>
                <c:pt idx="55">
                  <c:v>0.56000000000000005</c:v>
                </c:pt>
                <c:pt idx="56">
                  <c:v>0.14000000000000001</c:v>
                </c:pt>
                <c:pt idx="57">
                  <c:v>0.21</c:v>
                </c:pt>
                <c:pt idx="58">
                  <c:v>0.67</c:v>
                </c:pt>
                <c:pt idx="59">
                  <c:v>0.05</c:v>
                </c:pt>
                <c:pt idx="60">
                  <c:v>0.01</c:v>
                </c:pt>
                <c:pt idx="6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7ECAC4"/>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invertIfNegative val="1"/>
            <c:bubble3D val="0"/>
            <c:spPr>
              <a:solidFill>
                <a:srgbClr val="AEABAB"/>
              </a:solidFill>
            </c:spPr>
            <c:extLst>
              <c:ext xmlns:c16="http://schemas.microsoft.com/office/drawing/2014/chart" uri="{C3380CC4-5D6E-409C-BE32-E72D297353CC}">
                <c16:uniqueId val="{0000005B-69B3-4652-AF20-EEEB291A489C}"/>
              </c:ext>
            </c:extLst>
          </c:dPt>
          <c:dPt>
            <c:idx val="45"/>
            <c:invertIfNegative val="1"/>
            <c:bubble3D val="0"/>
            <c:spPr>
              <a:solidFill>
                <a:srgbClr val="AEABAB"/>
              </a:solidFill>
            </c:spPr>
            <c:extLst>
              <c:ext xmlns:c16="http://schemas.microsoft.com/office/drawing/2014/chart" uri="{C3380CC4-5D6E-409C-BE32-E72D297353CC}">
                <c16:uniqueId val="{0000005D-69B3-4652-AF20-EEEB291A489C}"/>
              </c:ext>
            </c:extLst>
          </c:dPt>
          <c:dPt>
            <c:idx val="46"/>
            <c:invertIfNegative val="1"/>
            <c:bubble3D val="0"/>
            <c:spPr>
              <a:solidFill>
                <a:srgbClr val="AEABAB"/>
              </a:solidFill>
            </c:spPr>
            <c:extLst>
              <c:ext xmlns:c16="http://schemas.microsoft.com/office/drawing/2014/chart" uri="{C3380CC4-5D6E-409C-BE32-E72D297353CC}">
                <c16:uniqueId val="{0000005F-69B3-4652-AF20-EEEB291A489C}"/>
              </c:ext>
            </c:extLst>
          </c:dPt>
          <c:dPt>
            <c:idx val="47"/>
            <c:invertIfNegative val="1"/>
            <c:bubble3D val="0"/>
            <c:spPr>
              <a:solidFill>
                <a:srgbClr val="AEABAB"/>
              </a:solidFill>
            </c:spPr>
            <c:extLst>
              <c:ext xmlns:c16="http://schemas.microsoft.com/office/drawing/2014/chart" uri="{C3380CC4-5D6E-409C-BE32-E72D297353CC}">
                <c16:uniqueId val="{00000061-69B3-4652-AF20-EEEB291A489C}"/>
              </c:ext>
            </c:extLst>
          </c:dPt>
          <c:dPt>
            <c:idx val="48"/>
            <c:invertIfNegative val="1"/>
            <c:bubble3D val="0"/>
            <c:spPr>
              <a:solidFill>
                <a:srgbClr val="AEABAB"/>
              </a:solidFill>
            </c:spPr>
            <c:extLst>
              <c:ext xmlns:c16="http://schemas.microsoft.com/office/drawing/2014/chart" uri="{C3380CC4-5D6E-409C-BE32-E72D297353CC}">
                <c16:uniqueId val="{00000063-69B3-4652-AF20-EEEB291A489C}"/>
              </c:ext>
            </c:extLst>
          </c:dPt>
          <c:dPt>
            <c:idx val="49"/>
            <c:invertIfNegative val="1"/>
            <c:bubble3D val="0"/>
            <c:spPr>
              <a:solidFill>
                <a:srgbClr val="AEABAB"/>
              </a:solidFill>
            </c:spPr>
            <c:extLst>
              <c:ext xmlns:c16="http://schemas.microsoft.com/office/drawing/2014/chart" uri="{C3380CC4-5D6E-409C-BE32-E72D297353CC}">
                <c16:uniqueId val="{00000065-69B3-4652-AF20-EEEB291A489C}"/>
              </c:ext>
            </c:extLst>
          </c:dPt>
          <c:dPt>
            <c:idx val="50"/>
            <c:invertIfNegative val="1"/>
            <c:bubble3D val="0"/>
            <c:spPr>
              <a:solidFill>
                <a:srgbClr val="AEABAB"/>
              </a:solidFill>
            </c:spPr>
            <c:extLst>
              <c:ext xmlns:c16="http://schemas.microsoft.com/office/drawing/2014/chart" uri="{C3380CC4-5D6E-409C-BE32-E72D297353CC}">
                <c16:uniqueId val="{00000067-69B3-4652-AF20-EEEB291A489C}"/>
              </c:ext>
            </c:extLst>
          </c:dPt>
          <c:dPt>
            <c:idx val="51"/>
            <c:invertIfNegative val="1"/>
            <c:bubble3D val="0"/>
            <c:spPr>
              <a:solidFill>
                <a:srgbClr val="AEABAB"/>
              </a:solidFill>
            </c:spPr>
            <c:extLst>
              <c:ext xmlns:c16="http://schemas.microsoft.com/office/drawing/2014/chart" uri="{C3380CC4-5D6E-409C-BE32-E72D297353CC}">
                <c16:uniqueId val="{00000069-69B3-4652-AF20-EEEB291A489C}"/>
              </c:ext>
            </c:extLst>
          </c:dPt>
          <c:dPt>
            <c:idx val="52"/>
            <c:invertIfNegative val="1"/>
            <c:bubble3D val="0"/>
            <c:spPr>
              <a:solidFill>
                <a:srgbClr val="AEABAB"/>
              </a:solidFill>
            </c:spPr>
            <c:extLst>
              <c:ext xmlns:c16="http://schemas.microsoft.com/office/drawing/2014/chart" uri="{C3380CC4-5D6E-409C-BE32-E72D297353CC}">
                <c16:uniqueId val="{0000006B-69B3-4652-AF20-EEEB291A489C}"/>
              </c:ext>
            </c:extLst>
          </c:dPt>
          <c:dPt>
            <c:idx val="53"/>
            <c:invertIfNegative val="1"/>
            <c:bubble3D val="0"/>
            <c:spPr>
              <a:solidFill>
                <a:srgbClr val="AEABAB"/>
              </a:solidFill>
            </c:spPr>
            <c:extLst>
              <c:ext xmlns:c16="http://schemas.microsoft.com/office/drawing/2014/chart" uri="{C3380CC4-5D6E-409C-BE32-E72D297353CC}">
                <c16:uniqueId val="{0000006D-69B3-4652-AF20-EEEB291A489C}"/>
              </c:ext>
            </c:extLst>
          </c:dPt>
          <c:dPt>
            <c:idx val="54"/>
            <c:invertIfNegative val="1"/>
            <c:bubble3D val="0"/>
            <c:spPr>
              <a:solidFill>
                <a:srgbClr val="AEABAB"/>
              </a:solidFill>
            </c:spPr>
            <c:extLst>
              <c:ext xmlns:c16="http://schemas.microsoft.com/office/drawing/2014/chart" uri="{C3380CC4-5D6E-409C-BE32-E72D297353CC}">
                <c16:uniqueId val="{0000006F-69B3-4652-AF20-EEEB291A489C}"/>
              </c:ext>
            </c:extLst>
          </c:dPt>
          <c:dPt>
            <c:idx val="55"/>
            <c:invertIfNegative val="1"/>
            <c:bubble3D val="0"/>
            <c:spPr>
              <a:solidFill>
                <a:srgbClr val="AEABAB"/>
              </a:solidFill>
            </c:spPr>
            <c:extLst>
              <c:ext xmlns:c16="http://schemas.microsoft.com/office/drawing/2014/chart" uri="{C3380CC4-5D6E-409C-BE32-E72D297353CC}">
                <c16:uniqueId val="{00000071-69B3-4652-AF20-EEEB291A489C}"/>
              </c:ext>
            </c:extLst>
          </c:dPt>
          <c:dPt>
            <c:idx val="56"/>
            <c:invertIfNegative val="1"/>
            <c:bubble3D val="0"/>
            <c:spPr>
              <a:solidFill>
                <a:srgbClr val="AEABAB"/>
              </a:solidFill>
            </c:spPr>
            <c:extLst>
              <c:ext xmlns:c16="http://schemas.microsoft.com/office/drawing/2014/chart" uri="{C3380CC4-5D6E-409C-BE32-E72D297353CC}">
                <c16:uniqueId val="{00000073-69B3-4652-AF20-EEEB291A489C}"/>
              </c:ext>
            </c:extLst>
          </c:dPt>
          <c:dPt>
            <c:idx val="57"/>
            <c:invertIfNegative val="1"/>
            <c:bubble3D val="0"/>
            <c:spPr>
              <a:solidFill>
                <a:srgbClr val="AEABAB"/>
              </a:solidFill>
            </c:spPr>
            <c:extLst>
              <c:ext xmlns:c16="http://schemas.microsoft.com/office/drawing/2014/chart" uri="{C3380CC4-5D6E-409C-BE32-E72D297353CC}">
                <c16:uniqueId val="{00000075-69B3-4652-AF20-EEEB291A489C}"/>
              </c:ext>
            </c:extLst>
          </c:dPt>
          <c:dPt>
            <c:idx val="58"/>
            <c:invertIfNegative val="1"/>
            <c:bubble3D val="0"/>
            <c:spPr>
              <a:solidFill>
                <a:srgbClr val="AEABAB"/>
              </a:solidFill>
            </c:spPr>
            <c:extLst>
              <c:ext xmlns:c16="http://schemas.microsoft.com/office/drawing/2014/chart" uri="{C3380CC4-5D6E-409C-BE32-E72D297353CC}">
                <c16:uniqueId val="{00000077-69B3-4652-AF20-EEEB291A489C}"/>
              </c:ext>
            </c:extLst>
          </c:dPt>
          <c:dPt>
            <c:idx val="59"/>
            <c:invertIfNegative val="1"/>
            <c:bubble3D val="0"/>
            <c:spPr>
              <a:solidFill>
                <a:srgbClr val="AEABAB"/>
              </a:solidFill>
            </c:spPr>
            <c:extLst>
              <c:ext xmlns:c16="http://schemas.microsoft.com/office/drawing/2014/chart" uri="{C3380CC4-5D6E-409C-BE32-E72D297353CC}">
                <c16:uniqueId val="{00000079-69B3-4652-AF20-EEEB291A489C}"/>
              </c:ext>
            </c:extLst>
          </c:dPt>
          <c:dPt>
            <c:idx val="60"/>
            <c:invertIfNegative val="1"/>
            <c:bubble3D val="0"/>
            <c:spPr>
              <a:solidFill>
                <a:srgbClr val="AEABAB"/>
              </a:solidFill>
            </c:spPr>
            <c:extLst>
              <c:ext xmlns:c16="http://schemas.microsoft.com/office/drawing/2014/chart" uri="{C3380CC4-5D6E-409C-BE32-E72D297353CC}">
                <c16:uniqueId val="{0000007B-69B3-4652-AF20-EEEB291A489C}"/>
              </c:ext>
            </c:extLst>
          </c:dPt>
          <c:dPt>
            <c:idx val="61"/>
            <c:invertIfNegative val="1"/>
            <c:bubble3D val="0"/>
            <c:spPr>
              <a:solidFill>
                <a:srgbClr val="AEABAB"/>
              </a:solidFill>
            </c:spPr>
            <c:extLst>
              <c:ext xmlns:c16="http://schemas.microsoft.com/office/drawing/2014/chart" uri="{C3380CC4-5D6E-409C-BE32-E72D297353CC}">
                <c16:uniqueId val="{0000007D-69B3-4652-AF20-EEEB291A489C}"/>
              </c:ext>
            </c:extLst>
          </c:dPt>
          <c:cat>
            <c:strRef>
              <c:f>Sheet1!$A$2:$A$63</c:f>
              <c:strCache>
                <c:ptCount val="62"/>
                <c:pt idx="0">
                  <c:v>La Vache Qui Rit Nature Fromage Fondu Boite Ronde 1X512Gr 32P</c:v>
                </c:pt>
                <c:pt idx="1">
                  <c:v>Mini Babybel Rouge Filet St Paulin Ferme 1X264Gr 12P</c:v>
                </c:pt>
                <c:pt idx="2">
                  <c:v>Kiri Creme Fromage Blanc Frais Carre 1X432Gr 24P</c:v>
                </c:pt>
                <c:pt idx="3">
                  <c:v>La Vache Qui Rit Nature Fromage Fondu Boite Ronde 1X384Gr 24P</c:v>
                </c:pt>
                <c:pt idx="4">
                  <c:v>Mini Babybel Rouge Filet St Paulin Ferme 1X132Gr 6P</c:v>
                </c:pt>
                <c:pt idx="5">
                  <c:v>Kiri Creme Fromage Blanc Frais Carre 1X216Gr 12P</c:v>
                </c:pt>
                <c:pt idx="6">
                  <c:v>La Vache Qui Rit Nature Fromage Fondu Boite Ronde 1X192Gr 12P</c:v>
                </c:pt>
                <c:pt idx="7">
                  <c:v>Kiri Gouter Fromage Blanc Dips Boite 1X175Gr 5P</c:v>
                </c:pt>
                <c:pt idx="8">
                  <c:v>Boursin Classique Fromage Frais A Tartiner Afh 1X160Gr 10P</c:v>
                </c:pt>
                <c:pt idx="9">
                  <c:v>Kiri Creme Fromage Blanc Frais Carre 1X144Gr 8P</c:v>
                </c:pt>
                <c:pt idx="10">
                  <c:v>Boursin Classique Fromage Frais A Tartiner Afh Boite 1X250Gr 1P</c:v>
                </c:pt>
                <c:pt idx="11">
                  <c:v>Kiri Gouter Fromage Blanc Dips Boite 1X280Gr 8P</c:v>
                </c:pt>
                <c:pt idx="12">
                  <c:v>Mini Babybel Rouge Filet Soft Cheese Enfant 484G</c:v>
                </c:pt>
                <c:pt idx="13">
                  <c:v>Mini Babybel Rouge Filet St Paulin Ferme 1X440Gr 20P</c:v>
                </c:pt>
                <c:pt idx="14">
                  <c:v>Boursin Classique Fromage Frais A Tartiner Afh Boite 1X150Gr 1P</c:v>
                </c:pt>
                <c:pt idx="15">
                  <c:v>La Vache Qui Rit Nature Fromage Fondu Boite Ronde 1X512Gr 24+8P</c:v>
                </c:pt>
                <c:pt idx="16">
                  <c:v>Kiri Creme Fromage Blanc Frais Carre 1X432Gr 18+6P</c:v>
                </c:pt>
                <c:pt idx="17">
                  <c:v>La Vache Qui Rit Nature Fromage Fondu Boite Ronde 1X128Gr 8P</c:v>
                </c:pt>
                <c:pt idx="18">
                  <c:v>Mini Babybel Rouge Filet Soft Cheese Enfant 352G</c:v>
                </c:pt>
                <c:pt idx="19">
                  <c:v>La Vache Qui Rit Pik Et Croq' Fromage Fondu Dips Boite 1X175Gr 5P</c:v>
                </c:pt>
                <c:pt idx="20">
                  <c:v>Boursin Salade &amp; Aperitif Fromage Frais Des Afh 1X120Gr 1P</c:v>
                </c:pt>
                <c:pt idx="21">
                  <c:v>Mini Babybel Rouge Filet St Paulin Ferme 1X396Gr 12+6P</c:v>
                </c:pt>
                <c:pt idx="22">
                  <c:v>La Vache Qui Rit Pik Et Croq' Fromage Fondu Dips Boite 1X280Gr 8P</c:v>
                </c:pt>
                <c:pt idx="23">
                  <c:v>Boursin Classique Fromage Frais A Tartiner Afh Boite 1X96Gr 6P</c:v>
                </c:pt>
                <c:pt idx="24">
                  <c:v>Boursin Classique Fromage Frais A Tartiner Figue Et 3 Noix Boite 1X150Gr 1P</c:v>
                </c:pt>
                <c:pt idx="25">
                  <c:v>Kiri Delicieusement Fouette Fromage Frais A Tartiner 1X210Gr 1P</c:v>
                </c:pt>
                <c:pt idx="26">
                  <c:v>Boursin Classique Fromage Frais A Tartiner Ciboulette &amp; Echalote Boite 1X150Gr 1P</c:v>
                </c:pt>
                <c:pt idx="27">
                  <c:v>Mini Babybel Aros St Paulin Ferme Assortis Filet 1X180Gr 9P</c:v>
                </c:pt>
                <c:pt idx="28">
                  <c:v>Boursin Salade &amp; Aperitif Fromage Frais Des Ciboulette Echalote 1X120Gr 1P</c:v>
                </c:pt>
                <c:pt idx="29">
                  <c:v>Babybel Mini Rolls St Paulin Ferme Sachet 1X85Gr 5P</c:v>
                </c:pt>
                <c:pt idx="30">
                  <c:v>La Vache Qui Rit Allegee Fromage Fondu Boite Ronde Allege 1X267Gr 16P</c:v>
                </c:pt>
                <c:pt idx="31">
                  <c:v>Boursin Onctueux Fromage Frais A Tartiner Afh 1X125Gr 1P</c:v>
                </c:pt>
                <c:pt idx="32">
                  <c:v>Kiri Delicieusement Fouette Fromage Frais A Tartiner 1X125Gr 1P</c:v>
                </c:pt>
                <c:pt idx="33">
                  <c:v>Boursin Salade &amp; Aperitif Fromage Frais Des Figue Noix 1X120Gr 1P</c:v>
                </c:pt>
                <c:pt idx="34">
                  <c:v>Mini Babybel Aros Soft Cheese Enfant 180G</c:v>
                </c:pt>
                <c:pt idx="35">
                  <c:v>Kiri Bio Fromage Blanc Frais Carre 1X144Gr 8P</c:v>
                </c:pt>
                <c:pt idx="36">
                  <c:v>Boursin Classique Fromage Frais A Tartiner Afh 1X256Gr 16P</c:v>
                </c:pt>
                <c:pt idx="37">
                  <c:v>Kiri Delicieusement Fouette Fromage Frais A Tartiner 1X160Gr 10P</c:v>
                </c:pt>
                <c:pt idx="38">
                  <c:v>Boursin Classique Fromage Frais A Tartiner Afh Boite 1X80Gr 1P</c:v>
                </c:pt>
                <c:pt idx="39">
                  <c:v>Mini Babybel Aros St Paulin Ferme Raclette Filet 1X132Gr 6P</c:v>
                </c:pt>
                <c:pt idx="40">
                  <c:v>Mini Babybel Aros Soft Cheese Enfant 110G</c:v>
                </c:pt>
                <c:pt idx="41">
                  <c:v>Boursin Classique Fromage Frais A Tartiner Poivre Boite 1X150Gr 1P</c:v>
                </c:pt>
                <c:pt idx="42">
                  <c:v>Mini Babybel Aros St Paulin Ferme Emmental Filet 1X120Gr 6P</c:v>
                </c:pt>
                <c:pt idx="43">
                  <c:v>La Vache Qui Rit Bio Fromage Fondu Boite Ronde 1X128Gr 8P</c:v>
                </c:pt>
                <c:pt idx="44">
                  <c:v>Boursin Salade &amp; Aperitif Fromage Frais Des Citron Romarin 1X120Gr 1P</c:v>
                </c:pt>
                <c:pt idx="45">
                  <c:v>Boursin Salade &amp; Aperitif Fromage Frais Des Noisette Et 3 Noix 1X120Gr 1P</c:v>
                </c:pt>
                <c:pt idx="46">
                  <c:v>Boursin Onctueux Fromage Frais A Tartiner Afh 1X210Gr 1P</c:v>
                </c:pt>
                <c:pt idx="47">
                  <c:v>Boursin Classique Fromage Frais A Tartiner 3 Noix Boite 1X150Gr 1P</c:v>
                </c:pt>
                <c:pt idx="48">
                  <c:v>Boursin Salade &amp; Aperitif Soft Cheese Salade 120G</c:v>
                </c:pt>
                <c:pt idx="49">
                  <c:v>Mini Babybel Aros Soft Cheese Enfant 120G</c:v>
                </c:pt>
                <c:pt idx="50">
                  <c:v>Boursin Classique Fromage Frais A Tartiner Truffe Boite 1X150Gr 1P</c:v>
                </c:pt>
                <c:pt idx="51">
                  <c:v>La Vache Qui Rit Aro Fromage Fondu Boite Ronde Jambon 1X133Gr 8P</c:v>
                </c:pt>
                <c:pt idx="52">
                  <c:v>Boursin Classique Fromage Frais A Tartiner Afh Boite 1X320Gr 16+4P</c:v>
                </c:pt>
                <c:pt idx="53">
                  <c:v>Boursin Classique Fromage Frais A Tartiner 3 Noix 1X160Gr 10P</c:v>
                </c:pt>
                <c:pt idx="54">
                  <c:v>Boursin Classique Fromage Frais A Tartiner Citron &amp; Romarin Boite 1X150Gr 1P</c:v>
                </c:pt>
                <c:pt idx="55">
                  <c:v>Kiri Chevre Fromage Blanc Frais Carre 1X144Gr 8P</c:v>
                </c:pt>
                <c:pt idx="56">
                  <c:v>Boursin Classique Fromage Frais A Tartiner Ciboulette &amp; Echalote 1X160Gr 10P</c:v>
                </c:pt>
                <c:pt idx="57">
                  <c:v>Mini Babybel Rouge Filet St Paulin Ferme Sachet 1X40Gr 1P</c:v>
                </c:pt>
                <c:pt idx="58">
                  <c:v>Mini Babybel Bio St Paulin Ferme Filet 1X100Gr 5P</c:v>
                </c:pt>
                <c:pt idx="59">
                  <c:v>Mini Babybel Rouge Filet St Paulin Ferme 1X110Gr 5P</c:v>
                </c:pt>
                <c:pt idx="60">
                  <c:v>Limiano Queijo Flamengo Autre Sachet 1X450Gr 1P</c:v>
                </c:pt>
                <c:pt idx="61">
                  <c:v>Mini Babybel Rouge Filet St Paulin Ferme 1X396Gr 18P</c:v>
                </c:pt>
              </c:strCache>
            </c:strRef>
          </c:cat>
          <c:val>
            <c:numRef>
              <c:f>Sheet1!$C$2:$C$63</c:f>
              <c:numCache>
                <c:formatCode>General</c:formatCode>
                <c:ptCount val="62"/>
                <c:pt idx="0">
                  <c:v>0.17861172846176618</c:v>
                </c:pt>
                <c:pt idx="1">
                  <c:v>0.28072101480072048</c:v>
                </c:pt>
                <c:pt idx="2">
                  <c:v>0.37928981054165761</c:v>
                </c:pt>
                <c:pt idx="3">
                  <c:v>0.44309053653496272</c:v>
                </c:pt>
                <c:pt idx="4">
                  <c:v>0.48811400643982078</c:v>
                </c:pt>
                <c:pt idx="5">
                  <c:v>0.53060854200930829</c:v>
                </c:pt>
                <c:pt idx="6">
                  <c:v>0.56708392689120046</c:v>
                </c:pt>
                <c:pt idx="7">
                  <c:v>0.59964864373537907</c:v>
                </c:pt>
                <c:pt idx="8">
                  <c:v>0.63081105418410577</c:v>
                </c:pt>
                <c:pt idx="9">
                  <c:v>0.6565693981583115</c:v>
                </c:pt>
                <c:pt idx="10">
                  <c:v>0.68171099812679292</c:v>
                </c:pt>
                <c:pt idx="11">
                  <c:v>0.70576456033446744</c:v>
                </c:pt>
                <c:pt idx="12">
                  <c:v>0.72753132137927368</c:v>
                </c:pt>
                <c:pt idx="13">
                  <c:v>0.74886072706081386</c:v>
                </c:pt>
                <c:pt idx="14">
                  <c:v>0.77009502225563553</c:v>
                </c:pt>
                <c:pt idx="15">
                  <c:v>0.79031393929684024</c:v>
                </c:pt>
                <c:pt idx="16">
                  <c:v>0.80794613501120316</c:v>
                </c:pt>
                <c:pt idx="17">
                  <c:v>0.82480663634021656</c:v>
                </c:pt>
                <c:pt idx="18">
                  <c:v>0.84069631184463844</c:v>
                </c:pt>
                <c:pt idx="19">
                  <c:v>0.85651177714610527</c:v>
                </c:pt>
                <c:pt idx="20">
                  <c:v>0.87080108494530495</c:v>
                </c:pt>
                <c:pt idx="21">
                  <c:v>0.88396562115162869</c:v>
                </c:pt>
                <c:pt idx="22">
                  <c:v>0.89362808222403123</c:v>
                </c:pt>
                <c:pt idx="23">
                  <c:v>0.90296854352234024</c:v>
                </c:pt>
                <c:pt idx="24">
                  <c:v>0.91104374051570447</c:v>
                </c:pt>
                <c:pt idx="25">
                  <c:v>0.91823743473629771</c:v>
                </c:pt>
                <c:pt idx="26">
                  <c:v>0.92532488038791616</c:v>
                </c:pt>
                <c:pt idx="27">
                  <c:v>0.93182879972618649</c:v>
                </c:pt>
                <c:pt idx="28">
                  <c:v>0.93781691665910283</c:v>
                </c:pt>
                <c:pt idx="29">
                  <c:v>0.94372016577310114</c:v>
                </c:pt>
                <c:pt idx="30">
                  <c:v>0.94957611079657545</c:v>
                </c:pt>
                <c:pt idx="31">
                  <c:v>0.95532314284708419</c:v>
                </c:pt>
                <c:pt idx="32">
                  <c:v>0.96008834202700688</c:v>
                </c:pt>
                <c:pt idx="33">
                  <c:v>0.96350148721789308</c:v>
                </c:pt>
                <c:pt idx="34">
                  <c:v>0.96680742290721766</c:v>
                </c:pt>
                <c:pt idx="35">
                  <c:v>0.96990540404900305</c:v>
                </c:pt>
                <c:pt idx="36">
                  <c:v>0.97266105295673277</c:v>
                </c:pt>
                <c:pt idx="37">
                  <c:v>0.97538737158118749</c:v>
                </c:pt>
                <c:pt idx="38">
                  <c:v>0.97801718199879739</c:v>
                </c:pt>
                <c:pt idx="39">
                  <c:v>0.98053836335534239</c:v>
                </c:pt>
                <c:pt idx="40">
                  <c:v>0.98259893041214474</c:v>
                </c:pt>
                <c:pt idx="41">
                  <c:v>0.98450015737455032</c:v>
                </c:pt>
                <c:pt idx="42">
                  <c:v>0.98635076066113192</c:v>
                </c:pt>
                <c:pt idx="43">
                  <c:v>0.98814110910664443</c:v>
                </c:pt>
                <c:pt idx="44">
                  <c:v>0.98989350071497739</c:v>
                </c:pt>
                <c:pt idx="45">
                  <c:v>0.99137844731289604</c:v>
                </c:pt>
                <c:pt idx="46">
                  <c:v>0.99269955490476136</c:v>
                </c:pt>
                <c:pt idx="47">
                  <c:v>0.99397504003812964</c:v>
                </c:pt>
                <c:pt idx="48">
                  <c:v>0.99519415773953002</c:v>
                </c:pt>
                <c:pt idx="49">
                  <c:v>0.99593298386253482</c:v>
                </c:pt>
                <c:pt idx="50">
                  <c:v>0.99662498636130892</c:v>
                </c:pt>
                <c:pt idx="51">
                  <c:v>0.99728117228184698</c:v>
                </c:pt>
                <c:pt idx="52">
                  <c:v>0.99790031861903838</c:v>
                </c:pt>
                <c:pt idx="53">
                  <c:v>0.99846204923416715</c:v>
                </c:pt>
                <c:pt idx="54">
                  <c:v>0.99881733221876789</c:v>
                </c:pt>
                <c:pt idx="55">
                  <c:v>0.99914166880619748</c:v>
                </c:pt>
                <c:pt idx="56">
                  <c:v>0.99943652223471324</c:v>
                </c:pt>
                <c:pt idx="57">
                  <c:v>0.99968009680609582</c:v>
                </c:pt>
                <c:pt idx="58">
                  <c:v>0.99990613435776887</c:v>
                </c:pt>
                <c:pt idx="59">
                  <c:v>0.99998665614066917</c:v>
                </c:pt>
                <c:pt idx="60">
                  <c:v>0.99999746663227096</c:v>
                </c:pt>
                <c:pt idx="61">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3</c:f>
              <c:strCache>
                <c:ptCount val="62"/>
                <c:pt idx="0">
                  <c:v>La Vache Qui Rit Nature Fromage Fondu Boite Ronde 1X512Gr 32P</c:v>
                </c:pt>
                <c:pt idx="1">
                  <c:v>Mini Babybel Rouge Filet St Paulin Ferme 1X264Gr 12P</c:v>
                </c:pt>
                <c:pt idx="2">
                  <c:v>Kiri Creme Fromage Blanc Frais Carre 1X432Gr 24P</c:v>
                </c:pt>
                <c:pt idx="3">
                  <c:v>La Vache Qui Rit Nature Fromage Fondu Boite Ronde 1X384Gr 24P</c:v>
                </c:pt>
                <c:pt idx="4">
                  <c:v>Mini Babybel Rouge Filet St Paulin Ferme 1X132Gr 6P</c:v>
                </c:pt>
                <c:pt idx="5">
                  <c:v>Kiri Creme Fromage Blanc Frais Carre 1X216Gr 12P</c:v>
                </c:pt>
                <c:pt idx="6">
                  <c:v>La Vache Qui Rit Nature Fromage Fondu Boite Ronde 1X192Gr 12P</c:v>
                </c:pt>
                <c:pt idx="7">
                  <c:v>Kiri Gouter Fromage Blanc Dips Boite 1X175Gr 5P</c:v>
                </c:pt>
                <c:pt idx="8">
                  <c:v>Boursin Classique Fromage Frais A Tartiner Afh 1X160Gr 10P</c:v>
                </c:pt>
                <c:pt idx="9">
                  <c:v>Kiri Creme Fromage Blanc Frais Carre 1X144Gr 8P</c:v>
                </c:pt>
                <c:pt idx="10">
                  <c:v>Boursin Classique Fromage Frais A Tartiner Afh Boite 1X250Gr 1P</c:v>
                </c:pt>
                <c:pt idx="11">
                  <c:v>Kiri Gouter Fromage Blanc Dips Boite 1X280Gr 8P</c:v>
                </c:pt>
                <c:pt idx="12">
                  <c:v>Mini Babybel Rouge Filet Soft Cheese Enfant 484G</c:v>
                </c:pt>
                <c:pt idx="13">
                  <c:v>Mini Babybel Rouge Filet St Paulin Ferme 1X440Gr 20P</c:v>
                </c:pt>
                <c:pt idx="14">
                  <c:v>Boursin Classique Fromage Frais A Tartiner Afh Boite 1X150Gr 1P</c:v>
                </c:pt>
                <c:pt idx="15">
                  <c:v>La Vache Qui Rit Nature Fromage Fondu Boite Ronde 1X512Gr 24+8P</c:v>
                </c:pt>
                <c:pt idx="16">
                  <c:v>Kiri Creme Fromage Blanc Frais Carre 1X432Gr 18+6P</c:v>
                </c:pt>
                <c:pt idx="17">
                  <c:v>La Vache Qui Rit Nature Fromage Fondu Boite Ronde 1X128Gr 8P</c:v>
                </c:pt>
                <c:pt idx="18">
                  <c:v>Mini Babybel Rouge Filet Soft Cheese Enfant 352G</c:v>
                </c:pt>
                <c:pt idx="19">
                  <c:v>La Vache Qui Rit Pik Et Croq' Fromage Fondu Dips Boite 1X175Gr 5P</c:v>
                </c:pt>
                <c:pt idx="20">
                  <c:v>Boursin Salade &amp; Aperitif Fromage Frais Des Afh 1X120Gr 1P</c:v>
                </c:pt>
                <c:pt idx="21">
                  <c:v>Mini Babybel Rouge Filet St Paulin Ferme 1X396Gr 12+6P</c:v>
                </c:pt>
                <c:pt idx="22">
                  <c:v>La Vache Qui Rit Pik Et Croq' Fromage Fondu Dips Boite 1X280Gr 8P</c:v>
                </c:pt>
                <c:pt idx="23">
                  <c:v>Boursin Classique Fromage Frais A Tartiner Afh Boite 1X96Gr 6P</c:v>
                </c:pt>
                <c:pt idx="24">
                  <c:v>Boursin Classique Fromage Frais A Tartiner Figue Et 3 Noix Boite 1X150Gr 1P</c:v>
                </c:pt>
                <c:pt idx="25">
                  <c:v>Kiri Delicieusement Fouette Fromage Frais A Tartiner 1X210Gr 1P</c:v>
                </c:pt>
                <c:pt idx="26">
                  <c:v>Boursin Classique Fromage Frais A Tartiner Ciboulette &amp; Echalote Boite 1X150Gr 1P</c:v>
                </c:pt>
                <c:pt idx="27">
                  <c:v>Mini Babybel Aros St Paulin Ferme Assortis Filet 1X180Gr 9P</c:v>
                </c:pt>
                <c:pt idx="28">
                  <c:v>Boursin Salade &amp; Aperitif Fromage Frais Des Ciboulette Echalote 1X120Gr 1P</c:v>
                </c:pt>
                <c:pt idx="29">
                  <c:v>Babybel Mini Rolls St Paulin Ferme Sachet 1X85Gr 5P</c:v>
                </c:pt>
                <c:pt idx="30">
                  <c:v>La Vache Qui Rit Allegee Fromage Fondu Boite Ronde Allege 1X267Gr 16P</c:v>
                </c:pt>
                <c:pt idx="31">
                  <c:v>Boursin Onctueux Fromage Frais A Tartiner Afh 1X125Gr 1P</c:v>
                </c:pt>
                <c:pt idx="32">
                  <c:v>Kiri Delicieusement Fouette Fromage Frais A Tartiner 1X125Gr 1P</c:v>
                </c:pt>
                <c:pt idx="33">
                  <c:v>Boursin Salade &amp; Aperitif Fromage Frais Des Figue Noix 1X120Gr 1P</c:v>
                </c:pt>
                <c:pt idx="34">
                  <c:v>Mini Babybel Aros Soft Cheese Enfant 180G</c:v>
                </c:pt>
                <c:pt idx="35">
                  <c:v>Kiri Bio Fromage Blanc Frais Carre 1X144Gr 8P</c:v>
                </c:pt>
                <c:pt idx="36">
                  <c:v>Boursin Classique Fromage Frais A Tartiner Afh 1X256Gr 16P</c:v>
                </c:pt>
                <c:pt idx="37">
                  <c:v>Kiri Delicieusement Fouette Fromage Frais A Tartiner 1X160Gr 10P</c:v>
                </c:pt>
                <c:pt idx="38">
                  <c:v>Boursin Classique Fromage Frais A Tartiner Afh Boite 1X80Gr 1P</c:v>
                </c:pt>
                <c:pt idx="39">
                  <c:v>Mini Babybel Aros St Paulin Ferme Raclette Filet 1X132Gr 6P</c:v>
                </c:pt>
                <c:pt idx="40">
                  <c:v>Mini Babybel Aros Soft Cheese Enfant 110G</c:v>
                </c:pt>
                <c:pt idx="41">
                  <c:v>Boursin Classique Fromage Frais A Tartiner Poivre Boite 1X150Gr 1P</c:v>
                </c:pt>
                <c:pt idx="42">
                  <c:v>Mini Babybel Aros St Paulin Ferme Emmental Filet 1X120Gr 6P</c:v>
                </c:pt>
                <c:pt idx="43">
                  <c:v>La Vache Qui Rit Bio Fromage Fondu Boite Ronde 1X128Gr 8P</c:v>
                </c:pt>
                <c:pt idx="44">
                  <c:v>Boursin Salade &amp; Aperitif Fromage Frais Des Citron Romarin 1X120Gr 1P</c:v>
                </c:pt>
                <c:pt idx="45">
                  <c:v>Boursin Salade &amp; Aperitif Fromage Frais Des Noisette Et 3 Noix 1X120Gr 1P</c:v>
                </c:pt>
                <c:pt idx="46">
                  <c:v>Boursin Onctueux Fromage Frais A Tartiner Afh 1X210Gr 1P</c:v>
                </c:pt>
                <c:pt idx="47">
                  <c:v>Boursin Classique Fromage Frais A Tartiner 3 Noix Boite 1X150Gr 1P</c:v>
                </c:pt>
                <c:pt idx="48">
                  <c:v>Boursin Salade &amp; Aperitif Soft Cheese Salade 120G</c:v>
                </c:pt>
                <c:pt idx="49">
                  <c:v>Mini Babybel Aros Soft Cheese Enfant 120G</c:v>
                </c:pt>
                <c:pt idx="50">
                  <c:v>Boursin Classique Fromage Frais A Tartiner Truffe Boite 1X150Gr 1P</c:v>
                </c:pt>
                <c:pt idx="51">
                  <c:v>La Vache Qui Rit Aro Fromage Fondu Boite Ronde Jambon 1X133Gr 8P</c:v>
                </c:pt>
                <c:pt idx="52">
                  <c:v>Boursin Classique Fromage Frais A Tartiner Afh Boite 1X320Gr 16+4P</c:v>
                </c:pt>
                <c:pt idx="53">
                  <c:v>Boursin Classique Fromage Frais A Tartiner 3 Noix 1X160Gr 10P</c:v>
                </c:pt>
                <c:pt idx="54">
                  <c:v>Boursin Classique Fromage Frais A Tartiner Citron &amp; Romarin Boite 1X150Gr 1P</c:v>
                </c:pt>
                <c:pt idx="55">
                  <c:v>Kiri Chevre Fromage Blanc Frais Carre 1X144Gr 8P</c:v>
                </c:pt>
                <c:pt idx="56">
                  <c:v>Boursin Classique Fromage Frais A Tartiner Ciboulette &amp; Echalote 1X160Gr 10P</c:v>
                </c:pt>
                <c:pt idx="57">
                  <c:v>Mini Babybel Rouge Filet St Paulin Ferme Sachet 1X40Gr 1P</c:v>
                </c:pt>
                <c:pt idx="58">
                  <c:v>Mini Babybel Bio St Paulin Ferme Filet 1X100Gr 5P</c:v>
                </c:pt>
                <c:pt idx="59">
                  <c:v>Mini Babybel Rouge Filet St Paulin Ferme 1X110Gr 5P</c:v>
                </c:pt>
                <c:pt idx="60">
                  <c:v>Limiano Queijo Flamengo Autre Sachet 1X450Gr 1P</c:v>
                </c:pt>
                <c:pt idx="61">
                  <c:v>Mini Babybel Rouge Filet St Paulin Ferme 1X396Gr 18P</c:v>
                </c:pt>
              </c:strCache>
            </c:strRef>
          </c:cat>
          <c:val>
            <c:numRef>
              <c:f>Sheet1!$D$2:$D$63</c:f>
              <c:numCache>
                <c:formatCode>General</c:formatCode>
                <c:ptCount val="62"/>
                <c:pt idx="0">
                  <c:v>82610.363636363632</c:v>
                </c:pt>
                <c:pt idx="1">
                  <c:v>46754.67</c:v>
                </c:pt>
                <c:pt idx="2">
                  <c:v>45589.414141414141</c:v>
                </c:pt>
                <c:pt idx="3">
                  <c:v>29213.62</c:v>
                </c:pt>
                <c:pt idx="4">
                  <c:v>20615.73</c:v>
                </c:pt>
                <c:pt idx="5">
                  <c:v>19457.759999999998</c:v>
                </c:pt>
                <c:pt idx="6">
                  <c:v>16701.66</c:v>
                </c:pt>
                <c:pt idx="7">
                  <c:v>14911.01</c:v>
                </c:pt>
                <c:pt idx="8">
                  <c:v>14268.91</c:v>
                </c:pt>
                <c:pt idx="9">
                  <c:v>11794.45</c:v>
                </c:pt>
                <c:pt idx="10">
                  <c:v>11512.05</c:v>
                </c:pt>
                <c:pt idx="11">
                  <c:v>11125.101010101011</c:v>
                </c:pt>
                <c:pt idx="12">
                  <c:v>10275</c:v>
                </c:pt>
                <c:pt idx="13">
                  <c:v>9766.49</c:v>
                </c:pt>
                <c:pt idx="14">
                  <c:v>9722.94</c:v>
                </c:pt>
                <c:pt idx="15">
                  <c:v>9848.9468085106382</c:v>
                </c:pt>
                <c:pt idx="16">
                  <c:v>8238.3469387755104</c:v>
                </c:pt>
                <c:pt idx="17">
                  <c:v>8213.010638297872</c:v>
                </c:pt>
                <c:pt idx="18">
                  <c:v>7349.1919191919196</c:v>
                </c:pt>
                <c:pt idx="19">
                  <c:v>7241.72</c:v>
                </c:pt>
                <c:pt idx="20">
                  <c:v>6542.91</c:v>
                </c:pt>
                <c:pt idx="21">
                  <c:v>6412.6489361702124</c:v>
                </c:pt>
                <c:pt idx="22">
                  <c:v>4657.1894736842105</c:v>
                </c:pt>
                <c:pt idx="23">
                  <c:v>4276.8900000000003</c:v>
                </c:pt>
                <c:pt idx="24">
                  <c:v>3773</c:v>
                </c:pt>
                <c:pt idx="25">
                  <c:v>3431.15625</c:v>
                </c:pt>
                <c:pt idx="26">
                  <c:v>3345.6288659793813</c:v>
                </c:pt>
                <c:pt idx="27">
                  <c:v>3102.15625</c:v>
                </c:pt>
                <c:pt idx="28">
                  <c:v>2741.89</c:v>
                </c:pt>
                <c:pt idx="29">
                  <c:v>2938.0760869565215</c:v>
                </c:pt>
                <c:pt idx="30">
                  <c:v>3117.8720930232557</c:v>
                </c:pt>
                <c:pt idx="31">
                  <c:v>2658.0808080808079</c:v>
                </c:pt>
                <c:pt idx="32">
                  <c:v>2226.4591836734694</c:v>
                </c:pt>
                <c:pt idx="33">
                  <c:v>1562.84</c:v>
                </c:pt>
                <c:pt idx="34">
                  <c:v>1576.8229166666667</c:v>
                </c:pt>
                <c:pt idx="35">
                  <c:v>1891.3733333333332</c:v>
                </c:pt>
                <c:pt idx="36">
                  <c:v>2175.4827586206898</c:v>
                </c:pt>
                <c:pt idx="37">
                  <c:v>1402.6404494382023</c:v>
                </c:pt>
                <c:pt idx="38">
                  <c:v>1281.0212765957447</c:v>
                </c:pt>
                <c:pt idx="39">
                  <c:v>1311.840909090909</c:v>
                </c:pt>
                <c:pt idx="40">
                  <c:v>1003.7340425531914</c:v>
                </c:pt>
                <c:pt idx="41">
                  <c:v>989.26136363636363</c:v>
                </c:pt>
                <c:pt idx="42">
                  <c:v>1210.5285714285715</c:v>
                </c:pt>
                <c:pt idx="43">
                  <c:v>999.73170731707319</c:v>
                </c:pt>
                <c:pt idx="44">
                  <c:v>844.63157894736844</c:v>
                </c:pt>
                <c:pt idx="45">
                  <c:v>708.27083333333337</c:v>
                </c:pt>
                <c:pt idx="46">
                  <c:v>1025.2881355932204</c:v>
                </c:pt>
                <c:pt idx="47">
                  <c:v>871.68656716417911</c:v>
                </c:pt>
                <c:pt idx="48">
                  <c:v>593.85106382978722</c:v>
                </c:pt>
                <c:pt idx="49">
                  <c:v>497.5</c:v>
                </c:pt>
                <c:pt idx="50">
                  <c:v>480.09090909090907</c:v>
                </c:pt>
                <c:pt idx="51">
                  <c:v>3755.75</c:v>
                </c:pt>
                <c:pt idx="52">
                  <c:v>333.52941176470586</c:v>
                </c:pt>
                <c:pt idx="53">
                  <c:v>524.91836734693879</c:v>
                </c:pt>
                <c:pt idx="54">
                  <c:v>229.12676056338029</c:v>
                </c:pt>
                <c:pt idx="55">
                  <c:v>265.19642857142856</c:v>
                </c:pt>
                <c:pt idx="56">
                  <c:v>964.35714285714278</c:v>
                </c:pt>
                <c:pt idx="57">
                  <c:v>531.09523809523807</c:v>
                </c:pt>
                <c:pt idx="58">
                  <c:v>154.47761194029852</c:v>
                </c:pt>
                <c:pt idx="59">
                  <c:v>737.4</c:v>
                </c:pt>
                <c:pt idx="60">
                  <c:v>495</c:v>
                </c:pt>
                <c:pt idx="61">
                  <c:v>2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9</c:f>
              <c:strCache>
                <c:ptCount val="48"/>
                <c:pt idx="0">
                  <c:v>La Vache Qui Rit Nature Fromage Fondu Boite Ronde 1X512Gr 32P</c:v>
                </c:pt>
                <c:pt idx="1">
                  <c:v>Mini Babybel Rouge Filet St Paulin Ferme 1X264Gr 1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432Gr 24P</c:v>
                </c:pt>
                <c:pt idx="6">
                  <c:v>Kiri Creme Fromage Blanc Frais Carre 1X216Gr 12P</c:v>
                </c:pt>
                <c:pt idx="7">
                  <c:v>Boursin Classique Fromage Frais A Tartiner Afh 1X160Gr 10P</c:v>
                </c:pt>
                <c:pt idx="8">
                  <c:v>Kiri Creme Fromage Blanc Frais Carre 1X144Gr 8P</c:v>
                </c:pt>
                <c:pt idx="9">
                  <c:v>Boursin Classique Fromage Frais A Tartiner Afh Boite 1X150Gr 1P</c:v>
                </c:pt>
                <c:pt idx="10">
                  <c:v>Boursin Classique Fromage Frais A Tartiner Afh Boite 1X250Gr 1P</c:v>
                </c:pt>
                <c:pt idx="11">
                  <c:v>Kiri Gouter Fromage Blanc Dips Boite 1X175Gr 5P</c:v>
                </c:pt>
                <c:pt idx="12">
                  <c:v>Mini Babybel Rouge Filet Soft Cheese Enfant 352G</c:v>
                </c:pt>
                <c:pt idx="13">
                  <c:v>Boursin Salade &amp; Aperitif Fromage Frais Des Afh 1X120Gr 1P</c:v>
                </c:pt>
                <c:pt idx="14">
                  <c:v>Mini Babybel Rouge Filet St Paulin Ferme 1X440Gr 20P</c:v>
                </c:pt>
                <c:pt idx="15">
                  <c:v>Kiri Gouter Fromage Blanc Dips Boite 1X280Gr 8P</c:v>
                </c:pt>
                <c:pt idx="16">
                  <c:v>La Vache Qui Rit Nature Fromage Fondu Boite Ronde 1X128Gr 8P</c:v>
                </c:pt>
                <c:pt idx="17">
                  <c:v>La Vache Qui Rit Pik Et Croq' Fromage Fondu Dips Boite 1X175Gr 5P</c:v>
                </c:pt>
                <c:pt idx="18">
                  <c:v>Boursin Classique Fromage Frais A Tartiner Afh Boite 1X96Gr 6P</c:v>
                </c:pt>
                <c:pt idx="19">
                  <c:v>La Vache Qui Rit Nature Fromage Fondu Boite Ronde 1X512Gr 24+8P</c:v>
                </c:pt>
                <c:pt idx="20">
                  <c:v>Kiri Creme Fromage Blanc Frais Carre 1X432Gr 18+6P</c:v>
                </c:pt>
                <c:pt idx="21">
                  <c:v>Boursin Onctueux Fromage Frais A Tartiner Afh 1X125Gr 1P</c:v>
                </c:pt>
                <c:pt idx="22">
                  <c:v>Boursin Classique Fromage Frais A Tartiner Ciboulette &amp; Echalote Boite 1X150Gr 1P</c:v>
                </c:pt>
                <c:pt idx="23">
                  <c:v>Mini Babybel Aros St Paulin Ferme Assortis Filet 1X180Gr 9P</c:v>
                </c:pt>
                <c:pt idx="24">
                  <c:v>Mini Babybel Rouge Filet St Paulin Ferme 1X396Gr 12+6P</c:v>
                </c:pt>
                <c:pt idx="25">
                  <c:v>Boursin Salade &amp; Aperitif Fromage Frais Des Figue Noix 1X120Gr 1P</c:v>
                </c:pt>
                <c:pt idx="26">
                  <c:v>Boursin Salade &amp; Aperitif Fromage Frais Des Ciboulette Echalote 1X120Gr 1P</c:v>
                </c:pt>
                <c:pt idx="27">
                  <c:v>Babybel Mini Rolls St Paulin Ferme Sachet 1X85Gr 5P</c:v>
                </c:pt>
                <c:pt idx="28">
                  <c:v>Kiri Bio Fromage Blanc Frais Carre 1X144Gr 8P</c:v>
                </c:pt>
                <c:pt idx="29">
                  <c:v>Kiri Delicieusement Fouette Fromage Frais A Tartiner 1X160Gr 10P</c:v>
                </c:pt>
                <c:pt idx="30">
                  <c:v>Kiri Delicieusement Fouette Fromage Frais A Tartiner 1X210Gr 1P</c:v>
                </c:pt>
                <c:pt idx="31">
                  <c:v>Kiri Delicieusement Fouette Fromage Frais A Tartiner 1X125Gr 1P</c:v>
                </c:pt>
                <c:pt idx="32">
                  <c:v>Mini Babybel Aros Soft Cheese Enfant 180G</c:v>
                </c:pt>
                <c:pt idx="33">
                  <c:v>La Vache Qui Rit Allegee Fromage Fondu Boite Ronde Allege 1X267Gr 16P</c:v>
                </c:pt>
                <c:pt idx="34">
                  <c:v>Boursin Salade &amp; Aperitif Fromage Frais Des Citron Romarin 1X120Gr 1P</c:v>
                </c:pt>
                <c:pt idx="35">
                  <c:v>Boursin Classique Fromage Frais A Tartiner Figue Et 3 Noix Boite 1X150Gr 1P</c:v>
                </c:pt>
                <c:pt idx="36">
                  <c:v>Boursin Salade &amp; Aperitif Soft Cheese Salade 120G</c:v>
                </c:pt>
                <c:pt idx="37">
                  <c:v>Boursin Salade &amp; Aperitif Fromage Frais Des Noisette Et 3 Noix 1X120Gr 1P</c:v>
                </c:pt>
                <c:pt idx="38">
                  <c:v>Mini Babybel Aros Soft Cheese Enfant 110G</c:v>
                </c:pt>
                <c:pt idx="39">
                  <c:v>La Vache Qui Rit Bio Fromage Fondu Boite Ronde 1X128Gr 8P</c:v>
                </c:pt>
                <c:pt idx="40">
                  <c:v>Boursin Classique Fromage Frais A Tartiner 3 Noix Boite 1X150Gr 1P</c:v>
                </c:pt>
                <c:pt idx="41">
                  <c:v>Boursin Classique Fromage Frais A Tartiner 3 Noix 1X160Gr 10P</c:v>
                </c:pt>
                <c:pt idx="42">
                  <c:v>Boursin Classique Fromage Frais A Tartiner Afh Boite 1X320Gr 16+4P</c:v>
                </c:pt>
                <c:pt idx="43">
                  <c:v>Boursin Classique Fromage Frais A Tartiner Truffe Boite 1X150Gr 1P</c:v>
                </c:pt>
                <c:pt idx="44">
                  <c:v>Mini Babybel Rouge Filet St Paulin Ferme Sachet 1X40Gr 1P</c:v>
                </c:pt>
                <c:pt idx="45">
                  <c:v>Boursin Onctueux Fromage Frais A Tartiner Afh 1X210Gr 1P</c:v>
                </c:pt>
                <c:pt idx="46">
                  <c:v>Kiri Chevre Fromage Blanc Frais Carre 1X144Gr 8P</c:v>
                </c:pt>
                <c:pt idx="47">
                  <c:v>Boursin Classique Fromage Frais A Tartiner Ciboulette &amp; Echalote 1X160Gr 10P</c:v>
                </c:pt>
              </c:strCache>
            </c:strRef>
          </c:cat>
          <c:val>
            <c:numRef>
              <c:f>Sheet1!$B$2:$B$49</c:f>
              <c:numCache>
                <c:formatCode>General</c:formatCode>
                <c:ptCount val="48"/>
                <c:pt idx="0">
                  <c:v>0.99</c:v>
                </c:pt>
                <c:pt idx="1">
                  <c:v>1</c:v>
                </c:pt>
                <c:pt idx="2">
                  <c:v>0.96</c:v>
                </c:pt>
                <c:pt idx="3">
                  <c:v>0.99</c:v>
                </c:pt>
                <c:pt idx="4">
                  <c:v>0.99</c:v>
                </c:pt>
                <c:pt idx="5">
                  <c:v>0.86</c:v>
                </c:pt>
                <c:pt idx="6">
                  <c:v>0.97</c:v>
                </c:pt>
                <c:pt idx="7">
                  <c:v>0.98</c:v>
                </c:pt>
                <c:pt idx="8">
                  <c:v>0.99</c:v>
                </c:pt>
                <c:pt idx="9">
                  <c:v>0.99</c:v>
                </c:pt>
                <c:pt idx="10">
                  <c:v>0.95</c:v>
                </c:pt>
                <c:pt idx="11">
                  <c:v>0.99</c:v>
                </c:pt>
                <c:pt idx="12">
                  <c:v>0.94</c:v>
                </c:pt>
                <c:pt idx="13">
                  <c:v>0.99</c:v>
                </c:pt>
                <c:pt idx="14">
                  <c:v>0.96</c:v>
                </c:pt>
                <c:pt idx="15">
                  <c:v>0.73</c:v>
                </c:pt>
                <c:pt idx="16">
                  <c:v>0.66</c:v>
                </c:pt>
                <c:pt idx="17">
                  <c:v>0.97</c:v>
                </c:pt>
                <c:pt idx="18">
                  <c:v>0.91</c:v>
                </c:pt>
                <c:pt idx="19">
                  <c:v>0.78</c:v>
                </c:pt>
                <c:pt idx="20">
                  <c:v>0.71</c:v>
                </c:pt>
                <c:pt idx="21">
                  <c:v>0.85</c:v>
                </c:pt>
                <c:pt idx="22">
                  <c:v>0.89</c:v>
                </c:pt>
                <c:pt idx="23">
                  <c:v>0.67</c:v>
                </c:pt>
                <c:pt idx="24">
                  <c:v>0.81</c:v>
                </c:pt>
                <c:pt idx="25">
                  <c:v>0.91</c:v>
                </c:pt>
                <c:pt idx="26">
                  <c:v>0.95</c:v>
                </c:pt>
                <c:pt idx="27">
                  <c:v>0.45</c:v>
                </c:pt>
                <c:pt idx="28">
                  <c:v>0.42</c:v>
                </c:pt>
                <c:pt idx="29">
                  <c:v>0.63</c:v>
                </c:pt>
                <c:pt idx="30">
                  <c:v>0.54</c:v>
                </c:pt>
                <c:pt idx="31">
                  <c:v>0.62</c:v>
                </c:pt>
                <c:pt idx="32">
                  <c:v>0.66</c:v>
                </c:pt>
                <c:pt idx="33">
                  <c:v>0.27</c:v>
                </c:pt>
                <c:pt idx="34">
                  <c:v>0.72</c:v>
                </c:pt>
                <c:pt idx="35">
                  <c:v>0.65</c:v>
                </c:pt>
                <c:pt idx="36">
                  <c:v>0.71</c:v>
                </c:pt>
                <c:pt idx="37">
                  <c:v>0.79</c:v>
                </c:pt>
                <c:pt idx="38">
                  <c:v>0.56999999999999995</c:v>
                </c:pt>
                <c:pt idx="39">
                  <c:v>0.25</c:v>
                </c:pt>
                <c:pt idx="40">
                  <c:v>0.61</c:v>
                </c:pt>
                <c:pt idx="41">
                  <c:v>0.41</c:v>
                </c:pt>
                <c:pt idx="42">
                  <c:v>0.37</c:v>
                </c:pt>
                <c:pt idx="43">
                  <c:v>0.51</c:v>
                </c:pt>
                <c:pt idx="44">
                  <c:v>0.06</c:v>
                </c:pt>
                <c:pt idx="45">
                  <c:v>0.03</c:v>
                </c:pt>
                <c:pt idx="46">
                  <c:v>0.03</c:v>
                </c:pt>
                <c:pt idx="47">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invertIfNegative val="1"/>
            <c:bubble3D val="0"/>
            <c:spPr>
              <a:solidFill>
                <a:srgbClr val="AEABAB"/>
              </a:solidFill>
            </c:spPr>
            <c:extLst>
              <c:ext xmlns:c16="http://schemas.microsoft.com/office/drawing/2014/chart" uri="{C3380CC4-5D6E-409C-BE32-E72D297353CC}">
                <c16:uniqueId val="{0000005B-F880-4EA2-A84A-1479FAB3E8B6}"/>
              </c:ext>
            </c:extLst>
          </c:dPt>
          <c:dPt>
            <c:idx val="45"/>
            <c:invertIfNegative val="1"/>
            <c:bubble3D val="0"/>
            <c:spPr>
              <a:solidFill>
                <a:srgbClr val="AEABAB"/>
              </a:solidFill>
            </c:spPr>
            <c:extLst>
              <c:ext xmlns:c16="http://schemas.microsoft.com/office/drawing/2014/chart" uri="{C3380CC4-5D6E-409C-BE32-E72D297353CC}">
                <c16:uniqueId val="{0000005D-F880-4EA2-A84A-1479FAB3E8B6}"/>
              </c:ext>
            </c:extLst>
          </c:dPt>
          <c:dPt>
            <c:idx val="46"/>
            <c:invertIfNegative val="1"/>
            <c:bubble3D val="0"/>
            <c:spPr>
              <a:solidFill>
                <a:srgbClr val="AEABAB"/>
              </a:solidFill>
            </c:spPr>
            <c:extLst>
              <c:ext xmlns:c16="http://schemas.microsoft.com/office/drawing/2014/chart" uri="{C3380CC4-5D6E-409C-BE32-E72D297353CC}">
                <c16:uniqueId val="{0000005F-F880-4EA2-A84A-1479FAB3E8B6}"/>
              </c:ext>
            </c:extLst>
          </c:dPt>
          <c:dPt>
            <c:idx val="47"/>
            <c:invertIfNegative val="1"/>
            <c:bubble3D val="0"/>
            <c:spPr>
              <a:solidFill>
                <a:srgbClr val="AEABAB"/>
              </a:solidFill>
            </c:spPr>
            <c:extLst>
              <c:ext xmlns:c16="http://schemas.microsoft.com/office/drawing/2014/chart" uri="{C3380CC4-5D6E-409C-BE32-E72D297353CC}">
                <c16:uniqueId val="{00000061-F880-4EA2-A84A-1479FAB3E8B6}"/>
              </c:ext>
            </c:extLst>
          </c:dPt>
          <c:cat>
            <c:strRef>
              <c:f>Sheet1!$A$2:$A$49</c:f>
              <c:strCache>
                <c:ptCount val="48"/>
                <c:pt idx="0">
                  <c:v>La Vache Qui Rit Nature Fromage Fondu Boite Ronde 1X512Gr 32P</c:v>
                </c:pt>
                <c:pt idx="1">
                  <c:v>Mini Babybel Rouge Filet St Paulin Ferme 1X264Gr 1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432Gr 24P</c:v>
                </c:pt>
                <c:pt idx="6">
                  <c:v>Kiri Creme Fromage Blanc Frais Carre 1X216Gr 12P</c:v>
                </c:pt>
                <c:pt idx="7">
                  <c:v>Boursin Classique Fromage Frais A Tartiner Afh 1X160Gr 10P</c:v>
                </c:pt>
                <c:pt idx="8">
                  <c:v>Kiri Creme Fromage Blanc Frais Carre 1X144Gr 8P</c:v>
                </c:pt>
                <c:pt idx="9">
                  <c:v>Boursin Classique Fromage Frais A Tartiner Afh Boite 1X150Gr 1P</c:v>
                </c:pt>
                <c:pt idx="10">
                  <c:v>Boursin Classique Fromage Frais A Tartiner Afh Boite 1X250Gr 1P</c:v>
                </c:pt>
                <c:pt idx="11">
                  <c:v>Kiri Gouter Fromage Blanc Dips Boite 1X175Gr 5P</c:v>
                </c:pt>
                <c:pt idx="12">
                  <c:v>Mini Babybel Rouge Filet Soft Cheese Enfant 352G</c:v>
                </c:pt>
                <c:pt idx="13">
                  <c:v>Boursin Salade &amp; Aperitif Fromage Frais Des Afh 1X120Gr 1P</c:v>
                </c:pt>
                <c:pt idx="14">
                  <c:v>Mini Babybel Rouge Filet St Paulin Ferme 1X440Gr 20P</c:v>
                </c:pt>
                <c:pt idx="15">
                  <c:v>Kiri Gouter Fromage Blanc Dips Boite 1X280Gr 8P</c:v>
                </c:pt>
                <c:pt idx="16">
                  <c:v>La Vache Qui Rit Nature Fromage Fondu Boite Ronde 1X128Gr 8P</c:v>
                </c:pt>
                <c:pt idx="17">
                  <c:v>La Vache Qui Rit Pik Et Croq' Fromage Fondu Dips Boite 1X175Gr 5P</c:v>
                </c:pt>
                <c:pt idx="18">
                  <c:v>Boursin Classique Fromage Frais A Tartiner Afh Boite 1X96Gr 6P</c:v>
                </c:pt>
                <c:pt idx="19">
                  <c:v>La Vache Qui Rit Nature Fromage Fondu Boite Ronde 1X512Gr 24+8P</c:v>
                </c:pt>
                <c:pt idx="20">
                  <c:v>Kiri Creme Fromage Blanc Frais Carre 1X432Gr 18+6P</c:v>
                </c:pt>
                <c:pt idx="21">
                  <c:v>Boursin Onctueux Fromage Frais A Tartiner Afh 1X125Gr 1P</c:v>
                </c:pt>
                <c:pt idx="22">
                  <c:v>Boursin Classique Fromage Frais A Tartiner Ciboulette &amp; Echalote Boite 1X150Gr 1P</c:v>
                </c:pt>
                <c:pt idx="23">
                  <c:v>Mini Babybel Aros St Paulin Ferme Assortis Filet 1X180Gr 9P</c:v>
                </c:pt>
                <c:pt idx="24">
                  <c:v>Mini Babybel Rouge Filet St Paulin Ferme 1X396Gr 12+6P</c:v>
                </c:pt>
                <c:pt idx="25">
                  <c:v>Boursin Salade &amp; Aperitif Fromage Frais Des Figue Noix 1X120Gr 1P</c:v>
                </c:pt>
                <c:pt idx="26">
                  <c:v>Boursin Salade &amp; Aperitif Fromage Frais Des Ciboulette Echalote 1X120Gr 1P</c:v>
                </c:pt>
                <c:pt idx="27">
                  <c:v>Babybel Mini Rolls St Paulin Ferme Sachet 1X85Gr 5P</c:v>
                </c:pt>
                <c:pt idx="28">
                  <c:v>Kiri Bio Fromage Blanc Frais Carre 1X144Gr 8P</c:v>
                </c:pt>
                <c:pt idx="29">
                  <c:v>Kiri Delicieusement Fouette Fromage Frais A Tartiner 1X160Gr 10P</c:v>
                </c:pt>
                <c:pt idx="30">
                  <c:v>Kiri Delicieusement Fouette Fromage Frais A Tartiner 1X210Gr 1P</c:v>
                </c:pt>
                <c:pt idx="31">
                  <c:v>Kiri Delicieusement Fouette Fromage Frais A Tartiner 1X125Gr 1P</c:v>
                </c:pt>
                <c:pt idx="32">
                  <c:v>Mini Babybel Aros Soft Cheese Enfant 180G</c:v>
                </c:pt>
                <c:pt idx="33">
                  <c:v>La Vache Qui Rit Allegee Fromage Fondu Boite Ronde Allege 1X267Gr 16P</c:v>
                </c:pt>
                <c:pt idx="34">
                  <c:v>Boursin Salade &amp; Aperitif Fromage Frais Des Citron Romarin 1X120Gr 1P</c:v>
                </c:pt>
                <c:pt idx="35">
                  <c:v>Boursin Classique Fromage Frais A Tartiner Figue Et 3 Noix Boite 1X150Gr 1P</c:v>
                </c:pt>
                <c:pt idx="36">
                  <c:v>Boursin Salade &amp; Aperitif Soft Cheese Salade 120G</c:v>
                </c:pt>
                <c:pt idx="37">
                  <c:v>Boursin Salade &amp; Aperitif Fromage Frais Des Noisette Et 3 Noix 1X120Gr 1P</c:v>
                </c:pt>
                <c:pt idx="38">
                  <c:v>Mini Babybel Aros Soft Cheese Enfant 110G</c:v>
                </c:pt>
                <c:pt idx="39">
                  <c:v>La Vache Qui Rit Bio Fromage Fondu Boite Ronde 1X128Gr 8P</c:v>
                </c:pt>
                <c:pt idx="40">
                  <c:v>Boursin Classique Fromage Frais A Tartiner 3 Noix Boite 1X150Gr 1P</c:v>
                </c:pt>
                <c:pt idx="41">
                  <c:v>Boursin Classique Fromage Frais A Tartiner 3 Noix 1X160Gr 10P</c:v>
                </c:pt>
                <c:pt idx="42">
                  <c:v>Boursin Classique Fromage Frais A Tartiner Afh Boite 1X320Gr 16+4P</c:v>
                </c:pt>
                <c:pt idx="43">
                  <c:v>Boursin Classique Fromage Frais A Tartiner Truffe Boite 1X150Gr 1P</c:v>
                </c:pt>
                <c:pt idx="44">
                  <c:v>Mini Babybel Rouge Filet St Paulin Ferme Sachet 1X40Gr 1P</c:v>
                </c:pt>
                <c:pt idx="45">
                  <c:v>Boursin Onctueux Fromage Frais A Tartiner Afh 1X210Gr 1P</c:v>
                </c:pt>
                <c:pt idx="46">
                  <c:v>Kiri Chevre Fromage Blanc Frais Carre 1X144Gr 8P</c:v>
                </c:pt>
                <c:pt idx="47">
                  <c:v>Boursin Classique Fromage Frais A Tartiner Ciboulette &amp; Echalote 1X160Gr 10P</c:v>
                </c:pt>
              </c:strCache>
            </c:strRef>
          </c:cat>
          <c:val>
            <c:numRef>
              <c:f>Sheet1!$C$2:$C$49</c:f>
              <c:numCache>
                <c:formatCode>General</c:formatCode>
                <c:ptCount val="48"/>
                <c:pt idx="0">
                  <c:v>0.11940511162381386</c:v>
                </c:pt>
                <c:pt idx="1">
                  <c:v>0.23452758599749657</c:v>
                </c:pt>
                <c:pt idx="2">
                  <c:v>0.30958506885009013</c:v>
                </c:pt>
                <c:pt idx="3">
                  <c:v>0.37201252753884245</c:v>
                </c:pt>
                <c:pt idx="4">
                  <c:v>0.43379368122074863</c:v>
                </c:pt>
                <c:pt idx="5">
                  <c:v>0.49323719508205183</c:v>
                </c:pt>
                <c:pt idx="6">
                  <c:v>0.54517135372416248</c:v>
                </c:pt>
                <c:pt idx="7">
                  <c:v>0.58399474898437664</c:v>
                </c:pt>
                <c:pt idx="8">
                  <c:v>0.62263985771871921</c:v>
                </c:pt>
                <c:pt idx="9">
                  <c:v>0.6587281964032099</c:v>
                </c:pt>
                <c:pt idx="10">
                  <c:v>0.69005711545546988</c:v>
                </c:pt>
                <c:pt idx="11">
                  <c:v>0.72050091319522713</c:v>
                </c:pt>
                <c:pt idx="12">
                  <c:v>0.74537839107790393</c:v>
                </c:pt>
                <c:pt idx="13">
                  <c:v>0.77003559419200573</c:v>
                </c:pt>
                <c:pt idx="14">
                  <c:v>0.79459825835777764</c:v>
                </c:pt>
                <c:pt idx="15">
                  <c:v>0.81836657953016267</c:v>
                </c:pt>
                <c:pt idx="16">
                  <c:v>0.83904951698968888</c:v>
                </c:pt>
                <c:pt idx="17">
                  <c:v>0.85903542999966409</c:v>
                </c:pt>
                <c:pt idx="18">
                  <c:v>0.87548030184052705</c:v>
                </c:pt>
                <c:pt idx="19">
                  <c:v>0.89110571622507773</c:v>
                </c:pt>
                <c:pt idx="20">
                  <c:v>0.90305565512139319</c:v>
                </c:pt>
                <c:pt idx="21">
                  <c:v>0.91384987090740932</c:v>
                </c:pt>
                <c:pt idx="22">
                  <c:v>0.9242070361765008</c:v>
                </c:pt>
                <c:pt idx="23">
                  <c:v>0.93260278805201646</c:v>
                </c:pt>
                <c:pt idx="24">
                  <c:v>0.94069095315894313</c:v>
                </c:pt>
                <c:pt idx="25">
                  <c:v>0.94663850271496164</c:v>
                </c:pt>
                <c:pt idx="26">
                  <c:v>0.95218327253158908</c:v>
                </c:pt>
                <c:pt idx="27">
                  <c:v>0.95757653804257403</c:v>
                </c:pt>
                <c:pt idx="28">
                  <c:v>0.96273419195801524</c:v>
                </c:pt>
                <c:pt idx="29">
                  <c:v>0.96758854295205909</c:v>
                </c:pt>
                <c:pt idx="30">
                  <c:v>0.97242219413486364</c:v>
                </c:pt>
                <c:pt idx="31">
                  <c:v>0.97719842214462516</c:v>
                </c:pt>
                <c:pt idx="32">
                  <c:v>0.98050512706201409</c:v>
                </c:pt>
                <c:pt idx="33">
                  <c:v>0.98367131525129037</c:v>
                </c:pt>
                <c:pt idx="34">
                  <c:v>0.98665042031244654</c:v>
                </c:pt>
                <c:pt idx="35">
                  <c:v>0.98903550946339425</c:v>
                </c:pt>
                <c:pt idx="36">
                  <c:v>0.99114505894688165</c:v>
                </c:pt>
                <c:pt idx="37">
                  <c:v>0.99315052075394772</c:v>
                </c:pt>
                <c:pt idx="38">
                  <c:v>0.99503923954975892</c:v>
                </c:pt>
                <c:pt idx="39">
                  <c:v>0.99659878883540454</c:v>
                </c:pt>
                <c:pt idx="40">
                  <c:v>0.99781870425133223</c:v>
                </c:pt>
                <c:pt idx="41">
                  <c:v>0.99847037224244894</c:v>
                </c:pt>
                <c:pt idx="42">
                  <c:v>0.99911873742008195</c:v>
                </c:pt>
                <c:pt idx="43">
                  <c:v>0.99953221042689044</c:v>
                </c:pt>
                <c:pt idx="44">
                  <c:v>0.99974627198198129</c:v>
                </c:pt>
                <c:pt idx="45">
                  <c:v>0.99984336161795206</c:v>
                </c:pt>
                <c:pt idx="46">
                  <c:v>0.99991056242695175</c:v>
                </c:pt>
                <c:pt idx="47">
                  <c:v>0.999987835182020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9</c:f>
              <c:strCache>
                <c:ptCount val="48"/>
                <c:pt idx="0">
                  <c:v>La Vache Qui Rit Nature Fromage Fondu Boite Ronde 1X512Gr 32P</c:v>
                </c:pt>
                <c:pt idx="1">
                  <c:v>Mini Babybel Rouge Filet St Paulin Ferme 1X264Gr 1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432Gr 24P</c:v>
                </c:pt>
                <c:pt idx="6">
                  <c:v>Kiri Creme Fromage Blanc Frais Carre 1X216Gr 12P</c:v>
                </c:pt>
                <c:pt idx="7">
                  <c:v>Boursin Classique Fromage Frais A Tartiner Afh 1X160Gr 10P</c:v>
                </c:pt>
                <c:pt idx="8">
                  <c:v>Kiri Creme Fromage Blanc Frais Carre 1X144Gr 8P</c:v>
                </c:pt>
                <c:pt idx="9">
                  <c:v>Boursin Classique Fromage Frais A Tartiner Afh Boite 1X150Gr 1P</c:v>
                </c:pt>
                <c:pt idx="10">
                  <c:v>Boursin Classique Fromage Frais A Tartiner Afh Boite 1X250Gr 1P</c:v>
                </c:pt>
                <c:pt idx="11">
                  <c:v>Kiri Gouter Fromage Blanc Dips Boite 1X175Gr 5P</c:v>
                </c:pt>
                <c:pt idx="12">
                  <c:v>Mini Babybel Rouge Filet Soft Cheese Enfant 352G</c:v>
                </c:pt>
                <c:pt idx="13">
                  <c:v>Boursin Salade &amp; Aperitif Fromage Frais Des Afh 1X120Gr 1P</c:v>
                </c:pt>
                <c:pt idx="14">
                  <c:v>Mini Babybel Rouge Filet St Paulin Ferme 1X440Gr 20P</c:v>
                </c:pt>
                <c:pt idx="15">
                  <c:v>Kiri Gouter Fromage Blanc Dips Boite 1X280Gr 8P</c:v>
                </c:pt>
                <c:pt idx="16">
                  <c:v>La Vache Qui Rit Nature Fromage Fondu Boite Ronde 1X128Gr 8P</c:v>
                </c:pt>
                <c:pt idx="17">
                  <c:v>La Vache Qui Rit Pik Et Croq' Fromage Fondu Dips Boite 1X175Gr 5P</c:v>
                </c:pt>
                <c:pt idx="18">
                  <c:v>Boursin Classique Fromage Frais A Tartiner Afh Boite 1X96Gr 6P</c:v>
                </c:pt>
                <c:pt idx="19">
                  <c:v>La Vache Qui Rit Nature Fromage Fondu Boite Ronde 1X512Gr 24+8P</c:v>
                </c:pt>
                <c:pt idx="20">
                  <c:v>Kiri Creme Fromage Blanc Frais Carre 1X432Gr 18+6P</c:v>
                </c:pt>
                <c:pt idx="21">
                  <c:v>Boursin Onctueux Fromage Frais A Tartiner Afh 1X125Gr 1P</c:v>
                </c:pt>
                <c:pt idx="22">
                  <c:v>Boursin Classique Fromage Frais A Tartiner Ciboulette &amp; Echalote Boite 1X150Gr 1P</c:v>
                </c:pt>
                <c:pt idx="23">
                  <c:v>Mini Babybel Aros St Paulin Ferme Assortis Filet 1X180Gr 9P</c:v>
                </c:pt>
                <c:pt idx="24">
                  <c:v>Mini Babybel Rouge Filet St Paulin Ferme 1X396Gr 12+6P</c:v>
                </c:pt>
                <c:pt idx="25">
                  <c:v>Boursin Salade &amp; Aperitif Fromage Frais Des Figue Noix 1X120Gr 1P</c:v>
                </c:pt>
                <c:pt idx="26">
                  <c:v>Boursin Salade &amp; Aperitif Fromage Frais Des Ciboulette Echalote 1X120Gr 1P</c:v>
                </c:pt>
                <c:pt idx="27">
                  <c:v>Babybel Mini Rolls St Paulin Ferme Sachet 1X85Gr 5P</c:v>
                </c:pt>
                <c:pt idx="28">
                  <c:v>Kiri Bio Fromage Blanc Frais Carre 1X144Gr 8P</c:v>
                </c:pt>
                <c:pt idx="29">
                  <c:v>Kiri Delicieusement Fouette Fromage Frais A Tartiner 1X160Gr 10P</c:v>
                </c:pt>
                <c:pt idx="30">
                  <c:v>Kiri Delicieusement Fouette Fromage Frais A Tartiner 1X210Gr 1P</c:v>
                </c:pt>
                <c:pt idx="31">
                  <c:v>Kiri Delicieusement Fouette Fromage Frais A Tartiner 1X125Gr 1P</c:v>
                </c:pt>
                <c:pt idx="32">
                  <c:v>Mini Babybel Aros Soft Cheese Enfant 180G</c:v>
                </c:pt>
                <c:pt idx="33">
                  <c:v>La Vache Qui Rit Allegee Fromage Fondu Boite Ronde Allege 1X267Gr 16P</c:v>
                </c:pt>
                <c:pt idx="34">
                  <c:v>Boursin Salade &amp; Aperitif Fromage Frais Des Citron Romarin 1X120Gr 1P</c:v>
                </c:pt>
                <c:pt idx="35">
                  <c:v>Boursin Classique Fromage Frais A Tartiner Figue Et 3 Noix Boite 1X150Gr 1P</c:v>
                </c:pt>
                <c:pt idx="36">
                  <c:v>Boursin Salade &amp; Aperitif Soft Cheese Salade 120G</c:v>
                </c:pt>
                <c:pt idx="37">
                  <c:v>Boursin Salade &amp; Aperitif Fromage Frais Des Noisette Et 3 Noix 1X120Gr 1P</c:v>
                </c:pt>
                <c:pt idx="38">
                  <c:v>Mini Babybel Aros Soft Cheese Enfant 110G</c:v>
                </c:pt>
                <c:pt idx="39">
                  <c:v>La Vache Qui Rit Bio Fromage Fondu Boite Ronde 1X128Gr 8P</c:v>
                </c:pt>
                <c:pt idx="40">
                  <c:v>Boursin Classique Fromage Frais A Tartiner 3 Noix Boite 1X150Gr 1P</c:v>
                </c:pt>
                <c:pt idx="41">
                  <c:v>Boursin Classique Fromage Frais A Tartiner 3 Noix 1X160Gr 10P</c:v>
                </c:pt>
                <c:pt idx="42">
                  <c:v>Boursin Classique Fromage Frais A Tartiner Afh Boite 1X320Gr 16+4P</c:v>
                </c:pt>
                <c:pt idx="43">
                  <c:v>Boursin Classique Fromage Frais A Tartiner Truffe Boite 1X150Gr 1P</c:v>
                </c:pt>
                <c:pt idx="44">
                  <c:v>Mini Babybel Rouge Filet St Paulin Ferme Sachet 1X40Gr 1P</c:v>
                </c:pt>
                <c:pt idx="45">
                  <c:v>Boursin Onctueux Fromage Frais A Tartiner Afh 1X210Gr 1P</c:v>
                </c:pt>
                <c:pt idx="46">
                  <c:v>Kiri Chevre Fromage Blanc Frais Carre 1X144Gr 8P</c:v>
                </c:pt>
                <c:pt idx="47">
                  <c:v>Boursin Classique Fromage Frais A Tartiner Ciboulette &amp; Echalote 1X160Gr 10P</c:v>
                </c:pt>
              </c:strCache>
            </c:strRef>
          </c:cat>
          <c:val>
            <c:numRef>
              <c:f>Sheet1!$D$2:$D$49</c:f>
              <c:numCache>
                <c:formatCode>General</c:formatCode>
                <c:ptCount val="48"/>
                <c:pt idx="0">
                  <c:v>36882.898989898989</c:v>
                </c:pt>
                <c:pt idx="1">
                  <c:v>35204.44</c:v>
                </c:pt>
                <c:pt idx="2">
                  <c:v>23908.927083333332</c:v>
                </c:pt>
                <c:pt idx="3">
                  <c:v>19283.141414141413</c:v>
                </c:pt>
                <c:pt idx="4">
                  <c:v>19083.505050505049</c:v>
                </c:pt>
                <c:pt idx="5">
                  <c:v>21137</c:v>
                </c:pt>
                <c:pt idx="6">
                  <c:v>16372.639175257733</c:v>
                </c:pt>
                <c:pt idx="7">
                  <c:v>12114.479591836734</c:v>
                </c:pt>
                <c:pt idx="8">
                  <c:v>11937.040404040405</c:v>
                </c:pt>
                <c:pt idx="9">
                  <c:v>11147.282828282829</c:v>
                </c:pt>
                <c:pt idx="10">
                  <c:v>10084.61052631579</c:v>
                </c:pt>
                <c:pt idx="11">
                  <c:v>9403.7474747474753</c:v>
                </c:pt>
                <c:pt idx="12">
                  <c:v>8093.1170212765956</c:v>
                </c:pt>
                <c:pt idx="13">
                  <c:v>7616.333333333333</c:v>
                </c:pt>
                <c:pt idx="14">
                  <c:v>7824.229166666667</c:v>
                </c:pt>
                <c:pt idx="15">
                  <c:v>9956.6438356164381</c:v>
                </c:pt>
                <c:pt idx="16">
                  <c:v>9583.0909090909099</c:v>
                </c:pt>
                <c:pt idx="17">
                  <c:v>6300.7113402061859</c:v>
                </c:pt>
                <c:pt idx="18">
                  <c:v>5526.197802197802</c:v>
                </c:pt>
                <c:pt idx="19">
                  <c:v>6125.9615384615381</c:v>
                </c:pt>
                <c:pt idx="20">
                  <c:v>5146.8873239436616</c:v>
                </c:pt>
                <c:pt idx="21">
                  <c:v>3883.3764705882354</c:v>
                </c:pt>
                <c:pt idx="22">
                  <c:v>3558.674157303371</c:v>
                </c:pt>
                <c:pt idx="23">
                  <c:v>3831.9701492537315</c:v>
                </c:pt>
                <c:pt idx="24">
                  <c:v>3053.5308641975307</c:v>
                </c:pt>
                <c:pt idx="25">
                  <c:v>1998.6373626373627</c:v>
                </c:pt>
                <c:pt idx="26">
                  <c:v>1784.8315789473684</c:v>
                </c:pt>
                <c:pt idx="27">
                  <c:v>3665.0222222222224</c:v>
                </c:pt>
                <c:pt idx="28">
                  <c:v>3755.2619047619046</c:v>
                </c:pt>
                <c:pt idx="29">
                  <c:v>2356.2857142857142</c:v>
                </c:pt>
                <c:pt idx="30">
                  <c:v>2737.2777777777778</c:v>
                </c:pt>
                <c:pt idx="31">
                  <c:v>2355.7580645161293</c:v>
                </c:pt>
                <c:pt idx="32">
                  <c:v>1532.1060606060605</c:v>
                </c:pt>
                <c:pt idx="33">
                  <c:v>3586</c:v>
                </c:pt>
                <c:pt idx="34">
                  <c:v>1265.2916666666667</c:v>
                </c:pt>
                <c:pt idx="35">
                  <c:v>1122.0923076923077</c:v>
                </c:pt>
                <c:pt idx="36">
                  <c:v>908.5915492957746</c:v>
                </c:pt>
                <c:pt idx="37">
                  <c:v>776.29113924050637</c:v>
                </c:pt>
                <c:pt idx="38">
                  <c:v>1013.2807017543861</c:v>
                </c:pt>
                <c:pt idx="39">
                  <c:v>1907.64</c:v>
                </c:pt>
                <c:pt idx="40">
                  <c:v>611.55737704918033</c:v>
                </c:pt>
                <c:pt idx="41">
                  <c:v>486.04878048780489</c:v>
                </c:pt>
                <c:pt idx="42">
                  <c:v>535.8648648648649</c:v>
                </c:pt>
                <c:pt idx="43">
                  <c:v>247.92156862745097</c:v>
                </c:pt>
                <c:pt idx="44">
                  <c:v>1091</c:v>
                </c:pt>
                <c:pt idx="45">
                  <c:v>989.66666666666663</c:v>
                </c:pt>
                <c:pt idx="46">
                  <c:v>685</c:v>
                </c:pt>
                <c:pt idx="47">
                  <c:v>101.6666666666666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7</c:f>
              <c:strCache>
                <c:ptCount val="26"/>
                <c:pt idx="0">
                  <c:v>Mini Babybel Rouge Filet St Paulin Ferme 1X132Gr 6P</c:v>
                </c:pt>
                <c:pt idx="1">
                  <c:v>La Vache Qui Rit Nature Fromage Fondu Boite Ronde 1X192Gr 12P</c:v>
                </c:pt>
                <c:pt idx="2">
                  <c:v>Kiri Creme Fromage Blanc Frais Carre 1X144Gr 8P</c:v>
                </c:pt>
                <c:pt idx="3">
                  <c:v>La Vache Qui Rit Nature Fromage Fondu Boite Ronde 1X384Gr 24P</c:v>
                </c:pt>
                <c:pt idx="4">
                  <c:v>Boursin Classique Fromage Frais A Tartiner Afh Boite 1X150Gr 1P</c:v>
                </c:pt>
                <c:pt idx="5">
                  <c:v>Kiri Gouter Fromage Blanc Dips Boite 1X175Gr 5P</c:v>
                </c:pt>
                <c:pt idx="6">
                  <c:v>Boursin Classique Fromage Frais A Tartiner Afh 1X160Gr 10P</c:v>
                </c:pt>
                <c:pt idx="7">
                  <c:v>Boursin Salade &amp; Aperitif Fromage Frais Des Afh 1X120Gr 1P</c:v>
                </c:pt>
                <c:pt idx="8">
                  <c:v>La Vache Qui Rit Pik Et Croq' Fromage Fondu Dips Boite 1X175Gr 5P</c:v>
                </c:pt>
                <c:pt idx="9">
                  <c:v>Mini Babybel Rouge Filet St Paulin Ferme 1X264Gr 12P</c:v>
                </c:pt>
                <c:pt idx="10">
                  <c:v>Kiri Delicieusement Fouette Fromage Frais A Tartiner 1X125Gr 1P</c:v>
                </c:pt>
                <c:pt idx="11">
                  <c:v>La Vache Qui Rit Nature Fromage Fondu Boite Ronde 1X128Gr 8P</c:v>
                </c:pt>
                <c:pt idx="12">
                  <c:v>Kiri Delicieusement Fouette Fromage Frais A Tartiner 1X160Gr 10P</c:v>
                </c:pt>
                <c:pt idx="13">
                  <c:v>Boursin Classique Fromage Frais A Tartiner Ciboulette &amp; Echalote Boite 1X150Gr 1P</c:v>
                </c:pt>
                <c:pt idx="14">
                  <c:v>Boursin Classique Fromage Frais A Tartiner Afh Boite 1X96Gr 6P</c:v>
                </c:pt>
                <c:pt idx="15">
                  <c:v>Mini Babybel Aros St Paulin Ferme Raclette Filet 1X132Gr 6P</c:v>
                </c:pt>
                <c:pt idx="16">
                  <c:v>Kiri Creme Fromage Blanc Frais Carre 1X216Gr 12P</c:v>
                </c:pt>
                <c:pt idx="17">
                  <c:v>Babybel Mini Rolls St Paulin Ferme Sachet 1X85Gr 5P</c:v>
                </c:pt>
                <c:pt idx="18">
                  <c:v>La Vache Qui Rit Bio Fromage Fondu Boite Ronde 1X128Gr 8P</c:v>
                </c:pt>
                <c:pt idx="19">
                  <c:v>Mini Babybel Rouge Filet St Paulin Ferme Sachet 1X40Gr 1P</c:v>
                </c:pt>
                <c:pt idx="20">
                  <c:v>La Vache Qui Rit Pik Et Croq' Fromage Fondu Dips Boite 1X35Gr 1P</c:v>
                </c:pt>
                <c:pt idx="21">
                  <c:v>Boursin Classique Fromage Frais A Tartiner Afh Boite 1X80Gr 1P</c:v>
                </c:pt>
                <c:pt idx="22">
                  <c:v>Kiri Gouter Fromage Blanc Dips Boite 1X280Gr 8P</c:v>
                </c:pt>
                <c:pt idx="23">
                  <c:v>Mini Babybel Aros Soft Cheese Enfant 180G</c:v>
                </c:pt>
                <c:pt idx="24">
                  <c:v>Mini Babybel Bio St Paulin Ferme Filet 1X100Gr 5P</c:v>
                </c:pt>
                <c:pt idx="25">
                  <c:v>Boursin Classique Fromage Frais A Tartiner Truffe Boite 1X150Gr 1P</c:v>
                </c:pt>
              </c:strCache>
            </c:strRef>
          </c:cat>
          <c:val>
            <c:numRef>
              <c:f>Sheet1!$B$2:$B$27</c:f>
              <c:numCache>
                <c:formatCode>General</c:formatCode>
                <c:ptCount val="26"/>
                <c:pt idx="0">
                  <c:v>0.96</c:v>
                </c:pt>
                <c:pt idx="1">
                  <c:v>0.91</c:v>
                </c:pt>
                <c:pt idx="2">
                  <c:v>0.96</c:v>
                </c:pt>
                <c:pt idx="3">
                  <c:v>0.47</c:v>
                </c:pt>
                <c:pt idx="4">
                  <c:v>0.83</c:v>
                </c:pt>
                <c:pt idx="5">
                  <c:v>0.71</c:v>
                </c:pt>
                <c:pt idx="6">
                  <c:v>0.53</c:v>
                </c:pt>
                <c:pt idx="7">
                  <c:v>0.79</c:v>
                </c:pt>
                <c:pt idx="8">
                  <c:v>0.51</c:v>
                </c:pt>
                <c:pt idx="9">
                  <c:v>0.2</c:v>
                </c:pt>
                <c:pt idx="10">
                  <c:v>0.56000000000000005</c:v>
                </c:pt>
                <c:pt idx="11">
                  <c:v>0.09</c:v>
                </c:pt>
                <c:pt idx="12">
                  <c:v>0.27</c:v>
                </c:pt>
                <c:pt idx="13">
                  <c:v>0.08</c:v>
                </c:pt>
                <c:pt idx="14">
                  <c:v>0.12</c:v>
                </c:pt>
                <c:pt idx="15">
                  <c:v>0.13</c:v>
                </c:pt>
                <c:pt idx="16">
                  <c:v>0.06</c:v>
                </c:pt>
                <c:pt idx="17">
                  <c:v>0.17</c:v>
                </c:pt>
                <c:pt idx="18">
                  <c:v>0.08</c:v>
                </c:pt>
                <c:pt idx="19">
                  <c:v>0.06</c:v>
                </c:pt>
                <c:pt idx="20">
                  <c:v>0.05</c:v>
                </c:pt>
                <c:pt idx="21">
                  <c:v>0.11</c:v>
                </c:pt>
                <c:pt idx="22">
                  <c:v>0.02</c:v>
                </c:pt>
                <c:pt idx="23">
                  <c:v>0.05</c:v>
                </c:pt>
                <c:pt idx="24">
                  <c:v>0.06</c:v>
                </c:pt>
                <c:pt idx="25">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7</c:f>
              <c:strCache>
                <c:ptCount val="26"/>
                <c:pt idx="0">
                  <c:v>Mini Babybel Rouge Filet St Paulin Ferme 1X132Gr 6P</c:v>
                </c:pt>
                <c:pt idx="1">
                  <c:v>La Vache Qui Rit Nature Fromage Fondu Boite Ronde 1X192Gr 12P</c:v>
                </c:pt>
                <c:pt idx="2">
                  <c:v>Kiri Creme Fromage Blanc Frais Carre 1X144Gr 8P</c:v>
                </c:pt>
                <c:pt idx="3">
                  <c:v>La Vache Qui Rit Nature Fromage Fondu Boite Ronde 1X384Gr 24P</c:v>
                </c:pt>
                <c:pt idx="4">
                  <c:v>Boursin Classique Fromage Frais A Tartiner Afh Boite 1X150Gr 1P</c:v>
                </c:pt>
                <c:pt idx="5">
                  <c:v>Kiri Gouter Fromage Blanc Dips Boite 1X175Gr 5P</c:v>
                </c:pt>
                <c:pt idx="6">
                  <c:v>Boursin Classique Fromage Frais A Tartiner Afh 1X160Gr 10P</c:v>
                </c:pt>
                <c:pt idx="7">
                  <c:v>Boursin Salade &amp; Aperitif Fromage Frais Des Afh 1X120Gr 1P</c:v>
                </c:pt>
                <c:pt idx="8">
                  <c:v>La Vache Qui Rit Pik Et Croq' Fromage Fondu Dips Boite 1X175Gr 5P</c:v>
                </c:pt>
                <c:pt idx="9">
                  <c:v>Mini Babybel Rouge Filet St Paulin Ferme 1X264Gr 12P</c:v>
                </c:pt>
                <c:pt idx="10">
                  <c:v>Kiri Delicieusement Fouette Fromage Frais A Tartiner 1X125Gr 1P</c:v>
                </c:pt>
                <c:pt idx="11">
                  <c:v>La Vache Qui Rit Nature Fromage Fondu Boite Ronde 1X128Gr 8P</c:v>
                </c:pt>
                <c:pt idx="12">
                  <c:v>Kiri Delicieusement Fouette Fromage Frais A Tartiner 1X160Gr 10P</c:v>
                </c:pt>
                <c:pt idx="13">
                  <c:v>Boursin Classique Fromage Frais A Tartiner Ciboulette &amp; Echalote Boite 1X150Gr 1P</c:v>
                </c:pt>
                <c:pt idx="14">
                  <c:v>Boursin Classique Fromage Frais A Tartiner Afh Boite 1X96Gr 6P</c:v>
                </c:pt>
                <c:pt idx="15">
                  <c:v>Mini Babybel Aros St Paulin Ferme Raclette Filet 1X132Gr 6P</c:v>
                </c:pt>
                <c:pt idx="16">
                  <c:v>Kiri Creme Fromage Blanc Frais Carre 1X216Gr 12P</c:v>
                </c:pt>
                <c:pt idx="17">
                  <c:v>Babybel Mini Rolls St Paulin Ferme Sachet 1X85Gr 5P</c:v>
                </c:pt>
                <c:pt idx="18">
                  <c:v>La Vache Qui Rit Bio Fromage Fondu Boite Ronde 1X128Gr 8P</c:v>
                </c:pt>
                <c:pt idx="19">
                  <c:v>Mini Babybel Rouge Filet St Paulin Ferme Sachet 1X40Gr 1P</c:v>
                </c:pt>
                <c:pt idx="20">
                  <c:v>La Vache Qui Rit Pik Et Croq' Fromage Fondu Dips Boite 1X35Gr 1P</c:v>
                </c:pt>
                <c:pt idx="21">
                  <c:v>Boursin Classique Fromage Frais A Tartiner Afh Boite 1X80Gr 1P</c:v>
                </c:pt>
                <c:pt idx="22">
                  <c:v>Kiri Gouter Fromage Blanc Dips Boite 1X280Gr 8P</c:v>
                </c:pt>
                <c:pt idx="23">
                  <c:v>Mini Babybel Aros Soft Cheese Enfant 180G</c:v>
                </c:pt>
                <c:pt idx="24">
                  <c:v>Mini Babybel Bio St Paulin Ferme Filet 1X100Gr 5P</c:v>
                </c:pt>
                <c:pt idx="25">
                  <c:v>Boursin Classique Fromage Frais A Tartiner Truffe Boite 1X150Gr 1P</c:v>
                </c:pt>
              </c:strCache>
            </c:strRef>
          </c:cat>
          <c:val>
            <c:numRef>
              <c:f>Sheet1!$C$2:$C$27</c:f>
              <c:numCache>
                <c:formatCode>General</c:formatCode>
                <c:ptCount val="26"/>
                <c:pt idx="0">
                  <c:v>0.21338262325414978</c:v>
                </c:pt>
                <c:pt idx="1">
                  <c:v>0.39919580049231895</c:v>
                </c:pt>
                <c:pt idx="2">
                  <c:v>0.55733716054651339</c:v>
                </c:pt>
                <c:pt idx="3">
                  <c:v>0.64590984668695695</c:v>
                </c:pt>
                <c:pt idx="4">
                  <c:v>0.73448032337773161</c:v>
                </c:pt>
                <c:pt idx="5">
                  <c:v>0.79130562808427451</c:v>
                </c:pt>
                <c:pt idx="6">
                  <c:v>0.83811516267642283</c:v>
                </c:pt>
                <c:pt idx="7">
                  <c:v>0.87731983846110884</c:v>
                </c:pt>
                <c:pt idx="8">
                  <c:v>0.90697138950147171</c:v>
                </c:pt>
                <c:pt idx="9">
                  <c:v>0.93572905076819879</c:v>
                </c:pt>
                <c:pt idx="10">
                  <c:v>0.95948779868244483</c:v>
                </c:pt>
                <c:pt idx="11">
                  <c:v>0.96803354828377308</c:v>
                </c:pt>
                <c:pt idx="12">
                  <c:v>0.97563365342679609</c:v>
                </c:pt>
                <c:pt idx="13">
                  <c:v>0.97884639410449192</c:v>
                </c:pt>
                <c:pt idx="14">
                  <c:v>0.98176675094266497</c:v>
                </c:pt>
                <c:pt idx="15">
                  <c:v>0.98467077124389191</c:v>
                </c:pt>
                <c:pt idx="16">
                  <c:v>0.98740379353134722</c:v>
                </c:pt>
                <c:pt idx="17">
                  <c:v>0.98970510274409618</c:v>
                </c:pt>
                <c:pt idx="18">
                  <c:v>0.99161112132516616</c:v>
                </c:pt>
                <c:pt idx="19">
                  <c:v>0.99320621008009846</c:v>
                </c:pt>
                <c:pt idx="20">
                  <c:v>0.99478034253968595</c:v>
                </c:pt>
                <c:pt idx="21">
                  <c:v>0.99619057400565048</c:v>
                </c:pt>
                <c:pt idx="22">
                  <c:v>0.99715295671902338</c:v>
                </c:pt>
                <c:pt idx="23">
                  <c:v>0.9980751006672135</c:v>
                </c:pt>
                <c:pt idx="24">
                  <c:v>0.99882517535330761</c:v>
                </c:pt>
                <c:pt idx="25">
                  <c:v>0.9994369920525424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7</c:f>
              <c:strCache>
                <c:ptCount val="26"/>
                <c:pt idx="0">
                  <c:v>Mini Babybel Rouge Filet St Paulin Ferme 1X132Gr 6P</c:v>
                </c:pt>
                <c:pt idx="1">
                  <c:v>La Vache Qui Rit Nature Fromage Fondu Boite Ronde 1X192Gr 12P</c:v>
                </c:pt>
                <c:pt idx="2">
                  <c:v>Kiri Creme Fromage Blanc Frais Carre 1X144Gr 8P</c:v>
                </c:pt>
                <c:pt idx="3">
                  <c:v>La Vache Qui Rit Nature Fromage Fondu Boite Ronde 1X384Gr 24P</c:v>
                </c:pt>
                <c:pt idx="4">
                  <c:v>Boursin Classique Fromage Frais A Tartiner Afh Boite 1X150Gr 1P</c:v>
                </c:pt>
                <c:pt idx="5">
                  <c:v>Kiri Gouter Fromage Blanc Dips Boite 1X175Gr 5P</c:v>
                </c:pt>
                <c:pt idx="6">
                  <c:v>Boursin Classique Fromage Frais A Tartiner Afh 1X160Gr 10P</c:v>
                </c:pt>
                <c:pt idx="7">
                  <c:v>Boursin Salade &amp; Aperitif Fromage Frais Des Afh 1X120Gr 1P</c:v>
                </c:pt>
                <c:pt idx="8">
                  <c:v>La Vache Qui Rit Pik Et Croq' Fromage Fondu Dips Boite 1X175Gr 5P</c:v>
                </c:pt>
                <c:pt idx="9">
                  <c:v>Mini Babybel Rouge Filet St Paulin Ferme 1X264Gr 12P</c:v>
                </c:pt>
                <c:pt idx="10">
                  <c:v>Kiri Delicieusement Fouette Fromage Frais A Tartiner 1X125Gr 1P</c:v>
                </c:pt>
                <c:pt idx="11">
                  <c:v>La Vache Qui Rit Nature Fromage Fondu Boite Ronde 1X128Gr 8P</c:v>
                </c:pt>
                <c:pt idx="12">
                  <c:v>Kiri Delicieusement Fouette Fromage Frais A Tartiner 1X160Gr 10P</c:v>
                </c:pt>
                <c:pt idx="13">
                  <c:v>Boursin Classique Fromage Frais A Tartiner Ciboulette &amp; Echalote Boite 1X150Gr 1P</c:v>
                </c:pt>
                <c:pt idx="14">
                  <c:v>Boursin Classique Fromage Frais A Tartiner Afh Boite 1X96Gr 6P</c:v>
                </c:pt>
                <c:pt idx="15">
                  <c:v>Mini Babybel Aros St Paulin Ferme Raclette Filet 1X132Gr 6P</c:v>
                </c:pt>
                <c:pt idx="16">
                  <c:v>Kiri Creme Fromage Blanc Frais Carre 1X216Gr 12P</c:v>
                </c:pt>
                <c:pt idx="17">
                  <c:v>Babybel Mini Rolls St Paulin Ferme Sachet 1X85Gr 5P</c:v>
                </c:pt>
                <c:pt idx="18">
                  <c:v>La Vache Qui Rit Bio Fromage Fondu Boite Ronde 1X128Gr 8P</c:v>
                </c:pt>
                <c:pt idx="19">
                  <c:v>Mini Babybel Rouge Filet St Paulin Ferme Sachet 1X40Gr 1P</c:v>
                </c:pt>
                <c:pt idx="20">
                  <c:v>La Vache Qui Rit Pik Et Croq' Fromage Fondu Dips Boite 1X35Gr 1P</c:v>
                </c:pt>
                <c:pt idx="21">
                  <c:v>Boursin Classique Fromage Frais A Tartiner Afh Boite 1X80Gr 1P</c:v>
                </c:pt>
                <c:pt idx="22">
                  <c:v>Kiri Gouter Fromage Blanc Dips Boite 1X280Gr 8P</c:v>
                </c:pt>
                <c:pt idx="23">
                  <c:v>Mini Babybel Aros Soft Cheese Enfant 180G</c:v>
                </c:pt>
                <c:pt idx="24">
                  <c:v>Mini Babybel Bio St Paulin Ferme Filet 1X100Gr 5P</c:v>
                </c:pt>
                <c:pt idx="25">
                  <c:v>Boursin Classique Fromage Frais A Tartiner Truffe Boite 1X150Gr 1P</c:v>
                </c:pt>
              </c:strCache>
            </c:strRef>
          </c:cat>
          <c:val>
            <c:numRef>
              <c:f>Sheet1!$D$2:$D$27</c:f>
              <c:numCache>
                <c:formatCode>General</c:formatCode>
                <c:ptCount val="26"/>
                <c:pt idx="0">
                  <c:v>33198.4375</c:v>
                </c:pt>
                <c:pt idx="1">
                  <c:v>30497.54945054945</c:v>
                </c:pt>
                <c:pt idx="2">
                  <c:v>24603.90625</c:v>
                </c:pt>
                <c:pt idx="3">
                  <c:v>28146.978723404256</c:v>
                </c:pt>
                <c:pt idx="4">
                  <c:v>15938.253012048193</c:v>
                </c:pt>
                <c:pt idx="5">
                  <c:v>11954</c:v>
                </c:pt>
                <c:pt idx="6">
                  <c:v>13191.32075471698</c:v>
                </c:pt>
                <c:pt idx="7">
                  <c:v>7412.0886075949365</c:v>
                </c:pt>
                <c:pt idx="8">
                  <c:v>8683.745098039215</c:v>
                </c:pt>
                <c:pt idx="9">
                  <c:v>21476</c:v>
                </c:pt>
                <c:pt idx="10">
                  <c:v>6336.7321428571422</c:v>
                </c:pt>
                <c:pt idx="11">
                  <c:v>14182</c:v>
                </c:pt>
                <c:pt idx="12">
                  <c:v>4204.2222222222226</c:v>
                </c:pt>
                <c:pt idx="13">
                  <c:v>5998.125</c:v>
                </c:pt>
                <c:pt idx="14">
                  <c:v>3634.8333333333335</c:v>
                </c:pt>
                <c:pt idx="15">
                  <c:v>3336.4615384615386</c:v>
                </c:pt>
                <c:pt idx="16">
                  <c:v>6803.333333333333</c:v>
                </c:pt>
                <c:pt idx="17">
                  <c:v>2021.8823529411766</c:v>
                </c:pt>
                <c:pt idx="18">
                  <c:v>3558.5</c:v>
                </c:pt>
                <c:pt idx="19">
                  <c:v>3970.6666666666665</c:v>
                </c:pt>
                <c:pt idx="20">
                  <c:v>4702.2</c:v>
                </c:pt>
                <c:pt idx="21">
                  <c:v>1914.8181818181818</c:v>
                </c:pt>
                <c:pt idx="22">
                  <c:v>7187</c:v>
                </c:pt>
                <c:pt idx="23">
                  <c:v>2754.6</c:v>
                </c:pt>
                <c:pt idx="24">
                  <c:v>870.33333333333337</c:v>
                </c:pt>
                <c:pt idx="25">
                  <c:v>45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0</c:f>
              <c:strCache>
                <c:ptCount val="49"/>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Boursin Classique Fromage Frais A Tartiner Afh Boite 1X250Gr 1P</c:v>
                </c:pt>
                <c:pt idx="8">
                  <c:v>Boursin Classique Fromage Frais A Tartiner Afh 1X160Gr 10P</c:v>
                </c:pt>
                <c:pt idx="9">
                  <c:v>Kiri Gouter Fromage Blanc Dips Boite 1X280Gr 8P</c:v>
                </c:pt>
                <c:pt idx="10">
                  <c:v>Kiri Creme Fromage Blanc Frais Carre 1X144Gr 8P</c:v>
                </c:pt>
                <c:pt idx="11">
                  <c:v>Boursin Classique Fromage Frais A Tartiner Afh Boite 1X150Gr 1P</c:v>
                </c:pt>
                <c:pt idx="12">
                  <c:v>Mini Babybel Rouge Filet St Paulin Ferme 1X440Gr 20P</c:v>
                </c:pt>
                <c:pt idx="13">
                  <c:v>Kiri Gouter Fromage Blanc Dips Boite 1X175Gr 5P</c:v>
                </c:pt>
                <c:pt idx="14">
                  <c:v>La Vache Qui Rit Pik Et Croq' Fromage Fondu Dips Boite 1X175Gr 5P</c:v>
                </c:pt>
                <c:pt idx="15">
                  <c:v>La Vache Qui Rit Pik Et Croq' Fromage Fondu Dips Boite 1X280Gr 8P</c:v>
                </c:pt>
                <c:pt idx="16">
                  <c:v>Boursin Onctueux Fromage Frais A Tartiner Afh 1X125Gr 1P</c:v>
                </c:pt>
                <c:pt idx="17">
                  <c:v>Boursin Salade &amp; Aperitif Fromage Frais Des Afh 1X120Gr 1P</c:v>
                </c:pt>
                <c:pt idx="18">
                  <c:v>Boursin Classique Fromage Frais A Tartiner Afh Boite 1X96Gr 6P</c:v>
                </c:pt>
                <c:pt idx="19">
                  <c:v>Boursin Classique Fromage Frais A Tartiner Figue Et 3 Noix Boite 1X150Gr 1P</c:v>
                </c:pt>
                <c:pt idx="20">
                  <c:v>La Vache Qui Rit Allegee Fromage Fondu Boite Ronde Allege 1X267Gr 16P</c:v>
                </c:pt>
                <c:pt idx="21">
                  <c:v>Boursin Classique Fromage Frais A Tartiner Ciboulette &amp; Echalote Boite 1X150Gr 1P</c:v>
                </c:pt>
                <c:pt idx="22">
                  <c:v>Boursin Classique Fromage Frais A Tartiner Afh 1X256Gr 16P</c:v>
                </c:pt>
                <c:pt idx="23">
                  <c:v>Boursin Classique Fromage Frais A Tartiner Poivre Boite 1X150Gr 1P</c:v>
                </c:pt>
                <c:pt idx="24">
                  <c:v>Babybel Mini Rolls St Paulin Ferme Sachet 1X85Gr 5P</c:v>
                </c:pt>
                <c:pt idx="25">
                  <c:v>Mini Babybel Aros St Paulin Ferme Assortis Filet 1X180Gr 9P</c:v>
                </c:pt>
                <c:pt idx="26">
                  <c:v>Kiri Delicieusement Fouette Fromage Frais A Tartiner 1X125Gr 1P</c:v>
                </c:pt>
                <c:pt idx="27">
                  <c:v>Boursin Classique Fromage Frais A Tartiner Ciboulette &amp; Echalote 1X160Gr 10P</c:v>
                </c:pt>
                <c:pt idx="28">
                  <c:v>La Vache Qui Rit Aro Fromage Fondu Boite Ronde Jambon 1X133Gr 8P</c:v>
                </c:pt>
                <c:pt idx="29">
                  <c:v>Kiri Bio Fromage Blanc Frais Carre 1X144Gr 8P</c:v>
                </c:pt>
                <c:pt idx="30">
                  <c:v>Kiri Chevre Fromage Blanc Frais Carre 1X144Gr 8P</c:v>
                </c:pt>
                <c:pt idx="31">
                  <c:v>Mini Babybel Aros Soft Cheese Enfant 180G</c:v>
                </c:pt>
                <c:pt idx="32">
                  <c:v>Boursin Salade &amp; Aperitif Fromage Frais Des Ciboulette Echalote 1X120Gr 1P</c:v>
                </c:pt>
                <c:pt idx="33">
                  <c:v>Mini Babybel Rouge Filet St Paulin Ferme 1X396Gr 12+6P</c:v>
                </c:pt>
                <c:pt idx="34">
                  <c:v>Kiri Delicieusement Fouette Fromage Frais A Tartiner 1X160Gr 10P</c:v>
                </c:pt>
                <c:pt idx="35">
                  <c:v>Kiri Creme Fromage Blanc Frais Carre 1X432Gr 18+6P</c:v>
                </c:pt>
                <c:pt idx="36">
                  <c:v>Mini Babybel Aros St Paulin Ferme Raclette Filet 1X132Gr 6P</c:v>
                </c:pt>
                <c:pt idx="37">
                  <c:v>Boursin Salade &amp; Aperitif Fromage Frais Des Figue Noix 1X120Gr 1P</c:v>
                </c:pt>
                <c:pt idx="38">
                  <c:v>Boursin Salade &amp; Aperitif Fromage Frais Des Citron Romarin 1X120Gr 1P</c:v>
                </c:pt>
                <c:pt idx="39">
                  <c:v>Boursin Salade &amp; Aperitif Fromage Frais Des Noisette Et 3 Noix 1X120Gr 1P</c:v>
                </c:pt>
                <c:pt idx="40">
                  <c:v>Boursin Classique Fromage Frais A Tartiner Afh Boite 1X80Gr 1P</c:v>
                </c:pt>
                <c:pt idx="41">
                  <c:v>Mini Babybel Aros Soft Cheese Enfant 110G</c:v>
                </c:pt>
                <c:pt idx="42">
                  <c:v>Boursin Salade &amp; Aperitif Soft Cheese Salade 120G</c:v>
                </c:pt>
                <c:pt idx="43">
                  <c:v>Boursin Classique Fromage Frais A Tartiner Truffe Boite 1X150Gr 1P</c:v>
                </c:pt>
                <c:pt idx="44">
                  <c:v>La Vache Qui Rit Nature Fromage Fondu Boite Ronde 1X512Gr 24+8P</c:v>
                </c:pt>
                <c:pt idx="45">
                  <c:v>Mini Babybel Bio St Paulin Ferme Filet 1X100Gr 5P</c:v>
                </c:pt>
                <c:pt idx="46">
                  <c:v>Mini Babybel Rouge Filet St Paulin Ferme Sachet 1X40Gr 1P</c:v>
                </c:pt>
                <c:pt idx="47">
                  <c:v>Kiri Delicieusement Fouette Fromage Frais A Tartiner 1X210Gr 1P</c:v>
                </c:pt>
                <c:pt idx="48">
                  <c:v>La Vache Qui Rit Nature Fromage Fondu Boite Ronde 1X128Gr 8P</c:v>
                </c:pt>
              </c:strCache>
            </c:strRef>
          </c:cat>
          <c:val>
            <c:numRef>
              <c:f>Sheet1!$B$2:$B$50</c:f>
              <c:numCache>
                <c:formatCode>General</c:formatCode>
                <c:ptCount val="49"/>
                <c:pt idx="0">
                  <c:v>1</c:v>
                </c:pt>
                <c:pt idx="1">
                  <c:v>0.98</c:v>
                </c:pt>
                <c:pt idx="2">
                  <c:v>1</c:v>
                </c:pt>
                <c:pt idx="3">
                  <c:v>1</c:v>
                </c:pt>
                <c:pt idx="4">
                  <c:v>0.97</c:v>
                </c:pt>
                <c:pt idx="5">
                  <c:v>0.99</c:v>
                </c:pt>
                <c:pt idx="6">
                  <c:v>0.89</c:v>
                </c:pt>
                <c:pt idx="7">
                  <c:v>0.99</c:v>
                </c:pt>
                <c:pt idx="8">
                  <c:v>0.99</c:v>
                </c:pt>
                <c:pt idx="9">
                  <c:v>0.96</c:v>
                </c:pt>
                <c:pt idx="10">
                  <c:v>0.99</c:v>
                </c:pt>
                <c:pt idx="11">
                  <c:v>1</c:v>
                </c:pt>
                <c:pt idx="12">
                  <c:v>0.9</c:v>
                </c:pt>
                <c:pt idx="13">
                  <c:v>0.99</c:v>
                </c:pt>
                <c:pt idx="14">
                  <c:v>0.97</c:v>
                </c:pt>
                <c:pt idx="15">
                  <c:v>0.89</c:v>
                </c:pt>
                <c:pt idx="16">
                  <c:v>0.97</c:v>
                </c:pt>
                <c:pt idx="17">
                  <c:v>0.98</c:v>
                </c:pt>
                <c:pt idx="18">
                  <c:v>0.96</c:v>
                </c:pt>
                <c:pt idx="19">
                  <c:v>0.99</c:v>
                </c:pt>
                <c:pt idx="20">
                  <c:v>0.87</c:v>
                </c:pt>
                <c:pt idx="21">
                  <c:v>0.99</c:v>
                </c:pt>
                <c:pt idx="22">
                  <c:v>0.87</c:v>
                </c:pt>
                <c:pt idx="23">
                  <c:v>0.96</c:v>
                </c:pt>
                <c:pt idx="24">
                  <c:v>0.81</c:v>
                </c:pt>
                <c:pt idx="25">
                  <c:v>0.85</c:v>
                </c:pt>
                <c:pt idx="26">
                  <c:v>0.87</c:v>
                </c:pt>
                <c:pt idx="27">
                  <c:v>0.83</c:v>
                </c:pt>
                <c:pt idx="28">
                  <c:v>0.69</c:v>
                </c:pt>
                <c:pt idx="29">
                  <c:v>0.6</c:v>
                </c:pt>
                <c:pt idx="30">
                  <c:v>0.68</c:v>
                </c:pt>
                <c:pt idx="31">
                  <c:v>0.73</c:v>
                </c:pt>
                <c:pt idx="32">
                  <c:v>0.86</c:v>
                </c:pt>
                <c:pt idx="33">
                  <c:v>0.89</c:v>
                </c:pt>
                <c:pt idx="34">
                  <c:v>0.94</c:v>
                </c:pt>
                <c:pt idx="35">
                  <c:v>0.83</c:v>
                </c:pt>
                <c:pt idx="36">
                  <c:v>0.77</c:v>
                </c:pt>
                <c:pt idx="37">
                  <c:v>0.88</c:v>
                </c:pt>
                <c:pt idx="38">
                  <c:v>0.67</c:v>
                </c:pt>
                <c:pt idx="39">
                  <c:v>0.83</c:v>
                </c:pt>
                <c:pt idx="40">
                  <c:v>0.28999999999999998</c:v>
                </c:pt>
                <c:pt idx="41">
                  <c:v>0.59</c:v>
                </c:pt>
                <c:pt idx="42">
                  <c:v>0.4</c:v>
                </c:pt>
                <c:pt idx="43">
                  <c:v>0.7</c:v>
                </c:pt>
                <c:pt idx="44">
                  <c:v>0.25</c:v>
                </c:pt>
                <c:pt idx="45">
                  <c:v>0.31</c:v>
                </c:pt>
                <c:pt idx="46">
                  <c:v>0.09</c:v>
                </c:pt>
                <c:pt idx="47">
                  <c:v>0.38</c:v>
                </c:pt>
                <c:pt idx="48">
                  <c:v>0.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invertIfNegative val="1"/>
            <c:bubble3D val="0"/>
            <c:spPr>
              <a:solidFill>
                <a:srgbClr val="AEABAB"/>
              </a:solidFill>
            </c:spPr>
            <c:extLst>
              <c:ext xmlns:c16="http://schemas.microsoft.com/office/drawing/2014/chart" uri="{C3380CC4-5D6E-409C-BE32-E72D297353CC}">
                <c16:uniqueId val="{0000005B-7B2E-4F2C-BFF8-A99A7223CA4A}"/>
              </c:ext>
            </c:extLst>
          </c:dPt>
          <c:dPt>
            <c:idx val="45"/>
            <c:invertIfNegative val="1"/>
            <c:bubble3D val="0"/>
            <c:spPr>
              <a:solidFill>
                <a:srgbClr val="AEABAB"/>
              </a:solidFill>
            </c:spPr>
            <c:extLst>
              <c:ext xmlns:c16="http://schemas.microsoft.com/office/drawing/2014/chart" uri="{C3380CC4-5D6E-409C-BE32-E72D297353CC}">
                <c16:uniqueId val="{0000005D-7B2E-4F2C-BFF8-A99A7223CA4A}"/>
              </c:ext>
            </c:extLst>
          </c:dPt>
          <c:dPt>
            <c:idx val="46"/>
            <c:invertIfNegative val="1"/>
            <c:bubble3D val="0"/>
            <c:spPr>
              <a:solidFill>
                <a:srgbClr val="AEABAB"/>
              </a:solidFill>
            </c:spPr>
            <c:extLst>
              <c:ext xmlns:c16="http://schemas.microsoft.com/office/drawing/2014/chart" uri="{C3380CC4-5D6E-409C-BE32-E72D297353CC}">
                <c16:uniqueId val="{0000005F-7B2E-4F2C-BFF8-A99A7223CA4A}"/>
              </c:ext>
            </c:extLst>
          </c:dPt>
          <c:dPt>
            <c:idx val="47"/>
            <c:invertIfNegative val="1"/>
            <c:bubble3D val="0"/>
            <c:spPr>
              <a:solidFill>
                <a:srgbClr val="AEABAB"/>
              </a:solidFill>
            </c:spPr>
            <c:extLst>
              <c:ext xmlns:c16="http://schemas.microsoft.com/office/drawing/2014/chart" uri="{C3380CC4-5D6E-409C-BE32-E72D297353CC}">
                <c16:uniqueId val="{00000061-7B2E-4F2C-BFF8-A99A7223CA4A}"/>
              </c:ext>
            </c:extLst>
          </c:dPt>
          <c:dPt>
            <c:idx val="48"/>
            <c:invertIfNegative val="1"/>
            <c:bubble3D val="0"/>
            <c:spPr>
              <a:solidFill>
                <a:srgbClr val="AEABAB"/>
              </a:solidFill>
            </c:spPr>
            <c:extLst>
              <c:ext xmlns:c16="http://schemas.microsoft.com/office/drawing/2014/chart" uri="{C3380CC4-5D6E-409C-BE32-E72D297353CC}">
                <c16:uniqueId val="{00000063-7B2E-4F2C-BFF8-A99A7223CA4A}"/>
              </c:ext>
            </c:extLst>
          </c:dPt>
          <c:cat>
            <c:strRef>
              <c:f>Sheet1!$A$2:$A$50</c:f>
              <c:strCache>
                <c:ptCount val="49"/>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Boursin Classique Fromage Frais A Tartiner Afh Boite 1X250Gr 1P</c:v>
                </c:pt>
                <c:pt idx="8">
                  <c:v>Boursin Classique Fromage Frais A Tartiner Afh 1X160Gr 10P</c:v>
                </c:pt>
                <c:pt idx="9">
                  <c:v>Kiri Gouter Fromage Blanc Dips Boite 1X280Gr 8P</c:v>
                </c:pt>
                <c:pt idx="10">
                  <c:v>Kiri Creme Fromage Blanc Frais Carre 1X144Gr 8P</c:v>
                </c:pt>
                <c:pt idx="11">
                  <c:v>Boursin Classique Fromage Frais A Tartiner Afh Boite 1X150Gr 1P</c:v>
                </c:pt>
                <c:pt idx="12">
                  <c:v>Mini Babybel Rouge Filet St Paulin Ferme 1X440Gr 20P</c:v>
                </c:pt>
                <c:pt idx="13">
                  <c:v>Kiri Gouter Fromage Blanc Dips Boite 1X175Gr 5P</c:v>
                </c:pt>
                <c:pt idx="14">
                  <c:v>La Vache Qui Rit Pik Et Croq' Fromage Fondu Dips Boite 1X175Gr 5P</c:v>
                </c:pt>
                <c:pt idx="15">
                  <c:v>La Vache Qui Rit Pik Et Croq' Fromage Fondu Dips Boite 1X280Gr 8P</c:v>
                </c:pt>
                <c:pt idx="16">
                  <c:v>Boursin Onctueux Fromage Frais A Tartiner Afh 1X125Gr 1P</c:v>
                </c:pt>
                <c:pt idx="17">
                  <c:v>Boursin Salade &amp; Aperitif Fromage Frais Des Afh 1X120Gr 1P</c:v>
                </c:pt>
                <c:pt idx="18">
                  <c:v>Boursin Classique Fromage Frais A Tartiner Afh Boite 1X96Gr 6P</c:v>
                </c:pt>
                <c:pt idx="19">
                  <c:v>Boursin Classique Fromage Frais A Tartiner Figue Et 3 Noix Boite 1X150Gr 1P</c:v>
                </c:pt>
                <c:pt idx="20">
                  <c:v>La Vache Qui Rit Allegee Fromage Fondu Boite Ronde Allege 1X267Gr 16P</c:v>
                </c:pt>
                <c:pt idx="21">
                  <c:v>Boursin Classique Fromage Frais A Tartiner Ciboulette &amp; Echalote Boite 1X150Gr 1P</c:v>
                </c:pt>
                <c:pt idx="22">
                  <c:v>Boursin Classique Fromage Frais A Tartiner Afh 1X256Gr 16P</c:v>
                </c:pt>
                <c:pt idx="23">
                  <c:v>Boursin Classique Fromage Frais A Tartiner Poivre Boite 1X150Gr 1P</c:v>
                </c:pt>
                <c:pt idx="24">
                  <c:v>Babybel Mini Rolls St Paulin Ferme Sachet 1X85Gr 5P</c:v>
                </c:pt>
                <c:pt idx="25">
                  <c:v>Mini Babybel Aros St Paulin Ferme Assortis Filet 1X180Gr 9P</c:v>
                </c:pt>
                <c:pt idx="26">
                  <c:v>Kiri Delicieusement Fouette Fromage Frais A Tartiner 1X125Gr 1P</c:v>
                </c:pt>
                <c:pt idx="27">
                  <c:v>Boursin Classique Fromage Frais A Tartiner Ciboulette &amp; Echalote 1X160Gr 10P</c:v>
                </c:pt>
                <c:pt idx="28">
                  <c:v>La Vache Qui Rit Aro Fromage Fondu Boite Ronde Jambon 1X133Gr 8P</c:v>
                </c:pt>
                <c:pt idx="29">
                  <c:v>Kiri Bio Fromage Blanc Frais Carre 1X144Gr 8P</c:v>
                </c:pt>
                <c:pt idx="30">
                  <c:v>Kiri Chevre Fromage Blanc Frais Carre 1X144Gr 8P</c:v>
                </c:pt>
                <c:pt idx="31">
                  <c:v>Mini Babybel Aros Soft Cheese Enfant 180G</c:v>
                </c:pt>
                <c:pt idx="32">
                  <c:v>Boursin Salade &amp; Aperitif Fromage Frais Des Ciboulette Echalote 1X120Gr 1P</c:v>
                </c:pt>
                <c:pt idx="33">
                  <c:v>Mini Babybel Rouge Filet St Paulin Ferme 1X396Gr 12+6P</c:v>
                </c:pt>
                <c:pt idx="34">
                  <c:v>Kiri Delicieusement Fouette Fromage Frais A Tartiner 1X160Gr 10P</c:v>
                </c:pt>
                <c:pt idx="35">
                  <c:v>Kiri Creme Fromage Blanc Frais Carre 1X432Gr 18+6P</c:v>
                </c:pt>
                <c:pt idx="36">
                  <c:v>Mini Babybel Aros St Paulin Ferme Raclette Filet 1X132Gr 6P</c:v>
                </c:pt>
                <c:pt idx="37">
                  <c:v>Boursin Salade &amp; Aperitif Fromage Frais Des Figue Noix 1X120Gr 1P</c:v>
                </c:pt>
                <c:pt idx="38">
                  <c:v>Boursin Salade &amp; Aperitif Fromage Frais Des Citron Romarin 1X120Gr 1P</c:v>
                </c:pt>
                <c:pt idx="39">
                  <c:v>Boursin Salade &amp; Aperitif Fromage Frais Des Noisette Et 3 Noix 1X120Gr 1P</c:v>
                </c:pt>
                <c:pt idx="40">
                  <c:v>Boursin Classique Fromage Frais A Tartiner Afh Boite 1X80Gr 1P</c:v>
                </c:pt>
                <c:pt idx="41">
                  <c:v>Mini Babybel Aros Soft Cheese Enfant 110G</c:v>
                </c:pt>
                <c:pt idx="42">
                  <c:v>Boursin Salade &amp; Aperitif Soft Cheese Salade 120G</c:v>
                </c:pt>
                <c:pt idx="43">
                  <c:v>Boursin Classique Fromage Frais A Tartiner Truffe Boite 1X150Gr 1P</c:v>
                </c:pt>
                <c:pt idx="44">
                  <c:v>La Vache Qui Rit Nature Fromage Fondu Boite Ronde 1X512Gr 24+8P</c:v>
                </c:pt>
                <c:pt idx="45">
                  <c:v>Mini Babybel Bio St Paulin Ferme Filet 1X100Gr 5P</c:v>
                </c:pt>
                <c:pt idx="46">
                  <c:v>Mini Babybel Rouge Filet St Paulin Ferme Sachet 1X40Gr 1P</c:v>
                </c:pt>
                <c:pt idx="47">
                  <c:v>Kiri Delicieusement Fouette Fromage Frais A Tartiner 1X210Gr 1P</c:v>
                </c:pt>
                <c:pt idx="48">
                  <c:v>La Vache Qui Rit Nature Fromage Fondu Boite Ronde 1X128Gr 8P</c:v>
                </c:pt>
              </c:strCache>
            </c:strRef>
          </c:cat>
          <c:val>
            <c:numRef>
              <c:f>Sheet1!$C$2:$C$50</c:f>
              <c:numCache>
                <c:formatCode>General</c:formatCode>
                <c:ptCount val="49"/>
                <c:pt idx="0">
                  <c:v>0.13439107809616438</c:v>
                </c:pt>
                <c:pt idx="1">
                  <c:v>0.23746437636034917</c:v>
                </c:pt>
                <c:pt idx="2">
                  <c:v>0.31816247947868265</c:v>
                </c:pt>
                <c:pt idx="3">
                  <c:v>0.38595295443870836</c:v>
                </c:pt>
                <c:pt idx="4">
                  <c:v>0.45266429812083259</c:v>
                </c:pt>
                <c:pt idx="5">
                  <c:v>0.51180706812066179</c:v>
                </c:pt>
                <c:pt idx="6">
                  <c:v>0.56307087318188676</c:v>
                </c:pt>
                <c:pt idx="7">
                  <c:v>0.60017643517935848</c:v>
                </c:pt>
                <c:pt idx="8">
                  <c:v>0.63583146381312594</c:v>
                </c:pt>
                <c:pt idx="9">
                  <c:v>0.67103881789929232</c:v>
                </c:pt>
                <c:pt idx="10">
                  <c:v>0.70392417264236939</c:v>
                </c:pt>
                <c:pt idx="11">
                  <c:v>0.73589607852982697</c:v>
                </c:pt>
                <c:pt idx="12">
                  <c:v>0.76181793422436417</c:v>
                </c:pt>
                <c:pt idx="13">
                  <c:v>0.78758902998153935</c:v>
                </c:pt>
                <c:pt idx="14">
                  <c:v>0.80509039161366369</c:v>
                </c:pt>
                <c:pt idx="15">
                  <c:v>0.8222769530734797</c:v>
                </c:pt>
                <c:pt idx="16">
                  <c:v>0.83763758071462346</c:v>
                </c:pt>
                <c:pt idx="17">
                  <c:v>0.85227500333301587</c:v>
                </c:pt>
                <c:pt idx="18">
                  <c:v>0.86640720344760846</c:v>
                </c:pt>
                <c:pt idx="19">
                  <c:v>0.87950218376108458</c:v>
                </c:pt>
                <c:pt idx="20">
                  <c:v>0.89129796184381338</c:v>
                </c:pt>
                <c:pt idx="21">
                  <c:v>0.90233140800553158</c:v>
                </c:pt>
                <c:pt idx="22">
                  <c:v>0.9119382217692249</c:v>
                </c:pt>
                <c:pt idx="23">
                  <c:v>0.92095797141026858</c:v>
                </c:pt>
                <c:pt idx="24">
                  <c:v>0.92982869255059775</c:v>
                </c:pt>
                <c:pt idx="25">
                  <c:v>0.93777750400055615</c:v>
                </c:pt>
                <c:pt idx="26">
                  <c:v>0.94469727088635191</c:v>
                </c:pt>
                <c:pt idx="27">
                  <c:v>0.95115210240765946</c:v>
                </c:pt>
                <c:pt idx="28">
                  <c:v>0.95739807268967358</c:v>
                </c:pt>
                <c:pt idx="29">
                  <c:v>0.96297608327289264</c:v>
                </c:pt>
                <c:pt idx="30">
                  <c:v>0.96805008514295132</c:v>
                </c:pt>
                <c:pt idx="31">
                  <c:v>0.97260647670474309</c:v>
                </c:pt>
                <c:pt idx="32">
                  <c:v>0.97637779562089733</c:v>
                </c:pt>
                <c:pt idx="33">
                  <c:v>0.98013063992952498</c:v>
                </c:pt>
                <c:pt idx="34">
                  <c:v>0.98375912424719825</c:v>
                </c:pt>
                <c:pt idx="35">
                  <c:v>0.98734244841313978</c:v>
                </c:pt>
                <c:pt idx="36">
                  <c:v>0.99019442801910085</c:v>
                </c:pt>
                <c:pt idx="37">
                  <c:v>0.99272903707257598</c:v>
                </c:pt>
                <c:pt idx="38">
                  <c:v>0.99416923536598278</c:v>
                </c:pt>
                <c:pt idx="39">
                  <c:v>0.99540444584022492</c:v>
                </c:pt>
                <c:pt idx="40">
                  <c:v>0.99644832363999591</c:v>
                </c:pt>
                <c:pt idx="41">
                  <c:v>0.99745994673851035</c:v>
                </c:pt>
                <c:pt idx="42">
                  <c:v>0.99808858319056037</c:v>
                </c:pt>
                <c:pt idx="43">
                  <c:v>0.99866936416166463</c:v>
                </c:pt>
                <c:pt idx="44">
                  <c:v>0.99911152310180118</c:v>
                </c:pt>
                <c:pt idx="45">
                  <c:v>0.99946114835554367</c:v>
                </c:pt>
                <c:pt idx="46">
                  <c:v>0.99973100257446845</c:v>
                </c:pt>
                <c:pt idx="47">
                  <c:v>0.99998370307568007</c:v>
                </c:pt>
                <c:pt idx="48">
                  <c:v>1.000000000000000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50</c:f>
              <c:strCache>
                <c:ptCount val="49"/>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Boursin Classique Fromage Frais A Tartiner Afh Boite 1X250Gr 1P</c:v>
                </c:pt>
                <c:pt idx="8">
                  <c:v>Boursin Classique Fromage Frais A Tartiner Afh 1X160Gr 10P</c:v>
                </c:pt>
                <c:pt idx="9">
                  <c:v>Kiri Gouter Fromage Blanc Dips Boite 1X280Gr 8P</c:v>
                </c:pt>
                <c:pt idx="10">
                  <c:v>Kiri Creme Fromage Blanc Frais Carre 1X144Gr 8P</c:v>
                </c:pt>
                <c:pt idx="11">
                  <c:v>Boursin Classique Fromage Frais A Tartiner Afh Boite 1X150Gr 1P</c:v>
                </c:pt>
                <c:pt idx="12">
                  <c:v>Mini Babybel Rouge Filet St Paulin Ferme 1X440Gr 20P</c:v>
                </c:pt>
                <c:pt idx="13">
                  <c:v>Kiri Gouter Fromage Blanc Dips Boite 1X175Gr 5P</c:v>
                </c:pt>
                <c:pt idx="14">
                  <c:v>La Vache Qui Rit Pik Et Croq' Fromage Fondu Dips Boite 1X175Gr 5P</c:v>
                </c:pt>
                <c:pt idx="15">
                  <c:v>La Vache Qui Rit Pik Et Croq' Fromage Fondu Dips Boite 1X280Gr 8P</c:v>
                </c:pt>
                <c:pt idx="16">
                  <c:v>Boursin Onctueux Fromage Frais A Tartiner Afh 1X125Gr 1P</c:v>
                </c:pt>
                <c:pt idx="17">
                  <c:v>Boursin Salade &amp; Aperitif Fromage Frais Des Afh 1X120Gr 1P</c:v>
                </c:pt>
                <c:pt idx="18">
                  <c:v>Boursin Classique Fromage Frais A Tartiner Afh Boite 1X96Gr 6P</c:v>
                </c:pt>
                <c:pt idx="19">
                  <c:v>Boursin Classique Fromage Frais A Tartiner Figue Et 3 Noix Boite 1X150Gr 1P</c:v>
                </c:pt>
                <c:pt idx="20">
                  <c:v>La Vache Qui Rit Allegee Fromage Fondu Boite Ronde Allege 1X267Gr 16P</c:v>
                </c:pt>
                <c:pt idx="21">
                  <c:v>Boursin Classique Fromage Frais A Tartiner Ciboulette &amp; Echalote Boite 1X150Gr 1P</c:v>
                </c:pt>
                <c:pt idx="22">
                  <c:v>Boursin Classique Fromage Frais A Tartiner Afh 1X256Gr 16P</c:v>
                </c:pt>
                <c:pt idx="23">
                  <c:v>Boursin Classique Fromage Frais A Tartiner Poivre Boite 1X150Gr 1P</c:v>
                </c:pt>
                <c:pt idx="24">
                  <c:v>Babybel Mini Rolls St Paulin Ferme Sachet 1X85Gr 5P</c:v>
                </c:pt>
                <c:pt idx="25">
                  <c:v>Mini Babybel Aros St Paulin Ferme Assortis Filet 1X180Gr 9P</c:v>
                </c:pt>
                <c:pt idx="26">
                  <c:v>Kiri Delicieusement Fouette Fromage Frais A Tartiner 1X125Gr 1P</c:v>
                </c:pt>
                <c:pt idx="27">
                  <c:v>Boursin Classique Fromage Frais A Tartiner Ciboulette &amp; Echalote 1X160Gr 10P</c:v>
                </c:pt>
                <c:pt idx="28">
                  <c:v>La Vache Qui Rit Aro Fromage Fondu Boite Ronde Jambon 1X133Gr 8P</c:v>
                </c:pt>
                <c:pt idx="29">
                  <c:v>Kiri Bio Fromage Blanc Frais Carre 1X144Gr 8P</c:v>
                </c:pt>
                <c:pt idx="30">
                  <c:v>Kiri Chevre Fromage Blanc Frais Carre 1X144Gr 8P</c:v>
                </c:pt>
                <c:pt idx="31">
                  <c:v>Mini Babybel Aros Soft Cheese Enfant 180G</c:v>
                </c:pt>
                <c:pt idx="32">
                  <c:v>Boursin Salade &amp; Aperitif Fromage Frais Des Ciboulette Echalote 1X120Gr 1P</c:v>
                </c:pt>
                <c:pt idx="33">
                  <c:v>Mini Babybel Rouge Filet St Paulin Ferme 1X396Gr 12+6P</c:v>
                </c:pt>
                <c:pt idx="34">
                  <c:v>Kiri Delicieusement Fouette Fromage Frais A Tartiner 1X160Gr 10P</c:v>
                </c:pt>
                <c:pt idx="35">
                  <c:v>Kiri Creme Fromage Blanc Frais Carre 1X432Gr 18+6P</c:v>
                </c:pt>
                <c:pt idx="36">
                  <c:v>Mini Babybel Aros St Paulin Ferme Raclette Filet 1X132Gr 6P</c:v>
                </c:pt>
                <c:pt idx="37">
                  <c:v>Boursin Salade &amp; Aperitif Fromage Frais Des Figue Noix 1X120Gr 1P</c:v>
                </c:pt>
                <c:pt idx="38">
                  <c:v>Boursin Salade &amp; Aperitif Fromage Frais Des Citron Romarin 1X120Gr 1P</c:v>
                </c:pt>
                <c:pt idx="39">
                  <c:v>Boursin Salade &amp; Aperitif Fromage Frais Des Noisette Et 3 Noix 1X120Gr 1P</c:v>
                </c:pt>
                <c:pt idx="40">
                  <c:v>Boursin Classique Fromage Frais A Tartiner Afh Boite 1X80Gr 1P</c:v>
                </c:pt>
                <c:pt idx="41">
                  <c:v>Mini Babybel Aros Soft Cheese Enfant 110G</c:v>
                </c:pt>
                <c:pt idx="42">
                  <c:v>Boursin Salade &amp; Aperitif Soft Cheese Salade 120G</c:v>
                </c:pt>
                <c:pt idx="43">
                  <c:v>Boursin Classique Fromage Frais A Tartiner Truffe Boite 1X150Gr 1P</c:v>
                </c:pt>
                <c:pt idx="44">
                  <c:v>La Vache Qui Rit Nature Fromage Fondu Boite Ronde 1X512Gr 24+8P</c:v>
                </c:pt>
                <c:pt idx="45">
                  <c:v>Mini Babybel Bio St Paulin Ferme Filet 1X100Gr 5P</c:v>
                </c:pt>
                <c:pt idx="46">
                  <c:v>Mini Babybel Rouge Filet St Paulin Ferme Sachet 1X40Gr 1P</c:v>
                </c:pt>
                <c:pt idx="47">
                  <c:v>Kiri Delicieusement Fouette Fromage Frais A Tartiner 1X210Gr 1P</c:v>
                </c:pt>
                <c:pt idx="48">
                  <c:v>La Vache Qui Rit Nature Fromage Fondu Boite Ronde 1X128Gr 8P</c:v>
                </c:pt>
              </c:strCache>
            </c:strRef>
          </c:cat>
          <c:val>
            <c:numRef>
              <c:f>Sheet1!$D$2:$D$50</c:f>
              <c:numCache>
                <c:formatCode>General</c:formatCode>
                <c:ptCount val="49"/>
                <c:pt idx="0">
                  <c:v>75289.7</c:v>
                </c:pt>
                <c:pt idx="1">
                  <c:v>58923.051020408166</c:v>
                </c:pt>
                <c:pt idx="2">
                  <c:v>45209.37</c:v>
                </c:pt>
                <c:pt idx="3">
                  <c:v>37978.15</c:v>
                </c:pt>
                <c:pt idx="4">
                  <c:v>38529.474226804123</c:v>
                </c:pt>
                <c:pt idx="5">
                  <c:v>33468.141414141413</c:v>
                </c:pt>
                <c:pt idx="6">
                  <c:v>32269.033707865168</c:v>
                </c:pt>
                <c:pt idx="7">
                  <c:v>20997.565656565657</c:v>
                </c:pt>
                <c:pt idx="8">
                  <c:v>20176.727272727272</c:v>
                </c:pt>
                <c:pt idx="9">
                  <c:v>20546</c:v>
                </c:pt>
                <c:pt idx="10">
                  <c:v>18609.404040404039</c:v>
                </c:pt>
                <c:pt idx="11">
                  <c:v>17911.57</c:v>
                </c:pt>
                <c:pt idx="12">
                  <c:v>16135.733333333334</c:v>
                </c:pt>
                <c:pt idx="13">
                  <c:v>14583.535353535353</c:v>
                </c:pt>
                <c:pt idx="14">
                  <c:v>10108</c:v>
                </c:pt>
                <c:pt idx="15">
                  <c:v>10818.426966292134</c:v>
                </c:pt>
                <c:pt idx="16">
                  <c:v>8871.6082474226805</c:v>
                </c:pt>
                <c:pt idx="17">
                  <c:v>8367.6530612244896</c:v>
                </c:pt>
                <c:pt idx="18">
                  <c:v>8247.1458333333339</c:v>
                </c:pt>
                <c:pt idx="19">
                  <c:v>7410.2828282828286</c:v>
                </c:pt>
                <c:pt idx="20">
                  <c:v>7595.7816091954019</c:v>
                </c:pt>
                <c:pt idx="21">
                  <c:v>6243.6868686868684</c:v>
                </c:pt>
                <c:pt idx="22">
                  <c:v>6186.2183908045981</c:v>
                </c:pt>
                <c:pt idx="23">
                  <c:v>5263.666666666667</c:v>
                </c:pt>
                <c:pt idx="24">
                  <c:v>6135.3456790123455</c:v>
                </c:pt>
                <c:pt idx="25">
                  <c:v>5239</c:v>
                </c:pt>
                <c:pt idx="26">
                  <c:v>4455.9195402298847</c:v>
                </c:pt>
                <c:pt idx="27">
                  <c:v>4356.8433734939763</c:v>
                </c:pt>
                <c:pt idx="28">
                  <c:v>5071.260869565217</c:v>
                </c:pt>
                <c:pt idx="29">
                  <c:v>5208.2666666666664</c:v>
                </c:pt>
                <c:pt idx="30">
                  <c:v>4180.2941176470586</c:v>
                </c:pt>
                <c:pt idx="31">
                  <c:v>3496.7397260273974</c:v>
                </c:pt>
                <c:pt idx="32">
                  <c:v>2456.7441860465115</c:v>
                </c:pt>
                <c:pt idx="33">
                  <c:v>2362.303370786517</c:v>
                </c:pt>
                <c:pt idx="34">
                  <c:v>2162.5319148936169</c:v>
                </c:pt>
                <c:pt idx="35">
                  <c:v>2418.6506024096384</c:v>
                </c:pt>
                <c:pt idx="36">
                  <c:v>2075.0129870129872</c:v>
                </c:pt>
                <c:pt idx="37">
                  <c:v>1613.590909090909</c:v>
                </c:pt>
                <c:pt idx="38">
                  <c:v>1204.2388059701493</c:v>
                </c:pt>
                <c:pt idx="39">
                  <c:v>833.73493975903614</c:v>
                </c:pt>
                <c:pt idx="40">
                  <c:v>2016.5862068965521</c:v>
                </c:pt>
                <c:pt idx="41">
                  <c:v>960.57627118644064</c:v>
                </c:pt>
                <c:pt idx="42">
                  <c:v>880.45</c:v>
                </c:pt>
                <c:pt idx="43">
                  <c:v>464.81428571428569</c:v>
                </c:pt>
                <c:pt idx="44">
                  <c:v>990.84</c:v>
                </c:pt>
                <c:pt idx="45">
                  <c:v>631.83870967741939</c:v>
                </c:pt>
                <c:pt idx="46">
                  <c:v>1679.7777777777778</c:v>
                </c:pt>
                <c:pt idx="47">
                  <c:v>372.55263157894734</c:v>
                </c:pt>
                <c:pt idx="48">
                  <c:v>76.08333333333332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0</c:f>
              <c:strCache>
                <c:ptCount val="49"/>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432Gr 24P</c:v>
                </c:pt>
                <c:pt idx="6">
                  <c:v>Kiri Creme Fromage Blanc Frais Carre 1X216Gr 12P</c:v>
                </c:pt>
                <c:pt idx="7">
                  <c:v>Boursin Classique Fromage Frais A Tartiner Afh Boite 1X250Gr 1P</c:v>
                </c:pt>
                <c:pt idx="8">
                  <c:v>Kiri Gouter Fromage Blanc Dips Boite 1X280Gr 8P</c:v>
                </c:pt>
                <c:pt idx="9">
                  <c:v>Boursin Classique Fromage Frais A Tartiner Afh 1X160Gr 10P</c:v>
                </c:pt>
                <c:pt idx="10">
                  <c:v>Mini Babybel Rouge Filet St Paulin Ferme 1X440Gr 20P</c:v>
                </c:pt>
                <c:pt idx="11">
                  <c:v>Boursin Classique Fromage Frais A Tartiner Afh Boite 1X150Gr 1P</c:v>
                </c:pt>
                <c:pt idx="12">
                  <c:v>Kiri Creme Fromage Blanc Frais Carre 1X144Gr 8P</c:v>
                </c:pt>
                <c:pt idx="13">
                  <c:v>Kiri Gouter Fromage Blanc Dips Boite 1X175Gr 5P</c:v>
                </c:pt>
                <c:pt idx="14">
                  <c:v>La Vache Qui Rit Pik Et Croq' Fromage Fondu Dips Boite 1X280Gr 8P</c:v>
                </c:pt>
                <c:pt idx="15">
                  <c:v>La Vache Qui Rit Pik Et Croq' Fromage Fondu Dips Boite 1X175Gr 5P</c:v>
                </c:pt>
                <c:pt idx="16">
                  <c:v>Boursin Salade &amp; Aperitif Fromage Frais Des Afh 1X120Gr 1P</c:v>
                </c:pt>
                <c:pt idx="17">
                  <c:v>Boursin Classique Fromage Frais A Tartiner Afh 1X256Gr 16P</c:v>
                </c:pt>
                <c:pt idx="18">
                  <c:v>Boursin Onctueux Fromage Frais A Tartiner Afh 1X125Gr 1P</c:v>
                </c:pt>
                <c:pt idx="19">
                  <c:v>Boursin Classique Fromage Frais A Tartiner Afh Boite 1X96Gr 6P</c:v>
                </c:pt>
                <c:pt idx="20">
                  <c:v>Boursin Classique Fromage Frais A Tartiner Figue Et 3 Noix Boite 1X150Gr 1P</c:v>
                </c:pt>
                <c:pt idx="21">
                  <c:v>La Vache Qui Rit Allegee Fromage Fondu Boite Ronde Allege 1X267Gr 16P</c:v>
                </c:pt>
                <c:pt idx="22">
                  <c:v>Babybel Mini Rolls St Paulin Ferme Sachet 1X85Gr 5P</c:v>
                </c:pt>
                <c:pt idx="23">
                  <c:v>Boursin Classique Fromage Frais A Tartiner Ciboulette &amp; Echalote Boite 1X150Gr 1P</c:v>
                </c:pt>
                <c:pt idx="24">
                  <c:v>Mini Babybel Aros St Paulin Ferme Assortis Filet 1X180Gr 9P</c:v>
                </c:pt>
                <c:pt idx="25">
                  <c:v>Boursin Classique Fromage Frais A Tartiner Poivre Boite 1X150Gr 1P</c:v>
                </c:pt>
                <c:pt idx="26">
                  <c:v>Kiri Delicieusement Fouette Fromage Frais A Tartiner 1X125Gr 1P</c:v>
                </c:pt>
                <c:pt idx="27">
                  <c:v>La Vache Qui Rit Aro Fromage Fondu Boite Ronde Jambon 1X133Gr 8P</c:v>
                </c:pt>
                <c:pt idx="28">
                  <c:v>Boursin Classique Fromage Frais A Tartiner Ciboulette &amp; Echalote 1X160Gr 10P</c:v>
                </c:pt>
                <c:pt idx="29">
                  <c:v>Kiri Bio Fromage Blanc Frais Carre 1X144Gr 8P</c:v>
                </c:pt>
                <c:pt idx="30">
                  <c:v>Mini Babybel Aros Soft Cheese Enfant 180G</c:v>
                </c:pt>
                <c:pt idx="31">
                  <c:v>Kiri Chevre Fromage Blanc Frais Carre 1X144Gr 8P</c:v>
                </c:pt>
                <c:pt idx="32">
                  <c:v>Kiri Delicieusement Fouette Fromage Frais A Tartiner 1X160Gr 10P</c:v>
                </c:pt>
                <c:pt idx="33">
                  <c:v>Boursin Salade &amp; Aperitif Fromage Frais Des Ciboulette Echalote 1X120Gr 1P</c:v>
                </c:pt>
                <c:pt idx="34">
                  <c:v>Mini Babybel Rouge Filet St Paulin Ferme 1X396Gr 12+6P</c:v>
                </c:pt>
                <c:pt idx="35">
                  <c:v>Mini Babybel Aros St Paulin Ferme Raclette Filet 1X132Gr 6P</c:v>
                </c:pt>
                <c:pt idx="36">
                  <c:v>Kiri Creme Fromage Blanc Frais Carre 1X432Gr 18+6P</c:v>
                </c:pt>
                <c:pt idx="37">
                  <c:v>Boursin Salade &amp; Aperitif Fromage Frais Des Figue Noix 1X120Gr 1P</c:v>
                </c:pt>
                <c:pt idx="38">
                  <c:v>Boursin Classique Fromage Frais A Tartiner Afh Boite 1X80Gr 1P</c:v>
                </c:pt>
                <c:pt idx="39">
                  <c:v>Boursin Salade &amp; Aperitif Fromage Frais Des Citron Romarin 1X120Gr 1P</c:v>
                </c:pt>
                <c:pt idx="40">
                  <c:v>Mini Babybel Aros Soft Cheese Enfant 110G</c:v>
                </c:pt>
                <c:pt idx="41">
                  <c:v>Boursin Salade &amp; Aperitif Fromage Frais Des Noisette Et 3 Noix 1X120Gr 1P</c:v>
                </c:pt>
                <c:pt idx="42">
                  <c:v>Boursin Classique Fromage Frais A Tartiner Truffe Boite 1X150Gr 1P</c:v>
                </c:pt>
                <c:pt idx="43">
                  <c:v>Boursin Salade &amp; Aperitif Soft Cheese Salade 120G</c:v>
                </c:pt>
                <c:pt idx="44">
                  <c:v>La Vache Qui Rit Nature Fromage Fondu Boite Ronde 1X512Gr 24+8P</c:v>
                </c:pt>
                <c:pt idx="45">
                  <c:v>Mini Babybel Rouge Filet St Paulin Ferme Sachet 1X40Gr 1P</c:v>
                </c:pt>
                <c:pt idx="46">
                  <c:v>Mini Babybel Bio St Paulin Ferme Filet 1X100Gr 5P</c:v>
                </c:pt>
                <c:pt idx="47">
                  <c:v>Kiri Delicieusement Fouette Fromage Frais A Tartiner 1X210Gr 1P</c:v>
                </c:pt>
                <c:pt idx="48">
                  <c:v>La Vache Qui Rit Nature Fromage Fondu Boite Ronde 1X128Gr 8P</c:v>
                </c:pt>
              </c:strCache>
            </c:strRef>
          </c:cat>
          <c:val>
            <c:numRef>
              <c:f>Sheet1!$B$2:$B$50</c:f>
              <c:numCache>
                <c:formatCode>General</c:formatCode>
                <c:ptCount val="49"/>
                <c:pt idx="0">
                  <c:v>1</c:v>
                </c:pt>
                <c:pt idx="1">
                  <c:v>0.99</c:v>
                </c:pt>
                <c:pt idx="2">
                  <c:v>1</c:v>
                </c:pt>
                <c:pt idx="3">
                  <c:v>1</c:v>
                </c:pt>
                <c:pt idx="4">
                  <c:v>1</c:v>
                </c:pt>
                <c:pt idx="5">
                  <c:v>0.99</c:v>
                </c:pt>
                <c:pt idx="6">
                  <c:v>1</c:v>
                </c:pt>
                <c:pt idx="7">
                  <c:v>1</c:v>
                </c:pt>
                <c:pt idx="8">
                  <c:v>0.99</c:v>
                </c:pt>
                <c:pt idx="9">
                  <c:v>1</c:v>
                </c:pt>
                <c:pt idx="10">
                  <c:v>0.98</c:v>
                </c:pt>
                <c:pt idx="11">
                  <c:v>1</c:v>
                </c:pt>
                <c:pt idx="12">
                  <c:v>1</c:v>
                </c:pt>
                <c:pt idx="13">
                  <c:v>1</c:v>
                </c:pt>
                <c:pt idx="14">
                  <c:v>0.98</c:v>
                </c:pt>
                <c:pt idx="15">
                  <c:v>0.99</c:v>
                </c:pt>
                <c:pt idx="16">
                  <c:v>1</c:v>
                </c:pt>
                <c:pt idx="17">
                  <c:v>0.99</c:v>
                </c:pt>
                <c:pt idx="18">
                  <c:v>0.99</c:v>
                </c:pt>
                <c:pt idx="19">
                  <c:v>0.99</c:v>
                </c:pt>
                <c:pt idx="20">
                  <c:v>1</c:v>
                </c:pt>
                <c:pt idx="21">
                  <c:v>0.97</c:v>
                </c:pt>
                <c:pt idx="22">
                  <c:v>0.97</c:v>
                </c:pt>
                <c:pt idx="23">
                  <c:v>1</c:v>
                </c:pt>
                <c:pt idx="24">
                  <c:v>0.97</c:v>
                </c:pt>
                <c:pt idx="25">
                  <c:v>0.99</c:v>
                </c:pt>
                <c:pt idx="26">
                  <c:v>0.99</c:v>
                </c:pt>
                <c:pt idx="27">
                  <c:v>0.92</c:v>
                </c:pt>
                <c:pt idx="28">
                  <c:v>0.98</c:v>
                </c:pt>
                <c:pt idx="29">
                  <c:v>0.87</c:v>
                </c:pt>
                <c:pt idx="30">
                  <c:v>0.95</c:v>
                </c:pt>
                <c:pt idx="31">
                  <c:v>0.88</c:v>
                </c:pt>
                <c:pt idx="32">
                  <c:v>0.98</c:v>
                </c:pt>
                <c:pt idx="33">
                  <c:v>0.95</c:v>
                </c:pt>
                <c:pt idx="34">
                  <c:v>0.92</c:v>
                </c:pt>
                <c:pt idx="35">
                  <c:v>0.95</c:v>
                </c:pt>
                <c:pt idx="36">
                  <c:v>0.94</c:v>
                </c:pt>
                <c:pt idx="37">
                  <c:v>0.97</c:v>
                </c:pt>
                <c:pt idx="38">
                  <c:v>0.7</c:v>
                </c:pt>
                <c:pt idx="39">
                  <c:v>0.93</c:v>
                </c:pt>
                <c:pt idx="40">
                  <c:v>0.9</c:v>
                </c:pt>
                <c:pt idx="41">
                  <c:v>0.99</c:v>
                </c:pt>
                <c:pt idx="42">
                  <c:v>0.92</c:v>
                </c:pt>
                <c:pt idx="43">
                  <c:v>0.73</c:v>
                </c:pt>
                <c:pt idx="44">
                  <c:v>0.32</c:v>
                </c:pt>
                <c:pt idx="45">
                  <c:v>0.24</c:v>
                </c:pt>
                <c:pt idx="46">
                  <c:v>0.55000000000000004</c:v>
                </c:pt>
                <c:pt idx="47">
                  <c:v>0.64</c:v>
                </c:pt>
                <c:pt idx="48">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invertIfNegative val="1"/>
            <c:bubble3D val="0"/>
            <c:spPr>
              <a:solidFill>
                <a:srgbClr val="AEABAB"/>
              </a:solidFill>
            </c:spPr>
            <c:extLst>
              <c:ext xmlns:c16="http://schemas.microsoft.com/office/drawing/2014/chart" uri="{C3380CC4-5D6E-409C-BE32-E72D297353CC}">
                <c16:uniqueId val="{0000005B-9FB3-44C3-B64B-45D5147623C3}"/>
              </c:ext>
            </c:extLst>
          </c:dPt>
          <c:dPt>
            <c:idx val="45"/>
            <c:invertIfNegative val="1"/>
            <c:bubble3D val="0"/>
            <c:spPr>
              <a:solidFill>
                <a:srgbClr val="AEABAB"/>
              </a:solidFill>
            </c:spPr>
            <c:extLst>
              <c:ext xmlns:c16="http://schemas.microsoft.com/office/drawing/2014/chart" uri="{C3380CC4-5D6E-409C-BE32-E72D297353CC}">
                <c16:uniqueId val="{0000005D-9FB3-44C3-B64B-45D5147623C3}"/>
              </c:ext>
            </c:extLst>
          </c:dPt>
          <c:dPt>
            <c:idx val="46"/>
            <c:invertIfNegative val="1"/>
            <c:bubble3D val="0"/>
            <c:spPr>
              <a:solidFill>
                <a:srgbClr val="AEABAB"/>
              </a:solidFill>
            </c:spPr>
            <c:extLst>
              <c:ext xmlns:c16="http://schemas.microsoft.com/office/drawing/2014/chart" uri="{C3380CC4-5D6E-409C-BE32-E72D297353CC}">
                <c16:uniqueId val="{0000005F-9FB3-44C3-B64B-45D5147623C3}"/>
              </c:ext>
            </c:extLst>
          </c:dPt>
          <c:dPt>
            <c:idx val="47"/>
            <c:invertIfNegative val="1"/>
            <c:bubble3D val="0"/>
            <c:spPr>
              <a:solidFill>
                <a:srgbClr val="AEABAB"/>
              </a:solidFill>
            </c:spPr>
            <c:extLst>
              <c:ext xmlns:c16="http://schemas.microsoft.com/office/drawing/2014/chart" uri="{C3380CC4-5D6E-409C-BE32-E72D297353CC}">
                <c16:uniqueId val="{00000061-9FB3-44C3-B64B-45D5147623C3}"/>
              </c:ext>
            </c:extLst>
          </c:dPt>
          <c:dPt>
            <c:idx val="48"/>
            <c:invertIfNegative val="1"/>
            <c:bubble3D val="0"/>
            <c:spPr>
              <a:solidFill>
                <a:srgbClr val="AEABAB"/>
              </a:solidFill>
            </c:spPr>
            <c:extLst>
              <c:ext xmlns:c16="http://schemas.microsoft.com/office/drawing/2014/chart" uri="{C3380CC4-5D6E-409C-BE32-E72D297353CC}">
                <c16:uniqueId val="{00000063-9FB3-44C3-B64B-45D5147623C3}"/>
              </c:ext>
            </c:extLst>
          </c:dPt>
          <c:cat>
            <c:strRef>
              <c:f>Sheet1!$A$2:$A$50</c:f>
              <c:strCache>
                <c:ptCount val="49"/>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432Gr 24P</c:v>
                </c:pt>
                <c:pt idx="6">
                  <c:v>Kiri Creme Fromage Blanc Frais Carre 1X216Gr 12P</c:v>
                </c:pt>
                <c:pt idx="7">
                  <c:v>Boursin Classique Fromage Frais A Tartiner Afh Boite 1X250Gr 1P</c:v>
                </c:pt>
                <c:pt idx="8">
                  <c:v>Kiri Gouter Fromage Blanc Dips Boite 1X280Gr 8P</c:v>
                </c:pt>
                <c:pt idx="9">
                  <c:v>Boursin Classique Fromage Frais A Tartiner Afh 1X160Gr 10P</c:v>
                </c:pt>
                <c:pt idx="10">
                  <c:v>Mini Babybel Rouge Filet St Paulin Ferme 1X440Gr 20P</c:v>
                </c:pt>
                <c:pt idx="11">
                  <c:v>Boursin Classique Fromage Frais A Tartiner Afh Boite 1X150Gr 1P</c:v>
                </c:pt>
                <c:pt idx="12">
                  <c:v>Kiri Creme Fromage Blanc Frais Carre 1X144Gr 8P</c:v>
                </c:pt>
                <c:pt idx="13">
                  <c:v>Kiri Gouter Fromage Blanc Dips Boite 1X175Gr 5P</c:v>
                </c:pt>
                <c:pt idx="14">
                  <c:v>La Vache Qui Rit Pik Et Croq' Fromage Fondu Dips Boite 1X280Gr 8P</c:v>
                </c:pt>
                <c:pt idx="15">
                  <c:v>La Vache Qui Rit Pik Et Croq' Fromage Fondu Dips Boite 1X175Gr 5P</c:v>
                </c:pt>
                <c:pt idx="16">
                  <c:v>Boursin Salade &amp; Aperitif Fromage Frais Des Afh 1X120Gr 1P</c:v>
                </c:pt>
                <c:pt idx="17">
                  <c:v>Boursin Classique Fromage Frais A Tartiner Afh 1X256Gr 16P</c:v>
                </c:pt>
                <c:pt idx="18">
                  <c:v>Boursin Onctueux Fromage Frais A Tartiner Afh 1X125Gr 1P</c:v>
                </c:pt>
                <c:pt idx="19">
                  <c:v>Boursin Classique Fromage Frais A Tartiner Afh Boite 1X96Gr 6P</c:v>
                </c:pt>
                <c:pt idx="20">
                  <c:v>Boursin Classique Fromage Frais A Tartiner Figue Et 3 Noix Boite 1X150Gr 1P</c:v>
                </c:pt>
                <c:pt idx="21">
                  <c:v>La Vache Qui Rit Allegee Fromage Fondu Boite Ronde Allege 1X267Gr 16P</c:v>
                </c:pt>
                <c:pt idx="22">
                  <c:v>Babybel Mini Rolls St Paulin Ferme Sachet 1X85Gr 5P</c:v>
                </c:pt>
                <c:pt idx="23">
                  <c:v>Boursin Classique Fromage Frais A Tartiner Ciboulette &amp; Echalote Boite 1X150Gr 1P</c:v>
                </c:pt>
                <c:pt idx="24">
                  <c:v>Mini Babybel Aros St Paulin Ferme Assortis Filet 1X180Gr 9P</c:v>
                </c:pt>
                <c:pt idx="25">
                  <c:v>Boursin Classique Fromage Frais A Tartiner Poivre Boite 1X150Gr 1P</c:v>
                </c:pt>
                <c:pt idx="26">
                  <c:v>Kiri Delicieusement Fouette Fromage Frais A Tartiner 1X125Gr 1P</c:v>
                </c:pt>
                <c:pt idx="27">
                  <c:v>La Vache Qui Rit Aro Fromage Fondu Boite Ronde Jambon 1X133Gr 8P</c:v>
                </c:pt>
                <c:pt idx="28">
                  <c:v>Boursin Classique Fromage Frais A Tartiner Ciboulette &amp; Echalote 1X160Gr 10P</c:v>
                </c:pt>
                <c:pt idx="29">
                  <c:v>Kiri Bio Fromage Blanc Frais Carre 1X144Gr 8P</c:v>
                </c:pt>
                <c:pt idx="30">
                  <c:v>Mini Babybel Aros Soft Cheese Enfant 180G</c:v>
                </c:pt>
                <c:pt idx="31">
                  <c:v>Kiri Chevre Fromage Blanc Frais Carre 1X144Gr 8P</c:v>
                </c:pt>
                <c:pt idx="32">
                  <c:v>Kiri Delicieusement Fouette Fromage Frais A Tartiner 1X160Gr 10P</c:v>
                </c:pt>
                <c:pt idx="33">
                  <c:v>Boursin Salade &amp; Aperitif Fromage Frais Des Ciboulette Echalote 1X120Gr 1P</c:v>
                </c:pt>
                <c:pt idx="34">
                  <c:v>Mini Babybel Rouge Filet St Paulin Ferme 1X396Gr 12+6P</c:v>
                </c:pt>
                <c:pt idx="35">
                  <c:v>Mini Babybel Aros St Paulin Ferme Raclette Filet 1X132Gr 6P</c:v>
                </c:pt>
                <c:pt idx="36">
                  <c:v>Kiri Creme Fromage Blanc Frais Carre 1X432Gr 18+6P</c:v>
                </c:pt>
                <c:pt idx="37">
                  <c:v>Boursin Salade &amp; Aperitif Fromage Frais Des Figue Noix 1X120Gr 1P</c:v>
                </c:pt>
                <c:pt idx="38">
                  <c:v>Boursin Classique Fromage Frais A Tartiner Afh Boite 1X80Gr 1P</c:v>
                </c:pt>
                <c:pt idx="39">
                  <c:v>Boursin Salade &amp; Aperitif Fromage Frais Des Citron Romarin 1X120Gr 1P</c:v>
                </c:pt>
                <c:pt idx="40">
                  <c:v>Mini Babybel Aros Soft Cheese Enfant 110G</c:v>
                </c:pt>
                <c:pt idx="41">
                  <c:v>Boursin Salade &amp; Aperitif Fromage Frais Des Noisette Et 3 Noix 1X120Gr 1P</c:v>
                </c:pt>
                <c:pt idx="42">
                  <c:v>Boursin Classique Fromage Frais A Tartiner Truffe Boite 1X150Gr 1P</c:v>
                </c:pt>
                <c:pt idx="43">
                  <c:v>Boursin Salade &amp; Aperitif Soft Cheese Salade 120G</c:v>
                </c:pt>
                <c:pt idx="44">
                  <c:v>La Vache Qui Rit Nature Fromage Fondu Boite Ronde 1X512Gr 24+8P</c:v>
                </c:pt>
                <c:pt idx="45">
                  <c:v>Mini Babybel Rouge Filet St Paulin Ferme Sachet 1X40Gr 1P</c:v>
                </c:pt>
                <c:pt idx="46">
                  <c:v>Mini Babybel Bio St Paulin Ferme Filet 1X100Gr 5P</c:v>
                </c:pt>
                <c:pt idx="47">
                  <c:v>Kiri Delicieusement Fouette Fromage Frais A Tartiner 1X210Gr 1P</c:v>
                </c:pt>
                <c:pt idx="48">
                  <c:v>La Vache Qui Rit Nature Fromage Fondu Boite Ronde 1X128Gr 8P</c:v>
                </c:pt>
              </c:strCache>
            </c:strRef>
          </c:cat>
          <c:val>
            <c:numRef>
              <c:f>Sheet1!$C$2:$C$50</c:f>
              <c:numCache>
                <c:formatCode>General</c:formatCode>
                <c:ptCount val="49"/>
                <c:pt idx="0">
                  <c:v>0.13524984429687062</c:v>
                </c:pt>
                <c:pt idx="1">
                  <c:v>0.2431213918129469</c:v>
                </c:pt>
                <c:pt idx="2">
                  <c:v>0.31655444823796874</c:v>
                </c:pt>
                <c:pt idx="3">
                  <c:v>0.38263759242206957</c:v>
                </c:pt>
                <c:pt idx="4">
                  <c:v>0.44280149135617641</c:v>
                </c:pt>
                <c:pt idx="5">
                  <c:v>0.4991465285375975</c:v>
                </c:pt>
                <c:pt idx="6">
                  <c:v>0.55483967654170407</c:v>
                </c:pt>
                <c:pt idx="7">
                  <c:v>0.59391603785609492</c:v>
                </c:pt>
                <c:pt idx="8">
                  <c:v>0.62941339602706059</c:v>
                </c:pt>
                <c:pt idx="9">
                  <c:v>0.66290446467819819</c:v>
                </c:pt>
                <c:pt idx="10">
                  <c:v>0.6948075663760559</c:v>
                </c:pt>
                <c:pt idx="11">
                  <c:v>0.72341308886313416</c:v>
                </c:pt>
                <c:pt idx="12">
                  <c:v>0.75120522754488228</c:v>
                </c:pt>
                <c:pt idx="13">
                  <c:v>0.77550826239502257</c:v>
                </c:pt>
                <c:pt idx="14">
                  <c:v>0.79663374267232434</c:v>
                </c:pt>
                <c:pt idx="15">
                  <c:v>0.8163761272806469</c:v>
                </c:pt>
                <c:pt idx="16">
                  <c:v>0.83000297535262124</c:v>
                </c:pt>
                <c:pt idx="17">
                  <c:v>0.84350941745341279</c:v>
                </c:pt>
                <c:pt idx="18">
                  <c:v>0.85662413498129042</c:v>
                </c:pt>
                <c:pt idx="19">
                  <c:v>0.8694957525673499</c:v>
                </c:pt>
                <c:pt idx="20">
                  <c:v>0.88052181259511286</c:v>
                </c:pt>
                <c:pt idx="21">
                  <c:v>0.89134033200588059</c:v>
                </c:pt>
                <c:pt idx="22">
                  <c:v>0.90171812552212871</c:v>
                </c:pt>
                <c:pt idx="23">
                  <c:v>0.91108834127952376</c:v>
                </c:pt>
                <c:pt idx="24">
                  <c:v>0.92045674570401892</c:v>
                </c:pt>
                <c:pt idx="25">
                  <c:v>0.92884550502964247</c:v>
                </c:pt>
                <c:pt idx="26">
                  <c:v>0.93613631061804303</c:v>
                </c:pt>
                <c:pt idx="27">
                  <c:v>0.94330947490126571</c:v>
                </c:pt>
                <c:pt idx="28">
                  <c:v>0.95026852056906741</c:v>
                </c:pt>
                <c:pt idx="29">
                  <c:v>0.95606011451627926</c:v>
                </c:pt>
                <c:pt idx="30">
                  <c:v>0.96144301456130521</c:v>
                </c:pt>
                <c:pt idx="31">
                  <c:v>0.96659940266054301</c:v>
                </c:pt>
                <c:pt idx="32">
                  <c:v>0.97103468959903105</c:v>
                </c:pt>
                <c:pt idx="33">
                  <c:v>0.97531000724247174</c:v>
                </c:pt>
                <c:pt idx="34">
                  <c:v>0.97938150226802723</c:v>
                </c:pt>
                <c:pt idx="35">
                  <c:v>0.98329169333218813</c:v>
                </c:pt>
                <c:pt idx="36">
                  <c:v>0.98696030978749927</c:v>
                </c:pt>
                <c:pt idx="37">
                  <c:v>0.98982803110115791</c:v>
                </c:pt>
                <c:pt idx="38">
                  <c:v>0.99187388394485043</c:v>
                </c:pt>
                <c:pt idx="39">
                  <c:v>0.99362220152641978</c:v>
                </c:pt>
                <c:pt idx="40">
                  <c:v>0.99535431244520123</c:v>
                </c:pt>
                <c:pt idx="41">
                  <c:v>0.99665341946761499</c:v>
                </c:pt>
                <c:pt idx="42">
                  <c:v>0.99740064195544642</c:v>
                </c:pt>
                <c:pt idx="43">
                  <c:v>0.99814128644485223</c:v>
                </c:pt>
                <c:pt idx="44">
                  <c:v>0.99868230298203564</c:v>
                </c:pt>
                <c:pt idx="45">
                  <c:v>0.9992164555208618</c:v>
                </c:pt>
                <c:pt idx="46">
                  <c:v>0.99962915342208947</c:v>
                </c:pt>
                <c:pt idx="47">
                  <c:v>0.99998427000376489</c:v>
                </c:pt>
                <c:pt idx="48">
                  <c:v>0.9999938986681270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50</c:f>
              <c:strCache>
                <c:ptCount val="49"/>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432Gr 24P</c:v>
                </c:pt>
                <c:pt idx="6">
                  <c:v>Kiri Creme Fromage Blanc Frais Carre 1X216Gr 12P</c:v>
                </c:pt>
                <c:pt idx="7">
                  <c:v>Boursin Classique Fromage Frais A Tartiner Afh Boite 1X250Gr 1P</c:v>
                </c:pt>
                <c:pt idx="8">
                  <c:v>Kiri Gouter Fromage Blanc Dips Boite 1X280Gr 8P</c:v>
                </c:pt>
                <c:pt idx="9">
                  <c:v>Boursin Classique Fromage Frais A Tartiner Afh 1X160Gr 10P</c:v>
                </c:pt>
                <c:pt idx="10">
                  <c:v>Mini Babybel Rouge Filet St Paulin Ferme 1X440Gr 20P</c:v>
                </c:pt>
                <c:pt idx="11">
                  <c:v>Boursin Classique Fromage Frais A Tartiner Afh Boite 1X150Gr 1P</c:v>
                </c:pt>
                <c:pt idx="12">
                  <c:v>Kiri Creme Fromage Blanc Frais Carre 1X144Gr 8P</c:v>
                </c:pt>
                <c:pt idx="13">
                  <c:v>Kiri Gouter Fromage Blanc Dips Boite 1X175Gr 5P</c:v>
                </c:pt>
                <c:pt idx="14">
                  <c:v>La Vache Qui Rit Pik Et Croq' Fromage Fondu Dips Boite 1X280Gr 8P</c:v>
                </c:pt>
                <c:pt idx="15">
                  <c:v>La Vache Qui Rit Pik Et Croq' Fromage Fondu Dips Boite 1X175Gr 5P</c:v>
                </c:pt>
                <c:pt idx="16">
                  <c:v>Boursin Salade &amp; Aperitif Fromage Frais Des Afh 1X120Gr 1P</c:v>
                </c:pt>
                <c:pt idx="17">
                  <c:v>Boursin Classique Fromage Frais A Tartiner Afh 1X256Gr 16P</c:v>
                </c:pt>
                <c:pt idx="18">
                  <c:v>Boursin Onctueux Fromage Frais A Tartiner Afh 1X125Gr 1P</c:v>
                </c:pt>
                <c:pt idx="19">
                  <c:v>Boursin Classique Fromage Frais A Tartiner Afh Boite 1X96Gr 6P</c:v>
                </c:pt>
                <c:pt idx="20">
                  <c:v>Boursin Classique Fromage Frais A Tartiner Figue Et 3 Noix Boite 1X150Gr 1P</c:v>
                </c:pt>
                <c:pt idx="21">
                  <c:v>La Vache Qui Rit Allegee Fromage Fondu Boite Ronde Allege 1X267Gr 16P</c:v>
                </c:pt>
                <c:pt idx="22">
                  <c:v>Babybel Mini Rolls St Paulin Ferme Sachet 1X85Gr 5P</c:v>
                </c:pt>
                <c:pt idx="23">
                  <c:v>Boursin Classique Fromage Frais A Tartiner Ciboulette &amp; Echalote Boite 1X150Gr 1P</c:v>
                </c:pt>
                <c:pt idx="24">
                  <c:v>Mini Babybel Aros St Paulin Ferme Assortis Filet 1X180Gr 9P</c:v>
                </c:pt>
                <c:pt idx="25">
                  <c:v>Boursin Classique Fromage Frais A Tartiner Poivre Boite 1X150Gr 1P</c:v>
                </c:pt>
                <c:pt idx="26">
                  <c:v>Kiri Delicieusement Fouette Fromage Frais A Tartiner 1X125Gr 1P</c:v>
                </c:pt>
                <c:pt idx="27">
                  <c:v>La Vache Qui Rit Aro Fromage Fondu Boite Ronde Jambon 1X133Gr 8P</c:v>
                </c:pt>
                <c:pt idx="28">
                  <c:v>Boursin Classique Fromage Frais A Tartiner Ciboulette &amp; Echalote 1X160Gr 10P</c:v>
                </c:pt>
                <c:pt idx="29">
                  <c:v>Kiri Bio Fromage Blanc Frais Carre 1X144Gr 8P</c:v>
                </c:pt>
                <c:pt idx="30">
                  <c:v>Mini Babybel Aros Soft Cheese Enfant 180G</c:v>
                </c:pt>
                <c:pt idx="31">
                  <c:v>Kiri Chevre Fromage Blanc Frais Carre 1X144Gr 8P</c:v>
                </c:pt>
                <c:pt idx="32">
                  <c:v>Kiri Delicieusement Fouette Fromage Frais A Tartiner 1X160Gr 10P</c:v>
                </c:pt>
                <c:pt idx="33">
                  <c:v>Boursin Salade &amp; Aperitif Fromage Frais Des Ciboulette Echalote 1X120Gr 1P</c:v>
                </c:pt>
                <c:pt idx="34">
                  <c:v>Mini Babybel Rouge Filet St Paulin Ferme 1X396Gr 12+6P</c:v>
                </c:pt>
                <c:pt idx="35">
                  <c:v>Mini Babybel Aros St Paulin Ferme Raclette Filet 1X132Gr 6P</c:v>
                </c:pt>
                <c:pt idx="36">
                  <c:v>Kiri Creme Fromage Blanc Frais Carre 1X432Gr 18+6P</c:v>
                </c:pt>
                <c:pt idx="37">
                  <c:v>Boursin Salade &amp; Aperitif Fromage Frais Des Figue Noix 1X120Gr 1P</c:v>
                </c:pt>
                <c:pt idx="38">
                  <c:v>Boursin Classique Fromage Frais A Tartiner Afh Boite 1X80Gr 1P</c:v>
                </c:pt>
                <c:pt idx="39">
                  <c:v>Boursin Salade &amp; Aperitif Fromage Frais Des Citron Romarin 1X120Gr 1P</c:v>
                </c:pt>
                <c:pt idx="40">
                  <c:v>Mini Babybel Aros Soft Cheese Enfant 110G</c:v>
                </c:pt>
                <c:pt idx="41">
                  <c:v>Boursin Salade &amp; Aperitif Fromage Frais Des Noisette Et 3 Noix 1X120Gr 1P</c:v>
                </c:pt>
                <c:pt idx="42">
                  <c:v>Boursin Classique Fromage Frais A Tartiner Truffe Boite 1X150Gr 1P</c:v>
                </c:pt>
                <c:pt idx="43">
                  <c:v>Boursin Salade &amp; Aperitif Soft Cheese Salade 120G</c:v>
                </c:pt>
                <c:pt idx="44">
                  <c:v>La Vache Qui Rit Nature Fromage Fondu Boite Ronde 1X512Gr 24+8P</c:v>
                </c:pt>
                <c:pt idx="45">
                  <c:v>Mini Babybel Rouge Filet St Paulin Ferme Sachet 1X40Gr 1P</c:v>
                </c:pt>
                <c:pt idx="46">
                  <c:v>Mini Babybel Bio St Paulin Ferme Filet 1X100Gr 5P</c:v>
                </c:pt>
                <c:pt idx="47">
                  <c:v>Kiri Delicieusement Fouette Fromage Frais A Tartiner 1X210Gr 1P</c:v>
                </c:pt>
                <c:pt idx="48">
                  <c:v>La Vache Qui Rit Nature Fromage Fondu Boite Ronde 1X128Gr 8P</c:v>
                </c:pt>
              </c:strCache>
            </c:strRef>
          </c:cat>
          <c:val>
            <c:numRef>
              <c:f>Sheet1!$D$2:$D$50</c:f>
              <c:numCache>
                <c:formatCode>General</c:formatCode>
                <c:ptCount val="49"/>
                <c:pt idx="0">
                  <c:v>14187.05</c:v>
                </c:pt>
                <c:pt idx="1">
                  <c:v>11429.494949494949</c:v>
                </c:pt>
                <c:pt idx="2">
                  <c:v>7702.77</c:v>
                </c:pt>
                <c:pt idx="3">
                  <c:v>6931.8</c:v>
                </c:pt>
                <c:pt idx="4">
                  <c:v>6310.9</c:v>
                </c:pt>
                <c:pt idx="5">
                  <c:v>5970.0202020202023</c:v>
                </c:pt>
                <c:pt idx="6">
                  <c:v>5841.94</c:v>
                </c:pt>
                <c:pt idx="7">
                  <c:v>4098.92</c:v>
                </c:pt>
                <c:pt idx="8">
                  <c:v>3761.1111111111113</c:v>
                </c:pt>
                <c:pt idx="9">
                  <c:v>3513.05</c:v>
                </c:pt>
                <c:pt idx="10">
                  <c:v>3414.7755102040815</c:v>
                </c:pt>
                <c:pt idx="11">
                  <c:v>3000.58</c:v>
                </c:pt>
                <c:pt idx="12">
                  <c:v>2915.26</c:v>
                </c:pt>
                <c:pt idx="13">
                  <c:v>2549.27</c:v>
                </c:pt>
                <c:pt idx="14">
                  <c:v>2261.1836734693879</c:v>
                </c:pt>
                <c:pt idx="15">
                  <c:v>2091.7979797979797</c:v>
                </c:pt>
                <c:pt idx="16">
                  <c:v>1429.39</c:v>
                </c:pt>
                <c:pt idx="17">
                  <c:v>1431.0707070707072</c:v>
                </c:pt>
                <c:pt idx="18">
                  <c:v>1389.5656565656566</c:v>
                </c:pt>
                <c:pt idx="19">
                  <c:v>1363.8080808080808</c:v>
                </c:pt>
                <c:pt idx="20">
                  <c:v>1156.58</c:v>
                </c:pt>
                <c:pt idx="21">
                  <c:v>1169.9072164948454</c:v>
                </c:pt>
                <c:pt idx="22">
                  <c:v>1122.2474226804125</c:v>
                </c:pt>
                <c:pt idx="23">
                  <c:v>982.89</c:v>
                </c:pt>
                <c:pt idx="24">
                  <c:v>1013.0927835051547</c:v>
                </c:pt>
                <c:pt idx="25">
                  <c:v>888.82828282828279</c:v>
                </c:pt>
                <c:pt idx="26">
                  <c:v>772.49494949494954</c:v>
                </c:pt>
                <c:pt idx="27">
                  <c:v>817.85869565217388</c:v>
                </c:pt>
                <c:pt idx="28">
                  <c:v>744.86734693877554</c:v>
                </c:pt>
                <c:pt idx="29">
                  <c:v>698.28735632183907</c:v>
                </c:pt>
                <c:pt idx="30">
                  <c:v>594.35789473684213</c:v>
                </c:pt>
                <c:pt idx="31">
                  <c:v>614.63636363636363</c:v>
                </c:pt>
                <c:pt idx="32">
                  <c:v>474.73469387755102</c:v>
                </c:pt>
                <c:pt idx="33">
                  <c:v>472.06315789473683</c:v>
                </c:pt>
                <c:pt idx="34">
                  <c:v>464.21739130434781</c:v>
                </c:pt>
                <c:pt idx="35">
                  <c:v>431.74736842105261</c:v>
                </c:pt>
                <c:pt idx="36">
                  <c:v>409.38297872340428</c:v>
                </c:pt>
                <c:pt idx="37">
                  <c:v>310.11340206185565</c:v>
                </c:pt>
                <c:pt idx="38">
                  <c:v>306.57142857142856</c:v>
                </c:pt>
                <c:pt idx="39">
                  <c:v>197.19354838709677</c:v>
                </c:pt>
                <c:pt idx="40">
                  <c:v>201.87777777777777</c:v>
                </c:pt>
                <c:pt idx="41">
                  <c:v>137.64646464646464</c:v>
                </c:pt>
                <c:pt idx="42">
                  <c:v>85.195652173913047</c:v>
                </c:pt>
                <c:pt idx="43">
                  <c:v>106.42465753424658</c:v>
                </c:pt>
                <c:pt idx="44">
                  <c:v>177.34375</c:v>
                </c:pt>
                <c:pt idx="45">
                  <c:v>233.45833333333334</c:v>
                </c:pt>
                <c:pt idx="46">
                  <c:v>78.709090909090904</c:v>
                </c:pt>
                <c:pt idx="47">
                  <c:v>58.203125</c:v>
                </c:pt>
                <c:pt idx="48">
                  <c:v>7.769230769230769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9</c:f>
              <c:strCache>
                <c:ptCount val="48"/>
                <c:pt idx="0">
                  <c:v>Mini Babybel Rouge Filet St Paulin Ferme 1X264Gr 12P</c:v>
                </c:pt>
                <c:pt idx="1">
                  <c:v>La Vache Qui Rit Nature Fromage Fondu Boite Ronde 1X192Gr 12P</c:v>
                </c:pt>
                <c:pt idx="2">
                  <c:v>Mini Babybel Rouge Filet St Paulin Ferme 1X132Gr 6P</c:v>
                </c:pt>
                <c:pt idx="3">
                  <c:v>La Vache Qui Rit Nature Fromage Fondu Boite Ronde 1X512Gr 32P</c:v>
                </c:pt>
                <c:pt idx="4">
                  <c:v>Kiri Creme Fromage Blanc Frais Carre 1X216Gr 12P</c:v>
                </c:pt>
                <c:pt idx="5">
                  <c:v>La Vache Qui Rit Nature Fromage Fondu Boite Ronde 1X384Gr 24P</c:v>
                </c:pt>
                <c:pt idx="6">
                  <c:v>Kiri Creme Fromage Blanc Frais Carre 1X144Gr 8P</c:v>
                </c:pt>
                <c:pt idx="7">
                  <c:v>Boursin Classique Fromage Frais A Tartiner Afh Boite 1X150Gr 1P</c:v>
                </c:pt>
                <c:pt idx="8">
                  <c:v>Boursin Classique Fromage Frais A Tartiner Afh 1X160Gr 10P</c:v>
                </c:pt>
                <c:pt idx="9">
                  <c:v>Kiri Gouter Fromage Blanc Dips Boite 1X175Gr 5P</c:v>
                </c:pt>
                <c:pt idx="10">
                  <c:v>Kiri Creme Fromage Blanc Frais Carre 1X432Gr 24P</c:v>
                </c:pt>
                <c:pt idx="11">
                  <c:v>Boursin Classique Fromage Frais A Tartiner Afh Boite 1X250Gr 1P</c:v>
                </c:pt>
                <c:pt idx="12">
                  <c:v>Kiri Gouter Fromage Blanc Dips Boite 1X280Gr 8P</c:v>
                </c:pt>
                <c:pt idx="13">
                  <c:v>Boursin Onctueux Fromage Frais A Tartiner Afh 1X125Gr 1P</c:v>
                </c:pt>
                <c:pt idx="14">
                  <c:v>La Vache Qui Rit Pik Et Croq' Fromage Fondu Dips Boite 1X175Gr 5P</c:v>
                </c:pt>
                <c:pt idx="15">
                  <c:v>Boursin Classique Fromage Frais A Tartiner Figue Et 3 Noix Boite 1X150Gr 1P</c:v>
                </c:pt>
                <c:pt idx="16">
                  <c:v>Boursin Classique Fromage Frais A Tartiner Afh Boite 1X96Gr 6P</c:v>
                </c:pt>
                <c:pt idx="17">
                  <c:v>Boursin Salade &amp; Aperitif Fromage Frais Des Afh 1X120Gr 1P</c:v>
                </c:pt>
                <c:pt idx="18">
                  <c:v>Boursin Classique Fromage Frais A Tartiner Ciboulette &amp; Echalote Boite 1X150Gr 1P</c:v>
                </c:pt>
                <c:pt idx="19">
                  <c:v>Mini Babybel Rouge Filet St Paulin Ferme 1X440Gr 20P</c:v>
                </c:pt>
                <c:pt idx="20">
                  <c:v>La Vache Qui Rit Allegee Fromage Fondu Boite Ronde Allege 1X267Gr 16P</c:v>
                </c:pt>
                <c:pt idx="21">
                  <c:v>Boursin Classique Fromage Frais A Tartiner Poivre Boite 1X150Gr 1P</c:v>
                </c:pt>
                <c:pt idx="22">
                  <c:v>La Vache Qui Rit Pik Et Croq' Fromage Fondu Dips Boite 1X280Gr 8P</c:v>
                </c:pt>
                <c:pt idx="23">
                  <c:v>Babybel Mini Rolls St Paulin Ferme Sachet 1X85Gr 5P</c:v>
                </c:pt>
                <c:pt idx="24">
                  <c:v>Kiri Bio Fromage Blanc Frais Carre 1X144Gr 8P</c:v>
                </c:pt>
                <c:pt idx="25">
                  <c:v>Boursin Classique Fromage Frais A Tartiner Afh 1X256Gr 16P</c:v>
                </c:pt>
                <c:pt idx="26">
                  <c:v>Kiri Delicieusement Fouette Fromage Frais A Tartiner 1X125Gr 1P</c:v>
                </c:pt>
                <c:pt idx="27">
                  <c:v>Mini Babybel Aros St Paulin Ferme Assortis Filet 1X180Gr 9P</c:v>
                </c:pt>
                <c:pt idx="28">
                  <c:v>Kiri Creme Fromage Blanc Frais Carre 1X432Gr 18+6P</c:v>
                </c:pt>
                <c:pt idx="29">
                  <c:v>Boursin Classique Fromage Frais A Tartiner Ciboulette &amp; Echalote 1X160Gr 10P</c:v>
                </c:pt>
                <c:pt idx="30">
                  <c:v>La Vache Qui Rit Aro Fromage Fondu Boite Ronde Jambon 1X133Gr 8P</c:v>
                </c:pt>
                <c:pt idx="31">
                  <c:v>Kiri Chevre Fromage Blanc Frais Carre 1X144Gr 8P</c:v>
                </c:pt>
                <c:pt idx="32">
                  <c:v>Mini Babybel Rouge Filet St Paulin Ferme 1X396Gr 12+6P</c:v>
                </c:pt>
                <c:pt idx="33">
                  <c:v>Mini Babybel Aros Soft Cheese Enfant 180G</c:v>
                </c:pt>
                <c:pt idx="34">
                  <c:v>Kiri Delicieusement Fouette Fromage Frais A Tartiner 1X160Gr 10P</c:v>
                </c:pt>
                <c:pt idx="35">
                  <c:v>Mini Babybel Aros St Paulin Ferme Raclette Filet 1X132Gr 6P</c:v>
                </c:pt>
                <c:pt idx="36">
                  <c:v>Boursin Salade &amp; Aperitif Fromage Frais Des Ciboulette Echalote 1X120Gr 1P</c:v>
                </c:pt>
                <c:pt idx="37">
                  <c:v>Boursin Salade &amp; Aperitif Fromage Frais Des Figue Noix 1X120Gr 1P</c:v>
                </c:pt>
                <c:pt idx="38">
                  <c:v>Boursin Classique Fromage Frais A Tartiner Afh Boite 1X80Gr 1P</c:v>
                </c:pt>
                <c:pt idx="39">
                  <c:v>Boursin Salade &amp; Aperitif Fromage Frais Des Citron Romarin 1X120Gr 1P</c:v>
                </c:pt>
                <c:pt idx="40">
                  <c:v>Mini Babybel Rouge Filet St Paulin Ferme Sachet 1X40Gr 1P</c:v>
                </c:pt>
                <c:pt idx="41">
                  <c:v>Mini Babybel Aros Soft Cheese Enfant 110G</c:v>
                </c:pt>
                <c:pt idx="42">
                  <c:v>Boursin Salade &amp; Aperitif Fromage Frais Des Noisette Et 3 Noix 1X120Gr 1P</c:v>
                </c:pt>
                <c:pt idx="43">
                  <c:v>Boursin Classique Fromage Frais A Tartiner Truffe Boite 1X150Gr 1P</c:v>
                </c:pt>
                <c:pt idx="44">
                  <c:v>Boursin Salade &amp; Aperitif Soft Cheese Salade 120G</c:v>
                </c:pt>
                <c:pt idx="45">
                  <c:v>Mini Babybel Bio St Paulin Ferme Filet 1X100Gr 5P</c:v>
                </c:pt>
                <c:pt idx="46">
                  <c:v>La Vache Qui Rit Nature Fromage Fondu Boite Ronde 1X128Gr 8P</c:v>
                </c:pt>
                <c:pt idx="47">
                  <c:v>Kiri Delicieusement Fouette Fromage Frais A Tartiner 1X210Gr 1P</c:v>
                </c:pt>
              </c:strCache>
            </c:strRef>
          </c:cat>
          <c:val>
            <c:numRef>
              <c:f>Sheet1!$B$2:$B$49</c:f>
              <c:numCache>
                <c:formatCode>General</c:formatCode>
                <c:ptCount val="48"/>
                <c:pt idx="0">
                  <c:v>0.88</c:v>
                </c:pt>
                <c:pt idx="1">
                  <c:v>0.98</c:v>
                </c:pt>
                <c:pt idx="2">
                  <c:v>0.98</c:v>
                </c:pt>
                <c:pt idx="3">
                  <c:v>0.68</c:v>
                </c:pt>
                <c:pt idx="4">
                  <c:v>0.85</c:v>
                </c:pt>
                <c:pt idx="5">
                  <c:v>0.68</c:v>
                </c:pt>
                <c:pt idx="6">
                  <c:v>0.92</c:v>
                </c:pt>
                <c:pt idx="7">
                  <c:v>0.98</c:v>
                </c:pt>
                <c:pt idx="8">
                  <c:v>0.9</c:v>
                </c:pt>
                <c:pt idx="9">
                  <c:v>0.9</c:v>
                </c:pt>
                <c:pt idx="10">
                  <c:v>0.52</c:v>
                </c:pt>
                <c:pt idx="11">
                  <c:v>0.89</c:v>
                </c:pt>
                <c:pt idx="12">
                  <c:v>0.68</c:v>
                </c:pt>
                <c:pt idx="13">
                  <c:v>0.81</c:v>
                </c:pt>
                <c:pt idx="14">
                  <c:v>0.82</c:v>
                </c:pt>
                <c:pt idx="15">
                  <c:v>0.89</c:v>
                </c:pt>
                <c:pt idx="16">
                  <c:v>0.74</c:v>
                </c:pt>
                <c:pt idx="17">
                  <c:v>0.85</c:v>
                </c:pt>
                <c:pt idx="18">
                  <c:v>0.83</c:v>
                </c:pt>
                <c:pt idx="19">
                  <c:v>0.39</c:v>
                </c:pt>
                <c:pt idx="20">
                  <c:v>0.5</c:v>
                </c:pt>
                <c:pt idx="21">
                  <c:v>0.75</c:v>
                </c:pt>
                <c:pt idx="22">
                  <c:v>0.42</c:v>
                </c:pt>
                <c:pt idx="23">
                  <c:v>0.41</c:v>
                </c:pt>
                <c:pt idx="24">
                  <c:v>0.31</c:v>
                </c:pt>
                <c:pt idx="25">
                  <c:v>0.64</c:v>
                </c:pt>
                <c:pt idx="26">
                  <c:v>0.44</c:v>
                </c:pt>
                <c:pt idx="27">
                  <c:v>0.36</c:v>
                </c:pt>
                <c:pt idx="28">
                  <c:v>0.59</c:v>
                </c:pt>
                <c:pt idx="29">
                  <c:v>0.46</c:v>
                </c:pt>
                <c:pt idx="30">
                  <c:v>0.33</c:v>
                </c:pt>
                <c:pt idx="31">
                  <c:v>0.38</c:v>
                </c:pt>
                <c:pt idx="32">
                  <c:v>0.73</c:v>
                </c:pt>
                <c:pt idx="33">
                  <c:v>0.3</c:v>
                </c:pt>
                <c:pt idx="34">
                  <c:v>0.5</c:v>
                </c:pt>
                <c:pt idx="35">
                  <c:v>0.28999999999999998</c:v>
                </c:pt>
                <c:pt idx="36">
                  <c:v>0.43</c:v>
                </c:pt>
                <c:pt idx="37">
                  <c:v>0.47</c:v>
                </c:pt>
                <c:pt idx="38">
                  <c:v>0.12</c:v>
                </c:pt>
                <c:pt idx="39">
                  <c:v>0.28000000000000003</c:v>
                </c:pt>
                <c:pt idx="40">
                  <c:v>0.13</c:v>
                </c:pt>
                <c:pt idx="41">
                  <c:v>0.19</c:v>
                </c:pt>
                <c:pt idx="42">
                  <c:v>0.41</c:v>
                </c:pt>
                <c:pt idx="43">
                  <c:v>0.33</c:v>
                </c:pt>
                <c:pt idx="44">
                  <c:v>0.14000000000000001</c:v>
                </c:pt>
                <c:pt idx="45">
                  <c:v>0.05</c:v>
                </c:pt>
                <c:pt idx="46">
                  <c:v>0.04</c:v>
                </c:pt>
                <c:pt idx="4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dPt>
            <c:idx val="44"/>
            <c:invertIfNegative val="1"/>
            <c:bubble3D val="0"/>
            <c:spPr>
              <a:solidFill>
                <a:srgbClr val="AEABAB"/>
              </a:solidFill>
            </c:spPr>
            <c:extLst>
              <c:ext xmlns:c16="http://schemas.microsoft.com/office/drawing/2014/chart" uri="{C3380CC4-5D6E-409C-BE32-E72D297353CC}">
                <c16:uniqueId val="{0000005B-EA96-4433-B51D-9EABFAB51048}"/>
              </c:ext>
            </c:extLst>
          </c:dPt>
          <c:dPt>
            <c:idx val="45"/>
            <c:invertIfNegative val="1"/>
            <c:bubble3D val="0"/>
            <c:spPr>
              <a:solidFill>
                <a:srgbClr val="AEABAB"/>
              </a:solidFill>
            </c:spPr>
            <c:extLst>
              <c:ext xmlns:c16="http://schemas.microsoft.com/office/drawing/2014/chart" uri="{C3380CC4-5D6E-409C-BE32-E72D297353CC}">
                <c16:uniqueId val="{0000005D-EA96-4433-B51D-9EABFAB51048}"/>
              </c:ext>
            </c:extLst>
          </c:dPt>
          <c:dPt>
            <c:idx val="46"/>
            <c:invertIfNegative val="1"/>
            <c:bubble3D val="0"/>
            <c:spPr>
              <a:solidFill>
                <a:srgbClr val="AEABAB"/>
              </a:solidFill>
            </c:spPr>
            <c:extLst>
              <c:ext xmlns:c16="http://schemas.microsoft.com/office/drawing/2014/chart" uri="{C3380CC4-5D6E-409C-BE32-E72D297353CC}">
                <c16:uniqueId val="{0000005F-EA96-4433-B51D-9EABFAB51048}"/>
              </c:ext>
            </c:extLst>
          </c:dPt>
          <c:dPt>
            <c:idx val="47"/>
            <c:invertIfNegative val="1"/>
            <c:bubble3D val="0"/>
            <c:spPr>
              <a:solidFill>
                <a:srgbClr val="AEABAB"/>
              </a:solidFill>
            </c:spPr>
            <c:extLst>
              <c:ext xmlns:c16="http://schemas.microsoft.com/office/drawing/2014/chart" uri="{C3380CC4-5D6E-409C-BE32-E72D297353CC}">
                <c16:uniqueId val="{00000061-EA96-4433-B51D-9EABFAB51048}"/>
              </c:ext>
            </c:extLst>
          </c:dPt>
          <c:cat>
            <c:strRef>
              <c:f>Sheet1!$A$2:$A$49</c:f>
              <c:strCache>
                <c:ptCount val="48"/>
                <c:pt idx="0">
                  <c:v>Mini Babybel Rouge Filet St Paulin Ferme 1X264Gr 12P</c:v>
                </c:pt>
                <c:pt idx="1">
                  <c:v>La Vache Qui Rit Nature Fromage Fondu Boite Ronde 1X192Gr 12P</c:v>
                </c:pt>
                <c:pt idx="2">
                  <c:v>Mini Babybel Rouge Filet St Paulin Ferme 1X132Gr 6P</c:v>
                </c:pt>
                <c:pt idx="3">
                  <c:v>La Vache Qui Rit Nature Fromage Fondu Boite Ronde 1X512Gr 32P</c:v>
                </c:pt>
                <c:pt idx="4">
                  <c:v>Kiri Creme Fromage Blanc Frais Carre 1X216Gr 12P</c:v>
                </c:pt>
                <c:pt idx="5">
                  <c:v>La Vache Qui Rit Nature Fromage Fondu Boite Ronde 1X384Gr 24P</c:v>
                </c:pt>
                <c:pt idx="6">
                  <c:v>Kiri Creme Fromage Blanc Frais Carre 1X144Gr 8P</c:v>
                </c:pt>
                <c:pt idx="7">
                  <c:v>Boursin Classique Fromage Frais A Tartiner Afh Boite 1X150Gr 1P</c:v>
                </c:pt>
                <c:pt idx="8">
                  <c:v>Boursin Classique Fromage Frais A Tartiner Afh 1X160Gr 10P</c:v>
                </c:pt>
                <c:pt idx="9">
                  <c:v>Kiri Gouter Fromage Blanc Dips Boite 1X175Gr 5P</c:v>
                </c:pt>
                <c:pt idx="10">
                  <c:v>Kiri Creme Fromage Blanc Frais Carre 1X432Gr 24P</c:v>
                </c:pt>
                <c:pt idx="11">
                  <c:v>Boursin Classique Fromage Frais A Tartiner Afh Boite 1X250Gr 1P</c:v>
                </c:pt>
                <c:pt idx="12">
                  <c:v>Kiri Gouter Fromage Blanc Dips Boite 1X280Gr 8P</c:v>
                </c:pt>
                <c:pt idx="13">
                  <c:v>Boursin Onctueux Fromage Frais A Tartiner Afh 1X125Gr 1P</c:v>
                </c:pt>
                <c:pt idx="14">
                  <c:v>La Vache Qui Rit Pik Et Croq' Fromage Fondu Dips Boite 1X175Gr 5P</c:v>
                </c:pt>
                <c:pt idx="15">
                  <c:v>Boursin Classique Fromage Frais A Tartiner Figue Et 3 Noix Boite 1X150Gr 1P</c:v>
                </c:pt>
                <c:pt idx="16">
                  <c:v>Boursin Classique Fromage Frais A Tartiner Afh Boite 1X96Gr 6P</c:v>
                </c:pt>
                <c:pt idx="17">
                  <c:v>Boursin Salade &amp; Aperitif Fromage Frais Des Afh 1X120Gr 1P</c:v>
                </c:pt>
                <c:pt idx="18">
                  <c:v>Boursin Classique Fromage Frais A Tartiner Ciboulette &amp; Echalote Boite 1X150Gr 1P</c:v>
                </c:pt>
                <c:pt idx="19">
                  <c:v>Mini Babybel Rouge Filet St Paulin Ferme 1X440Gr 20P</c:v>
                </c:pt>
                <c:pt idx="20">
                  <c:v>La Vache Qui Rit Allegee Fromage Fondu Boite Ronde Allege 1X267Gr 16P</c:v>
                </c:pt>
                <c:pt idx="21">
                  <c:v>Boursin Classique Fromage Frais A Tartiner Poivre Boite 1X150Gr 1P</c:v>
                </c:pt>
                <c:pt idx="22">
                  <c:v>La Vache Qui Rit Pik Et Croq' Fromage Fondu Dips Boite 1X280Gr 8P</c:v>
                </c:pt>
                <c:pt idx="23">
                  <c:v>Babybel Mini Rolls St Paulin Ferme Sachet 1X85Gr 5P</c:v>
                </c:pt>
                <c:pt idx="24">
                  <c:v>Kiri Bio Fromage Blanc Frais Carre 1X144Gr 8P</c:v>
                </c:pt>
                <c:pt idx="25">
                  <c:v>Boursin Classique Fromage Frais A Tartiner Afh 1X256Gr 16P</c:v>
                </c:pt>
                <c:pt idx="26">
                  <c:v>Kiri Delicieusement Fouette Fromage Frais A Tartiner 1X125Gr 1P</c:v>
                </c:pt>
                <c:pt idx="27">
                  <c:v>Mini Babybel Aros St Paulin Ferme Assortis Filet 1X180Gr 9P</c:v>
                </c:pt>
                <c:pt idx="28">
                  <c:v>Kiri Creme Fromage Blanc Frais Carre 1X432Gr 18+6P</c:v>
                </c:pt>
                <c:pt idx="29">
                  <c:v>Boursin Classique Fromage Frais A Tartiner Ciboulette &amp; Echalote 1X160Gr 10P</c:v>
                </c:pt>
                <c:pt idx="30">
                  <c:v>La Vache Qui Rit Aro Fromage Fondu Boite Ronde Jambon 1X133Gr 8P</c:v>
                </c:pt>
                <c:pt idx="31">
                  <c:v>Kiri Chevre Fromage Blanc Frais Carre 1X144Gr 8P</c:v>
                </c:pt>
                <c:pt idx="32">
                  <c:v>Mini Babybel Rouge Filet St Paulin Ferme 1X396Gr 12+6P</c:v>
                </c:pt>
                <c:pt idx="33">
                  <c:v>Mini Babybel Aros Soft Cheese Enfant 180G</c:v>
                </c:pt>
                <c:pt idx="34">
                  <c:v>Kiri Delicieusement Fouette Fromage Frais A Tartiner 1X160Gr 10P</c:v>
                </c:pt>
                <c:pt idx="35">
                  <c:v>Mini Babybel Aros St Paulin Ferme Raclette Filet 1X132Gr 6P</c:v>
                </c:pt>
                <c:pt idx="36">
                  <c:v>Boursin Salade &amp; Aperitif Fromage Frais Des Ciboulette Echalote 1X120Gr 1P</c:v>
                </c:pt>
                <c:pt idx="37">
                  <c:v>Boursin Salade &amp; Aperitif Fromage Frais Des Figue Noix 1X120Gr 1P</c:v>
                </c:pt>
                <c:pt idx="38">
                  <c:v>Boursin Classique Fromage Frais A Tartiner Afh Boite 1X80Gr 1P</c:v>
                </c:pt>
                <c:pt idx="39">
                  <c:v>Boursin Salade &amp; Aperitif Fromage Frais Des Citron Romarin 1X120Gr 1P</c:v>
                </c:pt>
                <c:pt idx="40">
                  <c:v>Mini Babybel Rouge Filet St Paulin Ferme Sachet 1X40Gr 1P</c:v>
                </c:pt>
                <c:pt idx="41">
                  <c:v>Mini Babybel Aros Soft Cheese Enfant 110G</c:v>
                </c:pt>
                <c:pt idx="42">
                  <c:v>Boursin Salade &amp; Aperitif Fromage Frais Des Noisette Et 3 Noix 1X120Gr 1P</c:v>
                </c:pt>
                <c:pt idx="43">
                  <c:v>Boursin Classique Fromage Frais A Tartiner Truffe Boite 1X150Gr 1P</c:v>
                </c:pt>
                <c:pt idx="44">
                  <c:v>Boursin Salade &amp; Aperitif Soft Cheese Salade 120G</c:v>
                </c:pt>
                <c:pt idx="45">
                  <c:v>Mini Babybel Bio St Paulin Ferme Filet 1X100Gr 5P</c:v>
                </c:pt>
                <c:pt idx="46">
                  <c:v>La Vache Qui Rit Nature Fromage Fondu Boite Ronde 1X128Gr 8P</c:v>
                </c:pt>
                <c:pt idx="47">
                  <c:v>Kiri Delicieusement Fouette Fromage Frais A Tartiner 1X210Gr 1P</c:v>
                </c:pt>
              </c:strCache>
            </c:strRef>
          </c:cat>
          <c:val>
            <c:numRef>
              <c:f>Sheet1!$C$2:$C$49</c:f>
              <c:numCache>
                <c:formatCode>General</c:formatCode>
                <c:ptCount val="48"/>
                <c:pt idx="0">
                  <c:v>0.11964064660740202</c:v>
                </c:pt>
                <c:pt idx="1">
                  <c:v>0.223641698266067</c:v>
                </c:pt>
                <c:pt idx="2">
                  <c:v>0.32219809579447778</c:v>
                </c:pt>
                <c:pt idx="3">
                  <c:v>0.39488072370192462</c:v>
                </c:pt>
                <c:pt idx="4">
                  <c:v>0.46194154706023005</c:v>
                </c:pt>
                <c:pt idx="5">
                  <c:v>0.51983695941461172</c:v>
                </c:pt>
                <c:pt idx="6">
                  <c:v>0.5678032163865453</c:v>
                </c:pt>
                <c:pt idx="7">
                  <c:v>0.61083186894170383</c:v>
                </c:pt>
                <c:pt idx="8">
                  <c:v>0.65289319169433668</c:v>
                </c:pt>
                <c:pt idx="9">
                  <c:v>0.69126043180922969</c:v>
                </c:pt>
                <c:pt idx="10">
                  <c:v>0.72360324191247338</c:v>
                </c:pt>
                <c:pt idx="11">
                  <c:v>0.75225065360849186</c:v>
                </c:pt>
                <c:pt idx="12">
                  <c:v>0.78031123211405762</c:v>
                </c:pt>
                <c:pt idx="13">
                  <c:v>0.80323373077944871</c:v>
                </c:pt>
                <c:pt idx="14">
                  <c:v>0.82410972943353611</c:v>
                </c:pt>
                <c:pt idx="15">
                  <c:v>0.84337127892913588</c:v>
                </c:pt>
                <c:pt idx="16">
                  <c:v>0.86098991079920195</c:v>
                </c:pt>
                <c:pt idx="17">
                  <c:v>0.87656957842865302</c:v>
                </c:pt>
                <c:pt idx="18">
                  <c:v>0.8913766501394057</c:v>
                </c:pt>
                <c:pt idx="19">
                  <c:v>0.90315769126473788</c:v>
                </c:pt>
                <c:pt idx="20">
                  <c:v>0.91419412647678666</c:v>
                </c:pt>
                <c:pt idx="21">
                  <c:v>0.92450892193384138</c:v>
                </c:pt>
                <c:pt idx="22">
                  <c:v>0.93236251076090104</c:v>
                </c:pt>
                <c:pt idx="23">
                  <c:v>0.93962711332016835</c:v>
                </c:pt>
                <c:pt idx="24">
                  <c:v>0.94612653611601827</c:v>
                </c:pt>
                <c:pt idx="25">
                  <c:v>0.95229916961787775</c:v>
                </c:pt>
                <c:pt idx="26">
                  <c:v>0.95825147153864998</c:v>
                </c:pt>
                <c:pt idx="27">
                  <c:v>0.96333859521512044</c:v>
                </c:pt>
                <c:pt idx="28">
                  <c:v>0.96752979948749573</c:v>
                </c:pt>
                <c:pt idx="29">
                  <c:v>0.97169014298466982</c:v>
                </c:pt>
                <c:pt idx="30">
                  <c:v>0.97558027527572233</c:v>
                </c:pt>
                <c:pt idx="31">
                  <c:v>0.97935127062064953</c:v>
                </c:pt>
                <c:pt idx="32">
                  <c:v>0.98282777283168055</c:v>
                </c:pt>
                <c:pt idx="33">
                  <c:v>0.98614171770357062</c:v>
                </c:pt>
                <c:pt idx="34">
                  <c:v>0.98867277973169532</c:v>
                </c:pt>
                <c:pt idx="35">
                  <c:v>0.99095432401924022</c:v>
                </c:pt>
                <c:pt idx="36">
                  <c:v>0.99315716136848142</c:v>
                </c:pt>
                <c:pt idx="37">
                  <c:v>0.99480294976380124</c:v>
                </c:pt>
                <c:pt idx="38">
                  <c:v>0.99585712035235807</c:v>
                </c:pt>
                <c:pt idx="39">
                  <c:v>0.99675495360297739</c:v>
                </c:pt>
                <c:pt idx="40">
                  <c:v>0.99761797876993952</c:v>
                </c:pt>
                <c:pt idx="41">
                  <c:v>0.99843351662002244</c:v>
                </c:pt>
                <c:pt idx="42">
                  <c:v>0.99907453559018877</c:v>
                </c:pt>
                <c:pt idx="43">
                  <c:v>0.9995721356864552</c:v>
                </c:pt>
                <c:pt idx="44">
                  <c:v>0.99993349383328722</c:v>
                </c:pt>
                <c:pt idx="45">
                  <c:v>0.999971890379177</c:v>
                </c:pt>
                <c:pt idx="46">
                  <c:v>0.99999700961480575</c:v>
                </c:pt>
                <c:pt idx="47">
                  <c:v>0.9999999999999996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9</c:f>
              <c:strCache>
                <c:ptCount val="48"/>
                <c:pt idx="0">
                  <c:v>Mini Babybel Rouge Filet St Paulin Ferme 1X264Gr 12P</c:v>
                </c:pt>
                <c:pt idx="1">
                  <c:v>La Vache Qui Rit Nature Fromage Fondu Boite Ronde 1X192Gr 12P</c:v>
                </c:pt>
                <c:pt idx="2">
                  <c:v>Mini Babybel Rouge Filet St Paulin Ferme 1X132Gr 6P</c:v>
                </c:pt>
                <c:pt idx="3">
                  <c:v>La Vache Qui Rit Nature Fromage Fondu Boite Ronde 1X512Gr 32P</c:v>
                </c:pt>
                <c:pt idx="4">
                  <c:v>Kiri Creme Fromage Blanc Frais Carre 1X216Gr 12P</c:v>
                </c:pt>
                <c:pt idx="5">
                  <c:v>La Vache Qui Rit Nature Fromage Fondu Boite Ronde 1X384Gr 24P</c:v>
                </c:pt>
                <c:pt idx="6">
                  <c:v>Kiri Creme Fromage Blanc Frais Carre 1X144Gr 8P</c:v>
                </c:pt>
                <c:pt idx="7">
                  <c:v>Boursin Classique Fromage Frais A Tartiner Afh Boite 1X150Gr 1P</c:v>
                </c:pt>
                <c:pt idx="8">
                  <c:v>Boursin Classique Fromage Frais A Tartiner Afh 1X160Gr 10P</c:v>
                </c:pt>
                <c:pt idx="9">
                  <c:v>Kiri Gouter Fromage Blanc Dips Boite 1X175Gr 5P</c:v>
                </c:pt>
                <c:pt idx="10">
                  <c:v>Kiri Creme Fromage Blanc Frais Carre 1X432Gr 24P</c:v>
                </c:pt>
                <c:pt idx="11">
                  <c:v>Boursin Classique Fromage Frais A Tartiner Afh Boite 1X250Gr 1P</c:v>
                </c:pt>
                <c:pt idx="12">
                  <c:v>Kiri Gouter Fromage Blanc Dips Boite 1X280Gr 8P</c:v>
                </c:pt>
                <c:pt idx="13">
                  <c:v>Boursin Onctueux Fromage Frais A Tartiner Afh 1X125Gr 1P</c:v>
                </c:pt>
                <c:pt idx="14">
                  <c:v>La Vache Qui Rit Pik Et Croq' Fromage Fondu Dips Boite 1X175Gr 5P</c:v>
                </c:pt>
                <c:pt idx="15">
                  <c:v>Boursin Classique Fromage Frais A Tartiner Figue Et 3 Noix Boite 1X150Gr 1P</c:v>
                </c:pt>
                <c:pt idx="16">
                  <c:v>Boursin Classique Fromage Frais A Tartiner Afh Boite 1X96Gr 6P</c:v>
                </c:pt>
                <c:pt idx="17">
                  <c:v>Boursin Salade &amp; Aperitif Fromage Frais Des Afh 1X120Gr 1P</c:v>
                </c:pt>
                <c:pt idx="18">
                  <c:v>Boursin Classique Fromage Frais A Tartiner Ciboulette &amp; Echalote Boite 1X150Gr 1P</c:v>
                </c:pt>
                <c:pt idx="19">
                  <c:v>Mini Babybel Rouge Filet St Paulin Ferme 1X440Gr 20P</c:v>
                </c:pt>
                <c:pt idx="20">
                  <c:v>La Vache Qui Rit Allegee Fromage Fondu Boite Ronde Allege 1X267Gr 16P</c:v>
                </c:pt>
                <c:pt idx="21">
                  <c:v>Boursin Classique Fromage Frais A Tartiner Poivre Boite 1X150Gr 1P</c:v>
                </c:pt>
                <c:pt idx="22">
                  <c:v>La Vache Qui Rit Pik Et Croq' Fromage Fondu Dips Boite 1X280Gr 8P</c:v>
                </c:pt>
                <c:pt idx="23">
                  <c:v>Babybel Mini Rolls St Paulin Ferme Sachet 1X85Gr 5P</c:v>
                </c:pt>
                <c:pt idx="24">
                  <c:v>Kiri Bio Fromage Blanc Frais Carre 1X144Gr 8P</c:v>
                </c:pt>
                <c:pt idx="25">
                  <c:v>Boursin Classique Fromage Frais A Tartiner Afh 1X256Gr 16P</c:v>
                </c:pt>
                <c:pt idx="26">
                  <c:v>Kiri Delicieusement Fouette Fromage Frais A Tartiner 1X125Gr 1P</c:v>
                </c:pt>
                <c:pt idx="27">
                  <c:v>Mini Babybel Aros St Paulin Ferme Assortis Filet 1X180Gr 9P</c:v>
                </c:pt>
                <c:pt idx="28">
                  <c:v>Kiri Creme Fromage Blanc Frais Carre 1X432Gr 18+6P</c:v>
                </c:pt>
                <c:pt idx="29">
                  <c:v>Boursin Classique Fromage Frais A Tartiner Ciboulette &amp; Echalote 1X160Gr 10P</c:v>
                </c:pt>
                <c:pt idx="30">
                  <c:v>La Vache Qui Rit Aro Fromage Fondu Boite Ronde Jambon 1X133Gr 8P</c:v>
                </c:pt>
                <c:pt idx="31">
                  <c:v>Kiri Chevre Fromage Blanc Frais Carre 1X144Gr 8P</c:v>
                </c:pt>
                <c:pt idx="32">
                  <c:v>Mini Babybel Rouge Filet St Paulin Ferme 1X396Gr 12+6P</c:v>
                </c:pt>
                <c:pt idx="33">
                  <c:v>Mini Babybel Aros Soft Cheese Enfant 180G</c:v>
                </c:pt>
                <c:pt idx="34">
                  <c:v>Kiri Delicieusement Fouette Fromage Frais A Tartiner 1X160Gr 10P</c:v>
                </c:pt>
                <c:pt idx="35">
                  <c:v>Mini Babybel Aros St Paulin Ferme Raclette Filet 1X132Gr 6P</c:v>
                </c:pt>
                <c:pt idx="36">
                  <c:v>Boursin Salade &amp; Aperitif Fromage Frais Des Ciboulette Echalote 1X120Gr 1P</c:v>
                </c:pt>
                <c:pt idx="37">
                  <c:v>Boursin Salade &amp; Aperitif Fromage Frais Des Figue Noix 1X120Gr 1P</c:v>
                </c:pt>
                <c:pt idx="38">
                  <c:v>Boursin Classique Fromage Frais A Tartiner Afh Boite 1X80Gr 1P</c:v>
                </c:pt>
                <c:pt idx="39">
                  <c:v>Boursin Salade &amp; Aperitif Fromage Frais Des Citron Romarin 1X120Gr 1P</c:v>
                </c:pt>
                <c:pt idx="40">
                  <c:v>Mini Babybel Rouge Filet St Paulin Ferme Sachet 1X40Gr 1P</c:v>
                </c:pt>
                <c:pt idx="41">
                  <c:v>Mini Babybel Aros Soft Cheese Enfant 110G</c:v>
                </c:pt>
                <c:pt idx="42">
                  <c:v>Boursin Salade &amp; Aperitif Fromage Frais Des Noisette Et 3 Noix 1X120Gr 1P</c:v>
                </c:pt>
                <c:pt idx="43">
                  <c:v>Boursin Classique Fromage Frais A Tartiner Truffe Boite 1X150Gr 1P</c:v>
                </c:pt>
                <c:pt idx="44">
                  <c:v>Boursin Salade &amp; Aperitif Soft Cheese Salade 120G</c:v>
                </c:pt>
                <c:pt idx="45">
                  <c:v>Mini Babybel Bio St Paulin Ferme Filet 1X100Gr 5P</c:v>
                </c:pt>
                <c:pt idx="46">
                  <c:v>La Vache Qui Rit Nature Fromage Fondu Boite Ronde 1X128Gr 8P</c:v>
                </c:pt>
                <c:pt idx="47">
                  <c:v>Kiri Delicieusement Fouette Fromage Frais A Tartiner 1X210Gr 1P</c:v>
                </c:pt>
              </c:strCache>
            </c:strRef>
          </c:cat>
          <c:val>
            <c:numRef>
              <c:f>Sheet1!$D$2:$D$49</c:f>
              <c:numCache>
                <c:formatCode>General</c:formatCode>
                <c:ptCount val="48"/>
                <c:pt idx="0">
                  <c:v>11366.03409090909</c:v>
                </c:pt>
                <c:pt idx="1">
                  <c:v>8872.0612244897966</c:v>
                </c:pt>
                <c:pt idx="2">
                  <c:v>8407.5918367346931</c:v>
                </c:pt>
                <c:pt idx="3">
                  <c:v>8935.823529411764</c:v>
                </c:pt>
                <c:pt idx="4">
                  <c:v>6595.7294117647061</c:v>
                </c:pt>
                <c:pt idx="5">
                  <c:v>7117.838235294118</c:v>
                </c:pt>
                <c:pt idx="6">
                  <c:v>4358.739130434783</c:v>
                </c:pt>
                <c:pt idx="7">
                  <c:v>3670.6632653061224</c:v>
                </c:pt>
                <c:pt idx="8">
                  <c:v>3907.088888888889</c:v>
                </c:pt>
                <c:pt idx="9">
                  <c:v>3563.9444444444443</c:v>
                </c:pt>
                <c:pt idx="10">
                  <c:v>5199.8076923076924</c:v>
                </c:pt>
                <c:pt idx="11">
                  <c:v>2690.9662921348313</c:v>
                </c:pt>
                <c:pt idx="12">
                  <c:v>3449.8529411764707</c:v>
                </c:pt>
                <c:pt idx="13">
                  <c:v>2365.8641975308642</c:v>
                </c:pt>
                <c:pt idx="14">
                  <c:v>2128.3658536585367</c:v>
                </c:pt>
                <c:pt idx="15">
                  <c:v>1809.314606741573</c:v>
                </c:pt>
                <c:pt idx="16">
                  <c:v>1990.4594594594594</c:v>
                </c:pt>
                <c:pt idx="17">
                  <c:v>1532.3294117647058</c:v>
                </c:pt>
                <c:pt idx="18">
                  <c:v>1491.433734939759</c:v>
                </c:pt>
                <c:pt idx="19">
                  <c:v>2525.4102564102564</c:v>
                </c:pt>
                <c:pt idx="20">
                  <c:v>1845.32</c:v>
                </c:pt>
                <c:pt idx="21">
                  <c:v>1149.7733333333333</c:v>
                </c:pt>
                <c:pt idx="22">
                  <c:v>1563.2619047619048</c:v>
                </c:pt>
                <c:pt idx="23">
                  <c:v>1481.2926829268292</c:v>
                </c:pt>
                <c:pt idx="24">
                  <c:v>1752.7741935483871</c:v>
                </c:pt>
                <c:pt idx="25">
                  <c:v>806.3125</c:v>
                </c:pt>
                <c:pt idx="26">
                  <c:v>1130.9545454545455</c:v>
                </c:pt>
                <c:pt idx="27">
                  <c:v>1181.3611111111111</c:v>
                </c:pt>
                <c:pt idx="28">
                  <c:v>593.88135593220341</c:v>
                </c:pt>
                <c:pt idx="29">
                  <c:v>756.10869565217388</c:v>
                </c:pt>
                <c:pt idx="30">
                  <c:v>985.5151515151515</c:v>
                </c:pt>
                <c:pt idx="31">
                  <c:v>829.63157894736844</c:v>
                </c:pt>
                <c:pt idx="32">
                  <c:v>398.13698630136986</c:v>
                </c:pt>
                <c:pt idx="33">
                  <c:v>923.5</c:v>
                </c:pt>
                <c:pt idx="34">
                  <c:v>423.2</c:v>
                </c:pt>
                <c:pt idx="35">
                  <c:v>657.72413793103453</c:v>
                </c:pt>
                <c:pt idx="36">
                  <c:v>428.27906976744185</c:v>
                </c:pt>
                <c:pt idx="37">
                  <c:v>292.74468085106383</c:v>
                </c:pt>
                <c:pt idx="38">
                  <c:v>734.41666666666663</c:v>
                </c:pt>
                <c:pt idx="39">
                  <c:v>268.07142857142856</c:v>
                </c:pt>
                <c:pt idx="40">
                  <c:v>555</c:v>
                </c:pt>
                <c:pt idx="41">
                  <c:v>358.84210526315792</c:v>
                </c:pt>
                <c:pt idx="42">
                  <c:v>130.70731707317074</c:v>
                </c:pt>
                <c:pt idx="43">
                  <c:v>126.06060606060606</c:v>
                </c:pt>
                <c:pt idx="44">
                  <c:v>215.78571428571425</c:v>
                </c:pt>
                <c:pt idx="45">
                  <c:v>64.2</c:v>
                </c:pt>
                <c:pt idx="46">
                  <c:v>11</c:v>
                </c:pt>
                <c:pt idx="47">
                  <c:v>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1</c:f>
              <c:strCache>
                <c:ptCount val="30"/>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Edition Limitee Saison Fromage Fondu Cube Assortis 1X250Gr 48P</c:v>
                </c:pt>
                <c:pt idx="6">
                  <c:v>Apericube Nature Fromage Fondu Cube 1X125Gr 24P</c:v>
                </c:pt>
                <c:pt idx="7">
                  <c:v>Apericube Incontournable Fromage Fondu Cube Assortis 1X250Gr 48P</c:v>
                </c:pt>
                <c:pt idx="8">
                  <c:v>Boursin Aperitif Roules Fromage Frais Roule Ciboulette &amp; Echalote Jambon Fume Boite 1X100Gr 20P</c:v>
                </c:pt>
                <c:pt idx="9">
                  <c:v>Apericube Campagne Fromage Fondu Cube Assortis 1X125Gr 24P</c:v>
                </c:pt>
                <c:pt idx="10">
                  <c:v>Apericube Carrement Toque Fromage Fondu Cube Assortis 1X250Gr 48P</c:v>
                </c:pt>
                <c:pt idx="11">
                  <c:v>Apericube Best Of Des Saveurs Fromage Fondu Cube Assortis 1X125Gr 24P</c:v>
                </c:pt>
                <c:pt idx="12">
                  <c:v>Apericube Edition Voyage Fromage Fondu Cube Assortis 1X250Gr 48P</c:v>
                </c:pt>
                <c:pt idx="13">
                  <c:v>Apericube Long Drink Fromage Fondu Cube Assortis 1X125Gr 24P</c:v>
                </c:pt>
                <c:pt idx="14">
                  <c:v>Apericube Vertical Soiree Apero Fromage Fondu Cube Assortis 1X125Gr 24P</c:v>
                </c:pt>
                <c:pt idx="15">
                  <c:v>Apericube Soiree Match Aperitif 250G</c:v>
                </c:pt>
                <c:pt idx="16">
                  <c:v>Apericube Charcut' Fromages Fromage Fondu Cube Assortis 1X250Gr 48P</c:v>
                </c:pt>
                <c:pt idx="17">
                  <c:v>Apericube Nature Fromage Fondu Cube 1X250Gr 48P</c:v>
                </c:pt>
                <c:pt idx="18">
                  <c:v>Apericube Selection Du Fromager Fromage Fondu Cube Assortis 1X250Gr 48P</c:v>
                </c:pt>
                <c:pt idx="19">
                  <c:v>Apericube Sucre Sale Fromage Fondu Cube Assortis 1X250Gr 48P</c:v>
                </c:pt>
                <c:pt idx="20">
                  <c:v>Apericube Vertical Nature Fromage Fondu Cube 1X125Gr 24P</c:v>
                </c:pt>
                <c:pt idx="21">
                  <c:v>Apericube Hot Chalenge Aperitif 250G</c:v>
                </c:pt>
                <c:pt idx="22">
                  <c:v>Apericube Fromages Du Monde Aperitif 250G</c:v>
                </c:pt>
                <c:pt idx="23">
                  <c:v>Apericube Jambon Fromage Fondu Cube 1X78Gr 15P</c:v>
                </c:pt>
                <c:pt idx="24">
                  <c:v>Apericube P'Tits Plaisirs Fromage Fondu Cube 3 Fromages &amp; Jambon Cru Olive Verte 1X78Gr 15P</c:v>
                </c:pt>
                <c:pt idx="25">
                  <c:v>Apericube Saveurs De L'Authentique Fromage Fondu Cube Assortis 1X250Gr 48P</c:v>
                </c:pt>
                <c:pt idx="26">
                  <c:v>Boursin Aperitif Roules Aperitif 100G</c:v>
                </c:pt>
                <c:pt idx="27">
                  <c:v>Boursin Aperitif Roules Fromage Frais Roule Jambon Fume &amp; Trio De Noix Boite 1X100Gr 20P</c:v>
                </c:pt>
                <c:pt idx="28">
                  <c:v>Apericube Montagne Aperitif 250G</c:v>
                </c:pt>
                <c:pt idx="29">
                  <c:v>Boursin Aperitif Roules Fromage Frais Roule Basilic &amp; Jambon Fume Tomate Boite 1X100Gr 20P</c:v>
                </c:pt>
              </c:strCache>
            </c:strRef>
          </c:cat>
          <c:val>
            <c:numRef>
              <c:f>Sheet1!$B$2:$B$31</c:f>
              <c:numCache>
                <c:formatCode>General</c:formatCode>
                <c:ptCount val="30"/>
                <c:pt idx="0">
                  <c:v>0.90800000000000003</c:v>
                </c:pt>
                <c:pt idx="1">
                  <c:v>0.878</c:v>
                </c:pt>
                <c:pt idx="2">
                  <c:v>0.85799999999999998</c:v>
                </c:pt>
                <c:pt idx="3">
                  <c:v>0.90500000000000003</c:v>
                </c:pt>
                <c:pt idx="4">
                  <c:v>0.75700000000000001</c:v>
                </c:pt>
                <c:pt idx="5">
                  <c:v>0.76200000000000001</c:v>
                </c:pt>
                <c:pt idx="6">
                  <c:v>0.85</c:v>
                </c:pt>
                <c:pt idx="7">
                  <c:v>0.63800000000000001</c:v>
                </c:pt>
                <c:pt idx="8">
                  <c:v>0.78800000000000003</c:v>
                </c:pt>
                <c:pt idx="9">
                  <c:v>0.76300000000000001</c:v>
                </c:pt>
                <c:pt idx="10">
                  <c:v>0.65400000000000003</c:v>
                </c:pt>
                <c:pt idx="11">
                  <c:v>0.81599999999999995</c:v>
                </c:pt>
                <c:pt idx="12">
                  <c:v>0.54</c:v>
                </c:pt>
                <c:pt idx="13">
                  <c:v>0.77900000000000003</c:v>
                </c:pt>
                <c:pt idx="14">
                  <c:v>0.106</c:v>
                </c:pt>
                <c:pt idx="15">
                  <c:v>0.75900000000000001</c:v>
                </c:pt>
                <c:pt idx="16">
                  <c:v>0.505</c:v>
                </c:pt>
                <c:pt idx="17">
                  <c:v>0.51600000000000001</c:v>
                </c:pt>
                <c:pt idx="18">
                  <c:v>0.49399999999999999</c:v>
                </c:pt>
                <c:pt idx="19">
                  <c:v>0.46800000000000003</c:v>
                </c:pt>
                <c:pt idx="20">
                  <c:v>6.3E-2</c:v>
                </c:pt>
                <c:pt idx="21">
                  <c:v>0.47199999999999998</c:v>
                </c:pt>
                <c:pt idx="22">
                  <c:v>0.35099999999999998</c:v>
                </c:pt>
                <c:pt idx="23">
                  <c:v>0.06</c:v>
                </c:pt>
                <c:pt idx="24">
                  <c:v>0.38600000000000001</c:v>
                </c:pt>
                <c:pt idx="25">
                  <c:v>0.14099999999999999</c:v>
                </c:pt>
                <c:pt idx="26">
                  <c:v>0.35199999999999998</c:v>
                </c:pt>
                <c:pt idx="27">
                  <c:v>0.40899999999999997</c:v>
                </c:pt>
                <c:pt idx="28">
                  <c:v>0.26900000000000002</c:v>
                </c:pt>
                <c:pt idx="29">
                  <c:v>8.9999999999999993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1</c:f>
              <c:strCache>
                <c:ptCount val="30"/>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Edition Limitee Saison Fromage Fondu Cube Assortis 1X250Gr 48P</c:v>
                </c:pt>
                <c:pt idx="6">
                  <c:v>Apericube Nature Fromage Fondu Cube 1X125Gr 24P</c:v>
                </c:pt>
                <c:pt idx="7">
                  <c:v>Apericube Incontournable Fromage Fondu Cube Assortis 1X250Gr 48P</c:v>
                </c:pt>
                <c:pt idx="8">
                  <c:v>Boursin Aperitif Roules Fromage Frais Roule Ciboulette &amp; Echalote Jambon Fume Boite 1X100Gr 20P</c:v>
                </c:pt>
                <c:pt idx="9">
                  <c:v>Apericube Campagne Fromage Fondu Cube Assortis 1X125Gr 24P</c:v>
                </c:pt>
                <c:pt idx="10">
                  <c:v>Apericube Carrement Toque Fromage Fondu Cube Assortis 1X250Gr 48P</c:v>
                </c:pt>
                <c:pt idx="11">
                  <c:v>Apericube Best Of Des Saveurs Fromage Fondu Cube Assortis 1X125Gr 24P</c:v>
                </c:pt>
                <c:pt idx="12">
                  <c:v>Apericube Edition Voyage Fromage Fondu Cube Assortis 1X250Gr 48P</c:v>
                </c:pt>
                <c:pt idx="13">
                  <c:v>Apericube Long Drink Fromage Fondu Cube Assortis 1X125Gr 24P</c:v>
                </c:pt>
                <c:pt idx="14">
                  <c:v>Apericube Vertical Soiree Apero Fromage Fondu Cube Assortis 1X125Gr 24P</c:v>
                </c:pt>
                <c:pt idx="15">
                  <c:v>Apericube Soiree Match Aperitif 250G</c:v>
                </c:pt>
                <c:pt idx="16">
                  <c:v>Apericube Charcut' Fromages Fromage Fondu Cube Assortis 1X250Gr 48P</c:v>
                </c:pt>
                <c:pt idx="17">
                  <c:v>Apericube Nature Fromage Fondu Cube 1X250Gr 48P</c:v>
                </c:pt>
                <c:pt idx="18">
                  <c:v>Apericube Selection Du Fromager Fromage Fondu Cube Assortis 1X250Gr 48P</c:v>
                </c:pt>
                <c:pt idx="19">
                  <c:v>Apericube Sucre Sale Fromage Fondu Cube Assortis 1X250Gr 48P</c:v>
                </c:pt>
                <c:pt idx="20">
                  <c:v>Apericube Vertical Nature Fromage Fondu Cube 1X125Gr 24P</c:v>
                </c:pt>
                <c:pt idx="21">
                  <c:v>Apericube Hot Chalenge Aperitif 250G</c:v>
                </c:pt>
                <c:pt idx="22">
                  <c:v>Apericube Fromages Du Monde Aperitif 250G</c:v>
                </c:pt>
                <c:pt idx="23">
                  <c:v>Apericube Jambon Fromage Fondu Cube 1X78Gr 15P</c:v>
                </c:pt>
                <c:pt idx="24">
                  <c:v>Apericube P'Tits Plaisirs Fromage Fondu Cube 3 Fromages &amp; Jambon Cru Olive Verte 1X78Gr 15P</c:v>
                </c:pt>
                <c:pt idx="25">
                  <c:v>Apericube Saveurs De L'Authentique Fromage Fondu Cube Assortis 1X250Gr 48P</c:v>
                </c:pt>
                <c:pt idx="26">
                  <c:v>Boursin Aperitif Roules Aperitif 100G</c:v>
                </c:pt>
                <c:pt idx="27">
                  <c:v>Boursin Aperitif Roules Fromage Frais Roule Jambon Fume &amp; Trio De Noix Boite 1X100Gr 20P</c:v>
                </c:pt>
                <c:pt idx="28">
                  <c:v>Apericube Montagne Aperitif 250G</c:v>
                </c:pt>
                <c:pt idx="29">
                  <c:v>Boursin Aperitif Roules Fromage Frais Roule Basilic &amp; Jambon Fume Tomate Boite 1X100Gr 20P</c:v>
                </c:pt>
              </c:strCache>
            </c:strRef>
          </c:cat>
          <c:val>
            <c:numRef>
              <c:f>Sheet1!$C$2:$C$31</c:f>
              <c:numCache>
                <c:formatCode>General</c:formatCode>
                <c:ptCount val="30"/>
                <c:pt idx="0">
                  <c:v>0.15570798457017718</c:v>
                </c:pt>
                <c:pt idx="1">
                  <c:v>0.28522772664895102</c:v>
                </c:pt>
                <c:pt idx="2">
                  <c:v>0.39710239828786598</c:v>
                </c:pt>
                <c:pt idx="3">
                  <c:v>0.49128426449752627</c:v>
                </c:pt>
                <c:pt idx="4">
                  <c:v>0.55648418331875904</c:v>
                </c:pt>
                <c:pt idx="5">
                  <c:v>0.61780127806773444</c:v>
                </c:pt>
                <c:pt idx="6">
                  <c:v>0.67541935041757861</c:v>
                </c:pt>
                <c:pt idx="7">
                  <c:v>0.71541640285519659</c:v>
                </c:pt>
                <c:pt idx="8">
                  <c:v>0.75214379155213684</c:v>
                </c:pt>
                <c:pt idx="9">
                  <c:v>0.78425842083283792</c:v>
                </c:pt>
                <c:pt idx="10">
                  <c:v>0.81604699524348656</c:v>
                </c:pt>
                <c:pt idx="11">
                  <c:v>0.84721106128059798</c:v>
                </c:pt>
                <c:pt idx="12">
                  <c:v>0.87180680741948158</c:v>
                </c:pt>
                <c:pt idx="13">
                  <c:v>0.89449816908494661</c:v>
                </c:pt>
                <c:pt idx="14">
                  <c:v>0.91353245949993644</c:v>
                </c:pt>
                <c:pt idx="15">
                  <c:v>0.92865215132518775</c:v>
                </c:pt>
                <c:pt idx="16">
                  <c:v>0.94138172587464852</c:v>
                </c:pt>
                <c:pt idx="17">
                  <c:v>0.9527613593167864</c:v>
                </c:pt>
                <c:pt idx="18">
                  <c:v>0.96194053421017334</c:v>
                </c:pt>
                <c:pt idx="19">
                  <c:v>0.96981581908263303</c:v>
                </c:pt>
                <c:pt idx="20">
                  <c:v>0.97717923404963147</c:v>
                </c:pt>
                <c:pt idx="21">
                  <c:v>0.98229105106589598</c:v>
                </c:pt>
                <c:pt idx="22">
                  <c:v>0.98562397098884058</c:v>
                </c:pt>
                <c:pt idx="23">
                  <c:v>0.98883206245025168</c:v>
                </c:pt>
                <c:pt idx="24">
                  <c:v>0.99188746783745274</c:v>
                </c:pt>
                <c:pt idx="25">
                  <c:v>0.9943686623015997</c:v>
                </c:pt>
                <c:pt idx="26">
                  <c:v>0.99628728673734579</c:v>
                </c:pt>
                <c:pt idx="27">
                  <c:v>0.99815422267230436</c:v>
                </c:pt>
                <c:pt idx="28">
                  <c:v>0.99999245904308631</c:v>
                </c:pt>
                <c:pt idx="29">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1</c:f>
              <c:strCache>
                <c:ptCount val="30"/>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Edition Limitee Saison Fromage Fondu Cube Assortis 1X250Gr 48P</c:v>
                </c:pt>
                <c:pt idx="6">
                  <c:v>Apericube Nature Fromage Fondu Cube 1X125Gr 24P</c:v>
                </c:pt>
                <c:pt idx="7">
                  <c:v>Apericube Incontournable Fromage Fondu Cube Assortis 1X250Gr 48P</c:v>
                </c:pt>
                <c:pt idx="8">
                  <c:v>Boursin Aperitif Roules Fromage Frais Roule Ciboulette &amp; Echalote Jambon Fume Boite 1X100Gr 20P</c:v>
                </c:pt>
                <c:pt idx="9">
                  <c:v>Apericube Campagne Fromage Fondu Cube Assortis 1X125Gr 24P</c:v>
                </c:pt>
                <c:pt idx="10">
                  <c:v>Apericube Carrement Toque Fromage Fondu Cube Assortis 1X250Gr 48P</c:v>
                </c:pt>
                <c:pt idx="11">
                  <c:v>Apericube Best Of Des Saveurs Fromage Fondu Cube Assortis 1X125Gr 24P</c:v>
                </c:pt>
                <c:pt idx="12">
                  <c:v>Apericube Edition Voyage Fromage Fondu Cube Assortis 1X250Gr 48P</c:v>
                </c:pt>
                <c:pt idx="13">
                  <c:v>Apericube Long Drink Fromage Fondu Cube Assortis 1X125Gr 24P</c:v>
                </c:pt>
                <c:pt idx="14">
                  <c:v>Apericube Vertical Soiree Apero Fromage Fondu Cube Assortis 1X125Gr 24P</c:v>
                </c:pt>
                <c:pt idx="15">
                  <c:v>Apericube Soiree Match Aperitif 250G</c:v>
                </c:pt>
                <c:pt idx="16">
                  <c:v>Apericube Charcut' Fromages Fromage Fondu Cube Assortis 1X250Gr 48P</c:v>
                </c:pt>
                <c:pt idx="17">
                  <c:v>Apericube Nature Fromage Fondu Cube 1X250Gr 48P</c:v>
                </c:pt>
                <c:pt idx="18">
                  <c:v>Apericube Selection Du Fromager Fromage Fondu Cube Assortis 1X250Gr 48P</c:v>
                </c:pt>
                <c:pt idx="19">
                  <c:v>Apericube Sucre Sale Fromage Fondu Cube Assortis 1X250Gr 48P</c:v>
                </c:pt>
                <c:pt idx="20">
                  <c:v>Apericube Vertical Nature Fromage Fondu Cube 1X125Gr 24P</c:v>
                </c:pt>
                <c:pt idx="21">
                  <c:v>Apericube Hot Chalenge Aperitif 250G</c:v>
                </c:pt>
                <c:pt idx="22">
                  <c:v>Apericube Fromages Du Monde Aperitif 250G</c:v>
                </c:pt>
                <c:pt idx="23">
                  <c:v>Apericube Jambon Fromage Fondu Cube 1X78Gr 15P</c:v>
                </c:pt>
                <c:pt idx="24">
                  <c:v>Apericube P'Tits Plaisirs Fromage Fondu Cube 3 Fromages &amp; Jambon Cru Olive Verte 1X78Gr 15P</c:v>
                </c:pt>
                <c:pt idx="25">
                  <c:v>Apericube Saveurs De L'Authentique Fromage Fondu Cube Assortis 1X250Gr 48P</c:v>
                </c:pt>
                <c:pt idx="26">
                  <c:v>Boursin Aperitif Roules Aperitif 100G</c:v>
                </c:pt>
                <c:pt idx="27">
                  <c:v>Boursin Aperitif Roules Fromage Frais Roule Jambon Fume &amp; Trio De Noix Boite 1X100Gr 20P</c:v>
                </c:pt>
                <c:pt idx="28">
                  <c:v>Apericube Montagne Aperitif 250G</c:v>
                </c:pt>
                <c:pt idx="29">
                  <c:v>Boursin Aperitif Roules Fromage Frais Roule Basilic &amp; Jambon Fume Tomate Boite 1X100Gr 20P</c:v>
                </c:pt>
              </c:strCache>
            </c:strRef>
          </c:cat>
          <c:val>
            <c:numRef>
              <c:f>Sheet1!$D$2:$D$31</c:f>
              <c:numCache>
                <c:formatCode>General</c:formatCode>
                <c:ptCount val="30"/>
                <c:pt idx="0">
                  <c:v>46845.275330396478</c:v>
                </c:pt>
                <c:pt idx="1">
                  <c:v>40297.881548974947</c:v>
                </c:pt>
                <c:pt idx="2">
                  <c:v>35619.289044289042</c:v>
                </c:pt>
                <c:pt idx="3">
                  <c:v>28428.861878453037</c:v>
                </c:pt>
                <c:pt idx="4">
                  <c:v>23528.375165125493</c:v>
                </c:pt>
                <c:pt idx="5">
                  <c:v>21982.007874015748</c:v>
                </c:pt>
                <c:pt idx="6">
                  <c:v>18517.423529411764</c:v>
                </c:pt>
                <c:pt idx="7">
                  <c:v>17125.689655172413</c:v>
                </c:pt>
                <c:pt idx="8">
                  <c:v>12732.233502538071</c:v>
                </c:pt>
                <c:pt idx="9">
                  <c:v>11497.916120576672</c:v>
                </c:pt>
                <c:pt idx="10">
                  <c:v>13278.042813455657</c:v>
                </c:pt>
                <c:pt idx="11">
                  <c:v>10432.892156862747</c:v>
                </c:pt>
                <c:pt idx="12">
                  <c:v>12442.481481481482</c:v>
                </c:pt>
                <c:pt idx="13">
                  <c:v>7957.2657252888312</c:v>
                </c:pt>
                <c:pt idx="14">
                  <c:v>49053.67924528302</c:v>
                </c:pt>
                <c:pt idx="15">
                  <c:v>5441.7918313570481</c:v>
                </c:pt>
                <c:pt idx="16">
                  <c:v>6885.9405940594061</c:v>
                </c:pt>
                <c:pt idx="17">
                  <c:v>6024.4767441860467</c:v>
                </c:pt>
                <c:pt idx="18">
                  <c:v>5075.9514170040484</c:v>
                </c:pt>
                <c:pt idx="19">
                  <c:v>4596.8589743589737</c:v>
                </c:pt>
                <c:pt idx="20">
                  <c:v>31928.571428571431</c:v>
                </c:pt>
                <c:pt idx="21">
                  <c:v>2958.5169491525426</c:v>
                </c:pt>
                <c:pt idx="22">
                  <c:v>2593.9316239316245</c:v>
                </c:pt>
                <c:pt idx="23">
                  <c:v>14606.166666666666</c:v>
                </c:pt>
                <c:pt idx="24">
                  <c:v>2162.3316062176164</c:v>
                </c:pt>
                <c:pt idx="25">
                  <c:v>4807.0921985815612</c:v>
                </c:pt>
                <c:pt idx="26">
                  <c:v>1488.977272727273</c:v>
                </c:pt>
                <c:pt idx="27">
                  <c:v>1246.9437652811737</c:v>
                </c:pt>
                <c:pt idx="28">
                  <c:v>1866.7657992565055</c:v>
                </c:pt>
                <c:pt idx="29">
                  <c:v>63.33333333333334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Soignon</c:v>
                </c:pt>
                <c:pt idx="2">
                  <c:v>President</c:v>
                </c:pt>
                <c:pt idx="3">
                  <c:v>St Moret</c:v>
                </c:pt>
                <c:pt idx="4">
                  <c:v>Caprice Des Dieux</c:v>
                </c:pt>
                <c:pt idx="5">
                  <c:v>La Vache Qui Rit</c:v>
                </c:pt>
                <c:pt idx="6">
                  <c:v>Coeur De Lion</c:v>
                </c:pt>
                <c:pt idx="7">
                  <c:v>Kiri</c:v>
                </c:pt>
                <c:pt idx="8">
                  <c:v>Boursin</c:v>
                </c:pt>
                <c:pt idx="9">
                  <c:v>Others</c:v>
                </c:pt>
              </c:strCache>
            </c:strRef>
          </c:cat>
          <c:val>
            <c:numRef>
              <c:f>Sheet1!$B$2:$B$11</c:f>
              <c:numCache>
                <c:formatCode>General</c:formatCode>
                <c:ptCount val="10"/>
                <c:pt idx="0">
                  <c:v>0.44534823328010381</c:v>
                </c:pt>
                <c:pt idx="1">
                  <c:v>5.2486209448675561E-2</c:v>
                </c:pt>
                <c:pt idx="2">
                  <c:v>4.0587765429961294E-2</c:v>
                </c:pt>
                <c:pt idx="3">
                  <c:v>4.0258832567620029E-2</c:v>
                </c:pt>
                <c:pt idx="4">
                  <c:v>3.7794700872172404E-2</c:v>
                </c:pt>
                <c:pt idx="5">
                  <c:v>3.2120897510564628E-2</c:v>
                </c:pt>
                <c:pt idx="6">
                  <c:v>2.9899083446711328E-2</c:v>
                </c:pt>
                <c:pt idx="7">
                  <c:v>2.5360558045659527E-2</c:v>
                </c:pt>
                <c:pt idx="8">
                  <c:v>1.8506482151084878E-2</c:v>
                </c:pt>
                <c:pt idx="9">
                  <c:v>0.2776372372474465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Soignon</c:v>
                </c:pt>
                <c:pt idx="2">
                  <c:v>President</c:v>
                </c:pt>
                <c:pt idx="3">
                  <c:v>St Moret</c:v>
                </c:pt>
                <c:pt idx="4">
                  <c:v>Caprice Des Dieux</c:v>
                </c:pt>
                <c:pt idx="5">
                  <c:v>La Vache Qui Rit</c:v>
                </c:pt>
                <c:pt idx="6">
                  <c:v>Coeur De Lion</c:v>
                </c:pt>
                <c:pt idx="7">
                  <c:v>Kiri</c:v>
                </c:pt>
                <c:pt idx="8">
                  <c:v>Boursin</c:v>
                </c:pt>
                <c:pt idx="9">
                  <c:v>Others</c:v>
                </c:pt>
              </c:strCache>
            </c:strRef>
          </c:cat>
          <c:val>
            <c:numRef>
              <c:f>Sheet1!$C$2:$C$11</c:f>
              <c:numCache>
                <c:formatCode>General</c:formatCode>
                <c:ptCount val="10"/>
                <c:pt idx="0">
                  <c:v>0.33957457648707173</c:v>
                </c:pt>
                <c:pt idx="1">
                  <c:v>5.1585785250286606E-2</c:v>
                </c:pt>
                <c:pt idx="2">
                  <c:v>5.2477391415106378E-2</c:v>
                </c:pt>
                <c:pt idx="3">
                  <c:v>3.4517895809451027E-2</c:v>
                </c:pt>
                <c:pt idx="4">
                  <c:v>2.5601834161253344E-2</c:v>
                </c:pt>
                <c:pt idx="5">
                  <c:v>2.687555725385302E-2</c:v>
                </c:pt>
                <c:pt idx="6">
                  <c:v>2.2290154120494208E-2</c:v>
                </c:pt>
                <c:pt idx="7">
                  <c:v>3.2862055789071462E-2</c:v>
                </c:pt>
                <c:pt idx="8">
                  <c:v>3.2607311170551524E-2</c:v>
                </c:pt>
                <c:pt idx="9">
                  <c:v>0.3816074385428607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Soignon</c:v>
                </c:pt>
                <c:pt idx="2">
                  <c:v>President</c:v>
                </c:pt>
                <c:pt idx="3">
                  <c:v>St Moret</c:v>
                </c:pt>
                <c:pt idx="4">
                  <c:v>Caprice Des Dieux</c:v>
                </c:pt>
                <c:pt idx="5">
                  <c:v>La Vache Qui Rit</c:v>
                </c:pt>
                <c:pt idx="6">
                  <c:v>Coeur De Lion</c:v>
                </c:pt>
                <c:pt idx="7">
                  <c:v>Kiri</c:v>
                </c:pt>
                <c:pt idx="8">
                  <c:v>Boursin</c:v>
                </c:pt>
                <c:pt idx="9">
                  <c:v>Others</c:v>
                </c:pt>
              </c:strCache>
            </c:strRef>
          </c:cat>
          <c:val>
            <c:numRef>
              <c:f>Sheet1!$D$2:$D$11</c:f>
              <c:numCache>
                <c:formatCode>General</c:formatCode>
                <c:ptCount val="10"/>
                <c:pt idx="0">
                  <c:v>76.249225013427804</c:v>
                </c:pt>
                <c:pt idx="1">
                  <c:v>98.284455654452529</c:v>
                </c:pt>
                <c:pt idx="2">
                  <c:v>129.29362052626908</c:v>
                </c:pt>
                <c:pt idx="3">
                  <c:v>85.739932352667353</c:v>
                </c:pt>
                <c:pt idx="4">
                  <c:v>67.739216266964931</c:v>
                </c:pt>
                <c:pt idx="5">
                  <c:v>83.670007181504175</c:v>
                </c:pt>
                <c:pt idx="6">
                  <c:v>74.551295728585146</c:v>
                </c:pt>
                <c:pt idx="7">
                  <c:v>129.57938752730175</c:v>
                </c:pt>
                <c:pt idx="8">
                  <c:v>176.19400005008535</c:v>
                </c:pt>
                <c:pt idx="9">
                  <c:v>137.4482192396799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Campagne Fromage Fondu Cube Assortis 1X125Gr 24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Apericube Soiree Match Aperitif 250G</c:v>
                </c:pt>
                <c:pt idx="15">
                  <c:v>Apericube Hot Chalenge Aperitif 250G</c:v>
                </c:pt>
                <c:pt idx="16">
                  <c:v>Apericube Best Of Des Saveurs Fromage Fondu Cube Assortis 1X125Gr 24P</c:v>
                </c:pt>
                <c:pt idx="17">
                  <c:v>Apericube Fromages Du Monde Aperitif 250G</c:v>
                </c:pt>
                <c:pt idx="18">
                  <c:v>Apericube Montagne Aperitif 250G</c:v>
                </c:pt>
                <c:pt idx="19">
                  <c:v>Boursin Aperitif Roules Fromage Frais Roule Jambon Fume &amp; Trio De Noix Boite 1X100Gr 20P</c:v>
                </c:pt>
                <c:pt idx="20">
                  <c:v>Boursin Aperitif Roules Aperitif 100G</c:v>
                </c:pt>
                <c:pt idx="21">
                  <c:v>Apericube Carrement Toque Fromage Fondu Cube Assortis 1X250Gr 48P</c:v>
                </c:pt>
              </c:strCache>
            </c:strRef>
          </c:cat>
          <c:val>
            <c:numRef>
              <c:f>Sheet1!$B$2:$B$23</c:f>
              <c:numCache>
                <c:formatCode>General</c:formatCode>
                <c:ptCount val="22"/>
                <c:pt idx="0">
                  <c:v>0.95599999999999996</c:v>
                </c:pt>
                <c:pt idx="1">
                  <c:v>0.96399999999999997</c:v>
                </c:pt>
                <c:pt idx="2">
                  <c:v>0.93500000000000005</c:v>
                </c:pt>
                <c:pt idx="3">
                  <c:v>0.93400000000000005</c:v>
                </c:pt>
                <c:pt idx="4">
                  <c:v>0.96599999999999997</c:v>
                </c:pt>
                <c:pt idx="5">
                  <c:v>0.86499999999999999</c:v>
                </c:pt>
                <c:pt idx="6">
                  <c:v>0.88400000000000001</c:v>
                </c:pt>
                <c:pt idx="7">
                  <c:v>0.94</c:v>
                </c:pt>
                <c:pt idx="8">
                  <c:v>0.86799999999999999</c:v>
                </c:pt>
                <c:pt idx="9">
                  <c:v>0.91100000000000003</c:v>
                </c:pt>
                <c:pt idx="10">
                  <c:v>0.92</c:v>
                </c:pt>
                <c:pt idx="11">
                  <c:v>0.83599999999999997</c:v>
                </c:pt>
                <c:pt idx="12">
                  <c:v>0.873</c:v>
                </c:pt>
                <c:pt idx="13">
                  <c:v>0.76700000000000002</c:v>
                </c:pt>
                <c:pt idx="14">
                  <c:v>0.76700000000000002</c:v>
                </c:pt>
                <c:pt idx="15">
                  <c:v>0.501</c:v>
                </c:pt>
                <c:pt idx="16">
                  <c:v>0.66700000000000004</c:v>
                </c:pt>
                <c:pt idx="17">
                  <c:v>0.28399999999999997</c:v>
                </c:pt>
                <c:pt idx="18">
                  <c:v>0.27100000000000002</c:v>
                </c:pt>
                <c:pt idx="19">
                  <c:v>0.75</c:v>
                </c:pt>
                <c:pt idx="20">
                  <c:v>0.66100000000000003</c:v>
                </c:pt>
                <c:pt idx="21">
                  <c:v>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Campagne Fromage Fondu Cube Assortis 1X125Gr 24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Apericube Soiree Match Aperitif 250G</c:v>
                </c:pt>
                <c:pt idx="15">
                  <c:v>Apericube Hot Chalenge Aperitif 250G</c:v>
                </c:pt>
                <c:pt idx="16">
                  <c:v>Apericube Best Of Des Saveurs Fromage Fondu Cube Assortis 1X125Gr 24P</c:v>
                </c:pt>
                <c:pt idx="17">
                  <c:v>Apericube Fromages Du Monde Aperitif 250G</c:v>
                </c:pt>
                <c:pt idx="18">
                  <c:v>Apericube Montagne Aperitif 250G</c:v>
                </c:pt>
                <c:pt idx="19">
                  <c:v>Boursin Aperitif Roules Fromage Frais Roule Jambon Fume &amp; Trio De Noix Boite 1X100Gr 20P</c:v>
                </c:pt>
                <c:pt idx="20">
                  <c:v>Boursin Aperitif Roules Aperitif 100G</c:v>
                </c:pt>
                <c:pt idx="21">
                  <c:v>Apericube Carrement Toque Fromage Fondu Cube Assortis 1X250Gr 48P</c:v>
                </c:pt>
              </c:strCache>
            </c:strRef>
          </c:cat>
          <c:val>
            <c:numRef>
              <c:f>Sheet1!$C$2:$C$23</c:f>
              <c:numCache>
                <c:formatCode>General</c:formatCode>
                <c:ptCount val="22"/>
                <c:pt idx="0">
                  <c:v>0.14086003998624166</c:v>
                </c:pt>
                <c:pt idx="1">
                  <c:v>0.26625242880570366</c:v>
                </c:pt>
                <c:pt idx="2">
                  <c:v>0.37228944375925116</c:v>
                </c:pt>
                <c:pt idx="3">
                  <c:v>0.45979770918585428</c:v>
                </c:pt>
                <c:pt idx="4">
                  <c:v>0.53867914716588661</c:v>
                </c:pt>
                <c:pt idx="5">
                  <c:v>0.6133463656172774</c:v>
                </c:pt>
                <c:pt idx="6">
                  <c:v>0.67735226826176009</c:v>
                </c:pt>
                <c:pt idx="7">
                  <c:v>0.73792697746304259</c:v>
                </c:pt>
                <c:pt idx="8">
                  <c:v>0.79251024840295525</c:v>
                </c:pt>
                <c:pt idx="9">
                  <c:v>0.84113576899096898</c:v>
                </c:pt>
                <c:pt idx="10">
                  <c:v>0.88959194249096307</c:v>
                </c:pt>
                <c:pt idx="11">
                  <c:v>0.92792428206726862</c:v>
                </c:pt>
                <c:pt idx="12">
                  <c:v>0.95177477744834038</c:v>
                </c:pt>
                <c:pt idx="13">
                  <c:v>0.96966632452383594</c:v>
                </c:pt>
                <c:pt idx="14">
                  <c:v>0.98176997655822451</c:v>
                </c:pt>
                <c:pt idx="15">
                  <c:v>0.98685086111995957</c:v>
                </c:pt>
                <c:pt idx="16">
                  <c:v>0.99113383592935334</c:v>
                </c:pt>
                <c:pt idx="17">
                  <c:v>0.99381474735429198</c:v>
                </c:pt>
                <c:pt idx="18">
                  <c:v>0.99612469245715718</c:v>
                </c:pt>
                <c:pt idx="19">
                  <c:v>0.99823512382031043</c:v>
                </c:pt>
                <c:pt idx="20">
                  <c:v>0.99998809306647995</c:v>
                </c:pt>
                <c:pt idx="21">
                  <c:v>0.9999978945056580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3</c:f>
              <c:strCache>
                <c:ptCount val="22"/>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Campagne Fromage Fondu Cube Assortis 1X125Gr 24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Apericube Soiree Match Aperitif 250G</c:v>
                </c:pt>
                <c:pt idx="15">
                  <c:v>Apericube Hot Chalenge Aperitif 250G</c:v>
                </c:pt>
                <c:pt idx="16">
                  <c:v>Apericube Best Of Des Saveurs Fromage Fondu Cube Assortis 1X125Gr 24P</c:v>
                </c:pt>
                <c:pt idx="17">
                  <c:v>Apericube Fromages Du Monde Aperitif 250G</c:v>
                </c:pt>
                <c:pt idx="18">
                  <c:v>Apericube Montagne Aperitif 250G</c:v>
                </c:pt>
                <c:pt idx="19">
                  <c:v>Boursin Aperitif Roules Fromage Frais Roule Jambon Fume &amp; Trio De Noix Boite 1X100Gr 20P</c:v>
                </c:pt>
                <c:pt idx="20">
                  <c:v>Boursin Aperitif Roules Aperitif 100G</c:v>
                </c:pt>
                <c:pt idx="21">
                  <c:v>Apericube Carrement Toque Fromage Fondu Cube Assortis 1X250Gr 48P</c:v>
                </c:pt>
              </c:strCache>
            </c:strRef>
          </c:cat>
          <c:val>
            <c:numRef>
              <c:f>Sheet1!$D$2:$D$23</c:f>
              <c:numCache>
                <c:formatCode>General</c:formatCode>
                <c:ptCount val="22"/>
                <c:pt idx="0">
                  <c:v>40588.577405857744</c:v>
                </c:pt>
                <c:pt idx="1">
                  <c:v>35831.753112033199</c:v>
                </c:pt>
                <c:pt idx="2">
                  <c:v>31240.631016042782</c:v>
                </c:pt>
                <c:pt idx="3">
                  <c:v>25809.293361884367</c:v>
                </c:pt>
                <c:pt idx="4">
                  <c:v>22494.254658385096</c:v>
                </c:pt>
                <c:pt idx="5">
                  <c:v>23778.682080924857</c:v>
                </c:pt>
                <c:pt idx="6">
                  <c:v>19945.35067873303</c:v>
                </c:pt>
                <c:pt idx="7">
                  <c:v>17751.59574468085</c:v>
                </c:pt>
                <c:pt idx="8">
                  <c:v>17322.626728110601</c:v>
                </c:pt>
                <c:pt idx="9">
                  <c:v>14703.468715697034</c:v>
                </c:pt>
                <c:pt idx="10">
                  <c:v>14508.923913043478</c:v>
                </c:pt>
                <c:pt idx="11">
                  <c:v>12630.861244019139</c:v>
                </c:pt>
                <c:pt idx="12">
                  <c:v>7525.8762886597942</c:v>
                </c:pt>
                <c:pt idx="13">
                  <c:v>6425.7887874837024</c:v>
                </c:pt>
                <c:pt idx="14">
                  <c:v>4347.0534550195562</c:v>
                </c:pt>
                <c:pt idx="15">
                  <c:v>2793.6726546906189</c:v>
                </c:pt>
                <c:pt idx="16">
                  <c:v>1768.8605697151424</c:v>
                </c:pt>
                <c:pt idx="17">
                  <c:v>2600.3873239436621</c:v>
                </c:pt>
                <c:pt idx="18">
                  <c:v>2348.0442804428044</c:v>
                </c:pt>
                <c:pt idx="19">
                  <c:v>775.14666666666665</c:v>
                </c:pt>
                <c:pt idx="20">
                  <c:v>730.54462934947037</c:v>
                </c:pt>
                <c:pt idx="21">
                  <c:v>107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9</c:f>
              <c:strCache>
                <c:ptCount val="28"/>
                <c:pt idx="0">
                  <c:v>Apericube Edition Limitee Best Of Foot Fromage Fondu Cube Assortis 1X250Gr 48P</c:v>
                </c:pt>
                <c:pt idx="1">
                  <c:v>Apericube Long Drink Fromage Fondu Cube Assortis 1X250Gr 48P</c:v>
                </c:pt>
                <c:pt idx="2">
                  <c:v>Apericube Cocktail Fromage Fondu Cube Assortis 1X250Gr 48P</c:v>
                </c:pt>
                <c:pt idx="3">
                  <c:v>Apericube Incontournable Fromage Fondu Cube Assortis 1X250Gr 48P</c:v>
                </c:pt>
                <c:pt idx="4">
                  <c:v>Apericube Tonic Fromage Fondu Cube Assortis 1X250Gr 48P</c:v>
                </c:pt>
                <c:pt idx="5">
                  <c:v>Apericube Edition Limitee Saison Fromage Fondu Cube Assortis 1X250Gr 48P</c:v>
                </c:pt>
                <c:pt idx="6">
                  <c:v>Boursin Aperitif Roules Fromage Frais Roule Afh Et Jambon Fume Boite 1X100Gr 20P</c:v>
                </c:pt>
                <c:pt idx="7">
                  <c:v>Apericube Carrement Toque Fromage Fondu Cube Assortis 1X250Gr 48P</c:v>
                </c:pt>
                <c:pt idx="8">
                  <c:v>Apericube Nature Fromage Fondu Cube 1X125Gr 24P</c:v>
                </c:pt>
                <c:pt idx="9">
                  <c:v>Apericube Edition Voyage Fromage Fondu Cube Assortis 1X250Gr 48P</c:v>
                </c:pt>
                <c:pt idx="10">
                  <c:v>Apericube Campagne Fromage Fondu Cube Assortis 1X125Gr 24P</c:v>
                </c:pt>
                <c:pt idx="11">
                  <c:v>Boursin Aperitif Roules Fromage Frais Roule Ciboulette &amp; Echalote Jambon Fume Boite 1X100Gr 20P</c:v>
                </c:pt>
                <c:pt idx="12">
                  <c:v>Apericube Best Of Des Saveurs Fromage Fondu Cube Assortis 1X125Gr 24P</c:v>
                </c:pt>
                <c:pt idx="13">
                  <c:v>Apericube Long Drink Fromage Fondu Cube Assortis 1X125Gr 24P</c:v>
                </c:pt>
                <c:pt idx="14">
                  <c:v>Apericube Charcut' Fromages Fromage Fondu Cube Assortis 1X250Gr 48P</c:v>
                </c:pt>
                <c:pt idx="15">
                  <c:v>Apericube Nature Fromage Fondu Cube 1X250Gr 48P</c:v>
                </c:pt>
                <c:pt idx="16">
                  <c:v>Apericube Soiree Match Aperitif 250G</c:v>
                </c:pt>
                <c:pt idx="17">
                  <c:v>Apericube Selection Du Fromager Fromage Fondu Cube Assortis 1X250Gr 48P</c:v>
                </c:pt>
                <c:pt idx="18">
                  <c:v>Apericube Sucre Sale Fromage Fondu Cube Assortis 1X250Gr 48P</c:v>
                </c:pt>
                <c:pt idx="19">
                  <c:v>Apericube Hot Chalenge Aperitif 250G</c:v>
                </c:pt>
                <c:pt idx="20">
                  <c:v>Apericube Fromages Du Monde Aperitif 250G</c:v>
                </c:pt>
                <c:pt idx="21">
                  <c:v>Apericube P'Tits Plaisirs Fromage Fondu Cube 3 Fromages &amp; Jambon Cru Olive Verte 1X78Gr 15P</c:v>
                </c:pt>
                <c:pt idx="22">
                  <c:v>Apericube Saveurs De L'Authentique Fromage Fondu Cube Assortis 1X250Gr 48P</c:v>
                </c:pt>
                <c:pt idx="23">
                  <c:v>Apericube Jambon Fromage Fondu Cube 1X78Gr 15P</c:v>
                </c:pt>
                <c:pt idx="24">
                  <c:v>Apericube Montagne Aperitif 250G</c:v>
                </c:pt>
                <c:pt idx="25">
                  <c:v>Boursin Aperitif Roules Aperitif 100G</c:v>
                </c:pt>
                <c:pt idx="26">
                  <c:v>Boursin Aperitif Roules Fromage Frais Roule Jambon Fume &amp; Trio De Noix Boite 1X100Gr 20P</c:v>
                </c:pt>
                <c:pt idx="27">
                  <c:v>Boursin Aperitif Roules Fromage Frais Roule Basilic &amp; Jambon Fume Tomate Boite 1X100Gr 20P</c:v>
                </c:pt>
              </c:strCache>
            </c:strRef>
          </c:cat>
          <c:val>
            <c:numRef>
              <c:f>Sheet1!$B$2:$B$29</c:f>
              <c:numCache>
                <c:formatCode>General</c:formatCode>
                <c:ptCount val="28"/>
                <c:pt idx="0">
                  <c:v>1</c:v>
                </c:pt>
                <c:pt idx="1">
                  <c:v>1</c:v>
                </c:pt>
                <c:pt idx="2">
                  <c:v>1</c:v>
                </c:pt>
                <c:pt idx="3">
                  <c:v>0.99</c:v>
                </c:pt>
                <c:pt idx="4">
                  <c:v>0.97</c:v>
                </c:pt>
                <c:pt idx="5">
                  <c:v>0.98</c:v>
                </c:pt>
                <c:pt idx="6">
                  <c:v>1</c:v>
                </c:pt>
                <c:pt idx="7">
                  <c:v>1</c:v>
                </c:pt>
                <c:pt idx="8">
                  <c:v>1</c:v>
                </c:pt>
                <c:pt idx="9">
                  <c:v>0.91</c:v>
                </c:pt>
                <c:pt idx="10">
                  <c:v>0.99</c:v>
                </c:pt>
                <c:pt idx="11">
                  <c:v>0.95</c:v>
                </c:pt>
                <c:pt idx="12">
                  <c:v>0.97</c:v>
                </c:pt>
                <c:pt idx="13">
                  <c:v>0.98</c:v>
                </c:pt>
                <c:pt idx="14">
                  <c:v>0.7</c:v>
                </c:pt>
                <c:pt idx="15">
                  <c:v>0.79</c:v>
                </c:pt>
                <c:pt idx="16">
                  <c:v>0.97</c:v>
                </c:pt>
                <c:pt idx="17">
                  <c:v>0.7</c:v>
                </c:pt>
                <c:pt idx="18">
                  <c:v>0.66</c:v>
                </c:pt>
                <c:pt idx="19">
                  <c:v>0.96</c:v>
                </c:pt>
                <c:pt idx="20">
                  <c:v>0.71</c:v>
                </c:pt>
                <c:pt idx="21">
                  <c:v>0.83</c:v>
                </c:pt>
                <c:pt idx="22">
                  <c:v>0.31</c:v>
                </c:pt>
                <c:pt idx="23">
                  <c:v>0.09</c:v>
                </c:pt>
                <c:pt idx="24">
                  <c:v>0.54</c:v>
                </c:pt>
                <c:pt idx="25">
                  <c:v>0.53</c:v>
                </c:pt>
                <c:pt idx="26">
                  <c:v>0.48</c:v>
                </c:pt>
                <c:pt idx="27">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9</c:f>
              <c:strCache>
                <c:ptCount val="28"/>
                <c:pt idx="0">
                  <c:v>Apericube Edition Limitee Best Of Foot Fromage Fondu Cube Assortis 1X250Gr 48P</c:v>
                </c:pt>
                <c:pt idx="1">
                  <c:v>Apericube Long Drink Fromage Fondu Cube Assortis 1X250Gr 48P</c:v>
                </c:pt>
                <c:pt idx="2">
                  <c:v>Apericube Cocktail Fromage Fondu Cube Assortis 1X250Gr 48P</c:v>
                </c:pt>
                <c:pt idx="3">
                  <c:v>Apericube Incontournable Fromage Fondu Cube Assortis 1X250Gr 48P</c:v>
                </c:pt>
                <c:pt idx="4">
                  <c:v>Apericube Tonic Fromage Fondu Cube Assortis 1X250Gr 48P</c:v>
                </c:pt>
                <c:pt idx="5">
                  <c:v>Apericube Edition Limitee Saison Fromage Fondu Cube Assortis 1X250Gr 48P</c:v>
                </c:pt>
                <c:pt idx="6">
                  <c:v>Boursin Aperitif Roules Fromage Frais Roule Afh Et Jambon Fume Boite 1X100Gr 20P</c:v>
                </c:pt>
                <c:pt idx="7">
                  <c:v>Apericube Carrement Toque Fromage Fondu Cube Assortis 1X250Gr 48P</c:v>
                </c:pt>
                <c:pt idx="8">
                  <c:v>Apericube Nature Fromage Fondu Cube 1X125Gr 24P</c:v>
                </c:pt>
                <c:pt idx="9">
                  <c:v>Apericube Edition Voyage Fromage Fondu Cube Assortis 1X250Gr 48P</c:v>
                </c:pt>
                <c:pt idx="10">
                  <c:v>Apericube Campagne Fromage Fondu Cube Assortis 1X125Gr 24P</c:v>
                </c:pt>
                <c:pt idx="11">
                  <c:v>Boursin Aperitif Roules Fromage Frais Roule Ciboulette &amp; Echalote Jambon Fume Boite 1X100Gr 20P</c:v>
                </c:pt>
                <c:pt idx="12">
                  <c:v>Apericube Best Of Des Saveurs Fromage Fondu Cube Assortis 1X125Gr 24P</c:v>
                </c:pt>
                <c:pt idx="13">
                  <c:v>Apericube Long Drink Fromage Fondu Cube Assortis 1X125Gr 24P</c:v>
                </c:pt>
                <c:pt idx="14">
                  <c:v>Apericube Charcut' Fromages Fromage Fondu Cube Assortis 1X250Gr 48P</c:v>
                </c:pt>
                <c:pt idx="15">
                  <c:v>Apericube Nature Fromage Fondu Cube 1X250Gr 48P</c:v>
                </c:pt>
                <c:pt idx="16">
                  <c:v>Apericube Soiree Match Aperitif 250G</c:v>
                </c:pt>
                <c:pt idx="17">
                  <c:v>Apericube Selection Du Fromager Fromage Fondu Cube Assortis 1X250Gr 48P</c:v>
                </c:pt>
                <c:pt idx="18">
                  <c:v>Apericube Sucre Sale Fromage Fondu Cube Assortis 1X250Gr 48P</c:v>
                </c:pt>
                <c:pt idx="19">
                  <c:v>Apericube Hot Chalenge Aperitif 250G</c:v>
                </c:pt>
                <c:pt idx="20">
                  <c:v>Apericube Fromages Du Monde Aperitif 250G</c:v>
                </c:pt>
                <c:pt idx="21">
                  <c:v>Apericube P'Tits Plaisirs Fromage Fondu Cube 3 Fromages &amp; Jambon Cru Olive Verte 1X78Gr 15P</c:v>
                </c:pt>
                <c:pt idx="22">
                  <c:v>Apericube Saveurs De L'Authentique Fromage Fondu Cube Assortis 1X250Gr 48P</c:v>
                </c:pt>
                <c:pt idx="23">
                  <c:v>Apericube Jambon Fromage Fondu Cube 1X78Gr 15P</c:v>
                </c:pt>
                <c:pt idx="24">
                  <c:v>Apericube Montagne Aperitif 250G</c:v>
                </c:pt>
                <c:pt idx="25">
                  <c:v>Boursin Aperitif Roules Aperitif 100G</c:v>
                </c:pt>
                <c:pt idx="26">
                  <c:v>Boursin Aperitif Roules Fromage Frais Roule Jambon Fume &amp; Trio De Noix Boite 1X100Gr 20P</c:v>
                </c:pt>
                <c:pt idx="27">
                  <c:v>Boursin Aperitif Roules Fromage Frais Roule Basilic &amp; Jambon Fume Tomate Boite 1X100Gr 20P</c:v>
                </c:pt>
              </c:strCache>
            </c:strRef>
          </c:cat>
          <c:val>
            <c:numRef>
              <c:f>Sheet1!$C$2:$C$29</c:f>
              <c:numCache>
                <c:formatCode>General</c:formatCode>
                <c:ptCount val="28"/>
                <c:pt idx="0">
                  <c:v>0.11603105427223168</c:v>
                </c:pt>
                <c:pt idx="1">
                  <c:v>0.22312987717568283</c:v>
                </c:pt>
                <c:pt idx="2">
                  <c:v>0.32511492298474176</c:v>
                </c:pt>
                <c:pt idx="3">
                  <c:v>0.40345036918752347</c:v>
                </c:pt>
                <c:pt idx="4">
                  <c:v>0.47649218823051509</c:v>
                </c:pt>
                <c:pt idx="5">
                  <c:v>0.54036286098563624</c:v>
                </c:pt>
                <c:pt idx="6">
                  <c:v>0.60355179335863185</c:v>
                </c:pt>
                <c:pt idx="7">
                  <c:v>0.66473767077508039</c:v>
                </c:pt>
                <c:pt idx="8">
                  <c:v>0.722749496299112</c:v>
                </c:pt>
                <c:pt idx="9">
                  <c:v>0.76975280795441015</c:v>
                </c:pt>
                <c:pt idx="10">
                  <c:v>0.80489156771157799</c:v>
                </c:pt>
                <c:pt idx="11">
                  <c:v>0.83552844294584583</c:v>
                </c:pt>
                <c:pt idx="12">
                  <c:v>0.86066633201947551</c:v>
                </c:pt>
                <c:pt idx="13">
                  <c:v>0.88251574110538811</c:v>
                </c:pt>
                <c:pt idx="14">
                  <c:v>0.9019931410737474</c:v>
                </c:pt>
                <c:pt idx="15">
                  <c:v>0.92070929646999777</c:v>
                </c:pt>
                <c:pt idx="16">
                  <c:v>0.93543205618596503</c:v>
                </c:pt>
                <c:pt idx="17">
                  <c:v>0.94852852067969962</c:v>
                </c:pt>
                <c:pt idx="18">
                  <c:v>0.9593057642629953</c:v>
                </c:pt>
                <c:pt idx="19">
                  <c:v>0.96961805318057792</c:v>
                </c:pt>
                <c:pt idx="20">
                  <c:v>0.9762288909535658</c:v>
                </c:pt>
                <c:pt idx="21">
                  <c:v>0.98274413057098653</c:v>
                </c:pt>
                <c:pt idx="22">
                  <c:v>0.98819306449865929</c:v>
                </c:pt>
                <c:pt idx="23">
                  <c:v>0.99195784539782594</c:v>
                </c:pt>
                <c:pt idx="24">
                  <c:v>0.99539809148099734</c:v>
                </c:pt>
                <c:pt idx="25">
                  <c:v>0.99791824555174868</c:v>
                </c:pt>
                <c:pt idx="26">
                  <c:v>0.99999396476290614</c:v>
                </c:pt>
                <c:pt idx="27">
                  <c:v>0.9999985515430974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9</c:f>
              <c:strCache>
                <c:ptCount val="28"/>
                <c:pt idx="0">
                  <c:v>Apericube Edition Limitee Best Of Foot Fromage Fondu Cube Assortis 1X250Gr 48P</c:v>
                </c:pt>
                <c:pt idx="1">
                  <c:v>Apericube Long Drink Fromage Fondu Cube Assortis 1X250Gr 48P</c:v>
                </c:pt>
                <c:pt idx="2">
                  <c:v>Apericube Cocktail Fromage Fondu Cube Assortis 1X250Gr 48P</c:v>
                </c:pt>
                <c:pt idx="3">
                  <c:v>Apericube Incontournable Fromage Fondu Cube Assortis 1X250Gr 48P</c:v>
                </c:pt>
                <c:pt idx="4">
                  <c:v>Apericube Tonic Fromage Fondu Cube Assortis 1X250Gr 48P</c:v>
                </c:pt>
                <c:pt idx="5">
                  <c:v>Apericube Edition Limitee Saison Fromage Fondu Cube Assortis 1X250Gr 48P</c:v>
                </c:pt>
                <c:pt idx="6">
                  <c:v>Boursin Aperitif Roules Fromage Frais Roule Afh Et Jambon Fume Boite 1X100Gr 20P</c:v>
                </c:pt>
                <c:pt idx="7">
                  <c:v>Apericube Carrement Toque Fromage Fondu Cube Assortis 1X250Gr 48P</c:v>
                </c:pt>
                <c:pt idx="8">
                  <c:v>Apericube Nature Fromage Fondu Cube 1X125Gr 24P</c:v>
                </c:pt>
                <c:pt idx="9">
                  <c:v>Apericube Edition Voyage Fromage Fondu Cube Assortis 1X250Gr 48P</c:v>
                </c:pt>
                <c:pt idx="10">
                  <c:v>Apericube Campagne Fromage Fondu Cube Assortis 1X125Gr 24P</c:v>
                </c:pt>
                <c:pt idx="11">
                  <c:v>Boursin Aperitif Roules Fromage Frais Roule Ciboulette &amp; Echalote Jambon Fume Boite 1X100Gr 20P</c:v>
                </c:pt>
                <c:pt idx="12">
                  <c:v>Apericube Best Of Des Saveurs Fromage Fondu Cube Assortis 1X125Gr 24P</c:v>
                </c:pt>
                <c:pt idx="13">
                  <c:v>Apericube Long Drink Fromage Fondu Cube Assortis 1X125Gr 24P</c:v>
                </c:pt>
                <c:pt idx="14">
                  <c:v>Apericube Charcut' Fromages Fromage Fondu Cube Assortis 1X250Gr 48P</c:v>
                </c:pt>
                <c:pt idx="15">
                  <c:v>Apericube Nature Fromage Fondu Cube 1X250Gr 48P</c:v>
                </c:pt>
                <c:pt idx="16">
                  <c:v>Apericube Soiree Match Aperitif 250G</c:v>
                </c:pt>
                <c:pt idx="17">
                  <c:v>Apericube Selection Du Fromager Fromage Fondu Cube Assortis 1X250Gr 48P</c:v>
                </c:pt>
                <c:pt idx="18">
                  <c:v>Apericube Sucre Sale Fromage Fondu Cube Assortis 1X250Gr 48P</c:v>
                </c:pt>
                <c:pt idx="19">
                  <c:v>Apericube Hot Chalenge Aperitif 250G</c:v>
                </c:pt>
                <c:pt idx="20">
                  <c:v>Apericube Fromages Du Monde Aperitif 250G</c:v>
                </c:pt>
                <c:pt idx="21">
                  <c:v>Apericube P'Tits Plaisirs Fromage Fondu Cube 3 Fromages &amp; Jambon Cru Olive Verte 1X78Gr 15P</c:v>
                </c:pt>
                <c:pt idx="22">
                  <c:v>Apericube Saveurs De L'Authentique Fromage Fondu Cube Assortis 1X250Gr 48P</c:v>
                </c:pt>
                <c:pt idx="23">
                  <c:v>Apericube Jambon Fromage Fondu Cube 1X78Gr 15P</c:v>
                </c:pt>
                <c:pt idx="24">
                  <c:v>Apericube Montagne Aperitif 250G</c:v>
                </c:pt>
                <c:pt idx="25">
                  <c:v>Boursin Aperitif Roules Aperitif 100G</c:v>
                </c:pt>
                <c:pt idx="26">
                  <c:v>Boursin Aperitif Roules Fromage Frais Roule Jambon Fume &amp; Trio De Noix Boite 1X100Gr 20P</c:v>
                </c:pt>
                <c:pt idx="27">
                  <c:v>Boursin Aperitif Roules Fromage Frais Roule Basilic &amp; Jambon Fume Tomate Boite 1X100Gr 20P</c:v>
                </c:pt>
              </c:strCache>
            </c:strRef>
          </c:cat>
          <c:val>
            <c:numRef>
              <c:f>Sheet1!$D$2:$D$29</c:f>
              <c:numCache>
                <c:formatCode>General</c:formatCode>
                <c:ptCount val="28"/>
                <c:pt idx="0">
                  <c:v>14419.2</c:v>
                </c:pt>
                <c:pt idx="1">
                  <c:v>13309.19</c:v>
                </c:pt>
                <c:pt idx="2">
                  <c:v>12673.7</c:v>
                </c:pt>
                <c:pt idx="3">
                  <c:v>9833.0909090909099</c:v>
                </c:pt>
                <c:pt idx="4">
                  <c:v>9357.649484536083</c:v>
                </c:pt>
                <c:pt idx="5">
                  <c:v>8099.2040816326535</c:v>
                </c:pt>
                <c:pt idx="6">
                  <c:v>7852.5</c:v>
                </c:pt>
                <c:pt idx="7">
                  <c:v>7603.58</c:v>
                </c:pt>
                <c:pt idx="8">
                  <c:v>7209.14</c:v>
                </c:pt>
                <c:pt idx="9">
                  <c:v>6418.802197802198</c:v>
                </c:pt>
                <c:pt idx="10">
                  <c:v>4410.8080808080804</c:v>
                </c:pt>
                <c:pt idx="11">
                  <c:v>4007.6315789473683</c:v>
                </c:pt>
                <c:pt idx="12">
                  <c:v>3220.5051546391751</c:v>
                </c:pt>
                <c:pt idx="13">
                  <c:v>2770.6428571428573</c:v>
                </c:pt>
                <c:pt idx="14">
                  <c:v>3457.8</c:v>
                </c:pt>
                <c:pt idx="15">
                  <c:v>2944.1265822784812</c:v>
                </c:pt>
                <c:pt idx="16">
                  <c:v>1886.1855670103093</c:v>
                </c:pt>
                <c:pt idx="17">
                  <c:v>2325</c:v>
                </c:pt>
                <c:pt idx="18">
                  <c:v>2029.2272727272727</c:v>
                </c:pt>
                <c:pt idx="19">
                  <c:v>1334.90625</c:v>
                </c:pt>
                <c:pt idx="20">
                  <c:v>1157.0845070422536</c:v>
                </c:pt>
                <c:pt idx="21">
                  <c:v>975.48192771084337</c:v>
                </c:pt>
                <c:pt idx="22">
                  <c:v>2184.3225806451615</c:v>
                </c:pt>
                <c:pt idx="23">
                  <c:v>5198.333333333333</c:v>
                </c:pt>
                <c:pt idx="24">
                  <c:v>791.7037037037037</c:v>
                </c:pt>
                <c:pt idx="25">
                  <c:v>590.90566037735846</c:v>
                </c:pt>
                <c:pt idx="26">
                  <c:v>537.39583333333337</c:v>
                </c:pt>
                <c:pt idx="27">
                  <c:v>28.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9</c:f>
              <c:strCache>
                <c:ptCount val="28"/>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Edition Limitee Saison Fromage Fondu Cube Assortis 1X250Gr 48P</c:v>
                </c:pt>
                <c:pt idx="5">
                  <c:v>Apericube Tonic Fromage Fondu Cube Assortis 1X250Gr 48P</c:v>
                </c:pt>
                <c:pt idx="6">
                  <c:v>Apericube Nature Fromage Fondu Cube 1X125Gr 24P</c:v>
                </c:pt>
                <c:pt idx="7">
                  <c:v>Boursin Aperitif Roules Fromage Frais Roule Ciboulette &amp; Echalote Jambon Fume Boite 1X100Gr 20P</c:v>
                </c:pt>
                <c:pt idx="8">
                  <c:v>Apericube Campagne Fromage Fondu Cube Assortis 1X125Gr 24P</c:v>
                </c:pt>
                <c:pt idx="9">
                  <c:v>Apericube Best Of Des Saveurs Fromage Fondu Cube Assortis 1X125Gr 24P</c:v>
                </c:pt>
                <c:pt idx="10">
                  <c:v>Apericube Long Drink Fromage Fondu Cube Assortis 1X125Gr 24P</c:v>
                </c:pt>
                <c:pt idx="11">
                  <c:v>Apericube Soiree Match Aperitif 250G</c:v>
                </c:pt>
                <c:pt idx="12">
                  <c:v>Apericube Incontournable Fromage Fondu Cube Assortis 1X250Gr 48P</c:v>
                </c:pt>
                <c:pt idx="13">
                  <c:v>Apericube Carrement Toque Fromage Fondu Cube Assortis 1X250Gr 48P</c:v>
                </c:pt>
                <c:pt idx="14">
                  <c:v>Apericube Charcut' Fromages Fromage Fondu Cube Assortis 1X250Gr 48P</c:v>
                </c:pt>
                <c:pt idx="15">
                  <c:v>Apericube Selection Du Fromager Fromage Fondu Cube Assortis 1X250Gr 48P</c:v>
                </c:pt>
                <c:pt idx="16">
                  <c:v>Apericube Edition Voyage Fromage Fondu Cube Assortis 1X250Gr 48P</c:v>
                </c:pt>
                <c:pt idx="17">
                  <c:v>Apericube Sucre Sale Fromage Fondu Cube Assortis 1X250Gr 48P</c:v>
                </c:pt>
                <c:pt idx="18">
                  <c:v>Apericube Nature Fromage Fondu Cube 1X250Gr 48P</c:v>
                </c:pt>
                <c:pt idx="19">
                  <c:v>Apericube Jambon Fromage Fondu Cube 1X78Gr 15P</c:v>
                </c:pt>
                <c:pt idx="20">
                  <c:v>Boursin Aperitif Roules Fromage Frais Roule Jambon Fume &amp; Trio De Noix Boite 1X100Gr 20P</c:v>
                </c:pt>
                <c:pt idx="21">
                  <c:v>Boursin Aperitif Roules Aperitif 100G</c:v>
                </c:pt>
                <c:pt idx="22">
                  <c:v>Apericube Hot Chalenge Aperitif 250G</c:v>
                </c:pt>
                <c:pt idx="23">
                  <c:v>Apericube Fromages Du Monde Aperitif 250G</c:v>
                </c:pt>
                <c:pt idx="24">
                  <c:v>Apericube Montagne Aperitif 250G</c:v>
                </c:pt>
                <c:pt idx="25">
                  <c:v>Apericube P'Tits Plaisirs Fromage Fondu Cube 3 Fromages &amp; Jambon Cru Olive Verte 1X78Gr 15P</c:v>
                </c:pt>
                <c:pt idx="26">
                  <c:v>Apericube Vertical Soiree Apero Fromage Fondu Cube Assortis 1X125Gr 24P</c:v>
                </c:pt>
                <c:pt idx="27">
                  <c:v>Apericube Vertical Nature Fromage Fondu Cube 1X125Gr 24P</c:v>
                </c:pt>
              </c:strCache>
            </c:strRef>
          </c:cat>
          <c:val>
            <c:numRef>
              <c:f>Sheet1!$B$2:$B$29</c:f>
              <c:numCache>
                <c:formatCode>General</c:formatCode>
                <c:ptCount val="28"/>
                <c:pt idx="0">
                  <c:v>0.96</c:v>
                </c:pt>
                <c:pt idx="1">
                  <c:v>0.96</c:v>
                </c:pt>
                <c:pt idx="2">
                  <c:v>0.95</c:v>
                </c:pt>
                <c:pt idx="3">
                  <c:v>0.94</c:v>
                </c:pt>
                <c:pt idx="4">
                  <c:v>0.83</c:v>
                </c:pt>
                <c:pt idx="5">
                  <c:v>0.83</c:v>
                </c:pt>
                <c:pt idx="6">
                  <c:v>0.96</c:v>
                </c:pt>
                <c:pt idx="7">
                  <c:v>0.86</c:v>
                </c:pt>
                <c:pt idx="8">
                  <c:v>0.82</c:v>
                </c:pt>
                <c:pt idx="9">
                  <c:v>0.89</c:v>
                </c:pt>
                <c:pt idx="10">
                  <c:v>0.77</c:v>
                </c:pt>
                <c:pt idx="11">
                  <c:v>0.83</c:v>
                </c:pt>
                <c:pt idx="12">
                  <c:v>0.49</c:v>
                </c:pt>
                <c:pt idx="13">
                  <c:v>0.52</c:v>
                </c:pt>
                <c:pt idx="14">
                  <c:v>0.49</c:v>
                </c:pt>
                <c:pt idx="15">
                  <c:v>0.46</c:v>
                </c:pt>
                <c:pt idx="16">
                  <c:v>0.33</c:v>
                </c:pt>
                <c:pt idx="17">
                  <c:v>0.44</c:v>
                </c:pt>
                <c:pt idx="18">
                  <c:v>0.41</c:v>
                </c:pt>
                <c:pt idx="19">
                  <c:v>0.05</c:v>
                </c:pt>
                <c:pt idx="20">
                  <c:v>0.5</c:v>
                </c:pt>
                <c:pt idx="21">
                  <c:v>0.28999999999999998</c:v>
                </c:pt>
                <c:pt idx="22">
                  <c:v>0.09</c:v>
                </c:pt>
                <c:pt idx="23">
                  <c:v>7.0000000000000007E-2</c:v>
                </c:pt>
                <c:pt idx="24">
                  <c:v>0.06</c:v>
                </c:pt>
                <c:pt idx="25">
                  <c:v>0.02</c:v>
                </c:pt>
                <c:pt idx="26">
                  <c:v>0.01</c:v>
                </c:pt>
                <c:pt idx="27">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9</c:f>
              <c:strCache>
                <c:ptCount val="28"/>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Edition Limitee Saison Fromage Fondu Cube Assortis 1X250Gr 48P</c:v>
                </c:pt>
                <c:pt idx="5">
                  <c:v>Apericube Tonic Fromage Fondu Cube Assortis 1X250Gr 48P</c:v>
                </c:pt>
                <c:pt idx="6">
                  <c:v>Apericube Nature Fromage Fondu Cube 1X125Gr 24P</c:v>
                </c:pt>
                <c:pt idx="7">
                  <c:v>Boursin Aperitif Roules Fromage Frais Roule Ciboulette &amp; Echalote Jambon Fume Boite 1X100Gr 20P</c:v>
                </c:pt>
                <c:pt idx="8">
                  <c:v>Apericube Campagne Fromage Fondu Cube Assortis 1X125Gr 24P</c:v>
                </c:pt>
                <c:pt idx="9">
                  <c:v>Apericube Best Of Des Saveurs Fromage Fondu Cube Assortis 1X125Gr 24P</c:v>
                </c:pt>
                <c:pt idx="10">
                  <c:v>Apericube Long Drink Fromage Fondu Cube Assortis 1X125Gr 24P</c:v>
                </c:pt>
                <c:pt idx="11">
                  <c:v>Apericube Soiree Match Aperitif 250G</c:v>
                </c:pt>
                <c:pt idx="12">
                  <c:v>Apericube Incontournable Fromage Fondu Cube Assortis 1X250Gr 48P</c:v>
                </c:pt>
                <c:pt idx="13">
                  <c:v>Apericube Carrement Toque Fromage Fondu Cube Assortis 1X250Gr 48P</c:v>
                </c:pt>
                <c:pt idx="14">
                  <c:v>Apericube Charcut' Fromages Fromage Fondu Cube Assortis 1X250Gr 48P</c:v>
                </c:pt>
                <c:pt idx="15">
                  <c:v>Apericube Selection Du Fromager Fromage Fondu Cube Assortis 1X250Gr 48P</c:v>
                </c:pt>
                <c:pt idx="16">
                  <c:v>Apericube Edition Voyage Fromage Fondu Cube Assortis 1X250Gr 48P</c:v>
                </c:pt>
                <c:pt idx="17">
                  <c:v>Apericube Sucre Sale Fromage Fondu Cube Assortis 1X250Gr 48P</c:v>
                </c:pt>
                <c:pt idx="18">
                  <c:v>Apericube Nature Fromage Fondu Cube 1X250Gr 48P</c:v>
                </c:pt>
                <c:pt idx="19">
                  <c:v>Apericube Jambon Fromage Fondu Cube 1X78Gr 15P</c:v>
                </c:pt>
                <c:pt idx="20">
                  <c:v>Boursin Aperitif Roules Fromage Frais Roule Jambon Fume &amp; Trio De Noix Boite 1X100Gr 20P</c:v>
                </c:pt>
                <c:pt idx="21">
                  <c:v>Boursin Aperitif Roules Aperitif 100G</c:v>
                </c:pt>
                <c:pt idx="22">
                  <c:v>Apericube Hot Chalenge Aperitif 250G</c:v>
                </c:pt>
                <c:pt idx="23">
                  <c:v>Apericube Fromages Du Monde Aperitif 250G</c:v>
                </c:pt>
                <c:pt idx="24">
                  <c:v>Apericube Montagne Aperitif 250G</c:v>
                </c:pt>
                <c:pt idx="25">
                  <c:v>Apericube P'Tits Plaisirs Fromage Fondu Cube 3 Fromages &amp; Jambon Cru Olive Verte 1X78Gr 15P</c:v>
                </c:pt>
                <c:pt idx="26">
                  <c:v>Apericube Vertical Soiree Apero Fromage Fondu Cube Assortis 1X125Gr 24P</c:v>
                </c:pt>
                <c:pt idx="27">
                  <c:v>Apericube Vertical Nature Fromage Fondu Cube 1X125Gr 24P</c:v>
                </c:pt>
              </c:strCache>
            </c:strRef>
          </c:cat>
          <c:val>
            <c:numRef>
              <c:f>Sheet1!$C$2:$C$29</c:f>
              <c:numCache>
                <c:formatCode>General</c:formatCode>
                <c:ptCount val="28"/>
                <c:pt idx="0">
                  <c:v>0.17129311956479312</c:v>
                </c:pt>
                <c:pt idx="1">
                  <c:v>0.32540834886127301</c:v>
                </c:pt>
                <c:pt idx="2">
                  <c:v>0.46926666351656643</c:v>
                </c:pt>
                <c:pt idx="3">
                  <c:v>0.5477461032917863</c:v>
                </c:pt>
                <c:pt idx="4">
                  <c:v>0.62313484962722676</c:v>
                </c:pt>
                <c:pt idx="5">
                  <c:v>0.69783083071566854</c:v>
                </c:pt>
                <c:pt idx="6">
                  <c:v>0.76937756758848186</c:v>
                </c:pt>
                <c:pt idx="7">
                  <c:v>0.81608473701114381</c:v>
                </c:pt>
                <c:pt idx="8">
                  <c:v>0.85370112807828136</c:v>
                </c:pt>
                <c:pt idx="9">
                  <c:v>0.89055190783080673</c:v>
                </c:pt>
                <c:pt idx="10">
                  <c:v>0.91346392210760874</c:v>
                </c:pt>
                <c:pt idx="11">
                  <c:v>0.93266909018942368</c:v>
                </c:pt>
                <c:pt idx="12">
                  <c:v>0.94286779645695895</c:v>
                </c:pt>
                <c:pt idx="13">
                  <c:v>0.95211488141584677</c:v>
                </c:pt>
                <c:pt idx="14">
                  <c:v>0.96116234589333072</c:v>
                </c:pt>
                <c:pt idx="15">
                  <c:v>0.9686953654492898</c:v>
                </c:pt>
                <c:pt idx="16">
                  <c:v>0.97620535845743694</c:v>
                </c:pt>
                <c:pt idx="17">
                  <c:v>0.98315646547798308</c:v>
                </c:pt>
                <c:pt idx="18">
                  <c:v>0.9898570196901807</c:v>
                </c:pt>
                <c:pt idx="19">
                  <c:v>0.9933539733378256</c:v>
                </c:pt>
                <c:pt idx="20">
                  <c:v>0.99551153518764668</c:v>
                </c:pt>
                <c:pt idx="21">
                  <c:v>0.99731719317852641</c:v>
                </c:pt>
                <c:pt idx="22">
                  <c:v>0.99830082909268203</c:v>
                </c:pt>
                <c:pt idx="23">
                  <c:v>0.99906216037981987</c:v>
                </c:pt>
                <c:pt idx="24">
                  <c:v>0.99970108288119119</c:v>
                </c:pt>
                <c:pt idx="25">
                  <c:v>0.99991516985545825</c:v>
                </c:pt>
                <c:pt idx="26">
                  <c:v>0.99996276376097304</c:v>
                </c:pt>
                <c:pt idx="27">
                  <c:v>0.99998159588186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9</c:f>
              <c:strCache>
                <c:ptCount val="28"/>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Edition Limitee Saison Fromage Fondu Cube Assortis 1X250Gr 48P</c:v>
                </c:pt>
                <c:pt idx="5">
                  <c:v>Apericube Tonic Fromage Fondu Cube Assortis 1X250Gr 48P</c:v>
                </c:pt>
                <c:pt idx="6">
                  <c:v>Apericube Nature Fromage Fondu Cube 1X125Gr 24P</c:v>
                </c:pt>
                <c:pt idx="7">
                  <c:v>Boursin Aperitif Roules Fromage Frais Roule Ciboulette &amp; Echalote Jambon Fume Boite 1X100Gr 20P</c:v>
                </c:pt>
                <c:pt idx="8">
                  <c:v>Apericube Campagne Fromage Fondu Cube Assortis 1X125Gr 24P</c:v>
                </c:pt>
                <c:pt idx="9">
                  <c:v>Apericube Best Of Des Saveurs Fromage Fondu Cube Assortis 1X125Gr 24P</c:v>
                </c:pt>
                <c:pt idx="10">
                  <c:v>Apericube Long Drink Fromage Fondu Cube Assortis 1X125Gr 24P</c:v>
                </c:pt>
                <c:pt idx="11">
                  <c:v>Apericube Soiree Match Aperitif 250G</c:v>
                </c:pt>
                <c:pt idx="12">
                  <c:v>Apericube Incontournable Fromage Fondu Cube Assortis 1X250Gr 48P</c:v>
                </c:pt>
                <c:pt idx="13">
                  <c:v>Apericube Carrement Toque Fromage Fondu Cube Assortis 1X250Gr 48P</c:v>
                </c:pt>
                <c:pt idx="14">
                  <c:v>Apericube Charcut' Fromages Fromage Fondu Cube Assortis 1X250Gr 48P</c:v>
                </c:pt>
                <c:pt idx="15">
                  <c:v>Apericube Selection Du Fromager Fromage Fondu Cube Assortis 1X250Gr 48P</c:v>
                </c:pt>
                <c:pt idx="16">
                  <c:v>Apericube Edition Voyage Fromage Fondu Cube Assortis 1X250Gr 48P</c:v>
                </c:pt>
                <c:pt idx="17">
                  <c:v>Apericube Sucre Sale Fromage Fondu Cube Assortis 1X250Gr 48P</c:v>
                </c:pt>
                <c:pt idx="18">
                  <c:v>Apericube Nature Fromage Fondu Cube 1X250Gr 48P</c:v>
                </c:pt>
                <c:pt idx="19">
                  <c:v>Apericube Jambon Fromage Fondu Cube 1X78Gr 15P</c:v>
                </c:pt>
                <c:pt idx="20">
                  <c:v>Boursin Aperitif Roules Fromage Frais Roule Jambon Fume &amp; Trio De Noix Boite 1X100Gr 20P</c:v>
                </c:pt>
                <c:pt idx="21">
                  <c:v>Boursin Aperitif Roules Aperitif 100G</c:v>
                </c:pt>
                <c:pt idx="22">
                  <c:v>Apericube Hot Chalenge Aperitif 250G</c:v>
                </c:pt>
                <c:pt idx="23">
                  <c:v>Apericube Fromages Du Monde Aperitif 250G</c:v>
                </c:pt>
                <c:pt idx="24">
                  <c:v>Apericube Montagne Aperitif 250G</c:v>
                </c:pt>
                <c:pt idx="25">
                  <c:v>Apericube P'Tits Plaisirs Fromage Fondu Cube 3 Fromages &amp; Jambon Cru Olive Verte 1X78Gr 15P</c:v>
                </c:pt>
                <c:pt idx="26">
                  <c:v>Apericube Vertical Soiree Apero Fromage Fondu Cube Assortis 1X125Gr 24P</c:v>
                </c:pt>
                <c:pt idx="27">
                  <c:v>Apericube Vertical Nature Fromage Fondu Cube 1X125Gr 24P</c:v>
                </c:pt>
              </c:strCache>
            </c:strRef>
          </c:cat>
          <c:val>
            <c:numRef>
              <c:f>Sheet1!$D$2:$D$29</c:f>
              <c:numCache>
                <c:formatCode>General</c:formatCode>
                <c:ptCount val="28"/>
                <c:pt idx="0">
                  <c:v>20844.53125</c:v>
                </c:pt>
                <c:pt idx="1">
                  <c:v>18754.166666666668</c:v>
                </c:pt>
                <c:pt idx="2">
                  <c:v>17690.284210526315</c:v>
                </c:pt>
                <c:pt idx="3">
                  <c:v>9753.2978723404249</c:v>
                </c:pt>
                <c:pt idx="4">
                  <c:v>10610.89156626506</c:v>
                </c:pt>
                <c:pt idx="5">
                  <c:v>10513.385542168675</c:v>
                </c:pt>
                <c:pt idx="6">
                  <c:v>8706.46875</c:v>
                </c:pt>
                <c:pt idx="7">
                  <c:v>6344.6627906976746</c:v>
                </c:pt>
                <c:pt idx="8">
                  <c:v>5359.0365853658541</c:v>
                </c:pt>
                <c:pt idx="9">
                  <c:v>4837.0449438202249</c:v>
                </c:pt>
                <c:pt idx="10">
                  <c:v>3476.1298701298701</c:v>
                </c:pt>
                <c:pt idx="11">
                  <c:v>2703.1084337349398</c:v>
                </c:pt>
                <c:pt idx="12">
                  <c:v>2431.4897959183672</c:v>
                </c:pt>
                <c:pt idx="13">
                  <c:v>2077.4230769230771</c:v>
                </c:pt>
                <c:pt idx="14">
                  <c:v>2157.0204081632655</c:v>
                </c:pt>
                <c:pt idx="15">
                  <c:v>1913.0869565217392</c:v>
                </c:pt>
                <c:pt idx="16">
                  <c:v>2658.5757575757575</c:v>
                </c:pt>
                <c:pt idx="17">
                  <c:v>1845.5454545454545</c:v>
                </c:pt>
                <c:pt idx="18">
                  <c:v>1909.1951219512196</c:v>
                </c:pt>
                <c:pt idx="19">
                  <c:v>8170.4</c:v>
                </c:pt>
                <c:pt idx="20">
                  <c:v>504.1</c:v>
                </c:pt>
                <c:pt idx="21">
                  <c:v>727.37931034482767</c:v>
                </c:pt>
                <c:pt idx="22">
                  <c:v>1276.7777777777778</c:v>
                </c:pt>
                <c:pt idx="23">
                  <c:v>1270.5714285714284</c:v>
                </c:pt>
                <c:pt idx="24">
                  <c:v>1244</c:v>
                </c:pt>
                <c:pt idx="25">
                  <c:v>1250.5</c:v>
                </c:pt>
                <c:pt idx="26">
                  <c:v>556</c:v>
                </c:pt>
                <c:pt idx="27">
                  <c:v>22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Boursin Aperitif Roules Fromage Frais Roule Afh Et Jambon Fume Boite 1X100Gr 20P</c:v>
                </c:pt>
                <c:pt idx="1">
                  <c:v>Apericube Edition Limitee Best Of Foot Fromage Fondu Cube Assortis 1X250Gr 48P</c:v>
                </c:pt>
                <c:pt idx="2">
                  <c:v>Apericube Vertical Soiree Apero Fromage Fondu Cube Assortis 1X125Gr 24P</c:v>
                </c:pt>
                <c:pt idx="3">
                  <c:v>Apericube Cocktail Fromage Fondu Cube Assortis 1X250Gr 48P</c:v>
                </c:pt>
                <c:pt idx="4">
                  <c:v>Apericube Vertical Nature Fromage Fondu Cube 1X125Gr 24P</c:v>
                </c:pt>
                <c:pt idx="5">
                  <c:v>Apericube Best Of Des Saveurs Fromage Fondu Cube Assortis 1X125Gr 24P</c:v>
                </c:pt>
                <c:pt idx="6">
                  <c:v>Apericube Long Drink Fromage Fondu Cube Assortis 1X125Gr 24P</c:v>
                </c:pt>
                <c:pt idx="7">
                  <c:v>Boursin Aperitif Roules Fromage Frais Roule Ciboulette &amp; Echalote Jambon Fume Boite 1X100Gr 20P</c:v>
                </c:pt>
                <c:pt idx="8">
                  <c:v>Apericube Long Drink Fromage Fondu Cube Assortis 1X250Gr 48P</c:v>
                </c:pt>
                <c:pt idx="9">
                  <c:v>Apericube Nature Fromage Fondu Cube 1X125Gr 24P</c:v>
                </c:pt>
                <c:pt idx="10">
                  <c:v>Apericube Soiree Match Aperitif 250G</c:v>
                </c:pt>
              </c:strCache>
            </c:strRef>
          </c:cat>
          <c:val>
            <c:numRef>
              <c:f>Sheet1!$B$2:$B$12</c:f>
              <c:numCache>
                <c:formatCode>General</c:formatCode>
                <c:ptCount val="11"/>
                <c:pt idx="0">
                  <c:v>0.56000000000000005</c:v>
                </c:pt>
                <c:pt idx="1">
                  <c:v>0.53</c:v>
                </c:pt>
                <c:pt idx="2">
                  <c:v>0.62</c:v>
                </c:pt>
                <c:pt idx="3">
                  <c:v>0.35</c:v>
                </c:pt>
                <c:pt idx="4">
                  <c:v>0.36</c:v>
                </c:pt>
                <c:pt idx="5">
                  <c:v>0.22</c:v>
                </c:pt>
                <c:pt idx="6">
                  <c:v>0.24</c:v>
                </c:pt>
                <c:pt idx="7">
                  <c:v>0.17</c:v>
                </c:pt>
                <c:pt idx="8">
                  <c:v>0.25</c:v>
                </c:pt>
                <c:pt idx="9">
                  <c:v>0.18</c:v>
                </c:pt>
                <c:pt idx="1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Boursin Aperitif Roules Fromage Frais Roule Afh Et Jambon Fume Boite 1X100Gr 20P</c:v>
                </c:pt>
                <c:pt idx="1">
                  <c:v>Apericube Edition Limitee Best Of Foot Fromage Fondu Cube Assortis 1X250Gr 48P</c:v>
                </c:pt>
                <c:pt idx="2">
                  <c:v>Apericube Vertical Soiree Apero Fromage Fondu Cube Assortis 1X125Gr 24P</c:v>
                </c:pt>
                <c:pt idx="3">
                  <c:v>Apericube Cocktail Fromage Fondu Cube Assortis 1X250Gr 48P</c:v>
                </c:pt>
                <c:pt idx="4">
                  <c:v>Apericube Vertical Nature Fromage Fondu Cube 1X125Gr 24P</c:v>
                </c:pt>
                <c:pt idx="5">
                  <c:v>Apericube Best Of Des Saveurs Fromage Fondu Cube Assortis 1X125Gr 24P</c:v>
                </c:pt>
                <c:pt idx="6">
                  <c:v>Apericube Long Drink Fromage Fondu Cube Assortis 1X125Gr 24P</c:v>
                </c:pt>
                <c:pt idx="7">
                  <c:v>Boursin Aperitif Roules Fromage Frais Roule Ciboulette &amp; Echalote Jambon Fume Boite 1X100Gr 20P</c:v>
                </c:pt>
                <c:pt idx="8">
                  <c:v>Apericube Long Drink Fromage Fondu Cube Assortis 1X250Gr 48P</c:v>
                </c:pt>
                <c:pt idx="9">
                  <c:v>Apericube Nature Fromage Fondu Cube 1X125Gr 24P</c:v>
                </c:pt>
                <c:pt idx="10">
                  <c:v>Apericube Soiree Match Aperitif 250G</c:v>
                </c:pt>
              </c:strCache>
            </c:strRef>
          </c:cat>
          <c:val>
            <c:numRef>
              <c:f>Sheet1!$C$2:$C$12</c:f>
              <c:numCache>
                <c:formatCode>General</c:formatCode>
                <c:ptCount val="11"/>
                <c:pt idx="0">
                  <c:v>0.27140587139240635</c:v>
                </c:pt>
                <c:pt idx="1">
                  <c:v>0.52404916993475059</c:v>
                </c:pt>
                <c:pt idx="2">
                  <c:v>0.68594010164878494</c:v>
                </c:pt>
                <c:pt idx="3">
                  <c:v>0.83255472832669741</c:v>
                </c:pt>
                <c:pt idx="4">
                  <c:v>0.89518287243532557</c:v>
                </c:pt>
                <c:pt idx="5">
                  <c:v>0.92898205966894631</c:v>
                </c:pt>
                <c:pt idx="6">
                  <c:v>0.95413118839809963</c:v>
                </c:pt>
                <c:pt idx="7">
                  <c:v>0.97811085116052032</c:v>
                </c:pt>
                <c:pt idx="8">
                  <c:v>0.99202444158935155</c:v>
                </c:pt>
                <c:pt idx="9">
                  <c:v>0.99739987071042557</c:v>
                </c:pt>
                <c:pt idx="10">
                  <c:v>0.9991808751171179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Boursin Aperitif Roules Fromage Frais Roule Afh Et Jambon Fume Boite 1X100Gr 20P</c:v>
                </c:pt>
                <c:pt idx="1">
                  <c:v>Apericube Edition Limitee Best Of Foot Fromage Fondu Cube Assortis 1X250Gr 48P</c:v>
                </c:pt>
                <c:pt idx="2">
                  <c:v>Apericube Vertical Soiree Apero Fromage Fondu Cube Assortis 1X125Gr 24P</c:v>
                </c:pt>
                <c:pt idx="3">
                  <c:v>Apericube Cocktail Fromage Fondu Cube Assortis 1X250Gr 48P</c:v>
                </c:pt>
                <c:pt idx="4">
                  <c:v>Apericube Vertical Nature Fromage Fondu Cube 1X125Gr 24P</c:v>
                </c:pt>
                <c:pt idx="5">
                  <c:v>Apericube Best Of Des Saveurs Fromage Fondu Cube Assortis 1X125Gr 24P</c:v>
                </c:pt>
                <c:pt idx="6">
                  <c:v>Apericube Long Drink Fromage Fondu Cube Assortis 1X125Gr 24P</c:v>
                </c:pt>
                <c:pt idx="7">
                  <c:v>Boursin Aperitif Roules Fromage Frais Roule Ciboulette &amp; Echalote Jambon Fume Boite 1X100Gr 20P</c:v>
                </c:pt>
                <c:pt idx="8">
                  <c:v>Apericube Long Drink Fromage Fondu Cube Assortis 1X250Gr 48P</c:v>
                </c:pt>
                <c:pt idx="9">
                  <c:v>Apericube Nature Fromage Fondu Cube 1X125Gr 24P</c:v>
                </c:pt>
                <c:pt idx="10">
                  <c:v>Apericube Soiree Match Aperitif 250G</c:v>
                </c:pt>
              </c:strCache>
            </c:strRef>
          </c:cat>
          <c:val>
            <c:numRef>
              <c:f>Sheet1!$D$2:$D$12</c:f>
              <c:numCache>
                <c:formatCode>General</c:formatCode>
                <c:ptCount val="11"/>
                <c:pt idx="0">
                  <c:v>15549.142857142855</c:v>
                </c:pt>
                <c:pt idx="1">
                  <c:v>15293.509433962265</c:v>
                </c:pt>
                <c:pt idx="2">
                  <c:v>8377.3387096774186</c:v>
                </c:pt>
                <c:pt idx="3">
                  <c:v>13439.542857142857</c:v>
                </c:pt>
                <c:pt idx="4">
                  <c:v>5581.3888888888887</c:v>
                </c:pt>
                <c:pt idx="5">
                  <c:v>4929</c:v>
                </c:pt>
                <c:pt idx="6">
                  <c:v>3361.9166666666665</c:v>
                </c:pt>
                <c:pt idx="7">
                  <c:v>4525.5294117647063</c:v>
                </c:pt>
                <c:pt idx="8">
                  <c:v>1785.56</c:v>
                </c:pt>
                <c:pt idx="9">
                  <c:v>958.11111111111109</c:v>
                </c:pt>
                <c:pt idx="10">
                  <c:v>571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Campagne Fromage Fondu Cube Assortis 1X125Gr 24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Apericube Soiree Match Aperitif 250G</c:v>
                </c:pt>
                <c:pt idx="15">
                  <c:v>Apericube Hot Chalenge Aperitif 250G</c:v>
                </c:pt>
                <c:pt idx="16">
                  <c:v>Apericube Best Of Des Saveurs Fromage Fondu Cube Assortis 1X125Gr 24P</c:v>
                </c:pt>
                <c:pt idx="17">
                  <c:v>Apericube Fromages Du Monde Aperitif 250G</c:v>
                </c:pt>
                <c:pt idx="18">
                  <c:v>Boursin Aperitif Roules Fromage Frais Roule Jambon Fume &amp; Trio De Noix Boite 1X100Gr 20P</c:v>
                </c:pt>
                <c:pt idx="19">
                  <c:v>Apericube Montagne Aperitif 250G</c:v>
                </c:pt>
                <c:pt idx="20">
                  <c:v>Boursin Aperitif Roules Aperitif 100G</c:v>
                </c:pt>
              </c:strCache>
            </c:strRef>
          </c:cat>
          <c:val>
            <c:numRef>
              <c:f>Sheet1!$B$2:$B$22</c:f>
              <c:numCache>
                <c:formatCode>General</c:formatCode>
                <c:ptCount val="21"/>
                <c:pt idx="0">
                  <c:v>0.98</c:v>
                </c:pt>
                <c:pt idx="1">
                  <c:v>0.98</c:v>
                </c:pt>
                <c:pt idx="2">
                  <c:v>0.96</c:v>
                </c:pt>
                <c:pt idx="3">
                  <c:v>0.96</c:v>
                </c:pt>
                <c:pt idx="4">
                  <c:v>0.98</c:v>
                </c:pt>
                <c:pt idx="5">
                  <c:v>0.91</c:v>
                </c:pt>
                <c:pt idx="6">
                  <c:v>0.93</c:v>
                </c:pt>
                <c:pt idx="7">
                  <c:v>0.96</c:v>
                </c:pt>
                <c:pt idx="8">
                  <c:v>0.91</c:v>
                </c:pt>
                <c:pt idx="9">
                  <c:v>0.95</c:v>
                </c:pt>
                <c:pt idx="10">
                  <c:v>0.94</c:v>
                </c:pt>
                <c:pt idx="11">
                  <c:v>0.87</c:v>
                </c:pt>
                <c:pt idx="12">
                  <c:v>0.9</c:v>
                </c:pt>
                <c:pt idx="13">
                  <c:v>0.79</c:v>
                </c:pt>
                <c:pt idx="14">
                  <c:v>0.8</c:v>
                </c:pt>
                <c:pt idx="15">
                  <c:v>0.5</c:v>
                </c:pt>
                <c:pt idx="16">
                  <c:v>0.67</c:v>
                </c:pt>
                <c:pt idx="17">
                  <c:v>0.24</c:v>
                </c:pt>
                <c:pt idx="18">
                  <c:v>0.8</c:v>
                </c:pt>
                <c:pt idx="19">
                  <c:v>0.23</c:v>
                </c:pt>
                <c:pt idx="20">
                  <c:v>0.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Campagne Fromage Fondu Cube Assortis 1X125Gr 24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Apericube Soiree Match Aperitif 250G</c:v>
                </c:pt>
                <c:pt idx="15">
                  <c:v>Apericube Hot Chalenge Aperitif 250G</c:v>
                </c:pt>
                <c:pt idx="16">
                  <c:v>Apericube Best Of Des Saveurs Fromage Fondu Cube Assortis 1X125Gr 24P</c:v>
                </c:pt>
                <c:pt idx="17">
                  <c:v>Apericube Fromages Du Monde Aperitif 250G</c:v>
                </c:pt>
                <c:pt idx="18">
                  <c:v>Boursin Aperitif Roules Fromage Frais Roule Jambon Fume &amp; Trio De Noix Boite 1X100Gr 20P</c:v>
                </c:pt>
                <c:pt idx="19">
                  <c:v>Apericube Montagne Aperitif 250G</c:v>
                </c:pt>
                <c:pt idx="20">
                  <c:v>Boursin Aperitif Roules Aperitif 100G</c:v>
                </c:pt>
              </c:strCache>
            </c:strRef>
          </c:cat>
          <c:val>
            <c:numRef>
              <c:f>Sheet1!$C$2:$C$22</c:f>
              <c:numCache>
                <c:formatCode>General</c:formatCode>
                <c:ptCount val="21"/>
                <c:pt idx="0">
                  <c:v>0.14085236773100784</c:v>
                </c:pt>
                <c:pt idx="1">
                  <c:v>0.26666052569335286</c:v>
                </c:pt>
                <c:pt idx="2">
                  <c:v>0.37400789861259409</c:v>
                </c:pt>
                <c:pt idx="3">
                  <c:v>0.46214861542802377</c:v>
                </c:pt>
                <c:pt idx="4">
                  <c:v>0.5381163926551038</c:v>
                </c:pt>
                <c:pt idx="5">
                  <c:v>0.6130266618897896</c:v>
                </c:pt>
                <c:pt idx="6">
                  <c:v>0.6776825852824494</c:v>
                </c:pt>
                <c:pt idx="7">
                  <c:v>0.73794191788693109</c:v>
                </c:pt>
                <c:pt idx="8">
                  <c:v>0.7932313487225362</c:v>
                </c:pt>
                <c:pt idx="9">
                  <c:v>0.84267469362369785</c:v>
                </c:pt>
                <c:pt idx="10">
                  <c:v>0.89052937126879905</c:v>
                </c:pt>
                <c:pt idx="11">
                  <c:v>0.92858746595593944</c:v>
                </c:pt>
                <c:pt idx="12">
                  <c:v>0.95274259075217038</c:v>
                </c:pt>
                <c:pt idx="13">
                  <c:v>0.97036215135886172</c:v>
                </c:pt>
                <c:pt idx="14">
                  <c:v>0.98270069718463671</c:v>
                </c:pt>
                <c:pt idx="15">
                  <c:v>0.98781272406495335</c:v>
                </c:pt>
                <c:pt idx="16">
                  <c:v>0.99164514865172126</c:v>
                </c:pt>
                <c:pt idx="17">
                  <c:v>0.99392767603628673</c:v>
                </c:pt>
                <c:pt idx="18">
                  <c:v>0.99611565973914695</c:v>
                </c:pt>
                <c:pt idx="19">
                  <c:v>0.99814322877199035</c:v>
                </c:pt>
                <c:pt idx="20">
                  <c:v>0.9999872354122432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2</c:f>
              <c:strCache>
                <c:ptCount val="21"/>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Campagne Fromage Fondu Cube Assortis 1X125Gr 24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Apericube Soiree Match Aperitif 250G</c:v>
                </c:pt>
                <c:pt idx="15">
                  <c:v>Apericube Hot Chalenge Aperitif 250G</c:v>
                </c:pt>
                <c:pt idx="16">
                  <c:v>Apericube Best Of Des Saveurs Fromage Fondu Cube Assortis 1X125Gr 24P</c:v>
                </c:pt>
                <c:pt idx="17">
                  <c:v>Apericube Fromages Du Monde Aperitif 250G</c:v>
                </c:pt>
                <c:pt idx="18">
                  <c:v>Boursin Aperitif Roules Fromage Frais Roule Jambon Fume &amp; Trio De Noix Boite 1X100Gr 20P</c:v>
                </c:pt>
                <c:pt idx="19">
                  <c:v>Apericube Montagne Aperitif 250G</c:v>
                </c:pt>
                <c:pt idx="20">
                  <c:v>Boursin Aperitif Roules Aperitif 100G</c:v>
                </c:pt>
              </c:strCache>
            </c:strRef>
          </c:cat>
          <c:val>
            <c:numRef>
              <c:f>Sheet1!$D$2:$D$22</c:f>
              <c:numCache>
                <c:formatCode>General</c:formatCode>
                <c:ptCount val="21"/>
                <c:pt idx="0">
                  <c:v>30176.306122448979</c:v>
                </c:pt>
                <c:pt idx="1">
                  <c:v>26953.224489795917</c:v>
                </c:pt>
                <c:pt idx="2">
                  <c:v>23477.302083333332</c:v>
                </c:pt>
                <c:pt idx="3">
                  <c:v>19276.729166666668</c:v>
                </c:pt>
                <c:pt idx="4">
                  <c:v>16275.387755102041</c:v>
                </c:pt>
                <c:pt idx="5">
                  <c:v>17283.351648351647</c:v>
                </c:pt>
                <c:pt idx="6">
                  <c:v>14596.655913978495</c:v>
                </c:pt>
                <c:pt idx="7">
                  <c:v>13178.958333333334</c:v>
                </c:pt>
                <c:pt idx="8">
                  <c:v>12756.417582417582</c:v>
                </c:pt>
                <c:pt idx="9">
                  <c:v>10927.284210526315</c:v>
                </c:pt>
                <c:pt idx="10">
                  <c:v>10688.691489361701</c:v>
                </c:pt>
                <c:pt idx="11">
                  <c:v>9184.5057471264372</c:v>
                </c:pt>
                <c:pt idx="12">
                  <c:v>5635.0111111111109</c:v>
                </c:pt>
                <c:pt idx="13">
                  <c:v>4682.6962025316452</c:v>
                </c:pt>
                <c:pt idx="14">
                  <c:v>3238.1875</c:v>
                </c:pt>
                <c:pt idx="15">
                  <c:v>2146.6</c:v>
                </c:pt>
                <c:pt idx="16">
                  <c:v>1200.955223880597</c:v>
                </c:pt>
                <c:pt idx="17">
                  <c:v>1996.7916666666667</c:v>
                </c:pt>
                <c:pt idx="18">
                  <c:v>574.22500000000002</c:v>
                </c:pt>
                <c:pt idx="19">
                  <c:v>1850.8695652173913</c:v>
                </c:pt>
                <c:pt idx="20">
                  <c:v>553.0857142857142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3</c:f>
              <c:strCache>
                <c:ptCount val="22"/>
                <c:pt idx="0">
                  <c:v>Apericube Edition Limitee Best Of Foot Fromage Fondu Cube Assortis 1X250Gr 48P</c:v>
                </c:pt>
                <c:pt idx="1">
                  <c:v>Apericube Cocktail Fromage Fondu Cube Assortis 1X250Gr 48P</c:v>
                </c:pt>
                <c:pt idx="2">
                  <c:v>Apericube Long Drink Fromage Fondu Cube Assortis 1X250Gr 48P</c:v>
                </c:pt>
                <c:pt idx="3">
                  <c:v>Apericube Incontournable Fromage Fondu Cube Assortis 1X250Gr 48P</c:v>
                </c:pt>
                <c:pt idx="4">
                  <c:v>Apericube Tonic Fromage Fondu Cube Assortis 1X250Gr 48P</c:v>
                </c:pt>
                <c:pt idx="5">
                  <c:v>Boursin Aperitif Roules Fromage Frais Roule Afh Et Jambon Fume Boite 1X100Gr 20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Saveurs De L'Authentique Fromage Fondu Cube Assortis 1X250Gr 48P</c:v>
                </c:pt>
                <c:pt idx="11">
                  <c:v>Apericube Campagne Fromage Fondu Cube Assortis 1X125Gr 24P</c:v>
                </c:pt>
                <c:pt idx="12">
                  <c:v>Boursin Aperitif Roules Fromage Frais Roule Basilic &amp; Jambon Fume Tomate Boite 1X100Gr 20P</c:v>
                </c:pt>
                <c:pt idx="13">
                  <c:v>Apericube Long Drink Fromage Fondu Cube Assortis 1X125Gr 24P</c:v>
                </c:pt>
                <c:pt idx="14">
                  <c:v>Apericube Soiree Match Aperitif 250G</c:v>
                </c:pt>
                <c:pt idx="15">
                  <c:v>Apericube Best Of Des Saveurs Fromage Fondu Cube Assortis 1X125Gr 24P</c:v>
                </c:pt>
                <c:pt idx="16">
                  <c:v>Apericube Hot Chalenge Aperitif 250G</c:v>
                </c:pt>
                <c:pt idx="17">
                  <c:v>Apericube Fromages Du Monde Aperitif 250G</c:v>
                </c:pt>
                <c:pt idx="18">
                  <c:v>Apericube Montagne Aperitif 250G</c:v>
                </c:pt>
                <c:pt idx="19">
                  <c:v>Boursin Aperitif Roules Fromage Frais Roule Jambon Fume &amp; Trio De Noix Boite 1X100Gr 20P</c:v>
                </c:pt>
                <c:pt idx="20">
                  <c:v>Boursin Aperitif Roules Aperitif 100G</c:v>
                </c:pt>
                <c:pt idx="21">
                  <c:v>Apericube Carrement Toque Fromage Fondu Cube Assortis 1X250Gr 48P</c:v>
                </c:pt>
              </c:strCache>
            </c:strRef>
          </c:cat>
          <c:val>
            <c:numRef>
              <c:f>Sheet1!$B$2:$B$23</c:f>
              <c:numCache>
                <c:formatCode>General</c:formatCode>
                <c:ptCount val="22"/>
                <c:pt idx="0">
                  <c:v>1</c:v>
                </c:pt>
                <c:pt idx="1">
                  <c:v>1</c:v>
                </c:pt>
                <c:pt idx="2">
                  <c:v>0.99</c:v>
                </c:pt>
                <c:pt idx="3">
                  <c:v>1</c:v>
                </c:pt>
                <c:pt idx="4">
                  <c:v>0.99</c:v>
                </c:pt>
                <c:pt idx="5">
                  <c:v>0.99</c:v>
                </c:pt>
                <c:pt idx="6">
                  <c:v>0.99</c:v>
                </c:pt>
                <c:pt idx="7">
                  <c:v>0.99</c:v>
                </c:pt>
                <c:pt idx="8">
                  <c:v>0.99</c:v>
                </c:pt>
                <c:pt idx="9">
                  <c:v>0.99</c:v>
                </c:pt>
                <c:pt idx="10">
                  <c:v>0.98</c:v>
                </c:pt>
                <c:pt idx="11">
                  <c:v>0.99</c:v>
                </c:pt>
                <c:pt idx="12">
                  <c:v>0.98</c:v>
                </c:pt>
                <c:pt idx="13">
                  <c:v>0.98</c:v>
                </c:pt>
                <c:pt idx="14">
                  <c:v>0.96</c:v>
                </c:pt>
                <c:pt idx="15">
                  <c:v>0.88</c:v>
                </c:pt>
                <c:pt idx="16">
                  <c:v>0.8</c:v>
                </c:pt>
                <c:pt idx="17">
                  <c:v>0.7</c:v>
                </c:pt>
                <c:pt idx="18">
                  <c:v>0.68</c:v>
                </c:pt>
                <c:pt idx="19">
                  <c:v>0.96</c:v>
                </c:pt>
                <c:pt idx="20">
                  <c:v>0.86</c:v>
                </c:pt>
                <c:pt idx="21">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3</c:f>
              <c:strCache>
                <c:ptCount val="22"/>
                <c:pt idx="0">
                  <c:v>Apericube Edition Limitee Best Of Foot Fromage Fondu Cube Assortis 1X250Gr 48P</c:v>
                </c:pt>
                <c:pt idx="1">
                  <c:v>Apericube Cocktail Fromage Fondu Cube Assortis 1X250Gr 48P</c:v>
                </c:pt>
                <c:pt idx="2">
                  <c:v>Apericube Long Drink Fromage Fondu Cube Assortis 1X250Gr 48P</c:v>
                </c:pt>
                <c:pt idx="3">
                  <c:v>Apericube Incontournable Fromage Fondu Cube Assortis 1X250Gr 48P</c:v>
                </c:pt>
                <c:pt idx="4">
                  <c:v>Apericube Tonic Fromage Fondu Cube Assortis 1X250Gr 48P</c:v>
                </c:pt>
                <c:pt idx="5">
                  <c:v>Boursin Aperitif Roules Fromage Frais Roule Afh Et Jambon Fume Boite 1X100Gr 20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Saveurs De L'Authentique Fromage Fondu Cube Assortis 1X250Gr 48P</c:v>
                </c:pt>
                <c:pt idx="11">
                  <c:v>Apericube Campagne Fromage Fondu Cube Assortis 1X125Gr 24P</c:v>
                </c:pt>
                <c:pt idx="12">
                  <c:v>Boursin Aperitif Roules Fromage Frais Roule Basilic &amp; Jambon Fume Tomate Boite 1X100Gr 20P</c:v>
                </c:pt>
                <c:pt idx="13">
                  <c:v>Apericube Long Drink Fromage Fondu Cube Assortis 1X125Gr 24P</c:v>
                </c:pt>
                <c:pt idx="14">
                  <c:v>Apericube Soiree Match Aperitif 250G</c:v>
                </c:pt>
                <c:pt idx="15">
                  <c:v>Apericube Best Of Des Saveurs Fromage Fondu Cube Assortis 1X125Gr 24P</c:v>
                </c:pt>
                <c:pt idx="16">
                  <c:v>Apericube Hot Chalenge Aperitif 250G</c:v>
                </c:pt>
                <c:pt idx="17">
                  <c:v>Apericube Fromages Du Monde Aperitif 250G</c:v>
                </c:pt>
                <c:pt idx="18">
                  <c:v>Apericube Montagne Aperitif 250G</c:v>
                </c:pt>
                <c:pt idx="19">
                  <c:v>Boursin Aperitif Roules Fromage Frais Roule Jambon Fume &amp; Trio De Noix Boite 1X100Gr 20P</c:v>
                </c:pt>
                <c:pt idx="20">
                  <c:v>Boursin Aperitif Roules Aperitif 100G</c:v>
                </c:pt>
                <c:pt idx="21">
                  <c:v>Apericube Carrement Toque Fromage Fondu Cube Assortis 1X250Gr 48P</c:v>
                </c:pt>
              </c:strCache>
            </c:strRef>
          </c:cat>
          <c:val>
            <c:numRef>
              <c:f>Sheet1!$C$2:$C$23</c:f>
              <c:numCache>
                <c:formatCode>General</c:formatCode>
                <c:ptCount val="22"/>
                <c:pt idx="0">
                  <c:v>0.13109555699996753</c:v>
                </c:pt>
                <c:pt idx="1">
                  <c:v>0.24727552747846382</c:v>
                </c:pt>
                <c:pt idx="2">
                  <c:v>0.35311290854508937</c:v>
                </c:pt>
                <c:pt idx="3">
                  <c:v>0.43995617058434189</c:v>
                </c:pt>
                <c:pt idx="4">
                  <c:v>0.52668645134966874</c:v>
                </c:pt>
                <c:pt idx="5">
                  <c:v>0.60178903788897919</c:v>
                </c:pt>
                <c:pt idx="6">
                  <c:v>0.66837274489148535</c:v>
                </c:pt>
                <c:pt idx="7">
                  <c:v>0.72900732457141448</c:v>
                </c:pt>
                <c:pt idx="8">
                  <c:v>0.78314502358655624</c:v>
                </c:pt>
                <c:pt idx="9">
                  <c:v>0.82979919979983563</c:v>
                </c:pt>
                <c:pt idx="10">
                  <c:v>0.87545186791894447</c:v>
                </c:pt>
                <c:pt idx="11">
                  <c:v>0.91531367398178498</c:v>
                </c:pt>
                <c:pt idx="12">
                  <c:v>0.93863561618019931</c:v>
                </c:pt>
                <c:pt idx="13">
                  <c:v>0.96134530965331233</c:v>
                </c:pt>
                <c:pt idx="14">
                  <c:v>0.9741645675172893</c:v>
                </c:pt>
                <c:pt idx="15">
                  <c:v>0.98091233979644177</c:v>
                </c:pt>
                <c:pt idx="16">
                  <c:v>0.98668879330967907</c:v>
                </c:pt>
                <c:pt idx="17">
                  <c:v>0.99195340048476754</c:v>
                </c:pt>
                <c:pt idx="18">
                  <c:v>0.99616275341310956</c:v>
                </c:pt>
                <c:pt idx="19">
                  <c:v>0.99835925575072415</c:v>
                </c:pt>
                <c:pt idx="20">
                  <c:v>0.99999542585935541</c:v>
                </c:pt>
                <c:pt idx="21">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3</c:f>
              <c:strCache>
                <c:ptCount val="22"/>
                <c:pt idx="0">
                  <c:v>Apericube Edition Limitee Best Of Foot Fromage Fondu Cube Assortis 1X250Gr 48P</c:v>
                </c:pt>
                <c:pt idx="1">
                  <c:v>Apericube Cocktail Fromage Fondu Cube Assortis 1X250Gr 48P</c:v>
                </c:pt>
                <c:pt idx="2">
                  <c:v>Apericube Long Drink Fromage Fondu Cube Assortis 1X250Gr 48P</c:v>
                </c:pt>
                <c:pt idx="3">
                  <c:v>Apericube Incontournable Fromage Fondu Cube Assortis 1X250Gr 48P</c:v>
                </c:pt>
                <c:pt idx="4">
                  <c:v>Apericube Tonic Fromage Fondu Cube Assortis 1X250Gr 48P</c:v>
                </c:pt>
                <c:pt idx="5">
                  <c:v>Boursin Aperitif Roules Fromage Frais Roule Afh Et Jambon Fume Boite 1X100Gr 20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Saveurs De L'Authentique Fromage Fondu Cube Assortis 1X250Gr 48P</c:v>
                </c:pt>
                <c:pt idx="11">
                  <c:v>Apericube Campagne Fromage Fondu Cube Assortis 1X125Gr 24P</c:v>
                </c:pt>
                <c:pt idx="12">
                  <c:v>Boursin Aperitif Roules Fromage Frais Roule Basilic &amp; Jambon Fume Tomate Boite 1X100Gr 20P</c:v>
                </c:pt>
                <c:pt idx="13">
                  <c:v>Apericube Long Drink Fromage Fondu Cube Assortis 1X125Gr 24P</c:v>
                </c:pt>
                <c:pt idx="14">
                  <c:v>Apericube Soiree Match Aperitif 250G</c:v>
                </c:pt>
                <c:pt idx="15">
                  <c:v>Apericube Best Of Des Saveurs Fromage Fondu Cube Assortis 1X125Gr 24P</c:v>
                </c:pt>
                <c:pt idx="16">
                  <c:v>Apericube Hot Chalenge Aperitif 250G</c:v>
                </c:pt>
                <c:pt idx="17">
                  <c:v>Apericube Fromages Du Monde Aperitif 250G</c:v>
                </c:pt>
                <c:pt idx="18">
                  <c:v>Apericube Montagne Aperitif 250G</c:v>
                </c:pt>
                <c:pt idx="19">
                  <c:v>Boursin Aperitif Roules Fromage Frais Roule Jambon Fume &amp; Trio De Noix Boite 1X100Gr 20P</c:v>
                </c:pt>
                <c:pt idx="20">
                  <c:v>Boursin Aperitif Roules Aperitif 100G</c:v>
                </c:pt>
                <c:pt idx="21">
                  <c:v>Apericube Carrement Toque Fromage Fondu Cube Assortis 1X250Gr 48P</c:v>
                </c:pt>
              </c:strCache>
            </c:strRef>
          </c:cat>
          <c:val>
            <c:numRef>
              <c:f>Sheet1!$D$2:$D$23</c:f>
              <c:numCache>
                <c:formatCode>General</c:formatCode>
                <c:ptCount val="22"/>
                <c:pt idx="0">
                  <c:v>5732.03</c:v>
                </c:pt>
                <c:pt idx="1">
                  <c:v>5079.8599999999997</c:v>
                </c:pt>
                <c:pt idx="2">
                  <c:v>4674.3838383838383</c:v>
                </c:pt>
                <c:pt idx="3">
                  <c:v>3797.14</c:v>
                </c:pt>
                <c:pt idx="4">
                  <c:v>3830.5050505050503</c:v>
                </c:pt>
                <c:pt idx="5">
                  <c:v>3316.9595959595958</c:v>
                </c:pt>
                <c:pt idx="6">
                  <c:v>2940.7171717171718</c:v>
                </c:pt>
                <c:pt idx="7">
                  <c:v>2677.969696969697</c:v>
                </c:pt>
                <c:pt idx="8">
                  <c:v>2391.030303030303</c:v>
                </c:pt>
                <c:pt idx="9">
                  <c:v>2060.5151515151515</c:v>
                </c:pt>
                <c:pt idx="10">
                  <c:v>2036.8571428571429</c:v>
                </c:pt>
                <c:pt idx="11">
                  <c:v>1760.5252525252524</c:v>
                </c:pt>
                <c:pt idx="12">
                  <c:v>1040.5408163265306</c:v>
                </c:pt>
                <c:pt idx="13">
                  <c:v>1013.2244897959183</c:v>
                </c:pt>
                <c:pt idx="14">
                  <c:v>583.86458333333337</c:v>
                </c:pt>
                <c:pt idx="15">
                  <c:v>335.27272727272725</c:v>
                </c:pt>
                <c:pt idx="16">
                  <c:v>315.71249999999998</c:v>
                </c:pt>
                <c:pt idx="17">
                  <c:v>328.84285714285716</c:v>
                </c:pt>
                <c:pt idx="18">
                  <c:v>270.66176470588238</c:v>
                </c:pt>
                <c:pt idx="19">
                  <c:v>100.04166666666667</c:v>
                </c:pt>
                <c:pt idx="20">
                  <c:v>83.186046511627907</c:v>
                </c:pt>
                <c:pt idx="21">
                  <c:v>2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2</c:f>
              <c:strCache>
                <c:ptCount val="21"/>
                <c:pt idx="0">
                  <c:v>Apericube Edition Limitee Best Of Foot Fromage Fondu Cube Assortis 1X250Gr 48P</c:v>
                </c:pt>
                <c:pt idx="1">
                  <c:v>Apericube Cocktail Fromage Fondu Cube Assortis 1X250Gr 48P</c:v>
                </c:pt>
                <c:pt idx="2">
                  <c:v>Boursin Aperitif Roules Fromage Frais Roule Afh Et Jambon Fume Boite 1X100Gr 20P</c:v>
                </c:pt>
                <c:pt idx="3">
                  <c:v>Apericube Long Drink Fromage Fondu Cube Assortis 1X250Gr 48P</c:v>
                </c:pt>
                <c:pt idx="4">
                  <c:v>Apericube Tonic Fromage Fondu Cube Assortis 1X250Gr 48P</c:v>
                </c:pt>
                <c:pt idx="5">
                  <c:v>Apericube Campagne Fromage Fondu Cube Assortis 1X125Gr 24P</c:v>
                </c:pt>
                <c:pt idx="6">
                  <c:v>Apericube Nature Fromage Fondu Cube 1X125Gr 24P</c:v>
                </c:pt>
                <c:pt idx="7">
                  <c:v>Apericube Edition Limitee Saison Fromage Fondu Cube Assortis 1X250Gr 48P</c:v>
                </c:pt>
                <c:pt idx="8">
                  <c:v>Apericube Edition Voyage Fromage Fondu Cube Assortis 1X250Gr 48P</c:v>
                </c:pt>
                <c:pt idx="9">
                  <c:v>Apericube Incontournable Fromage Fondu Cube Assortis 1X250Gr 48P</c:v>
                </c:pt>
                <c:pt idx="10">
                  <c:v>Boursin Aperitif Roules Fromage Frais Roule Ciboulette &amp; Echalote Jambon Fume Boite 1X100Gr 20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Apericube Soiree Match Aperitif 250G</c:v>
                </c:pt>
                <c:pt idx="15">
                  <c:v>Apericube Best Of Des Saveurs Fromage Fondu Cube Assortis 1X125Gr 24P</c:v>
                </c:pt>
                <c:pt idx="16">
                  <c:v>Apericube Hot Chalenge Aperitif 250G</c:v>
                </c:pt>
                <c:pt idx="17">
                  <c:v>Apericube Fromages Du Monde Aperitif 250G</c:v>
                </c:pt>
                <c:pt idx="18">
                  <c:v>Apericube Montagne Aperitif 250G</c:v>
                </c:pt>
                <c:pt idx="19">
                  <c:v>Boursin Aperitif Roules Fromage Frais Roule Jambon Fume &amp; Trio De Noix Boite 1X100Gr 20P</c:v>
                </c:pt>
                <c:pt idx="20">
                  <c:v>Boursin Aperitif Roules Aperitif 100G</c:v>
                </c:pt>
              </c:strCache>
            </c:strRef>
          </c:cat>
          <c:val>
            <c:numRef>
              <c:f>Sheet1!$B$2:$B$22</c:f>
              <c:numCache>
                <c:formatCode>General</c:formatCode>
                <c:ptCount val="21"/>
                <c:pt idx="0">
                  <c:v>0.75</c:v>
                </c:pt>
                <c:pt idx="1">
                  <c:v>0.82</c:v>
                </c:pt>
                <c:pt idx="2">
                  <c:v>0.85</c:v>
                </c:pt>
                <c:pt idx="3">
                  <c:v>0.71</c:v>
                </c:pt>
                <c:pt idx="4">
                  <c:v>0.7</c:v>
                </c:pt>
                <c:pt idx="5">
                  <c:v>0.71</c:v>
                </c:pt>
                <c:pt idx="6">
                  <c:v>0.75</c:v>
                </c:pt>
                <c:pt idx="7">
                  <c:v>0.46</c:v>
                </c:pt>
                <c:pt idx="8">
                  <c:v>0.45</c:v>
                </c:pt>
                <c:pt idx="9">
                  <c:v>0.41</c:v>
                </c:pt>
                <c:pt idx="10">
                  <c:v>0.56000000000000005</c:v>
                </c:pt>
                <c:pt idx="11">
                  <c:v>0.45</c:v>
                </c:pt>
                <c:pt idx="12">
                  <c:v>0.56999999999999995</c:v>
                </c:pt>
                <c:pt idx="13">
                  <c:v>0.37</c:v>
                </c:pt>
                <c:pt idx="14">
                  <c:v>0.33</c:v>
                </c:pt>
                <c:pt idx="15">
                  <c:v>0.4</c:v>
                </c:pt>
                <c:pt idx="16">
                  <c:v>0.16</c:v>
                </c:pt>
                <c:pt idx="17">
                  <c:v>0.09</c:v>
                </c:pt>
                <c:pt idx="18">
                  <c:v>7.0000000000000007E-2</c:v>
                </c:pt>
                <c:pt idx="19">
                  <c:v>0.18</c:v>
                </c:pt>
                <c:pt idx="20">
                  <c:v>0.1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2</c:f>
              <c:strCache>
                <c:ptCount val="21"/>
                <c:pt idx="0">
                  <c:v>Apericube Edition Limitee Best Of Foot Fromage Fondu Cube Assortis 1X250Gr 48P</c:v>
                </c:pt>
                <c:pt idx="1">
                  <c:v>Apericube Cocktail Fromage Fondu Cube Assortis 1X250Gr 48P</c:v>
                </c:pt>
                <c:pt idx="2">
                  <c:v>Boursin Aperitif Roules Fromage Frais Roule Afh Et Jambon Fume Boite 1X100Gr 20P</c:v>
                </c:pt>
                <c:pt idx="3">
                  <c:v>Apericube Long Drink Fromage Fondu Cube Assortis 1X250Gr 48P</c:v>
                </c:pt>
                <c:pt idx="4">
                  <c:v>Apericube Tonic Fromage Fondu Cube Assortis 1X250Gr 48P</c:v>
                </c:pt>
                <c:pt idx="5">
                  <c:v>Apericube Campagne Fromage Fondu Cube Assortis 1X125Gr 24P</c:v>
                </c:pt>
                <c:pt idx="6">
                  <c:v>Apericube Nature Fromage Fondu Cube 1X125Gr 24P</c:v>
                </c:pt>
                <c:pt idx="7">
                  <c:v>Apericube Edition Limitee Saison Fromage Fondu Cube Assortis 1X250Gr 48P</c:v>
                </c:pt>
                <c:pt idx="8">
                  <c:v>Apericube Edition Voyage Fromage Fondu Cube Assortis 1X250Gr 48P</c:v>
                </c:pt>
                <c:pt idx="9">
                  <c:v>Apericube Incontournable Fromage Fondu Cube Assortis 1X250Gr 48P</c:v>
                </c:pt>
                <c:pt idx="10">
                  <c:v>Boursin Aperitif Roules Fromage Frais Roule Ciboulette &amp; Echalote Jambon Fume Boite 1X100Gr 20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Apericube Soiree Match Aperitif 250G</c:v>
                </c:pt>
                <c:pt idx="15">
                  <c:v>Apericube Best Of Des Saveurs Fromage Fondu Cube Assortis 1X125Gr 24P</c:v>
                </c:pt>
                <c:pt idx="16">
                  <c:v>Apericube Hot Chalenge Aperitif 250G</c:v>
                </c:pt>
                <c:pt idx="17">
                  <c:v>Apericube Fromages Du Monde Aperitif 250G</c:v>
                </c:pt>
                <c:pt idx="18">
                  <c:v>Apericube Montagne Aperitif 250G</c:v>
                </c:pt>
                <c:pt idx="19">
                  <c:v>Boursin Aperitif Roules Fromage Frais Roule Jambon Fume &amp; Trio De Noix Boite 1X100Gr 20P</c:v>
                </c:pt>
                <c:pt idx="20">
                  <c:v>Boursin Aperitif Roules Aperitif 100G</c:v>
                </c:pt>
              </c:strCache>
            </c:strRef>
          </c:cat>
          <c:val>
            <c:numRef>
              <c:f>Sheet1!$C$2:$C$22</c:f>
              <c:numCache>
                <c:formatCode>General</c:formatCode>
                <c:ptCount val="21"/>
                <c:pt idx="0">
                  <c:v>0.16052764064703579</c:v>
                </c:pt>
                <c:pt idx="1">
                  <c:v>0.30039977365587522</c:v>
                </c:pt>
                <c:pt idx="2">
                  <c:v>0.41493852866222453</c:v>
                </c:pt>
                <c:pt idx="3">
                  <c:v>0.50875018299821517</c:v>
                </c:pt>
                <c:pt idx="4">
                  <c:v>0.59172558941487841</c:v>
                </c:pt>
                <c:pt idx="5">
                  <c:v>0.66322316420091387</c:v>
                </c:pt>
                <c:pt idx="6">
                  <c:v>0.72671654620527093</c:v>
                </c:pt>
                <c:pt idx="7">
                  <c:v>0.77928648364856445</c:v>
                </c:pt>
                <c:pt idx="8">
                  <c:v>0.82795964906564201</c:v>
                </c:pt>
                <c:pt idx="9">
                  <c:v>0.8758521750743351</c:v>
                </c:pt>
                <c:pt idx="10">
                  <c:v>0.92055330399548774</c:v>
                </c:pt>
                <c:pt idx="11">
                  <c:v>0.94683896111167454</c:v>
                </c:pt>
                <c:pt idx="12">
                  <c:v>0.96881480947763243</c:v>
                </c:pt>
                <c:pt idx="13">
                  <c:v>0.97965885920174689</c:v>
                </c:pt>
                <c:pt idx="14">
                  <c:v>0.98806323867602452</c:v>
                </c:pt>
                <c:pt idx="15">
                  <c:v>0.99174156016820691</c:v>
                </c:pt>
                <c:pt idx="16">
                  <c:v>0.99512662558634002</c:v>
                </c:pt>
                <c:pt idx="17">
                  <c:v>0.99646165206428872</c:v>
                </c:pt>
                <c:pt idx="18">
                  <c:v>0.99768102825951377</c:v>
                </c:pt>
                <c:pt idx="19">
                  <c:v>0.99887149188405788</c:v>
                </c:pt>
                <c:pt idx="20">
                  <c:v>0.9999816428122660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2</c:f>
              <c:strCache>
                <c:ptCount val="21"/>
                <c:pt idx="0">
                  <c:v>Apericube Edition Limitee Best Of Foot Fromage Fondu Cube Assortis 1X250Gr 48P</c:v>
                </c:pt>
                <c:pt idx="1">
                  <c:v>Apericube Cocktail Fromage Fondu Cube Assortis 1X250Gr 48P</c:v>
                </c:pt>
                <c:pt idx="2">
                  <c:v>Boursin Aperitif Roules Fromage Frais Roule Afh Et Jambon Fume Boite 1X100Gr 20P</c:v>
                </c:pt>
                <c:pt idx="3">
                  <c:v>Apericube Long Drink Fromage Fondu Cube Assortis 1X250Gr 48P</c:v>
                </c:pt>
                <c:pt idx="4">
                  <c:v>Apericube Tonic Fromage Fondu Cube Assortis 1X250Gr 48P</c:v>
                </c:pt>
                <c:pt idx="5">
                  <c:v>Apericube Campagne Fromage Fondu Cube Assortis 1X125Gr 24P</c:v>
                </c:pt>
                <c:pt idx="6">
                  <c:v>Apericube Nature Fromage Fondu Cube 1X125Gr 24P</c:v>
                </c:pt>
                <c:pt idx="7">
                  <c:v>Apericube Edition Limitee Saison Fromage Fondu Cube Assortis 1X250Gr 48P</c:v>
                </c:pt>
                <c:pt idx="8">
                  <c:v>Apericube Edition Voyage Fromage Fondu Cube Assortis 1X250Gr 48P</c:v>
                </c:pt>
                <c:pt idx="9">
                  <c:v>Apericube Incontournable Fromage Fondu Cube Assortis 1X250Gr 48P</c:v>
                </c:pt>
                <c:pt idx="10">
                  <c:v>Boursin Aperitif Roules Fromage Frais Roule Ciboulette &amp; Echalote Jambon Fume Boite 1X100Gr 20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Apericube Soiree Match Aperitif 250G</c:v>
                </c:pt>
                <c:pt idx="15">
                  <c:v>Apericube Best Of Des Saveurs Fromage Fondu Cube Assortis 1X125Gr 24P</c:v>
                </c:pt>
                <c:pt idx="16">
                  <c:v>Apericube Hot Chalenge Aperitif 250G</c:v>
                </c:pt>
                <c:pt idx="17">
                  <c:v>Apericube Fromages Du Monde Aperitif 250G</c:v>
                </c:pt>
                <c:pt idx="18">
                  <c:v>Apericube Montagne Aperitif 250G</c:v>
                </c:pt>
                <c:pt idx="19">
                  <c:v>Boursin Aperitif Roules Fromage Frais Roule Jambon Fume &amp; Trio De Noix Boite 1X100Gr 20P</c:v>
                </c:pt>
                <c:pt idx="20">
                  <c:v>Boursin Aperitif Roules Aperitif 100G</c:v>
                </c:pt>
              </c:strCache>
            </c:strRef>
          </c:cat>
          <c:val>
            <c:numRef>
              <c:f>Sheet1!$D$2:$D$22</c:f>
              <c:numCache>
                <c:formatCode>General</c:formatCode>
                <c:ptCount val="21"/>
                <c:pt idx="0">
                  <c:v>4663.8266666666668</c:v>
                </c:pt>
                <c:pt idx="1">
                  <c:v>3716.8170731707319</c:v>
                </c:pt>
                <c:pt idx="2">
                  <c:v>2936.2117647058822</c:v>
                </c:pt>
                <c:pt idx="3">
                  <c:v>2879.0704225352115</c:v>
                </c:pt>
                <c:pt idx="4">
                  <c:v>2582.8857142857141</c:v>
                </c:pt>
                <c:pt idx="5">
                  <c:v>2194.2535211267605</c:v>
                </c:pt>
                <c:pt idx="6">
                  <c:v>1844.68</c:v>
                </c:pt>
                <c:pt idx="7">
                  <c:v>2490.195652173913</c:v>
                </c:pt>
                <c:pt idx="8">
                  <c:v>2356.8444444444444</c:v>
                </c:pt>
                <c:pt idx="9">
                  <c:v>2545.2926829268295</c:v>
                </c:pt>
                <c:pt idx="10">
                  <c:v>1739.3392857142856</c:v>
                </c:pt>
                <c:pt idx="11">
                  <c:v>1272.8</c:v>
                </c:pt>
                <c:pt idx="12">
                  <c:v>840.0877192982457</c:v>
                </c:pt>
                <c:pt idx="13">
                  <c:v>638.62162162162167</c:v>
                </c:pt>
                <c:pt idx="14">
                  <c:v>554.93939393939399</c:v>
                </c:pt>
                <c:pt idx="15">
                  <c:v>200.375</c:v>
                </c:pt>
                <c:pt idx="16">
                  <c:v>461</c:v>
                </c:pt>
                <c:pt idx="17">
                  <c:v>323.22222222222223</c:v>
                </c:pt>
                <c:pt idx="18">
                  <c:v>379.5714285714285</c:v>
                </c:pt>
                <c:pt idx="19">
                  <c:v>144.11111111111111</c:v>
                </c:pt>
                <c:pt idx="20">
                  <c:v>142.2941176470588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Toastinette Cheddar Fondu Tranche A Chaud Sachet 1X200Gr 10P</c:v>
                </c:pt>
                <c:pt idx="1">
                  <c:v>Toastinette Fromage Fondu Tranche A Chaud Sachet 1X200Gr 10P</c:v>
                </c:pt>
                <c:pt idx="2">
                  <c:v>Boursin Cuisine Sauce Fromage Afh 1X240Gr 1P</c:v>
                </c:pt>
                <c:pt idx="3">
                  <c:v>La Vache Qui Rit Le Fondant Fromage Fondu 1X200Gr 1P</c:v>
                </c:pt>
                <c:pt idx="4">
                  <c:v>Toastinette Fromage Fondu Tranche A Chaud Sachet 1X340Gr 20P</c:v>
                </c:pt>
                <c:pt idx="5">
                  <c:v>Toastinette Cheddar Fondu Tranche A Chaud Sachet 1X340Gr 20P</c:v>
                </c:pt>
              </c:strCache>
            </c:strRef>
          </c:cat>
          <c:val>
            <c:numRef>
              <c:f>Sheet1!$B$2:$B$7</c:f>
              <c:numCache>
                <c:formatCode>General</c:formatCode>
                <c:ptCount val="6"/>
                <c:pt idx="0">
                  <c:v>0.85399999999999998</c:v>
                </c:pt>
                <c:pt idx="1">
                  <c:v>0.76400000000000001</c:v>
                </c:pt>
                <c:pt idx="2">
                  <c:v>0.77300000000000002</c:v>
                </c:pt>
                <c:pt idx="3">
                  <c:v>0.26900000000000002</c:v>
                </c:pt>
                <c:pt idx="4">
                  <c:v>7.2999999999999995E-2</c:v>
                </c:pt>
                <c:pt idx="5">
                  <c:v>7.2999999999999995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Toastinette Cheddar Fondu Tranche A Chaud Sachet 1X200Gr 10P</c:v>
                </c:pt>
                <c:pt idx="1">
                  <c:v>Toastinette Fromage Fondu Tranche A Chaud Sachet 1X200Gr 10P</c:v>
                </c:pt>
                <c:pt idx="2">
                  <c:v>Boursin Cuisine Sauce Fromage Afh 1X240Gr 1P</c:v>
                </c:pt>
                <c:pt idx="3">
                  <c:v>La Vache Qui Rit Le Fondant Fromage Fondu 1X200Gr 1P</c:v>
                </c:pt>
                <c:pt idx="4">
                  <c:v>Toastinette Fromage Fondu Tranche A Chaud Sachet 1X340Gr 20P</c:v>
                </c:pt>
                <c:pt idx="5">
                  <c:v>Toastinette Cheddar Fondu Tranche A Chaud Sachet 1X340Gr 20P</c:v>
                </c:pt>
              </c:strCache>
            </c:strRef>
          </c:cat>
          <c:val>
            <c:numRef>
              <c:f>Sheet1!$C$2:$C$7</c:f>
              <c:numCache>
                <c:formatCode>General</c:formatCode>
                <c:ptCount val="6"/>
                <c:pt idx="0">
                  <c:v>0.40856858602107449</c:v>
                </c:pt>
                <c:pt idx="1">
                  <c:v>0.76860439433712591</c:v>
                </c:pt>
                <c:pt idx="2">
                  <c:v>0.95479297828632181</c:v>
                </c:pt>
                <c:pt idx="3">
                  <c:v>0.97447875640376602</c:v>
                </c:pt>
                <c:pt idx="4">
                  <c:v>0.98777640521253363</c:v>
                </c:pt>
                <c:pt idx="5">
                  <c:v>0.9999760561205441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Toastinette Cheddar Fondu Tranche A Chaud Sachet 1X200Gr 10P</c:v>
                </c:pt>
                <c:pt idx="1">
                  <c:v>Toastinette Fromage Fondu Tranche A Chaud Sachet 1X200Gr 10P</c:v>
                </c:pt>
                <c:pt idx="2">
                  <c:v>Boursin Cuisine Sauce Fromage Afh 1X240Gr 1P</c:v>
                </c:pt>
                <c:pt idx="3">
                  <c:v>La Vache Qui Rit Le Fondant Fromage Fondu 1X200Gr 1P</c:v>
                </c:pt>
                <c:pt idx="4">
                  <c:v>Toastinette Fromage Fondu Tranche A Chaud Sachet 1X340Gr 20P</c:v>
                </c:pt>
                <c:pt idx="5">
                  <c:v>Toastinette Cheddar Fondu Tranche A Chaud Sachet 1X340Gr 20P</c:v>
                </c:pt>
              </c:strCache>
            </c:strRef>
          </c:cat>
          <c:val>
            <c:numRef>
              <c:f>Sheet1!$D$2:$D$7</c:f>
              <c:numCache>
                <c:formatCode>General</c:formatCode>
                <c:ptCount val="6"/>
                <c:pt idx="0">
                  <c:v>9790.5854800936777</c:v>
                </c:pt>
                <c:pt idx="1">
                  <c:v>9643.9267015706791</c:v>
                </c:pt>
                <c:pt idx="2">
                  <c:v>4929.184993531695</c:v>
                </c:pt>
                <c:pt idx="3">
                  <c:v>1497.620817843866</c:v>
                </c:pt>
                <c:pt idx="4">
                  <c:v>3727.8082191780823</c:v>
                </c:pt>
                <c:pt idx="5">
                  <c:v>342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Boursin Cuisine Sauce Fromage Afh 1X240Gr 1P</c:v>
                </c:pt>
                <c:pt idx="1">
                  <c:v>Toastinette Fromage Fondu Tranche A Chaud Sachet 1X200Gr 10P</c:v>
                </c:pt>
                <c:pt idx="2">
                  <c:v>Toastinette Fromage Fondu Tranche A Chaud Sachet 1X340Gr 20P</c:v>
                </c:pt>
                <c:pt idx="3">
                  <c:v>Toastinette Cheddar Fondu Tranche A Chaud Sachet 1X340Gr 20P</c:v>
                </c:pt>
              </c:strCache>
            </c:strRef>
          </c:cat>
          <c:val>
            <c:numRef>
              <c:f>Sheet1!$B$2:$B$5</c:f>
              <c:numCache>
                <c:formatCode>General</c:formatCode>
                <c:ptCount val="4"/>
                <c:pt idx="0">
                  <c:v>0.873</c:v>
                </c:pt>
                <c:pt idx="1">
                  <c:v>1E-3</c:v>
                </c:pt>
                <c:pt idx="2">
                  <c:v>1E-3</c:v>
                </c:pt>
                <c:pt idx="3">
                  <c:v>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Boursin Cuisine Sauce Fromage Afh 1X240Gr 1P</c:v>
                </c:pt>
                <c:pt idx="1">
                  <c:v>Toastinette Fromage Fondu Tranche A Chaud Sachet 1X200Gr 10P</c:v>
                </c:pt>
                <c:pt idx="2">
                  <c:v>Toastinette Fromage Fondu Tranche A Chaud Sachet 1X340Gr 20P</c:v>
                </c:pt>
                <c:pt idx="3">
                  <c:v>Toastinette Cheddar Fondu Tranche A Chaud Sachet 1X340Gr 20P</c:v>
                </c:pt>
              </c:strCache>
            </c:strRef>
          </c:cat>
          <c:val>
            <c:numRef>
              <c:f>Sheet1!$C$2:$C$5</c:f>
              <c:numCache>
                <c:formatCode>General</c:formatCode>
                <c:ptCount val="4"/>
                <c:pt idx="0">
                  <c:v>0.99851398823022341</c:v>
                </c:pt>
                <c:pt idx="1">
                  <c:v>0.99976054786648161</c:v>
                </c:pt>
                <c:pt idx="2">
                  <c:v>0.99990140206266898</c:v>
                </c:pt>
                <c:pt idx="3">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5</c:f>
              <c:strCache>
                <c:ptCount val="4"/>
                <c:pt idx="0">
                  <c:v>Boursin Cuisine Sauce Fromage Afh 1X240Gr 1P</c:v>
                </c:pt>
                <c:pt idx="1">
                  <c:v>Toastinette Fromage Fondu Tranche A Chaud Sachet 1X200Gr 10P</c:v>
                </c:pt>
                <c:pt idx="2">
                  <c:v>Toastinette Fromage Fondu Tranche A Chaud Sachet 1X340Gr 20P</c:v>
                </c:pt>
                <c:pt idx="3">
                  <c:v>Toastinette Cheddar Fondu Tranche A Chaud Sachet 1X340Gr 20P</c:v>
                </c:pt>
              </c:strCache>
            </c:strRef>
          </c:cat>
          <c:val>
            <c:numRef>
              <c:f>Sheet1!$D$2:$D$5</c:f>
              <c:numCache>
                <c:formatCode>General</c:formatCode>
                <c:ptCount val="4"/>
                <c:pt idx="0">
                  <c:v>8120.2634593356242</c:v>
                </c:pt>
                <c:pt idx="1">
                  <c:v>3580</c:v>
                </c:pt>
                <c:pt idx="2">
                  <c:v>1000</c:v>
                </c:pt>
                <c:pt idx="3">
                  <c:v>70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Toastinette Fromage Fondu Tranche A Chaud Sachet 1X200Gr 10P</c:v>
                </c:pt>
                <c:pt idx="1">
                  <c:v>Toastinette Cheddar Fondu Tranche A Chaud Sachet 1X200Gr 10P</c:v>
                </c:pt>
                <c:pt idx="2">
                  <c:v>Boursin Cuisine Sauce Fromage Afh 1X240Gr 1P</c:v>
                </c:pt>
                <c:pt idx="3">
                  <c:v>La Vache Qui Rit Le Fondant Fromage Fondu 1X200Gr 1P</c:v>
                </c:pt>
                <c:pt idx="4">
                  <c:v>Toastinette Fromage Fondu Tranche A Chaud Sachet 1X340Gr 20P</c:v>
                </c:pt>
                <c:pt idx="5">
                  <c:v>Toastinette Cheddar Fondu Tranche A Chaud Sachet 1X340Gr 20P</c:v>
                </c:pt>
              </c:strCache>
            </c:strRef>
          </c:cat>
          <c:val>
            <c:numRef>
              <c:f>Sheet1!$B$2:$B$7</c:f>
              <c:numCache>
                <c:formatCode>General</c:formatCode>
                <c:ptCount val="6"/>
                <c:pt idx="0">
                  <c:v>1</c:v>
                </c:pt>
                <c:pt idx="1">
                  <c:v>1</c:v>
                </c:pt>
                <c:pt idx="2">
                  <c:v>0.98</c:v>
                </c:pt>
                <c:pt idx="3">
                  <c:v>0.59</c:v>
                </c:pt>
                <c:pt idx="4">
                  <c:v>0.16</c:v>
                </c:pt>
                <c:pt idx="5">
                  <c:v>0.1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Toastinette Fromage Fondu Tranche A Chaud Sachet 1X200Gr 10P</c:v>
                </c:pt>
                <c:pt idx="1">
                  <c:v>Toastinette Cheddar Fondu Tranche A Chaud Sachet 1X200Gr 10P</c:v>
                </c:pt>
                <c:pt idx="2">
                  <c:v>Boursin Cuisine Sauce Fromage Afh 1X240Gr 1P</c:v>
                </c:pt>
                <c:pt idx="3">
                  <c:v>La Vache Qui Rit Le Fondant Fromage Fondu 1X200Gr 1P</c:v>
                </c:pt>
                <c:pt idx="4">
                  <c:v>Toastinette Fromage Fondu Tranche A Chaud Sachet 1X340Gr 20P</c:v>
                </c:pt>
                <c:pt idx="5">
                  <c:v>Toastinette Cheddar Fondu Tranche A Chaud Sachet 1X340Gr 20P</c:v>
                </c:pt>
              </c:strCache>
            </c:strRef>
          </c:cat>
          <c:val>
            <c:numRef>
              <c:f>Sheet1!$C$2:$C$7</c:f>
              <c:numCache>
                <c:formatCode>General</c:formatCode>
                <c:ptCount val="6"/>
                <c:pt idx="0">
                  <c:v>0.37830037523824478</c:v>
                </c:pt>
                <c:pt idx="1">
                  <c:v>0.7540899588178398</c:v>
                </c:pt>
                <c:pt idx="2">
                  <c:v>0.92024051831022846</c:v>
                </c:pt>
                <c:pt idx="3">
                  <c:v>0.95499988351997445</c:v>
                </c:pt>
                <c:pt idx="4">
                  <c:v>0.97845896063579096</c:v>
                </c:pt>
                <c:pt idx="5">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Toastinette Fromage Fondu Tranche A Chaud Sachet 1X200Gr 10P</c:v>
                </c:pt>
                <c:pt idx="1">
                  <c:v>Toastinette Cheddar Fondu Tranche A Chaud Sachet 1X200Gr 10P</c:v>
                </c:pt>
                <c:pt idx="2">
                  <c:v>Boursin Cuisine Sauce Fromage Afh 1X240Gr 1P</c:v>
                </c:pt>
                <c:pt idx="3">
                  <c:v>La Vache Qui Rit Le Fondant Fromage Fondu 1X200Gr 1P</c:v>
                </c:pt>
                <c:pt idx="4">
                  <c:v>Toastinette Fromage Fondu Tranche A Chaud Sachet 1X340Gr 20P</c:v>
                </c:pt>
                <c:pt idx="5">
                  <c:v>Toastinette Cheddar Fondu Tranche A Chaud Sachet 1X340Gr 20P</c:v>
                </c:pt>
              </c:strCache>
            </c:strRef>
          </c:cat>
          <c:val>
            <c:numRef>
              <c:f>Sheet1!$D$2:$D$7</c:f>
              <c:numCache>
                <c:formatCode>General</c:formatCode>
                <c:ptCount val="6"/>
                <c:pt idx="0">
                  <c:v>4384.49</c:v>
                </c:pt>
                <c:pt idx="1">
                  <c:v>4355.3900000000003</c:v>
                </c:pt>
                <c:pt idx="2">
                  <c:v>1964.9795918367347</c:v>
                </c:pt>
                <c:pt idx="3">
                  <c:v>682.81355932203394</c:v>
                </c:pt>
                <c:pt idx="4">
                  <c:v>1699.3125</c:v>
                </c:pt>
                <c:pt idx="5">
                  <c:v>1560.3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Coeur De Lion</c:v>
                </c:pt>
                <c:pt idx="6">
                  <c:v>La Vache Qui Rit</c:v>
                </c:pt>
                <c:pt idx="7">
                  <c:v>Kiri</c:v>
                </c:pt>
                <c:pt idx="8">
                  <c:v>Boursin</c:v>
                </c:pt>
                <c:pt idx="9">
                  <c:v>Others</c:v>
                </c:pt>
              </c:strCache>
            </c:strRef>
          </c:cat>
          <c:val>
            <c:numRef>
              <c:f>Sheet1!$B$2:$B$11</c:f>
              <c:numCache>
                <c:formatCode>General</c:formatCode>
                <c:ptCount val="10"/>
                <c:pt idx="0">
                  <c:v>0.32675638646873917</c:v>
                </c:pt>
                <c:pt idx="1">
                  <c:v>6.9732297653962411E-2</c:v>
                </c:pt>
                <c:pt idx="2">
                  <c:v>5.8993400328935533E-2</c:v>
                </c:pt>
                <c:pt idx="3">
                  <c:v>5.2448296727898983E-2</c:v>
                </c:pt>
                <c:pt idx="4">
                  <c:v>5.204377363251101E-2</c:v>
                </c:pt>
                <c:pt idx="5">
                  <c:v>4.0443711297946688E-2</c:v>
                </c:pt>
                <c:pt idx="6">
                  <c:v>3.9673885398634826E-2</c:v>
                </c:pt>
                <c:pt idx="7">
                  <c:v>2.9958376958464483E-2</c:v>
                </c:pt>
                <c:pt idx="8">
                  <c:v>2.7345493529743303E-2</c:v>
                </c:pt>
                <c:pt idx="9">
                  <c:v>0.3026043780031635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Coeur De Lion</c:v>
                </c:pt>
                <c:pt idx="6">
                  <c:v>La Vache Qui Rit</c:v>
                </c:pt>
                <c:pt idx="7">
                  <c:v>Kiri</c:v>
                </c:pt>
                <c:pt idx="8">
                  <c:v>Boursin</c:v>
                </c:pt>
                <c:pt idx="9">
                  <c:v>Others</c:v>
                </c:pt>
              </c:strCache>
            </c:strRef>
          </c:cat>
          <c:val>
            <c:numRef>
              <c:f>Sheet1!$C$2:$C$11</c:f>
              <c:numCache>
                <c:formatCode>General</c:formatCode>
                <c:ptCount val="10"/>
                <c:pt idx="0">
                  <c:v>0.22496221755317181</c:v>
                </c:pt>
                <c:pt idx="1">
                  <c:v>4.4048803863024802E-2</c:v>
                </c:pt>
                <c:pt idx="2">
                  <c:v>5.4185557890080706E-2</c:v>
                </c:pt>
                <c:pt idx="3">
                  <c:v>3.048398392863725E-2</c:v>
                </c:pt>
                <c:pt idx="4">
                  <c:v>3.3875188912234129E-2</c:v>
                </c:pt>
                <c:pt idx="5">
                  <c:v>2.4770540749751185E-2</c:v>
                </c:pt>
                <c:pt idx="6">
                  <c:v>3.1774116259353453E-2</c:v>
                </c:pt>
                <c:pt idx="7">
                  <c:v>4.1615982896531373E-2</c:v>
                </c:pt>
                <c:pt idx="8">
                  <c:v>5.5881160381879159E-2</c:v>
                </c:pt>
                <c:pt idx="9">
                  <c:v>0.4584024475653358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Coeur De Lion</c:v>
                </c:pt>
                <c:pt idx="6">
                  <c:v>La Vache Qui Rit</c:v>
                </c:pt>
                <c:pt idx="7">
                  <c:v>Kiri</c:v>
                </c:pt>
                <c:pt idx="8">
                  <c:v>Boursin</c:v>
                </c:pt>
                <c:pt idx="9">
                  <c:v>Others</c:v>
                </c:pt>
              </c:strCache>
            </c:strRef>
          </c:cat>
          <c:val>
            <c:numRef>
              <c:f>Sheet1!$D$2:$D$11</c:f>
              <c:numCache>
                <c:formatCode>General</c:formatCode>
                <c:ptCount val="10"/>
                <c:pt idx="0">
                  <c:v>68.847075946806015</c:v>
                </c:pt>
                <c:pt idx="1">
                  <c:v>63.168438937164161</c:v>
                </c:pt>
                <c:pt idx="2">
                  <c:v>91.850202883632321</c:v>
                </c:pt>
                <c:pt idx="3">
                  <c:v>58.121971218222257</c:v>
                </c:pt>
                <c:pt idx="4">
                  <c:v>65.089801426453008</c:v>
                </c:pt>
                <c:pt idx="5">
                  <c:v>61.246952751857805</c:v>
                </c:pt>
                <c:pt idx="6">
                  <c:v>80.088239253841266</c:v>
                </c:pt>
                <c:pt idx="7">
                  <c:v>138.91267525683875</c:v>
                </c:pt>
                <c:pt idx="8">
                  <c:v>204.3523563438269</c:v>
                </c:pt>
                <c:pt idx="9">
                  <c:v>151.4857288550344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Toastinette Cheddar Fondu Tranche A Chaud Sachet 1X200Gr 10P</c:v>
                </c:pt>
                <c:pt idx="1">
                  <c:v>Toastinette Fromage Fondu Tranche A Chaud Sachet 1X200Gr 10P</c:v>
                </c:pt>
                <c:pt idx="2">
                  <c:v>Boursin Cuisine Sauce Fromage Afh 1X240Gr 1P</c:v>
                </c:pt>
              </c:strCache>
            </c:strRef>
          </c:cat>
          <c:val>
            <c:numRef>
              <c:f>Sheet1!$B$2:$B$4</c:f>
              <c:numCache>
                <c:formatCode>General</c:formatCode>
                <c:ptCount val="3"/>
                <c:pt idx="0">
                  <c:v>0.97</c:v>
                </c:pt>
                <c:pt idx="1">
                  <c:v>0.79</c:v>
                </c:pt>
                <c:pt idx="2">
                  <c:v>0.7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Toastinette Cheddar Fondu Tranche A Chaud Sachet 1X200Gr 10P</c:v>
                </c:pt>
                <c:pt idx="1">
                  <c:v>Toastinette Fromage Fondu Tranche A Chaud Sachet 1X200Gr 10P</c:v>
                </c:pt>
                <c:pt idx="2">
                  <c:v>Boursin Cuisine Sauce Fromage Afh 1X240Gr 1P</c:v>
                </c:pt>
              </c:strCache>
            </c:strRef>
          </c:cat>
          <c:val>
            <c:numRef>
              <c:f>Sheet1!$C$2:$C$4</c:f>
              <c:numCache>
                <c:formatCode>General</c:formatCode>
                <c:ptCount val="3"/>
                <c:pt idx="0">
                  <c:v>0.48010309139604052</c:v>
                </c:pt>
                <c:pt idx="1">
                  <c:v>0.85361290930379652</c:v>
                </c:pt>
                <c:pt idx="2">
                  <c:v>0.9999676998236948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Toastinette Cheddar Fondu Tranche A Chaud Sachet 1X200Gr 10P</c:v>
                </c:pt>
                <c:pt idx="1">
                  <c:v>Toastinette Fromage Fondu Tranche A Chaud Sachet 1X200Gr 10P</c:v>
                </c:pt>
                <c:pt idx="2">
                  <c:v>Boursin Cuisine Sauce Fromage Afh 1X240Gr 1P</c:v>
                </c:pt>
              </c:strCache>
            </c:strRef>
          </c:cat>
          <c:val>
            <c:numRef>
              <c:f>Sheet1!$D$2:$D$4</c:f>
              <c:numCache>
                <c:formatCode>General</c:formatCode>
                <c:ptCount val="3"/>
                <c:pt idx="0">
                  <c:v>3677.6391752577319</c:v>
                </c:pt>
                <c:pt idx="1">
                  <c:v>3513.0253164556962</c:v>
                </c:pt>
                <c:pt idx="2">
                  <c:v>1510.361111111111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Boursin Cuisine Sauce Fromage Afh 1X240Gr 1P</c:v>
                </c:pt>
                <c:pt idx="1">
                  <c:v>Toastinette Cheddar Fondu Tranche A Chaud Sachet 1X200Gr 10P</c:v>
                </c:pt>
                <c:pt idx="2">
                  <c:v>Toastinette Fromage Fondu Tranche A Chaud Sachet 1X200Gr 10P</c:v>
                </c:pt>
              </c:strCache>
            </c:strRef>
          </c:cat>
          <c:val>
            <c:numRef>
              <c:f>Sheet1!$B$2:$B$4</c:f>
              <c:numCache>
                <c:formatCode>General</c:formatCode>
                <c:ptCount val="3"/>
                <c:pt idx="0">
                  <c:v>0.32</c:v>
                </c:pt>
                <c:pt idx="1">
                  <c:v>0.18</c:v>
                </c:pt>
                <c:pt idx="2">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Boursin Cuisine Sauce Fromage Afh 1X240Gr 1P</c:v>
                </c:pt>
                <c:pt idx="1">
                  <c:v>Toastinette Cheddar Fondu Tranche A Chaud Sachet 1X200Gr 10P</c:v>
                </c:pt>
                <c:pt idx="2">
                  <c:v>Toastinette Fromage Fondu Tranche A Chaud Sachet 1X200Gr 10P</c:v>
                </c:pt>
              </c:strCache>
            </c:strRef>
          </c:cat>
          <c:val>
            <c:numRef>
              <c:f>Sheet1!$C$2:$C$4</c:f>
              <c:numCache>
                <c:formatCode>General</c:formatCode>
                <c:ptCount val="3"/>
                <c:pt idx="0">
                  <c:v>0.55192660550458716</c:v>
                </c:pt>
                <c:pt idx="1">
                  <c:v>0.85551670417171544</c:v>
                </c:pt>
                <c:pt idx="2">
                  <c:v>0.9996607235589406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Boursin Cuisine Sauce Fromage Afh 1X240Gr 1P</c:v>
                </c:pt>
                <c:pt idx="1">
                  <c:v>Toastinette Cheddar Fondu Tranche A Chaud Sachet 1X200Gr 10P</c:v>
                </c:pt>
                <c:pt idx="2">
                  <c:v>Toastinette Fromage Fondu Tranche A Chaud Sachet 1X200Gr 10P</c:v>
                </c:pt>
              </c:strCache>
            </c:strRef>
          </c:cat>
          <c:val>
            <c:numRef>
              <c:f>Sheet1!$D$2:$D$4</c:f>
              <c:numCache>
                <c:formatCode>General</c:formatCode>
                <c:ptCount val="3"/>
                <c:pt idx="0">
                  <c:v>2491</c:v>
                </c:pt>
                <c:pt idx="1">
                  <c:v>2435.8888888888887</c:v>
                </c:pt>
                <c:pt idx="2">
                  <c:v>4163.600000000000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8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0.9985975134921527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5857.97727272727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9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819.718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Boursin Cuisine Sauce Fromage Afh 1X240Gr 1P</c:v>
                </c:pt>
                <c:pt idx="1">
                  <c:v>Toastinette Fromage Fondu Tranche A Chaud Sachet 1X200Gr 10P</c:v>
                </c:pt>
                <c:pt idx="2">
                  <c:v>Toastinette Fromage Fondu Tranche A Chaud Sachet 1X340Gr 20P</c:v>
                </c:pt>
                <c:pt idx="3">
                  <c:v>Toastinette Cheddar Fondu Tranche A Chaud Sachet 1X340Gr 20P</c:v>
                </c:pt>
              </c:strCache>
            </c:strRef>
          </c:cat>
          <c:val>
            <c:numRef>
              <c:f>Sheet1!$B$2:$B$5</c:f>
              <c:numCache>
                <c:formatCode>General</c:formatCode>
                <c:ptCount val="4"/>
                <c:pt idx="0">
                  <c:v>0.73</c:v>
                </c:pt>
                <c:pt idx="1">
                  <c:v>0.01</c:v>
                </c:pt>
                <c:pt idx="2">
                  <c:v>0.01</c:v>
                </c:pt>
                <c:pt idx="3">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Boursin Cuisine Sauce Fromage Afh 1X240Gr 1P</c:v>
                </c:pt>
                <c:pt idx="1">
                  <c:v>Toastinette Fromage Fondu Tranche A Chaud Sachet 1X200Gr 10P</c:v>
                </c:pt>
                <c:pt idx="2">
                  <c:v>Toastinette Fromage Fondu Tranche A Chaud Sachet 1X340Gr 20P</c:v>
                </c:pt>
                <c:pt idx="3">
                  <c:v>Toastinette Cheddar Fondu Tranche A Chaud Sachet 1X340Gr 20P</c:v>
                </c:pt>
              </c:strCache>
            </c:strRef>
          </c:cat>
          <c:val>
            <c:numRef>
              <c:f>Sheet1!$C$2:$C$5</c:f>
              <c:numCache>
                <c:formatCode>General</c:formatCode>
                <c:ptCount val="4"/>
                <c:pt idx="0">
                  <c:v>0.99712261485634812</c:v>
                </c:pt>
                <c:pt idx="1">
                  <c:v>0.99968705176685368</c:v>
                </c:pt>
                <c:pt idx="2">
                  <c:v>0.99989568392228467</c:v>
                </c:pt>
                <c:pt idx="3">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5</c:f>
              <c:strCache>
                <c:ptCount val="4"/>
                <c:pt idx="0">
                  <c:v>Boursin Cuisine Sauce Fromage Afh 1X240Gr 1P</c:v>
                </c:pt>
                <c:pt idx="1">
                  <c:v>Toastinette Fromage Fondu Tranche A Chaud Sachet 1X200Gr 10P</c:v>
                </c:pt>
                <c:pt idx="2">
                  <c:v>Toastinette Fromage Fondu Tranche A Chaud Sachet 1X340Gr 20P</c:v>
                </c:pt>
                <c:pt idx="3">
                  <c:v>Toastinette Cheddar Fondu Tranche A Chaud Sachet 1X340Gr 20P</c:v>
                </c:pt>
              </c:strCache>
            </c:strRef>
          </c:cat>
          <c:val>
            <c:numRef>
              <c:f>Sheet1!$D$2:$D$5</c:f>
              <c:numCache>
                <c:formatCode>General</c:formatCode>
                <c:ptCount val="4"/>
                <c:pt idx="0">
                  <c:v>1571.2876712328766</c:v>
                </c:pt>
                <c:pt idx="1">
                  <c:v>139</c:v>
                </c:pt>
                <c:pt idx="2">
                  <c:v>24</c:v>
                </c:pt>
                <c:pt idx="3">
                  <c:v>1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7</c:f>
              <c:strCache>
                <c:ptCount val="36"/>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Kiri Gouter Fromage Blanc Dips Boite 1X175Gr 5P</c:v>
                </c:pt>
                <c:pt idx="9">
                  <c:v>Kiri Gouter Fromage Blanc Dips Boite 1X280Gr 8P</c:v>
                </c:pt>
                <c:pt idx="10">
                  <c:v>La Vache Qui Rit Pik Et Croq' Fromage Fondu Dips Boite 1X175Gr 5P</c:v>
                </c:pt>
                <c:pt idx="11">
                  <c:v>Mini Babybel Rouge Filet St Paulin Ferme 1X440Gr 20P</c:v>
                </c:pt>
                <c:pt idx="12">
                  <c:v>La Vache Qui Rit Nature Fromage Fondu Boite Ronde 1X128Gr 8P</c:v>
                </c:pt>
                <c:pt idx="13">
                  <c:v>Mini Babybel Rouge Filet Soft Cheese Enfant 352G</c:v>
                </c:pt>
                <c:pt idx="14">
                  <c:v>La Vache Qui Rit Nature Fromage Fondu Boite Ronde 1X512Gr 24+8P</c:v>
                </c:pt>
                <c:pt idx="15">
                  <c:v>Kiri Creme Fromage Blanc Frais Carre 1X432Gr 18+6P</c:v>
                </c:pt>
                <c:pt idx="16">
                  <c:v>Mini Babybel Rouge Filet Soft Cheese Enfant 484G</c:v>
                </c:pt>
                <c:pt idx="17">
                  <c:v>Mini Babybel Rouge Filet St Paulin Ferme 1X396Gr 12+6P</c:v>
                </c:pt>
                <c:pt idx="18">
                  <c:v>Mini Babybel Aros St Paulin Ferme Assortis Filet 1X180Gr 9P</c:v>
                </c:pt>
                <c:pt idx="19">
                  <c:v>Babybel Mini Rolls St Paulin Ferme Sachet 1X85Gr 5P</c:v>
                </c:pt>
                <c:pt idx="20">
                  <c:v>La Vache Qui Rit Pik Et Croq' Fromage Fondu Dips Boite 1X280Gr 8P</c:v>
                </c:pt>
                <c:pt idx="21">
                  <c:v>La Vache Qui Rit Allegee Fromage Fondu Boite Ronde Allege 1X267Gr 16P</c:v>
                </c:pt>
                <c:pt idx="22">
                  <c:v>Kiri Bio Fromage Blanc Frais Carre 1X144Gr 8P</c:v>
                </c:pt>
                <c:pt idx="23">
                  <c:v>Mini Babybel Aros Soft Cheese Enfant 180G</c:v>
                </c:pt>
                <c:pt idx="24">
                  <c:v>Mini Babybel Aros St Paulin Ferme Raclette Filet 1X132Gr 6P</c:v>
                </c:pt>
                <c:pt idx="25">
                  <c:v>La Vache Qui Rit Bio Fromage Fondu Boite Ronde 1X128Gr 8P</c:v>
                </c:pt>
                <c:pt idx="26">
                  <c:v>Mini Babybel Aros Soft Cheese Enfant 110G</c:v>
                </c:pt>
                <c:pt idx="27">
                  <c:v>Mini Babybel Aros St Paulin Ferme Emmental Filet 1X120Gr 6P</c:v>
                </c:pt>
                <c:pt idx="28">
                  <c:v>Mini Babybel Rouge Filet St Paulin Ferme Sachet 1X40Gr 1P</c:v>
                </c:pt>
                <c:pt idx="29">
                  <c:v>Mini Babybel Aros Soft Cheese Enfant 120G</c:v>
                </c:pt>
                <c:pt idx="30">
                  <c:v>La Vache Qui Rit Aro Fromage Fondu Boite Ronde Jambon 1X133Gr 8P</c:v>
                </c:pt>
                <c:pt idx="31">
                  <c:v>La Vache Qui Rit Pik Et Croq' Fromage Fondu Dips Boite 1X35Gr 1P</c:v>
                </c:pt>
                <c:pt idx="32">
                  <c:v>Kiri Chevre Fromage Blanc Frais Carre 1X144Gr 8P</c:v>
                </c:pt>
                <c:pt idx="33">
                  <c:v>Mini Babybel Bio St Paulin Ferme Filet 1X100Gr 5P</c:v>
                </c:pt>
                <c:pt idx="34">
                  <c:v>Mini Babybel Rouge Filet St Paulin Ferme 1X110Gr 5P</c:v>
                </c:pt>
                <c:pt idx="35">
                  <c:v>Mini Babybel Rouge Filet St Paulin Ferme 1X396Gr 18P</c:v>
                </c:pt>
              </c:strCache>
            </c:strRef>
          </c:cat>
          <c:val>
            <c:numRef>
              <c:f>Sheet1!$B$2:$B$37</c:f>
              <c:numCache>
                <c:formatCode>General</c:formatCode>
                <c:ptCount val="36"/>
                <c:pt idx="0">
                  <c:v>0.82699999999999996</c:v>
                </c:pt>
                <c:pt idx="1">
                  <c:v>0.86799999999999999</c:v>
                </c:pt>
                <c:pt idx="2">
                  <c:v>0.99</c:v>
                </c:pt>
                <c:pt idx="3">
                  <c:v>0.89800000000000002</c:v>
                </c:pt>
                <c:pt idx="4">
                  <c:v>0.98099999999999998</c:v>
                </c:pt>
                <c:pt idx="5">
                  <c:v>0.77800000000000002</c:v>
                </c:pt>
                <c:pt idx="6">
                  <c:v>0.99</c:v>
                </c:pt>
                <c:pt idx="7">
                  <c:v>0.83399999999999996</c:v>
                </c:pt>
                <c:pt idx="8">
                  <c:v>0.94899999999999995</c:v>
                </c:pt>
                <c:pt idx="9">
                  <c:v>0.73199999999999998</c:v>
                </c:pt>
                <c:pt idx="10">
                  <c:v>0.90800000000000003</c:v>
                </c:pt>
                <c:pt idx="11">
                  <c:v>0.82</c:v>
                </c:pt>
                <c:pt idx="12">
                  <c:v>0.69399999999999995</c:v>
                </c:pt>
                <c:pt idx="13">
                  <c:v>0.80800000000000005</c:v>
                </c:pt>
                <c:pt idx="14">
                  <c:v>0.72499999999999998</c:v>
                </c:pt>
                <c:pt idx="15">
                  <c:v>0.71599999999999997</c:v>
                </c:pt>
                <c:pt idx="16">
                  <c:v>0.443</c:v>
                </c:pt>
                <c:pt idx="17">
                  <c:v>0.73599999999999999</c:v>
                </c:pt>
                <c:pt idx="18">
                  <c:v>0.69199999999999995</c:v>
                </c:pt>
                <c:pt idx="19">
                  <c:v>0.61799999999999999</c:v>
                </c:pt>
                <c:pt idx="20">
                  <c:v>0.434</c:v>
                </c:pt>
                <c:pt idx="21">
                  <c:v>0.495</c:v>
                </c:pt>
                <c:pt idx="22">
                  <c:v>0.502</c:v>
                </c:pt>
                <c:pt idx="23">
                  <c:v>0.69699999999999995</c:v>
                </c:pt>
                <c:pt idx="24">
                  <c:v>0.42299999999999999</c:v>
                </c:pt>
                <c:pt idx="25">
                  <c:v>0.48199999999999998</c:v>
                </c:pt>
                <c:pt idx="26">
                  <c:v>0.64500000000000002</c:v>
                </c:pt>
                <c:pt idx="27">
                  <c:v>0.31900000000000001</c:v>
                </c:pt>
                <c:pt idx="28">
                  <c:v>0.128</c:v>
                </c:pt>
                <c:pt idx="29">
                  <c:v>0.31</c:v>
                </c:pt>
                <c:pt idx="30">
                  <c:v>3.6999999999999998E-2</c:v>
                </c:pt>
                <c:pt idx="31">
                  <c:v>8.0000000000000002E-3</c:v>
                </c:pt>
                <c:pt idx="32">
                  <c:v>0.26700000000000002</c:v>
                </c:pt>
                <c:pt idx="33">
                  <c:v>0.316</c:v>
                </c:pt>
                <c:pt idx="34">
                  <c:v>2.3E-2</c:v>
                </c:pt>
                <c:pt idx="35">
                  <c:v>5.000000000000000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7</c:f>
              <c:strCache>
                <c:ptCount val="36"/>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Kiri Gouter Fromage Blanc Dips Boite 1X175Gr 5P</c:v>
                </c:pt>
                <c:pt idx="9">
                  <c:v>Kiri Gouter Fromage Blanc Dips Boite 1X280Gr 8P</c:v>
                </c:pt>
                <c:pt idx="10">
                  <c:v>La Vache Qui Rit Pik Et Croq' Fromage Fondu Dips Boite 1X175Gr 5P</c:v>
                </c:pt>
                <c:pt idx="11">
                  <c:v>Mini Babybel Rouge Filet St Paulin Ferme 1X440Gr 20P</c:v>
                </c:pt>
                <c:pt idx="12">
                  <c:v>La Vache Qui Rit Nature Fromage Fondu Boite Ronde 1X128Gr 8P</c:v>
                </c:pt>
                <c:pt idx="13">
                  <c:v>Mini Babybel Rouge Filet Soft Cheese Enfant 352G</c:v>
                </c:pt>
                <c:pt idx="14">
                  <c:v>La Vache Qui Rit Nature Fromage Fondu Boite Ronde 1X512Gr 24+8P</c:v>
                </c:pt>
                <c:pt idx="15">
                  <c:v>Kiri Creme Fromage Blanc Frais Carre 1X432Gr 18+6P</c:v>
                </c:pt>
                <c:pt idx="16">
                  <c:v>Mini Babybel Rouge Filet Soft Cheese Enfant 484G</c:v>
                </c:pt>
                <c:pt idx="17">
                  <c:v>Mini Babybel Rouge Filet St Paulin Ferme 1X396Gr 12+6P</c:v>
                </c:pt>
                <c:pt idx="18">
                  <c:v>Mini Babybel Aros St Paulin Ferme Assortis Filet 1X180Gr 9P</c:v>
                </c:pt>
                <c:pt idx="19">
                  <c:v>Babybel Mini Rolls St Paulin Ferme Sachet 1X85Gr 5P</c:v>
                </c:pt>
                <c:pt idx="20">
                  <c:v>La Vache Qui Rit Pik Et Croq' Fromage Fondu Dips Boite 1X280Gr 8P</c:v>
                </c:pt>
                <c:pt idx="21">
                  <c:v>La Vache Qui Rit Allegee Fromage Fondu Boite Ronde Allege 1X267Gr 16P</c:v>
                </c:pt>
                <c:pt idx="22">
                  <c:v>Kiri Bio Fromage Blanc Frais Carre 1X144Gr 8P</c:v>
                </c:pt>
                <c:pt idx="23">
                  <c:v>Mini Babybel Aros Soft Cheese Enfant 180G</c:v>
                </c:pt>
                <c:pt idx="24">
                  <c:v>Mini Babybel Aros St Paulin Ferme Raclette Filet 1X132Gr 6P</c:v>
                </c:pt>
                <c:pt idx="25">
                  <c:v>La Vache Qui Rit Bio Fromage Fondu Boite Ronde 1X128Gr 8P</c:v>
                </c:pt>
                <c:pt idx="26">
                  <c:v>Mini Babybel Aros Soft Cheese Enfant 110G</c:v>
                </c:pt>
                <c:pt idx="27">
                  <c:v>Mini Babybel Aros St Paulin Ferme Emmental Filet 1X120Gr 6P</c:v>
                </c:pt>
                <c:pt idx="28">
                  <c:v>Mini Babybel Rouge Filet St Paulin Ferme Sachet 1X40Gr 1P</c:v>
                </c:pt>
                <c:pt idx="29">
                  <c:v>Mini Babybel Aros Soft Cheese Enfant 120G</c:v>
                </c:pt>
                <c:pt idx="30">
                  <c:v>La Vache Qui Rit Aro Fromage Fondu Boite Ronde Jambon 1X133Gr 8P</c:v>
                </c:pt>
                <c:pt idx="31">
                  <c:v>La Vache Qui Rit Pik Et Croq' Fromage Fondu Dips Boite 1X35Gr 1P</c:v>
                </c:pt>
                <c:pt idx="32">
                  <c:v>Kiri Chevre Fromage Blanc Frais Carre 1X144Gr 8P</c:v>
                </c:pt>
                <c:pt idx="33">
                  <c:v>Mini Babybel Bio St Paulin Ferme Filet 1X100Gr 5P</c:v>
                </c:pt>
                <c:pt idx="34">
                  <c:v>Mini Babybel Rouge Filet St Paulin Ferme 1X110Gr 5P</c:v>
                </c:pt>
                <c:pt idx="35">
                  <c:v>Mini Babybel Rouge Filet St Paulin Ferme 1X396Gr 18P</c:v>
                </c:pt>
              </c:strCache>
            </c:strRef>
          </c:cat>
          <c:val>
            <c:numRef>
              <c:f>Sheet1!$C$2:$C$37</c:f>
              <c:numCache>
                <c:formatCode>General</c:formatCode>
                <c:ptCount val="36"/>
                <c:pt idx="0">
                  <c:v>0.1592646529382846</c:v>
                </c:pt>
                <c:pt idx="1">
                  <c:v>0.27532986608358417</c:v>
                </c:pt>
                <c:pt idx="2">
                  <c:v>0.37137848374196003</c:v>
                </c:pt>
                <c:pt idx="3">
                  <c:v>0.45937543080749699</c:v>
                </c:pt>
                <c:pt idx="4">
                  <c:v>0.54488227437696779</c:v>
                </c:pt>
                <c:pt idx="5">
                  <c:v>0.63009359367511852</c:v>
                </c:pt>
                <c:pt idx="6">
                  <c:v>0.69364957202334343</c:v>
                </c:pt>
                <c:pt idx="7">
                  <c:v>0.74175188623459321</c:v>
                </c:pt>
                <c:pt idx="8">
                  <c:v>0.78576438781821545</c:v>
                </c:pt>
                <c:pt idx="9">
                  <c:v>0.81055863466225719</c:v>
                </c:pt>
                <c:pt idx="10">
                  <c:v>0.83448654676282696</c:v>
                </c:pt>
                <c:pt idx="11">
                  <c:v>0.8577409778607753</c:v>
                </c:pt>
                <c:pt idx="12">
                  <c:v>0.87835777208178345</c:v>
                </c:pt>
                <c:pt idx="13">
                  <c:v>0.89838810631203736</c:v>
                </c:pt>
                <c:pt idx="14">
                  <c:v>0.91727965884856799</c:v>
                </c:pt>
                <c:pt idx="15">
                  <c:v>0.93306087292691797</c:v>
                </c:pt>
                <c:pt idx="16">
                  <c:v>0.94649332705468703</c:v>
                </c:pt>
                <c:pt idx="17">
                  <c:v>0.95793320589000486</c:v>
                </c:pt>
                <c:pt idx="18">
                  <c:v>0.96539713815652006</c:v>
                </c:pt>
                <c:pt idx="19">
                  <c:v>0.97171616617474266</c:v>
                </c:pt>
                <c:pt idx="20">
                  <c:v>0.97767627793356626</c:v>
                </c:pt>
                <c:pt idx="21">
                  <c:v>0.98258792577068643</c:v>
                </c:pt>
                <c:pt idx="22">
                  <c:v>0.98661904261143207</c:v>
                </c:pt>
                <c:pt idx="23">
                  <c:v>0.99020197500154217</c:v>
                </c:pt>
                <c:pt idx="24">
                  <c:v>0.99233937898592572</c:v>
                </c:pt>
                <c:pt idx="25">
                  <c:v>0.99446729637476794</c:v>
                </c:pt>
                <c:pt idx="26">
                  <c:v>0.99651505539532603</c:v>
                </c:pt>
                <c:pt idx="27">
                  <c:v>0.99766133217233521</c:v>
                </c:pt>
                <c:pt idx="28">
                  <c:v>0.99822007246547906</c:v>
                </c:pt>
                <c:pt idx="29">
                  <c:v>0.99867529448982839</c:v>
                </c:pt>
                <c:pt idx="30">
                  <c:v>0.99907959839002347</c:v>
                </c:pt>
                <c:pt idx="31">
                  <c:v>0.9993959662592069</c:v>
                </c:pt>
                <c:pt idx="32">
                  <c:v>0.99962516509872046</c:v>
                </c:pt>
                <c:pt idx="33">
                  <c:v>0.99983470448279277</c:v>
                </c:pt>
                <c:pt idx="34">
                  <c:v>0.99999782010144966</c:v>
                </c:pt>
                <c:pt idx="35">
                  <c:v>0.9999998250698691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7</c:f>
              <c:strCache>
                <c:ptCount val="36"/>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Kiri Gouter Fromage Blanc Dips Boite 1X175Gr 5P</c:v>
                </c:pt>
                <c:pt idx="9">
                  <c:v>Kiri Gouter Fromage Blanc Dips Boite 1X280Gr 8P</c:v>
                </c:pt>
                <c:pt idx="10">
                  <c:v>La Vache Qui Rit Pik Et Croq' Fromage Fondu Dips Boite 1X175Gr 5P</c:v>
                </c:pt>
                <c:pt idx="11">
                  <c:v>Mini Babybel Rouge Filet St Paulin Ferme 1X440Gr 20P</c:v>
                </c:pt>
                <c:pt idx="12">
                  <c:v>La Vache Qui Rit Nature Fromage Fondu Boite Ronde 1X128Gr 8P</c:v>
                </c:pt>
                <c:pt idx="13">
                  <c:v>Mini Babybel Rouge Filet Soft Cheese Enfant 352G</c:v>
                </c:pt>
                <c:pt idx="14">
                  <c:v>La Vache Qui Rit Nature Fromage Fondu Boite Ronde 1X512Gr 24+8P</c:v>
                </c:pt>
                <c:pt idx="15">
                  <c:v>Kiri Creme Fromage Blanc Frais Carre 1X432Gr 18+6P</c:v>
                </c:pt>
                <c:pt idx="16">
                  <c:v>Mini Babybel Rouge Filet Soft Cheese Enfant 484G</c:v>
                </c:pt>
                <c:pt idx="17">
                  <c:v>Mini Babybel Rouge Filet St Paulin Ferme 1X396Gr 12+6P</c:v>
                </c:pt>
                <c:pt idx="18">
                  <c:v>Mini Babybel Aros St Paulin Ferme Assortis Filet 1X180Gr 9P</c:v>
                </c:pt>
                <c:pt idx="19">
                  <c:v>Babybel Mini Rolls St Paulin Ferme Sachet 1X85Gr 5P</c:v>
                </c:pt>
                <c:pt idx="20">
                  <c:v>La Vache Qui Rit Pik Et Croq' Fromage Fondu Dips Boite 1X280Gr 8P</c:v>
                </c:pt>
                <c:pt idx="21">
                  <c:v>La Vache Qui Rit Allegee Fromage Fondu Boite Ronde Allege 1X267Gr 16P</c:v>
                </c:pt>
                <c:pt idx="22">
                  <c:v>Kiri Bio Fromage Blanc Frais Carre 1X144Gr 8P</c:v>
                </c:pt>
                <c:pt idx="23">
                  <c:v>Mini Babybel Aros Soft Cheese Enfant 180G</c:v>
                </c:pt>
                <c:pt idx="24">
                  <c:v>Mini Babybel Aros St Paulin Ferme Raclette Filet 1X132Gr 6P</c:v>
                </c:pt>
                <c:pt idx="25">
                  <c:v>La Vache Qui Rit Bio Fromage Fondu Boite Ronde 1X128Gr 8P</c:v>
                </c:pt>
                <c:pt idx="26">
                  <c:v>Mini Babybel Aros Soft Cheese Enfant 110G</c:v>
                </c:pt>
                <c:pt idx="27">
                  <c:v>Mini Babybel Aros St Paulin Ferme Emmental Filet 1X120Gr 6P</c:v>
                </c:pt>
                <c:pt idx="28">
                  <c:v>Mini Babybel Rouge Filet St Paulin Ferme Sachet 1X40Gr 1P</c:v>
                </c:pt>
                <c:pt idx="29">
                  <c:v>Mini Babybel Aros Soft Cheese Enfant 120G</c:v>
                </c:pt>
                <c:pt idx="30">
                  <c:v>La Vache Qui Rit Aro Fromage Fondu Boite Ronde Jambon 1X133Gr 8P</c:v>
                </c:pt>
                <c:pt idx="31">
                  <c:v>La Vache Qui Rit Pik Et Croq' Fromage Fondu Dips Boite 1X35Gr 1P</c:v>
                </c:pt>
                <c:pt idx="32">
                  <c:v>Kiri Chevre Fromage Blanc Frais Carre 1X144Gr 8P</c:v>
                </c:pt>
                <c:pt idx="33">
                  <c:v>Mini Babybel Bio St Paulin Ferme Filet 1X100Gr 5P</c:v>
                </c:pt>
                <c:pt idx="34">
                  <c:v>Mini Babybel Rouge Filet St Paulin Ferme 1X110Gr 5P</c:v>
                </c:pt>
                <c:pt idx="35">
                  <c:v>Mini Babybel Rouge Filet St Paulin Ferme 1X396Gr 18P</c:v>
                </c:pt>
              </c:strCache>
            </c:strRef>
          </c:cat>
          <c:val>
            <c:numRef>
              <c:f>Sheet1!$D$2:$D$37</c:f>
              <c:numCache>
                <c:formatCode>General</c:formatCode>
                <c:ptCount val="36"/>
                <c:pt idx="0">
                  <c:v>143117.46070133013</c:v>
                </c:pt>
                <c:pt idx="1">
                  <c:v>99371.32488479263</c:v>
                </c:pt>
                <c:pt idx="2">
                  <c:v>72099.898989898997</c:v>
                </c:pt>
                <c:pt idx="3">
                  <c:v>72823.240534521159</c:v>
                </c:pt>
                <c:pt idx="4">
                  <c:v>64775.474006116208</c:v>
                </c:pt>
                <c:pt idx="5">
                  <c:v>81394.755784061694</c:v>
                </c:pt>
                <c:pt idx="6">
                  <c:v>47708.959595959597</c:v>
                </c:pt>
                <c:pt idx="7">
                  <c:v>42862.613908872903</c:v>
                </c:pt>
                <c:pt idx="8">
                  <c:v>34465.816649104323</c:v>
                </c:pt>
                <c:pt idx="9">
                  <c:v>25172.049180327867</c:v>
                </c:pt>
                <c:pt idx="10">
                  <c:v>19583.832599118945</c:v>
                </c:pt>
                <c:pt idx="11">
                  <c:v>21075.146341463416</c:v>
                </c:pt>
                <c:pt idx="12">
                  <c:v>22077.017291066284</c:v>
                </c:pt>
                <c:pt idx="13">
                  <c:v>18422.797029702968</c:v>
                </c:pt>
                <c:pt idx="14">
                  <c:v>19364.593103448275</c:v>
                </c:pt>
                <c:pt idx="15">
                  <c:v>16379.706703910615</c:v>
                </c:pt>
                <c:pt idx="16">
                  <c:v>22533.589164785553</c:v>
                </c:pt>
                <c:pt idx="17">
                  <c:v>11551.073369565218</c:v>
                </c:pt>
                <c:pt idx="18">
                  <c:v>8015.6791907514462</c:v>
                </c:pt>
                <c:pt idx="19">
                  <c:v>7598.7216828478968</c:v>
                </c:pt>
                <c:pt idx="20">
                  <c:v>10205.714285714286</c:v>
                </c:pt>
                <c:pt idx="21">
                  <c:v>7373.9595959595963</c:v>
                </c:pt>
                <c:pt idx="22">
                  <c:v>5967.6095617529882</c:v>
                </c:pt>
                <c:pt idx="23">
                  <c:v>3820.1865136298429</c:v>
                </c:pt>
                <c:pt idx="24">
                  <c:v>3755.1300236406623</c:v>
                </c:pt>
                <c:pt idx="25">
                  <c:v>3280.8506224066391</c:v>
                </c:pt>
                <c:pt idx="26">
                  <c:v>2359.3798449612405</c:v>
                </c:pt>
                <c:pt idx="27">
                  <c:v>2670.4075235109717</c:v>
                </c:pt>
                <c:pt idx="28">
                  <c:v>3243.984375</c:v>
                </c:pt>
                <c:pt idx="29">
                  <c:v>1091.2903225806451</c:v>
                </c:pt>
                <c:pt idx="30">
                  <c:v>8120.5405405405409</c:v>
                </c:pt>
                <c:pt idx="31">
                  <c:v>29388.75</c:v>
                </c:pt>
                <c:pt idx="32">
                  <c:v>637.94007490636693</c:v>
                </c:pt>
                <c:pt idx="33">
                  <c:v>492.78481012658227</c:v>
                </c:pt>
                <c:pt idx="34">
                  <c:v>1634.7826086956522</c:v>
                </c:pt>
                <c:pt idx="35">
                  <c:v>5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9</c:f>
              <c:strCache>
                <c:ptCount val="28"/>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Mini Babybel Rouge Filet St Paulin Ferme 1X440Gr 20P</c:v>
                </c:pt>
                <c:pt idx="11">
                  <c:v>La Vache Qui Rit Pik Et Croq' Fromage Fondu Dips Boite 1X175Gr 5P</c:v>
                </c:pt>
                <c:pt idx="12">
                  <c:v>La Vache Qui Rit Pik Et Croq' Fromage Fondu Dips Boite 1X280Gr 8P</c:v>
                </c:pt>
                <c:pt idx="13">
                  <c:v>La Vache Qui Rit Allegee Fromage Fondu Boite Ronde Allege 1X267Gr 16P</c:v>
                </c:pt>
                <c:pt idx="14">
                  <c:v>Babybel Mini Rolls St Paulin Ferme Sachet 1X85Gr 5P</c:v>
                </c:pt>
                <c:pt idx="15">
                  <c:v>Mini Babybel Aros St Paulin Ferme Assortis Filet 1X180Gr 9P</c:v>
                </c:pt>
                <c:pt idx="16">
                  <c:v>La Vache Qui Rit Aro Fromage Fondu Boite Ronde Jambon 1X133Gr 8P</c:v>
                </c:pt>
                <c:pt idx="17">
                  <c:v>Kiri Bio Fromage Blanc Frais Carre 1X144Gr 8P</c:v>
                </c:pt>
                <c:pt idx="18">
                  <c:v>Kiri Chevre Fromage Blanc Frais Carre 1X144Gr 8P</c:v>
                </c:pt>
                <c:pt idx="19">
                  <c:v>Mini Babybel Aros Soft Cheese Enfant 180G</c:v>
                </c:pt>
                <c:pt idx="20">
                  <c:v>Mini Babybel Rouge Filet St Paulin Ferme 1X396Gr 12+6P</c:v>
                </c:pt>
                <c:pt idx="21">
                  <c:v>Kiri Creme Fromage Blanc Frais Carre 1X432Gr 18+6P</c:v>
                </c:pt>
                <c:pt idx="22">
                  <c:v>Mini Babybel Aros St Paulin Ferme Raclette Filet 1X132Gr 6P</c:v>
                </c:pt>
                <c:pt idx="23">
                  <c:v>Mini Babybel Aros Soft Cheese Enfant 110G</c:v>
                </c:pt>
                <c:pt idx="24">
                  <c:v>La Vache Qui Rit Nature Fromage Fondu Boite Ronde 1X512Gr 24+8P</c:v>
                </c:pt>
                <c:pt idx="25">
                  <c:v>Mini Babybel Rouge Filet St Paulin Ferme Sachet 1X40Gr 1P</c:v>
                </c:pt>
                <c:pt idx="26">
                  <c:v>Mini Babybel Bio St Paulin Ferme Filet 1X100Gr 5P</c:v>
                </c:pt>
                <c:pt idx="27">
                  <c:v>La Vache Qui Rit Nature Fromage Fondu Boite Ronde 1X128Gr 8P</c:v>
                </c:pt>
              </c:strCache>
            </c:strRef>
          </c:cat>
          <c:val>
            <c:numRef>
              <c:f>Sheet1!$B$2:$B$29</c:f>
              <c:numCache>
                <c:formatCode>General</c:formatCode>
                <c:ptCount val="28"/>
                <c:pt idx="0">
                  <c:v>0.98599999999999999</c:v>
                </c:pt>
                <c:pt idx="1">
                  <c:v>0.94699999999999995</c:v>
                </c:pt>
                <c:pt idx="2">
                  <c:v>0.998</c:v>
                </c:pt>
                <c:pt idx="3">
                  <c:v>0.998</c:v>
                </c:pt>
                <c:pt idx="4">
                  <c:v>0.94099999999999995</c:v>
                </c:pt>
                <c:pt idx="5">
                  <c:v>0.97499999999999998</c:v>
                </c:pt>
                <c:pt idx="6">
                  <c:v>0.86099999999999999</c:v>
                </c:pt>
                <c:pt idx="7">
                  <c:v>0.93200000000000005</c:v>
                </c:pt>
                <c:pt idx="8">
                  <c:v>0.98299999999999998</c:v>
                </c:pt>
                <c:pt idx="9">
                  <c:v>0.98099999999999998</c:v>
                </c:pt>
                <c:pt idx="10">
                  <c:v>0.85199999999999998</c:v>
                </c:pt>
                <c:pt idx="11">
                  <c:v>0.95499999999999996</c:v>
                </c:pt>
                <c:pt idx="12">
                  <c:v>0.84799999999999998</c:v>
                </c:pt>
                <c:pt idx="13">
                  <c:v>0.84099999999999997</c:v>
                </c:pt>
                <c:pt idx="14">
                  <c:v>0.78500000000000003</c:v>
                </c:pt>
                <c:pt idx="15">
                  <c:v>0.81</c:v>
                </c:pt>
                <c:pt idx="16">
                  <c:v>0.67900000000000005</c:v>
                </c:pt>
                <c:pt idx="17">
                  <c:v>0.60299999999999998</c:v>
                </c:pt>
                <c:pt idx="18">
                  <c:v>0.67200000000000004</c:v>
                </c:pt>
                <c:pt idx="19">
                  <c:v>0.71</c:v>
                </c:pt>
                <c:pt idx="20">
                  <c:v>0.876</c:v>
                </c:pt>
                <c:pt idx="21">
                  <c:v>0.81699999999999995</c:v>
                </c:pt>
                <c:pt idx="22">
                  <c:v>0.73899999999999999</c:v>
                </c:pt>
                <c:pt idx="23">
                  <c:v>0.58499999999999996</c:v>
                </c:pt>
                <c:pt idx="24">
                  <c:v>0.23100000000000001</c:v>
                </c:pt>
                <c:pt idx="25">
                  <c:v>0.114</c:v>
                </c:pt>
                <c:pt idx="26">
                  <c:v>0.312</c:v>
                </c:pt>
                <c:pt idx="27">
                  <c:v>0.1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9</c:f>
              <c:strCache>
                <c:ptCount val="28"/>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Mini Babybel Rouge Filet St Paulin Ferme 1X440Gr 20P</c:v>
                </c:pt>
                <c:pt idx="11">
                  <c:v>La Vache Qui Rit Pik Et Croq' Fromage Fondu Dips Boite 1X175Gr 5P</c:v>
                </c:pt>
                <c:pt idx="12">
                  <c:v>La Vache Qui Rit Pik Et Croq' Fromage Fondu Dips Boite 1X280Gr 8P</c:v>
                </c:pt>
                <c:pt idx="13">
                  <c:v>La Vache Qui Rit Allegee Fromage Fondu Boite Ronde Allege 1X267Gr 16P</c:v>
                </c:pt>
                <c:pt idx="14">
                  <c:v>Babybel Mini Rolls St Paulin Ferme Sachet 1X85Gr 5P</c:v>
                </c:pt>
                <c:pt idx="15">
                  <c:v>Mini Babybel Aros St Paulin Ferme Assortis Filet 1X180Gr 9P</c:v>
                </c:pt>
                <c:pt idx="16">
                  <c:v>La Vache Qui Rit Aro Fromage Fondu Boite Ronde Jambon 1X133Gr 8P</c:v>
                </c:pt>
                <c:pt idx="17">
                  <c:v>Kiri Bio Fromage Blanc Frais Carre 1X144Gr 8P</c:v>
                </c:pt>
                <c:pt idx="18">
                  <c:v>Kiri Chevre Fromage Blanc Frais Carre 1X144Gr 8P</c:v>
                </c:pt>
                <c:pt idx="19">
                  <c:v>Mini Babybel Aros Soft Cheese Enfant 180G</c:v>
                </c:pt>
                <c:pt idx="20">
                  <c:v>Mini Babybel Rouge Filet St Paulin Ferme 1X396Gr 12+6P</c:v>
                </c:pt>
                <c:pt idx="21">
                  <c:v>Kiri Creme Fromage Blanc Frais Carre 1X432Gr 18+6P</c:v>
                </c:pt>
                <c:pt idx="22">
                  <c:v>Mini Babybel Aros St Paulin Ferme Raclette Filet 1X132Gr 6P</c:v>
                </c:pt>
                <c:pt idx="23">
                  <c:v>Mini Babybel Aros Soft Cheese Enfant 110G</c:v>
                </c:pt>
                <c:pt idx="24">
                  <c:v>La Vache Qui Rit Nature Fromage Fondu Boite Ronde 1X512Gr 24+8P</c:v>
                </c:pt>
                <c:pt idx="25">
                  <c:v>Mini Babybel Rouge Filet St Paulin Ferme Sachet 1X40Gr 1P</c:v>
                </c:pt>
                <c:pt idx="26">
                  <c:v>Mini Babybel Bio St Paulin Ferme Filet 1X100Gr 5P</c:v>
                </c:pt>
                <c:pt idx="27">
                  <c:v>La Vache Qui Rit Nature Fromage Fondu Boite Ronde 1X128Gr 8P</c:v>
                </c:pt>
              </c:strCache>
            </c:strRef>
          </c:cat>
          <c:val>
            <c:numRef>
              <c:f>Sheet1!$C$2:$C$29</c:f>
              <c:numCache>
                <c:formatCode>General</c:formatCode>
                <c:ptCount val="28"/>
                <c:pt idx="0">
                  <c:v>0.17072679476540295</c:v>
                </c:pt>
                <c:pt idx="1">
                  <c:v>0.29967634304644009</c:v>
                </c:pt>
                <c:pt idx="2">
                  <c:v>0.40540659237460325</c:v>
                </c:pt>
                <c:pt idx="3">
                  <c:v>0.49555660747898345</c:v>
                </c:pt>
                <c:pt idx="4">
                  <c:v>0.57990072950329097</c:v>
                </c:pt>
                <c:pt idx="5">
                  <c:v>0.65641248986190781</c:v>
                </c:pt>
                <c:pt idx="6">
                  <c:v>0.72048495821007075</c:v>
                </c:pt>
                <c:pt idx="7">
                  <c:v>0.76475217060463485</c:v>
                </c:pt>
                <c:pt idx="8">
                  <c:v>0.80825575455260368</c:v>
                </c:pt>
                <c:pt idx="9">
                  <c:v>0.8429138283526636</c:v>
                </c:pt>
                <c:pt idx="10">
                  <c:v>0.87527051359663666</c:v>
                </c:pt>
                <c:pt idx="11">
                  <c:v>0.89864686309260067</c:v>
                </c:pt>
                <c:pt idx="12">
                  <c:v>0.92010110684335</c:v>
                </c:pt>
                <c:pt idx="13">
                  <c:v>0.93497345518025321</c:v>
                </c:pt>
                <c:pt idx="14">
                  <c:v>0.94641293367428281</c:v>
                </c:pt>
                <c:pt idx="15">
                  <c:v>0.95647189138521049</c:v>
                </c:pt>
                <c:pt idx="16">
                  <c:v>0.96432668393930887</c:v>
                </c:pt>
                <c:pt idx="17">
                  <c:v>0.97166491389954113</c:v>
                </c:pt>
                <c:pt idx="18">
                  <c:v>0.97801273518408927</c:v>
                </c:pt>
                <c:pt idx="19">
                  <c:v>0.98383809010613155</c:v>
                </c:pt>
                <c:pt idx="20">
                  <c:v>0.98867809917734073</c:v>
                </c:pt>
                <c:pt idx="21">
                  <c:v>0.9933851361572088</c:v>
                </c:pt>
                <c:pt idx="22">
                  <c:v>0.99715850242396031</c:v>
                </c:pt>
                <c:pt idx="23">
                  <c:v>0.99855997815330999</c:v>
                </c:pt>
                <c:pt idx="24">
                  <c:v>0.99908534491378131</c:v>
                </c:pt>
                <c:pt idx="25">
                  <c:v>0.99956478584611275</c:v>
                </c:pt>
                <c:pt idx="26">
                  <c:v>0.99998074410344795</c:v>
                </c:pt>
                <c:pt idx="27">
                  <c:v>0.9999989016244390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9</c:f>
              <c:strCache>
                <c:ptCount val="28"/>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Mini Babybel Rouge Filet St Paulin Ferme 1X440Gr 20P</c:v>
                </c:pt>
                <c:pt idx="11">
                  <c:v>La Vache Qui Rit Pik Et Croq' Fromage Fondu Dips Boite 1X175Gr 5P</c:v>
                </c:pt>
                <c:pt idx="12">
                  <c:v>La Vache Qui Rit Pik Et Croq' Fromage Fondu Dips Boite 1X280Gr 8P</c:v>
                </c:pt>
                <c:pt idx="13">
                  <c:v>La Vache Qui Rit Allegee Fromage Fondu Boite Ronde Allege 1X267Gr 16P</c:v>
                </c:pt>
                <c:pt idx="14">
                  <c:v>Babybel Mini Rolls St Paulin Ferme Sachet 1X85Gr 5P</c:v>
                </c:pt>
                <c:pt idx="15">
                  <c:v>Mini Babybel Aros St Paulin Ferme Assortis Filet 1X180Gr 9P</c:v>
                </c:pt>
                <c:pt idx="16">
                  <c:v>La Vache Qui Rit Aro Fromage Fondu Boite Ronde Jambon 1X133Gr 8P</c:v>
                </c:pt>
                <c:pt idx="17">
                  <c:v>Kiri Bio Fromage Blanc Frais Carre 1X144Gr 8P</c:v>
                </c:pt>
                <c:pt idx="18">
                  <c:v>Kiri Chevre Fromage Blanc Frais Carre 1X144Gr 8P</c:v>
                </c:pt>
                <c:pt idx="19">
                  <c:v>Mini Babybel Aros Soft Cheese Enfant 180G</c:v>
                </c:pt>
                <c:pt idx="20">
                  <c:v>Mini Babybel Rouge Filet St Paulin Ferme 1X396Gr 12+6P</c:v>
                </c:pt>
                <c:pt idx="21">
                  <c:v>Kiri Creme Fromage Blanc Frais Carre 1X432Gr 18+6P</c:v>
                </c:pt>
                <c:pt idx="22">
                  <c:v>Mini Babybel Aros St Paulin Ferme Raclette Filet 1X132Gr 6P</c:v>
                </c:pt>
                <c:pt idx="23">
                  <c:v>Mini Babybel Aros Soft Cheese Enfant 110G</c:v>
                </c:pt>
                <c:pt idx="24">
                  <c:v>La Vache Qui Rit Nature Fromage Fondu Boite Ronde 1X512Gr 24+8P</c:v>
                </c:pt>
                <c:pt idx="25">
                  <c:v>Mini Babybel Rouge Filet St Paulin Ferme Sachet 1X40Gr 1P</c:v>
                </c:pt>
                <c:pt idx="26">
                  <c:v>Mini Babybel Bio St Paulin Ferme Filet 1X100Gr 5P</c:v>
                </c:pt>
                <c:pt idx="27">
                  <c:v>La Vache Qui Rit Nature Fromage Fondu Boite Ronde 1X128Gr 8P</c:v>
                </c:pt>
              </c:strCache>
            </c:strRef>
          </c:cat>
          <c:val>
            <c:numRef>
              <c:f>Sheet1!$D$2:$D$29</c:f>
              <c:numCache>
                <c:formatCode>General</c:formatCode>
                <c:ptCount val="28"/>
                <c:pt idx="0">
                  <c:v>100891.33874239352</c:v>
                </c:pt>
                <c:pt idx="1">
                  <c:v>79341.235480464631</c:v>
                </c:pt>
                <c:pt idx="2">
                  <c:v>61730.220440881763</c:v>
                </c:pt>
                <c:pt idx="3">
                  <c:v>52633.757515030062</c:v>
                </c:pt>
                <c:pt idx="4">
                  <c:v>52226.907545164722</c:v>
                </c:pt>
                <c:pt idx="5">
                  <c:v>45724.892307692309</c:v>
                </c:pt>
                <c:pt idx="6">
                  <c:v>43360.813008130084</c:v>
                </c:pt>
                <c:pt idx="7">
                  <c:v>27675.493562231757</c:v>
                </c:pt>
                <c:pt idx="8">
                  <c:v>25786.988809766022</c:v>
                </c:pt>
                <c:pt idx="9">
                  <c:v>20585.647298674823</c:v>
                </c:pt>
                <c:pt idx="10">
                  <c:v>22128.579812206572</c:v>
                </c:pt>
                <c:pt idx="11">
                  <c:v>14262.722513089006</c:v>
                </c:pt>
                <c:pt idx="12">
                  <c:v>14741.662735849057</c:v>
                </c:pt>
                <c:pt idx="13">
                  <c:v>10304.161712247325</c:v>
                </c:pt>
                <c:pt idx="14">
                  <c:v>8491.133757961783</c:v>
                </c:pt>
                <c:pt idx="15">
                  <c:v>7235.9753086419751</c:v>
                </c:pt>
                <c:pt idx="16">
                  <c:v>6740.5301914580259</c:v>
                </c:pt>
                <c:pt idx="17">
                  <c:v>7090.9286898839136</c:v>
                </c:pt>
                <c:pt idx="18">
                  <c:v>5504.0773809523807</c:v>
                </c:pt>
                <c:pt idx="19">
                  <c:v>4780.7183098591549</c:v>
                </c:pt>
                <c:pt idx="20">
                  <c:v>3219.3721461187215</c:v>
                </c:pt>
                <c:pt idx="21">
                  <c:v>3357.0257037943702</c:v>
                </c:pt>
                <c:pt idx="22">
                  <c:v>2975.1826792963461</c:v>
                </c:pt>
                <c:pt idx="23">
                  <c:v>1395.91452991453</c:v>
                </c:pt>
                <c:pt idx="24">
                  <c:v>1325.1948051948052</c:v>
                </c:pt>
                <c:pt idx="25">
                  <c:v>2450.5263157894738</c:v>
                </c:pt>
                <c:pt idx="26">
                  <c:v>776.82692307692309</c:v>
                </c:pt>
                <c:pt idx="27">
                  <c:v>94.46428571428570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6</c:f>
              <c:strCache>
                <c:ptCount val="35"/>
                <c:pt idx="0">
                  <c:v>La Vache Qui Rit Nature Fromage Fondu Boite Ronde 1X512Gr 32P</c:v>
                </c:pt>
                <c:pt idx="1">
                  <c:v>Mini Babybel Rouge Filet St Paulin Ferme 1X264Gr 12P</c:v>
                </c:pt>
                <c:pt idx="2">
                  <c:v>Kiri Creme Fromage Blanc Frais Carre 1X432Gr 24P</c:v>
                </c:pt>
                <c:pt idx="3">
                  <c:v>La Vache Qui Rit Nature Fromage Fondu Boite Ronde 1X384Gr 24P</c:v>
                </c:pt>
                <c:pt idx="4">
                  <c:v>Mini Babybel Rouge Filet St Paulin Ferme 1X132Gr 6P</c:v>
                </c:pt>
                <c:pt idx="5">
                  <c:v>Kiri Creme Fromage Blanc Frais Carre 1X216Gr 12P</c:v>
                </c:pt>
                <c:pt idx="6">
                  <c:v>La Vache Qui Rit Nature Fromage Fondu Boite Ronde 1X192Gr 12P</c:v>
                </c:pt>
                <c:pt idx="7">
                  <c:v>Kiri Gouter Fromage Blanc Dips Boite 1X175Gr 5P</c:v>
                </c:pt>
                <c:pt idx="8">
                  <c:v>Kiri Creme Fromage Blanc Frais Carre 1X144Gr 8P</c:v>
                </c:pt>
                <c:pt idx="9">
                  <c:v>Kiri Gouter Fromage Blanc Dips Boite 1X280Gr 8P</c:v>
                </c:pt>
                <c:pt idx="10">
                  <c:v>Mini Babybel Rouge Filet Soft Cheese Enfant 484G</c:v>
                </c:pt>
                <c:pt idx="11">
                  <c:v>Mini Babybel Rouge Filet St Paulin Ferme 1X440Gr 20P</c:v>
                </c:pt>
                <c:pt idx="12">
                  <c:v>La Vache Qui Rit Nature Fromage Fondu Boite Ronde 1X512Gr 24+8P</c:v>
                </c:pt>
                <c:pt idx="13">
                  <c:v>Kiri Creme Fromage Blanc Frais Carre 1X432Gr 18+6P</c:v>
                </c:pt>
                <c:pt idx="14">
                  <c:v>La Vache Qui Rit Nature Fromage Fondu Boite Ronde 1X128Gr 8P</c:v>
                </c:pt>
                <c:pt idx="15">
                  <c:v>Mini Babybel Rouge Filet Soft Cheese Enfant 352G</c:v>
                </c:pt>
                <c:pt idx="16">
                  <c:v>La Vache Qui Rit Pik Et Croq' Fromage Fondu Dips Boite 1X175Gr 5P</c:v>
                </c:pt>
                <c:pt idx="17">
                  <c:v>Mini Babybel Rouge Filet St Paulin Ferme 1X396Gr 12+6P</c:v>
                </c:pt>
                <c:pt idx="18">
                  <c:v>La Vache Qui Rit Pik Et Croq' Fromage Fondu Dips Boite 1X280Gr 8P</c:v>
                </c:pt>
                <c:pt idx="19">
                  <c:v>Mini Babybel Aros St Paulin Ferme Assortis Filet 1X180Gr 9P</c:v>
                </c:pt>
                <c:pt idx="20">
                  <c:v>Babybel Mini Rolls St Paulin Ferme Sachet 1X85Gr 5P</c:v>
                </c:pt>
                <c:pt idx="21">
                  <c:v>La Vache Qui Rit Allegee Fromage Fondu Boite Ronde Allege 1X267Gr 16P</c:v>
                </c:pt>
                <c:pt idx="22">
                  <c:v>Mini Babybel Aros Soft Cheese Enfant 180G</c:v>
                </c:pt>
                <c:pt idx="23">
                  <c:v>Kiri Bio Fromage Blanc Frais Carre 1X144Gr 8P</c:v>
                </c:pt>
                <c:pt idx="24">
                  <c:v>Mini Babybel Aros St Paulin Ferme Raclette Filet 1X132Gr 6P</c:v>
                </c:pt>
                <c:pt idx="25">
                  <c:v>Mini Babybel Aros Soft Cheese Enfant 110G</c:v>
                </c:pt>
                <c:pt idx="26">
                  <c:v>Mini Babybel Aros St Paulin Ferme Emmental Filet 1X120Gr 6P</c:v>
                </c:pt>
                <c:pt idx="27">
                  <c:v>La Vache Qui Rit Bio Fromage Fondu Boite Ronde 1X128Gr 8P</c:v>
                </c:pt>
                <c:pt idx="28">
                  <c:v>Mini Babybel Aros Soft Cheese Enfant 120G</c:v>
                </c:pt>
                <c:pt idx="29">
                  <c:v>La Vache Qui Rit Aro Fromage Fondu Boite Ronde Jambon 1X133Gr 8P</c:v>
                </c:pt>
                <c:pt idx="30">
                  <c:v>Kiri Chevre Fromage Blanc Frais Carre 1X144Gr 8P</c:v>
                </c:pt>
                <c:pt idx="31">
                  <c:v>Mini Babybel Rouge Filet St Paulin Ferme Sachet 1X40Gr 1P</c:v>
                </c:pt>
                <c:pt idx="32">
                  <c:v>Mini Babybel Bio St Paulin Ferme Filet 1X100Gr 5P</c:v>
                </c:pt>
                <c:pt idx="33">
                  <c:v>Mini Babybel Rouge Filet St Paulin Ferme 1X110Gr 5P</c:v>
                </c:pt>
                <c:pt idx="34">
                  <c:v>Mini Babybel Rouge Filet St Paulin Ferme 1X396Gr 18P</c:v>
                </c:pt>
              </c:strCache>
            </c:strRef>
          </c:cat>
          <c:val>
            <c:numRef>
              <c:f>Sheet1!$B$2:$B$36</c:f>
              <c:numCache>
                <c:formatCode>General</c:formatCode>
                <c:ptCount val="35"/>
                <c:pt idx="0">
                  <c:v>0.99</c:v>
                </c:pt>
                <c:pt idx="1">
                  <c:v>1</c:v>
                </c:pt>
                <c:pt idx="2">
                  <c:v>0.99</c:v>
                </c:pt>
                <c:pt idx="3">
                  <c:v>1</c:v>
                </c:pt>
                <c:pt idx="4">
                  <c:v>1</c:v>
                </c:pt>
                <c:pt idx="5">
                  <c:v>1</c:v>
                </c:pt>
                <c:pt idx="6">
                  <c:v>1</c:v>
                </c:pt>
                <c:pt idx="7">
                  <c:v>1</c:v>
                </c:pt>
                <c:pt idx="8">
                  <c:v>1</c:v>
                </c:pt>
                <c:pt idx="9">
                  <c:v>0.99</c:v>
                </c:pt>
                <c:pt idx="10">
                  <c:v>0.97</c:v>
                </c:pt>
                <c:pt idx="11">
                  <c:v>1</c:v>
                </c:pt>
                <c:pt idx="12">
                  <c:v>0.94</c:v>
                </c:pt>
                <c:pt idx="13">
                  <c:v>0.98</c:v>
                </c:pt>
                <c:pt idx="14">
                  <c:v>0.94</c:v>
                </c:pt>
                <c:pt idx="15">
                  <c:v>0.99</c:v>
                </c:pt>
                <c:pt idx="16">
                  <c:v>1</c:v>
                </c:pt>
                <c:pt idx="17">
                  <c:v>0.94</c:v>
                </c:pt>
                <c:pt idx="18">
                  <c:v>0.95</c:v>
                </c:pt>
                <c:pt idx="19">
                  <c:v>0.96</c:v>
                </c:pt>
                <c:pt idx="20">
                  <c:v>0.92</c:v>
                </c:pt>
                <c:pt idx="21">
                  <c:v>0.86</c:v>
                </c:pt>
                <c:pt idx="22">
                  <c:v>0.96</c:v>
                </c:pt>
                <c:pt idx="23">
                  <c:v>0.75</c:v>
                </c:pt>
                <c:pt idx="24">
                  <c:v>0.88</c:v>
                </c:pt>
                <c:pt idx="25">
                  <c:v>0.94</c:v>
                </c:pt>
                <c:pt idx="26">
                  <c:v>0.7</c:v>
                </c:pt>
                <c:pt idx="27">
                  <c:v>0.82</c:v>
                </c:pt>
                <c:pt idx="28">
                  <c:v>0.68</c:v>
                </c:pt>
                <c:pt idx="29">
                  <c:v>0.08</c:v>
                </c:pt>
                <c:pt idx="30">
                  <c:v>0.56000000000000005</c:v>
                </c:pt>
                <c:pt idx="31">
                  <c:v>0.21</c:v>
                </c:pt>
                <c:pt idx="32">
                  <c:v>0.67</c:v>
                </c:pt>
                <c:pt idx="33">
                  <c:v>0.05</c:v>
                </c:pt>
                <c:pt idx="34">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6</c:f>
              <c:strCache>
                <c:ptCount val="35"/>
                <c:pt idx="0">
                  <c:v>La Vache Qui Rit Nature Fromage Fondu Boite Ronde 1X512Gr 32P</c:v>
                </c:pt>
                <c:pt idx="1">
                  <c:v>Mini Babybel Rouge Filet St Paulin Ferme 1X264Gr 12P</c:v>
                </c:pt>
                <c:pt idx="2">
                  <c:v>Kiri Creme Fromage Blanc Frais Carre 1X432Gr 24P</c:v>
                </c:pt>
                <c:pt idx="3">
                  <c:v>La Vache Qui Rit Nature Fromage Fondu Boite Ronde 1X384Gr 24P</c:v>
                </c:pt>
                <c:pt idx="4">
                  <c:v>Mini Babybel Rouge Filet St Paulin Ferme 1X132Gr 6P</c:v>
                </c:pt>
                <c:pt idx="5">
                  <c:v>Kiri Creme Fromage Blanc Frais Carre 1X216Gr 12P</c:v>
                </c:pt>
                <c:pt idx="6">
                  <c:v>La Vache Qui Rit Nature Fromage Fondu Boite Ronde 1X192Gr 12P</c:v>
                </c:pt>
                <c:pt idx="7">
                  <c:v>Kiri Gouter Fromage Blanc Dips Boite 1X175Gr 5P</c:v>
                </c:pt>
                <c:pt idx="8">
                  <c:v>Kiri Creme Fromage Blanc Frais Carre 1X144Gr 8P</c:v>
                </c:pt>
                <c:pt idx="9">
                  <c:v>Kiri Gouter Fromage Blanc Dips Boite 1X280Gr 8P</c:v>
                </c:pt>
                <c:pt idx="10">
                  <c:v>Mini Babybel Rouge Filet Soft Cheese Enfant 484G</c:v>
                </c:pt>
                <c:pt idx="11">
                  <c:v>Mini Babybel Rouge Filet St Paulin Ferme 1X440Gr 20P</c:v>
                </c:pt>
                <c:pt idx="12">
                  <c:v>La Vache Qui Rit Nature Fromage Fondu Boite Ronde 1X512Gr 24+8P</c:v>
                </c:pt>
                <c:pt idx="13">
                  <c:v>Kiri Creme Fromage Blanc Frais Carre 1X432Gr 18+6P</c:v>
                </c:pt>
                <c:pt idx="14">
                  <c:v>La Vache Qui Rit Nature Fromage Fondu Boite Ronde 1X128Gr 8P</c:v>
                </c:pt>
                <c:pt idx="15">
                  <c:v>Mini Babybel Rouge Filet Soft Cheese Enfant 352G</c:v>
                </c:pt>
                <c:pt idx="16">
                  <c:v>La Vache Qui Rit Pik Et Croq' Fromage Fondu Dips Boite 1X175Gr 5P</c:v>
                </c:pt>
                <c:pt idx="17">
                  <c:v>Mini Babybel Rouge Filet St Paulin Ferme 1X396Gr 12+6P</c:v>
                </c:pt>
                <c:pt idx="18">
                  <c:v>La Vache Qui Rit Pik Et Croq' Fromage Fondu Dips Boite 1X280Gr 8P</c:v>
                </c:pt>
                <c:pt idx="19">
                  <c:v>Mini Babybel Aros St Paulin Ferme Assortis Filet 1X180Gr 9P</c:v>
                </c:pt>
                <c:pt idx="20">
                  <c:v>Babybel Mini Rolls St Paulin Ferme Sachet 1X85Gr 5P</c:v>
                </c:pt>
                <c:pt idx="21">
                  <c:v>La Vache Qui Rit Allegee Fromage Fondu Boite Ronde Allege 1X267Gr 16P</c:v>
                </c:pt>
                <c:pt idx="22">
                  <c:v>Mini Babybel Aros Soft Cheese Enfant 180G</c:v>
                </c:pt>
                <c:pt idx="23">
                  <c:v>Kiri Bio Fromage Blanc Frais Carre 1X144Gr 8P</c:v>
                </c:pt>
                <c:pt idx="24">
                  <c:v>Mini Babybel Aros St Paulin Ferme Raclette Filet 1X132Gr 6P</c:v>
                </c:pt>
                <c:pt idx="25">
                  <c:v>Mini Babybel Aros Soft Cheese Enfant 110G</c:v>
                </c:pt>
                <c:pt idx="26">
                  <c:v>Mini Babybel Aros St Paulin Ferme Emmental Filet 1X120Gr 6P</c:v>
                </c:pt>
                <c:pt idx="27">
                  <c:v>La Vache Qui Rit Bio Fromage Fondu Boite Ronde 1X128Gr 8P</c:v>
                </c:pt>
                <c:pt idx="28">
                  <c:v>Mini Babybel Aros Soft Cheese Enfant 120G</c:v>
                </c:pt>
                <c:pt idx="29">
                  <c:v>La Vache Qui Rit Aro Fromage Fondu Boite Ronde Jambon 1X133Gr 8P</c:v>
                </c:pt>
                <c:pt idx="30">
                  <c:v>Kiri Chevre Fromage Blanc Frais Carre 1X144Gr 8P</c:v>
                </c:pt>
                <c:pt idx="31">
                  <c:v>Mini Babybel Rouge Filet St Paulin Ferme Sachet 1X40Gr 1P</c:v>
                </c:pt>
                <c:pt idx="32">
                  <c:v>Mini Babybel Bio St Paulin Ferme Filet 1X100Gr 5P</c:v>
                </c:pt>
                <c:pt idx="33">
                  <c:v>Mini Babybel Rouge Filet St Paulin Ferme 1X110Gr 5P</c:v>
                </c:pt>
                <c:pt idx="34">
                  <c:v>Mini Babybel Rouge Filet St Paulin Ferme 1X396Gr 18P</c:v>
                </c:pt>
              </c:strCache>
            </c:strRef>
          </c:cat>
          <c:val>
            <c:numRef>
              <c:f>Sheet1!$C$2:$C$36</c:f>
              <c:numCache>
                <c:formatCode>General</c:formatCode>
                <c:ptCount val="35"/>
                <c:pt idx="0">
                  <c:v>0.21340476932467017</c:v>
                </c:pt>
                <c:pt idx="1">
                  <c:v>0.33540464517120927</c:v>
                </c:pt>
                <c:pt idx="2">
                  <c:v>0.45317435323496613</c:v>
                </c:pt>
                <c:pt idx="3">
                  <c:v>0.52940327353379346</c:v>
                </c:pt>
                <c:pt idx="4">
                  <c:v>0.58319718332902404</c:v>
                </c:pt>
                <c:pt idx="5">
                  <c:v>0.63396952979733956</c:v>
                </c:pt>
                <c:pt idx="6">
                  <c:v>0.67755021267738358</c:v>
                </c:pt>
                <c:pt idx="7">
                  <c:v>0.71645844085537103</c:v>
                </c:pt>
                <c:pt idx="8">
                  <c:v>0.74723443469038719</c:v>
                </c:pt>
                <c:pt idx="9">
                  <c:v>0.77597356027062137</c:v>
                </c:pt>
                <c:pt idx="10">
                  <c:v>0.80198042252830581</c:v>
                </c:pt>
                <c:pt idx="11">
                  <c:v>0.82746473388065767</c:v>
                </c:pt>
                <c:pt idx="12">
                  <c:v>0.85162223666243364</c:v>
                </c:pt>
                <c:pt idx="13">
                  <c:v>0.8726891323893653</c:v>
                </c:pt>
                <c:pt idx="14">
                  <c:v>0.89283400992794548</c:v>
                </c:pt>
                <c:pt idx="15">
                  <c:v>0.91181894761859039</c:v>
                </c:pt>
                <c:pt idx="16">
                  <c:v>0.93071521917639199</c:v>
                </c:pt>
                <c:pt idx="17">
                  <c:v>0.94644416842609469</c:v>
                </c:pt>
                <c:pt idx="18">
                  <c:v>0.95798884857685007</c:v>
                </c:pt>
                <c:pt idx="19">
                  <c:v>0.96575971232719426</c:v>
                </c:pt>
                <c:pt idx="20">
                  <c:v>0.97281289705525398</c:v>
                </c:pt>
                <c:pt idx="21">
                  <c:v>0.97980956299469135</c:v>
                </c:pt>
                <c:pt idx="22">
                  <c:v>0.98375948526048207</c:v>
                </c:pt>
                <c:pt idx="23">
                  <c:v>0.98746094404277251</c:v>
                </c:pt>
                <c:pt idx="24">
                  <c:v>0.99047324413332527</c:v>
                </c:pt>
                <c:pt idx="25">
                  <c:v>0.99293520360945819</c:v>
                </c:pt>
                <c:pt idx="26">
                  <c:v>0.99514629898872364</c:v>
                </c:pt>
                <c:pt idx="27">
                  <c:v>0.99728540206059813</c:v>
                </c:pt>
                <c:pt idx="28">
                  <c:v>0.99816814934549791</c:v>
                </c:pt>
                <c:pt idx="29">
                  <c:v>0.99895215835886175</c:v>
                </c:pt>
                <c:pt idx="30">
                  <c:v>0.99933967476229202</c:v>
                </c:pt>
                <c:pt idx="31">
                  <c:v>0.99963069694581219</c:v>
                </c:pt>
                <c:pt idx="32">
                  <c:v>0.99990076594961685</c:v>
                </c:pt>
                <c:pt idx="33">
                  <c:v>0.99999697313966784</c:v>
                </c:pt>
                <c:pt idx="34">
                  <c:v>1.000000000000000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6</c:f>
              <c:strCache>
                <c:ptCount val="35"/>
                <c:pt idx="0">
                  <c:v>La Vache Qui Rit Nature Fromage Fondu Boite Ronde 1X512Gr 32P</c:v>
                </c:pt>
                <c:pt idx="1">
                  <c:v>Mini Babybel Rouge Filet St Paulin Ferme 1X264Gr 12P</c:v>
                </c:pt>
                <c:pt idx="2">
                  <c:v>Kiri Creme Fromage Blanc Frais Carre 1X432Gr 24P</c:v>
                </c:pt>
                <c:pt idx="3">
                  <c:v>La Vache Qui Rit Nature Fromage Fondu Boite Ronde 1X384Gr 24P</c:v>
                </c:pt>
                <c:pt idx="4">
                  <c:v>Mini Babybel Rouge Filet St Paulin Ferme 1X132Gr 6P</c:v>
                </c:pt>
                <c:pt idx="5">
                  <c:v>Kiri Creme Fromage Blanc Frais Carre 1X216Gr 12P</c:v>
                </c:pt>
                <c:pt idx="6">
                  <c:v>La Vache Qui Rit Nature Fromage Fondu Boite Ronde 1X192Gr 12P</c:v>
                </c:pt>
                <c:pt idx="7">
                  <c:v>Kiri Gouter Fromage Blanc Dips Boite 1X175Gr 5P</c:v>
                </c:pt>
                <c:pt idx="8">
                  <c:v>Kiri Creme Fromage Blanc Frais Carre 1X144Gr 8P</c:v>
                </c:pt>
                <c:pt idx="9">
                  <c:v>Kiri Gouter Fromage Blanc Dips Boite 1X280Gr 8P</c:v>
                </c:pt>
                <c:pt idx="10">
                  <c:v>Mini Babybel Rouge Filet Soft Cheese Enfant 484G</c:v>
                </c:pt>
                <c:pt idx="11">
                  <c:v>Mini Babybel Rouge Filet St Paulin Ferme 1X440Gr 20P</c:v>
                </c:pt>
                <c:pt idx="12">
                  <c:v>La Vache Qui Rit Nature Fromage Fondu Boite Ronde 1X512Gr 24+8P</c:v>
                </c:pt>
                <c:pt idx="13">
                  <c:v>Kiri Creme Fromage Blanc Frais Carre 1X432Gr 18+6P</c:v>
                </c:pt>
                <c:pt idx="14">
                  <c:v>La Vache Qui Rit Nature Fromage Fondu Boite Ronde 1X128Gr 8P</c:v>
                </c:pt>
                <c:pt idx="15">
                  <c:v>Mini Babybel Rouge Filet Soft Cheese Enfant 352G</c:v>
                </c:pt>
                <c:pt idx="16">
                  <c:v>La Vache Qui Rit Pik Et Croq' Fromage Fondu Dips Boite 1X175Gr 5P</c:v>
                </c:pt>
                <c:pt idx="17">
                  <c:v>Mini Babybel Rouge Filet St Paulin Ferme 1X396Gr 12+6P</c:v>
                </c:pt>
                <c:pt idx="18">
                  <c:v>La Vache Qui Rit Pik Et Croq' Fromage Fondu Dips Boite 1X280Gr 8P</c:v>
                </c:pt>
                <c:pt idx="19">
                  <c:v>Mini Babybel Aros St Paulin Ferme Assortis Filet 1X180Gr 9P</c:v>
                </c:pt>
                <c:pt idx="20">
                  <c:v>Babybel Mini Rolls St Paulin Ferme Sachet 1X85Gr 5P</c:v>
                </c:pt>
                <c:pt idx="21">
                  <c:v>La Vache Qui Rit Allegee Fromage Fondu Boite Ronde Allege 1X267Gr 16P</c:v>
                </c:pt>
                <c:pt idx="22">
                  <c:v>Mini Babybel Aros Soft Cheese Enfant 180G</c:v>
                </c:pt>
                <c:pt idx="23">
                  <c:v>Kiri Bio Fromage Blanc Frais Carre 1X144Gr 8P</c:v>
                </c:pt>
                <c:pt idx="24">
                  <c:v>Mini Babybel Aros St Paulin Ferme Raclette Filet 1X132Gr 6P</c:v>
                </c:pt>
                <c:pt idx="25">
                  <c:v>Mini Babybel Aros Soft Cheese Enfant 110G</c:v>
                </c:pt>
                <c:pt idx="26">
                  <c:v>Mini Babybel Aros St Paulin Ferme Emmental Filet 1X120Gr 6P</c:v>
                </c:pt>
                <c:pt idx="27">
                  <c:v>La Vache Qui Rit Bio Fromage Fondu Boite Ronde 1X128Gr 8P</c:v>
                </c:pt>
                <c:pt idx="28">
                  <c:v>Mini Babybel Aros Soft Cheese Enfant 120G</c:v>
                </c:pt>
                <c:pt idx="29">
                  <c:v>La Vache Qui Rit Aro Fromage Fondu Boite Ronde Jambon 1X133Gr 8P</c:v>
                </c:pt>
                <c:pt idx="30">
                  <c:v>Kiri Chevre Fromage Blanc Frais Carre 1X144Gr 8P</c:v>
                </c:pt>
                <c:pt idx="31">
                  <c:v>Mini Babybel Rouge Filet St Paulin Ferme Sachet 1X40Gr 1P</c:v>
                </c:pt>
                <c:pt idx="32">
                  <c:v>Mini Babybel Bio St Paulin Ferme Filet 1X100Gr 5P</c:v>
                </c:pt>
                <c:pt idx="33">
                  <c:v>Mini Babybel Rouge Filet St Paulin Ferme 1X110Gr 5P</c:v>
                </c:pt>
                <c:pt idx="34">
                  <c:v>Mini Babybel Rouge Filet St Paulin Ferme 1X396Gr 18P</c:v>
                </c:pt>
              </c:strCache>
            </c:strRef>
          </c:cat>
          <c:val>
            <c:numRef>
              <c:f>Sheet1!$D$2:$D$36</c:f>
              <c:numCache>
                <c:formatCode>General</c:formatCode>
                <c:ptCount val="35"/>
                <c:pt idx="0">
                  <c:v>82610.363636363632</c:v>
                </c:pt>
                <c:pt idx="1">
                  <c:v>46754.67</c:v>
                </c:pt>
                <c:pt idx="2">
                  <c:v>45589.414141414141</c:v>
                </c:pt>
                <c:pt idx="3">
                  <c:v>29213.62</c:v>
                </c:pt>
                <c:pt idx="4">
                  <c:v>20615.73</c:v>
                </c:pt>
                <c:pt idx="5">
                  <c:v>19457.759999999998</c:v>
                </c:pt>
                <c:pt idx="6">
                  <c:v>16701.66</c:v>
                </c:pt>
                <c:pt idx="7">
                  <c:v>14911.01</c:v>
                </c:pt>
                <c:pt idx="8">
                  <c:v>11794.45</c:v>
                </c:pt>
                <c:pt idx="9">
                  <c:v>11125.101010101011</c:v>
                </c:pt>
                <c:pt idx="10">
                  <c:v>10275</c:v>
                </c:pt>
                <c:pt idx="11">
                  <c:v>9766.49</c:v>
                </c:pt>
                <c:pt idx="12">
                  <c:v>9848.9468085106382</c:v>
                </c:pt>
                <c:pt idx="13">
                  <c:v>8238.3469387755104</c:v>
                </c:pt>
                <c:pt idx="14">
                  <c:v>8213.010638297872</c:v>
                </c:pt>
                <c:pt idx="15">
                  <c:v>7349.1919191919196</c:v>
                </c:pt>
                <c:pt idx="16">
                  <c:v>7241.72</c:v>
                </c:pt>
                <c:pt idx="17">
                  <c:v>6412.6489361702124</c:v>
                </c:pt>
                <c:pt idx="18">
                  <c:v>4657.1894736842105</c:v>
                </c:pt>
                <c:pt idx="19">
                  <c:v>3102.15625</c:v>
                </c:pt>
                <c:pt idx="20">
                  <c:v>2938.0760869565215</c:v>
                </c:pt>
                <c:pt idx="21">
                  <c:v>3117.8720930232557</c:v>
                </c:pt>
                <c:pt idx="22">
                  <c:v>1576.8229166666667</c:v>
                </c:pt>
                <c:pt idx="23">
                  <c:v>1891.3733333333332</c:v>
                </c:pt>
                <c:pt idx="24">
                  <c:v>1311.840909090909</c:v>
                </c:pt>
                <c:pt idx="25">
                  <c:v>1003.7340425531914</c:v>
                </c:pt>
                <c:pt idx="26">
                  <c:v>1210.5285714285715</c:v>
                </c:pt>
                <c:pt idx="27">
                  <c:v>999.73170731707319</c:v>
                </c:pt>
                <c:pt idx="28">
                  <c:v>497.5</c:v>
                </c:pt>
                <c:pt idx="29">
                  <c:v>3755.75</c:v>
                </c:pt>
                <c:pt idx="30">
                  <c:v>265.19642857142856</c:v>
                </c:pt>
                <c:pt idx="31">
                  <c:v>531.09523809523807</c:v>
                </c:pt>
                <c:pt idx="32">
                  <c:v>154.47761194029852</c:v>
                </c:pt>
                <c:pt idx="33">
                  <c:v>737.4</c:v>
                </c:pt>
                <c:pt idx="34">
                  <c:v>2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7</c:f>
              <c:strCache>
                <c:ptCount val="26"/>
                <c:pt idx="0">
                  <c:v>La Vache Qui Rit Nature Fromage Fondu Boite Ronde 1X512Gr 32P</c:v>
                </c:pt>
                <c:pt idx="1">
                  <c:v>Mini Babybel Rouge Filet St Paulin Ferme 1X264Gr 1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432Gr 24P</c:v>
                </c:pt>
                <c:pt idx="6">
                  <c:v>Kiri Creme Fromage Blanc Frais Carre 1X216Gr 12P</c:v>
                </c:pt>
                <c:pt idx="7">
                  <c:v>Kiri Creme Fromage Blanc Frais Carre 1X144Gr 8P</c:v>
                </c:pt>
                <c:pt idx="8">
                  <c:v>Kiri Gouter Fromage Blanc Dips Boite 1X175Gr 5P</c:v>
                </c:pt>
                <c:pt idx="9">
                  <c:v>Mini Babybel Rouge Filet Soft Cheese Enfant 352G</c:v>
                </c:pt>
                <c:pt idx="10">
                  <c:v>Mini Babybel Rouge Filet St Paulin Ferme 1X440Gr 20P</c:v>
                </c:pt>
                <c:pt idx="11">
                  <c:v>Kiri Gouter Fromage Blanc Dips Boite 1X280Gr 8P</c:v>
                </c:pt>
                <c:pt idx="12">
                  <c:v>La Vache Qui Rit Nature Fromage Fondu Boite Ronde 1X128Gr 8P</c:v>
                </c:pt>
                <c:pt idx="13">
                  <c:v>La Vache Qui Rit Pik Et Croq' Fromage Fondu Dips Boite 1X175Gr 5P</c:v>
                </c:pt>
                <c:pt idx="14">
                  <c:v>La Vache Qui Rit Nature Fromage Fondu Boite Ronde 1X512Gr 24+8P</c:v>
                </c:pt>
                <c:pt idx="15">
                  <c:v>Kiri Creme Fromage Blanc Frais Carre 1X432Gr 18+6P</c:v>
                </c:pt>
                <c:pt idx="16">
                  <c:v>Mini Babybel Aros St Paulin Ferme Assortis Filet 1X180Gr 9P</c:v>
                </c:pt>
                <c:pt idx="17">
                  <c:v>Mini Babybel Rouge Filet St Paulin Ferme 1X396Gr 12+6P</c:v>
                </c:pt>
                <c:pt idx="18">
                  <c:v>Babybel Mini Rolls St Paulin Ferme Sachet 1X85Gr 5P</c:v>
                </c:pt>
                <c:pt idx="19">
                  <c:v>Kiri Bio Fromage Blanc Frais Carre 1X144Gr 8P</c:v>
                </c:pt>
                <c:pt idx="20">
                  <c:v>Mini Babybel Aros Soft Cheese Enfant 180G</c:v>
                </c:pt>
                <c:pt idx="21">
                  <c:v>La Vache Qui Rit Allegee Fromage Fondu Boite Ronde Allege 1X267Gr 16P</c:v>
                </c:pt>
                <c:pt idx="22">
                  <c:v>Mini Babybel Aros Soft Cheese Enfant 110G</c:v>
                </c:pt>
                <c:pt idx="23">
                  <c:v>La Vache Qui Rit Bio Fromage Fondu Boite Ronde 1X128Gr 8P</c:v>
                </c:pt>
                <c:pt idx="24">
                  <c:v>Mini Babybel Rouge Filet St Paulin Ferme Sachet 1X40Gr 1P</c:v>
                </c:pt>
                <c:pt idx="25">
                  <c:v>Kiri Chevre Fromage Blanc Frais Carre 1X144Gr 8P</c:v>
                </c:pt>
              </c:strCache>
            </c:strRef>
          </c:cat>
          <c:val>
            <c:numRef>
              <c:f>Sheet1!$B$2:$B$27</c:f>
              <c:numCache>
                <c:formatCode>General</c:formatCode>
                <c:ptCount val="26"/>
                <c:pt idx="0">
                  <c:v>0.99</c:v>
                </c:pt>
                <c:pt idx="1">
                  <c:v>1</c:v>
                </c:pt>
                <c:pt idx="2">
                  <c:v>0.96</c:v>
                </c:pt>
                <c:pt idx="3">
                  <c:v>0.99</c:v>
                </c:pt>
                <c:pt idx="4">
                  <c:v>0.99</c:v>
                </c:pt>
                <c:pt idx="5">
                  <c:v>0.86</c:v>
                </c:pt>
                <c:pt idx="6">
                  <c:v>0.97</c:v>
                </c:pt>
                <c:pt idx="7">
                  <c:v>0.99</c:v>
                </c:pt>
                <c:pt idx="8">
                  <c:v>0.99</c:v>
                </c:pt>
                <c:pt idx="9">
                  <c:v>0.94</c:v>
                </c:pt>
                <c:pt idx="10">
                  <c:v>0.96</c:v>
                </c:pt>
                <c:pt idx="11">
                  <c:v>0.73</c:v>
                </c:pt>
                <c:pt idx="12">
                  <c:v>0.66</c:v>
                </c:pt>
                <c:pt idx="13">
                  <c:v>0.97</c:v>
                </c:pt>
                <c:pt idx="14">
                  <c:v>0.78</c:v>
                </c:pt>
                <c:pt idx="15">
                  <c:v>0.71</c:v>
                </c:pt>
                <c:pt idx="16">
                  <c:v>0.67</c:v>
                </c:pt>
                <c:pt idx="17">
                  <c:v>0.81</c:v>
                </c:pt>
                <c:pt idx="18">
                  <c:v>0.45</c:v>
                </c:pt>
                <c:pt idx="19">
                  <c:v>0.42</c:v>
                </c:pt>
                <c:pt idx="20">
                  <c:v>0.66</c:v>
                </c:pt>
                <c:pt idx="21">
                  <c:v>0.27</c:v>
                </c:pt>
                <c:pt idx="22">
                  <c:v>0.56999999999999995</c:v>
                </c:pt>
                <c:pt idx="23">
                  <c:v>0.25</c:v>
                </c:pt>
                <c:pt idx="24">
                  <c:v>0.06</c:v>
                </c:pt>
                <c:pt idx="25">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7</c:f>
              <c:strCache>
                <c:ptCount val="26"/>
                <c:pt idx="0">
                  <c:v>La Vache Qui Rit Nature Fromage Fondu Boite Ronde 1X512Gr 32P</c:v>
                </c:pt>
                <c:pt idx="1">
                  <c:v>Mini Babybel Rouge Filet St Paulin Ferme 1X264Gr 1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432Gr 24P</c:v>
                </c:pt>
                <c:pt idx="6">
                  <c:v>Kiri Creme Fromage Blanc Frais Carre 1X216Gr 12P</c:v>
                </c:pt>
                <c:pt idx="7">
                  <c:v>Kiri Creme Fromage Blanc Frais Carre 1X144Gr 8P</c:v>
                </c:pt>
                <c:pt idx="8">
                  <c:v>Kiri Gouter Fromage Blanc Dips Boite 1X175Gr 5P</c:v>
                </c:pt>
                <c:pt idx="9">
                  <c:v>Mini Babybel Rouge Filet Soft Cheese Enfant 352G</c:v>
                </c:pt>
                <c:pt idx="10">
                  <c:v>Mini Babybel Rouge Filet St Paulin Ferme 1X440Gr 20P</c:v>
                </c:pt>
                <c:pt idx="11">
                  <c:v>Kiri Gouter Fromage Blanc Dips Boite 1X280Gr 8P</c:v>
                </c:pt>
                <c:pt idx="12">
                  <c:v>La Vache Qui Rit Nature Fromage Fondu Boite Ronde 1X128Gr 8P</c:v>
                </c:pt>
                <c:pt idx="13">
                  <c:v>La Vache Qui Rit Pik Et Croq' Fromage Fondu Dips Boite 1X175Gr 5P</c:v>
                </c:pt>
                <c:pt idx="14">
                  <c:v>La Vache Qui Rit Nature Fromage Fondu Boite Ronde 1X512Gr 24+8P</c:v>
                </c:pt>
                <c:pt idx="15">
                  <c:v>Kiri Creme Fromage Blanc Frais Carre 1X432Gr 18+6P</c:v>
                </c:pt>
                <c:pt idx="16">
                  <c:v>Mini Babybel Aros St Paulin Ferme Assortis Filet 1X180Gr 9P</c:v>
                </c:pt>
                <c:pt idx="17">
                  <c:v>Mini Babybel Rouge Filet St Paulin Ferme 1X396Gr 12+6P</c:v>
                </c:pt>
                <c:pt idx="18">
                  <c:v>Babybel Mini Rolls St Paulin Ferme Sachet 1X85Gr 5P</c:v>
                </c:pt>
                <c:pt idx="19">
                  <c:v>Kiri Bio Fromage Blanc Frais Carre 1X144Gr 8P</c:v>
                </c:pt>
                <c:pt idx="20">
                  <c:v>Mini Babybel Aros Soft Cheese Enfant 180G</c:v>
                </c:pt>
                <c:pt idx="21">
                  <c:v>La Vache Qui Rit Allegee Fromage Fondu Boite Ronde Allege 1X267Gr 16P</c:v>
                </c:pt>
                <c:pt idx="22">
                  <c:v>Mini Babybel Aros Soft Cheese Enfant 110G</c:v>
                </c:pt>
                <c:pt idx="23">
                  <c:v>La Vache Qui Rit Bio Fromage Fondu Boite Ronde 1X128Gr 8P</c:v>
                </c:pt>
                <c:pt idx="24">
                  <c:v>Mini Babybel Rouge Filet St Paulin Ferme Sachet 1X40Gr 1P</c:v>
                </c:pt>
                <c:pt idx="25">
                  <c:v>Kiri Chevre Fromage Blanc Frais Carre 1X144Gr 8P</c:v>
                </c:pt>
              </c:strCache>
            </c:strRef>
          </c:cat>
          <c:val>
            <c:numRef>
              <c:f>Sheet1!$C$2:$C$27</c:f>
              <c:numCache>
                <c:formatCode>General</c:formatCode>
                <c:ptCount val="26"/>
                <c:pt idx="0">
                  <c:v>0.15057014405206184</c:v>
                </c:pt>
                <c:pt idx="1">
                  <c:v>0.29573987183294653</c:v>
                </c:pt>
                <c:pt idx="2">
                  <c:v>0.39038754521652264</c:v>
                </c:pt>
                <c:pt idx="3">
                  <c:v>0.46910872657752994</c:v>
                </c:pt>
                <c:pt idx="4">
                  <c:v>0.54701491571032357</c:v>
                </c:pt>
                <c:pt idx="5">
                  <c:v>0.62197333518951203</c:v>
                </c:pt>
                <c:pt idx="6">
                  <c:v>0.68746243897764248</c:v>
                </c:pt>
                <c:pt idx="7">
                  <c:v>0.73619401763375314</c:v>
                </c:pt>
                <c:pt idx="8">
                  <c:v>0.77458372263741115</c:v>
                </c:pt>
                <c:pt idx="9">
                  <c:v>0.80595428439566985</c:v>
                </c:pt>
                <c:pt idx="10">
                  <c:v>0.83692786527045293</c:v>
                </c:pt>
                <c:pt idx="11">
                  <c:v>0.8668997776461701</c:v>
                </c:pt>
                <c:pt idx="12">
                  <c:v>0.89298101345215508</c:v>
                </c:pt>
                <c:pt idx="13">
                  <c:v>0.91818329968596979</c:v>
                </c:pt>
                <c:pt idx="14">
                  <c:v>0.93788698625985112</c:v>
                </c:pt>
                <c:pt idx="15">
                  <c:v>0.95295588906110029</c:v>
                </c:pt>
                <c:pt idx="16">
                  <c:v>0.9635429531501527</c:v>
                </c:pt>
                <c:pt idx="17">
                  <c:v>0.97374214955560978</c:v>
                </c:pt>
                <c:pt idx="18">
                  <c:v>0.98054307083826342</c:v>
                </c:pt>
                <c:pt idx="19">
                  <c:v>0.98704688531033824</c:v>
                </c:pt>
                <c:pt idx="20">
                  <c:v>0.99121664847188129</c:v>
                </c:pt>
                <c:pt idx="21">
                  <c:v>0.9952092196882395</c:v>
                </c:pt>
                <c:pt idx="22">
                  <c:v>0.9975908988081007</c:v>
                </c:pt>
                <c:pt idx="23">
                  <c:v>0.9995574943533212</c:v>
                </c:pt>
                <c:pt idx="24">
                  <c:v>0.99982742650905321</c:v>
                </c:pt>
                <c:pt idx="25">
                  <c:v>0.9999121668970808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7</c:f>
              <c:strCache>
                <c:ptCount val="26"/>
                <c:pt idx="0">
                  <c:v>La Vache Qui Rit Nature Fromage Fondu Boite Ronde 1X512Gr 32P</c:v>
                </c:pt>
                <c:pt idx="1">
                  <c:v>Mini Babybel Rouge Filet St Paulin Ferme 1X264Gr 12P</c:v>
                </c:pt>
                <c:pt idx="2">
                  <c:v>La Vache Qui Rit Nature Fromage Fondu Boite Ronde 1X384Gr 24P</c:v>
                </c:pt>
                <c:pt idx="3">
                  <c:v>La Vache Qui Rit Nature Fromage Fondu Boite Ronde 1X192Gr 12P</c:v>
                </c:pt>
                <c:pt idx="4">
                  <c:v>Mini Babybel Rouge Filet St Paulin Ferme 1X132Gr 6P</c:v>
                </c:pt>
                <c:pt idx="5">
                  <c:v>Kiri Creme Fromage Blanc Frais Carre 1X432Gr 24P</c:v>
                </c:pt>
                <c:pt idx="6">
                  <c:v>Kiri Creme Fromage Blanc Frais Carre 1X216Gr 12P</c:v>
                </c:pt>
                <c:pt idx="7">
                  <c:v>Kiri Creme Fromage Blanc Frais Carre 1X144Gr 8P</c:v>
                </c:pt>
                <c:pt idx="8">
                  <c:v>Kiri Gouter Fromage Blanc Dips Boite 1X175Gr 5P</c:v>
                </c:pt>
                <c:pt idx="9">
                  <c:v>Mini Babybel Rouge Filet Soft Cheese Enfant 352G</c:v>
                </c:pt>
                <c:pt idx="10">
                  <c:v>Mini Babybel Rouge Filet St Paulin Ferme 1X440Gr 20P</c:v>
                </c:pt>
                <c:pt idx="11">
                  <c:v>Kiri Gouter Fromage Blanc Dips Boite 1X280Gr 8P</c:v>
                </c:pt>
                <c:pt idx="12">
                  <c:v>La Vache Qui Rit Nature Fromage Fondu Boite Ronde 1X128Gr 8P</c:v>
                </c:pt>
                <c:pt idx="13">
                  <c:v>La Vache Qui Rit Pik Et Croq' Fromage Fondu Dips Boite 1X175Gr 5P</c:v>
                </c:pt>
                <c:pt idx="14">
                  <c:v>La Vache Qui Rit Nature Fromage Fondu Boite Ronde 1X512Gr 24+8P</c:v>
                </c:pt>
                <c:pt idx="15">
                  <c:v>Kiri Creme Fromage Blanc Frais Carre 1X432Gr 18+6P</c:v>
                </c:pt>
                <c:pt idx="16">
                  <c:v>Mini Babybel Aros St Paulin Ferme Assortis Filet 1X180Gr 9P</c:v>
                </c:pt>
                <c:pt idx="17">
                  <c:v>Mini Babybel Rouge Filet St Paulin Ferme 1X396Gr 12+6P</c:v>
                </c:pt>
                <c:pt idx="18">
                  <c:v>Babybel Mini Rolls St Paulin Ferme Sachet 1X85Gr 5P</c:v>
                </c:pt>
                <c:pt idx="19">
                  <c:v>Kiri Bio Fromage Blanc Frais Carre 1X144Gr 8P</c:v>
                </c:pt>
                <c:pt idx="20">
                  <c:v>Mini Babybel Aros Soft Cheese Enfant 180G</c:v>
                </c:pt>
                <c:pt idx="21">
                  <c:v>La Vache Qui Rit Allegee Fromage Fondu Boite Ronde Allege 1X267Gr 16P</c:v>
                </c:pt>
                <c:pt idx="22">
                  <c:v>Mini Babybel Aros Soft Cheese Enfant 110G</c:v>
                </c:pt>
                <c:pt idx="23">
                  <c:v>La Vache Qui Rit Bio Fromage Fondu Boite Ronde 1X128Gr 8P</c:v>
                </c:pt>
                <c:pt idx="24">
                  <c:v>Mini Babybel Rouge Filet St Paulin Ferme Sachet 1X40Gr 1P</c:v>
                </c:pt>
                <c:pt idx="25">
                  <c:v>Kiri Chevre Fromage Blanc Frais Carre 1X144Gr 8P</c:v>
                </c:pt>
              </c:strCache>
            </c:strRef>
          </c:cat>
          <c:val>
            <c:numRef>
              <c:f>Sheet1!$D$2:$D$27</c:f>
              <c:numCache>
                <c:formatCode>General</c:formatCode>
                <c:ptCount val="26"/>
                <c:pt idx="0">
                  <c:v>36882.898989898989</c:v>
                </c:pt>
                <c:pt idx="1">
                  <c:v>35204.44</c:v>
                </c:pt>
                <c:pt idx="2">
                  <c:v>23908.927083333332</c:v>
                </c:pt>
                <c:pt idx="3">
                  <c:v>19283.141414141413</c:v>
                </c:pt>
                <c:pt idx="4">
                  <c:v>19083.505050505049</c:v>
                </c:pt>
                <c:pt idx="5">
                  <c:v>21137</c:v>
                </c:pt>
                <c:pt idx="6">
                  <c:v>16372.639175257733</c:v>
                </c:pt>
                <c:pt idx="7">
                  <c:v>11937.040404040405</c:v>
                </c:pt>
                <c:pt idx="8">
                  <c:v>9403.7474747474753</c:v>
                </c:pt>
                <c:pt idx="9">
                  <c:v>8093.1170212765956</c:v>
                </c:pt>
                <c:pt idx="10">
                  <c:v>7824.229166666667</c:v>
                </c:pt>
                <c:pt idx="11">
                  <c:v>9956.6438356164381</c:v>
                </c:pt>
                <c:pt idx="12">
                  <c:v>9583.0909090909099</c:v>
                </c:pt>
                <c:pt idx="13">
                  <c:v>6300.7113402061859</c:v>
                </c:pt>
                <c:pt idx="14">
                  <c:v>6125.9615384615381</c:v>
                </c:pt>
                <c:pt idx="15">
                  <c:v>5146.8873239436616</c:v>
                </c:pt>
                <c:pt idx="16">
                  <c:v>3831.9701492537315</c:v>
                </c:pt>
                <c:pt idx="17">
                  <c:v>3053.5308641975307</c:v>
                </c:pt>
                <c:pt idx="18">
                  <c:v>3665.0222222222224</c:v>
                </c:pt>
                <c:pt idx="19">
                  <c:v>3755.2619047619046</c:v>
                </c:pt>
                <c:pt idx="20">
                  <c:v>1532.1060606060605</c:v>
                </c:pt>
                <c:pt idx="21">
                  <c:v>3586</c:v>
                </c:pt>
                <c:pt idx="22">
                  <c:v>1013.2807017543861</c:v>
                </c:pt>
                <c:pt idx="23">
                  <c:v>1907.64</c:v>
                </c:pt>
                <c:pt idx="24">
                  <c:v>1091</c:v>
                </c:pt>
                <c:pt idx="25">
                  <c:v>68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8</c:f>
              <c:strCache>
                <c:ptCount val="17"/>
                <c:pt idx="0">
                  <c:v>Mini Babybel Rouge Filet St Paulin Ferme 1X132Gr 6P</c:v>
                </c:pt>
                <c:pt idx="1">
                  <c:v>La Vache Qui Rit Nature Fromage Fondu Boite Ronde 1X192Gr 12P</c:v>
                </c:pt>
                <c:pt idx="2">
                  <c:v>Kiri Creme Fromage Blanc Frais Carre 1X144Gr 8P</c:v>
                </c:pt>
                <c:pt idx="3">
                  <c:v>La Vache Qui Rit Nature Fromage Fondu Boite Ronde 1X384Gr 24P</c:v>
                </c:pt>
                <c:pt idx="4">
                  <c:v>Kiri Gouter Fromage Blanc Dips Boite 1X175Gr 5P</c:v>
                </c:pt>
                <c:pt idx="5">
                  <c:v>La Vache Qui Rit Pik Et Croq' Fromage Fondu Dips Boite 1X175Gr 5P</c:v>
                </c:pt>
                <c:pt idx="6">
                  <c:v>Mini Babybel Rouge Filet St Paulin Ferme 1X264Gr 12P</c:v>
                </c:pt>
                <c:pt idx="7">
                  <c:v>La Vache Qui Rit Nature Fromage Fondu Boite Ronde 1X128Gr 8P</c:v>
                </c:pt>
                <c:pt idx="8">
                  <c:v>Mini Babybel Aros St Paulin Ferme Raclette Filet 1X132Gr 6P</c:v>
                </c:pt>
                <c:pt idx="9">
                  <c:v>Kiri Creme Fromage Blanc Frais Carre 1X216Gr 12P</c:v>
                </c:pt>
                <c:pt idx="10">
                  <c:v>Babybel Mini Rolls St Paulin Ferme Sachet 1X85Gr 5P</c:v>
                </c:pt>
                <c:pt idx="11">
                  <c:v>La Vache Qui Rit Bio Fromage Fondu Boite Ronde 1X128Gr 8P</c:v>
                </c:pt>
                <c:pt idx="12">
                  <c:v>Mini Babybel Rouge Filet St Paulin Ferme Sachet 1X40Gr 1P</c:v>
                </c:pt>
                <c:pt idx="13">
                  <c:v>La Vache Qui Rit Pik Et Croq' Fromage Fondu Dips Boite 1X35Gr 1P</c:v>
                </c:pt>
                <c:pt idx="14">
                  <c:v>Kiri Gouter Fromage Blanc Dips Boite 1X280Gr 8P</c:v>
                </c:pt>
                <c:pt idx="15">
                  <c:v>Mini Babybel Aros Soft Cheese Enfant 180G</c:v>
                </c:pt>
                <c:pt idx="16">
                  <c:v>Mini Babybel Bio St Paulin Ferme Filet 1X100Gr 5P</c:v>
                </c:pt>
              </c:strCache>
            </c:strRef>
          </c:cat>
          <c:val>
            <c:numRef>
              <c:f>Sheet1!$B$2:$B$18</c:f>
              <c:numCache>
                <c:formatCode>General</c:formatCode>
                <c:ptCount val="17"/>
                <c:pt idx="0">
                  <c:v>0.96</c:v>
                </c:pt>
                <c:pt idx="1">
                  <c:v>0.91</c:v>
                </c:pt>
                <c:pt idx="2">
                  <c:v>0.96</c:v>
                </c:pt>
                <c:pt idx="3">
                  <c:v>0.47</c:v>
                </c:pt>
                <c:pt idx="4">
                  <c:v>0.71</c:v>
                </c:pt>
                <c:pt idx="5">
                  <c:v>0.51</c:v>
                </c:pt>
                <c:pt idx="6">
                  <c:v>0.2</c:v>
                </c:pt>
                <c:pt idx="7">
                  <c:v>0.09</c:v>
                </c:pt>
                <c:pt idx="8">
                  <c:v>0.13</c:v>
                </c:pt>
                <c:pt idx="9">
                  <c:v>0.06</c:v>
                </c:pt>
                <c:pt idx="10">
                  <c:v>0.17</c:v>
                </c:pt>
                <c:pt idx="11">
                  <c:v>0.08</c:v>
                </c:pt>
                <c:pt idx="12">
                  <c:v>0.06</c:v>
                </c:pt>
                <c:pt idx="13">
                  <c:v>0.05</c:v>
                </c:pt>
                <c:pt idx="14">
                  <c:v>0.02</c:v>
                </c:pt>
                <c:pt idx="15">
                  <c:v>0.05</c:v>
                </c:pt>
                <c:pt idx="16">
                  <c:v>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8</c:f>
              <c:strCache>
                <c:ptCount val="17"/>
                <c:pt idx="0">
                  <c:v>Mini Babybel Rouge Filet St Paulin Ferme 1X132Gr 6P</c:v>
                </c:pt>
                <c:pt idx="1">
                  <c:v>La Vache Qui Rit Nature Fromage Fondu Boite Ronde 1X192Gr 12P</c:v>
                </c:pt>
                <c:pt idx="2">
                  <c:v>Kiri Creme Fromage Blanc Frais Carre 1X144Gr 8P</c:v>
                </c:pt>
                <c:pt idx="3">
                  <c:v>La Vache Qui Rit Nature Fromage Fondu Boite Ronde 1X384Gr 24P</c:v>
                </c:pt>
                <c:pt idx="4">
                  <c:v>Kiri Gouter Fromage Blanc Dips Boite 1X175Gr 5P</c:v>
                </c:pt>
                <c:pt idx="5">
                  <c:v>La Vache Qui Rit Pik Et Croq' Fromage Fondu Dips Boite 1X175Gr 5P</c:v>
                </c:pt>
                <c:pt idx="6">
                  <c:v>Mini Babybel Rouge Filet St Paulin Ferme 1X264Gr 12P</c:v>
                </c:pt>
                <c:pt idx="7">
                  <c:v>La Vache Qui Rit Nature Fromage Fondu Boite Ronde 1X128Gr 8P</c:v>
                </c:pt>
                <c:pt idx="8">
                  <c:v>Mini Babybel Aros St Paulin Ferme Raclette Filet 1X132Gr 6P</c:v>
                </c:pt>
                <c:pt idx="9">
                  <c:v>Kiri Creme Fromage Blanc Frais Carre 1X216Gr 12P</c:v>
                </c:pt>
                <c:pt idx="10">
                  <c:v>Babybel Mini Rolls St Paulin Ferme Sachet 1X85Gr 5P</c:v>
                </c:pt>
                <c:pt idx="11">
                  <c:v>La Vache Qui Rit Bio Fromage Fondu Boite Ronde 1X128Gr 8P</c:v>
                </c:pt>
                <c:pt idx="12">
                  <c:v>Mini Babybel Rouge Filet St Paulin Ferme Sachet 1X40Gr 1P</c:v>
                </c:pt>
                <c:pt idx="13">
                  <c:v>La Vache Qui Rit Pik Et Croq' Fromage Fondu Dips Boite 1X35Gr 1P</c:v>
                </c:pt>
                <c:pt idx="14">
                  <c:v>Kiri Gouter Fromage Blanc Dips Boite 1X280Gr 8P</c:v>
                </c:pt>
                <c:pt idx="15">
                  <c:v>Mini Babybel Aros Soft Cheese Enfant 180G</c:v>
                </c:pt>
                <c:pt idx="16">
                  <c:v>Mini Babybel Bio St Paulin Ferme Filet 1X100Gr 5P</c:v>
                </c:pt>
              </c:strCache>
            </c:strRef>
          </c:cat>
          <c:val>
            <c:numRef>
              <c:f>Sheet1!$C$2:$C$18</c:f>
              <c:numCache>
                <c:formatCode>General</c:formatCode>
                <c:ptCount val="17"/>
                <c:pt idx="0">
                  <c:v>0.27143909349793055</c:v>
                </c:pt>
                <c:pt idx="1">
                  <c:v>0.50780773317589489</c:v>
                </c:pt>
                <c:pt idx="2">
                  <c:v>0.70897569504181313</c:v>
                </c:pt>
                <c:pt idx="3">
                  <c:v>0.82164695790281628</c:v>
                </c:pt>
                <c:pt idx="4">
                  <c:v>0.89393311205191106</c:v>
                </c:pt>
                <c:pt idx="5">
                  <c:v>0.93165216345572399</c:v>
                </c:pt>
                <c:pt idx="6">
                  <c:v>0.96823411837931517</c:v>
                </c:pt>
                <c:pt idx="7">
                  <c:v>0.97910496854353879</c:v>
                </c:pt>
                <c:pt idx="8">
                  <c:v>0.98279910551703442</c:v>
                </c:pt>
                <c:pt idx="9">
                  <c:v>0.98627571987720619</c:v>
                </c:pt>
                <c:pt idx="10">
                  <c:v>0.98920316203271386</c:v>
                </c:pt>
                <c:pt idx="11">
                  <c:v>0.99162776412985665</c:v>
                </c:pt>
                <c:pt idx="12">
                  <c:v>0.99365683959572471</c:v>
                </c:pt>
                <c:pt idx="13">
                  <c:v>0.99565925704359337</c:v>
                </c:pt>
                <c:pt idx="14">
                  <c:v>0.99688348180628594</c:v>
                </c:pt>
                <c:pt idx="15">
                  <c:v>0.9980565197676442</c:v>
                </c:pt>
                <c:pt idx="16">
                  <c:v>0.9990106724054933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8</c:f>
              <c:strCache>
                <c:ptCount val="17"/>
                <c:pt idx="0">
                  <c:v>Mini Babybel Rouge Filet St Paulin Ferme 1X132Gr 6P</c:v>
                </c:pt>
                <c:pt idx="1">
                  <c:v>La Vache Qui Rit Nature Fromage Fondu Boite Ronde 1X192Gr 12P</c:v>
                </c:pt>
                <c:pt idx="2">
                  <c:v>Kiri Creme Fromage Blanc Frais Carre 1X144Gr 8P</c:v>
                </c:pt>
                <c:pt idx="3">
                  <c:v>La Vache Qui Rit Nature Fromage Fondu Boite Ronde 1X384Gr 24P</c:v>
                </c:pt>
                <c:pt idx="4">
                  <c:v>Kiri Gouter Fromage Blanc Dips Boite 1X175Gr 5P</c:v>
                </c:pt>
                <c:pt idx="5">
                  <c:v>La Vache Qui Rit Pik Et Croq' Fromage Fondu Dips Boite 1X175Gr 5P</c:v>
                </c:pt>
                <c:pt idx="6">
                  <c:v>Mini Babybel Rouge Filet St Paulin Ferme 1X264Gr 12P</c:v>
                </c:pt>
                <c:pt idx="7">
                  <c:v>La Vache Qui Rit Nature Fromage Fondu Boite Ronde 1X128Gr 8P</c:v>
                </c:pt>
                <c:pt idx="8">
                  <c:v>Mini Babybel Aros St Paulin Ferme Raclette Filet 1X132Gr 6P</c:v>
                </c:pt>
                <c:pt idx="9">
                  <c:v>Kiri Creme Fromage Blanc Frais Carre 1X216Gr 12P</c:v>
                </c:pt>
                <c:pt idx="10">
                  <c:v>Babybel Mini Rolls St Paulin Ferme Sachet 1X85Gr 5P</c:v>
                </c:pt>
                <c:pt idx="11">
                  <c:v>La Vache Qui Rit Bio Fromage Fondu Boite Ronde 1X128Gr 8P</c:v>
                </c:pt>
                <c:pt idx="12">
                  <c:v>Mini Babybel Rouge Filet St Paulin Ferme Sachet 1X40Gr 1P</c:v>
                </c:pt>
                <c:pt idx="13">
                  <c:v>La Vache Qui Rit Pik Et Croq' Fromage Fondu Dips Boite 1X35Gr 1P</c:v>
                </c:pt>
                <c:pt idx="14">
                  <c:v>Kiri Gouter Fromage Blanc Dips Boite 1X280Gr 8P</c:v>
                </c:pt>
                <c:pt idx="15">
                  <c:v>Mini Babybel Aros Soft Cheese Enfant 180G</c:v>
                </c:pt>
                <c:pt idx="16">
                  <c:v>Mini Babybel Bio St Paulin Ferme Filet 1X100Gr 5P</c:v>
                </c:pt>
              </c:strCache>
            </c:strRef>
          </c:cat>
          <c:val>
            <c:numRef>
              <c:f>Sheet1!$D$2:$D$18</c:f>
              <c:numCache>
                <c:formatCode>General</c:formatCode>
                <c:ptCount val="17"/>
                <c:pt idx="0">
                  <c:v>33198.4375</c:v>
                </c:pt>
                <c:pt idx="1">
                  <c:v>30497.54945054945</c:v>
                </c:pt>
                <c:pt idx="2">
                  <c:v>24603.90625</c:v>
                </c:pt>
                <c:pt idx="3">
                  <c:v>28146.978723404256</c:v>
                </c:pt>
                <c:pt idx="4">
                  <c:v>11954</c:v>
                </c:pt>
                <c:pt idx="5">
                  <c:v>8683.745098039215</c:v>
                </c:pt>
                <c:pt idx="6">
                  <c:v>21476</c:v>
                </c:pt>
                <c:pt idx="7">
                  <c:v>14182</c:v>
                </c:pt>
                <c:pt idx="8">
                  <c:v>3336.4615384615386</c:v>
                </c:pt>
                <c:pt idx="9">
                  <c:v>6803.333333333333</c:v>
                </c:pt>
                <c:pt idx="10">
                  <c:v>2021.8823529411766</c:v>
                </c:pt>
                <c:pt idx="11">
                  <c:v>3558.5</c:v>
                </c:pt>
                <c:pt idx="12">
                  <c:v>3970.6666666666665</c:v>
                </c:pt>
                <c:pt idx="13">
                  <c:v>4702.2</c:v>
                </c:pt>
                <c:pt idx="14">
                  <c:v>7187</c:v>
                </c:pt>
                <c:pt idx="15">
                  <c:v>2754.6</c:v>
                </c:pt>
                <c:pt idx="16">
                  <c:v>870.3333333333333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La Vache Qui Rit</c:v>
                </c:pt>
                <c:pt idx="6">
                  <c:v>Galbani</c:v>
                </c:pt>
                <c:pt idx="7">
                  <c:v>Kiri</c:v>
                </c:pt>
                <c:pt idx="8">
                  <c:v>Boursin</c:v>
                </c:pt>
                <c:pt idx="9">
                  <c:v>Others</c:v>
                </c:pt>
              </c:strCache>
            </c:strRef>
          </c:cat>
          <c:val>
            <c:numRef>
              <c:f>Sheet1!$B$2:$B$11</c:f>
              <c:numCache>
                <c:formatCode>General</c:formatCode>
                <c:ptCount val="10"/>
                <c:pt idx="0">
                  <c:v>0.29095975599053325</c:v>
                </c:pt>
                <c:pt idx="1">
                  <c:v>6.9001676408367282E-2</c:v>
                </c:pt>
                <c:pt idx="2">
                  <c:v>5.6361136311064326E-2</c:v>
                </c:pt>
                <c:pt idx="3">
                  <c:v>5.5410148945814246E-2</c:v>
                </c:pt>
                <c:pt idx="4">
                  <c:v>5.306639282507454E-2</c:v>
                </c:pt>
                <c:pt idx="5">
                  <c:v>4.2446690986823424E-2</c:v>
                </c:pt>
                <c:pt idx="6">
                  <c:v>4.2003392807215989E-2</c:v>
                </c:pt>
                <c:pt idx="7">
                  <c:v>3.1312810742329646E-2</c:v>
                </c:pt>
                <c:pt idx="8">
                  <c:v>2.8190545991678341E-2</c:v>
                </c:pt>
                <c:pt idx="9">
                  <c:v>0.3312474489910989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La Vache Qui Rit</c:v>
                </c:pt>
                <c:pt idx="6">
                  <c:v>Galbani</c:v>
                </c:pt>
                <c:pt idx="7">
                  <c:v>Kiri</c:v>
                </c:pt>
                <c:pt idx="8">
                  <c:v>Boursin</c:v>
                </c:pt>
                <c:pt idx="9">
                  <c:v>Others</c:v>
                </c:pt>
              </c:strCache>
            </c:strRef>
          </c:cat>
          <c:val>
            <c:numRef>
              <c:f>Sheet1!$C$2:$C$11</c:f>
              <c:numCache>
                <c:formatCode>General</c:formatCode>
                <c:ptCount val="10"/>
                <c:pt idx="0">
                  <c:v>0.20532944534061284</c:v>
                </c:pt>
                <c:pt idx="1">
                  <c:v>4.0544732597096407E-2</c:v>
                </c:pt>
                <c:pt idx="2">
                  <c:v>5.112296811018735E-2</c:v>
                </c:pt>
                <c:pt idx="3">
                  <c:v>2.9904454646978523E-2</c:v>
                </c:pt>
                <c:pt idx="4">
                  <c:v>3.1052239731976659E-2</c:v>
                </c:pt>
                <c:pt idx="5">
                  <c:v>2.8725648343466925E-2</c:v>
                </c:pt>
                <c:pt idx="6">
                  <c:v>4.3398684700335005E-2</c:v>
                </c:pt>
                <c:pt idx="7">
                  <c:v>3.9800223352773285E-2</c:v>
                </c:pt>
                <c:pt idx="8">
                  <c:v>5.313934731356245E-2</c:v>
                </c:pt>
                <c:pt idx="9">
                  <c:v>0.4769822558630100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La Vache Qui Rit</c:v>
                </c:pt>
                <c:pt idx="6">
                  <c:v>Galbani</c:v>
                </c:pt>
                <c:pt idx="7">
                  <c:v>Kiri</c:v>
                </c:pt>
                <c:pt idx="8">
                  <c:v>Boursin</c:v>
                </c:pt>
                <c:pt idx="9">
                  <c:v>Others</c:v>
                </c:pt>
              </c:strCache>
            </c:strRef>
          </c:cat>
          <c:val>
            <c:numRef>
              <c:f>Sheet1!$D$2:$D$11</c:f>
              <c:numCache>
                <c:formatCode>General</c:formatCode>
                <c:ptCount val="10"/>
                <c:pt idx="0">
                  <c:v>70.569706329865596</c:v>
                </c:pt>
                <c:pt idx="1">
                  <c:v>58.759054428103532</c:v>
                </c:pt>
                <c:pt idx="2">
                  <c:v>90.70606353291592</c:v>
                </c:pt>
                <c:pt idx="3">
                  <c:v>53.969273167307641</c:v>
                </c:pt>
                <c:pt idx="4">
                  <c:v>58.515829094198544</c:v>
                </c:pt>
                <c:pt idx="5">
                  <c:v>67.674647129464404</c:v>
                </c:pt>
                <c:pt idx="6">
                  <c:v>103.32185521184687</c:v>
                </c:pt>
                <c:pt idx="7">
                  <c:v>127.10524034487294</c:v>
                </c:pt>
                <c:pt idx="8">
                  <c:v>188.50059636748017</c:v>
                </c:pt>
                <c:pt idx="9">
                  <c:v>143.9957522135746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9</c:f>
              <c:strCache>
                <c:ptCount val="28"/>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Mini Babybel Rouge Filet St Paulin Ferme 1X440Gr 20P</c:v>
                </c:pt>
                <c:pt idx="10">
                  <c:v>Kiri Gouter Fromage Blanc Dips Boite 1X175Gr 5P</c:v>
                </c:pt>
                <c:pt idx="11">
                  <c:v>La Vache Qui Rit Pik Et Croq' Fromage Fondu Dips Boite 1X175Gr 5P</c:v>
                </c:pt>
                <c:pt idx="12">
                  <c:v>La Vache Qui Rit Pik Et Croq' Fromage Fondu Dips Boite 1X280Gr 8P</c:v>
                </c:pt>
                <c:pt idx="13">
                  <c:v>La Vache Qui Rit Allegee Fromage Fondu Boite Ronde Allege 1X267Gr 16P</c:v>
                </c:pt>
                <c:pt idx="14">
                  <c:v>Babybel Mini Rolls St Paulin Ferme Sachet 1X85Gr 5P</c:v>
                </c:pt>
                <c:pt idx="15">
                  <c:v>Mini Babybel Aros St Paulin Ferme Assortis Filet 1X180Gr 9P</c:v>
                </c:pt>
                <c:pt idx="16">
                  <c:v>La Vache Qui Rit Aro Fromage Fondu Boite Ronde Jambon 1X133Gr 8P</c:v>
                </c:pt>
                <c:pt idx="17">
                  <c:v>Kiri Bio Fromage Blanc Frais Carre 1X144Gr 8P</c:v>
                </c:pt>
                <c:pt idx="18">
                  <c:v>Kiri Chevre Fromage Blanc Frais Carre 1X144Gr 8P</c:v>
                </c:pt>
                <c:pt idx="19">
                  <c:v>Mini Babybel Aros Soft Cheese Enfant 180G</c:v>
                </c:pt>
                <c:pt idx="20">
                  <c:v>Mini Babybel Rouge Filet St Paulin Ferme 1X396Gr 12+6P</c:v>
                </c:pt>
                <c:pt idx="21">
                  <c:v>Kiri Creme Fromage Blanc Frais Carre 1X432Gr 18+6P</c:v>
                </c:pt>
                <c:pt idx="22">
                  <c:v>Mini Babybel Aros St Paulin Ferme Raclette Filet 1X132Gr 6P</c:v>
                </c:pt>
                <c:pt idx="23">
                  <c:v>Mini Babybel Aros Soft Cheese Enfant 110G</c:v>
                </c:pt>
                <c:pt idx="24">
                  <c:v>La Vache Qui Rit Nature Fromage Fondu Boite Ronde 1X512Gr 24+8P</c:v>
                </c:pt>
                <c:pt idx="25">
                  <c:v>Mini Babybel Bio St Paulin Ferme Filet 1X100Gr 5P</c:v>
                </c:pt>
                <c:pt idx="26">
                  <c:v>Mini Babybel Rouge Filet St Paulin Ferme Sachet 1X40Gr 1P</c:v>
                </c:pt>
                <c:pt idx="27">
                  <c:v>La Vache Qui Rit Nature Fromage Fondu Boite Ronde 1X128Gr 8P</c:v>
                </c:pt>
              </c:strCache>
            </c:strRef>
          </c:cat>
          <c:val>
            <c:numRef>
              <c:f>Sheet1!$B$2:$B$29</c:f>
              <c:numCache>
                <c:formatCode>General</c:formatCode>
                <c:ptCount val="28"/>
                <c:pt idx="0">
                  <c:v>1</c:v>
                </c:pt>
                <c:pt idx="1">
                  <c:v>0.98</c:v>
                </c:pt>
                <c:pt idx="2">
                  <c:v>1</c:v>
                </c:pt>
                <c:pt idx="3">
                  <c:v>1</c:v>
                </c:pt>
                <c:pt idx="4">
                  <c:v>0.97</c:v>
                </c:pt>
                <c:pt idx="5">
                  <c:v>0.99</c:v>
                </c:pt>
                <c:pt idx="6">
                  <c:v>0.89</c:v>
                </c:pt>
                <c:pt idx="7">
                  <c:v>0.96</c:v>
                </c:pt>
                <c:pt idx="8">
                  <c:v>0.99</c:v>
                </c:pt>
                <c:pt idx="9">
                  <c:v>0.9</c:v>
                </c:pt>
                <c:pt idx="10">
                  <c:v>0.99</c:v>
                </c:pt>
                <c:pt idx="11">
                  <c:v>0.97</c:v>
                </c:pt>
                <c:pt idx="12">
                  <c:v>0.89</c:v>
                </c:pt>
                <c:pt idx="13">
                  <c:v>0.87</c:v>
                </c:pt>
                <c:pt idx="14">
                  <c:v>0.81</c:v>
                </c:pt>
                <c:pt idx="15">
                  <c:v>0.85</c:v>
                </c:pt>
                <c:pt idx="16">
                  <c:v>0.69</c:v>
                </c:pt>
                <c:pt idx="17">
                  <c:v>0.6</c:v>
                </c:pt>
                <c:pt idx="18">
                  <c:v>0.68</c:v>
                </c:pt>
                <c:pt idx="19">
                  <c:v>0.73</c:v>
                </c:pt>
                <c:pt idx="20">
                  <c:v>0.89</c:v>
                </c:pt>
                <c:pt idx="21">
                  <c:v>0.83</c:v>
                </c:pt>
                <c:pt idx="22">
                  <c:v>0.77</c:v>
                </c:pt>
                <c:pt idx="23">
                  <c:v>0.59</c:v>
                </c:pt>
                <c:pt idx="24">
                  <c:v>0.25</c:v>
                </c:pt>
                <c:pt idx="25">
                  <c:v>0.31</c:v>
                </c:pt>
                <c:pt idx="26">
                  <c:v>0.09</c:v>
                </c:pt>
                <c:pt idx="27">
                  <c:v>0.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9</c:f>
              <c:strCache>
                <c:ptCount val="28"/>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Mini Babybel Rouge Filet St Paulin Ferme 1X440Gr 20P</c:v>
                </c:pt>
                <c:pt idx="10">
                  <c:v>Kiri Gouter Fromage Blanc Dips Boite 1X175Gr 5P</c:v>
                </c:pt>
                <c:pt idx="11">
                  <c:v>La Vache Qui Rit Pik Et Croq' Fromage Fondu Dips Boite 1X175Gr 5P</c:v>
                </c:pt>
                <c:pt idx="12">
                  <c:v>La Vache Qui Rit Pik Et Croq' Fromage Fondu Dips Boite 1X280Gr 8P</c:v>
                </c:pt>
                <c:pt idx="13">
                  <c:v>La Vache Qui Rit Allegee Fromage Fondu Boite Ronde Allege 1X267Gr 16P</c:v>
                </c:pt>
                <c:pt idx="14">
                  <c:v>Babybel Mini Rolls St Paulin Ferme Sachet 1X85Gr 5P</c:v>
                </c:pt>
                <c:pt idx="15">
                  <c:v>Mini Babybel Aros St Paulin Ferme Assortis Filet 1X180Gr 9P</c:v>
                </c:pt>
                <c:pt idx="16">
                  <c:v>La Vache Qui Rit Aro Fromage Fondu Boite Ronde Jambon 1X133Gr 8P</c:v>
                </c:pt>
                <c:pt idx="17">
                  <c:v>Kiri Bio Fromage Blanc Frais Carre 1X144Gr 8P</c:v>
                </c:pt>
                <c:pt idx="18">
                  <c:v>Kiri Chevre Fromage Blanc Frais Carre 1X144Gr 8P</c:v>
                </c:pt>
                <c:pt idx="19">
                  <c:v>Mini Babybel Aros Soft Cheese Enfant 180G</c:v>
                </c:pt>
                <c:pt idx="20">
                  <c:v>Mini Babybel Rouge Filet St Paulin Ferme 1X396Gr 12+6P</c:v>
                </c:pt>
                <c:pt idx="21">
                  <c:v>Kiri Creme Fromage Blanc Frais Carre 1X432Gr 18+6P</c:v>
                </c:pt>
                <c:pt idx="22">
                  <c:v>Mini Babybel Aros St Paulin Ferme Raclette Filet 1X132Gr 6P</c:v>
                </c:pt>
                <c:pt idx="23">
                  <c:v>Mini Babybel Aros Soft Cheese Enfant 110G</c:v>
                </c:pt>
                <c:pt idx="24">
                  <c:v>La Vache Qui Rit Nature Fromage Fondu Boite Ronde 1X512Gr 24+8P</c:v>
                </c:pt>
                <c:pt idx="25">
                  <c:v>Mini Babybel Bio St Paulin Ferme Filet 1X100Gr 5P</c:v>
                </c:pt>
                <c:pt idx="26">
                  <c:v>Mini Babybel Rouge Filet St Paulin Ferme Sachet 1X40Gr 1P</c:v>
                </c:pt>
                <c:pt idx="27">
                  <c:v>La Vache Qui Rit Nature Fromage Fondu Boite Ronde 1X128Gr 8P</c:v>
                </c:pt>
              </c:strCache>
            </c:strRef>
          </c:cat>
          <c:val>
            <c:numRef>
              <c:f>Sheet1!$C$2:$C$29</c:f>
              <c:numCache>
                <c:formatCode>General</c:formatCode>
                <c:ptCount val="28"/>
                <c:pt idx="0">
                  <c:v>0.17232014725340528</c:v>
                </c:pt>
                <c:pt idx="1">
                  <c:v>0.30448372675880259</c:v>
                </c:pt>
                <c:pt idx="2">
                  <c:v>0.40795718057298547</c:v>
                </c:pt>
                <c:pt idx="3">
                  <c:v>0.49488009832152097</c:v>
                </c:pt>
                <c:pt idx="4">
                  <c:v>0.58041932257382101</c:v>
                </c:pt>
                <c:pt idx="5">
                  <c:v>0.65625390162267916</c:v>
                </c:pt>
                <c:pt idx="6">
                  <c:v>0.72198584277578959</c:v>
                </c:pt>
                <c:pt idx="7">
                  <c:v>0.76712973570735565</c:v>
                </c:pt>
                <c:pt idx="8">
                  <c:v>0.80929629357775668</c:v>
                </c:pt>
                <c:pt idx="9">
                  <c:v>0.84253405053040109</c:v>
                </c:pt>
                <c:pt idx="10">
                  <c:v>0.87557849870857807</c:v>
                </c:pt>
                <c:pt idx="11">
                  <c:v>0.89801925337999122</c:v>
                </c:pt>
                <c:pt idx="12">
                  <c:v>0.92005636211883179</c:v>
                </c:pt>
                <c:pt idx="13">
                  <c:v>0.93518125169468469</c:v>
                </c:pt>
                <c:pt idx="14">
                  <c:v>0.94655554822389043</c:v>
                </c:pt>
                <c:pt idx="15">
                  <c:v>0.95674774534702278</c:v>
                </c:pt>
                <c:pt idx="16">
                  <c:v>0.96475651002087193</c:v>
                </c:pt>
                <c:pt idx="17">
                  <c:v>0.9719087973504934</c:v>
                </c:pt>
                <c:pt idx="18">
                  <c:v>0.97841483005593022</c:v>
                </c:pt>
                <c:pt idx="19">
                  <c:v>0.98425716777652128</c:v>
                </c:pt>
                <c:pt idx="20">
                  <c:v>0.98906917384897108</c:v>
                </c:pt>
                <c:pt idx="21">
                  <c:v>0.99366381626630396</c:v>
                </c:pt>
                <c:pt idx="22">
                  <c:v>0.99732070742771917</c:v>
                </c:pt>
                <c:pt idx="23">
                  <c:v>0.9986178399737965</c:v>
                </c:pt>
                <c:pt idx="24">
                  <c:v>0.99918478902095886</c:v>
                </c:pt>
                <c:pt idx="25">
                  <c:v>0.9996330886853555</c:v>
                </c:pt>
                <c:pt idx="26">
                  <c:v>0.99997910360986397</c:v>
                </c:pt>
                <c:pt idx="2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9</c:f>
              <c:strCache>
                <c:ptCount val="28"/>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Mini Babybel Rouge Filet St Paulin Ferme 1X440Gr 20P</c:v>
                </c:pt>
                <c:pt idx="10">
                  <c:v>Kiri Gouter Fromage Blanc Dips Boite 1X175Gr 5P</c:v>
                </c:pt>
                <c:pt idx="11">
                  <c:v>La Vache Qui Rit Pik Et Croq' Fromage Fondu Dips Boite 1X175Gr 5P</c:v>
                </c:pt>
                <c:pt idx="12">
                  <c:v>La Vache Qui Rit Pik Et Croq' Fromage Fondu Dips Boite 1X280Gr 8P</c:v>
                </c:pt>
                <c:pt idx="13">
                  <c:v>La Vache Qui Rit Allegee Fromage Fondu Boite Ronde Allege 1X267Gr 16P</c:v>
                </c:pt>
                <c:pt idx="14">
                  <c:v>Babybel Mini Rolls St Paulin Ferme Sachet 1X85Gr 5P</c:v>
                </c:pt>
                <c:pt idx="15">
                  <c:v>Mini Babybel Aros St Paulin Ferme Assortis Filet 1X180Gr 9P</c:v>
                </c:pt>
                <c:pt idx="16">
                  <c:v>La Vache Qui Rit Aro Fromage Fondu Boite Ronde Jambon 1X133Gr 8P</c:v>
                </c:pt>
                <c:pt idx="17">
                  <c:v>Kiri Bio Fromage Blanc Frais Carre 1X144Gr 8P</c:v>
                </c:pt>
                <c:pt idx="18">
                  <c:v>Kiri Chevre Fromage Blanc Frais Carre 1X144Gr 8P</c:v>
                </c:pt>
                <c:pt idx="19">
                  <c:v>Mini Babybel Aros Soft Cheese Enfant 180G</c:v>
                </c:pt>
                <c:pt idx="20">
                  <c:v>Mini Babybel Rouge Filet St Paulin Ferme 1X396Gr 12+6P</c:v>
                </c:pt>
                <c:pt idx="21">
                  <c:v>Kiri Creme Fromage Blanc Frais Carre 1X432Gr 18+6P</c:v>
                </c:pt>
                <c:pt idx="22">
                  <c:v>Mini Babybel Aros St Paulin Ferme Raclette Filet 1X132Gr 6P</c:v>
                </c:pt>
                <c:pt idx="23">
                  <c:v>Mini Babybel Aros Soft Cheese Enfant 110G</c:v>
                </c:pt>
                <c:pt idx="24">
                  <c:v>La Vache Qui Rit Nature Fromage Fondu Boite Ronde 1X512Gr 24+8P</c:v>
                </c:pt>
                <c:pt idx="25">
                  <c:v>Mini Babybel Bio St Paulin Ferme Filet 1X100Gr 5P</c:v>
                </c:pt>
                <c:pt idx="26">
                  <c:v>Mini Babybel Rouge Filet St Paulin Ferme Sachet 1X40Gr 1P</c:v>
                </c:pt>
                <c:pt idx="27">
                  <c:v>La Vache Qui Rit Nature Fromage Fondu Boite Ronde 1X128Gr 8P</c:v>
                </c:pt>
              </c:strCache>
            </c:strRef>
          </c:cat>
          <c:val>
            <c:numRef>
              <c:f>Sheet1!$D$2:$D$29</c:f>
              <c:numCache>
                <c:formatCode>General</c:formatCode>
                <c:ptCount val="28"/>
                <c:pt idx="0">
                  <c:v>75289.7</c:v>
                </c:pt>
                <c:pt idx="1">
                  <c:v>58923.051020408166</c:v>
                </c:pt>
                <c:pt idx="2">
                  <c:v>45209.37</c:v>
                </c:pt>
                <c:pt idx="3">
                  <c:v>37978.15</c:v>
                </c:pt>
                <c:pt idx="4">
                  <c:v>38529.474226804123</c:v>
                </c:pt>
                <c:pt idx="5">
                  <c:v>33468.141414141413</c:v>
                </c:pt>
                <c:pt idx="6">
                  <c:v>32269.033707865168</c:v>
                </c:pt>
                <c:pt idx="7">
                  <c:v>20546</c:v>
                </c:pt>
                <c:pt idx="8">
                  <c:v>18609.404040404039</c:v>
                </c:pt>
                <c:pt idx="9">
                  <c:v>16135.733333333334</c:v>
                </c:pt>
                <c:pt idx="10">
                  <c:v>14583.535353535353</c:v>
                </c:pt>
                <c:pt idx="11">
                  <c:v>10108</c:v>
                </c:pt>
                <c:pt idx="12">
                  <c:v>10818.426966292134</c:v>
                </c:pt>
                <c:pt idx="13">
                  <c:v>7595.7816091954019</c:v>
                </c:pt>
                <c:pt idx="14">
                  <c:v>6135.3456790123455</c:v>
                </c:pt>
                <c:pt idx="15">
                  <c:v>5239</c:v>
                </c:pt>
                <c:pt idx="16">
                  <c:v>5071.260869565217</c:v>
                </c:pt>
                <c:pt idx="17">
                  <c:v>5208.2666666666664</c:v>
                </c:pt>
                <c:pt idx="18">
                  <c:v>4180.2941176470586</c:v>
                </c:pt>
                <c:pt idx="19">
                  <c:v>3496.7397260273974</c:v>
                </c:pt>
                <c:pt idx="20">
                  <c:v>2362.303370786517</c:v>
                </c:pt>
                <c:pt idx="21">
                  <c:v>2418.6506024096384</c:v>
                </c:pt>
                <c:pt idx="22">
                  <c:v>2075.0129870129872</c:v>
                </c:pt>
                <c:pt idx="23">
                  <c:v>960.57627118644064</c:v>
                </c:pt>
                <c:pt idx="24">
                  <c:v>990.84</c:v>
                </c:pt>
                <c:pt idx="25">
                  <c:v>631.83870967741939</c:v>
                </c:pt>
                <c:pt idx="26">
                  <c:v>1679.7777777777778</c:v>
                </c:pt>
                <c:pt idx="27">
                  <c:v>76.08333333333332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9</c:f>
              <c:strCache>
                <c:ptCount val="28"/>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432Gr 24P</c:v>
                </c:pt>
                <c:pt idx="6">
                  <c:v>Kiri Creme Fromage Blanc Frais Carre 1X216Gr 12P</c:v>
                </c:pt>
                <c:pt idx="7">
                  <c:v>Kiri Gouter Fromage Blanc Dips Boite 1X280Gr 8P</c:v>
                </c:pt>
                <c:pt idx="8">
                  <c:v>Mini Babybel Rouge Filet St Paulin Ferme 1X440Gr 20P</c:v>
                </c:pt>
                <c:pt idx="9">
                  <c:v>Kiri Creme Fromage Blanc Frais Carre 1X144Gr 8P</c:v>
                </c:pt>
                <c:pt idx="10">
                  <c:v>Kiri Gouter Fromage Blanc Dips Boite 1X175Gr 5P</c:v>
                </c:pt>
                <c:pt idx="11">
                  <c:v>La Vache Qui Rit Pik Et Croq' Fromage Fondu Dips Boite 1X280Gr 8P</c:v>
                </c:pt>
                <c:pt idx="12">
                  <c:v>La Vache Qui Rit Pik Et Croq' Fromage Fondu Dips Boite 1X175Gr 5P</c:v>
                </c:pt>
                <c:pt idx="13">
                  <c:v>La Vache Qui Rit Allegee Fromage Fondu Boite Ronde Allege 1X267Gr 16P</c:v>
                </c:pt>
                <c:pt idx="14">
                  <c:v>Babybel Mini Rolls St Paulin Ferme Sachet 1X85Gr 5P</c:v>
                </c:pt>
                <c:pt idx="15">
                  <c:v>Mini Babybel Aros St Paulin Ferme Assortis Filet 1X180Gr 9P</c:v>
                </c:pt>
                <c:pt idx="16">
                  <c:v>La Vache Qui Rit Aro Fromage Fondu Boite Ronde Jambon 1X133Gr 8P</c:v>
                </c:pt>
                <c:pt idx="17">
                  <c:v>Kiri Bio Fromage Blanc Frais Carre 1X144Gr 8P</c:v>
                </c:pt>
                <c:pt idx="18">
                  <c:v>Mini Babybel Aros Soft Cheese Enfant 180G</c:v>
                </c:pt>
                <c:pt idx="19">
                  <c:v>Kiri Chevre Fromage Blanc Frais Carre 1X144Gr 8P</c:v>
                </c:pt>
                <c:pt idx="20">
                  <c:v>Mini Babybel Rouge Filet St Paulin Ferme 1X396Gr 12+6P</c:v>
                </c:pt>
                <c:pt idx="21">
                  <c:v>Mini Babybel Aros St Paulin Ferme Raclette Filet 1X132Gr 6P</c:v>
                </c:pt>
                <c:pt idx="22">
                  <c:v>Kiri Creme Fromage Blanc Frais Carre 1X432Gr 18+6P</c:v>
                </c:pt>
                <c:pt idx="23">
                  <c:v>Mini Babybel Aros Soft Cheese Enfant 110G</c:v>
                </c:pt>
                <c:pt idx="24">
                  <c:v>La Vache Qui Rit Nature Fromage Fondu Boite Ronde 1X512Gr 24+8P</c:v>
                </c:pt>
                <c:pt idx="25">
                  <c:v>Mini Babybel Rouge Filet St Paulin Ferme Sachet 1X40Gr 1P</c:v>
                </c:pt>
                <c:pt idx="26">
                  <c:v>Mini Babybel Bio St Paulin Ferme Filet 1X100Gr 5P</c:v>
                </c:pt>
                <c:pt idx="27">
                  <c:v>La Vache Qui Rit Nature Fromage Fondu Boite Ronde 1X128Gr 8P</c:v>
                </c:pt>
              </c:strCache>
            </c:strRef>
          </c:cat>
          <c:val>
            <c:numRef>
              <c:f>Sheet1!$B$2:$B$29</c:f>
              <c:numCache>
                <c:formatCode>General</c:formatCode>
                <c:ptCount val="28"/>
                <c:pt idx="0">
                  <c:v>1</c:v>
                </c:pt>
                <c:pt idx="1">
                  <c:v>0.99</c:v>
                </c:pt>
                <c:pt idx="2">
                  <c:v>1</c:v>
                </c:pt>
                <c:pt idx="3">
                  <c:v>1</c:v>
                </c:pt>
                <c:pt idx="4">
                  <c:v>1</c:v>
                </c:pt>
                <c:pt idx="5">
                  <c:v>0.99</c:v>
                </c:pt>
                <c:pt idx="6">
                  <c:v>1</c:v>
                </c:pt>
                <c:pt idx="7">
                  <c:v>0.99</c:v>
                </c:pt>
                <c:pt idx="8">
                  <c:v>0.98</c:v>
                </c:pt>
                <c:pt idx="9">
                  <c:v>1</c:v>
                </c:pt>
                <c:pt idx="10">
                  <c:v>1</c:v>
                </c:pt>
                <c:pt idx="11">
                  <c:v>0.98</c:v>
                </c:pt>
                <c:pt idx="12">
                  <c:v>0.99</c:v>
                </c:pt>
                <c:pt idx="13">
                  <c:v>0.97</c:v>
                </c:pt>
                <c:pt idx="14">
                  <c:v>0.97</c:v>
                </c:pt>
                <c:pt idx="15">
                  <c:v>0.97</c:v>
                </c:pt>
                <c:pt idx="16">
                  <c:v>0.92</c:v>
                </c:pt>
                <c:pt idx="17">
                  <c:v>0.87</c:v>
                </c:pt>
                <c:pt idx="18">
                  <c:v>0.95</c:v>
                </c:pt>
                <c:pt idx="19">
                  <c:v>0.88</c:v>
                </c:pt>
                <c:pt idx="20">
                  <c:v>0.92</c:v>
                </c:pt>
                <c:pt idx="21">
                  <c:v>0.95</c:v>
                </c:pt>
                <c:pt idx="22">
                  <c:v>0.94</c:v>
                </c:pt>
                <c:pt idx="23">
                  <c:v>0.9</c:v>
                </c:pt>
                <c:pt idx="24">
                  <c:v>0.32</c:v>
                </c:pt>
                <c:pt idx="25">
                  <c:v>0.24</c:v>
                </c:pt>
                <c:pt idx="26">
                  <c:v>0.55000000000000004</c:v>
                </c:pt>
                <c:pt idx="27">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9</c:f>
              <c:strCache>
                <c:ptCount val="28"/>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432Gr 24P</c:v>
                </c:pt>
                <c:pt idx="6">
                  <c:v>Kiri Creme Fromage Blanc Frais Carre 1X216Gr 12P</c:v>
                </c:pt>
                <c:pt idx="7">
                  <c:v>Kiri Gouter Fromage Blanc Dips Boite 1X280Gr 8P</c:v>
                </c:pt>
                <c:pt idx="8">
                  <c:v>Mini Babybel Rouge Filet St Paulin Ferme 1X440Gr 20P</c:v>
                </c:pt>
                <c:pt idx="9">
                  <c:v>Kiri Creme Fromage Blanc Frais Carre 1X144Gr 8P</c:v>
                </c:pt>
                <c:pt idx="10">
                  <c:v>Kiri Gouter Fromage Blanc Dips Boite 1X175Gr 5P</c:v>
                </c:pt>
                <c:pt idx="11">
                  <c:v>La Vache Qui Rit Pik Et Croq' Fromage Fondu Dips Boite 1X280Gr 8P</c:v>
                </c:pt>
                <c:pt idx="12">
                  <c:v>La Vache Qui Rit Pik Et Croq' Fromage Fondu Dips Boite 1X175Gr 5P</c:v>
                </c:pt>
                <c:pt idx="13">
                  <c:v>La Vache Qui Rit Allegee Fromage Fondu Boite Ronde Allege 1X267Gr 16P</c:v>
                </c:pt>
                <c:pt idx="14">
                  <c:v>Babybel Mini Rolls St Paulin Ferme Sachet 1X85Gr 5P</c:v>
                </c:pt>
                <c:pt idx="15">
                  <c:v>Mini Babybel Aros St Paulin Ferme Assortis Filet 1X180Gr 9P</c:v>
                </c:pt>
                <c:pt idx="16">
                  <c:v>La Vache Qui Rit Aro Fromage Fondu Boite Ronde Jambon 1X133Gr 8P</c:v>
                </c:pt>
                <c:pt idx="17">
                  <c:v>Kiri Bio Fromage Blanc Frais Carre 1X144Gr 8P</c:v>
                </c:pt>
                <c:pt idx="18">
                  <c:v>Mini Babybel Aros Soft Cheese Enfant 180G</c:v>
                </c:pt>
                <c:pt idx="19">
                  <c:v>Kiri Chevre Fromage Blanc Frais Carre 1X144Gr 8P</c:v>
                </c:pt>
                <c:pt idx="20">
                  <c:v>Mini Babybel Rouge Filet St Paulin Ferme 1X396Gr 12+6P</c:v>
                </c:pt>
                <c:pt idx="21">
                  <c:v>Mini Babybel Aros St Paulin Ferme Raclette Filet 1X132Gr 6P</c:v>
                </c:pt>
                <c:pt idx="22">
                  <c:v>Kiri Creme Fromage Blanc Frais Carre 1X432Gr 18+6P</c:v>
                </c:pt>
                <c:pt idx="23">
                  <c:v>Mini Babybel Aros Soft Cheese Enfant 110G</c:v>
                </c:pt>
                <c:pt idx="24">
                  <c:v>La Vache Qui Rit Nature Fromage Fondu Boite Ronde 1X512Gr 24+8P</c:v>
                </c:pt>
                <c:pt idx="25">
                  <c:v>Mini Babybel Rouge Filet St Paulin Ferme Sachet 1X40Gr 1P</c:v>
                </c:pt>
                <c:pt idx="26">
                  <c:v>Mini Babybel Bio St Paulin Ferme Filet 1X100Gr 5P</c:v>
                </c:pt>
                <c:pt idx="27">
                  <c:v>La Vache Qui Rit Nature Fromage Fondu Boite Ronde 1X128Gr 8P</c:v>
                </c:pt>
              </c:strCache>
            </c:strRef>
          </c:cat>
          <c:val>
            <c:numRef>
              <c:f>Sheet1!$C$2:$C$29</c:f>
              <c:numCache>
                <c:formatCode>General</c:formatCode>
                <c:ptCount val="28"/>
                <c:pt idx="0">
                  <c:v>0.17247780816455299</c:v>
                </c:pt>
                <c:pt idx="1">
                  <c:v>0.31004135343601891</c:v>
                </c:pt>
                <c:pt idx="2">
                  <c:v>0.40368709983119438</c:v>
                </c:pt>
                <c:pt idx="3">
                  <c:v>0.48795984650051949</c:v>
                </c:pt>
                <c:pt idx="4">
                  <c:v>0.56468405622316642</c:v>
                </c:pt>
                <c:pt idx="5">
                  <c:v>0.63653824995273811</c:v>
                </c:pt>
                <c:pt idx="6">
                  <c:v>0.70756111986782466</c:v>
                </c:pt>
                <c:pt idx="7">
                  <c:v>0.75282924246559613</c:v>
                </c:pt>
                <c:pt idx="8">
                  <c:v>0.79351377769078479</c:v>
                </c:pt>
                <c:pt idx="9">
                  <c:v>0.82895579382731743</c:v>
                </c:pt>
                <c:pt idx="10">
                  <c:v>0.85994831884271172</c:v>
                </c:pt>
                <c:pt idx="11">
                  <c:v>0.88688865695248953</c:v>
                </c:pt>
                <c:pt idx="12">
                  <c:v>0.91206519776765616</c:v>
                </c:pt>
                <c:pt idx="13">
                  <c:v>0.92586155017941307</c:v>
                </c:pt>
                <c:pt idx="14">
                  <c:v>0.93909586544662993</c:v>
                </c:pt>
                <c:pt idx="15">
                  <c:v>0.95104295395927396</c:v>
                </c:pt>
                <c:pt idx="16">
                  <c:v>0.96019055527154495</c:v>
                </c:pt>
                <c:pt idx="17">
                  <c:v>0.96757630447508247</c:v>
                </c:pt>
                <c:pt idx="18">
                  <c:v>0.97444086543751185</c:v>
                </c:pt>
                <c:pt idx="19">
                  <c:v>0.98101656629710166</c:v>
                </c:pt>
                <c:pt idx="20">
                  <c:v>0.98620875370117211</c:v>
                </c:pt>
                <c:pt idx="21">
                  <c:v>0.99119523769867501</c:v>
                </c:pt>
                <c:pt idx="22">
                  <c:v>0.99587365288279595</c:v>
                </c:pt>
                <c:pt idx="23">
                  <c:v>0.99808253302104999</c:v>
                </c:pt>
                <c:pt idx="24">
                  <c:v>0.99877246613704929</c:v>
                </c:pt>
                <c:pt idx="25">
                  <c:v>0.99945364591659891</c:v>
                </c:pt>
                <c:pt idx="26">
                  <c:v>0.99997994027063608</c:v>
                </c:pt>
                <c:pt idx="27">
                  <c:v>0.9999922192564890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9</c:f>
              <c:strCache>
                <c:ptCount val="28"/>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432Gr 24P</c:v>
                </c:pt>
                <c:pt idx="6">
                  <c:v>Kiri Creme Fromage Blanc Frais Carre 1X216Gr 12P</c:v>
                </c:pt>
                <c:pt idx="7">
                  <c:v>Kiri Gouter Fromage Blanc Dips Boite 1X280Gr 8P</c:v>
                </c:pt>
                <c:pt idx="8">
                  <c:v>Mini Babybel Rouge Filet St Paulin Ferme 1X440Gr 20P</c:v>
                </c:pt>
                <c:pt idx="9">
                  <c:v>Kiri Creme Fromage Blanc Frais Carre 1X144Gr 8P</c:v>
                </c:pt>
                <c:pt idx="10">
                  <c:v>Kiri Gouter Fromage Blanc Dips Boite 1X175Gr 5P</c:v>
                </c:pt>
                <c:pt idx="11">
                  <c:v>La Vache Qui Rit Pik Et Croq' Fromage Fondu Dips Boite 1X280Gr 8P</c:v>
                </c:pt>
                <c:pt idx="12">
                  <c:v>La Vache Qui Rit Pik Et Croq' Fromage Fondu Dips Boite 1X175Gr 5P</c:v>
                </c:pt>
                <c:pt idx="13">
                  <c:v>La Vache Qui Rit Allegee Fromage Fondu Boite Ronde Allege 1X267Gr 16P</c:v>
                </c:pt>
                <c:pt idx="14">
                  <c:v>Babybel Mini Rolls St Paulin Ferme Sachet 1X85Gr 5P</c:v>
                </c:pt>
                <c:pt idx="15">
                  <c:v>Mini Babybel Aros St Paulin Ferme Assortis Filet 1X180Gr 9P</c:v>
                </c:pt>
                <c:pt idx="16">
                  <c:v>La Vache Qui Rit Aro Fromage Fondu Boite Ronde Jambon 1X133Gr 8P</c:v>
                </c:pt>
                <c:pt idx="17">
                  <c:v>Kiri Bio Fromage Blanc Frais Carre 1X144Gr 8P</c:v>
                </c:pt>
                <c:pt idx="18">
                  <c:v>Mini Babybel Aros Soft Cheese Enfant 180G</c:v>
                </c:pt>
                <c:pt idx="19">
                  <c:v>Kiri Chevre Fromage Blanc Frais Carre 1X144Gr 8P</c:v>
                </c:pt>
                <c:pt idx="20">
                  <c:v>Mini Babybel Rouge Filet St Paulin Ferme 1X396Gr 12+6P</c:v>
                </c:pt>
                <c:pt idx="21">
                  <c:v>Mini Babybel Aros St Paulin Ferme Raclette Filet 1X132Gr 6P</c:v>
                </c:pt>
                <c:pt idx="22">
                  <c:v>Kiri Creme Fromage Blanc Frais Carre 1X432Gr 18+6P</c:v>
                </c:pt>
                <c:pt idx="23">
                  <c:v>Mini Babybel Aros Soft Cheese Enfant 110G</c:v>
                </c:pt>
                <c:pt idx="24">
                  <c:v>La Vache Qui Rit Nature Fromage Fondu Boite Ronde 1X512Gr 24+8P</c:v>
                </c:pt>
                <c:pt idx="25">
                  <c:v>Mini Babybel Rouge Filet St Paulin Ferme Sachet 1X40Gr 1P</c:v>
                </c:pt>
                <c:pt idx="26">
                  <c:v>Mini Babybel Bio St Paulin Ferme Filet 1X100Gr 5P</c:v>
                </c:pt>
                <c:pt idx="27">
                  <c:v>La Vache Qui Rit Nature Fromage Fondu Boite Ronde 1X128Gr 8P</c:v>
                </c:pt>
              </c:strCache>
            </c:strRef>
          </c:cat>
          <c:val>
            <c:numRef>
              <c:f>Sheet1!$D$2:$D$29</c:f>
              <c:numCache>
                <c:formatCode>General</c:formatCode>
                <c:ptCount val="28"/>
                <c:pt idx="0">
                  <c:v>14187.05</c:v>
                </c:pt>
                <c:pt idx="1">
                  <c:v>11429.494949494949</c:v>
                </c:pt>
                <c:pt idx="2">
                  <c:v>7702.77</c:v>
                </c:pt>
                <c:pt idx="3">
                  <c:v>6931.8</c:v>
                </c:pt>
                <c:pt idx="4">
                  <c:v>6310.9</c:v>
                </c:pt>
                <c:pt idx="5">
                  <c:v>5970.0202020202023</c:v>
                </c:pt>
                <c:pt idx="6">
                  <c:v>5841.94</c:v>
                </c:pt>
                <c:pt idx="7">
                  <c:v>3761.1111111111113</c:v>
                </c:pt>
                <c:pt idx="8">
                  <c:v>3414.7755102040815</c:v>
                </c:pt>
                <c:pt idx="9">
                  <c:v>2915.26</c:v>
                </c:pt>
                <c:pt idx="10">
                  <c:v>2549.27</c:v>
                </c:pt>
                <c:pt idx="11">
                  <c:v>2261.1836734693879</c:v>
                </c:pt>
                <c:pt idx="12">
                  <c:v>2091.7979797979797</c:v>
                </c:pt>
                <c:pt idx="13">
                  <c:v>1169.9072164948454</c:v>
                </c:pt>
                <c:pt idx="14">
                  <c:v>1122.2474226804125</c:v>
                </c:pt>
                <c:pt idx="15">
                  <c:v>1013.0927835051547</c:v>
                </c:pt>
                <c:pt idx="16">
                  <c:v>817.85869565217388</c:v>
                </c:pt>
                <c:pt idx="17">
                  <c:v>698.28735632183907</c:v>
                </c:pt>
                <c:pt idx="18">
                  <c:v>594.35789473684213</c:v>
                </c:pt>
                <c:pt idx="19">
                  <c:v>614.63636363636363</c:v>
                </c:pt>
                <c:pt idx="20">
                  <c:v>464.21739130434781</c:v>
                </c:pt>
                <c:pt idx="21">
                  <c:v>431.74736842105261</c:v>
                </c:pt>
                <c:pt idx="22">
                  <c:v>409.38297872340428</c:v>
                </c:pt>
                <c:pt idx="23">
                  <c:v>201.87777777777777</c:v>
                </c:pt>
                <c:pt idx="24">
                  <c:v>177.34375</c:v>
                </c:pt>
                <c:pt idx="25">
                  <c:v>233.45833333333334</c:v>
                </c:pt>
                <c:pt idx="26">
                  <c:v>78.709090909090904</c:v>
                </c:pt>
                <c:pt idx="27">
                  <c:v>7.769230769230769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8</c:f>
              <c:strCache>
                <c:ptCount val="27"/>
                <c:pt idx="0">
                  <c:v>Mini Babybel Rouge Filet St Paulin Ferme 1X264Gr 12P</c:v>
                </c:pt>
                <c:pt idx="1">
                  <c:v>La Vache Qui Rit Nature Fromage Fondu Boite Ronde 1X192Gr 12P</c:v>
                </c:pt>
                <c:pt idx="2">
                  <c:v>Mini Babybel Rouge Filet St Paulin Ferme 1X132Gr 6P</c:v>
                </c:pt>
                <c:pt idx="3">
                  <c:v>La Vache Qui Rit Nature Fromage Fondu Boite Ronde 1X512Gr 32P</c:v>
                </c:pt>
                <c:pt idx="4">
                  <c:v>Kiri Creme Fromage Blanc Frais Carre 1X216Gr 12P</c:v>
                </c:pt>
                <c:pt idx="5">
                  <c:v>La Vache Qui Rit Nature Fromage Fondu Boite Ronde 1X384Gr 24P</c:v>
                </c:pt>
                <c:pt idx="6">
                  <c:v>Kiri Creme Fromage Blanc Frais Carre 1X144Gr 8P</c:v>
                </c:pt>
                <c:pt idx="7">
                  <c:v>Kiri Gouter Fromage Blanc Dips Boite 1X175Gr 5P</c:v>
                </c:pt>
                <c:pt idx="8">
                  <c:v>Kiri Creme Fromage Blanc Frais Carre 1X432Gr 24P</c:v>
                </c:pt>
                <c:pt idx="9">
                  <c:v>Kiri Gouter Fromage Blanc Dips Boite 1X280Gr 8P</c:v>
                </c:pt>
                <c:pt idx="10">
                  <c:v>La Vache Qui Rit Pik Et Croq' Fromage Fondu Dips Boite 1X175Gr 5P</c:v>
                </c:pt>
                <c:pt idx="11">
                  <c:v>Mini Babybel Rouge Filet St Paulin Ferme 1X440Gr 20P</c:v>
                </c:pt>
                <c:pt idx="12">
                  <c:v>La Vache Qui Rit Allegee Fromage Fondu Boite Ronde Allege 1X267Gr 16P</c:v>
                </c:pt>
                <c:pt idx="13">
                  <c:v>La Vache Qui Rit Pik Et Croq' Fromage Fondu Dips Boite 1X280Gr 8P</c:v>
                </c:pt>
                <c:pt idx="14">
                  <c:v>Babybel Mini Rolls St Paulin Ferme Sachet 1X85Gr 5P</c:v>
                </c:pt>
                <c:pt idx="15">
                  <c:v>Kiri Bio Fromage Blanc Frais Carre 1X144Gr 8P</c:v>
                </c:pt>
                <c:pt idx="16">
                  <c:v>Mini Babybel Aros St Paulin Ferme Assortis Filet 1X180Gr 9P</c:v>
                </c:pt>
                <c:pt idx="17">
                  <c:v>Kiri Creme Fromage Blanc Frais Carre 1X432Gr 18+6P</c:v>
                </c:pt>
                <c:pt idx="18">
                  <c:v>La Vache Qui Rit Aro Fromage Fondu Boite Ronde Jambon 1X133Gr 8P</c:v>
                </c:pt>
                <c:pt idx="19">
                  <c:v>Kiri Chevre Fromage Blanc Frais Carre 1X144Gr 8P</c:v>
                </c:pt>
                <c:pt idx="20">
                  <c:v>Mini Babybel Rouge Filet St Paulin Ferme 1X396Gr 12+6P</c:v>
                </c:pt>
                <c:pt idx="21">
                  <c:v>Mini Babybel Aros Soft Cheese Enfant 180G</c:v>
                </c:pt>
                <c:pt idx="22">
                  <c:v>Mini Babybel Aros St Paulin Ferme Raclette Filet 1X132Gr 6P</c:v>
                </c:pt>
                <c:pt idx="23">
                  <c:v>Mini Babybel Rouge Filet St Paulin Ferme Sachet 1X40Gr 1P</c:v>
                </c:pt>
                <c:pt idx="24">
                  <c:v>Mini Babybel Aros Soft Cheese Enfant 110G</c:v>
                </c:pt>
                <c:pt idx="25">
                  <c:v>Mini Babybel Bio St Paulin Ferme Filet 1X100Gr 5P</c:v>
                </c:pt>
                <c:pt idx="26">
                  <c:v>La Vache Qui Rit Nature Fromage Fondu Boite Ronde 1X128Gr 8P</c:v>
                </c:pt>
              </c:strCache>
            </c:strRef>
          </c:cat>
          <c:val>
            <c:numRef>
              <c:f>Sheet1!$B$2:$B$28</c:f>
              <c:numCache>
                <c:formatCode>General</c:formatCode>
                <c:ptCount val="27"/>
                <c:pt idx="0">
                  <c:v>0.88</c:v>
                </c:pt>
                <c:pt idx="1">
                  <c:v>0.98</c:v>
                </c:pt>
                <c:pt idx="2">
                  <c:v>0.98</c:v>
                </c:pt>
                <c:pt idx="3">
                  <c:v>0.68</c:v>
                </c:pt>
                <c:pt idx="4">
                  <c:v>0.85</c:v>
                </c:pt>
                <c:pt idx="5">
                  <c:v>0.68</c:v>
                </c:pt>
                <c:pt idx="6">
                  <c:v>0.92</c:v>
                </c:pt>
                <c:pt idx="7">
                  <c:v>0.9</c:v>
                </c:pt>
                <c:pt idx="8">
                  <c:v>0.52</c:v>
                </c:pt>
                <c:pt idx="9">
                  <c:v>0.68</c:v>
                </c:pt>
                <c:pt idx="10">
                  <c:v>0.82</c:v>
                </c:pt>
                <c:pt idx="11">
                  <c:v>0.39</c:v>
                </c:pt>
                <c:pt idx="12">
                  <c:v>0.5</c:v>
                </c:pt>
                <c:pt idx="13">
                  <c:v>0.42</c:v>
                </c:pt>
                <c:pt idx="14">
                  <c:v>0.41</c:v>
                </c:pt>
                <c:pt idx="15">
                  <c:v>0.31</c:v>
                </c:pt>
                <c:pt idx="16">
                  <c:v>0.36</c:v>
                </c:pt>
                <c:pt idx="17">
                  <c:v>0.59</c:v>
                </c:pt>
                <c:pt idx="18">
                  <c:v>0.33</c:v>
                </c:pt>
                <c:pt idx="19">
                  <c:v>0.38</c:v>
                </c:pt>
                <c:pt idx="20">
                  <c:v>0.73</c:v>
                </c:pt>
                <c:pt idx="21">
                  <c:v>0.3</c:v>
                </c:pt>
                <c:pt idx="22">
                  <c:v>0.28999999999999998</c:v>
                </c:pt>
                <c:pt idx="23">
                  <c:v>0.13</c:v>
                </c:pt>
                <c:pt idx="24">
                  <c:v>0.19</c:v>
                </c:pt>
                <c:pt idx="25">
                  <c:v>0.05</c:v>
                </c:pt>
                <c:pt idx="26">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8</c:f>
              <c:strCache>
                <c:ptCount val="27"/>
                <c:pt idx="0">
                  <c:v>Mini Babybel Rouge Filet St Paulin Ferme 1X264Gr 12P</c:v>
                </c:pt>
                <c:pt idx="1">
                  <c:v>La Vache Qui Rit Nature Fromage Fondu Boite Ronde 1X192Gr 12P</c:v>
                </c:pt>
                <c:pt idx="2">
                  <c:v>Mini Babybel Rouge Filet St Paulin Ferme 1X132Gr 6P</c:v>
                </c:pt>
                <c:pt idx="3">
                  <c:v>La Vache Qui Rit Nature Fromage Fondu Boite Ronde 1X512Gr 32P</c:v>
                </c:pt>
                <c:pt idx="4">
                  <c:v>Kiri Creme Fromage Blanc Frais Carre 1X216Gr 12P</c:v>
                </c:pt>
                <c:pt idx="5">
                  <c:v>La Vache Qui Rit Nature Fromage Fondu Boite Ronde 1X384Gr 24P</c:v>
                </c:pt>
                <c:pt idx="6">
                  <c:v>Kiri Creme Fromage Blanc Frais Carre 1X144Gr 8P</c:v>
                </c:pt>
                <c:pt idx="7">
                  <c:v>Kiri Gouter Fromage Blanc Dips Boite 1X175Gr 5P</c:v>
                </c:pt>
                <c:pt idx="8">
                  <c:v>Kiri Creme Fromage Blanc Frais Carre 1X432Gr 24P</c:v>
                </c:pt>
                <c:pt idx="9">
                  <c:v>Kiri Gouter Fromage Blanc Dips Boite 1X280Gr 8P</c:v>
                </c:pt>
                <c:pt idx="10">
                  <c:v>La Vache Qui Rit Pik Et Croq' Fromage Fondu Dips Boite 1X175Gr 5P</c:v>
                </c:pt>
                <c:pt idx="11">
                  <c:v>Mini Babybel Rouge Filet St Paulin Ferme 1X440Gr 20P</c:v>
                </c:pt>
                <c:pt idx="12">
                  <c:v>La Vache Qui Rit Allegee Fromage Fondu Boite Ronde Allege 1X267Gr 16P</c:v>
                </c:pt>
                <c:pt idx="13">
                  <c:v>La Vache Qui Rit Pik Et Croq' Fromage Fondu Dips Boite 1X280Gr 8P</c:v>
                </c:pt>
                <c:pt idx="14">
                  <c:v>Babybel Mini Rolls St Paulin Ferme Sachet 1X85Gr 5P</c:v>
                </c:pt>
                <c:pt idx="15">
                  <c:v>Kiri Bio Fromage Blanc Frais Carre 1X144Gr 8P</c:v>
                </c:pt>
                <c:pt idx="16">
                  <c:v>Mini Babybel Aros St Paulin Ferme Assortis Filet 1X180Gr 9P</c:v>
                </c:pt>
                <c:pt idx="17">
                  <c:v>Kiri Creme Fromage Blanc Frais Carre 1X432Gr 18+6P</c:v>
                </c:pt>
                <c:pt idx="18">
                  <c:v>La Vache Qui Rit Aro Fromage Fondu Boite Ronde Jambon 1X133Gr 8P</c:v>
                </c:pt>
                <c:pt idx="19">
                  <c:v>Kiri Chevre Fromage Blanc Frais Carre 1X144Gr 8P</c:v>
                </c:pt>
                <c:pt idx="20">
                  <c:v>Mini Babybel Rouge Filet St Paulin Ferme 1X396Gr 12+6P</c:v>
                </c:pt>
                <c:pt idx="21">
                  <c:v>Mini Babybel Aros Soft Cheese Enfant 180G</c:v>
                </c:pt>
                <c:pt idx="22">
                  <c:v>Mini Babybel Aros St Paulin Ferme Raclette Filet 1X132Gr 6P</c:v>
                </c:pt>
                <c:pt idx="23">
                  <c:v>Mini Babybel Rouge Filet St Paulin Ferme Sachet 1X40Gr 1P</c:v>
                </c:pt>
                <c:pt idx="24">
                  <c:v>Mini Babybel Aros Soft Cheese Enfant 110G</c:v>
                </c:pt>
                <c:pt idx="25">
                  <c:v>Mini Babybel Bio St Paulin Ferme Filet 1X100Gr 5P</c:v>
                </c:pt>
                <c:pt idx="26">
                  <c:v>La Vache Qui Rit Nature Fromage Fondu Boite Ronde 1X128Gr 8P</c:v>
                </c:pt>
              </c:strCache>
            </c:strRef>
          </c:cat>
          <c:val>
            <c:numRef>
              <c:f>Sheet1!$C$2:$C$28</c:f>
              <c:numCache>
                <c:formatCode>General</c:formatCode>
                <c:ptCount val="27"/>
                <c:pt idx="0">
                  <c:v>0.15749682632111175</c:v>
                </c:pt>
                <c:pt idx="1">
                  <c:v>0.29440544420954373</c:v>
                </c:pt>
                <c:pt idx="2">
                  <c:v>0.42414663388484436</c:v>
                </c:pt>
                <c:pt idx="3">
                  <c:v>0.51982718684662443</c:v>
                </c:pt>
                <c:pt idx="4">
                  <c:v>0.60810710800144985</c:v>
                </c:pt>
                <c:pt idx="5">
                  <c:v>0.68432153815484775</c:v>
                </c:pt>
                <c:pt idx="6">
                  <c:v>0.74746507221123293</c:v>
                </c:pt>
                <c:pt idx="7">
                  <c:v>0.79797230971074873</c:v>
                </c:pt>
                <c:pt idx="8">
                  <c:v>0.84054889292065682</c:v>
                </c:pt>
                <c:pt idx="9">
                  <c:v>0.87748827919682215</c:v>
                </c:pt>
                <c:pt idx="10">
                  <c:v>0.90496977171241966</c:v>
                </c:pt>
                <c:pt idx="11">
                  <c:v>0.92047851928787383</c:v>
                </c:pt>
                <c:pt idx="12">
                  <c:v>0.93500705594398315</c:v>
                </c:pt>
                <c:pt idx="13">
                  <c:v>0.94534564362774709</c:v>
                </c:pt>
                <c:pt idx="14">
                  <c:v>0.95490888053771916</c:v>
                </c:pt>
                <c:pt idx="15">
                  <c:v>0.96346482278888812</c:v>
                </c:pt>
                <c:pt idx="16">
                  <c:v>0.97016159229713239</c:v>
                </c:pt>
                <c:pt idx="17">
                  <c:v>0.97567895943013272</c:v>
                </c:pt>
                <c:pt idx="18">
                  <c:v>0.9807999906781546</c:v>
                </c:pt>
                <c:pt idx="19">
                  <c:v>0.98576418817908129</c:v>
                </c:pt>
                <c:pt idx="20">
                  <c:v>0.99034071029311199</c:v>
                </c:pt>
                <c:pt idx="21">
                  <c:v>0.99470323937270255</c:v>
                </c:pt>
                <c:pt idx="22">
                  <c:v>0.99770670010773632</c:v>
                </c:pt>
                <c:pt idx="23">
                  <c:v>0.99884279999256742</c:v>
                </c:pt>
                <c:pt idx="24">
                  <c:v>0.99991638682760253</c:v>
                </c:pt>
                <c:pt idx="25">
                  <c:v>0.99996693264368441</c:v>
                </c:pt>
                <c:pt idx="26">
                  <c:v>0.9999999999999996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8</c:f>
              <c:strCache>
                <c:ptCount val="27"/>
                <c:pt idx="0">
                  <c:v>Mini Babybel Rouge Filet St Paulin Ferme 1X264Gr 12P</c:v>
                </c:pt>
                <c:pt idx="1">
                  <c:v>La Vache Qui Rit Nature Fromage Fondu Boite Ronde 1X192Gr 12P</c:v>
                </c:pt>
                <c:pt idx="2">
                  <c:v>Mini Babybel Rouge Filet St Paulin Ferme 1X132Gr 6P</c:v>
                </c:pt>
                <c:pt idx="3">
                  <c:v>La Vache Qui Rit Nature Fromage Fondu Boite Ronde 1X512Gr 32P</c:v>
                </c:pt>
                <c:pt idx="4">
                  <c:v>Kiri Creme Fromage Blanc Frais Carre 1X216Gr 12P</c:v>
                </c:pt>
                <c:pt idx="5">
                  <c:v>La Vache Qui Rit Nature Fromage Fondu Boite Ronde 1X384Gr 24P</c:v>
                </c:pt>
                <c:pt idx="6">
                  <c:v>Kiri Creme Fromage Blanc Frais Carre 1X144Gr 8P</c:v>
                </c:pt>
                <c:pt idx="7">
                  <c:v>Kiri Gouter Fromage Blanc Dips Boite 1X175Gr 5P</c:v>
                </c:pt>
                <c:pt idx="8">
                  <c:v>Kiri Creme Fromage Blanc Frais Carre 1X432Gr 24P</c:v>
                </c:pt>
                <c:pt idx="9">
                  <c:v>Kiri Gouter Fromage Blanc Dips Boite 1X280Gr 8P</c:v>
                </c:pt>
                <c:pt idx="10">
                  <c:v>La Vache Qui Rit Pik Et Croq' Fromage Fondu Dips Boite 1X175Gr 5P</c:v>
                </c:pt>
                <c:pt idx="11">
                  <c:v>Mini Babybel Rouge Filet St Paulin Ferme 1X440Gr 20P</c:v>
                </c:pt>
                <c:pt idx="12">
                  <c:v>La Vache Qui Rit Allegee Fromage Fondu Boite Ronde Allege 1X267Gr 16P</c:v>
                </c:pt>
                <c:pt idx="13">
                  <c:v>La Vache Qui Rit Pik Et Croq' Fromage Fondu Dips Boite 1X280Gr 8P</c:v>
                </c:pt>
                <c:pt idx="14">
                  <c:v>Babybel Mini Rolls St Paulin Ferme Sachet 1X85Gr 5P</c:v>
                </c:pt>
                <c:pt idx="15">
                  <c:v>Kiri Bio Fromage Blanc Frais Carre 1X144Gr 8P</c:v>
                </c:pt>
                <c:pt idx="16">
                  <c:v>Mini Babybel Aros St Paulin Ferme Assortis Filet 1X180Gr 9P</c:v>
                </c:pt>
                <c:pt idx="17">
                  <c:v>Kiri Creme Fromage Blanc Frais Carre 1X432Gr 18+6P</c:v>
                </c:pt>
                <c:pt idx="18">
                  <c:v>La Vache Qui Rit Aro Fromage Fondu Boite Ronde Jambon 1X133Gr 8P</c:v>
                </c:pt>
                <c:pt idx="19">
                  <c:v>Kiri Chevre Fromage Blanc Frais Carre 1X144Gr 8P</c:v>
                </c:pt>
                <c:pt idx="20">
                  <c:v>Mini Babybel Rouge Filet St Paulin Ferme 1X396Gr 12+6P</c:v>
                </c:pt>
                <c:pt idx="21">
                  <c:v>Mini Babybel Aros Soft Cheese Enfant 180G</c:v>
                </c:pt>
                <c:pt idx="22">
                  <c:v>Mini Babybel Aros St Paulin Ferme Raclette Filet 1X132Gr 6P</c:v>
                </c:pt>
                <c:pt idx="23">
                  <c:v>Mini Babybel Rouge Filet St Paulin Ferme Sachet 1X40Gr 1P</c:v>
                </c:pt>
                <c:pt idx="24">
                  <c:v>Mini Babybel Aros Soft Cheese Enfant 110G</c:v>
                </c:pt>
                <c:pt idx="25">
                  <c:v>Mini Babybel Bio St Paulin Ferme Filet 1X100Gr 5P</c:v>
                </c:pt>
                <c:pt idx="26">
                  <c:v>La Vache Qui Rit Nature Fromage Fondu Boite Ronde 1X128Gr 8P</c:v>
                </c:pt>
              </c:strCache>
            </c:strRef>
          </c:cat>
          <c:val>
            <c:numRef>
              <c:f>Sheet1!$D$2:$D$28</c:f>
              <c:numCache>
                <c:formatCode>General</c:formatCode>
                <c:ptCount val="27"/>
                <c:pt idx="0">
                  <c:v>11366.03409090909</c:v>
                </c:pt>
                <c:pt idx="1">
                  <c:v>8872.0612244897966</c:v>
                </c:pt>
                <c:pt idx="2">
                  <c:v>8407.5918367346931</c:v>
                </c:pt>
                <c:pt idx="3">
                  <c:v>8935.823529411764</c:v>
                </c:pt>
                <c:pt idx="4">
                  <c:v>6595.7294117647061</c:v>
                </c:pt>
                <c:pt idx="5">
                  <c:v>7117.838235294118</c:v>
                </c:pt>
                <c:pt idx="6">
                  <c:v>4358.739130434783</c:v>
                </c:pt>
                <c:pt idx="7">
                  <c:v>3563.9444444444443</c:v>
                </c:pt>
                <c:pt idx="8">
                  <c:v>5199.8076923076924</c:v>
                </c:pt>
                <c:pt idx="9">
                  <c:v>3449.8529411764707</c:v>
                </c:pt>
                <c:pt idx="10">
                  <c:v>2128.3658536585367</c:v>
                </c:pt>
                <c:pt idx="11">
                  <c:v>2525.4102564102564</c:v>
                </c:pt>
                <c:pt idx="12">
                  <c:v>1845.32</c:v>
                </c:pt>
                <c:pt idx="13">
                  <c:v>1563.2619047619048</c:v>
                </c:pt>
                <c:pt idx="14">
                  <c:v>1481.2926829268292</c:v>
                </c:pt>
                <c:pt idx="15">
                  <c:v>1752.7741935483871</c:v>
                </c:pt>
                <c:pt idx="16">
                  <c:v>1181.3611111111111</c:v>
                </c:pt>
                <c:pt idx="17">
                  <c:v>593.88135593220341</c:v>
                </c:pt>
                <c:pt idx="18">
                  <c:v>985.5151515151515</c:v>
                </c:pt>
                <c:pt idx="19">
                  <c:v>829.63157894736844</c:v>
                </c:pt>
                <c:pt idx="20">
                  <c:v>398.13698630136986</c:v>
                </c:pt>
                <c:pt idx="21">
                  <c:v>923.5</c:v>
                </c:pt>
                <c:pt idx="22">
                  <c:v>657.72413793103453</c:v>
                </c:pt>
                <c:pt idx="23">
                  <c:v>555</c:v>
                </c:pt>
                <c:pt idx="24">
                  <c:v>358.84210526315792</c:v>
                </c:pt>
                <c:pt idx="25">
                  <c:v>64.2</c:v>
                </c:pt>
                <c:pt idx="26">
                  <c:v>1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Kiri Delicieusement Fouette Fromage Frais A Tartiner 1X125Gr 1P</c:v>
                </c:pt>
                <c:pt idx="5">
                  <c:v>Boursin Classique Fromage Frais A Tartiner Ciboulette &amp; Echalote Boite 1X150Gr 1P</c:v>
                </c:pt>
                <c:pt idx="6">
                  <c:v>Boursin Onctueux Fromage Frais A Tartiner Afh 1X125Gr 1P</c:v>
                </c:pt>
                <c:pt idx="7">
                  <c:v>Kiri Delicieusement Fouette Fromage Frais A Tartiner 1X210Gr 1P</c:v>
                </c:pt>
                <c:pt idx="8">
                  <c:v>Boursin Classique Fromage Frais A Tartiner Figue Et 3 Noix Boite 1X150Gr 1P</c:v>
                </c:pt>
                <c:pt idx="9">
                  <c:v>Kiri Delicieusement Fouette Fromage Frais A Tartiner 1X160Gr 10P</c:v>
                </c:pt>
                <c:pt idx="10">
                  <c:v>Boursin Classique Fromage Frais A Tartiner Afh Boite 1X80Gr 1P</c:v>
                </c:pt>
                <c:pt idx="11">
                  <c:v>Boursin Classique Fromage Frais A Tartiner Afh 1X256Gr 16P</c:v>
                </c:pt>
                <c:pt idx="12">
                  <c:v>Boursin Classique Fromage Frais A Tartiner 3 Noix Boite 1X150Gr 1P</c:v>
                </c:pt>
                <c:pt idx="13">
                  <c:v>Boursin Classique Fromage Frais A Tartiner Poivre Boite 1X150Gr 1P</c:v>
                </c:pt>
                <c:pt idx="14">
                  <c:v>Boursin Onctueux Fromage Frais A Tartiner Afh 1X210Gr 1P</c:v>
                </c:pt>
                <c:pt idx="15">
                  <c:v>Boursin Classique Fromage Frais A Tartiner Truffe Boite 1X150Gr 1P</c:v>
                </c:pt>
                <c:pt idx="16">
                  <c:v>Boursin Classique Fromage Frais A Tartiner Afh Boite 1X320Gr 16+4P</c:v>
                </c:pt>
                <c:pt idx="17">
                  <c:v>Boursin Classique Fromage Frais A Tartiner 3 Noix 1X160Gr 10P</c:v>
                </c:pt>
                <c:pt idx="18">
                  <c:v>Boursin Classique Fromage Frais A Tartiner Citron &amp; Romarin Boite 1X150Gr 1P</c:v>
                </c:pt>
                <c:pt idx="19">
                  <c:v>Boursin Classique Fromage Frais A Tartiner Ciboulette &amp; Echalote 1X160Gr 10P</c:v>
                </c:pt>
              </c:strCache>
            </c:strRef>
          </c:cat>
          <c:val>
            <c:numRef>
              <c:f>Sheet1!$B$2:$B$21</c:f>
              <c:numCache>
                <c:formatCode>General</c:formatCode>
                <c:ptCount val="20"/>
                <c:pt idx="0">
                  <c:v>0.96799999999999997</c:v>
                </c:pt>
                <c:pt idx="1">
                  <c:v>0.91500000000000004</c:v>
                </c:pt>
                <c:pt idx="2">
                  <c:v>0.81699999999999995</c:v>
                </c:pt>
                <c:pt idx="3">
                  <c:v>0.82099999999999995</c:v>
                </c:pt>
                <c:pt idx="4">
                  <c:v>0.77400000000000002</c:v>
                </c:pt>
                <c:pt idx="5">
                  <c:v>0.79300000000000004</c:v>
                </c:pt>
                <c:pt idx="6">
                  <c:v>0.77400000000000002</c:v>
                </c:pt>
                <c:pt idx="7">
                  <c:v>0.64300000000000002</c:v>
                </c:pt>
                <c:pt idx="8">
                  <c:v>0.69399999999999995</c:v>
                </c:pt>
                <c:pt idx="9">
                  <c:v>0.68899999999999995</c:v>
                </c:pt>
                <c:pt idx="10">
                  <c:v>0.44700000000000001</c:v>
                </c:pt>
                <c:pt idx="11">
                  <c:v>0.26500000000000001</c:v>
                </c:pt>
                <c:pt idx="12">
                  <c:v>0.53700000000000003</c:v>
                </c:pt>
                <c:pt idx="13">
                  <c:v>0.40200000000000002</c:v>
                </c:pt>
                <c:pt idx="14">
                  <c:v>0.28100000000000003</c:v>
                </c:pt>
                <c:pt idx="15">
                  <c:v>0.51100000000000001</c:v>
                </c:pt>
                <c:pt idx="16">
                  <c:v>0.52800000000000002</c:v>
                </c:pt>
                <c:pt idx="17">
                  <c:v>0.379</c:v>
                </c:pt>
                <c:pt idx="18">
                  <c:v>0.32400000000000001</c:v>
                </c:pt>
                <c:pt idx="19">
                  <c:v>7.499999999999999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Kiri Delicieusement Fouette Fromage Frais A Tartiner 1X125Gr 1P</c:v>
                </c:pt>
                <c:pt idx="5">
                  <c:v>Boursin Classique Fromage Frais A Tartiner Ciboulette &amp; Echalote Boite 1X150Gr 1P</c:v>
                </c:pt>
                <c:pt idx="6">
                  <c:v>Boursin Onctueux Fromage Frais A Tartiner Afh 1X125Gr 1P</c:v>
                </c:pt>
                <c:pt idx="7">
                  <c:v>Kiri Delicieusement Fouette Fromage Frais A Tartiner 1X210Gr 1P</c:v>
                </c:pt>
                <c:pt idx="8">
                  <c:v>Boursin Classique Fromage Frais A Tartiner Figue Et 3 Noix Boite 1X150Gr 1P</c:v>
                </c:pt>
                <c:pt idx="9">
                  <c:v>Kiri Delicieusement Fouette Fromage Frais A Tartiner 1X160Gr 10P</c:v>
                </c:pt>
                <c:pt idx="10">
                  <c:v>Boursin Classique Fromage Frais A Tartiner Afh Boite 1X80Gr 1P</c:v>
                </c:pt>
                <c:pt idx="11">
                  <c:v>Boursin Classique Fromage Frais A Tartiner Afh 1X256Gr 16P</c:v>
                </c:pt>
                <c:pt idx="12">
                  <c:v>Boursin Classique Fromage Frais A Tartiner 3 Noix Boite 1X150Gr 1P</c:v>
                </c:pt>
                <c:pt idx="13">
                  <c:v>Boursin Classique Fromage Frais A Tartiner Poivre Boite 1X150Gr 1P</c:v>
                </c:pt>
                <c:pt idx="14">
                  <c:v>Boursin Onctueux Fromage Frais A Tartiner Afh 1X210Gr 1P</c:v>
                </c:pt>
                <c:pt idx="15">
                  <c:v>Boursin Classique Fromage Frais A Tartiner Truffe Boite 1X150Gr 1P</c:v>
                </c:pt>
                <c:pt idx="16">
                  <c:v>Boursin Classique Fromage Frais A Tartiner Afh Boite 1X320Gr 16+4P</c:v>
                </c:pt>
                <c:pt idx="17">
                  <c:v>Boursin Classique Fromage Frais A Tartiner 3 Noix 1X160Gr 10P</c:v>
                </c:pt>
                <c:pt idx="18">
                  <c:v>Boursin Classique Fromage Frais A Tartiner Citron &amp; Romarin Boite 1X150Gr 1P</c:v>
                </c:pt>
                <c:pt idx="19">
                  <c:v>Boursin Classique Fromage Frais A Tartiner Ciboulette &amp; Echalote 1X160Gr 10P</c:v>
                </c:pt>
              </c:strCache>
            </c:strRef>
          </c:cat>
          <c:val>
            <c:numRef>
              <c:f>Sheet1!$C$2:$C$21</c:f>
              <c:numCache>
                <c:formatCode>General</c:formatCode>
                <c:ptCount val="20"/>
                <c:pt idx="0">
                  <c:v>0.24643162654371875</c:v>
                </c:pt>
                <c:pt idx="1">
                  <c:v>0.48666394332076213</c:v>
                </c:pt>
                <c:pt idx="2">
                  <c:v>0.63968045494667936</c:v>
                </c:pt>
                <c:pt idx="3">
                  <c:v>0.71031568045436655</c:v>
                </c:pt>
                <c:pt idx="4">
                  <c:v>0.76245564593254944</c:v>
                </c:pt>
                <c:pt idx="5">
                  <c:v>0.81242955082629187</c:v>
                </c:pt>
                <c:pt idx="6">
                  <c:v>0.85544775765527747</c:v>
                </c:pt>
                <c:pt idx="7">
                  <c:v>0.89004817189968166</c:v>
                </c:pt>
                <c:pt idx="8">
                  <c:v>0.9221505180810301</c:v>
                </c:pt>
                <c:pt idx="9">
                  <c:v>0.95019568791964071</c:v>
                </c:pt>
                <c:pt idx="10">
                  <c:v>0.96046174489325509</c:v>
                </c:pt>
                <c:pt idx="11">
                  <c:v>0.96961120104339815</c:v>
                </c:pt>
                <c:pt idx="12">
                  <c:v>0.97655065764163174</c:v>
                </c:pt>
                <c:pt idx="13">
                  <c:v>0.98286271508885892</c:v>
                </c:pt>
                <c:pt idx="14">
                  <c:v>0.98746405306667162</c:v>
                </c:pt>
                <c:pt idx="15">
                  <c:v>0.99100947820083407</c:v>
                </c:pt>
                <c:pt idx="16">
                  <c:v>0.99450262611462492</c:v>
                </c:pt>
                <c:pt idx="17">
                  <c:v>0.99781247747765378</c:v>
                </c:pt>
                <c:pt idx="18">
                  <c:v>0.99899317408865429</c:v>
                </c:pt>
                <c:pt idx="19">
                  <c:v>0.9999941994762416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1</c:f>
              <c:strCache>
                <c:ptCount val="20"/>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Kiri Delicieusement Fouette Fromage Frais A Tartiner 1X125Gr 1P</c:v>
                </c:pt>
                <c:pt idx="5">
                  <c:v>Boursin Classique Fromage Frais A Tartiner Ciboulette &amp; Echalote Boite 1X150Gr 1P</c:v>
                </c:pt>
                <c:pt idx="6">
                  <c:v>Boursin Onctueux Fromage Frais A Tartiner Afh 1X125Gr 1P</c:v>
                </c:pt>
                <c:pt idx="7">
                  <c:v>Kiri Delicieusement Fouette Fromage Frais A Tartiner 1X210Gr 1P</c:v>
                </c:pt>
                <c:pt idx="8">
                  <c:v>Boursin Classique Fromage Frais A Tartiner Figue Et 3 Noix Boite 1X150Gr 1P</c:v>
                </c:pt>
                <c:pt idx="9">
                  <c:v>Kiri Delicieusement Fouette Fromage Frais A Tartiner 1X160Gr 10P</c:v>
                </c:pt>
                <c:pt idx="10">
                  <c:v>Boursin Classique Fromage Frais A Tartiner Afh Boite 1X80Gr 1P</c:v>
                </c:pt>
                <c:pt idx="11">
                  <c:v>Boursin Classique Fromage Frais A Tartiner Afh 1X256Gr 16P</c:v>
                </c:pt>
                <c:pt idx="12">
                  <c:v>Boursin Classique Fromage Frais A Tartiner 3 Noix Boite 1X150Gr 1P</c:v>
                </c:pt>
                <c:pt idx="13">
                  <c:v>Boursin Classique Fromage Frais A Tartiner Poivre Boite 1X150Gr 1P</c:v>
                </c:pt>
                <c:pt idx="14">
                  <c:v>Boursin Onctueux Fromage Frais A Tartiner Afh 1X210Gr 1P</c:v>
                </c:pt>
                <c:pt idx="15">
                  <c:v>Boursin Classique Fromage Frais A Tartiner Truffe Boite 1X150Gr 1P</c:v>
                </c:pt>
                <c:pt idx="16">
                  <c:v>Boursin Classique Fromage Frais A Tartiner Afh Boite 1X320Gr 16+4P</c:v>
                </c:pt>
                <c:pt idx="17">
                  <c:v>Boursin Classique Fromage Frais A Tartiner 3 Noix 1X160Gr 10P</c:v>
                </c:pt>
                <c:pt idx="18">
                  <c:v>Boursin Classique Fromage Frais A Tartiner Citron &amp; Romarin Boite 1X150Gr 1P</c:v>
                </c:pt>
                <c:pt idx="19">
                  <c:v>Boursin Classique Fromage Frais A Tartiner Ciboulette &amp; Echalote 1X160Gr 10P</c:v>
                </c:pt>
              </c:strCache>
            </c:strRef>
          </c:cat>
          <c:val>
            <c:numRef>
              <c:f>Sheet1!$D$2:$D$21</c:f>
              <c:numCache>
                <c:formatCode>General</c:formatCode>
                <c:ptCount val="20"/>
                <c:pt idx="0">
                  <c:v>35111.053719008269</c:v>
                </c:pt>
                <c:pt idx="1">
                  <c:v>36210.382513661199</c:v>
                </c:pt>
                <c:pt idx="2">
                  <c:v>25830.86903304774</c:v>
                </c:pt>
                <c:pt idx="3">
                  <c:v>11865.907429963459</c:v>
                </c:pt>
                <c:pt idx="4">
                  <c:v>9290.7881136950891</c:v>
                </c:pt>
                <c:pt idx="5">
                  <c:v>8691.4627994955863</c:v>
                </c:pt>
                <c:pt idx="6">
                  <c:v>7665.3875968992243</c:v>
                </c:pt>
                <c:pt idx="7">
                  <c:v>7421.5241057542771</c:v>
                </c:pt>
                <c:pt idx="8">
                  <c:v>6379.6974063400585</c:v>
                </c:pt>
                <c:pt idx="9">
                  <c:v>5613.8606676342533</c:v>
                </c:pt>
                <c:pt idx="10">
                  <c:v>3167.5167785234898</c:v>
                </c:pt>
                <c:pt idx="11">
                  <c:v>4761.8113207547167</c:v>
                </c:pt>
                <c:pt idx="12">
                  <c:v>1782.2718808193667</c:v>
                </c:pt>
                <c:pt idx="13">
                  <c:v>2165.5472636815921</c:v>
                </c:pt>
                <c:pt idx="14">
                  <c:v>2258.3985765124553</c:v>
                </c:pt>
                <c:pt idx="15">
                  <c:v>956.90802348336592</c:v>
                </c:pt>
                <c:pt idx="16">
                  <c:v>912.44318181818176</c:v>
                </c:pt>
                <c:pt idx="17">
                  <c:v>1204.4591029023748</c:v>
                </c:pt>
                <c:pt idx="18">
                  <c:v>502.59259259259261</c:v>
                </c:pt>
                <c:pt idx="19">
                  <c:v>1840.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B$2:$B$16</c:f>
              <c:numCache>
                <c:formatCode>General</c:formatCode>
                <c:ptCount val="15"/>
                <c:pt idx="0">
                  <c:v>0.98</c:v>
                </c:pt>
                <c:pt idx="1">
                  <c:v>0.98099999999999998</c:v>
                </c:pt>
                <c:pt idx="2">
                  <c:v>0.998</c:v>
                </c:pt>
                <c:pt idx="3">
                  <c:v>0.95399999999999996</c:v>
                </c:pt>
                <c:pt idx="4">
                  <c:v>0.93899999999999995</c:v>
                </c:pt>
                <c:pt idx="5">
                  <c:v>0.98</c:v>
                </c:pt>
                <c:pt idx="6">
                  <c:v>0.97299999999999998</c:v>
                </c:pt>
                <c:pt idx="7">
                  <c:v>0.86</c:v>
                </c:pt>
                <c:pt idx="8">
                  <c:v>0.94</c:v>
                </c:pt>
                <c:pt idx="9">
                  <c:v>0.83699999999999997</c:v>
                </c:pt>
                <c:pt idx="10">
                  <c:v>0.80800000000000005</c:v>
                </c:pt>
                <c:pt idx="11">
                  <c:v>0.89500000000000002</c:v>
                </c:pt>
                <c:pt idx="12">
                  <c:v>0.32500000000000001</c:v>
                </c:pt>
                <c:pt idx="13">
                  <c:v>0.68700000000000006</c:v>
                </c:pt>
                <c:pt idx="14">
                  <c:v>0.37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C$2:$C$16</c:f>
              <c:numCache>
                <c:formatCode>General</c:formatCode>
                <c:ptCount val="15"/>
                <c:pt idx="0">
                  <c:v>0.18420609660967638</c:v>
                </c:pt>
                <c:pt idx="1">
                  <c:v>0.36654133269575895</c:v>
                </c:pt>
                <c:pt idx="2">
                  <c:v>0.53203024895449436</c:v>
                </c:pt>
                <c:pt idx="3">
                  <c:v>0.61236273654741702</c:v>
                </c:pt>
                <c:pt idx="4">
                  <c:v>0.68488234908455925</c:v>
                </c:pt>
                <c:pt idx="5">
                  <c:v>0.75309873934330962</c:v>
                </c:pt>
                <c:pt idx="6">
                  <c:v>0.80982974210442915</c:v>
                </c:pt>
                <c:pt idx="7">
                  <c:v>0.85921977121728221</c:v>
                </c:pt>
                <c:pt idx="8">
                  <c:v>0.90510264581459787</c:v>
                </c:pt>
                <c:pt idx="9">
                  <c:v>0.93980174739237177</c:v>
                </c:pt>
                <c:pt idx="10">
                  <c:v>0.97149564252492715</c:v>
                </c:pt>
                <c:pt idx="11">
                  <c:v>0.98979115678774043</c:v>
                </c:pt>
                <c:pt idx="12">
                  <c:v>0.99578387928344736</c:v>
                </c:pt>
                <c:pt idx="13">
                  <c:v>0.9987909087846113</c:v>
                </c:pt>
                <c:pt idx="14">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D$2:$D$16</c:f>
              <c:numCache>
                <c:formatCode>General</c:formatCode>
                <c:ptCount val="15"/>
                <c:pt idx="0">
                  <c:v>27838.234693877552</c:v>
                </c:pt>
                <c:pt idx="1">
                  <c:v>27527.410805300715</c:v>
                </c:pt>
                <c:pt idx="2">
                  <c:v>24558.517034068136</c:v>
                </c:pt>
                <c:pt idx="3">
                  <c:v>12471.153039832287</c:v>
                </c:pt>
                <c:pt idx="4">
                  <c:v>11438.093716719915</c:v>
                </c:pt>
                <c:pt idx="5">
                  <c:v>10309.234693877552</c:v>
                </c:pt>
                <c:pt idx="6">
                  <c:v>8635.1798561151081</c:v>
                </c:pt>
                <c:pt idx="7">
                  <c:v>8505.5930232558148</c:v>
                </c:pt>
                <c:pt idx="8">
                  <c:v>7229.1382978723404</c:v>
                </c:pt>
                <c:pt idx="9">
                  <c:v>6139.8327359617679</c:v>
                </c:pt>
                <c:pt idx="10">
                  <c:v>5809.3564356435636</c:v>
                </c:pt>
                <c:pt idx="11">
                  <c:v>3027.5083798882683</c:v>
                </c:pt>
                <c:pt idx="12">
                  <c:v>2730.8923076923079</c:v>
                </c:pt>
                <c:pt idx="13">
                  <c:v>648.25327510917032</c:v>
                </c:pt>
                <c:pt idx="14">
                  <c:v>481.3709677419354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1</c:f>
              <c:strCache>
                <c:ptCount val="20"/>
                <c:pt idx="0">
                  <c:v>Boursin Classique Fromage Frais A Tartiner Afh 1X160Gr 10P</c:v>
                </c:pt>
                <c:pt idx="1">
                  <c:v>Boursin Classique Fromage Frais A Tartiner Afh Boite 1X250Gr 1P</c:v>
                </c:pt>
                <c:pt idx="2">
                  <c:v>Boursin Classique Fromage Frais A Tartiner Afh Boite 1X150Gr 1P</c:v>
                </c:pt>
                <c:pt idx="3">
                  <c:v>Boursin Classique Fromage Frais A Tartiner Afh Boite 1X96Gr 6P</c:v>
                </c:pt>
                <c:pt idx="4">
                  <c:v>Boursin Classique Fromage Frais A Tartiner Figue Et 3 Noix Boite 1X150Gr 1P</c:v>
                </c:pt>
                <c:pt idx="5">
                  <c:v>Kiri Delicieusement Fouette Fromage Frais A Tartiner 1X210Gr 1P</c:v>
                </c:pt>
                <c:pt idx="6">
                  <c:v>Boursin Classique Fromage Frais A Tartiner Ciboulette &amp; Echalote Boite 1X150Gr 1P</c:v>
                </c:pt>
                <c:pt idx="7">
                  <c:v>Boursin Onctueux Fromage Frais A Tartiner Afh 1X125Gr 1P</c:v>
                </c:pt>
                <c:pt idx="8">
                  <c:v>Kiri Delicieusement Fouette Fromage Frais A Tartiner 1X125Gr 1P</c:v>
                </c:pt>
                <c:pt idx="9">
                  <c:v>Boursin Classique Fromage Frais A Tartiner Afh 1X256Gr 16P</c:v>
                </c:pt>
                <c:pt idx="10">
                  <c:v>Kiri Delicieusement Fouette Fromage Frais A Tartiner 1X160Gr 10P</c:v>
                </c:pt>
                <c:pt idx="11">
                  <c:v>Boursin Classique Fromage Frais A Tartiner Afh Boite 1X80Gr 1P</c:v>
                </c:pt>
                <c:pt idx="12">
                  <c:v>Boursin Classique Fromage Frais A Tartiner Poivre Boite 1X150Gr 1P</c:v>
                </c:pt>
                <c:pt idx="13">
                  <c:v>Boursin Onctueux Fromage Frais A Tartiner Afh 1X210Gr 1P</c:v>
                </c:pt>
                <c:pt idx="14">
                  <c:v>Boursin Classique Fromage Frais A Tartiner 3 Noix Boite 1X150Gr 1P</c:v>
                </c:pt>
                <c:pt idx="15">
                  <c:v>Boursin Classique Fromage Frais A Tartiner Truffe Boite 1X150Gr 1P</c:v>
                </c:pt>
                <c:pt idx="16">
                  <c:v>Boursin Classique Fromage Frais A Tartiner Afh Boite 1X320Gr 16+4P</c:v>
                </c:pt>
                <c:pt idx="17">
                  <c:v>Boursin Classique Fromage Frais A Tartiner 3 Noix 1X160Gr 10P</c:v>
                </c:pt>
                <c:pt idx="18">
                  <c:v>Boursin Classique Fromage Frais A Tartiner Citron &amp; Romarin Boite 1X150Gr 1P</c:v>
                </c:pt>
                <c:pt idx="19">
                  <c:v>Boursin Classique Fromage Frais A Tartiner Ciboulette &amp; Echalote 1X160Gr 10P</c:v>
                </c:pt>
              </c:strCache>
            </c:strRef>
          </c:cat>
          <c:val>
            <c:numRef>
              <c:f>Sheet1!$B$2:$B$21</c:f>
              <c:numCache>
                <c:formatCode>General</c:formatCode>
                <c:ptCount val="20"/>
                <c:pt idx="0">
                  <c:v>1</c:v>
                </c:pt>
                <c:pt idx="1">
                  <c:v>1</c:v>
                </c:pt>
                <c:pt idx="2">
                  <c:v>1</c:v>
                </c:pt>
                <c:pt idx="3">
                  <c:v>1</c:v>
                </c:pt>
                <c:pt idx="4">
                  <c:v>0.98</c:v>
                </c:pt>
                <c:pt idx="5">
                  <c:v>0.96</c:v>
                </c:pt>
                <c:pt idx="6">
                  <c:v>0.97</c:v>
                </c:pt>
                <c:pt idx="7">
                  <c:v>0.99</c:v>
                </c:pt>
                <c:pt idx="8">
                  <c:v>0.98</c:v>
                </c:pt>
                <c:pt idx="9">
                  <c:v>0.57999999999999996</c:v>
                </c:pt>
                <c:pt idx="10">
                  <c:v>0.89</c:v>
                </c:pt>
                <c:pt idx="11">
                  <c:v>0.94</c:v>
                </c:pt>
                <c:pt idx="12">
                  <c:v>0.88</c:v>
                </c:pt>
                <c:pt idx="13">
                  <c:v>0.59</c:v>
                </c:pt>
                <c:pt idx="14">
                  <c:v>0.67</c:v>
                </c:pt>
                <c:pt idx="15">
                  <c:v>0.66</c:v>
                </c:pt>
                <c:pt idx="16">
                  <c:v>0.85</c:v>
                </c:pt>
                <c:pt idx="17">
                  <c:v>0.49</c:v>
                </c:pt>
                <c:pt idx="18">
                  <c:v>0.71</c:v>
                </c:pt>
                <c:pt idx="19">
                  <c:v>0.14000000000000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1</c:f>
              <c:strCache>
                <c:ptCount val="20"/>
                <c:pt idx="0">
                  <c:v>Boursin Classique Fromage Frais A Tartiner Afh 1X160Gr 10P</c:v>
                </c:pt>
                <c:pt idx="1">
                  <c:v>Boursin Classique Fromage Frais A Tartiner Afh Boite 1X250Gr 1P</c:v>
                </c:pt>
                <c:pt idx="2">
                  <c:v>Boursin Classique Fromage Frais A Tartiner Afh Boite 1X150Gr 1P</c:v>
                </c:pt>
                <c:pt idx="3">
                  <c:v>Boursin Classique Fromage Frais A Tartiner Afh Boite 1X96Gr 6P</c:v>
                </c:pt>
                <c:pt idx="4">
                  <c:v>Boursin Classique Fromage Frais A Tartiner Figue Et 3 Noix Boite 1X150Gr 1P</c:v>
                </c:pt>
                <c:pt idx="5">
                  <c:v>Kiri Delicieusement Fouette Fromage Frais A Tartiner 1X210Gr 1P</c:v>
                </c:pt>
                <c:pt idx="6">
                  <c:v>Boursin Classique Fromage Frais A Tartiner Ciboulette &amp; Echalote Boite 1X150Gr 1P</c:v>
                </c:pt>
                <c:pt idx="7">
                  <c:v>Boursin Onctueux Fromage Frais A Tartiner Afh 1X125Gr 1P</c:v>
                </c:pt>
                <c:pt idx="8">
                  <c:v>Kiri Delicieusement Fouette Fromage Frais A Tartiner 1X125Gr 1P</c:v>
                </c:pt>
                <c:pt idx="9">
                  <c:v>Boursin Classique Fromage Frais A Tartiner Afh 1X256Gr 16P</c:v>
                </c:pt>
                <c:pt idx="10">
                  <c:v>Kiri Delicieusement Fouette Fromage Frais A Tartiner 1X160Gr 10P</c:v>
                </c:pt>
                <c:pt idx="11">
                  <c:v>Boursin Classique Fromage Frais A Tartiner Afh Boite 1X80Gr 1P</c:v>
                </c:pt>
                <c:pt idx="12">
                  <c:v>Boursin Classique Fromage Frais A Tartiner Poivre Boite 1X150Gr 1P</c:v>
                </c:pt>
                <c:pt idx="13">
                  <c:v>Boursin Onctueux Fromage Frais A Tartiner Afh 1X210Gr 1P</c:v>
                </c:pt>
                <c:pt idx="14">
                  <c:v>Boursin Classique Fromage Frais A Tartiner 3 Noix Boite 1X150Gr 1P</c:v>
                </c:pt>
                <c:pt idx="15">
                  <c:v>Boursin Classique Fromage Frais A Tartiner Truffe Boite 1X150Gr 1P</c:v>
                </c:pt>
                <c:pt idx="16">
                  <c:v>Boursin Classique Fromage Frais A Tartiner Afh Boite 1X320Gr 16+4P</c:v>
                </c:pt>
                <c:pt idx="17">
                  <c:v>Boursin Classique Fromage Frais A Tartiner 3 Noix 1X160Gr 10P</c:v>
                </c:pt>
                <c:pt idx="18">
                  <c:v>Boursin Classique Fromage Frais A Tartiner Citron &amp; Romarin Boite 1X150Gr 1P</c:v>
                </c:pt>
                <c:pt idx="19">
                  <c:v>Boursin Classique Fromage Frais A Tartiner Ciboulette &amp; Echalote 1X160Gr 10P</c:v>
                </c:pt>
              </c:strCache>
            </c:strRef>
          </c:cat>
          <c:val>
            <c:numRef>
              <c:f>Sheet1!$C$2:$C$21</c:f>
              <c:numCache>
                <c:formatCode>General</c:formatCode>
                <c:ptCount val="20"/>
                <c:pt idx="0">
                  <c:v>0.23103812533618048</c:v>
                </c:pt>
                <c:pt idx="1">
                  <c:v>0.41743795901488312</c:v>
                </c:pt>
                <c:pt idx="2">
                  <c:v>0.57486903331251082</c:v>
                </c:pt>
                <c:pt idx="3">
                  <c:v>0.64411921765518709</c:v>
                </c:pt>
                <c:pt idx="4">
                  <c:v>0.70398873186163602</c:v>
                </c:pt>
                <c:pt idx="5">
                  <c:v>0.75732278410711928</c:v>
                </c:pt>
                <c:pt idx="6">
                  <c:v>0.80986910941357182</c:v>
                </c:pt>
                <c:pt idx="7">
                  <c:v>0.85247760766761915</c:v>
                </c:pt>
                <c:pt idx="8">
                  <c:v>0.88780679656955852</c:v>
                </c:pt>
                <c:pt idx="9">
                  <c:v>0.90823717883328337</c:v>
                </c:pt>
                <c:pt idx="10">
                  <c:v>0.92845010636337644</c:v>
                </c:pt>
                <c:pt idx="11">
                  <c:v>0.94794752200373122</c:v>
                </c:pt>
                <c:pt idx="12">
                  <c:v>0.96204321957358152</c:v>
                </c:pt>
                <c:pt idx="13">
                  <c:v>0.97183791186460877</c:v>
                </c:pt>
                <c:pt idx="14">
                  <c:v>0.9812943592274479</c:v>
                </c:pt>
                <c:pt idx="15">
                  <c:v>0.98642486607022861</c:v>
                </c:pt>
                <c:pt idx="16">
                  <c:v>0.99101521729767394</c:v>
                </c:pt>
                <c:pt idx="17">
                  <c:v>0.99517988833545601</c:v>
                </c:pt>
                <c:pt idx="18">
                  <c:v>0.99781395654597027</c:v>
                </c:pt>
                <c:pt idx="19">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1</c:f>
              <c:strCache>
                <c:ptCount val="20"/>
                <c:pt idx="0">
                  <c:v>Boursin Classique Fromage Frais A Tartiner Afh 1X160Gr 10P</c:v>
                </c:pt>
                <c:pt idx="1">
                  <c:v>Boursin Classique Fromage Frais A Tartiner Afh Boite 1X250Gr 1P</c:v>
                </c:pt>
                <c:pt idx="2">
                  <c:v>Boursin Classique Fromage Frais A Tartiner Afh Boite 1X150Gr 1P</c:v>
                </c:pt>
                <c:pt idx="3">
                  <c:v>Boursin Classique Fromage Frais A Tartiner Afh Boite 1X96Gr 6P</c:v>
                </c:pt>
                <c:pt idx="4">
                  <c:v>Boursin Classique Fromage Frais A Tartiner Figue Et 3 Noix Boite 1X150Gr 1P</c:v>
                </c:pt>
                <c:pt idx="5">
                  <c:v>Kiri Delicieusement Fouette Fromage Frais A Tartiner 1X210Gr 1P</c:v>
                </c:pt>
                <c:pt idx="6">
                  <c:v>Boursin Classique Fromage Frais A Tartiner Ciboulette &amp; Echalote Boite 1X150Gr 1P</c:v>
                </c:pt>
                <c:pt idx="7">
                  <c:v>Boursin Onctueux Fromage Frais A Tartiner Afh 1X125Gr 1P</c:v>
                </c:pt>
                <c:pt idx="8">
                  <c:v>Kiri Delicieusement Fouette Fromage Frais A Tartiner 1X125Gr 1P</c:v>
                </c:pt>
                <c:pt idx="9">
                  <c:v>Boursin Classique Fromage Frais A Tartiner Afh 1X256Gr 16P</c:v>
                </c:pt>
                <c:pt idx="10">
                  <c:v>Kiri Delicieusement Fouette Fromage Frais A Tartiner 1X160Gr 10P</c:v>
                </c:pt>
                <c:pt idx="11">
                  <c:v>Boursin Classique Fromage Frais A Tartiner Afh Boite 1X80Gr 1P</c:v>
                </c:pt>
                <c:pt idx="12">
                  <c:v>Boursin Classique Fromage Frais A Tartiner Poivre Boite 1X150Gr 1P</c:v>
                </c:pt>
                <c:pt idx="13">
                  <c:v>Boursin Onctueux Fromage Frais A Tartiner Afh 1X210Gr 1P</c:v>
                </c:pt>
                <c:pt idx="14">
                  <c:v>Boursin Classique Fromage Frais A Tartiner 3 Noix Boite 1X150Gr 1P</c:v>
                </c:pt>
                <c:pt idx="15">
                  <c:v>Boursin Classique Fromage Frais A Tartiner Truffe Boite 1X150Gr 1P</c:v>
                </c:pt>
                <c:pt idx="16">
                  <c:v>Boursin Classique Fromage Frais A Tartiner Afh Boite 1X320Gr 16+4P</c:v>
                </c:pt>
                <c:pt idx="17">
                  <c:v>Boursin Classique Fromage Frais A Tartiner 3 Noix 1X160Gr 10P</c:v>
                </c:pt>
                <c:pt idx="18">
                  <c:v>Boursin Classique Fromage Frais A Tartiner Citron &amp; Romarin Boite 1X150Gr 1P</c:v>
                </c:pt>
                <c:pt idx="19">
                  <c:v>Boursin Classique Fromage Frais A Tartiner Ciboulette &amp; Echalote 1X160Gr 10P</c:v>
                </c:pt>
              </c:strCache>
            </c:strRef>
          </c:cat>
          <c:val>
            <c:numRef>
              <c:f>Sheet1!$D$2:$D$21</c:f>
              <c:numCache>
                <c:formatCode>General</c:formatCode>
                <c:ptCount val="20"/>
                <c:pt idx="0">
                  <c:v>14268.91</c:v>
                </c:pt>
                <c:pt idx="1">
                  <c:v>11512.05</c:v>
                </c:pt>
                <c:pt idx="2">
                  <c:v>9722.94</c:v>
                </c:pt>
                <c:pt idx="3">
                  <c:v>4276.8900000000003</c:v>
                </c:pt>
                <c:pt idx="4">
                  <c:v>3773</c:v>
                </c:pt>
                <c:pt idx="5">
                  <c:v>3431.15625</c:v>
                </c:pt>
                <c:pt idx="6">
                  <c:v>3345.6288659793813</c:v>
                </c:pt>
                <c:pt idx="7">
                  <c:v>2658.0808080808079</c:v>
                </c:pt>
                <c:pt idx="8">
                  <c:v>2226.4591836734694</c:v>
                </c:pt>
                <c:pt idx="9">
                  <c:v>2175.4827586206898</c:v>
                </c:pt>
                <c:pt idx="10">
                  <c:v>1402.6404494382023</c:v>
                </c:pt>
                <c:pt idx="11">
                  <c:v>1281.0212765957447</c:v>
                </c:pt>
                <c:pt idx="12">
                  <c:v>989.26136363636363</c:v>
                </c:pt>
                <c:pt idx="13">
                  <c:v>1025.2881355932204</c:v>
                </c:pt>
                <c:pt idx="14">
                  <c:v>871.68656716417911</c:v>
                </c:pt>
                <c:pt idx="15">
                  <c:v>480.09090909090907</c:v>
                </c:pt>
                <c:pt idx="16">
                  <c:v>333.52941176470586</c:v>
                </c:pt>
                <c:pt idx="17">
                  <c:v>524.91836734693879</c:v>
                </c:pt>
                <c:pt idx="18">
                  <c:v>229.12676056338029</c:v>
                </c:pt>
                <c:pt idx="19">
                  <c:v>964.3571428571427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7</c:f>
              <c:strCache>
                <c:ptCount val="16"/>
                <c:pt idx="0">
                  <c:v>Boursin Classique Fromage Frais A Tartiner Afh 1X160Gr 10P</c:v>
                </c:pt>
                <c:pt idx="1">
                  <c:v>Boursin Classique Fromage Frais A Tartiner Afh Boite 1X150Gr 1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Kiri Delicieusement Fouette Fromage Frais A Tartiner 1X160Gr 10P</c:v>
                </c:pt>
                <c:pt idx="7">
                  <c:v>Kiri Delicieusement Fouette Fromage Frais A Tartiner 1X210Gr 1P</c:v>
                </c:pt>
                <c:pt idx="8">
                  <c:v>Kiri Delicieusement Fouette Fromage Frais A Tartiner 1X125Gr 1P</c:v>
                </c:pt>
                <c:pt idx="9">
                  <c:v>Boursin Classique Fromage Frais A Tartiner Figue Et 3 Noix Boite 1X150Gr 1P</c:v>
                </c:pt>
                <c:pt idx="10">
                  <c:v>Boursin Classique Fromage Frais A Tartiner 3 Noix Boite 1X150Gr 1P</c:v>
                </c:pt>
                <c:pt idx="11">
                  <c:v>Boursin Classique Fromage Frais A Tartiner 3 Noix 1X160Gr 10P</c:v>
                </c:pt>
                <c:pt idx="12">
                  <c:v>Boursin Classique Fromage Frais A Tartiner Afh Boite 1X320Gr 16+4P</c:v>
                </c:pt>
                <c:pt idx="13">
                  <c:v>Boursin Classique Fromage Frais A Tartiner Truffe Boite 1X150Gr 1P</c:v>
                </c:pt>
                <c:pt idx="14">
                  <c:v>Boursin Onctueux Fromage Frais A Tartiner Afh 1X210Gr 1P</c:v>
                </c:pt>
                <c:pt idx="15">
                  <c:v>Boursin Classique Fromage Frais A Tartiner Ciboulette &amp; Echalote 1X160Gr 10P</c:v>
                </c:pt>
              </c:strCache>
            </c:strRef>
          </c:cat>
          <c:val>
            <c:numRef>
              <c:f>Sheet1!$B$2:$B$17</c:f>
              <c:numCache>
                <c:formatCode>General</c:formatCode>
                <c:ptCount val="16"/>
                <c:pt idx="0">
                  <c:v>0.98</c:v>
                </c:pt>
                <c:pt idx="1">
                  <c:v>0.99</c:v>
                </c:pt>
                <c:pt idx="2">
                  <c:v>0.95</c:v>
                </c:pt>
                <c:pt idx="3">
                  <c:v>0.91</c:v>
                </c:pt>
                <c:pt idx="4">
                  <c:v>0.85</c:v>
                </c:pt>
                <c:pt idx="5">
                  <c:v>0.89</c:v>
                </c:pt>
                <c:pt idx="6">
                  <c:v>0.63</c:v>
                </c:pt>
                <c:pt idx="7">
                  <c:v>0.54</c:v>
                </c:pt>
                <c:pt idx="8">
                  <c:v>0.62</c:v>
                </c:pt>
                <c:pt idx="9">
                  <c:v>0.65</c:v>
                </c:pt>
                <c:pt idx="10">
                  <c:v>0.61</c:v>
                </c:pt>
                <c:pt idx="11">
                  <c:v>0.41</c:v>
                </c:pt>
                <c:pt idx="12">
                  <c:v>0.37</c:v>
                </c:pt>
                <c:pt idx="13">
                  <c:v>0.51</c:v>
                </c:pt>
                <c:pt idx="14">
                  <c:v>0.03</c:v>
                </c:pt>
                <c:pt idx="15">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7</c:f>
              <c:strCache>
                <c:ptCount val="16"/>
                <c:pt idx="0">
                  <c:v>Boursin Classique Fromage Frais A Tartiner Afh 1X160Gr 10P</c:v>
                </c:pt>
                <c:pt idx="1">
                  <c:v>Boursin Classique Fromage Frais A Tartiner Afh Boite 1X150Gr 1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Kiri Delicieusement Fouette Fromage Frais A Tartiner 1X160Gr 10P</c:v>
                </c:pt>
                <c:pt idx="7">
                  <c:v>Kiri Delicieusement Fouette Fromage Frais A Tartiner 1X210Gr 1P</c:v>
                </c:pt>
                <c:pt idx="8">
                  <c:v>Kiri Delicieusement Fouette Fromage Frais A Tartiner 1X125Gr 1P</c:v>
                </c:pt>
                <c:pt idx="9">
                  <c:v>Boursin Classique Fromage Frais A Tartiner Figue Et 3 Noix Boite 1X150Gr 1P</c:v>
                </c:pt>
                <c:pt idx="10">
                  <c:v>Boursin Classique Fromage Frais A Tartiner 3 Noix Boite 1X150Gr 1P</c:v>
                </c:pt>
                <c:pt idx="11">
                  <c:v>Boursin Classique Fromage Frais A Tartiner 3 Noix 1X160Gr 10P</c:v>
                </c:pt>
                <c:pt idx="12">
                  <c:v>Boursin Classique Fromage Frais A Tartiner Afh Boite 1X320Gr 16+4P</c:v>
                </c:pt>
                <c:pt idx="13">
                  <c:v>Boursin Classique Fromage Frais A Tartiner Truffe Boite 1X150Gr 1P</c:v>
                </c:pt>
                <c:pt idx="14">
                  <c:v>Boursin Onctueux Fromage Frais A Tartiner Afh 1X210Gr 1P</c:v>
                </c:pt>
                <c:pt idx="15">
                  <c:v>Boursin Classique Fromage Frais A Tartiner Ciboulette &amp; Echalote 1X160Gr 10P</c:v>
                </c:pt>
              </c:strCache>
            </c:strRef>
          </c:cat>
          <c:val>
            <c:numRef>
              <c:f>Sheet1!$C$2:$C$17</c:f>
              <c:numCache>
                <c:formatCode>General</c:formatCode>
                <c:ptCount val="16"/>
                <c:pt idx="0">
                  <c:v>0.23711482688917393</c:v>
                </c:pt>
                <c:pt idx="1">
                  <c:v>0.45752522949659635</c:v>
                </c:pt>
                <c:pt idx="2">
                  <c:v>0.64886736142276202</c:v>
                </c:pt>
                <c:pt idx="3">
                  <c:v>0.74930481450036213</c:v>
                </c:pt>
                <c:pt idx="4">
                  <c:v>0.81523074885903291</c:v>
                </c:pt>
                <c:pt idx="5">
                  <c:v>0.87848738659983128</c:v>
                </c:pt>
                <c:pt idx="6">
                  <c:v>0.90813545287268427</c:v>
                </c:pt>
                <c:pt idx="7">
                  <c:v>0.93765709454702528</c:v>
                </c:pt>
                <c:pt idx="8">
                  <c:v>0.96682802280116553</c:v>
                </c:pt>
                <c:pt idx="9">
                  <c:v>0.98139501255957473</c:v>
                </c:pt>
                <c:pt idx="10">
                  <c:v>0.98884567550979763</c:v>
                </c:pt>
                <c:pt idx="11">
                  <c:v>0.99282575354952529</c:v>
                </c:pt>
                <c:pt idx="12">
                  <c:v>0.99678565957590426</c:v>
                </c:pt>
                <c:pt idx="13">
                  <c:v>0.99931095597967368</c:v>
                </c:pt>
                <c:pt idx="14">
                  <c:v>0.99990393328296312</c:v>
                </c:pt>
                <c:pt idx="15">
                  <c:v>0.9999648487688180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7</c:f>
              <c:strCache>
                <c:ptCount val="16"/>
                <c:pt idx="0">
                  <c:v>Boursin Classique Fromage Frais A Tartiner Afh 1X160Gr 10P</c:v>
                </c:pt>
                <c:pt idx="1">
                  <c:v>Boursin Classique Fromage Frais A Tartiner Afh Boite 1X150Gr 1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Kiri Delicieusement Fouette Fromage Frais A Tartiner 1X160Gr 10P</c:v>
                </c:pt>
                <c:pt idx="7">
                  <c:v>Kiri Delicieusement Fouette Fromage Frais A Tartiner 1X210Gr 1P</c:v>
                </c:pt>
                <c:pt idx="8">
                  <c:v>Kiri Delicieusement Fouette Fromage Frais A Tartiner 1X125Gr 1P</c:v>
                </c:pt>
                <c:pt idx="9">
                  <c:v>Boursin Classique Fromage Frais A Tartiner Figue Et 3 Noix Boite 1X150Gr 1P</c:v>
                </c:pt>
                <c:pt idx="10">
                  <c:v>Boursin Classique Fromage Frais A Tartiner 3 Noix Boite 1X150Gr 1P</c:v>
                </c:pt>
                <c:pt idx="11">
                  <c:v>Boursin Classique Fromage Frais A Tartiner 3 Noix 1X160Gr 10P</c:v>
                </c:pt>
                <c:pt idx="12">
                  <c:v>Boursin Classique Fromage Frais A Tartiner Afh Boite 1X320Gr 16+4P</c:v>
                </c:pt>
                <c:pt idx="13">
                  <c:v>Boursin Classique Fromage Frais A Tartiner Truffe Boite 1X150Gr 1P</c:v>
                </c:pt>
                <c:pt idx="14">
                  <c:v>Boursin Onctueux Fromage Frais A Tartiner Afh 1X210Gr 1P</c:v>
                </c:pt>
                <c:pt idx="15">
                  <c:v>Boursin Classique Fromage Frais A Tartiner Ciboulette &amp; Echalote 1X160Gr 10P</c:v>
                </c:pt>
              </c:strCache>
            </c:strRef>
          </c:cat>
          <c:val>
            <c:numRef>
              <c:f>Sheet1!$D$2:$D$17</c:f>
              <c:numCache>
                <c:formatCode>General</c:formatCode>
                <c:ptCount val="16"/>
                <c:pt idx="0">
                  <c:v>12114.479591836734</c:v>
                </c:pt>
                <c:pt idx="1">
                  <c:v>11147.282828282829</c:v>
                </c:pt>
                <c:pt idx="2">
                  <c:v>10084.61052631579</c:v>
                </c:pt>
                <c:pt idx="3">
                  <c:v>5526.197802197802</c:v>
                </c:pt>
                <c:pt idx="4">
                  <c:v>3883.3764705882354</c:v>
                </c:pt>
                <c:pt idx="5">
                  <c:v>3558.674157303371</c:v>
                </c:pt>
                <c:pt idx="6">
                  <c:v>2356.2857142857142</c:v>
                </c:pt>
                <c:pt idx="7">
                  <c:v>2737.2777777777778</c:v>
                </c:pt>
                <c:pt idx="8">
                  <c:v>2355.7580645161293</c:v>
                </c:pt>
                <c:pt idx="9">
                  <c:v>1122.0923076923077</c:v>
                </c:pt>
                <c:pt idx="10">
                  <c:v>611.55737704918033</c:v>
                </c:pt>
                <c:pt idx="11">
                  <c:v>486.04878048780489</c:v>
                </c:pt>
                <c:pt idx="12">
                  <c:v>535.8648648648649</c:v>
                </c:pt>
                <c:pt idx="13">
                  <c:v>247.92156862745097</c:v>
                </c:pt>
                <c:pt idx="14">
                  <c:v>989.66666666666663</c:v>
                </c:pt>
                <c:pt idx="15">
                  <c:v>101.6666666666666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Boursin Classique Fromage Frais A Tartiner Afh Boite 1X150Gr 1P</c:v>
                </c:pt>
                <c:pt idx="1">
                  <c:v>Boursin Classique Fromage Frais A Tartiner Afh 1X160Gr 10P</c:v>
                </c:pt>
                <c:pt idx="2">
                  <c:v>Kiri Delicieusement Fouette Fromage Frais A Tartiner 1X125Gr 1P</c:v>
                </c:pt>
                <c:pt idx="3">
                  <c:v>Kiri Delicieusement Fouette Fromage Frais A Tartiner 1X160Gr 10P</c:v>
                </c:pt>
                <c:pt idx="4">
                  <c:v>Boursin Classique Fromage Frais A Tartiner Ciboulette &amp; Echalote Boite 1X150Gr 1P</c:v>
                </c:pt>
                <c:pt idx="5">
                  <c:v>Boursin Classique Fromage Frais A Tartiner Afh Boite 1X96Gr 6P</c:v>
                </c:pt>
                <c:pt idx="6">
                  <c:v>Boursin Classique Fromage Frais A Tartiner Afh Boite 1X80Gr 1P</c:v>
                </c:pt>
                <c:pt idx="7">
                  <c:v>Boursin Classique Fromage Frais A Tartiner Truffe Boite 1X150Gr 1P</c:v>
                </c:pt>
              </c:strCache>
            </c:strRef>
          </c:cat>
          <c:val>
            <c:numRef>
              <c:f>Sheet1!$B$2:$B$9</c:f>
              <c:numCache>
                <c:formatCode>General</c:formatCode>
                <c:ptCount val="8"/>
                <c:pt idx="0">
                  <c:v>0.83</c:v>
                </c:pt>
                <c:pt idx="1">
                  <c:v>0.53</c:v>
                </c:pt>
                <c:pt idx="2">
                  <c:v>0.56000000000000005</c:v>
                </c:pt>
                <c:pt idx="3">
                  <c:v>0.27</c:v>
                </c:pt>
                <c:pt idx="4">
                  <c:v>0.08</c:v>
                </c:pt>
                <c:pt idx="5">
                  <c:v>0.12</c:v>
                </c:pt>
                <c:pt idx="6">
                  <c:v>0.11</c:v>
                </c:pt>
                <c:pt idx="7">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Boursin Classique Fromage Frais A Tartiner Afh Boite 1X150Gr 1P</c:v>
                </c:pt>
                <c:pt idx="1">
                  <c:v>Boursin Classique Fromage Frais A Tartiner Afh 1X160Gr 10P</c:v>
                </c:pt>
                <c:pt idx="2">
                  <c:v>Kiri Delicieusement Fouette Fromage Frais A Tartiner 1X125Gr 1P</c:v>
                </c:pt>
                <c:pt idx="3">
                  <c:v>Kiri Delicieusement Fouette Fromage Frais A Tartiner 1X160Gr 10P</c:v>
                </c:pt>
                <c:pt idx="4">
                  <c:v>Boursin Classique Fromage Frais A Tartiner Ciboulette &amp; Echalote Boite 1X150Gr 1P</c:v>
                </c:pt>
                <c:pt idx="5">
                  <c:v>Boursin Classique Fromage Frais A Tartiner Afh Boite 1X96Gr 6P</c:v>
                </c:pt>
                <c:pt idx="6">
                  <c:v>Boursin Classique Fromage Frais A Tartiner Afh Boite 1X80Gr 1P</c:v>
                </c:pt>
                <c:pt idx="7">
                  <c:v>Boursin Classique Fromage Frais A Tartiner Truffe Boite 1X150Gr 1P</c:v>
                </c:pt>
              </c:strCache>
            </c:strRef>
          </c:cat>
          <c:val>
            <c:numRef>
              <c:f>Sheet1!$C$2:$C$9</c:f>
              <c:numCache>
                <c:formatCode>General</c:formatCode>
                <c:ptCount val="8"/>
                <c:pt idx="0">
                  <c:v>0.5070578932379376</c:v>
                </c:pt>
                <c:pt idx="1">
                  <c:v>0.77503820542039759</c:v>
                </c:pt>
                <c:pt idx="2">
                  <c:v>0.91105486823490001</c:v>
                </c:pt>
                <c:pt idx="3">
                  <c:v>0.95456477634640813</c:v>
                </c:pt>
                <c:pt idx="4">
                  <c:v>0.97295742342721503</c:v>
                </c:pt>
                <c:pt idx="5">
                  <c:v>0.98967619971919452</c:v>
                </c:pt>
                <c:pt idx="6">
                  <c:v>0.99774964611834083</c:v>
                </c:pt>
                <c:pt idx="7">
                  <c:v>0.9995005601928459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Boursin Classique Fromage Frais A Tartiner Afh Boite 1X150Gr 1P</c:v>
                </c:pt>
                <c:pt idx="1">
                  <c:v>Boursin Classique Fromage Frais A Tartiner Afh 1X160Gr 10P</c:v>
                </c:pt>
                <c:pt idx="2">
                  <c:v>Kiri Delicieusement Fouette Fromage Frais A Tartiner 1X125Gr 1P</c:v>
                </c:pt>
                <c:pt idx="3">
                  <c:v>Kiri Delicieusement Fouette Fromage Frais A Tartiner 1X160Gr 10P</c:v>
                </c:pt>
                <c:pt idx="4">
                  <c:v>Boursin Classique Fromage Frais A Tartiner Ciboulette &amp; Echalote Boite 1X150Gr 1P</c:v>
                </c:pt>
                <c:pt idx="5">
                  <c:v>Boursin Classique Fromage Frais A Tartiner Afh Boite 1X96Gr 6P</c:v>
                </c:pt>
                <c:pt idx="6">
                  <c:v>Boursin Classique Fromage Frais A Tartiner Afh Boite 1X80Gr 1P</c:v>
                </c:pt>
                <c:pt idx="7">
                  <c:v>Boursin Classique Fromage Frais A Tartiner Truffe Boite 1X150Gr 1P</c:v>
                </c:pt>
              </c:strCache>
            </c:strRef>
          </c:cat>
          <c:val>
            <c:numRef>
              <c:f>Sheet1!$D$2:$D$9</c:f>
              <c:numCache>
                <c:formatCode>General</c:formatCode>
                <c:ptCount val="8"/>
                <c:pt idx="0">
                  <c:v>15938.253012048193</c:v>
                </c:pt>
                <c:pt idx="1">
                  <c:v>13191.32075471698</c:v>
                </c:pt>
                <c:pt idx="2">
                  <c:v>6336.7321428571422</c:v>
                </c:pt>
                <c:pt idx="3">
                  <c:v>4204.2222222222226</c:v>
                </c:pt>
                <c:pt idx="4">
                  <c:v>5998.125</c:v>
                </c:pt>
                <c:pt idx="5">
                  <c:v>3634.8333333333335</c:v>
                </c:pt>
                <c:pt idx="6">
                  <c:v>1914.8181818181818</c:v>
                </c:pt>
                <c:pt idx="7">
                  <c:v>45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B$2:$B$16</c:f>
              <c:numCache>
                <c:formatCode>General</c:formatCode>
                <c:ptCount val="15"/>
                <c:pt idx="0">
                  <c:v>0.99</c:v>
                </c:pt>
                <c:pt idx="1">
                  <c:v>0.99</c:v>
                </c:pt>
                <c:pt idx="2">
                  <c:v>1</c:v>
                </c:pt>
                <c:pt idx="3">
                  <c:v>0.97</c:v>
                </c:pt>
                <c:pt idx="4">
                  <c:v>0.96</c:v>
                </c:pt>
                <c:pt idx="5">
                  <c:v>0.99</c:v>
                </c:pt>
                <c:pt idx="6">
                  <c:v>0.99</c:v>
                </c:pt>
                <c:pt idx="7">
                  <c:v>0.87</c:v>
                </c:pt>
                <c:pt idx="8">
                  <c:v>0.96</c:v>
                </c:pt>
                <c:pt idx="9">
                  <c:v>0.87</c:v>
                </c:pt>
                <c:pt idx="10">
                  <c:v>0.83</c:v>
                </c:pt>
                <c:pt idx="11">
                  <c:v>0.94</c:v>
                </c:pt>
                <c:pt idx="12">
                  <c:v>0.28999999999999998</c:v>
                </c:pt>
                <c:pt idx="13">
                  <c:v>0.7</c:v>
                </c:pt>
                <c:pt idx="14">
                  <c:v>0.3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C$2:$C$16</c:f>
              <c:numCache>
                <c:formatCode>General</c:formatCode>
                <c:ptCount val="15"/>
                <c:pt idx="0">
                  <c:v>0.18944868143377241</c:v>
                </c:pt>
                <c:pt idx="1">
                  <c:v>0.37149142105353339</c:v>
                </c:pt>
                <c:pt idx="2">
                  <c:v>0.53472935863594262</c:v>
                </c:pt>
                <c:pt idx="3">
                  <c:v>0.61315562402462265</c:v>
                </c:pt>
                <c:pt idx="4">
                  <c:v>0.6853099462701715</c:v>
                </c:pt>
                <c:pt idx="5">
                  <c:v>0.7521685685424413</c:v>
                </c:pt>
                <c:pt idx="6">
                  <c:v>0.80850168181398963</c:v>
                </c:pt>
                <c:pt idx="7">
                  <c:v>0.857550883667758</c:v>
                </c:pt>
                <c:pt idx="8">
                  <c:v>0.90360273100199073</c:v>
                </c:pt>
                <c:pt idx="9">
                  <c:v>0.93893276353006316</c:v>
                </c:pt>
                <c:pt idx="10">
                  <c:v>0.9718889904340563</c:v>
                </c:pt>
                <c:pt idx="11">
                  <c:v>0.9904148267933911</c:v>
                </c:pt>
                <c:pt idx="12">
                  <c:v>0.99574452029750993</c:v>
                </c:pt>
                <c:pt idx="13">
                  <c:v>0.99870979513110569</c:v>
                </c:pt>
                <c:pt idx="1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D$2:$D$16</c:f>
              <c:numCache>
                <c:formatCode>General</c:formatCode>
                <c:ptCount val="15"/>
                <c:pt idx="0">
                  <c:v>20997.565656565657</c:v>
                </c:pt>
                <c:pt idx="1">
                  <c:v>20176.727272727272</c:v>
                </c:pt>
                <c:pt idx="2">
                  <c:v>17911.57</c:v>
                </c:pt>
                <c:pt idx="3">
                  <c:v>8871.6082474226805</c:v>
                </c:pt>
                <c:pt idx="4">
                  <c:v>8247.1458333333339</c:v>
                </c:pt>
                <c:pt idx="5">
                  <c:v>7410.2828282828286</c:v>
                </c:pt>
                <c:pt idx="6">
                  <c:v>6243.6868686868684</c:v>
                </c:pt>
                <c:pt idx="7">
                  <c:v>6186.2183908045981</c:v>
                </c:pt>
                <c:pt idx="8">
                  <c:v>5263.666666666667</c:v>
                </c:pt>
                <c:pt idx="9">
                  <c:v>4455.9195402298847</c:v>
                </c:pt>
                <c:pt idx="10">
                  <c:v>4356.8433734939763</c:v>
                </c:pt>
                <c:pt idx="11">
                  <c:v>2162.5319148936169</c:v>
                </c:pt>
                <c:pt idx="12">
                  <c:v>2016.5862068965521</c:v>
                </c:pt>
                <c:pt idx="13">
                  <c:v>464.81428571428569</c:v>
                </c:pt>
                <c:pt idx="14">
                  <c:v>372.552631578947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Classique Fromage Frais A Tartiner Afh 1X256Gr 16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B$2:$B$16</c:f>
              <c:numCache>
                <c:formatCode>General</c:formatCode>
                <c:ptCount val="15"/>
                <c:pt idx="0">
                  <c:v>1</c:v>
                </c:pt>
                <c:pt idx="1">
                  <c:v>1</c:v>
                </c:pt>
                <c:pt idx="2">
                  <c:v>1</c:v>
                </c:pt>
                <c:pt idx="3">
                  <c:v>0.99</c:v>
                </c:pt>
                <c:pt idx="4">
                  <c:v>0.99</c:v>
                </c:pt>
                <c:pt idx="5">
                  <c:v>0.99</c:v>
                </c:pt>
                <c:pt idx="6">
                  <c:v>1</c:v>
                </c:pt>
                <c:pt idx="7">
                  <c:v>1</c:v>
                </c:pt>
                <c:pt idx="8">
                  <c:v>0.99</c:v>
                </c:pt>
                <c:pt idx="9">
                  <c:v>0.99</c:v>
                </c:pt>
                <c:pt idx="10">
                  <c:v>0.98</c:v>
                </c:pt>
                <c:pt idx="11">
                  <c:v>0.98</c:v>
                </c:pt>
                <c:pt idx="12">
                  <c:v>0.7</c:v>
                </c:pt>
                <c:pt idx="13">
                  <c:v>0.92</c:v>
                </c:pt>
                <c:pt idx="14">
                  <c:v>0.6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Classique Fromage Frais A Tartiner Afh 1X256Gr 16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C$2:$C$16</c:f>
              <c:numCache>
                <c:formatCode>General</c:formatCode>
                <c:ptCount val="15"/>
                <c:pt idx="0">
                  <c:v>0.20428442488999374</c:v>
                </c:pt>
                <c:pt idx="1">
                  <c:v>0.37936991054470093</c:v>
                </c:pt>
                <c:pt idx="2">
                  <c:v>0.5289146100354003</c:v>
                </c:pt>
                <c:pt idx="3">
                  <c:v>0.59952394171475665</c:v>
                </c:pt>
                <c:pt idx="4">
                  <c:v>0.66808540541456485</c:v>
                </c:pt>
                <c:pt idx="5">
                  <c:v>0.73537598487298872</c:v>
                </c:pt>
                <c:pt idx="6">
                  <c:v>0.79301831020240943</c:v>
                </c:pt>
                <c:pt idx="7">
                  <c:v>0.84200416949708368</c:v>
                </c:pt>
                <c:pt idx="8">
                  <c:v>0.88585914515840447</c:v>
                </c:pt>
                <c:pt idx="9">
                  <c:v>0.92397420952246145</c:v>
                </c:pt>
                <c:pt idx="10">
                  <c:v>0.9603548906865117</c:v>
                </c:pt>
                <c:pt idx="11">
                  <c:v>0.98354179988108503</c:v>
                </c:pt>
                <c:pt idx="12">
                  <c:v>0.99423716294779352</c:v>
                </c:pt>
                <c:pt idx="13">
                  <c:v>0.99814351223562492</c:v>
                </c:pt>
                <c:pt idx="1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Classique Fromage Frais A Tartiner Afh 1X256Gr 16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D$2:$D$16</c:f>
              <c:numCache>
                <c:formatCode>General</c:formatCode>
                <c:ptCount val="15"/>
                <c:pt idx="0">
                  <c:v>4098.92</c:v>
                </c:pt>
                <c:pt idx="1">
                  <c:v>3513.05</c:v>
                </c:pt>
                <c:pt idx="2">
                  <c:v>3000.58</c:v>
                </c:pt>
                <c:pt idx="3">
                  <c:v>1431.0707070707072</c:v>
                </c:pt>
                <c:pt idx="4">
                  <c:v>1389.5656565656566</c:v>
                </c:pt>
                <c:pt idx="5">
                  <c:v>1363.8080808080808</c:v>
                </c:pt>
                <c:pt idx="6">
                  <c:v>1156.58</c:v>
                </c:pt>
                <c:pt idx="7">
                  <c:v>982.89</c:v>
                </c:pt>
                <c:pt idx="8">
                  <c:v>888.82828282828279</c:v>
                </c:pt>
                <c:pt idx="9">
                  <c:v>772.49494949494954</c:v>
                </c:pt>
                <c:pt idx="10">
                  <c:v>744.86734693877554</c:v>
                </c:pt>
                <c:pt idx="11">
                  <c:v>474.73469387755102</c:v>
                </c:pt>
                <c:pt idx="12">
                  <c:v>306.57142857142856</c:v>
                </c:pt>
                <c:pt idx="13">
                  <c:v>85.195652173913047</c:v>
                </c:pt>
                <c:pt idx="14">
                  <c:v>58.203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t Moret</c:v>
                </c:pt>
                <c:pt idx="3">
                  <c:v>Soignon</c:v>
                </c:pt>
                <c:pt idx="4">
                  <c:v>Galbani</c:v>
                </c:pt>
                <c:pt idx="5">
                  <c:v>Caprice Des Dieux</c:v>
                </c:pt>
                <c:pt idx="6">
                  <c:v>La Vache Qui Rit</c:v>
                </c:pt>
                <c:pt idx="7">
                  <c:v>Kiri</c:v>
                </c:pt>
                <c:pt idx="8">
                  <c:v>Boursin</c:v>
                </c:pt>
                <c:pt idx="9">
                  <c:v>Others</c:v>
                </c:pt>
              </c:strCache>
            </c:strRef>
          </c:cat>
          <c:val>
            <c:numRef>
              <c:f>Sheet1!$B$2:$B$11</c:f>
              <c:numCache>
                <c:formatCode>General</c:formatCode>
                <c:ptCount val="10"/>
                <c:pt idx="0">
                  <c:v>0.39353453457554544</c:v>
                </c:pt>
                <c:pt idx="1">
                  <c:v>5.8773536832237135E-2</c:v>
                </c:pt>
                <c:pt idx="2">
                  <c:v>5.051345617526759E-2</c:v>
                </c:pt>
                <c:pt idx="3">
                  <c:v>5.0303472993066985E-2</c:v>
                </c:pt>
                <c:pt idx="4">
                  <c:v>4.4158341472362028E-2</c:v>
                </c:pt>
                <c:pt idx="5">
                  <c:v>4.3552840565330257E-2</c:v>
                </c:pt>
                <c:pt idx="6">
                  <c:v>3.2989950488810413E-2</c:v>
                </c:pt>
                <c:pt idx="7">
                  <c:v>2.8068059283299477E-2</c:v>
                </c:pt>
                <c:pt idx="8">
                  <c:v>2.7490623258929626E-2</c:v>
                </c:pt>
                <c:pt idx="9">
                  <c:v>0.2706151843551510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t Moret</c:v>
                </c:pt>
                <c:pt idx="3">
                  <c:v>Soignon</c:v>
                </c:pt>
                <c:pt idx="4">
                  <c:v>Galbani</c:v>
                </c:pt>
                <c:pt idx="5">
                  <c:v>Caprice Des Dieux</c:v>
                </c:pt>
                <c:pt idx="6">
                  <c:v>La Vache Qui Rit</c:v>
                </c:pt>
                <c:pt idx="7">
                  <c:v>Kiri</c:v>
                </c:pt>
                <c:pt idx="8">
                  <c:v>Boursin</c:v>
                </c:pt>
                <c:pt idx="9">
                  <c:v>Others</c:v>
                </c:pt>
              </c:strCache>
            </c:strRef>
          </c:cat>
          <c:val>
            <c:numRef>
              <c:f>Sheet1!$C$2:$C$11</c:f>
              <c:numCache>
                <c:formatCode>General</c:formatCode>
                <c:ptCount val="10"/>
                <c:pt idx="0">
                  <c:v>0.28410471666850762</c:v>
                </c:pt>
                <c:pt idx="1">
                  <c:v>4.8160830663868323E-2</c:v>
                </c:pt>
                <c:pt idx="2">
                  <c:v>3.4242792444493533E-2</c:v>
                </c:pt>
                <c:pt idx="3">
                  <c:v>4.5288854523362412E-2</c:v>
                </c:pt>
                <c:pt idx="4">
                  <c:v>4.324533303877167E-2</c:v>
                </c:pt>
                <c:pt idx="5">
                  <c:v>3.6341544239478628E-2</c:v>
                </c:pt>
                <c:pt idx="6">
                  <c:v>2.8112227990721297E-2</c:v>
                </c:pt>
                <c:pt idx="7">
                  <c:v>3.6396774549872966E-2</c:v>
                </c:pt>
                <c:pt idx="8">
                  <c:v>6.0366729261018444E-2</c:v>
                </c:pt>
                <c:pt idx="9">
                  <c:v>0.3837401966199048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t Moret</c:v>
                </c:pt>
                <c:pt idx="3">
                  <c:v>Soignon</c:v>
                </c:pt>
                <c:pt idx="4">
                  <c:v>Galbani</c:v>
                </c:pt>
                <c:pt idx="5">
                  <c:v>Caprice Des Dieux</c:v>
                </c:pt>
                <c:pt idx="6">
                  <c:v>La Vache Qui Rit</c:v>
                </c:pt>
                <c:pt idx="7">
                  <c:v>Kiri</c:v>
                </c:pt>
                <c:pt idx="8">
                  <c:v>Boursin</c:v>
                </c:pt>
                <c:pt idx="9">
                  <c:v>Others</c:v>
                </c:pt>
              </c:strCache>
            </c:strRef>
          </c:cat>
          <c:val>
            <c:numRef>
              <c:f>Sheet1!$D$2:$D$11</c:f>
              <c:numCache>
                <c:formatCode>General</c:formatCode>
                <c:ptCount val="10"/>
                <c:pt idx="0">
                  <c:v>72.193083886509328</c:v>
                </c:pt>
                <c:pt idx="1">
                  <c:v>81.943053387000248</c:v>
                </c:pt>
                <c:pt idx="2">
                  <c:v>67.789446688582558</c:v>
                </c:pt>
                <c:pt idx="3">
                  <c:v>90.031267880061279</c:v>
                </c:pt>
                <c:pt idx="4">
                  <c:v>97.93242136559455</c:v>
                </c:pt>
                <c:pt idx="5">
                  <c:v>83.442420213592001</c:v>
                </c:pt>
                <c:pt idx="6">
                  <c:v>85.214520101375868</c:v>
                </c:pt>
                <c:pt idx="7">
                  <c:v>129.67328514775184</c:v>
                </c:pt>
                <c:pt idx="8">
                  <c:v>219.59025334723853</c:v>
                </c:pt>
                <c:pt idx="9">
                  <c:v>141.8029064164745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Afh Boite 1X96Gr 6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B$2:$B$16</c:f>
              <c:numCache>
                <c:formatCode>General</c:formatCode>
                <c:ptCount val="15"/>
                <c:pt idx="0">
                  <c:v>0.98</c:v>
                </c:pt>
                <c:pt idx="1">
                  <c:v>0.9</c:v>
                </c:pt>
                <c:pt idx="2">
                  <c:v>0.89</c:v>
                </c:pt>
                <c:pt idx="3">
                  <c:v>0.81</c:v>
                </c:pt>
                <c:pt idx="4">
                  <c:v>0.89</c:v>
                </c:pt>
                <c:pt idx="5">
                  <c:v>0.74</c:v>
                </c:pt>
                <c:pt idx="6">
                  <c:v>0.83</c:v>
                </c:pt>
                <c:pt idx="7">
                  <c:v>0.75</c:v>
                </c:pt>
                <c:pt idx="8">
                  <c:v>0.64</c:v>
                </c:pt>
                <c:pt idx="9">
                  <c:v>0.44</c:v>
                </c:pt>
                <c:pt idx="10">
                  <c:v>0.46</c:v>
                </c:pt>
                <c:pt idx="11">
                  <c:v>0.5</c:v>
                </c:pt>
                <c:pt idx="12">
                  <c:v>0.12</c:v>
                </c:pt>
                <c:pt idx="13">
                  <c:v>0.33</c:v>
                </c:pt>
                <c:pt idx="14">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Afh Boite 1X96Gr 6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C$2:$C$16</c:f>
              <c:numCache>
                <c:formatCode>General</c:formatCode>
                <c:ptCount val="15"/>
                <c:pt idx="0">
                  <c:v>0.19644823126963254</c:v>
                </c:pt>
                <c:pt idx="1">
                  <c:v>0.38848009768756581</c:v>
                </c:pt>
                <c:pt idx="2">
                  <c:v>0.51927046698675805</c:v>
                </c:pt>
                <c:pt idx="3">
                  <c:v>0.62392362370190446</c:v>
                </c:pt>
                <c:pt idx="4">
                  <c:v>0.71186263887493295</c:v>
                </c:pt>
                <c:pt idx="5">
                  <c:v>0.79230087857645293</c:v>
                </c:pt>
                <c:pt idx="6">
                  <c:v>0.85990288038515827</c:v>
                </c:pt>
                <c:pt idx="7">
                  <c:v>0.90699529911355981</c:v>
                </c:pt>
                <c:pt idx="8">
                  <c:v>0.93517658906126466</c:v>
                </c:pt>
                <c:pt idx="9">
                  <c:v>0.96235195047467614</c:v>
                </c:pt>
                <c:pt idx="10">
                  <c:v>0.98134608747318641</c:v>
                </c:pt>
                <c:pt idx="11">
                  <c:v>0.99290170516354825</c:v>
                </c:pt>
                <c:pt idx="12">
                  <c:v>0.99771454347664656</c:v>
                </c:pt>
                <c:pt idx="13">
                  <c:v>0.99998634733259673</c:v>
                </c:pt>
                <c:pt idx="14">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Afh Boite 1X96Gr 6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Kiri Delicieusement Fouette Fromage Frais A Tartiner 1X125Gr 1P</c:v>
                </c:pt>
                <c:pt idx="10">
                  <c:v>Boursin Classique Fromage Frais A Tartiner Ciboulette &amp; Echalote 1X160Gr 10P</c:v>
                </c:pt>
                <c:pt idx="11">
                  <c:v>Kiri Delicieusement Fouette Fromage Frais A Tartiner 1X160Gr 10P</c:v>
                </c:pt>
                <c:pt idx="12">
                  <c:v>Boursin Classique Fromage Frais A Tartiner Afh Boite 1X80Gr 1P</c:v>
                </c:pt>
                <c:pt idx="13">
                  <c:v>Boursin Classique Fromage Frais A Tartiner Truffe Boite 1X150Gr 1P</c:v>
                </c:pt>
                <c:pt idx="14">
                  <c:v>Kiri Delicieusement Fouette Fromage Frais A Tartiner 1X210Gr 1P</c:v>
                </c:pt>
              </c:strCache>
            </c:strRef>
          </c:cat>
          <c:val>
            <c:numRef>
              <c:f>Sheet1!$D$2:$D$16</c:f>
              <c:numCache>
                <c:formatCode>General</c:formatCode>
                <c:ptCount val="15"/>
                <c:pt idx="0">
                  <c:v>3670.6632653061224</c:v>
                </c:pt>
                <c:pt idx="1">
                  <c:v>3907.088888888889</c:v>
                </c:pt>
                <c:pt idx="2">
                  <c:v>2690.9662921348313</c:v>
                </c:pt>
                <c:pt idx="3">
                  <c:v>2365.8641975308642</c:v>
                </c:pt>
                <c:pt idx="4">
                  <c:v>1809.314606741573</c:v>
                </c:pt>
                <c:pt idx="5">
                  <c:v>1990.4594594594594</c:v>
                </c:pt>
                <c:pt idx="6">
                  <c:v>1491.433734939759</c:v>
                </c:pt>
                <c:pt idx="7">
                  <c:v>1149.7733333333333</c:v>
                </c:pt>
                <c:pt idx="8">
                  <c:v>806.3125</c:v>
                </c:pt>
                <c:pt idx="9">
                  <c:v>1130.9545454545455</c:v>
                </c:pt>
                <c:pt idx="10">
                  <c:v>756.10869565217388</c:v>
                </c:pt>
                <c:pt idx="11">
                  <c:v>423.2</c:v>
                </c:pt>
                <c:pt idx="12">
                  <c:v>734.41666666666663</c:v>
                </c:pt>
                <c:pt idx="13">
                  <c:v>126.06060606060606</c:v>
                </c:pt>
                <c:pt idx="14">
                  <c:v>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0.96199999999999997</c:v>
                </c:pt>
                <c:pt idx="1">
                  <c:v>0.81699999999999995</c:v>
                </c:pt>
                <c:pt idx="2">
                  <c:v>0.80100000000000005</c:v>
                </c:pt>
                <c:pt idx="3">
                  <c:v>0.70699999999999996</c:v>
                </c:pt>
                <c:pt idx="4">
                  <c:v>0.73799999999999999</c:v>
                </c:pt>
                <c:pt idx="5">
                  <c:v>0.6979999999999999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62370101585166526</c:v>
                </c:pt>
                <c:pt idx="1">
                  <c:v>0.76251624658841188</c:v>
                </c:pt>
                <c:pt idx="2">
                  <c:v>0.86829620013607245</c:v>
                </c:pt>
                <c:pt idx="3">
                  <c:v>0.92190595356330107</c:v>
                </c:pt>
                <c:pt idx="4">
                  <c:v>0.96235890297404458</c:v>
                </c:pt>
                <c:pt idx="5">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20726.226611226612</c:v>
                </c:pt>
                <c:pt idx="1">
                  <c:v>5431.6768665850677</c:v>
                </c:pt>
                <c:pt idx="2">
                  <c:v>4221.7228464419468</c:v>
                </c:pt>
                <c:pt idx="3">
                  <c:v>2424.0594059405939</c:v>
                </c:pt>
                <c:pt idx="4">
                  <c:v>1752.3170731707319</c:v>
                </c:pt>
                <c:pt idx="5">
                  <c:v>1723.954154727793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0.96799999999999997</c:v>
                </c:pt>
                <c:pt idx="1">
                  <c:v>0.82299999999999995</c:v>
                </c:pt>
                <c:pt idx="2">
                  <c:v>0.84499999999999997</c:v>
                </c:pt>
                <c:pt idx="3">
                  <c:v>0.66</c:v>
                </c:pt>
                <c:pt idx="4">
                  <c:v>0.80300000000000005</c:v>
                </c:pt>
                <c:pt idx="5">
                  <c:v>0.4139999999999999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6092660275380396</c:v>
                </c:pt>
                <c:pt idx="1">
                  <c:v>0.76227235083190392</c:v>
                </c:pt>
                <c:pt idx="2">
                  <c:v>0.86584150635506085</c:v>
                </c:pt>
                <c:pt idx="3">
                  <c:v>0.92521169603158415</c:v>
                </c:pt>
                <c:pt idx="4">
                  <c:v>0.97435906009971474</c:v>
                </c:pt>
                <c:pt idx="5">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11293.564049586777</c:v>
                </c:pt>
                <c:pt idx="1">
                  <c:v>3335.8687727825031</c:v>
                </c:pt>
                <c:pt idx="2">
                  <c:v>2199.2426035502958</c:v>
                </c:pt>
                <c:pt idx="3">
                  <c:v>1614.0757575757575</c:v>
                </c:pt>
                <c:pt idx="4">
                  <c:v>1098.2067247820671</c:v>
                </c:pt>
                <c:pt idx="5">
                  <c:v>1111.30434782608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1</c:v>
                </c:pt>
                <c:pt idx="1">
                  <c:v>1</c:v>
                </c:pt>
                <c:pt idx="2">
                  <c:v>1</c:v>
                </c:pt>
                <c:pt idx="3">
                  <c:v>0.95</c:v>
                </c:pt>
                <c:pt idx="4">
                  <c:v>0.96</c:v>
                </c:pt>
                <c:pt idx="5">
                  <c:v>0.9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50766670287549853</c:v>
                </c:pt>
                <c:pt idx="1">
                  <c:v>0.72041091851461025</c:v>
                </c:pt>
                <c:pt idx="2">
                  <c:v>0.84167222730870095</c:v>
                </c:pt>
                <c:pt idx="3">
                  <c:v>0.9039307273319781</c:v>
                </c:pt>
                <c:pt idx="4">
                  <c:v>0.95668751260843254</c:v>
                </c:pt>
                <c:pt idx="5">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6542.91</c:v>
                </c:pt>
                <c:pt idx="1">
                  <c:v>2741.89</c:v>
                </c:pt>
                <c:pt idx="2">
                  <c:v>1562.84</c:v>
                </c:pt>
                <c:pt idx="3">
                  <c:v>844.63157894736844</c:v>
                </c:pt>
                <c:pt idx="4">
                  <c:v>708.27083333333337</c:v>
                </c:pt>
                <c:pt idx="5">
                  <c:v>593.851063829787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pt idx="5">
                  <c:v>Boursin Salade &amp; Aperitif Fromage Frais Des Noisette Et 3 Noix 1X120Gr 1P</c:v>
                </c:pt>
              </c:strCache>
            </c:strRef>
          </c:cat>
          <c:val>
            <c:numRef>
              <c:f>Sheet1!$B$2:$B$7</c:f>
              <c:numCache>
                <c:formatCode>General</c:formatCode>
                <c:ptCount val="6"/>
                <c:pt idx="0">
                  <c:v>0.99</c:v>
                </c:pt>
                <c:pt idx="1">
                  <c:v>0.91</c:v>
                </c:pt>
                <c:pt idx="2">
                  <c:v>0.95</c:v>
                </c:pt>
                <c:pt idx="3">
                  <c:v>0.72</c:v>
                </c:pt>
                <c:pt idx="4">
                  <c:v>0.71</c:v>
                </c:pt>
                <c:pt idx="5">
                  <c:v>0.7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pt idx="5">
                  <c:v>Boursin Salade &amp; Aperitif Fromage Frais Des Noisette Et 3 Noix 1X120Gr 1P</c:v>
                </c:pt>
              </c:strCache>
            </c:strRef>
          </c:cat>
          <c:val>
            <c:numRef>
              <c:f>Sheet1!$C$2:$C$7</c:f>
              <c:numCache>
                <c:formatCode>General</c:formatCode>
                <c:ptCount val="6"/>
                <c:pt idx="0">
                  <c:v>0.57019260581220366</c:v>
                </c:pt>
                <c:pt idx="1">
                  <c:v>0.7077284310982388</c:v>
                </c:pt>
                <c:pt idx="2">
                  <c:v>0.83595006011842199</c:v>
                </c:pt>
                <c:pt idx="3">
                  <c:v>0.90484123443159736</c:v>
                </c:pt>
                <c:pt idx="4">
                  <c:v>0.95362411996460961</c:v>
                </c:pt>
                <c:pt idx="5">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pt idx="5">
                  <c:v>Boursin Salade &amp; Aperitif Fromage Frais Des Noisette Et 3 Noix 1X120Gr 1P</c:v>
                </c:pt>
              </c:strCache>
            </c:strRef>
          </c:cat>
          <c:val>
            <c:numRef>
              <c:f>Sheet1!$D$2:$D$7</c:f>
              <c:numCache>
                <c:formatCode>General</c:formatCode>
                <c:ptCount val="6"/>
                <c:pt idx="0">
                  <c:v>7616.333333333333</c:v>
                </c:pt>
                <c:pt idx="1">
                  <c:v>1998.6373626373627</c:v>
                </c:pt>
                <c:pt idx="2">
                  <c:v>1784.8315789473684</c:v>
                </c:pt>
                <c:pt idx="3">
                  <c:v>1265.2916666666667</c:v>
                </c:pt>
                <c:pt idx="4">
                  <c:v>908.5915492957746</c:v>
                </c:pt>
                <c:pt idx="5">
                  <c:v>776.2911392405063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Salade &amp; Aperitif Fromage Frais Des Afh 1X120Gr 1P</c:v>
                </c:pt>
              </c:strCache>
            </c:strRef>
          </c:cat>
          <c:val>
            <c:numRef>
              <c:f>Sheet1!$B$2:$B$2</c:f>
              <c:numCache>
                <c:formatCode>General</c:formatCode>
                <c:ptCount val="1"/>
                <c:pt idx="0">
                  <c:v>0.7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Salade &amp; Aperitif Fromage Frais Des Afh 1X120Gr 1P</c:v>
                </c:pt>
              </c:strCache>
            </c:strRef>
          </c:cat>
          <c:val>
            <c:numRef>
              <c:f>Sheet1!$C$2:$C$2</c:f>
              <c:numCache>
                <c:formatCode>General</c:formatCode>
                <c:ptCount val="1"/>
                <c:pt idx="0">
                  <c:v>0.9998975436080018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Salade &amp; Aperitif Fromage Frais Des Afh 1X120Gr 1P</c:v>
                </c:pt>
              </c:strCache>
            </c:strRef>
          </c:cat>
          <c:val>
            <c:numRef>
              <c:f>Sheet1!$D$2:$D$2</c:f>
              <c:numCache>
                <c:formatCode>General</c:formatCode>
                <c:ptCount val="1"/>
                <c:pt idx="0">
                  <c:v>7412.088607594936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0.98</c:v>
                </c:pt>
                <c:pt idx="1">
                  <c:v>0.86</c:v>
                </c:pt>
                <c:pt idx="2">
                  <c:v>0.88</c:v>
                </c:pt>
                <c:pt idx="3">
                  <c:v>0.67</c:v>
                </c:pt>
                <c:pt idx="4">
                  <c:v>0.83</c:v>
                </c:pt>
                <c:pt idx="5">
                  <c:v>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60366988415851497</c:v>
                </c:pt>
                <c:pt idx="1">
                  <c:v>0.75920489278626158</c:v>
                </c:pt>
                <c:pt idx="2">
                  <c:v>0.86373607929281926</c:v>
                </c:pt>
                <c:pt idx="3">
                  <c:v>0.92313207813852693</c:v>
                </c:pt>
                <c:pt idx="4">
                  <c:v>0.97407406316806155</c:v>
                </c:pt>
                <c:pt idx="5">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8367.6530612244896</c:v>
                </c:pt>
                <c:pt idx="1">
                  <c:v>2456.7441860465115</c:v>
                </c:pt>
                <c:pt idx="2">
                  <c:v>1613.590909090909</c:v>
                </c:pt>
                <c:pt idx="3">
                  <c:v>1204.2388059701493</c:v>
                </c:pt>
                <c:pt idx="4">
                  <c:v>833.73493975903614</c:v>
                </c:pt>
                <c:pt idx="5">
                  <c:v>880.4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1</c:v>
                </c:pt>
                <c:pt idx="1">
                  <c:v>0.95</c:v>
                </c:pt>
                <c:pt idx="2">
                  <c:v>0.97</c:v>
                </c:pt>
                <c:pt idx="3">
                  <c:v>0.93</c:v>
                </c:pt>
                <c:pt idx="4">
                  <c:v>0.99</c:v>
                </c:pt>
                <c:pt idx="5">
                  <c:v>0.7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55488526830252993</c:v>
                </c:pt>
                <c:pt idx="1">
                  <c:v>0.72897620739049929</c:v>
                </c:pt>
                <c:pt idx="2">
                  <c:v>0.84574982239975782</c:v>
                </c:pt>
                <c:pt idx="3">
                  <c:v>0.91694131622159858</c:v>
                </c:pt>
                <c:pt idx="4">
                  <c:v>0.96984095558635264</c:v>
                </c:pt>
                <c:pt idx="5">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1429.39</c:v>
                </c:pt>
                <c:pt idx="1">
                  <c:v>472.06315789473683</c:v>
                </c:pt>
                <c:pt idx="2">
                  <c:v>310.11340206185565</c:v>
                </c:pt>
                <c:pt idx="3">
                  <c:v>197.19354838709677</c:v>
                </c:pt>
                <c:pt idx="4">
                  <c:v>137.64646464646464</c:v>
                </c:pt>
                <c:pt idx="5">
                  <c:v>106.4246575342465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0.85</c:v>
                </c:pt>
                <c:pt idx="1">
                  <c:v>0.43</c:v>
                </c:pt>
                <c:pt idx="2">
                  <c:v>0.47</c:v>
                </c:pt>
                <c:pt idx="3">
                  <c:v>0.28000000000000003</c:v>
                </c:pt>
                <c:pt idx="4">
                  <c:v>0.41</c:v>
                </c:pt>
                <c:pt idx="5">
                  <c:v>0.14000000000000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73046228737753005</c:v>
                </c:pt>
                <c:pt idx="1">
                  <c:v>0.83374366969698666</c:v>
                </c:pt>
                <c:pt idx="2">
                  <c:v>0.91090746961734959</c:v>
                </c:pt>
                <c:pt idx="3">
                  <c:v>0.95300293311049911</c:v>
                </c:pt>
                <c:pt idx="4">
                  <c:v>0.98305750130391611</c:v>
                </c:pt>
                <c:pt idx="5">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1532.3294117647058</c:v>
                </c:pt>
                <c:pt idx="1">
                  <c:v>428.27906976744185</c:v>
                </c:pt>
                <c:pt idx="2">
                  <c:v>292.74468085106383</c:v>
                </c:pt>
                <c:pt idx="3">
                  <c:v>268.07142857142856</c:v>
                </c:pt>
                <c:pt idx="4">
                  <c:v>130.70731707317074</c:v>
                </c:pt>
                <c:pt idx="5">
                  <c:v>215.785714285714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Delicieusement Fouette Fromage Frais A Tartiner 1X160Gr 10P</c:v>
                </c:pt>
                <c:pt idx="9">
                  <c:v>Kiri Bio Fromage Blanc Frais Carre 1X144Gr 8P</c:v>
                </c:pt>
                <c:pt idx="10">
                  <c:v>Kiri Chevre Fromage Blanc Frais Carre 1X144Gr 8P</c:v>
                </c:pt>
              </c:strCache>
            </c:strRef>
          </c:cat>
          <c:val>
            <c:numRef>
              <c:f>Sheet1!$B$2:$B$12</c:f>
              <c:numCache>
                <c:formatCode>General</c:formatCode>
                <c:ptCount val="11"/>
                <c:pt idx="0">
                  <c:v>0.77800000000000002</c:v>
                </c:pt>
                <c:pt idx="1">
                  <c:v>0.99</c:v>
                </c:pt>
                <c:pt idx="2">
                  <c:v>0.83399999999999996</c:v>
                </c:pt>
                <c:pt idx="3">
                  <c:v>0.94899999999999995</c:v>
                </c:pt>
                <c:pt idx="4">
                  <c:v>0.73199999999999998</c:v>
                </c:pt>
                <c:pt idx="5">
                  <c:v>0.71599999999999997</c:v>
                </c:pt>
                <c:pt idx="6">
                  <c:v>0.77400000000000002</c:v>
                </c:pt>
                <c:pt idx="7">
                  <c:v>0.64300000000000002</c:v>
                </c:pt>
                <c:pt idx="8">
                  <c:v>0.68899999999999995</c:v>
                </c:pt>
                <c:pt idx="9">
                  <c:v>0.502</c:v>
                </c:pt>
                <c:pt idx="10">
                  <c:v>0.26700000000000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Delicieusement Fouette Fromage Frais A Tartiner 1X160Gr 10P</c:v>
                </c:pt>
                <c:pt idx="9">
                  <c:v>Kiri Bio Fromage Blanc Frais Carre 1X144Gr 8P</c:v>
                </c:pt>
                <c:pt idx="10">
                  <c:v>Kiri Chevre Fromage Blanc Frais Carre 1X144Gr 8P</c:v>
                </c:pt>
              </c:strCache>
            </c:strRef>
          </c:cat>
          <c:val>
            <c:numRef>
              <c:f>Sheet1!$C$2:$C$12</c:f>
              <c:numCache>
                <c:formatCode>General</c:formatCode>
                <c:ptCount val="11"/>
                <c:pt idx="0">
                  <c:v>0.27754227696085271</c:v>
                </c:pt>
                <c:pt idx="1">
                  <c:v>0.48455081867256189</c:v>
                </c:pt>
                <c:pt idx="2">
                  <c:v>0.64122514226288319</c:v>
                </c:pt>
                <c:pt idx="3">
                  <c:v>0.78457851367966358</c:v>
                </c:pt>
                <c:pt idx="4">
                  <c:v>0.86533599732508037</c:v>
                </c:pt>
                <c:pt idx="5">
                  <c:v>0.91673708023974165</c:v>
                </c:pt>
                <c:pt idx="6">
                  <c:v>0.94825420869658283</c:v>
                </c:pt>
                <c:pt idx="7">
                  <c:v>0.96916917652211976</c:v>
                </c:pt>
                <c:pt idx="8">
                  <c:v>0.98612168526068555</c:v>
                </c:pt>
                <c:pt idx="9">
                  <c:v>0.99925145905002388</c:v>
                </c:pt>
                <c:pt idx="10">
                  <c:v>0.9999979839051641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Delicieusement Fouette Fromage Frais A Tartiner 1X160Gr 10P</c:v>
                </c:pt>
                <c:pt idx="9">
                  <c:v>Kiri Bio Fromage Blanc Frais Carre 1X144Gr 8P</c:v>
                </c:pt>
                <c:pt idx="10">
                  <c:v>Kiri Chevre Fromage Blanc Frais Carre 1X144Gr 8P</c:v>
                </c:pt>
              </c:strCache>
            </c:strRef>
          </c:cat>
          <c:val>
            <c:numRef>
              <c:f>Sheet1!$D$2:$D$12</c:f>
              <c:numCache>
                <c:formatCode>General</c:formatCode>
                <c:ptCount val="11"/>
                <c:pt idx="0">
                  <c:v>81394.755784061694</c:v>
                </c:pt>
                <c:pt idx="1">
                  <c:v>47708.959595959597</c:v>
                </c:pt>
                <c:pt idx="2">
                  <c:v>42862.613908872903</c:v>
                </c:pt>
                <c:pt idx="3">
                  <c:v>34465.816649104323</c:v>
                </c:pt>
                <c:pt idx="4">
                  <c:v>25172.049180327867</c:v>
                </c:pt>
                <c:pt idx="5">
                  <c:v>16379.706703910615</c:v>
                </c:pt>
                <c:pt idx="6">
                  <c:v>9290.7881136950891</c:v>
                </c:pt>
                <c:pt idx="7">
                  <c:v>7421.5241057542771</c:v>
                </c:pt>
                <c:pt idx="8">
                  <c:v>5613.8606676342533</c:v>
                </c:pt>
                <c:pt idx="9">
                  <c:v>5967.6095617529882</c:v>
                </c:pt>
                <c:pt idx="10">
                  <c:v>637.9400749063669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Private Label</c:v>
                </c:pt>
                <c:pt idx="4">
                  <c:v>St Moret</c:v>
                </c:pt>
                <c:pt idx="5">
                  <c:v>O'Tapas Apero</c:v>
                </c:pt>
                <c:pt idx="6">
                  <c:v>Others</c:v>
                </c:pt>
              </c:strCache>
            </c:strRef>
          </c:cat>
          <c:val>
            <c:numRef>
              <c:f>Sheet1!$B$2:$B$8</c:f>
              <c:numCache>
                <c:formatCode>General</c:formatCode>
                <c:ptCount val="7"/>
                <c:pt idx="0">
                  <c:v>0.61149628929357047</c:v>
                </c:pt>
                <c:pt idx="1">
                  <c:v>0.14785212182777938</c:v>
                </c:pt>
                <c:pt idx="2">
                  <c:v>9.5188213053512966E-2</c:v>
                </c:pt>
                <c:pt idx="3">
                  <c:v>5.5260721618646723E-2</c:v>
                </c:pt>
                <c:pt idx="4">
                  <c:v>3.1597134580960029E-2</c:v>
                </c:pt>
                <c:pt idx="5">
                  <c:v>1.385223818792536E-2</c:v>
                </c:pt>
                <c:pt idx="6">
                  <c:v>4.475328143760502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Private Label</c:v>
                </c:pt>
                <c:pt idx="4">
                  <c:v>St Moret</c:v>
                </c:pt>
                <c:pt idx="5">
                  <c:v>O'Tapas Apero</c:v>
                </c:pt>
                <c:pt idx="6">
                  <c:v>Others</c:v>
                </c:pt>
              </c:strCache>
            </c:strRef>
          </c:cat>
          <c:val>
            <c:numRef>
              <c:f>Sheet1!$C$2:$C$8</c:f>
              <c:numCache>
                <c:formatCode>General</c:formatCode>
                <c:ptCount val="7"/>
                <c:pt idx="0">
                  <c:v>0.42210117207822029</c:v>
                </c:pt>
                <c:pt idx="1">
                  <c:v>0.17538329712029871</c:v>
                </c:pt>
                <c:pt idx="2">
                  <c:v>7.5374116350950218E-2</c:v>
                </c:pt>
                <c:pt idx="3">
                  <c:v>5.2269180157297195E-2</c:v>
                </c:pt>
                <c:pt idx="4">
                  <c:v>5.8389693056278127E-2</c:v>
                </c:pt>
                <c:pt idx="5">
                  <c:v>5.6002693025675558E-2</c:v>
                </c:pt>
                <c:pt idx="6">
                  <c:v>0.1604798482112801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Private Label</c:v>
                </c:pt>
                <c:pt idx="4">
                  <c:v>St Moret</c:v>
                </c:pt>
                <c:pt idx="5">
                  <c:v>O'Tapas Apero</c:v>
                </c:pt>
                <c:pt idx="6">
                  <c:v>Others</c:v>
                </c:pt>
              </c:strCache>
            </c:strRef>
          </c:cat>
          <c:val>
            <c:numRef>
              <c:f>Sheet1!$D$2:$D$8</c:f>
              <c:numCache>
                <c:formatCode>General</c:formatCode>
                <c:ptCount val="7"/>
                <c:pt idx="0">
                  <c:v>69.027593375235625</c:v>
                </c:pt>
                <c:pt idx="1">
                  <c:v>118.6207508909396</c:v>
                </c:pt>
                <c:pt idx="2">
                  <c:v>79.18429596800641</c:v>
                </c:pt>
                <c:pt idx="3">
                  <c:v>94.586495844201778</c:v>
                </c:pt>
                <c:pt idx="4">
                  <c:v>184.7942664125718</c:v>
                </c:pt>
                <c:pt idx="5">
                  <c:v>404.28624072095198</c:v>
                </c:pt>
                <c:pt idx="6">
                  <c:v>358.5878913371323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7</c:f>
              <c:strCache>
                <c:ptCount val="16"/>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Toastinette Cheddar Fondu Tranche A Chaud Sachet 1X200Gr 10P</c:v>
                </c:pt>
                <c:pt idx="7">
                  <c:v>Toastinette Fromage Fondu Tranche A Chaud Sachet 1X200Gr 10P</c:v>
                </c:pt>
                <c:pt idx="8">
                  <c:v>La Vache Qui Rit Pik Et Croq' Fromage Fondu Dips Boite 1X280Gr 8P</c:v>
                </c:pt>
                <c:pt idx="9">
                  <c:v>La Vache Qui Rit Allegee Fromage Fondu Boite Ronde Allege 1X267Gr 16P</c:v>
                </c:pt>
                <c:pt idx="10">
                  <c:v>La Vache Qui Rit Bio Fromage Fondu Boite Ronde 1X128Gr 8P</c:v>
                </c:pt>
                <c:pt idx="11">
                  <c:v>La Vache Qui Rit Le Fondant Fromage Fondu 1X200Gr 1P</c:v>
                </c:pt>
                <c:pt idx="12">
                  <c:v>La Vache Qui Rit Aro Fromage Fondu Boite Ronde Jambon 1X133Gr 8P</c:v>
                </c:pt>
                <c:pt idx="13">
                  <c:v>Toastinette Fromage Fondu Tranche A Chaud Sachet 1X340Gr 20P</c:v>
                </c:pt>
                <c:pt idx="14">
                  <c:v>Toastinette Cheddar Fondu Tranche A Chaud Sachet 1X340Gr 20P</c:v>
                </c:pt>
                <c:pt idx="15">
                  <c:v>La Vache Qui Rit Pik Et Croq' Fromage Fondu Dips Boite 1X35Gr 1P</c:v>
                </c:pt>
              </c:strCache>
            </c:strRef>
          </c:cat>
          <c:val>
            <c:numRef>
              <c:f>Sheet1!$B$2:$B$17</c:f>
              <c:numCache>
                <c:formatCode>General</c:formatCode>
                <c:ptCount val="16"/>
                <c:pt idx="0">
                  <c:v>0.82699999999999996</c:v>
                </c:pt>
                <c:pt idx="1">
                  <c:v>0.89800000000000002</c:v>
                </c:pt>
                <c:pt idx="2">
                  <c:v>0.98099999999999998</c:v>
                </c:pt>
                <c:pt idx="3">
                  <c:v>0.90800000000000003</c:v>
                </c:pt>
                <c:pt idx="4">
                  <c:v>0.69399999999999995</c:v>
                </c:pt>
                <c:pt idx="5">
                  <c:v>0.72499999999999998</c:v>
                </c:pt>
                <c:pt idx="6">
                  <c:v>0.85399999999999998</c:v>
                </c:pt>
                <c:pt idx="7">
                  <c:v>0.76400000000000001</c:v>
                </c:pt>
                <c:pt idx="8">
                  <c:v>0.434</c:v>
                </c:pt>
                <c:pt idx="9">
                  <c:v>0.495</c:v>
                </c:pt>
                <c:pt idx="10">
                  <c:v>0.48199999999999998</c:v>
                </c:pt>
                <c:pt idx="11">
                  <c:v>0.26900000000000002</c:v>
                </c:pt>
                <c:pt idx="12">
                  <c:v>3.6999999999999998E-2</c:v>
                </c:pt>
                <c:pt idx="13">
                  <c:v>7.2999999999999995E-2</c:v>
                </c:pt>
                <c:pt idx="14">
                  <c:v>7.2999999999999995E-2</c:v>
                </c:pt>
                <c:pt idx="15">
                  <c:v>8.0000000000000002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7</c:f>
              <c:strCache>
                <c:ptCount val="16"/>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Toastinette Cheddar Fondu Tranche A Chaud Sachet 1X200Gr 10P</c:v>
                </c:pt>
                <c:pt idx="7">
                  <c:v>Toastinette Fromage Fondu Tranche A Chaud Sachet 1X200Gr 10P</c:v>
                </c:pt>
                <c:pt idx="8">
                  <c:v>La Vache Qui Rit Pik Et Croq' Fromage Fondu Dips Boite 1X280Gr 8P</c:v>
                </c:pt>
                <c:pt idx="9">
                  <c:v>La Vache Qui Rit Allegee Fromage Fondu Boite Ronde Allege 1X267Gr 16P</c:v>
                </c:pt>
                <c:pt idx="10">
                  <c:v>La Vache Qui Rit Bio Fromage Fondu Boite Ronde 1X128Gr 8P</c:v>
                </c:pt>
                <c:pt idx="11">
                  <c:v>La Vache Qui Rit Le Fondant Fromage Fondu 1X200Gr 1P</c:v>
                </c:pt>
                <c:pt idx="12">
                  <c:v>La Vache Qui Rit Aro Fromage Fondu Boite Ronde Jambon 1X133Gr 8P</c:v>
                </c:pt>
                <c:pt idx="13">
                  <c:v>Toastinette Fromage Fondu Tranche A Chaud Sachet 1X340Gr 20P</c:v>
                </c:pt>
                <c:pt idx="14">
                  <c:v>Toastinette Cheddar Fondu Tranche A Chaud Sachet 1X340Gr 20P</c:v>
                </c:pt>
                <c:pt idx="15">
                  <c:v>La Vache Qui Rit Pik Et Croq' Fromage Fondu Dips Boite 1X35Gr 1P</c:v>
                </c:pt>
              </c:strCache>
            </c:strRef>
          </c:cat>
          <c:val>
            <c:numRef>
              <c:f>Sheet1!$C$2:$C$17</c:f>
              <c:numCache>
                <c:formatCode>General</c:formatCode>
                <c:ptCount val="16"/>
                <c:pt idx="0">
                  <c:v>0.36832951258590457</c:v>
                </c:pt>
                <c:pt idx="1">
                  <c:v>0.5718390297557725</c:v>
                </c:pt>
                <c:pt idx="2">
                  <c:v>0.76958971349918071</c:v>
                </c:pt>
                <c:pt idx="3">
                  <c:v>0.82492751783054363</c:v>
                </c:pt>
                <c:pt idx="4">
                  <c:v>0.87260773830890959</c:v>
                </c:pt>
                <c:pt idx="5">
                  <c:v>0.91629801238665931</c:v>
                </c:pt>
                <c:pt idx="6">
                  <c:v>0.94231787031491643</c:v>
                </c:pt>
                <c:pt idx="7">
                  <c:v>0.96524689839488154</c:v>
                </c:pt>
                <c:pt idx="8">
                  <c:v>0.97903077961763896</c:v>
                </c:pt>
                <c:pt idx="9">
                  <c:v>0.99038989050925097</c:v>
                </c:pt>
                <c:pt idx="10">
                  <c:v>0.99531110033324766</c:v>
                </c:pt>
                <c:pt idx="11">
                  <c:v>0.99656479718451918</c:v>
                </c:pt>
                <c:pt idx="12">
                  <c:v>0.99749982611748111</c:v>
                </c:pt>
                <c:pt idx="13">
                  <c:v>0.99834669233437168</c:v>
                </c:pt>
                <c:pt idx="14">
                  <c:v>0.99912363210473476</c:v>
                </c:pt>
                <c:pt idx="15">
                  <c:v>0.9998552924003770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7</c:f>
              <c:strCache>
                <c:ptCount val="16"/>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Toastinette Cheddar Fondu Tranche A Chaud Sachet 1X200Gr 10P</c:v>
                </c:pt>
                <c:pt idx="7">
                  <c:v>Toastinette Fromage Fondu Tranche A Chaud Sachet 1X200Gr 10P</c:v>
                </c:pt>
                <c:pt idx="8">
                  <c:v>La Vache Qui Rit Pik Et Croq' Fromage Fondu Dips Boite 1X280Gr 8P</c:v>
                </c:pt>
                <c:pt idx="9">
                  <c:v>La Vache Qui Rit Allegee Fromage Fondu Boite Ronde Allege 1X267Gr 16P</c:v>
                </c:pt>
                <c:pt idx="10">
                  <c:v>La Vache Qui Rit Bio Fromage Fondu Boite Ronde 1X128Gr 8P</c:v>
                </c:pt>
                <c:pt idx="11">
                  <c:v>La Vache Qui Rit Le Fondant Fromage Fondu 1X200Gr 1P</c:v>
                </c:pt>
                <c:pt idx="12">
                  <c:v>La Vache Qui Rit Aro Fromage Fondu Boite Ronde Jambon 1X133Gr 8P</c:v>
                </c:pt>
                <c:pt idx="13">
                  <c:v>Toastinette Fromage Fondu Tranche A Chaud Sachet 1X340Gr 20P</c:v>
                </c:pt>
                <c:pt idx="14">
                  <c:v>Toastinette Cheddar Fondu Tranche A Chaud Sachet 1X340Gr 20P</c:v>
                </c:pt>
                <c:pt idx="15">
                  <c:v>La Vache Qui Rit Pik Et Croq' Fromage Fondu Dips Boite 1X35Gr 1P</c:v>
                </c:pt>
              </c:strCache>
            </c:strRef>
          </c:cat>
          <c:val>
            <c:numRef>
              <c:f>Sheet1!$D$2:$D$17</c:f>
              <c:numCache>
                <c:formatCode>General</c:formatCode>
                <c:ptCount val="16"/>
                <c:pt idx="0">
                  <c:v>143117.46070133013</c:v>
                </c:pt>
                <c:pt idx="1">
                  <c:v>72823.240534521159</c:v>
                </c:pt>
                <c:pt idx="2">
                  <c:v>64775.474006116208</c:v>
                </c:pt>
                <c:pt idx="3">
                  <c:v>19583.832599118945</c:v>
                </c:pt>
                <c:pt idx="4">
                  <c:v>22077.017291066284</c:v>
                </c:pt>
                <c:pt idx="5">
                  <c:v>19364.593103448275</c:v>
                </c:pt>
                <c:pt idx="6">
                  <c:v>9790.5854800936777</c:v>
                </c:pt>
                <c:pt idx="7">
                  <c:v>9643.9267015706791</c:v>
                </c:pt>
                <c:pt idx="8">
                  <c:v>10205.714285714286</c:v>
                </c:pt>
                <c:pt idx="9">
                  <c:v>7373.9595959595963</c:v>
                </c:pt>
                <c:pt idx="10">
                  <c:v>3280.8506224066391</c:v>
                </c:pt>
                <c:pt idx="11">
                  <c:v>1497.620817843866</c:v>
                </c:pt>
                <c:pt idx="12">
                  <c:v>8120.5405405405409</c:v>
                </c:pt>
                <c:pt idx="13">
                  <c:v>3727.8082191780823</c:v>
                </c:pt>
                <c:pt idx="14">
                  <c:v>3420</c:v>
                </c:pt>
                <c:pt idx="15">
                  <c:v>29388.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2</c:f>
              <c:strCache>
                <c:ptCount val="31"/>
                <c:pt idx="0">
                  <c:v>Boursin Classique Fromage Frais A Tartiner Afh Boite 1X150Gr 1P</c:v>
                </c:pt>
                <c:pt idx="1">
                  <c:v>Boursin Classique Fromage Frais A Tartiner Afh 1X160Gr 10P</c:v>
                </c:pt>
                <c:pt idx="2">
                  <c:v>Boursin Aperitif Roules Fromage Frais Roule Afh Et Jambon Fume Boite 1X100Gr 20P</c:v>
                </c:pt>
                <c:pt idx="3">
                  <c:v>Boursin Classique Fromage Frais A Tartiner Afh Boite 1X250Gr 1P</c:v>
                </c:pt>
                <c:pt idx="4">
                  <c:v>Boursin Salade &amp; Aperitif Fromage Frais Des Afh 1X120Gr 1P</c:v>
                </c:pt>
                <c:pt idx="5">
                  <c:v>Boursin Aperitif Roules Fromage Frais Roule Ciboulette &amp; Echalote Jambon Fume Boite 1X100Gr 20P</c:v>
                </c:pt>
                <c:pt idx="6">
                  <c:v>Boursin Classique Fromage Frais A Tartiner Afh Boite 1X96Gr 6P</c:v>
                </c:pt>
                <c:pt idx="7">
                  <c:v>Boursin Classique Fromage Frais A Tartiner Ciboulette &amp; Echalote Boite 1X150Gr 1P</c:v>
                </c:pt>
                <c:pt idx="8">
                  <c:v>Boursin Onctueux Fromage Frais A Tartiner Afh 1X125Gr 1P</c:v>
                </c:pt>
                <c:pt idx="9">
                  <c:v>Boursin Salade &amp; Aperitif Fromage Frais Des Ciboulette Echalote 1X120Gr 1P</c:v>
                </c:pt>
                <c:pt idx="10">
                  <c:v>Boursin Classique Fromage Frais A Tartiner Figue Et 3 Noix Boite 1X150Gr 1P</c:v>
                </c:pt>
                <c:pt idx="11">
                  <c:v>Boursin Cuisine Sauce Fromage Afh 1X240Gr 1P</c:v>
                </c:pt>
                <c:pt idx="12">
                  <c:v>Boursin Salade &amp; Aperitif Fromage Frais Des Figue Noix 1X120Gr 1P</c:v>
                </c:pt>
                <c:pt idx="13">
                  <c:v>Boursin Salade &amp; Aperitif Fromage Frais Des Citron Romarin 1X120Gr 1P</c:v>
                </c:pt>
                <c:pt idx="14">
                  <c:v>Boursin Classique Fromage Frais A Tartiner Afh Boite 1X80Gr 1P</c:v>
                </c:pt>
                <c:pt idx="15">
                  <c:v>Boursin Salade &amp; Aperitif Fromage Frais Des Noisette Et 3 Noix 1X120Gr 1P</c:v>
                </c:pt>
                <c:pt idx="16">
                  <c:v>Boursin Classique Fromage Frais A Tartiner Afh 1X256Gr 16P</c:v>
                </c:pt>
                <c:pt idx="17">
                  <c:v>Boursin Salade &amp; Aperitif Soft Cheese Salade 120G</c:v>
                </c:pt>
                <c:pt idx="18">
                  <c:v>Boursin Classique Fromage Frais A Tartiner 3 Noix Boite 1X150Gr 1P</c:v>
                </c:pt>
                <c:pt idx="19">
                  <c:v>Boursin Classique Fromage Frais A Tartiner Poivre Boite 1X150Gr 1P</c:v>
                </c:pt>
                <c:pt idx="20">
                  <c:v>Boursin Vegetal Specialite Vegetale A Tartiner Afh 1X130Gr 1P</c:v>
                </c:pt>
                <c:pt idx="21">
                  <c:v>Boursin Onctueux Fromage Frais A Tartiner Afh 1X210Gr 1P</c:v>
                </c:pt>
                <c:pt idx="22">
                  <c:v>Boursin Aperitif Roules Aperitif 100G</c:v>
                </c:pt>
                <c:pt idx="23">
                  <c:v>Boursin Aperitif Roules Fromage Frais Roule Jambon Fume &amp; Trio De Noix Boite 1X100Gr 20P</c:v>
                </c:pt>
                <c:pt idx="24">
                  <c:v>Boursin Classique Fromage Frais A Tartiner Truffe Boite 1X150Gr 1P</c:v>
                </c:pt>
                <c:pt idx="25">
                  <c:v>Boursin Classique Fromage Frais A Tartiner Afh Boite 1X320Gr 16+4P</c:v>
                </c:pt>
                <c:pt idx="26">
                  <c:v>Boursin Vegetal Alternative Vegetale 150G</c:v>
                </c:pt>
                <c:pt idx="27">
                  <c:v>Boursin Classique Fromage Frais A Tartiner 3 Noix 1X160Gr 10P</c:v>
                </c:pt>
                <c:pt idx="28">
                  <c:v>Boursin Classique Fromage Frais A Tartiner Citron &amp; Romarin Boite 1X150Gr 1P</c:v>
                </c:pt>
                <c:pt idx="29">
                  <c:v>Boursin Classique Fromage Frais A Tartiner Ciboulette &amp; Echalote 1X160Gr 10P</c:v>
                </c:pt>
                <c:pt idx="30">
                  <c:v>Boursin Aperitif Roules Fromage Frais Roule Basilic &amp; Jambon Fume Tomate Boite 1X100Gr 20P</c:v>
                </c:pt>
              </c:strCache>
            </c:strRef>
          </c:cat>
          <c:val>
            <c:numRef>
              <c:f>Sheet1!$B$2:$B$32</c:f>
              <c:numCache>
                <c:formatCode>General</c:formatCode>
                <c:ptCount val="31"/>
                <c:pt idx="0">
                  <c:v>0.96799999999999997</c:v>
                </c:pt>
                <c:pt idx="1">
                  <c:v>0.91500000000000004</c:v>
                </c:pt>
                <c:pt idx="2">
                  <c:v>0.90500000000000003</c:v>
                </c:pt>
                <c:pt idx="3">
                  <c:v>0.81699999999999995</c:v>
                </c:pt>
                <c:pt idx="4">
                  <c:v>0.96199999999999997</c:v>
                </c:pt>
                <c:pt idx="5">
                  <c:v>0.78800000000000003</c:v>
                </c:pt>
                <c:pt idx="6">
                  <c:v>0.82099999999999995</c:v>
                </c:pt>
                <c:pt idx="7">
                  <c:v>0.79300000000000004</c:v>
                </c:pt>
                <c:pt idx="8">
                  <c:v>0.77400000000000002</c:v>
                </c:pt>
                <c:pt idx="9">
                  <c:v>0.81699999999999995</c:v>
                </c:pt>
                <c:pt idx="10">
                  <c:v>0.69399999999999995</c:v>
                </c:pt>
                <c:pt idx="11">
                  <c:v>0.77300000000000002</c:v>
                </c:pt>
                <c:pt idx="12">
                  <c:v>0.80100000000000005</c:v>
                </c:pt>
                <c:pt idx="13">
                  <c:v>0.70699999999999996</c:v>
                </c:pt>
                <c:pt idx="14">
                  <c:v>0.44700000000000001</c:v>
                </c:pt>
                <c:pt idx="15">
                  <c:v>0.73799999999999999</c:v>
                </c:pt>
                <c:pt idx="16">
                  <c:v>0.26500000000000001</c:v>
                </c:pt>
                <c:pt idx="17">
                  <c:v>0.69799999999999995</c:v>
                </c:pt>
                <c:pt idx="18">
                  <c:v>0.53700000000000003</c:v>
                </c:pt>
                <c:pt idx="19">
                  <c:v>0.40200000000000002</c:v>
                </c:pt>
                <c:pt idx="20">
                  <c:v>0.442</c:v>
                </c:pt>
                <c:pt idx="21">
                  <c:v>0.28100000000000003</c:v>
                </c:pt>
                <c:pt idx="22">
                  <c:v>0.35199999999999998</c:v>
                </c:pt>
                <c:pt idx="23">
                  <c:v>0.40899999999999997</c:v>
                </c:pt>
                <c:pt idx="24">
                  <c:v>0.51100000000000001</c:v>
                </c:pt>
                <c:pt idx="25">
                  <c:v>0.52800000000000002</c:v>
                </c:pt>
                <c:pt idx="26">
                  <c:v>0.45500000000000002</c:v>
                </c:pt>
                <c:pt idx="27">
                  <c:v>0.379</c:v>
                </c:pt>
                <c:pt idx="28">
                  <c:v>0.32400000000000001</c:v>
                </c:pt>
                <c:pt idx="29">
                  <c:v>7.4999999999999997E-2</c:v>
                </c:pt>
                <c:pt idx="30">
                  <c:v>8.9999999999999993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2</c:f>
              <c:strCache>
                <c:ptCount val="31"/>
                <c:pt idx="0">
                  <c:v>Boursin Classique Fromage Frais A Tartiner Afh Boite 1X150Gr 1P</c:v>
                </c:pt>
                <c:pt idx="1">
                  <c:v>Boursin Classique Fromage Frais A Tartiner Afh 1X160Gr 10P</c:v>
                </c:pt>
                <c:pt idx="2">
                  <c:v>Boursin Aperitif Roules Fromage Frais Roule Afh Et Jambon Fume Boite 1X100Gr 20P</c:v>
                </c:pt>
                <c:pt idx="3">
                  <c:v>Boursin Classique Fromage Frais A Tartiner Afh Boite 1X250Gr 1P</c:v>
                </c:pt>
                <c:pt idx="4">
                  <c:v>Boursin Salade &amp; Aperitif Fromage Frais Des Afh 1X120Gr 1P</c:v>
                </c:pt>
                <c:pt idx="5">
                  <c:v>Boursin Aperitif Roules Fromage Frais Roule Ciboulette &amp; Echalote Jambon Fume Boite 1X100Gr 20P</c:v>
                </c:pt>
                <c:pt idx="6">
                  <c:v>Boursin Classique Fromage Frais A Tartiner Afh Boite 1X96Gr 6P</c:v>
                </c:pt>
                <c:pt idx="7">
                  <c:v>Boursin Classique Fromage Frais A Tartiner Ciboulette &amp; Echalote Boite 1X150Gr 1P</c:v>
                </c:pt>
                <c:pt idx="8">
                  <c:v>Boursin Onctueux Fromage Frais A Tartiner Afh 1X125Gr 1P</c:v>
                </c:pt>
                <c:pt idx="9">
                  <c:v>Boursin Salade &amp; Aperitif Fromage Frais Des Ciboulette Echalote 1X120Gr 1P</c:v>
                </c:pt>
                <c:pt idx="10">
                  <c:v>Boursin Classique Fromage Frais A Tartiner Figue Et 3 Noix Boite 1X150Gr 1P</c:v>
                </c:pt>
                <c:pt idx="11">
                  <c:v>Boursin Cuisine Sauce Fromage Afh 1X240Gr 1P</c:v>
                </c:pt>
                <c:pt idx="12">
                  <c:v>Boursin Salade &amp; Aperitif Fromage Frais Des Figue Noix 1X120Gr 1P</c:v>
                </c:pt>
                <c:pt idx="13">
                  <c:v>Boursin Salade &amp; Aperitif Fromage Frais Des Citron Romarin 1X120Gr 1P</c:v>
                </c:pt>
                <c:pt idx="14">
                  <c:v>Boursin Classique Fromage Frais A Tartiner Afh Boite 1X80Gr 1P</c:v>
                </c:pt>
                <c:pt idx="15">
                  <c:v>Boursin Salade &amp; Aperitif Fromage Frais Des Noisette Et 3 Noix 1X120Gr 1P</c:v>
                </c:pt>
                <c:pt idx="16">
                  <c:v>Boursin Classique Fromage Frais A Tartiner Afh 1X256Gr 16P</c:v>
                </c:pt>
                <c:pt idx="17">
                  <c:v>Boursin Salade &amp; Aperitif Soft Cheese Salade 120G</c:v>
                </c:pt>
                <c:pt idx="18">
                  <c:v>Boursin Classique Fromage Frais A Tartiner 3 Noix Boite 1X150Gr 1P</c:v>
                </c:pt>
                <c:pt idx="19">
                  <c:v>Boursin Classique Fromage Frais A Tartiner Poivre Boite 1X150Gr 1P</c:v>
                </c:pt>
                <c:pt idx="20">
                  <c:v>Boursin Vegetal Specialite Vegetale A Tartiner Afh 1X130Gr 1P</c:v>
                </c:pt>
                <c:pt idx="21">
                  <c:v>Boursin Onctueux Fromage Frais A Tartiner Afh 1X210Gr 1P</c:v>
                </c:pt>
                <c:pt idx="22">
                  <c:v>Boursin Aperitif Roules Aperitif 100G</c:v>
                </c:pt>
                <c:pt idx="23">
                  <c:v>Boursin Aperitif Roules Fromage Frais Roule Jambon Fume &amp; Trio De Noix Boite 1X100Gr 20P</c:v>
                </c:pt>
                <c:pt idx="24">
                  <c:v>Boursin Classique Fromage Frais A Tartiner Truffe Boite 1X150Gr 1P</c:v>
                </c:pt>
                <c:pt idx="25">
                  <c:v>Boursin Classique Fromage Frais A Tartiner Afh Boite 1X320Gr 16+4P</c:v>
                </c:pt>
                <c:pt idx="26">
                  <c:v>Boursin Vegetal Alternative Vegetale 150G</c:v>
                </c:pt>
                <c:pt idx="27">
                  <c:v>Boursin Classique Fromage Frais A Tartiner 3 Noix 1X160Gr 10P</c:v>
                </c:pt>
                <c:pt idx="28">
                  <c:v>Boursin Classique Fromage Frais A Tartiner Citron &amp; Romarin Boite 1X150Gr 1P</c:v>
                </c:pt>
                <c:pt idx="29">
                  <c:v>Boursin Classique Fromage Frais A Tartiner Ciboulette &amp; Echalote 1X160Gr 10P</c:v>
                </c:pt>
                <c:pt idx="30">
                  <c:v>Boursin Aperitif Roules Fromage Frais Roule Basilic &amp; Jambon Fume Tomate Boite 1X100Gr 20P</c:v>
                </c:pt>
              </c:strCache>
            </c:strRef>
          </c:cat>
          <c:val>
            <c:numRef>
              <c:f>Sheet1!$C$2:$C$32</c:f>
              <c:numCache>
                <c:formatCode>General</c:formatCode>
                <c:ptCount val="31"/>
                <c:pt idx="0">
                  <c:v>0.17357360669995398</c:v>
                </c:pt>
                <c:pt idx="1">
                  <c:v>0.3427807423817848</c:v>
                </c:pt>
                <c:pt idx="2">
                  <c:v>0.47417383048797734</c:v>
                </c:pt>
                <c:pt idx="3">
                  <c:v>0.58195069411568234</c:v>
                </c:pt>
                <c:pt idx="4">
                  <c:v>0.68377695146782369</c:v>
                </c:pt>
                <c:pt idx="5">
                  <c:v>0.73501531839744894</c:v>
                </c:pt>
                <c:pt idx="6">
                  <c:v>0.78476709345729001</c:v>
                </c:pt>
                <c:pt idx="7">
                  <c:v>0.81996611005651898</c:v>
                </c:pt>
                <c:pt idx="8">
                  <c:v>0.85026589510357731</c:v>
                </c:pt>
                <c:pt idx="9">
                  <c:v>0.87292905429387524</c:v>
                </c:pt>
                <c:pt idx="10">
                  <c:v>0.89554027546048398</c:v>
                </c:pt>
                <c:pt idx="11">
                  <c:v>0.91499921097102654</c:v>
                </c:pt>
                <c:pt idx="12">
                  <c:v>0.93226898687147708</c:v>
                </c:pt>
                <c:pt idx="13">
                  <c:v>0.94102138651541822</c:v>
                </c:pt>
                <c:pt idx="14">
                  <c:v>0.94825226252143013</c:v>
                </c:pt>
                <c:pt idx="15">
                  <c:v>0.95485666484347342</c:v>
                </c:pt>
                <c:pt idx="16">
                  <c:v>0.96130106536785853</c:v>
                </c:pt>
                <c:pt idx="17">
                  <c:v>0.96744640092987955</c:v>
                </c:pt>
                <c:pt idx="18">
                  <c:v>0.97233419283868106</c:v>
                </c:pt>
                <c:pt idx="19">
                  <c:v>0.97678007745251394</c:v>
                </c:pt>
                <c:pt idx="20">
                  <c:v>0.98019695593132738</c:v>
                </c:pt>
                <c:pt idx="21">
                  <c:v>0.98343789882350419</c:v>
                </c:pt>
                <c:pt idx="22">
                  <c:v>0.98611457109253187</c:v>
                </c:pt>
                <c:pt idx="23">
                  <c:v>0.98871913275246492</c:v>
                </c:pt>
                <c:pt idx="24">
                  <c:v>0.99121634561613958</c:v>
                </c:pt>
                <c:pt idx="25">
                  <c:v>0.99367673712771998</c:v>
                </c:pt>
                <c:pt idx="26">
                  <c:v>0.9961266082529876</c:v>
                </c:pt>
                <c:pt idx="27">
                  <c:v>0.99845789521797357</c:v>
                </c:pt>
                <c:pt idx="28">
                  <c:v>0.99928951643503927</c:v>
                </c:pt>
                <c:pt idx="29">
                  <c:v>0.99999458659733409</c:v>
                </c:pt>
                <c:pt idx="30">
                  <c:v>0.9999974975780128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2</c:f>
              <c:strCache>
                <c:ptCount val="31"/>
                <c:pt idx="0">
                  <c:v>Boursin Classique Fromage Frais A Tartiner Afh Boite 1X150Gr 1P</c:v>
                </c:pt>
                <c:pt idx="1">
                  <c:v>Boursin Classique Fromage Frais A Tartiner Afh 1X160Gr 10P</c:v>
                </c:pt>
                <c:pt idx="2">
                  <c:v>Boursin Aperitif Roules Fromage Frais Roule Afh Et Jambon Fume Boite 1X100Gr 20P</c:v>
                </c:pt>
                <c:pt idx="3">
                  <c:v>Boursin Classique Fromage Frais A Tartiner Afh Boite 1X250Gr 1P</c:v>
                </c:pt>
                <c:pt idx="4">
                  <c:v>Boursin Salade &amp; Aperitif Fromage Frais Des Afh 1X120Gr 1P</c:v>
                </c:pt>
                <c:pt idx="5">
                  <c:v>Boursin Aperitif Roules Fromage Frais Roule Ciboulette &amp; Echalote Jambon Fume Boite 1X100Gr 20P</c:v>
                </c:pt>
                <c:pt idx="6">
                  <c:v>Boursin Classique Fromage Frais A Tartiner Afh Boite 1X96Gr 6P</c:v>
                </c:pt>
                <c:pt idx="7">
                  <c:v>Boursin Classique Fromage Frais A Tartiner Ciboulette &amp; Echalote Boite 1X150Gr 1P</c:v>
                </c:pt>
                <c:pt idx="8">
                  <c:v>Boursin Onctueux Fromage Frais A Tartiner Afh 1X125Gr 1P</c:v>
                </c:pt>
                <c:pt idx="9">
                  <c:v>Boursin Salade &amp; Aperitif Fromage Frais Des Ciboulette Echalote 1X120Gr 1P</c:v>
                </c:pt>
                <c:pt idx="10">
                  <c:v>Boursin Classique Fromage Frais A Tartiner Figue Et 3 Noix Boite 1X150Gr 1P</c:v>
                </c:pt>
                <c:pt idx="11">
                  <c:v>Boursin Cuisine Sauce Fromage Afh 1X240Gr 1P</c:v>
                </c:pt>
                <c:pt idx="12">
                  <c:v>Boursin Salade &amp; Aperitif Fromage Frais Des Figue Noix 1X120Gr 1P</c:v>
                </c:pt>
                <c:pt idx="13">
                  <c:v>Boursin Salade &amp; Aperitif Fromage Frais Des Citron Romarin 1X120Gr 1P</c:v>
                </c:pt>
                <c:pt idx="14">
                  <c:v>Boursin Classique Fromage Frais A Tartiner Afh Boite 1X80Gr 1P</c:v>
                </c:pt>
                <c:pt idx="15">
                  <c:v>Boursin Salade &amp; Aperitif Fromage Frais Des Noisette Et 3 Noix 1X120Gr 1P</c:v>
                </c:pt>
                <c:pt idx="16">
                  <c:v>Boursin Classique Fromage Frais A Tartiner Afh 1X256Gr 16P</c:v>
                </c:pt>
                <c:pt idx="17">
                  <c:v>Boursin Salade &amp; Aperitif Soft Cheese Salade 120G</c:v>
                </c:pt>
                <c:pt idx="18">
                  <c:v>Boursin Classique Fromage Frais A Tartiner 3 Noix Boite 1X150Gr 1P</c:v>
                </c:pt>
                <c:pt idx="19">
                  <c:v>Boursin Classique Fromage Frais A Tartiner Poivre Boite 1X150Gr 1P</c:v>
                </c:pt>
                <c:pt idx="20">
                  <c:v>Boursin Vegetal Specialite Vegetale A Tartiner Afh 1X130Gr 1P</c:v>
                </c:pt>
                <c:pt idx="21">
                  <c:v>Boursin Onctueux Fromage Frais A Tartiner Afh 1X210Gr 1P</c:v>
                </c:pt>
                <c:pt idx="22">
                  <c:v>Boursin Aperitif Roules Aperitif 100G</c:v>
                </c:pt>
                <c:pt idx="23">
                  <c:v>Boursin Aperitif Roules Fromage Frais Roule Jambon Fume &amp; Trio De Noix Boite 1X100Gr 20P</c:v>
                </c:pt>
                <c:pt idx="24">
                  <c:v>Boursin Classique Fromage Frais A Tartiner Truffe Boite 1X150Gr 1P</c:v>
                </c:pt>
                <c:pt idx="25">
                  <c:v>Boursin Classique Fromage Frais A Tartiner Afh Boite 1X320Gr 16+4P</c:v>
                </c:pt>
                <c:pt idx="26">
                  <c:v>Boursin Vegetal Alternative Vegetale 150G</c:v>
                </c:pt>
                <c:pt idx="27">
                  <c:v>Boursin Classique Fromage Frais A Tartiner 3 Noix 1X160Gr 10P</c:v>
                </c:pt>
                <c:pt idx="28">
                  <c:v>Boursin Classique Fromage Frais A Tartiner Citron &amp; Romarin Boite 1X150Gr 1P</c:v>
                </c:pt>
                <c:pt idx="29">
                  <c:v>Boursin Classique Fromage Frais A Tartiner Ciboulette &amp; Echalote 1X160Gr 10P</c:v>
                </c:pt>
                <c:pt idx="30">
                  <c:v>Boursin Aperitif Roules Fromage Frais Roule Basilic &amp; Jambon Fume Tomate Boite 1X100Gr 20P</c:v>
                </c:pt>
              </c:strCache>
            </c:strRef>
          </c:cat>
          <c:val>
            <c:numRef>
              <c:f>Sheet1!$D$2:$D$32</c:f>
              <c:numCache>
                <c:formatCode>General</c:formatCode>
                <c:ptCount val="31"/>
                <c:pt idx="0">
                  <c:v>35111.053719008269</c:v>
                </c:pt>
                <c:pt idx="1">
                  <c:v>36210.382513661199</c:v>
                </c:pt>
                <c:pt idx="2">
                  <c:v>28428.861878453037</c:v>
                </c:pt>
                <c:pt idx="3">
                  <c:v>25830.86903304774</c:v>
                </c:pt>
                <c:pt idx="4">
                  <c:v>20726.226611226612</c:v>
                </c:pt>
                <c:pt idx="5">
                  <c:v>12732.233502538071</c:v>
                </c:pt>
                <c:pt idx="6">
                  <c:v>11865.907429963459</c:v>
                </c:pt>
                <c:pt idx="7">
                  <c:v>8691.4627994955863</c:v>
                </c:pt>
                <c:pt idx="8">
                  <c:v>7665.3875968992243</c:v>
                </c:pt>
                <c:pt idx="9">
                  <c:v>5431.6768665850677</c:v>
                </c:pt>
                <c:pt idx="10">
                  <c:v>6379.6974063400585</c:v>
                </c:pt>
                <c:pt idx="11">
                  <c:v>4929.184993531695</c:v>
                </c:pt>
                <c:pt idx="12">
                  <c:v>4221.7228464419468</c:v>
                </c:pt>
                <c:pt idx="13">
                  <c:v>2424.0594059405939</c:v>
                </c:pt>
                <c:pt idx="14">
                  <c:v>3167.5167785234898</c:v>
                </c:pt>
                <c:pt idx="15">
                  <c:v>1752.3170731707319</c:v>
                </c:pt>
                <c:pt idx="16">
                  <c:v>4761.8113207547167</c:v>
                </c:pt>
                <c:pt idx="17">
                  <c:v>1723.9541547277938</c:v>
                </c:pt>
                <c:pt idx="18">
                  <c:v>1782.2718808193667</c:v>
                </c:pt>
                <c:pt idx="19">
                  <c:v>2165.5472636815921</c:v>
                </c:pt>
                <c:pt idx="20">
                  <c:v>1513.710407239819</c:v>
                </c:pt>
                <c:pt idx="21">
                  <c:v>2258.3985765124553</c:v>
                </c:pt>
                <c:pt idx="22">
                  <c:v>1488.977272727273</c:v>
                </c:pt>
                <c:pt idx="23">
                  <c:v>1246.9437652811737</c:v>
                </c:pt>
                <c:pt idx="24">
                  <c:v>956.90802348336592</c:v>
                </c:pt>
                <c:pt idx="25">
                  <c:v>912.44318181818176</c:v>
                </c:pt>
                <c:pt idx="26">
                  <c:v>1054.3076923076924</c:v>
                </c:pt>
                <c:pt idx="27">
                  <c:v>1204.4591029023748</c:v>
                </c:pt>
                <c:pt idx="28">
                  <c:v>502.59259259259261</c:v>
                </c:pt>
                <c:pt idx="29">
                  <c:v>1840.8</c:v>
                </c:pt>
                <c:pt idx="30">
                  <c:v>63.33333333333334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Creme Fromage Blanc Frais Carre 1X432Gr 18+6P</c:v>
                </c:pt>
                <c:pt idx="9">
                  <c:v>Kiri Delicieusement Fouette Fromage Frais A Tartiner 1X160Gr 10P</c:v>
                </c:pt>
                <c:pt idx="10">
                  <c:v>Kiri Delicieusement Fouette Fromage Frais A Tartiner 1X210Gr 1P</c:v>
                </c:pt>
              </c:strCache>
            </c:strRef>
          </c:cat>
          <c:val>
            <c:numRef>
              <c:f>Sheet1!$B$2:$B$12</c:f>
              <c:numCache>
                <c:formatCode>General</c:formatCode>
                <c:ptCount val="11"/>
                <c:pt idx="0">
                  <c:v>0.97499999999999998</c:v>
                </c:pt>
                <c:pt idx="1">
                  <c:v>0.86099999999999999</c:v>
                </c:pt>
                <c:pt idx="2">
                  <c:v>0.93200000000000005</c:v>
                </c:pt>
                <c:pt idx="3">
                  <c:v>0.98299999999999998</c:v>
                </c:pt>
                <c:pt idx="4">
                  <c:v>0.98099999999999998</c:v>
                </c:pt>
                <c:pt idx="5">
                  <c:v>0.83699999999999997</c:v>
                </c:pt>
                <c:pt idx="6">
                  <c:v>0.60299999999999998</c:v>
                </c:pt>
                <c:pt idx="7">
                  <c:v>0.67200000000000004</c:v>
                </c:pt>
                <c:pt idx="8">
                  <c:v>0.81699999999999995</c:v>
                </c:pt>
                <c:pt idx="9">
                  <c:v>0.89500000000000002</c:v>
                </c:pt>
                <c:pt idx="10">
                  <c:v>0.37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Creme Fromage Blanc Frais Carre 1X432Gr 18+6P</c:v>
                </c:pt>
                <c:pt idx="9">
                  <c:v>Kiri Delicieusement Fouette Fromage Frais A Tartiner 1X160Gr 10P</c:v>
                </c:pt>
                <c:pt idx="10">
                  <c:v>Kiri Delicieusement Fouette Fromage Frais A Tartiner 1X210Gr 1P</c:v>
                </c:pt>
              </c:strCache>
            </c:strRef>
          </c:cat>
          <c:val>
            <c:numRef>
              <c:f>Sheet1!$C$2:$C$12</c:f>
              <c:numCache>
                <c:formatCode>General</c:formatCode>
                <c:ptCount val="11"/>
                <c:pt idx="0">
                  <c:v>0.25920069238372667</c:v>
                </c:pt>
                <c:pt idx="1">
                  <c:v>0.47626050228402095</c:v>
                </c:pt>
                <c:pt idx="2">
                  <c:v>0.62622558018562058</c:v>
                </c:pt>
                <c:pt idx="3">
                  <c:v>0.77360369601559009</c:v>
                </c:pt>
                <c:pt idx="4">
                  <c:v>0.89101566880978411</c:v>
                </c:pt>
                <c:pt idx="5">
                  <c:v>0.92089431037533132</c:v>
                </c:pt>
                <c:pt idx="6">
                  <c:v>0.94575420482355776</c:v>
                </c:pt>
                <c:pt idx="7">
                  <c:v>0.96725886847749942</c:v>
                </c:pt>
                <c:pt idx="8">
                  <c:v>0.98320500850275916</c:v>
                </c:pt>
                <c:pt idx="9">
                  <c:v>0.99895887785556403</c:v>
                </c:pt>
                <c:pt idx="1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Creme Fromage Blanc Frais Carre 1X432Gr 18+6P</c:v>
                </c:pt>
                <c:pt idx="9">
                  <c:v>Kiri Delicieusement Fouette Fromage Frais A Tartiner 1X160Gr 10P</c:v>
                </c:pt>
                <c:pt idx="10">
                  <c:v>Kiri Delicieusement Fouette Fromage Frais A Tartiner 1X210Gr 1P</c:v>
                </c:pt>
              </c:strCache>
            </c:strRef>
          </c:cat>
          <c:val>
            <c:numRef>
              <c:f>Sheet1!$D$2:$D$12</c:f>
              <c:numCache>
                <c:formatCode>General</c:formatCode>
                <c:ptCount val="11"/>
                <c:pt idx="0">
                  <c:v>45724.892307692309</c:v>
                </c:pt>
                <c:pt idx="1">
                  <c:v>43360.813008130084</c:v>
                </c:pt>
                <c:pt idx="2">
                  <c:v>27675.493562231757</c:v>
                </c:pt>
                <c:pt idx="3">
                  <c:v>25786.988809766022</c:v>
                </c:pt>
                <c:pt idx="4">
                  <c:v>20585.647298674823</c:v>
                </c:pt>
                <c:pt idx="5">
                  <c:v>6139.8327359617679</c:v>
                </c:pt>
                <c:pt idx="6">
                  <c:v>7090.9286898839136</c:v>
                </c:pt>
                <c:pt idx="7">
                  <c:v>5504.0773809523807</c:v>
                </c:pt>
                <c:pt idx="8">
                  <c:v>3357.0257037943702</c:v>
                </c:pt>
                <c:pt idx="9">
                  <c:v>3027.5083798882683</c:v>
                </c:pt>
                <c:pt idx="10">
                  <c:v>481.3709677419354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3</c:f>
              <c:strCache>
                <c:ptCount val="12"/>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pt idx="9">
                  <c:v>Toastinette Fromage Fondu Tranche A Chaud Sachet 1X200Gr 10P</c:v>
                </c:pt>
                <c:pt idx="10">
                  <c:v>Toastinette Fromage Fondu Tranche A Chaud Sachet 1X340Gr 20P</c:v>
                </c:pt>
                <c:pt idx="11">
                  <c:v>Toastinette Cheddar Fondu Tranche A Chaud Sachet 1X340Gr 20P</c:v>
                </c:pt>
              </c:strCache>
            </c:strRef>
          </c:cat>
          <c:val>
            <c:numRef>
              <c:f>Sheet1!$B$2:$B$13</c:f>
              <c:numCache>
                <c:formatCode>General</c:formatCode>
                <c:ptCount val="12"/>
                <c:pt idx="0">
                  <c:v>0.94699999999999995</c:v>
                </c:pt>
                <c:pt idx="1">
                  <c:v>0.998</c:v>
                </c:pt>
                <c:pt idx="2">
                  <c:v>0.94099999999999995</c:v>
                </c:pt>
                <c:pt idx="3">
                  <c:v>0.95499999999999996</c:v>
                </c:pt>
                <c:pt idx="4">
                  <c:v>0.84799999999999998</c:v>
                </c:pt>
                <c:pt idx="5">
                  <c:v>0.84099999999999997</c:v>
                </c:pt>
                <c:pt idx="6">
                  <c:v>0.67900000000000005</c:v>
                </c:pt>
                <c:pt idx="7">
                  <c:v>0.23100000000000001</c:v>
                </c:pt>
                <c:pt idx="8">
                  <c:v>0.112</c:v>
                </c:pt>
                <c:pt idx="9">
                  <c:v>1E-3</c:v>
                </c:pt>
                <c:pt idx="10">
                  <c:v>1E-3</c:v>
                </c:pt>
                <c:pt idx="11">
                  <c:v>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3</c:f>
              <c:strCache>
                <c:ptCount val="12"/>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pt idx="9">
                  <c:v>Toastinette Fromage Fondu Tranche A Chaud Sachet 1X200Gr 10P</c:v>
                </c:pt>
                <c:pt idx="10">
                  <c:v>Toastinette Fromage Fondu Tranche A Chaud Sachet 1X340Gr 20P</c:v>
                </c:pt>
                <c:pt idx="11">
                  <c:v>Toastinette Cheddar Fondu Tranche A Chaud Sachet 1X340Gr 20P</c:v>
                </c:pt>
              </c:strCache>
            </c:strRef>
          </c:cat>
          <c:val>
            <c:numRef>
              <c:f>Sheet1!$C$2:$C$13</c:f>
              <c:numCache>
                <c:formatCode>General</c:formatCode>
                <c:ptCount val="12"/>
                <c:pt idx="0">
                  <c:v>0.3330787016996174</c:v>
                </c:pt>
                <c:pt idx="1">
                  <c:v>0.60618159074463662</c:v>
                </c:pt>
                <c:pt idx="2">
                  <c:v>0.82404377819971086</c:v>
                </c:pt>
                <c:pt idx="3">
                  <c:v>0.88442525486547452</c:v>
                </c:pt>
                <c:pt idx="4">
                  <c:v>0.93984190230399511</c:v>
                </c:pt>
                <c:pt idx="5">
                  <c:v>0.97825741085997708</c:v>
                </c:pt>
                <c:pt idx="6">
                  <c:v>0.99854646298086491</c:v>
                </c:pt>
                <c:pt idx="7">
                  <c:v>0.99990349354690122</c:v>
                </c:pt>
                <c:pt idx="8">
                  <c:v>0.99995039470784686</c:v>
                </c:pt>
                <c:pt idx="9">
                  <c:v>0.99998962677536751</c:v>
                </c:pt>
                <c:pt idx="10">
                  <c:v>0.99999405977734723</c:v>
                </c:pt>
                <c:pt idx="11">
                  <c:v>0.9999971628787330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3</c:f>
              <c:strCache>
                <c:ptCount val="12"/>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pt idx="9">
                  <c:v>Toastinette Fromage Fondu Tranche A Chaud Sachet 1X200Gr 10P</c:v>
                </c:pt>
                <c:pt idx="10">
                  <c:v>Toastinette Fromage Fondu Tranche A Chaud Sachet 1X340Gr 20P</c:v>
                </c:pt>
                <c:pt idx="11">
                  <c:v>Toastinette Cheddar Fondu Tranche A Chaud Sachet 1X340Gr 20P</c:v>
                </c:pt>
              </c:strCache>
            </c:strRef>
          </c:cat>
          <c:val>
            <c:numRef>
              <c:f>Sheet1!$D$2:$D$13</c:f>
              <c:numCache>
                <c:formatCode>General</c:formatCode>
                <c:ptCount val="12"/>
                <c:pt idx="0">
                  <c:v>79341.235480464631</c:v>
                </c:pt>
                <c:pt idx="1">
                  <c:v>61730.220440881763</c:v>
                </c:pt>
                <c:pt idx="2">
                  <c:v>52226.907545164722</c:v>
                </c:pt>
                <c:pt idx="3">
                  <c:v>14262.722513089006</c:v>
                </c:pt>
                <c:pt idx="4">
                  <c:v>14741.662735849057</c:v>
                </c:pt>
                <c:pt idx="5">
                  <c:v>10304.161712247325</c:v>
                </c:pt>
                <c:pt idx="6">
                  <c:v>6740.5301914580259</c:v>
                </c:pt>
                <c:pt idx="7">
                  <c:v>1325.1948051948052</c:v>
                </c:pt>
                <c:pt idx="8">
                  <c:v>94.464285714285708</c:v>
                </c:pt>
                <c:pt idx="9">
                  <c:v>3580</c:v>
                </c:pt>
                <c:pt idx="10">
                  <c:v>1000</c:v>
                </c:pt>
                <c:pt idx="11">
                  <c:v>70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5</c:f>
              <c:strCache>
                <c:ptCount val="24"/>
                <c:pt idx="0">
                  <c:v>Boursin Classique Fromage Frais A Tartiner Afh Boite 1X250Gr 1P</c:v>
                </c:pt>
                <c:pt idx="1">
                  <c:v>Boursin Classique Fromage Frais A Tartiner Afh 1X160Gr 10P</c:v>
                </c:pt>
                <c:pt idx="2">
                  <c:v>Boursin Classique Fromage Frais A Tartiner Afh Boite 1X150Gr 1P</c:v>
                </c:pt>
                <c:pt idx="3">
                  <c:v>Boursin Aperitif Roules Fromage Frais Roule Afh Et Jambon Fume Boite 1X100Gr 20P</c:v>
                </c:pt>
                <c:pt idx="4">
                  <c:v>Boursin Aperitif Roules Fromage Frais Roule Ciboulette &amp; Echalote Jambon Fume Boite 1X100Gr 20P</c:v>
                </c:pt>
                <c:pt idx="5">
                  <c:v>Boursin Onctueux Fromage Frais A Tartiner Afh 1X125Gr 1P</c:v>
                </c:pt>
                <c:pt idx="6">
                  <c:v>Boursin Salade &amp; Aperitif Fromage Frais Des Afh 1X120Gr 1P</c:v>
                </c:pt>
                <c:pt idx="7">
                  <c:v>Boursin Classique Fromage Frais A Tartiner Afh Boite 1X96Gr 6P</c:v>
                </c:pt>
                <c:pt idx="8">
                  <c:v>Boursin Classique Fromage Frais A Tartiner Figue Et 3 Noix Boite 1X150Gr 1P</c:v>
                </c:pt>
                <c:pt idx="9">
                  <c:v>Boursin Classique Fromage Frais A Tartiner Ciboulette &amp; Echalote Boite 1X150Gr 1P</c:v>
                </c:pt>
                <c:pt idx="10">
                  <c:v>Boursin Classique Fromage Frais A Tartiner Afh 1X256Gr 16P</c:v>
                </c:pt>
                <c:pt idx="11">
                  <c:v>Boursin Cuisine Sauce Fromage Afh 1X240Gr 1P</c:v>
                </c:pt>
                <c:pt idx="12">
                  <c:v>Boursin Classique Fromage Frais A Tartiner Poivre Boite 1X150Gr 1P</c:v>
                </c:pt>
                <c:pt idx="13">
                  <c:v>Boursin Aperitif Roules Fromage Frais Roule Basilic &amp; Jambon Fume Tomate Boite 1X100Gr 20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Salade &amp; Aperitif Fromage Frais Des Citron Romarin 1X120Gr 1P</c:v>
                </c:pt>
                <c:pt idx="18">
                  <c:v>Boursin Classique Fromage Frais A Tartiner Afh Boite 1X80Gr 1P</c:v>
                </c:pt>
                <c:pt idx="19">
                  <c:v>Boursin Salade &amp; Aperitif Fromage Frais Des Noisette Et 3 Noix 1X120Gr 1P</c:v>
                </c:pt>
                <c:pt idx="20">
                  <c:v>Boursin Aperitif Roules Fromage Frais Roule Jambon Fume &amp; Trio De Noix Boite 1X100Gr 20P</c:v>
                </c:pt>
                <c:pt idx="21">
                  <c:v>Boursin Aperitif Roules Aperitif 100G</c:v>
                </c:pt>
                <c:pt idx="22">
                  <c:v>Boursin Salade &amp; Aperitif Soft Cheese Salade 120G</c:v>
                </c:pt>
                <c:pt idx="23">
                  <c:v>Boursin Classique Fromage Frais A Tartiner Truffe Boite 1X150Gr 1P</c:v>
                </c:pt>
              </c:strCache>
            </c:strRef>
          </c:cat>
          <c:val>
            <c:numRef>
              <c:f>Sheet1!$B$2:$B$25</c:f>
              <c:numCache>
                <c:formatCode>General</c:formatCode>
                <c:ptCount val="24"/>
                <c:pt idx="0">
                  <c:v>0.98</c:v>
                </c:pt>
                <c:pt idx="1">
                  <c:v>0.98099999999999998</c:v>
                </c:pt>
                <c:pt idx="2">
                  <c:v>0.998</c:v>
                </c:pt>
                <c:pt idx="3">
                  <c:v>0.96599999999999997</c:v>
                </c:pt>
                <c:pt idx="4">
                  <c:v>0.91100000000000003</c:v>
                </c:pt>
                <c:pt idx="5">
                  <c:v>0.95399999999999996</c:v>
                </c:pt>
                <c:pt idx="6">
                  <c:v>0.96799999999999997</c:v>
                </c:pt>
                <c:pt idx="7">
                  <c:v>0.93899999999999995</c:v>
                </c:pt>
                <c:pt idx="8">
                  <c:v>0.98</c:v>
                </c:pt>
                <c:pt idx="9">
                  <c:v>0.97299999999999998</c:v>
                </c:pt>
                <c:pt idx="10">
                  <c:v>0.86</c:v>
                </c:pt>
                <c:pt idx="11">
                  <c:v>0.873</c:v>
                </c:pt>
                <c:pt idx="12">
                  <c:v>0.94</c:v>
                </c:pt>
                <c:pt idx="13">
                  <c:v>0.873</c:v>
                </c:pt>
                <c:pt idx="14">
                  <c:v>0.80800000000000005</c:v>
                </c:pt>
                <c:pt idx="15">
                  <c:v>0.82299999999999995</c:v>
                </c:pt>
                <c:pt idx="16">
                  <c:v>0.84499999999999997</c:v>
                </c:pt>
                <c:pt idx="17">
                  <c:v>0.66</c:v>
                </c:pt>
                <c:pt idx="18">
                  <c:v>0.32500000000000001</c:v>
                </c:pt>
                <c:pt idx="19">
                  <c:v>0.80300000000000005</c:v>
                </c:pt>
                <c:pt idx="20">
                  <c:v>0.75</c:v>
                </c:pt>
                <c:pt idx="21">
                  <c:v>0.66100000000000003</c:v>
                </c:pt>
                <c:pt idx="22">
                  <c:v>0.41399999999999998</c:v>
                </c:pt>
                <c:pt idx="23">
                  <c:v>0.68700000000000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5</c:f>
              <c:strCache>
                <c:ptCount val="24"/>
                <c:pt idx="0">
                  <c:v>Boursin Classique Fromage Frais A Tartiner Afh Boite 1X250Gr 1P</c:v>
                </c:pt>
                <c:pt idx="1">
                  <c:v>Boursin Classique Fromage Frais A Tartiner Afh 1X160Gr 10P</c:v>
                </c:pt>
                <c:pt idx="2">
                  <c:v>Boursin Classique Fromage Frais A Tartiner Afh Boite 1X150Gr 1P</c:v>
                </c:pt>
                <c:pt idx="3">
                  <c:v>Boursin Aperitif Roules Fromage Frais Roule Afh Et Jambon Fume Boite 1X100Gr 20P</c:v>
                </c:pt>
                <c:pt idx="4">
                  <c:v>Boursin Aperitif Roules Fromage Frais Roule Ciboulette &amp; Echalote Jambon Fume Boite 1X100Gr 20P</c:v>
                </c:pt>
                <c:pt idx="5">
                  <c:v>Boursin Onctueux Fromage Frais A Tartiner Afh 1X125Gr 1P</c:v>
                </c:pt>
                <c:pt idx="6">
                  <c:v>Boursin Salade &amp; Aperitif Fromage Frais Des Afh 1X120Gr 1P</c:v>
                </c:pt>
                <c:pt idx="7">
                  <c:v>Boursin Classique Fromage Frais A Tartiner Afh Boite 1X96Gr 6P</c:v>
                </c:pt>
                <c:pt idx="8">
                  <c:v>Boursin Classique Fromage Frais A Tartiner Figue Et 3 Noix Boite 1X150Gr 1P</c:v>
                </c:pt>
                <c:pt idx="9">
                  <c:v>Boursin Classique Fromage Frais A Tartiner Ciboulette &amp; Echalote Boite 1X150Gr 1P</c:v>
                </c:pt>
                <c:pt idx="10">
                  <c:v>Boursin Classique Fromage Frais A Tartiner Afh 1X256Gr 16P</c:v>
                </c:pt>
                <c:pt idx="11">
                  <c:v>Boursin Cuisine Sauce Fromage Afh 1X240Gr 1P</c:v>
                </c:pt>
                <c:pt idx="12">
                  <c:v>Boursin Classique Fromage Frais A Tartiner Poivre Boite 1X150Gr 1P</c:v>
                </c:pt>
                <c:pt idx="13">
                  <c:v>Boursin Aperitif Roules Fromage Frais Roule Basilic &amp; Jambon Fume Tomate Boite 1X100Gr 20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Salade &amp; Aperitif Fromage Frais Des Citron Romarin 1X120Gr 1P</c:v>
                </c:pt>
                <c:pt idx="18">
                  <c:v>Boursin Classique Fromage Frais A Tartiner Afh Boite 1X80Gr 1P</c:v>
                </c:pt>
                <c:pt idx="19">
                  <c:v>Boursin Salade &amp; Aperitif Fromage Frais Des Noisette Et 3 Noix 1X120Gr 1P</c:v>
                </c:pt>
                <c:pt idx="20">
                  <c:v>Boursin Aperitif Roules Fromage Frais Roule Jambon Fume &amp; Trio De Noix Boite 1X100Gr 20P</c:v>
                </c:pt>
                <c:pt idx="21">
                  <c:v>Boursin Aperitif Roules Aperitif 100G</c:v>
                </c:pt>
                <c:pt idx="22">
                  <c:v>Boursin Salade &amp; Aperitif Soft Cheese Salade 120G</c:v>
                </c:pt>
                <c:pt idx="23">
                  <c:v>Boursin Classique Fromage Frais A Tartiner Truffe Boite 1X150Gr 1P</c:v>
                </c:pt>
              </c:strCache>
            </c:strRef>
          </c:cat>
          <c:val>
            <c:numRef>
              <c:f>Sheet1!$C$2:$C$25</c:f>
              <c:numCache>
                <c:formatCode>General</c:formatCode>
                <c:ptCount val="24"/>
                <c:pt idx="0">
                  <c:v>0.1312454279452836</c:v>
                </c:pt>
                <c:pt idx="1">
                  <c:v>0.26115788214776381</c:v>
                </c:pt>
                <c:pt idx="2">
                  <c:v>0.37906746296148586</c:v>
                </c:pt>
                <c:pt idx="3">
                  <c:v>0.48360328761703569</c:v>
                </c:pt>
                <c:pt idx="4">
                  <c:v>0.5480431485544105</c:v>
                </c:pt>
                <c:pt idx="5">
                  <c:v>0.60527942849352123</c:v>
                </c:pt>
                <c:pt idx="6">
                  <c:v>0.65787180456492034</c:v>
                </c:pt>
                <c:pt idx="7">
                  <c:v>0.709541471079983</c:v>
                </c:pt>
                <c:pt idx="8">
                  <c:v>0.75814512479815133</c:v>
                </c:pt>
                <c:pt idx="9">
                  <c:v>0.79856552820599958</c:v>
                </c:pt>
                <c:pt idx="10">
                  <c:v>0.83375554431541155</c:v>
                </c:pt>
                <c:pt idx="11">
                  <c:v>0.86785918778659676</c:v>
                </c:pt>
                <c:pt idx="12">
                  <c:v>0.90055038326122117</c:v>
                </c:pt>
                <c:pt idx="13">
                  <c:v>0.93215770770851192</c:v>
                </c:pt>
                <c:pt idx="14">
                  <c:v>0.95473936437723406</c:v>
                </c:pt>
                <c:pt idx="15">
                  <c:v>0.96794700395052469</c:v>
                </c:pt>
                <c:pt idx="16">
                  <c:v>0.97688718398761198</c:v>
                </c:pt>
                <c:pt idx="17">
                  <c:v>0.98201207065742235</c:v>
                </c:pt>
                <c:pt idx="18">
                  <c:v>0.98628183937291158</c:v>
                </c:pt>
                <c:pt idx="19">
                  <c:v>0.9905242828001839</c:v>
                </c:pt>
                <c:pt idx="20">
                  <c:v>0.99332108377866013</c:v>
                </c:pt>
                <c:pt idx="21">
                  <c:v>0.99564416624820806</c:v>
                </c:pt>
                <c:pt idx="22">
                  <c:v>0.99785751459377248</c:v>
                </c:pt>
                <c:pt idx="23">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5</c:f>
              <c:strCache>
                <c:ptCount val="24"/>
                <c:pt idx="0">
                  <c:v>Boursin Classique Fromage Frais A Tartiner Afh Boite 1X250Gr 1P</c:v>
                </c:pt>
                <c:pt idx="1">
                  <c:v>Boursin Classique Fromage Frais A Tartiner Afh 1X160Gr 10P</c:v>
                </c:pt>
                <c:pt idx="2">
                  <c:v>Boursin Classique Fromage Frais A Tartiner Afh Boite 1X150Gr 1P</c:v>
                </c:pt>
                <c:pt idx="3">
                  <c:v>Boursin Aperitif Roules Fromage Frais Roule Afh Et Jambon Fume Boite 1X100Gr 20P</c:v>
                </c:pt>
                <c:pt idx="4">
                  <c:v>Boursin Aperitif Roules Fromage Frais Roule Ciboulette &amp; Echalote Jambon Fume Boite 1X100Gr 20P</c:v>
                </c:pt>
                <c:pt idx="5">
                  <c:v>Boursin Onctueux Fromage Frais A Tartiner Afh 1X125Gr 1P</c:v>
                </c:pt>
                <c:pt idx="6">
                  <c:v>Boursin Salade &amp; Aperitif Fromage Frais Des Afh 1X120Gr 1P</c:v>
                </c:pt>
                <c:pt idx="7">
                  <c:v>Boursin Classique Fromage Frais A Tartiner Afh Boite 1X96Gr 6P</c:v>
                </c:pt>
                <c:pt idx="8">
                  <c:v>Boursin Classique Fromage Frais A Tartiner Figue Et 3 Noix Boite 1X150Gr 1P</c:v>
                </c:pt>
                <c:pt idx="9">
                  <c:v>Boursin Classique Fromage Frais A Tartiner Ciboulette &amp; Echalote Boite 1X150Gr 1P</c:v>
                </c:pt>
                <c:pt idx="10">
                  <c:v>Boursin Classique Fromage Frais A Tartiner Afh 1X256Gr 16P</c:v>
                </c:pt>
                <c:pt idx="11">
                  <c:v>Boursin Cuisine Sauce Fromage Afh 1X240Gr 1P</c:v>
                </c:pt>
                <c:pt idx="12">
                  <c:v>Boursin Classique Fromage Frais A Tartiner Poivre Boite 1X150Gr 1P</c:v>
                </c:pt>
                <c:pt idx="13">
                  <c:v>Boursin Aperitif Roules Fromage Frais Roule Basilic &amp; Jambon Fume Tomate Boite 1X100Gr 20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Salade &amp; Aperitif Fromage Frais Des Citron Romarin 1X120Gr 1P</c:v>
                </c:pt>
                <c:pt idx="18">
                  <c:v>Boursin Classique Fromage Frais A Tartiner Afh Boite 1X80Gr 1P</c:v>
                </c:pt>
                <c:pt idx="19">
                  <c:v>Boursin Salade &amp; Aperitif Fromage Frais Des Noisette Et 3 Noix 1X120Gr 1P</c:v>
                </c:pt>
                <c:pt idx="20">
                  <c:v>Boursin Aperitif Roules Fromage Frais Roule Jambon Fume &amp; Trio De Noix Boite 1X100Gr 20P</c:v>
                </c:pt>
                <c:pt idx="21">
                  <c:v>Boursin Aperitif Roules Aperitif 100G</c:v>
                </c:pt>
                <c:pt idx="22">
                  <c:v>Boursin Salade &amp; Aperitif Soft Cheese Salade 120G</c:v>
                </c:pt>
                <c:pt idx="23">
                  <c:v>Boursin Classique Fromage Frais A Tartiner Truffe Boite 1X150Gr 1P</c:v>
                </c:pt>
              </c:strCache>
            </c:strRef>
          </c:cat>
          <c:val>
            <c:numRef>
              <c:f>Sheet1!$D$2:$D$25</c:f>
              <c:numCache>
                <c:formatCode>General</c:formatCode>
                <c:ptCount val="24"/>
                <c:pt idx="0">
                  <c:v>27838.234693877552</c:v>
                </c:pt>
                <c:pt idx="1">
                  <c:v>27527.410805300715</c:v>
                </c:pt>
                <c:pt idx="2">
                  <c:v>24558.517034068136</c:v>
                </c:pt>
                <c:pt idx="3">
                  <c:v>22494.254658385096</c:v>
                </c:pt>
                <c:pt idx="4">
                  <c:v>14703.468715697034</c:v>
                </c:pt>
                <c:pt idx="5">
                  <c:v>12471.153039832287</c:v>
                </c:pt>
                <c:pt idx="6">
                  <c:v>11293.564049586777</c:v>
                </c:pt>
                <c:pt idx="7">
                  <c:v>11438.093716719915</c:v>
                </c:pt>
                <c:pt idx="8">
                  <c:v>10309.234693877552</c:v>
                </c:pt>
                <c:pt idx="9">
                  <c:v>8635.1798561151081</c:v>
                </c:pt>
                <c:pt idx="10">
                  <c:v>8505.5930232558148</c:v>
                </c:pt>
                <c:pt idx="11">
                  <c:v>8120.2634593356242</c:v>
                </c:pt>
                <c:pt idx="12">
                  <c:v>7229.1382978723404</c:v>
                </c:pt>
                <c:pt idx="13">
                  <c:v>7525.8762886597942</c:v>
                </c:pt>
                <c:pt idx="14">
                  <c:v>5809.3564356435636</c:v>
                </c:pt>
                <c:pt idx="15">
                  <c:v>3335.8687727825031</c:v>
                </c:pt>
                <c:pt idx="16">
                  <c:v>2199.2426035502958</c:v>
                </c:pt>
                <c:pt idx="17">
                  <c:v>1614.0757575757575</c:v>
                </c:pt>
                <c:pt idx="18">
                  <c:v>2730.8923076923079</c:v>
                </c:pt>
                <c:pt idx="19">
                  <c:v>1098.2067247820671</c:v>
                </c:pt>
                <c:pt idx="20">
                  <c:v>775.14666666666665</c:v>
                </c:pt>
                <c:pt idx="21">
                  <c:v>730.54462934947037</c:v>
                </c:pt>
                <c:pt idx="22">
                  <c:v>1111.304347826087</c:v>
                </c:pt>
                <c:pt idx="23">
                  <c:v>648.2532751091703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432Gr 24P</c:v>
                </c:pt>
                <c:pt idx="1">
                  <c:v>Kiri Creme Fromage Blanc Frais Carre 1X216Gr 12P</c:v>
                </c:pt>
                <c:pt idx="2">
                  <c:v>Kiri Gouter Fromage Blanc Dips Boite 1X175Gr 5P</c:v>
                </c:pt>
                <c:pt idx="3">
                  <c:v>Kiri Creme Fromage Blanc Frais Carre 1X144Gr 8P</c:v>
                </c:pt>
                <c:pt idx="4">
                  <c:v>Kiri Gouter Fromage Blanc Dips Boite 1X280Gr 8P</c:v>
                </c:pt>
                <c:pt idx="5">
                  <c:v>Kiri Creme Fromage Blanc Frais Carre 1X432Gr 18+6P</c:v>
                </c:pt>
                <c:pt idx="6">
                  <c:v>Kiri Delicieusement Fouette Fromage Frais A Tartiner 1X210Gr 1P</c:v>
                </c:pt>
                <c:pt idx="7">
                  <c:v>Kiri Delicieusement Fouette Fromage Frais A Tartiner 1X125Gr 1P</c:v>
                </c:pt>
                <c:pt idx="8">
                  <c:v>Kiri Bio Fromage Blanc Frais Carre 1X144Gr 8P</c:v>
                </c:pt>
                <c:pt idx="9">
                  <c:v>Kiri Delicieusement Fouette Fromage Frais A Tartiner 1X160Gr 10P</c:v>
                </c:pt>
                <c:pt idx="10">
                  <c:v>Kiri Chevre Fromage Blanc Frais Carre 1X144Gr 8P</c:v>
                </c:pt>
              </c:strCache>
            </c:strRef>
          </c:cat>
          <c:val>
            <c:numRef>
              <c:f>Sheet1!$B$2:$B$12</c:f>
              <c:numCache>
                <c:formatCode>General</c:formatCode>
                <c:ptCount val="11"/>
                <c:pt idx="0">
                  <c:v>0.99</c:v>
                </c:pt>
                <c:pt idx="1">
                  <c:v>1</c:v>
                </c:pt>
                <c:pt idx="2">
                  <c:v>1</c:v>
                </c:pt>
                <c:pt idx="3">
                  <c:v>1</c:v>
                </c:pt>
                <c:pt idx="4">
                  <c:v>0.99</c:v>
                </c:pt>
                <c:pt idx="5">
                  <c:v>0.98</c:v>
                </c:pt>
                <c:pt idx="6">
                  <c:v>0.96</c:v>
                </c:pt>
                <c:pt idx="7">
                  <c:v>0.98</c:v>
                </c:pt>
                <c:pt idx="8">
                  <c:v>0.75</c:v>
                </c:pt>
                <c:pt idx="9">
                  <c:v>0.89</c:v>
                </c:pt>
                <c:pt idx="10">
                  <c:v>0.56000000000000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432Gr 24P</c:v>
                </c:pt>
                <c:pt idx="1">
                  <c:v>Kiri Creme Fromage Blanc Frais Carre 1X216Gr 12P</c:v>
                </c:pt>
                <c:pt idx="2">
                  <c:v>Kiri Gouter Fromage Blanc Dips Boite 1X175Gr 5P</c:v>
                </c:pt>
                <c:pt idx="3">
                  <c:v>Kiri Creme Fromage Blanc Frais Carre 1X144Gr 8P</c:v>
                </c:pt>
                <c:pt idx="4">
                  <c:v>Kiri Gouter Fromage Blanc Dips Boite 1X280Gr 8P</c:v>
                </c:pt>
                <c:pt idx="5">
                  <c:v>Kiri Creme Fromage Blanc Frais Carre 1X432Gr 18+6P</c:v>
                </c:pt>
                <c:pt idx="6">
                  <c:v>Kiri Delicieusement Fouette Fromage Frais A Tartiner 1X210Gr 1P</c:v>
                </c:pt>
                <c:pt idx="7">
                  <c:v>Kiri Delicieusement Fouette Fromage Frais A Tartiner 1X125Gr 1P</c:v>
                </c:pt>
                <c:pt idx="8">
                  <c:v>Kiri Bio Fromage Blanc Frais Carre 1X144Gr 8P</c:v>
                </c:pt>
                <c:pt idx="9">
                  <c:v>Kiri Delicieusement Fouette Fromage Frais A Tartiner 1X160Gr 10P</c:v>
                </c:pt>
                <c:pt idx="10">
                  <c:v>Kiri Chevre Fromage Blanc Frais Carre 1X144Gr 8P</c:v>
                </c:pt>
              </c:strCache>
            </c:strRef>
          </c:cat>
          <c:val>
            <c:numRef>
              <c:f>Sheet1!$C$2:$C$12</c:f>
              <c:numCache>
                <c:formatCode>General</c:formatCode>
                <c:ptCount val="11"/>
                <c:pt idx="0">
                  <c:v>0.38031066252989243</c:v>
                </c:pt>
                <c:pt idx="1">
                  <c:v>0.5442684836115993</c:v>
                </c:pt>
                <c:pt idx="2">
                  <c:v>0.66991381533156824</c:v>
                </c:pt>
                <c:pt idx="3">
                  <c:v>0.76929793369139676</c:v>
                </c:pt>
                <c:pt idx="4">
                  <c:v>0.86210444624580984</c:v>
                </c:pt>
                <c:pt idx="5">
                  <c:v>0.93013522600303</c:v>
                </c:pt>
                <c:pt idx="6">
                  <c:v>0.95789085185303768</c:v>
                </c:pt>
                <c:pt idx="7">
                  <c:v>0.97627654931013497</c:v>
                </c:pt>
                <c:pt idx="8">
                  <c:v>0.98822957411561274</c:v>
                </c:pt>
                <c:pt idx="9">
                  <c:v>0.99874860333312543</c:v>
                </c:pt>
                <c:pt idx="1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432Gr 24P</c:v>
                </c:pt>
                <c:pt idx="1">
                  <c:v>Kiri Creme Fromage Blanc Frais Carre 1X216Gr 12P</c:v>
                </c:pt>
                <c:pt idx="2">
                  <c:v>Kiri Gouter Fromage Blanc Dips Boite 1X175Gr 5P</c:v>
                </c:pt>
                <c:pt idx="3">
                  <c:v>Kiri Creme Fromage Blanc Frais Carre 1X144Gr 8P</c:v>
                </c:pt>
                <c:pt idx="4">
                  <c:v>Kiri Gouter Fromage Blanc Dips Boite 1X280Gr 8P</c:v>
                </c:pt>
                <c:pt idx="5">
                  <c:v>Kiri Creme Fromage Blanc Frais Carre 1X432Gr 18+6P</c:v>
                </c:pt>
                <c:pt idx="6">
                  <c:v>Kiri Delicieusement Fouette Fromage Frais A Tartiner 1X210Gr 1P</c:v>
                </c:pt>
                <c:pt idx="7">
                  <c:v>Kiri Delicieusement Fouette Fromage Frais A Tartiner 1X125Gr 1P</c:v>
                </c:pt>
                <c:pt idx="8">
                  <c:v>Kiri Bio Fromage Blanc Frais Carre 1X144Gr 8P</c:v>
                </c:pt>
                <c:pt idx="9">
                  <c:v>Kiri Delicieusement Fouette Fromage Frais A Tartiner 1X160Gr 10P</c:v>
                </c:pt>
                <c:pt idx="10">
                  <c:v>Kiri Chevre Fromage Blanc Frais Carre 1X144Gr 8P</c:v>
                </c:pt>
              </c:strCache>
            </c:strRef>
          </c:cat>
          <c:val>
            <c:numRef>
              <c:f>Sheet1!$D$2:$D$12</c:f>
              <c:numCache>
                <c:formatCode>General</c:formatCode>
                <c:ptCount val="11"/>
                <c:pt idx="0">
                  <c:v>45589.414141414141</c:v>
                </c:pt>
                <c:pt idx="1">
                  <c:v>19457.759999999998</c:v>
                </c:pt>
                <c:pt idx="2">
                  <c:v>14911.01</c:v>
                </c:pt>
                <c:pt idx="3">
                  <c:v>11794.45</c:v>
                </c:pt>
                <c:pt idx="4">
                  <c:v>11125.101010101011</c:v>
                </c:pt>
                <c:pt idx="5">
                  <c:v>8238.3469387755104</c:v>
                </c:pt>
                <c:pt idx="6">
                  <c:v>3431.15625</c:v>
                </c:pt>
                <c:pt idx="7">
                  <c:v>2226.4591836734694</c:v>
                </c:pt>
                <c:pt idx="8">
                  <c:v>1891.3733333333332</c:v>
                </c:pt>
                <c:pt idx="9">
                  <c:v>1402.6404494382023</c:v>
                </c:pt>
                <c:pt idx="10">
                  <c:v>265.1964285714285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6</c:f>
              <c:strCache>
                <c:ptCount val="15"/>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Nature Fromage Fondu Boite Ronde 1X128Gr 8P</c:v>
                </c:pt>
                <c:pt idx="5">
                  <c:v>La Vache Qui Rit Pik Et Croq' Fromage Fondu Dips Boite 1X175Gr 5P</c:v>
                </c:pt>
                <c:pt idx="6">
                  <c:v>La Vache Qui Rit Pik Et Croq' Fromage Fondu Dips Boite 1X280Gr 8P</c:v>
                </c:pt>
                <c:pt idx="7">
                  <c:v>Toastinette Fromage Fondu Tranche A Chaud Sachet 1X200Gr 10P</c:v>
                </c:pt>
                <c:pt idx="8">
                  <c:v>Toastinette Cheddar Fondu Tranche A Chaud Sachet 1X200Gr 10P</c:v>
                </c:pt>
                <c:pt idx="9">
                  <c:v>La Vache Qui Rit Allegee Fromage Fondu Boite Ronde Allege 1X267Gr 16P</c:v>
                </c:pt>
                <c:pt idx="10">
                  <c:v>La Vache Qui Rit Bio Fromage Fondu Boite Ronde 1X128Gr 8P</c:v>
                </c:pt>
                <c:pt idx="11">
                  <c:v>La Vache Qui Rit Le Fondant Fromage Fondu 1X200Gr 1P</c:v>
                </c:pt>
                <c:pt idx="12">
                  <c:v>La Vache Qui Rit Aro Fromage Fondu Boite Ronde Jambon 1X133Gr 8P</c:v>
                </c:pt>
                <c:pt idx="13">
                  <c:v>Toastinette Fromage Fondu Tranche A Chaud Sachet 1X340Gr 20P</c:v>
                </c:pt>
                <c:pt idx="14">
                  <c:v>Toastinette Cheddar Fondu Tranche A Chaud Sachet 1X340Gr 20P</c:v>
                </c:pt>
              </c:strCache>
            </c:strRef>
          </c:cat>
          <c:val>
            <c:numRef>
              <c:f>Sheet1!$B$2:$B$16</c:f>
              <c:numCache>
                <c:formatCode>General</c:formatCode>
                <c:ptCount val="15"/>
                <c:pt idx="0">
                  <c:v>0.99</c:v>
                </c:pt>
                <c:pt idx="1">
                  <c:v>1</c:v>
                </c:pt>
                <c:pt idx="2">
                  <c:v>1</c:v>
                </c:pt>
                <c:pt idx="3">
                  <c:v>0.94</c:v>
                </c:pt>
                <c:pt idx="4">
                  <c:v>0.94</c:v>
                </c:pt>
                <c:pt idx="5">
                  <c:v>1</c:v>
                </c:pt>
                <c:pt idx="6">
                  <c:v>0.95</c:v>
                </c:pt>
                <c:pt idx="7">
                  <c:v>1</c:v>
                </c:pt>
                <c:pt idx="8">
                  <c:v>1</c:v>
                </c:pt>
                <c:pt idx="9">
                  <c:v>0.86</c:v>
                </c:pt>
                <c:pt idx="10">
                  <c:v>0.82</c:v>
                </c:pt>
                <c:pt idx="11">
                  <c:v>0.59</c:v>
                </c:pt>
                <c:pt idx="12">
                  <c:v>0.08</c:v>
                </c:pt>
                <c:pt idx="13">
                  <c:v>0.16</c:v>
                </c:pt>
                <c:pt idx="14">
                  <c:v>0.1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6</c:f>
              <c:strCache>
                <c:ptCount val="15"/>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Nature Fromage Fondu Boite Ronde 1X128Gr 8P</c:v>
                </c:pt>
                <c:pt idx="5">
                  <c:v>La Vache Qui Rit Pik Et Croq' Fromage Fondu Dips Boite 1X175Gr 5P</c:v>
                </c:pt>
                <c:pt idx="6">
                  <c:v>La Vache Qui Rit Pik Et Croq' Fromage Fondu Dips Boite 1X280Gr 8P</c:v>
                </c:pt>
                <c:pt idx="7">
                  <c:v>Toastinette Fromage Fondu Tranche A Chaud Sachet 1X200Gr 10P</c:v>
                </c:pt>
                <c:pt idx="8">
                  <c:v>Toastinette Cheddar Fondu Tranche A Chaud Sachet 1X200Gr 10P</c:v>
                </c:pt>
                <c:pt idx="9">
                  <c:v>La Vache Qui Rit Allegee Fromage Fondu Boite Ronde Allege 1X267Gr 16P</c:v>
                </c:pt>
                <c:pt idx="10">
                  <c:v>La Vache Qui Rit Bio Fromage Fondu Boite Ronde 1X128Gr 8P</c:v>
                </c:pt>
                <c:pt idx="11">
                  <c:v>La Vache Qui Rit Le Fondant Fromage Fondu 1X200Gr 1P</c:v>
                </c:pt>
                <c:pt idx="12">
                  <c:v>La Vache Qui Rit Aro Fromage Fondu Boite Ronde Jambon 1X133Gr 8P</c:v>
                </c:pt>
                <c:pt idx="13">
                  <c:v>Toastinette Fromage Fondu Tranche A Chaud Sachet 1X340Gr 20P</c:v>
                </c:pt>
                <c:pt idx="14">
                  <c:v>Toastinette Cheddar Fondu Tranche A Chaud Sachet 1X340Gr 20P</c:v>
                </c:pt>
              </c:strCache>
            </c:strRef>
          </c:cat>
          <c:val>
            <c:numRef>
              <c:f>Sheet1!$C$2:$C$16</c:f>
              <c:numCache>
                <c:formatCode>General</c:formatCode>
                <c:ptCount val="15"/>
                <c:pt idx="0">
                  <c:v>0.48162293173659715</c:v>
                </c:pt>
                <c:pt idx="1">
                  <c:v>0.65366030556670685</c:v>
                </c:pt>
                <c:pt idx="2">
                  <c:v>0.75201544693581446</c:v>
                </c:pt>
                <c:pt idx="3">
                  <c:v>0.80653534988837206</c:v>
                </c:pt>
                <c:pt idx="4">
                  <c:v>0.85199935245171166</c:v>
                </c:pt>
                <c:pt idx="5">
                  <c:v>0.89464543639519356</c:v>
                </c:pt>
                <c:pt idx="6">
                  <c:v>0.92070006824697259</c:v>
                </c:pt>
                <c:pt idx="7">
                  <c:v>0.94652008456759218</c:v>
                </c:pt>
                <c:pt idx="8">
                  <c:v>0.97216873261620518</c:v>
                </c:pt>
                <c:pt idx="9">
                  <c:v>0.98795917053751858</c:v>
                </c:pt>
                <c:pt idx="10">
                  <c:v>0.99278680909509709</c:v>
                </c:pt>
                <c:pt idx="11">
                  <c:v>0.99515922909717824</c:v>
                </c:pt>
                <c:pt idx="12">
                  <c:v>0.99692862122800607</c:v>
                </c:pt>
                <c:pt idx="13">
                  <c:v>0.9985297662271766</c:v>
                </c:pt>
                <c:pt idx="1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6</c:f>
              <c:strCache>
                <c:ptCount val="15"/>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Nature Fromage Fondu Boite Ronde 1X128Gr 8P</c:v>
                </c:pt>
                <c:pt idx="5">
                  <c:v>La Vache Qui Rit Pik Et Croq' Fromage Fondu Dips Boite 1X175Gr 5P</c:v>
                </c:pt>
                <c:pt idx="6">
                  <c:v>La Vache Qui Rit Pik Et Croq' Fromage Fondu Dips Boite 1X280Gr 8P</c:v>
                </c:pt>
                <c:pt idx="7">
                  <c:v>Toastinette Fromage Fondu Tranche A Chaud Sachet 1X200Gr 10P</c:v>
                </c:pt>
                <c:pt idx="8">
                  <c:v>Toastinette Cheddar Fondu Tranche A Chaud Sachet 1X200Gr 10P</c:v>
                </c:pt>
                <c:pt idx="9">
                  <c:v>La Vache Qui Rit Allegee Fromage Fondu Boite Ronde Allege 1X267Gr 16P</c:v>
                </c:pt>
                <c:pt idx="10">
                  <c:v>La Vache Qui Rit Bio Fromage Fondu Boite Ronde 1X128Gr 8P</c:v>
                </c:pt>
                <c:pt idx="11">
                  <c:v>La Vache Qui Rit Le Fondant Fromage Fondu 1X200Gr 1P</c:v>
                </c:pt>
                <c:pt idx="12">
                  <c:v>La Vache Qui Rit Aro Fromage Fondu Boite Ronde Jambon 1X133Gr 8P</c:v>
                </c:pt>
                <c:pt idx="13">
                  <c:v>Toastinette Fromage Fondu Tranche A Chaud Sachet 1X340Gr 20P</c:v>
                </c:pt>
                <c:pt idx="14">
                  <c:v>Toastinette Cheddar Fondu Tranche A Chaud Sachet 1X340Gr 20P</c:v>
                </c:pt>
              </c:strCache>
            </c:strRef>
          </c:cat>
          <c:val>
            <c:numRef>
              <c:f>Sheet1!$D$2:$D$16</c:f>
              <c:numCache>
                <c:formatCode>General</c:formatCode>
                <c:ptCount val="15"/>
                <c:pt idx="0">
                  <c:v>82610.363636363632</c:v>
                </c:pt>
                <c:pt idx="1">
                  <c:v>29213.62</c:v>
                </c:pt>
                <c:pt idx="2">
                  <c:v>16701.66</c:v>
                </c:pt>
                <c:pt idx="3">
                  <c:v>9848.9468085106382</c:v>
                </c:pt>
                <c:pt idx="4">
                  <c:v>8213.010638297872</c:v>
                </c:pt>
                <c:pt idx="5">
                  <c:v>7241.72</c:v>
                </c:pt>
                <c:pt idx="6">
                  <c:v>4657.1894736842105</c:v>
                </c:pt>
                <c:pt idx="7">
                  <c:v>4384.49</c:v>
                </c:pt>
                <c:pt idx="8">
                  <c:v>4355.3900000000003</c:v>
                </c:pt>
                <c:pt idx="9">
                  <c:v>3117.8720930232557</c:v>
                </c:pt>
                <c:pt idx="10">
                  <c:v>999.73170731707319</c:v>
                </c:pt>
                <c:pt idx="11">
                  <c:v>682.81355932203394</c:v>
                </c:pt>
                <c:pt idx="12">
                  <c:v>3755.75</c:v>
                </c:pt>
                <c:pt idx="13">
                  <c:v>1699.3125</c:v>
                </c:pt>
                <c:pt idx="14">
                  <c:v>1560.3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2</c:f>
              <c:strCache>
                <c:ptCount val="31"/>
                <c:pt idx="0">
                  <c:v>Boursin Classique Fromage Frais A Tartiner Afh 1X160Gr 10P</c:v>
                </c:pt>
                <c:pt idx="1">
                  <c:v>Boursin Classique Fromage Frais A Tartiner Afh Boite 1X250Gr 1P</c:v>
                </c:pt>
                <c:pt idx="2">
                  <c:v>Boursin Classique Fromage Frais A Tartiner Afh Boite 1X150Gr 1P</c:v>
                </c:pt>
                <c:pt idx="3">
                  <c:v>Boursin Aperitif Roules Fromage Frais Roule Afh Et Jambon Fume Boite 1X100Gr 20P</c:v>
                </c:pt>
                <c:pt idx="4">
                  <c:v>Boursin Salade &amp; Aperitif Fromage Frais Des Afh 1X120Gr 1P</c:v>
                </c:pt>
                <c:pt idx="5">
                  <c:v>Boursin Classique Fromage Frais A Tartiner Afh Boite 1X96Gr 6P</c:v>
                </c:pt>
                <c:pt idx="6">
                  <c:v>Boursin Aperitif Roules Fromage Frais Roule Ciboulette &amp; Echalote Jambon Fume Boite 1X100Gr 20P</c:v>
                </c:pt>
                <c:pt idx="7">
                  <c:v>Boursin Classique Fromage Frais A Tartiner Figue Et 3 Noix Boite 1X150Gr 1P</c:v>
                </c:pt>
                <c:pt idx="8">
                  <c:v>Boursin Classique Fromage Frais A Tartiner Ciboulette &amp; Echalote Boite 1X150Gr 1P</c:v>
                </c:pt>
                <c:pt idx="9">
                  <c:v>Boursin Salade &amp; Aperitif Fromage Frais Des Ciboulette Echalote 1X120Gr 1P</c:v>
                </c:pt>
                <c:pt idx="10">
                  <c:v>Boursin Onctueux Fromage Frais A Tartiner Afh 1X125Gr 1P</c:v>
                </c:pt>
                <c:pt idx="11">
                  <c:v>Boursin Cuisine Sauce Fromage Afh 1X240Gr 1P</c:v>
                </c:pt>
                <c:pt idx="12">
                  <c:v>Boursin Salade &amp; Aperitif Fromage Frais Des Figue Noix 1X120Gr 1P</c:v>
                </c:pt>
                <c:pt idx="13">
                  <c:v>Boursin Classique Fromage Frais A Tartiner Afh 1X256Gr 16P</c:v>
                </c:pt>
                <c:pt idx="14">
                  <c:v>Boursin Classique Fromage Frais A Tartiner Afh Boite 1X80Gr 1P</c:v>
                </c:pt>
                <c:pt idx="15">
                  <c:v>Boursin Classique Fromage Frais A Tartiner Poivre Boite 1X150Gr 1P</c:v>
                </c:pt>
                <c:pt idx="16">
                  <c:v>Boursin Salade &amp; Aperitif Fromage Frais Des Citron Romarin 1X120Gr 1P</c:v>
                </c:pt>
                <c:pt idx="17">
                  <c:v>Boursin Salade &amp; Aperitif Fromage Frais Des Noisette Et 3 Noix 1X120Gr 1P</c:v>
                </c:pt>
                <c:pt idx="18">
                  <c:v>Boursin Onctueux Fromage Frais A Tartiner Afh 1X210Gr 1P</c:v>
                </c:pt>
                <c:pt idx="19">
                  <c:v>Boursin Classique Fromage Frais A Tartiner 3 Noix Boite 1X150Gr 1P</c:v>
                </c:pt>
                <c:pt idx="20">
                  <c:v>Boursin Salade &amp; Aperitif Soft Cheese Salade 120G</c:v>
                </c:pt>
                <c:pt idx="21">
                  <c:v>Boursin Vegetal Specialite Vegetale A Tartiner Afh 1X130Gr 1P</c:v>
                </c:pt>
                <c:pt idx="22">
                  <c:v>Boursin Classique Fromage Frais A Tartiner Truffe Boite 1X150Gr 1P</c:v>
                </c:pt>
                <c:pt idx="23">
                  <c:v>Boursin Vegetal Alternative Vegetale 150G</c:v>
                </c:pt>
                <c:pt idx="24">
                  <c:v>Boursin Aperitif Roules Aperitif 100G</c:v>
                </c:pt>
                <c:pt idx="25">
                  <c:v>Boursin Classique Fromage Frais A Tartiner Afh Boite 1X320Gr 16+4P</c:v>
                </c:pt>
                <c:pt idx="26">
                  <c:v>Boursin Aperitif Roules Fromage Frais Roule Jambon Fume &amp; Trio De Noix Boite 1X100Gr 20P</c:v>
                </c:pt>
                <c:pt idx="27">
                  <c:v>Boursin Classique Fromage Frais A Tartiner 3 Noix 1X160Gr 10P</c:v>
                </c:pt>
                <c:pt idx="28">
                  <c:v>Boursin Classique Fromage Frais A Tartiner Citron &amp; Romarin Boite 1X150Gr 1P</c:v>
                </c:pt>
                <c:pt idx="29">
                  <c:v>Boursin Classique Fromage Frais A Tartiner Ciboulette &amp; Echalote 1X160Gr 10P</c:v>
                </c:pt>
                <c:pt idx="30">
                  <c:v>Boursin Aperitif Roules Fromage Frais Roule Basilic &amp; Jambon Fume Tomate Boite 1X100Gr 20P</c:v>
                </c:pt>
              </c:strCache>
            </c:strRef>
          </c:cat>
          <c:val>
            <c:numRef>
              <c:f>Sheet1!$B$2:$B$32</c:f>
              <c:numCache>
                <c:formatCode>General</c:formatCode>
                <c:ptCount val="31"/>
                <c:pt idx="0">
                  <c:v>1</c:v>
                </c:pt>
                <c:pt idx="1">
                  <c:v>1</c:v>
                </c:pt>
                <c:pt idx="2">
                  <c:v>1</c:v>
                </c:pt>
                <c:pt idx="3">
                  <c:v>1</c:v>
                </c:pt>
                <c:pt idx="4">
                  <c:v>1</c:v>
                </c:pt>
                <c:pt idx="5">
                  <c:v>1</c:v>
                </c:pt>
                <c:pt idx="6">
                  <c:v>0.95</c:v>
                </c:pt>
                <c:pt idx="7">
                  <c:v>0.98</c:v>
                </c:pt>
                <c:pt idx="8">
                  <c:v>0.97</c:v>
                </c:pt>
                <c:pt idx="9">
                  <c:v>1</c:v>
                </c:pt>
                <c:pt idx="10">
                  <c:v>0.99</c:v>
                </c:pt>
                <c:pt idx="11">
                  <c:v>0.98</c:v>
                </c:pt>
                <c:pt idx="12">
                  <c:v>1</c:v>
                </c:pt>
                <c:pt idx="13">
                  <c:v>0.57999999999999996</c:v>
                </c:pt>
                <c:pt idx="14">
                  <c:v>0.94</c:v>
                </c:pt>
                <c:pt idx="15">
                  <c:v>0.88</c:v>
                </c:pt>
                <c:pt idx="16">
                  <c:v>0.95</c:v>
                </c:pt>
                <c:pt idx="17">
                  <c:v>0.96</c:v>
                </c:pt>
                <c:pt idx="18">
                  <c:v>0.59</c:v>
                </c:pt>
                <c:pt idx="19">
                  <c:v>0.67</c:v>
                </c:pt>
                <c:pt idx="20">
                  <c:v>0.94</c:v>
                </c:pt>
                <c:pt idx="21">
                  <c:v>0.77</c:v>
                </c:pt>
                <c:pt idx="22">
                  <c:v>0.66</c:v>
                </c:pt>
                <c:pt idx="23">
                  <c:v>0.79</c:v>
                </c:pt>
                <c:pt idx="24">
                  <c:v>0.53</c:v>
                </c:pt>
                <c:pt idx="25">
                  <c:v>0.85</c:v>
                </c:pt>
                <c:pt idx="26">
                  <c:v>0.48</c:v>
                </c:pt>
                <c:pt idx="27">
                  <c:v>0.49</c:v>
                </c:pt>
                <c:pt idx="28">
                  <c:v>0.71</c:v>
                </c:pt>
                <c:pt idx="29">
                  <c:v>0.14000000000000001</c:v>
                </c:pt>
                <c:pt idx="30">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7ECAC4"/>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AEABAB"/>
              </a:solidFill>
            </c:spPr>
            <c:extLst>
              <c:ext xmlns:c16="http://schemas.microsoft.com/office/drawing/2014/chart" uri="{C3380CC4-5D6E-409C-BE32-E72D297353CC}">
                <c16:uniqueId val="{00000037-FA3E-4872-B6E1-C4ABDF5766E2}"/>
              </c:ext>
            </c:extLst>
          </c:dPt>
          <c:dPt>
            <c:idx val="27"/>
            <c:invertIfNegative val="1"/>
            <c:bubble3D val="0"/>
            <c:spPr>
              <a:solidFill>
                <a:srgbClr val="AEABAB"/>
              </a:solidFill>
            </c:spPr>
            <c:extLst>
              <c:ext xmlns:c16="http://schemas.microsoft.com/office/drawing/2014/chart" uri="{C3380CC4-5D6E-409C-BE32-E72D297353CC}">
                <c16:uniqueId val="{00000039-FA3E-4872-B6E1-C4ABDF5766E2}"/>
              </c:ext>
            </c:extLst>
          </c:dPt>
          <c:dPt>
            <c:idx val="28"/>
            <c:invertIfNegative val="1"/>
            <c:bubble3D val="0"/>
            <c:spPr>
              <a:solidFill>
                <a:srgbClr val="AEABAB"/>
              </a:solidFill>
            </c:spPr>
            <c:extLst>
              <c:ext xmlns:c16="http://schemas.microsoft.com/office/drawing/2014/chart" uri="{C3380CC4-5D6E-409C-BE32-E72D297353CC}">
                <c16:uniqueId val="{0000003B-FA3E-4872-B6E1-C4ABDF5766E2}"/>
              </c:ext>
            </c:extLst>
          </c:dPt>
          <c:dPt>
            <c:idx val="29"/>
            <c:invertIfNegative val="1"/>
            <c:bubble3D val="0"/>
            <c:spPr>
              <a:solidFill>
                <a:srgbClr val="AEABAB"/>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2</c:f>
              <c:strCache>
                <c:ptCount val="31"/>
                <c:pt idx="0">
                  <c:v>Boursin Classique Fromage Frais A Tartiner Afh 1X160Gr 10P</c:v>
                </c:pt>
                <c:pt idx="1">
                  <c:v>Boursin Classique Fromage Frais A Tartiner Afh Boite 1X250Gr 1P</c:v>
                </c:pt>
                <c:pt idx="2">
                  <c:v>Boursin Classique Fromage Frais A Tartiner Afh Boite 1X150Gr 1P</c:v>
                </c:pt>
                <c:pt idx="3">
                  <c:v>Boursin Aperitif Roules Fromage Frais Roule Afh Et Jambon Fume Boite 1X100Gr 20P</c:v>
                </c:pt>
                <c:pt idx="4">
                  <c:v>Boursin Salade &amp; Aperitif Fromage Frais Des Afh 1X120Gr 1P</c:v>
                </c:pt>
                <c:pt idx="5">
                  <c:v>Boursin Classique Fromage Frais A Tartiner Afh Boite 1X96Gr 6P</c:v>
                </c:pt>
                <c:pt idx="6">
                  <c:v>Boursin Aperitif Roules Fromage Frais Roule Ciboulette &amp; Echalote Jambon Fume Boite 1X100Gr 20P</c:v>
                </c:pt>
                <c:pt idx="7">
                  <c:v>Boursin Classique Fromage Frais A Tartiner Figue Et 3 Noix Boite 1X150Gr 1P</c:v>
                </c:pt>
                <c:pt idx="8">
                  <c:v>Boursin Classique Fromage Frais A Tartiner Ciboulette &amp; Echalote Boite 1X150Gr 1P</c:v>
                </c:pt>
                <c:pt idx="9">
                  <c:v>Boursin Salade &amp; Aperitif Fromage Frais Des Ciboulette Echalote 1X120Gr 1P</c:v>
                </c:pt>
                <c:pt idx="10">
                  <c:v>Boursin Onctueux Fromage Frais A Tartiner Afh 1X125Gr 1P</c:v>
                </c:pt>
                <c:pt idx="11">
                  <c:v>Boursin Cuisine Sauce Fromage Afh 1X240Gr 1P</c:v>
                </c:pt>
                <c:pt idx="12">
                  <c:v>Boursin Salade &amp; Aperitif Fromage Frais Des Figue Noix 1X120Gr 1P</c:v>
                </c:pt>
                <c:pt idx="13">
                  <c:v>Boursin Classique Fromage Frais A Tartiner Afh 1X256Gr 16P</c:v>
                </c:pt>
                <c:pt idx="14">
                  <c:v>Boursin Classique Fromage Frais A Tartiner Afh Boite 1X80Gr 1P</c:v>
                </c:pt>
                <c:pt idx="15">
                  <c:v>Boursin Classique Fromage Frais A Tartiner Poivre Boite 1X150Gr 1P</c:v>
                </c:pt>
                <c:pt idx="16">
                  <c:v>Boursin Salade &amp; Aperitif Fromage Frais Des Citron Romarin 1X120Gr 1P</c:v>
                </c:pt>
                <c:pt idx="17">
                  <c:v>Boursin Salade &amp; Aperitif Fromage Frais Des Noisette Et 3 Noix 1X120Gr 1P</c:v>
                </c:pt>
                <c:pt idx="18">
                  <c:v>Boursin Onctueux Fromage Frais A Tartiner Afh 1X210Gr 1P</c:v>
                </c:pt>
                <c:pt idx="19">
                  <c:v>Boursin Classique Fromage Frais A Tartiner 3 Noix Boite 1X150Gr 1P</c:v>
                </c:pt>
                <c:pt idx="20">
                  <c:v>Boursin Salade &amp; Aperitif Soft Cheese Salade 120G</c:v>
                </c:pt>
                <c:pt idx="21">
                  <c:v>Boursin Vegetal Specialite Vegetale A Tartiner Afh 1X130Gr 1P</c:v>
                </c:pt>
                <c:pt idx="22">
                  <c:v>Boursin Classique Fromage Frais A Tartiner Truffe Boite 1X150Gr 1P</c:v>
                </c:pt>
                <c:pt idx="23">
                  <c:v>Boursin Vegetal Alternative Vegetale 150G</c:v>
                </c:pt>
                <c:pt idx="24">
                  <c:v>Boursin Aperitif Roules Aperitif 100G</c:v>
                </c:pt>
                <c:pt idx="25">
                  <c:v>Boursin Classique Fromage Frais A Tartiner Afh Boite 1X320Gr 16+4P</c:v>
                </c:pt>
                <c:pt idx="26">
                  <c:v>Boursin Aperitif Roules Fromage Frais Roule Jambon Fume &amp; Trio De Noix Boite 1X100Gr 20P</c:v>
                </c:pt>
                <c:pt idx="27">
                  <c:v>Boursin Classique Fromage Frais A Tartiner 3 Noix 1X160Gr 10P</c:v>
                </c:pt>
                <c:pt idx="28">
                  <c:v>Boursin Classique Fromage Frais A Tartiner Citron &amp; Romarin Boite 1X150Gr 1P</c:v>
                </c:pt>
                <c:pt idx="29">
                  <c:v>Boursin Classique Fromage Frais A Tartiner Ciboulette &amp; Echalote 1X160Gr 10P</c:v>
                </c:pt>
                <c:pt idx="30">
                  <c:v>Boursin Aperitif Roules Fromage Frais Roule Basilic &amp; Jambon Fume Tomate Boite 1X100Gr 20P</c:v>
                </c:pt>
              </c:strCache>
            </c:strRef>
          </c:cat>
          <c:val>
            <c:numRef>
              <c:f>Sheet1!$C$2:$C$32</c:f>
              <c:numCache>
                <c:formatCode>General</c:formatCode>
                <c:ptCount val="31"/>
                <c:pt idx="0">
                  <c:v>0.17232250513021669</c:v>
                </c:pt>
                <c:pt idx="1">
                  <c:v>0.31135101502931273</c:v>
                </c:pt>
                <c:pt idx="2">
                  <c:v>0.4287728347780384</c:v>
                </c:pt>
                <c:pt idx="3">
                  <c:v>0.52360575975514079</c:v>
                </c:pt>
                <c:pt idx="4">
                  <c:v>0.60262305273978689</c:v>
                </c:pt>
                <c:pt idx="5">
                  <c:v>0.65427411781528122</c:v>
                </c:pt>
                <c:pt idx="6">
                  <c:v>0.70025344333187767</c:v>
                </c:pt>
                <c:pt idx="7">
                  <c:v>0.74490782517458198</c:v>
                </c:pt>
                <c:pt idx="8">
                  <c:v>0.78410012038135579</c:v>
                </c:pt>
                <c:pt idx="9">
                  <c:v>0.81721332619676068</c:v>
                </c:pt>
                <c:pt idx="10">
                  <c:v>0.84899337612700521</c:v>
                </c:pt>
                <c:pt idx="11">
                  <c:v>0.87224939229636611</c:v>
                </c:pt>
                <c:pt idx="12">
                  <c:v>0.8911234691472053</c:v>
                </c:pt>
                <c:pt idx="13">
                  <c:v>0.90636171022681156</c:v>
                </c:pt>
                <c:pt idx="14">
                  <c:v>0.9209040871692411</c:v>
                </c:pt>
                <c:pt idx="15">
                  <c:v>0.93141752910987363</c:v>
                </c:pt>
                <c:pt idx="16">
                  <c:v>0.94110793840648321</c:v>
                </c:pt>
                <c:pt idx="17">
                  <c:v>0.94931942506791978</c:v>
                </c:pt>
                <c:pt idx="18">
                  <c:v>0.95662491159796104</c:v>
                </c:pt>
                <c:pt idx="19">
                  <c:v>0.96367811416712723</c:v>
                </c:pt>
                <c:pt idx="20">
                  <c:v>0.97041961501153573</c:v>
                </c:pt>
                <c:pt idx="21">
                  <c:v>0.97534452641626823</c:v>
                </c:pt>
                <c:pt idx="22">
                  <c:v>0.97917117533167664</c:v>
                </c:pt>
                <c:pt idx="23">
                  <c:v>0.98297053072139917</c:v>
                </c:pt>
                <c:pt idx="24">
                  <c:v>0.98675273708170852</c:v>
                </c:pt>
                <c:pt idx="25">
                  <c:v>0.99017650457371853</c:v>
                </c:pt>
                <c:pt idx="26">
                  <c:v>0.9932917103041029</c:v>
                </c:pt>
                <c:pt idx="27">
                  <c:v>0.99639797921634243</c:v>
                </c:pt>
                <c:pt idx="28">
                  <c:v>0.99836262999447356</c:v>
                </c:pt>
                <c:pt idx="29">
                  <c:v>0.99999311623467202</c:v>
                </c:pt>
                <c:pt idx="30">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2</c:f>
              <c:strCache>
                <c:ptCount val="31"/>
                <c:pt idx="0">
                  <c:v>Boursin Classique Fromage Frais A Tartiner Afh 1X160Gr 10P</c:v>
                </c:pt>
                <c:pt idx="1">
                  <c:v>Boursin Classique Fromage Frais A Tartiner Afh Boite 1X250Gr 1P</c:v>
                </c:pt>
                <c:pt idx="2">
                  <c:v>Boursin Classique Fromage Frais A Tartiner Afh Boite 1X150Gr 1P</c:v>
                </c:pt>
                <c:pt idx="3">
                  <c:v>Boursin Aperitif Roules Fromage Frais Roule Afh Et Jambon Fume Boite 1X100Gr 20P</c:v>
                </c:pt>
                <c:pt idx="4">
                  <c:v>Boursin Salade &amp; Aperitif Fromage Frais Des Afh 1X120Gr 1P</c:v>
                </c:pt>
                <c:pt idx="5">
                  <c:v>Boursin Classique Fromage Frais A Tartiner Afh Boite 1X96Gr 6P</c:v>
                </c:pt>
                <c:pt idx="6">
                  <c:v>Boursin Aperitif Roules Fromage Frais Roule Ciboulette &amp; Echalote Jambon Fume Boite 1X100Gr 20P</c:v>
                </c:pt>
                <c:pt idx="7">
                  <c:v>Boursin Classique Fromage Frais A Tartiner Figue Et 3 Noix Boite 1X150Gr 1P</c:v>
                </c:pt>
                <c:pt idx="8">
                  <c:v>Boursin Classique Fromage Frais A Tartiner Ciboulette &amp; Echalote Boite 1X150Gr 1P</c:v>
                </c:pt>
                <c:pt idx="9">
                  <c:v>Boursin Salade &amp; Aperitif Fromage Frais Des Ciboulette Echalote 1X120Gr 1P</c:v>
                </c:pt>
                <c:pt idx="10">
                  <c:v>Boursin Onctueux Fromage Frais A Tartiner Afh 1X125Gr 1P</c:v>
                </c:pt>
                <c:pt idx="11">
                  <c:v>Boursin Cuisine Sauce Fromage Afh 1X240Gr 1P</c:v>
                </c:pt>
                <c:pt idx="12">
                  <c:v>Boursin Salade &amp; Aperitif Fromage Frais Des Figue Noix 1X120Gr 1P</c:v>
                </c:pt>
                <c:pt idx="13">
                  <c:v>Boursin Classique Fromage Frais A Tartiner Afh 1X256Gr 16P</c:v>
                </c:pt>
                <c:pt idx="14">
                  <c:v>Boursin Classique Fromage Frais A Tartiner Afh Boite 1X80Gr 1P</c:v>
                </c:pt>
                <c:pt idx="15">
                  <c:v>Boursin Classique Fromage Frais A Tartiner Poivre Boite 1X150Gr 1P</c:v>
                </c:pt>
                <c:pt idx="16">
                  <c:v>Boursin Salade &amp; Aperitif Fromage Frais Des Citron Romarin 1X120Gr 1P</c:v>
                </c:pt>
                <c:pt idx="17">
                  <c:v>Boursin Salade &amp; Aperitif Fromage Frais Des Noisette Et 3 Noix 1X120Gr 1P</c:v>
                </c:pt>
                <c:pt idx="18">
                  <c:v>Boursin Onctueux Fromage Frais A Tartiner Afh 1X210Gr 1P</c:v>
                </c:pt>
                <c:pt idx="19">
                  <c:v>Boursin Classique Fromage Frais A Tartiner 3 Noix Boite 1X150Gr 1P</c:v>
                </c:pt>
                <c:pt idx="20">
                  <c:v>Boursin Salade &amp; Aperitif Soft Cheese Salade 120G</c:v>
                </c:pt>
                <c:pt idx="21">
                  <c:v>Boursin Vegetal Specialite Vegetale A Tartiner Afh 1X130Gr 1P</c:v>
                </c:pt>
                <c:pt idx="22">
                  <c:v>Boursin Classique Fromage Frais A Tartiner Truffe Boite 1X150Gr 1P</c:v>
                </c:pt>
                <c:pt idx="23">
                  <c:v>Boursin Vegetal Alternative Vegetale 150G</c:v>
                </c:pt>
                <c:pt idx="24">
                  <c:v>Boursin Aperitif Roules Aperitif 100G</c:v>
                </c:pt>
                <c:pt idx="25">
                  <c:v>Boursin Classique Fromage Frais A Tartiner Afh Boite 1X320Gr 16+4P</c:v>
                </c:pt>
                <c:pt idx="26">
                  <c:v>Boursin Aperitif Roules Fromage Frais Roule Jambon Fume &amp; Trio De Noix Boite 1X100Gr 20P</c:v>
                </c:pt>
                <c:pt idx="27">
                  <c:v>Boursin Classique Fromage Frais A Tartiner 3 Noix 1X160Gr 10P</c:v>
                </c:pt>
                <c:pt idx="28">
                  <c:v>Boursin Classique Fromage Frais A Tartiner Citron &amp; Romarin Boite 1X150Gr 1P</c:v>
                </c:pt>
                <c:pt idx="29">
                  <c:v>Boursin Classique Fromage Frais A Tartiner Ciboulette &amp; Echalote 1X160Gr 10P</c:v>
                </c:pt>
                <c:pt idx="30">
                  <c:v>Boursin Aperitif Roules Fromage Frais Roule Basilic &amp; Jambon Fume Tomate Boite 1X100Gr 20P</c:v>
                </c:pt>
              </c:strCache>
            </c:strRef>
          </c:cat>
          <c:val>
            <c:numRef>
              <c:f>Sheet1!$D$2:$D$32</c:f>
              <c:numCache>
                <c:formatCode>General</c:formatCode>
                <c:ptCount val="31"/>
                <c:pt idx="0">
                  <c:v>14268.91</c:v>
                </c:pt>
                <c:pt idx="1">
                  <c:v>11512.05</c:v>
                </c:pt>
                <c:pt idx="2">
                  <c:v>9722.94</c:v>
                </c:pt>
                <c:pt idx="3">
                  <c:v>7852.5</c:v>
                </c:pt>
                <c:pt idx="4">
                  <c:v>6542.91</c:v>
                </c:pt>
                <c:pt idx="5">
                  <c:v>4276.8900000000003</c:v>
                </c:pt>
                <c:pt idx="6">
                  <c:v>4007.6315789473683</c:v>
                </c:pt>
                <c:pt idx="7">
                  <c:v>3773</c:v>
                </c:pt>
                <c:pt idx="8">
                  <c:v>3345.6288659793813</c:v>
                </c:pt>
                <c:pt idx="9">
                  <c:v>2741.89</c:v>
                </c:pt>
                <c:pt idx="10">
                  <c:v>2658.0808080808079</c:v>
                </c:pt>
                <c:pt idx="11">
                  <c:v>1964.9795918367347</c:v>
                </c:pt>
                <c:pt idx="12">
                  <c:v>1562.84</c:v>
                </c:pt>
                <c:pt idx="13">
                  <c:v>2175.4827586206898</c:v>
                </c:pt>
                <c:pt idx="14">
                  <c:v>1281.0212765957447</c:v>
                </c:pt>
                <c:pt idx="15">
                  <c:v>989.26136363636363</c:v>
                </c:pt>
                <c:pt idx="16">
                  <c:v>844.63157894736844</c:v>
                </c:pt>
                <c:pt idx="17">
                  <c:v>708.27083333333337</c:v>
                </c:pt>
                <c:pt idx="18">
                  <c:v>1025.2881355932204</c:v>
                </c:pt>
                <c:pt idx="19">
                  <c:v>871.68656716417911</c:v>
                </c:pt>
                <c:pt idx="20">
                  <c:v>593.85106382978722</c:v>
                </c:pt>
                <c:pt idx="21">
                  <c:v>529.61038961038957</c:v>
                </c:pt>
                <c:pt idx="22">
                  <c:v>480.09090909090907</c:v>
                </c:pt>
                <c:pt idx="23">
                  <c:v>398.22784810126581</c:v>
                </c:pt>
                <c:pt idx="24">
                  <c:v>590.90566037735846</c:v>
                </c:pt>
                <c:pt idx="25">
                  <c:v>333.52941176470586</c:v>
                </c:pt>
                <c:pt idx="26">
                  <c:v>537.39583333333337</c:v>
                </c:pt>
                <c:pt idx="27">
                  <c:v>524.91836734693879</c:v>
                </c:pt>
                <c:pt idx="28">
                  <c:v>229.12676056338029</c:v>
                </c:pt>
                <c:pt idx="29">
                  <c:v>964.35714285714278</c:v>
                </c:pt>
                <c:pt idx="30">
                  <c:v>28.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Delicieusement Fouette Fromage Frais A Tartiner 1X160Gr 10P</c:v>
                </c:pt>
                <c:pt idx="8">
                  <c:v>Kiri Delicieusement Fouette Fromage Frais A Tartiner 1X210Gr 1P</c:v>
                </c:pt>
                <c:pt idx="9">
                  <c:v>Kiri Delicieusement Fouette Fromage Frais A Tartiner 1X125Gr 1P</c:v>
                </c:pt>
                <c:pt idx="10">
                  <c:v>Kiri Chevre Fromage Blanc Frais Carre 1X144Gr 8P</c:v>
                </c:pt>
              </c:strCache>
            </c:strRef>
          </c:cat>
          <c:val>
            <c:numRef>
              <c:f>Sheet1!$B$2:$B$12</c:f>
              <c:numCache>
                <c:formatCode>General</c:formatCode>
                <c:ptCount val="11"/>
                <c:pt idx="0">
                  <c:v>0.86</c:v>
                </c:pt>
                <c:pt idx="1">
                  <c:v>0.97</c:v>
                </c:pt>
                <c:pt idx="2">
                  <c:v>0.99</c:v>
                </c:pt>
                <c:pt idx="3">
                  <c:v>0.99</c:v>
                </c:pt>
                <c:pt idx="4">
                  <c:v>0.73</c:v>
                </c:pt>
                <c:pt idx="5">
                  <c:v>0.71</c:v>
                </c:pt>
                <c:pt idx="6">
                  <c:v>0.42</c:v>
                </c:pt>
                <c:pt idx="7">
                  <c:v>0.63</c:v>
                </c:pt>
                <c:pt idx="8">
                  <c:v>0.54</c:v>
                </c:pt>
                <c:pt idx="9">
                  <c:v>0.62</c:v>
                </c:pt>
                <c:pt idx="10">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Delicieusement Fouette Fromage Frais A Tartiner 1X160Gr 10P</c:v>
                </c:pt>
                <c:pt idx="8">
                  <c:v>Kiri Delicieusement Fouette Fromage Frais A Tartiner 1X210Gr 1P</c:v>
                </c:pt>
                <c:pt idx="9">
                  <c:v>Kiri Delicieusement Fouette Fromage Frais A Tartiner 1X125Gr 1P</c:v>
                </c:pt>
                <c:pt idx="10">
                  <c:v>Kiri Chevre Fromage Blanc Frais Carre 1X144Gr 8P</c:v>
                </c:pt>
              </c:strCache>
            </c:strRef>
          </c:cat>
          <c:val>
            <c:numRef>
              <c:f>Sheet1!$C$2:$C$12</c:f>
              <c:numCache>
                <c:formatCode>General</c:formatCode>
                <c:ptCount val="11"/>
                <c:pt idx="0">
                  <c:v>0.25201231986167327</c:v>
                </c:pt>
                <c:pt idx="1">
                  <c:v>0.47218853336749356</c:v>
                </c:pt>
                <c:pt idx="2">
                  <c:v>0.63602547487421446</c:v>
                </c:pt>
                <c:pt idx="3">
                  <c:v>0.76509274555570528</c:v>
                </c:pt>
                <c:pt idx="4">
                  <c:v>0.86585916006891939</c:v>
                </c:pt>
                <c:pt idx="5">
                  <c:v>0.91652123617855819</c:v>
                </c:pt>
                <c:pt idx="6">
                  <c:v>0.93838724381913496</c:v>
                </c:pt>
                <c:pt idx="7">
                  <c:v>0.95896739085226979</c:v>
                </c:pt>
                <c:pt idx="8">
                  <c:v>0.97945978049839544</c:v>
                </c:pt>
                <c:pt idx="9">
                  <c:v>0.99970872311199621</c:v>
                </c:pt>
                <c:pt idx="10">
                  <c:v>0.9999936226859361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Delicieusement Fouette Fromage Frais A Tartiner 1X160Gr 10P</c:v>
                </c:pt>
                <c:pt idx="8">
                  <c:v>Kiri Delicieusement Fouette Fromage Frais A Tartiner 1X210Gr 1P</c:v>
                </c:pt>
                <c:pt idx="9">
                  <c:v>Kiri Delicieusement Fouette Fromage Frais A Tartiner 1X125Gr 1P</c:v>
                </c:pt>
                <c:pt idx="10">
                  <c:v>Kiri Chevre Fromage Blanc Frais Carre 1X144Gr 8P</c:v>
                </c:pt>
              </c:strCache>
            </c:strRef>
          </c:cat>
          <c:val>
            <c:numRef>
              <c:f>Sheet1!$D$2:$D$12</c:f>
              <c:numCache>
                <c:formatCode>General</c:formatCode>
                <c:ptCount val="11"/>
                <c:pt idx="0">
                  <c:v>21137</c:v>
                </c:pt>
                <c:pt idx="1">
                  <c:v>16372.639175257733</c:v>
                </c:pt>
                <c:pt idx="2">
                  <c:v>11937.040404040405</c:v>
                </c:pt>
                <c:pt idx="3">
                  <c:v>9403.7474747474753</c:v>
                </c:pt>
                <c:pt idx="4">
                  <c:v>9956.6438356164381</c:v>
                </c:pt>
                <c:pt idx="5">
                  <c:v>5146.8873239436616</c:v>
                </c:pt>
                <c:pt idx="6">
                  <c:v>3755.2619047619046</c:v>
                </c:pt>
                <c:pt idx="7">
                  <c:v>2356.2857142857142</c:v>
                </c:pt>
                <c:pt idx="8">
                  <c:v>2737.2777777777778</c:v>
                </c:pt>
                <c:pt idx="9">
                  <c:v>2355.7580645161293</c:v>
                </c:pt>
                <c:pt idx="10">
                  <c:v>68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128Gr 8P</c:v>
                </c:pt>
                <c:pt idx="4">
                  <c:v>La Vache Qui Rit Pik Et Croq' Fromage Fondu Dips Boite 1X175Gr 5P</c:v>
                </c:pt>
                <c:pt idx="5">
                  <c:v>La Vache Qui Rit Nature Fromage Fondu Boite Ronde 1X512Gr 24+8P</c:v>
                </c:pt>
                <c:pt idx="6">
                  <c:v>Toastinette Cheddar Fondu Tranche A Chaud Sachet 1X200Gr 10P</c:v>
                </c:pt>
                <c:pt idx="7">
                  <c:v>Toastinette Fromage Fondu Tranche A Chaud Sachet 1X200Gr 10P</c:v>
                </c:pt>
                <c:pt idx="8">
                  <c:v>La Vache Qui Rit Allegee Fromage Fondu Boite Ronde Allege 1X267Gr 16P</c:v>
                </c:pt>
                <c:pt idx="9">
                  <c:v>La Vache Qui Rit Bio Fromage Fondu Boite Ronde 1X128Gr 8P</c:v>
                </c:pt>
              </c:strCache>
            </c:strRef>
          </c:cat>
          <c:val>
            <c:numRef>
              <c:f>Sheet1!$B$2:$B$11</c:f>
              <c:numCache>
                <c:formatCode>General</c:formatCode>
                <c:ptCount val="10"/>
                <c:pt idx="0">
                  <c:v>0.99</c:v>
                </c:pt>
                <c:pt idx="1">
                  <c:v>0.96</c:v>
                </c:pt>
                <c:pt idx="2">
                  <c:v>0.99</c:v>
                </c:pt>
                <c:pt idx="3">
                  <c:v>0.66</c:v>
                </c:pt>
                <c:pt idx="4">
                  <c:v>0.97</c:v>
                </c:pt>
                <c:pt idx="5">
                  <c:v>0.78</c:v>
                </c:pt>
                <c:pt idx="6">
                  <c:v>0.97</c:v>
                </c:pt>
                <c:pt idx="7">
                  <c:v>0.79</c:v>
                </c:pt>
                <c:pt idx="8">
                  <c:v>0.27</c:v>
                </c:pt>
                <c:pt idx="9">
                  <c:v>0.2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128Gr 8P</c:v>
                </c:pt>
                <c:pt idx="4">
                  <c:v>La Vache Qui Rit Pik Et Croq' Fromage Fondu Dips Boite 1X175Gr 5P</c:v>
                </c:pt>
                <c:pt idx="5">
                  <c:v>La Vache Qui Rit Nature Fromage Fondu Boite Ronde 1X512Gr 24+8P</c:v>
                </c:pt>
                <c:pt idx="6">
                  <c:v>Toastinette Cheddar Fondu Tranche A Chaud Sachet 1X200Gr 10P</c:v>
                </c:pt>
                <c:pt idx="7">
                  <c:v>Toastinette Fromage Fondu Tranche A Chaud Sachet 1X200Gr 10P</c:v>
                </c:pt>
                <c:pt idx="8">
                  <c:v>La Vache Qui Rit Allegee Fromage Fondu Boite Ronde Allege 1X267Gr 16P</c:v>
                </c:pt>
                <c:pt idx="9">
                  <c:v>La Vache Qui Rit Bio Fromage Fondu Boite Ronde 1X128Gr 8P</c:v>
                </c:pt>
              </c:strCache>
            </c:strRef>
          </c:cat>
          <c:val>
            <c:numRef>
              <c:f>Sheet1!$C$2:$C$11</c:f>
              <c:numCache>
                <c:formatCode>General</c:formatCode>
                <c:ptCount val="10"/>
                <c:pt idx="0">
                  <c:v>0.35257132086825421</c:v>
                </c:pt>
                <c:pt idx="1">
                  <c:v>0.57419596918111182</c:v>
                </c:pt>
                <c:pt idx="2">
                  <c:v>0.75852753814848362</c:v>
                </c:pt>
                <c:pt idx="3">
                  <c:v>0.81959871408368801</c:v>
                </c:pt>
                <c:pt idx="4">
                  <c:v>0.87861176346540037</c:v>
                </c:pt>
                <c:pt idx="5">
                  <c:v>0.92474942804069249</c:v>
                </c:pt>
                <c:pt idx="6">
                  <c:v>0.95919453916214603</c:v>
                </c:pt>
                <c:pt idx="7">
                  <c:v>0.98599209038260593</c:v>
                </c:pt>
                <c:pt idx="8">
                  <c:v>0.99534099627808847</c:v>
                </c:pt>
                <c:pt idx="9">
                  <c:v>0.9999459277095963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1</c:f>
              <c:strCache>
                <c:ptCount val="10"/>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128Gr 8P</c:v>
                </c:pt>
                <c:pt idx="4">
                  <c:v>La Vache Qui Rit Pik Et Croq' Fromage Fondu Dips Boite 1X175Gr 5P</c:v>
                </c:pt>
                <c:pt idx="5">
                  <c:v>La Vache Qui Rit Nature Fromage Fondu Boite Ronde 1X512Gr 24+8P</c:v>
                </c:pt>
                <c:pt idx="6">
                  <c:v>Toastinette Cheddar Fondu Tranche A Chaud Sachet 1X200Gr 10P</c:v>
                </c:pt>
                <c:pt idx="7">
                  <c:v>Toastinette Fromage Fondu Tranche A Chaud Sachet 1X200Gr 10P</c:v>
                </c:pt>
                <c:pt idx="8">
                  <c:v>La Vache Qui Rit Allegee Fromage Fondu Boite Ronde Allege 1X267Gr 16P</c:v>
                </c:pt>
                <c:pt idx="9">
                  <c:v>La Vache Qui Rit Bio Fromage Fondu Boite Ronde 1X128Gr 8P</c:v>
                </c:pt>
              </c:strCache>
            </c:strRef>
          </c:cat>
          <c:val>
            <c:numRef>
              <c:f>Sheet1!$D$2:$D$11</c:f>
              <c:numCache>
                <c:formatCode>General</c:formatCode>
                <c:ptCount val="10"/>
                <c:pt idx="0">
                  <c:v>36882.898989898989</c:v>
                </c:pt>
                <c:pt idx="1">
                  <c:v>23908.927083333332</c:v>
                </c:pt>
                <c:pt idx="2">
                  <c:v>19283.141414141413</c:v>
                </c:pt>
                <c:pt idx="3">
                  <c:v>9583.0909090909099</c:v>
                </c:pt>
                <c:pt idx="4">
                  <c:v>6300.7113402061859</c:v>
                </c:pt>
                <c:pt idx="5">
                  <c:v>6125.9615384615381</c:v>
                </c:pt>
                <c:pt idx="6">
                  <c:v>3677.6391752577319</c:v>
                </c:pt>
                <c:pt idx="7">
                  <c:v>3513.0253164556962</c:v>
                </c:pt>
                <c:pt idx="8">
                  <c:v>3586</c:v>
                </c:pt>
                <c:pt idx="9">
                  <c:v>1907.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St Moret</c:v>
                </c:pt>
                <c:pt idx="4">
                  <c:v>Private Label</c:v>
                </c:pt>
                <c:pt idx="5">
                  <c:v>Entremont</c:v>
                </c:pt>
                <c:pt idx="6">
                  <c:v>Others</c:v>
                </c:pt>
              </c:strCache>
            </c:strRef>
          </c:cat>
          <c:val>
            <c:numRef>
              <c:f>Sheet1!$B$2:$B$8</c:f>
              <c:numCache>
                <c:formatCode>General</c:formatCode>
                <c:ptCount val="7"/>
                <c:pt idx="0">
                  <c:v>0.61023286261633503</c:v>
                </c:pt>
                <c:pt idx="1">
                  <c:v>0.12404875934458086</c:v>
                </c:pt>
                <c:pt idx="2">
                  <c:v>0.1121250056018383</c:v>
                </c:pt>
                <c:pt idx="3">
                  <c:v>6.9976315335888842E-2</c:v>
                </c:pt>
                <c:pt idx="4">
                  <c:v>6.9297565271282502E-2</c:v>
                </c:pt>
                <c:pt idx="5">
                  <c:v>1.2421881397945074E-2</c:v>
                </c:pt>
                <c:pt idx="6">
                  <c:v>1.8976104321294122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St Moret</c:v>
                </c:pt>
                <c:pt idx="4">
                  <c:v>Private Label</c:v>
                </c:pt>
                <c:pt idx="5">
                  <c:v>Entremont</c:v>
                </c:pt>
                <c:pt idx="6">
                  <c:v>Others</c:v>
                </c:pt>
              </c:strCache>
            </c:strRef>
          </c:cat>
          <c:val>
            <c:numRef>
              <c:f>Sheet1!$C$2:$C$8</c:f>
              <c:numCache>
                <c:formatCode>General</c:formatCode>
                <c:ptCount val="7"/>
                <c:pt idx="0">
                  <c:v>0.40327879412522538</c:v>
                </c:pt>
                <c:pt idx="1">
                  <c:v>0.20548827621746968</c:v>
                </c:pt>
                <c:pt idx="2">
                  <c:v>0.1340182942540582</c:v>
                </c:pt>
                <c:pt idx="3">
                  <c:v>0.11185905694408657</c:v>
                </c:pt>
                <c:pt idx="4">
                  <c:v>5.6911878381860341E-2</c:v>
                </c:pt>
                <c:pt idx="5">
                  <c:v>8.1486730224169038E-2</c:v>
                </c:pt>
                <c:pt idx="6">
                  <c:v>6.9569698531306359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St Moret</c:v>
                </c:pt>
                <c:pt idx="4">
                  <c:v>Private Label</c:v>
                </c:pt>
                <c:pt idx="5">
                  <c:v>Entremont</c:v>
                </c:pt>
                <c:pt idx="6">
                  <c:v>Others</c:v>
                </c:pt>
              </c:strCache>
            </c:strRef>
          </c:cat>
          <c:val>
            <c:numRef>
              <c:f>Sheet1!$D$2:$D$8</c:f>
              <c:numCache>
                <c:formatCode>General</c:formatCode>
                <c:ptCount val="7"/>
                <c:pt idx="0">
                  <c:v>66.08604990498101</c:v>
                </c:pt>
                <c:pt idx="1">
                  <c:v>165.65121433150921</c:v>
                </c:pt>
                <c:pt idx="2">
                  <c:v>119.5257860052771</c:v>
                </c:pt>
                <c:pt idx="3">
                  <c:v>159.85273932638358</c:v>
                </c:pt>
                <c:pt idx="4">
                  <c:v>82.126808004097512</c:v>
                </c:pt>
                <c:pt idx="5">
                  <c:v>655.99346518997686</c:v>
                </c:pt>
                <c:pt idx="6">
                  <c:v>366.6173907635952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7</c:f>
              <c:strCache>
                <c:ptCount val="26"/>
                <c:pt idx="0">
                  <c:v>Boursin Classique Fromage Frais A Tartiner Afh 1X160Gr 10P</c:v>
                </c:pt>
                <c:pt idx="1">
                  <c:v>Boursin Classique Fromage Frais A Tartiner Afh Boite 1X150Gr 1P</c:v>
                </c:pt>
                <c:pt idx="2">
                  <c:v>Boursin Classique Fromage Frais A Tartiner Afh Boite 1X250Gr 1P</c:v>
                </c:pt>
                <c:pt idx="3">
                  <c:v>Boursin Aperitif Roules Fromage Frais Roule Afh Et Jambon Fume Boite 1X100Gr 20P</c:v>
                </c:pt>
                <c:pt idx="4">
                  <c:v>Boursin Salade &amp; Aperitif Fromage Frais Des Afh 1X120Gr 1P</c:v>
                </c:pt>
                <c:pt idx="5">
                  <c:v>Boursin Aperitif Roules Fromage Frais Roule Ciboulette &amp; Echalote Jambon Fume Boite 1X100Gr 20P</c:v>
                </c:pt>
                <c:pt idx="6">
                  <c:v>Boursin Classique Fromage Frais A Tartiner Afh Boite 1X96Gr 6P</c:v>
                </c:pt>
                <c:pt idx="7">
                  <c:v>Boursin Onctueux Fromage Frais A Tartiner Afh 1X125Gr 1P</c:v>
                </c:pt>
                <c:pt idx="8">
                  <c:v>Boursin Classique Fromage Frais A Tartiner Ciboulette &amp; Echalote Boite 1X150Gr 1P</c:v>
                </c:pt>
                <c:pt idx="9">
                  <c:v>Boursin Salade &amp; Aperitif Fromage Frais Des Figue Noix 1X120Gr 1P</c:v>
                </c:pt>
                <c:pt idx="10">
                  <c:v>Boursin Salade &amp; Aperitif Fromage Frais Des Ciboulette Echalote 1X120Gr 1P</c:v>
                </c:pt>
                <c:pt idx="11">
                  <c:v>Boursin Cuisine Sauce Fromage Afh 1X240Gr 1P</c:v>
                </c:pt>
                <c:pt idx="12">
                  <c:v>Boursin Salade &amp; Aperitif Fromage Frais Des Citron Romarin 1X120Gr 1P</c:v>
                </c:pt>
                <c:pt idx="13">
                  <c:v>Boursin Classique Fromage Frais A Tartiner Figue Et 3 Noix Boite 1X150Gr 1P</c:v>
                </c:pt>
                <c:pt idx="14">
                  <c:v>Boursin Salade &amp; Aperitif Soft Cheese Salade 120G</c:v>
                </c:pt>
                <c:pt idx="15">
                  <c:v>Boursin Salade &amp; Aperitif Fromage Frais Des Noisette Et 3 Noix 1X120Gr 1P</c:v>
                </c:pt>
                <c:pt idx="16">
                  <c:v>Boursin Classique Fromage Frais A Tartiner 3 Noix Boite 1X150Gr 1P</c:v>
                </c:pt>
                <c:pt idx="17">
                  <c:v>Boursin Vegetal Specialite Vegetale A Tartiner Afh 1X130Gr 1P</c:v>
                </c:pt>
                <c:pt idx="18">
                  <c:v>Boursin Aperitif Roules Fromage Frais Roule Jambon Fume &amp; Trio De Noix Boite 1X100Gr 20P</c:v>
                </c:pt>
                <c:pt idx="19">
                  <c:v>Boursin Aperitif Roules Aperitif 100G</c:v>
                </c:pt>
                <c:pt idx="20">
                  <c:v>Boursin Classique Fromage Frais A Tartiner 3 Noix 1X160Gr 10P</c:v>
                </c:pt>
                <c:pt idx="21">
                  <c:v>Boursin Classique Fromage Frais A Tartiner Afh Boite 1X320Gr 16+4P</c:v>
                </c:pt>
                <c:pt idx="22">
                  <c:v>Boursin Vegetal Alternative Vegetale 150G</c:v>
                </c:pt>
                <c:pt idx="23">
                  <c:v>Boursin Classique Fromage Frais A Tartiner Truffe Boite 1X150Gr 1P</c:v>
                </c:pt>
                <c:pt idx="24">
                  <c:v>Boursin Onctueux Fromage Frais A Tartiner Afh 1X210Gr 1P</c:v>
                </c:pt>
                <c:pt idx="25">
                  <c:v>Boursin Classique Fromage Frais A Tartiner Ciboulette &amp; Echalote 1X160Gr 10P</c:v>
                </c:pt>
              </c:strCache>
            </c:strRef>
          </c:cat>
          <c:val>
            <c:numRef>
              <c:f>Sheet1!$B$2:$B$27</c:f>
              <c:numCache>
                <c:formatCode>General</c:formatCode>
                <c:ptCount val="26"/>
                <c:pt idx="0">
                  <c:v>0.98</c:v>
                </c:pt>
                <c:pt idx="1">
                  <c:v>0.99</c:v>
                </c:pt>
                <c:pt idx="2">
                  <c:v>0.95</c:v>
                </c:pt>
                <c:pt idx="3">
                  <c:v>0.94</c:v>
                </c:pt>
                <c:pt idx="4">
                  <c:v>0.99</c:v>
                </c:pt>
                <c:pt idx="5">
                  <c:v>0.86</c:v>
                </c:pt>
                <c:pt idx="6">
                  <c:v>0.91</c:v>
                </c:pt>
                <c:pt idx="7">
                  <c:v>0.85</c:v>
                </c:pt>
                <c:pt idx="8">
                  <c:v>0.89</c:v>
                </c:pt>
                <c:pt idx="9">
                  <c:v>0.91</c:v>
                </c:pt>
                <c:pt idx="10">
                  <c:v>0.95</c:v>
                </c:pt>
                <c:pt idx="11">
                  <c:v>0.72</c:v>
                </c:pt>
                <c:pt idx="12">
                  <c:v>0.72</c:v>
                </c:pt>
                <c:pt idx="13">
                  <c:v>0.65</c:v>
                </c:pt>
                <c:pt idx="14">
                  <c:v>0.71</c:v>
                </c:pt>
                <c:pt idx="15">
                  <c:v>0.79</c:v>
                </c:pt>
                <c:pt idx="16">
                  <c:v>0.61</c:v>
                </c:pt>
                <c:pt idx="17">
                  <c:v>0.24</c:v>
                </c:pt>
                <c:pt idx="18">
                  <c:v>0.5</c:v>
                </c:pt>
                <c:pt idx="19">
                  <c:v>0.28999999999999998</c:v>
                </c:pt>
                <c:pt idx="20">
                  <c:v>0.41</c:v>
                </c:pt>
                <c:pt idx="21">
                  <c:v>0.37</c:v>
                </c:pt>
                <c:pt idx="22">
                  <c:v>0.25</c:v>
                </c:pt>
                <c:pt idx="23">
                  <c:v>0.51</c:v>
                </c:pt>
                <c:pt idx="24">
                  <c:v>0.03</c:v>
                </c:pt>
                <c:pt idx="25">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AEABAB"/>
              </a:solidFill>
            </c:spPr>
            <c:extLst>
              <c:ext xmlns:c16="http://schemas.microsoft.com/office/drawing/2014/chart" uri="{C3380CC4-5D6E-409C-BE32-E72D297353CC}">
                <c16:uniqueId val="{00000033-FA3E-4872-B6E1-C4ABDF5766E2}"/>
              </c:ext>
            </c:extLst>
          </c:dPt>
          <c:dPt>
            <c:idx val="25"/>
            <c:invertIfNegative val="1"/>
            <c:bubble3D val="0"/>
            <c:spPr>
              <a:solidFill>
                <a:srgbClr val="AEABAB"/>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7</c:f>
              <c:strCache>
                <c:ptCount val="26"/>
                <c:pt idx="0">
                  <c:v>Boursin Classique Fromage Frais A Tartiner Afh 1X160Gr 10P</c:v>
                </c:pt>
                <c:pt idx="1">
                  <c:v>Boursin Classique Fromage Frais A Tartiner Afh Boite 1X150Gr 1P</c:v>
                </c:pt>
                <c:pt idx="2">
                  <c:v>Boursin Classique Fromage Frais A Tartiner Afh Boite 1X250Gr 1P</c:v>
                </c:pt>
                <c:pt idx="3">
                  <c:v>Boursin Aperitif Roules Fromage Frais Roule Afh Et Jambon Fume Boite 1X100Gr 20P</c:v>
                </c:pt>
                <c:pt idx="4">
                  <c:v>Boursin Salade &amp; Aperitif Fromage Frais Des Afh 1X120Gr 1P</c:v>
                </c:pt>
                <c:pt idx="5">
                  <c:v>Boursin Aperitif Roules Fromage Frais Roule Ciboulette &amp; Echalote Jambon Fume Boite 1X100Gr 20P</c:v>
                </c:pt>
                <c:pt idx="6">
                  <c:v>Boursin Classique Fromage Frais A Tartiner Afh Boite 1X96Gr 6P</c:v>
                </c:pt>
                <c:pt idx="7">
                  <c:v>Boursin Onctueux Fromage Frais A Tartiner Afh 1X125Gr 1P</c:v>
                </c:pt>
                <c:pt idx="8">
                  <c:v>Boursin Classique Fromage Frais A Tartiner Ciboulette &amp; Echalote Boite 1X150Gr 1P</c:v>
                </c:pt>
                <c:pt idx="9">
                  <c:v>Boursin Salade &amp; Aperitif Fromage Frais Des Figue Noix 1X120Gr 1P</c:v>
                </c:pt>
                <c:pt idx="10">
                  <c:v>Boursin Salade &amp; Aperitif Fromage Frais Des Ciboulette Echalote 1X120Gr 1P</c:v>
                </c:pt>
                <c:pt idx="11">
                  <c:v>Boursin Cuisine Sauce Fromage Afh 1X240Gr 1P</c:v>
                </c:pt>
                <c:pt idx="12">
                  <c:v>Boursin Salade &amp; Aperitif Fromage Frais Des Citron Romarin 1X120Gr 1P</c:v>
                </c:pt>
                <c:pt idx="13">
                  <c:v>Boursin Classique Fromage Frais A Tartiner Figue Et 3 Noix Boite 1X150Gr 1P</c:v>
                </c:pt>
                <c:pt idx="14">
                  <c:v>Boursin Salade &amp; Aperitif Soft Cheese Salade 120G</c:v>
                </c:pt>
                <c:pt idx="15">
                  <c:v>Boursin Salade &amp; Aperitif Fromage Frais Des Noisette Et 3 Noix 1X120Gr 1P</c:v>
                </c:pt>
                <c:pt idx="16">
                  <c:v>Boursin Classique Fromage Frais A Tartiner 3 Noix Boite 1X150Gr 1P</c:v>
                </c:pt>
                <c:pt idx="17">
                  <c:v>Boursin Vegetal Specialite Vegetale A Tartiner Afh 1X130Gr 1P</c:v>
                </c:pt>
                <c:pt idx="18">
                  <c:v>Boursin Aperitif Roules Fromage Frais Roule Jambon Fume &amp; Trio De Noix Boite 1X100Gr 20P</c:v>
                </c:pt>
                <c:pt idx="19">
                  <c:v>Boursin Aperitif Roules Aperitif 100G</c:v>
                </c:pt>
                <c:pt idx="20">
                  <c:v>Boursin Classique Fromage Frais A Tartiner 3 Noix 1X160Gr 10P</c:v>
                </c:pt>
                <c:pt idx="21">
                  <c:v>Boursin Classique Fromage Frais A Tartiner Afh Boite 1X320Gr 16+4P</c:v>
                </c:pt>
                <c:pt idx="22">
                  <c:v>Boursin Vegetal Alternative Vegetale 150G</c:v>
                </c:pt>
                <c:pt idx="23">
                  <c:v>Boursin Classique Fromage Frais A Tartiner Truffe Boite 1X150Gr 1P</c:v>
                </c:pt>
                <c:pt idx="24">
                  <c:v>Boursin Onctueux Fromage Frais A Tartiner Afh 1X210Gr 1P</c:v>
                </c:pt>
                <c:pt idx="25">
                  <c:v>Boursin Classique Fromage Frais A Tartiner Ciboulette &amp; Echalote 1X160Gr 10P</c:v>
                </c:pt>
              </c:strCache>
            </c:strRef>
          </c:cat>
          <c:val>
            <c:numRef>
              <c:f>Sheet1!$C$2:$C$27</c:f>
              <c:numCache>
                <c:formatCode>General</c:formatCode>
                <c:ptCount val="26"/>
                <c:pt idx="0">
                  <c:v>0.15730791006827385</c:v>
                </c:pt>
                <c:pt idx="1">
                  <c:v>0.30353368703196437</c:v>
                </c:pt>
                <c:pt idx="2">
                  <c:v>0.4304748457785722</c:v>
                </c:pt>
                <c:pt idx="3">
                  <c:v>0.55195324616611163</c:v>
                </c:pt>
                <c:pt idx="4">
                  <c:v>0.65186138310289388</c:v>
                </c:pt>
                <c:pt idx="5">
                  <c:v>0.72415945562158079</c:v>
                </c:pt>
                <c:pt idx="6">
                  <c:v>0.7907921754877334</c:v>
                </c:pt>
                <c:pt idx="7">
                  <c:v>0.83452909016877064</c:v>
                </c:pt>
                <c:pt idx="8">
                  <c:v>0.8764951266731088</c:v>
                </c:pt>
                <c:pt idx="9">
                  <c:v>0.90059391000758826</c:v>
                </c:pt>
                <c:pt idx="10">
                  <c:v>0.92306067639463774</c:v>
                </c:pt>
                <c:pt idx="11">
                  <c:v>0.93746964895006724</c:v>
                </c:pt>
                <c:pt idx="12">
                  <c:v>0.94954063830850055</c:v>
                </c:pt>
                <c:pt idx="13">
                  <c:v>0.95920474385999499</c:v>
                </c:pt>
                <c:pt idx="14">
                  <c:v>0.96775239452807249</c:v>
                </c:pt>
                <c:pt idx="15">
                  <c:v>0.97587829396259729</c:v>
                </c:pt>
                <c:pt idx="16">
                  <c:v>0.98082125022011757</c:v>
                </c:pt>
                <c:pt idx="17">
                  <c:v>0.98428297586504387</c:v>
                </c:pt>
                <c:pt idx="18">
                  <c:v>0.98762266792966791</c:v>
                </c:pt>
                <c:pt idx="19">
                  <c:v>0.99041764767222606</c:v>
                </c:pt>
                <c:pt idx="20">
                  <c:v>0.99305813104710516</c:v>
                </c:pt>
                <c:pt idx="21">
                  <c:v>0.99568523180351465</c:v>
                </c:pt>
                <c:pt idx="22">
                  <c:v>0.99787295867036674</c:v>
                </c:pt>
                <c:pt idx="23">
                  <c:v>0.99954830350135682</c:v>
                </c:pt>
                <c:pt idx="24">
                  <c:v>0.99994169948389477</c:v>
                </c:pt>
                <c:pt idx="25">
                  <c:v>0.9999821123416495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7</c:f>
              <c:strCache>
                <c:ptCount val="26"/>
                <c:pt idx="0">
                  <c:v>Boursin Classique Fromage Frais A Tartiner Afh 1X160Gr 10P</c:v>
                </c:pt>
                <c:pt idx="1">
                  <c:v>Boursin Classique Fromage Frais A Tartiner Afh Boite 1X150Gr 1P</c:v>
                </c:pt>
                <c:pt idx="2">
                  <c:v>Boursin Classique Fromage Frais A Tartiner Afh Boite 1X250Gr 1P</c:v>
                </c:pt>
                <c:pt idx="3">
                  <c:v>Boursin Aperitif Roules Fromage Frais Roule Afh Et Jambon Fume Boite 1X100Gr 20P</c:v>
                </c:pt>
                <c:pt idx="4">
                  <c:v>Boursin Salade &amp; Aperitif Fromage Frais Des Afh 1X120Gr 1P</c:v>
                </c:pt>
                <c:pt idx="5">
                  <c:v>Boursin Aperitif Roules Fromage Frais Roule Ciboulette &amp; Echalote Jambon Fume Boite 1X100Gr 20P</c:v>
                </c:pt>
                <c:pt idx="6">
                  <c:v>Boursin Classique Fromage Frais A Tartiner Afh Boite 1X96Gr 6P</c:v>
                </c:pt>
                <c:pt idx="7">
                  <c:v>Boursin Onctueux Fromage Frais A Tartiner Afh 1X125Gr 1P</c:v>
                </c:pt>
                <c:pt idx="8">
                  <c:v>Boursin Classique Fromage Frais A Tartiner Ciboulette &amp; Echalote Boite 1X150Gr 1P</c:v>
                </c:pt>
                <c:pt idx="9">
                  <c:v>Boursin Salade &amp; Aperitif Fromage Frais Des Figue Noix 1X120Gr 1P</c:v>
                </c:pt>
                <c:pt idx="10">
                  <c:v>Boursin Salade &amp; Aperitif Fromage Frais Des Ciboulette Echalote 1X120Gr 1P</c:v>
                </c:pt>
                <c:pt idx="11">
                  <c:v>Boursin Cuisine Sauce Fromage Afh 1X240Gr 1P</c:v>
                </c:pt>
                <c:pt idx="12">
                  <c:v>Boursin Salade &amp; Aperitif Fromage Frais Des Citron Romarin 1X120Gr 1P</c:v>
                </c:pt>
                <c:pt idx="13">
                  <c:v>Boursin Classique Fromage Frais A Tartiner Figue Et 3 Noix Boite 1X150Gr 1P</c:v>
                </c:pt>
                <c:pt idx="14">
                  <c:v>Boursin Salade &amp; Aperitif Soft Cheese Salade 120G</c:v>
                </c:pt>
                <c:pt idx="15">
                  <c:v>Boursin Salade &amp; Aperitif Fromage Frais Des Noisette Et 3 Noix 1X120Gr 1P</c:v>
                </c:pt>
                <c:pt idx="16">
                  <c:v>Boursin Classique Fromage Frais A Tartiner 3 Noix Boite 1X150Gr 1P</c:v>
                </c:pt>
                <c:pt idx="17">
                  <c:v>Boursin Vegetal Specialite Vegetale A Tartiner Afh 1X130Gr 1P</c:v>
                </c:pt>
                <c:pt idx="18">
                  <c:v>Boursin Aperitif Roules Fromage Frais Roule Jambon Fume &amp; Trio De Noix Boite 1X100Gr 20P</c:v>
                </c:pt>
                <c:pt idx="19">
                  <c:v>Boursin Aperitif Roules Aperitif 100G</c:v>
                </c:pt>
                <c:pt idx="20">
                  <c:v>Boursin Classique Fromage Frais A Tartiner 3 Noix 1X160Gr 10P</c:v>
                </c:pt>
                <c:pt idx="21">
                  <c:v>Boursin Classique Fromage Frais A Tartiner Afh Boite 1X320Gr 16+4P</c:v>
                </c:pt>
                <c:pt idx="22">
                  <c:v>Boursin Vegetal Alternative Vegetale 150G</c:v>
                </c:pt>
                <c:pt idx="23">
                  <c:v>Boursin Classique Fromage Frais A Tartiner Truffe Boite 1X150Gr 1P</c:v>
                </c:pt>
                <c:pt idx="24">
                  <c:v>Boursin Onctueux Fromage Frais A Tartiner Afh 1X210Gr 1P</c:v>
                </c:pt>
                <c:pt idx="25">
                  <c:v>Boursin Classique Fromage Frais A Tartiner Ciboulette &amp; Echalote 1X160Gr 10P</c:v>
                </c:pt>
              </c:strCache>
            </c:strRef>
          </c:cat>
          <c:val>
            <c:numRef>
              <c:f>Sheet1!$D$2:$D$27</c:f>
              <c:numCache>
                <c:formatCode>General</c:formatCode>
                <c:ptCount val="26"/>
                <c:pt idx="0">
                  <c:v>12114.479591836734</c:v>
                </c:pt>
                <c:pt idx="1">
                  <c:v>11147.282828282829</c:v>
                </c:pt>
                <c:pt idx="2">
                  <c:v>10084.61052631579</c:v>
                </c:pt>
                <c:pt idx="3">
                  <c:v>9753.2978723404249</c:v>
                </c:pt>
                <c:pt idx="4">
                  <c:v>7616.333333333333</c:v>
                </c:pt>
                <c:pt idx="5">
                  <c:v>6344.6627906976746</c:v>
                </c:pt>
                <c:pt idx="6">
                  <c:v>5526.197802197802</c:v>
                </c:pt>
                <c:pt idx="7">
                  <c:v>3883.3764705882354</c:v>
                </c:pt>
                <c:pt idx="8">
                  <c:v>3558.674157303371</c:v>
                </c:pt>
                <c:pt idx="9">
                  <c:v>1998.6373626373627</c:v>
                </c:pt>
                <c:pt idx="10">
                  <c:v>1784.8315789473684</c:v>
                </c:pt>
                <c:pt idx="11">
                  <c:v>1510.3611111111111</c:v>
                </c:pt>
                <c:pt idx="12">
                  <c:v>1265.2916666666667</c:v>
                </c:pt>
                <c:pt idx="13">
                  <c:v>1122.0923076923077</c:v>
                </c:pt>
                <c:pt idx="14">
                  <c:v>908.5915492957746</c:v>
                </c:pt>
                <c:pt idx="15">
                  <c:v>776.29113924050637</c:v>
                </c:pt>
                <c:pt idx="16">
                  <c:v>611.55737704918033</c:v>
                </c:pt>
                <c:pt idx="17">
                  <c:v>1088.5833333333333</c:v>
                </c:pt>
                <c:pt idx="18">
                  <c:v>504.1</c:v>
                </c:pt>
                <c:pt idx="19">
                  <c:v>727.37931034482767</c:v>
                </c:pt>
                <c:pt idx="20">
                  <c:v>486.04878048780489</c:v>
                </c:pt>
                <c:pt idx="21">
                  <c:v>535.8648648648649</c:v>
                </c:pt>
                <c:pt idx="22">
                  <c:v>660.44</c:v>
                </c:pt>
                <c:pt idx="23">
                  <c:v>247.92156862745097</c:v>
                </c:pt>
                <c:pt idx="24">
                  <c:v>989.66666666666663</c:v>
                </c:pt>
                <c:pt idx="25">
                  <c:v>101.6666666666666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Kiri Creme Fromage Blanc Frais Carre 1X144Gr 8P</c:v>
                </c:pt>
                <c:pt idx="1">
                  <c:v>Kiri Gouter Fromage Blanc Dips Boite 1X175Gr 5P</c:v>
                </c:pt>
                <c:pt idx="2">
                  <c:v>Kiri Delicieusement Fouette Fromage Frais A Tartiner 1X125Gr 1P</c:v>
                </c:pt>
                <c:pt idx="3">
                  <c:v>Kiri Delicieusement Fouette Fromage Frais A Tartiner 1X160Gr 10P</c:v>
                </c:pt>
                <c:pt idx="4">
                  <c:v>Kiri Creme Fromage Blanc Frais Carre 1X216Gr 12P</c:v>
                </c:pt>
                <c:pt idx="5">
                  <c:v>Kiri Gouter Fromage Blanc Dips Boite 1X280Gr 8P</c:v>
                </c:pt>
              </c:strCache>
            </c:strRef>
          </c:cat>
          <c:val>
            <c:numRef>
              <c:f>Sheet1!$B$2:$B$7</c:f>
              <c:numCache>
                <c:formatCode>General</c:formatCode>
                <c:ptCount val="6"/>
                <c:pt idx="0">
                  <c:v>0.96</c:v>
                </c:pt>
                <c:pt idx="1">
                  <c:v>0.71</c:v>
                </c:pt>
                <c:pt idx="2">
                  <c:v>0.56000000000000005</c:v>
                </c:pt>
                <c:pt idx="3">
                  <c:v>0.27</c:v>
                </c:pt>
                <c:pt idx="4">
                  <c:v>0.06</c:v>
                </c:pt>
                <c:pt idx="5">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Kiri Creme Fromage Blanc Frais Carre 1X144Gr 8P</c:v>
                </c:pt>
                <c:pt idx="1">
                  <c:v>Kiri Gouter Fromage Blanc Dips Boite 1X175Gr 5P</c:v>
                </c:pt>
                <c:pt idx="2">
                  <c:v>Kiri Delicieusement Fouette Fromage Frais A Tartiner 1X125Gr 1P</c:v>
                </c:pt>
                <c:pt idx="3">
                  <c:v>Kiri Delicieusement Fouette Fromage Frais A Tartiner 1X160Gr 10P</c:v>
                </c:pt>
                <c:pt idx="4">
                  <c:v>Kiri Creme Fromage Blanc Frais Carre 1X216Gr 12P</c:v>
                </c:pt>
                <c:pt idx="5">
                  <c:v>Kiri Gouter Fromage Blanc Dips Boite 1X280Gr 8P</c:v>
                </c:pt>
              </c:strCache>
            </c:strRef>
          </c:cat>
          <c:val>
            <c:numRef>
              <c:f>Sheet1!$C$2:$C$7</c:f>
              <c:numCache>
                <c:formatCode>General</c:formatCode>
                <c:ptCount val="6"/>
                <c:pt idx="0">
                  <c:v>0.63225768976162677</c:v>
                </c:pt>
                <c:pt idx="1">
                  <c:v>0.85944832389710424</c:v>
                </c:pt>
                <c:pt idx="2">
                  <c:v>0.95443707992362503</c:v>
                </c:pt>
                <c:pt idx="3">
                  <c:v>0.98482271033698732</c:v>
                </c:pt>
                <c:pt idx="4">
                  <c:v>0.9957494808980939</c:v>
                </c:pt>
                <c:pt idx="5">
                  <c:v>0.9995971389099838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Kiri Creme Fromage Blanc Frais Carre 1X144Gr 8P</c:v>
                </c:pt>
                <c:pt idx="1">
                  <c:v>Kiri Gouter Fromage Blanc Dips Boite 1X175Gr 5P</c:v>
                </c:pt>
                <c:pt idx="2">
                  <c:v>Kiri Delicieusement Fouette Fromage Frais A Tartiner 1X125Gr 1P</c:v>
                </c:pt>
                <c:pt idx="3">
                  <c:v>Kiri Delicieusement Fouette Fromage Frais A Tartiner 1X160Gr 10P</c:v>
                </c:pt>
                <c:pt idx="4">
                  <c:v>Kiri Creme Fromage Blanc Frais Carre 1X216Gr 12P</c:v>
                </c:pt>
                <c:pt idx="5">
                  <c:v>Kiri Gouter Fromage Blanc Dips Boite 1X280Gr 8P</c:v>
                </c:pt>
              </c:strCache>
            </c:strRef>
          </c:cat>
          <c:val>
            <c:numRef>
              <c:f>Sheet1!$D$2:$D$7</c:f>
              <c:numCache>
                <c:formatCode>General</c:formatCode>
                <c:ptCount val="6"/>
                <c:pt idx="0">
                  <c:v>24603.90625</c:v>
                </c:pt>
                <c:pt idx="1">
                  <c:v>11954</c:v>
                </c:pt>
                <c:pt idx="2">
                  <c:v>6336.7321428571422</c:v>
                </c:pt>
                <c:pt idx="3">
                  <c:v>4204.2222222222226</c:v>
                </c:pt>
                <c:pt idx="4">
                  <c:v>6803.333333333333</c:v>
                </c:pt>
                <c:pt idx="5">
                  <c:v>718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Toastinette Cheddar Fondu Tranche A Chaud Sachet 1X200Gr 10P</c:v>
                </c:pt>
                <c:pt idx="5">
                  <c:v>La Vache Qui Rit Bio Fromage Fondu Boite Ronde 1X128Gr 8P</c:v>
                </c:pt>
                <c:pt idx="6">
                  <c:v>La Vache Qui Rit Pik Et Croq' Fromage Fondu Dips Boite 1X35Gr 1P</c:v>
                </c:pt>
                <c:pt idx="7">
                  <c:v>Toastinette Fromage Fondu Tranche A Chaud Sachet 1X200Gr 10P</c:v>
                </c:pt>
              </c:strCache>
            </c:strRef>
          </c:cat>
          <c:val>
            <c:numRef>
              <c:f>Sheet1!$B$2:$B$9</c:f>
              <c:numCache>
                <c:formatCode>General</c:formatCode>
                <c:ptCount val="8"/>
                <c:pt idx="0">
                  <c:v>0.91</c:v>
                </c:pt>
                <c:pt idx="1">
                  <c:v>0.47</c:v>
                </c:pt>
                <c:pt idx="2">
                  <c:v>0.51</c:v>
                </c:pt>
                <c:pt idx="3">
                  <c:v>0.09</c:v>
                </c:pt>
                <c:pt idx="4">
                  <c:v>0.18</c:v>
                </c:pt>
                <c:pt idx="5">
                  <c:v>0.08</c:v>
                </c:pt>
                <c:pt idx="6">
                  <c:v>0.05</c:v>
                </c:pt>
                <c:pt idx="7">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Toastinette Cheddar Fondu Tranche A Chaud Sachet 1X200Gr 10P</c:v>
                </c:pt>
                <c:pt idx="5">
                  <c:v>La Vache Qui Rit Bio Fromage Fondu Boite Ronde 1X128Gr 8P</c:v>
                </c:pt>
                <c:pt idx="6">
                  <c:v>La Vache Qui Rit Pik Et Croq' Fromage Fondu Dips Boite 1X35Gr 1P</c:v>
                </c:pt>
                <c:pt idx="7">
                  <c:v>Toastinette Fromage Fondu Tranche A Chaud Sachet 1X200Gr 10P</c:v>
                </c:pt>
              </c:strCache>
            </c:strRef>
          </c:cat>
          <c:val>
            <c:numRef>
              <c:f>Sheet1!$C$2:$C$9</c:f>
              <c:numCache>
                <c:formatCode>General</c:formatCode>
                <c:ptCount val="8"/>
                <c:pt idx="0">
                  <c:v>0.57863042362361206</c:v>
                </c:pt>
                <c:pt idx="1">
                  <c:v>0.8544496721004543</c:v>
                </c:pt>
                <c:pt idx="2">
                  <c:v>0.94678590893036807</c:v>
                </c:pt>
                <c:pt idx="3">
                  <c:v>0.97339774984227367</c:v>
                </c:pt>
                <c:pt idx="4">
                  <c:v>0.98253940653247107</c:v>
                </c:pt>
                <c:pt idx="5">
                  <c:v>0.98847483240157064</c:v>
                </c:pt>
                <c:pt idx="6">
                  <c:v>0.99337675026051397</c:v>
                </c:pt>
                <c:pt idx="7">
                  <c:v>0.9977171920106514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Toastinette Cheddar Fondu Tranche A Chaud Sachet 1X200Gr 10P</c:v>
                </c:pt>
                <c:pt idx="5">
                  <c:v>La Vache Qui Rit Bio Fromage Fondu Boite Ronde 1X128Gr 8P</c:v>
                </c:pt>
                <c:pt idx="6">
                  <c:v>La Vache Qui Rit Pik Et Croq' Fromage Fondu Dips Boite 1X35Gr 1P</c:v>
                </c:pt>
                <c:pt idx="7">
                  <c:v>Toastinette Fromage Fondu Tranche A Chaud Sachet 1X200Gr 10P</c:v>
                </c:pt>
              </c:strCache>
            </c:strRef>
          </c:cat>
          <c:val>
            <c:numRef>
              <c:f>Sheet1!$D$2:$D$9</c:f>
              <c:numCache>
                <c:formatCode>General</c:formatCode>
                <c:ptCount val="8"/>
                <c:pt idx="0">
                  <c:v>30497.54945054945</c:v>
                </c:pt>
                <c:pt idx="1">
                  <c:v>28146.978723404256</c:v>
                </c:pt>
                <c:pt idx="2">
                  <c:v>8683.745098039215</c:v>
                </c:pt>
                <c:pt idx="3">
                  <c:v>14182</c:v>
                </c:pt>
                <c:pt idx="4">
                  <c:v>2435.8888888888887</c:v>
                </c:pt>
                <c:pt idx="5">
                  <c:v>3558.5</c:v>
                </c:pt>
                <c:pt idx="6">
                  <c:v>4702.2</c:v>
                </c:pt>
                <c:pt idx="7">
                  <c:v>4163.600000000000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Boursin Classique Fromage Frais A Tartiner Afh Boite 1X150Gr 1P</c:v>
                </c:pt>
                <c:pt idx="1">
                  <c:v>Boursin Aperitif Roules Fromage Frais Roule Afh Et Jambon Fume Boite 1X100Gr 20P</c:v>
                </c:pt>
                <c:pt idx="2">
                  <c:v>Boursin Classique Fromage Frais A Tartiner Afh 1X160Gr 10P</c:v>
                </c:pt>
                <c:pt idx="3">
                  <c:v>Boursin Salade &amp; Aperitif Fromage Frais Des Afh 1X120Gr 1P</c:v>
                </c:pt>
                <c:pt idx="4">
                  <c:v>Boursin Cuisine Sauce Fromage Afh 1X240Gr 1P</c:v>
                </c:pt>
                <c:pt idx="5">
                  <c:v>Boursin Aperitif Roules Fromage Frais Roule Ciboulette &amp; Echalote Jambon Fume Boite 1X100Gr 20P</c:v>
                </c:pt>
                <c:pt idx="6">
                  <c:v>Boursin Classique Fromage Frais A Tartiner Ciboulette &amp; Echalote Boite 1X150Gr 1P</c:v>
                </c:pt>
                <c:pt idx="7">
                  <c:v>Boursin Classique Fromage Frais A Tartiner Afh Boite 1X96Gr 6P</c:v>
                </c:pt>
                <c:pt idx="8">
                  <c:v>Boursin Classique Fromage Frais A Tartiner Afh Boite 1X80Gr 1P</c:v>
                </c:pt>
                <c:pt idx="9">
                  <c:v>Boursin Classique Fromage Frais A Tartiner Truffe Boite 1X150Gr 1P</c:v>
                </c:pt>
              </c:strCache>
            </c:strRef>
          </c:cat>
          <c:val>
            <c:numRef>
              <c:f>Sheet1!$B$2:$B$11</c:f>
              <c:numCache>
                <c:formatCode>General</c:formatCode>
                <c:ptCount val="10"/>
                <c:pt idx="0">
                  <c:v>0.83</c:v>
                </c:pt>
                <c:pt idx="1">
                  <c:v>0.56000000000000005</c:v>
                </c:pt>
                <c:pt idx="2">
                  <c:v>0.53</c:v>
                </c:pt>
                <c:pt idx="3">
                  <c:v>0.79</c:v>
                </c:pt>
                <c:pt idx="4">
                  <c:v>0.32</c:v>
                </c:pt>
                <c:pt idx="5">
                  <c:v>0.17</c:v>
                </c:pt>
                <c:pt idx="6">
                  <c:v>0.08</c:v>
                </c:pt>
                <c:pt idx="7">
                  <c:v>0.12</c:v>
                </c:pt>
                <c:pt idx="8">
                  <c:v>0.11</c:v>
                </c:pt>
                <c:pt idx="9">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Boursin Classique Fromage Frais A Tartiner Afh Boite 1X150Gr 1P</c:v>
                </c:pt>
                <c:pt idx="1">
                  <c:v>Boursin Aperitif Roules Fromage Frais Roule Afh Et Jambon Fume Boite 1X100Gr 20P</c:v>
                </c:pt>
                <c:pt idx="2">
                  <c:v>Boursin Classique Fromage Frais A Tartiner Afh 1X160Gr 10P</c:v>
                </c:pt>
                <c:pt idx="3">
                  <c:v>Boursin Salade &amp; Aperitif Fromage Frais Des Afh 1X120Gr 1P</c:v>
                </c:pt>
                <c:pt idx="4">
                  <c:v>Boursin Cuisine Sauce Fromage Afh 1X240Gr 1P</c:v>
                </c:pt>
                <c:pt idx="5">
                  <c:v>Boursin Aperitif Roules Fromage Frais Roule Ciboulette &amp; Echalote Jambon Fume Boite 1X100Gr 20P</c:v>
                </c:pt>
                <c:pt idx="6">
                  <c:v>Boursin Classique Fromage Frais A Tartiner Ciboulette &amp; Echalote Boite 1X150Gr 1P</c:v>
                </c:pt>
                <c:pt idx="7">
                  <c:v>Boursin Classique Fromage Frais A Tartiner Afh Boite 1X96Gr 6P</c:v>
                </c:pt>
                <c:pt idx="8">
                  <c:v>Boursin Classique Fromage Frais A Tartiner Afh Boite 1X80Gr 1P</c:v>
                </c:pt>
                <c:pt idx="9">
                  <c:v>Boursin Classique Fromage Frais A Tartiner Truffe Boite 1X150Gr 1P</c:v>
                </c:pt>
              </c:strCache>
            </c:strRef>
          </c:cat>
          <c:val>
            <c:numRef>
              <c:f>Sheet1!$C$2:$C$11</c:f>
              <c:numCache>
                <c:formatCode>General</c:formatCode>
                <c:ptCount val="10"/>
                <c:pt idx="0">
                  <c:v>0.35243068274911249</c:v>
                </c:pt>
                <c:pt idx="1">
                  <c:v>0.58441006240717175</c:v>
                </c:pt>
                <c:pt idx="2">
                  <c:v>0.77066982809721396</c:v>
                </c:pt>
                <c:pt idx="3">
                  <c:v>0.92666910878296016</c:v>
                </c:pt>
                <c:pt idx="4">
                  <c:v>0.94790539685499819</c:v>
                </c:pt>
                <c:pt idx="5">
                  <c:v>0.96840159048373875</c:v>
                </c:pt>
                <c:pt idx="6">
                  <c:v>0.98118540324890258</c:v>
                </c:pt>
                <c:pt idx="7">
                  <c:v>0.99280579181180595</c:v>
                </c:pt>
                <c:pt idx="8">
                  <c:v>0.9984172422290748</c:v>
                </c:pt>
                <c:pt idx="9">
                  <c:v>0.9996342153813363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1</c:f>
              <c:strCache>
                <c:ptCount val="10"/>
                <c:pt idx="0">
                  <c:v>Boursin Classique Fromage Frais A Tartiner Afh Boite 1X150Gr 1P</c:v>
                </c:pt>
                <c:pt idx="1">
                  <c:v>Boursin Aperitif Roules Fromage Frais Roule Afh Et Jambon Fume Boite 1X100Gr 20P</c:v>
                </c:pt>
                <c:pt idx="2">
                  <c:v>Boursin Classique Fromage Frais A Tartiner Afh 1X160Gr 10P</c:v>
                </c:pt>
                <c:pt idx="3">
                  <c:v>Boursin Salade &amp; Aperitif Fromage Frais Des Afh 1X120Gr 1P</c:v>
                </c:pt>
                <c:pt idx="4">
                  <c:v>Boursin Cuisine Sauce Fromage Afh 1X240Gr 1P</c:v>
                </c:pt>
                <c:pt idx="5">
                  <c:v>Boursin Aperitif Roules Fromage Frais Roule Ciboulette &amp; Echalote Jambon Fume Boite 1X100Gr 20P</c:v>
                </c:pt>
                <c:pt idx="6">
                  <c:v>Boursin Classique Fromage Frais A Tartiner Ciboulette &amp; Echalote Boite 1X150Gr 1P</c:v>
                </c:pt>
                <c:pt idx="7">
                  <c:v>Boursin Classique Fromage Frais A Tartiner Afh Boite 1X96Gr 6P</c:v>
                </c:pt>
                <c:pt idx="8">
                  <c:v>Boursin Classique Fromage Frais A Tartiner Afh Boite 1X80Gr 1P</c:v>
                </c:pt>
                <c:pt idx="9">
                  <c:v>Boursin Classique Fromage Frais A Tartiner Truffe Boite 1X150Gr 1P</c:v>
                </c:pt>
              </c:strCache>
            </c:strRef>
          </c:cat>
          <c:val>
            <c:numRef>
              <c:f>Sheet1!$D$2:$D$11</c:f>
              <c:numCache>
                <c:formatCode>General</c:formatCode>
                <c:ptCount val="10"/>
                <c:pt idx="0">
                  <c:v>15938.253012048193</c:v>
                </c:pt>
                <c:pt idx="1">
                  <c:v>15549.142857142855</c:v>
                </c:pt>
                <c:pt idx="2">
                  <c:v>13191.32075471698</c:v>
                </c:pt>
                <c:pt idx="3">
                  <c:v>7412.0886075949365</c:v>
                </c:pt>
                <c:pt idx="4">
                  <c:v>2491</c:v>
                </c:pt>
                <c:pt idx="5">
                  <c:v>4525.5294117647063</c:v>
                </c:pt>
                <c:pt idx="6">
                  <c:v>5998.125</c:v>
                </c:pt>
                <c:pt idx="7">
                  <c:v>3634.8333333333335</c:v>
                </c:pt>
                <c:pt idx="8">
                  <c:v>1914.8181818181818</c:v>
                </c:pt>
                <c:pt idx="9">
                  <c:v>45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B$2:$B$12</c:f>
              <c:numCache>
                <c:formatCode>General</c:formatCode>
                <c:ptCount val="11"/>
                <c:pt idx="0">
                  <c:v>0.99</c:v>
                </c:pt>
                <c:pt idx="1">
                  <c:v>0.89</c:v>
                </c:pt>
                <c:pt idx="2">
                  <c:v>0.96</c:v>
                </c:pt>
                <c:pt idx="3">
                  <c:v>0.99</c:v>
                </c:pt>
                <c:pt idx="4">
                  <c:v>0.99</c:v>
                </c:pt>
                <c:pt idx="5">
                  <c:v>0.87</c:v>
                </c:pt>
                <c:pt idx="6">
                  <c:v>0.6</c:v>
                </c:pt>
                <c:pt idx="7">
                  <c:v>0.68</c:v>
                </c:pt>
                <c:pt idx="8">
                  <c:v>0.94</c:v>
                </c:pt>
                <c:pt idx="9">
                  <c:v>0.83</c:v>
                </c:pt>
                <c:pt idx="10">
                  <c:v>0.3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C$2:$C$12</c:f>
              <c:numCache>
                <c:formatCode>General</c:formatCode>
                <c:ptCount val="11"/>
                <c:pt idx="0">
                  <c:v>0.25791997469176414</c:v>
                </c:pt>
                <c:pt idx="1">
                  <c:v>0.48148000246917222</c:v>
                </c:pt>
                <c:pt idx="2">
                  <c:v>0.63501829421462552</c:v>
                </c:pt>
                <c:pt idx="3">
                  <c:v>0.77843041141996794</c:v>
                </c:pt>
                <c:pt idx="4">
                  <c:v>0.89081744309753141</c:v>
                </c:pt>
                <c:pt idx="5">
                  <c:v>0.92099435398727336</c:v>
                </c:pt>
                <c:pt idx="6">
                  <c:v>0.94531990296745161</c:v>
                </c:pt>
                <c:pt idx="7">
                  <c:v>0.9674474839704259</c:v>
                </c:pt>
                <c:pt idx="8">
                  <c:v>0.98327120313992777</c:v>
                </c:pt>
                <c:pt idx="9">
                  <c:v>0.99889798014402642</c:v>
                </c:pt>
                <c:pt idx="10">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D$2:$D$12</c:f>
              <c:numCache>
                <c:formatCode>General</c:formatCode>
                <c:ptCount val="11"/>
                <c:pt idx="0">
                  <c:v>33468.141414141413</c:v>
                </c:pt>
                <c:pt idx="1">
                  <c:v>32269.033707865168</c:v>
                </c:pt>
                <c:pt idx="2">
                  <c:v>20546</c:v>
                </c:pt>
                <c:pt idx="3">
                  <c:v>18609.404040404039</c:v>
                </c:pt>
                <c:pt idx="4">
                  <c:v>14583.535353535353</c:v>
                </c:pt>
                <c:pt idx="5">
                  <c:v>4455.9195402298847</c:v>
                </c:pt>
                <c:pt idx="6">
                  <c:v>5208.2666666666664</c:v>
                </c:pt>
                <c:pt idx="7">
                  <c:v>4180.2941176470586</c:v>
                </c:pt>
                <c:pt idx="8">
                  <c:v>2162.5319148936169</c:v>
                </c:pt>
                <c:pt idx="9">
                  <c:v>2418.6506024096384</c:v>
                </c:pt>
                <c:pt idx="10">
                  <c:v>372.552631578947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0.98</c:v>
                </c:pt>
                <c:pt idx="1">
                  <c:v>1</c:v>
                </c:pt>
                <c:pt idx="2">
                  <c:v>0.97</c:v>
                </c:pt>
                <c:pt idx="3">
                  <c:v>0.97</c:v>
                </c:pt>
                <c:pt idx="4">
                  <c:v>0.89</c:v>
                </c:pt>
                <c:pt idx="5">
                  <c:v>0.87</c:v>
                </c:pt>
                <c:pt idx="6">
                  <c:v>0.69</c:v>
                </c:pt>
                <c:pt idx="7">
                  <c:v>0.25</c:v>
                </c:pt>
                <c:pt idx="8">
                  <c:v>0.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C$2:$C$10</c:f>
              <c:numCache>
                <c:formatCode>General</c:formatCode>
                <c:ptCount val="9"/>
                <c:pt idx="0">
                  <c:v>0.33940993799589719</c:v>
                </c:pt>
                <c:pt idx="1">
                  <c:v>0.60514062321737982</c:v>
                </c:pt>
                <c:pt idx="2">
                  <c:v>0.82481432536998123</c:v>
                </c:pt>
                <c:pt idx="3">
                  <c:v>0.88244453771826614</c:v>
                </c:pt>
                <c:pt idx="4">
                  <c:v>0.93903814496354565</c:v>
                </c:pt>
                <c:pt idx="5">
                  <c:v>0.97788044820886144</c:v>
                </c:pt>
                <c:pt idx="6">
                  <c:v>0.99844779612382806</c:v>
                </c:pt>
                <c:pt idx="7">
                  <c:v>0.99990378075790309</c:v>
                </c:pt>
                <c:pt idx="8">
                  <c:v>0.9999574448800988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D$2:$D$10</c:f>
              <c:numCache>
                <c:formatCode>General</c:formatCode>
                <c:ptCount val="9"/>
                <c:pt idx="0">
                  <c:v>58923.051020408166</c:v>
                </c:pt>
                <c:pt idx="1">
                  <c:v>45209.37</c:v>
                </c:pt>
                <c:pt idx="2">
                  <c:v>38529.474226804123</c:v>
                </c:pt>
                <c:pt idx="3">
                  <c:v>10108</c:v>
                </c:pt>
                <c:pt idx="4">
                  <c:v>10818.426966292134</c:v>
                </c:pt>
                <c:pt idx="5">
                  <c:v>7595.7816091954019</c:v>
                </c:pt>
                <c:pt idx="6">
                  <c:v>5071.260869565217</c:v>
                </c:pt>
                <c:pt idx="7">
                  <c:v>990.84</c:v>
                </c:pt>
                <c:pt idx="8">
                  <c:v>76.08333333333332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5</c:f>
              <c:strCache>
                <c:ptCount val="24"/>
                <c:pt idx="0">
                  <c:v>Boursin Classique Fromage Frais A Tartiner Afh Boite 1X250Gr 1P</c:v>
                </c:pt>
                <c:pt idx="1">
                  <c:v>Boursin Classique Fromage Frais A Tartiner Afh 1X160Gr 10P</c:v>
                </c:pt>
                <c:pt idx="2">
                  <c:v>Boursin Classique Fromage Frais A Tartiner Afh Boite 1X150Gr 1P</c:v>
                </c:pt>
                <c:pt idx="3">
                  <c:v>Boursin Aperitif Roules Fromage Frais Roule Afh Et Jambon Fume Boite 1X100Gr 20P</c:v>
                </c:pt>
                <c:pt idx="4">
                  <c:v>Boursin Aperitif Roules Fromage Frais Roule Ciboulette &amp; Echalote Jambon Fume Boite 1X100Gr 20P</c:v>
                </c:pt>
                <c:pt idx="5">
                  <c:v>Boursin Onctueux Fromage Frais A Tartiner Afh 1X125Gr 1P</c:v>
                </c:pt>
                <c:pt idx="6">
                  <c:v>Boursin Salade &amp; Aperitif Fromage Frais Des Afh 1X120Gr 1P</c:v>
                </c:pt>
                <c:pt idx="7">
                  <c:v>Boursin Classique Fromage Frais A Tartiner Afh Boite 1X96Gr 6P</c:v>
                </c:pt>
                <c:pt idx="8">
                  <c:v>Boursin Classique Fromage Frais A Tartiner Figue Et 3 Noix Boite 1X150Gr 1P</c:v>
                </c:pt>
                <c:pt idx="9">
                  <c:v>Boursin Classique Fromage Frais A Tartiner Ciboulette &amp; Echalote Boite 1X150Gr 1P</c:v>
                </c:pt>
                <c:pt idx="10">
                  <c:v>Boursin Classique Fromage Frais A Tartiner Afh 1X256Gr 16P</c:v>
                </c:pt>
                <c:pt idx="11">
                  <c:v>Boursin Cuisine Sauce Fromage Afh 1X240Gr 1P</c:v>
                </c:pt>
                <c:pt idx="12">
                  <c:v>Boursin Aperitif Roules Fromage Frais Roule Basilic &amp; Jambon Fume Tomate Boite 1X100Gr 20P</c:v>
                </c:pt>
                <c:pt idx="13">
                  <c:v>Boursin Classique Fromage Frais A Tartiner Poivre Boite 1X150Gr 1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Salade &amp; Aperitif Fromage Frais Des Citron Romarin 1X120Gr 1P</c:v>
                </c:pt>
                <c:pt idx="18">
                  <c:v>Boursin Salade &amp; Aperitif Fromage Frais Des Noisette Et 3 Noix 1X120Gr 1P</c:v>
                </c:pt>
                <c:pt idx="19">
                  <c:v>Boursin Classique Fromage Frais A Tartiner Afh Boite 1X80Gr 1P</c:v>
                </c:pt>
                <c:pt idx="20">
                  <c:v>Boursin Aperitif Roules Fromage Frais Roule Jambon Fume &amp; Trio De Noix Boite 1X100Gr 20P</c:v>
                </c:pt>
                <c:pt idx="21">
                  <c:v>Boursin Aperitif Roules Aperitif 100G</c:v>
                </c:pt>
                <c:pt idx="22">
                  <c:v>Boursin Salade &amp; Aperitif Soft Cheese Salade 120G</c:v>
                </c:pt>
                <c:pt idx="23">
                  <c:v>Boursin Classique Fromage Frais A Tartiner Truffe Boite 1X150Gr 1P</c:v>
                </c:pt>
              </c:strCache>
            </c:strRef>
          </c:cat>
          <c:val>
            <c:numRef>
              <c:f>Sheet1!$B$2:$B$25</c:f>
              <c:numCache>
                <c:formatCode>General</c:formatCode>
                <c:ptCount val="24"/>
                <c:pt idx="0">
                  <c:v>0.99</c:v>
                </c:pt>
                <c:pt idx="1">
                  <c:v>0.99</c:v>
                </c:pt>
                <c:pt idx="2">
                  <c:v>1</c:v>
                </c:pt>
                <c:pt idx="3">
                  <c:v>0.98</c:v>
                </c:pt>
                <c:pt idx="4">
                  <c:v>0.95</c:v>
                </c:pt>
                <c:pt idx="5">
                  <c:v>0.97</c:v>
                </c:pt>
                <c:pt idx="6">
                  <c:v>0.98</c:v>
                </c:pt>
                <c:pt idx="7">
                  <c:v>0.96</c:v>
                </c:pt>
                <c:pt idx="8">
                  <c:v>0.99</c:v>
                </c:pt>
                <c:pt idx="9">
                  <c:v>0.99</c:v>
                </c:pt>
                <c:pt idx="10">
                  <c:v>0.87</c:v>
                </c:pt>
                <c:pt idx="11">
                  <c:v>0.88</c:v>
                </c:pt>
                <c:pt idx="12">
                  <c:v>0.9</c:v>
                </c:pt>
                <c:pt idx="13">
                  <c:v>0.96</c:v>
                </c:pt>
                <c:pt idx="14">
                  <c:v>0.83</c:v>
                </c:pt>
                <c:pt idx="15">
                  <c:v>0.86</c:v>
                </c:pt>
                <c:pt idx="16">
                  <c:v>0.88</c:v>
                </c:pt>
                <c:pt idx="17">
                  <c:v>0.67</c:v>
                </c:pt>
                <c:pt idx="18">
                  <c:v>0.83</c:v>
                </c:pt>
                <c:pt idx="19">
                  <c:v>0.28999999999999998</c:v>
                </c:pt>
                <c:pt idx="20">
                  <c:v>0.8</c:v>
                </c:pt>
                <c:pt idx="21">
                  <c:v>0.7</c:v>
                </c:pt>
                <c:pt idx="22">
                  <c:v>0.4</c:v>
                </c:pt>
                <c:pt idx="23">
                  <c:v>0.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5</c:f>
              <c:strCache>
                <c:ptCount val="24"/>
                <c:pt idx="0">
                  <c:v>Boursin Classique Fromage Frais A Tartiner Afh Boite 1X250Gr 1P</c:v>
                </c:pt>
                <c:pt idx="1">
                  <c:v>Boursin Classique Fromage Frais A Tartiner Afh 1X160Gr 10P</c:v>
                </c:pt>
                <c:pt idx="2">
                  <c:v>Boursin Classique Fromage Frais A Tartiner Afh Boite 1X150Gr 1P</c:v>
                </c:pt>
                <c:pt idx="3">
                  <c:v>Boursin Aperitif Roules Fromage Frais Roule Afh Et Jambon Fume Boite 1X100Gr 20P</c:v>
                </c:pt>
                <c:pt idx="4">
                  <c:v>Boursin Aperitif Roules Fromage Frais Roule Ciboulette &amp; Echalote Jambon Fume Boite 1X100Gr 20P</c:v>
                </c:pt>
                <c:pt idx="5">
                  <c:v>Boursin Onctueux Fromage Frais A Tartiner Afh 1X125Gr 1P</c:v>
                </c:pt>
                <c:pt idx="6">
                  <c:v>Boursin Salade &amp; Aperitif Fromage Frais Des Afh 1X120Gr 1P</c:v>
                </c:pt>
                <c:pt idx="7">
                  <c:v>Boursin Classique Fromage Frais A Tartiner Afh Boite 1X96Gr 6P</c:v>
                </c:pt>
                <c:pt idx="8">
                  <c:v>Boursin Classique Fromage Frais A Tartiner Figue Et 3 Noix Boite 1X150Gr 1P</c:v>
                </c:pt>
                <c:pt idx="9">
                  <c:v>Boursin Classique Fromage Frais A Tartiner Ciboulette &amp; Echalote Boite 1X150Gr 1P</c:v>
                </c:pt>
                <c:pt idx="10">
                  <c:v>Boursin Classique Fromage Frais A Tartiner Afh 1X256Gr 16P</c:v>
                </c:pt>
                <c:pt idx="11">
                  <c:v>Boursin Cuisine Sauce Fromage Afh 1X240Gr 1P</c:v>
                </c:pt>
                <c:pt idx="12">
                  <c:v>Boursin Aperitif Roules Fromage Frais Roule Basilic &amp; Jambon Fume Tomate Boite 1X100Gr 20P</c:v>
                </c:pt>
                <c:pt idx="13">
                  <c:v>Boursin Classique Fromage Frais A Tartiner Poivre Boite 1X150Gr 1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Salade &amp; Aperitif Fromage Frais Des Citron Romarin 1X120Gr 1P</c:v>
                </c:pt>
                <c:pt idx="18">
                  <c:v>Boursin Salade &amp; Aperitif Fromage Frais Des Noisette Et 3 Noix 1X120Gr 1P</c:v>
                </c:pt>
                <c:pt idx="19">
                  <c:v>Boursin Classique Fromage Frais A Tartiner Afh Boite 1X80Gr 1P</c:v>
                </c:pt>
                <c:pt idx="20">
                  <c:v>Boursin Aperitif Roules Fromage Frais Roule Jambon Fume &amp; Trio De Noix Boite 1X100Gr 20P</c:v>
                </c:pt>
                <c:pt idx="21">
                  <c:v>Boursin Aperitif Roules Aperitif 100G</c:v>
                </c:pt>
                <c:pt idx="22">
                  <c:v>Boursin Salade &amp; Aperitif Soft Cheese Salade 120G</c:v>
                </c:pt>
                <c:pt idx="23">
                  <c:v>Boursin Classique Fromage Frais A Tartiner Truffe Boite 1X150Gr 1P</c:v>
                </c:pt>
              </c:strCache>
            </c:strRef>
          </c:cat>
          <c:val>
            <c:numRef>
              <c:f>Sheet1!$C$2:$C$25</c:f>
              <c:numCache>
                <c:formatCode>General</c:formatCode>
                <c:ptCount val="24"/>
                <c:pt idx="0">
                  <c:v>0.13440509089042282</c:v>
                </c:pt>
                <c:pt idx="1">
                  <c:v>0.26355600806420587</c:v>
                </c:pt>
                <c:pt idx="2">
                  <c:v>0.37936578658303233</c:v>
                </c:pt>
                <c:pt idx="3">
                  <c:v>0.48249198212043409</c:v>
                </c:pt>
                <c:pt idx="4">
                  <c:v>0.54961128243981738</c:v>
                </c:pt>
                <c:pt idx="5">
                  <c:v>0.60525109607159955</c:v>
                </c:pt>
                <c:pt idx="6">
                  <c:v>0.65827129066023315</c:v>
                </c:pt>
                <c:pt idx="7">
                  <c:v>0.70946145026522389</c:v>
                </c:pt>
                <c:pt idx="8">
                  <c:v>0.75689455529031346</c:v>
                </c:pt>
                <c:pt idx="9">
                  <c:v>0.79686029773888145</c:v>
                </c:pt>
                <c:pt idx="10">
                  <c:v>0.83165844140167089</c:v>
                </c:pt>
                <c:pt idx="11">
                  <c:v>0.86498894924995673</c:v>
                </c:pt>
                <c:pt idx="12">
                  <c:v>0.89777951143160872</c:v>
                </c:pt>
                <c:pt idx="13">
                  <c:v>0.93045117047819437</c:v>
                </c:pt>
                <c:pt idx="14">
                  <c:v>0.95383209157468174</c:v>
                </c:pt>
                <c:pt idx="15">
                  <c:v>0.96749269754359324</c:v>
                </c:pt>
                <c:pt idx="16">
                  <c:v>0.97667364891221098</c:v>
                </c:pt>
                <c:pt idx="17">
                  <c:v>0.98189038656838123</c:v>
                </c:pt>
                <c:pt idx="18">
                  <c:v>0.98636461003036857</c:v>
                </c:pt>
                <c:pt idx="19">
                  <c:v>0.99014578145060672</c:v>
                </c:pt>
                <c:pt idx="20">
                  <c:v>0.99311596754015541</c:v>
                </c:pt>
                <c:pt idx="21">
                  <c:v>0.99561920504816548</c:v>
                </c:pt>
                <c:pt idx="22">
                  <c:v>0.99789627443955664</c:v>
                </c:pt>
                <c:pt idx="2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5</c:f>
              <c:strCache>
                <c:ptCount val="24"/>
                <c:pt idx="0">
                  <c:v>Boursin Classique Fromage Frais A Tartiner Afh Boite 1X250Gr 1P</c:v>
                </c:pt>
                <c:pt idx="1">
                  <c:v>Boursin Classique Fromage Frais A Tartiner Afh 1X160Gr 10P</c:v>
                </c:pt>
                <c:pt idx="2">
                  <c:v>Boursin Classique Fromage Frais A Tartiner Afh Boite 1X150Gr 1P</c:v>
                </c:pt>
                <c:pt idx="3">
                  <c:v>Boursin Aperitif Roules Fromage Frais Roule Afh Et Jambon Fume Boite 1X100Gr 20P</c:v>
                </c:pt>
                <c:pt idx="4">
                  <c:v>Boursin Aperitif Roules Fromage Frais Roule Ciboulette &amp; Echalote Jambon Fume Boite 1X100Gr 20P</c:v>
                </c:pt>
                <c:pt idx="5">
                  <c:v>Boursin Onctueux Fromage Frais A Tartiner Afh 1X125Gr 1P</c:v>
                </c:pt>
                <c:pt idx="6">
                  <c:v>Boursin Salade &amp; Aperitif Fromage Frais Des Afh 1X120Gr 1P</c:v>
                </c:pt>
                <c:pt idx="7">
                  <c:v>Boursin Classique Fromage Frais A Tartiner Afh Boite 1X96Gr 6P</c:v>
                </c:pt>
                <c:pt idx="8">
                  <c:v>Boursin Classique Fromage Frais A Tartiner Figue Et 3 Noix Boite 1X150Gr 1P</c:v>
                </c:pt>
                <c:pt idx="9">
                  <c:v>Boursin Classique Fromage Frais A Tartiner Ciboulette &amp; Echalote Boite 1X150Gr 1P</c:v>
                </c:pt>
                <c:pt idx="10">
                  <c:v>Boursin Classique Fromage Frais A Tartiner Afh 1X256Gr 16P</c:v>
                </c:pt>
                <c:pt idx="11">
                  <c:v>Boursin Cuisine Sauce Fromage Afh 1X240Gr 1P</c:v>
                </c:pt>
                <c:pt idx="12">
                  <c:v>Boursin Aperitif Roules Fromage Frais Roule Basilic &amp; Jambon Fume Tomate Boite 1X100Gr 20P</c:v>
                </c:pt>
                <c:pt idx="13">
                  <c:v>Boursin Classique Fromage Frais A Tartiner Poivre Boite 1X150Gr 1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Salade &amp; Aperitif Fromage Frais Des Citron Romarin 1X120Gr 1P</c:v>
                </c:pt>
                <c:pt idx="18">
                  <c:v>Boursin Salade &amp; Aperitif Fromage Frais Des Noisette Et 3 Noix 1X120Gr 1P</c:v>
                </c:pt>
                <c:pt idx="19">
                  <c:v>Boursin Classique Fromage Frais A Tartiner Afh Boite 1X80Gr 1P</c:v>
                </c:pt>
                <c:pt idx="20">
                  <c:v>Boursin Aperitif Roules Fromage Frais Roule Jambon Fume &amp; Trio De Noix Boite 1X100Gr 20P</c:v>
                </c:pt>
                <c:pt idx="21">
                  <c:v>Boursin Aperitif Roules Aperitif 100G</c:v>
                </c:pt>
                <c:pt idx="22">
                  <c:v>Boursin Salade &amp; Aperitif Soft Cheese Salade 120G</c:v>
                </c:pt>
                <c:pt idx="23">
                  <c:v>Boursin Classique Fromage Frais A Tartiner Truffe Boite 1X150Gr 1P</c:v>
                </c:pt>
              </c:strCache>
            </c:strRef>
          </c:cat>
          <c:val>
            <c:numRef>
              <c:f>Sheet1!$D$2:$D$25</c:f>
              <c:numCache>
                <c:formatCode>General</c:formatCode>
                <c:ptCount val="24"/>
                <c:pt idx="0">
                  <c:v>20997.565656565657</c:v>
                </c:pt>
                <c:pt idx="1">
                  <c:v>20176.727272727272</c:v>
                </c:pt>
                <c:pt idx="2">
                  <c:v>17911.57</c:v>
                </c:pt>
                <c:pt idx="3">
                  <c:v>16275.387755102041</c:v>
                </c:pt>
                <c:pt idx="4">
                  <c:v>10927.284210526315</c:v>
                </c:pt>
                <c:pt idx="5">
                  <c:v>8871.6082474226805</c:v>
                </c:pt>
                <c:pt idx="6">
                  <c:v>8367.6530612244896</c:v>
                </c:pt>
                <c:pt idx="7">
                  <c:v>8247.1458333333339</c:v>
                </c:pt>
                <c:pt idx="8">
                  <c:v>7410.2828282828286</c:v>
                </c:pt>
                <c:pt idx="9">
                  <c:v>6243.6868686868684</c:v>
                </c:pt>
                <c:pt idx="10">
                  <c:v>6186.2183908045981</c:v>
                </c:pt>
                <c:pt idx="11">
                  <c:v>5857.977272727273</c:v>
                </c:pt>
                <c:pt idx="12">
                  <c:v>5635.0111111111109</c:v>
                </c:pt>
                <c:pt idx="13">
                  <c:v>5263.666666666667</c:v>
                </c:pt>
                <c:pt idx="14">
                  <c:v>4356.8433734939763</c:v>
                </c:pt>
                <c:pt idx="15">
                  <c:v>2456.7441860465115</c:v>
                </c:pt>
                <c:pt idx="16">
                  <c:v>1613.590909090909</c:v>
                </c:pt>
                <c:pt idx="17">
                  <c:v>1204.2388059701493</c:v>
                </c:pt>
                <c:pt idx="18">
                  <c:v>833.73493975903614</c:v>
                </c:pt>
                <c:pt idx="19">
                  <c:v>2016.5862068965521</c:v>
                </c:pt>
                <c:pt idx="20">
                  <c:v>574.22500000000002</c:v>
                </c:pt>
                <c:pt idx="21">
                  <c:v>553.08571428571429</c:v>
                </c:pt>
                <c:pt idx="22">
                  <c:v>880.45</c:v>
                </c:pt>
                <c:pt idx="23">
                  <c:v>464.814285714285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432Gr 24P</c:v>
                </c:pt>
                <c:pt idx="1">
                  <c:v>Kiri Creme Fromage Blanc Frais Carre 1X216Gr 12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B$2:$B$12</c:f>
              <c:numCache>
                <c:formatCode>General</c:formatCode>
                <c:ptCount val="11"/>
                <c:pt idx="0">
                  <c:v>0.99</c:v>
                </c:pt>
                <c:pt idx="1">
                  <c:v>1</c:v>
                </c:pt>
                <c:pt idx="2">
                  <c:v>0.99</c:v>
                </c:pt>
                <c:pt idx="3">
                  <c:v>1</c:v>
                </c:pt>
                <c:pt idx="4">
                  <c:v>1</c:v>
                </c:pt>
                <c:pt idx="5">
                  <c:v>0.99</c:v>
                </c:pt>
                <c:pt idx="6">
                  <c:v>0.87</c:v>
                </c:pt>
                <c:pt idx="7">
                  <c:v>0.88</c:v>
                </c:pt>
                <c:pt idx="8">
                  <c:v>0.98</c:v>
                </c:pt>
                <c:pt idx="9">
                  <c:v>0.94</c:v>
                </c:pt>
                <c:pt idx="10">
                  <c:v>0.6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432Gr 24P</c:v>
                </c:pt>
                <c:pt idx="1">
                  <c:v>Kiri Creme Fromage Blanc Frais Carre 1X216Gr 12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C$2:$C$12</c:f>
              <c:numCache>
                <c:formatCode>General</c:formatCode>
                <c:ptCount val="11"/>
                <c:pt idx="0">
                  <c:v>0.24895243454716698</c:v>
                </c:pt>
                <c:pt idx="1">
                  <c:v>0.49502459061967685</c:v>
                </c:pt>
                <c:pt idx="2">
                  <c:v>0.65186455698975099</c:v>
                </c:pt>
                <c:pt idx="3">
                  <c:v>0.77466012040052634</c:v>
                </c:pt>
                <c:pt idx="4">
                  <c:v>0.88203958087272694</c:v>
                </c:pt>
                <c:pt idx="5">
                  <c:v>0.91425295567622944</c:v>
                </c:pt>
                <c:pt idx="6">
                  <c:v>0.93984227969113043</c:v>
                </c:pt>
                <c:pt idx="7">
                  <c:v>0.96262503812009392</c:v>
                </c:pt>
                <c:pt idx="8">
                  <c:v>0.98222171489034049</c:v>
                </c:pt>
                <c:pt idx="9">
                  <c:v>0.99843096851153879</c:v>
                </c:pt>
                <c:pt idx="1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432Gr 24P</c:v>
                </c:pt>
                <c:pt idx="1">
                  <c:v>Kiri Creme Fromage Blanc Frais Carre 1X216Gr 12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D$2:$D$12</c:f>
              <c:numCache>
                <c:formatCode>General</c:formatCode>
                <c:ptCount val="11"/>
                <c:pt idx="0">
                  <c:v>5970.0202020202023</c:v>
                </c:pt>
                <c:pt idx="1">
                  <c:v>5841.94</c:v>
                </c:pt>
                <c:pt idx="2">
                  <c:v>3761.1111111111113</c:v>
                </c:pt>
                <c:pt idx="3">
                  <c:v>2915.26</c:v>
                </c:pt>
                <c:pt idx="4">
                  <c:v>2549.27</c:v>
                </c:pt>
                <c:pt idx="5">
                  <c:v>772.49494949494954</c:v>
                </c:pt>
                <c:pt idx="6">
                  <c:v>698.28735632183907</c:v>
                </c:pt>
                <c:pt idx="7">
                  <c:v>614.63636363636363</c:v>
                </c:pt>
                <c:pt idx="8">
                  <c:v>474.73469387755102</c:v>
                </c:pt>
                <c:pt idx="9">
                  <c:v>409.38297872340428</c:v>
                </c:pt>
                <c:pt idx="10">
                  <c:v>58.203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0.99</c:v>
                </c:pt>
                <c:pt idx="1">
                  <c:v>1</c:v>
                </c:pt>
                <c:pt idx="2">
                  <c:v>1</c:v>
                </c:pt>
                <c:pt idx="3">
                  <c:v>0.98</c:v>
                </c:pt>
                <c:pt idx="4">
                  <c:v>0.99</c:v>
                </c:pt>
                <c:pt idx="5">
                  <c:v>0.97</c:v>
                </c:pt>
                <c:pt idx="6">
                  <c:v>0.92</c:v>
                </c:pt>
                <c:pt idx="7">
                  <c:v>0.32</c:v>
                </c:pt>
                <c:pt idx="8">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C$2:$C$10</c:f>
              <c:numCache>
                <c:formatCode>General</c:formatCode>
                <c:ptCount val="9"/>
                <c:pt idx="0">
                  <c:v>0.35159754212337546</c:v>
                </c:pt>
                <c:pt idx="1">
                  <c:v>0.59094594069712336</c:v>
                </c:pt>
                <c:pt idx="2">
                  <c:v>0.80633796580413108</c:v>
                </c:pt>
                <c:pt idx="3">
                  <c:v>0.87519455600525131</c:v>
                </c:pt>
                <c:pt idx="4">
                  <c:v>0.93954307110285951</c:v>
                </c:pt>
                <c:pt idx="5">
                  <c:v>0.97480505558188135</c:v>
                </c:pt>
                <c:pt idx="6">
                  <c:v>0.99818533508378071</c:v>
                </c:pt>
                <c:pt idx="7">
                  <c:v>0.99994872950151104</c:v>
                </c:pt>
                <c:pt idx="8">
                  <c:v>0.9999801132611921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D$2:$D$10</c:f>
              <c:numCache>
                <c:formatCode>General</c:formatCode>
                <c:ptCount val="9"/>
                <c:pt idx="0">
                  <c:v>11429.494949494949</c:v>
                </c:pt>
                <c:pt idx="1">
                  <c:v>7702.77</c:v>
                </c:pt>
                <c:pt idx="2">
                  <c:v>6931.8</c:v>
                </c:pt>
                <c:pt idx="3">
                  <c:v>2261.1836734693879</c:v>
                </c:pt>
                <c:pt idx="4">
                  <c:v>2091.7979797979797</c:v>
                </c:pt>
                <c:pt idx="5">
                  <c:v>1169.9072164948454</c:v>
                </c:pt>
                <c:pt idx="6">
                  <c:v>817.85869565217388</c:v>
                </c:pt>
                <c:pt idx="7">
                  <c:v>177.34375</c:v>
                </c:pt>
                <c:pt idx="8">
                  <c:v>7.769230769230769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5</c:f>
              <c:strCache>
                <c:ptCount val="24"/>
                <c:pt idx="0">
                  <c:v>Boursin Classique Fromage Frais A Tartiner Afh Boite 1X250Gr 1P</c:v>
                </c:pt>
                <c:pt idx="1">
                  <c:v>Boursin Classique Fromage Frais A Tartiner Afh 1X160Gr 10P</c:v>
                </c:pt>
                <c:pt idx="2">
                  <c:v>Boursin Aperitif Roules Fromage Frais Roule Afh Et Jambon Fume Boite 1X100Gr 20P</c:v>
                </c:pt>
                <c:pt idx="3">
                  <c:v>Boursin Classique Fromage Frais A Tartiner Afh Boite 1X150Gr 1P</c:v>
                </c:pt>
                <c:pt idx="4">
                  <c:v>Boursin Aperitif Roules Fromage Frais Roule Ciboulette &amp; Echalote Jambon Fume Boite 1X100Gr 20P</c:v>
                </c:pt>
                <c:pt idx="5">
                  <c:v>Boursin Salade &amp; Aperitif Fromage Frais Des Afh 1X120Gr 1P</c:v>
                </c:pt>
                <c:pt idx="6">
                  <c:v>Boursin Classique Fromage Frais A Tartiner Afh 1X256Gr 16P</c:v>
                </c:pt>
                <c:pt idx="7">
                  <c:v>Boursin Onctueux Fromage Frais A Tartiner Afh 1X125Gr 1P</c:v>
                </c:pt>
                <c:pt idx="8">
                  <c:v>Boursin Classique Fromage Frais A Tartiner Afh Boite 1X96Gr 6P</c:v>
                </c:pt>
                <c:pt idx="9">
                  <c:v>Boursin Classique Fromage Frais A Tartiner Figue Et 3 Noix Boite 1X150Gr 1P</c:v>
                </c:pt>
                <c:pt idx="10">
                  <c:v>Boursin Aperitif Roules Fromage Frais Roule Basilic &amp; Jambon Fume Tomate Boite 1X100Gr 20P</c:v>
                </c:pt>
                <c:pt idx="11">
                  <c:v>Boursin Classique Fromage Frais A Tartiner Ciboulette &amp; Echalote Boite 1X150Gr 1P</c:v>
                </c:pt>
                <c:pt idx="12">
                  <c:v>Boursin Classique Fromage Frais A Tartiner Poivre Boite 1X150Gr 1P</c:v>
                </c:pt>
                <c:pt idx="13">
                  <c:v>Boursin Cuisine Sauce Fromage Afh 1X240Gr 1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Classique Fromage Frais A Tartiner Afh Boite 1X80Gr 1P</c:v>
                </c:pt>
                <c:pt idx="18">
                  <c:v>Boursin Salade &amp; Aperitif Fromage Frais Des Citron Romarin 1X120Gr 1P</c:v>
                </c:pt>
                <c:pt idx="19">
                  <c:v>Boursin Salade &amp; Aperitif Fromage Frais Des Noisette Et 3 Noix 1X120Gr 1P</c:v>
                </c:pt>
                <c:pt idx="20">
                  <c:v>Boursin Aperitif Roules Fromage Frais Roule Jambon Fume &amp; Trio De Noix Boite 1X100Gr 20P</c:v>
                </c:pt>
                <c:pt idx="21">
                  <c:v>Boursin Classique Fromage Frais A Tartiner Truffe Boite 1X150Gr 1P</c:v>
                </c:pt>
                <c:pt idx="22">
                  <c:v>Boursin Salade &amp; Aperitif Soft Cheese Salade 120G</c:v>
                </c:pt>
                <c:pt idx="23">
                  <c:v>Boursin Aperitif Roules Aperitif 100G</c:v>
                </c:pt>
              </c:strCache>
            </c:strRef>
          </c:cat>
          <c:val>
            <c:numRef>
              <c:f>Sheet1!$B$2:$B$25</c:f>
              <c:numCache>
                <c:formatCode>General</c:formatCode>
                <c:ptCount val="24"/>
                <c:pt idx="0">
                  <c:v>1</c:v>
                </c:pt>
                <c:pt idx="1">
                  <c:v>1</c:v>
                </c:pt>
                <c:pt idx="2">
                  <c:v>0.99</c:v>
                </c:pt>
                <c:pt idx="3">
                  <c:v>1</c:v>
                </c:pt>
                <c:pt idx="4">
                  <c:v>0.99</c:v>
                </c:pt>
                <c:pt idx="5">
                  <c:v>1</c:v>
                </c:pt>
                <c:pt idx="6">
                  <c:v>0.99</c:v>
                </c:pt>
                <c:pt idx="7">
                  <c:v>0.99</c:v>
                </c:pt>
                <c:pt idx="8">
                  <c:v>0.99</c:v>
                </c:pt>
                <c:pt idx="9">
                  <c:v>1</c:v>
                </c:pt>
                <c:pt idx="10">
                  <c:v>0.98</c:v>
                </c:pt>
                <c:pt idx="11">
                  <c:v>1</c:v>
                </c:pt>
                <c:pt idx="12">
                  <c:v>0.99</c:v>
                </c:pt>
                <c:pt idx="13">
                  <c:v>0.96</c:v>
                </c:pt>
                <c:pt idx="14">
                  <c:v>0.98</c:v>
                </c:pt>
                <c:pt idx="15">
                  <c:v>0.95</c:v>
                </c:pt>
                <c:pt idx="16">
                  <c:v>0.97</c:v>
                </c:pt>
                <c:pt idx="17">
                  <c:v>0.7</c:v>
                </c:pt>
                <c:pt idx="18">
                  <c:v>0.93</c:v>
                </c:pt>
                <c:pt idx="19">
                  <c:v>0.99</c:v>
                </c:pt>
                <c:pt idx="20">
                  <c:v>0.96</c:v>
                </c:pt>
                <c:pt idx="21">
                  <c:v>0.92</c:v>
                </c:pt>
                <c:pt idx="22">
                  <c:v>0.73</c:v>
                </c:pt>
                <c:pt idx="23">
                  <c:v>0.8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7ECAC4"/>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5</c:f>
              <c:strCache>
                <c:ptCount val="24"/>
                <c:pt idx="0">
                  <c:v>Boursin Classique Fromage Frais A Tartiner Afh Boite 1X250Gr 1P</c:v>
                </c:pt>
                <c:pt idx="1">
                  <c:v>Boursin Classique Fromage Frais A Tartiner Afh 1X160Gr 10P</c:v>
                </c:pt>
                <c:pt idx="2">
                  <c:v>Boursin Aperitif Roules Fromage Frais Roule Afh Et Jambon Fume Boite 1X100Gr 20P</c:v>
                </c:pt>
                <c:pt idx="3">
                  <c:v>Boursin Classique Fromage Frais A Tartiner Afh Boite 1X150Gr 1P</c:v>
                </c:pt>
                <c:pt idx="4">
                  <c:v>Boursin Aperitif Roules Fromage Frais Roule Ciboulette &amp; Echalote Jambon Fume Boite 1X100Gr 20P</c:v>
                </c:pt>
                <c:pt idx="5">
                  <c:v>Boursin Salade &amp; Aperitif Fromage Frais Des Afh 1X120Gr 1P</c:v>
                </c:pt>
                <c:pt idx="6">
                  <c:v>Boursin Classique Fromage Frais A Tartiner Afh 1X256Gr 16P</c:v>
                </c:pt>
                <c:pt idx="7">
                  <c:v>Boursin Onctueux Fromage Frais A Tartiner Afh 1X125Gr 1P</c:v>
                </c:pt>
                <c:pt idx="8">
                  <c:v>Boursin Classique Fromage Frais A Tartiner Afh Boite 1X96Gr 6P</c:v>
                </c:pt>
                <c:pt idx="9">
                  <c:v>Boursin Classique Fromage Frais A Tartiner Figue Et 3 Noix Boite 1X150Gr 1P</c:v>
                </c:pt>
                <c:pt idx="10">
                  <c:v>Boursin Aperitif Roules Fromage Frais Roule Basilic &amp; Jambon Fume Tomate Boite 1X100Gr 20P</c:v>
                </c:pt>
                <c:pt idx="11">
                  <c:v>Boursin Classique Fromage Frais A Tartiner Ciboulette &amp; Echalote Boite 1X150Gr 1P</c:v>
                </c:pt>
                <c:pt idx="12">
                  <c:v>Boursin Classique Fromage Frais A Tartiner Poivre Boite 1X150Gr 1P</c:v>
                </c:pt>
                <c:pt idx="13">
                  <c:v>Boursin Cuisine Sauce Fromage Afh 1X240Gr 1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Classique Fromage Frais A Tartiner Afh Boite 1X80Gr 1P</c:v>
                </c:pt>
                <c:pt idx="18">
                  <c:v>Boursin Salade &amp; Aperitif Fromage Frais Des Citron Romarin 1X120Gr 1P</c:v>
                </c:pt>
                <c:pt idx="19">
                  <c:v>Boursin Salade &amp; Aperitif Fromage Frais Des Noisette Et 3 Noix 1X120Gr 1P</c:v>
                </c:pt>
                <c:pt idx="20">
                  <c:v>Boursin Aperitif Roules Fromage Frais Roule Jambon Fume &amp; Trio De Noix Boite 1X100Gr 20P</c:v>
                </c:pt>
                <c:pt idx="21">
                  <c:v>Boursin Classique Fromage Frais A Tartiner Truffe Boite 1X150Gr 1P</c:v>
                </c:pt>
                <c:pt idx="22">
                  <c:v>Boursin Salade &amp; Aperitif Soft Cheese Salade 120G</c:v>
                </c:pt>
                <c:pt idx="23">
                  <c:v>Boursin Aperitif Roules Aperitif 100G</c:v>
                </c:pt>
              </c:strCache>
            </c:strRef>
          </c:cat>
          <c:val>
            <c:numRef>
              <c:f>Sheet1!$C$2:$C$25</c:f>
              <c:numCache>
                <c:formatCode>General</c:formatCode>
                <c:ptCount val="24"/>
                <c:pt idx="0">
                  <c:v>0.1429616768730996</c:v>
                </c:pt>
                <c:pt idx="1">
                  <c:v>0.26548944490444504</c:v>
                </c:pt>
                <c:pt idx="2">
                  <c:v>0.38002110809843659</c:v>
                </c:pt>
                <c:pt idx="3">
                  <c:v>0.48467500434229721</c:v>
                </c:pt>
                <c:pt idx="4">
                  <c:v>0.55582275893867983</c:v>
                </c:pt>
                <c:pt idx="5">
                  <c:v>0.6056768647288977</c:v>
                </c:pt>
                <c:pt idx="6">
                  <c:v>0.65509046278075833</c:v>
                </c:pt>
                <c:pt idx="7">
                  <c:v>0.70307092837267449</c:v>
                </c:pt>
                <c:pt idx="8">
                  <c:v>0.7501620077945107</c:v>
                </c:pt>
                <c:pt idx="9">
                  <c:v>0.79050107668043423</c:v>
                </c:pt>
                <c:pt idx="10">
                  <c:v>0.82606710645359538</c:v>
                </c:pt>
                <c:pt idx="11">
                  <c:v>0.86034823479515876</c:v>
                </c:pt>
                <c:pt idx="12">
                  <c:v>0.89103868446183077</c:v>
                </c:pt>
                <c:pt idx="13">
                  <c:v>0.91848514167049755</c:v>
                </c:pt>
                <c:pt idx="14">
                  <c:v>0.94394495432042891</c:v>
                </c:pt>
                <c:pt idx="15">
                  <c:v>0.95958629243156801</c:v>
                </c:pt>
                <c:pt idx="16">
                  <c:v>0.97007791022849921</c:v>
                </c:pt>
                <c:pt idx="17">
                  <c:v>0.97756270521277977</c:v>
                </c:pt>
                <c:pt idx="18">
                  <c:v>0.98395896128066052</c:v>
                </c:pt>
                <c:pt idx="19">
                  <c:v>0.98871177121778964</c:v>
                </c:pt>
                <c:pt idx="20">
                  <c:v>0.99206144367953386</c:v>
                </c:pt>
                <c:pt idx="21">
                  <c:v>0.99479517262113637</c:v>
                </c:pt>
                <c:pt idx="22">
                  <c:v>0.99750483581931326</c:v>
                </c:pt>
                <c:pt idx="23">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5</c:f>
              <c:strCache>
                <c:ptCount val="24"/>
                <c:pt idx="0">
                  <c:v>Boursin Classique Fromage Frais A Tartiner Afh Boite 1X250Gr 1P</c:v>
                </c:pt>
                <c:pt idx="1">
                  <c:v>Boursin Classique Fromage Frais A Tartiner Afh 1X160Gr 10P</c:v>
                </c:pt>
                <c:pt idx="2">
                  <c:v>Boursin Aperitif Roules Fromage Frais Roule Afh Et Jambon Fume Boite 1X100Gr 20P</c:v>
                </c:pt>
                <c:pt idx="3">
                  <c:v>Boursin Classique Fromage Frais A Tartiner Afh Boite 1X150Gr 1P</c:v>
                </c:pt>
                <c:pt idx="4">
                  <c:v>Boursin Aperitif Roules Fromage Frais Roule Ciboulette &amp; Echalote Jambon Fume Boite 1X100Gr 20P</c:v>
                </c:pt>
                <c:pt idx="5">
                  <c:v>Boursin Salade &amp; Aperitif Fromage Frais Des Afh 1X120Gr 1P</c:v>
                </c:pt>
                <c:pt idx="6">
                  <c:v>Boursin Classique Fromage Frais A Tartiner Afh 1X256Gr 16P</c:v>
                </c:pt>
                <c:pt idx="7">
                  <c:v>Boursin Onctueux Fromage Frais A Tartiner Afh 1X125Gr 1P</c:v>
                </c:pt>
                <c:pt idx="8">
                  <c:v>Boursin Classique Fromage Frais A Tartiner Afh Boite 1X96Gr 6P</c:v>
                </c:pt>
                <c:pt idx="9">
                  <c:v>Boursin Classique Fromage Frais A Tartiner Figue Et 3 Noix Boite 1X150Gr 1P</c:v>
                </c:pt>
                <c:pt idx="10">
                  <c:v>Boursin Aperitif Roules Fromage Frais Roule Basilic &amp; Jambon Fume Tomate Boite 1X100Gr 20P</c:v>
                </c:pt>
                <c:pt idx="11">
                  <c:v>Boursin Classique Fromage Frais A Tartiner Ciboulette &amp; Echalote Boite 1X150Gr 1P</c:v>
                </c:pt>
                <c:pt idx="12">
                  <c:v>Boursin Classique Fromage Frais A Tartiner Poivre Boite 1X150Gr 1P</c:v>
                </c:pt>
                <c:pt idx="13">
                  <c:v>Boursin Cuisine Sauce Fromage Afh 1X240Gr 1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Classique Fromage Frais A Tartiner Afh Boite 1X80Gr 1P</c:v>
                </c:pt>
                <c:pt idx="18">
                  <c:v>Boursin Salade &amp; Aperitif Fromage Frais Des Citron Romarin 1X120Gr 1P</c:v>
                </c:pt>
                <c:pt idx="19">
                  <c:v>Boursin Salade &amp; Aperitif Fromage Frais Des Noisette Et 3 Noix 1X120Gr 1P</c:v>
                </c:pt>
                <c:pt idx="20">
                  <c:v>Boursin Aperitif Roules Fromage Frais Roule Jambon Fume &amp; Trio De Noix Boite 1X100Gr 20P</c:v>
                </c:pt>
                <c:pt idx="21">
                  <c:v>Boursin Classique Fromage Frais A Tartiner Truffe Boite 1X150Gr 1P</c:v>
                </c:pt>
                <c:pt idx="22">
                  <c:v>Boursin Salade &amp; Aperitif Soft Cheese Salade 120G</c:v>
                </c:pt>
                <c:pt idx="23">
                  <c:v>Boursin Aperitif Roules Aperitif 100G</c:v>
                </c:pt>
              </c:strCache>
            </c:strRef>
          </c:cat>
          <c:val>
            <c:numRef>
              <c:f>Sheet1!$D$2:$D$25</c:f>
              <c:numCache>
                <c:formatCode>General</c:formatCode>
                <c:ptCount val="24"/>
                <c:pt idx="0">
                  <c:v>4098.92</c:v>
                </c:pt>
                <c:pt idx="1">
                  <c:v>3513.05</c:v>
                </c:pt>
                <c:pt idx="2">
                  <c:v>3316.9595959595958</c:v>
                </c:pt>
                <c:pt idx="3">
                  <c:v>3000.58</c:v>
                </c:pt>
                <c:pt idx="4">
                  <c:v>2060.5151515151515</c:v>
                </c:pt>
                <c:pt idx="5">
                  <c:v>1429.39</c:v>
                </c:pt>
                <c:pt idx="6">
                  <c:v>1431.0707070707072</c:v>
                </c:pt>
                <c:pt idx="7">
                  <c:v>1389.5656565656566</c:v>
                </c:pt>
                <c:pt idx="8">
                  <c:v>1363.8080808080808</c:v>
                </c:pt>
                <c:pt idx="9">
                  <c:v>1156.58</c:v>
                </c:pt>
                <c:pt idx="10">
                  <c:v>1040.5408163265306</c:v>
                </c:pt>
                <c:pt idx="11">
                  <c:v>982.89</c:v>
                </c:pt>
                <c:pt idx="12">
                  <c:v>888.82828282828279</c:v>
                </c:pt>
                <c:pt idx="13">
                  <c:v>819.71875</c:v>
                </c:pt>
                <c:pt idx="14">
                  <c:v>744.86734693877554</c:v>
                </c:pt>
                <c:pt idx="15">
                  <c:v>472.06315789473683</c:v>
                </c:pt>
                <c:pt idx="16">
                  <c:v>310.11340206185565</c:v>
                </c:pt>
                <c:pt idx="17">
                  <c:v>306.57142857142856</c:v>
                </c:pt>
                <c:pt idx="18">
                  <c:v>197.19354838709677</c:v>
                </c:pt>
                <c:pt idx="19">
                  <c:v>137.64646464646464</c:v>
                </c:pt>
                <c:pt idx="20">
                  <c:v>100.04166666666667</c:v>
                </c:pt>
                <c:pt idx="21">
                  <c:v>85.195652173913047</c:v>
                </c:pt>
                <c:pt idx="22">
                  <c:v>106.42465753424658</c:v>
                </c:pt>
                <c:pt idx="23">
                  <c:v>83.18604651162790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Private Label</c:v>
                </c:pt>
                <c:pt idx="4">
                  <c:v>St Moret</c:v>
                </c:pt>
                <c:pt idx="5">
                  <c:v>O'Tapas Apero</c:v>
                </c:pt>
                <c:pt idx="6">
                  <c:v>Others</c:v>
                </c:pt>
              </c:strCache>
            </c:strRef>
          </c:cat>
          <c:val>
            <c:numRef>
              <c:f>Sheet1!$B$2:$B$8</c:f>
              <c:numCache>
                <c:formatCode>General</c:formatCode>
                <c:ptCount val="7"/>
                <c:pt idx="0">
                  <c:v>0.6580294332313682</c:v>
                </c:pt>
                <c:pt idx="1">
                  <c:v>0.11778543216502418</c:v>
                </c:pt>
                <c:pt idx="2">
                  <c:v>7.1838141248993251E-2</c:v>
                </c:pt>
                <c:pt idx="3">
                  <c:v>4.4912603667680566E-2</c:v>
                </c:pt>
                <c:pt idx="4">
                  <c:v>3.7828252723520375E-2</c:v>
                </c:pt>
                <c:pt idx="5">
                  <c:v>1.8264047698629909E-2</c:v>
                </c:pt>
                <c:pt idx="6">
                  <c:v>5.134208926478355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Private Label</c:v>
                </c:pt>
                <c:pt idx="4">
                  <c:v>St Moret</c:v>
                </c:pt>
                <c:pt idx="5">
                  <c:v>O'Tapas Apero</c:v>
                </c:pt>
                <c:pt idx="6">
                  <c:v>Others</c:v>
                </c:pt>
              </c:strCache>
            </c:strRef>
          </c:cat>
          <c:val>
            <c:numRef>
              <c:f>Sheet1!$C$2:$C$8</c:f>
              <c:numCache>
                <c:formatCode>General</c:formatCode>
                <c:ptCount val="7"/>
                <c:pt idx="0">
                  <c:v>0.41932643627558891</c:v>
                </c:pt>
                <c:pt idx="1">
                  <c:v>0.16112700858463572</c:v>
                </c:pt>
                <c:pt idx="2">
                  <c:v>6.5595421527624931E-2</c:v>
                </c:pt>
                <c:pt idx="3">
                  <c:v>5.8551617873651783E-2</c:v>
                </c:pt>
                <c:pt idx="4">
                  <c:v>6.2293638564825018E-2</c:v>
                </c:pt>
                <c:pt idx="5">
                  <c:v>6.0972925379705049E-2</c:v>
                </c:pt>
                <c:pt idx="6">
                  <c:v>0.1721329517939688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Private Label</c:v>
                </c:pt>
                <c:pt idx="4">
                  <c:v>St Moret</c:v>
                </c:pt>
                <c:pt idx="5">
                  <c:v>O'Tapas Apero</c:v>
                </c:pt>
                <c:pt idx="6">
                  <c:v>Others</c:v>
                </c:pt>
              </c:strCache>
            </c:strRef>
          </c:cat>
          <c:val>
            <c:numRef>
              <c:f>Sheet1!$D$2:$D$8</c:f>
              <c:numCache>
                <c:formatCode>General</c:formatCode>
                <c:ptCount val="7"/>
                <c:pt idx="0">
                  <c:v>63.724571439975477</c:v>
                </c:pt>
                <c:pt idx="1">
                  <c:v>136.79706023312585</c:v>
                </c:pt>
                <c:pt idx="2">
                  <c:v>91.310020536680014</c:v>
                </c:pt>
                <c:pt idx="3">
                  <c:v>130.36789919125965</c:v>
                </c:pt>
                <c:pt idx="4">
                  <c:v>164.6749032267432</c:v>
                </c:pt>
                <c:pt idx="5">
                  <c:v>333.84125132502243</c:v>
                </c:pt>
                <c:pt idx="6">
                  <c:v>335.2667455861362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216Gr 12P</c:v>
                </c:pt>
                <c:pt idx="1">
                  <c:v>Kiri Creme Fromage Blanc Frais Carre 1X144Gr 8P</c:v>
                </c:pt>
                <c:pt idx="2">
                  <c:v>Kiri Gouter Fromage Blanc Dips Boite 1X175Gr 5P</c:v>
                </c:pt>
                <c:pt idx="3">
                  <c:v>Kiri Creme Fromage Blanc Frais Carre 1X432Gr 24P</c:v>
                </c:pt>
                <c:pt idx="4">
                  <c:v>Kiri Gouter Fromage Blanc Dips Boite 1X280Gr 8P</c:v>
                </c:pt>
                <c:pt idx="5">
                  <c:v>Kiri Bio Fromage Blanc Frais Carre 1X144Gr 8P</c:v>
                </c:pt>
                <c:pt idx="6">
                  <c:v>Kiri Delicieusement Fouette Fromage Frais A Tartiner 1X125Gr 1P</c:v>
                </c:pt>
                <c:pt idx="7">
                  <c:v>Kiri Creme Fromage Blanc Frais Carre 1X432Gr 18+6P</c:v>
                </c:pt>
                <c:pt idx="8">
                  <c:v>Kiri Chevre Fromage Blanc Frais Carre 1X144Gr 8P</c:v>
                </c:pt>
                <c:pt idx="9">
                  <c:v>Kiri Delicieusement Fouette Fromage Frais A Tartiner 1X160Gr 10P</c:v>
                </c:pt>
                <c:pt idx="10">
                  <c:v>Kiri Delicieusement Fouette Fromage Frais A Tartiner 1X210Gr 1P</c:v>
                </c:pt>
              </c:strCache>
            </c:strRef>
          </c:cat>
          <c:val>
            <c:numRef>
              <c:f>Sheet1!$B$2:$B$12</c:f>
              <c:numCache>
                <c:formatCode>General</c:formatCode>
                <c:ptCount val="11"/>
                <c:pt idx="0">
                  <c:v>0.85</c:v>
                </c:pt>
                <c:pt idx="1">
                  <c:v>0.92</c:v>
                </c:pt>
                <c:pt idx="2">
                  <c:v>0.9</c:v>
                </c:pt>
                <c:pt idx="3">
                  <c:v>0.52</c:v>
                </c:pt>
                <c:pt idx="4">
                  <c:v>0.68</c:v>
                </c:pt>
                <c:pt idx="5">
                  <c:v>0.31</c:v>
                </c:pt>
                <c:pt idx="6">
                  <c:v>0.44</c:v>
                </c:pt>
                <c:pt idx="7">
                  <c:v>0.59</c:v>
                </c:pt>
                <c:pt idx="8">
                  <c:v>0.38</c:v>
                </c:pt>
                <c:pt idx="9">
                  <c:v>0.5</c:v>
                </c:pt>
                <c:pt idx="1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216Gr 12P</c:v>
                </c:pt>
                <c:pt idx="1">
                  <c:v>Kiri Creme Fromage Blanc Frais Carre 1X144Gr 8P</c:v>
                </c:pt>
                <c:pt idx="2">
                  <c:v>Kiri Gouter Fromage Blanc Dips Boite 1X175Gr 5P</c:v>
                </c:pt>
                <c:pt idx="3">
                  <c:v>Kiri Creme Fromage Blanc Frais Carre 1X432Gr 24P</c:v>
                </c:pt>
                <c:pt idx="4">
                  <c:v>Kiri Gouter Fromage Blanc Dips Boite 1X280Gr 8P</c:v>
                </c:pt>
                <c:pt idx="5">
                  <c:v>Kiri Bio Fromage Blanc Frais Carre 1X144Gr 8P</c:v>
                </c:pt>
                <c:pt idx="6">
                  <c:v>Kiri Delicieusement Fouette Fromage Frais A Tartiner 1X125Gr 1P</c:v>
                </c:pt>
                <c:pt idx="7">
                  <c:v>Kiri Creme Fromage Blanc Frais Carre 1X432Gr 18+6P</c:v>
                </c:pt>
                <c:pt idx="8">
                  <c:v>Kiri Chevre Fromage Blanc Frais Carre 1X144Gr 8P</c:v>
                </c:pt>
                <c:pt idx="9">
                  <c:v>Kiri Delicieusement Fouette Fromage Frais A Tartiner 1X160Gr 10P</c:v>
                </c:pt>
                <c:pt idx="10">
                  <c:v>Kiri Delicieusement Fouette Fromage Frais A Tartiner 1X210Gr 1P</c:v>
                </c:pt>
              </c:strCache>
            </c:strRef>
          </c:cat>
          <c:val>
            <c:numRef>
              <c:f>Sheet1!$C$2:$C$12</c:f>
              <c:numCache>
                <c:formatCode>General</c:formatCode>
                <c:ptCount val="11"/>
                <c:pt idx="0">
                  <c:v>0.28326101542826887</c:v>
                </c:pt>
                <c:pt idx="1">
                  <c:v>0.48586769360112853</c:v>
                </c:pt>
                <c:pt idx="2">
                  <c:v>0.64792868316067309</c:v>
                </c:pt>
                <c:pt idx="3">
                  <c:v>0.78454283092767674</c:v>
                </c:pt>
                <c:pt idx="4">
                  <c:v>0.90306908161986721</c:v>
                </c:pt>
                <c:pt idx="5">
                  <c:v>0.93052226529185178</c:v>
                </c:pt>
                <c:pt idx="6">
                  <c:v>0.95566444222584213</c:v>
                </c:pt>
                <c:pt idx="7">
                  <c:v>0.97336784517568509</c:v>
                </c:pt>
                <c:pt idx="8">
                  <c:v>0.98929631006899676</c:v>
                </c:pt>
                <c:pt idx="9">
                  <c:v>0.99998736878695893</c:v>
                </c:pt>
                <c:pt idx="1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216Gr 12P</c:v>
                </c:pt>
                <c:pt idx="1">
                  <c:v>Kiri Creme Fromage Blanc Frais Carre 1X144Gr 8P</c:v>
                </c:pt>
                <c:pt idx="2">
                  <c:v>Kiri Gouter Fromage Blanc Dips Boite 1X175Gr 5P</c:v>
                </c:pt>
                <c:pt idx="3">
                  <c:v>Kiri Creme Fromage Blanc Frais Carre 1X432Gr 24P</c:v>
                </c:pt>
                <c:pt idx="4">
                  <c:v>Kiri Gouter Fromage Blanc Dips Boite 1X280Gr 8P</c:v>
                </c:pt>
                <c:pt idx="5">
                  <c:v>Kiri Bio Fromage Blanc Frais Carre 1X144Gr 8P</c:v>
                </c:pt>
                <c:pt idx="6">
                  <c:v>Kiri Delicieusement Fouette Fromage Frais A Tartiner 1X125Gr 1P</c:v>
                </c:pt>
                <c:pt idx="7">
                  <c:v>Kiri Creme Fromage Blanc Frais Carre 1X432Gr 18+6P</c:v>
                </c:pt>
                <c:pt idx="8">
                  <c:v>Kiri Chevre Fromage Blanc Frais Carre 1X144Gr 8P</c:v>
                </c:pt>
                <c:pt idx="9">
                  <c:v>Kiri Delicieusement Fouette Fromage Frais A Tartiner 1X160Gr 10P</c:v>
                </c:pt>
                <c:pt idx="10">
                  <c:v>Kiri Delicieusement Fouette Fromage Frais A Tartiner 1X210Gr 1P</c:v>
                </c:pt>
              </c:strCache>
            </c:strRef>
          </c:cat>
          <c:val>
            <c:numRef>
              <c:f>Sheet1!$D$2:$D$12</c:f>
              <c:numCache>
                <c:formatCode>General</c:formatCode>
                <c:ptCount val="11"/>
                <c:pt idx="0">
                  <c:v>6595.7294117647061</c:v>
                </c:pt>
                <c:pt idx="1">
                  <c:v>4358.739130434783</c:v>
                </c:pt>
                <c:pt idx="2">
                  <c:v>3563.9444444444443</c:v>
                </c:pt>
                <c:pt idx="3">
                  <c:v>5199.8076923076924</c:v>
                </c:pt>
                <c:pt idx="4">
                  <c:v>3449.8529411764707</c:v>
                </c:pt>
                <c:pt idx="5">
                  <c:v>1752.7741935483871</c:v>
                </c:pt>
                <c:pt idx="6">
                  <c:v>1130.9545454545455</c:v>
                </c:pt>
                <c:pt idx="7">
                  <c:v>593.88135593220341</c:v>
                </c:pt>
                <c:pt idx="8">
                  <c:v>829.63157894736844</c:v>
                </c:pt>
                <c:pt idx="9">
                  <c:v>423.2</c:v>
                </c:pt>
                <c:pt idx="10">
                  <c:v>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pt idx="7">
                  <c:v>Toastinette Fromage Fondu Tranche A Chaud Sachet 1X200Gr 10P</c:v>
                </c:pt>
                <c:pt idx="8">
                  <c:v>La Vache Qui Rit Nature Fromage Fondu Boite Ronde 1X128Gr 8P</c:v>
                </c:pt>
                <c:pt idx="9">
                  <c:v>Toastinette Fromage Fondu Tranche A Chaud Sachet 1X340Gr 20P</c:v>
                </c:pt>
                <c:pt idx="10">
                  <c:v>Toastinette Cheddar Fondu Tranche A Chaud Sachet 1X340Gr 20P</c:v>
                </c:pt>
              </c:strCache>
            </c:strRef>
          </c:cat>
          <c:val>
            <c:numRef>
              <c:f>Sheet1!$B$2:$B$12</c:f>
              <c:numCache>
                <c:formatCode>General</c:formatCode>
                <c:ptCount val="11"/>
                <c:pt idx="0">
                  <c:v>0.98</c:v>
                </c:pt>
                <c:pt idx="1">
                  <c:v>0.68</c:v>
                </c:pt>
                <c:pt idx="2">
                  <c:v>0.68</c:v>
                </c:pt>
                <c:pt idx="3">
                  <c:v>0.82</c:v>
                </c:pt>
                <c:pt idx="4">
                  <c:v>0.5</c:v>
                </c:pt>
                <c:pt idx="5">
                  <c:v>0.42</c:v>
                </c:pt>
                <c:pt idx="6">
                  <c:v>0.33</c:v>
                </c:pt>
                <c:pt idx="7">
                  <c:v>0.01</c:v>
                </c:pt>
                <c:pt idx="8">
                  <c:v>0.04</c:v>
                </c:pt>
                <c:pt idx="9">
                  <c:v>0.01</c:v>
                </c:pt>
                <c:pt idx="1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pt idx="7">
                  <c:v>Toastinette Fromage Fondu Tranche A Chaud Sachet 1X200Gr 10P</c:v>
                </c:pt>
                <c:pt idx="8">
                  <c:v>La Vache Qui Rit Nature Fromage Fondu Boite Ronde 1X128Gr 8P</c:v>
                </c:pt>
                <c:pt idx="9">
                  <c:v>Toastinette Fromage Fondu Tranche A Chaud Sachet 1X340Gr 20P</c:v>
                </c:pt>
                <c:pt idx="10">
                  <c:v>Toastinette Cheddar Fondu Tranche A Chaud Sachet 1X340Gr 20P</c:v>
                </c:pt>
              </c:strCache>
            </c:strRef>
          </c:cat>
          <c:val>
            <c:numRef>
              <c:f>Sheet1!$C$2:$C$12</c:f>
              <c:numCache>
                <c:formatCode>General</c:formatCode>
                <c:ptCount val="11"/>
                <c:pt idx="0">
                  <c:v>0.37370128293238741</c:v>
                </c:pt>
                <c:pt idx="1">
                  <c:v>0.63486778906595531</c:v>
                </c:pt>
                <c:pt idx="2">
                  <c:v>0.84290020342788674</c:v>
                </c:pt>
                <c:pt idx="3">
                  <c:v>0.91791278604225957</c:v>
                </c:pt>
                <c:pt idx="4">
                  <c:v>0.95756940423953518</c:v>
                </c:pt>
                <c:pt idx="5">
                  <c:v>0.98578927484169121</c:v>
                </c:pt>
                <c:pt idx="6">
                  <c:v>0.99976747414600475</c:v>
                </c:pt>
                <c:pt idx="7">
                  <c:v>0.99996561540051832</c:v>
                </c:pt>
                <c:pt idx="8">
                  <c:v>0.99998452693023332</c:v>
                </c:pt>
                <c:pt idx="9">
                  <c:v>0.99999484231007785</c:v>
                </c:pt>
                <c:pt idx="1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pt idx="7">
                  <c:v>Toastinette Fromage Fondu Tranche A Chaud Sachet 1X200Gr 10P</c:v>
                </c:pt>
                <c:pt idx="8">
                  <c:v>La Vache Qui Rit Nature Fromage Fondu Boite Ronde 1X128Gr 8P</c:v>
                </c:pt>
                <c:pt idx="9">
                  <c:v>Toastinette Fromage Fondu Tranche A Chaud Sachet 1X340Gr 20P</c:v>
                </c:pt>
                <c:pt idx="10">
                  <c:v>Toastinette Cheddar Fondu Tranche A Chaud Sachet 1X340Gr 20P</c:v>
                </c:pt>
              </c:strCache>
            </c:strRef>
          </c:cat>
          <c:val>
            <c:numRef>
              <c:f>Sheet1!$D$2:$D$12</c:f>
              <c:numCache>
                <c:formatCode>General</c:formatCode>
                <c:ptCount val="11"/>
                <c:pt idx="0">
                  <c:v>8872.0612244897966</c:v>
                </c:pt>
                <c:pt idx="1">
                  <c:v>8935.823529411764</c:v>
                </c:pt>
                <c:pt idx="2">
                  <c:v>7117.838235294118</c:v>
                </c:pt>
                <c:pt idx="3">
                  <c:v>2128.3658536585367</c:v>
                </c:pt>
                <c:pt idx="4">
                  <c:v>1845.32</c:v>
                </c:pt>
                <c:pt idx="5">
                  <c:v>1563.2619047619048</c:v>
                </c:pt>
                <c:pt idx="6">
                  <c:v>985.5151515151515</c:v>
                </c:pt>
                <c:pt idx="7">
                  <c:v>139</c:v>
                </c:pt>
                <c:pt idx="8">
                  <c:v>11</c:v>
                </c:pt>
                <c:pt idx="9">
                  <c:v>24</c:v>
                </c:pt>
                <c:pt idx="10">
                  <c:v>1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5</c:f>
              <c:strCache>
                <c:ptCount val="24"/>
                <c:pt idx="0">
                  <c:v>Boursin Classique Fromage Frais A Tartiner Afh Boite 1X150Gr 1P</c:v>
                </c:pt>
                <c:pt idx="1">
                  <c:v>Boursin Classique Fromage Frais A Tartiner Afh 1X160Gr 10P</c:v>
                </c:pt>
                <c:pt idx="2">
                  <c:v>Boursin Aperitif Roules Fromage Frais Roule Afh Et Jambon Fume Boite 1X100Gr 20P</c:v>
                </c:pt>
                <c:pt idx="3">
                  <c:v>Boursin Classique Fromage Frais A Tartiner Afh Boite 1X250Gr 1P</c:v>
                </c:pt>
                <c:pt idx="4">
                  <c:v>Boursin Onctueux Fromage Frais A Tartiner Afh 1X125Gr 1P</c:v>
                </c:pt>
                <c:pt idx="5">
                  <c:v>Boursin Classique Fromage Frais A Tartiner Figue Et 3 Noix Boite 1X150Gr 1P</c:v>
                </c:pt>
                <c:pt idx="6">
                  <c:v>Boursin Classique Fromage Frais A Tartiner Afh Boite 1X96Gr 6P</c:v>
                </c:pt>
                <c:pt idx="7">
                  <c:v>Boursin Salade &amp; Aperitif Fromage Frais Des Afh 1X120Gr 1P</c:v>
                </c:pt>
                <c:pt idx="8">
                  <c:v>Boursin Classique Fromage Frais A Tartiner Ciboulette &amp; Echalote Boite 1X150Gr 1P</c:v>
                </c:pt>
                <c:pt idx="9">
                  <c:v>Boursin Cuisine Sauce Fromage Afh 1X240Gr 1P</c:v>
                </c:pt>
                <c:pt idx="10">
                  <c:v>Boursin Aperitif Roules Fromage Frais Roule Ciboulette &amp; Echalote Jambon Fume Boite 1X100Gr 20P</c:v>
                </c:pt>
                <c:pt idx="11">
                  <c:v>Boursin Classique Fromage Frais A Tartiner Poivre Boite 1X150Gr 1P</c:v>
                </c:pt>
                <c:pt idx="12">
                  <c:v>Boursin Classique Fromage Frais A Tartiner Afh 1X256Gr 16P</c:v>
                </c:pt>
                <c:pt idx="13">
                  <c:v>Boursin Aperitif Roules Fromage Frais Roule Basilic &amp; Jambon Fume Tomate Boite 1X100Gr 20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Classique Fromage Frais A Tartiner Afh Boite 1X80Gr 1P</c:v>
                </c:pt>
                <c:pt idx="18">
                  <c:v>Boursin Salade &amp; Aperitif Fromage Frais Des Citron Romarin 1X120Gr 1P</c:v>
                </c:pt>
                <c:pt idx="19">
                  <c:v>Boursin Salade &amp; Aperitif Fromage Frais Des Noisette Et 3 Noix 1X120Gr 1P</c:v>
                </c:pt>
                <c:pt idx="20">
                  <c:v>Boursin Classique Fromage Frais A Tartiner Truffe Boite 1X150Gr 1P</c:v>
                </c:pt>
                <c:pt idx="21">
                  <c:v>Boursin Salade &amp; Aperitif Soft Cheese Salade 120G</c:v>
                </c:pt>
                <c:pt idx="22">
                  <c:v>Boursin Aperitif Roules Fromage Frais Roule Jambon Fume &amp; Trio De Noix Boite 1X100Gr 20P</c:v>
                </c:pt>
                <c:pt idx="23">
                  <c:v>Boursin Aperitif Roules Aperitif 100G</c:v>
                </c:pt>
              </c:strCache>
            </c:strRef>
          </c:cat>
          <c:val>
            <c:numRef>
              <c:f>Sheet1!$B$2:$B$25</c:f>
              <c:numCache>
                <c:formatCode>General</c:formatCode>
                <c:ptCount val="24"/>
                <c:pt idx="0">
                  <c:v>0.98</c:v>
                </c:pt>
                <c:pt idx="1">
                  <c:v>0.9</c:v>
                </c:pt>
                <c:pt idx="2">
                  <c:v>0.85</c:v>
                </c:pt>
                <c:pt idx="3">
                  <c:v>0.89</c:v>
                </c:pt>
                <c:pt idx="4">
                  <c:v>0.81</c:v>
                </c:pt>
                <c:pt idx="5">
                  <c:v>0.89</c:v>
                </c:pt>
                <c:pt idx="6">
                  <c:v>0.74</c:v>
                </c:pt>
                <c:pt idx="7">
                  <c:v>0.85</c:v>
                </c:pt>
                <c:pt idx="8">
                  <c:v>0.83</c:v>
                </c:pt>
                <c:pt idx="9">
                  <c:v>0.73</c:v>
                </c:pt>
                <c:pt idx="10">
                  <c:v>0.56000000000000005</c:v>
                </c:pt>
                <c:pt idx="11">
                  <c:v>0.75</c:v>
                </c:pt>
                <c:pt idx="12">
                  <c:v>0.64</c:v>
                </c:pt>
                <c:pt idx="13">
                  <c:v>0.56999999999999995</c:v>
                </c:pt>
                <c:pt idx="14">
                  <c:v>0.46</c:v>
                </c:pt>
                <c:pt idx="15">
                  <c:v>0.43</c:v>
                </c:pt>
                <c:pt idx="16">
                  <c:v>0.47</c:v>
                </c:pt>
                <c:pt idx="17">
                  <c:v>0.12</c:v>
                </c:pt>
                <c:pt idx="18">
                  <c:v>0.28000000000000003</c:v>
                </c:pt>
                <c:pt idx="19">
                  <c:v>0.41</c:v>
                </c:pt>
                <c:pt idx="20">
                  <c:v>0.33</c:v>
                </c:pt>
                <c:pt idx="21">
                  <c:v>0.14000000000000001</c:v>
                </c:pt>
                <c:pt idx="22">
                  <c:v>0.18</c:v>
                </c:pt>
                <c:pt idx="23">
                  <c:v>0.1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AEABAB"/>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5</c:f>
              <c:strCache>
                <c:ptCount val="24"/>
                <c:pt idx="0">
                  <c:v>Boursin Classique Fromage Frais A Tartiner Afh Boite 1X150Gr 1P</c:v>
                </c:pt>
                <c:pt idx="1">
                  <c:v>Boursin Classique Fromage Frais A Tartiner Afh 1X160Gr 10P</c:v>
                </c:pt>
                <c:pt idx="2">
                  <c:v>Boursin Aperitif Roules Fromage Frais Roule Afh Et Jambon Fume Boite 1X100Gr 20P</c:v>
                </c:pt>
                <c:pt idx="3">
                  <c:v>Boursin Classique Fromage Frais A Tartiner Afh Boite 1X250Gr 1P</c:v>
                </c:pt>
                <c:pt idx="4">
                  <c:v>Boursin Onctueux Fromage Frais A Tartiner Afh 1X125Gr 1P</c:v>
                </c:pt>
                <c:pt idx="5">
                  <c:v>Boursin Classique Fromage Frais A Tartiner Figue Et 3 Noix Boite 1X150Gr 1P</c:v>
                </c:pt>
                <c:pt idx="6">
                  <c:v>Boursin Classique Fromage Frais A Tartiner Afh Boite 1X96Gr 6P</c:v>
                </c:pt>
                <c:pt idx="7">
                  <c:v>Boursin Salade &amp; Aperitif Fromage Frais Des Afh 1X120Gr 1P</c:v>
                </c:pt>
                <c:pt idx="8">
                  <c:v>Boursin Classique Fromage Frais A Tartiner Ciboulette &amp; Echalote Boite 1X150Gr 1P</c:v>
                </c:pt>
                <c:pt idx="9">
                  <c:v>Boursin Cuisine Sauce Fromage Afh 1X240Gr 1P</c:v>
                </c:pt>
                <c:pt idx="10">
                  <c:v>Boursin Aperitif Roules Fromage Frais Roule Ciboulette &amp; Echalote Jambon Fume Boite 1X100Gr 20P</c:v>
                </c:pt>
                <c:pt idx="11">
                  <c:v>Boursin Classique Fromage Frais A Tartiner Poivre Boite 1X150Gr 1P</c:v>
                </c:pt>
                <c:pt idx="12">
                  <c:v>Boursin Classique Fromage Frais A Tartiner Afh 1X256Gr 16P</c:v>
                </c:pt>
                <c:pt idx="13">
                  <c:v>Boursin Aperitif Roules Fromage Frais Roule Basilic &amp; Jambon Fume Tomate Boite 1X100Gr 20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Classique Fromage Frais A Tartiner Afh Boite 1X80Gr 1P</c:v>
                </c:pt>
                <c:pt idx="18">
                  <c:v>Boursin Salade &amp; Aperitif Fromage Frais Des Citron Romarin 1X120Gr 1P</c:v>
                </c:pt>
                <c:pt idx="19">
                  <c:v>Boursin Salade &amp; Aperitif Fromage Frais Des Noisette Et 3 Noix 1X120Gr 1P</c:v>
                </c:pt>
                <c:pt idx="20">
                  <c:v>Boursin Classique Fromage Frais A Tartiner Truffe Boite 1X150Gr 1P</c:v>
                </c:pt>
                <c:pt idx="21">
                  <c:v>Boursin Salade &amp; Aperitif Soft Cheese Salade 120G</c:v>
                </c:pt>
                <c:pt idx="22">
                  <c:v>Boursin Aperitif Roules Fromage Frais Roule Jambon Fume &amp; Trio De Noix Boite 1X100Gr 20P</c:v>
                </c:pt>
                <c:pt idx="23">
                  <c:v>Boursin Aperitif Roules Aperitif 100G</c:v>
                </c:pt>
              </c:strCache>
            </c:strRef>
          </c:cat>
          <c:val>
            <c:numRef>
              <c:f>Sheet1!$C$2:$C$25</c:f>
              <c:numCache>
                <c:formatCode>General</c:formatCode>
                <c:ptCount val="24"/>
                <c:pt idx="0">
                  <c:v>0.14664164243531316</c:v>
                </c:pt>
                <c:pt idx="1">
                  <c:v>0.28998662502665007</c:v>
                </c:pt>
                <c:pt idx="2">
                  <c:v>0.39172692062945941</c:v>
                </c:pt>
                <c:pt idx="3">
                  <c:v>0.48935729604592415</c:v>
                </c:pt>
                <c:pt idx="4">
                  <c:v>0.56747716858214281</c:v>
                </c:pt>
                <c:pt idx="5">
                  <c:v>0.63312052681333619</c:v>
                </c:pt>
                <c:pt idx="6">
                  <c:v>0.69316482198566787</c:v>
                </c:pt>
                <c:pt idx="7">
                  <c:v>0.74626032728531255</c:v>
                </c:pt>
                <c:pt idx="8">
                  <c:v>0.79672282579229703</c:v>
                </c:pt>
                <c:pt idx="9">
                  <c:v>0.84348183045947378</c:v>
                </c:pt>
                <c:pt idx="10">
                  <c:v>0.88318809468388637</c:v>
                </c:pt>
                <c:pt idx="11">
                  <c:v>0.91834091628962511</c:v>
                </c:pt>
                <c:pt idx="12">
                  <c:v>0.93937725047888609</c:v>
                </c:pt>
                <c:pt idx="13">
                  <c:v>0.95889753694219826</c:v>
                </c:pt>
                <c:pt idx="14">
                  <c:v>0.97307598705142784</c:v>
                </c:pt>
                <c:pt idx="15">
                  <c:v>0.98058325645747058</c:v>
                </c:pt>
                <c:pt idx="16">
                  <c:v>0.98619210309939831</c:v>
                </c:pt>
                <c:pt idx="17">
                  <c:v>0.98978471633112375</c:v>
                </c:pt>
                <c:pt idx="18">
                  <c:v>0.99284453193504196</c:v>
                </c:pt>
                <c:pt idx="19">
                  <c:v>0.99502912450383996</c:v>
                </c:pt>
                <c:pt idx="20">
                  <c:v>0.99672494556862812</c:v>
                </c:pt>
                <c:pt idx="21">
                  <c:v>0.99795645408707156</c:v>
                </c:pt>
                <c:pt idx="22">
                  <c:v>0.9990138963567976</c:v>
                </c:pt>
                <c:pt idx="23">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5</c:f>
              <c:strCache>
                <c:ptCount val="24"/>
                <c:pt idx="0">
                  <c:v>Boursin Classique Fromage Frais A Tartiner Afh Boite 1X150Gr 1P</c:v>
                </c:pt>
                <c:pt idx="1">
                  <c:v>Boursin Classique Fromage Frais A Tartiner Afh 1X160Gr 10P</c:v>
                </c:pt>
                <c:pt idx="2">
                  <c:v>Boursin Aperitif Roules Fromage Frais Roule Afh Et Jambon Fume Boite 1X100Gr 20P</c:v>
                </c:pt>
                <c:pt idx="3">
                  <c:v>Boursin Classique Fromage Frais A Tartiner Afh Boite 1X250Gr 1P</c:v>
                </c:pt>
                <c:pt idx="4">
                  <c:v>Boursin Onctueux Fromage Frais A Tartiner Afh 1X125Gr 1P</c:v>
                </c:pt>
                <c:pt idx="5">
                  <c:v>Boursin Classique Fromage Frais A Tartiner Figue Et 3 Noix Boite 1X150Gr 1P</c:v>
                </c:pt>
                <c:pt idx="6">
                  <c:v>Boursin Classique Fromage Frais A Tartiner Afh Boite 1X96Gr 6P</c:v>
                </c:pt>
                <c:pt idx="7">
                  <c:v>Boursin Salade &amp; Aperitif Fromage Frais Des Afh 1X120Gr 1P</c:v>
                </c:pt>
                <c:pt idx="8">
                  <c:v>Boursin Classique Fromage Frais A Tartiner Ciboulette &amp; Echalote Boite 1X150Gr 1P</c:v>
                </c:pt>
                <c:pt idx="9">
                  <c:v>Boursin Cuisine Sauce Fromage Afh 1X240Gr 1P</c:v>
                </c:pt>
                <c:pt idx="10">
                  <c:v>Boursin Aperitif Roules Fromage Frais Roule Ciboulette &amp; Echalote Jambon Fume Boite 1X100Gr 20P</c:v>
                </c:pt>
                <c:pt idx="11">
                  <c:v>Boursin Classique Fromage Frais A Tartiner Poivre Boite 1X150Gr 1P</c:v>
                </c:pt>
                <c:pt idx="12">
                  <c:v>Boursin Classique Fromage Frais A Tartiner Afh 1X256Gr 16P</c:v>
                </c:pt>
                <c:pt idx="13">
                  <c:v>Boursin Aperitif Roules Fromage Frais Roule Basilic &amp; Jambon Fume Tomate Boite 1X100Gr 20P</c:v>
                </c:pt>
                <c:pt idx="14">
                  <c:v>Boursin Classique Fromage Frais A Tartiner Ciboulette &amp; Echalote 1X160Gr 10P</c:v>
                </c:pt>
                <c:pt idx="15">
                  <c:v>Boursin Salade &amp; Aperitif Fromage Frais Des Ciboulette Echalote 1X120Gr 1P</c:v>
                </c:pt>
                <c:pt idx="16">
                  <c:v>Boursin Salade &amp; Aperitif Fromage Frais Des Figue Noix 1X120Gr 1P</c:v>
                </c:pt>
                <c:pt idx="17">
                  <c:v>Boursin Classique Fromage Frais A Tartiner Afh Boite 1X80Gr 1P</c:v>
                </c:pt>
                <c:pt idx="18">
                  <c:v>Boursin Salade &amp; Aperitif Fromage Frais Des Citron Romarin 1X120Gr 1P</c:v>
                </c:pt>
                <c:pt idx="19">
                  <c:v>Boursin Salade &amp; Aperitif Fromage Frais Des Noisette Et 3 Noix 1X120Gr 1P</c:v>
                </c:pt>
                <c:pt idx="20">
                  <c:v>Boursin Classique Fromage Frais A Tartiner Truffe Boite 1X150Gr 1P</c:v>
                </c:pt>
                <c:pt idx="21">
                  <c:v>Boursin Salade &amp; Aperitif Soft Cheese Salade 120G</c:v>
                </c:pt>
                <c:pt idx="22">
                  <c:v>Boursin Aperitif Roules Fromage Frais Roule Jambon Fume &amp; Trio De Noix Boite 1X100Gr 20P</c:v>
                </c:pt>
                <c:pt idx="23">
                  <c:v>Boursin Aperitif Roules Aperitif 100G</c:v>
                </c:pt>
              </c:strCache>
            </c:strRef>
          </c:cat>
          <c:val>
            <c:numRef>
              <c:f>Sheet1!$D$2:$D$25</c:f>
              <c:numCache>
                <c:formatCode>General</c:formatCode>
                <c:ptCount val="24"/>
                <c:pt idx="0">
                  <c:v>3670.6632653061224</c:v>
                </c:pt>
                <c:pt idx="1">
                  <c:v>3907.088888888889</c:v>
                </c:pt>
                <c:pt idx="2">
                  <c:v>2936.2117647058822</c:v>
                </c:pt>
                <c:pt idx="3">
                  <c:v>2690.9662921348313</c:v>
                </c:pt>
                <c:pt idx="4">
                  <c:v>2365.8641975308642</c:v>
                </c:pt>
                <c:pt idx="5">
                  <c:v>1809.314606741573</c:v>
                </c:pt>
                <c:pt idx="6">
                  <c:v>1990.4594594594594</c:v>
                </c:pt>
                <c:pt idx="7">
                  <c:v>1532.3294117647058</c:v>
                </c:pt>
                <c:pt idx="8">
                  <c:v>1491.433734939759</c:v>
                </c:pt>
                <c:pt idx="9">
                  <c:v>1571.2876712328766</c:v>
                </c:pt>
                <c:pt idx="10">
                  <c:v>1739.3392857142856</c:v>
                </c:pt>
                <c:pt idx="11">
                  <c:v>1149.7733333333333</c:v>
                </c:pt>
                <c:pt idx="12">
                  <c:v>806.3125</c:v>
                </c:pt>
                <c:pt idx="13">
                  <c:v>840.0877192982457</c:v>
                </c:pt>
                <c:pt idx="14">
                  <c:v>756.10869565217388</c:v>
                </c:pt>
                <c:pt idx="15">
                  <c:v>428.27906976744185</c:v>
                </c:pt>
                <c:pt idx="16">
                  <c:v>292.74468085106383</c:v>
                </c:pt>
                <c:pt idx="17">
                  <c:v>734.41666666666663</c:v>
                </c:pt>
                <c:pt idx="18">
                  <c:v>268.07142857142856</c:v>
                </c:pt>
                <c:pt idx="19">
                  <c:v>130.70731707317074</c:v>
                </c:pt>
                <c:pt idx="20">
                  <c:v>126.06060606060606</c:v>
                </c:pt>
                <c:pt idx="21">
                  <c:v>215.78571428571425</c:v>
                </c:pt>
                <c:pt idx="22">
                  <c:v>144.11111111111111</c:v>
                </c:pt>
                <c:pt idx="23">
                  <c:v>142.2941176470588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Delicieusement Fouette Fromage Frais A Tartiner 1X160Gr 10P</c:v>
                </c:pt>
                <c:pt idx="9">
                  <c:v>Kiri Bio Fromage Blanc Frais Carre 1X144Gr 8P</c:v>
                </c:pt>
                <c:pt idx="10">
                  <c:v>Kiri Chevre Fromage Blanc Frais Carre 1X144Gr 8P</c:v>
                </c:pt>
              </c:strCache>
            </c:strRef>
          </c:cat>
          <c:val>
            <c:numRef>
              <c:f>Sheet1!$B$2:$B$12</c:f>
              <c:numCache>
                <c:formatCode>General</c:formatCode>
                <c:ptCount val="11"/>
                <c:pt idx="0">
                  <c:v>0.77800000000000002</c:v>
                </c:pt>
                <c:pt idx="1">
                  <c:v>0.99</c:v>
                </c:pt>
                <c:pt idx="2">
                  <c:v>0.83399999999999996</c:v>
                </c:pt>
                <c:pt idx="3">
                  <c:v>0.94899999999999995</c:v>
                </c:pt>
                <c:pt idx="4">
                  <c:v>0.73199999999999998</c:v>
                </c:pt>
                <c:pt idx="5">
                  <c:v>0.71599999999999997</c:v>
                </c:pt>
                <c:pt idx="6">
                  <c:v>0.77400000000000002</c:v>
                </c:pt>
                <c:pt idx="7">
                  <c:v>0.64300000000000002</c:v>
                </c:pt>
                <c:pt idx="8">
                  <c:v>0.68899999999999995</c:v>
                </c:pt>
                <c:pt idx="9">
                  <c:v>0.502</c:v>
                </c:pt>
                <c:pt idx="10">
                  <c:v>0.26700000000000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Delicieusement Fouette Fromage Frais A Tartiner 1X160Gr 10P</c:v>
                </c:pt>
                <c:pt idx="9">
                  <c:v>Kiri Bio Fromage Blanc Frais Carre 1X144Gr 8P</c:v>
                </c:pt>
                <c:pt idx="10">
                  <c:v>Kiri Chevre Fromage Blanc Frais Carre 1X144Gr 8P</c:v>
                </c:pt>
              </c:strCache>
            </c:strRef>
          </c:cat>
          <c:val>
            <c:numRef>
              <c:f>Sheet1!$C$2:$C$12</c:f>
              <c:numCache>
                <c:formatCode>General</c:formatCode>
                <c:ptCount val="11"/>
                <c:pt idx="0">
                  <c:v>0.27754227696085271</c:v>
                </c:pt>
                <c:pt idx="1">
                  <c:v>0.48455081867256189</c:v>
                </c:pt>
                <c:pt idx="2">
                  <c:v>0.64122514226288319</c:v>
                </c:pt>
                <c:pt idx="3">
                  <c:v>0.78457851367966358</c:v>
                </c:pt>
                <c:pt idx="4">
                  <c:v>0.86533599732508037</c:v>
                </c:pt>
                <c:pt idx="5">
                  <c:v>0.91673708023974165</c:v>
                </c:pt>
                <c:pt idx="6">
                  <c:v>0.94825420869658283</c:v>
                </c:pt>
                <c:pt idx="7">
                  <c:v>0.96916917652211976</c:v>
                </c:pt>
                <c:pt idx="8">
                  <c:v>0.98612168526068555</c:v>
                </c:pt>
                <c:pt idx="9">
                  <c:v>0.99925145905002388</c:v>
                </c:pt>
                <c:pt idx="10">
                  <c:v>0.9999979839051641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Delicieusement Fouette Fromage Frais A Tartiner 1X160Gr 10P</c:v>
                </c:pt>
                <c:pt idx="9">
                  <c:v>Kiri Bio Fromage Blanc Frais Carre 1X144Gr 8P</c:v>
                </c:pt>
                <c:pt idx="10">
                  <c:v>Kiri Chevre Fromage Blanc Frais Carre 1X144Gr 8P</c:v>
                </c:pt>
              </c:strCache>
            </c:strRef>
          </c:cat>
          <c:val>
            <c:numRef>
              <c:f>Sheet1!$D$2:$D$12</c:f>
              <c:numCache>
                <c:formatCode>General</c:formatCode>
                <c:ptCount val="11"/>
                <c:pt idx="0">
                  <c:v>81394.755784061694</c:v>
                </c:pt>
                <c:pt idx="1">
                  <c:v>47708.959595959597</c:v>
                </c:pt>
                <c:pt idx="2">
                  <c:v>42862.613908872903</c:v>
                </c:pt>
                <c:pt idx="3">
                  <c:v>34465.816649104323</c:v>
                </c:pt>
                <c:pt idx="4">
                  <c:v>25172.049180327867</c:v>
                </c:pt>
                <c:pt idx="5">
                  <c:v>16379.706703910615</c:v>
                </c:pt>
                <c:pt idx="6">
                  <c:v>9290.7881136950891</c:v>
                </c:pt>
                <c:pt idx="7">
                  <c:v>7421.5241057542771</c:v>
                </c:pt>
                <c:pt idx="8">
                  <c:v>5613.8606676342533</c:v>
                </c:pt>
                <c:pt idx="9">
                  <c:v>5967.6095617529882</c:v>
                </c:pt>
                <c:pt idx="10">
                  <c:v>637.9400749063669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La Vache Qui Rit Pik Et Croq' Fromage Fondu Dips Boite 1X35Gr 1P</c:v>
                </c:pt>
              </c:strCache>
            </c:strRef>
          </c:cat>
          <c:val>
            <c:numRef>
              <c:f>Sheet1!$B$2:$B$12</c:f>
              <c:numCache>
                <c:formatCode>General</c:formatCode>
                <c:ptCount val="11"/>
                <c:pt idx="0">
                  <c:v>0.82699999999999996</c:v>
                </c:pt>
                <c:pt idx="1">
                  <c:v>0.89800000000000002</c:v>
                </c:pt>
                <c:pt idx="2">
                  <c:v>0.98099999999999998</c:v>
                </c:pt>
                <c:pt idx="3">
                  <c:v>0.90800000000000003</c:v>
                </c:pt>
                <c:pt idx="4">
                  <c:v>0.69399999999999995</c:v>
                </c:pt>
                <c:pt idx="5">
                  <c:v>0.72499999999999998</c:v>
                </c:pt>
                <c:pt idx="6">
                  <c:v>0.434</c:v>
                </c:pt>
                <c:pt idx="7">
                  <c:v>0.495</c:v>
                </c:pt>
                <c:pt idx="8">
                  <c:v>0.48199999999999998</c:v>
                </c:pt>
                <c:pt idx="9">
                  <c:v>3.6999999999999998E-2</c:v>
                </c:pt>
                <c:pt idx="10">
                  <c:v>8.0000000000000002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La Vache Qui Rit Pik Et Croq' Fromage Fondu Dips Boite 1X35Gr 1P</c:v>
                </c:pt>
              </c:strCache>
            </c:strRef>
          </c:cat>
          <c:val>
            <c:numRef>
              <c:f>Sheet1!$C$2:$C$12</c:f>
              <c:numCache>
                <c:formatCode>General</c:formatCode>
                <c:ptCount val="11"/>
                <c:pt idx="0">
                  <c:v>0.38846210045638119</c:v>
                </c:pt>
                <c:pt idx="1">
                  <c:v>0.60309528026228354</c:v>
                </c:pt>
                <c:pt idx="2">
                  <c:v>0.81165485354853684</c:v>
                </c:pt>
                <c:pt idx="3">
                  <c:v>0.87001737669876056</c:v>
                </c:pt>
                <c:pt idx="4">
                  <c:v>0.92030375876793991</c:v>
                </c:pt>
                <c:pt idx="5">
                  <c:v>0.96638210725162077</c:v>
                </c:pt>
                <c:pt idx="6">
                  <c:v>0.98091940407218114</c:v>
                </c:pt>
                <c:pt idx="7">
                  <c:v>0.99289939461188415</c:v>
                </c:pt>
                <c:pt idx="8">
                  <c:v>0.99808959371267014</c:v>
                </c:pt>
                <c:pt idx="9">
                  <c:v>0.99907573055719245</c:v>
                </c:pt>
                <c:pt idx="10">
                  <c:v>0.9998473828021355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La Vache Qui Rit Pik Et Croq' Fromage Fondu Dips Boite 1X35Gr 1P</c:v>
                </c:pt>
              </c:strCache>
            </c:strRef>
          </c:cat>
          <c:val>
            <c:numRef>
              <c:f>Sheet1!$D$2:$D$12</c:f>
              <c:numCache>
                <c:formatCode>General</c:formatCode>
                <c:ptCount val="11"/>
                <c:pt idx="0">
                  <c:v>143117.46070133013</c:v>
                </c:pt>
                <c:pt idx="1">
                  <c:v>72823.240534521159</c:v>
                </c:pt>
                <c:pt idx="2">
                  <c:v>64775.474006116208</c:v>
                </c:pt>
                <c:pt idx="3">
                  <c:v>19583.832599118945</c:v>
                </c:pt>
                <c:pt idx="4">
                  <c:v>22077.017291066284</c:v>
                </c:pt>
                <c:pt idx="5">
                  <c:v>19364.593103448275</c:v>
                </c:pt>
                <c:pt idx="6">
                  <c:v>10205.714285714286</c:v>
                </c:pt>
                <c:pt idx="7">
                  <c:v>7373.9595959595963</c:v>
                </c:pt>
                <c:pt idx="8">
                  <c:v>3280.8506224066391</c:v>
                </c:pt>
                <c:pt idx="9">
                  <c:v>8120.5405405405409</c:v>
                </c:pt>
                <c:pt idx="10">
                  <c:v>29388.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4</c:f>
              <c:strCache>
                <c:ptCount val="23"/>
                <c:pt idx="0">
                  <c:v>Boursin Classique Fromage Frais A Tartiner Afh Boite 1X150Gr 1P</c:v>
                </c:pt>
                <c:pt idx="1">
                  <c:v>Boursin Classique Fromage Frais A Tartiner Afh 1X160Gr 10P</c:v>
                </c:pt>
                <c:pt idx="2">
                  <c:v>Boursin Classique Fromage Frais A Tartiner Afh Boite 1X250Gr 1P</c:v>
                </c:pt>
                <c:pt idx="3">
                  <c:v>Boursin Salade &amp; Aperitif Fromage Frais Des Afh 1X120Gr 1P</c:v>
                </c:pt>
                <c:pt idx="4">
                  <c:v>Boursin Classique Fromage Frais A Tartiner Afh Boite 1X96Gr 6P</c:v>
                </c:pt>
                <c:pt idx="5">
                  <c:v>Boursin Classique Fromage Frais A Tartiner Ciboulette &amp; Echalote Boite 1X150Gr 1P</c:v>
                </c:pt>
                <c:pt idx="6">
                  <c:v>Boursin Onctueux Fromage Frais A Tartiner Afh 1X125Gr 1P</c:v>
                </c:pt>
                <c:pt idx="7">
                  <c:v>Boursin Salade &amp; Aperitif Fromage Frais Des Ciboulette Echalote 1X120Gr 1P</c:v>
                </c:pt>
                <c:pt idx="8">
                  <c:v>Boursin Classique Fromage Frais A Tartiner Figue Et 3 Noix Boite 1X150Gr 1P</c:v>
                </c:pt>
                <c:pt idx="9">
                  <c:v>Boursin Salade &amp; Aperitif Fromage Frais Des Figue Noix 1X120Gr 1P</c:v>
                </c:pt>
                <c:pt idx="10">
                  <c:v>Boursin Salade &amp; Aperitif Fromage Frais Des Citron Romarin 1X120Gr 1P</c:v>
                </c:pt>
                <c:pt idx="11">
                  <c:v>Boursin Classique Fromage Frais A Tartiner Afh Boite 1X80Gr 1P</c:v>
                </c:pt>
                <c:pt idx="12">
                  <c:v>Boursin Salade &amp; Aperitif Fromage Frais Des Noisette Et 3 Noix 1X120Gr 1P</c:v>
                </c:pt>
                <c:pt idx="13">
                  <c:v>Boursin Classique Fromage Frais A Tartiner Afh 1X256Gr 16P</c:v>
                </c:pt>
                <c:pt idx="14">
                  <c:v>Boursin Salade &amp; Aperitif Soft Cheese Salade 120G</c:v>
                </c:pt>
                <c:pt idx="15">
                  <c:v>Boursin Classique Fromage Frais A Tartiner 3 Noix Boite 1X150Gr 1P</c:v>
                </c:pt>
                <c:pt idx="16">
                  <c:v>Boursin Classique Fromage Frais A Tartiner Poivre Boite 1X150Gr 1P</c:v>
                </c:pt>
                <c:pt idx="17">
                  <c:v>Boursin Onctueux Fromage Frais A Tartiner Afh 1X210Gr 1P</c:v>
                </c:pt>
                <c:pt idx="18">
                  <c:v>Boursin Classique Fromage Frais A Tartiner Truffe Boite 1X150Gr 1P</c:v>
                </c:pt>
                <c:pt idx="19">
                  <c:v>Boursin Classique Fromage Frais A Tartiner Afh Boite 1X320Gr 16+4P</c:v>
                </c:pt>
                <c:pt idx="20">
                  <c:v>Boursin Classique Fromage Frais A Tartiner 3 Noix 1X160Gr 10P</c:v>
                </c:pt>
                <c:pt idx="21">
                  <c:v>Boursin Classique Fromage Frais A Tartiner Citron &amp; Romarin Boite 1X150Gr 1P</c:v>
                </c:pt>
                <c:pt idx="22">
                  <c:v>Boursin Classique Fromage Frais A Tartiner Ciboulette &amp; Echalote 1X160Gr 10P</c:v>
                </c:pt>
              </c:strCache>
            </c:strRef>
          </c:cat>
          <c:val>
            <c:numRef>
              <c:f>Sheet1!$B$2:$B$24</c:f>
              <c:numCache>
                <c:formatCode>General</c:formatCode>
                <c:ptCount val="23"/>
                <c:pt idx="0">
                  <c:v>0.96799999999999997</c:v>
                </c:pt>
                <c:pt idx="1">
                  <c:v>0.91500000000000004</c:v>
                </c:pt>
                <c:pt idx="2">
                  <c:v>0.81699999999999995</c:v>
                </c:pt>
                <c:pt idx="3">
                  <c:v>0.96199999999999997</c:v>
                </c:pt>
                <c:pt idx="4">
                  <c:v>0.82099999999999995</c:v>
                </c:pt>
                <c:pt idx="5">
                  <c:v>0.79300000000000004</c:v>
                </c:pt>
                <c:pt idx="6">
                  <c:v>0.77400000000000002</c:v>
                </c:pt>
                <c:pt idx="7">
                  <c:v>0.81699999999999995</c:v>
                </c:pt>
                <c:pt idx="8">
                  <c:v>0.69399999999999995</c:v>
                </c:pt>
                <c:pt idx="9">
                  <c:v>0.80100000000000005</c:v>
                </c:pt>
                <c:pt idx="10">
                  <c:v>0.70699999999999996</c:v>
                </c:pt>
                <c:pt idx="11">
                  <c:v>0.44700000000000001</c:v>
                </c:pt>
                <c:pt idx="12">
                  <c:v>0.73799999999999999</c:v>
                </c:pt>
                <c:pt idx="13">
                  <c:v>0.26500000000000001</c:v>
                </c:pt>
                <c:pt idx="14">
                  <c:v>0.69799999999999995</c:v>
                </c:pt>
                <c:pt idx="15">
                  <c:v>0.53700000000000003</c:v>
                </c:pt>
                <c:pt idx="16">
                  <c:v>0.40200000000000002</c:v>
                </c:pt>
                <c:pt idx="17">
                  <c:v>0.28100000000000003</c:v>
                </c:pt>
                <c:pt idx="18">
                  <c:v>0.51100000000000001</c:v>
                </c:pt>
                <c:pt idx="19">
                  <c:v>0.52800000000000002</c:v>
                </c:pt>
                <c:pt idx="20">
                  <c:v>0.379</c:v>
                </c:pt>
                <c:pt idx="21">
                  <c:v>0.32400000000000001</c:v>
                </c:pt>
                <c:pt idx="22">
                  <c:v>7.499999999999999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4</c:f>
              <c:strCache>
                <c:ptCount val="23"/>
                <c:pt idx="0">
                  <c:v>Boursin Classique Fromage Frais A Tartiner Afh Boite 1X150Gr 1P</c:v>
                </c:pt>
                <c:pt idx="1">
                  <c:v>Boursin Classique Fromage Frais A Tartiner Afh 1X160Gr 10P</c:v>
                </c:pt>
                <c:pt idx="2">
                  <c:v>Boursin Classique Fromage Frais A Tartiner Afh Boite 1X250Gr 1P</c:v>
                </c:pt>
                <c:pt idx="3">
                  <c:v>Boursin Salade &amp; Aperitif Fromage Frais Des Afh 1X120Gr 1P</c:v>
                </c:pt>
                <c:pt idx="4">
                  <c:v>Boursin Classique Fromage Frais A Tartiner Afh Boite 1X96Gr 6P</c:v>
                </c:pt>
                <c:pt idx="5">
                  <c:v>Boursin Classique Fromage Frais A Tartiner Ciboulette &amp; Echalote Boite 1X150Gr 1P</c:v>
                </c:pt>
                <c:pt idx="6">
                  <c:v>Boursin Onctueux Fromage Frais A Tartiner Afh 1X125Gr 1P</c:v>
                </c:pt>
                <c:pt idx="7">
                  <c:v>Boursin Salade &amp; Aperitif Fromage Frais Des Ciboulette Echalote 1X120Gr 1P</c:v>
                </c:pt>
                <c:pt idx="8">
                  <c:v>Boursin Classique Fromage Frais A Tartiner Figue Et 3 Noix Boite 1X150Gr 1P</c:v>
                </c:pt>
                <c:pt idx="9">
                  <c:v>Boursin Salade &amp; Aperitif Fromage Frais Des Figue Noix 1X120Gr 1P</c:v>
                </c:pt>
                <c:pt idx="10">
                  <c:v>Boursin Salade &amp; Aperitif Fromage Frais Des Citron Romarin 1X120Gr 1P</c:v>
                </c:pt>
                <c:pt idx="11">
                  <c:v>Boursin Classique Fromage Frais A Tartiner Afh Boite 1X80Gr 1P</c:v>
                </c:pt>
                <c:pt idx="12">
                  <c:v>Boursin Salade &amp; Aperitif Fromage Frais Des Noisette Et 3 Noix 1X120Gr 1P</c:v>
                </c:pt>
                <c:pt idx="13">
                  <c:v>Boursin Classique Fromage Frais A Tartiner Afh 1X256Gr 16P</c:v>
                </c:pt>
                <c:pt idx="14">
                  <c:v>Boursin Salade &amp; Aperitif Soft Cheese Salade 120G</c:v>
                </c:pt>
                <c:pt idx="15">
                  <c:v>Boursin Classique Fromage Frais A Tartiner 3 Noix Boite 1X150Gr 1P</c:v>
                </c:pt>
                <c:pt idx="16">
                  <c:v>Boursin Classique Fromage Frais A Tartiner Poivre Boite 1X150Gr 1P</c:v>
                </c:pt>
                <c:pt idx="17">
                  <c:v>Boursin Onctueux Fromage Frais A Tartiner Afh 1X210Gr 1P</c:v>
                </c:pt>
                <c:pt idx="18">
                  <c:v>Boursin Classique Fromage Frais A Tartiner Truffe Boite 1X150Gr 1P</c:v>
                </c:pt>
                <c:pt idx="19">
                  <c:v>Boursin Classique Fromage Frais A Tartiner Afh Boite 1X320Gr 16+4P</c:v>
                </c:pt>
                <c:pt idx="20">
                  <c:v>Boursin Classique Fromage Frais A Tartiner 3 Noix 1X160Gr 10P</c:v>
                </c:pt>
                <c:pt idx="21">
                  <c:v>Boursin Classique Fromage Frais A Tartiner Citron &amp; Romarin Boite 1X150Gr 1P</c:v>
                </c:pt>
                <c:pt idx="22">
                  <c:v>Boursin Classique Fromage Frais A Tartiner Ciboulette &amp; Echalote 1X160Gr 10P</c:v>
                </c:pt>
              </c:strCache>
            </c:strRef>
          </c:cat>
          <c:val>
            <c:numRef>
              <c:f>Sheet1!$C$2:$C$24</c:f>
              <c:numCache>
                <c:formatCode>General</c:formatCode>
                <c:ptCount val="23"/>
                <c:pt idx="0">
                  <c:v>0.22061930231786744</c:v>
                </c:pt>
                <c:pt idx="1">
                  <c:v>0.43568863763369658</c:v>
                </c:pt>
                <c:pt idx="2">
                  <c:v>0.5726775319225339</c:v>
                </c:pt>
                <c:pt idx="3">
                  <c:v>0.70210295714575133</c:v>
                </c:pt>
                <c:pt idx="4">
                  <c:v>0.76533954081455469</c:v>
                </c:pt>
                <c:pt idx="5">
                  <c:v>0.81007896077614372</c:v>
                </c:pt>
                <c:pt idx="6">
                  <c:v>0.84859125284955106</c:v>
                </c:pt>
                <c:pt idx="7">
                  <c:v>0.8773970745637093</c:v>
                </c:pt>
                <c:pt idx="8">
                  <c:v>0.90613688088089595</c:v>
                </c:pt>
                <c:pt idx="9">
                  <c:v>0.92808748721316814</c:v>
                </c:pt>
                <c:pt idx="10">
                  <c:v>0.93921215264914859</c:v>
                </c:pt>
                <c:pt idx="11">
                  <c:v>0.94840289800452404</c:v>
                </c:pt>
                <c:pt idx="12">
                  <c:v>0.95679736914687019</c:v>
                </c:pt>
                <c:pt idx="13">
                  <c:v>0.96498847132293109</c:v>
                </c:pt>
                <c:pt idx="14">
                  <c:v>0.97279944944327346</c:v>
                </c:pt>
                <c:pt idx="15">
                  <c:v>0.97901203706702877</c:v>
                </c:pt>
                <c:pt idx="16">
                  <c:v>0.98466294206541993</c:v>
                </c:pt>
                <c:pt idx="17">
                  <c:v>0.98878231581882758</c:v>
                </c:pt>
                <c:pt idx="18">
                  <c:v>0.99195637764883537</c:v>
                </c:pt>
                <c:pt idx="19">
                  <c:v>0.99508363800272071</c:v>
                </c:pt>
                <c:pt idx="20">
                  <c:v>0.99804680108665111</c:v>
                </c:pt>
                <c:pt idx="21">
                  <c:v>0.99910382638093409</c:v>
                </c:pt>
                <c:pt idx="2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4</c:f>
              <c:strCache>
                <c:ptCount val="23"/>
                <c:pt idx="0">
                  <c:v>Boursin Classique Fromage Frais A Tartiner Afh Boite 1X150Gr 1P</c:v>
                </c:pt>
                <c:pt idx="1">
                  <c:v>Boursin Classique Fromage Frais A Tartiner Afh 1X160Gr 10P</c:v>
                </c:pt>
                <c:pt idx="2">
                  <c:v>Boursin Classique Fromage Frais A Tartiner Afh Boite 1X250Gr 1P</c:v>
                </c:pt>
                <c:pt idx="3">
                  <c:v>Boursin Salade &amp; Aperitif Fromage Frais Des Afh 1X120Gr 1P</c:v>
                </c:pt>
                <c:pt idx="4">
                  <c:v>Boursin Classique Fromage Frais A Tartiner Afh Boite 1X96Gr 6P</c:v>
                </c:pt>
                <c:pt idx="5">
                  <c:v>Boursin Classique Fromage Frais A Tartiner Ciboulette &amp; Echalote Boite 1X150Gr 1P</c:v>
                </c:pt>
                <c:pt idx="6">
                  <c:v>Boursin Onctueux Fromage Frais A Tartiner Afh 1X125Gr 1P</c:v>
                </c:pt>
                <c:pt idx="7">
                  <c:v>Boursin Salade &amp; Aperitif Fromage Frais Des Ciboulette Echalote 1X120Gr 1P</c:v>
                </c:pt>
                <c:pt idx="8">
                  <c:v>Boursin Classique Fromage Frais A Tartiner Figue Et 3 Noix Boite 1X150Gr 1P</c:v>
                </c:pt>
                <c:pt idx="9">
                  <c:v>Boursin Salade &amp; Aperitif Fromage Frais Des Figue Noix 1X120Gr 1P</c:v>
                </c:pt>
                <c:pt idx="10">
                  <c:v>Boursin Salade &amp; Aperitif Fromage Frais Des Citron Romarin 1X120Gr 1P</c:v>
                </c:pt>
                <c:pt idx="11">
                  <c:v>Boursin Classique Fromage Frais A Tartiner Afh Boite 1X80Gr 1P</c:v>
                </c:pt>
                <c:pt idx="12">
                  <c:v>Boursin Salade &amp; Aperitif Fromage Frais Des Noisette Et 3 Noix 1X120Gr 1P</c:v>
                </c:pt>
                <c:pt idx="13">
                  <c:v>Boursin Classique Fromage Frais A Tartiner Afh 1X256Gr 16P</c:v>
                </c:pt>
                <c:pt idx="14">
                  <c:v>Boursin Salade &amp; Aperitif Soft Cheese Salade 120G</c:v>
                </c:pt>
                <c:pt idx="15">
                  <c:v>Boursin Classique Fromage Frais A Tartiner 3 Noix Boite 1X150Gr 1P</c:v>
                </c:pt>
                <c:pt idx="16">
                  <c:v>Boursin Classique Fromage Frais A Tartiner Poivre Boite 1X150Gr 1P</c:v>
                </c:pt>
                <c:pt idx="17">
                  <c:v>Boursin Onctueux Fromage Frais A Tartiner Afh 1X210Gr 1P</c:v>
                </c:pt>
                <c:pt idx="18">
                  <c:v>Boursin Classique Fromage Frais A Tartiner Truffe Boite 1X150Gr 1P</c:v>
                </c:pt>
                <c:pt idx="19">
                  <c:v>Boursin Classique Fromage Frais A Tartiner Afh Boite 1X320Gr 16+4P</c:v>
                </c:pt>
                <c:pt idx="20">
                  <c:v>Boursin Classique Fromage Frais A Tartiner 3 Noix 1X160Gr 10P</c:v>
                </c:pt>
                <c:pt idx="21">
                  <c:v>Boursin Classique Fromage Frais A Tartiner Citron &amp; Romarin Boite 1X150Gr 1P</c:v>
                </c:pt>
                <c:pt idx="22">
                  <c:v>Boursin Classique Fromage Frais A Tartiner Ciboulette &amp; Echalote 1X160Gr 10P</c:v>
                </c:pt>
              </c:strCache>
            </c:strRef>
          </c:cat>
          <c:val>
            <c:numRef>
              <c:f>Sheet1!$D$2:$D$24</c:f>
              <c:numCache>
                <c:formatCode>General</c:formatCode>
                <c:ptCount val="23"/>
                <c:pt idx="0">
                  <c:v>35111.053719008269</c:v>
                </c:pt>
                <c:pt idx="1">
                  <c:v>36210.382513661199</c:v>
                </c:pt>
                <c:pt idx="2">
                  <c:v>25830.86903304774</c:v>
                </c:pt>
                <c:pt idx="3">
                  <c:v>20726.226611226612</c:v>
                </c:pt>
                <c:pt idx="4">
                  <c:v>11865.907429963459</c:v>
                </c:pt>
                <c:pt idx="5">
                  <c:v>8691.4627994955863</c:v>
                </c:pt>
                <c:pt idx="6">
                  <c:v>7665.3875968992243</c:v>
                </c:pt>
                <c:pt idx="7">
                  <c:v>5431.6768665850677</c:v>
                </c:pt>
                <c:pt idx="8">
                  <c:v>6379.6974063400585</c:v>
                </c:pt>
                <c:pt idx="9">
                  <c:v>4221.7228464419468</c:v>
                </c:pt>
                <c:pt idx="10">
                  <c:v>2424.0594059405939</c:v>
                </c:pt>
                <c:pt idx="11">
                  <c:v>3167.5167785234898</c:v>
                </c:pt>
                <c:pt idx="12">
                  <c:v>1752.3170731707319</c:v>
                </c:pt>
                <c:pt idx="13">
                  <c:v>4761.8113207547167</c:v>
                </c:pt>
                <c:pt idx="14">
                  <c:v>1723.9541547277938</c:v>
                </c:pt>
                <c:pt idx="15">
                  <c:v>1782.2718808193667</c:v>
                </c:pt>
                <c:pt idx="16">
                  <c:v>2165.5472636815921</c:v>
                </c:pt>
                <c:pt idx="17">
                  <c:v>2258.3985765124553</c:v>
                </c:pt>
                <c:pt idx="18">
                  <c:v>956.90802348336592</c:v>
                </c:pt>
                <c:pt idx="19">
                  <c:v>912.44318181818176</c:v>
                </c:pt>
                <c:pt idx="20">
                  <c:v>1204.4591029023748</c:v>
                </c:pt>
                <c:pt idx="21">
                  <c:v>502.59259259259261</c:v>
                </c:pt>
                <c:pt idx="22">
                  <c:v>1840.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Creme Fromage Blanc Frais Carre 1X432Gr 18+6P</c:v>
                </c:pt>
                <c:pt idx="9">
                  <c:v>Kiri Delicieusement Fouette Fromage Frais A Tartiner 1X160Gr 10P</c:v>
                </c:pt>
                <c:pt idx="10">
                  <c:v>Kiri Delicieusement Fouette Fromage Frais A Tartiner 1X210Gr 1P</c:v>
                </c:pt>
              </c:strCache>
            </c:strRef>
          </c:cat>
          <c:val>
            <c:numRef>
              <c:f>Sheet1!$B$2:$B$12</c:f>
              <c:numCache>
                <c:formatCode>General</c:formatCode>
                <c:ptCount val="11"/>
                <c:pt idx="0">
                  <c:v>0.97499999999999998</c:v>
                </c:pt>
                <c:pt idx="1">
                  <c:v>0.86099999999999999</c:v>
                </c:pt>
                <c:pt idx="2">
                  <c:v>0.93200000000000005</c:v>
                </c:pt>
                <c:pt idx="3">
                  <c:v>0.98299999999999998</c:v>
                </c:pt>
                <c:pt idx="4">
                  <c:v>0.98099999999999998</c:v>
                </c:pt>
                <c:pt idx="5">
                  <c:v>0.83699999999999997</c:v>
                </c:pt>
                <c:pt idx="6">
                  <c:v>0.60299999999999998</c:v>
                </c:pt>
                <c:pt idx="7">
                  <c:v>0.67200000000000004</c:v>
                </c:pt>
                <c:pt idx="8">
                  <c:v>0.81699999999999995</c:v>
                </c:pt>
                <c:pt idx="9">
                  <c:v>0.89500000000000002</c:v>
                </c:pt>
                <c:pt idx="10">
                  <c:v>0.37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Creme Fromage Blanc Frais Carre 1X432Gr 18+6P</c:v>
                </c:pt>
                <c:pt idx="9">
                  <c:v>Kiri Delicieusement Fouette Fromage Frais A Tartiner 1X160Gr 10P</c:v>
                </c:pt>
                <c:pt idx="10">
                  <c:v>Kiri Delicieusement Fouette Fromage Frais A Tartiner 1X210Gr 1P</c:v>
                </c:pt>
              </c:strCache>
            </c:strRef>
          </c:cat>
          <c:val>
            <c:numRef>
              <c:f>Sheet1!$C$2:$C$12</c:f>
              <c:numCache>
                <c:formatCode>General</c:formatCode>
                <c:ptCount val="11"/>
                <c:pt idx="0">
                  <c:v>0.25920069238372667</c:v>
                </c:pt>
                <c:pt idx="1">
                  <c:v>0.47626050228402095</c:v>
                </c:pt>
                <c:pt idx="2">
                  <c:v>0.62622558018562058</c:v>
                </c:pt>
                <c:pt idx="3">
                  <c:v>0.77360369601559009</c:v>
                </c:pt>
                <c:pt idx="4">
                  <c:v>0.89101566880978411</c:v>
                </c:pt>
                <c:pt idx="5">
                  <c:v>0.92089431037533132</c:v>
                </c:pt>
                <c:pt idx="6">
                  <c:v>0.94575420482355776</c:v>
                </c:pt>
                <c:pt idx="7">
                  <c:v>0.96725886847749942</c:v>
                </c:pt>
                <c:pt idx="8">
                  <c:v>0.98320500850275916</c:v>
                </c:pt>
                <c:pt idx="9">
                  <c:v>0.99895887785556403</c:v>
                </c:pt>
                <c:pt idx="1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Creme Fromage Blanc Frais Carre 1X432Gr 18+6P</c:v>
                </c:pt>
                <c:pt idx="9">
                  <c:v>Kiri Delicieusement Fouette Fromage Frais A Tartiner 1X160Gr 10P</c:v>
                </c:pt>
                <c:pt idx="10">
                  <c:v>Kiri Delicieusement Fouette Fromage Frais A Tartiner 1X210Gr 1P</c:v>
                </c:pt>
              </c:strCache>
            </c:strRef>
          </c:cat>
          <c:val>
            <c:numRef>
              <c:f>Sheet1!$D$2:$D$12</c:f>
              <c:numCache>
                <c:formatCode>General</c:formatCode>
                <c:ptCount val="11"/>
                <c:pt idx="0">
                  <c:v>45724.892307692309</c:v>
                </c:pt>
                <c:pt idx="1">
                  <c:v>43360.813008130084</c:v>
                </c:pt>
                <c:pt idx="2">
                  <c:v>27675.493562231757</c:v>
                </c:pt>
                <c:pt idx="3">
                  <c:v>25786.988809766022</c:v>
                </c:pt>
                <c:pt idx="4">
                  <c:v>20585.647298674823</c:v>
                </c:pt>
                <c:pt idx="5">
                  <c:v>6139.8327359617679</c:v>
                </c:pt>
                <c:pt idx="6">
                  <c:v>7090.9286898839136</c:v>
                </c:pt>
                <c:pt idx="7">
                  <c:v>5504.0773809523807</c:v>
                </c:pt>
                <c:pt idx="8">
                  <c:v>3357.0257037943702</c:v>
                </c:pt>
                <c:pt idx="9">
                  <c:v>3027.5083798882683</c:v>
                </c:pt>
                <c:pt idx="10">
                  <c:v>481.3709677419354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0.94699999999999995</c:v>
                </c:pt>
                <c:pt idx="1">
                  <c:v>0.998</c:v>
                </c:pt>
                <c:pt idx="2">
                  <c:v>0.94099999999999995</c:v>
                </c:pt>
                <c:pt idx="3">
                  <c:v>0.95499999999999996</c:v>
                </c:pt>
                <c:pt idx="4">
                  <c:v>0.84799999999999998</c:v>
                </c:pt>
                <c:pt idx="5">
                  <c:v>0.84099999999999997</c:v>
                </c:pt>
                <c:pt idx="6">
                  <c:v>0.67900000000000005</c:v>
                </c:pt>
                <c:pt idx="7">
                  <c:v>0.23100000000000001</c:v>
                </c:pt>
                <c:pt idx="8">
                  <c:v>0.1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C$2:$C$10</c:f>
              <c:numCache>
                <c:formatCode>General</c:formatCode>
                <c:ptCount val="9"/>
                <c:pt idx="0">
                  <c:v>0.33309427990982143</c:v>
                </c:pt>
                <c:pt idx="1">
                  <c:v>0.6062099420748005</c:v>
                </c:pt>
                <c:pt idx="2">
                  <c:v>0.82408231902243134</c:v>
                </c:pt>
                <c:pt idx="3">
                  <c:v>0.88446661975149032</c:v>
                </c:pt>
                <c:pt idx="4">
                  <c:v>0.9398858590464646</c:v>
                </c:pt>
                <c:pt idx="5">
                  <c:v>0.97830316430954412</c:v>
                </c:pt>
                <c:pt idx="6">
                  <c:v>0.9985931653566682</c:v>
                </c:pt>
                <c:pt idx="7">
                  <c:v>0.99995025939151017</c:v>
                </c:pt>
                <c:pt idx="8">
                  <c:v>0.99999716274603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D$2:$D$10</c:f>
              <c:numCache>
                <c:formatCode>General</c:formatCode>
                <c:ptCount val="9"/>
                <c:pt idx="0">
                  <c:v>79341.235480464631</c:v>
                </c:pt>
                <c:pt idx="1">
                  <c:v>61730.220440881763</c:v>
                </c:pt>
                <c:pt idx="2">
                  <c:v>52226.907545164722</c:v>
                </c:pt>
                <c:pt idx="3">
                  <c:v>14262.722513089006</c:v>
                </c:pt>
                <c:pt idx="4">
                  <c:v>14741.662735849057</c:v>
                </c:pt>
                <c:pt idx="5">
                  <c:v>10304.161712247325</c:v>
                </c:pt>
                <c:pt idx="6">
                  <c:v>6740.5301914580259</c:v>
                </c:pt>
                <c:pt idx="7">
                  <c:v>1325.1948051948052</c:v>
                </c:pt>
                <c:pt idx="8">
                  <c:v>94.46428571428570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9</c:f>
              <c:strCache>
                <c:ptCount val="18"/>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Salade &amp; Aperitif Fromage Frais Des Afh 1X120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Afh 1X256Gr 16P</c:v>
                </c:pt>
                <c:pt idx="9">
                  <c:v>Boursin Classique Fromage Frais A Tartiner Poivre Boite 1X150Gr 1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Salade &amp; Aperitif Fromage Frais Des Citron Romarin 1X120Gr 1P</c:v>
                </c:pt>
                <c:pt idx="14">
                  <c:v>Boursin Classique Fromage Frais A Tartiner Afh Boite 1X80Gr 1P</c:v>
                </c:pt>
                <c:pt idx="15">
                  <c:v>Boursin Salade &amp; Aperitif Fromage Frais Des Noisette Et 3 Noix 1X120Gr 1P</c:v>
                </c:pt>
                <c:pt idx="16">
                  <c:v>Boursin Salade &amp; Aperitif Soft Cheese Salade 120G</c:v>
                </c:pt>
                <c:pt idx="17">
                  <c:v>Boursin Classique Fromage Frais A Tartiner Truffe Boite 1X150Gr 1P</c:v>
                </c:pt>
              </c:strCache>
            </c:strRef>
          </c:cat>
          <c:val>
            <c:numRef>
              <c:f>Sheet1!$B$2:$B$19</c:f>
              <c:numCache>
                <c:formatCode>General</c:formatCode>
                <c:ptCount val="18"/>
                <c:pt idx="0">
                  <c:v>0.98</c:v>
                </c:pt>
                <c:pt idx="1">
                  <c:v>0.98099999999999998</c:v>
                </c:pt>
                <c:pt idx="2">
                  <c:v>0.998</c:v>
                </c:pt>
                <c:pt idx="3">
                  <c:v>0.95399999999999996</c:v>
                </c:pt>
                <c:pt idx="4">
                  <c:v>0.96799999999999997</c:v>
                </c:pt>
                <c:pt idx="5">
                  <c:v>0.93899999999999995</c:v>
                </c:pt>
                <c:pt idx="6">
                  <c:v>0.98</c:v>
                </c:pt>
                <c:pt idx="7">
                  <c:v>0.97299999999999998</c:v>
                </c:pt>
                <c:pt idx="8">
                  <c:v>0.86</c:v>
                </c:pt>
                <c:pt idx="9">
                  <c:v>0.94</c:v>
                </c:pt>
                <c:pt idx="10">
                  <c:v>0.80800000000000005</c:v>
                </c:pt>
                <c:pt idx="11">
                  <c:v>0.82299999999999995</c:v>
                </c:pt>
                <c:pt idx="12">
                  <c:v>0.84499999999999997</c:v>
                </c:pt>
                <c:pt idx="13">
                  <c:v>0.66</c:v>
                </c:pt>
                <c:pt idx="14">
                  <c:v>0.32500000000000001</c:v>
                </c:pt>
                <c:pt idx="15">
                  <c:v>0.80300000000000005</c:v>
                </c:pt>
                <c:pt idx="16">
                  <c:v>0.41399999999999998</c:v>
                </c:pt>
                <c:pt idx="17">
                  <c:v>0.68700000000000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9</c:f>
              <c:strCache>
                <c:ptCount val="18"/>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Salade &amp; Aperitif Fromage Frais Des Afh 1X120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Afh 1X256Gr 16P</c:v>
                </c:pt>
                <c:pt idx="9">
                  <c:v>Boursin Classique Fromage Frais A Tartiner Poivre Boite 1X150Gr 1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Salade &amp; Aperitif Fromage Frais Des Citron Romarin 1X120Gr 1P</c:v>
                </c:pt>
                <c:pt idx="14">
                  <c:v>Boursin Classique Fromage Frais A Tartiner Afh Boite 1X80Gr 1P</c:v>
                </c:pt>
                <c:pt idx="15">
                  <c:v>Boursin Salade &amp; Aperitif Fromage Frais Des Noisette Et 3 Noix 1X120Gr 1P</c:v>
                </c:pt>
                <c:pt idx="16">
                  <c:v>Boursin Salade &amp; Aperitif Soft Cheese Salade 120G</c:v>
                </c:pt>
                <c:pt idx="17">
                  <c:v>Boursin Classique Fromage Frais A Tartiner Truffe Boite 1X150Gr 1P</c:v>
                </c:pt>
              </c:strCache>
            </c:strRef>
          </c:cat>
          <c:val>
            <c:numRef>
              <c:f>Sheet1!$C$2:$C$19</c:f>
              <c:numCache>
                <c:formatCode>General</c:formatCode>
                <c:ptCount val="18"/>
                <c:pt idx="0">
                  <c:v>0.17264740401783538</c:v>
                </c:pt>
                <c:pt idx="1">
                  <c:v>0.34354134157271032</c:v>
                </c:pt>
                <c:pt idx="2">
                  <c:v>0.49864604392323375</c:v>
                </c:pt>
                <c:pt idx="3">
                  <c:v>0.57393777257107115</c:v>
                </c:pt>
                <c:pt idx="4">
                  <c:v>0.64312065643992644</c:v>
                </c:pt>
                <c:pt idx="5">
                  <c:v>0.71108975776368355</c:v>
                </c:pt>
                <c:pt idx="6">
                  <c:v>0.77502565840109028</c:v>
                </c:pt>
                <c:pt idx="7">
                  <c:v>0.82819686464400799</c:v>
                </c:pt>
                <c:pt idx="8">
                  <c:v>0.874487733771797</c:v>
                </c:pt>
                <c:pt idx="9">
                  <c:v>0.91749151776103066</c:v>
                </c:pt>
                <c:pt idx="10">
                  <c:v>0.94719666226253874</c:v>
                </c:pt>
                <c:pt idx="11">
                  <c:v>0.96457071270551875</c:v>
                </c:pt>
                <c:pt idx="12">
                  <c:v>0.9763311138030617</c:v>
                </c:pt>
                <c:pt idx="13">
                  <c:v>0.98307266962927486</c:v>
                </c:pt>
                <c:pt idx="14">
                  <c:v>0.9886893565952628</c:v>
                </c:pt>
                <c:pt idx="15">
                  <c:v>0.99427009838473268</c:v>
                </c:pt>
                <c:pt idx="16">
                  <c:v>0.99718165768269296</c:v>
                </c:pt>
                <c:pt idx="1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9</c:f>
              <c:strCache>
                <c:ptCount val="18"/>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Salade &amp; Aperitif Fromage Frais Des Afh 1X120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Afh 1X256Gr 16P</c:v>
                </c:pt>
                <c:pt idx="9">
                  <c:v>Boursin Classique Fromage Frais A Tartiner Poivre Boite 1X150Gr 1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Salade &amp; Aperitif Fromage Frais Des Citron Romarin 1X120Gr 1P</c:v>
                </c:pt>
                <c:pt idx="14">
                  <c:v>Boursin Classique Fromage Frais A Tartiner Afh Boite 1X80Gr 1P</c:v>
                </c:pt>
                <c:pt idx="15">
                  <c:v>Boursin Salade &amp; Aperitif Fromage Frais Des Noisette Et 3 Noix 1X120Gr 1P</c:v>
                </c:pt>
                <c:pt idx="16">
                  <c:v>Boursin Salade &amp; Aperitif Soft Cheese Salade 120G</c:v>
                </c:pt>
                <c:pt idx="17">
                  <c:v>Boursin Classique Fromage Frais A Tartiner Truffe Boite 1X150Gr 1P</c:v>
                </c:pt>
              </c:strCache>
            </c:strRef>
          </c:cat>
          <c:val>
            <c:numRef>
              <c:f>Sheet1!$D$2:$D$19</c:f>
              <c:numCache>
                <c:formatCode>General</c:formatCode>
                <c:ptCount val="18"/>
                <c:pt idx="0">
                  <c:v>27838.234693877552</c:v>
                </c:pt>
                <c:pt idx="1">
                  <c:v>27527.410805300715</c:v>
                </c:pt>
                <c:pt idx="2">
                  <c:v>24558.517034068136</c:v>
                </c:pt>
                <c:pt idx="3">
                  <c:v>12471.153039832287</c:v>
                </c:pt>
                <c:pt idx="4">
                  <c:v>11293.564049586777</c:v>
                </c:pt>
                <c:pt idx="5">
                  <c:v>11438.093716719915</c:v>
                </c:pt>
                <c:pt idx="6">
                  <c:v>10309.234693877552</c:v>
                </c:pt>
                <c:pt idx="7">
                  <c:v>8635.1798561151081</c:v>
                </c:pt>
                <c:pt idx="8">
                  <c:v>8505.5930232558148</c:v>
                </c:pt>
                <c:pt idx="9">
                  <c:v>7229.1382978723404</c:v>
                </c:pt>
                <c:pt idx="10">
                  <c:v>5809.3564356435636</c:v>
                </c:pt>
                <c:pt idx="11">
                  <c:v>3335.8687727825031</c:v>
                </c:pt>
                <c:pt idx="12">
                  <c:v>2199.2426035502958</c:v>
                </c:pt>
                <c:pt idx="13">
                  <c:v>1614.0757575757575</c:v>
                </c:pt>
                <c:pt idx="14">
                  <c:v>2730.8923076923079</c:v>
                </c:pt>
                <c:pt idx="15">
                  <c:v>1098.2067247820671</c:v>
                </c:pt>
                <c:pt idx="16">
                  <c:v>1111.304347826087</c:v>
                </c:pt>
                <c:pt idx="17">
                  <c:v>648.2532751091703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432Gr 24P</c:v>
                </c:pt>
                <c:pt idx="1">
                  <c:v>Kiri Creme Fromage Blanc Frais Carre 1X216Gr 12P</c:v>
                </c:pt>
                <c:pt idx="2">
                  <c:v>Kiri Gouter Fromage Blanc Dips Boite 1X175Gr 5P</c:v>
                </c:pt>
                <c:pt idx="3">
                  <c:v>Kiri Creme Fromage Blanc Frais Carre 1X144Gr 8P</c:v>
                </c:pt>
                <c:pt idx="4">
                  <c:v>Kiri Gouter Fromage Blanc Dips Boite 1X280Gr 8P</c:v>
                </c:pt>
                <c:pt idx="5">
                  <c:v>Kiri Creme Fromage Blanc Frais Carre 1X432Gr 18+6P</c:v>
                </c:pt>
                <c:pt idx="6">
                  <c:v>Kiri Delicieusement Fouette Fromage Frais A Tartiner 1X210Gr 1P</c:v>
                </c:pt>
                <c:pt idx="7">
                  <c:v>Kiri Delicieusement Fouette Fromage Frais A Tartiner 1X125Gr 1P</c:v>
                </c:pt>
                <c:pt idx="8">
                  <c:v>Kiri Bio Fromage Blanc Frais Carre 1X144Gr 8P</c:v>
                </c:pt>
                <c:pt idx="9">
                  <c:v>Kiri Delicieusement Fouette Fromage Frais A Tartiner 1X160Gr 10P</c:v>
                </c:pt>
                <c:pt idx="10">
                  <c:v>Kiri Chevre Fromage Blanc Frais Carre 1X144Gr 8P</c:v>
                </c:pt>
              </c:strCache>
            </c:strRef>
          </c:cat>
          <c:val>
            <c:numRef>
              <c:f>Sheet1!$B$2:$B$12</c:f>
              <c:numCache>
                <c:formatCode>General</c:formatCode>
                <c:ptCount val="11"/>
                <c:pt idx="0">
                  <c:v>0.99</c:v>
                </c:pt>
                <c:pt idx="1">
                  <c:v>1</c:v>
                </c:pt>
                <c:pt idx="2">
                  <c:v>1</c:v>
                </c:pt>
                <c:pt idx="3">
                  <c:v>1</c:v>
                </c:pt>
                <c:pt idx="4">
                  <c:v>0.99</c:v>
                </c:pt>
                <c:pt idx="5">
                  <c:v>0.98</c:v>
                </c:pt>
                <c:pt idx="6">
                  <c:v>0.96</c:v>
                </c:pt>
                <c:pt idx="7">
                  <c:v>0.98</c:v>
                </c:pt>
                <c:pt idx="8">
                  <c:v>0.75</c:v>
                </c:pt>
                <c:pt idx="9">
                  <c:v>0.89</c:v>
                </c:pt>
                <c:pt idx="10">
                  <c:v>0.56000000000000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432Gr 24P</c:v>
                </c:pt>
                <c:pt idx="1">
                  <c:v>Kiri Creme Fromage Blanc Frais Carre 1X216Gr 12P</c:v>
                </c:pt>
                <c:pt idx="2">
                  <c:v>Kiri Gouter Fromage Blanc Dips Boite 1X175Gr 5P</c:v>
                </c:pt>
                <c:pt idx="3">
                  <c:v>Kiri Creme Fromage Blanc Frais Carre 1X144Gr 8P</c:v>
                </c:pt>
                <c:pt idx="4">
                  <c:v>Kiri Gouter Fromage Blanc Dips Boite 1X280Gr 8P</c:v>
                </c:pt>
                <c:pt idx="5">
                  <c:v>Kiri Creme Fromage Blanc Frais Carre 1X432Gr 18+6P</c:v>
                </c:pt>
                <c:pt idx="6">
                  <c:v>Kiri Delicieusement Fouette Fromage Frais A Tartiner 1X210Gr 1P</c:v>
                </c:pt>
                <c:pt idx="7">
                  <c:v>Kiri Delicieusement Fouette Fromage Frais A Tartiner 1X125Gr 1P</c:v>
                </c:pt>
                <c:pt idx="8">
                  <c:v>Kiri Bio Fromage Blanc Frais Carre 1X144Gr 8P</c:v>
                </c:pt>
                <c:pt idx="9">
                  <c:v>Kiri Delicieusement Fouette Fromage Frais A Tartiner 1X160Gr 10P</c:v>
                </c:pt>
                <c:pt idx="10">
                  <c:v>Kiri Chevre Fromage Blanc Frais Carre 1X144Gr 8P</c:v>
                </c:pt>
              </c:strCache>
            </c:strRef>
          </c:cat>
          <c:val>
            <c:numRef>
              <c:f>Sheet1!$C$2:$C$12</c:f>
              <c:numCache>
                <c:formatCode>General</c:formatCode>
                <c:ptCount val="11"/>
                <c:pt idx="0">
                  <c:v>0.38031066252989243</c:v>
                </c:pt>
                <c:pt idx="1">
                  <c:v>0.5442684836115993</c:v>
                </c:pt>
                <c:pt idx="2">
                  <c:v>0.66991381533156824</c:v>
                </c:pt>
                <c:pt idx="3">
                  <c:v>0.76929793369139676</c:v>
                </c:pt>
                <c:pt idx="4">
                  <c:v>0.86210444624580984</c:v>
                </c:pt>
                <c:pt idx="5">
                  <c:v>0.93013522600303</c:v>
                </c:pt>
                <c:pt idx="6">
                  <c:v>0.95789085185303768</c:v>
                </c:pt>
                <c:pt idx="7">
                  <c:v>0.97627654931013497</c:v>
                </c:pt>
                <c:pt idx="8">
                  <c:v>0.98822957411561274</c:v>
                </c:pt>
                <c:pt idx="9">
                  <c:v>0.99874860333312543</c:v>
                </c:pt>
                <c:pt idx="1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432Gr 24P</c:v>
                </c:pt>
                <c:pt idx="1">
                  <c:v>Kiri Creme Fromage Blanc Frais Carre 1X216Gr 12P</c:v>
                </c:pt>
                <c:pt idx="2">
                  <c:v>Kiri Gouter Fromage Blanc Dips Boite 1X175Gr 5P</c:v>
                </c:pt>
                <c:pt idx="3">
                  <c:v>Kiri Creme Fromage Blanc Frais Carre 1X144Gr 8P</c:v>
                </c:pt>
                <c:pt idx="4">
                  <c:v>Kiri Gouter Fromage Blanc Dips Boite 1X280Gr 8P</c:v>
                </c:pt>
                <c:pt idx="5">
                  <c:v>Kiri Creme Fromage Blanc Frais Carre 1X432Gr 18+6P</c:v>
                </c:pt>
                <c:pt idx="6">
                  <c:v>Kiri Delicieusement Fouette Fromage Frais A Tartiner 1X210Gr 1P</c:v>
                </c:pt>
                <c:pt idx="7">
                  <c:v>Kiri Delicieusement Fouette Fromage Frais A Tartiner 1X125Gr 1P</c:v>
                </c:pt>
                <c:pt idx="8">
                  <c:v>Kiri Bio Fromage Blanc Frais Carre 1X144Gr 8P</c:v>
                </c:pt>
                <c:pt idx="9">
                  <c:v>Kiri Delicieusement Fouette Fromage Frais A Tartiner 1X160Gr 10P</c:v>
                </c:pt>
                <c:pt idx="10">
                  <c:v>Kiri Chevre Fromage Blanc Frais Carre 1X144Gr 8P</c:v>
                </c:pt>
              </c:strCache>
            </c:strRef>
          </c:cat>
          <c:val>
            <c:numRef>
              <c:f>Sheet1!$D$2:$D$12</c:f>
              <c:numCache>
                <c:formatCode>General</c:formatCode>
                <c:ptCount val="11"/>
                <c:pt idx="0">
                  <c:v>45589.414141414141</c:v>
                </c:pt>
                <c:pt idx="1">
                  <c:v>19457.759999999998</c:v>
                </c:pt>
                <c:pt idx="2">
                  <c:v>14911.01</c:v>
                </c:pt>
                <c:pt idx="3">
                  <c:v>11794.45</c:v>
                </c:pt>
                <c:pt idx="4">
                  <c:v>11125.101010101011</c:v>
                </c:pt>
                <c:pt idx="5">
                  <c:v>8238.3469387755104</c:v>
                </c:pt>
                <c:pt idx="6">
                  <c:v>3431.15625</c:v>
                </c:pt>
                <c:pt idx="7">
                  <c:v>2226.4591836734694</c:v>
                </c:pt>
                <c:pt idx="8">
                  <c:v>1891.3733333333332</c:v>
                </c:pt>
                <c:pt idx="9">
                  <c:v>1402.6404494382023</c:v>
                </c:pt>
                <c:pt idx="10">
                  <c:v>265.1964285714285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Soignon</c:v>
                </c:pt>
                <c:pt idx="4">
                  <c:v>St Moret</c:v>
                </c:pt>
                <c:pt idx="5">
                  <c:v>Galbani</c:v>
                </c:pt>
                <c:pt idx="6">
                  <c:v>La Vache Qui Rit</c:v>
                </c:pt>
                <c:pt idx="7">
                  <c:v>Boursin</c:v>
                </c:pt>
                <c:pt idx="8">
                  <c:v>Kiri</c:v>
                </c:pt>
                <c:pt idx="9">
                  <c:v>Others</c:v>
                </c:pt>
              </c:strCache>
            </c:strRef>
          </c:cat>
          <c:val>
            <c:numRef>
              <c:f>Sheet1!$B$2:$B$11</c:f>
              <c:numCache>
                <c:formatCode>General</c:formatCode>
                <c:ptCount val="10"/>
                <c:pt idx="0">
                  <c:v>0.45163828698558034</c:v>
                </c:pt>
                <c:pt idx="1">
                  <c:v>7.6402480341270659E-2</c:v>
                </c:pt>
                <c:pt idx="2">
                  <c:v>4.7164779826045486E-2</c:v>
                </c:pt>
                <c:pt idx="3">
                  <c:v>2.5749440128144351E-2</c:v>
                </c:pt>
                <c:pt idx="4">
                  <c:v>2.3391433368182411E-2</c:v>
                </c:pt>
                <c:pt idx="5">
                  <c:v>2.3329721717380271E-2</c:v>
                </c:pt>
                <c:pt idx="6">
                  <c:v>1.6027818439834314E-2</c:v>
                </c:pt>
                <c:pt idx="7">
                  <c:v>1.4769164363982384E-2</c:v>
                </c:pt>
                <c:pt idx="8">
                  <c:v>1.2220627012028602E-2</c:v>
                </c:pt>
                <c:pt idx="9">
                  <c:v>0.3093062478175512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Soignon</c:v>
                </c:pt>
                <c:pt idx="4">
                  <c:v>St Moret</c:v>
                </c:pt>
                <c:pt idx="5">
                  <c:v>Galbani</c:v>
                </c:pt>
                <c:pt idx="6">
                  <c:v>La Vache Qui Rit</c:v>
                </c:pt>
                <c:pt idx="7">
                  <c:v>Boursin</c:v>
                </c:pt>
                <c:pt idx="8">
                  <c:v>Kiri</c:v>
                </c:pt>
                <c:pt idx="9">
                  <c:v>Others</c:v>
                </c:pt>
              </c:strCache>
            </c:strRef>
          </c:cat>
          <c:val>
            <c:numRef>
              <c:f>Sheet1!$C$2:$C$11</c:f>
              <c:numCache>
                <c:formatCode>General</c:formatCode>
                <c:ptCount val="10"/>
                <c:pt idx="0">
                  <c:v>0.28928219063134047</c:v>
                </c:pt>
                <c:pt idx="1">
                  <c:v>5.6126077992402004E-2</c:v>
                </c:pt>
                <c:pt idx="2">
                  <c:v>5.1015959695949589E-2</c:v>
                </c:pt>
                <c:pt idx="3">
                  <c:v>2.8179401535985523E-2</c:v>
                </c:pt>
                <c:pt idx="4">
                  <c:v>1.9155568521146839E-2</c:v>
                </c:pt>
                <c:pt idx="5">
                  <c:v>2.9606891284609655E-2</c:v>
                </c:pt>
                <c:pt idx="6">
                  <c:v>1.3607861518744199E-2</c:v>
                </c:pt>
                <c:pt idx="7">
                  <c:v>3.2733929677692161E-2</c:v>
                </c:pt>
                <c:pt idx="8">
                  <c:v>1.7955887125058592E-2</c:v>
                </c:pt>
                <c:pt idx="9">
                  <c:v>0.4623362320170709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Soignon</c:v>
                </c:pt>
                <c:pt idx="4">
                  <c:v>St Moret</c:v>
                </c:pt>
                <c:pt idx="5">
                  <c:v>Galbani</c:v>
                </c:pt>
                <c:pt idx="6">
                  <c:v>La Vache Qui Rit</c:v>
                </c:pt>
                <c:pt idx="7">
                  <c:v>Boursin</c:v>
                </c:pt>
                <c:pt idx="8">
                  <c:v>Kiri</c:v>
                </c:pt>
                <c:pt idx="9">
                  <c:v>Others</c:v>
                </c:pt>
              </c:strCache>
            </c:strRef>
          </c:cat>
          <c:val>
            <c:numRef>
              <c:f>Sheet1!$D$2:$D$11</c:f>
              <c:numCache>
                <c:formatCode>General</c:formatCode>
                <c:ptCount val="10"/>
                <c:pt idx="0">
                  <c:v>64.051742061579588</c:v>
                </c:pt>
                <c:pt idx="1">
                  <c:v>73.461067941382183</c:v>
                </c:pt>
                <c:pt idx="2">
                  <c:v>108.16537230558086</c:v>
                </c:pt>
                <c:pt idx="3">
                  <c:v>109.43694851518424</c:v>
                </c:pt>
                <c:pt idx="4">
                  <c:v>81.891383993606411</c:v>
                </c:pt>
                <c:pt idx="5">
                  <c:v>126.90631994359794</c:v>
                </c:pt>
                <c:pt idx="6">
                  <c:v>84.901520252589464</c:v>
                </c:pt>
                <c:pt idx="7">
                  <c:v>221.63697871438495</c:v>
                </c:pt>
                <c:pt idx="8">
                  <c:v>146.93098077033895</c:v>
                </c:pt>
                <c:pt idx="9">
                  <c:v>149.4752321620695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pericube</c:v>
                </c:pt>
                <c:pt idx="1">
                  <c:v>Aperivrais</c:v>
                </c:pt>
                <c:pt idx="2">
                  <c:v>Boursin</c:v>
                </c:pt>
                <c:pt idx="3">
                  <c:v>Private Label</c:v>
                </c:pt>
                <c:pt idx="4">
                  <c:v>St Moret</c:v>
                </c:pt>
                <c:pt idx="5">
                  <c:v>O'Tapas Apero</c:v>
                </c:pt>
                <c:pt idx="6">
                  <c:v>Entremont</c:v>
                </c:pt>
                <c:pt idx="7">
                  <c:v>Others</c:v>
                </c:pt>
              </c:strCache>
            </c:strRef>
          </c:cat>
          <c:val>
            <c:numRef>
              <c:f>Sheet1!$B$2:$B$9</c:f>
              <c:numCache>
                <c:formatCode>General</c:formatCode>
                <c:ptCount val="8"/>
                <c:pt idx="0">
                  <c:v>0.62517171083041978</c:v>
                </c:pt>
                <c:pt idx="1">
                  <c:v>0.14050312056819525</c:v>
                </c:pt>
                <c:pt idx="2">
                  <c:v>9.2714937960417618E-2</c:v>
                </c:pt>
                <c:pt idx="3">
                  <c:v>5.4851109795502957E-2</c:v>
                </c:pt>
                <c:pt idx="4">
                  <c:v>2.8432867748155566E-2</c:v>
                </c:pt>
                <c:pt idx="5">
                  <c:v>1.0639035290239697E-2</c:v>
                </c:pt>
                <c:pt idx="6">
                  <c:v>1.0342470391749571E-2</c:v>
                </c:pt>
                <c:pt idx="7">
                  <c:v>3.73447474153195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pericube</c:v>
                </c:pt>
                <c:pt idx="1">
                  <c:v>Aperivrais</c:v>
                </c:pt>
                <c:pt idx="2">
                  <c:v>Boursin</c:v>
                </c:pt>
                <c:pt idx="3">
                  <c:v>Private Label</c:v>
                </c:pt>
                <c:pt idx="4">
                  <c:v>St Moret</c:v>
                </c:pt>
                <c:pt idx="5">
                  <c:v>O'Tapas Apero</c:v>
                </c:pt>
                <c:pt idx="6">
                  <c:v>Entremont</c:v>
                </c:pt>
                <c:pt idx="7">
                  <c:v>Others</c:v>
                </c:pt>
              </c:strCache>
            </c:strRef>
          </c:cat>
          <c:val>
            <c:numRef>
              <c:f>Sheet1!$C$2:$C$9</c:f>
              <c:numCache>
                <c:formatCode>General</c:formatCode>
                <c:ptCount val="8"/>
                <c:pt idx="0">
                  <c:v>0.42372881355932213</c:v>
                </c:pt>
                <c:pt idx="1">
                  <c:v>0.19612590799031482</c:v>
                </c:pt>
                <c:pt idx="2">
                  <c:v>8.9588377723970949E-2</c:v>
                </c:pt>
                <c:pt idx="3">
                  <c:v>3.9432722241438949E-2</c:v>
                </c:pt>
                <c:pt idx="4">
                  <c:v>5.2576962988585274E-2</c:v>
                </c:pt>
                <c:pt idx="5">
                  <c:v>4.8426150121065388E-2</c:v>
                </c:pt>
                <c:pt idx="6">
                  <c:v>4.8080249048772061E-2</c:v>
                </c:pt>
                <c:pt idx="7">
                  <c:v>0.1020408163265306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pericube</c:v>
                </c:pt>
                <c:pt idx="1">
                  <c:v>Aperivrais</c:v>
                </c:pt>
                <c:pt idx="2">
                  <c:v>Boursin</c:v>
                </c:pt>
                <c:pt idx="3">
                  <c:v>Private Label</c:v>
                </c:pt>
                <c:pt idx="4">
                  <c:v>St Moret</c:v>
                </c:pt>
                <c:pt idx="5">
                  <c:v>O'Tapas Apero</c:v>
                </c:pt>
                <c:pt idx="6">
                  <c:v>Entremont</c:v>
                </c:pt>
                <c:pt idx="7">
                  <c:v>Others</c:v>
                </c:pt>
              </c:strCache>
            </c:strRef>
          </c:cat>
          <c:val>
            <c:numRef>
              <c:f>Sheet1!$D$2:$D$9</c:f>
              <c:numCache>
                <c:formatCode>General</c:formatCode>
                <c:ptCount val="8"/>
                <c:pt idx="0">
                  <c:v>67.777989025843837</c:v>
                </c:pt>
                <c:pt idx="1">
                  <c:v>139.588293268634</c:v>
                </c:pt>
                <c:pt idx="2">
                  <c:v>96.627770772190473</c:v>
                </c:pt>
                <c:pt idx="3">
                  <c:v>71.890472933825478</c:v>
                </c:pt>
                <c:pt idx="4">
                  <c:v>184.91614512572664</c:v>
                </c:pt>
                <c:pt idx="5">
                  <c:v>455.17425969525436</c:v>
                </c:pt>
                <c:pt idx="6">
                  <c:v>464.88166973266647</c:v>
                </c:pt>
                <c:pt idx="7">
                  <c:v>273.2400762862611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Nature Fromage Fondu Boite Ronde 1X128Gr 8P</c:v>
                </c:pt>
                <c:pt idx="5">
                  <c:v>La Vache Qui Rit Pik Et Croq' Fromage Fondu Dips Boite 1X175Gr 5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strCache>
            </c:strRef>
          </c:cat>
          <c:val>
            <c:numRef>
              <c:f>Sheet1!$B$2:$B$11</c:f>
              <c:numCache>
                <c:formatCode>General</c:formatCode>
                <c:ptCount val="10"/>
                <c:pt idx="0">
                  <c:v>0.99</c:v>
                </c:pt>
                <c:pt idx="1">
                  <c:v>1</c:v>
                </c:pt>
                <c:pt idx="2">
                  <c:v>1</c:v>
                </c:pt>
                <c:pt idx="3">
                  <c:v>0.94</c:v>
                </c:pt>
                <c:pt idx="4">
                  <c:v>0.94</c:v>
                </c:pt>
                <c:pt idx="5">
                  <c:v>1</c:v>
                </c:pt>
                <c:pt idx="6">
                  <c:v>0.95</c:v>
                </c:pt>
                <c:pt idx="7">
                  <c:v>0.86</c:v>
                </c:pt>
                <c:pt idx="8">
                  <c:v>0.82</c:v>
                </c:pt>
                <c:pt idx="9">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Nature Fromage Fondu Boite Ronde 1X128Gr 8P</c:v>
                </c:pt>
                <c:pt idx="5">
                  <c:v>La Vache Qui Rit Pik Et Croq' Fromage Fondu Dips Boite 1X175Gr 5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strCache>
            </c:strRef>
          </c:cat>
          <c:val>
            <c:numRef>
              <c:f>Sheet1!$C$2:$C$11</c:f>
              <c:numCache>
                <c:formatCode>General</c:formatCode>
                <c:ptCount val="10"/>
                <c:pt idx="0">
                  <c:v>0.51068741014417895</c:v>
                </c:pt>
                <c:pt idx="1">
                  <c:v>0.69310671599516038</c:v>
                </c:pt>
                <c:pt idx="2">
                  <c:v>0.79739729086260591</c:v>
                </c:pt>
                <c:pt idx="3">
                  <c:v>0.85520730406060896</c:v>
                </c:pt>
                <c:pt idx="4">
                  <c:v>0.90341492083695929</c:v>
                </c:pt>
                <c:pt idx="5">
                  <c:v>0.94863456617934305</c:v>
                </c:pt>
                <c:pt idx="6">
                  <c:v>0.97626151578215414</c:v>
                </c:pt>
                <c:pt idx="7">
                  <c:v>0.9930048585835477</c:v>
                </c:pt>
                <c:pt idx="8">
                  <c:v>0.99812383043813191</c:v>
                </c:pt>
                <c:pt idx="9">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1</c:f>
              <c:strCache>
                <c:ptCount val="10"/>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Nature Fromage Fondu Boite Ronde 1X128Gr 8P</c:v>
                </c:pt>
                <c:pt idx="5">
                  <c:v>La Vache Qui Rit Pik Et Croq' Fromage Fondu Dips Boite 1X175Gr 5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strCache>
            </c:strRef>
          </c:cat>
          <c:val>
            <c:numRef>
              <c:f>Sheet1!$D$2:$D$11</c:f>
              <c:numCache>
                <c:formatCode>General</c:formatCode>
                <c:ptCount val="10"/>
                <c:pt idx="0">
                  <c:v>82610.363636363632</c:v>
                </c:pt>
                <c:pt idx="1">
                  <c:v>29213.62</c:v>
                </c:pt>
                <c:pt idx="2">
                  <c:v>16701.66</c:v>
                </c:pt>
                <c:pt idx="3">
                  <c:v>9848.9468085106382</c:v>
                </c:pt>
                <c:pt idx="4">
                  <c:v>8213.010638297872</c:v>
                </c:pt>
                <c:pt idx="5">
                  <c:v>7241.72</c:v>
                </c:pt>
                <c:pt idx="6">
                  <c:v>4657.1894736842105</c:v>
                </c:pt>
                <c:pt idx="7">
                  <c:v>3117.8720930232557</c:v>
                </c:pt>
                <c:pt idx="8">
                  <c:v>999.73170731707319</c:v>
                </c:pt>
                <c:pt idx="9">
                  <c:v>3755.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4</c:f>
              <c:strCache>
                <c:ptCount val="23"/>
                <c:pt idx="0">
                  <c:v>Boursin Classique Fromage Frais A Tartiner Afh 1X160Gr 10P</c:v>
                </c:pt>
                <c:pt idx="1">
                  <c:v>Boursin Classique Fromage Frais A Tartiner Afh Boite 1X250Gr 1P</c:v>
                </c:pt>
                <c:pt idx="2">
                  <c:v>Boursin Classique Fromage Frais A Tartiner Afh Boite 1X150Gr 1P</c:v>
                </c:pt>
                <c:pt idx="3">
                  <c:v>Boursin Salade &amp; Aperitif Fromage Frais Des Afh 1X120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Salade &amp; Aperitif Fromage Frais Des Ciboulette Echalote 1X120Gr 1P</c:v>
                </c:pt>
                <c:pt idx="8">
                  <c:v>Boursin Onctueux Fromage Frais A Tartiner Afh 1X125Gr 1P</c:v>
                </c:pt>
                <c:pt idx="9">
                  <c:v>Boursin Salade &amp; Aperitif Fromage Frais Des Figue Noix 1X120Gr 1P</c:v>
                </c:pt>
                <c:pt idx="10">
                  <c:v>Boursin Classique Fromage Frais A Tartiner Afh 1X256Gr 16P</c:v>
                </c:pt>
                <c:pt idx="11">
                  <c:v>Boursin Classique Fromage Frais A Tartiner Afh Boite 1X80Gr 1P</c:v>
                </c:pt>
                <c:pt idx="12">
                  <c:v>Boursin Classique Fromage Frais A Tartiner Poivre Boite 1X150Gr 1P</c:v>
                </c:pt>
                <c:pt idx="13">
                  <c:v>Boursin Salade &amp; Aperitif Fromage Frais Des Citron Romarin 1X120Gr 1P</c:v>
                </c:pt>
                <c:pt idx="14">
                  <c:v>Boursin Salade &amp; Aperitif Fromage Frais Des Noisette Et 3 Noix 1X120Gr 1P</c:v>
                </c:pt>
                <c:pt idx="15">
                  <c:v>Boursin Onctueux Fromage Frais A Tartiner Afh 1X210Gr 1P</c:v>
                </c:pt>
                <c:pt idx="16">
                  <c:v>Boursin Classique Fromage Frais A Tartiner 3 Noix Boite 1X150Gr 1P</c:v>
                </c:pt>
                <c:pt idx="17">
                  <c:v>Boursin Salade &amp; Aperitif Soft Cheese Salade 120G</c:v>
                </c:pt>
                <c:pt idx="18">
                  <c:v>Boursin Classique Fromage Frais A Tartiner Truffe Boite 1X150Gr 1P</c:v>
                </c:pt>
                <c:pt idx="19">
                  <c:v>Boursin Classique Fromage Frais A Tartiner Afh Boite 1X320Gr 16+4P</c:v>
                </c:pt>
                <c:pt idx="20">
                  <c:v>Boursin Classique Fromage Frais A Tartiner 3 Noix 1X160Gr 10P</c:v>
                </c:pt>
                <c:pt idx="21">
                  <c:v>Boursin Classique Fromage Frais A Tartiner Citron &amp; Romarin Boite 1X150Gr 1P</c:v>
                </c:pt>
                <c:pt idx="22">
                  <c:v>Boursin Classique Fromage Frais A Tartiner Ciboulette &amp; Echalote 1X160Gr 10P</c:v>
                </c:pt>
              </c:strCache>
            </c:strRef>
          </c:cat>
          <c:val>
            <c:numRef>
              <c:f>Sheet1!$B$2:$B$24</c:f>
              <c:numCache>
                <c:formatCode>General</c:formatCode>
                <c:ptCount val="23"/>
                <c:pt idx="0">
                  <c:v>1</c:v>
                </c:pt>
                <c:pt idx="1">
                  <c:v>1</c:v>
                </c:pt>
                <c:pt idx="2">
                  <c:v>1</c:v>
                </c:pt>
                <c:pt idx="3">
                  <c:v>1</c:v>
                </c:pt>
                <c:pt idx="4">
                  <c:v>1</c:v>
                </c:pt>
                <c:pt idx="5">
                  <c:v>0.98</c:v>
                </c:pt>
                <c:pt idx="6">
                  <c:v>0.97</c:v>
                </c:pt>
                <c:pt idx="7">
                  <c:v>1</c:v>
                </c:pt>
                <c:pt idx="8">
                  <c:v>0.99</c:v>
                </c:pt>
                <c:pt idx="9">
                  <c:v>1</c:v>
                </c:pt>
                <c:pt idx="10">
                  <c:v>0.57999999999999996</c:v>
                </c:pt>
                <c:pt idx="11">
                  <c:v>0.94</c:v>
                </c:pt>
                <c:pt idx="12">
                  <c:v>0.88</c:v>
                </c:pt>
                <c:pt idx="13">
                  <c:v>0.95</c:v>
                </c:pt>
                <c:pt idx="14">
                  <c:v>0.96</c:v>
                </c:pt>
                <c:pt idx="15">
                  <c:v>0.59</c:v>
                </c:pt>
                <c:pt idx="16">
                  <c:v>0.67</c:v>
                </c:pt>
                <c:pt idx="17">
                  <c:v>0.94</c:v>
                </c:pt>
                <c:pt idx="18">
                  <c:v>0.66</c:v>
                </c:pt>
                <c:pt idx="19">
                  <c:v>0.85</c:v>
                </c:pt>
                <c:pt idx="20">
                  <c:v>0.49</c:v>
                </c:pt>
                <c:pt idx="21">
                  <c:v>0.71</c:v>
                </c:pt>
                <c:pt idx="22">
                  <c:v>0.14000000000000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7ECAC4"/>
              </a:solidFill>
            </c:spPr>
            <c:extLst>
              <c:ext xmlns:c16="http://schemas.microsoft.com/office/drawing/2014/chart" uri="{C3380CC4-5D6E-409C-BE32-E72D297353CC}">
                <c16:uniqueId val="{00000019-FA3E-4872-B6E1-C4ABDF5766E2}"/>
              </c:ext>
            </c:extLst>
          </c:dPt>
          <c:dPt>
            <c:idx val="12"/>
            <c:invertIfNegative val="1"/>
            <c:bubble3D val="0"/>
            <c:spPr>
              <a:solidFill>
                <a:srgbClr val="7ECAC4"/>
              </a:solidFill>
            </c:spPr>
            <c:extLst>
              <c:ext xmlns:c16="http://schemas.microsoft.com/office/drawing/2014/chart" uri="{C3380CC4-5D6E-409C-BE32-E72D297353CC}">
                <c16:uniqueId val="{0000001B-FA3E-4872-B6E1-C4ABDF5766E2}"/>
              </c:ext>
            </c:extLst>
          </c:dPt>
          <c:dPt>
            <c:idx val="13"/>
            <c:invertIfNegative val="1"/>
            <c:bubble3D val="0"/>
            <c:spPr>
              <a:solidFill>
                <a:srgbClr val="7ECAC4"/>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AEABAB"/>
              </a:solidFill>
            </c:spPr>
            <c:extLst>
              <c:ext xmlns:c16="http://schemas.microsoft.com/office/drawing/2014/chart" uri="{C3380CC4-5D6E-409C-BE32-E72D297353CC}">
                <c16:uniqueId val="{00000029-FA3E-4872-B6E1-C4ABDF5766E2}"/>
              </c:ext>
            </c:extLst>
          </c:dPt>
          <c:dPt>
            <c:idx val="20"/>
            <c:invertIfNegative val="1"/>
            <c:bubble3D val="0"/>
            <c:spPr>
              <a:solidFill>
                <a:srgbClr val="AEABAB"/>
              </a:solidFill>
            </c:spPr>
            <c:extLst>
              <c:ext xmlns:c16="http://schemas.microsoft.com/office/drawing/2014/chart" uri="{C3380CC4-5D6E-409C-BE32-E72D297353CC}">
                <c16:uniqueId val="{0000002B-FA3E-4872-B6E1-C4ABDF5766E2}"/>
              </c:ext>
            </c:extLst>
          </c:dPt>
          <c:dPt>
            <c:idx val="21"/>
            <c:invertIfNegative val="1"/>
            <c:bubble3D val="0"/>
            <c:spPr>
              <a:solidFill>
                <a:srgbClr val="AEABAB"/>
              </a:solidFill>
            </c:spPr>
            <c:extLst>
              <c:ext xmlns:c16="http://schemas.microsoft.com/office/drawing/2014/chart" uri="{C3380CC4-5D6E-409C-BE32-E72D297353CC}">
                <c16:uniqueId val="{0000002D-FA3E-4872-B6E1-C4ABDF5766E2}"/>
              </c:ext>
            </c:extLst>
          </c:dPt>
          <c:dPt>
            <c:idx val="22"/>
            <c:invertIfNegative val="1"/>
            <c:bubble3D val="0"/>
            <c:spPr>
              <a:solidFill>
                <a:srgbClr val="AEABAB"/>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4</c:f>
              <c:strCache>
                <c:ptCount val="23"/>
                <c:pt idx="0">
                  <c:v>Boursin Classique Fromage Frais A Tartiner Afh 1X160Gr 10P</c:v>
                </c:pt>
                <c:pt idx="1">
                  <c:v>Boursin Classique Fromage Frais A Tartiner Afh Boite 1X250Gr 1P</c:v>
                </c:pt>
                <c:pt idx="2">
                  <c:v>Boursin Classique Fromage Frais A Tartiner Afh Boite 1X150Gr 1P</c:v>
                </c:pt>
                <c:pt idx="3">
                  <c:v>Boursin Salade &amp; Aperitif Fromage Frais Des Afh 1X120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Salade &amp; Aperitif Fromage Frais Des Ciboulette Echalote 1X120Gr 1P</c:v>
                </c:pt>
                <c:pt idx="8">
                  <c:v>Boursin Onctueux Fromage Frais A Tartiner Afh 1X125Gr 1P</c:v>
                </c:pt>
                <c:pt idx="9">
                  <c:v>Boursin Salade &amp; Aperitif Fromage Frais Des Figue Noix 1X120Gr 1P</c:v>
                </c:pt>
                <c:pt idx="10">
                  <c:v>Boursin Classique Fromage Frais A Tartiner Afh 1X256Gr 16P</c:v>
                </c:pt>
                <c:pt idx="11">
                  <c:v>Boursin Classique Fromage Frais A Tartiner Afh Boite 1X80Gr 1P</c:v>
                </c:pt>
                <c:pt idx="12">
                  <c:v>Boursin Classique Fromage Frais A Tartiner Poivre Boite 1X150Gr 1P</c:v>
                </c:pt>
                <c:pt idx="13">
                  <c:v>Boursin Salade &amp; Aperitif Fromage Frais Des Citron Romarin 1X120Gr 1P</c:v>
                </c:pt>
                <c:pt idx="14">
                  <c:v>Boursin Salade &amp; Aperitif Fromage Frais Des Noisette Et 3 Noix 1X120Gr 1P</c:v>
                </c:pt>
                <c:pt idx="15">
                  <c:v>Boursin Onctueux Fromage Frais A Tartiner Afh 1X210Gr 1P</c:v>
                </c:pt>
                <c:pt idx="16">
                  <c:v>Boursin Classique Fromage Frais A Tartiner 3 Noix Boite 1X150Gr 1P</c:v>
                </c:pt>
                <c:pt idx="17">
                  <c:v>Boursin Salade &amp; Aperitif Soft Cheese Salade 120G</c:v>
                </c:pt>
                <c:pt idx="18">
                  <c:v>Boursin Classique Fromage Frais A Tartiner Truffe Boite 1X150Gr 1P</c:v>
                </c:pt>
                <c:pt idx="19">
                  <c:v>Boursin Classique Fromage Frais A Tartiner Afh Boite 1X320Gr 16+4P</c:v>
                </c:pt>
                <c:pt idx="20">
                  <c:v>Boursin Classique Fromage Frais A Tartiner 3 Noix 1X160Gr 10P</c:v>
                </c:pt>
                <c:pt idx="21">
                  <c:v>Boursin Classique Fromage Frais A Tartiner Citron &amp; Romarin Boite 1X150Gr 1P</c:v>
                </c:pt>
                <c:pt idx="22">
                  <c:v>Boursin Classique Fromage Frais A Tartiner Ciboulette &amp; Echalote 1X160Gr 10P</c:v>
                </c:pt>
              </c:strCache>
            </c:strRef>
          </c:cat>
          <c:val>
            <c:numRef>
              <c:f>Sheet1!$C$2:$C$24</c:f>
              <c:numCache>
                <c:formatCode>General</c:formatCode>
                <c:ptCount val="23"/>
                <c:pt idx="0">
                  <c:v>0.21007172870733892</c:v>
                </c:pt>
                <c:pt idx="1">
                  <c:v>0.37955603020376161</c:v>
                </c:pt>
                <c:pt idx="2">
                  <c:v>0.52270044795660564</c:v>
                </c:pt>
                <c:pt idx="3">
                  <c:v>0.61902738634759236</c:v>
                </c:pt>
                <c:pt idx="4">
                  <c:v>0.68199321035174765</c:v>
                </c:pt>
                <c:pt idx="5">
                  <c:v>0.73642964731606619</c:v>
                </c:pt>
                <c:pt idx="6">
                  <c:v>0.78420746484415904</c:v>
                </c:pt>
                <c:pt idx="7">
                  <c:v>0.82457449864179078</c:v>
                </c:pt>
                <c:pt idx="8">
                  <c:v>0.86331633344860936</c:v>
                </c:pt>
                <c:pt idx="9">
                  <c:v>0.88632499357001859</c:v>
                </c:pt>
                <c:pt idx="10">
                  <c:v>0.90490134634316988</c:v>
                </c:pt>
                <c:pt idx="11">
                  <c:v>0.92262939794908994</c:v>
                </c:pt>
                <c:pt idx="12">
                  <c:v>0.93544593007566257</c:v>
                </c:pt>
                <c:pt idx="13">
                  <c:v>0.94725913480642121</c:v>
                </c:pt>
                <c:pt idx="14">
                  <c:v>0.95726944191588281</c:v>
                </c:pt>
                <c:pt idx="15">
                  <c:v>0.96617527916130963</c:v>
                </c:pt>
                <c:pt idx="16">
                  <c:v>0.97477356674718318</c:v>
                </c:pt>
                <c:pt idx="17">
                  <c:v>0.98299187076613137</c:v>
                </c:pt>
                <c:pt idx="18">
                  <c:v>0.9876567910689581</c:v>
                </c:pt>
                <c:pt idx="19">
                  <c:v>0.99183057414618903</c:v>
                </c:pt>
                <c:pt idx="20">
                  <c:v>0.99561730693382411</c:v>
                </c:pt>
                <c:pt idx="21">
                  <c:v>0.9980123370255487</c:v>
                </c:pt>
                <c:pt idx="2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4</c:f>
              <c:strCache>
                <c:ptCount val="23"/>
                <c:pt idx="0">
                  <c:v>Boursin Classique Fromage Frais A Tartiner Afh 1X160Gr 10P</c:v>
                </c:pt>
                <c:pt idx="1">
                  <c:v>Boursin Classique Fromage Frais A Tartiner Afh Boite 1X250Gr 1P</c:v>
                </c:pt>
                <c:pt idx="2">
                  <c:v>Boursin Classique Fromage Frais A Tartiner Afh Boite 1X150Gr 1P</c:v>
                </c:pt>
                <c:pt idx="3">
                  <c:v>Boursin Salade &amp; Aperitif Fromage Frais Des Afh 1X120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Salade &amp; Aperitif Fromage Frais Des Ciboulette Echalote 1X120Gr 1P</c:v>
                </c:pt>
                <c:pt idx="8">
                  <c:v>Boursin Onctueux Fromage Frais A Tartiner Afh 1X125Gr 1P</c:v>
                </c:pt>
                <c:pt idx="9">
                  <c:v>Boursin Salade &amp; Aperitif Fromage Frais Des Figue Noix 1X120Gr 1P</c:v>
                </c:pt>
                <c:pt idx="10">
                  <c:v>Boursin Classique Fromage Frais A Tartiner Afh 1X256Gr 16P</c:v>
                </c:pt>
                <c:pt idx="11">
                  <c:v>Boursin Classique Fromage Frais A Tartiner Afh Boite 1X80Gr 1P</c:v>
                </c:pt>
                <c:pt idx="12">
                  <c:v>Boursin Classique Fromage Frais A Tartiner Poivre Boite 1X150Gr 1P</c:v>
                </c:pt>
                <c:pt idx="13">
                  <c:v>Boursin Salade &amp; Aperitif Fromage Frais Des Citron Romarin 1X120Gr 1P</c:v>
                </c:pt>
                <c:pt idx="14">
                  <c:v>Boursin Salade &amp; Aperitif Fromage Frais Des Noisette Et 3 Noix 1X120Gr 1P</c:v>
                </c:pt>
                <c:pt idx="15">
                  <c:v>Boursin Onctueux Fromage Frais A Tartiner Afh 1X210Gr 1P</c:v>
                </c:pt>
                <c:pt idx="16">
                  <c:v>Boursin Classique Fromage Frais A Tartiner 3 Noix Boite 1X150Gr 1P</c:v>
                </c:pt>
                <c:pt idx="17">
                  <c:v>Boursin Salade &amp; Aperitif Soft Cheese Salade 120G</c:v>
                </c:pt>
                <c:pt idx="18">
                  <c:v>Boursin Classique Fromage Frais A Tartiner Truffe Boite 1X150Gr 1P</c:v>
                </c:pt>
                <c:pt idx="19">
                  <c:v>Boursin Classique Fromage Frais A Tartiner Afh Boite 1X320Gr 16+4P</c:v>
                </c:pt>
                <c:pt idx="20">
                  <c:v>Boursin Classique Fromage Frais A Tartiner 3 Noix 1X160Gr 10P</c:v>
                </c:pt>
                <c:pt idx="21">
                  <c:v>Boursin Classique Fromage Frais A Tartiner Citron &amp; Romarin Boite 1X150Gr 1P</c:v>
                </c:pt>
                <c:pt idx="22">
                  <c:v>Boursin Classique Fromage Frais A Tartiner Ciboulette &amp; Echalote 1X160Gr 10P</c:v>
                </c:pt>
              </c:strCache>
            </c:strRef>
          </c:cat>
          <c:val>
            <c:numRef>
              <c:f>Sheet1!$D$2:$D$24</c:f>
              <c:numCache>
                <c:formatCode>General</c:formatCode>
                <c:ptCount val="23"/>
                <c:pt idx="0">
                  <c:v>14268.91</c:v>
                </c:pt>
                <c:pt idx="1">
                  <c:v>11512.05</c:v>
                </c:pt>
                <c:pt idx="2">
                  <c:v>9722.94</c:v>
                </c:pt>
                <c:pt idx="3">
                  <c:v>6542.91</c:v>
                </c:pt>
                <c:pt idx="4">
                  <c:v>4276.8900000000003</c:v>
                </c:pt>
                <c:pt idx="5">
                  <c:v>3773</c:v>
                </c:pt>
                <c:pt idx="6">
                  <c:v>3345.6288659793813</c:v>
                </c:pt>
                <c:pt idx="7">
                  <c:v>2741.89</c:v>
                </c:pt>
                <c:pt idx="8">
                  <c:v>2658.0808080808079</c:v>
                </c:pt>
                <c:pt idx="9">
                  <c:v>1562.84</c:v>
                </c:pt>
                <c:pt idx="10">
                  <c:v>2175.4827586206898</c:v>
                </c:pt>
                <c:pt idx="11">
                  <c:v>1281.0212765957447</c:v>
                </c:pt>
                <c:pt idx="12">
                  <c:v>989.26136363636363</c:v>
                </c:pt>
                <c:pt idx="13">
                  <c:v>844.63157894736844</c:v>
                </c:pt>
                <c:pt idx="14">
                  <c:v>708.27083333333337</c:v>
                </c:pt>
                <c:pt idx="15">
                  <c:v>1025.2881355932204</c:v>
                </c:pt>
                <c:pt idx="16">
                  <c:v>871.68656716417911</c:v>
                </c:pt>
                <c:pt idx="17">
                  <c:v>593.85106382978722</c:v>
                </c:pt>
                <c:pt idx="18">
                  <c:v>480.09090909090907</c:v>
                </c:pt>
                <c:pt idx="19">
                  <c:v>333.52941176470586</c:v>
                </c:pt>
                <c:pt idx="20">
                  <c:v>524.91836734693879</c:v>
                </c:pt>
                <c:pt idx="21">
                  <c:v>229.12676056338029</c:v>
                </c:pt>
                <c:pt idx="22">
                  <c:v>964.3571428571427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Delicieusement Fouette Fromage Frais A Tartiner 1X160Gr 10P</c:v>
                </c:pt>
                <c:pt idx="8">
                  <c:v>Kiri Delicieusement Fouette Fromage Frais A Tartiner 1X210Gr 1P</c:v>
                </c:pt>
                <c:pt idx="9">
                  <c:v>Kiri Delicieusement Fouette Fromage Frais A Tartiner 1X125Gr 1P</c:v>
                </c:pt>
                <c:pt idx="10">
                  <c:v>Kiri Chevre Fromage Blanc Frais Carre 1X144Gr 8P</c:v>
                </c:pt>
              </c:strCache>
            </c:strRef>
          </c:cat>
          <c:val>
            <c:numRef>
              <c:f>Sheet1!$B$2:$B$12</c:f>
              <c:numCache>
                <c:formatCode>General</c:formatCode>
                <c:ptCount val="11"/>
                <c:pt idx="0">
                  <c:v>0.86</c:v>
                </c:pt>
                <c:pt idx="1">
                  <c:v>0.97</c:v>
                </c:pt>
                <c:pt idx="2">
                  <c:v>0.99</c:v>
                </c:pt>
                <c:pt idx="3">
                  <c:v>0.99</c:v>
                </c:pt>
                <c:pt idx="4">
                  <c:v>0.73</c:v>
                </c:pt>
                <c:pt idx="5">
                  <c:v>0.71</c:v>
                </c:pt>
                <c:pt idx="6">
                  <c:v>0.42</c:v>
                </c:pt>
                <c:pt idx="7">
                  <c:v>0.63</c:v>
                </c:pt>
                <c:pt idx="8">
                  <c:v>0.54</c:v>
                </c:pt>
                <c:pt idx="9">
                  <c:v>0.62</c:v>
                </c:pt>
                <c:pt idx="10">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Delicieusement Fouette Fromage Frais A Tartiner 1X160Gr 10P</c:v>
                </c:pt>
                <c:pt idx="8">
                  <c:v>Kiri Delicieusement Fouette Fromage Frais A Tartiner 1X210Gr 1P</c:v>
                </c:pt>
                <c:pt idx="9">
                  <c:v>Kiri Delicieusement Fouette Fromage Frais A Tartiner 1X125Gr 1P</c:v>
                </c:pt>
                <c:pt idx="10">
                  <c:v>Kiri Chevre Fromage Blanc Frais Carre 1X144Gr 8P</c:v>
                </c:pt>
              </c:strCache>
            </c:strRef>
          </c:cat>
          <c:val>
            <c:numRef>
              <c:f>Sheet1!$C$2:$C$12</c:f>
              <c:numCache>
                <c:formatCode>General</c:formatCode>
                <c:ptCount val="11"/>
                <c:pt idx="0">
                  <c:v>0.25201231986167327</c:v>
                </c:pt>
                <c:pt idx="1">
                  <c:v>0.47218853336749356</c:v>
                </c:pt>
                <c:pt idx="2">
                  <c:v>0.63602547487421446</c:v>
                </c:pt>
                <c:pt idx="3">
                  <c:v>0.76509274555570528</c:v>
                </c:pt>
                <c:pt idx="4">
                  <c:v>0.86585916006891939</c:v>
                </c:pt>
                <c:pt idx="5">
                  <c:v>0.91652123617855819</c:v>
                </c:pt>
                <c:pt idx="6">
                  <c:v>0.93838724381913496</c:v>
                </c:pt>
                <c:pt idx="7">
                  <c:v>0.95896739085226979</c:v>
                </c:pt>
                <c:pt idx="8">
                  <c:v>0.97945978049839544</c:v>
                </c:pt>
                <c:pt idx="9">
                  <c:v>0.99970872311199621</c:v>
                </c:pt>
                <c:pt idx="10">
                  <c:v>0.9999936226859361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Delicieusement Fouette Fromage Frais A Tartiner 1X160Gr 10P</c:v>
                </c:pt>
                <c:pt idx="8">
                  <c:v>Kiri Delicieusement Fouette Fromage Frais A Tartiner 1X210Gr 1P</c:v>
                </c:pt>
                <c:pt idx="9">
                  <c:v>Kiri Delicieusement Fouette Fromage Frais A Tartiner 1X125Gr 1P</c:v>
                </c:pt>
                <c:pt idx="10">
                  <c:v>Kiri Chevre Fromage Blanc Frais Carre 1X144Gr 8P</c:v>
                </c:pt>
              </c:strCache>
            </c:strRef>
          </c:cat>
          <c:val>
            <c:numRef>
              <c:f>Sheet1!$D$2:$D$12</c:f>
              <c:numCache>
                <c:formatCode>General</c:formatCode>
                <c:ptCount val="11"/>
                <c:pt idx="0">
                  <c:v>21137</c:v>
                </c:pt>
                <c:pt idx="1">
                  <c:v>16372.639175257733</c:v>
                </c:pt>
                <c:pt idx="2">
                  <c:v>11937.040404040405</c:v>
                </c:pt>
                <c:pt idx="3">
                  <c:v>9403.7474747474753</c:v>
                </c:pt>
                <c:pt idx="4">
                  <c:v>9956.6438356164381</c:v>
                </c:pt>
                <c:pt idx="5">
                  <c:v>5146.8873239436616</c:v>
                </c:pt>
                <c:pt idx="6">
                  <c:v>3755.2619047619046</c:v>
                </c:pt>
                <c:pt idx="7">
                  <c:v>2356.2857142857142</c:v>
                </c:pt>
                <c:pt idx="8">
                  <c:v>2737.2777777777778</c:v>
                </c:pt>
                <c:pt idx="9">
                  <c:v>2355.7580645161293</c:v>
                </c:pt>
                <c:pt idx="10">
                  <c:v>68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128Gr 8P</c:v>
                </c:pt>
                <c:pt idx="4">
                  <c:v>La Vache Qui Rit Pik Et Croq' Fromage Fondu Dips Boite 1X175Gr 5P</c:v>
                </c:pt>
                <c:pt idx="5">
                  <c:v>La Vache Qui Rit Nature Fromage Fondu Boite Ronde 1X512Gr 24+8P</c:v>
                </c:pt>
                <c:pt idx="6">
                  <c:v>La Vache Qui Rit Allegee Fromage Fondu Boite Ronde Allege 1X267Gr 16P</c:v>
                </c:pt>
                <c:pt idx="7">
                  <c:v>La Vache Qui Rit Bio Fromage Fondu Boite Ronde 1X128Gr 8P</c:v>
                </c:pt>
              </c:strCache>
            </c:strRef>
          </c:cat>
          <c:val>
            <c:numRef>
              <c:f>Sheet1!$B$2:$B$9</c:f>
              <c:numCache>
                <c:formatCode>General</c:formatCode>
                <c:ptCount val="8"/>
                <c:pt idx="0">
                  <c:v>0.99</c:v>
                </c:pt>
                <c:pt idx="1">
                  <c:v>0.96</c:v>
                </c:pt>
                <c:pt idx="2">
                  <c:v>0.99</c:v>
                </c:pt>
                <c:pt idx="3">
                  <c:v>0.66</c:v>
                </c:pt>
                <c:pt idx="4">
                  <c:v>0.97</c:v>
                </c:pt>
                <c:pt idx="5">
                  <c:v>0.78</c:v>
                </c:pt>
                <c:pt idx="6">
                  <c:v>0.27</c:v>
                </c:pt>
                <c:pt idx="7">
                  <c:v>0.2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128Gr 8P</c:v>
                </c:pt>
                <c:pt idx="4">
                  <c:v>La Vache Qui Rit Pik Et Croq' Fromage Fondu Dips Boite 1X175Gr 5P</c:v>
                </c:pt>
                <c:pt idx="5">
                  <c:v>La Vache Qui Rit Nature Fromage Fondu Boite Ronde 1X512Gr 24+8P</c:v>
                </c:pt>
                <c:pt idx="6">
                  <c:v>La Vache Qui Rit Allegee Fromage Fondu Boite Ronde Allege 1X267Gr 16P</c:v>
                </c:pt>
                <c:pt idx="7">
                  <c:v>La Vache Qui Rit Bio Fromage Fondu Boite Ronde 1X128Gr 8P</c:v>
                </c:pt>
              </c:strCache>
            </c:strRef>
          </c:cat>
          <c:val>
            <c:numRef>
              <c:f>Sheet1!$C$2:$C$9</c:f>
              <c:numCache>
                <c:formatCode>General</c:formatCode>
                <c:ptCount val="8"/>
                <c:pt idx="0">
                  <c:v>0.37557330001310396</c:v>
                </c:pt>
                <c:pt idx="1">
                  <c:v>0.61165688255215733</c:v>
                </c:pt>
                <c:pt idx="2">
                  <c:v>0.80801436132604254</c:v>
                </c:pt>
                <c:pt idx="3">
                  <c:v>0.87306985995588249</c:v>
                </c:pt>
                <c:pt idx="4">
                  <c:v>0.93593295853561043</c:v>
                </c:pt>
                <c:pt idx="5">
                  <c:v>0.98508067394470111</c:v>
                </c:pt>
                <c:pt idx="6">
                  <c:v>0.9950395084580459</c:v>
                </c:pt>
                <c:pt idx="7">
                  <c:v>0.999944868570168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128Gr 8P</c:v>
                </c:pt>
                <c:pt idx="4">
                  <c:v>La Vache Qui Rit Pik Et Croq' Fromage Fondu Dips Boite 1X175Gr 5P</c:v>
                </c:pt>
                <c:pt idx="5">
                  <c:v>La Vache Qui Rit Nature Fromage Fondu Boite Ronde 1X512Gr 24+8P</c:v>
                </c:pt>
                <c:pt idx="6">
                  <c:v>La Vache Qui Rit Allegee Fromage Fondu Boite Ronde Allege 1X267Gr 16P</c:v>
                </c:pt>
                <c:pt idx="7">
                  <c:v>La Vache Qui Rit Bio Fromage Fondu Boite Ronde 1X128Gr 8P</c:v>
                </c:pt>
              </c:strCache>
            </c:strRef>
          </c:cat>
          <c:val>
            <c:numRef>
              <c:f>Sheet1!$D$2:$D$9</c:f>
              <c:numCache>
                <c:formatCode>General</c:formatCode>
                <c:ptCount val="8"/>
                <c:pt idx="0">
                  <c:v>36882.898989898989</c:v>
                </c:pt>
                <c:pt idx="1">
                  <c:v>23908.927083333332</c:v>
                </c:pt>
                <c:pt idx="2">
                  <c:v>19283.141414141413</c:v>
                </c:pt>
                <c:pt idx="3">
                  <c:v>9583.0909090909099</c:v>
                </c:pt>
                <c:pt idx="4">
                  <c:v>6300.7113402061859</c:v>
                </c:pt>
                <c:pt idx="5">
                  <c:v>6125.9615384615381</c:v>
                </c:pt>
                <c:pt idx="6">
                  <c:v>3586</c:v>
                </c:pt>
                <c:pt idx="7">
                  <c:v>1907.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0</c:f>
              <c:strCache>
                <c:ptCount val="19"/>
                <c:pt idx="0">
                  <c:v>Boursin Classique Fromage Frais A Tartiner Afh 1X160Gr 10P</c:v>
                </c:pt>
                <c:pt idx="1">
                  <c:v>Boursin Classique Fromage Frais A Tartiner Afh Boite 1X150Gr 1P</c:v>
                </c:pt>
                <c:pt idx="2">
                  <c:v>Boursin Classique Fromage Frais A Tartiner Afh Boite 1X250Gr 1P</c:v>
                </c:pt>
                <c:pt idx="3">
                  <c:v>Boursin Salade &amp; Aperitif Fromage Frais Des Afh 1X120Gr 1P</c:v>
                </c:pt>
                <c:pt idx="4">
                  <c:v>Boursin Classique Fromage Frais A Tartiner Afh Boite 1X96Gr 6P</c:v>
                </c:pt>
                <c:pt idx="5">
                  <c:v>Boursin Onctueux Fromage Frais A Tartiner Afh 1X125Gr 1P</c:v>
                </c:pt>
                <c:pt idx="6">
                  <c:v>Boursin Classique Fromage Frais A Tartiner Ciboulette &amp; Echalote Boite 1X150Gr 1P</c:v>
                </c:pt>
                <c:pt idx="7">
                  <c:v>Boursin Salade &amp; Aperitif Fromage Frais Des Figue Noix 1X120Gr 1P</c:v>
                </c:pt>
                <c:pt idx="8">
                  <c:v>Boursin Salade &amp; Aperitif Fromage Frais Des Ciboulette Echalote 1X120Gr 1P</c:v>
                </c:pt>
                <c:pt idx="9">
                  <c:v>Boursin Salade &amp; Aperitif Fromage Frais Des Citron Romarin 1X120Gr 1P</c:v>
                </c:pt>
                <c:pt idx="10">
                  <c:v>Boursin Classique Fromage Frais A Tartiner Figue Et 3 Noix Boite 1X150Gr 1P</c:v>
                </c:pt>
                <c:pt idx="11">
                  <c:v>Boursin Salade &amp; Aperitif Soft Cheese Salade 120G</c:v>
                </c:pt>
                <c:pt idx="12">
                  <c:v>Boursin Salade &amp; Aperitif Fromage Frais Des Noisette Et 3 Noix 1X120Gr 1P</c:v>
                </c:pt>
                <c:pt idx="13">
                  <c:v>Boursin Classique Fromage Frais A Tartiner 3 Noix Boite 1X150Gr 1P</c:v>
                </c:pt>
                <c:pt idx="14">
                  <c:v>Boursin Classique Fromage Frais A Tartiner 3 Noix 1X160Gr 10P</c:v>
                </c:pt>
                <c:pt idx="15">
                  <c:v>Boursin Classique Fromage Frais A Tartiner Afh Boite 1X320Gr 16+4P</c:v>
                </c:pt>
                <c:pt idx="16">
                  <c:v>Boursin Classique Fromage Frais A Tartiner Truffe Boite 1X150Gr 1P</c:v>
                </c:pt>
                <c:pt idx="17">
                  <c:v>Boursin Onctueux Fromage Frais A Tartiner Afh 1X210Gr 1P</c:v>
                </c:pt>
                <c:pt idx="18">
                  <c:v>Boursin Classique Fromage Frais A Tartiner Ciboulette &amp; Echalote 1X160Gr 10P</c:v>
                </c:pt>
              </c:strCache>
            </c:strRef>
          </c:cat>
          <c:val>
            <c:numRef>
              <c:f>Sheet1!$B$2:$B$20</c:f>
              <c:numCache>
                <c:formatCode>General</c:formatCode>
                <c:ptCount val="19"/>
                <c:pt idx="0">
                  <c:v>0.98</c:v>
                </c:pt>
                <c:pt idx="1">
                  <c:v>0.99</c:v>
                </c:pt>
                <c:pt idx="2">
                  <c:v>0.95</c:v>
                </c:pt>
                <c:pt idx="3">
                  <c:v>0.99</c:v>
                </c:pt>
                <c:pt idx="4">
                  <c:v>0.91</c:v>
                </c:pt>
                <c:pt idx="5">
                  <c:v>0.85</c:v>
                </c:pt>
                <c:pt idx="6">
                  <c:v>0.89</c:v>
                </c:pt>
                <c:pt idx="7">
                  <c:v>0.91</c:v>
                </c:pt>
                <c:pt idx="8">
                  <c:v>0.95</c:v>
                </c:pt>
                <c:pt idx="9">
                  <c:v>0.72</c:v>
                </c:pt>
                <c:pt idx="10">
                  <c:v>0.65</c:v>
                </c:pt>
                <c:pt idx="11">
                  <c:v>0.71</c:v>
                </c:pt>
                <c:pt idx="12">
                  <c:v>0.79</c:v>
                </c:pt>
                <c:pt idx="13">
                  <c:v>0.61</c:v>
                </c:pt>
                <c:pt idx="14">
                  <c:v>0.41</c:v>
                </c:pt>
                <c:pt idx="15">
                  <c:v>0.37</c:v>
                </c:pt>
                <c:pt idx="16">
                  <c:v>0.51</c:v>
                </c:pt>
                <c:pt idx="17">
                  <c:v>0.03</c:v>
                </c:pt>
                <c:pt idx="18">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AEABAB"/>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0</c:f>
              <c:strCache>
                <c:ptCount val="19"/>
                <c:pt idx="0">
                  <c:v>Boursin Classique Fromage Frais A Tartiner Afh 1X160Gr 10P</c:v>
                </c:pt>
                <c:pt idx="1">
                  <c:v>Boursin Classique Fromage Frais A Tartiner Afh Boite 1X150Gr 1P</c:v>
                </c:pt>
                <c:pt idx="2">
                  <c:v>Boursin Classique Fromage Frais A Tartiner Afh Boite 1X250Gr 1P</c:v>
                </c:pt>
                <c:pt idx="3">
                  <c:v>Boursin Salade &amp; Aperitif Fromage Frais Des Afh 1X120Gr 1P</c:v>
                </c:pt>
                <c:pt idx="4">
                  <c:v>Boursin Classique Fromage Frais A Tartiner Afh Boite 1X96Gr 6P</c:v>
                </c:pt>
                <c:pt idx="5">
                  <c:v>Boursin Onctueux Fromage Frais A Tartiner Afh 1X125Gr 1P</c:v>
                </c:pt>
                <c:pt idx="6">
                  <c:v>Boursin Classique Fromage Frais A Tartiner Ciboulette &amp; Echalote Boite 1X150Gr 1P</c:v>
                </c:pt>
                <c:pt idx="7">
                  <c:v>Boursin Salade &amp; Aperitif Fromage Frais Des Figue Noix 1X120Gr 1P</c:v>
                </c:pt>
                <c:pt idx="8">
                  <c:v>Boursin Salade &amp; Aperitif Fromage Frais Des Ciboulette Echalote 1X120Gr 1P</c:v>
                </c:pt>
                <c:pt idx="9">
                  <c:v>Boursin Salade &amp; Aperitif Fromage Frais Des Citron Romarin 1X120Gr 1P</c:v>
                </c:pt>
                <c:pt idx="10">
                  <c:v>Boursin Classique Fromage Frais A Tartiner Figue Et 3 Noix Boite 1X150Gr 1P</c:v>
                </c:pt>
                <c:pt idx="11">
                  <c:v>Boursin Salade &amp; Aperitif Soft Cheese Salade 120G</c:v>
                </c:pt>
                <c:pt idx="12">
                  <c:v>Boursin Salade &amp; Aperitif Fromage Frais Des Noisette Et 3 Noix 1X120Gr 1P</c:v>
                </c:pt>
                <c:pt idx="13">
                  <c:v>Boursin Classique Fromage Frais A Tartiner 3 Noix Boite 1X150Gr 1P</c:v>
                </c:pt>
                <c:pt idx="14">
                  <c:v>Boursin Classique Fromage Frais A Tartiner 3 Noix 1X160Gr 10P</c:v>
                </c:pt>
                <c:pt idx="15">
                  <c:v>Boursin Classique Fromage Frais A Tartiner Afh Boite 1X320Gr 16+4P</c:v>
                </c:pt>
                <c:pt idx="16">
                  <c:v>Boursin Classique Fromage Frais A Tartiner Truffe Boite 1X150Gr 1P</c:v>
                </c:pt>
                <c:pt idx="17">
                  <c:v>Boursin Onctueux Fromage Frais A Tartiner Afh 1X210Gr 1P</c:v>
                </c:pt>
                <c:pt idx="18">
                  <c:v>Boursin Classique Fromage Frais A Tartiner Ciboulette &amp; Echalote 1X160Gr 10P</c:v>
                </c:pt>
              </c:strCache>
            </c:strRef>
          </c:cat>
          <c:val>
            <c:numRef>
              <c:f>Sheet1!$C$2:$C$20</c:f>
              <c:numCache>
                <c:formatCode>General</c:formatCode>
                <c:ptCount val="19"/>
                <c:pt idx="0">
                  <c:v>0.20166894004895558</c:v>
                </c:pt>
                <c:pt idx="1">
                  <c:v>0.38913057141449681</c:v>
                </c:pt>
                <c:pt idx="2">
                  <c:v>0.55186929778816607</c:v>
                </c:pt>
                <c:pt idx="3">
                  <c:v>0.67995165594524853</c:v>
                </c:pt>
                <c:pt idx="4">
                  <c:v>0.76537488725099667</c:v>
                </c:pt>
                <c:pt idx="5">
                  <c:v>0.82144566729573953</c:v>
                </c:pt>
                <c:pt idx="6">
                  <c:v>0.87524617927388793</c:v>
                </c:pt>
                <c:pt idx="7">
                  <c:v>0.90614085004679823</c:v>
                </c:pt>
                <c:pt idx="8">
                  <c:v>0.93494327302500269</c:v>
                </c:pt>
                <c:pt idx="9">
                  <c:v>0.95041829667893674</c:v>
                </c:pt>
                <c:pt idx="10">
                  <c:v>0.96280769224235896</c:v>
                </c:pt>
                <c:pt idx="11">
                  <c:v>0.97376579123046314</c:v>
                </c:pt>
                <c:pt idx="12">
                  <c:v>0.98418320460270725</c:v>
                </c:pt>
                <c:pt idx="13">
                  <c:v>0.990520080788589</c:v>
                </c:pt>
                <c:pt idx="14">
                  <c:v>0.99390518382121873</c:v>
                </c:pt>
                <c:pt idx="15">
                  <c:v>0.99727313032001186</c:v>
                </c:pt>
                <c:pt idx="16">
                  <c:v>0.99942092451634712</c:v>
                </c:pt>
                <c:pt idx="17">
                  <c:v>0.99992525866447424</c:v>
                </c:pt>
                <c:pt idx="18">
                  <c:v>0.9999770679993272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0</c:f>
              <c:strCache>
                <c:ptCount val="19"/>
                <c:pt idx="0">
                  <c:v>Boursin Classique Fromage Frais A Tartiner Afh 1X160Gr 10P</c:v>
                </c:pt>
                <c:pt idx="1">
                  <c:v>Boursin Classique Fromage Frais A Tartiner Afh Boite 1X150Gr 1P</c:v>
                </c:pt>
                <c:pt idx="2">
                  <c:v>Boursin Classique Fromage Frais A Tartiner Afh Boite 1X250Gr 1P</c:v>
                </c:pt>
                <c:pt idx="3">
                  <c:v>Boursin Salade &amp; Aperitif Fromage Frais Des Afh 1X120Gr 1P</c:v>
                </c:pt>
                <c:pt idx="4">
                  <c:v>Boursin Classique Fromage Frais A Tartiner Afh Boite 1X96Gr 6P</c:v>
                </c:pt>
                <c:pt idx="5">
                  <c:v>Boursin Onctueux Fromage Frais A Tartiner Afh 1X125Gr 1P</c:v>
                </c:pt>
                <c:pt idx="6">
                  <c:v>Boursin Classique Fromage Frais A Tartiner Ciboulette &amp; Echalote Boite 1X150Gr 1P</c:v>
                </c:pt>
                <c:pt idx="7">
                  <c:v>Boursin Salade &amp; Aperitif Fromage Frais Des Figue Noix 1X120Gr 1P</c:v>
                </c:pt>
                <c:pt idx="8">
                  <c:v>Boursin Salade &amp; Aperitif Fromage Frais Des Ciboulette Echalote 1X120Gr 1P</c:v>
                </c:pt>
                <c:pt idx="9">
                  <c:v>Boursin Salade &amp; Aperitif Fromage Frais Des Citron Romarin 1X120Gr 1P</c:v>
                </c:pt>
                <c:pt idx="10">
                  <c:v>Boursin Classique Fromage Frais A Tartiner Figue Et 3 Noix Boite 1X150Gr 1P</c:v>
                </c:pt>
                <c:pt idx="11">
                  <c:v>Boursin Salade &amp; Aperitif Soft Cheese Salade 120G</c:v>
                </c:pt>
                <c:pt idx="12">
                  <c:v>Boursin Salade &amp; Aperitif Fromage Frais Des Noisette Et 3 Noix 1X120Gr 1P</c:v>
                </c:pt>
                <c:pt idx="13">
                  <c:v>Boursin Classique Fromage Frais A Tartiner 3 Noix Boite 1X150Gr 1P</c:v>
                </c:pt>
                <c:pt idx="14">
                  <c:v>Boursin Classique Fromage Frais A Tartiner 3 Noix 1X160Gr 10P</c:v>
                </c:pt>
                <c:pt idx="15">
                  <c:v>Boursin Classique Fromage Frais A Tartiner Afh Boite 1X320Gr 16+4P</c:v>
                </c:pt>
                <c:pt idx="16">
                  <c:v>Boursin Classique Fromage Frais A Tartiner Truffe Boite 1X150Gr 1P</c:v>
                </c:pt>
                <c:pt idx="17">
                  <c:v>Boursin Onctueux Fromage Frais A Tartiner Afh 1X210Gr 1P</c:v>
                </c:pt>
                <c:pt idx="18">
                  <c:v>Boursin Classique Fromage Frais A Tartiner Ciboulette &amp; Echalote 1X160Gr 10P</c:v>
                </c:pt>
              </c:strCache>
            </c:strRef>
          </c:cat>
          <c:val>
            <c:numRef>
              <c:f>Sheet1!$D$2:$D$20</c:f>
              <c:numCache>
                <c:formatCode>General</c:formatCode>
                <c:ptCount val="19"/>
                <c:pt idx="0">
                  <c:v>12114.479591836734</c:v>
                </c:pt>
                <c:pt idx="1">
                  <c:v>11147.282828282829</c:v>
                </c:pt>
                <c:pt idx="2">
                  <c:v>10084.61052631579</c:v>
                </c:pt>
                <c:pt idx="3">
                  <c:v>7616.333333333333</c:v>
                </c:pt>
                <c:pt idx="4">
                  <c:v>5526.197802197802</c:v>
                </c:pt>
                <c:pt idx="5">
                  <c:v>3883.3764705882354</c:v>
                </c:pt>
                <c:pt idx="6">
                  <c:v>3558.674157303371</c:v>
                </c:pt>
                <c:pt idx="7">
                  <c:v>1998.6373626373627</c:v>
                </c:pt>
                <c:pt idx="8">
                  <c:v>1784.8315789473684</c:v>
                </c:pt>
                <c:pt idx="9">
                  <c:v>1265.2916666666667</c:v>
                </c:pt>
                <c:pt idx="10">
                  <c:v>1122.0923076923077</c:v>
                </c:pt>
                <c:pt idx="11">
                  <c:v>908.5915492957746</c:v>
                </c:pt>
                <c:pt idx="12">
                  <c:v>776.29113924050637</c:v>
                </c:pt>
                <c:pt idx="13">
                  <c:v>611.55737704918033</c:v>
                </c:pt>
                <c:pt idx="14">
                  <c:v>486.04878048780489</c:v>
                </c:pt>
                <c:pt idx="15">
                  <c:v>535.8648648648649</c:v>
                </c:pt>
                <c:pt idx="16">
                  <c:v>247.92156862745097</c:v>
                </c:pt>
                <c:pt idx="17">
                  <c:v>989.66666666666663</c:v>
                </c:pt>
                <c:pt idx="18">
                  <c:v>101.6666666666666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Kiri Creme Fromage Blanc Frais Carre 1X144Gr 8P</c:v>
                </c:pt>
                <c:pt idx="1">
                  <c:v>Kiri Gouter Fromage Blanc Dips Boite 1X175Gr 5P</c:v>
                </c:pt>
                <c:pt idx="2">
                  <c:v>Kiri Delicieusement Fouette Fromage Frais A Tartiner 1X125Gr 1P</c:v>
                </c:pt>
                <c:pt idx="3">
                  <c:v>Kiri Delicieusement Fouette Fromage Frais A Tartiner 1X160Gr 10P</c:v>
                </c:pt>
                <c:pt idx="4">
                  <c:v>Kiri Creme Fromage Blanc Frais Carre 1X216Gr 12P</c:v>
                </c:pt>
                <c:pt idx="5">
                  <c:v>Kiri Gouter Fromage Blanc Dips Boite 1X280Gr 8P</c:v>
                </c:pt>
              </c:strCache>
            </c:strRef>
          </c:cat>
          <c:val>
            <c:numRef>
              <c:f>Sheet1!$B$2:$B$7</c:f>
              <c:numCache>
                <c:formatCode>General</c:formatCode>
                <c:ptCount val="6"/>
                <c:pt idx="0">
                  <c:v>0.96</c:v>
                </c:pt>
                <c:pt idx="1">
                  <c:v>0.71</c:v>
                </c:pt>
                <c:pt idx="2">
                  <c:v>0.56000000000000005</c:v>
                </c:pt>
                <c:pt idx="3">
                  <c:v>0.27</c:v>
                </c:pt>
                <c:pt idx="4">
                  <c:v>0.06</c:v>
                </c:pt>
                <c:pt idx="5">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Kiri Creme Fromage Blanc Frais Carre 1X144Gr 8P</c:v>
                </c:pt>
                <c:pt idx="1">
                  <c:v>Kiri Gouter Fromage Blanc Dips Boite 1X175Gr 5P</c:v>
                </c:pt>
                <c:pt idx="2">
                  <c:v>Kiri Delicieusement Fouette Fromage Frais A Tartiner 1X125Gr 1P</c:v>
                </c:pt>
                <c:pt idx="3">
                  <c:v>Kiri Delicieusement Fouette Fromage Frais A Tartiner 1X160Gr 10P</c:v>
                </c:pt>
                <c:pt idx="4">
                  <c:v>Kiri Creme Fromage Blanc Frais Carre 1X216Gr 12P</c:v>
                </c:pt>
                <c:pt idx="5">
                  <c:v>Kiri Gouter Fromage Blanc Dips Boite 1X280Gr 8P</c:v>
                </c:pt>
              </c:strCache>
            </c:strRef>
          </c:cat>
          <c:val>
            <c:numRef>
              <c:f>Sheet1!$C$2:$C$7</c:f>
              <c:numCache>
                <c:formatCode>General</c:formatCode>
                <c:ptCount val="6"/>
                <c:pt idx="0">
                  <c:v>0.63225768976162666</c:v>
                </c:pt>
                <c:pt idx="1">
                  <c:v>0.85944832389710424</c:v>
                </c:pt>
                <c:pt idx="2">
                  <c:v>0.95443707992362503</c:v>
                </c:pt>
                <c:pt idx="3">
                  <c:v>0.98482271033698732</c:v>
                </c:pt>
                <c:pt idx="4">
                  <c:v>0.9957494808980939</c:v>
                </c:pt>
                <c:pt idx="5">
                  <c:v>0.9995971389099838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Kiri Creme Fromage Blanc Frais Carre 1X144Gr 8P</c:v>
                </c:pt>
                <c:pt idx="1">
                  <c:v>Kiri Gouter Fromage Blanc Dips Boite 1X175Gr 5P</c:v>
                </c:pt>
                <c:pt idx="2">
                  <c:v>Kiri Delicieusement Fouette Fromage Frais A Tartiner 1X125Gr 1P</c:v>
                </c:pt>
                <c:pt idx="3">
                  <c:v>Kiri Delicieusement Fouette Fromage Frais A Tartiner 1X160Gr 10P</c:v>
                </c:pt>
                <c:pt idx="4">
                  <c:v>Kiri Creme Fromage Blanc Frais Carre 1X216Gr 12P</c:v>
                </c:pt>
                <c:pt idx="5">
                  <c:v>Kiri Gouter Fromage Blanc Dips Boite 1X280Gr 8P</c:v>
                </c:pt>
              </c:strCache>
            </c:strRef>
          </c:cat>
          <c:val>
            <c:numRef>
              <c:f>Sheet1!$D$2:$D$7</c:f>
              <c:numCache>
                <c:formatCode>General</c:formatCode>
                <c:ptCount val="6"/>
                <c:pt idx="0">
                  <c:v>24603.90625</c:v>
                </c:pt>
                <c:pt idx="1">
                  <c:v>11954</c:v>
                </c:pt>
                <c:pt idx="2">
                  <c:v>6336.7321428571422</c:v>
                </c:pt>
                <c:pt idx="3">
                  <c:v>4204.2222222222226</c:v>
                </c:pt>
                <c:pt idx="4">
                  <c:v>6803.333333333333</c:v>
                </c:pt>
                <c:pt idx="5">
                  <c:v>718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La Vache Qui Rit Bio Fromage Fondu Boite Ronde 1X128Gr 8P</c:v>
                </c:pt>
                <c:pt idx="5">
                  <c:v>La Vache Qui Rit Pik Et Croq' Fromage Fondu Dips Boite 1X35Gr 1P</c:v>
                </c:pt>
              </c:strCache>
            </c:strRef>
          </c:cat>
          <c:val>
            <c:numRef>
              <c:f>Sheet1!$B$2:$B$7</c:f>
              <c:numCache>
                <c:formatCode>General</c:formatCode>
                <c:ptCount val="6"/>
                <c:pt idx="0">
                  <c:v>0.91</c:v>
                </c:pt>
                <c:pt idx="1">
                  <c:v>0.47</c:v>
                </c:pt>
                <c:pt idx="2">
                  <c:v>0.51</c:v>
                </c:pt>
                <c:pt idx="3">
                  <c:v>0.09</c:v>
                </c:pt>
                <c:pt idx="4">
                  <c:v>0.08</c:v>
                </c:pt>
                <c:pt idx="5">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La Vache Qui Rit Bio Fromage Fondu Boite Ronde 1X128Gr 8P</c:v>
                </c:pt>
                <c:pt idx="5">
                  <c:v>La Vache Qui Rit Pik Et Croq' Fromage Fondu Dips Boite 1X35Gr 1P</c:v>
                </c:pt>
              </c:strCache>
            </c:strRef>
          </c:cat>
          <c:val>
            <c:numRef>
              <c:f>Sheet1!$C$2:$C$7</c:f>
              <c:numCache>
                <c:formatCode>General</c:formatCode>
                <c:ptCount val="6"/>
                <c:pt idx="0">
                  <c:v>0.58653818922982437</c:v>
                </c:pt>
                <c:pt idx="1">
                  <c:v>0.86612687995786652</c:v>
                </c:pt>
                <c:pt idx="2">
                  <c:v>0.95972501607271254</c:v>
                </c:pt>
                <c:pt idx="3">
                  <c:v>0.98670054370361793</c:v>
                </c:pt>
                <c:pt idx="4">
                  <c:v>0.99271708517713375</c:v>
                </c:pt>
                <c:pt idx="5">
                  <c:v>0.9976859943588054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La Vache Qui Rit Bio Fromage Fondu Boite Ronde 1X128Gr 8P</c:v>
                </c:pt>
                <c:pt idx="5">
                  <c:v>La Vache Qui Rit Pik Et Croq' Fromage Fondu Dips Boite 1X35Gr 1P</c:v>
                </c:pt>
              </c:strCache>
            </c:strRef>
          </c:cat>
          <c:val>
            <c:numRef>
              <c:f>Sheet1!$D$2:$D$7</c:f>
              <c:numCache>
                <c:formatCode>General</c:formatCode>
                <c:ptCount val="6"/>
                <c:pt idx="0">
                  <c:v>30497.54945054945</c:v>
                </c:pt>
                <c:pt idx="1">
                  <c:v>28146.978723404256</c:v>
                </c:pt>
                <c:pt idx="2">
                  <c:v>8683.745098039215</c:v>
                </c:pt>
                <c:pt idx="3">
                  <c:v>14182</c:v>
                </c:pt>
                <c:pt idx="4">
                  <c:v>3558.5</c:v>
                </c:pt>
                <c:pt idx="5">
                  <c:v>470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8</c:f>
              <c:strCache>
                <c:ptCount val="7"/>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Ciboulette &amp; Echalote Boite 1X150Gr 1P</c:v>
                </c:pt>
                <c:pt idx="4">
                  <c:v>Boursin Classique Fromage Frais A Tartiner Afh Boite 1X96Gr 6P</c:v>
                </c:pt>
                <c:pt idx="5">
                  <c:v>Boursin Classique Fromage Frais A Tartiner Afh Boite 1X80Gr 1P</c:v>
                </c:pt>
                <c:pt idx="6">
                  <c:v>Boursin Classique Fromage Frais A Tartiner Truffe Boite 1X150Gr 1P</c:v>
                </c:pt>
              </c:strCache>
            </c:strRef>
          </c:cat>
          <c:val>
            <c:numRef>
              <c:f>Sheet1!$B$2:$B$8</c:f>
              <c:numCache>
                <c:formatCode>General</c:formatCode>
                <c:ptCount val="7"/>
                <c:pt idx="0">
                  <c:v>0.83</c:v>
                </c:pt>
                <c:pt idx="1">
                  <c:v>0.53</c:v>
                </c:pt>
                <c:pt idx="2">
                  <c:v>0.79</c:v>
                </c:pt>
                <c:pt idx="3">
                  <c:v>0.08</c:v>
                </c:pt>
                <c:pt idx="4">
                  <c:v>0.12</c:v>
                </c:pt>
                <c:pt idx="5">
                  <c:v>0.11</c:v>
                </c:pt>
                <c:pt idx="6">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8</c:f>
              <c:strCache>
                <c:ptCount val="7"/>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Ciboulette &amp; Echalote Boite 1X150Gr 1P</c:v>
                </c:pt>
                <c:pt idx="4">
                  <c:v>Boursin Classique Fromage Frais A Tartiner Afh Boite 1X96Gr 6P</c:v>
                </c:pt>
                <c:pt idx="5">
                  <c:v>Boursin Classique Fromage Frais A Tartiner Afh Boite 1X80Gr 1P</c:v>
                </c:pt>
                <c:pt idx="6">
                  <c:v>Boursin Classique Fromage Frais A Tartiner Truffe Boite 1X150Gr 1P</c:v>
                </c:pt>
              </c:strCache>
            </c:strRef>
          </c:cat>
          <c:val>
            <c:numRef>
              <c:f>Sheet1!$C$2:$C$8</c:f>
              <c:numCache>
                <c:formatCode>General</c:formatCode>
                <c:ptCount val="7"/>
                <c:pt idx="0">
                  <c:v>0.48525784555970963</c:v>
                </c:pt>
                <c:pt idx="1">
                  <c:v>0.74171682327462252</c:v>
                </c:pt>
                <c:pt idx="2">
                  <c:v>0.95651047933185829</c:v>
                </c:pt>
                <c:pt idx="3">
                  <c:v>0.97411236743102314</c:v>
                </c:pt>
                <c:pt idx="4">
                  <c:v>0.99011234982363272</c:v>
                </c:pt>
                <c:pt idx="5">
                  <c:v>0.99783869282733617</c:v>
                </c:pt>
                <c:pt idx="6">
                  <c:v>0.9995143294812276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8</c:f>
              <c:strCache>
                <c:ptCount val="7"/>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Ciboulette &amp; Echalote Boite 1X150Gr 1P</c:v>
                </c:pt>
                <c:pt idx="4">
                  <c:v>Boursin Classique Fromage Frais A Tartiner Afh Boite 1X96Gr 6P</c:v>
                </c:pt>
                <c:pt idx="5">
                  <c:v>Boursin Classique Fromage Frais A Tartiner Afh Boite 1X80Gr 1P</c:v>
                </c:pt>
                <c:pt idx="6">
                  <c:v>Boursin Classique Fromage Frais A Tartiner Truffe Boite 1X150Gr 1P</c:v>
                </c:pt>
              </c:strCache>
            </c:strRef>
          </c:cat>
          <c:val>
            <c:numRef>
              <c:f>Sheet1!$D$2:$D$8</c:f>
              <c:numCache>
                <c:formatCode>General</c:formatCode>
                <c:ptCount val="7"/>
                <c:pt idx="0">
                  <c:v>15938.253012048193</c:v>
                </c:pt>
                <c:pt idx="1">
                  <c:v>13191.32075471698</c:v>
                </c:pt>
                <c:pt idx="2">
                  <c:v>7412.0886075949365</c:v>
                </c:pt>
                <c:pt idx="3">
                  <c:v>5998.125</c:v>
                </c:pt>
                <c:pt idx="4">
                  <c:v>3634.8333333333335</c:v>
                </c:pt>
                <c:pt idx="5">
                  <c:v>1914.8181818181818</c:v>
                </c:pt>
                <c:pt idx="6">
                  <c:v>45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B$2:$B$12</c:f>
              <c:numCache>
                <c:formatCode>General</c:formatCode>
                <c:ptCount val="11"/>
                <c:pt idx="0">
                  <c:v>0.99</c:v>
                </c:pt>
                <c:pt idx="1">
                  <c:v>0.89</c:v>
                </c:pt>
                <c:pt idx="2">
                  <c:v>0.96</c:v>
                </c:pt>
                <c:pt idx="3">
                  <c:v>0.99</c:v>
                </c:pt>
                <c:pt idx="4">
                  <c:v>0.99</c:v>
                </c:pt>
                <c:pt idx="5">
                  <c:v>0.87</c:v>
                </c:pt>
                <c:pt idx="6">
                  <c:v>0.6</c:v>
                </c:pt>
                <c:pt idx="7">
                  <c:v>0.68</c:v>
                </c:pt>
                <c:pt idx="8">
                  <c:v>0.94</c:v>
                </c:pt>
                <c:pt idx="9">
                  <c:v>0.83</c:v>
                </c:pt>
                <c:pt idx="10">
                  <c:v>0.3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C$2:$C$12</c:f>
              <c:numCache>
                <c:formatCode>General</c:formatCode>
                <c:ptCount val="11"/>
                <c:pt idx="0">
                  <c:v>0.25791997469176409</c:v>
                </c:pt>
                <c:pt idx="1">
                  <c:v>0.48148000246917211</c:v>
                </c:pt>
                <c:pt idx="2">
                  <c:v>0.63501829421462541</c:v>
                </c:pt>
                <c:pt idx="3">
                  <c:v>0.77843041141996783</c:v>
                </c:pt>
                <c:pt idx="4">
                  <c:v>0.8908174430975313</c:v>
                </c:pt>
                <c:pt idx="5">
                  <c:v>0.92099435398727314</c:v>
                </c:pt>
                <c:pt idx="6">
                  <c:v>0.94531990296745139</c:v>
                </c:pt>
                <c:pt idx="7">
                  <c:v>0.96744748397042568</c:v>
                </c:pt>
                <c:pt idx="8">
                  <c:v>0.98327120313992755</c:v>
                </c:pt>
                <c:pt idx="9">
                  <c:v>0.9988979801440262</c:v>
                </c:pt>
                <c:pt idx="1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D$2:$D$12</c:f>
              <c:numCache>
                <c:formatCode>General</c:formatCode>
                <c:ptCount val="11"/>
                <c:pt idx="0">
                  <c:v>33468.141414141413</c:v>
                </c:pt>
                <c:pt idx="1">
                  <c:v>32269.033707865168</c:v>
                </c:pt>
                <c:pt idx="2">
                  <c:v>20546</c:v>
                </c:pt>
                <c:pt idx="3">
                  <c:v>18609.404040404039</c:v>
                </c:pt>
                <c:pt idx="4">
                  <c:v>14583.535353535353</c:v>
                </c:pt>
                <c:pt idx="5">
                  <c:v>4455.9195402298847</c:v>
                </c:pt>
                <c:pt idx="6">
                  <c:v>5208.2666666666664</c:v>
                </c:pt>
                <c:pt idx="7">
                  <c:v>4180.2941176470586</c:v>
                </c:pt>
                <c:pt idx="8">
                  <c:v>2162.5319148936169</c:v>
                </c:pt>
                <c:pt idx="9">
                  <c:v>2418.6506024096384</c:v>
                </c:pt>
                <c:pt idx="10">
                  <c:v>372.552631578947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0.98</c:v>
                </c:pt>
                <c:pt idx="1">
                  <c:v>1</c:v>
                </c:pt>
                <c:pt idx="2">
                  <c:v>0.97</c:v>
                </c:pt>
                <c:pt idx="3">
                  <c:v>0.97</c:v>
                </c:pt>
                <c:pt idx="4">
                  <c:v>0.89</c:v>
                </c:pt>
                <c:pt idx="5">
                  <c:v>0.87</c:v>
                </c:pt>
                <c:pt idx="6">
                  <c:v>0.69</c:v>
                </c:pt>
                <c:pt idx="7">
                  <c:v>0.25</c:v>
                </c:pt>
                <c:pt idx="8">
                  <c:v>0.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C$2:$C$10</c:f>
              <c:numCache>
                <c:formatCode>General</c:formatCode>
                <c:ptCount val="9"/>
                <c:pt idx="0">
                  <c:v>0.33942438224118082</c:v>
                </c:pt>
                <c:pt idx="1">
                  <c:v>0.60516637614507673</c:v>
                </c:pt>
                <c:pt idx="2">
                  <c:v>0.82484942693624475</c:v>
                </c:pt>
                <c:pt idx="3">
                  <c:v>0.88248209184949533</c:v>
                </c:pt>
                <c:pt idx="4">
                  <c:v>0.93907810754500876</c:v>
                </c:pt>
                <c:pt idx="5">
                  <c:v>0.97792206379954039</c:v>
                </c:pt>
                <c:pt idx="6">
                  <c:v>0.99849028699771136</c:v>
                </c:pt>
                <c:pt idx="7">
                  <c:v>0.99994633359402385</c:v>
                </c:pt>
                <c:pt idx="8">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D$2:$D$10</c:f>
              <c:numCache>
                <c:formatCode>General</c:formatCode>
                <c:ptCount val="9"/>
                <c:pt idx="0">
                  <c:v>58923.051020408166</c:v>
                </c:pt>
                <c:pt idx="1">
                  <c:v>45209.37</c:v>
                </c:pt>
                <c:pt idx="2">
                  <c:v>38529.474226804123</c:v>
                </c:pt>
                <c:pt idx="3">
                  <c:v>10108</c:v>
                </c:pt>
                <c:pt idx="4">
                  <c:v>10818.426966292134</c:v>
                </c:pt>
                <c:pt idx="5">
                  <c:v>7595.7816091954019</c:v>
                </c:pt>
                <c:pt idx="6">
                  <c:v>5071.260869565217</c:v>
                </c:pt>
                <c:pt idx="7">
                  <c:v>990.84</c:v>
                </c:pt>
                <c:pt idx="8">
                  <c:v>76.08333333333332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Private Label</c:v>
                </c:pt>
                <c:pt idx="4">
                  <c:v>St Moret</c:v>
                </c:pt>
                <c:pt idx="5">
                  <c:v>Others</c:v>
                </c:pt>
              </c:strCache>
            </c:strRef>
          </c:cat>
          <c:val>
            <c:numRef>
              <c:f>Sheet1!$B$2:$B$7</c:f>
              <c:numCache>
                <c:formatCode>General</c:formatCode>
                <c:ptCount val="6"/>
                <c:pt idx="0">
                  <c:v>0.42203639426724576</c:v>
                </c:pt>
                <c:pt idx="1">
                  <c:v>0.2657507363088375</c:v>
                </c:pt>
                <c:pt idx="2">
                  <c:v>0.17692433493240298</c:v>
                </c:pt>
                <c:pt idx="3">
                  <c:v>8.9398422238020414E-2</c:v>
                </c:pt>
                <c:pt idx="4">
                  <c:v>2.1403549516395941E-2</c:v>
                </c:pt>
                <c:pt idx="5">
                  <c:v>2.4486562737097421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Private Label</c:v>
                </c:pt>
                <c:pt idx="4">
                  <c:v>St Moret</c:v>
                </c:pt>
                <c:pt idx="5">
                  <c:v>Others</c:v>
                </c:pt>
              </c:strCache>
            </c:strRef>
          </c:cat>
          <c:val>
            <c:numRef>
              <c:f>Sheet1!$C$2:$C$7</c:f>
              <c:numCache>
                <c:formatCode>General</c:formatCode>
                <c:ptCount val="6"/>
                <c:pt idx="0">
                  <c:v>0.46700507614213199</c:v>
                </c:pt>
                <c:pt idx="1">
                  <c:v>0.24703891708967854</c:v>
                </c:pt>
                <c:pt idx="2">
                  <c:v>0.12351945854483927</c:v>
                </c:pt>
                <c:pt idx="3">
                  <c:v>6.2605752961082908E-2</c:v>
                </c:pt>
                <c:pt idx="4">
                  <c:v>4.060913705583756E-2</c:v>
                </c:pt>
                <c:pt idx="5">
                  <c:v>5.922165820642977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Private Label</c:v>
                </c:pt>
                <c:pt idx="4">
                  <c:v>St Moret</c:v>
                </c:pt>
                <c:pt idx="5">
                  <c:v>Others</c:v>
                </c:pt>
              </c:strCache>
            </c:strRef>
          </c:cat>
          <c:val>
            <c:numRef>
              <c:f>Sheet1!$D$2:$D$7</c:f>
              <c:numCache>
                <c:formatCode>General</c:formatCode>
                <c:ptCount val="6"/>
                <c:pt idx="0">
                  <c:v>110.65516682582847</c:v>
                </c:pt>
                <c:pt idx="1">
                  <c:v>92.958883396125998</c:v>
                </c:pt>
                <c:pt idx="2">
                  <c:v>69.814849716423709</c:v>
                </c:pt>
                <c:pt idx="3">
                  <c:v>70.030042358462566</c:v>
                </c:pt>
                <c:pt idx="4">
                  <c:v>189.73085293506762</c:v>
                </c:pt>
                <c:pt idx="5">
                  <c:v>241.8537009145358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9</c:f>
              <c:strCache>
                <c:ptCount val="18"/>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Salade &amp; Aperitif Fromage Frais Des Afh 1X120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Afh 1X256Gr 16P</c:v>
                </c:pt>
                <c:pt idx="9">
                  <c:v>Boursin Classique Fromage Frais A Tartiner Poivre Boite 1X150Gr 1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Salade &amp; Aperitif Fromage Frais Des Citron Romarin 1X120Gr 1P</c:v>
                </c:pt>
                <c:pt idx="14">
                  <c:v>Boursin Salade &amp; Aperitif Fromage Frais Des Noisette Et 3 Noix 1X120Gr 1P</c:v>
                </c:pt>
                <c:pt idx="15">
                  <c:v>Boursin Classique Fromage Frais A Tartiner Afh Boite 1X80Gr 1P</c:v>
                </c:pt>
                <c:pt idx="16">
                  <c:v>Boursin Salade &amp; Aperitif Soft Cheese Salade 120G</c:v>
                </c:pt>
                <c:pt idx="17">
                  <c:v>Boursin Classique Fromage Frais A Tartiner Truffe Boite 1X150Gr 1P</c:v>
                </c:pt>
              </c:strCache>
            </c:strRef>
          </c:cat>
          <c:val>
            <c:numRef>
              <c:f>Sheet1!$B$2:$B$19</c:f>
              <c:numCache>
                <c:formatCode>General</c:formatCode>
                <c:ptCount val="18"/>
                <c:pt idx="0">
                  <c:v>0.99</c:v>
                </c:pt>
                <c:pt idx="1">
                  <c:v>0.99</c:v>
                </c:pt>
                <c:pt idx="2">
                  <c:v>1</c:v>
                </c:pt>
                <c:pt idx="3">
                  <c:v>0.97</c:v>
                </c:pt>
                <c:pt idx="4">
                  <c:v>0.98</c:v>
                </c:pt>
                <c:pt idx="5">
                  <c:v>0.96</c:v>
                </c:pt>
                <c:pt idx="6">
                  <c:v>0.99</c:v>
                </c:pt>
                <c:pt idx="7">
                  <c:v>0.99</c:v>
                </c:pt>
                <c:pt idx="8">
                  <c:v>0.87</c:v>
                </c:pt>
                <c:pt idx="9">
                  <c:v>0.96</c:v>
                </c:pt>
                <c:pt idx="10">
                  <c:v>0.83</c:v>
                </c:pt>
                <c:pt idx="11">
                  <c:v>0.86</c:v>
                </c:pt>
                <c:pt idx="12">
                  <c:v>0.88</c:v>
                </c:pt>
                <c:pt idx="13">
                  <c:v>0.67</c:v>
                </c:pt>
                <c:pt idx="14">
                  <c:v>0.83</c:v>
                </c:pt>
                <c:pt idx="15">
                  <c:v>0.28999999999999998</c:v>
                </c:pt>
                <c:pt idx="16">
                  <c:v>0.4</c:v>
                </c:pt>
                <c:pt idx="17">
                  <c:v>0.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9</c:f>
              <c:strCache>
                <c:ptCount val="18"/>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Salade &amp; Aperitif Fromage Frais Des Afh 1X120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Afh 1X256Gr 16P</c:v>
                </c:pt>
                <c:pt idx="9">
                  <c:v>Boursin Classique Fromage Frais A Tartiner Poivre Boite 1X150Gr 1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Salade &amp; Aperitif Fromage Frais Des Citron Romarin 1X120Gr 1P</c:v>
                </c:pt>
                <c:pt idx="14">
                  <c:v>Boursin Salade &amp; Aperitif Fromage Frais Des Noisette Et 3 Noix 1X120Gr 1P</c:v>
                </c:pt>
                <c:pt idx="15">
                  <c:v>Boursin Classique Fromage Frais A Tartiner Afh Boite 1X80Gr 1P</c:v>
                </c:pt>
                <c:pt idx="16">
                  <c:v>Boursin Salade &amp; Aperitif Soft Cheese Salade 120G</c:v>
                </c:pt>
                <c:pt idx="17">
                  <c:v>Boursin Classique Fromage Frais A Tartiner Truffe Boite 1X150Gr 1P</c:v>
                </c:pt>
              </c:strCache>
            </c:strRef>
          </c:cat>
          <c:val>
            <c:numRef>
              <c:f>Sheet1!$C$2:$C$19</c:f>
              <c:numCache>
                <c:formatCode>General</c:formatCode>
                <c:ptCount val="18"/>
                <c:pt idx="0">
                  <c:v>0.17727800072045127</c:v>
                </c:pt>
                <c:pt idx="1">
                  <c:v>0.3476258367741249</c:v>
                </c:pt>
                <c:pt idx="2">
                  <c:v>0.50037694064736915</c:v>
                </c:pt>
                <c:pt idx="3">
                  <c:v>0.57376489683083309</c:v>
                </c:pt>
                <c:pt idx="4">
                  <c:v>0.64369762060053981</c:v>
                </c:pt>
                <c:pt idx="5">
                  <c:v>0.71121655973605291</c:v>
                </c:pt>
                <c:pt idx="6">
                  <c:v>0.77378000856900375</c:v>
                </c:pt>
                <c:pt idx="7">
                  <c:v>0.82649413473530242</c:v>
                </c:pt>
                <c:pt idx="8">
                  <c:v>0.8723922870779971</c:v>
                </c:pt>
                <c:pt idx="9">
                  <c:v>0.91548564282536982</c:v>
                </c:pt>
                <c:pt idx="10">
                  <c:v>0.94632467518291008</c:v>
                </c:pt>
                <c:pt idx="11">
                  <c:v>0.96434277924991207</c:v>
                </c:pt>
                <c:pt idx="12">
                  <c:v>0.97645229602905825</c:v>
                </c:pt>
                <c:pt idx="13">
                  <c:v>0.98333308317664436</c:v>
                </c:pt>
                <c:pt idx="14">
                  <c:v>0.98923450688658632</c:v>
                </c:pt>
                <c:pt idx="15">
                  <c:v>0.99422180688631345</c:v>
                </c:pt>
                <c:pt idx="16">
                  <c:v>0.99722522220736454</c:v>
                </c:pt>
                <c:pt idx="1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9</c:f>
              <c:strCache>
                <c:ptCount val="18"/>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Salade &amp; Aperitif Fromage Frais Des Afh 1X120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Afh 1X256Gr 16P</c:v>
                </c:pt>
                <c:pt idx="9">
                  <c:v>Boursin Classique Fromage Frais A Tartiner Poivre Boite 1X150Gr 1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Salade &amp; Aperitif Fromage Frais Des Citron Romarin 1X120Gr 1P</c:v>
                </c:pt>
                <c:pt idx="14">
                  <c:v>Boursin Salade &amp; Aperitif Fromage Frais Des Noisette Et 3 Noix 1X120Gr 1P</c:v>
                </c:pt>
                <c:pt idx="15">
                  <c:v>Boursin Classique Fromage Frais A Tartiner Afh Boite 1X80Gr 1P</c:v>
                </c:pt>
                <c:pt idx="16">
                  <c:v>Boursin Salade &amp; Aperitif Soft Cheese Salade 120G</c:v>
                </c:pt>
                <c:pt idx="17">
                  <c:v>Boursin Classique Fromage Frais A Tartiner Truffe Boite 1X150Gr 1P</c:v>
                </c:pt>
              </c:strCache>
            </c:strRef>
          </c:cat>
          <c:val>
            <c:numRef>
              <c:f>Sheet1!$D$2:$D$19</c:f>
              <c:numCache>
                <c:formatCode>General</c:formatCode>
                <c:ptCount val="18"/>
                <c:pt idx="0">
                  <c:v>20997.565656565657</c:v>
                </c:pt>
                <c:pt idx="1">
                  <c:v>20176.727272727272</c:v>
                </c:pt>
                <c:pt idx="2">
                  <c:v>17911.57</c:v>
                </c:pt>
                <c:pt idx="3">
                  <c:v>8871.6082474226805</c:v>
                </c:pt>
                <c:pt idx="4">
                  <c:v>8367.6530612244896</c:v>
                </c:pt>
                <c:pt idx="5">
                  <c:v>8247.1458333333339</c:v>
                </c:pt>
                <c:pt idx="6">
                  <c:v>7410.2828282828286</c:v>
                </c:pt>
                <c:pt idx="7">
                  <c:v>6243.6868686868684</c:v>
                </c:pt>
                <c:pt idx="8">
                  <c:v>6186.2183908045981</c:v>
                </c:pt>
                <c:pt idx="9">
                  <c:v>5263.666666666667</c:v>
                </c:pt>
                <c:pt idx="10">
                  <c:v>4356.8433734939763</c:v>
                </c:pt>
                <c:pt idx="11">
                  <c:v>2456.7441860465115</c:v>
                </c:pt>
                <c:pt idx="12">
                  <c:v>1613.590909090909</c:v>
                </c:pt>
                <c:pt idx="13">
                  <c:v>1204.2388059701493</c:v>
                </c:pt>
                <c:pt idx="14">
                  <c:v>833.73493975903614</c:v>
                </c:pt>
                <c:pt idx="15">
                  <c:v>2016.5862068965521</c:v>
                </c:pt>
                <c:pt idx="16">
                  <c:v>880.45</c:v>
                </c:pt>
                <c:pt idx="17">
                  <c:v>464.814285714285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432Gr 24P</c:v>
                </c:pt>
                <c:pt idx="1">
                  <c:v>Kiri Creme Fromage Blanc Frais Carre 1X216Gr 12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B$2:$B$12</c:f>
              <c:numCache>
                <c:formatCode>General</c:formatCode>
                <c:ptCount val="11"/>
                <c:pt idx="0">
                  <c:v>0.99</c:v>
                </c:pt>
                <c:pt idx="1">
                  <c:v>1</c:v>
                </c:pt>
                <c:pt idx="2">
                  <c:v>0.99</c:v>
                </c:pt>
                <c:pt idx="3">
                  <c:v>1</c:v>
                </c:pt>
                <c:pt idx="4">
                  <c:v>1</c:v>
                </c:pt>
                <c:pt idx="5">
                  <c:v>0.99</c:v>
                </c:pt>
                <c:pt idx="6">
                  <c:v>0.87</c:v>
                </c:pt>
                <c:pt idx="7">
                  <c:v>0.88</c:v>
                </c:pt>
                <c:pt idx="8">
                  <c:v>0.98</c:v>
                </c:pt>
                <c:pt idx="9">
                  <c:v>0.94</c:v>
                </c:pt>
                <c:pt idx="10">
                  <c:v>0.6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432Gr 24P</c:v>
                </c:pt>
                <c:pt idx="1">
                  <c:v>Kiri Creme Fromage Blanc Frais Carre 1X216Gr 12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C$2:$C$12</c:f>
              <c:numCache>
                <c:formatCode>General</c:formatCode>
                <c:ptCount val="11"/>
                <c:pt idx="0">
                  <c:v>0.24895243454716701</c:v>
                </c:pt>
                <c:pt idx="1">
                  <c:v>0.49502459061967696</c:v>
                </c:pt>
                <c:pt idx="2">
                  <c:v>0.6518645569897511</c:v>
                </c:pt>
                <c:pt idx="3">
                  <c:v>0.77466012040052645</c:v>
                </c:pt>
                <c:pt idx="4">
                  <c:v>0.88203958087272705</c:v>
                </c:pt>
                <c:pt idx="5">
                  <c:v>0.91425295567622955</c:v>
                </c:pt>
                <c:pt idx="6">
                  <c:v>0.93984227969113054</c:v>
                </c:pt>
                <c:pt idx="7">
                  <c:v>0.96262503812009403</c:v>
                </c:pt>
                <c:pt idx="8">
                  <c:v>0.9822217148903406</c:v>
                </c:pt>
                <c:pt idx="9">
                  <c:v>0.9984309685115389</c:v>
                </c:pt>
                <c:pt idx="1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432Gr 24P</c:v>
                </c:pt>
                <c:pt idx="1">
                  <c:v>Kiri Creme Fromage Blanc Frais Carre 1X216Gr 12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Delicieusement Fouette Fromage Frais A Tartiner 1X160Gr 10P</c:v>
                </c:pt>
                <c:pt idx="9">
                  <c:v>Kiri Creme Fromage Blanc Frais Carre 1X432Gr 18+6P</c:v>
                </c:pt>
                <c:pt idx="10">
                  <c:v>Kiri Delicieusement Fouette Fromage Frais A Tartiner 1X210Gr 1P</c:v>
                </c:pt>
              </c:strCache>
            </c:strRef>
          </c:cat>
          <c:val>
            <c:numRef>
              <c:f>Sheet1!$D$2:$D$12</c:f>
              <c:numCache>
                <c:formatCode>General</c:formatCode>
                <c:ptCount val="11"/>
                <c:pt idx="0">
                  <c:v>5970.0202020202023</c:v>
                </c:pt>
                <c:pt idx="1">
                  <c:v>5841.94</c:v>
                </c:pt>
                <c:pt idx="2">
                  <c:v>3761.1111111111113</c:v>
                </c:pt>
                <c:pt idx="3">
                  <c:v>2915.26</c:v>
                </c:pt>
                <c:pt idx="4">
                  <c:v>2549.27</c:v>
                </c:pt>
                <c:pt idx="5">
                  <c:v>772.49494949494954</c:v>
                </c:pt>
                <c:pt idx="6">
                  <c:v>698.28735632183907</c:v>
                </c:pt>
                <c:pt idx="7">
                  <c:v>614.63636363636363</c:v>
                </c:pt>
                <c:pt idx="8">
                  <c:v>474.73469387755102</c:v>
                </c:pt>
                <c:pt idx="9">
                  <c:v>409.38297872340428</c:v>
                </c:pt>
                <c:pt idx="10">
                  <c:v>58.203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0.99</c:v>
                </c:pt>
                <c:pt idx="1">
                  <c:v>1</c:v>
                </c:pt>
                <c:pt idx="2">
                  <c:v>1</c:v>
                </c:pt>
                <c:pt idx="3">
                  <c:v>0.98</c:v>
                </c:pt>
                <c:pt idx="4">
                  <c:v>0.99</c:v>
                </c:pt>
                <c:pt idx="5">
                  <c:v>0.97</c:v>
                </c:pt>
                <c:pt idx="6">
                  <c:v>0.92</c:v>
                </c:pt>
                <c:pt idx="7">
                  <c:v>0.32</c:v>
                </c:pt>
                <c:pt idx="8">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C$2:$C$10</c:f>
              <c:numCache>
                <c:formatCode>General</c:formatCode>
                <c:ptCount val="9"/>
                <c:pt idx="0">
                  <c:v>0.35159754212337546</c:v>
                </c:pt>
                <c:pt idx="1">
                  <c:v>0.59094594069712347</c:v>
                </c:pt>
                <c:pt idx="2">
                  <c:v>0.8063379658041312</c:v>
                </c:pt>
                <c:pt idx="3">
                  <c:v>0.87519455600525142</c:v>
                </c:pt>
                <c:pt idx="4">
                  <c:v>0.93954307110285962</c:v>
                </c:pt>
                <c:pt idx="5">
                  <c:v>0.97480505558188146</c:v>
                </c:pt>
                <c:pt idx="6">
                  <c:v>0.99818533508378082</c:v>
                </c:pt>
                <c:pt idx="7">
                  <c:v>0.99994872950151115</c:v>
                </c:pt>
                <c:pt idx="8">
                  <c:v>0.9999801132611922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D$2:$D$10</c:f>
              <c:numCache>
                <c:formatCode>General</c:formatCode>
                <c:ptCount val="9"/>
                <c:pt idx="0">
                  <c:v>11429.494949494949</c:v>
                </c:pt>
                <c:pt idx="1">
                  <c:v>7702.77</c:v>
                </c:pt>
                <c:pt idx="2">
                  <c:v>6931.8</c:v>
                </c:pt>
                <c:pt idx="3">
                  <c:v>2261.1836734693879</c:v>
                </c:pt>
                <c:pt idx="4">
                  <c:v>2091.7979797979797</c:v>
                </c:pt>
                <c:pt idx="5">
                  <c:v>1169.9072164948454</c:v>
                </c:pt>
                <c:pt idx="6">
                  <c:v>817.85869565217388</c:v>
                </c:pt>
                <c:pt idx="7">
                  <c:v>177.34375</c:v>
                </c:pt>
                <c:pt idx="8">
                  <c:v>7.769230769230769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9</c:f>
              <c:strCache>
                <c:ptCount val="18"/>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Classique Fromage Frais A Tartiner Afh 1X256Gr 16P</c:v>
                </c:pt>
                <c:pt idx="5">
                  <c:v>Boursin Onctueux Fromage Frais A Tartiner Afh 1X125Gr 1P</c:v>
                </c:pt>
                <c:pt idx="6">
                  <c:v>Boursin Classique Fromage Frais A Tartiner Afh Boite 1X96Gr 6P</c:v>
                </c:pt>
                <c:pt idx="7">
                  <c:v>Boursin Classique Fromage Frais A Tartiner Figue Et 3 Noix Boite 1X150Gr 1P</c:v>
                </c:pt>
                <c:pt idx="8">
                  <c:v>Boursin Classique Fromage Frais A Tartiner Ciboulette &amp; Echalote Boite 1X150Gr 1P</c:v>
                </c:pt>
                <c:pt idx="9">
                  <c:v>Boursin Classique Fromage Frais A Tartiner Poivre Boite 1X150Gr 1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Classique Fromage Frais A Tartiner Afh Boite 1X80Gr 1P</c:v>
                </c:pt>
                <c:pt idx="14">
                  <c:v>Boursin Salade &amp; Aperitif Fromage Frais Des Citron Romarin 1X120Gr 1P</c:v>
                </c:pt>
                <c:pt idx="15">
                  <c:v>Boursin Salade &amp; Aperitif Fromage Frais Des Noisette Et 3 Noix 1X120Gr 1P</c:v>
                </c:pt>
                <c:pt idx="16">
                  <c:v>Boursin Classique Fromage Frais A Tartiner Truffe Boite 1X150Gr 1P</c:v>
                </c:pt>
                <c:pt idx="17">
                  <c:v>Boursin Salade &amp; Aperitif Soft Cheese Salade 120G</c:v>
                </c:pt>
              </c:strCache>
            </c:strRef>
          </c:cat>
          <c:val>
            <c:numRef>
              <c:f>Sheet1!$B$2:$B$19</c:f>
              <c:numCache>
                <c:formatCode>General</c:formatCode>
                <c:ptCount val="18"/>
                <c:pt idx="0">
                  <c:v>1</c:v>
                </c:pt>
                <c:pt idx="1">
                  <c:v>1</c:v>
                </c:pt>
                <c:pt idx="2">
                  <c:v>1</c:v>
                </c:pt>
                <c:pt idx="3">
                  <c:v>1</c:v>
                </c:pt>
                <c:pt idx="4">
                  <c:v>0.99</c:v>
                </c:pt>
                <c:pt idx="5">
                  <c:v>0.99</c:v>
                </c:pt>
                <c:pt idx="6">
                  <c:v>0.99</c:v>
                </c:pt>
                <c:pt idx="7">
                  <c:v>1</c:v>
                </c:pt>
                <c:pt idx="8">
                  <c:v>1</c:v>
                </c:pt>
                <c:pt idx="9">
                  <c:v>0.99</c:v>
                </c:pt>
                <c:pt idx="10">
                  <c:v>0.98</c:v>
                </c:pt>
                <c:pt idx="11">
                  <c:v>0.95</c:v>
                </c:pt>
                <c:pt idx="12">
                  <c:v>0.97</c:v>
                </c:pt>
                <c:pt idx="13">
                  <c:v>0.7</c:v>
                </c:pt>
                <c:pt idx="14">
                  <c:v>0.93</c:v>
                </c:pt>
                <c:pt idx="15">
                  <c:v>0.99</c:v>
                </c:pt>
                <c:pt idx="16">
                  <c:v>0.92</c:v>
                </c:pt>
                <c:pt idx="17">
                  <c:v>0.7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7ECAC4"/>
              </a:solidFill>
            </c:spPr>
            <c:extLst>
              <c:ext xmlns:c16="http://schemas.microsoft.com/office/drawing/2014/chart" uri="{C3380CC4-5D6E-409C-BE32-E72D297353CC}">
                <c16:uniqueId val="{00000015-FA3E-4872-B6E1-C4ABDF5766E2}"/>
              </c:ext>
            </c:extLst>
          </c:dPt>
          <c:dPt>
            <c:idx val="10"/>
            <c:invertIfNegative val="1"/>
            <c:bubble3D val="0"/>
            <c:spPr>
              <a:solidFill>
                <a:srgbClr val="7ECAC4"/>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9</c:f>
              <c:strCache>
                <c:ptCount val="18"/>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Classique Fromage Frais A Tartiner Afh 1X256Gr 16P</c:v>
                </c:pt>
                <c:pt idx="5">
                  <c:v>Boursin Onctueux Fromage Frais A Tartiner Afh 1X125Gr 1P</c:v>
                </c:pt>
                <c:pt idx="6">
                  <c:v>Boursin Classique Fromage Frais A Tartiner Afh Boite 1X96Gr 6P</c:v>
                </c:pt>
                <c:pt idx="7">
                  <c:v>Boursin Classique Fromage Frais A Tartiner Figue Et 3 Noix Boite 1X150Gr 1P</c:v>
                </c:pt>
                <c:pt idx="8">
                  <c:v>Boursin Classique Fromage Frais A Tartiner Ciboulette &amp; Echalote Boite 1X150Gr 1P</c:v>
                </c:pt>
                <c:pt idx="9">
                  <c:v>Boursin Classique Fromage Frais A Tartiner Poivre Boite 1X150Gr 1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Classique Fromage Frais A Tartiner Afh Boite 1X80Gr 1P</c:v>
                </c:pt>
                <c:pt idx="14">
                  <c:v>Boursin Salade &amp; Aperitif Fromage Frais Des Citron Romarin 1X120Gr 1P</c:v>
                </c:pt>
                <c:pt idx="15">
                  <c:v>Boursin Salade &amp; Aperitif Fromage Frais Des Noisette Et 3 Noix 1X120Gr 1P</c:v>
                </c:pt>
                <c:pt idx="16">
                  <c:v>Boursin Classique Fromage Frais A Tartiner Truffe Boite 1X150Gr 1P</c:v>
                </c:pt>
                <c:pt idx="17">
                  <c:v>Boursin Salade &amp; Aperitif Soft Cheese Salade 120G</c:v>
                </c:pt>
              </c:strCache>
            </c:strRef>
          </c:cat>
          <c:val>
            <c:numRef>
              <c:f>Sheet1!$C$2:$C$19</c:f>
              <c:numCache>
                <c:formatCode>General</c:formatCode>
                <c:ptCount val="18"/>
                <c:pt idx="0">
                  <c:v>0.19177561768019491</c:v>
                </c:pt>
                <c:pt idx="1">
                  <c:v>0.35614021462070822</c:v>
                </c:pt>
                <c:pt idx="2">
                  <c:v>0.49652794673034673</c:v>
                </c:pt>
                <c:pt idx="3">
                  <c:v>0.56340462403946567</c:v>
                </c:pt>
                <c:pt idx="4">
                  <c:v>0.62969038324057058</c:v>
                </c:pt>
                <c:pt idx="5">
                  <c:v>0.6940536701488571</c:v>
                </c:pt>
                <c:pt idx="6">
                  <c:v>0.7572238919934573</c:v>
                </c:pt>
                <c:pt idx="7">
                  <c:v>0.81133664459574273</c:v>
                </c:pt>
                <c:pt idx="8">
                  <c:v>0.85732298657404105</c:v>
                </c:pt>
                <c:pt idx="9">
                  <c:v>0.89849262077561387</c:v>
                </c:pt>
                <c:pt idx="10">
                  <c:v>0.93264562879675406</c:v>
                </c:pt>
                <c:pt idx="11">
                  <c:v>0.95362766638345009</c:v>
                </c:pt>
                <c:pt idx="12">
                  <c:v>0.96770162331707632</c:v>
                </c:pt>
                <c:pt idx="13">
                  <c:v>0.97774208459813816</c:v>
                </c:pt>
                <c:pt idx="14">
                  <c:v>0.98632232781497842</c:v>
                </c:pt>
                <c:pt idx="15">
                  <c:v>0.99269797394158743</c:v>
                </c:pt>
                <c:pt idx="16">
                  <c:v>0.99636512843930236</c:v>
                </c:pt>
                <c:pt idx="17">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9</c:f>
              <c:strCache>
                <c:ptCount val="18"/>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Classique Fromage Frais A Tartiner Afh 1X256Gr 16P</c:v>
                </c:pt>
                <c:pt idx="5">
                  <c:v>Boursin Onctueux Fromage Frais A Tartiner Afh 1X125Gr 1P</c:v>
                </c:pt>
                <c:pt idx="6">
                  <c:v>Boursin Classique Fromage Frais A Tartiner Afh Boite 1X96Gr 6P</c:v>
                </c:pt>
                <c:pt idx="7">
                  <c:v>Boursin Classique Fromage Frais A Tartiner Figue Et 3 Noix Boite 1X150Gr 1P</c:v>
                </c:pt>
                <c:pt idx="8">
                  <c:v>Boursin Classique Fromage Frais A Tartiner Ciboulette &amp; Echalote Boite 1X150Gr 1P</c:v>
                </c:pt>
                <c:pt idx="9">
                  <c:v>Boursin Classique Fromage Frais A Tartiner Poivre Boite 1X150Gr 1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Classique Fromage Frais A Tartiner Afh Boite 1X80Gr 1P</c:v>
                </c:pt>
                <c:pt idx="14">
                  <c:v>Boursin Salade &amp; Aperitif Fromage Frais Des Citron Romarin 1X120Gr 1P</c:v>
                </c:pt>
                <c:pt idx="15">
                  <c:v>Boursin Salade &amp; Aperitif Fromage Frais Des Noisette Et 3 Noix 1X120Gr 1P</c:v>
                </c:pt>
                <c:pt idx="16">
                  <c:v>Boursin Classique Fromage Frais A Tartiner Truffe Boite 1X150Gr 1P</c:v>
                </c:pt>
                <c:pt idx="17">
                  <c:v>Boursin Salade &amp; Aperitif Soft Cheese Salade 120G</c:v>
                </c:pt>
              </c:strCache>
            </c:strRef>
          </c:cat>
          <c:val>
            <c:numRef>
              <c:f>Sheet1!$D$2:$D$19</c:f>
              <c:numCache>
                <c:formatCode>General</c:formatCode>
                <c:ptCount val="18"/>
                <c:pt idx="0">
                  <c:v>4098.92</c:v>
                </c:pt>
                <c:pt idx="1">
                  <c:v>3513.05</c:v>
                </c:pt>
                <c:pt idx="2">
                  <c:v>3000.58</c:v>
                </c:pt>
                <c:pt idx="3">
                  <c:v>1429.39</c:v>
                </c:pt>
                <c:pt idx="4">
                  <c:v>1431.0707070707072</c:v>
                </c:pt>
                <c:pt idx="5">
                  <c:v>1389.5656565656566</c:v>
                </c:pt>
                <c:pt idx="6">
                  <c:v>1363.8080808080808</c:v>
                </c:pt>
                <c:pt idx="7">
                  <c:v>1156.58</c:v>
                </c:pt>
                <c:pt idx="8">
                  <c:v>982.89</c:v>
                </c:pt>
                <c:pt idx="9">
                  <c:v>888.82828282828279</c:v>
                </c:pt>
                <c:pt idx="10">
                  <c:v>744.86734693877554</c:v>
                </c:pt>
                <c:pt idx="11">
                  <c:v>472.06315789473683</c:v>
                </c:pt>
                <c:pt idx="12">
                  <c:v>310.11340206185565</c:v>
                </c:pt>
                <c:pt idx="13">
                  <c:v>306.57142857142856</c:v>
                </c:pt>
                <c:pt idx="14">
                  <c:v>197.19354838709677</c:v>
                </c:pt>
                <c:pt idx="15">
                  <c:v>137.64646464646464</c:v>
                </c:pt>
                <c:pt idx="16">
                  <c:v>85.195652173913047</c:v>
                </c:pt>
                <c:pt idx="17">
                  <c:v>106.4246575342465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Kiri Creme Fromage Blanc Frais Carre 1X216Gr 12P</c:v>
                </c:pt>
                <c:pt idx="1">
                  <c:v>Kiri Creme Fromage Blanc Frais Carre 1X144Gr 8P</c:v>
                </c:pt>
                <c:pt idx="2">
                  <c:v>Kiri Gouter Fromage Blanc Dips Boite 1X175Gr 5P</c:v>
                </c:pt>
                <c:pt idx="3">
                  <c:v>Kiri Creme Fromage Blanc Frais Carre 1X432Gr 24P</c:v>
                </c:pt>
                <c:pt idx="4">
                  <c:v>Kiri Gouter Fromage Blanc Dips Boite 1X280Gr 8P</c:v>
                </c:pt>
                <c:pt idx="5">
                  <c:v>Kiri Bio Fromage Blanc Frais Carre 1X144Gr 8P</c:v>
                </c:pt>
                <c:pt idx="6">
                  <c:v>Kiri Delicieusement Fouette Fromage Frais A Tartiner 1X125Gr 1P</c:v>
                </c:pt>
                <c:pt idx="7">
                  <c:v>Kiri Creme Fromage Blanc Frais Carre 1X432Gr 18+6P</c:v>
                </c:pt>
                <c:pt idx="8">
                  <c:v>Kiri Chevre Fromage Blanc Frais Carre 1X144Gr 8P</c:v>
                </c:pt>
                <c:pt idx="9">
                  <c:v>Kiri Delicieusement Fouette Fromage Frais A Tartiner 1X160Gr 10P</c:v>
                </c:pt>
                <c:pt idx="10">
                  <c:v>Kiri Delicieusement Fouette Fromage Frais A Tartiner 1X210Gr 1P</c:v>
                </c:pt>
              </c:strCache>
            </c:strRef>
          </c:cat>
          <c:val>
            <c:numRef>
              <c:f>Sheet1!$B$2:$B$12</c:f>
              <c:numCache>
                <c:formatCode>General</c:formatCode>
                <c:ptCount val="11"/>
                <c:pt idx="0">
                  <c:v>0.85</c:v>
                </c:pt>
                <c:pt idx="1">
                  <c:v>0.92</c:v>
                </c:pt>
                <c:pt idx="2">
                  <c:v>0.9</c:v>
                </c:pt>
                <c:pt idx="3">
                  <c:v>0.52</c:v>
                </c:pt>
                <c:pt idx="4">
                  <c:v>0.68</c:v>
                </c:pt>
                <c:pt idx="5">
                  <c:v>0.31</c:v>
                </c:pt>
                <c:pt idx="6">
                  <c:v>0.44</c:v>
                </c:pt>
                <c:pt idx="7">
                  <c:v>0.59</c:v>
                </c:pt>
                <c:pt idx="8">
                  <c:v>0.38</c:v>
                </c:pt>
                <c:pt idx="9">
                  <c:v>0.5</c:v>
                </c:pt>
                <c:pt idx="10">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Kiri Creme Fromage Blanc Frais Carre 1X216Gr 12P</c:v>
                </c:pt>
                <c:pt idx="1">
                  <c:v>Kiri Creme Fromage Blanc Frais Carre 1X144Gr 8P</c:v>
                </c:pt>
                <c:pt idx="2">
                  <c:v>Kiri Gouter Fromage Blanc Dips Boite 1X175Gr 5P</c:v>
                </c:pt>
                <c:pt idx="3">
                  <c:v>Kiri Creme Fromage Blanc Frais Carre 1X432Gr 24P</c:v>
                </c:pt>
                <c:pt idx="4">
                  <c:v>Kiri Gouter Fromage Blanc Dips Boite 1X280Gr 8P</c:v>
                </c:pt>
                <c:pt idx="5">
                  <c:v>Kiri Bio Fromage Blanc Frais Carre 1X144Gr 8P</c:v>
                </c:pt>
                <c:pt idx="6">
                  <c:v>Kiri Delicieusement Fouette Fromage Frais A Tartiner 1X125Gr 1P</c:v>
                </c:pt>
                <c:pt idx="7">
                  <c:v>Kiri Creme Fromage Blanc Frais Carre 1X432Gr 18+6P</c:v>
                </c:pt>
                <c:pt idx="8">
                  <c:v>Kiri Chevre Fromage Blanc Frais Carre 1X144Gr 8P</c:v>
                </c:pt>
                <c:pt idx="9">
                  <c:v>Kiri Delicieusement Fouette Fromage Frais A Tartiner 1X160Gr 10P</c:v>
                </c:pt>
                <c:pt idx="10">
                  <c:v>Kiri Delicieusement Fouette Fromage Frais A Tartiner 1X210Gr 1P</c:v>
                </c:pt>
              </c:strCache>
            </c:strRef>
          </c:cat>
          <c:val>
            <c:numRef>
              <c:f>Sheet1!$C$2:$C$12</c:f>
              <c:numCache>
                <c:formatCode>General</c:formatCode>
                <c:ptCount val="11"/>
                <c:pt idx="0">
                  <c:v>0.28326101542826881</c:v>
                </c:pt>
                <c:pt idx="1">
                  <c:v>0.48586769360112847</c:v>
                </c:pt>
                <c:pt idx="2">
                  <c:v>0.64792868316067298</c:v>
                </c:pt>
                <c:pt idx="3">
                  <c:v>0.78454283092767663</c:v>
                </c:pt>
                <c:pt idx="4">
                  <c:v>0.9030690816198671</c:v>
                </c:pt>
                <c:pt idx="5">
                  <c:v>0.93052226529185167</c:v>
                </c:pt>
                <c:pt idx="6">
                  <c:v>0.95566444222584201</c:v>
                </c:pt>
                <c:pt idx="7">
                  <c:v>0.97336784517568498</c:v>
                </c:pt>
                <c:pt idx="8">
                  <c:v>0.98929631006899665</c:v>
                </c:pt>
                <c:pt idx="9">
                  <c:v>0.99998736878695882</c:v>
                </c:pt>
                <c:pt idx="10">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Kiri Creme Fromage Blanc Frais Carre 1X216Gr 12P</c:v>
                </c:pt>
                <c:pt idx="1">
                  <c:v>Kiri Creme Fromage Blanc Frais Carre 1X144Gr 8P</c:v>
                </c:pt>
                <c:pt idx="2">
                  <c:v>Kiri Gouter Fromage Blanc Dips Boite 1X175Gr 5P</c:v>
                </c:pt>
                <c:pt idx="3">
                  <c:v>Kiri Creme Fromage Blanc Frais Carre 1X432Gr 24P</c:v>
                </c:pt>
                <c:pt idx="4">
                  <c:v>Kiri Gouter Fromage Blanc Dips Boite 1X280Gr 8P</c:v>
                </c:pt>
                <c:pt idx="5">
                  <c:v>Kiri Bio Fromage Blanc Frais Carre 1X144Gr 8P</c:v>
                </c:pt>
                <c:pt idx="6">
                  <c:v>Kiri Delicieusement Fouette Fromage Frais A Tartiner 1X125Gr 1P</c:v>
                </c:pt>
                <c:pt idx="7">
                  <c:v>Kiri Creme Fromage Blanc Frais Carre 1X432Gr 18+6P</c:v>
                </c:pt>
                <c:pt idx="8">
                  <c:v>Kiri Chevre Fromage Blanc Frais Carre 1X144Gr 8P</c:v>
                </c:pt>
                <c:pt idx="9">
                  <c:v>Kiri Delicieusement Fouette Fromage Frais A Tartiner 1X160Gr 10P</c:v>
                </c:pt>
                <c:pt idx="10">
                  <c:v>Kiri Delicieusement Fouette Fromage Frais A Tartiner 1X210Gr 1P</c:v>
                </c:pt>
              </c:strCache>
            </c:strRef>
          </c:cat>
          <c:val>
            <c:numRef>
              <c:f>Sheet1!$D$2:$D$12</c:f>
              <c:numCache>
                <c:formatCode>General</c:formatCode>
                <c:ptCount val="11"/>
                <c:pt idx="0">
                  <c:v>6595.7294117647061</c:v>
                </c:pt>
                <c:pt idx="1">
                  <c:v>4358.739130434783</c:v>
                </c:pt>
                <c:pt idx="2">
                  <c:v>3563.9444444444443</c:v>
                </c:pt>
                <c:pt idx="3">
                  <c:v>5199.8076923076924</c:v>
                </c:pt>
                <c:pt idx="4">
                  <c:v>3449.8529411764707</c:v>
                </c:pt>
                <c:pt idx="5">
                  <c:v>1752.7741935483871</c:v>
                </c:pt>
                <c:pt idx="6">
                  <c:v>1130.9545454545455</c:v>
                </c:pt>
                <c:pt idx="7">
                  <c:v>593.88135593220341</c:v>
                </c:pt>
                <c:pt idx="8">
                  <c:v>829.63157894736844</c:v>
                </c:pt>
                <c:pt idx="9">
                  <c:v>423.2</c:v>
                </c:pt>
                <c:pt idx="10">
                  <c:v>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pt idx="7">
                  <c:v>La Vache Qui Rit Nature Fromage Fondu Boite Ronde 1X128Gr 8P</c:v>
                </c:pt>
              </c:strCache>
            </c:strRef>
          </c:cat>
          <c:val>
            <c:numRef>
              <c:f>Sheet1!$B$2:$B$9</c:f>
              <c:numCache>
                <c:formatCode>General</c:formatCode>
                <c:ptCount val="8"/>
                <c:pt idx="0">
                  <c:v>0.98</c:v>
                </c:pt>
                <c:pt idx="1">
                  <c:v>0.68</c:v>
                </c:pt>
                <c:pt idx="2">
                  <c:v>0.68</c:v>
                </c:pt>
                <c:pt idx="3">
                  <c:v>0.82</c:v>
                </c:pt>
                <c:pt idx="4">
                  <c:v>0.5</c:v>
                </c:pt>
                <c:pt idx="5">
                  <c:v>0.42</c:v>
                </c:pt>
                <c:pt idx="6">
                  <c:v>0.33</c:v>
                </c:pt>
                <c:pt idx="7">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pt idx="7">
                  <c:v>La Vache Qui Rit Nature Fromage Fondu Boite Ronde 1X128Gr 8P</c:v>
                </c:pt>
              </c:strCache>
            </c:strRef>
          </c:cat>
          <c:val>
            <c:numRef>
              <c:f>Sheet1!$C$2:$C$9</c:f>
              <c:numCache>
                <c:formatCode>General</c:formatCode>
                <c:ptCount val="8"/>
                <c:pt idx="0">
                  <c:v>0.37375445558855042</c:v>
                </c:pt>
                <c:pt idx="1">
                  <c:v>0.63495812219618175</c:v>
                </c:pt>
                <c:pt idx="2">
                  <c:v>0.84302013676700949</c:v>
                </c:pt>
                <c:pt idx="3">
                  <c:v>0.9180433926609386</c:v>
                </c:pt>
                <c:pt idx="4">
                  <c:v>0.95770565346052872</c:v>
                </c:pt>
                <c:pt idx="5">
                  <c:v>0.9859295393699502</c:v>
                </c:pt>
                <c:pt idx="6">
                  <c:v>0.99990972758363961</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pt idx="7">
                  <c:v>La Vache Qui Rit Nature Fromage Fondu Boite Ronde 1X128Gr 8P</c:v>
                </c:pt>
              </c:strCache>
            </c:strRef>
          </c:cat>
          <c:val>
            <c:numRef>
              <c:f>Sheet1!$D$2:$D$9</c:f>
              <c:numCache>
                <c:formatCode>General</c:formatCode>
                <c:ptCount val="8"/>
                <c:pt idx="0">
                  <c:v>8872.0612244897966</c:v>
                </c:pt>
                <c:pt idx="1">
                  <c:v>8935.823529411764</c:v>
                </c:pt>
                <c:pt idx="2">
                  <c:v>7117.838235294118</c:v>
                </c:pt>
                <c:pt idx="3">
                  <c:v>2128.3658536585367</c:v>
                </c:pt>
                <c:pt idx="4">
                  <c:v>1845.32</c:v>
                </c:pt>
                <c:pt idx="5">
                  <c:v>1563.2619047619048</c:v>
                </c:pt>
                <c:pt idx="6">
                  <c:v>985.5151515151515</c:v>
                </c:pt>
                <c:pt idx="7">
                  <c:v>1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9</c:f>
              <c:strCache>
                <c:ptCount val="18"/>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Afh Boite 1X96Gr 6P</c:v>
                </c:pt>
                <c:pt idx="6">
                  <c:v>Boursin Salade &amp; Aperitif Fromage Frais Des Afh 1X120Gr 1P</c:v>
                </c:pt>
                <c:pt idx="7">
                  <c:v>Boursin Classique Fromage Frais A Tartiner Ciboulette &amp; Echalote Boite 1X150Gr 1P</c:v>
                </c:pt>
                <c:pt idx="8">
                  <c:v>Boursin Classique Fromage Frais A Tartiner Poivre Boite 1X150Gr 1P</c:v>
                </c:pt>
                <c:pt idx="9">
                  <c:v>Boursin Classique Fromage Frais A Tartiner Afh 1X256Gr 16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Classique Fromage Frais A Tartiner Afh Boite 1X80Gr 1P</c:v>
                </c:pt>
                <c:pt idx="14">
                  <c:v>Boursin Salade &amp; Aperitif Fromage Frais Des Citron Romarin 1X120Gr 1P</c:v>
                </c:pt>
                <c:pt idx="15">
                  <c:v>Boursin Salade &amp; Aperitif Fromage Frais Des Noisette Et 3 Noix 1X120Gr 1P</c:v>
                </c:pt>
                <c:pt idx="16">
                  <c:v>Boursin Classique Fromage Frais A Tartiner Truffe Boite 1X150Gr 1P</c:v>
                </c:pt>
                <c:pt idx="17">
                  <c:v>Boursin Salade &amp; Aperitif Soft Cheese Salade 120G</c:v>
                </c:pt>
              </c:strCache>
            </c:strRef>
          </c:cat>
          <c:val>
            <c:numRef>
              <c:f>Sheet1!$B$2:$B$19</c:f>
              <c:numCache>
                <c:formatCode>General</c:formatCode>
                <c:ptCount val="18"/>
                <c:pt idx="0">
                  <c:v>0.98</c:v>
                </c:pt>
                <c:pt idx="1">
                  <c:v>0.9</c:v>
                </c:pt>
                <c:pt idx="2">
                  <c:v>0.89</c:v>
                </c:pt>
                <c:pt idx="3">
                  <c:v>0.81</c:v>
                </c:pt>
                <c:pt idx="4">
                  <c:v>0.89</c:v>
                </c:pt>
                <c:pt idx="5">
                  <c:v>0.74</c:v>
                </c:pt>
                <c:pt idx="6">
                  <c:v>0.85</c:v>
                </c:pt>
                <c:pt idx="7">
                  <c:v>0.83</c:v>
                </c:pt>
                <c:pt idx="8">
                  <c:v>0.75</c:v>
                </c:pt>
                <c:pt idx="9">
                  <c:v>0.64</c:v>
                </c:pt>
                <c:pt idx="10">
                  <c:v>0.46</c:v>
                </c:pt>
                <c:pt idx="11">
                  <c:v>0.43</c:v>
                </c:pt>
                <c:pt idx="12">
                  <c:v>0.47</c:v>
                </c:pt>
                <c:pt idx="13">
                  <c:v>0.12</c:v>
                </c:pt>
                <c:pt idx="14">
                  <c:v>0.28000000000000003</c:v>
                </c:pt>
                <c:pt idx="15">
                  <c:v>0.41</c:v>
                </c:pt>
                <c:pt idx="16">
                  <c:v>0.33</c:v>
                </c:pt>
                <c:pt idx="17">
                  <c:v>0.14000000000000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AEABAB"/>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9</c:f>
              <c:strCache>
                <c:ptCount val="18"/>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Afh Boite 1X96Gr 6P</c:v>
                </c:pt>
                <c:pt idx="6">
                  <c:v>Boursin Salade &amp; Aperitif Fromage Frais Des Afh 1X120Gr 1P</c:v>
                </c:pt>
                <c:pt idx="7">
                  <c:v>Boursin Classique Fromage Frais A Tartiner Ciboulette &amp; Echalote Boite 1X150Gr 1P</c:v>
                </c:pt>
                <c:pt idx="8">
                  <c:v>Boursin Classique Fromage Frais A Tartiner Poivre Boite 1X150Gr 1P</c:v>
                </c:pt>
                <c:pt idx="9">
                  <c:v>Boursin Classique Fromage Frais A Tartiner Afh 1X256Gr 16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Classique Fromage Frais A Tartiner Afh Boite 1X80Gr 1P</c:v>
                </c:pt>
                <c:pt idx="14">
                  <c:v>Boursin Salade &amp; Aperitif Fromage Frais Des Citron Romarin 1X120Gr 1P</c:v>
                </c:pt>
                <c:pt idx="15">
                  <c:v>Boursin Salade &amp; Aperitif Fromage Frais Des Noisette Et 3 Noix 1X120Gr 1P</c:v>
                </c:pt>
                <c:pt idx="16">
                  <c:v>Boursin Classique Fromage Frais A Tartiner Truffe Boite 1X150Gr 1P</c:v>
                </c:pt>
                <c:pt idx="17">
                  <c:v>Boursin Salade &amp; Aperitif Soft Cheese Salade 120G</c:v>
                </c:pt>
              </c:strCache>
            </c:strRef>
          </c:cat>
          <c:val>
            <c:numRef>
              <c:f>Sheet1!$C$2:$C$19</c:f>
              <c:numCache>
                <c:formatCode>General</c:formatCode>
                <c:ptCount val="18"/>
                <c:pt idx="0">
                  <c:v>0.18556816434924628</c:v>
                </c:pt>
                <c:pt idx="1">
                  <c:v>0.36696455930494931</c:v>
                </c:pt>
                <c:pt idx="2">
                  <c:v>0.49051124938483559</c:v>
                </c:pt>
                <c:pt idx="3">
                  <c:v>0.58936830734596646</c:v>
                </c:pt>
                <c:pt idx="4">
                  <c:v>0.67243691791513671</c:v>
                </c:pt>
                <c:pt idx="5">
                  <c:v>0.74842017512455472</c:v>
                </c:pt>
                <c:pt idx="6">
                  <c:v>0.81561006259459612</c:v>
                </c:pt>
                <c:pt idx="7">
                  <c:v>0.87946800267835135</c:v>
                </c:pt>
                <c:pt idx="8">
                  <c:v>0.92395226014260479</c:v>
                </c:pt>
                <c:pt idx="9">
                  <c:v>0.95057276067239427</c:v>
                </c:pt>
                <c:pt idx="10">
                  <c:v>0.96851492850679866</c:v>
                </c:pt>
                <c:pt idx="11">
                  <c:v>0.97801502806800711</c:v>
                </c:pt>
                <c:pt idx="12">
                  <c:v>0.98511276209617105</c:v>
                </c:pt>
                <c:pt idx="13">
                  <c:v>0.98965904670916682</c:v>
                </c:pt>
                <c:pt idx="14">
                  <c:v>0.99353110075491136</c:v>
                </c:pt>
                <c:pt idx="15">
                  <c:v>0.99629560083899671</c:v>
                </c:pt>
                <c:pt idx="16">
                  <c:v>0.99844158336368327</c:v>
                </c:pt>
                <c:pt idx="1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9</c:f>
              <c:strCache>
                <c:ptCount val="18"/>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Afh Boite 1X96Gr 6P</c:v>
                </c:pt>
                <c:pt idx="6">
                  <c:v>Boursin Salade &amp; Aperitif Fromage Frais Des Afh 1X120Gr 1P</c:v>
                </c:pt>
                <c:pt idx="7">
                  <c:v>Boursin Classique Fromage Frais A Tartiner Ciboulette &amp; Echalote Boite 1X150Gr 1P</c:v>
                </c:pt>
                <c:pt idx="8">
                  <c:v>Boursin Classique Fromage Frais A Tartiner Poivre Boite 1X150Gr 1P</c:v>
                </c:pt>
                <c:pt idx="9">
                  <c:v>Boursin Classique Fromage Frais A Tartiner Afh 1X256Gr 16P</c:v>
                </c:pt>
                <c:pt idx="10">
                  <c:v>Boursin Classique Fromage Frais A Tartiner Ciboulette &amp; Echalote 1X160Gr 10P</c:v>
                </c:pt>
                <c:pt idx="11">
                  <c:v>Boursin Salade &amp; Aperitif Fromage Frais Des Ciboulette Echalote 1X120Gr 1P</c:v>
                </c:pt>
                <c:pt idx="12">
                  <c:v>Boursin Salade &amp; Aperitif Fromage Frais Des Figue Noix 1X120Gr 1P</c:v>
                </c:pt>
                <c:pt idx="13">
                  <c:v>Boursin Classique Fromage Frais A Tartiner Afh Boite 1X80Gr 1P</c:v>
                </c:pt>
                <c:pt idx="14">
                  <c:v>Boursin Salade &amp; Aperitif Fromage Frais Des Citron Romarin 1X120Gr 1P</c:v>
                </c:pt>
                <c:pt idx="15">
                  <c:v>Boursin Salade &amp; Aperitif Fromage Frais Des Noisette Et 3 Noix 1X120Gr 1P</c:v>
                </c:pt>
                <c:pt idx="16">
                  <c:v>Boursin Classique Fromage Frais A Tartiner Truffe Boite 1X150Gr 1P</c:v>
                </c:pt>
                <c:pt idx="17">
                  <c:v>Boursin Salade &amp; Aperitif Soft Cheese Salade 120G</c:v>
                </c:pt>
              </c:strCache>
            </c:strRef>
          </c:cat>
          <c:val>
            <c:numRef>
              <c:f>Sheet1!$D$2:$D$19</c:f>
              <c:numCache>
                <c:formatCode>General</c:formatCode>
                <c:ptCount val="18"/>
                <c:pt idx="0">
                  <c:v>3670.6632653061224</c:v>
                </c:pt>
                <c:pt idx="1">
                  <c:v>3907.088888888889</c:v>
                </c:pt>
                <c:pt idx="2">
                  <c:v>2690.9662921348313</c:v>
                </c:pt>
                <c:pt idx="3">
                  <c:v>2365.8641975308642</c:v>
                </c:pt>
                <c:pt idx="4">
                  <c:v>1809.314606741573</c:v>
                </c:pt>
                <c:pt idx="5">
                  <c:v>1990.4594594594594</c:v>
                </c:pt>
                <c:pt idx="6">
                  <c:v>1532.3294117647058</c:v>
                </c:pt>
                <c:pt idx="7">
                  <c:v>1491.433734939759</c:v>
                </c:pt>
                <c:pt idx="8">
                  <c:v>1149.7733333333333</c:v>
                </c:pt>
                <c:pt idx="9">
                  <c:v>806.3125</c:v>
                </c:pt>
                <c:pt idx="10">
                  <c:v>756.10869565217388</c:v>
                </c:pt>
                <c:pt idx="11">
                  <c:v>428.27906976744185</c:v>
                </c:pt>
                <c:pt idx="12">
                  <c:v>292.74468085106383</c:v>
                </c:pt>
                <c:pt idx="13">
                  <c:v>734.41666666666663</c:v>
                </c:pt>
                <c:pt idx="14">
                  <c:v>268.07142857142856</c:v>
                </c:pt>
                <c:pt idx="15">
                  <c:v>130.70731707317074</c:v>
                </c:pt>
                <c:pt idx="16">
                  <c:v>126.06060606060606</c:v>
                </c:pt>
                <c:pt idx="17">
                  <c:v>215.785714285714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Aperitif 100G</c:v>
                </c:pt>
                <c:pt idx="3">
                  <c:v>Boursin Aperitif Roules Fromage Frais Roule Jambon Fume &amp; Trio De Noix Boite 1X100Gr 20P</c:v>
                </c:pt>
                <c:pt idx="4">
                  <c:v>Boursin Aperitif Roules Fromage Frais Roule Basilic &amp; Jambon Fume Tomate Boite 1X100Gr 20P</c:v>
                </c:pt>
              </c:strCache>
            </c:strRef>
          </c:cat>
          <c:val>
            <c:numRef>
              <c:f>Sheet1!$B$2:$B$6</c:f>
              <c:numCache>
                <c:formatCode>General</c:formatCode>
                <c:ptCount val="5"/>
                <c:pt idx="0">
                  <c:v>0.90500000000000003</c:v>
                </c:pt>
                <c:pt idx="1">
                  <c:v>0.78800000000000003</c:v>
                </c:pt>
                <c:pt idx="2">
                  <c:v>0.35199999999999998</c:v>
                </c:pt>
                <c:pt idx="3">
                  <c:v>0.40899999999999997</c:v>
                </c:pt>
                <c:pt idx="4">
                  <c:v>8.9999999999999993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Aperitif 100G</c:v>
                </c:pt>
                <c:pt idx="3">
                  <c:v>Boursin Aperitif Roules Fromage Frais Roule Jambon Fume &amp; Trio De Noix Boite 1X100Gr 20P</c:v>
                </c:pt>
                <c:pt idx="4">
                  <c:v>Boursin Aperitif Roules Fromage Frais Roule Basilic &amp; Jambon Fume Tomate Boite 1X100Gr 20P</c:v>
                </c:pt>
              </c:strCache>
            </c:strRef>
          </c:cat>
          <c:val>
            <c:numRef>
              <c:f>Sheet1!$C$2:$C$6</c:f>
              <c:numCache>
                <c:formatCode>General</c:formatCode>
                <c:ptCount val="5"/>
                <c:pt idx="0">
                  <c:v>0.69921330716731056</c:v>
                </c:pt>
                <c:pt idx="1">
                  <c:v>0.97188022223182469</c:v>
                </c:pt>
                <c:pt idx="2">
                  <c:v>0.98612423534092597</c:v>
                </c:pt>
                <c:pt idx="3">
                  <c:v>0.99998450910579217</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Aperitif 100G</c:v>
                </c:pt>
                <c:pt idx="3">
                  <c:v>Boursin Aperitif Roules Fromage Frais Roule Jambon Fume &amp; Trio De Noix Boite 1X100Gr 20P</c:v>
                </c:pt>
                <c:pt idx="4">
                  <c:v>Boursin Aperitif Roules Fromage Frais Roule Basilic &amp; Jambon Fume Tomate Boite 1X100Gr 20P</c:v>
                </c:pt>
              </c:strCache>
            </c:strRef>
          </c:cat>
          <c:val>
            <c:numRef>
              <c:f>Sheet1!$D$2:$D$6</c:f>
              <c:numCache>
                <c:formatCode>General</c:formatCode>
                <c:ptCount val="5"/>
                <c:pt idx="0">
                  <c:v>28428.861878453037</c:v>
                </c:pt>
                <c:pt idx="1">
                  <c:v>12732.233502538071</c:v>
                </c:pt>
                <c:pt idx="2">
                  <c:v>1488.977272727273</c:v>
                </c:pt>
                <c:pt idx="3">
                  <c:v>1246.9437652811737</c:v>
                </c:pt>
                <c:pt idx="4">
                  <c:v>63.33333333333334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B$2:$B$6</c:f>
              <c:numCache>
                <c:formatCode>General</c:formatCode>
                <c:ptCount val="5"/>
                <c:pt idx="0">
                  <c:v>0.96599999999999997</c:v>
                </c:pt>
                <c:pt idx="1">
                  <c:v>0.91100000000000003</c:v>
                </c:pt>
                <c:pt idx="2">
                  <c:v>0.873</c:v>
                </c:pt>
                <c:pt idx="3">
                  <c:v>0.75</c:v>
                </c:pt>
                <c:pt idx="4">
                  <c:v>0.66100000000000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C$2:$C$6</c:f>
              <c:numCache>
                <c:formatCode>General</c:formatCode>
                <c:ptCount val="5"/>
                <c:pt idx="0">
                  <c:v>0.50818840164504731</c:v>
                </c:pt>
                <c:pt idx="1">
                  <c:v>0.82145507400257034</c:v>
                </c:pt>
                <c:pt idx="2">
                  <c:v>0.97511029931955306</c:v>
                </c:pt>
                <c:pt idx="3">
                  <c:v>0.98870661258014481</c:v>
                </c:pt>
                <c:pt idx="4">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D$2:$D$6</c:f>
              <c:numCache>
                <c:formatCode>General</c:formatCode>
                <c:ptCount val="5"/>
                <c:pt idx="0">
                  <c:v>22494.254658385096</c:v>
                </c:pt>
                <c:pt idx="1">
                  <c:v>14703.468715697034</c:v>
                </c:pt>
                <c:pt idx="2">
                  <c:v>7525.8762886597942</c:v>
                </c:pt>
                <c:pt idx="3">
                  <c:v>775.14666666666665</c:v>
                </c:pt>
                <c:pt idx="4">
                  <c:v>730.5446293494703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Aperitif 100G</c:v>
                </c:pt>
                <c:pt idx="3">
                  <c:v>Boursin Aperitif Roules Fromage Frais Roule Jambon Fume &amp; Trio De Noix Boite 1X100Gr 20P</c:v>
                </c:pt>
                <c:pt idx="4">
                  <c:v>Boursin Aperitif Roules Fromage Frais Roule Basilic &amp; Jambon Fume Tomate Boite 1X100Gr 20P</c:v>
                </c:pt>
              </c:strCache>
            </c:strRef>
          </c:cat>
          <c:val>
            <c:numRef>
              <c:f>Sheet1!$B$2:$B$6</c:f>
              <c:numCache>
                <c:formatCode>General</c:formatCode>
                <c:ptCount val="5"/>
                <c:pt idx="0">
                  <c:v>1</c:v>
                </c:pt>
                <c:pt idx="1">
                  <c:v>0.95</c:v>
                </c:pt>
                <c:pt idx="2">
                  <c:v>0.53</c:v>
                </c:pt>
                <c:pt idx="3">
                  <c:v>0.48</c:v>
                </c:pt>
                <c:pt idx="4">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Aperitif 100G</c:v>
                </c:pt>
                <c:pt idx="3">
                  <c:v>Boursin Aperitif Roules Fromage Frais Roule Jambon Fume &amp; Trio De Noix Boite 1X100Gr 20P</c:v>
                </c:pt>
                <c:pt idx="4">
                  <c:v>Boursin Aperitif Roules Fromage Frais Roule Basilic &amp; Jambon Fume Tomate Boite 1X100Gr 20P</c:v>
                </c:pt>
              </c:strCache>
            </c:strRef>
          </c:cat>
          <c:val>
            <c:numRef>
              <c:f>Sheet1!$C$2:$C$6</c:f>
              <c:numCache>
                <c:formatCode>General</c:formatCode>
                <c:ptCount val="5"/>
                <c:pt idx="0">
                  <c:v>0.64199256833817742</c:v>
                </c:pt>
                <c:pt idx="1">
                  <c:v>0.95325983427966432</c:v>
                </c:pt>
                <c:pt idx="2">
                  <c:v>0.97886432107395283</c:v>
                </c:pt>
                <c:pt idx="3">
                  <c:v>0.99995339882025436</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Aperitif 100G</c:v>
                </c:pt>
                <c:pt idx="3">
                  <c:v>Boursin Aperitif Roules Fromage Frais Roule Jambon Fume &amp; Trio De Noix Boite 1X100Gr 20P</c:v>
                </c:pt>
                <c:pt idx="4">
                  <c:v>Boursin Aperitif Roules Fromage Frais Roule Basilic &amp; Jambon Fume Tomate Boite 1X100Gr 20P</c:v>
                </c:pt>
              </c:strCache>
            </c:strRef>
          </c:cat>
          <c:val>
            <c:numRef>
              <c:f>Sheet1!$D$2:$D$6</c:f>
              <c:numCache>
                <c:formatCode>General</c:formatCode>
                <c:ptCount val="5"/>
                <c:pt idx="0">
                  <c:v>7852.5</c:v>
                </c:pt>
                <c:pt idx="1">
                  <c:v>4007.6315789473683</c:v>
                </c:pt>
                <c:pt idx="2">
                  <c:v>590.90566037735846</c:v>
                </c:pt>
                <c:pt idx="3">
                  <c:v>537.39583333333337</c:v>
                </c:pt>
                <c:pt idx="4">
                  <c:v>28.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St Moret</c:v>
                </c:pt>
                <c:pt idx="4">
                  <c:v>Private Label</c:v>
                </c:pt>
                <c:pt idx="5">
                  <c:v>Entremont</c:v>
                </c:pt>
                <c:pt idx="6">
                  <c:v>Others</c:v>
                </c:pt>
              </c:strCache>
            </c:strRef>
          </c:cat>
          <c:val>
            <c:numRef>
              <c:f>Sheet1!$B$2:$B$8</c:f>
              <c:numCache>
                <c:formatCode>General</c:formatCode>
                <c:ptCount val="7"/>
                <c:pt idx="0">
                  <c:v>0.61137235707567472</c:v>
                </c:pt>
                <c:pt idx="1">
                  <c:v>0.12308813911134599</c:v>
                </c:pt>
                <c:pt idx="2">
                  <c:v>0.1109469763600202</c:v>
                </c:pt>
                <c:pt idx="3">
                  <c:v>7.0394530851807635E-2</c:v>
                </c:pt>
                <c:pt idx="4">
                  <c:v>6.9665110177028491E-2</c:v>
                </c:pt>
                <c:pt idx="5">
                  <c:v>1.2695538977785146E-2</c:v>
                </c:pt>
                <c:pt idx="6">
                  <c:v>1.8373474463378502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St Moret</c:v>
                </c:pt>
                <c:pt idx="4">
                  <c:v>Private Label</c:v>
                </c:pt>
                <c:pt idx="5">
                  <c:v>Entremont</c:v>
                </c:pt>
                <c:pt idx="6">
                  <c:v>Others</c:v>
                </c:pt>
              </c:strCache>
            </c:strRef>
          </c:cat>
          <c:val>
            <c:numRef>
              <c:f>Sheet1!$C$2:$C$8</c:f>
              <c:numCache>
                <c:formatCode>General</c:formatCode>
                <c:ptCount val="7"/>
                <c:pt idx="0">
                  <c:v>0.39981244138793376</c:v>
                </c:pt>
                <c:pt idx="1">
                  <c:v>0.20381369177868081</c:v>
                </c:pt>
                <c:pt idx="2">
                  <c:v>0.13535479837449202</c:v>
                </c:pt>
                <c:pt idx="3">
                  <c:v>0.11222256955298529</c:v>
                </c:pt>
                <c:pt idx="4">
                  <c:v>5.6580181306658331E-2</c:v>
                </c:pt>
                <c:pt idx="5">
                  <c:v>8.5026570803376042E-2</c:v>
                </c:pt>
                <c:pt idx="6">
                  <c:v>7.1897467958737101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St Moret</c:v>
                </c:pt>
                <c:pt idx="4">
                  <c:v>Private Label</c:v>
                </c:pt>
                <c:pt idx="5">
                  <c:v>Entremont</c:v>
                </c:pt>
                <c:pt idx="6">
                  <c:v>Others</c:v>
                </c:pt>
              </c:strCache>
            </c:strRef>
          </c:cat>
          <c:val>
            <c:numRef>
              <c:f>Sheet1!$D$2:$D$8</c:f>
              <c:numCache>
                <c:formatCode>General</c:formatCode>
                <c:ptCount val="7"/>
                <c:pt idx="0">
                  <c:v>65.395897730856291</c:v>
                </c:pt>
                <c:pt idx="1">
                  <c:v>165.58353489633163</c:v>
                </c:pt>
                <c:pt idx="2">
                  <c:v>121.99953781098914</c:v>
                </c:pt>
                <c:pt idx="3">
                  <c:v>159.41944380485003</c:v>
                </c:pt>
                <c:pt idx="4">
                  <c:v>81.217385808879683</c:v>
                </c:pt>
                <c:pt idx="5">
                  <c:v>669.73580997354168</c:v>
                </c:pt>
                <c:pt idx="6">
                  <c:v>391.3112247878926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Boursin Aperitif Roules Fromage Frais Roule Afh Et Jambon Fume Boite 1X100Gr 20P</c:v>
                </c:pt>
                <c:pt idx="1">
                  <c:v>Boursin Aperitif Roules Fromage Frais Roule Ciboulette &amp; Echalote Jambon Fume Boite 1X100Gr 20P</c:v>
                </c:pt>
                <c:pt idx="2">
                  <c:v>Boursin Aperitif Roules Fromage Frais Roule Jambon Fume &amp; Trio De Noix Boite 1X100Gr 20P</c:v>
                </c:pt>
                <c:pt idx="3">
                  <c:v>Boursin Aperitif Roules Aperitif 100G</c:v>
                </c:pt>
              </c:strCache>
            </c:strRef>
          </c:cat>
          <c:val>
            <c:numRef>
              <c:f>Sheet1!$B$2:$B$5</c:f>
              <c:numCache>
                <c:formatCode>General</c:formatCode>
                <c:ptCount val="4"/>
                <c:pt idx="0">
                  <c:v>0.94</c:v>
                </c:pt>
                <c:pt idx="1">
                  <c:v>0.86</c:v>
                </c:pt>
                <c:pt idx="2">
                  <c:v>0.5</c:v>
                </c:pt>
                <c:pt idx="3">
                  <c:v>0.2899999999999999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Boursin Aperitif Roules Fromage Frais Roule Afh Et Jambon Fume Boite 1X100Gr 20P</c:v>
                </c:pt>
                <c:pt idx="1">
                  <c:v>Boursin Aperitif Roules Fromage Frais Roule Ciboulette &amp; Echalote Jambon Fume Boite 1X100Gr 20P</c:v>
                </c:pt>
                <c:pt idx="2">
                  <c:v>Boursin Aperitif Roules Fromage Frais Roule Jambon Fume &amp; Trio De Noix Boite 1X100Gr 20P</c:v>
                </c:pt>
                <c:pt idx="3">
                  <c:v>Boursin Aperitif Roules Aperitif 100G</c:v>
                </c:pt>
              </c:strCache>
            </c:strRef>
          </c:cat>
          <c:val>
            <c:numRef>
              <c:f>Sheet1!$C$2:$C$5</c:f>
              <c:numCache>
                <c:formatCode>General</c:formatCode>
                <c:ptCount val="4"/>
                <c:pt idx="0">
                  <c:v>0.60766197183098591</c:v>
                </c:pt>
                <c:pt idx="1">
                  <c:v>0.96931300745650373</c:v>
                </c:pt>
                <c:pt idx="2">
                  <c:v>0.98601888980944485</c:v>
                </c:pt>
                <c:pt idx="3">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5</c:f>
              <c:strCache>
                <c:ptCount val="4"/>
                <c:pt idx="0">
                  <c:v>Boursin Aperitif Roules Fromage Frais Roule Afh Et Jambon Fume Boite 1X100Gr 20P</c:v>
                </c:pt>
                <c:pt idx="1">
                  <c:v>Boursin Aperitif Roules Fromage Frais Roule Ciboulette &amp; Echalote Jambon Fume Boite 1X100Gr 20P</c:v>
                </c:pt>
                <c:pt idx="2">
                  <c:v>Boursin Aperitif Roules Fromage Frais Roule Jambon Fume &amp; Trio De Noix Boite 1X100Gr 20P</c:v>
                </c:pt>
                <c:pt idx="3">
                  <c:v>Boursin Aperitif Roules Aperitif 100G</c:v>
                </c:pt>
              </c:strCache>
            </c:strRef>
          </c:cat>
          <c:val>
            <c:numRef>
              <c:f>Sheet1!$D$2:$D$5</c:f>
              <c:numCache>
                <c:formatCode>General</c:formatCode>
                <c:ptCount val="4"/>
                <c:pt idx="0">
                  <c:v>9753.2978723404249</c:v>
                </c:pt>
                <c:pt idx="1">
                  <c:v>6344.6627906976746</c:v>
                </c:pt>
                <c:pt idx="2">
                  <c:v>504.1</c:v>
                </c:pt>
                <c:pt idx="3">
                  <c:v>727.3793103448276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Boursin Aperitif Roules Fromage Frais Roule Afh Et Jambon Fume Boite 1X100Gr 20P</c:v>
                </c:pt>
                <c:pt idx="1">
                  <c:v>Boursin Aperitif Roules Fromage Frais Roule Ciboulette &amp; Echalote Jambon Fume Boite 1X100Gr 20P</c:v>
                </c:pt>
              </c:strCache>
            </c:strRef>
          </c:cat>
          <c:val>
            <c:numRef>
              <c:f>Sheet1!$B$2:$B$3</c:f>
              <c:numCache>
                <c:formatCode>General</c:formatCode>
                <c:ptCount val="2"/>
                <c:pt idx="0">
                  <c:v>0.56000000000000005</c:v>
                </c:pt>
                <c:pt idx="1">
                  <c:v>0.1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Boursin Aperitif Roules Fromage Frais Roule Afh Et Jambon Fume Boite 1X100Gr 20P</c:v>
                </c:pt>
                <c:pt idx="1">
                  <c:v>Boursin Aperitif Roules Fromage Frais Roule Ciboulette &amp; Echalote Jambon Fume Boite 1X100Gr 20P</c:v>
                </c:pt>
              </c:strCache>
            </c:strRef>
          </c:cat>
          <c:val>
            <c:numRef>
              <c:f>Sheet1!$C$2:$C$3</c:f>
              <c:numCache>
                <c:formatCode>General</c:formatCode>
                <c:ptCount val="2"/>
                <c:pt idx="0">
                  <c:v>0.91881910252974097</c:v>
                </c:pt>
                <c:pt idx="1">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c:f>
              <c:strCache>
                <c:ptCount val="2"/>
                <c:pt idx="0">
                  <c:v>Boursin Aperitif Roules Fromage Frais Roule Afh Et Jambon Fume Boite 1X100Gr 20P</c:v>
                </c:pt>
                <c:pt idx="1">
                  <c:v>Boursin Aperitif Roules Fromage Frais Roule Ciboulette &amp; Echalote Jambon Fume Boite 1X100Gr 20P</c:v>
                </c:pt>
              </c:strCache>
            </c:strRef>
          </c:cat>
          <c:val>
            <c:numRef>
              <c:f>Sheet1!$D$2:$D$3</c:f>
              <c:numCache>
                <c:formatCode>General</c:formatCode>
                <c:ptCount val="2"/>
                <c:pt idx="0">
                  <c:v>15549.142857142855</c:v>
                </c:pt>
                <c:pt idx="1">
                  <c:v>4525.529411764706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B$2:$B$6</c:f>
              <c:numCache>
                <c:formatCode>General</c:formatCode>
                <c:ptCount val="5"/>
                <c:pt idx="0">
                  <c:v>0.98</c:v>
                </c:pt>
                <c:pt idx="1">
                  <c:v>0.95</c:v>
                </c:pt>
                <c:pt idx="2">
                  <c:v>0.9</c:v>
                </c:pt>
                <c:pt idx="3">
                  <c:v>0.8</c:v>
                </c:pt>
                <c:pt idx="4">
                  <c:v>0.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C$2:$C$6</c:f>
              <c:numCache>
                <c:formatCode>General</c:formatCode>
                <c:ptCount val="5"/>
                <c:pt idx="0">
                  <c:v>0.49458755893621015</c:v>
                </c:pt>
                <c:pt idx="1">
                  <c:v>0.816488029805714</c:v>
                </c:pt>
                <c:pt idx="2">
                  <c:v>0.97374976161940663</c:v>
                </c:pt>
                <c:pt idx="3">
                  <c:v>0.98799461066053518</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D$2:$D$6</c:f>
              <c:numCache>
                <c:formatCode>General</c:formatCode>
                <c:ptCount val="5"/>
                <c:pt idx="0">
                  <c:v>16275.387755102041</c:v>
                </c:pt>
                <c:pt idx="1">
                  <c:v>10927.284210526315</c:v>
                </c:pt>
                <c:pt idx="2">
                  <c:v>5635.0111111111109</c:v>
                </c:pt>
                <c:pt idx="3">
                  <c:v>574.22500000000002</c:v>
                </c:pt>
                <c:pt idx="4">
                  <c:v>553.0857142857142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B$2:$B$6</c:f>
              <c:numCache>
                <c:formatCode>General</c:formatCode>
                <c:ptCount val="5"/>
                <c:pt idx="0">
                  <c:v>0.99</c:v>
                </c:pt>
                <c:pt idx="1">
                  <c:v>0.99</c:v>
                </c:pt>
                <c:pt idx="2">
                  <c:v>0.98</c:v>
                </c:pt>
                <c:pt idx="3">
                  <c:v>0.96</c:v>
                </c:pt>
                <c:pt idx="4">
                  <c:v>0.8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C$2:$C$6</c:f>
              <c:numCache>
                <c:formatCode>General</c:formatCode>
                <c:ptCount val="5"/>
                <c:pt idx="0">
                  <c:v>0.50434418008880344</c:v>
                </c:pt>
                <c:pt idx="1">
                  <c:v>0.81764580303209478</c:v>
                </c:pt>
                <c:pt idx="2">
                  <c:v>0.97426205765311358</c:v>
                </c:pt>
                <c:pt idx="3">
                  <c:v>0.98901245736068588</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D$2:$D$6</c:f>
              <c:numCache>
                <c:formatCode>General</c:formatCode>
                <c:ptCount val="5"/>
                <c:pt idx="0">
                  <c:v>3316.9595959595958</c:v>
                </c:pt>
                <c:pt idx="1">
                  <c:v>2060.5151515151515</c:v>
                </c:pt>
                <c:pt idx="2">
                  <c:v>1040.5408163265306</c:v>
                </c:pt>
                <c:pt idx="3">
                  <c:v>100.04166666666667</c:v>
                </c:pt>
                <c:pt idx="4">
                  <c:v>83.18604651162790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B$2:$B$6</c:f>
              <c:numCache>
                <c:formatCode>General</c:formatCode>
                <c:ptCount val="5"/>
                <c:pt idx="0">
                  <c:v>0.85</c:v>
                </c:pt>
                <c:pt idx="1">
                  <c:v>0.56000000000000005</c:v>
                </c:pt>
                <c:pt idx="2">
                  <c:v>0.56999999999999995</c:v>
                </c:pt>
                <c:pt idx="3">
                  <c:v>0.18</c:v>
                </c:pt>
                <c:pt idx="4">
                  <c:v>0.1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C$2:$C$6</c:f>
              <c:numCache>
                <c:formatCode>General</c:formatCode>
                <c:ptCount val="5"/>
                <c:pt idx="0">
                  <c:v>0.62413380047464351</c:v>
                </c:pt>
                <c:pt idx="1">
                  <c:v>0.86771498378259415</c:v>
                </c:pt>
                <c:pt idx="2">
                  <c:v>0.98746370777160086</c:v>
                </c:pt>
                <c:pt idx="3">
                  <c:v>0.99395067007769844</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Aperitif 100G</c:v>
                </c:pt>
              </c:strCache>
            </c:strRef>
          </c:cat>
          <c:val>
            <c:numRef>
              <c:f>Sheet1!$D$2:$D$6</c:f>
              <c:numCache>
                <c:formatCode>General</c:formatCode>
                <c:ptCount val="5"/>
                <c:pt idx="0">
                  <c:v>2936.2117647058822</c:v>
                </c:pt>
                <c:pt idx="1">
                  <c:v>1739.3392857142856</c:v>
                </c:pt>
                <c:pt idx="2">
                  <c:v>840.0877192982457</c:v>
                </c:pt>
                <c:pt idx="3">
                  <c:v>144.11111111111111</c:v>
                </c:pt>
                <c:pt idx="4">
                  <c:v>142.2941176470588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Toastinette Cheddar Fondu Tranche A Chaud Sachet 1X200Gr 10P</c:v>
                </c:pt>
                <c:pt idx="1">
                  <c:v>Toastinette Fromage Fondu Tranche A Chaud Sachet 1X200Gr 10P</c:v>
                </c:pt>
                <c:pt idx="2">
                  <c:v>La Vache Qui Rit Le Fondant Fromage Fondu 1X200Gr 1P</c:v>
                </c:pt>
                <c:pt idx="3">
                  <c:v>Toastinette Fromage Fondu Tranche A Chaud Sachet 1X340Gr 20P</c:v>
                </c:pt>
                <c:pt idx="4">
                  <c:v>Toastinette Cheddar Fondu Tranche A Chaud Sachet 1X340Gr 20P</c:v>
                </c:pt>
              </c:strCache>
            </c:strRef>
          </c:cat>
          <c:val>
            <c:numRef>
              <c:f>Sheet1!$B$2:$B$6</c:f>
              <c:numCache>
                <c:formatCode>General</c:formatCode>
                <c:ptCount val="5"/>
                <c:pt idx="0">
                  <c:v>0.85399999999999998</c:v>
                </c:pt>
                <c:pt idx="1">
                  <c:v>0.76400000000000001</c:v>
                </c:pt>
                <c:pt idx="2">
                  <c:v>0.26900000000000002</c:v>
                </c:pt>
                <c:pt idx="3">
                  <c:v>7.2999999999999995E-2</c:v>
                </c:pt>
                <c:pt idx="4">
                  <c:v>7.2999999999999995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Toastinette Cheddar Fondu Tranche A Chaud Sachet 1X200Gr 10P</c:v>
                </c:pt>
                <c:pt idx="1">
                  <c:v>Toastinette Fromage Fondu Tranche A Chaud Sachet 1X200Gr 10P</c:v>
                </c:pt>
                <c:pt idx="2">
                  <c:v>La Vache Qui Rit Le Fondant Fromage Fondu 1X200Gr 1P</c:v>
                </c:pt>
                <c:pt idx="3">
                  <c:v>Toastinette Fromage Fondu Tranche A Chaud Sachet 1X340Gr 20P</c:v>
                </c:pt>
                <c:pt idx="4">
                  <c:v>Toastinette Cheddar Fondu Tranche A Chaud Sachet 1X340Gr 20P</c:v>
                </c:pt>
              </c:strCache>
            </c:strRef>
          </c:cat>
          <c:val>
            <c:numRef>
              <c:f>Sheet1!$C$2:$C$6</c:f>
              <c:numCache>
                <c:formatCode>General</c:formatCode>
                <c:ptCount val="5"/>
                <c:pt idx="0">
                  <c:v>0.50205809255201672</c:v>
                </c:pt>
                <c:pt idx="1">
                  <c:v>0.94447803710511191</c:v>
                </c:pt>
                <c:pt idx="2">
                  <c:v>0.96866835557354281</c:v>
                </c:pt>
                <c:pt idx="3">
                  <c:v>0.98500879980929246</c:v>
                </c:pt>
                <c:pt idx="4">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Toastinette Cheddar Fondu Tranche A Chaud Sachet 1X200Gr 10P</c:v>
                </c:pt>
                <c:pt idx="1">
                  <c:v>Toastinette Fromage Fondu Tranche A Chaud Sachet 1X200Gr 10P</c:v>
                </c:pt>
                <c:pt idx="2">
                  <c:v>La Vache Qui Rit Le Fondant Fromage Fondu 1X200Gr 1P</c:v>
                </c:pt>
                <c:pt idx="3">
                  <c:v>Toastinette Fromage Fondu Tranche A Chaud Sachet 1X340Gr 20P</c:v>
                </c:pt>
                <c:pt idx="4">
                  <c:v>Toastinette Cheddar Fondu Tranche A Chaud Sachet 1X340Gr 20P</c:v>
                </c:pt>
              </c:strCache>
            </c:strRef>
          </c:cat>
          <c:val>
            <c:numRef>
              <c:f>Sheet1!$D$2:$D$6</c:f>
              <c:numCache>
                <c:formatCode>General</c:formatCode>
                <c:ptCount val="5"/>
                <c:pt idx="0">
                  <c:v>9790.5854800936777</c:v>
                </c:pt>
                <c:pt idx="1">
                  <c:v>9643.9267015706791</c:v>
                </c:pt>
                <c:pt idx="2">
                  <c:v>1497.620817843866</c:v>
                </c:pt>
                <c:pt idx="3">
                  <c:v>3727.8082191780823</c:v>
                </c:pt>
                <c:pt idx="4">
                  <c:v>342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77300000000000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0.9998714163878501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4929.18499353169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Toastinette Fromage Fondu Tranche A Chaud Sachet 1X200Gr 10P</c:v>
                </c:pt>
                <c:pt idx="1">
                  <c:v>Toastinette Fromage Fondu Tranche A Chaud Sachet 1X340Gr 20P</c:v>
                </c:pt>
                <c:pt idx="2">
                  <c:v>Toastinette Cheddar Fondu Tranche A Chaud Sachet 1X340Gr 20P</c:v>
                </c:pt>
              </c:strCache>
            </c:strRef>
          </c:cat>
          <c:val>
            <c:numRef>
              <c:f>Sheet1!$B$2:$B$4</c:f>
              <c:numCache>
                <c:formatCode>General</c:formatCode>
                <c:ptCount val="3"/>
                <c:pt idx="0">
                  <c:v>1E-3</c:v>
                </c:pt>
                <c:pt idx="1">
                  <c:v>1E-3</c:v>
                </c:pt>
                <c:pt idx="2">
                  <c:v>1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Toastinette Fromage Fondu Tranche A Chaud Sachet 1X200Gr 10P</c:v>
                </c:pt>
                <c:pt idx="1">
                  <c:v>Toastinette Fromage Fondu Tranche A Chaud Sachet 1X340Gr 20P</c:v>
                </c:pt>
                <c:pt idx="2">
                  <c:v>Toastinette Cheddar Fondu Tranche A Chaud Sachet 1X340Gr 20P</c:v>
                </c:pt>
              </c:strCache>
            </c:strRef>
          </c:cat>
          <c:val>
            <c:numRef>
              <c:f>Sheet1!$C$2:$C$4</c:f>
              <c:numCache>
                <c:formatCode>General</c:formatCode>
                <c:ptCount val="3"/>
                <c:pt idx="0">
                  <c:v>0.83886255924170627</c:v>
                </c:pt>
                <c:pt idx="1">
                  <c:v>0.93364928909952616</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Toastinette Fromage Fondu Tranche A Chaud Sachet 1X200Gr 10P</c:v>
                </c:pt>
                <c:pt idx="1">
                  <c:v>Toastinette Fromage Fondu Tranche A Chaud Sachet 1X340Gr 20P</c:v>
                </c:pt>
                <c:pt idx="2">
                  <c:v>Toastinette Cheddar Fondu Tranche A Chaud Sachet 1X340Gr 20P</c:v>
                </c:pt>
              </c:strCache>
            </c:strRef>
          </c:cat>
          <c:val>
            <c:numRef>
              <c:f>Sheet1!$D$2:$D$4</c:f>
              <c:numCache>
                <c:formatCode>General</c:formatCode>
                <c:ptCount val="3"/>
                <c:pt idx="0">
                  <c:v>3580</c:v>
                </c:pt>
                <c:pt idx="1">
                  <c:v>1000</c:v>
                </c:pt>
                <c:pt idx="2">
                  <c:v>700</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87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8120.263459335624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6</c:f>
              <c:strCache>
                <c:ptCount val="5"/>
                <c:pt idx="0">
                  <c:v>Toastinette Fromage Fondu Tranche A Chaud Sachet 1X200Gr 10P</c:v>
                </c:pt>
                <c:pt idx="1">
                  <c:v>Toastinette Cheddar Fondu Tranche A Chaud Sachet 1X200Gr 10P</c:v>
                </c:pt>
                <c:pt idx="2">
                  <c:v>La Vache Qui Rit Le Fondant Fromage Fondu 1X200Gr 1P</c:v>
                </c:pt>
                <c:pt idx="3">
                  <c:v>Toastinette Fromage Fondu Tranche A Chaud Sachet 1X340Gr 20P</c:v>
                </c:pt>
                <c:pt idx="4">
                  <c:v>Toastinette Cheddar Fondu Tranche A Chaud Sachet 1X340Gr 20P</c:v>
                </c:pt>
              </c:strCache>
            </c:strRef>
          </c:cat>
          <c:val>
            <c:numRef>
              <c:f>Sheet1!$B$2:$B$6</c:f>
              <c:numCache>
                <c:formatCode>General</c:formatCode>
                <c:ptCount val="5"/>
                <c:pt idx="0">
                  <c:v>1</c:v>
                </c:pt>
                <c:pt idx="1">
                  <c:v>1</c:v>
                </c:pt>
                <c:pt idx="2">
                  <c:v>0.59</c:v>
                </c:pt>
                <c:pt idx="3">
                  <c:v>0.16</c:v>
                </c:pt>
                <c:pt idx="4">
                  <c:v>0.1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6</c:f>
              <c:strCache>
                <c:ptCount val="5"/>
                <c:pt idx="0">
                  <c:v>Toastinette Fromage Fondu Tranche A Chaud Sachet 1X200Gr 10P</c:v>
                </c:pt>
                <c:pt idx="1">
                  <c:v>Toastinette Cheddar Fondu Tranche A Chaud Sachet 1X200Gr 10P</c:v>
                </c:pt>
                <c:pt idx="2">
                  <c:v>La Vache Qui Rit Le Fondant Fromage Fondu 1X200Gr 1P</c:v>
                </c:pt>
                <c:pt idx="3">
                  <c:v>Toastinette Fromage Fondu Tranche A Chaud Sachet 1X340Gr 20P</c:v>
                </c:pt>
                <c:pt idx="4">
                  <c:v>Toastinette Cheddar Fondu Tranche A Chaud Sachet 1X340Gr 20P</c:v>
                </c:pt>
              </c:strCache>
            </c:strRef>
          </c:cat>
          <c:val>
            <c:numRef>
              <c:f>Sheet1!$C$2:$C$6</c:f>
              <c:numCache>
                <c:formatCode>General</c:formatCode>
                <c:ptCount val="5"/>
                <c:pt idx="0">
                  <c:v>0.45367947360851135</c:v>
                </c:pt>
                <c:pt idx="1">
                  <c:v>0.90434786207781426</c:v>
                </c:pt>
                <c:pt idx="2">
                  <c:v>0.94603328335552839</c:v>
                </c:pt>
                <c:pt idx="3">
                  <c:v>0.97416675203248237</c:v>
                </c:pt>
                <c:pt idx="4">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6</c:f>
              <c:strCache>
                <c:ptCount val="5"/>
                <c:pt idx="0">
                  <c:v>Toastinette Fromage Fondu Tranche A Chaud Sachet 1X200Gr 10P</c:v>
                </c:pt>
                <c:pt idx="1">
                  <c:v>Toastinette Cheddar Fondu Tranche A Chaud Sachet 1X200Gr 10P</c:v>
                </c:pt>
                <c:pt idx="2">
                  <c:v>La Vache Qui Rit Le Fondant Fromage Fondu 1X200Gr 1P</c:v>
                </c:pt>
                <c:pt idx="3">
                  <c:v>Toastinette Fromage Fondu Tranche A Chaud Sachet 1X340Gr 20P</c:v>
                </c:pt>
                <c:pt idx="4">
                  <c:v>Toastinette Cheddar Fondu Tranche A Chaud Sachet 1X340Gr 20P</c:v>
                </c:pt>
              </c:strCache>
            </c:strRef>
          </c:cat>
          <c:val>
            <c:numRef>
              <c:f>Sheet1!$D$2:$D$6</c:f>
              <c:numCache>
                <c:formatCode>General</c:formatCode>
                <c:ptCount val="5"/>
                <c:pt idx="0">
                  <c:v>4384.49</c:v>
                </c:pt>
                <c:pt idx="1">
                  <c:v>4355.3900000000003</c:v>
                </c:pt>
                <c:pt idx="2">
                  <c:v>682.81355932203394</c:v>
                </c:pt>
                <c:pt idx="3">
                  <c:v>1699.3125</c:v>
                </c:pt>
                <c:pt idx="4">
                  <c:v>1560.3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St Moret</c:v>
                </c:pt>
                <c:pt idx="4">
                  <c:v>Private Label</c:v>
                </c:pt>
                <c:pt idx="5">
                  <c:v>Entremont</c:v>
                </c:pt>
                <c:pt idx="6">
                  <c:v>Others</c:v>
                </c:pt>
              </c:strCache>
            </c:strRef>
          </c:cat>
          <c:val>
            <c:numRef>
              <c:f>Sheet1!$B$2:$B$8</c:f>
              <c:numCache>
                <c:formatCode>General</c:formatCode>
                <c:ptCount val="7"/>
                <c:pt idx="0">
                  <c:v>0.62969035175501853</c:v>
                </c:pt>
                <c:pt idx="1">
                  <c:v>0.11414600782640448</c:v>
                </c:pt>
                <c:pt idx="2">
                  <c:v>0.11017425814816156</c:v>
                </c:pt>
                <c:pt idx="3">
                  <c:v>7.133260391577427E-2</c:v>
                </c:pt>
                <c:pt idx="4">
                  <c:v>5.9422262035981964E-2</c:v>
                </c:pt>
                <c:pt idx="5">
                  <c:v>1.3583850925370972E-2</c:v>
                </c:pt>
                <c:pt idx="6">
                  <c:v>1.6506653932881628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St Moret</c:v>
                </c:pt>
                <c:pt idx="4">
                  <c:v>Private Label</c:v>
                </c:pt>
                <c:pt idx="5">
                  <c:v>Entremont</c:v>
                </c:pt>
                <c:pt idx="6">
                  <c:v>Others</c:v>
                </c:pt>
              </c:strCache>
            </c:strRef>
          </c:cat>
          <c:val>
            <c:numRef>
              <c:f>Sheet1!$C$2:$C$8</c:f>
              <c:numCache>
                <c:formatCode>General</c:formatCode>
                <c:ptCount val="7"/>
                <c:pt idx="0">
                  <c:v>0.41748903508771945</c:v>
                </c:pt>
                <c:pt idx="1">
                  <c:v>0.20504385964912283</c:v>
                </c:pt>
                <c:pt idx="2">
                  <c:v>0.131030701754386</c:v>
                </c:pt>
                <c:pt idx="3">
                  <c:v>0.10718201754385967</c:v>
                </c:pt>
                <c:pt idx="4">
                  <c:v>5.4002192982456156E-2</c:v>
                </c:pt>
                <c:pt idx="5">
                  <c:v>7.8399122807017566E-2</c:v>
                </c:pt>
                <c:pt idx="6">
                  <c:v>6.8530701754385987E-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ericube</c:v>
                </c:pt>
                <c:pt idx="1">
                  <c:v>Aperivrais</c:v>
                </c:pt>
                <c:pt idx="2">
                  <c:v>Boursin</c:v>
                </c:pt>
                <c:pt idx="3">
                  <c:v>St Moret</c:v>
                </c:pt>
                <c:pt idx="4">
                  <c:v>Private Label</c:v>
                </c:pt>
                <c:pt idx="5">
                  <c:v>Entremont</c:v>
                </c:pt>
                <c:pt idx="6">
                  <c:v>Others</c:v>
                </c:pt>
              </c:strCache>
            </c:strRef>
          </c:cat>
          <c:val>
            <c:numRef>
              <c:f>Sheet1!$D$2:$D$8</c:f>
              <c:numCache>
                <c:formatCode>General</c:formatCode>
                <c:ptCount val="7"/>
                <c:pt idx="0">
                  <c:v>66.300687937194851</c:v>
                </c:pt>
                <c:pt idx="1">
                  <c:v>179.63296619270085</c:v>
                </c:pt>
                <c:pt idx="2">
                  <c:v>118.93041437880782</c:v>
                </c:pt>
                <c:pt idx="3">
                  <c:v>150.2567012279749</c:v>
                </c:pt>
                <c:pt idx="4">
                  <c:v>90.878723111813215</c:v>
                </c:pt>
                <c:pt idx="5">
                  <c:v>577.1494640050056</c:v>
                </c:pt>
                <c:pt idx="6">
                  <c:v>415.1701612758191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9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1964.979591836734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Toastinette Cheddar Fondu Tranche A Chaud Sachet 1X200Gr 10P</c:v>
                </c:pt>
                <c:pt idx="1">
                  <c:v>Toastinette Fromage Fondu Tranche A Chaud Sachet 1X200Gr 10P</c:v>
                </c:pt>
              </c:strCache>
            </c:strRef>
          </c:cat>
          <c:val>
            <c:numRef>
              <c:f>Sheet1!$B$2:$B$3</c:f>
              <c:numCache>
                <c:formatCode>General</c:formatCode>
                <c:ptCount val="2"/>
                <c:pt idx="0">
                  <c:v>0.97</c:v>
                </c:pt>
                <c:pt idx="1">
                  <c:v>0.7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Toastinette Cheddar Fondu Tranche A Chaud Sachet 1X200Gr 10P</c:v>
                </c:pt>
                <c:pt idx="1">
                  <c:v>Toastinette Fromage Fondu Tranche A Chaud Sachet 1X200Gr 10P</c:v>
                </c:pt>
              </c:strCache>
            </c:strRef>
          </c:cat>
          <c:val>
            <c:numRef>
              <c:f>Sheet1!$C$2:$C$3</c:f>
              <c:numCache>
                <c:formatCode>General</c:formatCode>
                <c:ptCount val="2"/>
                <c:pt idx="0">
                  <c:v>0.56241525877997867</c:v>
                </c:pt>
                <c:pt idx="1">
                  <c:v>0.9999621620598975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c:f>
              <c:strCache>
                <c:ptCount val="2"/>
                <c:pt idx="0">
                  <c:v>Toastinette Cheddar Fondu Tranche A Chaud Sachet 1X200Gr 10P</c:v>
                </c:pt>
                <c:pt idx="1">
                  <c:v>Toastinette Fromage Fondu Tranche A Chaud Sachet 1X200Gr 10P</c:v>
                </c:pt>
              </c:strCache>
            </c:strRef>
          </c:cat>
          <c:val>
            <c:numRef>
              <c:f>Sheet1!$D$2:$D$3</c:f>
              <c:numCache>
                <c:formatCode>General</c:formatCode>
                <c:ptCount val="2"/>
                <c:pt idx="0">
                  <c:v>3677.6391752577319</c:v>
                </c:pt>
                <c:pt idx="1">
                  <c:v>3513.025316455696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7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1510.361111111111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Toastinette Cheddar Fondu Tranche A Chaud Sachet 1X200Gr 10P</c:v>
                </c:pt>
                <c:pt idx="1">
                  <c:v>Toastinette Fromage Fondu Tranche A Chaud Sachet 1X200Gr 10P</c:v>
                </c:pt>
              </c:strCache>
            </c:strRef>
          </c:cat>
          <c:val>
            <c:numRef>
              <c:f>Sheet1!$B$2:$B$3</c:f>
              <c:numCache>
                <c:formatCode>General</c:formatCode>
                <c:ptCount val="2"/>
                <c:pt idx="0">
                  <c:v>0.18</c:v>
                </c:pt>
                <c:pt idx="1">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Toastinette Cheddar Fondu Tranche A Chaud Sachet 1X200Gr 10P</c:v>
                </c:pt>
                <c:pt idx="1">
                  <c:v>Toastinette Fromage Fondu Tranche A Chaud Sachet 1X200Gr 10P</c:v>
                </c:pt>
              </c:strCache>
            </c:strRef>
          </c:cat>
          <c:val>
            <c:numRef>
              <c:f>Sheet1!$C$2:$C$3</c:f>
              <c:numCache>
                <c:formatCode>General</c:formatCode>
                <c:ptCount val="2"/>
                <c:pt idx="0">
                  <c:v>0.6780588890263517</c:v>
                </c:pt>
                <c:pt idx="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c:f>
              <c:strCache>
                <c:ptCount val="2"/>
                <c:pt idx="0">
                  <c:v>Toastinette Cheddar Fondu Tranche A Chaud Sachet 1X200Gr 10P</c:v>
                </c:pt>
                <c:pt idx="1">
                  <c:v>Toastinette Fromage Fondu Tranche A Chaud Sachet 1X200Gr 10P</c:v>
                </c:pt>
              </c:strCache>
            </c:strRef>
          </c:cat>
          <c:val>
            <c:numRef>
              <c:f>Sheet1!$D$2:$D$3</c:f>
              <c:numCache>
                <c:formatCode>General</c:formatCode>
                <c:ptCount val="2"/>
                <c:pt idx="0">
                  <c:v>2435.8888888888887</c:v>
                </c:pt>
                <c:pt idx="1">
                  <c:v>4163.600000000000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3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0.9993856646732112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249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8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5857.97727272727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9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819.718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Toastinette Fromage Fondu Tranche A Chaud Sachet 1X200Gr 10P</c:v>
                </c:pt>
                <c:pt idx="1">
                  <c:v>Toastinette Fromage Fondu Tranche A Chaud Sachet 1X340Gr 20P</c:v>
                </c:pt>
                <c:pt idx="2">
                  <c:v>Toastinette Cheddar Fondu Tranche A Chaud Sachet 1X340Gr 20P</c:v>
                </c:pt>
              </c:strCache>
            </c:strRef>
          </c:cat>
          <c:val>
            <c:numRef>
              <c:f>Sheet1!$B$2:$B$4</c:f>
              <c:numCache>
                <c:formatCode>General</c:formatCode>
                <c:ptCount val="3"/>
                <c:pt idx="0">
                  <c:v>0.01</c:v>
                </c:pt>
                <c:pt idx="1">
                  <c:v>0.01</c:v>
                </c:pt>
                <c:pt idx="2">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7ECAC4"/>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Toastinette Fromage Fondu Tranche A Chaud Sachet 1X200Gr 10P</c:v>
                </c:pt>
                <c:pt idx="1">
                  <c:v>Toastinette Fromage Fondu Tranche A Chaud Sachet 1X340Gr 20P</c:v>
                </c:pt>
                <c:pt idx="2">
                  <c:v>Toastinette Cheddar Fondu Tranche A Chaud Sachet 1X340Gr 20P</c:v>
                </c:pt>
              </c:strCache>
            </c:strRef>
          </c:cat>
          <c:val>
            <c:numRef>
              <c:f>Sheet1!$C$2:$C$4</c:f>
              <c:numCache>
                <c:formatCode>General</c:formatCode>
                <c:ptCount val="3"/>
                <c:pt idx="0">
                  <c:v>0.89123867069486407</c:v>
                </c:pt>
                <c:pt idx="1">
                  <c:v>0.96374622356495465</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Toastinette Fromage Fondu Tranche A Chaud Sachet 1X200Gr 10P</c:v>
                </c:pt>
                <c:pt idx="1">
                  <c:v>Toastinette Fromage Fondu Tranche A Chaud Sachet 1X340Gr 20P</c:v>
                </c:pt>
                <c:pt idx="2">
                  <c:v>Toastinette Cheddar Fondu Tranche A Chaud Sachet 1X340Gr 20P</c:v>
                </c:pt>
              </c:strCache>
            </c:strRef>
          </c:cat>
          <c:val>
            <c:numRef>
              <c:f>Sheet1!$D$2:$D$4</c:f>
              <c:numCache>
                <c:formatCode>General</c:formatCode>
                <c:ptCount val="3"/>
                <c:pt idx="0">
                  <c:v>139</c:v>
                </c:pt>
                <c:pt idx="1">
                  <c:v>24</c:v>
                </c:pt>
                <c:pt idx="2">
                  <c:v>1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Cuisine Sauce Fromage Afh 1X240Gr 1P</c:v>
                </c:pt>
              </c:strCache>
            </c:strRef>
          </c:cat>
          <c:val>
            <c:numRef>
              <c:f>Sheet1!$B$2:$B$2</c:f>
              <c:numCache>
                <c:formatCode>General</c:formatCode>
                <c:ptCount val="1"/>
                <c:pt idx="0">
                  <c:v>0.7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Cuisine Sauce Fromage Afh 1X240Gr 1P</c:v>
                </c:pt>
              </c:strCache>
            </c:strRef>
          </c:cat>
          <c:val>
            <c:numRef>
              <c:f>Sheet1!$C$2:$C$2</c:f>
              <c:numCache>
                <c:formatCode>General</c:formatCode>
                <c:ptCount val="1"/>
                <c:pt idx="0">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Cuisine Sauce Fromage Afh 1X240Gr 1P</c:v>
                </c:pt>
              </c:strCache>
            </c:strRef>
          </c:cat>
          <c:val>
            <c:numRef>
              <c:f>Sheet1!$D$2:$D$2</c:f>
              <c:numCache>
                <c:formatCode>General</c:formatCode>
                <c:ptCount val="1"/>
                <c:pt idx="0">
                  <c:v>1571.287671232876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B$2:$B$9</c:f>
              <c:numCache>
                <c:formatCode>General</c:formatCode>
                <c:ptCount val="8"/>
                <c:pt idx="0">
                  <c:v>0.77800000000000002</c:v>
                </c:pt>
                <c:pt idx="1">
                  <c:v>0.99</c:v>
                </c:pt>
                <c:pt idx="2">
                  <c:v>0.83399999999999996</c:v>
                </c:pt>
                <c:pt idx="3">
                  <c:v>0.94899999999999995</c:v>
                </c:pt>
                <c:pt idx="4">
                  <c:v>0.73199999999999998</c:v>
                </c:pt>
                <c:pt idx="5">
                  <c:v>0.71599999999999997</c:v>
                </c:pt>
                <c:pt idx="6">
                  <c:v>0.502</c:v>
                </c:pt>
                <c:pt idx="7">
                  <c:v>0.26700000000000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C$2:$C$9</c:f>
              <c:numCache>
                <c:formatCode>General</c:formatCode>
                <c:ptCount val="8"/>
                <c:pt idx="0">
                  <c:v>0.29823520915114343</c:v>
                </c:pt>
                <c:pt idx="1">
                  <c:v>0.52067784531274275</c:v>
                </c:pt>
                <c:pt idx="2">
                  <c:v>0.68903345648748304</c:v>
                </c:pt>
                <c:pt idx="3">
                  <c:v>0.84307493505125275</c:v>
                </c:pt>
                <c:pt idx="4">
                  <c:v>0.92985351627946711</c:v>
                </c:pt>
                <c:pt idx="5">
                  <c:v>0.98508694911540051</c:v>
                </c:pt>
                <c:pt idx="6">
                  <c:v>0.99919564950890072</c:v>
                </c:pt>
                <c:pt idx="7">
                  <c:v>0.9999978335896370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D$2:$D$9</c:f>
              <c:numCache>
                <c:formatCode>General</c:formatCode>
                <c:ptCount val="8"/>
                <c:pt idx="0">
                  <c:v>81394.755784061694</c:v>
                </c:pt>
                <c:pt idx="1">
                  <c:v>47708.959595959597</c:v>
                </c:pt>
                <c:pt idx="2">
                  <c:v>42862.613908872903</c:v>
                </c:pt>
                <c:pt idx="3">
                  <c:v>34465.816649104323</c:v>
                </c:pt>
                <c:pt idx="4">
                  <c:v>25172.049180327867</c:v>
                </c:pt>
                <c:pt idx="5">
                  <c:v>16379.706703910615</c:v>
                </c:pt>
                <c:pt idx="6">
                  <c:v>5967.6095617529882</c:v>
                </c:pt>
                <c:pt idx="7">
                  <c:v>637.9400749063669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Private Label</c:v>
                </c:pt>
                <c:pt idx="4">
                  <c:v>St Moret</c:v>
                </c:pt>
                <c:pt idx="5">
                  <c:v>Others</c:v>
                </c:pt>
              </c:strCache>
            </c:strRef>
          </c:cat>
          <c:val>
            <c:numRef>
              <c:f>Sheet1!$B$2:$B$7</c:f>
              <c:numCache>
                <c:formatCode>General</c:formatCode>
                <c:ptCount val="6"/>
                <c:pt idx="0">
                  <c:v>0.56333525639280058</c:v>
                </c:pt>
                <c:pt idx="1">
                  <c:v>0.15142066809745669</c:v>
                </c:pt>
                <c:pt idx="2">
                  <c:v>0.12661763392758194</c:v>
                </c:pt>
                <c:pt idx="3">
                  <c:v>8.4394024119092054E-2</c:v>
                </c:pt>
                <c:pt idx="4">
                  <c:v>6.3589201567240697E-2</c:v>
                </c:pt>
                <c:pt idx="5">
                  <c:v>1.064321589582801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Private Label</c:v>
                </c:pt>
                <c:pt idx="4">
                  <c:v>St Moret</c:v>
                </c:pt>
                <c:pt idx="5">
                  <c:v>Others</c:v>
                </c:pt>
              </c:strCache>
            </c:strRef>
          </c:cat>
          <c:val>
            <c:numRef>
              <c:f>Sheet1!$C$2:$C$7</c:f>
              <c:numCache>
                <c:formatCode>General</c:formatCode>
                <c:ptCount val="6"/>
                <c:pt idx="0">
                  <c:v>0.41109913793103453</c:v>
                </c:pt>
                <c:pt idx="1">
                  <c:v>0.22575431034482757</c:v>
                </c:pt>
                <c:pt idx="2">
                  <c:v>0.12553879310344826</c:v>
                </c:pt>
                <c:pt idx="3">
                  <c:v>6.7349137931034475E-2</c:v>
                </c:pt>
                <c:pt idx="4">
                  <c:v>0.1179956896551724</c:v>
                </c:pt>
                <c:pt idx="5">
                  <c:v>5.226293103448274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ericube</c:v>
                </c:pt>
                <c:pt idx="1">
                  <c:v>Aperivrais</c:v>
                </c:pt>
                <c:pt idx="2">
                  <c:v>Boursin</c:v>
                </c:pt>
                <c:pt idx="3">
                  <c:v>Private Label</c:v>
                </c:pt>
                <c:pt idx="4">
                  <c:v>St Moret</c:v>
                </c:pt>
                <c:pt idx="5">
                  <c:v>Others</c:v>
                </c:pt>
              </c:strCache>
            </c:strRef>
          </c:cat>
          <c:val>
            <c:numRef>
              <c:f>Sheet1!$D$2:$D$7</c:f>
              <c:numCache>
                <c:formatCode>General</c:formatCode>
                <c:ptCount val="6"/>
                <c:pt idx="0">
                  <c:v>72.975929211926456</c:v>
                </c:pt>
                <c:pt idx="1">
                  <c:v>149.09081645282967</c:v>
                </c:pt>
                <c:pt idx="2">
                  <c:v>99.147953732297097</c:v>
                </c:pt>
                <c:pt idx="3">
                  <c:v>79.803207198646192</c:v>
                </c:pt>
                <c:pt idx="4">
                  <c:v>185.55931942375631</c:v>
                </c:pt>
                <c:pt idx="5">
                  <c:v>491.0445446753461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2</c:f>
              <c:strCache>
                <c:ptCount val="11"/>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La Vache Qui Rit Pik Et Croq' Fromage Fondu Dips Boite 1X35Gr 1P</c:v>
                </c:pt>
              </c:strCache>
            </c:strRef>
          </c:cat>
          <c:val>
            <c:numRef>
              <c:f>Sheet1!$B$2:$B$12</c:f>
              <c:numCache>
                <c:formatCode>General</c:formatCode>
                <c:ptCount val="11"/>
                <c:pt idx="0">
                  <c:v>0.82699999999999996</c:v>
                </c:pt>
                <c:pt idx="1">
                  <c:v>0.89800000000000002</c:v>
                </c:pt>
                <c:pt idx="2">
                  <c:v>0.98099999999999998</c:v>
                </c:pt>
                <c:pt idx="3">
                  <c:v>0.90800000000000003</c:v>
                </c:pt>
                <c:pt idx="4">
                  <c:v>0.69399999999999995</c:v>
                </c:pt>
                <c:pt idx="5">
                  <c:v>0.72499999999999998</c:v>
                </c:pt>
                <c:pt idx="6">
                  <c:v>0.434</c:v>
                </c:pt>
                <c:pt idx="7">
                  <c:v>0.495</c:v>
                </c:pt>
                <c:pt idx="8">
                  <c:v>0.48199999999999998</c:v>
                </c:pt>
                <c:pt idx="9">
                  <c:v>3.6999999999999998E-2</c:v>
                </c:pt>
                <c:pt idx="10">
                  <c:v>8.0000000000000002E-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2</c:f>
              <c:strCache>
                <c:ptCount val="11"/>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La Vache Qui Rit Pik Et Croq' Fromage Fondu Dips Boite 1X35Gr 1P</c:v>
                </c:pt>
              </c:strCache>
            </c:strRef>
          </c:cat>
          <c:val>
            <c:numRef>
              <c:f>Sheet1!$C$2:$C$12</c:f>
              <c:numCache>
                <c:formatCode>General</c:formatCode>
                <c:ptCount val="11"/>
                <c:pt idx="0">
                  <c:v>0.38846312043320558</c:v>
                </c:pt>
                <c:pt idx="1">
                  <c:v>0.6030968637969657</c:v>
                </c:pt>
                <c:pt idx="2">
                  <c:v>0.81165698469373493</c:v>
                </c:pt>
                <c:pt idx="3">
                  <c:v>0.87001966108521689</c:v>
                </c:pt>
                <c:pt idx="4">
                  <c:v>0.92030617519029945</c:v>
                </c:pt>
                <c:pt idx="5">
                  <c:v>0.96638464466093754</c:v>
                </c:pt>
                <c:pt idx="6">
                  <c:v>0.98092197965177452</c:v>
                </c:pt>
                <c:pt idx="7">
                  <c:v>0.99290200164708853</c:v>
                </c:pt>
                <c:pt idx="8">
                  <c:v>0.99809221437567197</c:v>
                </c:pt>
                <c:pt idx="9">
                  <c:v>0.99907835380947319</c:v>
                </c:pt>
                <c:pt idx="10">
                  <c:v>0.999850008080527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2</c:f>
              <c:strCache>
                <c:ptCount val="11"/>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La Vache Qui Rit Pik Et Croq' Fromage Fondu Dips Boite 1X35Gr 1P</c:v>
                </c:pt>
              </c:strCache>
            </c:strRef>
          </c:cat>
          <c:val>
            <c:numRef>
              <c:f>Sheet1!$D$2:$D$12</c:f>
              <c:numCache>
                <c:formatCode>General</c:formatCode>
                <c:ptCount val="11"/>
                <c:pt idx="0">
                  <c:v>143117.46070133013</c:v>
                </c:pt>
                <c:pt idx="1">
                  <c:v>72823.240534521159</c:v>
                </c:pt>
                <c:pt idx="2">
                  <c:v>64775.474006116208</c:v>
                </c:pt>
                <c:pt idx="3">
                  <c:v>19583.832599118945</c:v>
                </c:pt>
                <c:pt idx="4">
                  <c:v>22077.017291066284</c:v>
                </c:pt>
                <c:pt idx="5">
                  <c:v>19364.593103448275</c:v>
                </c:pt>
                <c:pt idx="6">
                  <c:v>10205.714285714286</c:v>
                </c:pt>
                <c:pt idx="7">
                  <c:v>7373.9595959595963</c:v>
                </c:pt>
                <c:pt idx="8">
                  <c:v>3280.8506224066391</c:v>
                </c:pt>
                <c:pt idx="9">
                  <c:v>8120.5405405405409</c:v>
                </c:pt>
                <c:pt idx="10">
                  <c:v>29388.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strCache>
            </c:strRef>
          </c:cat>
          <c:val>
            <c:numRef>
              <c:f>Sheet1!$B$2:$B$9</c:f>
              <c:numCache>
                <c:formatCode>General</c:formatCode>
                <c:ptCount val="8"/>
                <c:pt idx="0">
                  <c:v>0.97499999999999998</c:v>
                </c:pt>
                <c:pt idx="1">
                  <c:v>0.86099999999999999</c:v>
                </c:pt>
                <c:pt idx="2">
                  <c:v>0.93200000000000005</c:v>
                </c:pt>
                <c:pt idx="3">
                  <c:v>0.98299999999999998</c:v>
                </c:pt>
                <c:pt idx="4">
                  <c:v>0.98099999999999998</c:v>
                </c:pt>
                <c:pt idx="5">
                  <c:v>0.60299999999999998</c:v>
                </c:pt>
                <c:pt idx="6">
                  <c:v>0.67200000000000004</c:v>
                </c:pt>
                <c:pt idx="7">
                  <c:v>0.8169999999999999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strCache>
            </c:strRef>
          </c:cat>
          <c:val>
            <c:numRef>
              <c:f>Sheet1!$C$2:$C$9</c:f>
              <c:numCache>
                <c:formatCode>General</c:formatCode>
                <c:ptCount val="8"/>
                <c:pt idx="0">
                  <c:v>0.27189082498207895</c:v>
                </c:pt>
                <c:pt idx="1">
                  <c:v>0.49957760406241702</c:v>
                </c:pt>
                <c:pt idx="2">
                  <c:v>0.65688477934111844</c:v>
                </c:pt>
                <c:pt idx="3">
                  <c:v>0.81147833821168314</c:v>
                </c:pt>
                <c:pt idx="4">
                  <c:v>0.93463865021627812</c:v>
                </c:pt>
                <c:pt idx="5">
                  <c:v>0.96071565312987084</c:v>
                </c:pt>
                <c:pt idx="6">
                  <c:v>0.98327315746391175</c:v>
                </c:pt>
                <c:pt idx="7">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strCache>
            </c:strRef>
          </c:cat>
          <c:val>
            <c:numRef>
              <c:f>Sheet1!$D$2:$D$9</c:f>
              <c:numCache>
                <c:formatCode>General</c:formatCode>
                <c:ptCount val="8"/>
                <c:pt idx="0">
                  <c:v>45724.892307692309</c:v>
                </c:pt>
                <c:pt idx="1">
                  <c:v>43360.813008130084</c:v>
                </c:pt>
                <c:pt idx="2">
                  <c:v>27675.493562231757</c:v>
                </c:pt>
                <c:pt idx="3">
                  <c:v>25786.988809766022</c:v>
                </c:pt>
                <c:pt idx="4">
                  <c:v>20585.647298674823</c:v>
                </c:pt>
                <c:pt idx="5">
                  <c:v>7090.9286898839136</c:v>
                </c:pt>
                <c:pt idx="6">
                  <c:v>5504.0773809523807</c:v>
                </c:pt>
                <c:pt idx="7">
                  <c:v>3357.025703794370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0.94699999999999995</c:v>
                </c:pt>
                <c:pt idx="1">
                  <c:v>0.998</c:v>
                </c:pt>
                <c:pt idx="2">
                  <c:v>0.94099999999999995</c:v>
                </c:pt>
                <c:pt idx="3">
                  <c:v>0.95499999999999996</c:v>
                </c:pt>
                <c:pt idx="4">
                  <c:v>0.84799999999999998</c:v>
                </c:pt>
                <c:pt idx="5">
                  <c:v>0.84099999999999997</c:v>
                </c:pt>
                <c:pt idx="6">
                  <c:v>0.67900000000000005</c:v>
                </c:pt>
                <c:pt idx="7">
                  <c:v>0.23100000000000001</c:v>
                </c:pt>
                <c:pt idx="8">
                  <c:v>0.1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C$2:$C$10</c:f>
              <c:numCache>
                <c:formatCode>General</c:formatCode>
                <c:ptCount val="9"/>
                <c:pt idx="0">
                  <c:v>0.33309427990982143</c:v>
                </c:pt>
                <c:pt idx="1">
                  <c:v>0.6062099420748005</c:v>
                </c:pt>
                <c:pt idx="2">
                  <c:v>0.82408231902243134</c:v>
                </c:pt>
                <c:pt idx="3">
                  <c:v>0.88446661975149032</c:v>
                </c:pt>
                <c:pt idx="4">
                  <c:v>0.9398858590464646</c:v>
                </c:pt>
                <c:pt idx="5">
                  <c:v>0.97830316430954412</c:v>
                </c:pt>
                <c:pt idx="6">
                  <c:v>0.9985931653566682</c:v>
                </c:pt>
                <c:pt idx="7">
                  <c:v>0.99995025939151017</c:v>
                </c:pt>
                <c:pt idx="8">
                  <c:v>0.99999716274603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D$2:$D$10</c:f>
              <c:numCache>
                <c:formatCode>General</c:formatCode>
                <c:ptCount val="9"/>
                <c:pt idx="0">
                  <c:v>79341.235480464631</c:v>
                </c:pt>
                <c:pt idx="1">
                  <c:v>61730.220440881763</c:v>
                </c:pt>
                <c:pt idx="2">
                  <c:v>52226.907545164722</c:v>
                </c:pt>
                <c:pt idx="3">
                  <c:v>14262.722513089006</c:v>
                </c:pt>
                <c:pt idx="4">
                  <c:v>14741.662735849057</c:v>
                </c:pt>
                <c:pt idx="5">
                  <c:v>10304.161712247325</c:v>
                </c:pt>
                <c:pt idx="6">
                  <c:v>6740.5301914580259</c:v>
                </c:pt>
                <c:pt idx="7">
                  <c:v>1325.1948051948052</c:v>
                </c:pt>
                <c:pt idx="8">
                  <c:v>94.46428571428570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Kiri Creme Fromage Blanc Frais Carre 1X432Gr 24P</c:v>
                </c:pt>
                <c:pt idx="1">
                  <c:v>Kiri Creme Fromage Blanc Frais Carre 1X216Gr 12P</c:v>
                </c:pt>
                <c:pt idx="2">
                  <c:v>Kiri Gouter Fromage Blanc Dips Boite 1X175Gr 5P</c:v>
                </c:pt>
                <c:pt idx="3">
                  <c:v>Kiri Creme Fromage Blanc Frais Carre 1X144Gr 8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B$2:$B$9</c:f>
              <c:numCache>
                <c:formatCode>General</c:formatCode>
                <c:ptCount val="8"/>
                <c:pt idx="0">
                  <c:v>0.99</c:v>
                </c:pt>
                <c:pt idx="1">
                  <c:v>1</c:v>
                </c:pt>
                <c:pt idx="2">
                  <c:v>1</c:v>
                </c:pt>
                <c:pt idx="3">
                  <c:v>1</c:v>
                </c:pt>
                <c:pt idx="4">
                  <c:v>0.99</c:v>
                </c:pt>
                <c:pt idx="5">
                  <c:v>0.98</c:v>
                </c:pt>
                <c:pt idx="6">
                  <c:v>0.75</c:v>
                </c:pt>
                <c:pt idx="7">
                  <c:v>0.56000000000000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Kiri Creme Fromage Blanc Frais Carre 1X432Gr 24P</c:v>
                </c:pt>
                <c:pt idx="1">
                  <c:v>Kiri Creme Fromage Blanc Frais Carre 1X216Gr 12P</c:v>
                </c:pt>
                <c:pt idx="2">
                  <c:v>Kiri Gouter Fromage Blanc Dips Boite 1X175Gr 5P</c:v>
                </c:pt>
                <c:pt idx="3">
                  <c:v>Kiri Creme Fromage Blanc Frais Carre 1X144Gr 8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C$2:$C$9</c:f>
              <c:numCache>
                <c:formatCode>General</c:formatCode>
                <c:ptCount val="8"/>
                <c:pt idx="0">
                  <c:v>0.4031534808779646</c:v>
                </c:pt>
                <c:pt idx="1">
                  <c:v>0.57695919499217563</c:v>
                </c:pt>
                <c:pt idx="2">
                  <c:v>0.71015123463158636</c:v>
                </c:pt>
                <c:pt idx="3">
                  <c:v>0.8155047185287233</c:v>
                </c:pt>
                <c:pt idx="4">
                  <c:v>0.91388552209484819</c:v>
                </c:pt>
                <c:pt idx="5">
                  <c:v>0.98600247375620143</c:v>
                </c:pt>
                <c:pt idx="6">
                  <c:v>0.9986734399744317</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Kiri Creme Fromage Blanc Frais Carre 1X432Gr 24P</c:v>
                </c:pt>
                <c:pt idx="1">
                  <c:v>Kiri Creme Fromage Blanc Frais Carre 1X216Gr 12P</c:v>
                </c:pt>
                <c:pt idx="2">
                  <c:v>Kiri Gouter Fromage Blanc Dips Boite 1X175Gr 5P</c:v>
                </c:pt>
                <c:pt idx="3">
                  <c:v>Kiri Creme Fromage Blanc Frais Carre 1X144Gr 8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D$2:$D$9</c:f>
              <c:numCache>
                <c:formatCode>General</c:formatCode>
                <c:ptCount val="8"/>
                <c:pt idx="0">
                  <c:v>45589.414141414141</c:v>
                </c:pt>
                <c:pt idx="1">
                  <c:v>19457.759999999998</c:v>
                </c:pt>
                <c:pt idx="2">
                  <c:v>14911.01</c:v>
                </c:pt>
                <c:pt idx="3">
                  <c:v>11794.45</c:v>
                </c:pt>
                <c:pt idx="4">
                  <c:v>11125.101010101011</c:v>
                </c:pt>
                <c:pt idx="5">
                  <c:v>8238.3469387755104</c:v>
                </c:pt>
                <c:pt idx="6">
                  <c:v>1891.3733333333332</c:v>
                </c:pt>
                <c:pt idx="7">
                  <c:v>265.1964285714285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1</c:f>
              <c:strCache>
                <c:ptCount val="10"/>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Nature Fromage Fondu Boite Ronde 1X128Gr 8P</c:v>
                </c:pt>
                <c:pt idx="5">
                  <c:v>La Vache Qui Rit Pik Et Croq' Fromage Fondu Dips Boite 1X175Gr 5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strCache>
            </c:strRef>
          </c:cat>
          <c:val>
            <c:numRef>
              <c:f>Sheet1!$B$2:$B$11</c:f>
              <c:numCache>
                <c:formatCode>General</c:formatCode>
                <c:ptCount val="10"/>
                <c:pt idx="0">
                  <c:v>0.99</c:v>
                </c:pt>
                <c:pt idx="1">
                  <c:v>1</c:v>
                </c:pt>
                <c:pt idx="2">
                  <c:v>1</c:v>
                </c:pt>
                <c:pt idx="3">
                  <c:v>0.94</c:v>
                </c:pt>
                <c:pt idx="4">
                  <c:v>0.94</c:v>
                </c:pt>
                <c:pt idx="5">
                  <c:v>1</c:v>
                </c:pt>
                <c:pt idx="6">
                  <c:v>0.95</c:v>
                </c:pt>
                <c:pt idx="7">
                  <c:v>0.86</c:v>
                </c:pt>
                <c:pt idx="8">
                  <c:v>0.82</c:v>
                </c:pt>
                <c:pt idx="9">
                  <c:v>0.0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1</c:f>
              <c:strCache>
                <c:ptCount val="10"/>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Nature Fromage Fondu Boite Ronde 1X128Gr 8P</c:v>
                </c:pt>
                <c:pt idx="5">
                  <c:v>La Vache Qui Rit Pik Et Croq' Fromage Fondu Dips Boite 1X175Gr 5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strCache>
            </c:strRef>
          </c:cat>
          <c:val>
            <c:numRef>
              <c:f>Sheet1!$C$2:$C$11</c:f>
              <c:numCache>
                <c:formatCode>General</c:formatCode>
                <c:ptCount val="10"/>
                <c:pt idx="0">
                  <c:v>0.51068741014417895</c:v>
                </c:pt>
                <c:pt idx="1">
                  <c:v>0.69310671599516049</c:v>
                </c:pt>
                <c:pt idx="2">
                  <c:v>0.79739729086260602</c:v>
                </c:pt>
                <c:pt idx="3">
                  <c:v>0.85520730406060907</c:v>
                </c:pt>
                <c:pt idx="4">
                  <c:v>0.9034149208369594</c:v>
                </c:pt>
                <c:pt idx="5">
                  <c:v>0.94863456617934316</c:v>
                </c:pt>
                <c:pt idx="6">
                  <c:v>0.97626151578215425</c:v>
                </c:pt>
                <c:pt idx="7">
                  <c:v>0.99300485858354781</c:v>
                </c:pt>
                <c:pt idx="8">
                  <c:v>0.99812383043813202</c:v>
                </c:pt>
                <c:pt idx="9">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1</c:f>
              <c:strCache>
                <c:ptCount val="10"/>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512Gr 24+8P</c:v>
                </c:pt>
                <c:pt idx="4">
                  <c:v>La Vache Qui Rit Nature Fromage Fondu Boite Ronde 1X128Gr 8P</c:v>
                </c:pt>
                <c:pt idx="5">
                  <c:v>La Vache Qui Rit Pik Et Croq' Fromage Fondu Dips Boite 1X175Gr 5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strCache>
            </c:strRef>
          </c:cat>
          <c:val>
            <c:numRef>
              <c:f>Sheet1!$D$2:$D$11</c:f>
              <c:numCache>
                <c:formatCode>General</c:formatCode>
                <c:ptCount val="10"/>
                <c:pt idx="0">
                  <c:v>82610.363636363632</c:v>
                </c:pt>
                <c:pt idx="1">
                  <c:v>29213.62</c:v>
                </c:pt>
                <c:pt idx="2">
                  <c:v>16701.66</c:v>
                </c:pt>
                <c:pt idx="3">
                  <c:v>9848.9468085106382</c:v>
                </c:pt>
                <c:pt idx="4">
                  <c:v>8213.010638297872</c:v>
                </c:pt>
                <c:pt idx="5">
                  <c:v>7241.72</c:v>
                </c:pt>
                <c:pt idx="6">
                  <c:v>4657.1894736842105</c:v>
                </c:pt>
                <c:pt idx="7">
                  <c:v>3117.8720930232557</c:v>
                </c:pt>
                <c:pt idx="8">
                  <c:v>999.73170731707319</c:v>
                </c:pt>
                <c:pt idx="9">
                  <c:v>3755.7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B$2:$B$9</c:f>
              <c:numCache>
                <c:formatCode>General</c:formatCode>
                <c:ptCount val="8"/>
                <c:pt idx="0">
                  <c:v>0.86</c:v>
                </c:pt>
                <c:pt idx="1">
                  <c:v>0.97</c:v>
                </c:pt>
                <c:pt idx="2">
                  <c:v>0.99</c:v>
                </c:pt>
                <c:pt idx="3">
                  <c:v>0.99</c:v>
                </c:pt>
                <c:pt idx="4">
                  <c:v>0.73</c:v>
                </c:pt>
                <c:pt idx="5">
                  <c:v>0.71</c:v>
                </c:pt>
                <c:pt idx="6">
                  <c:v>0.42</c:v>
                </c:pt>
                <c:pt idx="7">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C$2:$C$9</c:f>
              <c:numCache>
                <c:formatCode>General</c:formatCode>
                <c:ptCount val="8"/>
                <c:pt idx="0">
                  <c:v>0.26847564347357578</c:v>
                </c:pt>
                <c:pt idx="1">
                  <c:v>0.50303540876995645</c:v>
                </c:pt>
                <c:pt idx="2">
                  <c:v>0.67757540078266054</c:v>
                </c:pt>
                <c:pt idx="3">
                  <c:v>0.81507430784645496</c:v>
                </c:pt>
                <c:pt idx="4">
                  <c:v>0.9224235358199504</c:v>
                </c:pt>
                <c:pt idx="5">
                  <c:v>0.97639523645231741</c:v>
                </c:pt>
                <c:pt idx="6">
                  <c:v>0.99968969473405622</c:v>
                </c:pt>
                <c:pt idx="7">
                  <c:v>0.9999932060722355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Kiri Creme Fromage Blanc Frais Carre 1X432Gr 24P</c:v>
                </c:pt>
                <c:pt idx="1">
                  <c:v>Kiri Creme Fromage Blanc Frais Carre 1X216Gr 12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strCache>
            </c:strRef>
          </c:cat>
          <c:val>
            <c:numRef>
              <c:f>Sheet1!$D$2:$D$9</c:f>
              <c:numCache>
                <c:formatCode>General</c:formatCode>
                <c:ptCount val="8"/>
                <c:pt idx="0">
                  <c:v>21137</c:v>
                </c:pt>
                <c:pt idx="1">
                  <c:v>16372.639175257733</c:v>
                </c:pt>
                <c:pt idx="2">
                  <c:v>11937.040404040405</c:v>
                </c:pt>
                <c:pt idx="3">
                  <c:v>9403.7474747474753</c:v>
                </c:pt>
                <c:pt idx="4">
                  <c:v>9956.6438356164381</c:v>
                </c:pt>
                <c:pt idx="5">
                  <c:v>5146.8873239436616</c:v>
                </c:pt>
                <c:pt idx="6">
                  <c:v>3755.2619047619046</c:v>
                </c:pt>
                <c:pt idx="7">
                  <c:v>68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128Gr 8P</c:v>
                </c:pt>
                <c:pt idx="4">
                  <c:v>La Vache Qui Rit Pik Et Croq' Fromage Fondu Dips Boite 1X175Gr 5P</c:v>
                </c:pt>
                <c:pt idx="5">
                  <c:v>La Vache Qui Rit Nature Fromage Fondu Boite Ronde 1X512Gr 24+8P</c:v>
                </c:pt>
                <c:pt idx="6">
                  <c:v>La Vache Qui Rit Allegee Fromage Fondu Boite Ronde Allege 1X267Gr 16P</c:v>
                </c:pt>
                <c:pt idx="7">
                  <c:v>La Vache Qui Rit Bio Fromage Fondu Boite Ronde 1X128Gr 8P</c:v>
                </c:pt>
              </c:strCache>
            </c:strRef>
          </c:cat>
          <c:val>
            <c:numRef>
              <c:f>Sheet1!$B$2:$B$9</c:f>
              <c:numCache>
                <c:formatCode>General</c:formatCode>
                <c:ptCount val="8"/>
                <c:pt idx="0">
                  <c:v>0.99</c:v>
                </c:pt>
                <c:pt idx="1">
                  <c:v>0.96</c:v>
                </c:pt>
                <c:pt idx="2">
                  <c:v>0.99</c:v>
                </c:pt>
                <c:pt idx="3">
                  <c:v>0.66</c:v>
                </c:pt>
                <c:pt idx="4">
                  <c:v>0.97</c:v>
                </c:pt>
                <c:pt idx="5">
                  <c:v>0.78</c:v>
                </c:pt>
                <c:pt idx="6">
                  <c:v>0.27</c:v>
                </c:pt>
                <c:pt idx="7">
                  <c:v>0.2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128Gr 8P</c:v>
                </c:pt>
                <c:pt idx="4">
                  <c:v>La Vache Qui Rit Pik Et Croq' Fromage Fondu Dips Boite 1X175Gr 5P</c:v>
                </c:pt>
                <c:pt idx="5">
                  <c:v>La Vache Qui Rit Nature Fromage Fondu Boite Ronde 1X512Gr 24+8P</c:v>
                </c:pt>
                <c:pt idx="6">
                  <c:v>La Vache Qui Rit Allegee Fromage Fondu Boite Ronde Allege 1X267Gr 16P</c:v>
                </c:pt>
                <c:pt idx="7">
                  <c:v>La Vache Qui Rit Bio Fromage Fondu Boite Ronde 1X128Gr 8P</c:v>
                </c:pt>
              </c:strCache>
            </c:strRef>
          </c:cat>
          <c:val>
            <c:numRef>
              <c:f>Sheet1!$C$2:$C$9</c:f>
              <c:numCache>
                <c:formatCode>General</c:formatCode>
                <c:ptCount val="8"/>
                <c:pt idx="0">
                  <c:v>0.37557488386607901</c:v>
                </c:pt>
                <c:pt idx="1">
                  <c:v>0.61165946200754751</c:v>
                </c:pt>
                <c:pt idx="2">
                  <c:v>0.80801776885248278</c:v>
                </c:pt>
                <c:pt idx="3">
                  <c:v>0.8730735418318174</c:v>
                </c:pt>
                <c:pt idx="4">
                  <c:v>0.93593690551533659</c:v>
                </c:pt>
                <c:pt idx="5">
                  <c:v>0.98508482818824306</c:v>
                </c:pt>
                <c:pt idx="6">
                  <c:v>0.9950437046995938</c:v>
                </c:pt>
                <c:pt idx="7">
                  <c:v>0.99994908549840844</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128Gr 8P</c:v>
                </c:pt>
                <c:pt idx="4">
                  <c:v>La Vache Qui Rit Pik Et Croq' Fromage Fondu Dips Boite 1X175Gr 5P</c:v>
                </c:pt>
                <c:pt idx="5">
                  <c:v>La Vache Qui Rit Nature Fromage Fondu Boite Ronde 1X512Gr 24+8P</c:v>
                </c:pt>
                <c:pt idx="6">
                  <c:v>La Vache Qui Rit Allegee Fromage Fondu Boite Ronde Allege 1X267Gr 16P</c:v>
                </c:pt>
                <c:pt idx="7">
                  <c:v>La Vache Qui Rit Bio Fromage Fondu Boite Ronde 1X128Gr 8P</c:v>
                </c:pt>
              </c:strCache>
            </c:strRef>
          </c:cat>
          <c:val>
            <c:numRef>
              <c:f>Sheet1!$D$2:$D$9</c:f>
              <c:numCache>
                <c:formatCode>General</c:formatCode>
                <c:ptCount val="8"/>
                <c:pt idx="0">
                  <c:v>36882.898989898989</c:v>
                </c:pt>
                <c:pt idx="1">
                  <c:v>23908.927083333332</c:v>
                </c:pt>
                <c:pt idx="2">
                  <c:v>19283.141414141413</c:v>
                </c:pt>
                <c:pt idx="3">
                  <c:v>9583.0909090909099</c:v>
                </c:pt>
                <c:pt idx="4">
                  <c:v>6300.7113402061859</c:v>
                </c:pt>
                <c:pt idx="5">
                  <c:v>6125.9615384615381</c:v>
                </c:pt>
                <c:pt idx="6">
                  <c:v>3586</c:v>
                </c:pt>
                <c:pt idx="7">
                  <c:v>1907.6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5</c:f>
              <c:strCache>
                <c:ptCount val="4"/>
                <c:pt idx="0">
                  <c:v>Kiri Creme Fromage Blanc Frais Carre 1X144Gr 8P</c:v>
                </c:pt>
                <c:pt idx="1">
                  <c:v>Kiri Gouter Fromage Blanc Dips Boite 1X175Gr 5P</c:v>
                </c:pt>
                <c:pt idx="2">
                  <c:v>Kiri Creme Fromage Blanc Frais Carre 1X216Gr 12P</c:v>
                </c:pt>
                <c:pt idx="3">
                  <c:v>Kiri Gouter Fromage Blanc Dips Boite 1X280Gr 8P</c:v>
                </c:pt>
              </c:strCache>
            </c:strRef>
          </c:cat>
          <c:val>
            <c:numRef>
              <c:f>Sheet1!$B$2:$B$5</c:f>
              <c:numCache>
                <c:formatCode>General</c:formatCode>
                <c:ptCount val="4"/>
                <c:pt idx="0">
                  <c:v>0.96</c:v>
                </c:pt>
                <c:pt idx="1">
                  <c:v>0.71</c:v>
                </c:pt>
                <c:pt idx="2">
                  <c:v>0.06</c:v>
                </c:pt>
                <c:pt idx="3">
                  <c:v>0.0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5</c:f>
              <c:strCache>
                <c:ptCount val="4"/>
                <c:pt idx="0">
                  <c:v>Kiri Creme Fromage Blanc Frais Carre 1X144Gr 8P</c:v>
                </c:pt>
                <c:pt idx="1">
                  <c:v>Kiri Gouter Fromage Blanc Dips Boite 1X175Gr 5P</c:v>
                </c:pt>
                <c:pt idx="2">
                  <c:v>Kiri Creme Fromage Blanc Frais Carre 1X216Gr 12P</c:v>
                </c:pt>
                <c:pt idx="3">
                  <c:v>Kiri Gouter Fromage Blanc Dips Boite 1X280Gr 8P</c:v>
                </c:pt>
              </c:strCache>
            </c:strRef>
          </c:cat>
          <c:val>
            <c:numRef>
              <c:f>Sheet1!$C$2:$C$5</c:f>
              <c:numCache>
                <c:formatCode>General</c:formatCode>
                <c:ptCount val="4"/>
                <c:pt idx="0">
                  <c:v>0.72288951976612659</c:v>
                </c:pt>
                <c:pt idx="1">
                  <c:v>0.98264710131088617</c:v>
                </c:pt>
                <c:pt idx="2">
                  <c:v>0.99514018451322883</c:v>
                </c:pt>
                <c:pt idx="3">
                  <c:v>0.99953939024449956</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5</c:f>
              <c:strCache>
                <c:ptCount val="4"/>
                <c:pt idx="0">
                  <c:v>Kiri Creme Fromage Blanc Frais Carre 1X144Gr 8P</c:v>
                </c:pt>
                <c:pt idx="1">
                  <c:v>Kiri Gouter Fromage Blanc Dips Boite 1X175Gr 5P</c:v>
                </c:pt>
                <c:pt idx="2">
                  <c:v>Kiri Creme Fromage Blanc Frais Carre 1X216Gr 12P</c:v>
                </c:pt>
                <c:pt idx="3">
                  <c:v>Kiri Gouter Fromage Blanc Dips Boite 1X280Gr 8P</c:v>
                </c:pt>
              </c:strCache>
            </c:strRef>
          </c:cat>
          <c:val>
            <c:numRef>
              <c:f>Sheet1!$D$2:$D$5</c:f>
              <c:numCache>
                <c:formatCode>General</c:formatCode>
                <c:ptCount val="4"/>
                <c:pt idx="0">
                  <c:v>24603.90625</c:v>
                </c:pt>
                <c:pt idx="1">
                  <c:v>11954</c:v>
                </c:pt>
                <c:pt idx="2">
                  <c:v>6803.333333333333</c:v>
                </c:pt>
                <c:pt idx="3">
                  <c:v>718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La Vache Qui Rit Bio Fromage Fondu Boite Ronde 1X128Gr 8P</c:v>
                </c:pt>
                <c:pt idx="5">
                  <c:v>La Vache Qui Rit Pik Et Croq' Fromage Fondu Dips Boite 1X35Gr 1P</c:v>
                </c:pt>
              </c:strCache>
            </c:strRef>
          </c:cat>
          <c:val>
            <c:numRef>
              <c:f>Sheet1!$B$2:$B$7</c:f>
              <c:numCache>
                <c:formatCode>General</c:formatCode>
                <c:ptCount val="6"/>
                <c:pt idx="0">
                  <c:v>0.91</c:v>
                </c:pt>
                <c:pt idx="1">
                  <c:v>0.47</c:v>
                </c:pt>
                <c:pt idx="2">
                  <c:v>0.51</c:v>
                </c:pt>
                <c:pt idx="3">
                  <c:v>0.09</c:v>
                </c:pt>
                <c:pt idx="4">
                  <c:v>0.08</c:v>
                </c:pt>
                <c:pt idx="5">
                  <c:v>0.0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La Vache Qui Rit Bio Fromage Fondu Boite Ronde 1X128Gr 8P</c:v>
                </c:pt>
                <c:pt idx="5">
                  <c:v>La Vache Qui Rit Pik Et Croq' Fromage Fondu Dips Boite 1X35Gr 1P</c:v>
                </c:pt>
              </c:strCache>
            </c:strRef>
          </c:cat>
          <c:val>
            <c:numRef>
              <c:f>Sheet1!$C$2:$C$7</c:f>
              <c:numCache>
                <c:formatCode>General</c:formatCode>
                <c:ptCount val="6"/>
                <c:pt idx="0">
                  <c:v>0.58654302376181511</c:v>
                </c:pt>
                <c:pt idx="1">
                  <c:v>0.86613401899533415</c:v>
                </c:pt>
                <c:pt idx="2">
                  <c:v>0.95973292659137543</c:v>
                </c:pt>
                <c:pt idx="3">
                  <c:v>0.98670867656765182</c:v>
                </c:pt>
                <c:pt idx="4">
                  <c:v>0.99272526763241808</c:v>
                </c:pt>
                <c:pt idx="5">
                  <c:v>0.9976942177702472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La Vache Qui Rit Nature Fromage Fondu Boite Ronde 1X192Gr 12P</c:v>
                </c:pt>
                <c:pt idx="1">
                  <c:v>La Vache Qui Rit Nature Fromage Fondu Boite Ronde 1X384Gr 24P</c:v>
                </c:pt>
                <c:pt idx="2">
                  <c:v>La Vache Qui Rit Pik Et Croq' Fromage Fondu Dips Boite 1X175Gr 5P</c:v>
                </c:pt>
                <c:pt idx="3">
                  <c:v>La Vache Qui Rit Nature Fromage Fondu Boite Ronde 1X128Gr 8P</c:v>
                </c:pt>
                <c:pt idx="4">
                  <c:v>La Vache Qui Rit Bio Fromage Fondu Boite Ronde 1X128Gr 8P</c:v>
                </c:pt>
                <c:pt idx="5">
                  <c:v>La Vache Qui Rit Pik Et Croq' Fromage Fondu Dips Boite 1X35Gr 1P</c:v>
                </c:pt>
              </c:strCache>
            </c:strRef>
          </c:cat>
          <c:val>
            <c:numRef>
              <c:f>Sheet1!$D$2:$D$7</c:f>
              <c:numCache>
                <c:formatCode>General</c:formatCode>
                <c:ptCount val="6"/>
                <c:pt idx="0">
                  <c:v>30497.54945054945</c:v>
                </c:pt>
                <c:pt idx="1">
                  <c:v>28146.978723404256</c:v>
                </c:pt>
                <c:pt idx="2">
                  <c:v>8683.745098039215</c:v>
                </c:pt>
                <c:pt idx="3">
                  <c:v>14182</c:v>
                </c:pt>
                <c:pt idx="4">
                  <c:v>3558.5</c:v>
                </c:pt>
                <c:pt idx="5">
                  <c:v>470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strCache>
            </c:strRef>
          </c:cat>
          <c:val>
            <c:numRef>
              <c:f>Sheet1!$B$2:$B$9</c:f>
              <c:numCache>
                <c:formatCode>General</c:formatCode>
                <c:ptCount val="8"/>
                <c:pt idx="0">
                  <c:v>0.99</c:v>
                </c:pt>
                <c:pt idx="1">
                  <c:v>0.89</c:v>
                </c:pt>
                <c:pt idx="2">
                  <c:v>0.96</c:v>
                </c:pt>
                <c:pt idx="3">
                  <c:v>0.99</c:v>
                </c:pt>
                <c:pt idx="4">
                  <c:v>0.99</c:v>
                </c:pt>
                <c:pt idx="5">
                  <c:v>0.6</c:v>
                </c:pt>
                <c:pt idx="6">
                  <c:v>0.68</c:v>
                </c:pt>
                <c:pt idx="7">
                  <c:v>0.8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strCache>
            </c:strRef>
          </c:cat>
          <c:val>
            <c:numRef>
              <c:f>Sheet1!$C$2:$C$9</c:f>
              <c:numCache>
                <c:formatCode>General</c:formatCode>
                <c:ptCount val="8"/>
                <c:pt idx="0">
                  <c:v>0.27066921181889747</c:v>
                </c:pt>
                <c:pt idx="1">
                  <c:v>0.50528003087251028</c:v>
                </c:pt>
                <c:pt idx="2">
                  <c:v>0.66640787085631592</c:v>
                </c:pt>
                <c:pt idx="3">
                  <c:v>0.81690898956819247</c:v>
                </c:pt>
                <c:pt idx="4">
                  <c:v>0.93485142236807806</c:v>
                </c:pt>
                <c:pt idx="5">
                  <c:v>0.96037940707494485</c:v>
                </c:pt>
                <c:pt idx="6">
                  <c:v>0.98360077609334495</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strCache>
            </c:strRef>
          </c:cat>
          <c:val>
            <c:numRef>
              <c:f>Sheet1!$D$2:$D$9</c:f>
              <c:numCache>
                <c:formatCode>General</c:formatCode>
                <c:ptCount val="8"/>
                <c:pt idx="0">
                  <c:v>33468.141414141413</c:v>
                </c:pt>
                <c:pt idx="1">
                  <c:v>32269.033707865168</c:v>
                </c:pt>
                <c:pt idx="2">
                  <c:v>20546</c:v>
                </c:pt>
                <c:pt idx="3">
                  <c:v>18609.404040404039</c:v>
                </c:pt>
                <c:pt idx="4">
                  <c:v>14583.535353535353</c:v>
                </c:pt>
                <c:pt idx="5">
                  <c:v>5208.2666666666664</c:v>
                </c:pt>
                <c:pt idx="6">
                  <c:v>4180.2941176470586</c:v>
                </c:pt>
                <c:pt idx="7">
                  <c:v>2418.650602409638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Vache Qui Rit</c:v>
                </c:pt>
                <c:pt idx="3">
                  <c:v>La Belle Etoile</c:v>
                </c:pt>
                <c:pt idx="4">
                  <c:v>Boursin</c:v>
                </c:pt>
                <c:pt idx="5">
                  <c:v>Raguin</c:v>
                </c:pt>
                <c:pt idx="6">
                  <c:v>Others</c:v>
                </c:pt>
              </c:strCache>
            </c:strRef>
          </c:cat>
          <c:val>
            <c:numRef>
              <c:f>Sheet1!$B$2:$B$8</c:f>
              <c:numCache>
                <c:formatCode>General</c:formatCode>
                <c:ptCount val="7"/>
                <c:pt idx="0">
                  <c:v>0.5108154465499587</c:v>
                </c:pt>
                <c:pt idx="1">
                  <c:v>0.25665294104802738</c:v>
                </c:pt>
                <c:pt idx="2">
                  <c:v>9.5694932706927208E-2</c:v>
                </c:pt>
                <c:pt idx="3">
                  <c:v>4.7473133911548483E-2</c:v>
                </c:pt>
                <c:pt idx="4">
                  <c:v>2.1897111873943428E-2</c:v>
                </c:pt>
                <c:pt idx="5">
                  <c:v>1.1214745980286135E-2</c:v>
                </c:pt>
                <c:pt idx="6">
                  <c:v>5.6251687929308652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Vache Qui Rit</c:v>
                </c:pt>
                <c:pt idx="3">
                  <c:v>La Belle Etoile</c:v>
                </c:pt>
                <c:pt idx="4">
                  <c:v>Boursin</c:v>
                </c:pt>
                <c:pt idx="5">
                  <c:v>Raguin</c:v>
                </c:pt>
                <c:pt idx="6">
                  <c:v>Others</c:v>
                </c:pt>
              </c:strCache>
            </c:strRef>
          </c:cat>
          <c:val>
            <c:numRef>
              <c:f>Sheet1!$C$2:$C$8</c:f>
              <c:numCache>
                <c:formatCode>General</c:formatCode>
                <c:ptCount val="7"/>
                <c:pt idx="0">
                  <c:v>0.32701621393977681</c:v>
                </c:pt>
                <c:pt idx="1">
                  <c:v>0.22167824805222155</c:v>
                </c:pt>
                <c:pt idx="2">
                  <c:v>0.10702253105917035</c:v>
                </c:pt>
                <c:pt idx="3">
                  <c:v>7.0014739945251647E-2</c:v>
                </c:pt>
                <c:pt idx="4">
                  <c:v>4.0692777426826705E-2</c:v>
                </c:pt>
                <c:pt idx="5">
                  <c:v>1.2371025479048222E-2</c:v>
                </c:pt>
                <c:pt idx="6">
                  <c:v>0.2212044640977046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Vache Qui Rit</c:v>
                </c:pt>
                <c:pt idx="3">
                  <c:v>La Belle Etoile</c:v>
                </c:pt>
                <c:pt idx="4">
                  <c:v>Boursin</c:v>
                </c:pt>
                <c:pt idx="5">
                  <c:v>Raguin</c:v>
                </c:pt>
                <c:pt idx="6">
                  <c:v>Others</c:v>
                </c:pt>
              </c:strCache>
            </c:strRef>
          </c:cat>
          <c:val>
            <c:numRef>
              <c:f>Sheet1!$D$2:$D$8</c:f>
              <c:numCache>
                <c:formatCode>General</c:formatCode>
                <c:ptCount val="7"/>
                <c:pt idx="0">
                  <c:v>64.018466189391958</c:v>
                </c:pt>
                <c:pt idx="1">
                  <c:v>86.372767499570159</c:v>
                </c:pt>
                <c:pt idx="2">
                  <c:v>111.83719767789037</c:v>
                </c:pt>
                <c:pt idx="3">
                  <c:v>147.48286910171652</c:v>
                </c:pt>
                <c:pt idx="4">
                  <c:v>185.83627677058757</c:v>
                </c:pt>
                <c:pt idx="5">
                  <c:v>110.31034943452713</c:v>
                </c:pt>
                <c:pt idx="6">
                  <c:v>393.2405803994570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0.98</c:v>
                </c:pt>
                <c:pt idx="1">
                  <c:v>1</c:v>
                </c:pt>
                <c:pt idx="2">
                  <c:v>0.97</c:v>
                </c:pt>
                <c:pt idx="3">
                  <c:v>0.97</c:v>
                </c:pt>
                <c:pt idx="4">
                  <c:v>0.89</c:v>
                </c:pt>
                <c:pt idx="5">
                  <c:v>0.87</c:v>
                </c:pt>
                <c:pt idx="6">
                  <c:v>0.69</c:v>
                </c:pt>
                <c:pt idx="7">
                  <c:v>0.25</c:v>
                </c:pt>
                <c:pt idx="8">
                  <c:v>0.1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C$2:$C$10</c:f>
              <c:numCache>
                <c:formatCode>General</c:formatCode>
                <c:ptCount val="9"/>
                <c:pt idx="0">
                  <c:v>0.33942438224118082</c:v>
                </c:pt>
                <c:pt idx="1">
                  <c:v>0.60516637614507685</c:v>
                </c:pt>
                <c:pt idx="2">
                  <c:v>0.82484942693624486</c:v>
                </c:pt>
                <c:pt idx="3">
                  <c:v>0.88248209184949544</c:v>
                </c:pt>
                <c:pt idx="4">
                  <c:v>0.93907810754500887</c:v>
                </c:pt>
                <c:pt idx="5">
                  <c:v>0.9779220637995405</c:v>
                </c:pt>
                <c:pt idx="6">
                  <c:v>0.99849028699771147</c:v>
                </c:pt>
                <c:pt idx="7">
                  <c:v>0.99994633359402396</c:v>
                </c:pt>
                <c:pt idx="8">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D$2:$D$10</c:f>
              <c:numCache>
                <c:formatCode>General</c:formatCode>
                <c:ptCount val="9"/>
                <c:pt idx="0">
                  <c:v>58923.051020408166</c:v>
                </c:pt>
                <c:pt idx="1">
                  <c:v>45209.37</c:v>
                </c:pt>
                <c:pt idx="2">
                  <c:v>38529.474226804123</c:v>
                </c:pt>
                <c:pt idx="3">
                  <c:v>10108</c:v>
                </c:pt>
                <c:pt idx="4">
                  <c:v>10818.426966292134</c:v>
                </c:pt>
                <c:pt idx="5">
                  <c:v>7595.7816091954019</c:v>
                </c:pt>
                <c:pt idx="6">
                  <c:v>5071.260869565217</c:v>
                </c:pt>
                <c:pt idx="7">
                  <c:v>990.84</c:v>
                </c:pt>
                <c:pt idx="8">
                  <c:v>76.08333333333332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Kiri Creme Fromage Blanc Frais Carre 1X432Gr 24P</c:v>
                </c:pt>
                <c:pt idx="1">
                  <c:v>Kiri Creme Fromage Blanc Frais Carre 1X216Gr 12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strCache>
            </c:strRef>
          </c:cat>
          <c:val>
            <c:numRef>
              <c:f>Sheet1!$B$2:$B$9</c:f>
              <c:numCache>
                <c:formatCode>General</c:formatCode>
                <c:ptCount val="8"/>
                <c:pt idx="0">
                  <c:v>0.99</c:v>
                </c:pt>
                <c:pt idx="1">
                  <c:v>1</c:v>
                </c:pt>
                <c:pt idx="2">
                  <c:v>0.99</c:v>
                </c:pt>
                <c:pt idx="3">
                  <c:v>1</c:v>
                </c:pt>
                <c:pt idx="4">
                  <c:v>1</c:v>
                </c:pt>
                <c:pt idx="5">
                  <c:v>0.87</c:v>
                </c:pt>
                <c:pt idx="6">
                  <c:v>0.88</c:v>
                </c:pt>
                <c:pt idx="7">
                  <c:v>0.9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Kiri Creme Fromage Blanc Frais Carre 1X432Gr 24P</c:v>
                </c:pt>
                <c:pt idx="1">
                  <c:v>Kiri Creme Fromage Blanc Frais Carre 1X216Gr 12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strCache>
            </c:strRef>
          </c:cat>
          <c:val>
            <c:numRef>
              <c:f>Sheet1!$C$2:$C$9</c:f>
              <c:numCache>
                <c:formatCode>General</c:formatCode>
                <c:ptCount val="8"/>
                <c:pt idx="0">
                  <c:v>0.26299063341268608</c:v>
                </c:pt>
                <c:pt idx="1">
                  <c:v>0.52293857209602423</c:v>
                </c:pt>
                <c:pt idx="2">
                  <c:v>0.68862259995105346</c:v>
                </c:pt>
                <c:pt idx="3">
                  <c:v>0.81834249226867195</c:v>
                </c:pt>
                <c:pt idx="4">
                  <c:v>0.93177698177853918</c:v>
                </c:pt>
                <c:pt idx="5">
                  <c:v>0.9588092642445547</c:v>
                </c:pt>
                <c:pt idx="6">
                  <c:v>0.98287672147195582</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Kiri Creme Fromage Blanc Frais Carre 1X432Gr 24P</c:v>
                </c:pt>
                <c:pt idx="1">
                  <c:v>Kiri Creme Fromage Blanc Frais Carre 1X216Gr 12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strCache>
            </c:strRef>
          </c:cat>
          <c:val>
            <c:numRef>
              <c:f>Sheet1!$D$2:$D$9</c:f>
              <c:numCache>
                <c:formatCode>General</c:formatCode>
                <c:ptCount val="8"/>
                <c:pt idx="0">
                  <c:v>5970.0202020202023</c:v>
                </c:pt>
                <c:pt idx="1">
                  <c:v>5841.94</c:v>
                </c:pt>
                <c:pt idx="2">
                  <c:v>3761.1111111111113</c:v>
                </c:pt>
                <c:pt idx="3">
                  <c:v>2915.26</c:v>
                </c:pt>
                <c:pt idx="4">
                  <c:v>2549.27</c:v>
                </c:pt>
                <c:pt idx="5">
                  <c:v>698.28735632183907</c:v>
                </c:pt>
                <c:pt idx="6">
                  <c:v>614.63636363636363</c:v>
                </c:pt>
                <c:pt idx="7">
                  <c:v>409.3829787234042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0.99</c:v>
                </c:pt>
                <c:pt idx="1">
                  <c:v>1</c:v>
                </c:pt>
                <c:pt idx="2">
                  <c:v>1</c:v>
                </c:pt>
                <c:pt idx="3">
                  <c:v>0.98</c:v>
                </c:pt>
                <c:pt idx="4">
                  <c:v>0.99</c:v>
                </c:pt>
                <c:pt idx="5">
                  <c:v>0.97</c:v>
                </c:pt>
                <c:pt idx="6">
                  <c:v>0.92</c:v>
                </c:pt>
                <c:pt idx="7">
                  <c:v>0.32</c:v>
                </c:pt>
                <c:pt idx="8">
                  <c:v>0.1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C$2:$C$10</c:f>
              <c:numCache>
                <c:formatCode>General</c:formatCode>
                <c:ptCount val="9"/>
                <c:pt idx="0">
                  <c:v>0.35159754212337541</c:v>
                </c:pt>
                <c:pt idx="1">
                  <c:v>0.59094594069712336</c:v>
                </c:pt>
                <c:pt idx="2">
                  <c:v>0.80633796580413108</c:v>
                </c:pt>
                <c:pt idx="3">
                  <c:v>0.8751945560052512</c:v>
                </c:pt>
                <c:pt idx="4">
                  <c:v>0.9395430711028594</c:v>
                </c:pt>
                <c:pt idx="5">
                  <c:v>0.97480505558188124</c:v>
                </c:pt>
                <c:pt idx="6">
                  <c:v>0.9981853350837806</c:v>
                </c:pt>
                <c:pt idx="7">
                  <c:v>0.99994872950151092</c:v>
                </c:pt>
                <c:pt idx="8">
                  <c:v>0.9999801132611920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280Gr 8P</c:v>
                </c:pt>
                <c:pt idx="4">
                  <c:v>La Vache Qui Rit Pik Et Croq' Fromage Fondu Dips Boite 1X175Gr 5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D$2:$D$10</c:f>
              <c:numCache>
                <c:formatCode>General</c:formatCode>
                <c:ptCount val="9"/>
                <c:pt idx="0">
                  <c:v>11429.494949494949</c:v>
                </c:pt>
                <c:pt idx="1">
                  <c:v>7702.77</c:v>
                </c:pt>
                <c:pt idx="2">
                  <c:v>6931.8</c:v>
                </c:pt>
                <c:pt idx="3">
                  <c:v>2261.1836734693879</c:v>
                </c:pt>
                <c:pt idx="4">
                  <c:v>2091.7979797979797</c:v>
                </c:pt>
                <c:pt idx="5">
                  <c:v>1169.9072164948454</c:v>
                </c:pt>
                <c:pt idx="6">
                  <c:v>817.85869565217388</c:v>
                </c:pt>
                <c:pt idx="7">
                  <c:v>177.34375</c:v>
                </c:pt>
                <c:pt idx="8">
                  <c:v>7.769230769230769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Kiri Creme Fromage Blanc Frais Carre 1X216Gr 12P</c:v>
                </c:pt>
                <c:pt idx="1">
                  <c:v>Kiri Creme Fromage Blanc Frais Carre 1X144Gr 8P</c:v>
                </c:pt>
                <c:pt idx="2">
                  <c:v>Kiri Gouter Fromage Blanc Dips Boite 1X175Gr 5P</c:v>
                </c:pt>
                <c:pt idx="3">
                  <c:v>Kiri Creme Fromage Blanc Frais Carre 1X432Gr 24P</c:v>
                </c:pt>
                <c:pt idx="4">
                  <c:v>Kiri Gouter Fromage Blanc Dips Boite 1X280Gr 8P</c:v>
                </c:pt>
                <c:pt idx="5">
                  <c:v>Kiri Bio Fromage Blanc Frais Carre 1X144Gr 8P</c:v>
                </c:pt>
                <c:pt idx="6">
                  <c:v>Kiri Creme Fromage Blanc Frais Carre 1X432Gr 18+6P</c:v>
                </c:pt>
                <c:pt idx="7">
                  <c:v>Kiri Chevre Fromage Blanc Frais Carre 1X144Gr 8P</c:v>
                </c:pt>
              </c:strCache>
            </c:strRef>
          </c:cat>
          <c:val>
            <c:numRef>
              <c:f>Sheet1!$B$2:$B$9</c:f>
              <c:numCache>
                <c:formatCode>General</c:formatCode>
                <c:ptCount val="8"/>
                <c:pt idx="0">
                  <c:v>0.85</c:v>
                </c:pt>
                <c:pt idx="1">
                  <c:v>0.92</c:v>
                </c:pt>
                <c:pt idx="2">
                  <c:v>0.9</c:v>
                </c:pt>
                <c:pt idx="3">
                  <c:v>0.52</c:v>
                </c:pt>
                <c:pt idx="4">
                  <c:v>0.68</c:v>
                </c:pt>
                <c:pt idx="5">
                  <c:v>0.31</c:v>
                </c:pt>
                <c:pt idx="6">
                  <c:v>0.59</c:v>
                </c:pt>
                <c:pt idx="7">
                  <c:v>0.3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Kiri Creme Fromage Blanc Frais Carre 1X216Gr 12P</c:v>
                </c:pt>
                <c:pt idx="1">
                  <c:v>Kiri Creme Fromage Blanc Frais Carre 1X144Gr 8P</c:v>
                </c:pt>
                <c:pt idx="2">
                  <c:v>Kiri Gouter Fromage Blanc Dips Boite 1X175Gr 5P</c:v>
                </c:pt>
                <c:pt idx="3">
                  <c:v>Kiri Creme Fromage Blanc Frais Carre 1X432Gr 24P</c:v>
                </c:pt>
                <c:pt idx="4">
                  <c:v>Kiri Gouter Fromage Blanc Dips Boite 1X280Gr 8P</c:v>
                </c:pt>
                <c:pt idx="5">
                  <c:v>Kiri Bio Fromage Blanc Frais Carre 1X144Gr 8P</c:v>
                </c:pt>
                <c:pt idx="6">
                  <c:v>Kiri Creme Fromage Blanc Frais Carre 1X432Gr 18+6P</c:v>
                </c:pt>
                <c:pt idx="7">
                  <c:v>Kiri Chevre Fromage Blanc Frais Carre 1X144Gr 8P</c:v>
                </c:pt>
              </c:strCache>
            </c:strRef>
          </c:cat>
          <c:val>
            <c:numRef>
              <c:f>Sheet1!$C$2:$C$9</c:f>
              <c:numCache>
                <c:formatCode>General</c:formatCode>
                <c:ptCount val="8"/>
                <c:pt idx="0">
                  <c:v>0.29379225343071264</c:v>
                </c:pt>
                <c:pt idx="1">
                  <c:v>0.50393155710622728</c:v>
                </c:pt>
                <c:pt idx="2">
                  <c:v>0.67201774165909878</c:v>
                </c:pt>
                <c:pt idx="3">
                  <c:v>0.81371100736423485</c:v>
                </c:pt>
                <c:pt idx="4">
                  <c:v>0.93664389394202208</c:v>
                </c:pt>
                <c:pt idx="5">
                  <c:v>0.96511774758067093</c:v>
                </c:pt>
                <c:pt idx="6">
                  <c:v>0.98347933764332951</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Kiri Creme Fromage Blanc Frais Carre 1X216Gr 12P</c:v>
                </c:pt>
                <c:pt idx="1">
                  <c:v>Kiri Creme Fromage Blanc Frais Carre 1X144Gr 8P</c:v>
                </c:pt>
                <c:pt idx="2">
                  <c:v>Kiri Gouter Fromage Blanc Dips Boite 1X175Gr 5P</c:v>
                </c:pt>
                <c:pt idx="3">
                  <c:v>Kiri Creme Fromage Blanc Frais Carre 1X432Gr 24P</c:v>
                </c:pt>
                <c:pt idx="4">
                  <c:v>Kiri Gouter Fromage Blanc Dips Boite 1X280Gr 8P</c:v>
                </c:pt>
                <c:pt idx="5">
                  <c:v>Kiri Bio Fromage Blanc Frais Carre 1X144Gr 8P</c:v>
                </c:pt>
                <c:pt idx="6">
                  <c:v>Kiri Creme Fromage Blanc Frais Carre 1X432Gr 18+6P</c:v>
                </c:pt>
                <c:pt idx="7">
                  <c:v>Kiri Chevre Fromage Blanc Frais Carre 1X144Gr 8P</c:v>
                </c:pt>
              </c:strCache>
            </c:strRef>
          </c:cat>
          <c:val>
            <c:numRef>
              <c:f>Sheet1!$D$2:$D$9</c:f>
              <c:numCache>
                <c:formatCode>General</c:formatCode>
                <c:ptCount val="8"/>
                <c:pt idx="0">
                  <c:v>6595.7294117647061</c:v>
                </c:pt>
                <c:pt idx="1">
                  <c:v>4358.739130434783</c:v>
                </c:pt>
                <c:pt idx="2">
                  <c:v>3563.9444444444443</c:v>
                </c:pt>
                <c:pt idx="3">
                  <c:v>5199.8076923076924</c:v>
                </c:pt>
                <c:pt idx="4">
                  <c:v>3449.8529411764707</c:v>
                </c:pt>
                <c:pt idx="5">
                  <c:v>1752.7741935483871</c:v>
                </c:pt>
                <c:pt idx="6">
                  <c:v>593.88135593220341</c:v>
                </c:pt>
                <c:pt idx="7">
                  <c:v>829.6315789473684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9</c:f>
              <c:strCache>
                <c:ptCount val="8"/>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pt idx="7">
                  <c:v>La Vache Qui Rit Nature Fromage Fondu Boite Ronde 1X128Gr 8P</c:v>
                </c:pt>
              </c:strCache>
            </c:strRef>
          </c:cat>
          <c:val>
            <c:numRef>
              <c:f>Sheet1!$B$2:$B$9</c:f>
              <c:numCache>
                <c:formatCode>General</c:formatCode>
                <c:ptCount val="8"/>
                <c:pt idx="0">
                  <c:v>0.98</c:v>
                </c:pt>
                <c:pt idx="1">
                  <c:v>0.68</c:v>
                </c:pt>
                <c:pt idx="2">
                  <c:v>0.68</c:v>
                </c:pt>
                <c:pt idx="3">
                  <c:v>0.82</c:v>
                </c:pt>
                <c:pt idx="4">
                  <c:v>0.5</c:v>
                </c:pt>
                <c:pt idx="5">
                  <c:v>0.42</c:v>
                </c:pt>
                <c:pt idx="6">
                  <c:v>0.33</c:v>
                </c:pt>
                <c:pt idx="7">
                  <c:v>0.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9</c:f>
              <c:strCache>
                <c:ptCount val="8"/>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pt idx="7">
                  <c:v>La Vache Qui Rit Nature Fromage Fondu Boite Ronde 1X128Gr 8P</c:v>
                </c:pt>
              </c:strCache>
            </c:strRef>
          </c:cat>
          <c:val>
            <c:numRef>
              <c:f>Sheet1!$C$2:$C$9</c:f>
              <c:numCache>
                <c:formatCode>General</c:formatCode>
                <c:ptCount val="8"/>
                <c:pt idx="0">
                  <c:v>0.37375445558855036</c:v>
                </c:pt>
                <c:pt idx="1">
                  <c:v>0.63495812219618175</c:v>
                </c:pt>
                <c:pt idx="2">
                  <c:v>0.84302013676700949</c:v>
                </c:pt>
                <c:pt idx="3">
                  <c:v>0.9180433926609386</c:v>
                </c:pt>
                <c:pt idx="4">
                  <c:v>0.95770565346052872</c:v>
                </c:pt>
                <c:pt idx="5">
                  <c:v>0.9859295393699502</c:v>
                </c:pt>
                <c:pt idx="6">
                  <c:v>0.99990972758363961</c:v>
                </c:pt>
                <c:pt idx="7">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9</c:f>
              <c:strCache>
                <c:ptCount val="8"/>
                <c:pt idx="0">
                  <c:v>La Vache Qui Rit Nature Fromage Fondu Boite Ronde 1X192Gr 12P</c:v>
                </c:pt>
                <c:pt idx="1">
                  <c:v>La Vache Qui Rit Nature Fromage Fondu Boite Ronde 1X512Gr 32P</c:v>
                </c:pt>
                <c:pt idx="2">
                  <c:v>La Vache Qui Rit Nature Fromage Fondu Boite Ronde 1X384Gr 24P</c:v>
                </c:pt>
                <c:pt idx="3">
                  <c:v>La Vache Qui Rit Pik Et Croq' Fromage Fondu Dips Boite 1X175Gr 5P</c:v>
                </c:pt>
                <c:pt idx="4">
                  <c:v>La Vache Qui Rit Allegee Fromage Fondu Boite Ronde Allege 1X267Gr 16P</c:v>
                </c:pt>
                <c:pt idx="5">
                  <c:v>La Vache Qui Rit Pik Et Croq' Fromage Fondu Dips Boite 1X280Gr 8P</c:v>
                </c:pt>
                <c:pt idx="6">
                  <c:v>La Vache Qui Rit Aro Fromage Fondu Boite Ronde Jambon 1X133Gr 8P</c:v>
                </c:pt>
                <c:pt idx="7">
                  <c:v>La Vache Qui Rit Nature Fromage Fondu Boite Ronde 1X128Gr 8P</c:v>
                </c:pt>
              </c:strCache>
            </c:strRef>
          </c:cat>
          <c:val>
            <c:numRef>
              <c:f>Sheet1!$D$2:$D$9</c:f>
              <c:numCache>
                <c:formatCode>General</c:formatCode>
                <c:ptCount val="8"/>
                <c:pt idx="0">
                  <c:v>8872.0612244897966</c:v>
                </c:pt>
                <c:pt idx="1">
                  <c:v>8935.823529411764</c:v>
                </c:pt>
                <c:pt idx="2">
                  <c:v>7117.838235294118</c:v>
                </c:pt>
                <c:pt idx="3">
                  <c:v>2128.3658536585367</c:v>
                </c:pt>
                <c:pt idx="4">
                  <c:v>1845.32</c:v>
                </c:pt>
                <c:pt idx="5">
                  <c:v>1563.2619047619048</c:v>
                </c:pt>
                <c:pt idx="6">
                  <c:v>985.5151515151515</c:v>
                </c:pt>
                <c:pt idx="7">
                  <c:v>11</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Kiri Delicieusement Fouette Fromage Frais A Tartiner 1X125Gr 1P</c:v>
                </c:pt>
                <c:pt idx="1">
                  <c:v>Kiri Delicieusement Fouette Fromage Frais A Tartiner 1X210Gr 1P</c:v>
                </c:pt>
                <c:pt idx="2">
                  <c:v>Kiri Delicieusement Fouette Fromage Frais A Tartiner 1X160Gr 10P</c:v>
                </c:pt>
              </c:strCache>
            </c:strRef>
          </c:cat>
          <c:val>
            <c:numRef>
              <c:f>Sheet1!$B$2:$B$4</c:f>
              <c:numCache>
                <c:formatCode>General</c:formatCode>
                <c:ptCount val="3"/>
                <c:pt idx="0">
                  <c:v>0.77400000000000002</c:v>
                </c:pt>
                <c:pt idx="1">
                  <c:v>0.64300000000000002</c:v>
                </c:pt>
                <c:pt idx="2">
                  <c:v>0.6889999999999999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Kiri Delicieusement Fouette Fromage Frais A Tartiner 1X125Gr 1P</c:v>
                </c:pt>
                <c:pt idx="1">
                  <c:v>Kiri Delicieusement Fouette Fromage Frais A Tartiner 1X210Gr 1P</c:v>
                </c:pt>
                <c:pt idx="2">
                  <c:v>Kiri Delicieusement Fouette Fromage Frais A Tartiner 1X160Gr 10P</c:v>
                </c:pt>
              </c:strCache>
            </c:strRef>
          </c:cat>
          <c:val>
            <c:numRef>
              <c:f>Sheet1!$C$2:$C$4</c:f>
              <c:numCache>
                <c:formatCode>General</c:formatCode>
                <c:ptCount val="3"/>
                <c:pt idx="0">
                  <c:v>0.45423806112793458</c:v>
                </c:pt>
                <c:pt idx="1">
                  <c:v>0.75567334088810223</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Kiri Delicieusement Fouette Fromage Frais A Tartiner 1X125Gr 1P</c:v>
                </c:pt>
                <c:pt idx="1">
                  <c:v>Kiri Delicieusement Fouette Fromage Frais A Tartiner 1X210Gr 1P</c:v>
                </c:pt>
                <c:pt idx="2">
                  <c:v>Kiri Delicieusement Fouette Fromage Frais A Tartiner 1X160Gr 10P</c:v>
                </c:pt>
              </c:strCache>
            </c:strRef>
          </c:cat>
          <c:val>
            <c:numRef>
              <c:f>Sheet1!$D$2:$D$4</c:f>
              <c:numCache>
                <c:formatCode>General</c:formatCode>
                <c:ptCount val="3"/>
                <c:pt idx="0">
                  <c:v>9290.7881136950891</c:v>
                </c:pt>
                <c:pt idx="1">
                  <c:v>7421.5241057542771</c:v>
                </c:pt>
                <c:pt idx="2">
                  <c:v>5613.860667634253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8</c:f>
              <c:strCache>
                <c:ptCount val="17"/>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Classique Fromage Frais A Tartiner Ciboulette &amp; Echalote Boite 1X150Gr 1P</c:v>
                </c:pt>
                <c:pt idx="5">
                  <c:v>Boursin Onctueux Fromage Frais A Tartiner Afh 1X125Gr 1P</c:v>
                </c:pt>
                <c:pt idx="6">
                  <c:v>Boursin Classique Fromage Frais A Tartiner Figue Et 3 Noix Boite 1X150Gr 1P</c:v>
                </c:pt>
                <c:pt idx="7">
                  <c:v>Boursin Classique Fromage Frais A Tartiner Afh Boite 1X80Gr 1P</c:v>
                </c:pt>
                <c:pt idx="8">
                  <c:v>Boursin Classique Fromage Frais A Tartiner Afh 1X256Gr 16P</c:v>
                </c:pt>
                <c:pt idx="9">
                  <c:v>Boursin Classique Fromage Frais A Tartiner 3 Noix Boite 1X150Gr 1P</c:v>
                </c:pt>
                <c:pt idx="10">
                  <c:v>Boursin Classique Fromage Frais A Tartiner Poivre Boite 1X150Gr 1P</c:v>
                </c:pt>
                <c:pt idx="11">
                  <c:v>Boursin Onctueux Fromage Frais A Tartiner Afh 1X210Gr 1P</c:v>
                </c:pt>
                <c:pt idx="12">
                  <c:v>Boursin Classique Fromage Frais A Tartiner Truffe Boite 1X150Gr 1P</c:v>
                </c:pt>
                <c:pt idx="13">
                  <c:v>Boursin Classique Fromage Frais A Tartiner Afh Boite 1X320Gr 16+4P</c:v>
                </c:pt>
                <c:pt idx="14">
                  <c:v>Boursin Classique Fromage Frais A Tartiner 3 Noix 1X160Gr 10P</c:v>
                </c:pt>
                <c:pt idx="15">
                  <c:v>Boursin Classique Fromage Frais A Tartiner Citron &amp; Romarin Boite 1X150Gr 1P</c:v>
                </c:pt>
                <c:pt idx="16">
                  <c:v>Boursin Classique Fromage Frais A Tartiner Ciboulette &amp; Echalote 1X160Gr 10P</c:v>
                </c:pt>
              </c:strCache>
            </c:strRef>
          </c:cat>
          <c:val>
            <c:numRef>
              <c:f>Sheet1!$B$2:$B$18</c:f>
              <c:numCache>
                <c:formatCode>General</c:formatCode>
                <c:ptCount val="17"/>
                <c:pt idx="0">
                  <c:v>0.96799999999999997</c:v>
                </c:pt>
                <c:pt idx="1">
                  <c:v>0.91500000000000004</c:v>
                </c:pt>
                <c:pt idx="2">
                  <c:v>0.81699999999999995</c:v>
                </c:pt>
                <c:pt idx="3">
                  <c:v>0.82099999999999995</c:v>
                </c:pt>
                <c:pt idx="4">
                  <c:v>0.79300000000000004</c:v>
                </c:pt>
                <c:pt idx="5">
                  <c:v>0.77400000000000002</c:v>
                </c:pt>
                <c:pt idx="6">
                  <c:v>0.69399999999999995</c:v>
                </c:pt>
                <c:pt idx="7">
                  <c:v>0.44700000000000001</c:v>
                </c:pt>
                <c:pt idx="8">
                  <c:v>0.26500000000000001</c:v>
                </c:pt>
                <c:pt idx="9">
                  <c:v>0.53700000000000003</c:v>
                </c:pt>
                <c:pt idx="10">
                  <c:v>0.40200000000000002</c:v>
                </c:pt>
                <c:pt idx="11">
                  <c:v>0.28100000000000003</c:v>
                </c:pt>
                <c:pt idx="12">
                  <c:v>0.51100000000000001</c:v>
                </c:pt>
                <c:pt idx="13">
                  <c:v>0.52800000000000002</c:v>
                </c:pt>
                <c:pt idx="14">
                  <c:v>0.379</c:v>
                </c:pt>
                <c:pt idx="15">
                  <c:v>0.32400000000000001</c:v>
                </c:pt>
                <c:pt idx="16">
                  <c:v>7.4999999999999997E-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8</c:f>
              <c:strCache>
                <c:ptCount val="17"/>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Classique Fromage Frais A Tartiner Ciboulette &amp; Echalote Boite 1X150Gr 1P</c:v>
                </c:pt>
                <c:pt idx="5">
                  <c:v>Boursin Onctueux Fromage Frais A Tartiner Afh 1X125Gr 1P</c:v>
                </c:pt>
                <c:pt idx="6">
                  <c:v>Boursin Classique Fromage Frais A Tartiner Figue Et 3 Noix Boite 1X150Gr 1P</c:v>
                </c:pt>
                <c:pt idx="7">
                  <c:v>Boursin Classique Fromage Frais A Tartiner Afh Boite 1X80Gr 1P</c:v>
                </c:pt>
                <c:pt idx="8">
                  <c:v>Boursin Classique Fromage Frais A Tartiner Afh 1X256Gr 16P</c:v>
                </c:pt>
                <c:pt idx="9">
                  <c:v>Boursin Classique Fromage Frais A Tartiner 3 Noix Boite 1X150Gr 1P</c:v>
                </c:pt>
                <c:pt idx="10">
                  <c:v>Boursin Classique Fromage Frais A Tartiner Poivre Boite 1X150Gr 1P</c:v>
                </c:pt>
                <c:pt idx="11">
                  <c:v>Boursin Onctueux Fromage Frais A Tartiner Afh 1X210Gr 1P</c:v>
                </c:pt>
                <c:pt idx="12">
                  <c:v>Boursin Classique Fromage Frais A Tartiner Truffe Boite 1X150Gr 1P</c:v>
                </c:pt>
                <c:pt idx="13">
                  <c:v>Boursin Classique Fromage Frais A Tartiner Afh Boite 1X320Gr 16+4P</c:v>
                </c:pt>
                <c:pt idx="14">
                  <c:v>Boursin Classique Fromage Frais A Tartiner 3 Noix 1X160Gr 10P</c:v>
                </c:pt>
                <c:pt idx="15">
                  <c:v>Boursin Classique Fromage Frais A Tartiner Citron &amp; Romarin Boite 1X150Gr 1P</c:v>
                </c:pt>
                <c:pt idx="16">
                  <c:v>Boursin Classique Fromage Frais A Tartiner Ciboulette &amp; Echalote 1X160Gr 10P</c:v>
                </c:pt>
              </c:strCache>
            </c:strRef>
          </c:cat>
          <c:val>
            <c:numRef>
              <c:f>Sheet1!$C$2:$C$18</c:f>
              <c:numCache>
                <c:formatCode>General</c:formatCode>
                <c:ptCount val="17"/>
                <c:pt idx="0">
                  <c:v>0.27838818177767405</c:v>
                </c:pt>
                <c:pt idx="1">
                  <c:v>0.54977314485965378</c:v>
                </c:pt>
                <c:pt idx="2">
                  <c:v>0.72263240424511355</c:v>
                </c:pt>
                <c:pt idx="3">
                  <c:v>0.80242740569981719</c:v>
                </c:pt>
                <c:pt idx="4">
                  <c:v>0.85888178501314461</c:v>
                </c:pt>
                <c:pt idx="5">
                  <c:v>0.90747847104091239</c:v>
                </c:pt>
                <c:pt idx="6">
                  <c:v>0.94374375853491665</c:v>
                </c:pt>
                <c:pt idx="7">
                  <c:v>0.95534108869498646</c:v>
                </c:pt>
                <c:pt idx="8">
                  <c:v>0.96567702039992542</c:v>
                </c:pt>
                <c:pt idx="9">
                  <c:v>0.9735163660715922</c:v>
                </c:pt>
                <c:pt idx="10">
                  <c:v>0.98064695324765849</c:v>
                </c:pt>
                <c:pt idx="11">
                  <c:v>0.98584497969967555</c:v>
                </c:pt>
                <c:pt idx="12">
                  <c:v>0.98985016552168792</c:v>
                </c:pt>
                <c:pt idx="13">
                  <c:v>0.99379629496148281</c:v>
                </c:pt>
                <c:pt idx="14">
                  <c:v>0.99753535847305885</c:v>
                </c:pt>
                <c:pt idx="15">
                  <c:v>0.99886916447587393</c:v>
                </c:pt>
                <c:pt idx="16">
                  <c:v>0.99999999999999978</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8</c:f>
              <c:strCache>
                <c:ptCount val="17"/>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Classique Fromage Frais A Tartiner Ciboulette &amp; Echalote Boite 1X150Gr 1P</c:v>
                </c:pt>
                <c:pt idx="5">
                  <c:v>Boursin Onctueux Fromage Frais A Tartiner Afh 1X125Gr 1P</c:v>
                </c:pt>
                <c:pt idx="6">
                  <c:v>Boursin Classique Fromage Frais A Tartiner Figue Et 3 Noix Boite 1X150Gr 1P</c:v>
                </c:pt>
                <c:pt idx="7">
                  <c:v>Boursin Classique Fromage Frais A Tartiner Afh Boite 1X80Gr 1P</c:v>
                </c:pt>
                <c:pt idx="8">
                  <c:v>Boursin Classique Fromage Frais A Tartiner Afh 1X256Gr 16P</c:v>
                </c:pt>
                <c:pt idx="9">
                  <c:v>Boursin Classique Fromage Frais A Tartiner 3 Noix Boite 1X150Gr 1P</c:v>
                </c:pt>
                <c:pt idx="10">
                  <c:v>Boursin Classique Fromage Frais A Tartiner Poivre Boite 1X150Gr 1P</c:v>
                </c:pt>
                <c:pt idx="11">
                  <c:v>Boursin Onctueux Fromage Frais A Tartiner Afh 1X210Gr 1P</c:v>
                </c:pt>
                <c:pt idx="12">
                  <c:v>Boursin Classique Fromage Frais A Tartiner Truffe Boite 1X150Gr 1P</c:v>
                </c:pt>
                <c:pt idx="13">
                  <c:v>Boursin Classique Fromage Frais A Tartiner Afh Boite 1X320Gr 16+4P</c:v>
                </c:pt>
                <c:pt idx="14">
                  <c:v>Boursin Classique Fromage Frais A Tartiner 3 Noix 1X160Gr 10P</c:v>
                </c:pt>
                <c:pt idx="15">
                  <c:v>Boursin Classique Fromage Frais A Tartiner Citron &amp; Romarin Boite 1X150Gr 1P</c:v>
                </c:pt>
                <c:pt idx="16">
                  <c:v>Boursin Classique Fromage Frais A Tartiner Ciboulette &amp; Echalote 1X160Gr 10P</c:v>
                </c:pt>
              </c:strCache>
            </c:strRef>
          </c:cat>
          <c:val>
            <c:numRef>
              <c:f>Sheet1!$D$2:$D$18</c:f>
              <c:numCache>
                <c:formatCode>General</c:formatCode>
                <c:ptCount val="17"/>
                <c:pt idx="0">
                  <c:v>35111.053719008269</c:v>
                </c:pt>
                <c:pt idx="1">
                  <c:v>36210.382513661199</c:v>
                </c:pt>
                <c:pt idx="2">
                  <c:v>25830.86903304774</c:v>
                </c:pt>
                <c:pt idx="3">
                  <c:v>11865.907429963459</c:v>
                </c:pt>
                <c:pt idx="4">
                  <c:v>8691.4627994955863</c:v>
                </c:pt>
                <c:pt idx="5">
                  <c:v>7665.3875968992243</c:v>
                </c:pt>
                <c:pt idx="6">
                  <c:v>6379.6974063400585</c:v>
                </c:pt>
                <c:pt idx="7">
                  <c:v>3167.5167785234898</c:v>
                </c:pt>
                <c:pt idx="8">
                  <c:v>4761.8113207547167</c:v>
                </c:pt>
                <c:pt idx="9">
                  <c:v>1782.2718808193667</c:v>
                </c:pt>
                <c:pt idx="10">
                  <c:v>2165.5472636815921</c:v>
                </c:pt>
                <c:pt idx="11">
                  <c:v>2258.3985765124553</c:v>
                </c:pt>
                <c:pt idx="12">
                  <c:v>956.90802348336592</c:v>
                </c:pt>
                <c:pt idx="13">
                  <c:v>912.44318181818176</c:v>
                </c:pt>
                <c:pt idx="14">
                  <c:v>1204.4591029023748</c:v>
                </c:pt>
                <c:pt idx="15">
                  <c:v>502.59259259259261</c:v>
                </c:pt>
                <c:pt idx="16">
                  <c:v>1840.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B$2:$B$4</c:f>
              <c:numCache>
                <c:formatCode>General</c:formatCode>
                <c:ptCount val="3"/>
                <c:pt idx="0">
                  <c:v>0.83699999999999997</c:v>
                </c:pt>
                <c:pt idx="1">
                  <c:v>0.89500000000000002</c:v>
                </c:pt>
                <c:pt idx="2">
                  <c:v>0.37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C$2:$C$4</c:f>
              <c:numCache>
                <c:formatCode>General</c:formatCode>
                <c:ptCount val="3"/>
                <c:pt idx="0">
                  <c:v>0.64016104178889921</c:v>
                </c:pt>
                <c:pt idx="1">
                  <c:v>0.97769356966415155</c:v>
                </c:pt>
                <c:pt idx="2">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D$2:$D$4</c:f>
              <c:numCache>
                <c:formatCode>General</c:formatCode>
                <c:ptCount val="3"/>
                <c:pt idx="0">
                  <c:v>6139.8327359617679</c:v>
                </c:pt>
                <c:pt idx="1">
                  <c:v>3027.5083798882683</c:v>
                </c:pt>
                <c:pt idx="2">
                  <c:v>481.3709677419354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3</c:f>
              <c:strCache>
                <c:ptCount val="12"/>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B$2:$B$13</c:f>
              <c:numCache>
                <c:formatCode>General</c:formatCode>
                <c:ptCount val="12"/>
                <c:pt idx="0">
                  <c:v>0.98</c:v>
                </c:pt>
                <c:pt idx="1">
                  <c:v>0.98099999999999998</c:v>
                </c:pt>
                <c:pt idx="2">
                  <c:v>0.998</c:v>
                </c:pt>
                <c:pt idx="3">
                  <c:v>0.95399999999999996</c:v>
                </c:pt>
                <c:pt idx="4">
                  <c:v>0.93899999999999995</c:v>
                </c:pt>
                <c:pt idx="5">
                  <c:v>0.98</c:v>
                </c:pt>
                <c:pt idx="6">
                  <c:v>0.97299999999999998</c:v>
                </c:pt>
                <c:pt idx="7">
                  <c:v>0.86</c:v>
                </c:pt>
                <c:pt idx="8">
                  <c:v>0.94</c:v>
                </c:pt>
                <c:pt idx="9">
                  <c:v>0.80800000000000005</c:v>
                </c:pt>
                <c:pt idx="10">
                  <c:v>0.32500000000000001</c:v>
                </c:pt>
                <c:pt idx="11">
                  <c:v>0.68700000000000006</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3</c:f>
              <c:strCache>
                <c:ptCount val="12"/>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C$2:$C$13</c:f>
              <c:numCache>
                <c:formatCode>General</c:formatCode>
                <c:ptCount val="12"/>
                <c:pt idx="0">
                  <c:v>0.19476297167151024</c:v>
                </c:pt>
                <c:pt idx="1">
                  <c:v>0.38754786356246829</c:v>
                </c:pt>
                <c:pt idx="2">
                  <c:v>0.56252097087251107</c:v>
                </c:pt>
                <c:pt idx="3">
                  <c:v>0.6474573236497756</c:v>
                </c:pt>
                <c:pt idx="4">
                  <c:v>0.72413304449808535</c:v>
                </c:pt>
                <c:pt idx="5">
                  <c:v>0.7962589248463896</c:v>
                </c:pt>
                <c:pt idx="6">
                  <c:v>0.85624118866403498</c:v>
                </c:pt>
                <c:pt idx="7">
                  <c:v>0.90846176669052991</c:v>
                </c:pt>
                <c:pt idx="8">
                  <c:v>0.9569741947256345</c:v>
                </c:pt>
                <c:pt idx="9">
                  <c:v>0.99048447105998161</c:v>
                </c:pt>
                <c:pt idx="10">
                  <c:v>0.99682063725180825</c:v>
                </c:pt>
                <c:pt idx="11">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3</c:f>
              <c:strCache>
                <c:ptCount val="12"/>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D$2:$D$13</c:f>
              <c:numCache>
                <c:formatCode>General</c:formatCode>
                <c:ptCount val="12"/>
                <c:pt idx="0">
                  <c:v>27838.234693877552</c:v>
                </c:pt>
                <c:pt idx="1">
                  <c:v>27527.410805300715</c:v>
                </c:pt>
                <c:pt idx="2">
                  <c:v>24558.517034068136</c:v>
                </c:pt>
                <c:pt idx="3">
                  <c:v>12471.153039832287</c:v>
                </c:pt>
                <c:pt idx="4">
                  <c:v>11438.093716719915</c:v>
                </c:pt>
                <c:pt idx="5">
                  <c:v>10309.234693877552</c:v>
                </c:pt>
                <c:pt idx="6">
                  <c:v>8635.1798561151081</c:v>
                </c:pt>
                <c:pt idx="7">
                  <c:v>8505.5930232558148</c:v>
                </c:pt>
                <c:pt idx="8">
                  <c:v>7229.1382978723404</c:v>
                </c:pt>
                <c:pt idx="9">
                  <c:v>5809.3564356435636</c:v>
                </c:pt>
                <c:pt idx="10">
                  <c:v>2730.8923076923079</c:v>
                </c:pt>
                <c:pt idx="11">
                  <c:v>648.2532751091703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Kiri Delicieusement Fouette Fromage Frais A Tartiner 1X210Gr 1P</c:v>
                </c:pt>
                <c:pt idx="1">
                  <c:v>Kiri Delicieusement Fouette Fromage Frais A Tartiner 1X125Gr 1P</c:v>
                </c:pt>
                <c:pt idx="2">
                  <c:v>Kiri Delicieusement Fouette Fromage Frais A Tartiner 1X160Gr 10P</c:v>
                </c:pt>
              </c:strCache>
            </c:strRef>
          </c:cat>
          <c:val>
            <c:numRef>
              <c:f>Sheet1!$B$2:$B$4</c:f>
              <c:numCache>
                <c:formatCode>General</c:formatCode>
                <c:ptCount val="3"/>
                <c:pt idx="0">
                  <c:v>0.96</c:v>
                </c:pt>
                <c:pt idx="1">
                  <c:v>0.98</c:v>
                </c:pt>
                <c:pt idx="2">
                  <c:v>0.8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Kiri Delicieusement Fouette Fromage Frais A Tartiner 1X210Gr 1P</c:v>
                </c:pt>
                <c:pt idx="1">
                  <c:v>Kiri Delicieusement Fouette Fromage Frais A Tartiner 1X125Gr 1P</c:v>
                </c:pt>
                <c:pt idx="2">
                  <c:v>Kiri Delicieusement Fouette Fromage Frais A Tartiner 1X160Gr 10P</c:v>
                </c:pt>
              </c:strCache>
            </c:strRef>
          </c:cat>
          <c:val>
            <c:numRef>
              <c:f>Sheet1!$C$2:$C$4</c:f>
              <c:numCache>
                <c:formatCode>General</c:formatCode>
                <c:ptCount val="3"/>
                <c:pt idx="0">
                  <c:v>0.48985974518863984</c:v>
                </c:pt>
                <c:pt idx="1">
                  <c:v>0.81434938632013676</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Kiri Delicieusement Fouette Fromage Frais A Tartiner 1X210Gr 1P</c:v>
                </c:pt>
                <c:pt idx="1">
                  <c:v>Kiri Delicieusement Fouette Fromage Frais A Tartiner 1X125Gr 1P</c:v>
                </c:pt>
                <c:pt idx="2">
                  <c:v>Kiri Delicieusement Fouette Fromage Frais A Tartiner 1X160Gr 10P</c:v>
                </c:pt>
              </c:strCache>
            </c:strRef>
          </c:cat>
          <c:val>
            <c:numRef>
              <c:f>Sheet1!$D$2:$D$4</c:f>
              <c:numCache>
                <c:formatCode>General</c:formatCode>
                <c:ptCount val="3"/>
                <c:pt idx="0">
                  <c:v>3431.15625</c:v>
                </c:pt>
                <c:pt idx="1">
                  <c:v>2226.4591836734694</c:v>
                </c:pt>
                <c:pt idx="2">
                  <c:v>1402.640449438202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La Vache Qui Rit</c:v>
                </c:pt>
                <c:pt idx="6">
                  <c:v>Others</c:v>
                </c:pt>
              </c:strCache>
            </c:strRef>
          </c:cat>
          <c:val>
            <c:numRef>
              <c:f>Sheet1!$B$2:$B$8</c:f>
              <c:numCache>
                <c:formatCode>General</c:formatCode>
                <c:ptCount val="7"/>
                <c:pt idx="0">
                  <c:v>0.45587470776663669</c:v>
                </c:pt>
                <c:pt idx="1">
                  <c:v>0.36151371858942377</c:v>
                </c:pt>
                <c:pt idx="2">
                  <c:v>7.1232520829542303E-2</c:v>
                </c:pt>
                <c:pt idx="3">
                  <c:v>3.1134014024937436E-2</c:v>
                </c:pt>
                <c:pt idx="4">
                  <c:v>2.0061875223393498E-2</c:v>
                </c:pt>
                <c:pt idx="5">
                  <c:v>2.9856549890294866E-5</c:v>
                </c:pt>
                <c:pt idx="6">
                  <c:v>6.0153307016176022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La Vache Qui Rit</c:v>
                </c:pt>
                <c:pt idx="6">
                  <c:v>Others</c:v>
                </c:pt>
              </c:strCache>
            </c:strRef>
          </c:cat>
          <c:val>
            <c:numRef>
              <c:f>Sheet1!$C$2:$C$8</c:f>
              <c:numCache>
                <c:formatCode>General</c:formatCode>
                <c:ptCount val="7"/>
                <c:pt idx="0">
                  <c:v>0.33949123531842068</c:v>
                </c:pt>
                <c:pt idx="1">
                  <c:v>0.28070589624033532</c:v>
                </c:pt>
                <c:pt idx="2">
                  <c:v>6.5690845777017073E-2</c:v>
                </c:pt>
                <c:pt idx="3">
                  <c:v>2.5615298353302257E-2</c:v>
                </c:pt>
                <c:pt idx="4">
                  <c:v>5.1525703830490474E-2</c:v>
                </c:pt>
                <c:pt idx="5">
                  <c:v>1.7706427433158238E-4</c:v>
                </c:pt>
                <c:pt idx="6">
                  <c:v>0.2367939562061028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La Vache Qui Rit</c:v>
                </c:pt>
                <c:pt idx="6">
                  <c:v>Others</c:v>
                </c:pt>
              </c:strCache>
            </c:strRef>
          </c:cat>
          <c:val>
            <c:numRef>
              <c:f>Sheet1!$D$2:$D$8</c:f>
              <c:numCache>
                <c:formatCode>General</c:formatCode>
                <c:ptCount val="7"/>
                <c:pt idx="0">
                  <c:v>74.470294037941457</c:v>
                </c:pt>
                <c:pt idx="1">
                  <c:v>77.647370433302129</c:v>
                </c:pt>
                <c:pt idx="2">
                  <c:v>92.220301923911521</c:v>
                </c:pt>
                <c:pt idx="3">
                  <c:v>82.274320082162077</c:v>
                </c:pt>
                <c:pt idx="4">
                  <c:v>256.83393629329345</c:v>
                </c:pt>
                <c:pt idx="5">
                  <c:v>593.05001744069125</c:v>
                </c:pt>
                <c:pt idx="6">
                  <c:v>393.6507699276214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8</c:f>
              <c:strCache>
                <c:ptCount val="17"/>
                <c:pt idx="0">
                  <c:v>Boursin Classique Fromage Frais A Tartiner Afh 1X160Gr 10P</c:v>
                </c:pt>
                <c:pt idx="1">
                  <c:v>Boursin Classique Fromage Frais A Tartiner Afh Boite 1X250Gr 1P</c:v>
                </c:pt>
                <c:pt idx="2">
                  <c:v>Boursin Classique Fromage Frais A Tartiner Afh Boite 1X150Gr 1P</c:v>
                </c:pt>
                <c:pt idx="3">
                  <c:v>Boursin Classique Fromage Frais A Tartiner Afh Boite 1X96Gr 6P</c:v>
                </c:pt>
                <c:pt idx="4">
                  <c:v>Boursin Classique Fromage Frais A Tartiner Figue Et 3 Noix Boite 1X150Gr 1P</c:v>
                </c:pt>
                <c:pt idx="5">
                  <c:v>Boursin Classique Fromage Frais A Tartiner Ciboulette &amp; Echalote Boite 1X150Gr 1P</c:v>
                </c:pt>
                <c:pt idx="6">
                  <c:v>Boursin Onctueux Fromage Frais A Tartiner Afh 1X125Gr 1P</c:v>
                </c:pt>
                <c:pt idx="7">
                  <c:v>Boursin Classique Fromage Frais A Tartiner Afh 1X256Gr 16P</c:v>
                </c:pt>
                <c:pt idx="8">
                  <c:v>Boursin Classique Fromage Frais A Tartiner Afh Boite 1X80Gr 1P</c:v>
                </c:pt>
                <c:pt idx="9">
                  <c:v>Boursin Classique Fromage Frais A Tartiner Poivre Boite 1X150Gr 1P</c:v>
                </c:pt>
                <c:pt idx="10">
                  <c:v>Boursin Onctueux Fromage Frais A Tartiner Afh 1X210Gr 1P</c:v>
                </c:pt>
                <c:pt idx="11">
                  <c:v>Boursin Classique Fromage Frais A Tartiner 3 Noix Boite 1X150Gr 1P</c:v>
                </c:pt>
                <c:pt idx="12">
                  <c:v>Boursin Classique Fromage Frais A Tartiner Truffe Boite 1X150Gr 1P</c:v>
                </c:pt>
                <c:pt idx="13">
                  <c:v>Boursin Classique Fromage Frais A Tartiner Afh Boite 1X320Gr 16+4P</c:v>
                </c:pt>
                <c:pt idx="14">
                  <c:v>Boursin Classique Fromage Frais A Tartiner 3 Noix 1X160Gr 10P</c:v>
                </c:pt>
                <c:pt idx="15">
                  <c:v>Boursin Classique Fromage Frais A Tartiner Citron &amp; Romarin Boite 1X150Gr 1P</c:v>
                </c:pt>
                <c:pt idx="16">
                  <c:v>Boursin Classique Fromage Frais A Tartiner Ciboulette &amp; Echalote 1X160Gr 10P</c:v>
                </c:pt>
              </c:strCache>
            </c:strRef>
          </c:cat>
          <c:val>
            <c:numRef>
              <c:f>Sheet1!$B$2:$B$18</c:f>
              <c:numCache>
                <c:formatCode>General</c:formatCode>
                <c:ptCount val="17"/>
                <c:pt idx="0">
                  <c:v>1</c:v>
                </c:pt>
                <c:pt idx="1">
                  <c:v>1</c:v>
                </c:pt>
                <c:pt idx="2">
                  <c:v>1</c:v>
                </c:pt>
                <c:pt idx="3">
                  <c:v>1</c:v>
                </c:pt>
                <c:pt idx="4">
                  <c:v>0.98</c:v>
                </c:pt>
                <c:pt idx="5">
                  <c:v>0.97</c:v>
                </c:pt>
                <c:pt idx="6">
                  <c:v>0.99</c:v>
                </c:pt>
                <c:pt idx="7">
                  <c:v>0.57999999999999996</c:v>
                </c:pt>
                <c:pt idx="8">
                  <c:v>0.94</c:v>
                </c:pt>
                <c:pt idx="9">
                  <c:v>0.88</c:v>
                </c:pt>
                <c:pt idx="10">
                  <c:v>0.59</c:v>
                </c:pt>
                <c:pt idx="11">
                  <c:v>0.67</c:v>
                </c:pt>
                <c:pt idx="12">
                  <c:v>0.66</c:v>
                </c:pt>
                <c:pt idx="13">
                  <c:v>0.85</c:v>
                </c:pt>
                <c:pt idx="14">
                  <c:v>0.49</c:v>
                </c:pt>
                <c:pt idx="15">
                  <c:v>0.71</c:v>
                </c:pt>
                <c:pt idx="16">
                  <c:v>0.14000000000000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AEABAB"/>
              </a:solidFill>
            </c:spPr>
            <c:extLst>
              <c:ext xmlns:c16="http://schemas.microsoft.com/office/drawing/2014/chart" uri="{C3380CC4-5D6E-409C-BE32-E72D297353CC}">
                <c16:uniqueId val="{0000001D-FA3E-4872-B6E1-C4ABDF5766E2}"/>
              </c:ext>
            </c:extLst>
          </c:dPt>
          <c:dPt>
            <c:idx val="14"/>
            <c:invertIfNegative val="1"/>
            <c:bubble3D val="0"/>
            <c:spPr>
              <a:solidFill>
                <a:srgbClr val="AEABAB"/>
              </a:solidFill>
            </c:spPr>
            <c:extLst>
              <c:ext xmlns:c16="http://schemas.microsoft.com/office/drawing/2014/chart" uri="{C3380CC4-5D6E-409C-BE32-E72D297353CC}">
                <c16:uniqueId val="{0000001F-FA3E-4872-B6E1-C4ABDF5766E2}"/>
              </c:ext>
            </c:extLst>
          </c:dPt>
          <c:dPt>
            <c:idx val="15"/>
            <c:invertIfNegative val="1"/>
            <c:bubble3D val="0"/>
            <c:spPr>
              <a:solidFill>
                <a:srgbClr val="AEABAB"/>
              </a:solidFill>
            </c:spPr>
            <c:extLst>
              <c:ext xmlns:c16="http://schemas.microsoft.com/office/drawing/2014/chart" uri="{C3380CC4-5D6E-409C-BE32-E72D297353CC}">
                <c16:uniqueId val="{00000021-FA3E-4872-B6E1-C4ABDF5766E2}"/>
              </c:ext>
            </c:extLst>
          </c:dPt>
          <c:dPt>
            <c:idx val="16"/>
            <c:invertIfNegative val="1"/>
            <c:bubble3D val="0"/>
            <c:spPr>
              <a:solidFill>
                <a:srgbClr val="AEABAB"/>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8</c:f>
              <c:strCache>
                <c:ptCount val="17"/>
                <c:pt idx="0">
                  <c:v>Boursin Classique Fromage Frais A Tartiner Afh 1X160Gr 10P</c:v>
                </c:pt>
                <c:pt idx="1">
                  <c:v>Boursin Classique Fromage Frais A Tartiner Afh Boite 1X250Gr 1P</c:v>
                </c:pt>
                <c:pt idx="2">
                  <c:v>Boursin Classique Fromage Frais A Tartiner Afh Boite 1X150Gr 1P</c:v>
                </c:pt>
                <c:pt idx="3">
                  <c:v>Boursin Classique Fromage Frais A Tartiner Afh Boite 1X96Gr 6P</c:v>
                </c:pt>
                <c:pt idx="4">
                  <c:v>Boursin Classique Fromage Frais A Tartiner Figue Et 3 Noix Boite 1X150Gr 1P</c:v>
                </c:pt>
                <c:pt idx="5">
                  <c:v>Boursin Classique Fromage Frais A Tartiner Ciboulette &amp; Echalote Boite 1X150Gr 1P</c:v>
                </c:pt>
                <c:pt idx="6">
                  <c:v>Boursin Onctueux Fromage Frais A Tartiner Afh 1X125Gr 1P</c:v>
                </c:pt>
                <c:pt idx="7">
                  <c:v>Boursin Classique Fromage Frais A Tartiner Afh 1X256Gr 16P</c:v>
                </c:pt>
                <c:pt idx="8">
                  <c:v>Boursin Classique Fromage Frais A Tartiner Afh Boite 1X80Gr 1P</c:v>
                </c:pt>
                <c:pt idx="9">
                  <c:v>Boursin Classique Fromage Frais A Tartiner Poivre Boite 1X150Gr 1P</c:v>
                </c:pt>
                <c:pt idx="10">
                  <c:v>Boursin Onctueux Fromage Frais A Tartiner Afh 1X210Gr 1P</c:v>
                </c:pt>
                <c:pt idx="11">
                  <c:v>Boursin Classique Fromage Frais A Tartiner 3 Noix Boite 1X150Gr 1P</c:v>
                </c:pt>
                <c:pt idx="12">
                  <c:v>Boursin Classique Fromage Frais A Tartiner Truffe Boite 1X150Gr 1P</c:v>
                </c:pt>
                <c:pt idx="13">
                  <c:v>Boursin Classique Fromage Frais A Tartiner Afh Boite 1X320Gr 16+4P</c:v>
                </c:pt>
                <c:pt idx="14">
                  <c:v>Boursin Classique Fromage Frais A Tartiner 3 Noix 1X160Gr 10P</c:v>
                </c:pt>
                <c:pt idx="15">
                  <c:v>Boursin Classique Fromage Frais A Tartiner Citron &amp; Romarin Boite 1X150Gr 1P</c:v>
                </c:pt>
                <c:pt idx="16">
                  <c:v>Boursin Classique Fromage Frais A Tartiner Ciboulette &amp; Echalote 1X160Gr 10P</c:v>
                </c:pt>
              </c:strCache>
            </c:strRef>
          </c:cat>
          <c:val>
            <c:numRef>
              <c:f>Sheet1!$C$2:$C$18</c:f>
              <c:numCache>
                <c:formatCode>General</c:formatCode>
                <c:ptCount val="17"/>
                <c:pt idx="0">
                  <c:v>0.25926601580535136</c:v>
                </c:pt>
                <c:pt idx="1">
                  <c:v>0.46843990065373819</c:v>
                </c:pt>
                <c:pt idx="2">
                  <c:v>0.64510566669434555</c:v>
                </c:pt>
                <c:pt idx="3">
                  <c:v>0.72281673434686766</c:v>
                </c:pt>
                <c:pt idx="4">
                  <c:v>0.79000101570269088</c:v>
                </c:pt>
                <c:pt idx="5">
                  <c:v>0.84896737195922867</c:v>
                </c:pt>
                <c:pt idx="6">
                  <c:v>0.89678171240932492</c:v>
                </c:pt>
                <c:pt idx="7">
                  <c:v>0.91970824803278017</c:v>
                </c:pt>
                <c:pt idx="8">
                  <c:v>0.94158782857482382</c:v>
                </c:pt>
                <c:pt idx="9">
                  <c:v>0.9574057172614403</c:v>
                </c:pt>
                <c:pt idx="10">
                  <c:v>0.96839711031675935</c:v>
                </c:pt>
                <c:pt idx="11">
                  <c:v>0.979008932187582</c:v>
                </c:pt>
                <c:pt idx="12">
                  <c:v>0.98476627663562211</c:v>
                </c:pt>
                <c:pt idx="13">
                  <c:v>0.98991747006811392</c:v>
                </c:pt>
                <c:pt idx="14">
                  <c:v>0.99459097434596655</c:v>
                </c:pt>
                <c:pt idx="15">
                  <c:v>0.99754686904648782</c:v>
                </c:pt>
                <c:pt idx="16">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8</c:f>
              <c:strCache>
                <c:ptCount val="17"/>
                <c:pt idx="0">
                  <c:v>Boursin Classique Fromage Frais A Tartiner Afh 1X160Gr 10P</c:v>
                </c:pt>
                <c:pt idx="1">
                  <c:v>Boursin Classique Fromage Frais A Tartiner Afh Boite 1X250Gr 1P</c:v>
                </c:pt>
                <c:pt idx="2">
                  <c:v>Boursin Classique Fromage Frais A Tartiner Afh Boite 1X150Gr 1P</c:v>
                </c:pt>
                <c:pt idx="3">
                  <c:v>Boursin Classique Fromage Frais A Tartiner Afh Boite 1X96Gr 6P</c:v>
                </c:pt>
                <c:pt idx="4">
                  <c:v>Boursin Classique Fromage Frais A Tartiner Figue Et 3 Noix Boite 1X150Gr 1P</c:v>
                </c:pt>
                <c:pt idx="5">
                  <c:v>Boursin Classique Fromage Frais A Tartiner Ciboulette &amp; Echalote Boite 1X150Gr 1P</c:v>
                </c:pt>
                <c:pt idx="6">
                  <c:v>Boursin Onctueux Fromage Frais A Tartiner Afh 1X125Gr 1P</c:v>
                </c:pt>
                <c:pt idx="7">
                  <c:v>Boursin Classique Fromage Frais A Tartiner Afh 1X256Gr 16P</c:v>
                </c:pt>
                <c:pt idx="8">
                  <c:v>Boursin Classique Fromage Frais A Tartiner Afh Boite 1X80Gr 1P</c:v>
                </c:pt>
                <c:pt idx="9">
                  <c:v>Boursin Classique Fromage Frais A Tartiner Poivre Boite 1X150Gr 1P</c:v>
                </c:pt>
                <c:pt idx="10">
                  <c:v>Boursin Onctueux Fromage Frais A Tartiner Afh 1X210Gr 1P</c:v>
                </c:pt>
                <c:pt idx="11">
                  <c:v>Boursin Classique Fromage Frais A Tartiner 3 Noix Boite 1X150Gr 1P</c:v>
                </c:pt>
                <c:pt idx="12">
                  <c:v>Boursin Classique Fromage Frais A Tartiner Truffe Boite 1X150Gr 1P</c:v>
                </c:pt>
                <c:pt idx="13">
                  <c:v>Boursin Classique Fromage Frais A Tartiner Afh Boite 1X320Gr 16+4P</c:v>
                </c:pt>
                <c:pt idx="14">
                  <c:v>Boursin Classique Fromage Frais A Tartiner 3 Noix 1X160Gr 10P</c:v>
                </c:pt>
                <c:pt idx="15">
                  <c:v>Boursin Classique Fromage Frais A Tartiner Citron &amp; Romarin Boite 1X150Gr 1P</c:v>
                </c:pt>
                <c:pt idx="16">
                  <c:v>Boursin Classique Fromage Frais A Tartiner Ciboulette &amp; Echalote 1X160Gr 10P</c:v>
                </c:pt>
              </c:strCache>
            </c:strRef>
          </c:cat>
          <c:val>
            <c:numRef>
              <c:f>Sheet1!$D$2:$D$18</c:f>
              <c:numCache>
                <c:formatCode>General</c:formatCode>
                <c:ptCount val="17"/>
                <c:pt idx="0">
                  <c:v>14268.91</c:v>
                </c:pt>
                <c:pt idx="1">
                  <c:v>11512.05</c:v>
                </c:pt>
                <c:pt idx="2">
                  <c:v>9722.94</c:v>
                </c:pt>
                <c:pt idx="3">
                  <c:v>4276.8900000000003</c:v>
                </c:pt>
                <c:pt idx="4">
                  <c:v>3773</c:v>
                </c:pt>
                <c:pt idx="5">
                  <c:v>3345.6288659793813</c:v>
                </c:pt>
                <c:pt idx="6">
                  <c:v>2658.0808080808079</c:v>
                </c:pt>
                <c:pt idx="7">
                  <c:v>2175.4827586206898</c:v>
                </c:pt>
                <c:pt idx="8">
                  <c:v>1281.0212765957447</c:v>
                </c:pt>
                <c:pt idx="9">
                  <c:v>989.26136363636363</c:v>
                </c:pt>
                <c:pt idx="10">
                  <c:v>1025.2881355932204</c:v>
                </c:pt>
                <c:pt idx="11">
                  <c:v>871.68656716417911</c:v>
                </c:pt>
                <c:pt idx="12">
                  <c:v>480.09090909090907</c:v>
                </c:pt>
                <c:pt idx="13">
                  <c:v>333.52941176470586</c:v>
                </c:pt>
                <c:pt idx="14">
                  <c:v>524.91836734693879</c:v>
                </c:pt>
                <c:pt idx="15">
                  <c:v>229.12676056338029</c:v>
                </c:pt>
                <c:pt idx="16">
                  <c:v>964.3571428571427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Kiri Delicieusement Fouette Fromage Frais A Tartiner 1X160Gr 10P</c:v>
                </c:pt>
                <c:pt idx="1">
                  <c:v>Kiri Delicieusement Fouette Fromage Frais A Tartiner 1X210Gr 1P</c:v>
                </c:pt>
                <c:pt idx="2">
                  <c:v>Kiri Delicieusement Fouette Fromage Frais A Tartiner 1X125Gr 1P</c:v>
                </c:pt>
              </c:strCache>
            </c:strRef>
          </c:cat>
          <c:val>
            <c:numRef>
              <c:f>Sheet1!$B$2:$B$4</c:f>
              <c:numCache>
                <c:formatCode>General</c:formatCode>
                <c:ptCount val="3"/>
                <c:pt idx="0">
                  <c:v>0.63</c:v>
                </c:pt>
                <c:pt idx="1">
                  <c:v>0.54</c:v>
                </c:pt>
                <c:pt idx="2">
                  <c:v>0.6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Kiri Delicieusement Fouette Fromage Frais A Tartiner 1X160Gr 10P</c:v>
                </c:pt>
                <c:pt idx="1">
                  <c:v>Kiri Delicieusement Fouette Fromage Frais A Tartiner 1X210Gr 1P</c:v>
                </c:pt>
                <c:pt idx="2">
                  <c:v>Kiri Delicieusement Fouette Fromage Frais A Tartiner 1X125Gr 1P</c:v>
                </c:pt>
              </c:strCache>
            </c:strRef>
          </c:cat>
          <c:val>
            <c:numRef>
              <c:f>Sheet1!$C$2:$C$4</c:f>
              <c:numCache>
                <c:formatCode>General</c:formatCode>
                <c:ptCount val="3"/>
                <c:pt idx="0">
                  <c:v>0.3356107398330605</c:v>
                </c:pt>
                <c:pt idx="1">
                  <c:v>0.66979037611119652</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Kiri Delicieusement Fouette Fromage Frais A Tartiner 1X160Gr 10P</c:v>
                </c:pt>
                <c:pt idx="1">
                  <c:v>Kiri Delicieusement Fouette Fromage Frais A Tartiner 1X210Gr 1P</c:v>
                </c:pt>
                <c:pt idx="2">
                  <c:v>Kiri Delicieusement Fouette Fromage Frais A Tartiner 1X125Gr 1P</c:v>
                </c:pt>
              </c:strCache>
            </c:strRef>
          </c:cat>
          <c:val>
            <c:numRef>
              <c:f>Sheet1!$D$2:$D$4</c:f>
              <c:numCache>
                <c:formatCode>General</c:formatCode>
                <c:ptCount val="3"/>
                <c:pt idx="0">
                  <c:v>2356.2857142857142</c:v>
                </c:pt>
                <c:pt idx="1">
                  <c:v>2737.2777777777778</c:v>
                </c:pt>
                <c:pt idx="2">
                  <c:v>2355.7580645161293</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4</c:f>
              <c:strCache>
                <c:ptCount val="13"/>
                <c:pt idx="0">
                  <c:v>Boursin Classique Fromage Frais A Tartiner Afh 1X160Gr 10P</c:v>
                </c:pt>
                <c:pt idx="1">
                  <c:v>Boursin Classique Fromage Frais A Tartiner Afh Boite 1X150Gr 1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Boursin Classique Fromage Frais A Tartiner Figue Et 3 Noix Boite 1X150Gr 1P</c:v>
                </c:pt>
                <c:pt idx="7">
                  <c:v>Boursin Classique Fromage Frais A Tartiner 3 Noix Boite 1X150Gr 1P</c:v>
                </c:pt>
                <c:pt idx="8">
                  <c:v>Boursin Classique Fromage Frais A Tartiner 3 Noix 1X160Gr 10P</c:v>
                </c:pt>
                <c:pt idx="9">
                  <c:v>Boursin Classique Fromage Frais A Tartiner Afh Boite 1X320Gr 16+4P</c:v>
                </c:pt>
                <c:pt idx="10">
                  <c:v>Boursin Classique Fromage Frais A Tartiner Truffe Boite 1X150Gr 1P</c:v>
                </c:pt>
                <c:pt idx="11">
                  <c:v>Boursin Onctueux Fromage Frais A Tartiner Afh 1X210Gr 1P</c:v>
                </c:pt>
                <c:pt idx="12">
                  <c:v>Boursin Classique Fromage Frais A Tartiner Ciboulette &amp; Echalote 1X160Gr 10P</c:v>
                </c:pt>
              </c:strCache>
            </c:strRef>
          </c:cat>
          <c:val>
            <c:numRef>
              <c:f>Sheet1!$B$2:$B$14</c:f>
              <c:numCache>
                <c:formatCode>General</c:formatCode>
                <c:ptCount val="13"/>
                <c:pt idx="0">
                  <c:v>0.98</c:v>
                </c:pt>
                <c:pt idx="1">
                  <c:v>0.99</c:v>
                </c:pt>
                <c:pt idx="2">
                  <c:v>0.95</c:v>
                </c:pt>
                <c:pt idx="3">
                  <c:v>0.91</c:v>
                </c:pt>
                <c:pt idx="4">
                  <c:v>0.85</c:v>
                </c:pt>
                <c:pt idx="5">
                  <c:v>0.89</c:v>
                </c:pt>
                <c:pt idx="6">
                  <c:v>0.65</c:v>
                </c:pt>
                <c:pt idx="7">
                  <c:v>0.61</c:v>
                </c:pt>
                <c:pt idx="8">
                  <c:v>0.41</c:v>
                </c:pt>
                <c:pt idx="9">
                  <c:v>0.37</c:v>
                </c:pt>
                <c:pt idx="10">
                  <c:v>0.51</c:v>
                </c:pt>
                <c:pt idx="11">
                  <c:v>0.03</c:v>
                </c:pt>
                <c:pt idx="12">
                  <c:v>0.0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7ECAC4"/>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AEABAB"/>
              </a:solidFill>
            </c:spPr>
            <c:extLst>
              <c:ext xmlns:c16="http://schemas.microsoft.com/office/drawing/2014/chart" uri="{C3380CC4-5D6E-409C-BE32-E72D297353CC}">
                <c16:uniqueId val="{0000000F-FA3E-4872-B6E1-C4ABDF5766E2}"/>
              </c:ext>
            </c:extLst>
          </c:dPt>
          <c:dPt>
            <c:idx val="7"/>
            <c:invertIfNegative val="1"/>
            <c:bubble3D val="0"/>
            <c:spPr>
              <a:solidFill>
                <a:srgbClr val="AEABAB"/>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AEABAB"/>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4</c:f>
              <c:strCache>
                <c:ptCount val="13"/>
                <c:pt idx="0">
                  <c:v>Boursin Classique Fromage Frais A Tartiner Afh 1X160Gr 10P</c:v>
                </c:pt>
                <c:pt idx="1">
                  <c:v>Boursin Classique Fromage Frais A Tartiner Afh Boite 1X150Gr 1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Boursin Classique Fromage Frais A Tartiner Figue Et 3 Noix Boite 1X150Gr 1P</c:v>
                </c:pt>
                <c:pt idx="7">
                  <c:v>Boursin Classique Fromage Frais A Tartiner 3 Noix Boite 1X150Gr 1P</c:v>
                </c:pt>
                <c:pt idx="8">
                  <c:v>Boursin Classique Fromage Frais A Tartiner 3 Noix 1X160Gr 10P</c:v>
                </c:pt>
                <c:pt idx="9">
                  <c:v>Boursin Classique Fromage Frais A Tartiner Afh Boite 1X320Gr 16+4P</c:v>
                </c:pt>
                <c:pt idx="10">
                  <c:v>Boursin Classique Fromage Frais A Tartiner Truffe Boite 1X150Gr 1P</c:v>
                </c:pt>
                <c:pt idx="11">
                  <c:v>Boursin Onctueux Fromage Frais A Tartiner Afh 1X210Gr 1P</c:v>
                </c:pt>
                <c:pt idx="12">
                  <c:v>Boursin Classique Fromage Frais A Tartiner Ciboulette &amp; Echalote 1X160Gr 10P</c:v>
                </c:pt>
              </c:strCache>
            </c:strRef>
          </c:cat>
          <c:val>
            <c:numRef>
              <c:f>Sheet1!$C$2:$C$14</c:f>
              <c:numCache>
                <c:formatCode>General</c:formatCode>
                <c:ptCount val="13"/>
                <c:pt idx="0">
                  <c:v>0.26009380928803966</c:v>
                </c:pt>
                <c:pt idx="1">
                  <c:v>0.50186435553763986</c:v>
                </c:pt>
                <c:pt idx="2">
                  <c:v>0.71174960237305518</c:v>
                </c:pt>
                <c:pt idx="3">
                  <c:v>0.82192052718979625</c:v>
                </c:pt>
                <c:pt idx="4">
                  <c:v>0.89423539515136119</c:v>
                </c:pt>
                <c:pt idx="5">
                  <c:v>0.96362228288254348</c:v>
                </c:pt>
                <c:pt idx="6">
                  <c:v>0.97960097095461141</c:v>
                </c:pt>
                <c:pt idx="7">
                  <c:v>0.98777368344951788</c:v>
                </c:pt>
                <c:pt idx="8">
                  <c:v>0.99213947394941049</c:v>
                </c:pt>
                <c:pt idx="9">
                  <c:v>0.99648313755044282</c:v>
                </c:pt>
                <c:pt idx="10">
                  <c:v>0.99925316239391149</c:v>
                </c:pt>
                <c:pt idx="11">
                  <c:v>0.99990360558912328</c:v>
                </c:pt>
                <c:pt idx="12">
                  <c:v>0.9999704244421173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4</c:f>
              <c:strCache>
                <c:ptCount val="13"/>
                <c:pt idx="0">
                  <c:v>Boursin Classique Fromage Frais A Tartiner Afh 1X160Gr 10P</c:v>
                </c:pt>
                <c:pt idx="1">
                  <c:v>Boursin Classique Fromage Frais A Tartiner Afh Boite 1X150Gr 1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Boursin Classique Fromage Frais A Tartiner Figue Et 3 Noix Boite 1X150Gr 1P</c:v>
                </c:pt>
                <c:pt idx="7">
                  <c:v>Boursin Classique Fromage Frais A Tartiner 3 Noix Boite 1X150Gr 1P</c:v>
                </c:pt>
                <c:pt idx="8">
                  <c:v>Boursin Classique Fromage Frais A Tartiner 3 Noix 1X160Gr 10P</c:v>
                </c:pt>
                <c:pt idx="9">
                  <c:v>Boursin Classique Fromage Frais A Tartiner Afh Boite 1X320Gr 16+4P</c:v>
                </c:pt>
                <c:pt idx="10">
                  <c:v>Boursin Classique Fromage Frais A Tartiner Truffe Boite 1X150Gr 1P</c:v>
                </c:pt>
                <c:pt idx="11">
                  <c:v>Boursin Onctueux Fromage Frais A Tartiner Afh 1X210Gr 1P</c:v>
                </c:pt>
                <c:pt idx="12">
                  <c:v>Boursin Classique Fromage Frais A Tartiner Ciboulette &amp; Echalote 1X160Gr 10P</c:v>
                </c:pt>
              </c:strCache>
            </c:strRef>
          </c:cat>
          <c:val>
            <c:numRef>
              <c:f>Sheet1!$D$2:$D$14</c:f>
              <c:numCache>
                <c:formatCode>General</c:formatCode>
                <c:ptCount val="13"/>
                <c:pt idx="0">
                  <c:v>12114.479591836734</c:v>
                </c:pt>
                <c:pt idx="1">
                  <c:v>11147.282828282829</c:v>
                </c:pt>
                <c:pt idx="2">
                  <c:v>10084.61052631579</c:v>
                </c:pt>
                <c:pt idx="3">
                  <c:v>5526.197802197802</c:v>
                </c:pt>
                <c:pt idx="4">
                  <c:v>3883.3764705882354</c:v>
                </c:pt>
                <c:pt idx="5">
                  <c:v>3558.674157303371</c:v>
                </c:pt>
                <c:pt idx="6">
                  <c:v>1122.0923076923077</c:v>
                </c:pt>
                <c:pt idx="7">
                  <c:v>611.55737704918033</c:v>
                </c:pt>
                <c:pt idx="8">
                  <c:v>486.04878048780489</c:v>
                </c:pt>
                <c:pt idx="9">
                  <c:v>535.8648648648649</c:v>
                </c:pt>
                <c:pt idx="10">
                  <c:v>247.92156862745097</c:v>
                </c:pt>
                <c:pt idx="11">
                  <c:v>989.66666666666663</c:v>
                </c:pt>
                <c:pt idx="12">
                  <c:v>101.6666666666666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3</c:f>
              <c:strCache>
                <c:ptCount val="2"/>
                <c:pt idx="0">
                  <c:v>Kiri Delicieusement Fouette Fromage Frais A Tartiner 1X125Gr 1P</c:v>
                </c:pt>
                <c:pt idx="1">
                  <c:v>Kiri Delicieusement Fouette Fromage Frais A Tartiner 1X160Gr 10P</c:v>
                </c:pt>
              </c:strCache>
            </c:strRef>
          </c:cat>
          <c:val>
            <c:numRef>
              <c:f>Sheet1!$B$2:$B$3</c:f>
              <c:numCache>
                <c:formatCode>General</c:formatCode>
                <c:ptCount val="2"/>
                <c:pt idx="0">
                  <c:v>0.56000000000000005</c:v>
                </c:pt>
                <c:pt idx="1">
                  <c:v>0.2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3</c:f>
              <c:strCache>
                <c:ptCount val="2"/>
                <c:pt idx="0">
                  <c:v>Kiri Delicieusement Fouette Fromage Frais A Tartiner 1X125Gr 1P</c:v>
                </c:pt>
                <c:pt idx="1">
                  <c:v>Kiri Delicieusement Fouette Fromage Frais A Tartiner 1X160Gr 10P</c:v>
                </c:pt>
              </c:strCache>
            </c:strRef>
          </c:cat>
          <c:val>
            <c:numRef>
              <c:f>Sheet1!$C$2:$C$3</c:f>
              <c:numCache>
                <c:formatCode>General</c:formatCode>
                <c:ptCount val="2"/>
                <c:pt idx="0">
                  <c:v>0.75764084454417546</c:v>
                </c:pt>
                <c:pt idx="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3</c:f>
              <c:strCache>
                <c:ptCount val="2"/>
                <c:pt idx="0">
                  <c:v>Kiri Delicieusement Fouette Fromage Frais A Tartiner 1X125Gr 1P</c:v>
                </c:pt>
                <c:pt idx="1">
                  <c:v>Kiri Delicieusement Fouette Fromage Frais A Tartiner 1X160Gr 10P</c:v>
                </c:pt>
              </c:strCache>
            </c:strRef>
          </c:cat>
          <c:val>
            <c:numRef>
              <c:f>Sheet1!$D$2:$D$3</c:f>
              <c:numCache>
                <c:formatCode>General</c:formatCode>
                <c:ptCount val="2"/>
                <c:pt idx="0">
                  <c:v>6336.7321428571422</c:v>
                </c:pt>
                <c:pt idx="1">
                  <c:v>4204.222222222222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Classique Fromage Frais A Tartiner Afh Boite 1X150Gr 1P</c:v>
                </c:pt>
                <c:pt idx="1">
                  <c:v>Boursin Classique Fromage Frais A Tartiner Afh 1X160Gr 10P</c:v>
                </c:pt>
                <c:pt idx="2">
                  <c:v>Boursin Classique Fromage Frais A Tartiner Ciboulette &amp; Echalote Boite 1X150Gr 1P</c:v>
                </c:pt>
                <c:pt idx="3">
                  <c:v>Boursin Classique Fromage Frais A Tartiner Afh Boite 1X96Gr 6P</c:v>
                </c:pt>
                <c:pt idx="4">
                  <c:v>Boursin Classique Fromage Frais A Tartiner Afh Boite 1X80Gr 1P</c:v>
                </c:pt>
                <c:pt idx="5">
                  <c:v>Boursin Classique Fromage Frais A Tartiner Truffe Boite 1X150Gr 1P</c:v>
                </c:pt>
              </c:strCache>
            </c:strRef>
          </c:cat>
          <c:val>
            <c:numRef>
              <c:f>Sheet1!$B$2:$B$7</c:f>
              <c:numCache>
                <c:formatCode>General</c:formatCode>
                <c:ptCount val="6"/>
                <c:pt idx="0">
                  <c:v>0.83</c:v>
                </c:pt>
                <c:pt idx="1">
                  <c:v>0.53</c:v>
                </c:pt>
                <c:pt idx="2">
                  <c:v>0.08</c:v>
                </c:pt>
                <c:pt idx="3">
                  <c:v>0.12</c:v>
                </c:pt>
                <c:pt idx="4">
                  <c:v>0.11</c:v>
                </c:pt>
                <c:pt idx="5">
                  <c:v>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Classique Fromage Frais A Tartiner Afh Boite 1X150Gr 1P</c:v>
                </c:pt>
                <c:pt idx="1">
                  <c:v>Boursin Classique Fromage Frais A Tartiner Afh 1X160Gr 10P</c:v>
                </c:pt>
                <c:pt idx="2">
                  <c:v>Boursin Classique Fromage Frais A Tartiner Ciboulette &amp; Echalote Boite 1X150Gr 1P</c:v>
                </c:pt>
                <c:pt idx="3">
                  <c:v>Boursin Classique Fromage Frais A Tartiner Afh Boite 1X96Gr 6P</c:v>
                </c:pt>
                <c:pt idx="4">
                  <c:v>Boursin Classique Fromage Frais A Tartiner Afh Boite 1X80Gr 1P</c:v>
                </c:pt>
                <c:pt idx="5">
                  <c:v>Boursin Classique Fromage Frais A Tartiner Truffe Boite 1X150Gr 1P</c:v>
                </c:pt>
              </c:strCache>
            </c:strRef>
          </c:cat>
          <c:val>
            <c:numRef>
              <c:f>Sheet1!$C$2:$C$7</c:f>
              <c:numCache>
                <c:formatCode>General</c:formatCode>
                <c:ptCount val="6"/>
                <c:pt idx="0">
                  <c:v>0.61801773686961958</c:v>
                </c:pt>
                <c:pt idx="1">
                  <c:v>0.94464037359268549</c:v>
                </c:pt>
                <c:pt idx="2">
                  <c:v>0.96705789686864785</c:v>
                </c:pt>
                <c:pt idx="3">
                  <c:v>0.98743525500662688</c:v>
                </c:pt>
                <c:pt idx="4">
                  <c:v>0.99727541949056131</c:v>
                </c:pt>
                <c:pt idx="5">
                  <c:v>0.99940948735186375</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Classique Fromage Frais A Tartiner Afh Boite 1X150Gr 1P</c:v>
                </c:pt>
                <c:pt idx="1">
                  <c:v>Boursin Classique Fromage Frais A Tartiner Afh 1X160Gr 10P</c:v>
                </c:pt>
                <c:pt idx="2">
                  <c:v>Boursin Classique Fromage Frais A Tartiner Ciboulette &amp; Echalote Boite 1X150Gr 1P</c:v>
                </c:pt>
                <c:pt idx="3">
                  <c:v>Boursin Classique Fromage Frais A Tartiner Afh Boite 1X96Gr 6P</c:v>
                </c:pt>
                <c:pt idx="4">
                  <c:v>Boursin Classique Fromage Frais A Tartiner Afh Boite 1X80Gr 1P</c:v>
                </c:pt>
                <c:pt idx="5">
                  <c:v>Boursin Classique Fromage Frais A Tartiner Truffe Boite 1X150Gr 1P</c:v>
                </c:pt>
              </c:strCache>
            </c:strRef>
          </c:cat>
          <c:val>
            <c:numRef>
              <c:f>Sheet1!$D$2:$D$7</c:f>
              <c:numCache>
                <c:formatCode>General</c:formatCode>
                <c:ptCount val="6"/>
                <c:pt idx="0">
                  <c:v>15938.253012048193</c:v>
                </c:pt>
                <c:pt idx="1">
                  <c:v>13191.32075471698</c:v>
                </c:pt>
                <c:pt idx="2">
                  <c:v>5998.125</c:v>
                </c:pt>
                <c:pt idx="3">
                  <c:v>3634.8333333333335</c:v>
                </c:pt>
                <c:pt idx="4">
                  <c:v>1914.8181818181818</c:v>
                </c:pt>
                <c:pt idx="5">
                  <c:v>456.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B$2:$B$4</c:f>
              <c:numCache>
                <c:formatCode>General</c:formatCode>
                <c:ptCount val="3"/>
                <c:pt idx="0">
                  <c:v>0.87</c:v>
                </c:pt>
                <c:pt idx="1">
                  <c:v>0.94</c:v>
                </c:pt>
                <c:pt idx="2">
                  <c:v>0.3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C$2:$C$4</c:f>
              <c:numCache>
                <c:formatCode>General</c:formatCode>
                <c:ptCount val="3"/>
                <c:pt idx="0">
                  <c:v>0.64066270038010242</c:v>
                </c:pt>
                <c:pt idx="1">
                  <c:v>0.97660386712940006</c:v>
                </c:pt>
                <c:pt idx="2">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D$2:$D$4</c:f>
              <c:numCache>
                <c:formatCode>General</c:formatCode>
                <c:ptCount val="3"/>
                <c:pt idx="0">
                  <c:v>4455.9195402298847</c:v>
                </c:pt>
                <c:pt idx="1">
                  <c:v>2162.5319148936169</c:v>
                </c:pt>
                <c:pt idx="2">
                  <c:v>372.55263157894734</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3</c:f>
              <c:strCache>
                <c:ptCount val="12"/>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B$2:$B$13</c:f>
              <c:numCache>
                <c:formatCode>General</c:formatCode>
                <c:ptCount val="12"/>
                <c:pt idx="0">
                  <c:v>0.99</c:v>
                </c:pt>
                <c:pt idx="1">
                  <c:v>0.99</c:v>
                </c:pt>
                <c:pt idx="2">
                  <c:v>1</c:v>
                </c:pt>
                <c:pt idx="3">
                  <c:v>0.97</c:v>
                </c:pt>
                <c:pt idx="4">
                  <c:v>0.96</c:v>
                </c:pt>
                <c:pt idx="5">
                  <c:v>0.99</c:v>
                </c:pt>
                <c:pt idx="6">
                  <c:v>0.99</c:v>
                </c:pt>
                <c:pt idx="7">
                  <c:v>0.87</c:v>
                </c:pt>
                <c:pt idx="8">
                  <c:v>0.96</c:v>
                </c:pt>
                <c:pt idx="9">
                  <c:v>0.83</c:v>
                </c:pt>
                <c:pt idx="10">
                  <c:v>0.28999999999999998</c:v>
                </c:pt>
                <c:pt idx="11">
                  <c:v>0.7</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3</c:f>
              <c:strCache>
                <c:ptCount val="12"/>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C$2:$C$13</c:f>
              <c:numCache>
                <c:formatCode>General</c:formatCode>
                <c:ptCount val="12"/>
                <c:pt idx="0">
                  <c:v>0.20050578843116268</c:v>
                </c:pt>
                <c:pt idx="1">
                  <c:v>0.39317338980683625</c:v>
                </c:pt>
                <c:pt idx="2">
                  <c:v>0.56593865335542271</c:v>
                </c:pt>
                <c:pt idx="3">
                  <c:v>0.64894224069348516</c:v>
                </c:pt>
                <c:pt idx="4">
                  <c:v>0.72530782508852598</c:v>
                </c:pt>
                <c:pt idx="5">
                  <c:v>0.79606862780653831</c:v>
                </c:pt>
                <c:pt idx="6">
                  <c:v>0.85568960381867465</c:v>
                </c:pt>
                <c:pt idx="7">
                  <c:v>0.90760154543357097</c:v>
                </c:pt>
                <c:pt idx="8">
                  <c:v>0.95634119296545306</c:v>
                </c:pt>
                <c:pt idx="9">
                  <c:v>0.99122089869415952</c:v>
                </c:pt>
                <c:pt idx="10">
                  <c:v>0.99686165792273906</c:v>
                </c:pt>
                <c:pt idx="11">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3</c:f>
              <c:strCache>
                <c:ptCount val="12"/>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D$2:$D$13</c:f>
              <c:numCache>
                <c:formatCode>General</c:formatCode>
                <c:ptCount val="12"/>
                <c:pt idx="0">
                  <c:v>20997.565656565657</c:v>
                </c:pt>
                <c:pt idx="1">
                  <c:v>20176.727272727272</c:v>
                </c:pt>
                <c:pt idx="2">
                  <c:v>17911.57</c:v>
                </c:pt>
                <c:pt idx="3">
                  <c:v>8871.6082474226805</c:v>
                </c:pt>
                <c:pt idx="4">
                  <c:v>8247.1458333333339</c:v>
                </c:pt>
                <c:pt idx="5">
                  <c:v>7410.2828282828286</c:v>
                </c:pt>
                <c:pt idx="6">
                  <c:v>6243.6868686868684</c:v>
                </c:pt>
                <c:pt idx="7">
                  <c:v>6186.2183908045981</c:v>
                </c:pt>
                <c:pt idx="8">
                  <c:v>5263.666666666667</c:v>
                </c:pt>
                <c:pt idx="9">
                  <c:v>4356.8433734939763</c:v>
                </c:pt>
                <c:pt idx="10">
                  <c:v>2016.5862068965521</c:v>
                </c:pt>
                <c:pt idx="11">
                  <c:v>464.8142857142856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B$2:$B$4</c:f>
              <c:numCache>
                <c:formatCode>General</c:formatCode>
                <c:ptCount val="3"/>
                <c:pt idx="0">
                  <c:v>0.99</c:v>
                </c:pt>
                <c:pt idx="1">
                  <c:v>0.98</c:v>
                </c:pt>
                <c:pt idx="2">
                  <c:v>0.6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C$2:$C$4</c:f>
              <c:numCache>
                <c:formatCode>General</c:formatCode>
                <c:ptCount val="3"/>
                <c:pt idx="0">
                  <c:v>0.60348310528226246</c:v>
                </c:pt>
                <c:pt idx="1">
                  <c:v>0.97060587409055743</c:v>
                </c:pt>
                <c:pt idx="2">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D$2:$D$4</c:f>
              <c:numCache>
                <c:formatCode>General</c:formatCode>
                <c:ptCount val="3"/>
                <c:pt idx="0">
                  <c:v>772.49494949494954</c:v>
                </c:pt>
                <c:pt idx="1">
                  <c:v>474.73469387755102</c:v>
                </c:pt>
                <c:pt idx="2">
                  <c:v>58.2031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3</c:f>
              <c:strCache>
                <c:ptCount val="12"/>
                <c:pt idx="0">
                  <c:v>Boursin Classique Fromage Frais A Tartiner Afh Boite 1X250Gr 1P</c:v>
                </c:pt>
                <c:pt idx="1">
                  <c:v>Boursin Classique Fromage Frais A Tartiner Afh 1X160Gr 10P</c:v>
                </c:pt>
                <c:pt idx="2">
                  <c:v>Boursin Classique Fromage Frais A Tartiner Afh Boite 1X150Gr 1P</c:v>
                </c:pt>
                <c:pt idx="3">
                  <c:v>Boursin Classique Fromage Frais A Tartiner Afh 1X256Gr 16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B$2:$B$13</c:f>
              <c:numCache>
                <c:formatCode>General</c:formatCode>
                <c:ptCount val="12"/>
                <c:pt idx="0">
                  <c:v>1</c:v>
                </c:pt>
                <c:pt idx="1">
                  <c:v>1</c:v>
                </c:pt>
                <c:pt idx="2">
                  <c:v>1</c:v>
                </c:pt>
                <c:pt idx="3">
                  <c:v>0.99</c:v>
                </c:pt>
                <c:pt idx="4">
                  <c:v>0.99</c:v>
                </c:pt>
                <c:pt idx="5">
                  <c:v>0.99</c:v>
                </c:pt>
                <c:pt idx="6">
                  <c:v>1</c:v>
                </c:pt>
                <c:pt idx="7">
                  <c:v>1</c:v>
                </c:pt>
                <c:pt idx="8">
                  <c:v>0.99</c:v>
                </c:pt>
                <c:pt idx="9">
                  <c:v>0.98</c:v>
                </c:pt>
                <c:pt idx="10">
                  <c:v>0.7</c:v>
                </c:pt>
                <c:pt idx="11">
                  <c:v>0.92</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7ECAC4"/>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3</c:f>
              <c:strCache>
                <c:ptCount val="12"/>
                <c:pt idx="0">
                  <c:v>Boursin Classique Fromage Frais A Tartiner Afh Boite 1X250Gr 1P</c:v>
                </c:pt>
                <c:pt idx="1">
                  <c:v>Boursin Classique Fromage Frais A Tartiner Afh 1X160Gr 10P</c:v>
                </c:pt>
                <c:pt idx="2">
                  <c:v>Boursin Classique Fromage Frais A Tartiner Afh Boite 1X150Gr 1P</c:v>
                </c:pt>
                <c:pt idx="3">
                  <c:v>Boursin Classique Fromage Frais A Tartiner Afh 1X256Gr 16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C$2:$C$13</c:f>
              <c:numCache>
                <c:formatCode>General</c:formatCode>
                <c:ptCount val="12"/>
                <c:pt idx="0">
                  <c:v>0.21805654046732786</c:v>
                </c:pt>
                <c:pt idx="1">
                  <c:v>0.40494565503622554</c:v>
                </c:pt>
                <c:pt idx="2">
                  <c:v>0.56457211620049674</c:v>
                </c:pt>
                <c:pt idx="3">
                  <c:v>0.63994167312585548</c:v>
                </c:pt>
                <c:pt idx="4">
                  <c:v>0.71312530223417891</c:v>
                </c:pt>
                <c:pt idx="5">
                  <c:v>0.78495236869138518</c:v>
                </c:pt>
                <c:pt idx="6">
                  <c:v>0.84648073069252261</c:v>
                </c:pt>
                <c:pt idx="7">
                  <c:v>0.89876903909081574</c:v>
                </c:pt>
                <c:pt idx="8">
                  <c:v>0.94558055827606957</c:v>
                </c:pt>
                <c:pt idx="9">
                  <c:v>0.98441389311669469</c:v>
                </c:pt>
                <c:pt idx="10">
                  <c:v>0.99583029880021345</c:v>
                </c:pt>
                <c:pt idx="1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3</c:f>
              <c:strCache>
                <c:ptCount val="12"/>
                <c:pt idx="0">
                  <c:v>Boursin Classique Fromage Frais A Tartiner Afh Boite 1X250Gr 1P</c:v>
                </c:pt>
                <c:pt idx="1">
                  <c:v>Boursin Classique Fromage Frais A Tartiner Afh 1X160Gr 10P</c:v>
                </c:pt>
                <c:pt idx="2">
                  <c:v>Boursin Classique Fromage Frais A Tartiner Afh Boite 1X150Gr 1P</c:v>
                </c:pt>
                <c:pt idx="3">
                  <c:v>Boursin Classique Fromage Frais A Tartiner Afh 1X256Gr 16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D$2:$D$13</c:f>
              <c:numCache>
                <c:formatCode>General</c:formatCode>
                <c:ptCount val="12"/>
                <c:pt idx="0">
                  <c:v>4098.92</c:v>
                </c:pt>
                <c:pt idx="1">
                  <c:v>3513.05</c:v>
                </c:pt>
                <c:pt idx="2">
                  <c:v>3000.58</c:v>
                </c:pt>
                <c:pt idx="3">
                  <c:v>1431.0707070707072</c:v>
                </c:pt>
                <c:pt idx="4">
                  <c:v>1389.5656565656566</c:v>
                </c:pt>
                <c:pt idx="5">
                  <c:v>1363.8080808080808</c:v>
                </c:pt>
                <c:pt idx="6">
                  <c:v>1156.58</c:v>
                </c:pt>
                <c:pt idx="7">
                  <c:v>982.89</c:v>
                </c:pt>
                <c:pt idx="8">
                  <c:v>888.82828282828279</c:v>
                </c:pt>
                <c:pt idx="9">
                  <c:v>744.86734693877554</c:v>
                </c:pt>
                <c:pt idx="10">
                  <c:v>306.57142857142856</c:v>
                </c:pt>
                <c:pt idx="11">
                  <c:v>85.19565217391304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B$2:$B$4</c:f>
              <c:numCache>
                <c:formatCode>General</c:formatCode>
                <c:ptCount val="3"/>
                <c:pt idx="0">
                  <c:v>0.44</c:v>
                </c:pt>
                <c:pt idx="1">
                  <c:v>0.5</c:v>
                </c:pt>
                <c:pt idx="2">
                  <c:v>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AEABAB"/>
              </a:solidFill>
            </c:spPr>
            <c:extLst>
              <c:ext xmlns:c16="http://schemas.microsoft.com/office/drawing/2014/chart" uri="{C3380CC4-5D6E-409C-BE32-E72D297353CC}">
                <c16:uniqueId val="{00000008-D8F4-40C6-A5E0-DB4B53CFB1F3}"/>
              </c:ext>
            </c:extLst>
          </c:dPt>
          <c:dPt>
            <c:idx val="2"/>
            <c:invertIfNegative val="0"/>
            <c:bubble3D val="0"/>
            <c:spPr>
              <a:solidFill>
                <a:srgbClr val="AEABAB"/>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C$2:$C$4</c:f>
              <c:numCache>
                <c:formatCode>General</c:formatCode>
                <c:ptCount val="3"/>
                <c:pt idx="0">
                  <c:v>0.70139681734252324</c:v>
                </c:pt>
                <c:pt idx="1">
                  <c:v>0.99964762428291531</c:v>
                </c:pt>
                <c:pt idx="2">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4</c:f>
              <c:strCache>
                <c:ptCount val="3"/>
                <c:pt idx="0">
                  <c:v>Kiri Delicieusement Fouette Fromage Frais A Tartiner 1X125Gr 1P</c:v>
                </c:pt>
                <c:pt idx="1">
                  <c:v>Kiri Delicieusement Fouette Fromage Frais A Tartiner 1X160Gr 10P</c:v>
                </c:pt>
                <c:pt idx="2">
                  <c:v>Kiri Delicieusement Fouette Fromage Frais A Tartiner 1X210Gr 1P</c:v>
                </c:pt>
              </c:strCache>
            </c:strRef>
          </c:cat>
          <c:val>
            <c:numRef>
              <c:f>Sheet1!$D$2:$D$4</c:f>
              <c:numCache>
                <c:formatCode>General</c:formatCode>
                <c:ptCount val="3"/>
                <c:pt idx="0">
                  <c:v>1130.9545454545455</c:v>
                </c:pt>
                <c:pt idx="1">
                  <c:v>423.2</c:v>
                </c:pt>
                <c:pt idx="2">
                  <c:v>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President</c:v>
                </c:pt>
                <c:pt idx="2">
                  <c:v>La Vache Qui Rit</c:v>
                </c:pt>
                <c:pt idx="3">
                  <c:v>La Belle Etoile</c:v>
                </c:pt>
                <c:pt idx="4">
                  <c:v>Boursin</c:v>
                </c:pt>
                <c:pt idx="5">
                  <c:v>Leerdammer</c:v>
                </c:pt>
                <c:pt idx="6">
                  <c:v>Raguin</c:v>
                </c:pt>
                <c:pt idx="7">
                  <c:v>Others</c:v>
                </c:pt>
              </c:strCache>
            </c:strRef>
          </c:cat>
          <c:val>
            <c:numRef>
              <c:f>Sheet1!$B$2:$B$9</c:f>
              <c:numCache>
                <c:formatCode>General</c:formatCode>
                <c:ptCount val="8"/>
                <c:pt idx="0">
                  <c:v>0.41902140138824379</c:v>
                </c:pt>
                <c:pt idx="1">
                  <c:v>0.27500613194123463</c:v>
                </c:pt>
                <c:pt idx="2">
                  <c:v>0.12174803976294614</c:v>
                </c:pt>
                <c:pt idx="3">
                  <c:v>6.0691037967896717E-2</c:v>
                </c:pt>
                <c:pt idx="4">
                  <c:v>2.4259181503318933E-2</c:v>
                </c:pt>
                <c:pt idx="5">
                  <c:v>1.8706987439945085E-2</c:v>
                </c:pt>
                <c:pt idx="6">
                  <c:v>1.747190676476261E-2</c:v>
                </c:pt>
                <c:pt idx="7">
                  <c:v>6.309531323165207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President</c:v>
                </c:pt>
                <c:pt idx="2">
                  <c:v>La Vache Qui Rit</c:v>
                </c:pt>
                <c:pt idx="3">
                  <c:v>La Belle Etoile</c:v>
                </c:pt>
                <c:pt idx="4">
                  <c:v>Boursin</c:v>
                </c:pt>
                <c:pt idx="5">
                  <c:v>Leerdammer</c:v>
                </c:pt>
                <c:pt idx="6">
                  <c:v>Raguin</c:v>
                </c:pt>
                <c:pt idx="7">
                  <c:v>Others</c:v>
                </c:pt>
              </c:strCache>
            </c:strRef>
          </c:cat>
          <c:val>
            <c:numRef>
              <c:f>Sheet1!$C$2:$C$9</c:f>
              <c:numCache>
                <c:formatCode>General</c:formatCode>
                <c:ptCount val="8"/>
                <c:pt idx="0">
                  <c:v>0.26695217701641688</c:v>
                </c:pt>
                <c:pt idx="1">
                  <c:v>0.2148465381870093</c:v>
                </c:pt>
                <c:pt idx="2">
                  <c:v>0.10385438972162742</c:v>
                </c:pt>
                <c:pt idx="3">
                  <c:v>8.6723768736616705E-2</c:v>
                </c:pt>
                <c:pt idx="4">
                  <c:v>3.4975017844396862E-2</c:v>
                </c:pt>
                <c:pt idx="5">
                  <c:v>5.3176302640970737E-2</c:v>
                </c:pt>
                <c:pt idx="6">
                  <c:v>1.7130620985010711E-2</c:v>
                </c:pt>
                <c:pt idx="7">
                  <c:v>0.2223411848679514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President</c:v>
                </c:pt>
                <c:pt idx="2">
                  <c:v>La Vache Qui Rit</c:v>
                </c:pt>
                <c:pt idx="3">
                  <c:v>La Belle Etoile</c:v>
                </c:pt>
                <c:pt idx="4">
                  <c:v>Boursin</c:v>
                </c:pt>
                <c:pt idx="5">
                  <c:v>Leerdammer</c:v>
                </c:pt>
                <c:pt idx="6">
                  <c:v>Raguin</c:v>
                </c:pt>
                <c:pt idx="7">
                  <c:v>Others</c:v>
                </c:pt>
              </c:strCache>
            </c:strRef>
          </c:cat>
          <c:val>
            <c:numRef>
              <c:f>Sheet1!$D$2:$D$9</c:f>
              <c:numCache>
                <c:formatCode>General</c:formatCode>
                <c:ptCount val="8"/>
                <c:pt idx="0">
                  <c:v>63.70848270088063</c:v>
                </c:pt>
                <c:pt idx="1">
                  <c:v>78.124271873661101</c:v>
                </c:pt>
                <c:pt idx="2">
                  <c:v>85.302720211217206</c:v>
                </c:pt>
                <c:pt idx="3">
                  <c:v>142.8938631474557</c:v>
                </c:pt>
                <c:pt idx="4">
                  <c:v>144.17229138424096</c:v>
                </c:pt>
                <c:pt idx="5">
                  <c:v>284.25903856343655</c:v>
                </c:pt>
                <c:pt idx="6">
                  <c:v>98.046659793078774</c:v>
                </c:pt>
                <c:pt idx="7">
                  <c:v>352.3893827924019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13</c:f>
              <c:strCache>
                <c:ptCount val="12"/>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Afh Boite 1X96Gr 6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B$2:$B$13</c:f>
              <c:numCache>
                <c:formatCode>General</c:formatCode>
                <c:ptCount val="12"/>
                <c:pt idx="0">
                  <c:v>0.98</c:v>
                </c:pt>
                <c:pt idx="1">
                  <c:v>0.9</c:v>
                </c:pt>
                <c:pt idx="2">
                  <c:v>0.89</c:v>
                </c:pt>
                <c:pt idx="3">
                  <c:v>0.81</c:v>
                </c:pt>
                <c:pt idx="4">
                  <c:v>0.89</c:v>
                </c:pt>
                <c:pt idx="5">
                  <c:v>0.74</c:v>
                </c:pt>
                <c:pt idx="6">
                  <c:v>0.83</c:v>
                </c:pt>
                <c:pt idx="7">
                  <c:v>0.75</c:v>
                </c:pt>
                <c:pt idx="8">
                  <c:v>0.64</c:v>
                </c:pt>
                <c:pt idx="9">
                  <c:v>0.46</c:v>
                </c:pt>
                <c:pt idx="10">
                  <c:v>0.12</c:v>
                </c:pt>
                <c:pt idx="11">
                  <c:v>0.3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7ECAC4"/>
              </a:solidFill>
            </c:spPr>
            <c:extLst>
              <c:ext xmlns:c16="http://schemas.microsoft.com/office/drawing/2014/chart" uri="{C3380CC4-5D6E-409C-BE32-E72D297353CC}">
                <c16:uniqueId val="{0000000D-FA3E-4872-B6E1-C4ABDF5766E2}"/>
              </c:ext>
            </c:extLst>
          </c:dPt>
          <c:dPt>
            <c:idx val="6"/>
            <c:invertIfNegative val="1"/>
            <c:bubble3D val="0"/>
            <c:spPr>
              <a:solidFill>
                <a:srgbClr val="7ECAC4"/>
              </a:solidFill>
            </c:spPr>
            <c:extLst>
              <c:ext xmlns:c16="http://schemas.microsoft.com/office/drawing/2014/chart" uri="{C3380CC4-5D6E-409C-BE32-E72D297353CC}">
                <c16:uniqueId val="{0000000F-FA3E-4872-B6E1-C4ABDF5766E2}"/>
              </c:ext>
            </c:extLst>
          </c:dPt>
          <c:dPt>
            <c:idx val="7"/>
            <c:invertIfNegative val="1"/>
            <c:bubble3D val="0"/>
            <c:spPr>
              <a:solidFill>
                <a:srgbClr val="7ECAC4"/>
              </a:solidFill>
            </c:spPr>
            <c:extLst>
              <c:ext xmlns:c16="http://schemas.microsoft.com/office/drawing/2014/chart" uri="{C3380CC4-5D6E-409C-BE32-E72D297353CC}">
                <c16:uniqueId val="{00000011-FA3E-4872-B6E1-C4ABDF5766E2}"/>
              </c:ext>
            </c:extLst>
          </c:dPt>
          <c:dPt>
            <c:idx val="8"/>
            <c:invertIfNegative val="1"/>
            <c:bubble3D val="0"/>
            <c:spPr>
              <a:solidFill>
                <a:srgbClr val="AEABAB"/>
              </a:solidFill>
            </c:spPr>
            <c:extLst>
              <c:ext xmlns:c16="http://schemas.microsoft.com/office/drawing/2014/chart" uri="{C3380CC4-5D6E-409C-BE32-E72D297353CC}">
                <c16:uniqueId val="{00000013-FA3E-4872-B6E1-C4ABDF5766E2}"/>
              </c:ext>
            </c:extLst>
          </c:dPt>
          <c:dPt>
            <c:idx val="9"/>
            <c:invertIfNegative val="1"/>
            <c:bubble3D val="0"/>
            <c:spPr>
              <a:solidFill>
                <a:srgbClr val="AEABAB"/>
              </a:solidFill>
            </c:spPr>
            <c:extLst>
              <c:ext xmlns:c16="http://schemas.microsoft.com/office/drawing/2014/chart" uri="{C3380CC4-5D6E-409C-BE32-E72D297353CC}">
                <c16:uniqueId val="{00000015-FA3E-4872-B6E1-C4ABDF5766E2}"/>
              </c:ext>
            </c:extLst>
          </c:dPt>
          <c:dPt>
            <c:idx val="10"/>
            <c:invertIfNegative val="1"/>
            <c:bubble3D val="0"/>
            <c:spPr>
              <a:solidFill>
                <a:srgbClr val="AEABAB"/>
              </a:solidFill>
            </c:spPr>
            <c:extLst>
              <c:ext xmlns:c16="http://schemas.microsoft.com/office/drawing/2014/chart" uri="{C3380CC4-5D6E-409C-BE32-E72D297353CC}">
                <c16:uniqueId val="{00000017-FA3E-4872-B6E1-C4ABDF5766E2}"/>
              </c:ext>
            </c:extLst>
          </c:dPt>
          <c:dPt>
            <c:idx val="11"/>
            <c:invertIfNegative val="1"/>
            <c:bubble3D val="0"/>
            <c:spPr>
              <a:solidFill>
                <a:srgbClr val="AEABAB"/>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13</c:f>
              <c:strCache>
                <c:ptCount val="12"/>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Afh Boite 1X96Gr 6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C$2:$C$13</c:f>
              <c:numCache>
                <c:formatCode>General</c:formatCode>
                <c:ptCount val="12"/>
                <c:pt idx="0">
                  <c:v>0.20436632945062397</c:v>
                </c:pt>
                <c:pt idx="1">
                  <c:v>0.40413828679403496</c:v>
                </c:pt>
                <c:pt idx="2">
                  <c:v>0.540200329849443</c:v>
                </c:pt>
                <c:pt idx="3">
                  <c:v>0.64907166641006664</c:v>
                </c:pt>
                <c:pt idx="4">
                  <c:v>0.74055517649444924</c:v>
                </c:pt>
                <c:pt idx="5">
                  <c:v>0.82423558272170672</c:v>
                </c:pt>
                <c:pt idx="6">
                  <c:v>0.89456237000744798</c:v>
                </c:pt>
                <c:pt idx="7">
                  <c:v>0.94355290913460255</c:v>
                </c:pt>
                <c:pt idx="8">
                  <c:v>0.97287008215557691</c:v>
                </c:pt>
                <c:pt idx="9">
                  <c:v>0.99262980223236374</c:v>
                </c:pt>
                <c:pt idx="10">
                  <c:v>0.99763662817286924</c:v>
                </c:pt>
                <c:pt idx="11">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13</c:f>
              <c:strCache>
                <c:ptCount val="12"/>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Figue Et 3 Noix Boite 1X150Gr 1P</c:v>
                </c:pt>
                <c:pt idx="5">
                  <c:v>Boursin Classique Fromage Frais A Tartiner Afh Boite 1X96Gr 6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Classique Fromage Frais A Tartiner Afh Boite 1X80Gr 1P</c:v>
                </c:pt>
                <c:pt idx="11">
                  <c:v>Boursin Classique Fromage Frais A Tartiner Truffe Boite 1X150Gr 1P</c:v>
                </c:pt>
              </c:strCache>
            </c:strRef>
          </c:cat>
          <c:val>
            <c:numRef>
              <c:f>Sheet1!$D$2:$D$13</c:f>
              <c:numCache>
                <c:formatCode>General</c:formatCode>
                <c:ptCount val="12"/>
                <c:pt idx="0">
                  <c:v>3670.6632653061224</c:v>
                </c:pt>
                <c:pt idx="1">
                  <c:v>3907.088888888889</c:v>
                </c:pt>
                <c:pt idx="2">
                  <c:v>2690.9662921348313</c:v>
                </c:pt>
                <c:pt idx="3">
                  <c:v>2365.8641975308642</c:v>
                </c:pt>
                <c:pt idx="4">
                  <c:v>1809.314606741573</c:v>
                </c:pt>
                <c:pt idx="5">
                  <c:v>1990.4594594594594</c:v>
                </c:pt>
                <c:pt idx="6">
                  <c:v>1491.433734939759</c:v>
                </c:pt>
                <c:pt idx="7">
                  <c:v>1149.7733333333333</c:v>
                </c:pt>
                <c:pt idx="8">
                  <c:v>806.3125</c:v>
                </c:pt>
                <c:pt idx="9">
                  <c:v>756.10869565217388</c:v>
                </c:pt>
                <c:pt idx="10">
                  <c:v>734.41666666666663</c:v>
                </c:pt>
                <c:pt idx="11">
                  <c:v>126.06060606060606</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0.96199999999999997</c:v>
                </c:pt>
                <c:pt idx="1">
                  <c:v>0.81699999999999995</c:v>
                </c:pt>
                <c:pt idx="2">
                  <c:v>0.80100000000000005</c:v>
                </c:pt>
                <c:pt idx="3">
                  <c:v>0.70699999999999996</c:v>
                </c:pt>
                <c:pt idx="4">
                  <c:v>0.73799999999999999</c:v>
                </c:pt>
                <c:pt idx="5">
                  <c:v>0.69799999999999995</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62370101585166526</c:v>
                </c:pt>
                <c:pt idx="1">
                  <c:v>0.76251624658841188</c:v>
                </c:pt>
                <c:pt idx="2">
                  <c:v>0.86829620013607245</c:v>
                </c:pt>
                <c:pt idx="3">
                  <c:v>0.92190595356330107</c:v>
                </c:pt>
                <c:pt idx="4">
                  <c:v>0.96235890297404458</c:v>
                </c:pt>
                <c:pt idx="5">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20726.226611226612</c:v>
                </c:pt>
                <c:pt idx="1">
                  <c:v>5431.6768665850677</c:v>
                </c:pt>
                <c:pt idx="2">
                  <c:v>4221.7228464419468</c:v>
                </c:pt>
                <c:pt idx="3">
                  <c:v>2424.0594059405939</c:v>
                </c:pt>
                <c:pt idx="4">
                  <c:v>1752.3170731707319</c:v>
                </c:pt>
                <c:pt idx="5">
                  <c:v>1723.954154727793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0.96799999999999997</c:v>
                </c:pt>
                <c:pt idx="1">
                  <c:v>0.82299999999999995</c:v>
                </c:pt>
                <c:pt idx="2">
                  <c:v>0.84499999999999997</c:v>
                </c:pt>
                <c:pt idx="3">
                  <c:v>0.66</c:v>
                </c:pt>
                <c:pt idx="4">
                  <c:v>0.80300000000000005</c:v>
                </c:pt>
                <c:pt idx="5">
                  <c:v>0.41399999999999998</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6092660275380396</c:v>
                </c:pt>
                <c:pt idx="1">
                  <c:v>0.76227235083190392</c:v>
                </c:pt>
                <c:pt idx="2">
                  <c:v>0.86584150635506085</c:v>
                </c:pt>
                <c:pt idx="3">
                  <c:v>0.92521169603158415</c:v>
                </c:pt>
                <c:pt idx="4">
                  <c:v>0.97435906009971474</c:v>
                </c:pt>
                <c:pt idx="5">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11293.564049586777</c:v>
                </c:pt>
                <c:pt idx="1">
                  <c:v>3335.8687727825031</c:v>
                </c:pt>
                <c:pt idx="2">
                  <c:v>2199.2426035502958</c:v>
                </c:pt>
                <c:pt idx="3">
                  <c:v>1614.0757575757575</c:v>
                </c:pt>
                <c:pt idx="4">
                  <c:v>1098.2067247820671</c:v>
                </c:pt>
                <c:pt idx="5">
                  <c:v>1111.30434782608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1</c:v>
                </c:pt>
                <c:pt idx="1">
                  <c:v>1</c:v>
                </c:pt>
                <c:pt idx="2">
                  <c:v>1</c:v>
                </c:pt>
                <c:pt idx="3">
                  <c:v>0.95</c:v>
                </c:pt>
                <c:pt idx="4">
                  <c:v>0.96</c:v>
                </c:pt>
                <c:pt idx="5">
                  <c:v>0.9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50766670287549853</c:v>
                </c:pt>
                <c:pt idx="1">
                  <c:v>0.72041091851461025</c:v>
                </c:pt>
                <c:pt idx="2">
                  <c:v>0.84167222730870095</c:v>
                </c:pt>
                <c:pt idx="3">
                  <c:v>0.9039307273319781</c:v>
                </c:pt>
                <c:pt idx="4">
                  <c:v>0.95668751260843254</c:v>
                </c:pt>
                <c:pt idx="5">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6542.91</c:v>
                </c:pt>
                <c:pt idx="1">
                  <c:v>2741.89</c:v>
                </c:pt>
                <c:pt idx="2">
                  <c:v>1562.84</c:v>
                </c:pt>
                <c:pt idx="3">
                  <c:v>844.63157894736844</c:v>
                </c:pt>
                <c:pt idx="4">
                  <c:v>708.27083333333337</c:v>
                </c:pt>
                <c:pt idx="5">
                  <c:v>593.85106382978722</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pt idx="5">
                  <c:v>Boursin Salade &amp; Aperitif Fromage Frais Des Noisette Et 3 Noix 1X120Gr 1P</c:v>
                </c:pt>
              </c:strCache>
            </c:strRef>
          </c:cat>
          <c:val>
            <c:numRef>
              <c:f>Sheet1!$B$2:$B$7</c:f>
              <c:numCache>
                <c:formatCode>General</c:formatCode>
                <c:ptCount val="6"/>
                <c:pt idx="0">
                  <c:v>0.99</c:v>
                </c:pt>
                <c:pt idx="1">
                  <c:v>0.91</c:v>
                </c:pt>
                <c:pt idx="2">
                  <c:v>0.95</c:v>
                </c:pt>
                <c:pt idx="3">
                  <c:v>0.72</c:v>
                </c:pt>
                <c:pt idx="4">
                  <c:v>0.71</c:v>
                </c:pt>
                <c:pt idx="5">
                  <c:v>0.7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pt idx="5">
                  <c:v>Boursin Salade &amp; Aperitif Fromage Frais Des Noisette Et 3 Noix 1X120Gr 1P</c:v>
                </c:pt>
              </c:strCache>
            </c:strRef>
          </c:cat>
          <c:val>
            <c:numRef>
              <c:f>Sheet1!$C$2:$C$7</c:f>
              <c:numCache>
                <c:formatCode>General</c:formatCode>
                <c:ptCount val="6"/>
                <c:pt idx="0">
                  <c:v>0.57019260581220366</c:v>
                </c:pt>
                <c:pt idx="1">
                  <c:v>0.7077284310982388</c:v>
                </c:pt>
                <c:pt idx="2">
                  <c:v>0.83595006011842199</c:v>
                </c:pt>
                <c:pt idx="3">
                  <c:v>0.90484123443159736</c:v>
                </c:pt>
                <c:pt idx="4">
                  <c:v>0.95362411996460961</c:v>
                </c:pt>
                <c:pt idx="5">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Figue Noix 1X120Gr 1P</c:v>
                </c:pt>
                <c:pt idx="2">
                  <c:v>Boursin Salade &amp; Aperitif Fromage Frais Des Ciboulette Echalote 1X120Gr 1P</c:v>
                </c:pt>
                <c:pt idx="3">
                  <c:v>Boursin Salade &amp; Aperitif Fromage Frais Des Citron Romarin 1X120Gr 1P</c:v>
                </c:pt>
                <c:pt idx="4">
                  <c:v>Boursin Salade &amp; Aperitif Soft Cheese Salade 120G</c:v>
                </c:pt>
                <c:pt idx="5">
                  <c:v>Boursin Salade &amp; Aperitif Fromage Frais Des Noisette Et 3 Noix 1X120Gr 1P</c:v>
                </c:pt>
              </c:strCache>
            </c:strRef>
          </c:cat>
          <c:val>
            <c:numRef>
              <c:f>Sheet1!$D$2:$D$7</c:f>
              <c:numCache>
                <c:formatCode>General</c:formatCode>
                <c:ptCount val="6"/>
                <c:pt idx="0">
                  <c:v>7616.333333333333</c:v>
                </c:pt>
                <c:pt idx="1">
                  <c:v>1998.6373626373627</c:v>
                </c:pt>
                <c:pt idx="2">
                  <c:v>1784.8315789473684</c:v>
                </c:pt>
                <c:pt idx="3">
                  <c:v>1265.2916666666667</c:v>
                </c:pt>
                <c:pt idx="4">
                  <c:v>908.5915492957746</c:v>
                </c:pt>
                <c:pt idx="5">
                  <c:v>776.29113924050637</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2</c:f>
              <c:strCache>
                <c:ptCount val="1"/>
                <c:pt idx="0">
                  <c:v>Boursin Salade &amp; Aperitif Fromage Frais Des Afh 1X120Gr 1P</c:v>
                </c:pt>
              </c:strCache>
            </c:strRef>
          </c:cat>
          <c:val>
            <c:numRef>
              <c:f>Sheet1!$B$2:$B$2</c:f>
              <c:numCache>
                <c:formatCode>General</c:formatCode>
                <c:ptCount val="1"/>
                <c:pt idx="0">
                  <c:v>0.7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AEABAB"/>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2</c:f>
              <c:strCache>
                <c:ptCount val="1"/>
                <c:pt idx="0">
                  <c:v>Boursin Salade &amp; Aperitif Fromage Frais Des Afh 1X120Gr 1P</c:v>
                </c:pt>
              </c:strCache>
            </c:strRef>
          </c:cat>
          <c:val>
            <c:numRef>
              <c:f>Sheet1!$C$2:$C$2</c:f>
              <c:numCache>
                <c:formatCode>General</c:formatCode>
                <c:ptCount val="1"/>
                <c:pt idx="0">
                  <c:v>0.99989754360800187</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2</c:f>
              <c:strCache>
                <c:ptCount val="1"/>
                <c:pt idx="0">
                  <c:v>Boursin Salade &amp; Aperitif Fromage Frais Des Afh 1X120Gr 1P</c:v>
                </c:pt>
              </c:strCache>
            </c:strRef>
          </c:cat>
          <c:val>
            <c:numRef>
              <c:f>Sheet1!$D$2:$D$2</c:f>
              <c:numCache>
                <c:formatCode>General</c:formatCode>
                <c:ptCount val="1"/>
                <c:pt idx="0">
                  <c:v>7412.088607594936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0.98</c:v>
                </c:pt>
                <c:pt idx="1">
                  <c:v>0.86</c:v>
                </c:pt>
                <c:pt idx="2">
                  <c:v>0.88</c:v>
                </c:pt>
                <c:pt idx="3">
                  <c:v>0.67</c:v>
                </c:pt>
                <c:pt idx="4">
                  <c:v>0.83</c:v>
                </c:pt>
                <c:pt idx="5">
                  <c:v>0.4</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60366988415851497</c:v>
                </c:pt>
                <c:pt idx="1">
                  <c:v>0.75920489278626158</c:v>
                </c:pt>
                <c:pt idx="2">
                  <c:v>0.86373607929281926</c:v>
                </c:pt>
                <c:pt idx="3">
                  <c:v>0.92313207813852693</c:v>
                </c:pt>
                <c:pt idx="4">
                  <c:v>0.97407406316806155</c:v>
                </c:pt>
                <c:pt idx="5">
                  <c:v>1.000000000000000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8367.6530612244896</c:v>
                </c:pt>
                <c:pt idx="1">
                  <c:v>2456.7441860465115</c:v>
                </c:pt>
                <c:pt idx="2">
                  <c:v>1613.590909090909</c:v>
                </c:pt>
                <c:pt idx="3">
                  <c:v>1204.2388059701493</c:v>
                </c:pt>
                <c:pt idx="4">
                  <c:v>833.73493975903614</c:v>
                </c:pt>
                <c:pt idx="5">
                  <c:v>880.4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1</c:v>
                </c:pt>
                <c:pt idx="1">
                  <c:v>0.95</c:v>
                </c:pt>
                <c:pt idx="2">
                  <c:v>0.97</c:v>
                </c:pt>
                <c:pt idx="3">
                  <c:v>0.93</c:v>
                </c:pt>
                <c:pt idx="4">
                  <c:v>0.99</c:v>
                </c:pt>
                <c:pt idx="5">
                  <c:v>0.73</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7ECAC4"/>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55488526830252993</c:v>
                </c:pt>
                <c:pt idx="1">
                  <c:v>0.72897620739049929</c:v>
                </c:pt>
                <c:pt idx="2">
                  <c:v>0.84574982239975782</c:v>
                </c:pt>
                <c:pt idx="3">
                  <c:v>0.91694131622159858</c:v>
                </c:pt>
                <c:pt idx="4">
                  <c:v>0.96984095558635264</c:v>
                </c:pt>
                <c:pt idx="5">
                  <c:v>1</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1429.39</c:v>
                </c:pt>
                <c:pt idx="1">
                  <c:v>472.06315789473683</c:v>
                </c:pt>
                <c:pt idx="2">
                  <c:v>310.11340206185565</c:v>
                </c:pt>
                <c:pt idx="3">
                  <c:v>197.19354838709677</c:v>
                </c:pt>
                <c:pt idx="4">
                  <c:v>137.64646464646464</c:v>
                </c:pt>
                <c:pt idx="5">
                  <c:v>106.42465753424658</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B$2:$B$7</c:f>
              <c:numCache>
                <c:formatCode>General</c:formatCode>
                <c:ptCount val="6"/>
                <c:pt idx="0">
                  <c:v>0.85</c:v>
                </c:pt>
                <c:pt idx="1">
                  <c:v>0.43</c:v>
                </c:pt>
                <c:pt idx="2">
                  <c:v>0.47</c:v>
                </c:pt>
                <c:pt idx="3">
                  <c:v>0.28000000000000003</c:v>
                </c:pt>
                <c:pt idx="4">
                  <c:v>0.41</c:v>
                </c:pt>
                <c:pt idx="5">
                  <c:v>0.14000000000000001</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7ECAC4"/>
              </a:solidFill>
            </c:spPr>
            <c:extLst>
              <c:ext xmlns:c16="http://schemas.microsoft.com/office/drawing/2014/chart" uri="{C3380CC4-5D6E-409C-BE32-E72D297353CC}">
                <c16:uniqueId val="{00000008-D8F4-40C6-A5E0-DB4B53CFB1F3}"/>
              </c:ext>
            </c:extLst>
          </c:dPt>
          <c:dPt>
            <c:idx val="2"/>
            <c:invertIfNegative val="0"/>
            <c:bubble3D val="0"/>
            <c:spPr>
              <a:solidFill>
                <a:srgbClr val="7ECAC4"/>
              </a:solidFill>
            </c:spPr>
            <c:extLst>
              <c:ext xmlns:c16="http://schemas.microsoft.com/office/drawing/2014/chart" uri="{C3380CC4-5D6E-409C-BE32-E72D297353CC}">
                <c16:uniqueId val="{00000006-E902-46E2-9A54-39A26B3DFDC1}"/>
              </c:ext>
            </c:extLst>
          </c:dPt>
          <c:dPt>
            <c:idx val="3"/>
            <c:invertIfNegative val="0"/>
            <c:bubble3D val="0"/>
            <c:spPr>
              <a:solidFill>
                <a:srgbClr val="AEABAB"/>
              </a:solidFill>
            </c:spPr>
            <c:extLst>
              <c:ext xmlns:c16="http://schemas.microsoft.com/office/drawing/2014/chart" uri="{C3380CC4-5D6E-409C-BE32-E72D297353CC}">
                <c16:uniqueId val="{00000007-E902-46E2-9A54-39A26B3DFDC1}"/>
              </c:ext>
            </c:extLst>
          </c:dPt>
          <c:dPt>
            <c:idx val="4"/>
            <c:invertIfNegative val="1"/>
            <c:bubble3D val="0"/>
            <c:spPr>
              <a:solidFill>
                <a:srgbClr val="AEABAB"/>
              </a:solidFill>
            </c:spPr>
            <c:extLst>
              <c:ext xmlns:c16="http://schemas.microsoft.com/office/drawing/2014/chart" uri="{C3380CC4-5D6E-409C-BE32-E72D297353CC}">
                <c16:uniqueId val="{0000000B-FA3E-4872-B6E1-C4ABDF5766E2}"/>
              </c:ext>
            </c:extLst>
          </c:dPt>
          <c:dPt>
            <c:idx val="5"/>
            <c:invertIfNegative val="1"/>
            <c:bubble3D val="0"/>
            <c:spPr>
              <a:solidFill>
                <a:srgbClr val="AEABAB"/>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C$2:$C$7</c:f>
              <c:numCache>
                <c:formatCode>General</c:formatCode>
                <c:ptCount val="6"/>
                <c:pt idx="0">
                  <c:v>0.73046228737753005</c:v>
                </c:pt>
                <c:pt idx="1">
                  <c:v>0.83374366969698666</c:v>
                </c:pt>
                <c:pt idx="2">
                  <c:v>0.91090746961734959</c:v>
                </c:pt>
                <c:pt idx="3">
                  <c:v>0.95300293311049911</c:v>
                </c:pt>
                <c:pt idx="4">
                  <c:v>0.98305750130391611</c:v>
                </c:pt>
                <c:pt idx="5">
                  <c:v>0.99999999999999989</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Item Sales Rate</c:v>
                </c:pt>
              </c:strCache>
            </c:strRef>
          </c:tx>
          <c:spPr>
            <a:ln w="28575" cap="rnd">
              <a:solidFill>
                <a:srgbClr val="C00000"/>
              </a:solidFill>
              <a:round/>
            </a:ln>
            <a:effectLst/>
          </c:spPr>
          <c:marker>
            <c:symbol val="none"/>
          </c:marker>
          <c:cat>
            <c:strRef>
              <c:f>Sheet1!$A$2:$A$7</c:f>
              <c:strCache>
                <c:ptCount val="6"/>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oursin Salade &amp; Aperitif Fromage Frais Des Noisette Et 3 Noix 1X120Gr 1P</c:v>
                </c:pt>
                <c:pt idx="5">
                  <c:v>Boursin Salade &amp; Aperitif Soft Cheese Salade 120G</c:v>
                </c:pt>
              </c:strCache>
            </c:strRef>
          </c:cat>
          <c:val>
            <c:numRef>
              <c:f>Sheet1!$D$2:$D$7</c:f>
              <c:numCache>
                <c:formatCode>General</c:formatCode>
                <c:ptCount val="6"/>
                <c:pt idx="0">
                  <c:v>1532.3294117647058</c:v>
                </c:pt>
                <c:pt idx="1">
                  <c:v>428.27906976744185</c:v>
                </c:pt>
                <c:pt idx="2">
                  <c:v>292.74468085106383</c:v>
                </c:pt>
                <c:pt idx="3">
                  <c:v>268.07142857142856</c:v>
                </c:pt>
                <c:pt idx="4">
                  <c:v>130.70731707317074</c:v>
                </c:pt>
                <c:pt idx="5">
                  <c:v>215.78571428571425</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A4AB111-2AAD-431F-8F64-55AAAD439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968AAF5-4B36-4728-A370-F8ACDA7C0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1490477-936F-4DEC-B823-49D9E9829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55202A3-DBB5-47AB-87E9-A529E662F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5387D58-051D-4174-865F-E4EC02A89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FF21547-3874-432D-9F0A-A200037AC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F39C307-9514-4EB0-957E-D9FB8E777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7940000000000002</c:v>
                </c:pt>
                <c:pt idx="1">
                  <c:v>0.3014</c:v>
                </c:pt>
                <c:pt idx="2">
                  <c:v>0.42080000000000001</c:v>
                </c:pt>
                <c:pt idx="3">
                  <c:v>0.40210000000000001</c:v>
                </c:pt>
                <c:pt idx="4">
                  <c:v>0.2631</c:v>
                </c:pt>
                <c:pt idx="5">
                  <c:v>0.35049999999999998</c:v>
                </c:pt>
                <c:pt idx="6">
                  <c:v>0.35210000000000002</c:v>
                </c:pt>
                <c:pt idx="7">
                  <c:v>0.38840000000000002</c:v>
                </c:pt>
                <c:pt idx="8">
                  <c:v>0.39889999999999998</c:v>
                </c:pt>
                <c:pt idx="9">
                  <c:v>0.33850000000000002</c:v>
                </c:pt>
              </c:numCache>
            </c:numRef>
          </c:xVal>
          <c:yVal>
            <c:numRef>
              <c:f>Sheet1!$B$2:$B$11</c:f>
              <c:numCache>
                <c:formatCode>General</c:formatCode>
                <c:ptCount val="10"/>
                <c:pt idx="0">
                  <c:v>81394.755784061694</c:v>
                </c:pt>
                <c:pt idx="1">
                  <c:v>42862.613908872903</c:v>
                </c:pt>
                <c:pt idx="2">
                  <c:v>9290.7881136950891</c:v>
                </c:pt>
                <c:pt idx="3">
                  <c:v>7421.5241057542771</c:v>
                </c:pt>
                <c:pt idx="4">
                  <c:v>16379.70670391062</c:v>
                </c:pt>
                <c:pt idx="5">
                  <c:v>47708.959595959597</c:v>
                </c:pt>
                <c:pt idx="6">
                  <c:v>5967.6095617529882</c:v>
                </c:pt>
                <c:pt idx="7">
                  <c:v>5613.8606676342533</c:v>
                </c:pt>
                <c:pt idx="8">
                  <c:v>34465.816649104323</c:v>
                </c:pt>
                <c:pt idx="9">
                  <c:v>25172.049180327871</c:v>
                </c:pt>
              </c:numCache>
            </c:numRef>
          </c:yVal>
          <c:bubbleSize>
            <c:numRef>
              <c:f>Sheet1!$C$2:$C$11</c:f>
              <c:numCache>
                <c:formatCode>General</c:formatCode>
                <c:ptCount val="10"/>
                <c:pt idx="0">
                  <c:v>3725061.8516000011</c:v>
                </c:pt>
                <c:pt idx="1">
                  <c:v>2366962.6518000001</c:v>
                </c:pt>
                <c:pt idx="2">
                  <c:v>394784.88339999999</c:v>
                </c:pt>
                <c:pt idx="3">
                  <c:v>270428.12439999997</c:v>
                </c:pt>
                <c:pt idx="4">
                  <c:v>819173.43059999985</c:v>
                </c:pt>
                <c:pt idx="5">
                  <c:v>2907579.7757999999</c:v>
                </c:pt>
                <c:pt idx="6">
                  <c:v>183986.73240000001</c:v>
                </c:pt>
                <c:pt idx="7">
                  <c:v>224227.94260000001</c:v>
                </c:pt>
                <c:pt idx="8">
                  <c:v>1863564.0796999999</c:v>
                </c:pt>
                <c:pt idx="9">
                  <c:v>1155386.3507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President</c:v>
                </c:pt>
                <c:pt idx="2">
                  <c:v>La Vache Qui Rit</c:v>
                </c:pt>
                <c:pt idx="3">
                  <c:v>La Belle Etoile</c:v>
                </c:pt>
                <c:pt idx="4">
                  <c:v>Boursin</c:v>
                </c:pt>
                <c:pt idx="5">
                  <c:v>Others</c:v>
                </c:pt>
              </c:strCache>
            </c:strRef>
          </c:cat>
          <c:val>
            <c:numRef>
              <c:f>Sheet1!$B$2:$B$7</c:f>
              <c:numCache>
                <c:formatCode>General</c:formatCode>
                <c:ptCount val="6"/>
                <c:pt idx="0">
                  <c:v>0.59212245391185048</c:v>
                </c:pt>
                <c:pt idx="1">
                  <c:v>0.20413558285915348</c:v>
                </c:pt>
                <c:pt idx="2">
                  <c:v>0.11271631309020731</c:v>
                </c:pt>
                <c:pt idx="3">
                  <c:v>3.197755213016637E-2</c:v>
                </c:pt>
                <c:pt idx="4">
                  <c:v>1.9324857923749748E-2</c:v>
                </c:pt>
                <c:pt idx="5">
                  <c:v>3.972324008487256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President</c:v>
                </c:pt>
                <c:pt idx="2">
                  <c:v>La Vache Qui Rit</c:v>
                </c:pt>
                <c:pt idx="3">
                  <c:v>La Belle Etoile</c:v>
                </c:pt>
                <c:pt idx="4">
                  <c:v>Boursin</c:v>
                </c:pt>
                <c:pt idx="5">
                  <c:v>Others</c:v>
                </c:pt>
              </c:strCache>
            </c:strRef>
          </c:cat>
          <c:val>
            <c:numRef>
              <c:f>Sheet1!$C$2:$C$7</c:f>
              <c:numCache>
                <c:formatCode>General</c:formatCode>
                <c:ptCount val="6"/>
                <c:pt idx="0">
                  <c:v>0.44119795471146844</c:v>
                </c:pt>
                <c:pt idx="1">
                  <c:v>0.2235208181154128</c:v>
                </c:pt>
                <c:pt idx="2">
                  <c:v>0.12856099342585833</c:v>
                </c:pt>
                <c:pt idx="3">
                  <c:v>3.4331628926223538E-2</c:v>
                </c:pt>
                <c:pt idx="4">
                  <c:v>5.2593133674214775E-2</c:v>
                </c:pt>
                <c:pt idx="5">
                  <c:v>0.1197954711468225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President</c:v>
                </c:pt>
                <c:pt idx="2">
                  <c:v>La Vache Qui Rit</c:v>
                </c:pt>
                <c:pt idx="3">
                  <c:v>La Belle Etoile</c:v>
                </c:pt>
                <c:pt idx="4">
                  <c:v>Boursin</c:v>
                </c:pt>
                <c:pt idx="5">
                  <c:v>Others</c:v>
                </c:pt>
              </c:strCache>
            </c:strRef>
          </c:cat>
          <c:val>
            <c:numRef>
              <c:f>Sheet1!$D$2:$D$7</c:f>
              <c:numCache>
                <c:formatCode>General</c:formatCode>
                <c:ptCount val="6"/>
                <c:pt idx="0">
                  <c:v>74.511269045228573</c:v>
                </c:pt>
                <c:pt idx="1">
                  <c:v>109.49625488351754</c:v>
                </c:pt>
                <c:pt idx="2">
                  <c:v>114.05713148457089</c:v>
                </c:pt>
                <c:pt idx="3">
                  <c:v>107.36165415812557</c:v>
                </c:pt>
                <c:pt idx="4">
                  <c:v>272.15275725043847</c:v>
                </c:pt>
                <c:pt idx="5">
                  <c:v>301.5752765657279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43C23EF-FB4B-4F3A-8060-C897D19A87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103666B-ECE6-41BC-82A5-AEEC947CB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19A0528-6757-4E3C-8267-0111933BFA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F0EFA1F-6BC0-4B87-8B9E-912642D7DA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F0FFAE4-F669-44F8-9CD0-3690246BB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08B6038-3399-482B-93C8-B57F3D11E0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D62536C-5A8E-47E1-9381-74949046C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7</c:f>
              <c:numCache>
                <c:formatCode>General</c:formatCode>
                <c:ptCount val="16"/>
                <c:pt idx="0">
                  <c:v>0.37290000000000001</c:v>
                </c:pt>
                <c:pt idx="1">
                  <c:v>0.3553</c:v>
                </c:pt>
                <c:pt idx="2">
                  <c:v>0.43109999999999998</c:v>
                </c:pt>
                <c:pt idx="3">
                  <c:v>0.40739999999999998</c:v>
                </c:pt>
                <c:pt idx="4">
                  <c:v>0.36969999999999997</c:v>
                </c:pt>
                <c:pt idx="5">
                  <c:v>0.41099999999999998</c:v>
                </c:pt>
                <c:pt idx="6">
                  <c:v>0.25490000000000002</c:v>
                </c:pt>
                <c:pt idx="7">
                  <c:v>0.3306</c:v>
                </c:pt>
                <c:pt idx="8">
                  <c:v>0.3155</c:v>
                </c:pt>
                <c:pt idx="9">
                  <c:v>0.37190000000000001</c:v>
                </c:pt>
                <c:pt idx="10">
                  <c:v>0.41449999999999998</c:v>
                </c:pt>
                <c:pt idx="11">
                  <c:v>0.56910000000000005</c:v>
                </c:pt>
                <c:pt idx="12">
                  <c:v>0.47470000000000001</c:v>
                </c:pt>
                <c:pt idx="13">
                  <c:v>0.48430000000000001</c:v>
                </c:pt>
                <c:pt idx="14">
                  <c:v>0.36270000000000002</c:v>
                </c:pt>
                <c:pt idx="15">
                  <c:v>0.33939999999999998</c:v>
                </c:pt>
              </c:numCache>
            </c:numRef>
          </c:xVal>
          <c:yVal>
            <c:numRef>
              <c:f>Sheet1!$B$2:$B$17</c:f>
              <c:numCache>
                <c:formatCode>General</c:formatCode>
                <c:ptCount val="16"/>
                <c:pt idx="0">
                  <c:v>9790.5854800936777</c:v>
                </c:pt>
                <c:pt idx="1">
                  <c:v>3420</c:v>
                </c:pt>
                <c:pt idx="2">
                  <c:v>8120.5405405405409</c:v>
                </c:pt>
                <c:pt idx="3">
                  <c:v>3727.8082191780818</c:v>
                </c:pt>
                <c:pt idx="4">
                  <c:v>9643.9267015706791</c:v>
                </c:pt>
                <c:pt idx="5">
                  <c:v>64775.474006116208</c:v>
                </c:pt>
                <c:pt idx="6">
                  <c:v>19364.593103448271</c:v>
                </c:pt>
                <c:pt idx="7">
                  <c:v>72823.240534521159</c:v>
                </c:pt>
                <c:pt idx="8">
                  <c:v>143117.4607013301</c:v>
                </c:pt>
                <c:pt idx="9">
                  <c:v>7373.9595959595963</c:v>
                </c:pt>
                <c:pt idx="10">
                  <c:v>22077.01729106628</c:v>
                </c:pt>
                <c:pt idx="11">
                  <c:v>29388.75</c:v>
                </c:pt>
                <c:pt idx="12">
                  <c:v>1497.620817843866</c:v>
                </c:pt>
                <c:pt idx="13">
                  <c:v>3280.8506224066391</c:v>
                </c:pt>
                <c:pt idx="14">
                  <c:v>19583.832599118941</c:v>
                </c:pt>
                <c:pt idx="15">
                  <c:v>10205.71428571429</c:v>
                </c:pt>
              </c:numCache>
            </c:numRef>
          </c:yVal>
          <c:bubbleSize>
            <c:numRef>
              <c:f>Sheet1!$C$2:$C$17</c:f>
              <c:numCache>
                <c:formatCode>General</c:formatCode>
                <c:ptCount val="16"/>
                <c:pt idx="0">
                  <c:v>497022.74139999988</c:v>
                </c:pt>
                <c:pt idx="1">
                  <c:v>15255.8817</c:v>
                </c:pt>
                <c:pt idx="2">
                  <c:v>16203.212299999999</c:v>
                </c:pt>
                <c:pt idx="3">
                  <c:v>15284.8145</c:v>
                </c:pt>
                <c:pt idx="4">
                  <c:v>440206.3137</c:v>
                </c:pt>
                <c:pt idx="5">
                  <c:v>3547845.7534999992</c:v>
                </c:pt>
                <c:pt idx="6">
                  <c:v>991517.41429999995</c:v>
                </c:pt>
                <c:pt idx="7">
                  <c:v>4149231.1453999998</c:v>
                </c:pt>
                <c:pt idx="8">
                  <c:v>7678155.8173000012</c:v>
                </c:pt>
                <c:pt idx="9">
                  <c:v>217318.38440000001</c:v>
                </c:pt>
                <c:pt idx="10">
                  <c:v>850339.46379999991</c:v>
                </c:pt>
                <c:pt idx="11">
                  <c:v>9602.1797999999999</c:v>
                </c:pt>
                <c:pt idx="12">
                  <c:v>20057.296200000001</c:v>
                </c:pt>
                <c:pt idx="13">
                  <c:v>77295.212800000008</c:v>
                </c:pt>
                <c:pt idx="14">
                  <c:v>1074236.973</c:v>
                </c:pt>
                <c:pt idx="15">
                  <c:v>277329.53539999999</c:v>
                </c:pt>
              </c:numCache>
            </c:numRef>
          </c:bubbleSize>
          <c:bubble3D val="0"/>
          <c:extLst>
            <c:ext xmlns:c15="http://schemas.microsoft.com/office/drawing/2012/chart" uri="{02D57815-91ED-43cb-92C2-25804820EDAC}">
              <c15:datalabelsRange>
                <c15:f>Sheet1!$E$2:$E$50</c15:f>
                <c15:dlblRangeCache>
                  <c:ptCount val="49"/>
                  <c:pt idx="0">
                    <c:v>Toastinette Cheddar Fondu Tranche A Chaud Sachet 1X200Gr 10P</c:v>
                  </c:pt>
                  <c:pt idx="1">
                    <c:v>Toastinette Cheddar Fondu Tranche A Chaud Sachet 1X340Gr 20P</c:v>
                  </c:pt>
                  <c:pt idx="2">
                    <c:v>La Vache Qui Rit Aro Fromage Fondu Boite Ronde Jambon 1X133Gr 8P</c:v>
                  </c:pt>
                  <c:pt idx="3">
                    <c:v>Toastinette Fromage Fondu Tranche A Chaud Sachet 1X340Gr 20P</c:v>
                  </c:pt>
                  <c:pt idx="4">
                    <c:v>Toastinette Fromage Fondu Tranche A Chaud Sachet 1X200Gr 10P</c:v>
                  </c:pt>
                  <c:pt idx="5">
                    <c:v>La Vache Qui Rit Nature Fromage Fondu Boite Ronde 1X192Gr 12P</c:v>
                  </c:pt>
                  <c:pt idx="6">
                    <c:v>La Vache Qui Rit Nature Fromage Fondu Boite Ronde 1X512Gr 24+8P</c:v>
                  </c:pt>
                  <c:pt idx="7">
                    <c:v>La Vache Qui Rit Nature Fromage Fondu Boite Ronde 1X384Gr 24P</c:v>
                  </c:pt>
                  <c:pt idx="8">
                    <c:v>La Vache Qui Rit Nature Fromage Fondu Boite Ronde 1X512Gr 32P</c:v>
                  </c:pt>
                  <c:pt idx="9">
                    <c:v>La Vache Qui Rit Allegee Fromage Fondu Boite Ronde Allege 1X267Gr 16P</c:v>
                  </c:pt>
                  <c:pt idx="10">
                    <c:v>La Vache Qui Rit Nature Fromage Fondu Boite Ronde 1X128Gr 8P</c:v>
                  </c:pt>
                  <c:pt idx="11">
                    <c:v>La Vache Qui Rit Pik Et Croq' Fromage Fondu Dips Boite 1X35Gr 1P</c:v>
                  </c:pt>
                  <c:pt idx="12">
                    <c:v>La Vache Qui Rit Le Fondant Fromage Fondu 1X200Gr 1P</c:v>
                  </c:pt>
                  <c:pt idx="13">
                    <c:v>La Vache Qui Rit Bio Fromage Fondu Boite Ronde 1X128Gr 8P</c:v>
                  </c:pt>
                  <c:pt idx="14">
                    <c:v>La Vache Qui Rit Pik Et Croq' Fromage Fondu Dips Boite 1X175Gr 5P</c:v>
                  </c:pt>
                  <c:pt idx="15">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98929DA-07E1-4800-BF47-8B88A7DA45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BE33D79-65F0-4FF7-8FEA-8984A7C973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1CFBF96-C11A-4C74-9F5E-E7BCF2B6A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3BFEAE8-42F1-486B-A50A-44752A79D7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C295605-8757-4DD3-B793-48F9A12662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FF9816A-6929-4398-A9AD-7FC1EDA46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13F4CC1-622B-4FC9-9D40-31DB99359B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6-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1</c:f>
              <c:numCache>
                <c:formatCode>General</c:formatCode>
                <c:ptCount val="30"/>
                <c:pt idx="0">
                  <c:v>0.3483</c:v>
                </c:pt>
                <c:pt idx="1">
                  <c:v>0.307</c:v>
                </c:pt>
                <c:pt idx="2">
                  <c:v>0.40629999999999999</c:v>
                </c:pt>
                <c:pt idx="3">
                  <c:v>0.3422</c:v>
                </c:pt>
                <c:pt idx="4">
                  <c:v>0.34489999999999998</c:v>
                </c:pt>
                <c:pt idx="5">
                  <c:v>0.3775</c:v>
                </c:pt>
                <c:pt idx="6">
                  <c:v>0.35499999999999998</c:v>
                </c:pt>
                <c:pt idx="7">
                  <c:v>0.52400000000000002</c:v>
                </c:pt>
                <c:pt idx="8">
                  <c:v>0.45950000000000002</c:v>
                </c:pt>
                <c:pt idx="9">
                  <c:v>0.4793</c:v>
                </c:pt>
                <c:pt idx="10">
                  <c:v>0.3926</c:v>
                </c:pt>
                <c:pt idx="11">
                  <c:v>0.44700000000000001</c:v>
                </c:pt>
                <c:pt idx="12">
                  <c:v>0.53649999999999998</c:v>
                </c:pt>
                <c:pt idx="13">
                  <c:v>0.4264</c:v>
                </c:pt>
                <c:pt idx="14">
                  <c:v>0.40820000000000001</c:v>
                </c:pt>
                <c:pt idx="15">
                  <c:v>0.31900000000000001</c:v>
                </c:pt>
                <c:pt idx="16">
                  <c:v>0.37180000000000002</c:v>
                </c:pt>
                <c:pt idx="17">
                  <c:v>0.35110000000000002</c:v>
                </c:pt>
                <c:pt idx="18">
                  <c:v>0.35649999999999998</c:v>
                </c:pt>
                <c:pt idx="19">
                  <c:v>0.24660000000000001</c:v>
                </c:pt>
                <c:pt idx="20">
                  <c:v>0.43590000000000001</c:v>
                </c:pt>
                <c:pt idx="21">
                  <c:v>0.3468</c:v>
                </c:pt>
                <c:pt idx="22">
                  <c:v>0.3392</c:v>
                </c:pt>
                <c:pt idx="23">
                  <c:v>0.38400000000000001</c:v>
                </c:pt>
                <c:pt idx="24">
                  <c:v>0.52090000000000003</c:v>
                </c:pt>
                <c:pt idx="25">
                  <c:v>0.50129999999999997</c:v>
                </c:pt>
                <c:pt idx="26">
                  <c:v>0.52449999999999997</c:v>
                </c:pt>
                <c:pt idx="27">
                  <c:v>0.38669999999999999</c:v>
                </c:pt>
                <c:pt idx="28">
                  <c:v>0.33750000000000002</c:v>
                </c:pt>
                <c:pt idx="29">
                  <c:v>0.4259</c:v>
                </c:pt>
              </c:numCache>
            </c:numRef>
          </c:xVal>
          <c:yVal>
            <c:numRef>
              <c:f>Sheet1!$B$2:$B$31</c:f>
              <c:numCache>
                <c:formatCode>General</c:formatCode>
                <c:ptCount val="30"/>
                <c:pt idx="0">
                  <c:v>36210.382513661199</c:v>
                </c:pt>
                <c:pt idx="1">
                  <c:v>912.44318181818176</c:v>
                </c:pt>
                <c:pt idx="2">
                  <c:v>4929.184993531695</c:v>
                </c:pt>
                <c:pt idx="3">
                  <c:v>35111.053719008269</c:v>
                </c:pt>
                <c:pt idx="4">
                  <c:v>8691.4627994955863</c:v>
                </c:pt>
                <c:pt idx="5">
                  <c:v>956.90802348336592</c:v>
                </c:pt>
                <c:pt idx="6">
                  <c:v>6379.6974063400576</c:v>
                </c:pt>
                <c:pt idx="7">
                  <c:v>1782.271880819367</c:v>
                </c:pt>
                <c:pt idx="8">
                  <c:v>1204.459102902375</c:v>
                </c:pt>
                <c:pt idx="9">
                  <c:v>1513.710407239819</c:v>
                </c:pt>
                <c:pt idx="10">
                  <c:v>20726.226611226612</c:v>
                </c:pt>
                <c:pt idx="11">
                  <c:v>4221.7228464419468</c:v>
                </c:pt>
                <c:pt idx="12">
                  <c:v>1752.3170731707321</c:v>
                </c:pt>
                <c:pt idx="13">
                  <c:v>5431.6768665850677</c:v>
                </c:pt>
                <c:pt idx="14">
                  <c:v>2424.0594059405939</c:v>
                </c:pt>
                <c:pt idx="15">
                  <c:v>3167.5167785234898</c:v>
                </c:pt>
                <c:pt idx="16">
                  <c:v>2165.5472636815921</c:v>
                </c:pt>
                <c:pt idx="17">
                  <c:v>11865.907429963459</c:v>
                </c:pt>
                <c:pt idx="18">
                  <c:v>28428.861878453041</c:v>
                </c:pt>
                <c:pt idx="19">
                  <c:v>4761.8113207547167</c:v>
                </c:pt>
                <c:pt idx="20">
                  <c:v>1840.8</c:v>
                </c:pt>
                <c:pt idx="21">
                  <c:v>12732.233502538071</c:v>
                </c:pt>
                <c:pt idx="22">
                  <c:v>25830.86903304774</c:v>
                </c:pt>
                <c:pt idx="23">
                  <c:v>7665.3875968992243</c:v>
                </c:pt>
                <c:pt idx="24">
                  <c:v>1246.9437652811739</c:v>
                </c:pt>
                <c:pt idx="25">
                  <c:v>2258.3985765124548</c:v>
                </c:pt>
                <c:pt idx="26">
                  <c:v>502.59259259259261</c:v>
                </c:pt>
                <c:pt idx="27">
                  <c:v>1723.954154727794</c:v>
                </c:pt>
                <c:pt idx="28">
                  <c:v>1054.3076923076919</c:v>
                </c:pt>
                <c:pt idx="29">
                  <c:v>1488.977272727273</c:v>
                </c:pt>
              </c:numCache>
            </c:numRef>
          </c:yVal>
          <c:bubbleSize>
            <c:numRef>
              <c:f>Sheet1!$C$2:$C$31</c:f>
              <c:numCache>
                <c:formatCode>General</c:formatCode>
                <c:ptCount val="30"/>
                <c:pt idx="0">
                  <c:v>2046825.7823000001</c:v>
                </c:pt>
                <c:pt idx="1">
                  <c:v>31644.144499999999</c:v>
                </c:pt>
                <c:pt idx="2">
                  <c:v>214406.42539999989</c:v>
                </c:pt>
                <c:pt idx="3">
                  <c:v>2119021.4544000002</c:v>
                </c:pt>
                <c:pt idx="4">
                  <c:v>427959.80719999998</c:v>
                </c:pt>
                <c:pt idx="5">
                  <c:v>28852.473999999998</c:v>
                </c:pt>
                <c:pt idx="6">
                  <c:v>270671.19300000009</c:v>
                </c:pt>
                <c:pt idx="7">
                  <c:v>43181.377599999993</c:v>
                </c:pt>
                <c:pt idx="8">
                  <c:v>23385.416400000009</c:v>
                </c:pt>
                <c:pt idx="9">
                  <c:v>33021.712499999987</c:v>
                </c:pt>
                <c:pt idx="10">
                  <c:v>1147947.4047999999</c:v>
                </c:pt>
                <c:pt idx="11">
                  <c:v>177245.5282</c:v>
                </c:pt>
                <c:pt idx="12">
                  <c:v>56817.089500000002</c:v>
                </c:pt>
                <c:pt idx="13">
                  <c:v>241292.2684</c:v>
                </c:pt>
                <c:pt idx="14">
                  <c:v>96136.576799999981</c:v>
                </c:pt>
                <c:pt idx="15">
                  <c:v>91396.574100000013</c:v>
                </c:pt>
                <c:pt idx="16">
                  <c:v>51837.37920000001</c:v>
                </c:pt>
                <c:pt idx="17">
                  <c:v>599204.3587000001</c:v>
                </c:pt>
                <c:pt idx="18">
                  <c:v>1569349.9712</c:v>
                </c:pt>
                <c:pt idx="19">
                  <c:v>90111.2497</c:v>
                </c:pt>
                <c:pt idx="20">
                  <c:v>7381.9490000000014</c:v>
                </c:pt>
                <c:pt idx="21">
                  <c:v>621172.2644000001</c:v>
                </c:pt>
                <c:pt idx="22">
                  <c:v>1321744.1344000001</c:v>
                </c:pt>
                <c:pt idx="23">
                  <c:v>346446.61200000002</c:v>
                </c:pt>
                <c:pt idx="24">
                  <c:v>23162.563399999999</c:v>
                </c:pt>
                <c:pt idx="25">
                  <c:v>29997.0429</c:v>
                </c:pt>
                <c:pt idx="26">
                  <c:v>7339.8536999999997</c:v>
                </c:pt>
                <c:pt idx="27">
                  <c:v>69949.332200000004</c:v>
                </c:pt>
                <c:pt idx="28">
                  <c:v>30122.476999999999</c:v>
                </c:pt>
                <c:pt idx="29">
                  <c:v>28520.879400000002</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320Gr 16+4P</c:v>
                  </c:pt>
                  <c:pt idx="2">
                    <c:v>Boursin Cuisine Sauce Fromage Afh 1X240Gr 1P</c:v>
                  </c:pt>
                  <c:pt idx="3">
                    <c:v>Boursin Classique Fromage Frais A Tartiner Afh Boite 1X150Gr 1P</c:v>
                  </c:pt>
                  <c:pt idx="4">
                    <c:v>Boursin Classique Fromage Frais A Tartiner Ciboulette &amp; Echalote Boite 1X150Gr 1P</c:v>
                  </c:pt>
                  <c:pt idx="5">
                    <c:v>Boursin Classique Fromage Frais A Tartiner Truffe Boite 1X150Gr 1P</c:v>
                  </c:pt>
                  <c:pt idx="6">
                    <c:v>Boursin Classique Fromage Frais A Tartiner Figue Et 3 Noix Boite 1X150Gr 1P</c:v>
                  </c:pt>
                  <c:pt idx="7">
                    <c:v>Boursin Classique Fromage Frais A Tartiner 3 Noix Boite 1X150Gr 1P</c:v>
                  </c:pt>
                  <c:pt idx="8">
                    <c:v>Boursin Classique Fromage Frais A Tartiner 3 Noix 1X160Gr 10P</c:v>
                  </c:pt>
                  <c:pt idx="9">
                    <c:v>Boursin Vegetal Specialite Vegetale A Tartiner Afh 1X130Gr 1P</c:v>
                  </c:pt>
                  <c:pt idx="10">
                    <c:v>Boursin Salade &amp; Aperitif Fromage Frais Des Afh 1X120Gr 1P</c:v>
                  </c:pt>
                  <c:pt idx="11">
                    <c:v>Boursin Salade &amp; Aperitif Fromage Frais Des Figue Noix 1X120Gr 1P</c:v>
                  </c:pt>
                  <c:pt idx="12">
                    <c:v>Boursin Salade &amp; Aperitif Fromage Frais Des Noisette Et 3 Noix 1X120Gr 1P</c:v>
                  </c:pt>
                  <c:pt idx="13">
                    <c:v>Boursin Salade &amp; Aperitif Fromage Frais Des Ciboulette Echalote 1X120Gr 1P</c:v>
                  </c:pt>
                  <c:pt idx="14">
                    <c:v>Boursin Salade &amp; Aperitif Fromage Frais Des Citron Romarin 1X120Gr 1P</c:v>
                  </c:pt>
                  <c:pt idx="15">
                    <c:v>Boursin Classique Fromage Frais A Tartiner Afh Boite 1X80Gr 1P</c:v>
                  </c:pt>
                  <c:pt idx="16">
                    <c:v>Boursin Classique Fromage Frais A Tartiner Poivre Boite 1X150Gr 1P</c:v>
                  </c:pt>
                  <c:pt idx="17">
                    <c:v>Boursin Classique Fromage Frais A Tartiner Afh Boite 1X96Gr 6P</c:v>
                  </c:pt>
                  <c:pt idx="18">
                    <c:v>Boursin Aperitif Roules Fromage Frais Roule Afh Et Jambon Fume Boite 1X100Gr 20P</c:v>
                  </c:pt>
                  <c:pt idx="19">
                    <c:v>Boursin Classique Fromage Frais A Tartiner Afh 1X256Gr 16P</c:v>
                  </c:pt>
                  <c:pt idx="20">
                    <c:v>Boursin Classique Fromage Frais A Tartiner Ciboulette &amp; Echalote 1X160Gr 10P</c:v>
                  </c:pt>
                  <c:pt idx="21">
                    <c:v>Boursin Aperitif Roules Fromage Frais Roule Ciboulette &amp; Echalote Jambon Fume Boite 1X100Gr 20P</c:v>
                  </c:pt>
                  <c:pt idx="22">
                    <c:v>Boursin Classique Fromage Frais A Tartiner Afh Boite 1X250Gr 1P</c:v>
                  </c:pt>
                  <c:pt idx="23">
                    <c:v>Boursin Onctueux Fromage Frais A Tartiner Afh 1X125Gr 1P</c:v>
                  </c:pt>
                  <c:pt idx="24">
                    <c:v>Boursin Aperitif Roules Fromage Frais Roule Jambon Fume &amp; Trio De Noix Boite 1X100Gr 20P</c:v>
                  </c:pt>
                  <c:pt idx="25">
                    <c:v>Boursin Onctueux Fromage Frais A Tartiner Afh 1X210Gr 1P</c:v>
                  </c:pt>
                  <c:pt idx="26">
                    <c:v>Boursin Classique Fromage Frais A Tartiner Citron &amp; Romarin Boite 1X150Gr 1P</c:v>
                  </c:pt>
                  <c:pt idx="27">
                    <c:v>Boursin Salade &amp; Aperitif Soft Cheese Salade 120G</c:v>
                  </c:pt>
                  <c:pt idx="28">
                    <c:v>Boursin Vegetal Alternative Vegetale 150G</c:v>
                  </c:pt>
                  <c:pt idx="29">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7B36585-B11C-439C-8A5F-AAB663659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EA86151-9B88-4097-A613-6C1B8EF73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8D508FE-A7C5-45BD-9A5B-CDE3A79E5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194C022-E081-4C65-A25E-C5FC1A958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3195F33-7430-4C39-9FAA-F2E9A0CE4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4E0FBA4-CA1D-4595-B23A-C8472CF7F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6833BBA-BCF5-4F3C-AF9A-71338AA450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34849999999999998</c:v>
                </c:pt>
                <c:pt idx="1">
                  <c:v>0.32590000000000002</c:v>
                </c:pt>
                <c:pt idx="2">
                  <c:v>0.4577</c:v>
                </c:pt>
                <c:pt idx="3">
                  <c:v>0.49909999999999999</c:v>
                </c:pt>
                <c:pt idx="4">
                  <c:v>0.27950000000000003</c:v>
                </c:pt>
                <c:pt idx="5">
                  <c:v>0.34939999999999999</c:v>
                </c:pt>
                <c:pt idx="6">
                  <c:v>0.47739999999999999</c:v>
                </c:pt>
                <c:pt idx="7">
                  <c:v>0.43070000000000003</c:v>
                </c:pt>
                <c:pt idx="8">
                  <c:v>0.36840000000000001</c:v>
                </c:pt>
                <c:pt idx="9">
                  <c:v>0.3639</c:v>
                </c:pt>
                <c:pt idx="10">
                  <c:v>0.49390000000000001</c:v>
                </c:pt>
              </c:numCache>
            </c:numRef>
          </c:xVal>
          <c:yVal>
            <c:numRef>
              <c:f>Sheet1!$B$2:$B$12</c:f>
              <c:numCache>
                <c:formatCode>General</c:formatCode>
                <c:ptCount val="11"/>
                <c:pt idx="0">
                  <c:v>43360.813008130077</c:v>
                </c:pt>
                <c:pt idx="1">
                  <c:v>45724.892307692309</c:v>
                </c:pt>
                <c:pt idx="2">
                  <c:v>6139.8327359617679</c:v>
                </c:pt>
                <c:pt idx="3">
                  <c:v>481.37096774193537</c:v>
                </c:pt>
                <c:pt idx="4">
                  <c:v>3357.0257037943702</c:v>
                </c:pt>
                <c:pt idx="5">
                  <c:v>25786.988809766019</c:v>
                </c:pt>
                <c:pt idx="6">
                  <c:v>7090.9286898839136</c:v>
                </c:pt>
                <c:pt idx="7">
                  <c:v>3027.5083798882679</c:v>
                </c:pt>
                <c:pt idx="8">
                  <c:v>20585.647298674819</c:v>
                </c:pt>
                <c:pt idx="9">
                  <c:v>27675.493562231761</c:v>
                </c:pt>
                <c:pt idx="10">
                  <c:v>5504.0773809523807</c:v>
                </c:pt>
              </c:numCache>
            </c:numRef>
          </c:yVal>
          <c:bubbleSize>
            <c:numRef>
              <c:f>Sheet1!$C$2:$C$12</c:f>
              <c:numCache>
                <c:formatCode>General</c:formatCode>
                <c:ptCount val="11"/>
                <c:pt idx="0">
                  <c:v>2305421.665</c:v>
                </c:pt>
                <c:pt idx="1">
                  <c:v>2848455.0869</c:v>
                </c:pt>
                <c:pt idx="2">
                  <c:v>264142.96620000002</c:v>
                </c:pt>
                <c:pt idx="3">
                  <c:v>8501.64</c:v>
                </c:pt>
                <c:pt idx="4">
                  <c:v>187301.984</c:v>
                </c:pt>
                <c:pt idx="5">
                  <c:v>1563209.9702000001</c:v>
                </c:pt>
                <c:pt idx="6">
                  <c:v>211804.0281</c:v>
                </c:pt>
                <c:pt idx="7">
                  <c:v>146209.82399999999</c:v>
                </c:pt>
                <c:pt idx="8">
                  <c:v>1209085.3938</c:v>
                </c:pt>
                <c:pt idx="9">
                  <c:v>1555147.5876</c:v>
                </c:pt>
                <c:pt idx="10">
                  <c:v>177451.4127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pt idx="10">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95BECAF-3DA3-43F4-A5B6-10F60B83D7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282A7B7-5C7A-4548-9657-9E9575DFF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8D1872D-DF4F-451F-840C-D0E9382C0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B9F4E6C-8CE7-47BD-A88E-836068FD0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E54C68E-181F-48D9-ADB0-9BE57FA59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8BA4E5F-E246-44B1-9D80-A5B8194FB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519F95A-6E4C-40BF-A3C2-D434F6A3D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55130000000000001</c:v>
                </c:pt>
                <c:pt idx="1">
                  <c:v>0.3977</c:v>
                </c:pt>
                <c:pt idx="2">
                  <c:v>0.24640000000000001</c:v>
                </c:pt>
                <c:pt idx="3">
                  <c:v>0.35820000000000002</c:v>
                </c:pt>
                <c:pt idx="4">
                  <c:v>0.32750000000000001</c:v>
                </c:pt>
                <c:pt idx="5">
                  <c:v>0.43259999999999998</c:v>
                </c:pt>
                <c:pt idx="6">
                  <c:v>0.42409999999999998</c:v>
                </c:pt>
                <c:pt idx="7">
                  <c:v>0.49440000000000001</c:v>
                </c:pt>
              </c:numCache>
            </c:numRef>
          </c:xVal>
          <c:yVal>
            <c:numRef>
              <c:f>Sheet1!$B$2:$B$9</c:f>
              <c:numCache>
                <c:formatCode>General</c:formatCode>
                <c:ptCount val="8"/>
                <c:pt idx="0">
                  <c:v>6740.5301914580259</c:v>
                </c:pt>
                <c:pt idx="1">
                  <c:v>61730.220440881763</c:v>
                </c:pt>
                <c:pt idx="2">
                  <c:v>1325.194805194805</c:v>
                </c:pt>
                <c:pt idx="3">
                  <c:v>52226.907545164722</c:v>
                </c:pt>
                <c:pt idx="4">
                  <c:v>79341.235480464631</c:v>
                </c:pt>
                <c:pt idx="5">
                  <c:v>10304.161712247331</c:v>
                </c:pt>
                <c:pt idx="6">
                  <c:v>14262.722513089009</c:v>
                </c:pt>
                <c:pt idx="7">
                  <c:v>14741.66273584906</c:v>
                </c:pt>
              </c:numCache>
            </c:numRef>
          </c:yVal>
          <c:bubbleSize>
            <c:numRef>
              <c:f>Sheet1!$C$2:$C$9</c:f>
              <c:numCache>
                <c:formatCode>General</c:formatCode>
                <c:ptCount val="8"/>
                <c:pt idx="0">
                  <c:v>194639.24890000001</c:v>
                </c:pt>
                <c:pt idx="1">
                  <c:v>3516863.661400001</c:v>
                </c:pt>
                <c:pt idx="2">
                  <c:v>21865.780599999991</c:v>
                </c:pt>
                <c:pt idx="3">
                  <c:v>2989794.8149000001</c:v>
                </c:pt>
                <c:pt idx="4">
                  <c:v>4789467.3874000004</c:v>
                </c:pt>
                <c:pt idx="5">
                  <c:v>466038.12929999991</c:v>
                </c:pt>
                <c:pt idx="6">
                  <c:v>743356.49009999994</c:v>
                </c:pt>
                <c:pt idx="7">
                  <c:v>599065.13089999976</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Pik Et Croq' Fromage Fondu Dips Boite 1X175Gr 5P</c:v>
                  </c:pt>
                  <c:pt idx="7">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601C21F-B075-4D13-9247-2B61E1749B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C910C96-0374-4E0B-A35C-2B5FD376E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31CA8CE-5151-4692-88EB-D43FCB4276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D82EC06-E7D6-4911-802C-775C2E829A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02C6E1B-8237-43AD-A4AA-80BC6EA12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77F1CB6-4146-4E4C-A8D3-547E12821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2BFCF49-BC57-4B3E-BEB6-DB816FA91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5</c:f>
              <c:numCache>
                <c:formatCode>General</c:formatCode>
                <c:ptCount val="24"/>
                <c:pt idx="0">
                  <c:v>0.35720000000000002</c:v>
                </c:pt>
                <c:pt idx="1">
                  <c:v>0.3977</c:v>
                </c:pt>
                <c:pt idx="2">
                  <c:v>0.36149999999999999</c:v>
                </c:pt>
                <c:pt idx="3">
                  <c:v>0.42870000000000003</c:v>
                </c:pt>
                <c:pt idx="4">
                  <c:v>0.53720000000000001</c:v>
                </c:pt>
                <c:pt idx="5">
                  <c:v>0.40649999999999997</c:v>
                </c:pt>
                <c:pt idx="6">
                  <c:v>0.43430000000000002</c:v>
                </c:pt>
                <c:pt idx="7">
                  <c:v>0.38550000000000001</c:v>
                </c:pt>
                <c:pt idx="8">
                  <c:v>0.36380000000000001</c:v>
                </c:pt>
                <c:pt idx="9">
                  <c:v>0.42049999999999998</c:v>
                </c:pt>
                <c:pt idx="10">
                  <c:v>0.4869</c:v>
                </c:pt>
                <c:pt idx="11">
                  <c:v>0.40110000000000001</c:v>
                </c:pt>
                <c:pt idx="12">
                  <c:v>0.39090000000000003</c:v>
                </c:pt>
                <c:pt idx="13">
                  <c:v>0.4027</c:v>
                </c:pt>
                <c:pt idx="14">
                  <c:v>0.40429999999999999</c:v>
                </c:pt>
                <c:pt idx="15">
                  <c:v>0.40560000000000002</c:v>
                </c:pt>
                <c:pt idx="16">
                  <c:v>0.38950000000000001</c:v>
                </c:pt>
                <c:pt idx="17">
                  <c:v>0.436</c:v>
                </c:pt>
                <c:pt idx="18">
                  <c:v>0.43690000000000001</c:v>
                </c:pt>
                <c:pt idx="19">
                  <c:v>0.37330000000000002</c:v>
                </c:pt>
                <c:pt idx="20">
                  <c:v>0.4899</c:v>
                </c:pt>
                <c:pt idx="21">
                  <c:v>0.2555</c:v>
                </c:pt>
                <c:pt idx="22">
                  <c:v>0.47799999999999998</c:v>
                </c:pt>
                <c:pt idx="23">
                  <c:v>0.42380000000000001</c:v>
                </c:pt>
              </c:numCache>
            </c:numRef>
          </c:xVal>
          <c:yVal>
            <c:numRef>
              <c:f>Sheet1!$B$2:$B$25</c:f>
              <c:numCache>
                <c:formatCode>General</c:formatCode>
                <c:ptCount val="24"/>
                <c:pt idx="0">
                  <c:v>27527.410805300711</c:v>
                </c:pt>
                <c:pt idx="1">
                  <c:v>8120.2634593356242</c:v>
                </c:pt>
                <c:pt idx="2">
                  <c:v>24558.51703406814</c:v>
                </c:pt>
                <c:pt idx="3">
                  <c:v>8635.1798561151081</c:v>
                </c:pt>
                <c:pt idx="4">
                  <c:v>648.25327510917032</c:v>
                </c:pt>
                <c:pt idx="5">
                  <c:v>10309.23469387755</c:v>
                </c:pt>
                <c:pt idx="6">
                  <c:v>11293.564049586779</c:v>
                </c:pt>
                <c:pt idx="7">
                  <c:v>2199.2426035502958</c:v>
                </c:pt>
                <c:pt idx="8">
                  <c:v>1098.2067247820671</c:v>
                </c:pt>
                <c:pt idx="9">
                  <c:v>3335.8687727825031</c:v>
                </c:pt>
                <c:pt idx="10">
                  <c:v>1614.075757575758</c:v>
                </c:pt>
                <c:pt idx="11">
                  <c:v>2730.8923076923079</c:v>
                </c:pt>
                <c:pt idx="12">
                  <c:v>7229.1382978723404</c:v>
                </c:pt>
                <c:pt idx="13">
                  <c:v>11438.093716719921</c:v>
                </c:pt>
                <c:pt idx="14">
                  <c:v>22494.2546583851</c:v>
                </c:pt>
                <c:pt idx="15">
                  <c:v>7525.8762886597942</c:v>
                </c:pt>
                <c:pt idx="16">
                  <c:v>8505.5930232558148</c:v>
                </c:pt>
                <c:pt idx="17">
                  <c:v>5809.3564356435636</c:v>
                </c:pt>
                <c:pt idx="18">
                  <c:v>14703.46871569703</c:v>
                </c:pt>
                <c:pt idx="19">
                  <c:v>27838.234693877552</c:v>
                </c:pt>
                <c:pt idx="20">
                  <c:v>12471.15303983229</c:v>
                </c:pt>
                <c:pt idx="21">
                  <c:v>775.14666666666665</c:v>
                </c:pt>
                <c:pt idx="22">
                  <c:v>1111.304347826087</c:v>
                </c:pt>
                <c:pt idx="23">
                  <c:v>730.54462934947037</c:v>
                </c:pt>
              </c:numCache>
            </c:numRef>
          </c:yVal>
          <c:bubbleSize>
            <c:numRef>
              <c:f>Sheet1!$C$2:$C$25</c:f>
              <c:numCache>
                <c:formatCode>General</c:formatCode>
                <c:ptCount val="24"/>
                <c:pt idx="0">
                  <c:v>1645429.3156999999</c:v>
                </c:pt>
                <c:pt idx="1">
                  <c:v>404691.69180000009</c:v>
                </c:pt>
                <c:pt idx="2">
                  <c:v>1483245.8407999999</c:v>
                </c:pt>
                <c:pt idx="3">
                  <c:v>455014.01169999992</c:v>
                </c:pt>
                <c:pt idx="4">
                  <c:v>19536.5635</c:v>
                </c:pt>
                <c:pt idx="5">
                  <c:v>568393.2801999998</c:v>
                </c:pt>
                <c:pt idx="6">
                  <c:v>586213.45919999992</c:v>
                </c:pt>
                <c:pt idx="7">
                  <c:v>108247.5664</c:v>
                </c:pt>
                <c:pt idx="8">
                  <c:v>53176.012199999997</c:v>
                </c:pt>
                <c:pt idx="9">
                  <c:v>150811.14780000001</c:v>
                </c:pt>
                <c:pt idx="10">
                  <c:v>51813.046099999992</c:v>
                </c:pt>
                <c:pt idx="11">
                  <c:v>50382.185700000002</c:v>
                </c:pt>
                <c:pt idx="12">
                  <c:v>392341.30040000001</c:v>
                </c:pt>
                <c:pt idx="13">
                  <c:v>608075.93240000005</c:v>
                </c:pt>
                <c:pt idx="14">
                  <c:v>1226990.7849000001</c:v>
                </c:pt>
                <c:pt idx="15">
                  <c:v>370190.26640000002</c:v>
                </c:pt>
                <c:pt idx="16">
                  <c:v>423307.45439999987</c:v>
                </c:pt>
                <c:pt idx="17">
                  <c:v>250921.9325</c:v>
                </c:pt>
                <c:pt idx="18">
                  <c:v>714931.66360000009</c:v>
                </c:pt>
                <c:pt idx="19">
                  <c:v>1620710.9252000011</c:v>
                </c:pt>
                <c:pt idx="20">
                  <c:v>575246.19469999999</c:v>
                </c:pt>
                <c:pt idx="21">
                  <c:v>41023.239699999998</c:v>
                </c:pt>
                <c:pt idx="22">
                  <c:v>22765.070899999999</c:v>
                </c:pt>
                <c:pt idx="23">
                  <c:v>26373.204000000002</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uisine Sauce Fromage Afh 1X240Gr 1P</c:v>
                  </c:pt>
                  <c:pt idx="2">
                    <c:v>Boursin Classique Fromage Frais A Tartiner Afh Boite 1X150Gr 1P</c:v>
                  </c:pt>
                  <c:pt idx="3">
                    <c:v>Boursin Classique Fromage Frais A Tartiner Ciboulette &amp; Echalote Boite 1X150Gr 1P</c:v>
                  </c:pt>
                  <c:pt idx="4">
                    <c:v>Boursin Classique Fromage Frais A Tartiner Truffe Boite 1X150Gr 1P</c:v>
                  </c:pt>
                  <c:pt idx="5">
                    <c:v>Boursin Classique Fromage Frais A Tartiner Figue Et 3 Noix Boite 1X150Gr 1P</c:v>
                  </c:pt>
                  <c:pt idx="6">
                    <c:v>Boursin Salade &amp; Aperitif Fromage Frais Des Afh 1X120Gr 1P</c:v>
                  </c:pt>
                  <c:pt idx="7">
                    <c:v>Boursin Salade &amp; Aperitif Fromage Frais Des Figue Noix 1X120Gr 1P</c:v>
                  </c:pt>
                  <c:pt idx="8">
                    <c:v>Boursin Salade &amp; Aperitif Fromage Frais Des Noisette Et 3 Noix 1X120Gr 1P</c:v>
                  </c:pt>
                  <c:pt idx="9">
                    <c:v>Boursin Salade &amp; Aperitif Fromage Frais Des Ciboulette Echalote 1X120Gr 1P</c:v>
                  </c:pt>
                  <c:pt idx="10">
                    <c:v>Boursin Salade &amp; Aperitif Fromage Frais Des Citron Romarin 1X120Gr 1P</c:v>
                  </c:pt>
                  <c:pt idx="11">
                    <c:v>Boursin Classique Fromage Frais A Tartiner Afh Boite 1X80Gr 1P</c:v>
                  </c:pt>
                  <c:pt idx="12">
                    <c:v>Boursin Classique Fromage Frais A Tartiner Poivre Boite 1X150Gr 1P</c:v>
                  </c:pt>
                  <c:pt idx="13">
                    <c:v>Boursin Classique Fromage Frais A Tartiner Afh Boite 1X96Gr 6P</c:v>
                  </c:pt>
                  <c:pt idx="14">
                    <c:v>Boursin Aperitif Roules Fromage Frais Roule Afh Et Jambon Fume Boite 1X100Gr 20P</c:v>
                  </c:pt>
                  <c:pt idx="15">
                    <c:v>Boursin Aperitif Roules Fromage Frais Roule Basilic &amp; Jambon Fume Tomate Boite 1X100Gr 20P</c:v>
                  </c:pt>
                  <c:pt idx="16">
                    <c:v>Boursin Classique Fromage Frais A Tartiner Afh 1X256Gr 16P</c:v>
                  </c:pt>
                  <c:pt idx="17">
                    <c:v>Boursin Classique Fromage Frais A Tartiner Ciboulette &amp; Echalote 1X160Gr 10P</c:v>
                  </c:pt>
                  <c:pt idx="18">
                    <c:v>Boursin Aperitif Roules Fromage Frais Roule Ciboulette &amp; Echalote Jambon Fume Boite 1X100Gr 20P</c:v>
                  </c:pt>
                  <c:pt idx="19">
                    <c:v>Boursin Classique Fromage Frais A Tartiner Afh Boite 1X250Gr 1P</c:v>
                  </c:pt>
                  <c:pt idx="20">
                    <c:v>Boursin Onctueux Fromage Frais A Tartiner Afh 1X125Gr 1P</c:v>
                  </c:pt>
                  <c:pt idx="21">
                    <c:v>Boursin Aperitif Roules Fromage Frais Roule Jambon Fume &amp; Trio De Noix Boite 1X100Gr 20P</c:v>
                  </c:pt>
                  <c:pt idx="22">
                    <c:v>Boursin Salade &amp; Aperitif Soft Cheese Salade 120G</c:v>
                  </c:pt>
                  <c:pt idx="23">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FA5AEDF-5D89-4660-AB88-25177F3A0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74202F4-FCA7-45F4-97C6-EF0473F74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2BAAB5B-BDF9-4EC0-8393-3D74E87D5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8E03E81-E40B-4BF4-ABDC-E45C0405C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49C5F87-16FF-4BE0-8473-95B229A72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10E83BB-017C-41EC-BA40-6A8110E31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5ED23C2-836B-44BC-9928-C966F9F9D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6849999999999999</c:v>
                </c:pt>
                <c:pt idx="1">
                  <c:v>0.29260000000000003</c:v>
                </c:pt>
                <c:pt idx="2">
                  <c:v>0.3659</c:v>
                </c:pt>
                <c:pt idx="3">
                  <c:v>0.40129999999999999</c:v>
                </c:pt>
                <c:pt idx="4">
                  <c:v>0.25950000000000001</c:v>
                </c:pt>
                <c:pt idx="5">
                  <c:v>0.28560000000000002</c:v>
                </c:pt>
                <c:pt idx="6">
                  <c:v>0.3478</c:v>
                </c:pt>
                <c:pt idx="7">
                  <c:v>0.372</c:v>
                </c:pt>
                <c:pt idx="8">
                  <c:v>0.31780000000000003</c:v>
                </c:pt>
                <c:pt idx="9">
                  <c:v>0.32940000000000003</c:v>
                </c:pt>
              </c:numCache>
            </c:numRef>
          </c:xVal>
          <c:yVal>
            <c:numRef>
              <c:f>Sheet1!$B$2:$B$11</c:f>
              <c:numCache>
                <c:formatCode>General</c:formatCode>
                <c:ptCount val="10"/>
                <c:pt idx="0">
                  <c:v>45589.414141414141</c:v>
                </c:pt>
                <c:pt idx="1">
                  <c:v>19457.759999999998</c:v>
                </c:pt>
                <c:pt idx="2">
                  <c:v>2226.4591836734689</c:v>
                </c:pt>
                <c:pt idx="3">
                  <c:v>3431.15625</c:v>
                </c:pt>
                <c:pt idx="4">
                  <c:v>8238.3469387755104</c:v>
                </c:pt>
                <c:pt idx="5">
                  <c:v>11794.45</c:v>
                </c:pt>
                <c:pt idx="6">
                  <c:v>1891.373333333333</c:v>
                </c:pt>
                <c:pt idx="7">
                  <c:v>1402.640449438202</c:v>
                </c:pt>
                <c:pt idx="8">
                  <c:v>14911.01</c:v>
                </c:pt>
                <c:pt idx="9">
                  <c:v>11125.101010101011</c:v>
                </c:pt>
              </c:numCache>
            </c:numRef>
          </c:yVal>
          <c:bubbleSize>
            <c:numRef>
              <c:f>Sheet1!$C$2:$C$11</c:f>
              <c:numCache>
                <c:formatCode>General</c:formatCode>
                <c:ptCount val="10"/>
                <c:pt idx="0">
                  <c:v>2701473.5923000001</c:v>
                </c:pt>
                <c:pt idx="1">
                  <c:v>1304656.6438</c:v>
                </c:pt>
                <c:pt idx="2">
                  <c:v>131141.8792</c:v>
                </c:pt>
                <c:pt idx="3">
                  <c:v>186938.92819999999</c:v>
                </c:pt>
                <c:pt idx="4">
                  <c:v>566708.10480000009</c:v>
                </c:pt>
                <c:pt idx="5">
                  <c:v>798628.68059999996</c:v>
                </c:pt>
                <c:pt idx="6">
                  <c:v>87696.779200000004</c:v>
                </c:pt>
                <c:pt idx="7">
                  <c:v>74313.284700000004</c:v>
                </c:pt>
                <c:pt idx="8">
                  <c:v>964173.1054</c:v>
                </c:pt>
                <c:pt idx="9">
                  <c:v>700106.70720000006</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C770663-8EC3-4A19-A16A-945E1F7ED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D2027C8-4DC1-475B-A80A-A452070CED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6678955-7CB1-4A0D-A26A-3E2F5A51E2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CE5EDBD-2E0F-406C-AFD1-417B19A3A8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93E1810-9D5D-4D8A-BE7F-453A31436F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DCAE2A9-446D-4DF6-B09E-DB13A29B16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510A9B2-87DA-45C5-890A-BCC3DABD1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3619</c:v>
                </c:pt>
                <c:pt idx="1">
                  <c:v>0.3553</c:v>
                </c:pt>
                <c:pt idx="2">
                  <c:v>0.43109999999999998</c:v>
                </c:pt>
                <c:pt idx="3">
                  <c:v>0.40760000000000002</c:v>
                </c:pt>
                <c:pt idx="4">
                  <c:v>0.36299999999999999</c:v>
                </c:pt>
                <c:pt idx="5">
                  <c:v>0.36609999999999998</c:v>
                </c:pt>
                <c:pt idx="6">
                  <c:v>0.25650000000000001</c:v>
                </c:pt>
                <c:pt idx="7">
                  <c:v>0.29049999999999998</c:v>
                </c:pt>
                <c:pt idx="8">
                  <c:v>0.3044</c:v>
                </c:pt>
                <c:pt idx="9">
                  <c:v>0.371</c:v>
                </c:pt>
                <c:pt idx="10">
                  <c:v>0.4083</c:v>
                </c:pt>
                <c:pt idx="11">
                  <c:v>0.47470000000000001</c:v>
                </c:pt>
                <c:pt idx="12">
                  <c:v>0.47270000000000001</c:v>
                </c:pt>
                <c:pt idx="13">
                  <c:v>0.28360000000000002</c:v>
                </c:pt>
                <c:pt idx="14">
                  <c:v>0.33939999999999998</c:v>
                </c:pt>
              </c:numCache>
            </c:numRef>
          </c:xVal>
          <c:yVal>
            <c:numRef>
              <c:f>Sheet1!$B$2:$B$16</c:f>
              <c:numCache>
                <c:formatCode>General</c:formatCode>
                <c:ptCount val="15"/>
                <c:pt idx="0">
                  <c:v>4355.3900000000003</c:v>
                </c:pt>
                <c:pt idx="1">
                  <c:v>1560.375</c:v>
                </c:pt>
                <c:pt idx="2">
                  <c:v>3755.75</c:v>
                </c:pt>
                <c:pt idx="3">
                  <c:v>1699.3125</c:v>
                </c:pt>
                <c:pt idx="4">
                  <c:v>4384.49</c:v>
                </c:pt>
                <c:pt idx="5">
                  <c:v>16701.66</c:v>
                </c:pt>
                <c:pt idx="6">
                  <c:v>9848.9468085106382</c:v>
                </c:pt>
                <c:pt idx="7">
                  <c:v>29213.62</c:v>
                </c:pt>
                <c:pt idx="8">
                  <c:v>82610.363636363632</c:v>
                </c:pt>
                <c:pt idx="9">
                  <c:v>3117.8720930232562</c:v>
                </c:pt>
                <c:pt idx="10">
                  <c:v>8213.010638297872</c:v>
                </c:pt>
                <c:pt idx="11">
                  <c:v>682.81355932203394</c:v>
                </c:pt>
                <c:pt idx="12">
                  <c:v>999.73170731707319</c:v>
                </c:pt>
                <c:pt idx="13">
                  <c:v>7241.72</c:v>
                </c:pt>
                <c:pt idx="14">
                  <c:v>4657.1894736842096</c:v>
                </c:pt>
              </c:numCache>
            </c:numRef>
          </c:yVal>
          <c:bubbleSize>
            <c:numRef>
              <c:f>Sheet1!$C$2:$C$16</c:f>
              <c:numCache>
                <c:formatCode>General</c:formatCode>
                <c:ptCount val="15"/>
                <c:pt idx="0">
                  <c:v>263410.821</c:v>
                </c:pt>
                <c:pt idx="1">
                  <c:v>15255.8817</c:v>
                </c:pt>
                <c:pt idx="2">
                  <c:v>16203.212299999999</c:v>
                </c:pt>
                <c:pt idx="3">
                  <c:v>15268.289500000001</c:v>
                </c:pt>
                <c:pt idx="4">
                  <c:v>264737.46529999998</c:v>
                </c:pt>
                <c:pt idx="5">
                  <c:v>1003580.1054999999</c:v>
                </c:pt>
                <c:pt idx="6">
                  <c:v>652434.56669999997</c:v>
                </c:pt>
                <c:pt idx="7">
                  <c:v>1964518.6340999999</c:v>
                </c:pt>
                <c:pt idx="8">
                  <c:v>5392409.5773</c:v>
                </c:pt>
                <c:pt idx="9">
                  <c:v>159865.11799999999</c:v>
                </c:pt>
                <c:pt idx="10">
                  <c:v>433001.46350000001</c:v>
                </c:pt>
                <c:pt idx="11">
                  <c:v>20057.296200000001</c:v>
                </c:pt>
                <c:pt idx="12">
                  <c:v>40975.859999999993</c:v>
                </c:pt>
                <c:pt idx="13">
                  <c:v>491761.31099999999</c:v>
                </c:pt>
                <c:pt idx="14">
                  <c:v>277013.40789999999</c:v>
                </c:pt>
              </c:numCache>
            </c:numRef>
          </c:bubbleSize>
          <c:bubble3D val="0"/>
          <c:extLst>
            <c:ext xmlns:c15="http://schemas.microsoft.com/office/drawing/2012/chart" uri="{02D57815-91ED-43cb-92C2-25804820EDAC}">
              <c15:datalabelsRange>
                <c15:f>Sheet1!$E$2:$E$50</c15:f>
                <c15:dlblRangeCache>
                  <c:ptCount val="49"/>
                  <c:pt idx="0">
                    <c:v>Toastinette Cheddar Fondu Tranche A Chaud Sachet 1X200Gr 10P</c:v>
                  </c:pt>
                  <c:pt idx="1">
                    <c:v>Toastinette Cheddar Fondu Tranche A Chaud Sachet 1X340Gr 20P</c:v>
                  </c:pt>
                  <c:pt idx="2">
                    <c:v>La Vache Qui Rit Aro Fromage Fondu Boite Ronde Jambon 1X133Gr 8P</c:v>
                  </c:pt>
                  <c:pt idx="3">
                    <c:v>Toastinette Fromage Fondu Tranche A Chaud Sachet 1X340Gr 20P</c:v>
                  </c:pt>
                  <c:pt idx="4">
                    <c:v>Toastinette Fromage Fondu Tranche A Chaud Sachet 1X200Gr 10P</c:v>
                  </c:pt>
                  <c:pt idx="5">
                    <c:v>La Vache Qui Rit Nature Fromage Fondu Boite Ronde 1X192Gr 12P</c:v>
                  </c:pt>
                  <c:pt idx="6">
                    <c:v>La Vache Qui Rit Nature Fromage Fondu Boite Ronde 1X512Gr 24+8P</c:v>
                  </c:pt>
                  <c:pt idx="7">
                    <c:v>La Vache Qui Rit Nature Fromage Fondu Boite Ronde 1X384Gr 24P</c:v>
                  </c:pt>
                  <c:pt idx="8">
                    <c:v>La Vache Qui Rit Nature Fromage Fondu Boite Ronde 1X512Gr 32P</c:v>
                  </c:pt>
                  <c:pt idx="9">
                    <c:v>La Vache Qui Rit Allegee Fromage Fondu Boite Ronde Allege 1X267Gr 16P</c:v>
                  </c:pt>
                  <c:pt idx="10">
                    <c:v>La Vache Qui Rit Nature Fromage Fondu Boite Ronde 1X128Gr 8P</c:v>
                  </c:pt>
                  <c:pt idx="11">
                    <c:v>La Vache Qui Rit Le Fondant Fromage Fondu 1X200Gr 1P</c:v>
                  </c:pt>
                  <c:pt idx="12">
                    <c:v>La Vache Qui Rit Bio Fromage Fondu Boite Ronde 1X128Gr 8P</c:v>
                  </c:pt>
                  <c:pt idx="13">
                    <c:v>La Vache Qui Rit Pik Et Croq' Fromage Fondu Dips Boite 1X175Gr 5P</c:v>
                  </c:pt>
                  <c:pt idx="14">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7CB6069-878B-4DF0-BA52-87B81D736B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A29DBBF-16DB-428D-ADB2-7CA0AA4EEF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F75BDBF-A717-43D2-B23A-55DF6D1000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EDFD9DF-AD3F-456F-915B-C6F7767E14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58A5D60-A9F2-4A72-B0B2-ED8BEB3CC7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60B6D89-B62A-462D-8BF9-72E652F5E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AC64ED0-8F52-4A1C-BC1B-0A72AD756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6-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1</c:f>
              <c:numCache>
                <c:formatCode>General</c:formatCode>
                <c:ptCount val="30"/>
                <c:pt idx="0">
                  <c:v>0.33100000000000002</c:v>
                </c:pt>
                <c:pt idx="1">
                  <c:v>0.28520000000000001</c:v>
                </c:pt>
                <c:pt idx="2">
                  <c:v>0.37409999999999999</c:v>
                </c:pt>
                <c:pt idx="3">
                  <c:v>0.28360000000000002</c:v>
                </c:pt>
                <c:pt idx="4">
                  <c:v>0.33090000000000003</c:v>
                </c:pt>
                <c:pt idx="5">
                  <c:v>0.37130000000000002</c:v>
                </c:pt>
                <c:pt idx="6">
                  <c:v>0.35320000000000001</c:v>
                </c:pt>
                <c:pt idx="7">
                  <c:v>0.52329999999999999</c:v>
                </c:pt>
                <c:pt idx="8">
                  <c:v>0.39950000000000002</c:v>
                </c:pt>
                <c:pt idx="9">
                  <c:v>0.47810000000000002</c:v>
                </c:pt>
                <c:pt idx="10">
                  <c:v>0.34739999999999999</c:v>
                </c:pt>
                <c:pt idx="11">
                  <c:v>0.46879999999999999</c:v>
                </c:pt>
                <c:pt idx="12">
                  <c:v>0.55230000000000001</c:v>
                </c:pt>
                <c:pt idx="13">
                  <c:v>0.45100000000000001</c:v>
                </c:pt>
                <c:pt idx="14">
                  <c:v>0.40339999999999998</c:v>
                </c:pt>
                <c:pt idx="15">
                  <c:v>0.2979</c:v>
                </c:pt>
                <c:pt idx="16">
                  <c:v>0.37180000000000002</c:v>
                </c:pt>
                <c:pt idx="17">
                  <c:v>0.34339999999999998</c:v>
                </c:pt>
                <c:pt idx="18">
                  <c:v>0.32190000000000002</c:v>
                </c:pt>
                <c:pt idx="19">
                  <c:v>0.24660000000000001</c:v>
                </c:pt>
                <c:pt idx="20">
                  <c:v>0.43640000000000001</c:v>
                </c:pt>
                <c:pt idx="21">
                  <c:v>0.33829999999999999</c:v>
                </c:pt>
                <c:pt idx="22">
                  <c:v>0.33300000000000002</c:v>
                </c:pt>
                <c:pt idx="23">
                  <c:v>0.37290000000000001</c:v>
                </c:pt>
                <c:pt idx="24">
                  <c:v>0.51339999999999997</c:v>
                </c:pt>
                <c:pt idx="25">
                  <c:v>0.50419999999999998</c:v>
                </c:pt>
                <c:pt idx="26">
                  <c:v>0.52459999999999996</c:v>
                </c:pt>
                <c:pt idx="27">
                  <c:v>0.36549999999999999</c:v>
                </c:pt>
                <c:pt idx="28">
                  <c:v>0.3387</c:v>
                </c:pt>
                <c:pt idx="29">
                  <c:v>0.40510000000000002</c:v>
                </c:pt>
              </c:numCache>
            </c:numRef>
          </c:xVal>
          <c:yVal>
            <c:numRef>
              <c:f>Sheet1!$B$2:$B$31</c:f>
              <c:numCache>
                <c:formatCode>General</c:formatCode>
                <c:ptCount val="30"/>
                <c:pt idx="0">
                  <c:v>14268.91</c:v>
                </c:pt>
                <c:pt idx="1">
                  <c:v>333.52941176470591</c:v>
                </c:pt>
                <c:pt idx="2">
                  <c:v>1964.9795918367349</c:v>
                </c:pt>
                <c:pt idx="3">
                  <c:v>9722.94</c:v>
                </c:pt>
                <c:pt idx="4">
                  <c:v>3345.6288659793809</c:v>
                </c:pt>
                <c:pt idx="5">
                  <c:v>480.09090909090912</c:v>
                </c:pt>
                <c:pt idx="6">
                  <c:v>3773</c:v>
                </c:pt>
                <c:pt idx="7">
                  <c:v>871.68656716417911</c:v>
                </c:pt>
                <c:pt idx="8">
                  <c:v>524.91836734693879</c:v>
                </c:pt>
                <c:pt idx="9">
                  <c:v>529.61038961038957</c:v>
                </c:pt>
                <c:pt idx="10">
                  <c:v>6542.91</c:v>
                </c:pt>
                <c:pt idx="11">
                  <c:v>1562.84</c:v>
                </c:pt>
                <c:pt idx="12">
                  <c:v>708.27083333333337</c:v>
                </c:pt>
                <c:pt idx="13">
                  <c:v>2741.89</c:v>
                </c:pt>
                <c:pt idx="14">
                  <c:v>844.63157894736844</c:v>
                </c:pt>
                <c:pt idx="15">
                  <c:v>1281.0212765957449</c:v>
                </c:pt>
                <c:pt idx="16">
                  <c:v>989.26136363636363</c:v>
                </c:pt>
                <c:pt idx="17">
                  <c:v>4276.8900000000003</c:v>
                </c:pt>
                <c:pt idx="18">
                  <c:v>7852.5</c:v>
                </c:pt>
                <c:pt idx="19">
                  <c:v>2175.4827586206902</c:v>
                </c:pt>
                <c:pt idx="20">
                  <c:v>964.35714285714278</c:v>
                </c:pt>
                <c:pt idx="21">
                  <c:v>4007.6315789473679</c:v>
                </c:pt>
                <c:pt idx="22">
                  <c:v>11512.05</c:v>
                </c:pt>
                <c:pt idx="23">
                  <c:v>2658.0808080808079</c:v>
                </c:pt>
                <c:pt idx="24">
                  <c:v>537.39583333333337</c:v>
                </c:pt>
                <c:pt idx="25">
                  <c:v>1025.28813559322</c:v>
                </c:pt>
                <c:pt idx="26">
                  <c:v>229.12676056338029</c:v>
                </c:pt>
                <c:pt idx="27">
                  <c:v>593.85106382978722</c:v>
                </c:pt>
                <c:pt idx="28">
                  <c:v>398.22784810126581</c:v>
                </c:pt>
                <c:pt idx="29">
                  <c:v>590.90566037735846</c:v>
                </c:pt>
              </c:numCache>
            </c:numRef>
          </c:yVal>
          <c:bubbleSize>
            <c:numRef>
              <c:f>Sheet1!$C$2:$C$31</c:f>
              <c:numCache>
                <c:formatCode>General</c:formatCode>
                <c:ptCount val="30"/>
                <c:pt idx="0">
                  <c:v>904769.62540000002</c:v>
                </c:pt>
                <c:pt idx="1">
                  <c:v>19208.837500000001</c:v>
                </c:pt>
                <c:pt idx="2">
                  <c:v>114242.4955</c:v>
                </c:pt>
                <c:pt idx="3">
                  <c:v>660282.57319999998</c:v>
                </c:pt>
                <c:pt idx="4">
                  <c:v>205815.49559999999</c:v>
                </c:pt>
                <c:pt idx="5">
                  <c:v>18882.7261</c:v>
                </c:pt>
                <c:pt idx="6">
                  <c:v>226705.78390000001</c:v>
                </c:pt>
                <c:pt idx="7">
                  <c:v>26386.711899999998</c:v>
                </c:pt>
                <c:pt idx="8">
                  <c:v>14639.8354</c:v>
                </c:pt>
                <c:pt idx="9">
                  <c:v>20175.003799999999</c:v>
                </c:pt>
                <c:pt idx="10">
                  <c:v>404752.79509999999</c:v>
                </c:pt>
                <c:pt idx="11">
                  <c:v>78689.65879999999</c:v>
                </c:pt>
                <c:pt idx="12">
                  <c:v>28854.082600000002</c:v>
                </c:pt>
                <c:pt idx="13">
                  <c:v>142684.70430000001</c:v>
                </c:pt>
                <c:pt idx="14">
                  <c:v>45376.329899999997</c:v>
                </c:pt>
                <c:pt idx="15">
                  <c:v>80141.60040000001</c:v>
                </c:pt>
                <c:pt idx="16">
                  <c:v>51837.37920000001</c:v>
                </c:pt>
                <c:pt idx="17">
                  <c:v>266178.70789999998</c:v>
                </c:pt>
                <c:pt idx="18">
                  <c:v>504699.10119999998</c:v>
                </c:pt>
                <c:pt idx="19">
                  <c:v>90101.286900000006</c:v>
                </c:pt>
                <c:pt idx="20">
                  <c:v>7213.1059999999998</c:v>
                </c:pt>
                <c:pt idx="21">
                  <c:v>238803.049</c:v>
                </c:pt>
                <c:pt idx="22">
                  <c:v>727771.94940000016</c:v>
                </c:pt>
                <c:pt idx="23">
                  <c:v>156408.5736</c:v>
                </c:pt>
                <c:pt idx="24">
                  <c:v>11898.0137</c:v>
                </c:pt>
                <c:pt idx="25">
                  <c:v>28426.323100000001</c:v>
                </c:pt>
                <c:pt idx="26">
                  <c:v>7330.6674000000003</c:v>
                </c:pt>
                <c:pt idx="27">
                  <c:v>33570.772400000002</c:v>
                </c:pt>
                <c:pt idx="28">
                  <c:v>19719.353500000001</c:v>
                </c:pt>
                <c:pt idx="29">
                  <c:v>17659.939200000001</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320Gr 16+4P</c:v>
                  </c:pt>
                  <c:pt idx="2">
                    <c:v>Boursin Cuisine Sauce Fromage Afh 1X240Gr 1P</c:v>
                  </c:pt>
                  <c:pt idx="3">
                    <c:v>Boursin Classique Fromage Frais A Tartiner Afh Boite 1X150Gr 1P</c:v>
                  </c:pt>
                  <c:pt idx="4">
                    <c:v>Boursin Classique Fromage Frais A Tartiner Ciboulette &amp; Echalote Boite 1X150Gr 1P</c:v>
                  </c:pt>
                  <c:pt idx="5">
                    <c:v>Boursin Classique Fromage Frais A Tartiner Truffe Boite 1X150Gr 1P</c:v>
                  </c:pt>
                  <c:pt idx="6">
                    <c:v>Boursin Classique Fromage Frais A Tartiner Figue Et 3 Noix Boite 1X150Gr 1P</c:v>
                  </c:pt>
                  <c:pt idx="7">
                    <c:v>Boursin Classique Fromage Frais A Tartiner 3 Noix Boite 1X150Gr 1P</c:v>
                  </c:pt>
                  <c:pt idx="8">
                    <c:v>Boursin Classique Fromage Frais A Tartiner 3 Noix 1X160Gr 10P</c:v>
                  </c:pt>
                  <c:pt idx="9">
                    <c:v>Boursin Vegetal Specialite Vegetale A Tartiner Afh 1X130Gr 1P</c:v>
                  </c:pt>
                  <c:pt idx="10">
                    <c:v>Boursin Salade &amp; Aperitif Fromage Frais Des Afh 1X120Gr 1P</c:v>
                  </c:pt>
                  <c:pt idx="11">
                    <c:v>Boursin Salade &amp; Aperitif Fromage Frais Des Figue Noix 1X120Gr 1P</c:v>
                  </c:pt>
                  <c:pt idx="12">
                    <c:v>Boursin Salade &amp; Aperitif Fromage Frais Des Noisette Et 3 Noix 1X120Gr 1P</c:v>
                  </c:pt>
                  <c:pt idx="13">
                    <c:v>Boursin Salade &amp; Aperitif Fromage Frais Des Ciboulette Echalote 1X120Gr 1P</c:v>
                  </c:pt>
                  <c:pt idx="14">
                    <c:v>Boursin Salade &amp; Aperitif Fromage Frais Des Citron Romarin 1X120Gr 1P</c:v>
                  </c:pt>
                  <c:pt idx="15">
                    <c:v>Boursin Classique Fromage Frais A Tartiner Afh Boite 1X80Gr 1P</c:v>
                  </c:pt>
                  <c:pt idx="16">
                    <c:v>Boursin Classique Fromage Frais A Tartiner Poivre Boite 1X150Gr 1P</c:v>
                  </c:pt>
                  <c:pt idx="17">
                    <c:v>Boursin Classique Fromage Frais A Tartiner Afh Boite 1X96Gr 6P</c:v>
                  </c:pt>
                  <c:pt idx="18">
                    <c:v>Boursin Aperitif Roules Fromage Frais Roule Afh Et Jambon Fume Boite 1X100Gr 20P</c:v>
                  </c:pt>
                  <c:pt idx="19">
                    <c:v>Boursin Classique Fromage Frais A Tartiner Afh 1X256Gr 16P</c:v>
                  </c:pt>
                  <c:pt idx="20">
                    <c:v>Boursin Classique Fromage Frais A Tartiner Ciboulette &amp; Echalote 1X160Gr 10P</c:v>
                  </c:pt>
                  <c:pt idx="21">
                    <c:v>Boursin Aperitif Roules Fromage Frais Roule Ciboulette &amp; Echalote Jambon Fume Boite 1X100Gr 20P</c:v>
                  </c:pt>
                  <c:pt idx="22">
                    <c:v>Boursin Classique Fromage Frais A Tartiner Afh Boite 1X250Gr 1P</c:v>
                  </c:pt>
                  <c:pt idx="23">
                    <c:v>Boursin Onctueux Fromage Frais A Tartiner Afh 1X125Gr 1P</c:v>
                  </c:pt>
                  <c:pt idx="24">
                    <c:v>Boursin Aperitif Roules Fromage Frais Roule Jambon Fume &amp; Trio De Noix Boite 1X100Gr 20P</c:v>
                  </c:pt>
                  <c:pt idx="25">
                    <c:v>Boursin Onctueux Fromage Frais A Tartiner Afh 1X210Gr 1P</c:v>
                  </c:pt>
                  <c:pt idx="26">
                    <c:v>Boursin Classique Fromage Frais A Tartiner Citron &amp; Romarin Boite 1X150Gr 1P</c:v>
                  </c:pt>
                  <c:pt idx="27">
                    <c:v>Boursin Salade &amp; Aperitif Soft Cheese Salade 120G</c:v>
                  </c:pt>
                  <c:pt idx="28">
                    <c:v>Boursin Vegetal Alternative Vegetale 150G</c:v>
                  </c:pt>
                  <c:pt idx="29">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F1B5444-7C2F-4FF1-AA2D-AA3D98B536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EF89A45-5280-4744-AE79-495E0944B0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BD7AE2C-D188-442E-8491-9A199A6AD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592F612-E01F-48FB-A4BD-FC5067771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5A1824B-E531-4E4E-BFD6-81C673F72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39B8FE9-109D-4AF6-9A20-35DDB54965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E691094-C5F0-4029-844E-3DC0605A2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0629999999999999</c:v>
                </c:pt>
                <c:pt idx="1">
                  <c:v>0.31119999999999998</c:v>
                </c:pt>
                <c:pt idx="2">
                  <c:v>0.39750000000000002</c:v>
                </c:pt>
                <c:pt idx="3">
                  <c:v>0.40410000000000001</c:v>
                </c:pt>
                <c:pt idx="4">
                  <c:v>0.27110000000000001</c:v>
                </c:pt>
                <c:pt idx="5">
                  <c:v>0.2873</c:v>
                </c:pt>
                <c:pt idx="6">
                  <c:v>0.35589999999999999</c:v>
                </c:pt>
                <c:pt idx="7">
                  <c:v>0.37519999999999998</c:v>
                </c:pt>
                <c:pt idx="8">
                  <c:v>0.41860000000000003</c:v>
                </c:pt>
                <c:pt idx="9">
                  <c:v>0.35120000000000001</c:v>
                </c:pt>
              </c:numCache>
            </c:numRef>
          </c:xVal>
          <c:yVal>
            <c:numRef>
              <c:f>Sheet1!$B$2:$B$11</c:f>
              <c:numCache>
                <c:formatCode>General</c:formatCode>
                <c:ptCount val="10"/>
                <c:pt idx="0">
                  <c:v>21137</c:v>
                </c:pt>
                <c:pt idx="1">
                  <c:v>16372.639175257729</c:v>
                </c:pt>
                <c:pt idx="2">
                  <c:v>2355.7580645161288</c:v>
                </c:pt>
                <c:pt idx="3">
                  <c:v>2737.2777777777778</c:v>
                </c:pt>
                <c:pt idx="4">
                  <c:v>5146.8873239436616</c:v>
                </c:pt>
                <c:pt idx="5">
                  <c:v>11937.040404040399</c:v>
                </c:pt>
                <c:pt idx="6">
                  <c:v>3755.261904761905</c:v>
                </c:pt>
                <c:pt idx="7">
                  <c:v>2356.2857142857142</c:v>
                </c:pt>
                <c:pt idx="8">
                  <c:v>9403.7474747474753</c:v>
                </c:pt>
                <c:pt idx="9">
                  <c:v>9956.6438356164381</c:v>
                </c:pt>
              </c:numCache>
            </c:numRef>
          </c:yVal>
          <c:bubbleSize>
            <c:numRef>
              <c:f>Sheet1!$C$2:$C$11</c:f>
              <c:numCache>
                <c:formatCode>General</c:formatCode>
                <c:ptCount val="10"/>
                <c:pt idx="0">
                  <c:v>1022986.8484</c:v>
                </c:pt>
                <c:pt idx="1">
                  <c:v>1036852.9036</c:v>
                </c:pt>
                <c:pt idx="2">
                  <c:v>83407.418800000014</c:v>
                </c:pt>
                <c:pt idx="3">
                  <c:v>83489.196199999991</c:v>
                </c:pt>
                <c:pt idx="4">
                  <c:v>252465.32579999999</c:v>
                </c:pt>
                <c:pt idx="5">
                  <c:v>798333.04369999992</c:v>
                </c:pt>
                <c:pt idx="6">
                  <c:v>96289.953199999989</c:v>
                </c:pt>
                <c:pt idx="7">
                  <c:v>87919.882999999987</c:v>
                </c:pt>
                <c:pt idx="8">
                  <c:v>513060.90409999993</c:v>
                </c:pt>
                <c:pt idx="9">
                  <c:v>446982.82140000002</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14CF450-B87B-41EA-ACD4-A3F55B115D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F0C14BA-3E95-40E6-8B7B-777072117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7FD402E-1A5B-4659-B01E-DF5F658FE2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55FD04C-111D-4E00-A77D-382BFE587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4432CEA-7C18-4294-B874-470BB98C8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6A39E9F-3F65-4B5C-B1E7-20C1D8FFA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AF161BA-EC71-46EB-8D93-0BA21DE11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7819999999999998</c:v>
                </c:pt>
                <c:pt idx="1">
                  <c:v>0.37680000000000002</c:v>
                </c:pt>
                <c:pt idx="2">
                  <c:v>0.3836</c:v>
                </c:pt>
                <c:pt idx="3">
                  <c:v>0.25169999999999998</c:v>
                </c:pt>
                <c:pt idx="4">
                  <c:v>0.32369999999999999</c:v>
                </c:pt>
                <c:pt idx="5">
                  <c:v>0.34</c:v>
                </c:pt>
                <c:pt idx="6">
                  <c:v>0.37419999999999998</c:v>
                </c:pt>
                <c:pt idx="7">
                  <c:v>0.41060000000000002</c:v>
                </c:pt>
                <c:pt idx="8">
                  <c:v>0.48559999999999998</c:v>
                </c:pt>
                <c:pt idx="9">
                  <c:v>0.38269999999999998</c:v>
                </c:pt>
              </c:numCache>
            </c:numRef>
          </c:xVal>
          <c:yVal>
            <c:numRef>
              <c:f>Sheet1!$B$2:$B$11</c:f>
              <c:numCache>
                <c:formatCode>General</c:formatCode>
                <c:ptCount val="10"/>
                <c:pt idx="0">
                  <c:v>3677.6391752577319</c:v>
                </c:pt>
                <c:pt idx="1">
                  <c:v>3513.0253164556962</c:v>
                </c:pt>
                <c:pt idx="2">
                  <c:v>19283.14141414141</c:v>
                </c:pt>
                <c:pt idx="3">
                  <c:v>6125.9615384615381</c:v>
                </c:pt>
                <c:pt idx="4">
                  <c:v>23908.927083333328</c:v>
                </c:pt>
                <c:pt idx="5">
                  <c:v>36882.898989898989</c:v>
                </c:pt>
                <c:pt idx="6">
                  <c:v>3586</c:v>
                </c:pt>
                <c:pt idx="7">
                  <c:v>9583.0909090909099</c:v>
                </c:pt>
                <c:pt idx="8">
                  <c:v>1907.64</c:v>
                </c:pt>
                <c:pt idx="9">
                  <c:v>6300.7113402061859</c:v>
                </c:pt>
              </c:numCache>
            </c:numRef>
          </c:yVal>
          <c:bubbleSize>
            <c:numRef>
              <c:f>Sheet1!$C$2:$C$11</c:f>
              <c:numCache>
                <c:formatCode>General</c:formatCode>
                <c:ptCount val="10"/>
                <c:pt idx="0">
                  <c:v>210256.40059999999</c:v>
                </c:pt>
                <c:pt idx="1">
                  <c:v>163944.598</c:v>
                </c:pt>
                <c:pt idx="2">
                  <c:v>1115386.6605</c:v>
                </c:pt>
                <c:pt idx="3">
                  <c:v>338910.8653</c:v>
                </c:pt>
                <c:pt idx="4">
                  <c:v>1471281.0649000001</c:v>
                </c:pt>
                <c:pt idx="5">
                  <c:v>2282886.3753999998</c:v>
                </c:pt>
                <c:pt idx="6">
                  <c:v>57429.013199999987</c:v>
                </c:pt>
                <c:pt idx="7">
                  <c:v>353367.2169</c:v>
                </c:pt>
                <c:pt idx="8">
                  <c:v>23255.5641</c:v>
                </c:pt>
                <c:pt idx="9">
                  <c:v>357582.02799999999</c:v>
                </c:pt>
              </c:numCache>
            </c:numRef>
          </c:bubbleSize>
          <c:bubble3D val="0"/>
          <c:extLst>
            <c:ext xmlns:c15="http://schemas.microsoft.com/office/drawing/2012/chart" uri="{02D57815-91ED-43cb-92C2-25804820EDAC}">
              <c15:datalabelsRange>
                <c15:f>Sheet1!$E$2:$E$50</c15:f>
                <c15:dlblRangeCache>
                  <c:ptCount val="49"/>
                  <c:pt idx="0">
                    <c:v>Toastinette Cheddar Fondu Tranche A Chaud Sachet 1X200Gr 10P</c:v>
                  </c:pt>
                  <c:pt idx="1">
                    <c:v>Toastinette Fromage Fondu Tranche A Chaud Sachet 1X200Gr 10P</c:v>
                  </c:pt>
                  <c:pt idx="2">
                    <c:v>La Vache Qui Rit Nature Fromage Fondu Boite Ronde 1X192Gr 12P</c:v>
                  </c:pt>
                  <c:pt idx="3">
                    <c:v>La Vache Qui Rit Nature Fromage Fondu Boite Ronde 1X512Gr 24+8P</c:v>
                  </c:pt>
                  <c:pt idx="4">
                    <c:v>La Vache Qui Rit Nature Fromage Fondu Boite Ronde 1X384Gr 24P</c:v>
                  </c:pt>
                  <c:pt idx="5">
                    <c:v>La Vache Qui Rit Nature Fromage Fondu Boite Ronde 1X512Gr 32P</c:v>
                  </c:pt>
                  <c:pt idx="6">
                    <c:v>La Vache Qui Rit Allegee Fromage Fondu Boite Ronde Allege 1X267Gr 16P</c:v>
                  </c:pt>
                  <c:pt idx="7">
                    <c:v>La Vache Qui Rit Nature Fromage Fondu Boite Ronde 1X128Gr 8P</c:v>
                  </c:pt>
                  <c:pt idx="8">
                    <c:v>La Vache Qui Rit Bio Fromage Fondu Boite Ronde 1X128Gr 8P</c:v>
                  </c:pt>
                  <c:pt idx="9">
                    <c:v>La Vache Qui Rit Pik Et Croq' Fromage Fondu Dips Boite 1X175Gr 5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President</c:v>
                </c:pt>
                <c:pt idx="2">
                  <c:v>La Belle Etoile</c:v>
                </c:pt>
                <c:pt idx="3">
                  <c:v>Boursin</c:v>
                </c:pt>
                <c:pt idx="4">
                  <c:v>La Vache Qui Rit</c:v>
                </c:pt>
                <c:pt idx="5">
                  <c:v>Others</c:v>
                </c:pt>
              </c:strCache>
            </c:strRef>
          </c:cat>
          <c:val>
            <c:numRef>
              <c:f>Sheet1!$B$2:$B$7</c:f>
              <c:numCache>
                <c:formatCode>General</c:formatCode>
                <c:ptCount val="6"/>
                <c:pt idx="0">
                  <c:v>0.58146056949114033</c:v>
                </c:pt>
                <c:pt idx="1">
                  <c:v>0.29569696206944801</c:v>
                </c:pt>
                <c:pt idx="2">
                  <c:v>4.2854496235711456E-2</c:v>
                </c:pt>
                <c:pt idx="3">
                  <c:v>2.0783125231090813E-2</c:v>
                </c:pt>
                <c:pt idx="4">
                  <c:v>1.6849337520132096E-2</c:v>
                </c:pt>
                <c:pt idx="5">
                  <c:v>4.2355509452477312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President</c:v>
                </c:pt>
                <c:pt idx="2">
                  <c:v>La Belle Etoile</c:v>
                </c:pt>
                <c:pt idx="3">
                  <c:v>Boursin</c:v>
                </c:pt>
                <c:pt idx="4">
                  <c:v>La Vache Qui Rit</c:v>
                </c:pt>
                <c:pt idx="5">
                  <c:v>Others</c:v>
                </c:pt>
              </c:strCache>
            </c:strRef>
          </c:cat>
          <c:val>
            <c:numRef>
              <c:f>Sheet1!$C$2:$C$7</c:f>
              <c:numCache>
                <c:formatCode>General</c:formatCode>
                <c:ptCount val="6"/>
                <c:pt idx="0">
                  <c:v>0.50655737704918036</c:v>
                </c:pt>
                <c:pt idx="1">
                  <c:v>0.30327868852459022</c:v>
                </c:pt>
                <c:pt idx="2">
                  <c:v>4.0983606557377053E-2</c:v>
                </c:pt>
                <c:pt idx="3">
                  <c:v>5.245901639344263E-2</c:v>
                </c:pt>
                <c:pt idx="4">
                  <c:v>3.7704918032786881E-2</c:v>
                </c:pt>
                <c:pt idx="5">
                  <c:v>5.9016393442622953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President</c:v>
                </c:pt>
                <c:pt idx="2">
                  <c:v>La Belle Etoile</c:v>
                </c:pt>
                <c:pt idx="3">
                  <c:v>Boursin</c:v>
                </c:pt>
                <c:pt idx="4">
                  <c:v>La Vache Qui Rit</c:v>
                </c:pt>
                <c:pt idx="5">
                  <c:v>Others</c:v>
                </c:pt>
              </c:strCache>
            </c:strRef>
          </c:cat>
          <c:val>
            <c:numRef>
              <c:f>Sheet1!$D$2:$D$7</c:f>
              <c:numCache>
                <c:formatCode>General</c:formatCode>
                <c:ptCount val="6"/>
                <c:pt idx="0">
                  <c:v>87.118095985853216</c:v>
                </c:pt>
                <c:pt idx="1">
                  <c:v>102.56401905588788</c:v>
                </c:pt>
                <c:pt idx="2">
                  <c:v>95.63432115023825</c:v>
                </c:pt>
                <c:pt idx="3">
                  <c:v>252.41158781531959</c:v>
                </c:pt>
                <c:pt idx="4">
                  <c:v>223.77685762265673</c:v>
                </c:pt>
                <c:pt idx="5">
                  <c:v>139.3358129922603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1614E4A-43A7-4977-A5C4-712816AA79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53EAEFC-0304-44B7-873E-C252B9E8F8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C8318CB-8206-4058-B9F0-7DDBEC7F0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FD02D7B-814F-4A75-8380-66F6C73A4F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92187B2-1831-46A6-9F7A-E1CAF078EB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6A9F75E-8ABA-45DE-8D15-53FA932E0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48AEEDB-0338-45DA-B677-F39D111D4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6</c:f>
              <c:numCache>
                <c:formatCode>General</c:formatCode>
                <c:ptCount val="25"/>
                <c:pt idx="0">
                  <c:v>0.34610000000000002</c:v>
                </c:pt>
                <c:pt idx="1">
                  <c:v>0.33829999999999999</c:v>
                </c:pt>
                <c:pt idx="2">
                  <c:v>0.40160000000000001</c:v>
                </c:pt>
                <c:pt idx="3">
                  <c:v>0.29520000000000002</c:v>
                </c:pt>
                <c:pt idx="4">
                  <c:v>0.3367</c:v>
                </c:pt>
                <c:pt idx="5">
                  <c:v>0.38890000000000002</c:v>
                </c:pt>
                <c:pt idx="6">
                  <c:v>0.36449999999999999</c:v>
                </c:pt>
                <c:pt idx="7">
                  <c:v>0.52500000000000002</c:v>
                </c:pt>
                <c:pt idx="8">
                  <c:v>0.53700000000000003</c:v>
                </c:pt>
                <c:pt idx="9">
                  <c:v>0.48120000000000002</c:v>
                </c:pt>
                <c:pt idx="10">
                  <c:v>0.33850000000000002</c:v>
                </c:pt>
                <c:pt idx="11">
                  <c:v>0.42830000000000001</c:v>
                </c:pt>
                <c:pt idx="12">
                  <c:v>0.51900000000000002</c:v>
                </c:pt>
                <c:pt idx="13">
                  <c:v>0.38650000000000001</c:v>
                </c:pt>
                <c:pt idx="14">
                  <c:v>0.41239999999999999</c:v>
                </c:pt>
                <c:pt idx="15">
                  <c:v>0.35139999999999999</c:v>
                </c:pt>
                <c:pt idx="16">
                  <c:v>0.32590000000000002</c:v>
                </c:pt>
                <c:pt idx="17">
                  <c:v>0.33339999999999997</c:v>
                </c:pt>
                <c:pt idx="18">
                  <c:v>0.34660000000000002</c:v>
                </c:pt>
                <c:pt idx="19">
                  <c:v>0.39269999999999999</c:v>
                </c:pt>
                <c:pt idx="20">
                  <c:v>0.52849999999999997</c:v>
                </c:pt>
                <c:pt idx="21">
                  <c:v>0.44190000000000002</c:v>
                </c:pt>
                <c:pt idx="22">
                  <c:v>0.40510000000000002</c:v>
                </c:pt>
                <c:pt idx="23">
                  <c:v>0.33529999999999999</c:v>
                </c:pt>
                <c:pt idx="24">
                  <c:v>0.45679999999999998</c:v>
                </c:pt>
              </c:numCache>
            </c:numRef>
          </c:xVal>
          <c:yVal>
            <c:numRef>
              <c:f>Sheet1!$B$2:$B$26</c:f>
              <c:numCache>
                <c:formatCode>General</c:formatCode>
                <c:ptCount val="25"/>
                <c:pt idx="0">
                  <c:v>12114.479591836731</c:v>
                </c:pt>
                <c:pt idx="1">
                  <c:v>535.8648648648649</c:v>
                </c:pt>
                <c:pt idx="2">
                  <c:v>1510.3611111111111</c:v>
                </c:pt>
                <c:pt idx="3">
                  <c:v>11147.28282828283</c:v>
                </c:pt>
                <c:pt idx="4">
                  <c:v>3558.674157303371</c:v>
                </c:pt>
                <c:pt idx="5">
                  <c:v>247.92156862745099</c:v>
                </c:pt>
                <c:pt idx="6">
                  <c:v>1122.0923076923079</c:v>
                </c:pt>
                <c:pt idx="7">
                  <c:v>611.55737704918033</c:v>
                </c:pt>
                <c:pt idx="8">
                  <c:v>486.04878048780489</c:v>
                </c:pt>
                <c:pt idx="9">
                  <c:v>1088.583333333333</c:v>
                </c:pt>
                <c:pt idx="10">
                  <c:v>7616.333333333333</c:v>
                </c:pt>
                <c:pt idx="11">
                  <c:v>1998.6373626373629</c:v>
                </c:pt>
                <c:pt idx="12">
                  <c:v>776.29113924050637</c:v>
                </c:pt>
                <c:pt idx="13">
                  <c:v>1784.8315789473679</c:v>
                </c:pt>
                <c:pt idx="14">
                  <c:v>1265.291666666667</c:v>
                </c:pt>
                <c:pt idx="15">
                  <c:v>5526.197802197802</c:v>
                </c:pt>
                <c:pt idx="16">
                  <c:v>9753.2978723404249</c:v>
                </c:pt>
                <c:pt idx="17">
                  <c:v>6344.6627906976746</c:v>
                </c:pt>
                <c:pt idx="18">
                  <c:v>10084.61052631579</c:v>
                </c:pt>
                <c:pt idx="19">
                  <c:v>3883.376470588235</c:v>
                </c:pt>
                <c:pt idx="20">
                  <c:v>504.1</c:v>
                </c:pt>
                <c:pt idx="21">
                  <c:v>989.66666666666663</c:v>
                </c:pt>
                <c:pt idx="22">
                  <c:v>908.5915492957746</c:v>
                </c:pt>
                <c:pt idx="23">
                  <c:v>660.44</c:v>
                </c:pt>
                <c:pt idx="24">
                  <c:v>727.37931034482767</c:v>
                </c:pt>
              </c:numCache>
            </c:numRef>
          </c:yVal>
          <c:bubbleSize>
            <c:numRef>
              <c:f>Sheet1!$C$2:$C$26</c:f>
              <c:numCache>
                <c:formatCode>General</c:formatCode>
                <c:ptCount val="25"/>
                <c:pt idx="0">
                  <c:v>735837.03899999987</c:v>
                </c:pt>
                <c:pt idx="1">
                  <c:v>12435.307000000001</c:v>
                </c:pt>
                <c:pt idx="2">
                  <c:v>61677.407299999999</c:v>
                </c:pt>
                <c:pt idx="3">
                  <c:v>737303.34119999991</c:v>
                </c:pt>
                <c:pt idx="4">
                  <c:v>199120.19279999999</c:v>
                </c:pt>
                <c:pt idx="5">
                  <c:v>7323.7779999999984</c:v>
                </c:pt>
                <c:pt idx="6">
                  <c:v>43933.779499999997</c:v>
                </c:pt>
                <c:pt idx="7">
                  <c:v>16794.665700000001</c:v>
                </c:pt>
                <c:pt idx="8">
                  <c:v>8745.5810000000001</c:v>
                </c:pt>
                <c:pt idx="9">
                  <c:v>12846.708699999999</c:v>
                </c:pt>
                <c:pt idx="10">
                  <c:v>472778.95269999991</c:v>
                </c:pt>
                <c:pt idx="11">
                  <c:v>98555.869400000011</c:v>
                </c:pt>
                <c:pt idx="12">
                  <c:v>27963.0069</c:v>
                </c:pt>
                <c:pt idx="13">
                  <c:v>98599.152199999982</c:v>
                </c:pt>
                <c:pt idx="14">
                  <c:v>50744.359600000003</c:v>
                </c:pt>
                <c:pt idx="15">
                  <c:v>309185.78110000002</c:v>
                </c:pt>
                <c:pt idx="16">
                  <c:v>585791.43079999997</c:v>
                </c:pt>
                <c:pt idx="17">
                  <c:v>344738.34379999997</c:v>
                </c:pt>
                <c:pt idx="18">
                  <c:v>593369.18190000008</c:v>
                </c:pt>
                <c:pt idx="19">
                  <c:v>190007.0134</c:v>
                </c:pt>
                <c:pt idx="20">
                  <c:v>11264.5497</c:v>
                </c:pt>
                <c:pt idx="21">
                  <c:v>1570.7198000000001</c:v>
                </c:pt>
                <c:pt idx="22">
                  <c:v>36378.559800000003</c:v>
                </c:pt>
                <c:pt idx="23">
                  <c:v>10403.1235</c:v>
                </c:pt>
                <c:pt idx="24">
                  <c:v>10860.940199999999</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320Gr 16+4P</c:v>
                  </c:pt>
                  <c:pt idx="2">
                    <c:v>Boursin Cuisine Sauce Fromage Afh 1X240Gr 1P</c:v>
                  </c:pt>
                  <c:pt idx="3">
                    <c:v>Boursin Classique Fromage Frais A Tartiner Afh Boite 1X150Gr 1P</c:v>
                  </c:pt>
                  <c:pt idx="4">
                    <c:v>Boursin Classique Fromage Frais A Tartiner Ciboulette &amp; Echalote Boite 1X150Gr 1P</c:v>
                  </c:pt>
                  <c:pt idx="5">
                    <c:v>Boursin Classique Fromage Frais A Tartiner Truffe Boite 1X150Gr 1P</c:v>
                  </c:pt>
                  <c:pt idx="6">
                    <c:v>Boursin Classique Fromage Frais A Tartiner Figue Et 3 Noix Boite 1X150Gr 1P</c:v>
                  </c:pt>
                  <c:pt idx="7">
                    <c:v>Boursin Classique Fromage Frais A Tartiner 3 Noix Boite 1X150Gr 1P</c:v>
                  </c:pt>
                  <c:pt idx="8">
                    <c:v>Boursin Classique Fromage Frais A Tartiner 3 Noix 1X160Gr 10P</c:v>
                  </c:pt>
                  <c:pt idx="9">
                    <c:v>Boursin Vegetal Specialite Vegetale A Tartiner Afh 1X130Gr 1P</c:v>
                  </c:pt>
                  <c:pt idx="10">
                    <c:v>Boursin Salade &amp; Aperitif Fromage Frais Des Afh 1X120Gr 1P</c:v>
                  </c:pt>
                  <c:pt idx="11">
                    <c:v>Boursin Salade &amp; Aperitif Fromage Frais Des Figue Noix 1X120Gr 1P</c:v>
                  </c:pt>
                  <c:pt idx="12">
                    <c:v>Boursin Salade &amp; Aperitif Fromage Frais Des Noisette Et 3 Noix 1X120Gr 1P</c:v>
                  </c:pt>
                  <c:pt idx="13">
                    <c:v>Boursin Salade &amp; Aperitif Fromage Frais Des Ciboulette Echalote 1X120Gr 1P</c:v>
                  </c:pt>
                  <c:pt idx="14">
                    <c:v>Boursin Salade &amp; Aperitif Fromage Frais Des Citron Romarin 1X120Gr 1P</c:v>
                  </c:pt>
                  <c:pt idx="15">
                    <c:v>Boursin Classique Fromage Frais A Tartiner Afh Boite 1X96Gr 6P</c:v>
                  </c:pt>
                  <c:pt idx="16">
                    <c:v>Boursin Aperitif Roules Fromage Frais Roule Afh Et Jambon Fume Boite 1X100Gr 20P</c:v>
                  </c:pt>
                  <c:pt idx="17">
                    <c:v>Boursin Aperitif Roules Fromage Frais Roule Ciboulette &amp; Echalote Jambon Fume Boite 1X100Gr 20P</c:v>
                  </c:pt>
                  <c:pt idx="18">
                    <c:v>Boursin Classique Fromage Frais A Tartiner Afh Boite 1X250Gr 1P</c:v>
                  </c:pt>
                  <c:pt idx="19">
                    <c:v>Boursin Onctueux Fromage Frais A Tartiner Afh 1X125Gr 1P</c:v>
                  </c:pt>
                  <c:pt idx="20">
                    <c:v>Boursin Aperitif Roules Fromage Frais Roule Jambon Fume &amp; Trio De Noix Boite 1X100Gr 20P</c:v>
                  </c:pt>
                  <c:pt idx="21">
                    <c:v>Boursin Onctueux Fromage Frais A Tartiner Afh 1X210Gr 1P</c:v>
                  </c:pt>
                  <c:pt idx="22">
                    <c:v>Boursin Salade &amp; Aperitif Soft Cheese Salade 120G</c:v>
                  </c:pt>
                  <c:pt idx="23">
                    <c:v>Boursin Vegetal Alternative Vegetale 150G</c:v>
                  </c:pt>
                  <c:pt idx="24">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2132488-CFF3-444A-9E01-3719F8115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053A289-A52E-43B2-AC52-020EEEAC2F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4A74345-D420-4975-8549-CF4EDB1FC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C01D601-BAF9-4F95-89B5-F64CED9BD3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5D64D7C-7DC3-4BE5-A0FE-590F611F38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08C09AA-6772-428C-B5F1-10DA307CB2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0383E03-4356-4201-92B4-9DC1FA787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3422</c:v>
                </c:pt>
                <c:pt idx="1">
                  <c:v>0.4642</c:v>
                </c:pt>
                <c:pt idx="2">
                  <c:v>0.41460000000000002</c:v>
                </c:pt>
                <c:pt idx="3">
                  <c:v>0.42380000000000001</c:v>
                </c:pt>
                <c:pt idx="4">
                  <c:v>0.51980000000000004</c:v>
                </c:pt>
                <c:pt idx="5">
                  <c:v>0.39100000000000001</c:v>
                </c:pt>
              </c:numCache>
            </c:numRef>
          </c:xVal>
          <c:yVal>
            <c:numRef>
              <c:f>Sheet1!$B$2:$B$7</c:f>
              <c:numCache>
                <c:formatCode>General</c:formatCode>
                <c:ptCount val="6"/>
                <c:pt idx="0">
                  <c:v>6803.333333333333</c:v>
                </c:pt>
                <c:pt idx="1">
                  <c:v>6336.7321428571422</c:v>
                </c:pt>
                <c:pt idx="2">
                  <c:v>24603.90625</c:v>
                </c:pt>
                <c:pt idx="3">
                  <c:v>4204.2222222222226</c:v>
                </c:pt>
                <c:pt idx="4">
                  <c:v>11954</c:v>
                </c:pt>
                <c:pt idx="5">
                  <c:v>7187</c:v>
                </c:pt>
              </c:numCache>
            </c:numRef>
          </c:yVal>
          <c:bubbleSize>
            <c:numRef>
              <c:f>Sheet1!$C$2:$C$7</c:f>
              <c:numCache>
                <c:formatCode>General</c:formatCode>
                <c:ptCount val="6"/>
                <c:pt idx="0">
                  <c:v>25453.1044</c:v>
                </c:pt>
                <c:pt idx="1">
                  <c:v>180235.58540000001</c:v>
                </c:pt>
                <c:pt idx="2">
                  <c:v>1310618.0515000001</c:v>
                </c:pt>
                <c:pt idx="3">
                  <c:v>61994.774900000011</c:v>
                </c:pt>
                <c:pt idx="4">
                  <c:v>386330.07020000002</c:v>
                </c:pt>
                <c:pt idx="5">
                  <c:v>8296.8222000000005</c:v>
                </c:pt>
              </c:numCache>
            </c:numRef>
          </c:bubbleSize>
          <c:bubble3D val="0"/>
          <c:extLst>
            <c:ext xmlns:c15="http://schemas.microsoft.com/office/drawing/2012/chart" uri="{02D57815-91ED-43cb-92C2-25804820EDAC}">
              <c15:datalabelsRange>
                <c15:f>Sheet1!$E$2:$E$50</c15:f>
                <c15:dlblRangeCache>
                  <c:ptCount val="49"/>
                  <c:pt idx="0">
                    <c:v>Kiri Creme Fromage Blanc Frais Carre 1X216Gr 12P</c:v>
                  </c:pt>
                  <c:pt idx="1">
                    <c:v>Kiri Delicieusement Fouette Fromage Frais A Tartiner 1X125Gr 1P</c:v>
                  </c:pt>
                  <c:pt idx="2">
                    <c:v>Kiri Creme Fromage Blanc Frais Carre 1X144Gr 8P</c:v>
                  </c:pt>
                  <c:pt idx="3">
                    <c:v>Kiri Delicieusement Fouette Fromage Frais A Tartiner 1X160Gr 10P</c:v>
                  </c:pt>
                  <c:pt idx="4">
                    <c:v>Kiri Gouter Fromage Blanc Dips Boite 1X175Gr 5P</c:v>
                  </c:pt>
                  <c:pt idx="5">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8BF7DD0-EB3D-460A-97C2-C27859F0C2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C75CAE6-A832-4E1C-9F95-371A72C60B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5294721-05AE-46A1-87E6-07B69C762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2D54F77-4E59-49A7-982D-D4102D73D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1F6C9CB-FB58-4E74-95F4-F78DEDCF0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7C0038C-78AE-4DB9-9670-0C8762F914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35B21A5-876F-4AE1-9F62-0B7C5E9B5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438</c:v>
                </c:pt>
                <c:pt idx="1">
                  <c:v>0.41599999999999998</c:v>
                </c:pt>
                <c:pt idx="2">
                  <c:v>0.45679999999999998</c:v>
                </c:pt>
                <c:pt idx="3">
                  <c:v>0.43099999999999999</c:v>
                </c:pt>
                <c:pt idx="4">
                  <c:v>0.47120000000000001</c:v>
                </c:pt>
                <c:pt idx="5">
                  <c:v>0.56910000000000005</c:v>
                </c:pt>
                <c:pt idx="6">
                  <c:v>0.51590000000000003</c:v>
                </c:pt>
                <c:pt idx="7">
                  <c:v>0.46429999999999999</c:v>
                </c:pt>
              </c:numCache>
            </c:numRef>
          </c:xVal>
          <c:yVal>
            <c:numRef>
              <c:f>Sheet1!$B$2:$B$9</c:f>
              <c:numCache>
                <c:formatCode>General</c:formatCode>
                <c:ptCount val="8"/>
                <c:pt idx="0">
                  <c:v>2435.8888888888891</c:v>
                </c:pt>
                <c:pt idx="1">
                  <c:v>4163.6000000000004</c:v>
                </c:pt>
                <c:pt idx="2">
                  <c:v>30497.54945054945</c:v>
                </c:pt>
                <c:pt idx="3">
                  <c:v>28146.97872340426</c:v>
                </c:pt>
                <c:pt idx="4">
                  <c:v>14182</c:v>
                </c:pt>
                <c:pt idx="5">
                  <c:v>4702.2</c:v>
                </c:pt>
                <c:pt idx="6">
                  <c:v>3558.5</c:v>
                </c:pt>
                <c:pt idx="7">
                  <c:v>8683.745098039215</c:v>
                </c:pt>
              </c:numCache>
            </c:numRef>
          </c:yVal>
          <c:bubbleSize>
            <c:numRef>
              <c:f>Sheet1!$C$2:$C$9</c:f>
              <c:numCache>
                <c:formatCode>General</c:formatCode>
                <c:ptCount val="8"/>
                <c:pt idx="0">
                  <c:v>23355.519799999998</c:v>
                </c:pt>
                <c:pt idx="1">
                  <c:v>11524.250400000001</c:v>
                </c:pt>
                <c:pt idx="2">
                  <c:v>1428878.9875</c:v>
                </c:pt>
                <c:pt idx="3">
                  <c:v>713431.4463999999</c:v>
                </c:pt>
                <c:pt idx="4">
                  <c:v>63970.783399999993</c:v>
                </c:pt>
                <c:pt idx="5">
                  <c:v>9602.1797999999999</c:v>
                </c:pt>
                <c:pt idx="6">
                  <c:v>13063.788699999999</c:v>
                </c:pt>
                <c:pt idx="7">
                  <c:v>224893.63399999999</c:v>
                </c:pt>
              </c:numCache>
            </c:numRef>
          </c:bubbleSize>
          <c:bubble3D val="0"/>
          <c:extLst>
            <c:ext xmlns:c15="http://schemas.microsoft.com/office/drawing/2012/chart" uri="{02D57815-91ED-43cb-92C2-25804820EDAC}">
              <c15:datalabelsRange>
                <c15:f>Sheet1!$E$2:$E$50</c15:f>
                <c15:dlblRangeCache>
                  <c:ptCount val="49"/>
                  <c:pt idx="0">
                    <c:v>Toastinette Cheddar Fondu Tranche A Chaud Sachet 1X200Gr 10P</c:v>
                  </c:pt>
                  <c:pt idx="1">
                    <c:v>Toastinette Fromage Fondu Tranche A Chaud Sachet 1X200Gr 10P</c:v>
                  </c:pt>
                  <c:pt idx="2">
                    <c:v>La Vache Qui Rit Nature Fromage Fondu Boite Ronde 1X192Gr 12P</c:v>
                  </c:pt>
                  <c:pt idx="3">
                    <c:v>La Vache Qui Rit Nature Fromage Fondu Boite Ronde 1X384Gr 24P</c:v>
                  </c:pt>
                  <c:pt idx="4">
                    <c:v>La Vache Qui Rit Nature Fromage Fondu Boite Ronde 1X128Gr 8P</c:v>
                  </c:pt>
                  <c:pt idx="5">
                    <c:v>La Vache Qui Rit Pik Et Croq' Fromage Fondu Dips Boite 1X35Gr 1P</c:v>
                  </c:pt>
                  <c:pt idx="6">
                    <c:v>La Vache Qui Rit Bio Fromage Fondu Boite Ronde 1X128Gr 8P</c:v>
                  </c:pt>
                  <c:pt idx="7">
                    <c:v>La Vache Qui Rit Pik Et Croq' Fromage Fondu Dips Boite 1X175Gr 5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341B838-0F54-44CD-84BB-E1829BBD3E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B39DF83-61D2-4312-9E71-AF8ADCE6E0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962809B-23ED-443C-87B1-0EA6168DA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4C850C6-7F12-4837-810B-66832EE797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96F9079-2180-4682-9188-964D90960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C20ECCF-1141-45F5-8AEC-03DD0D2D87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9254D64-7FF6-4B71-86A3-E92DE25810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8700000000000001</c:v>
                </c:pt>
                <c:pt idx="1">
                  <c:v>0.49059999999999998</c:v>
                </c:pt>
                <c:pt idx="2">
                  <c:v>0.42470000000000002</c:v>
                </c:pt>
                <c:pt idx="3">
                  <c:v>0.49380000000000002</c:v>
                </c:pt>
                <c:pt idx="4">
                  <c:v>0.38890000000000002</c:v>
                </c:pt>
                <c:pt idx="5">
                  <c:v>0.51280000000000003</c:v>
                </c:pt>
                <c:pt idx="6">
                  <c:v>0.44059999999999999</c:v>
                </c:pt>
                <c:pt idx="7">
                  <c:v>0.4234</c:v>
                </c:pt>
                <c:pt idx="8">
                  <c:v>0.41980000000000001</c:v>
                </c:pt>
                <c:pt idx="9">
                  <c:v>0.48399999999999999</c:v>
                </c:pt>
              </c:numCache>
            </c:numRef>
          </c:xVal>
          <c:yVal>
            <c:numRef>
              <c:f>Sheet1!$B$2:$B$11</c:f>
              <c:numCache>
                <c:formatCode>General</c:formatCode>
                <c:ptCount val="10"/>
                <c:pt idx="0">
                  <c:v>13191.32075471698</c:v>
                </c:pt>
                <c:pt idx="1">
                  <c:v>2491</c:v>
                </c:pt>
                <c:pt idx="2">
                  <c:v>15938.25301204819</c:v>
                </c:pt>
                <c:pt idx="3">
                  <c:v>5998.125</c:v>
                </c:pt>
                <c:pt idx="4">
                  <c:v>456.8</c:v>
                </c:pt>
                <c:pt idx="5">
                  <c:v>7412.0886075949365</c:v>
                </c:pt>
                <c:pt idx="6">
                  <c:v>1914.818181818182</c:v>
                </c:pt>
                <c:pt idx="7">
                  <c:v>3634.833333333333</c:v>
                </c:pt>
                <c:pt idx="8">
                  <c:v>15549.142857142861</c:v>
                </c:pt>
                <c:pt idx="9">
                  <c:v>4525.5294117647063</c:v>
                </c:pt>
              </c:numCache>
            </c:numRef>
          </c:yVal>
          <c:bubbleSize>
            <c:numRef>
              <c:f>Sheet1!$C$2:$C$11</c:f>
              <c:numCache>
                <c:formatCode>General</c:formatCode>
                <c:ptCount val="10"/>
                <c:pt idx="0">
                  <c:v>406219.11790000001</c:v>
                </c:pt>
                <c:pt idx="1">
                  <c:v>38486.522599999997</c:v>
                </c:pt>
                <c:pt idx="2">
                  <c:v>721435.53999999992</c:v>
                </c:pt>
                <c:pt idx="3">
                  <c:v>23024.1188</c:v>
                </c:pt>
                <c:pt idx="4">
                  <c:v>2645.9699000000001</c:v>
                </c:pt>
                <c:pt idx="5">
                  <c:v>270415.65699999989</c:v>
                </c:pt>
                <c:pt idx="6">
                  <c:v>11168.7999</c:v>
                </c:pt>
                <c:pt idx="7">
                  <c:v>23839.869699999999</c:v>
                </c:pt>
                <c:pt idx="8">
                  <c:v>478859.43920000002</c:v>
                </c:pt>
                <c:pt idx="9">
                  <c:v>37630.871599999999</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uisine Sauce Fromage Afh 1X240Gr 1P</c:v>
                  </c:pt>
                  <c:pt idx="2">
                    <c:v>Boursin Classique Fromage Frais A Tartiner Afh Boite 1X150Gr 1P</c:v>
                  </c:pt>
                  <c:pt idx="3">
                    <c:v>Boursin Classique Fromage Frais A Tartiner Ciboulette &amp; Echalote Boite 1X150Gr 1P</c:v>
                  </c:pt>
                  <c:pt idx="4">
                    <c:v>Boursin Classique Fromage Frais A Tartiner Truffe Boite 1X150Gr 1P</c:v>
                  </c:pt>
                  <c:pt idx="5">
                    <c:v>Boursin Salade &amp; Aperitif Fromage Frais Des Afh 1X120Gr 1P</c:v>
                  </c:pt>
                  <c:pt idx="6">
                    <c:v>Boursin Classique Fromage Frais A Tartiner Afh Boite 1X80Gr 1P</c:v>
                  </c:pt>
                  <c:pt idx="7">
                    <c:v>Boursin Classique Fromage Frais A Tartiner Afh Boite 1X96Gr 6P</c:v>
                  </c:pt>
                  <c:pt idx="8">
                    <c:v>Boursin Aperitif Roules Fromage Frais Roule Afh Et Jambon Fume Boite 1X100Gr 20P</c:v>
                  </c:pt>
                  <c:pt idx="9">
                    <c:v>Boursin Aperitif Roules Fromage Frais Roule Ciboulette &amp; Echalote Jambon Fume Boite 1X100Gr 2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F08B193-1C25-474F-BEDE-39F557FC6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D9FFA22-7CD7-448C-A647-885ABD2125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3827B29-29E4-4706-93F3-D6BB6525E2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A33ABA2-E259-4E4D-9D5C-442F12457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AD0C156-699C-448E-98C3-5725F4C2C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12750A1-CD95-4709-B417-BACDC3F46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9D1D760-D641-4A27-A0F8-EC52DAEEC7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3468</c:v>
                </c:pt>
                <c:pt idx="1">
                  <c:v>0.3231</c:v>
                </c:pt>
                <c:pt idx="2">
                  <c:v>0.45629999999999998</c:v>
                </c:pt>
                <c:pt idx="3">
                  <c:v>0.502</c:v>
                </c:pt>
                <c:pt idx="4">
                  <c:v>0.2797</c:v>
                </c:pt>
                <c:pt idx="5">
                  <c:v>0.34410000000000002</c:v>
                </c:pt>
                <c:pt idx="6">
                  <c:v>0.47489999999999999</c:v>
                </c:pt>
                <c:pt idx="7">
                  <c:v>0.41339999999999999</c:v>
                </c:pt>
                <c:pt idx="8">
                  <c:v>0.36549999999999999</c:v>
                </c:pt>
                <c:pt idx="9">
                  <c:v>0.36370000000000002</c:v>
                </c:pt>
                <c:pt idx="10">
                  <c:v>0.49349999999999999</c:v>
                </c:pt>
              </c:numCache>
            </c:numRef>
          </c:xVal>
          <c:yVal>
            <c:numRef>
              <c:f>Sheet1!$B$2:$B$12</c:f>
              <c:numCache>
                <c:formatCode>General</c:formatCode>
                <c:ptCount val="11"/>
                <c:pt idx="0">
                  <c:v>32269.033707865168</c:v>
                </c:pt>
                <c:pt idx="1">
                  <c:v>33468.141414141413</c:v>
                </c:pt>
                <c:pt idx="2">
                  <c:v>4455.9195402298847</c:v>
                </c:pt>
                <c:pt idx="3">
                  <c:v>372.55263157894728</c:v>
                </c:pt>
                <c:pt idx="4">
                  <c:v>2418.6506024096379</c:v>
                </c:pt>
                <c:pt idx="5">
                  <c:v>18609.404040404039</c:v>
                </c:pt>
                <c:pt idx="6">
                  <c:v>5208.2666666666664</c:v>
                </c:pt>
                <c:pt idx="7">
                  <c:v>2162.5319148936169</c:v>
                </c:pt>
                <c:pt idx="8">
                  <c:v>14583.53535353535</c:v>
                </c:pt>
                <c:pt idx="9">
                  <c:v>20546</c:v>
                </c:pt>
                <c:pt idx="10">
                  <c:v>4180.2941176470586</c:v>
                </c:pt>
              </c:numCache>
            </c:numRef>
          </c:yVal>
          <c:bubbleSize>
            <c:numRef>
              <c:f>Sheet1!$C$2:$C$12</c:f>
              <c:numCache>
                <c:formatCode>General</c:formatCode>
                <c:ptCount val="11"/>
                <c:pt idx="0">
                  <c:v>1778045.8265</c:v>
                </c:pt>
                <c:pt idx="1">
                  <c:v>2125742.0899999989</c:v>
                </c:pt>
                <c:pt idx="2">
                  <c:v>199779.41380000001</c:v>
                </c:pt>
                <c:pt idx="3">
                  <c:v>6682.76</c:v>
                </c:pt>
                <c:pt idx="4">
                  <c:v>137063.24</c:v>
                </c:pt>
                <c:pt idx="5">
                  <c:v>1145425.8885999999</c:v>
                </c:pt>
                <c:pt idx="6">
                  <c:v>155551.09090000001</c:v>
                </c:pt>
                <c:pt idx="7">
                  <c:v>113028.4296</c:v>
                </c:pt>
                <c:pt idx="8">
                  <c:v>868378.01190000016</c:v>
                </c:pt>
                <c:pt idx="9">
                  <c:v>1189534.4426</c:v>
                </c:pt>
                <c:pt idx="10">
                  <c:v>136467.6223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pt idx="10">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7D43635-F804-4DDC-BB93-F7D567F9F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8EB4D53-7A97-4E58-9BDA-C2481E9B2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17B5F94-59E9-41DF-B285-5D8229387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6E151BD-8343-4AD9-BDEC-79CD9A7C7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410A6EE-8B3D-40B6-9194-84FB00DB1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4838210-6781-4970-B506-47BDD5FA05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0711082-AD83-4EB6-AD52-49A891E8C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54959999999999998</c:v>
                </c:pt>
                <c:pt idx="1">
                  <c:v>0.39600000000000002</c:v>
                </c:pt>
                <c:pt idx="2">
                  <c:v>0.2455</c:v>
                </c:pt>
                <c:pt idx="3">
                  <c:v>0.35460000000000003</c:v>
                </c:pt>
                <c:pt idx="4">
                  <c:v>0.32069999999999999</c:v>
                </c:pt>
                <c:pt idx="5">
                  <c:v>0.42880000000000001</c:v>
                </c:pt>
                <c:pt idx="6">
                  <c:v>0.41899999999999998</c:v>
                </c:pt>
                <c:pt idx="7">
                  <c:v>0.49299999999999999</c:v>
                </c:pt>
              </c:numCache>
            </c:numRef>
          </c:xVal>
          <c:yVal>
            <c:numRef>
              <c:f>Sheet1!$B$2:$B$9</c:f>
              <c:numCache>
                <c:formatCode>General</c:formatCode>
                <c:ptCount val="8"/>
                <c:pt idx="0">
                  <c:v>5071.260869565217</c:v>
                </c:pt>
                <c:pt idx="1">
                  <c:v>45209.37</c:v>
                </c:pt>
                <c:pt idx="2">
                  <c:v>990.84</c:v>
                </c:pt>
                <c:pt idx="3">
                  <c:v>38529.474226804123</c:v>
                </c:pt>
                <c:pt idx="4">
                  <c:v>58923.051020408173</c:v>
                </c:pt>
                <c:pt idx="5">
                  <c:v>7595.7816091954019</c:v>
                </c:pt>
                <c:pt idx="6">
                  <c:v>10108</c:v>
                </c:pt>
                <c:pt idx="7">
                  <c:v>10818.426966292131</c:v>
                </c:pt>
              </c:numCache>
            </c:numRef>
          </c:yVal>
          <c:bubbleSize>
            <c:numRef>
              <c:f>Sheet1!$C$2:$C$9</c:f>
              <c:numCache>
                <c:formatCode>General</c:formatCode>
                <c:ptCount val="8"/>
                <c:pt idx="0">
                  <c:v>149402.61679999999</c:v>
                </c:pt>
                <c:pt idx="1">
                  <c:v>2588083.3026000001</c:v>
                </c:pt>
                <c:pt idx="2">
                  <c:v>17714.815999999999</c:v>
                </c:pt>
                <c:pt idx="3">
                  <c:v>2286448.1486</c:v>
                </c:pt>
                <c:pt idx="4">
                  <c:v>3717874.867000001</c:v>
                </c:pt>
                <c:pt idx="5">
                  <c:v>357809.57189999998</c:v>
                </c:pt>
                <c:pt idx="6">
                  <c:v>539914.27400000009</c:v>
                </c:pt>
                <c:pt idx="7">
                  <c:v>462723.12060000002</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Pik Et Croq' Fromage Fondu Dips Boite 1X175Gr 5P</c:v>
                  </c:pt>
                  <c:pt idx="7">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6D4CCA3-54D9-45DD-884C-31F5EBDB3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A0D7467-A783-4321-A745-D936DD848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E417A75-1883-4D91-A85D-0446723033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63D193C-C832-4DC2-90AD-AA09146BD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9D6F528-C186-48E9-BCBC-5AC9B324D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00E2D0E-DFFD-4C78-8EF6-37DA26D83B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34500F6-6430-486E-AA40-745C1F82D7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5</c:f>
              <c:numCache>
                <c:formatCode>General</c:formatCode>
                <c:ptCount val="24"/>
                <c:pt idx="0">
                  <c:v>0.35299999999999998</c:v>
                </c:pt>
                <c:pt idx="1">
                  <c:v>0.39429999999999998</c:v>
                </c:pt>
                <c:pt idx="2">
                  <c:v>0.3543</c:v>
                </c:pt>
                <c:pt idx="3">
                  <c:v>0.42080000000000001</c:v>
                </c:pt>
                <c:pt idx="4">
                  <c:v>0.51949999999999996</c:v>
                </c:pt>
                <c:pt idx="5">
                  <c:v>0.39760000000000001</c:v>
                </c:pt>
                <c:pt idx="6">
                  <c:v>0.43149999999999999</c:v>
                </c:pt>
                <c:pt idx="7">
                  <c:v>0.38540000000000002</c:v>
                </c:pt>
                <c:pt idx="8">
                  <c:v>0.36480000000000001</c:v>
                </c:pt>
                <c:pt idx="9">
                  <c:v>0.42059999999999997</c:v>
                </c:pt>
                <c:pt idx="10">
                  <c:v>0.48699999999999999</c:v>
                </c:pt>
                <c:pt idx="11">
                  <c:v>0.39910000000000001</c:v>
                </c:pt>
                <c:pt idx="12">
                  <c:v>0.38500000000000001</c:v>
                </c:pt>
                <c:pt idx="13">
                  <c:v>0.39939999999999998</c:v>
                </c:pt>
                <c:pt idx="14">
                  <c:v>0.39829999999999999</c:v>
                </c:pt>
                <c:pt idx="15">
                  <c:v>0.4037</c:v>
                </c:pt>
                <c:pt idx="16">
                  <c:v>0.38869999999999999</c:v>
                </c:pt>
                <c:pt idx="17">
                  <c:v>0.436</c:v>
                </c:pt>
                <c:pt idx="18">
                  <c:v>0.43390000000000001</c:v>
                </c:pt>
                <c:pt idx="19">
                  <c:v>0.3695</c:v>
                </c:pt>
                <c:pt idx="20">
                  <c:v>0.4859</c:v>
                </c:pt>
                <c:pt idx="21">
                  <c:v>0.2555</c:v>
                </c:pt>
                <c:pt idx="22">
                  <c:v>0.4773</c:v>
                </c:pt>
                <c:pt idx="23">
                  <c:v>0.42370000000000002</c:v>
                </c:pt>
              </c:numCache>
            </c:numRef>
          </c:xVal>
          <c:yVal>
            <c:numRef>
              <c:f>Sheet1!$B$2:$B$25</c:f>
              <c:numCache>
                <c:formatCode>General</c:formatCode>
                <c:ptCount val="24"/>
                <c:pt idx="0">
                  <c:v>20176.727272727268</c:v>
                </c:pt>
                <c:pt idx="1">
                  <c:v>5857.977272727273</c:v>
                </c:pt>
                <c:pt idx="2">
                  <c:v>17911.57</c:v>
                </c:pt>
                <c:pt idx="3">
                  <c:v>6243.6868686868684</c:v>
                </c:pt>
                <c:pt idx="4">
                  <c:v>464.81428571428569</c:v>
                </c:pt>
                <c:pt idx="5">
                  <c:v>7410.2828282828286</c:v>
                </c:pt>
                <c:pt idx="6">
                  <c:v>8367.6530612244896</c:v>
                </c:pt>
                <c:pt idx="7">
                  <c:v>1613.590909090909</c:v>
                </c:pt>
                <c:pt idx="8">
                  <c:v>833.73493975903614</c:v>
                </c:pt>
                <c:pt idx="9">
                  <c:v>2456.744186046511</c:v>
                </c:pt>
                <c:pt idx="10">
                  <c:v>1204.2388059701491</c:v>
                </c:pt>
                <c:pt idx="11">
                  <c:v>2016.5862068965521</c:v>
                </c:pt>
                <c:pt idx="12">
                  <c:v>5263.666666666667</c:v>
                </c:pt>
                <c:pt idx="13">
                  <c:v>8247.1458333333339</c:v>
                </c:pt>
                <c:pt idx="14">
                  <c:v>16275.38775510204</c:v>
                </c:pt>
                <c:pt idx="15">
                  <c:v>5635.0111111111109</c:v>
                </c:pt>
                <c:pt idx="16">
                  <c:v>6186.2183908045981</c:v>
                </c:pt>
                <c:pt idx="17">
                  <c:v>4356.8433734939763</c:v>
                </c:pt>
                <c:pt idx="18">
                  <c:v>10927.284210526321</c:v>
                </c:pt>
                <c:pt idx="19">
                  <c:v>20997.565656565661</c:v>
                </c:pt>
                <c:pt idx="20">
                  <c:v>8871.6082474226805</c:v>
                </c:pt>
                <c:pt idx="21">
                  <c:v>574.22500000000002</c:v>
                </c:pt>
                <c:pt idx="22">
                  <c:v>880.45</c:v>
                </c:pt>
                <c:pt idx="23">
                  <c:v>553.08571428571429</c:v>
                </c:pt>
              </c:numCache>
            </c:numRef>
          </c:yVal>
          <c:bubbleSize>
            <c:numRef>
              <c:f>Sheet1!$C$2:$C$25</c:f>
              <c:numCache>
                <c:formatCode>General</c:formatCode>
                <c:ptCount val="24"/>
                <c:pt idx="0">
                  <c:v>1224973.68</c:v>
                </c:pt>
                <c:pt idx="1">
                  <c:v>295950.19549999997</c:v>
                </c:pt>
                <c:pt idx="2">
                  <c:v>1096294.7178</c:v>
                </c:pt>
                <c:pt idx="3">
                  <c:v>339346.78419999999</c:v>
                </c:pt>
                <c:pt idx="4">
                  <c:v>14817.7163</c:v>
                </c:pt>
                <c:pt idx="5">
                  <c:v>418897.6237</c:v>
                </c:pt>
                <c:pt idx="6">
                  <c:v>441863.44069999998</c:v>
                </c:pt>
                <c:pt idx="7">
                  <c:v>82714.662700000001</c:v>
                </c:pt>
                <c:pt idx="8">
                  <c:v>41666.6322</c:v>
                </c:pt>
                <c:pt idx="9">
                  <c:v>116024.16160000001</c:v>
                </c:pt>
                <c:pt idx="10">
                  <c:v>39235.070699999997</c:v>
                </c:pt>
                <c:pt idx="11">
                  <c:v>33307.8298</c:v>
                </c:pt>
                <c:pt idx="12">
                  <c:v>294577.11560000002</c:v>
                </c:pt>
                <c:pt idx="13">
                  <c:v>450695.54549999989</c:v>
                </c:pt>
                <c:pt idx="14">
                  <c:v>909612.2453999999</c:v>
                </c:pt>
                <c:pt idx="15">
                  <c:v>286664.43280000001</c:v>
                </c:pt>
                <c:pt idx="16">
                  <c:v>311829.70500000002</c:v>
                </c:pt>
                <c:pt idx="17">
                  <c:v>193324.87390000001</c:v>
                </c:pt>
                <c:pt idx="18">
                  <c:v>557057.5425000001</c:v>
                </c:pt>
                <c:pt idx="19">
                  <c:v>1242326.0164999999</c:v>
                </c:pt>
                <c:pt idx="20">
                  <c:v>419337.32809999993</c:v>
                </c:pt>
                <c:pt idx="21">
                  <c:v>32418.247899999998</c:v>
                </c:pt>
                <c:pt idx="22">
                  <c:v>17448.064399999999</c:v>
                </c:pt>
                <c:pt idx="23">
                  <c:v>21148.5615</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uisine Sauce Fromage Afh 1X240Gr 1P</c:v>
                  </c:pt>
                  <c:pt idx="2">
                    <c:v>Boursin Classique Fromage Frais A Tartiner Afh Boite 1X150Gr 1P</c:v>
                  </c:pt>
                  <c:pt idx="3">
                    <c:v>Boursin Classique Fromage Frais A Tartiner Ciboulette &amp; Echalote Boite 1X150Gr 1P</c:v>
                  </c:pt>
                  <c:pt idx="4">
                    <c:v>Boursin Classique Fromage Frais A Tartiner Truffe Boite 1X150Gr 1P</c:v>
                  </c:pt>
                  <c:pt idx="5">
                    <c:v>Boursin Classique Fromage Frais A Tartiner Figue Et 3 Noix Boite 1X150Gr 1P</c:v>
                  </c:pt>
                  <c:pt idx="6">
                    <c:v>Boursin Salade &amp; Aperitif Fromage Frais Des Afh 1X120Gr 1P</c:v>
                  </c:pt>
                  <c:pt idx="7">
                    <c:v>Boursin Salade &amp; Aperitif Fromage Frais Des Figue Noix 1X120Gr 1P</c:v>
                  </c:pt>
                  <c:pt idx="8">
                    <c:v>Boursin Salade &amp; Aperitif Fromage Frais Des Noisette Et 3 Noix 1X120Gr 1P</c:v>
                  </c:pt>
                  <c:pt idx="9">
                    <c:v>Boursin Salade &amp; Aperitif Fromage Frais Des Ciboulette Echalote 1X120Gr 1P</c:v>
                  </c:pt>
                  <c:pt idx="10">
                    <c:v>Boursin Salade &amp; Aperitif Fromage Frais Des Citron Romarin 1X120Gr 1P</c:v>
                  </c:pt>
                  <c:pt idx="11">
                    <c:v>Boursin Classique Fromage Frais A Tartiner Afh Boite 1X80Gr 1P</c:v>
                  </c:pt>
                  <c:pt idx="12">
                    <c:v>Boursin Classique Fromage Frais A Tartiner Poivre Boite 1X150Gr 1P</c:v>
                  </c:pt>
                  <c:pt idx="13">
                    <c:v>Boursin Classique Fromage Frais A Tartiner Afh Boite 1X96Gr 6P</c:v>
                  </c:pt>
                  <c:pt idx="14">
                    <c:v>Boursin Aperitif Roules Fromage Frais Roule Afh Et Jambon Fume Boite 1X100Gr 20P</c:v>
                  </c:pt>
                  <c:pt idx="15">
                    <c:v>Boursin Aperitif Roules Fromage Frais Roule Basilic &amp; Jambon Fume Tomate Boite 1X100Gr 20P</c:v>
                  </c:pt>
                  <c:pt idx="16">
                    <c:v>Boursin Classique Fromage Frais A Tartiner Afh 1X256Gr 16P</c:v>
                  </c:pt>
                  <c:pt idx="17">
                    <c:v>Boursin Classique Fromage Frais A Tartiner Ciboulette &amp; Echalote 1X160Gr 10P</c:v>
                  </c:pt>
                  <c:pt idx="18">
                    <c:v>Boursin Aperitif Roules Fromage Frais Roule Ciboulette &amp; Echalote Jambon Fume Boite 1X100Gr 20P</c:v>
                  </c:pt>
                  <c:pt idx="19">
                    <c:v>Boursin Classique Fromage Frais A Tartiner Afh Boite 1X250Gr 1P</c:v>
                  </c:pt>
                  <c:pt idx="20">
                    <c:v>Boursin Onctueux Fromage Frais A Tartiner Afh 1X125Gr 1P</c:v>
                  </c:pt>
                  <c:pt idx="21">
                    <c:v>Boursin Aperitif Roules Fromage Frais Roule Jambon Fume &amp; Trio De Noix Boite 1X100Gr 20P</c:v>
                  </c:pt>
                  <c:pt idx="22">
                    <c:v>Boursin Salade &amp; Aperitif Soft Cheese Salade 120G</c:v>
                  </c:pt>
                  <c:pt idx="23">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B6D6422-17CD-425A-BEA0-BE2DA32E34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B9B1C63-394E-4CD4-99FC-554C0FA89D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066A490-A628-4CB5-8C4E-ABF801152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6126352-16E6-4A0D-8CA9-5E8B5DF04C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79EB001-F5A1-4564-9A50-B50B5789D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09A390D-A524-4C8B-8266-2164F6358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78262FC-B60F-4DFF-83FB-1588D1F1EC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33879999999999999</c:v>
                </c:pt>
                <c:pt idx="1">
                  <c:v>0.31680000000000003</c:v>
                </c:pt>
                <c:pt idx="2">
                  <c:v>0.43819999999999998</c:v>
                </c:pt>
                <c:pt idx="3">
                  <c:v>0.48809999999999998</c:v>
                </c:pt>
                <c:pt idx="4">
                  <c:v>0.27760000000000001</c:v>
                </c:pt>
                <c:pt idx="5">
                  <c:v>0.3322</c:v>
                </c:pt>
                <c:pt idx="6">
                  <c:v>0.4536</c:v>
                </c:pt>
                <c:pt idx="7">
                  <c:v>0.47399999999999998</c:v>
                </c:pt>
                <c:pt idx="8">
                  <c:v>0.34920000000000001</c:v>
                </c:pt>
                <c:pt idx="9">
                  <c:v>0.3422</c:v>
                </c:pt>
                <c:pt idx="10">
                  <c:v>0.47920000000000001</c:v>
                </c:pt>
              </c:numCache>
            </c:numRef>
          </c:xVal>
          <c:yVal>
            <c:numRef>
              <c:f>Sheet1!$B$2:$B$12</c:f>
              <c:numCache>
                <c:formatCode>General</c:formatCode>
                <c:ptCount val="11"/>
                <c:pt idx="0">
                  <c:v>5970.0202020202023</c:v>
                </c:pt>
                <c:pt idx="1">
                  <c:v>5841.94</c:v>
                </c:pt>
                <c:pt idx="2">
                  <c:v>772.49494949494954</c:v>
                </c:pt>
                <c:pt idx="3">
                  <c:v>58.203125</c:v>
                </c:pt>
                <c:pt idx="4">
                  <c:v>409.38297872340428</c:v>
                </c:pt>
                <c:pt idx="5">
                  <c:v>2915.26</c:v>
                </c:pt>
                <c:pt idx="6">
                  <c:v>698.28735632183907</c:v>
                </c:pt>
                <c:pt idx="7">
                  <c:v>474.73469387755102</c:v>
                </c:pt>
                <c:pt idx="8">
                  <c:v>2549.27</c:v>
                </c:pt>
                <c:pt idx="9">
                  <c:v>3761.1111111111109</c:v>
                </c:pt>
                <c:pt idx="10">
                  <c:v>614.63636363636363</c:v>
                </c:pt>
              </c:numCache>
            </c:numRef>
          </c:yVal>
          <c:bubbleSize>
            <c:numRef>
              <c:f>Sheet1!$C$2:$C$12</c:f>
              <c:numCache>
                <c:formatCode>General</c:formatCode>
                <c:ptCount val="11"/>
                <c:pt idx="0">
                  <c:v>370398.33669999999</c:v>
                </c:pt>
                <c:pt idx="1">
                  <c:v>378320.91930000001</c:v>
                </c:pt>
                <c:pt idx="2">
                  <c:v>40723.595600000001</c:v>
                </c:pt>
                <c:pt idx="3">
                  <c:v>1807.5119999999999</c:v>
                </c:pt>
                <c:pt idx="4">
                  <c:v>26351.341199999999</c:v>
                </c:pt>
                <c:pt idx="5">
                  <c:v>184535.56640000001</c:v>
                </c:pt>
                <c:pt idx="6">
                  <c:v>31463.4509</c:v>
                </c:pt>
                <c:pt idx="7">
                  <c:v>23196.938999999998</c:v>
                </c:pt>
                <c:pt idx="8">
                  <c:v>157253.7329</c:v>
                </c:pt>
                <c:pt idx="9">
                  <c:v>232148.01389999999</c:v>
                </c:pt>
                <c:pt idx="10">
                  <c:v>26698.09019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pt idx="10">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876ACEE-7E7D-47CC-9BED-8BD8BDE6C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36183DA-3CB1-4478-9F54-9B5CC4EEDD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1FEEDD0-BEA3-4EC2-9611-FB4FEE075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2B36394-8355-4B18-B615-8FE6B3F66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2D40BAB-9771-47FB-BD56-76CFB017D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96E24C1-C571-468A-84E6-19055E0CF5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2725F63-D3FF-4FFB-984F-E927A0F0B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54720000000000002</c:v>
                </c:pt>
                <c:pt idx="1">
                  <c:v>0.3992</c:v>
                </c:pt>
                <c:pt idx="2">
                  <c:v>0.25109999999999999</c:v>
                </c:pt>
                <c:pt idx="3">
                  <c:v>0.35410000000000003</c:v>
                </c:pt>
                <c:pt idx="4">
                  <c:v>0.3362</c:v>
                </c:pt>
                <c:pt idx="5">
                  <c:v>0.41639999999999999</c:v>
                </c:pt>
                <c:pt idx="6">
                  <c:v>0.41560000000000002</c:v>
                </c:pt>
                <c:pt idx="7">
                  <c:v>0.49020000000000002</c:v>
                </c:pt>
              </c:numCache>
            </c:numRef>
          </c:xVal>
          <c:yVal>
            <c:numRef>
              <c:f>Sheet1!$B$2:$B$9</c:f>
              <c:numCache>
                <c:formatCode>General</c:formatCode>
                <c:ptCount val="8"/>
                <c:pt idx="0">
                  <c:v>817.85869565217388</c:v>
                </c:pt>
                <c:pt idx="1">
                  <c:v>7702.77</c:v>
                </c:pt>
                <c:pt idx="2">
                  <c:v>177.34375</c:v>
                </c:pt>
                <c:pt idx="3">
                  <c:v>6931.8</c:v>
                </c:pt>
                <c:pt idx="4">
                  <c:v>11429.494949494951</c:v>
                </c:pt>
                <c:pt idx="5">
                  <c:v>1169.907216494845</c:v>
                </c:pt>
                <c:pt idx="6">
                  <c:v>2091.7979797979801</c:v>
                </c:pt>
                <c:pt idx="7">
                  <c:v>2261.1836734693879</c:v>
                </c:pt>
              </c:numCache>
            </c:numRef>
          </c:yVal>
          <c:bubbleSize>
            <c:numRef>
              <c:f>Sheet1!$C$2:$C$9</c:f>
              <c:numCache>
                <c:formatCode>General</c:formatCode>
                <c:ptCount val="8"/>
                <c:pt idx="0">
                  <c:v>32294.258999999998</c:v>
                </c:pt>
                <c:pt idx="1">
                  <c:v>438659.83460000012</c:v>
                </c:pt>
                <c:pt idx="2">
                  <c:v>4028.5585999999998</c:v>
                </c:pt>
                <c:pt idx="3">
                  <c:v>424371.35280000011</c:v>
                </c:pt>
                <c:pt idx="4">
                  <c:v>711959.80920000002</c:v>
                </c:pt>
                <c:pt idx="5">
                  <c:v>62773.410600000003</c:v>
                </c:pt>
                <c:pt idx="6">
                  <c:v>114703.4375</c:v>
                </c:pt>
                <c:pt idx="7">
                  <c:v>107086.9621</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Pik Et Croq' Fromage Fondu Dips Boite 1X175Gr 5P</c:v>
                  </c:pt>
                  <c:pt idx="7">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98B6805-8871-4AA5-A8E5-8EB4BD3985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2D7BAC7-47F9-453F-8010-68CF80E89D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5AC2074-C21E-4D85-B331-C2911DF57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47CA959-1580-4C0C-949C-597A42E20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F1ACCF3-0557-4212-89D9-F056E186E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62D90CD-8830-420F-BE88-88F2F22310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EE7E703-F1E3-4DEF-A13E-926DDD3D0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5</c:f>
              <c:numCache>
                <c:formatCode>General</c:formatCode>
                <c:ptCount val="24"/>
                <c:pt idx="0">
                  <c:v>0.34760000000000002</c:v>
                </c:pt>
                <c:pt idx="1">
                  <c:v>0.37209999999999999</c:v>
                </c:pt>
                <c:pt idx="2">
                  <c:v>0.35699999999999998</c:v>
                </c:pt>
                <c:pt idx="3">
                  <c:v>0.4153</c:v>
                </c:pt>
                <c:pt idx="4">
                  <c:v>0.57679999999999998</c:v>
                </c:pt>
                <c:pt idx="5">
                  <c:v>0.39100000000000001</c:v>
                </c:pt>
                <c:pt idx="6">
                  <c:v>0.42159999999999997</c:v>
                </c:pt>
                <c:pt idx="7">
                  <c:v>0.36940000000000001</c:v>
                </c:pt>
                <c:pt idx="8">
                  <c:v>0.34960000000000002</c:v>
                </c:pt>
                <c:pt idx="9">
                  <c:v>0.40629999999999999</c:v>
                </c:pt>
                <c:pt idx="10">
                  <c:v>0.4728</c:v>
                </c:pt>
                <c:pt idx="11">
                  <c:v>0.379</c:v>
                </c:pt>
                <c:pt idx="12">
                  <c:v>0.37459999999999999</c:v>
                </c:pt>
                <c:pt idx="13">
                  <c:v>0.38250000000000001</c:v>
                </c:pt>
                <c:pt idx="14">
                  <c:v>0.40460000000000002</c:v>
                </c:pt>
                <c:pt idx="15">
                  <c:v>0.40379999999999999</c:v>
                </c:pt>
                <c:pt idx="16">
                  <c:v>0.38929999999999998</c:v>
                </c:pt>
                <c:pt idx="17">
                  <c:v>0.41739999999999999</c:v>
                </c:pt>
                <c:pt idx="18">
                  <c:v>0.43580000000000002</c:v>
                </c:pt>
                <c:pt idx="19">
                  <c:v>0.37159999999999999</c:v>
                </c:pt>
                <c:pt idx="20">
                  <c:v>0.47039999999999998</c:v>
                </c:pt>
                <c:pt idx="21">
                  <c:v>0.25519999999999998</c:v>
                </c:pt>
                <c:pt idx="22">
                  <c:v>0.46750000000000003</c:v>
                </c:pt>
                <c:pt idx="23">
                  <c:v>0.42370000000000002</c:v>
                </c:pt>
              </c:numCache>
            </c:numRef>
          </c:xVal>
          <c:yVal>
            <c:numRef>
              <c:f>Sheet1!$B$2:$B$25</c:f>
              <c:numCache>
                <c:formatCode>General</c:formatCode>
                <c:ptCount val="24"/>
                <c:pt idx="0">
                  <c:v>3513.05</c:v>
                </c:pt>
                <c:pt idx="1">
                  <c:v>819.71875</c:v>
                </c:pt>
                <c:pt idx="2">
                  <c:v>3000.58</c:v>
                </c:pt>
                <c:pt idx="3">
                  <c:v>982.89</c:v>
                </c:pt>
                <c:pt idx="4">
                  <c:v>85.195652173913047</c:v>
                </c:pt>
                <c:pt idx="5">
                  <c:v>1156.58</c:v>
                </c:pt>
                <c:pt idx="6">
                  <c:v>1429.39</c:v>
                </c:pt>
                <c:pt idx="7">
                  <c:v>310.11340206185571</c:v>
                </c:pt>
                <c:pt idx="8">
                  <c:v>137.64646464646461</c:v>
                </c:pt>
                <c:pt idx="9">
                  <c:v>472.06315789473678</c:v>
                </c:pt>
                <c:pt idx="10">
                  <c:v>197.1935483870968</c:v>
                </c:pt>
                <c:pt idx="11">
                  <c:v>306.57142857142861</c:v>
                </c:pt>
                <c:pt idx="12">
                  <c:v>888.82828282828279</c:v>
                </c:pt>
                <c:pt idx="13">
                  <c:v>1363.8080808080811</c:v>
                </c:pt>
                <c:pt idx="14">
                  <c:v>3316.9595959595958</c:v>
                </c:pt>
                <c:pt idx="15">
                  <c:v>1040.5408163265311</c:v>
                </c:pt>
                <c:pt idx="16">
                  <c:v>1431.0707070707069</c:v>
                </c:pt>
                <c:pt idx="17">
                  <c:v>744.86734693877554</c:v>
                </c:pt>
                <c:pt idx="18">
                  <c:v>2060.515151515152</c:v>
                </c:pt>
                <c:pt idx="19">
                  <c:v>4098.92</c:v>
                </c:pt>
                <c:pt idx="20">
                  <c:v>1389.565656565657</c:v>
                </c:pt>
                <c:pt idx="21">
                  <c:v>100.0416666666667</c:v>
                </c:pt>
                <c:pt idx="22">
                  <c:v>106.42465753424661</c:v>
                </c:pt>
                <c:pt idx="23">
                  <c:v>83.186046511627907</c:v>
                </c:pt>
              </c:numCache>
            </c:numRef>
          </c:yVal>
          <c:bubbleSize>
            <c:numRef>
              <c:f>Sheet1!$C$2:$C$25</c:f>
              <c:numCache>
                <c:formatCode>General</c:formatCode>
                <c:ptCount val="24"/>
                <c:pt idx="0">
                  <c:v>217231.36960000001</c:v>
                </c:pt>
                <c:pt idx="1">
                  <c:v>46837.77350000001</c:v>
                </c:pt>
                <c:pt idx="2">
                  <c:v>182887.1778</c:v>
                </c:pt>
                <c:pt idx="3">
                  <c:v>54476.060599999997</c:v>
                </c:pt>
                <c:pt idx="4">
                  <c:v>3144.3017</c:v>
                </c:pt>
                <c:pt idx="5">
                  <c:v>66767.109700000001</c:v>
                </c:pt>
                <c:pt idx="6">
                  <c:v>78365.946300000011</c:v>
                </c:pt>
                <c:pt idx="7">
                  <c:v>17978.888500000001</c:v>
                </c:pt>
                <c:pt idx="8">
                  <c:v>8400.5091000000011</c:v>
                </c:pt>
                <c:pt idx="9">
                  <c:v>25238.6037</c:v>
                </c:pt>
                <c:pt idx="10">
                  <c:v>9164.8017999999993</c:v>
                </c:pt>
                <c:pt idx="11">
                  <c:v>12632.876899999999</c:v>
                </c:pt>
                <c:pt idx="12">
                  <c:v>52158.628599999996</c:v>
                </c:pt>
                <c:pt idx="13">
                  <c:v>79021.727100000018</c:v>
                </c:pt>
                <c:pt idx="14">
                  <c:v>185329.7856</c:v>
                </c:pt>
                <c:pt idx="15">
                  <c:v>57629.263599999998</c:v>
                </c:pt>
                <c:pt idx="16">
                  <c:v>82006.583399999989</c:v>
                </c:pt>
                <c:pt idx="17">
                  <c:v>40310.319899999988</c:v>
                </c:pt>
                <c:pt idx="18">
                  <c:v>109087.9544</c:v>
                </c:pt>
                <c:pt idx="19">
                  <c:v>244161.86170000001</c:v>
                </c:pt>
                <c:pt idx="20">
                  <c:v>69057.670599999998</c:v>
                </c:pt>
                <c:pt idx="21">
                  <c:v>6780.0874000000003</c:v>
                </c:pt>
                <c:pt idx="22">
                  <c:v>3921.063900000001</c:v>
                </c:pt>
                <c:pt idx="23">
                  <c:v>3908.1405</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uisine Sauce Fromage Afh 1X240Gr 1P</c:v>
                  </c:pt>
                  <c:pt idx="2">
                    <c:v>Boursin Classique Fromage Frais A Tartiner Afh Boite 1X150Gr 1P</c:v>
                  </c:pt>
                  <c:pt idx="3">
                    <c:v>Boursin Classique Fromage Frais A Tartiner Ciboulette &amp; Echalote Boite 1X150Gr 1P</c:v>
                  </c:pt>
                  <c:pt idx="4">
                    <c:v>Boursin Classique Fromage Frais A Tartiner Truffe Boite 1X150Gr 1P</c:v>
                  </c:pt>
                  <c:pt idx="5">
                    <c:v>Boursin Classique Fromage Frais A Tartiner Figue Et 3 Noix Boite 1X150Gr 1P</c:v>
                  </c:pt>
                  <c:pt idx="6">
                    <c:v>Boursin Salade &amp; Aperitif Fromage Frais Des Afh 1X120Gr 1P</c:v>
                  </c:pt>
                  <c:pt idx="7">
                    <c:v>Boursin Salade &amp; Aperitif Fromage Frais Des Figue Noix 1X120Gr 1P</c:v>
                  </c:pt>
                  <c:pt idx="8">
                    <c:v>Boursin Salade &amp; Aperitif Fromage Frais Des Noisette Et 3 Noix 1X120Gr 1P</c:v>
                  </c:pt>
                  <c:pt idx="9">
                    <c:v>Boursin Salade &amp; Aperitif Fromage Frais Des Ciboulette Echalote 1X120Gr 1P</c:v>
                  </c:pt>
                  <c:pt idx="10">
                    <c:v>Boursin Salade &amp; Aperitif Fromage Frais Des Citron Romarin 1X120Gr 1P</c:v>
                  </c:pt>
                  <c:pt idx="11">
                    <c:v>Boursin Classique Fromage Frais A Tartiner Afh Boite 1X80Gr 1P</c:v>
                  </c:pt>
                  <c:pt idx="12">
                    <c:v>Boursin Classique Fromage Frais A Tartiner Poivre Boite 1X150Gr 1P</c:v>
                  </c:pt>
                  <c:pt idx="13">
                    <c:v>Boursin Classique Fromage Frais A Tartiner Afh Boite 1X96Gr 6P</c:v>
                  </c:pt>
                  <c:pt idx="14">
                    <c:v>Boursin Aperitif Roules Fromage Frais Roule Afh Et Jambon Fume Boite 1X100Gr 20P</c:v>
                  </c:pt>
                  <c:pt idx="15">
                    <c:v>Boursin Aperitif Roules Fromage Frais Roule Basilic &amp; Jambon Fume Tomate Boite 1X100Gr 20P</c:v>
                  </c:pt>
                  <c:pt idx="16">
                    <c:v>Boursin Classique Fromage Frais A Tartiner Afh 1X256Gr 16P</c:v>
                  </c:pt>
                  <c:pt idx="17">
                    <c:v>Boursin Classique Fromage Frais A Tartiner Ciboulette &amp; Echalote 1X160Gr 10P</c:v>
                  </c:pt>
                  <c:pt idx="18">
                    <c:v>Boursin Aperitif Roules Fromage Frais Roule Ciboulette &amp; Echalote Jambon Fume Boite 1X100Gr 20P</c:v>
                  </c:pt>
                  <c:pt idx="19">
                    <c:v>Boursin Classique Fromage Frais A Tartiner Afh Boite 1X250Gr 1P</c:v>
                  </c:pt>
                  <c:pt idx="20">
                    <c:v>Boursin Onctueux Fromage Frais A Tartiner Afh 1X125Gr 1P</c:v>
                  </c:pt>
                  <c:pt idx="21">
                    <c:v>Boursin Aperitif Roules Fromage Frais Roule Jambon Fume &amp; Trio De Noix Boite 1X100Gr 20P</c:v>
                  </c:pt>
                  <c:pt idx="22">
                    <c:v>Boursin Salade &amp; Aperitif Soft Cheese Salade 120G</c:v>
                  </c:pt>
                  <c:pt idx="23">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La Vache Qui Rit</c:v>
                </c:pt>
                <c:pt idx="3">
                  <c:v>Caprice Des Dieux</c:v>
                </c:pt>
                <c:pt idx="4">
                  <c:v>Soignon</c:v>
                </c:pt>
                <c:pt idx="5">
                  <c:v>St Moret</c:v>
                </c:pt>
                <c:pt idx="6">
                  <c:v>Kiri</c:v>
                </c:pt>
                <c:pt idx="7">
                  <c:v>Apericube</c:v>
                </c:pt>
                <c:pt idx="8">
                  <c:v>Boursin</c:v>
                </c:pt>
                <c:pt idx="9">
                  <c:v>Others</c:v>
                </c:pt>
              </c:strCache>
            </c:strRef>
          </c:cat>
          <c:val>
            <c:numRef>
              <c:f>Sheet1!$B$2:$B$11</c:f>
              <c:numCache>
                <c:formatCode>General</c:formatCode>
                <c:ptCount val="10"/>
                <c:pt idx="0">
                  <c:v>0.36731979162516593</c:v>
                </c:pt>
                <c:pt idx="1">
                  <c:v>5.9554067847289893E-2</c:v>
                </c:pt>
                <c:pt idx="2">
                  <c:v>3.1915014382152627E-2</c:v>
                </c:pt>
                <c:pt idx="3">
                  <c:v>2.993246316638561E-2</c:v>
                </c:pt>
                <c:pt idx="4">
                  <c:v>2.7669914154695812E-2</c:v>
                </c:pt>
                <c:pt idx="5">
                  <c:v>2.6442658581571965E-2</c:v>
                </c:pt>
                <c:pt idx="6">
                  <c:v>2.2304535186574499E-2</c:v>
                </c:pt>
                <c:pt idx="7">
                  <c:v>2.1057201370664181E-2</c:v>
                </c:pt>
                <c:pt idx="8">
                  <c:v>1.5562568362206703E-2</c:v>
                </c:pt>
                <c:pt idx="9">
                  <c:v>0.398241785323292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La Vache Qui Rit</c:v>
                </c:pt>
                <c:pt idx="3">
                  <c:v>Caprice Des Dieux</c:v>
                </c:pt>
                <c:pt idx="4">
                  <c:v>Soignon</c:v>
                </c:pt>
                <c:pt idx="5">
                  <c:v>St Moret</c:v>
                </c:pt>
                <c:pt idx="6">
                  <c:v>Kiri</c:v>
                </c:pt>
                <c:pt idx="7">
                  <c:v>Apericube</c:v>
                </c:pt>
                <c:pt idx="8">
                  <c:v>Boursin</c:v>
                </c:pt>
                <c:pt idx="9">
                  <c:v>Others</c:v>
                </c:pt>
              </c:strCache>
            </c:strRef>
          </c:cat>
          <c:val>
            <c:numRef>
              <c:f>Sheet1!$C$2:$C$11</c:f>
              <c:numCache>
                <c:formatCode>General</c:formatCode>
                <c:ptCount val="10"/>
                <c:pt idx="0">
                  <c:v>0.19526058285471171</c:v>
                </c:pt>
                <c:pt idx="1">
                  <c:v>4.3675813656668797E-2</c:v>
                </c:pt>
                <c:pt idx="2">
                  <c:v>1.1444373537545202E-2</c:v>
                </c:pt>
                <c:pt idx="3">
                  <c:v>1.1767708998085512E-2</c:v>
                </c:pt>
                <c:pt idx="4">
                  <c:v>1.816634758562008E-2</c:v>
                </c:pt>
                <c:pt idx="5">
                  <c:v>1.6958094022548394E-2</c:v>
                </c:pt>
                <c:pt idx="6">
                  <c:v>1.0006381620931714E-2</c:v>
                </c:pt>
                <c:pt idx="7">
                  <c:v>1.6209317166560305E-2</c:v>
                </c:pt>
                <c:pt idx="8">
                  <c:v>2.1118910870027648E-2</c:v>
                </c:pt>
                <c:pt idx="9">
                  <c:v>0.655392469687298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La Vache Qui Rit</c:v>
                </c:pt>
                <c:pt idx="3">
                  <c:v>Caprice Des Dieux</c:v>
                </c:pt>
                <c:pt idx="4">
                  <c:v>Soignon</c:v>
                </c:pt>
                <c:pt idx="5">
                  <c:v>St Moret</c:v>
                </c:pt>
                <c:pt idx="6">
                  <c:v>Kiri</c:v>
                </c:pt>
                <c:pt idx="7">
                  <c:v>Apericube</c:v>
                </c:pt>
                <c:pt idx="8">
                  <c:v>Boursin</c:v>
                </c:pt>
                <c:pt idx="9">
                  <c:v>Others</c:v>
                </c:pt>
              </c:strCache>
            </c:strRef>
          </c:cat>
          <c:val>
            <c:numRef>
              <c:f>Sheet1!$D$2:$D$11</c:f>
              <c:numCache>
                <c:formatCode>General</c:formatCode>
                <c:ptCount val="10"/>
                <c:pt idx="0">
                  <c:v>53.158198198578624</c:v>
                </c:pt>
                <c:pt idx="1">
                  <c:v>73.338086272567409</c:v>
                </c:pt>
                <c:pt idx="2">
                  <c:v>35.858901395153602</c:v>
                </c:pt>
                <c:pt idx="3">
                  <c:v>39.314201883995771</c:v>
                </c:pt>
                <c:pt idx="4">
                  <c:v>65.653790915491868</c:v>
                </c:pt>
                <c:pt idx="5">
                  <c:v>64.131577277810422</c:v>
                </c:pt>
                <c:pt idx="6">
                  <c:v>44.862542694701546</c:v>
                </c:pt>
                <c:pt idx="7">
                  <c:v>76.977547401632862</c:v>
                </c:pt>
                <c:pt idx="8">
                  <c:v>135.70324883721881</c:v>
                </c:pt>
                <c:pt idx="9">
                  <c:v>164.5714974774058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La Vache Qui Rit</c:v>
                </c:pt>
                <c:pt idx="6">
                  <c:v>Others</c:v>
                </c:pt>
              </c:strCache>
            </c:strRef>
          </c:cat>
          <c:val>
            <c:numRef>
              <c:f>Sheet1!$B$2:$B$8</c:f>
              <c:numCache>
                <c:formatCode>General</c:formatCode>
                <c:ptCount val="7"/>
                <c:pt idx="0">
                  <c:v>0.45490224478374713</c:v>
                </c:pt>
                <c:pt idx="1">
                  <c:v>0.36756861049892608</c:v>
                </c:pt>
                <c:pt idx="2">
                  <c:v>6.8387824968428407E-2</c:v>
                </c:pt>
                <c:pt idx="3">
                  <c:v>2.9987215577761694E-2</c:v>
                </c:pt>
                <c:pt idx="4">
                  <c:v>1.9586873221063814E-2</c:v>
                </c:pt>
                <c:pt idx="5">
                  <c:v>2.7508906293380432E-5</c:v>
                </c:pt>
                <c:pt idx="6">
                  <c:v>5.953972204377951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La Vache Qui Rit</c:v>
                </c:pt>
                <c:pt idx="6">
                  <c:v>Others</c:v>
                </c:pt>
              </c:strCache>
            </c:strRef>
          </c:cat>
          <c:val>
            <c:numRef>
              <c:f>Sheet1!$C$2:$C$8</c:f>
              <c:numCache>
                <c:formatCode>General</c:formatCode>
                <c:ptCount val="7"/>
                <c:pt idx="0">
                  <c:v>0.34294117647058825</c:v>
                </c:pt>
                <c:pt idx="1">
                  <c:v>0.28058823529411764</c:v>
                </c:pt>
                <c:pt idx="2">
                  <c:v>6.1176470588235311E-2</c:v>
                </c:pt>
                <c:pt idx="3">
                  <c:v>2.2352941176470589E-2</c:v>
                </c:pt>
                <c:pt idx="4">
                  <c:v>5.1764705882352942E-2</c:v>
                </c:pt>
                <c:pt idx="5">
                  <c:v>0</c:v>
                </c:pt>
                <c:pt idx="6">
                  <c:v>0.2411764705882353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La Vache Qui Rit</c:v>
                </c:pt>
                <c:pt idx="6">
                  <c:v>Others</c:v>
                </c:pt>
              </c:strCache>
            </c:strRef>
          </c:cat>
          <c:val>
            <c:numRef>
              <c:f>Sheet1!$D$2:$D$8</c:f>
              <c:numCache>
                <c:formatCode>General</c:formatCode>
                <c:ptCount val="7"/>
                <c:pt idx="0">
                  <c:v>75.38788396914083</c:v>
                </c:pt>
                <c:pt idx="1">
                  <c:v>76.336288594735009</c:v>
                </c:pt>
                <c:pt idx="2">
                  <c:v>89.455207292347353</c:v>
                </c:pt>
                <c:pt idx="3">
                  <c:v>74.541569618245489</c:v>
                </c:pt>
                <c:pt idx="4">
                  <c:v>264.28264122670146</c:v>
                </c:pt>
                <c:pt idx="5">
                  <c:v>1</c:v>
                </c:pt>
                <c:pt idx="6">
                  <c:v>405.0681835748215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C2B4187-375C-49B4-9C69-F35A1E8025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FF66794-4994-412D-B4EF-DE2CFEF23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920B6A3-230E-474D-892C-C83D23A8B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C05C479-1D36-4FBD-B542-FD1E8996BE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4B68A13-1132-4426-B90D-531C4246B1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230D22C-7915-416B-952F-D79CE0FDF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9930AAD-A508-404B-A4B8-98932D020E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8750000000000001</c:v>
                </c:pt>
                <c:pt idx="1">
                  <c:v>0.35189999999999999</c:v>
                </c:pt>
                <c:pt idx="2">
                  <c:v>0.49880000000000002</c:v>
                </c:pt>
                <c:pt idx="3">
                  <c:v>0.28079999999999999</c:v>
                </c:pt>
                <c:pt idx="4">
                  <c:v>0.38629999999999998</c:v>
                </c:pt>
                <c:pt idx="5">
                  <c:v>0.51870000000000005</c:v>
                </c:pt>
                <c:pt idx="6">
                  <c:v>0.50219999999999998</c:v>
                </c:pt>
                <c:pt idx="7">
                  <c:v>0.39660000000000001</c:v>
                </c:pt>
                <c:pt idx="8">
                  <c:v>0.39979999999999999</c:v>
                </c:pt>
                <c:pt idx="9">
                  <c:v>0.52190000000000003</c:v>
                </c:pt>
              </c:numCache>
            </c:numRef>
          </c:xVal>
          <c:yVal>
            <c:numRef>
              <c:f>Sheet1!$B$2:$B$11</c:f>
              <c:numCache>
                <c:formatCode>General</c:formatCode>
                <c:ptCount val="10"/>
                <c:pt idx="0">
                  <c:v>5199.8076923076924</c:v>
                </c:pt>
                <c:pt idx="1">
                  <c:v>6595.7294117647061</c:v>
                </c:pt>
                <c:pt idx="2">
                  <c:v>1130.954545454545</c:v>
                </c:pt>
                <c:pt idx="3">
                  <c:v>593.88135593220341</c:v>
                </c:pt>
                <c:pt idx="4">
                  <c:v>4358.739130434783</c:v>
                </c:pt>
                <c:pt idx="5">
                  <c:v>1752.7741935483871</c:v>
                </c:pt>
                <c:pt idx="6">
                  <c:v>423.2</c:v>
                </c:pt>
                <c:pt idx="7">
                  <c:v>3563.9444444444439</c:v>
                </c:pt>
                <c:pt idx="8">
                  <c:v>3449.8529411764712</c:v>
                </c:pt>
                <c:pt idx="9">
                  <c:v>829.63157894736844</c:v>
                </c:pt>
              </c:numCache>
            </c:numRef>
          </c:yVal>
          <c:bubbleSize>
            <c:numRef>
              <c:f>Sheet1!$C$2:$C$11</c:f>
              <c:numCache>
                <c:formatCode>General</c:formatCode>
                <c:ptCount val="10"/>
                <c:pt idx="0">
                  <c:v>156977.5018</c:v>
                </c:pt>
                <c:pt idx="1">
                  <c:v>344392.07760000002</c:v>
                </c:pt>
                <c:pt idx="2">
                  <c:v>23639.9568</c:v>
                </c:pt>
                <c:pt idx="3">
                  <c:v>23887.4028</c:v>
                </c:pt>
                <c:pt idx="4">
                  <c:v>233248.51519999999</c:v>
                </c:pt>
                <c:pt idx="5">
                  <c:v>24789.4863</c:v>
                </c:pt>
                <c:pt idx="6">
                  <c:v>9984.4553999999989</c:v>
                </c:pt>
                <c:pt idx="7">
                  <c:v>183453.649</c:v>
                </c:pt>
                <c:pt idx="8">
                  <c:v>133465.1311</c:v>
                </c:pt>
                <c:pt idx="9">
                  <c:v>14285.70019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Creme Fromage Blanc Frais Carre 1X432Gr 18+6P</c:v>
                  </c:pt>
                  <c:pt idx="4">
                    <c:v>Kiri Creme Fromage Blanc Frais Carre 1X144Gr 8P</c:v>
                  </c:pt>
                  <c:pt idx="5">
                    <c:v>Kiri Bio Fromage Blanc Frais Carre 1X144Gr 8P</c:v>
                  </c:pt>
                  <c:pt idx="6">
                    <c:v>Kiri Delicieusement Fouette Fromage Frais A Tartiner 1X160Gr 10P</c:v>
                  </c:pt>
                  <c:pt idx="7">
                    <c:v>Kiri Gouter Fromage Blanc Dips Boite 1X175Gr 5P</c:v>
                  </c:pt>
                  <c:pt idx="8">
                    <c:v>Kiri Gouter Fromage Blanc Dips Boite 1X280Gr 8P</c:v>
                  </c:pt>
                  <c:pt idx="9">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B15F96A-63E0-4939-85DC-37F551D0E6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386BA47-6616-4D82-8FA9-D35B3C981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92DA0C3-F6D9-4D8C-9CF2-D45490298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9ABE300-BB64-4011-9091-8691F55DD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EFC26E7-EB7F-4B58-ADB3-B57C21F5E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55FED90-4E06-4BCD-B361-A6FB25D0F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DF292D8-B6CB-4D6C-87EB-B8538E9FDC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58020000000000005</c:v>
                </c:pt>
                <c:pt idx="1">
                  <c:v>0.40529999999999999</c:v>
                </c:pt>
                <c:pt idx="2">
                  <c:v>0.39190000000000003</c:v>
                </c:pt>
                <c:pt idx="3">
                  <c:v>0.37559999999999999</c:v>
                </c:pt>
                <c:pt idx="4">
                  <c:v>0.4803</c:v>
                </c:pt>
                <c:pt idx="5">
                  <c:v>0.4627</c:v>
                </c:pt>
                <c:pt idx="6">
                  <c:v>0.52990000000000004</c:v>
                </c:pt>
              </c:numCache>
            </c:numRef>
          </c:xVal>
          <c:yVal>
            <c:numRef>
              <c:f>Sheet1!$B$2:$B$8</c:f>
              <c:numCache>
                <c:formatCode>General</c:formatCode>
                <c:ptCount val="7"/>
                <c:pt idx="0">
                  <c:v>985.5151515151515</c:v>
                </c:pt>
                <c:pt idx="1">
                  <c:v>8872.0612244897966</c:v>
                </c:pt>
                <c:pt idx="2">
                  <c:v>7117.838235294118</c:v>
                </c:pt>
                <c:pt idx="3">
                  <c:v>8935.823529411764</c:v>
                </c:pt>
                <c:pt idx="4">
                  <c:v>1845.32</c:v>
                </c:pt>
                <c:pt idx="5">
                  <c:v>2128.3658536585372</c:v>
                </c:pt>
                <c:pt idx="6">
                  <c:v>1563.261904761905</c:v>
                </c:pt>
              </c:numCache>
            </c:numRef>
          </c:yVal>
          <c:bubbleSize>
            <c:numRef>
              <c:f>Sheet1!$C$2:$C$8</c:f>
              <c:numCache>
                <c:formatCode>General</c:formatCode>
                <c:ptCount val="7"/>
                <c:pt idx="0">
                  <c:v>12942.373100000001</c:v>
                </c:pt>
                <c:pt idx="1">
                  <c:v>490120.52419999999</c:v>
                </c:pt>
                <c:pt idx="2">
                  <c:v>278975.31349999999</c:v>
                </c:pt>
                <c:pt idx="3">
                  <c:v>359632.71120000002</c:v>
                </c:pt>
                <c:pt idx="4">
                  <c:v>45455.146800000002</c:v>
                </c:pt>
                <c:pt idx="5">
                  <c:v>88738.778599999991</c:v>
                </c:pt>
                <c:pt idx="6">
                  <c:v>29255.048200000001</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EC5BD0B-761A-4416-9998-DCC0D22B7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852FF63-AFFD-4DC3-BD12-8A415992C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03E2755-E648-48B2-AEE9-6BAF65B98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5A114FE-6DC3-49E5-8494-96CCF57A4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5F61420-08EF-47E1-A6EC-7820C215B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0E0194C-B829-4BD3-9868-A32BBA542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60D7085-42FF-4314-8E5B-937C760E6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5</c:f>
              <c:numCache>
                <c:formatCode>General</c:formatCode>
                <c:ptCount val="24"/>
                <c:pt idx="0">
                  <c:v>0.39019999999999999</c:v>
                </c:pt>
                <c:pt idx="1">
                  <c:v>0.43059999999999998</c:v>
                </c:pt>
                <c:pt idx="2">
                  <c:v>0.40150000000000002</c:v>
                </c:pt>
                <c:pt idx="3">
                  <c:v>0.47849999999999998</c:v>
                </c:pt>
                <c:pt idx="4">
                  <c:v>0.60070000000000001</c:v>
                </c:pt>
                <c:pt idx="5">
                  <c:v>0.45800000000000002</c:v>
                </c:pt>
                <c:pt idx="6">
                  <c:v>0.46550000000000002</c:v>
                </c:pt>
                <c:pt idx="7">
                  <c:v>0.42080000000000001</c:v>
                </c:pt>
                <c:pt idx="8">
                  <c:v>0.38800000000000001</c:v>
                </c:pt>
                <c:pt idx="9">
                  <c:v>0.45300000000000001</c:v>
                </c:pt>
                <c:pt idx="10">
                  <c:v>0.52029999999999998</c:v>
                </c:pt>
                <c:pt idx="11">
                  <c:v>0.46829999999999999</c:v>
                </c:pt>
                <c:pt idx="12">
                  <c:v>0.442</c:v>
                </c:pt>
                <c:pt idx="13">
                  <c:v>0.43880000000000002</c:v>
                </c:pt>
                <c:pt idx="14">
                  <c:v>0.44180000000000003</c:v>
                </c:pt>
                <c:pt idx="15">
                  <c:v>0.4294</c:v>
                </c:pt>
                <c:pt idx="16">
                  <c:v>0.39750000000000002</c:v>
                </c:pt>
                <c:pt idx="17">
                  <c:v>0.47560000000000002</c:v>
                </c:pt>
                <c:pt idx="18">
                  <c:v>0.47160000000000002</c:v>
                </c:pt>
                <c:pt idx="19">
                  <c:v>0.40870000000000001</c:v>
                </c:pt>
                <c:pt idx="20">
                  <c:v>0.52190000000000003</c:v>
                </c:pt>
                <c:pt idx="21">
                  <c:v>0.25779999999999997</c:v>
                </c:pt>
                <c:pt idx="22">
                  <c:v>0.51249999999999996</c:v>
                </c:pt>
                <c:pt idx="23">
                  <c:v>0.42580000000000001</c:v>
                </c:pt>
              </c:numCache>
            </c:numRef>
          </c:xVal>
          <c:yVal>
            <c:numRef>
              <c:f>Sheet1!$B$2:$B$25</c:f>
              <c:numCache>
                <c:formatCode>General</c:formatCode>
                <c:ptCount val="24"/>
                <c:pt idx="0">
                  <c:v>3907.088888888889</c:v>
                </c:pt>
                <c:pt idx="1">
                  <c:v>1571.2876712328771</c:v>
                </c:pt>
                <c:pt idx="2">
                  <c:v>3670.663265306122</c:v>
                </c:pt>
                <c:pt idx="3">
                  <c:v>1491.433734939759</c:v>
                </c:pt>
                <c:pt idx="4">
                  <c:v>126.0606060606061</c:v>
                </c:pt>
                <c:pt idx="5">
                  <c:v>1809.314606741573</c:v>
                </c:pt>
                <c:pt idx="6">
                  <c:v>1532.329411764706</c:v>
                </c:pt>
                <c:pt idx="7">
                  <c:v>292.74468085106378</c:v>
                </c:pt>
                <c:pt idx="8">
                  <c:v>130.70731707317071</c:v>
                </c:pt>
                <c:pt idx="9">
                  <c:v>428.27906976744191</c:v>
                </c:pt>
                <c:pt idx="10">
                  <c:v>268.07142857142861</c:v>
                </c:pt>
                <c:pt idx="11">
                  <c:v>734.41666666666663</c:v>
                </c:pt>
                <c:pt idx="12">
                  <c:v>1149.7733333333331</c:v>
                </c:pt>
                <c:pt idx="13">
                  <c:v>1990.4594594594589</c:v>
                </c:pt>
                <c:pt idx="14">
                  <c:v>2936.2117647058822</c:v>
                </c:pt>
                <c:pt idx="15">
                  <c:v>840.0877192982457</c:v>
                </c:pt>
                <c:pt idx="16">
                  <c:v>806.3125</c:v>
                </c:pt>
                <c:pt idx="17">
                  <c:v>756.10869565217388</c:v>
                </c:pt>
                <c:pt idx="18">
                  <c:v>1739.339285714286</c:v>
                </c:pt>
                <c:pt idx="19">
                  <c:v>2690.9662921348308</c:v>
                </c:pt>
                <c:pt idx="20">
                  <c:v>2365.8641975308642</c:v>
                </c:pt>
                <c:pt idx="21">
                  <c:v>144.11111111111109</c:v>
                </c:pt>
                <c:pt idx="22">
                  <c:v>215.78571428571419</c:v>
                </c:pt>
                <c:pt idx="23">
                  <c:v>142.29411764705881</c:v>
                </c:pt>
              </c:numCache>
            </c:numRef>
          </c:yVal>
          <c:bubbleSize>
            <c:numRef>
              <c:f>Sheet1!$C$2:$C$25</c:f>
              <c:numCache>
                <c:formatCode>General</c:formatCode>
                <c:ptCount val="24"/>
                <c:pt idx="0">
                  <c:v>203224.26610000001</c:v>
                </c:pt>
                <c:pt idx="1">
                  <c:v>61903.722800000003</c:v>
                </c:pt>
                <c:pt idx="2">
                  <c:v>204063.94519999999</c:v>
                </c:pt>
                <c:pt idx="3">
                  <c:v>61191.166899999989</c:v>
                </c:pt>
                <c:pt idx="4">
                  <c:v>1574.5454999999999</c:v>
                </c:pt>
                <c:pt idx="5">
                  <c:v>82728.546799999996</c:v>
                </c:pt>
                <c:pt idx="6">
                  <c:v>65984.07220000001</c:v>
                </c:pt>
                <c:pt idx="7">
                  <c:v>7554.0151999999998</c:v>
                </c:pt>
                <c:pt idx="8">
                  <c:v>3108.8708999999999</c:v>
                </c:pt>
                <c:pt idx="9">
                  <c:v>9548.3824999999997</c:v>
                </c:pt>
                <c:pt idx="10">
                  <c:v>3413.1735999999992</c:v>
                </c:pt>
                <c:pt idx="11">
                  <c:v>4441.4790000000003</c:v>
                </c:pt>
                <c:pt idx="12">
                  <c:v>45605.556199999992</c:v>
                </c:pt>
                <c:pt idx="13">
                  <c:v>78358.659800000009</c:v>
                </c:pt>
                <c:pt idx="14">
                  <c:v>132048.75390000001</c:v>
                </c:pt>
                <c:pt idx="15">
                  <c:v>25896.57</c:v>
                </c:pt>
                <c:pt idx="16">
                  <c:v>29471.16599999999</c:v>
                </c:pt>
                <c:pt idx="17">
                  <c:v>17286.738700000002</c:v>
                </c:pt>
                <c:pt idx="18">
                  <c:v>48786.166700000002</c:v>
                </c:pt>
                <c:pt idx="19">
                  <c:v>134223.04699999999</c:v>
                </c:pt>
                <c:pt idx="20">
                  <c:v>86851.195999999982</c:v>
                </c:pt>
                <c:pt idx="21">
                  <c:v>1824.9043999999999</c:v>
                </c:pt>
                <c:pt idx="22">
                  <c:v>1395.9426000000001</c:v>
                </c:pt>
                <c:pt idx="23">
                  <c:v>1316.502</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uisine Sauce Fromage Afh 1X240Gr 1P</c:v>
                  </c:pt>
                  <c:pt idx="2">
                    <c:v>Boursin Classique Fromage Frais A Tartiner Afh Boite 1X150Gr 1P</c:v>
                  </c:pt>
                  <c:pt idx="3">
                    <c:v>Boursin Classique Fromage Frais A Tartiner Ciboulette &amp; Echalote Boite 1X150Gr 1P</c:v>
                  </c:pt>
                  <c:pt idx="4">
                    <c:v>Boursin Classique Fromage Frais A Tartiner Truffe Boite 1X150Gr 1P</c:v>
                  </c:pt>
                  <c:pt idx="5">
                    <c:v>Boursin Classique Fromage Frais A Tartiner Figue Et 3 Noix Boite 1X150Gr 1P</c:v>
                  </c:pt>
                  <c:pt idx="6">
                    <c:v>Boursin Salade &amp; Aperitif Fromage Frais Des Afh 1X120Gr 1P</c:v>
                  </c:pt>
                  <c:pt idx="7">
                    <c:v>Boursin Salade &amp; Aperitif Fromage Frais Des Figue Noix 1X120Gr 1P</c:v>
                  </c:pt>
                  <c:pt idx="8">
                    <c:v>Boursin Salade &amp; Aperitif Fromage Frais Des Noisette Et 3 Noix 1X120Gr 1P</c:v>
                  </c:pt>
                  <c:pt idx="9">
                    <c:v>Boursin Salade &amp; Aperitif Fromage Frais Des Ciboulette Echalote 1X120Gr 1P</c:v>
                  </c:pt>
                  <c:pt idx="10">
                    <c:v>Boursin Salade &amp; Aperitif Fromage Frais Des Citron Romarin 1X120Gr 1P</c:v>
                  </c:pt>
                  <c:pt idx="11">
                    <c:v>Boursin Classique Fromage Frais A Tartiner Afh Boite 1X80Gr 1P</c:v>
                  </c:pt>
                  <c:pt idx="12">
                    <c:v>Boursin Classique Fromage Frais A Tartiner Poivre Boite 1X150Gr 1P</c:v>
                  </c:pt>
                  <c:pt idx="13">
                    <c:v>Boursin Classique Fromage Frais A Tartiner Afh Boite 1X96Gr 6P</c:v>
                  </c:pt>
                  <c:pt idx="14">
                    <c:v>Boursin Aperitif Roules Fromage Frais Roule Afh Et Jambon Fume Boite 1X100Gr 20P</c:v>
                  </c:pt>
                  <c:pt idx="15">
                    <c:v>Boursin Aperitif Roules Fromage Frais Roule Basilic &amp; Jambon Fume Tomate Boite 1X100Gr 20P</c:v>
                  </c:pt>
                  <c:pt idx="16">
                    <c:v>Boursin Classique Fromage Frais A Tartiner Afh 1X256Gr 16P</c:v>
                  </c:pt>
                  <c:pt idx="17">
                    <c:v>Boursin Classique Fromage Frais A Tartiner Ciboulette &amp; Echalote 1X160Gr 10P</c:v>
                  </c:pt>
                  <c:pt idx="18">
                    <c:v>Boursin Aperitif Roules Fromage Frais Roule Ciboulette &amp; Echalote Jambon Fume Boite 1X100Gr 20P</c:v>
                  </c:pt>
                  <c:pt idx="19">
                    <c:v>Boursin Classique Fromage Frais A Tartiner Afh Boite 1X250Gr 1P</c:v>
                  </c:pt>
                  <c:pt idx="20">
                    <c:v>Boursin Onctueux Fromage Frais A Tartiner Afh 1X125Gr 1P</c:v>
                  </c:pt>
                  <c:pt idx="21">
                    <c:v>Boursin Aperitif Roules Fromage Frais Roule Jambon Fume &amp; Trio De Noix Boite 1X100Gr 20P</c:v>
                  </c:pt>
                  <c:pt idx="22">
                    <c:v>Boursin Salade &amp; Aperitif Soft Cheese Salade 120G</c:v>
                  </c:pt>
                  <c:pt idx="23">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17570C0-AE83-4EBB-929D-F126AD935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498B549-0303-4FC8-BD8B-841B582436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FEC138B-FAFD-4CCC-8F67-89E1678799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640163E-1671-4B17-9E46-9BF0177AC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0321342-9017-4716-864D-560CB4C158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71ACE67-EF76-4FFC-B1C5-3626D68BC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9383204-7E5D-4658-9422-4625476E6F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7940000000000002</c:v>
                </c:pt>
                <c:pt idx="1">
                  <c:v>0.3014</c:v>
                </c:pt>
                <c:pt idx="2">
                  <c:v>0.42080000000000001</c:v>
                </c:pt>
                <c:pt idx="3">
                  <c:v>0.40210000000000001</c:v>
                </c:pt>
                <c:pt idx="4">
                  <c:v>0.2631</c:v>
                </c:pt>
                <c:pt idx="5">
                  <c:v>0.35049999999999998</c:v>
                </c:pt>
                <c:pt idx="6">
                  <c:v>0.35210000000000002</c:v>
                </c:pt>
                <c:pt idx="7">
                  <c:v>0.38840000000000002</c:v>
                </c:pt>
                <c:pt idx="8">
                  <c:v>0.39889999999999998</c:v>
                </c:pt>
                <c:pt idx="9">
                  <c:v>0.33850000000000002</c:v>
                </c:pt>
              </c:numCache>
            </c:numRef>
          </c:xVal>
          <c:yVal>
            <c:numRef>
              <c:f>Sheet1!$B$2:$B$11</c:f>
              <c:numCache>
                <c:formatCode>General</c:formatCode>
                <c:ptCount val="10"/>
                <c:pt idx="0">
                  <c:v>81394.755784061694</c:v>
                </c:pt>
                <c:pt idx="1">
                  <c:v>42862.613908872903</c:v>
                </c:pt>
                <c:pt idx="2">
                  <c:v>9290.7881136950891</c:v>
                </c:pt>
                <c:pt idx="3">
                  <c:v>7421.5241057542771</c:v>
                </c:pt>
                <c:pt idx="4">
                  <c:v>16379.70670391062</c:v>
                </c:pt>
                <c:pt idx="5">
                  <c:v>47708.959595959597</c:v>
                </c:pt>
                <c:pt idx="6">
                  <c:v>5967.6095617529882</c:v>
                </c:pt>
                <c:pt idx="7">
                  <c:v>5613.8606676342533</c:v>
                </c:pt>
                <c:pt idx="8">
                  <c:v>34465.816649104323</c:v>
                </c:pt>
                <c:pt idx="9">
                  <c:v>25172.049180327871</c:v>
                </c:pt>
              </c:numCache>
            </c:numRef>
          </c:yVal>
          <c:bubbleSize>
            <c:numRef>
              <c:f>Sheet1!$C$2:$C$11</c:f>
              <c:numCache>
                <c:formatCode>General</c:formatCode>
                <c:ptCount val="10"/>
                <c:pt idx="0">
                  <c:v>3725061.8516000011</c:v>
                </c:pt>
                <c:pt idx="1">
                  <c:v>2366962.6518000001</c:v>
                </c:pt>
                <c:pt idx="2">
                  <c:v>394784.88339999999</c:v>
                </c:pt>
                <c:pt idx="3">
                  <c:v>270428.12439999997</c:v>
                </c:pt>
                <c:pt idx="4">
                  <c:v>819173.43059999985</c:v>
                </c:pt>
                <c:pt idx="5">
                  <c:v>2907579.7757999999</c:v>
                </c:pt>
                <c:pt idx="6">
                  <c:v>183986.73240000001</c:v>
                </c:pt>
                <c:pt idx="7">
                  <c:v>224227.94260000001</c:v>
                </c:pt>
                <c:pt idx="8">
                  <c:v>1863564.0796999999</c:v>
                </c:pt>
                <c:pt idx="9">
                  <c:v>1155386.3507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1713936-F927-461D-A519-4920EAF9C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B719518-A3FE-4971-9EA4-97B90A7FD7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0A97E6B-BDA5-40B9-9B05-94AD41A91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29C8B56-F06A-4437-B95E-464F4A459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6CA56B9-CEF0-4736-8D01-0B76BD3BF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B2AD75B-DE10-464A-987C-BBB8AC37B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AB2FB3A-15CE-487C-9407-07D1C277D9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43109999999999998</c:v>
                </c:pt>
                <c:pt idx="1">
                  <c:v>0.41099999999999998</c:v>
                </c:pt>
                <c:pt idx="2">
                  <c:v>0.25490000000000002</c:v>
                </c:pt>
                <c:pt idx="3">
                  <c:v>0.3306</c:v>
                </c:pt>
                <c:pt idx="4">
                  <c:v>0.3155</c:v>
                </c:pt>
                <c:pt idx="5">
                  <c:v>0.37190000000000001</c:v>
                </c:pt>
                <c:pt idx="6">
                  <c:v>0.41449999999999998</c:v>
                </c:pt>
                <c:pt idx="7">
                  <c:v>0.56910000000000005</c:v>
                </c:pt>
                <c:pt idx="8">
                  <c:v>0.48430000000000001</c:v>
                </c:pt>
                <c:pt idx="9">
                  <c:v>0.36270000000000002</c:v>
                </c:pt>
                <c:pt idx="10">
                  <c:v>0.33939999999999998</c:v>
                </c:pt>
              </c:numCache>
            </c:numRef>
          </c:xVal>
          <c:yVal>
            <c:numRef>
              <c:f>Sheet1!$B$2:$B$12</c:f>
              <c:numCache>
                <c:formatCode>General</c:formatCode>
                <c:ptCount val="11"/>
                <c:pt idx="0">
                  <c:v>8120.5405405405409</c:v>
                </c:pt>
                <c:pt idx="1">
                  <c:v>64775.474006116208</c:v>
                </c:pt>
                <c:pt idx="2">
                  <c:v>19364.593103448271</c:v>
                </c:pt>
                <c:pt idx="3">
                  <c:v>72823.240534521159</c:v>
                </c:pt>
                <c:pt idx="4">
                  <c:v>143117.4607013301</c:v>
                </c:pt>
                <c:pt idx="5">
                  <c:v>7373.9595959595963</c:v>
                </c:pt>
                <c:pt idx="6">
                  <c:v>22077.01729106628</c:v>
                </c:pt>
                <c:pt idx="7">
                  <c:v>29388.75</c:v>
                </c:pt>
                <c:pt idx="8">
                  <c:v>3280.8506224066391</c:v>
                </c:pt>
                <c:pt idx="9">
                  <c:v>19583.832599118941</c:v>
                </c:pt>
                <c:pt idx="10">
                  <c:v>10205.71428571429</c:v>
                </c:pt>
              </c:numCache>
            </c:numRef>
          </c:yVal>
          <c:bubbleSize>
            <c:numRef>
              <c:f>Sheet1!$C$2:$C$12</c:f>
              <c:numCache>
                <c:formatCode>General</c:formatCode>
                <c:ptCount val="11"/>
                <c:pt idx="0">
                  <c:v>16203.212299999999</c:v>
                </c:pt>
                <c:pt idx="1">
                  <c:v>3547845.7534999992</c:v>
                </c:pt>
                <c:pt idx="2">
                  <c:v>991517.41429999995</c:v>
                </c:pt>
                <c:pt idx="3">
                  <c:v>4149231.1453999998</c:v>
                </c:pt>
                <c:pt idx="4">
                  <c:v>7678155.8173000012</c:v>
                </c:pt>
                <c:pt idx="5">
                  <c:v>217318.38440000001</c:v>
                </c:pt>
                <c:pt idx="6">
                  <c:v>850339.46379999991</c:v>
                </c:pt>
                <c:pt idx="7">
                  <c:v>9602.1797999999999</c:v>
                </c:pt>
                <c:pt idx="8">
                  <c:v>77295.212800000008</c:v>
                </c:pt>
                <c:pt idx="9">
                  <c:v>1074236.973</c:v>
                </c:pt>
                <c:pt idx="10">
                  <c:v>277329.53539999999</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Nature Fromage Fondu Boite Ronde 1X128Gr 8P</c:v>
                  </c:pt>
                  <c:pt idx="7">
                    <c:v>La Vache Qui Rit Pik Et Croq' Fromage Fondu Dips Boite 1X35Gr 1P</c:v>
                  </c:pt>
                  <c:pt idx="8">
                    <c:v>La Vache Qui Rit Bio Fromage Fondu Boite Ronde 1X128Gr 8P</c:v>
                  </c:pt>
                  <c:pt idx="9">
                    <c:v>La Vache Qui Rit Pik Et Croq' Fromage Fondu Dips Boite 1X175Gr 5P</c:v>
                  </c:pt>
                  <c:pt idx="10">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CA2C6C8-56BF-4E1C-B1E9-2CC723AE5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443A5AD-FB6E-43BD-B7D7-38C954FF0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EDE34CD-7965-4052-8250-90DE741B6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793BA8B-6CDB-4B04-A68C-B1498B3ECE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214E3BD-256C-4454-B0CE-78230BD57C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35706D8-8C95-4753-86DC-B3F98466DF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3C8EB3D-74D0-4B04-94EE-8C58658DE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4</c:f>
              <c:numCache>
                <c:formatCode>General</c:formatCode>
                <c:ptCount val="23"/>
                <c:pt idx="0">
                  <c:v>0.3483</c:v>
                </c:pt>
                <c:pt idx="1">
                  <c:v>0.307</c:v>
                </c:pt>
                <c:pt idx="2">
                  <c:v>0.3422</c:v>
                </c:pt>
                <c:pt idx="3">
                  <c:v>0.34489999999999998</c:v>
                </c:pt>
                <c:pt idx="4">
                  <c:v>0.3775</c:v>
                </c:pt>
                <c:pt idx="5">
                  <c:v>0.35499999999999998</c:v>
                </c:pt>
                <c:pt idx="6">
                  <c:v>0.52400000000000002</c:v>
                </c:pt>
                <c:pt idx="7">
                  <c:v>0.45950000000000002</c:v>
                </c:pt>
                <c:pt idx="8">
                  <c:v>0.3926</c:v>
                </c:pt>
                <c:pt idx="9">
                  <c:v>0.44700000000000001</c:v>
                </c:pt>
                <c:pt idx="10">
                  <c:v>0.53649999999999998</c:v>
                </c:pt>
                <c:pt idx="11">
                  <c:v>0.4264</c:v>
                </c:pt>
                <c:pt idx="12">
                  <c:v>0.40820000000000001</c:v>
                </c:pt>
                <c:pt idx="13">
                  <c:v>0.31900000000000001</c:v>
                </c:pt>
                <c:pt idx="14">
                  <c:v>0.37180000000000002</c:v>
                </c:pt>
                <c:pt idx="15">
                  <c:v>0.35110000000000002</c:v>
                </c:pt>
                <c:pt idx="16">
                  <c:v>0.24660000000000001</c:v>
                </c:pt>
                <c:pt idx="17">
                  <c:v>0.43590000000000001</c:v>
                </c:pt>
                <c:pt idx="18">
                  <c:v>0.3392</c:v>
                </c:pt>
                <c:pt idx="19">
                  <c:v>0.38400000000000001</c:v>
                </c:pt>
                <c:pt idx="20">
                  <c:v>0.50129999999999997</c:v>
                </c:pt>
                <c:pt idx="21">
                  <c:v>0.52449999999999997</c:v>
                </c:pt>
                <c:pt idx="22">
                  <c:v>0.38669999999999999</c:v>
                </c:pt>
              </c:numCache>
            </c:numRef>
          </c:xVal>
          <c:yVal>
            <c:numRef>
              <c:f>Sheet1!$B$2:$B$24</c:f>
              <c:numCache>
                <c:formatCode>General</c:formatCode>
                <c:ptCount val="23"/>
                <c:pt idx="0">
                  <c:v>36210.382513661199</c:v>
                </c:pt>
                <c:pt idx="1">
                  <c:v>912.44318181818176</c:v>
                </c:pt>
                <c:pt idx="2">
                  <c:v>35111.053719008269</c:v>
                </c:pt>
                <c:pt idx="3">
                  <c:v>8691.4627994955863</c:v>
                </c:pt>
                <c:pt idx="4">
                  <c:v>956.90802348336592</c:v>
                </c:pt>
                <c:pt idx="5">
                  <c:v>6379.6974063400576</c:v>
                </c:pt>
                <c:pt idx="6">
                  <c:v>1782.271880819367</c:v>
                </c:pt>
                <c:pt idx="7">
                  <c:v>1204.459102902375</c:v>
                </c:pt>
                <c:pt idx="8">
                  <c:v>20726.226611226612</c:v>
                </c:pt>
                <c:pt idx="9">
                  <c:v>4221.7228464419468</c:v>
                </c:pt>
                <c:pt idx="10">
                  <c:v>1752.3170731707321</c:v>
                </c:pt>
                <c:pt idx="11">
                  <c:v>5431.6768665850677</c:v>
                </c:pt>
                <c:pt idx="12">
                  <c:v>2424.0594059405939</c:v>
                </c:pt>
                <c:pt idx="13">
                  <c:v>3167.5167785234898</c:v>
                </c:pt>
                <c:pt idx="14">
                  <c:v>2165.5472636815921</c:v>
                </c:pt>
                <c:pt idx="15">
                  <c:v>11865.907429963459</c:v>
                </c:pt>
                <c:pt idx="16">
                  <c:v>4761.8113207547167</c:v>
                </c:pt>
                <c:pt idx="17">
                  <c:v>1840.8</c:v>
                </c:pt>
                <c:pt idx="18">
                  <c:v>25830.86903304774</c:v>
                </c:pt>
                <c:pt idx="19">
                  <c:v>7665.3875968992243</c:v>
                </c:pt>
                <c:pt idx="20">
                  <c:v>2258.3985765124548</c:v>
                </c:pt>
                <c:pt idx="21">
                  <c:v>502.59259259259261</c:v>
                </c:pt>
                <c:pt idx="22">
                  <c:v>1723.954154727794</c:v>
                </c:pt>
              </c:numCache>
            </c:numRef>
          </c:yVal>
          <c:bubbleSize>
            <c:numRef>
              <c:f>Sheet1!$C$2:$C$24</c:f>
              <c:numCache>
                <c:formatCode>General</c:formatCode>
                <c:ptCount val="23"/>
                <c:pt idx="0">
                  <c:v>2046825.7823000001</c:v>
                </c:pt>
                <c:pt idx="1">
                  <c:v>31644.144499999999</c:v>
                </c:pt>
                <c:pt idx="2">
                  <c:v>2119021.4544000002</c:v>
                </c:pt>
                <c:pt idx="3">
                  <c:v>427959.80719999998</c:v>
                </c:pt>
                <c:pt idx="4">
                  <c:v>28852.473999999998</c:v>
                </c:pt>
                <c:pt idx="5">
                  <c:v>270671.19300000009</c:v>
                </c:pt>
                <c:pt idx="6">
                  <c:v>43181.377599999993</c:v>
                </c:pt>
                <c:pt idx="7">
                  <c:v>23385.416400000009</c:v>
                </c:pt>
                <c:pt idx="8">
                  <c:v>1147947.4047999999</c:v>
                </c:pt>
                <c:pt idx="9">
                  <c:v>177245.5282</c:v>
                </c:pt>
                <c:pt idx="10">
                  <c:v>56817.089500000002</c:v>
                </c:pt>
                <c:pt idx="11">
                  <c:v>241292.2684</c:v>
                </c:pt>
                <c:pt idx="12">
                  <c:v>96136.576799999981</c:v>
                </c:pt>
                <c:pt idx="13">
                  <c:v>91396.574100000013</c:v>
                </c:pt>
                <c:pt idx="14">
                  <c:v>51837.37920000001</c:v>
                </c:pt>
                <c:pt idx="15">
                  <c:v>599204.3587000001</c:v>
                </c:pt>
                <c:pt idx="16">
                  <c:v>90111.2497</c:v>
                </c:pt>
                <c:pt idx="17">
                  <c:v>7381.9490000000014</c:v>
                </c:pt>
                <c:pt idx="18">
                  <c:v>1321744.1344000001</c:v>
                </c:pt>
                <c:pt idx="19">
                  <c:v>346446.61200000002</c:v>
                </c:pt>
                <c:pt idx="20">
                  <c:v>29997.0429</c:v>
                </c:pt>
                <c:pt idx="21">
                  <c:v>7339.8536999999997</c:v>
                </c:pt>
                <c:pt idx="22">
                  <c:v>69949.332200000004</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Truffe Boite 1X150Gr 1P</c:v>
                  </c:pt>
                  <c:pt idx="5">
                    <c:v>Boursin Classique Fromage Frais A Tartiner Figue Et 3 Noix Boite 1X150Gr 1P</c:v>
                  </c:pt>
                  <c:pt idx="6">
                    <c:v>Boursin Classique Fromage Frais A Tartiner 3 Noix Boite 1X150Gr 1P</c:v>
                  </c:pt>
                  <c:pt idx="7">
                    <c:v>Boursin Classique Fromage Frais A Tartiner 3 Noix 1X160Gr 10P</c:v>
                  </c:pt>
                  <c:pt idx="8">
                    <c:v>Boursin Salade &amp; Aperitif Fromage Frais Des Afh 1X120Gr 1P</c:v>
                  </c:pt>
                  <c:pt idx="9">
                    <c:v>Boursin Salade &amp; Aperitif Fromage Frais Des Figue Noix 1X120Gr 1P</c:v>
                  </c:pt>
                  <c:pt idx="10">
                    <c:v>Boursin Salade &amp; Aperitif Fromage Frais Des Noisette Et 3 Noix 1X120Gr 1P</c:v>
                  </c:pt>
                  <c:pt idx="11">
                    <c:v>Boursin Salade &amp; Aperitif Fromage Frais Des Ciboulette Echalote 1X120Gr 1P</c:v>
                  </c:pt>
                  <c:pt idx="12">
                    <c:v>Boursin Salade &amp; Aperitif Fromage Frais Des Citron Romarin 1X120Gr 1P</c:v>
                  </c:pt>
                  <c:pt idx="13">
                    <c:v>Boursin Classique Fromage Frais A Tartiner Afh Boite 1X80Gr 1P</c:v>
                  </c:pt>
                  <c:pt idx="14">
                    <c:v>Boursin Classique Fromage Frais A Tartiner Poivre Boite 1X150Gr 1P</c:v>
                  </c:pt>
                  <c:pt idx="15">
                    <c:v>Boursin Classique Fromage Frais A Tartiner Afh Boite 1X96Gr 6P</c:v>
                  </c:pt>
                  <c:pt idx="16">
                    <c:v>Boursin Classique Fromage Frais A Tartiner Afh 1X256Gr 16P</c:v>
                  </c:pt>
                  <c:pt idx="17">
                    <c:v>Boursin Classique Fromage Frais A Tartiner Ciboulette &amp; Echalote 1X160Gr 10P</c:v>
                  </c:pt>
                  <c:pt idx="18">
                    <c:v>Boursin Classique Fromage Frais A Tartiner Afh Boite 1X250Gr 1P</c:v>
                  </c:pt>
                  <c:pt idx="19">
                    <c:v>Boursin Onctueux Fromage Frais A Tartiner Afh 1X125Gr 1P</c:v>
                  </c:pt>
                  <c:pt idx="20">
                    <c:v>Boursin Onctueux Fromage Frais A Tartiner Afh 1X210Gr 1P</c:v>
                  </c:pt>
                  <c:pt idx="21">
                    <c:v>Boursin Classique Fromage Frais A Tartiner Citron &amp; Romarin Boite 1X150Gr 1P</c:v>
                  </c:pt>
                  <c:pt idx="22">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86AAD46-FD45-4558-8457-31A904AFF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EBD7930-9ADE-43F7-BE4D-0E6C673681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8EC531C-A270-4FD6-B85A-37A61BE5ED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3EF41EB-A45F-407B-B13B-398D06377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05A4F26-083D-45B6-973D-80D3AC49D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F1690E4-F017-4714-AD92-E4DFAD054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663D49D-4E82-43C8-B409-339942AC1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34849999999999998</c:v>
                </c:pt>
                <c:pt idx="1">
                  <c:v>0.32590000000000002</c:v>
                </c:pt>
                <c:pt idx="2">
                  <c:v>0.4577</c:v>
                </c:pt>
                <c:pt idx="3">
                  <c:v>0.49909999999999999</c:v>
                </c:pt>
                <c:pt idx="4">
                  <c:v>0.27950000000000003</c:v>
                </c:pt>
                <c:pt idx="5">
                  <c:v>0.34939999999999999</c:v>
                </c:pt>
                <c:pt idx="6">
                  <c:v>0.47739999999999999</c:v>
                </c:pt>
                <c:pt idx="7">
                  <c:v>0.43070000000000003</c:v>
                </c:pt>
                <c:pt idx="8">
                  <c:v>0.36840000000000001</c:v>
                </c:pt>
                <c:pt idx="9">
                  <c:v>0.3639</c:v>
                </c:pt>
                <c:pt idx="10">
                  <c:v>0.49390000000000001</c:v>
                </c:pt>
              </c:numCache>
            </c:numRef>
          </c:xVal>
          <c:yVal>
            <c:numRef>
              <c:f>Sheet1!$B$2:$B$12</c:f>
              <c:numCache>
                <c:formatCode>General</c:formatCode>
                <c:ptCount val="11"/>
                <c:pt idx="0">
                  <c:v>43360.813008130077</c:v>
                </c:pt>
                <c:pt idx="1">
                  <c:v>45724.892307692309</c:v>
                </c:pt>
                <c:pt idx="2">
                  <c:v>6139.8327359617679</c:v>
                </c:pt>
                <c:pt idx="3">
                  <c:v>481.37096774193537</c:v>
                </c:pt>
                <c:pt idx="4">
                  <c:v>3357.0257037943702</c:v>
                </c:pt>
                <c:pt idx="5">
                  <c:v>25786.988809766019</c:v>
                </c:pt>
                <c:pt idx="6">
                  <c:v>7090.9286898839136</c:v>
                </c:pt>
                <c:pt idx="7">
                  <c:v>3027.5083798882679</c:v>
                </c:pt>
                <c:pt idx="8">
                  <c:v>20585.647298674819</c:v>
                </c:pt>
                <c:pt idx="9">
                  <c:v>27675.493562231761</c:v>
                </c:pt>
                <c:pt idx="10">
                  <c:v>5504.0773809523807</c:v>
                </c:pt>
              </c:numCache>
            </c:numRef>
          </c:yVal>
          <c:bubbleSize>
            <c:numRef>
              <c:f>Sheet1!$C$2:$C$12</c:f>
              <c:numCache>
                <c:formatCode>General</c:formatCode>
                <c:ptCount val="11"/>
                <c:pt idx="0">
                  <c:v>2305421.665</c:v>
                </c:pt>
                <c:pt idx="1">
                  <c:v>2848455.0869</c:v>
                </c:pt>
                <c:pt idx="2">
                  <c:v>264142.96620000002</c:v>
                </c:pt>
                <c:pt idx="3">
                  <c:v>8501.64</c:v>
                </c:pt>
                <c:pt idx="4">
                  <c:v>187301.984</c:v>
                </c:pt>
                <c:pt idx="5">
                  <c:v>1563209.9702000001</c:v>
                </c:pt>
                <c:pt idx="6">
                  <c:v>211804.0281</c:v>
                </c:pt>
                <c:pt idx="7">
                  <c:v>146209.82399999999</c:v>
                </c:pt>
                <c:pt idx="8">
                  <c:v>1209085.3938</c:v>
                </c:pt>
                <c:pt idx="9">
                  <c:v>1555147.5876</c:v>
                </c:pt>
                <c:pt idx="10">
                  <c:v>177451.4127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pt idx="10">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8FDBCC2-CB1E-4154-A088-4EA0AA8FE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5215AE0-D7F5-4114-9BA4-3F2EB46021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93FAF0B-6A30-40AF-A0B5-39B5D92D8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50488C7-22F9-45DA-BB69-C2B8E76EA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809879A-6535-4F7E-8450-B7BE2E335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923839E-76EA-4528-A227-20DACF08E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E58923B-D2E1-4E0F-BCDE-3BA1E02F8A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55130000000000001</c:v>
                </c:pt>
                <c:pt idx="1">
                  <c:v>0.3977</c:v>
                </c:pt>
                <c:pt idx="2">
                  <c:v>0.24640000000000001</c:v>
                </c:pt>
                <c:pt idx="3">
                  <c:v>0.35820000000000002</c:v>
                </c:pt>
                <c:pt idx="4">
                  <c:v>0.32750000000000001</c:v>
                </c:pt>
                <c:pt idx="5">
                  <c:v>0.43259999999999998</c:v>
                </c:pt>
                <c:pt idx="6">
                  <c:v>0.42409999999999998</c:v>
                </c:pt>
                <c:pt idx="7">
                  <c:v>0.49440000000000001</c:v>
                </c:pt>
              </c:numCache>
            </c:numRef>
          </c:xVal>
          <c:yVal>
            <c:numRef>
              <c:f>Sheet1!$B$2:$B$9</c:f>
              <c:numCache>
                <c:formatCode>General</c:formatCode>
                <c:ptCount val="8"/>
                <c:pt idx="0">
                  <c:v>6740.5301914580259</c:v>
                </c:pt>
                <c:pt idx="1">
                  <c:v>61730.220440881763</c:v>
                </c:pt>
                <c:pt idx="2">
                  <c:v>1325.194805194805</c:v>
                </c:pt>
                <c:pt idx="3">
                  <c:v>52226.907545164722</c:v>
                </c:pt>
                <c:pt idx="4">
                  <c:v>79341.235480464631</c:v>
                </c:pt>
                <c:pt idx="5">
                  <c:v>10304.161712247331</c:v>
                </c:pt>
                <c:pt idx="6">
                  <c:v>14262.722513089009</c:v>
                </c:pt>
                <c:pt idx="7">
                  <c:v>14741.66273584906</c:v>
                </c:pt>
              </c:numCache>
            </c:numRef>
          </c:yVal>
          <c:bubbleSize>
            <c:numRef>
              <c:f>Sheet1!$C$2:$C$9</c:f>
              <c:numCache>
                <c:formatCode>General</c:formatCode>
                <c:ptCount val="8"/>
                <c:pt idx="0">
                  <c:v>194639.24890000001</c:v>
                </c:pt>
                <c:pt idx="1">
                  <c:v>3516863.661400001</c:v>
                </c:pt>
                <c:pt idx="2">
                  <c:v>21865.780599999991</c:v>
                </c:pt>
                <c:pt idx="3">
                  <c:v>2989794.8149000001</c:v>
                </c:pt>
                <c:pt idx="4">
                  <c:v>4789467.3874000004</c:v>
                </c:pt>
                <c:pt idx="5">
                  <c:v>466038.12929999991</c:v>
                </c:pt>
                <c:pt idx="6">
                  <c:v>743356.49009999994</c:v>
                </c:pt>
                <c:pt idx="7">
                  <c:v>599065.13089999976</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Pik Et Croq' Fromage Fondu Dips Boite 1X175Gr 5P</c:v>
                  </c:pt>
                  <c:pt idx="7">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2D58EC4-9D68-4FB6-8079-F9B0E00F23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56BC3B2-152B-47E8-AF9E-8192BC09A3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5240DD3-B278-4DE4-B412-C8A4AC0BF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0A40775-72FC-4AC0-BC08-FFAB963BBB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30C813B-3F83-4C0A-B4AA-18582D41B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F7B4547-488E-47B1-A002-8B42A8E31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25EE8C8-75B2-4396-8FA5-8854BBA72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9</c:f>
              <c:numCache>
                <c:formatCode>General</c:formatCode>
                <c:ptCount val="18"/>
                <c:pt idx="0">
                  <c:v>0.35720000000000002</c:v>
                </c:pt>
                <c:pt idx="1">
                  <c:v>0.36149999999999999</c:v>
                </c:pt>
                <c:pt idx="2">
                  <c:v>0.42870000000000003</c:v>
                </c:pt>
                <c:pt idx="3">
                  <c:v>0.53720000000000001</c:v>
                </c:pt>
                <c:pt idx="4">
                  <c:v>0.40649999999999997</c:v>
                </c:pt>
                <c:pt idx="5">
                  <c:v>0.43430000000000002</c:v>
                </c:pt>
                <c:pt idx="6">
                  <c:v>0.38550000000000001</c:v>
                </c:pt>
                <c:pt idx="7">
                  <c:v>0.36380000000000001</c:v>
                </c:pt>
                <c:pt idx="8">
                  <c:v>0.42049999999999998</c:v>
                </c:pt>
                <c:pt idx="9">
                  <c:v>0.4869</c:v>
                </c:pt>
                <c:pt idx="10">
                  <c:v>0.40110000000000001</c:v>
                </c:pt>
                <c:pt idx="11">
                  <c:v>0.39090000000000003</c:v>
                </c:pt>
                <c:pt idx="12">
                  <c:v>0.4027</c:v>
                </c:pt>
                <c:pt idx="13">
                  <c:v>0.38950000000000001</c:v>
                </c:pt>
                <c:pt idx="14">
                  <c:v>0.436</c:v>
                </c:pt>
                <c:pt idx="15">
                  <c:v>0.37330000000000002</c:v>
                </c:pt>
                <c:pt idx="16">
                  <c:v>0.4899</c:v>
                </c:pt>
                <c:pt idx="17">
                  <c:v>0.47799999999999998</c:v>
                </c:pt>
              </c:numCache>
            </c:numRef>
          </c:xVal>
          <c:yVal>
            <c:numRef>
              <c:f>Sheet1!$B$2:$B$19</c:f>
              <c:numCache>
                <c:formatCode>General</c:formatCode>
                <c:ptCount val="18"/>
                <c:pt idx="0">
                  <c:v>27527.410805300711</c:v>
                </c:pt>
                <c:pt idx="1">
                  <c:v>24558.51703406814</c:v>
                </c:pt>
                <c:pt idx="2">
                  <c:v>8635.1798561151081</c:v>
                </c:pt>
                <c:pt idx="3">
                  <c:v>648.25327510917032</c:v>
                </c:pt>
                <c:pt idx="4">
                  <c:v>10309.23469387755</c:v>
                </c:pt>
                <c:pt idx="5">
                  <c:v>11293.564049586779</c:v>
                </c:pt>
                <c:pt idx="6">
                  <c:v>2199.2426035502958</c:v>
                </c:pt>
                <c:pt idx="7">
                  <c:v>1098.2067247820671</c:v>
                </c:pt>
                <c:pt idx="8">
                  <c:v>3335.8687727825031</c:v>
                </c:pt>
                <c:pt idx="9">
                  <c:v>1614.075757575758</c:v>
                </c:pt>
                <c:pt idx="10">
                  <c:v>2730.8923076923079</c:v>
                </c:pt>
                <c:pt idx="11">
                  <c:v>7229.1382978723404</c:v>
                </c:pt>
                <c:pt idx="12">
                  <c:v>11438.093716719921</c:v>
                </c:pt>
                <c:pt idx="13">
                  <c:v>8505.5930232558148</c:v>
                </c:pt>
                <c:pt idx="14">
                  <c:v>5809.3564356435636</c:v>
                </c:pt>
                <c:pt idx="15">
                  <c:v>27838.234693877552</c:v>
                </c:pt>
                <c:pt idx="16">
                  <c:v>12471.15303983229</c:v>
                </c:pt>
                <c:pt idx="17">
                  <c:v>1111.304347826087</c:v>
                </c:pt>
              </c:numCache>
            </c:numRef>
          </c:yVal>
          <c:bubbleSize>
            <c:numRef>
              <c:f>Sheet1!$C$2:$C$19</c:f>
              <c:numCache>
                <c:formatCode>General</c:formatCode>
                <c:ptCount val="18"/>
                <c:pt idx="0">
                  <c:v>1645429.3156999999</c:v>
                </c:pt>
                <c:pt idx="1">
                  <c:v>1483245.8407999999</c:v>
                </c:pt>
                <c:pt idx="2">
                  <c:v>455014.01169999992</c:v>
                </c:pt>
                <c:pt idx="3">
                  <c:v>19536.5635</c:v>
                </c:pt>
                <c:pt idx="4">
                  <c:v>568393.2801999998</c:v>
                </c:pt>
                <c:pt idx="5">
                  <c:v>586213.45919999992</c:v>
                </c:pt>
                <c:pt idx="6">
                  <c:v>108247.5664</c:v>
                </c:pt>
                <c:pt idx="7">
                  <c:v>53176.012199999997</c:v>
                </c:pt>
                <c:pt idx="8">
                  <c:v>150811.14780000001</c:v>
                </c:pt>
                <c:pt idx="9">
                  <c:v>51813.046099999992</c:v>
                </c:pt>
                <c:pt idx="10">
                  <c:v>50382.185700000002</c:v>
                </c:pt>
                <c:pt idx="11">
                  <c:v>392341.30040000001</c:v>
                </c:pt>
                <c:pt idx="12">
                  <c:v>608075.93240000005</c:v>
                </c:pt>
                <c:pt idx="13">
                  <c:v>423307.45439999987</c:v>
                </c:pt>
                <c:pt idx="14">
                  <c:v>250921.9325</c:v>
                </c:pt>
                <c:pt idx="15">
                  <c:v>1620710.9252000011</c:v>
                </c:pt>
                <c:pt idx="16">
                  <c:v>575246.19469999999</c:v>
                </c:pt>
                <c:pt idx="17">
                  <c:v>22765.070899999999</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Truffe Boite 1X150Gr 1P</c:v>
                  </c:pt>
                  <c:pt idx="4">
                    <c:v>Boursin Classique Fromage Frais A Tartiner Figue Et 3 Noix Boite 1X150Gr 1P</c:v>
                  </c:pt>
                  <c:pt idx="5">
                    <c:v>Boursin Salade &amp; Aperitif Fromage Frais Des Afh 1X120Gr 1P</c:v>
                  </c:pt>
                  <c:pt idx="6">
                    <c:v>Boursin Salade &amp; Aperitif Fromage Frais Des Figue Noix 1X120Gr 1P</c:v>
                  </c:pt>
                  <c:pt idx="7">
                    <c:v>Boursin Salade &amp; Aperitif Fromage Frais Des Noisette Et 3 Noix 1X120Gr 1P</c:v>
                  </c:pt>
                  <c:pt idx="8">
                    <c:v>Boursin Salade &amp; Aperitif Fromage Frais Des Ciboulette Echalote 1X120Gr 1P</c:v>
                  </c:pt>
                  <c:pt idx="9">
                    <c:v>Boursin Salade &amp; Aperitif Fromage Frais Des Citron Romarin 1X120Gr 1P</c:v>
                  </c:pt>
                  <c:pt idx="10">
                    <c:v>Boursin Classique Fromage Frais A Tartiner Afh Boite 1X80Gr 1P</c:v>
                  </c:pt>
                  <c:pt idx="11">
                    <c:v>Boursin Classique Fromage Frais A Tartiner Poivre Boite 1X150Gr 1P</c:v>
                  </c:pt>
                  <c:pt idx="12">
                    <c:v>Boursin Classique Fromage Frais A Tartiner Afh Boite 1X96Gr 6P</c:v>
                  </c:pt>
                  <c:pt idx="13">
                    <c:v>Boursin Classique Fromage Frais A Tartiner Afh 1X256Gr 16P</c:v>
                  </c:pt>
                  <c:pt idx="14">
                    <c:v>Boursin Classique Fromage Frais A Tartiner Ciboulette &amp; Echalote 1X160Gr 10P</c:v>
                  </c:pt>
                  <c:pt idx="15">
                    <c:v>Boursin Classique Fromage Frais A Tartiner Afh Boite 1X250Gr 1P</c:v>
                  </c:pt>
                  <c:pt idx="16">
                    <c:v>Boursin Onctueux Fromage Frais A Tartiner Afh 1X125Gr 1P</c:v>
                  </c:pt>
                  <c:pt idx="17">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96567DB-9208-453F-B38B-E389B3CEC2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7339198-B187-464D-8035-C635142F3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5ECA6CB-FAEB-439E-9426-03A8AEF13D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F3BD448-590D-4C0C-BBB8-19EC5C308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6281A3D-6C1F-40DC-8890-796E88BA82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5B11C61-FE6F-4E39-82BD-77CB15DA3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C334654-A4A2-4A47-BC71-A7857508F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6849999999999999</c:v>
                </c:pt>
                <c:pt idx="1">
                  <c:v>0.29260000000000003</c:v>
                </c:pt>
                <c:pt idx="2">
                  <c:v>0.3659</c:v>
                </c:pt>
                <c:pt idx="3">
                  <c:v>0.40129999999999999</c:v>
                </c:pt>
                <c:pt idx="4">
                  <c:v>0.25950000000000001</c:v>
                </c:pt>
                <c:pt idx="5">
                  <c:v>0.28560000000000002</c:v>
                </c:pt>
                <c:pt idx="6">
                  <c:v>0.3478</c:v>
                </c:pt>
                <c:pt idx="7">
                  <c:v>0.372</c:v>
                </c:pt>
                <c:pt idx="8">
                  <c:v>0.31780000000000003</c:v>
                </c:pt>
                <c:pt idx="9">
                  <c:v>0.32940000000000003</c:v>
                </c:pt>
              </c:numCache>
            </c:numRef>
          </c:xVal>
          <c:yVal>
            <c:numRef>
              <c:f>Sheet1!$B$2:$B$11</c:f>
              <c:numCache>
                <c:formatCode>General</c:formatCode>
                <c:ptCount val="10"/>
                <c:pt idx="0">
                  <c:v>45589.414141414141</c:v>
                </c:pt>
                <c:pt idx="1">
                  <c:v>19457.759999999998</c:v>
                </c:pt>
                <c:pt idx="2">
                  <c:v>2226.4591836734689</c:v>
                </c:pt>
                <c:pt idx="3">
                  <c:v>3431.15625</c:v>
                </c:pt>
                <c:pt idx="4">
                  <c:v>8238.3469387755104</c:v>
                </c:pt>
                <c:pt idx="5">
                  <c:v>11794.45</c:v>
                </c:pt>
                <c:pt idx="6">
                  <c:v>1891.373333333333</c:v>
                </c:pt>
                <c:pt idx="7">
                  <c:v>1402.640449438202</c:v>
                </c:pt>
                <c:pt idx="8">
                  <c:v>14911.01</c:v>
                </c:pt>
                <c:pt idx="9">
                  <c:v>11125.101010101011</c:v>
                </c:pt>
              </c:numCache>
            </c:numRef>
          </c:yVal>
          <c:bubbleSize>
            <c:numRef>
              <c:f>Sheet1!$C$2:$C$11</c:f>
              <c:numCache>
                <c:formatCode>General</c:formatCode>
                <c:ptCount val="10"/>
                <c:pt idx="0">
                  <c:v>2701473.5923000001</c:v>
                </c:pt>
                <c:pt idx="1">
                  <c:v>1304656.6438</c:v>
                </c:pt>
                <c:pt idx="2">
                  <c:v>131141.8792</c:v>
                </c:pt>
                <c:pt idx="3">
                  <c:v>186938.92819999999</c:v>
                </c:pt>
                <c:pt idx="4">
                  <c:v>566708.10480000009</c:v>
                </c:pt>
                <c:pt idx="5">
                  <c:v>798628.68059999996</c:v>
                </c:pt>
                <c:pt idx="6">
                  <c:v>87696.779200000004</c:v>
                </c:pt>
                <c:pt idx="7">
                  <c:v>74313.284700000004</c:v>
                </c:pt>
                <c:pt idx="8">
                  <c:v>964173.1054</c:v>
                </c:pt>
                <c:pt idx="9">
                  <c:v>700106.70720000006</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Richesmonts</c:v>
                </c:pt>
                <c:pt idx="6">
                  <c:v>Others</c:v>
                </c:pt>
              </c:strCache>
            </c:strRef>
          </c:cat>
          <c:val>
            <c:numRef>
              <c:f>Sheet1!$B$2:$B$8</c:f>
              <c:numCache>
                <c:formatCode>General</c:formatCode>
                <c:ptCount val="7"/>
                <c:pt idx="0">
                  <c:v>0.41780452351065461</c:v>
                </c:pt>
                <c:pt idx="1">
                  <c:v>0.35185407435531907</c:v>
                </c:pt>
                <c:pt idx="2">
                  <c:v>0.10074122902363938</c:v>
                </c:pt>
                <c:pt idx="3">
                  <c:v>4.2430878565267525E-2</c:v>
                </c:pt>
                <c:pt idx="4">
                  <c:v>1.5766869997906247E-2</c:v>
                </c:pt>
                <c:pt idx="5">
                  <c:v>1.1461750919398481E-2</c:v>
                </c:pt>
                <c:pt idx="6">
                  <c:v>5.994067362781466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Richesmonts</c:v>
                </c:pt>
                <c:pt idx="6">
                  <c:v>Others</c:v>
                </c:pt>
              </c:strCache>
            </c:strRef>
          </c:cat>
          <c:val>
            <c:numRef>
              <c:f>Sheet1!$C$2:$C$8</c:f>
              <c:numCache>
                <c:formatCode>General</c:formatCode>
                <c:ptCount val="7"/>
                <c:pt idx="0">
                  <c:v>0.290838584585555</c:v>
                </c:pt>
                <c:pt idx="1">
                  <c:v>0.27532719340765871</c:v>
                </c:pt>
                <c:pt idx="2">
                  <c:v>9.5976732913233193E-2</c:v>
                </c:pt>
                <c:pt idx="3">
                  <c:v>4.8473097430925843E-2</c:v>
                </c:pt>
                <c:pt idx="4">
                  <c:v>4.6534173533688793E-2</c:v>
                </c:pt>
                <c:pt idx="5">
                  <c:v>4.6049442559379539E-2</c:v>
                </c:pt>
                <c:pt idx="6">
                  <c:v>0.1968007755695589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Raguin</c:v>
                </c:pt>
                <c:pt idx="4">
                  <c:v>Boursin</c:v>
                </c:pt>
                <c:pt idx="5">
                  <c:v>Richesmonts</c:v>
                </c:pt>
                <c:pt idx="6">
                  <c:v>Others</c:v>
                </c:pt>
              </c:strCache>
            </c:strRef>
          </c:cat>
          <c:val>
            <c:numRef>
              <c:f>Sheet1!$D$2:$D$8</c:f>
              <c:numCache>
                <c:formatCode>General</c:formatCode>
                <c:ptCount val="7"/>
                <c:pt idx="0">
                  <c:v>69.611162210918039</c:v>
                </c:pt>
                <c:pt idx="1">
                  <c:v>78.250392271888302</c:v>
                </c:pt>
                <c:pt idx="2">
                  <c:v>95.270559872474664</c:v>
                </c:pt>
                <c:pt idx="3">
                  <c:v>114.24014554957689</c:v>
                </c:pt>
                <c:pt idx="4">
                  <c:v>295.1389434927051</c:v>
                </c:pt>
                <c:pt idx="5">
                  <c:v>401.76621253776329</c:v>
                </c:pt>
                <c:pt idx="6">
                  <c:v>328.3259323903162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C1FB4B4-571E-4E70-8278-A9A3CB2890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9BB21B1-8EA3-4D79-98C8-8B95255BFF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4518541-3A6C-4D00-9E6C-AC78885AC0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3744BEE-D5A7-43FF-B916-29D56041F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137DD0A-74BB-488C-9CCE-2E3BBB073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F589DEF-10D9-45D8-87AF-2695476AA8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C6BFD48-B56B-4B10-865E-16A40FA02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3109999999999998</c:v>
                </c:pt>
                <c:pt idx="1">
                  <c:v>0.36609999999999998</c:v>
                </c:pt>
                <c:pt idx="2">
                  <c:v>0.25650000000000001</c:v>
                </c:pt>
                <c:pt idx="3">
                  <c:v>0.29049999999999998</c:v>
                </c:pt>
                <c:pt idx="4">
                  <c:v>0.3044</c:v>
                </c:pt>
                <c:pt idx="5">
                  <c:v>0.371</c:v>
                </c:pt>
                <c:pt idx="6">
                  <c:v>0.4083</c:v>
                </c:pt>
                <c:pt idx="7">
                  <c:v>0.47270000000000001</c:v>
                </c:pt>
                <c:pt idx="8">
                  <c:v>0.28360000000000002</c:v>
                </c:pt>
                <c:pt idx="9">
                  <c:v>0.33939999999999998</c:v>
                </c:pt>
              </c:numCache>
            </c:numRef>
          </c:xVal>
          <c:yVal>
            <c:numRef>
              <c:f>Sheet1!$B$2:$B$11</c:f>
              <c:numCache>
                <c:formatCode>General</c:formatCode>
                <c:ptCount val="10"/>
                <c:pt idx="0">
                  <c:v>3755.75</c:v>
                </c:pt>
                <c:pt idx="1">
                  <c:v>16701.66</c:v>
                </c:pt>
                <c:pt idx="2">
                  <c:v>9848.9468085106382</c:v>
                </c:pt>
                <c:pt idx="3">
                  <c:v>29213.62</c:v>
                </c:pt>
                <c:pt idx="4">
                  <c:v>82610.363636363632</c:v>
                </c:pt>
                <c:pt idx="5">
                  <c:v>3117.8720930232562</c:v>
                </c:pt>
                <c:pt idx="6">
                  <c:v>8213.010638297872</c:v>
                </c:pt>
                <c:pt idx="7">
                  <c:v>999.73170731707319</c:v>
                </c:pt>
                <c:pt idx="8">
                  <c:v>7241.72</c:v>
                </c:pt>
                <c:pt idx="9">
                  <c:v>4657.1894736842096</c:v>
                </c:pt>
              </c:numCache>
            </c:numRef>
          </c:yVal>
          <c:bubbleSize>
            <c:numRef>
              <c:f>Sheet1!$C$2:$C$11</c:f>
              <c:numCache>
                <c:formatCode>General</c:formatCode>
                <c:ptCount val="10"/>
                <c:pt idx="0">
                  <c:v>16203.212299999999</c:v>
                </c:pt>
                <c:pt idx="1">
                  <c:v>1003580.1054999999</c:v>
                </c:pt>
                <c:pt idx="2">
                  <c:v>652434.56669999997</c:v>
                </c:pt>
                <c:pt idx="3">
                  <c:v>1964518.6340999999</c:v>
                </c:pt>
                <c:pt idx="4">
                  <c:v>5392409.5773</c:v>
                </c:pt>
                <c:pt idx="5">
                  <c:v>159865.11799999999</c:v>
                </c:pt>
                <c:pt idx="6">
                  <c:v>433001.46350000001</c:v>
                </c:pt>
                <c:pt idx="7">
                  <c:v>40975.859999999993</c:v>
                </c:pt>
                <c:pt idx="8">
                  <c:v>491761.31099999999</c:v>
                </c:pt>
                <c:pt idx="9">
                  <c:v>277013.40789999999</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Nature Fromage Fondu Boite Ronde 1X128Gr 8P</c:v>
                  </c:pt>
                  <c:pt idx="7">
                    <c:v>La Vache Qui Rit Bio Fromage Fondu Boite Ronde 1X128Gr 8P</c:v>
                  </c:pt>
                  <c:pt idx="8">
                    <c:v>La Vache Qui Rit Pik Et Croq' Fromage Fondu Dips Boite 1X175Gr 5P</c:v>
                  </c:pt>
                  <c:pt idx="9">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B9B1CB3-F222-4E99-B9D9-1DE0D4AE03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14B6D99-C1CA-4559-855A-93B6E3D85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4FF0822-E9C5-4CBB-A194-17E94A0A3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A246B62-AC42-4A3C-962A-2482B6E04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47A39E9-E967-4AFE-AE7B-9D0ACA01C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5E670D9-6567-446F-BC38-BF6A59F9D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93824D5-3BEB-4255-8BF5-490589E424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4</c:f>
              <c:numCache>
                <c:formatCode>General</c:formatCode>
                <c:ptCount val="23"/>
                <c:pt idx="0">
                  <c:v>0.33100000000000002</c:v>
                </c:pt>
                <c:pt idx="1">
                  <c:v>0.28520000000000001</c:v>
                </c:pt>
                <c:pt idx="2">
                  <c:v>0.28360000000000002</c:v>
                </c:pt>
                <c:pt idx="3">
                  <c:v>0.33090000000000003</c:v>
                </c:pt>
                <c:pt idx="4">
                  <c:v>0.37130000000000002</c:v>
                </c:pt>
                <c:pt idx="5">
                  <c:v>0.35320000000000001</c:v>
                </c:pt>
                <c:pt idx="6">
                  <c:v>0.52329999999999999</c:v>
                </c:pt>
                <c:pt idx="7">
                  <c:v>0.39950000000000002</c:v>
                </c:pt>
                <c:pt idx="8">
                  <c:v>0.34739999999999999</c:v>
                </c:pt>
                <c:pt idx="9">
                  <c:v>0.46879999999999999</c:v>
                </c:pt>
                <c:pt idx="10">
                  <c:v>0.55230000000000001</c:v>
                </c:pt>
                <c:pt idx="11">
                  <c:v>0.45100000000000001</c:v>
                </c:pt>
                <c:pt idx="12">
                  <c:v>0.40339999999999998</c:v>
                </c:pt>
                <c:pt idx="13">
                  <c:v>0.2979</c:v>
                </c:pt>
                <c:pt idx="14">
                  <c:v>0.37180000000000002</c:v>
                </c:pt>
                <c:pt idx="15">
                  <c:v>0.34339999999999998</c:v>
                </c:pt>
                <c:pt idx="16">
                  <c:v>0.24660000000000001</c:v>
                </c:pt>
                <c:pt idx="17">
                  <c:v>0.43640000000000001</c:v>
                </c:pt>
                <c:pt idx="18">
                  <c:v>0.33300000000000002</c:v>
                </c:pt>
                <c:pt idx="19">
                  <c:v>0.37290000000000001</c:v>
                </c:pt>
                <c:pt idx="20">
                  <c:v>0.50419999999999998</c:v>
                </c:pt>
                <c:pt idx="21">
                  <c:v>0.52459999999999996</c:v>
                </c:pt>
                <c:pt idx="22">
                  <c:v>0.36549999999999999</c:v>
                </c:pt>
              </c:numCache>
            </c:numRef>
          </c:xVal>
          <c:yVal>
            <c:numRef>
              <c:f>Sheet1!$B$2:$B$24</c:f>
              <c:numCache>
                <c:formatCode>General</c:formatCode>
                <c:ptCount val="23"/>
                <c:pt idx="0">
                  <c:v>14268.91</c:v>
                </c:pt>
                <c:pt idx="1">
                  <c:v>333.52941176470591</c:v>
                </c:pt>
                <c:pt idx="2">
                  <c:v>9722.94</c:v>
                </c:pt>
                <c:pt idx="3">
                  <c:v>3345.6288659793809</c:v>
                </c:pt>
                <c:pt idx="4">
                  <c:v>480.09090909090912</c:v>
                </c:pt>
                <c:pt idx="5">
                  <c:v>3773</c:v>
                </c:pt>
                <c:pt idx="6">
                  <c:v>871.68656716417911</c:v>
                </c:pt>
                <c:pt idx="7">
                  <c:v>524.91836734693879</c:v>
                </c:pt>
                <c:pt idx="8">
                  <c:v>6542.91</c:v>
                </c:pt>
                <c:pt idx="9">
                  <c:v>1562.84</c:v>
                </c:pt>
                <c:pt idx="10">
                  <c:v>708.27083333333337</c:v>
                </c:pt>
                <c:pt idx="11">
                  <c:v>2741.89</c:v>
                </c:pt>
                <c:pt idx="12">
                  <c:v>844.63157894736844</c:v>
                </c:pt>
                <c:pt idx="13">
                  <c:v>1281.0212765957449</c:v>
                </c:pt>
                <c:pt idx="14">
                  <c:v>989.26136363636363</c:v>
                </c:pt>
                <c:pt idx="15">
                  <c:v>4276.8900000000003</c:v>
                </c:pt>
                <c:pt idx="16">
                  <c:v>2175.4827586206902</c:v>
                </c:pt>
                <c:pt idx="17">
                  <c:v>964.35714285714278</c:v>
                </c:pt>
                <c:pt idx="18">
                  <c:v>11512.05</c:v>
                </c:pt>
                <c:pt idx="19">
                  <c:v>2658.0808080808079</c:v>
                </c:pt>
                <c:pt idx="20">
                  <c:v>1025.28813559322</c:v>
                </c:pt>
                <c:pt idx="21">
                  <c:v>229.12676056338029</c:v>
                </c:pt>
                <c:pt idx="22">
                  <c:v>593.85106382978722</c:v>
                </c:pt>
              </c:numCache>
            </c:numRef>
          </c:yVal>
          <c:bubbleSize>
            <c:numRef>
              <c:f>Sheet1!$C$2:$C$24</c:f>
              <c:numCache>
                <c:formatCode>General</c:formatCode>
                <c:ptCount val="23"/>
                <c:pt idx="0">
                  <c:v>904769.62540000002</c:v>
                </c:pt>
                <c:pt idx="1">
                  <c:v>19208.837500000001</c:v>
                </c:pt>
                <c:pt idx="2">
                  <c:v>660282.57319999998</c:v>
                </c:pt>
                <c:pt idx="3">
                  <c:v>205815.49559999999</c:v>
                </c:pt>
                <c:pt idx="4">
                  <c:v>18882.7261</c:v>
                </c:pt>
                <c:pt idx="5">
                  <c:v>226705.78390000001</c:v>
                </c:pt>
                <c:pt idx="6">
                  <c:v>26386.711899999998</c:v>
                </c:pt>
                <c:pt idx="7">
                  <c:v>14639.8354</c:v>
                </c:pt>
                <c:pt idx="8">
                  <c:v>404752.79509999999</c:v>
                </c:pt>
                <c:pt idx="9">
                  <c:v>78689.65879999999</c:v>
                </c:pt>
                <c:pt idx="10">
                  <c:v>28854.082600000002</c:v>
                </c:pt>
                <c:pt idx="11">
                  <c:v>142684.70430000001</c:v>
                </c:pt>
                <c:pt idx="12">
                  <c:v>45376.329899999997</c:v>
                </c:pt>
                <c:pt idx="13">
                  <c:v>80141.60040000001</c:v>
                </c:pt>
                <c:pt idx="14">
                  <c:v>51837.37920000001</c:v>
                </c:pt>
                <c:pt idx="15">
                  <c:v>266178.70789999998</c:v>
                </c:pt>
                <c:pt idx="16">
                  <c:v>90101.286900000006</c:v>
                </c:pt>
                <c:pt idx="17">
                  <c:v>7213.1059999999998</c:v>
                </c:pt>
                <c:pt idx="18">
                  <c:v>727771.94940000016</c:v>
                </c:pt>
                <c:pt idx="19">
                  <c:v>156408.5736</c:v>
                </c:pt>
                <c:pt idx="20">
                  <c:v>28426.323100000001</c:v>
                </c:pt>
                <c:pt idx="21">
                  <c:v>7330.6674000000003</c:v>
                </c:pt>
                <c:pt idx="22">
                  <c:v>33570.772400000002</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Truffe Boite 1X150Gr 1P</c:v>
                  </c:pt>
                  <c:pt idx="5">
                    <c:v>Boursin Classique Fromage Frais A Tartiner Figue Et 3 Noix Boite 1X150Gr 1P</c:v>
                  </c:pt>
                  <c:pt idx="6">
                    <c:v>Boursin Classique Fromage Frais A Tartiner 3 Noix Boite 1X150Gr 1P</c:v>
                  </c:pt>
                  <c:pt idx="7">
                    <c:v>Boursin Classique Fromage Frais A Tartiner 3 Noix 1X160Gr 10P</c:v>
                  </c:pt>
                  <c:pt idx="8">
                    <c:v>Boursin Salade &amp; Aperitif Fromage Frais Des Afh 1X120Gr 1P</c:v>
                  </c:pt>
                  <c:pt idx="9">
                    <c:v>Boursin Salade &amp; Aperitif Fromage Frais Des Figue Noix 1X120Gr 1P</c:v>
                  </c:pt>
                  <c:pt idx="10">
                    <c:v>Boursin Salade &amp; Aperitif Fromage Frais Des Noisette Et 3 Noix 1X120Gr 1P</c:v>
                  </c:pt>
                  <c:pt idx="11">
                    <c:v>Boursin Salade &amp; Aperitif Fromage Frais Des Ciboulette Echalote 1X120Gr 1P</c:v>
                  </c:pt>
                  <c:pt idx="12">
                    <c:v>Boursin Salade &amp; Aperitif Fromage Frais Des Citron Romarin 1X120Gr 1P</c:v>
                  </c:pt>
                  <c:pt idx="13">
                    <c:v>Boursin Classique Fromage Frais A Tartiner Afh Boite 1X80Gr 1P</c:v>
                  </c:pt>
                  <c:pt idx="14">
                    <c:v>Boursin Classique Fromage Frais A Tartiner Poivre Boite 1X150Gr 1P</c:v>
                  </c:pt>
                  <c:pt idx="15">
                    <c:v>Boursin Classique Fromage Frais A Tartiner Afh Boite 1X96Gr 6P</c:v>
                  </c:pt>
                  <c:pt idx="16">
                    <c:v>Boursin Classique Fromage Frais A Tartiner Afh 1X256Gr 16P</c:v>
                  </c:pt>
                  <c:pt idx="17">
                    <c:v>Boursin Classique Fromage Frais A Tartiner Ciboulette &amp; Echalote 1X160Gr 10P</c:v>
                  </c:pt>
                  <c:pt idx="18">
                    <c:v>Boursin Classique Fromage Frais A Tartiner Afh Boite 1X250Gr 1P</c:v>
                  </c:pt>
                  <c:pt idx="19">
                    <c:v>Boursin Onctueux Fromage Frais A Tartiner Afh 1X125Gr 1P</c:v>
                  </c:pt>
                  <c:pt idx="20">
                    <c:v>Boursin Onctueux Fromage Frais A Tartiner Afh 1X210Gr 1P</c:v>
                  </c:pt>
                  <c:pt idx="21">
                    <c:v>Boursin Classique Fromage Frais A Tartiner Citron &amp; Romarin Boite 1X150Gr 1P</c:v>
                  </c:pt>
                  <c:pt idx="22">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6E42FDC-B34A-4815-914F-0E147F220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D8A80A7-D3C9-486F-A905-71EE3A082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C4306CB-1AF6-4351-B9C0-8B2714155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1BCE4CA-F147-4937-8404-F8CB188FC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5A9A818-B57D-4BDE-9FDB-20D013A686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6CC9229-9215-45B9-8467-10905E2EFF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73EE366-3B6B-4820-8C09-DEB5C251B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0629999999999999</c:v>
                </c:pt>
                <c:pt idx="1">
                  <c:v>0.31119999999999998</c:v>
                </c:pt>
                <c:pt idx="2">
                  <c:v>0.39750000000000002</c:v>
                </c:pt>
                <c:pt idx="3">
                  <c:v>0.40410000000000001</c:v>
                </c:pt>
                <c:pt idx="4">
                  <c:v>0.27110000000000001</c:v>
                </c:pt>
                <c:pt idx="5">
                  <c:v>0.2873</c:v>
                </c:pt>
                <c:pt idx="6">
                  <c:v>0.35589999999999999</c:v>
                </c:pt>
                <c:pt idx="7">
                  <c:v>0.37519999999999998</c:v>
                </c:pt>
                <c:pt idx="8">
                  <c:v>0.41860000000000003</c:v>
                </c:pt>
                <c:pt idx="9">
                  <c:v>0.35120000000000001</c:v>
                </c:pt>
              </c:numCache>
            </c:numRef>
          </c:xVal>
          <c:yVal>
            <c:numRef>
              <c:f>Sheet1!$B$2:$B$11</c:f>
              <c:numCache>
                <c:formatCode>General</c:formatCode>
                <c:ptCount val="10"/>
                <c:pt idx="0">
                  <c:v>21137</c:v>
                </c:pt>
                <c:pt idx="1">
                  <c:v>16372.639175257729</c:v>
                </c:pt>
                <c:pt idx="2">
                  <c:v>2355.7580645161288</c:v>
                </c:pt>
                <c:pt idx="3">
                  <c:v>2737.2777777777778</c:v>
                </c:pt>
                <c:pt idx="4">
                  <c:v>5146.8873239436616</c:v>
                </c:pt>
                <c:pt idx="5">
                  <c:v>11937.040404040399</c:v>
                </c:pt>
                <c:pt idx="6">
                  <c:v>3755.261904761905</c:v>
                </c:pt>
                <c:pt idx="7">
                  <c:v>2356.2857142857142</c:v>
                </c:pt>
                <c:pt idx="8">
                  <c:v>9403.7474747474753</c:v>
                </c:pt>
                <c:pt idx="9">
                  <c:v>9956.6438356164381</c:v>
                </c:pt>
              </c:numCache>
            </c:numRef>
          </c:yVal>
          <c:bubbleSize>
            <c:numRef>
              <c:f>Sheet1!$C$2:$C$11</c:f>
              <c:numCache>
                <c:formatCode>General</c:formatCode>
                <c:ptCount val="10"/>
                <c:pt idx="0">
                  <c:v>1022986.8484</c:v>
                </c:pt>
                <c:pt idx="1">
                  <c:v>1036852.9036</c:v>
                </c:pt>
                <c:pt idx="2">
                  <c:v>83407.418800000014</c:v>
                </c:pt>
                <c:pt idx="3">
                  <c:v>83489.196199999991</c:v>
                </c:pt>
                <c:pt idx="4">
                  <c:v>252465.32579999999</c:v>
                </c:pt>
                <c:pt idx="5">
                  <c:v>798333.04369999992</c:v>
                </c:pt>
                <c:pt idx="6">
                  <c:v>96289.953199999989</c:v>
                </c:pt>
                <c:pt idx="7">
                  <c:v>87919.882999999987</c:v>
                </c:pt>
                <c:pt idx="8">
                  <c:v>513060.90409999993</c:v>
                </c:pt>
                <c:pt idx="9">
                  <c:v>446982.82140000002</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D6A47DF-C43F-4FE5-B134-6C671564A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0C5FE61-D31C-48DD-85B4-644907204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F19323B-D8BE-44D1-B818-5998A40B3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6AF82BD-9A27-48F8-9D42-B90A49DC6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0BAFDCC-5543-4ECA-A9B2-D776F92ED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88DE426-C528-4C67-84F4-F0185B5BC9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8F0B4AE-7D1B-4530-8C9B-92D7E556E3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836</c:v>
                </c:pt>
                <c:pt idx="1">
                  <c:v>0.25169999999999998</c:v>
                </c:pt>
                <c:pt idx="2">
                  <c:v>0.32369999999999999</c:v>
                </c:pt>
                <c:pt idx="3">
                  <c:v>0.34</c:v>
                </c:pt>
                <c:pt idx="4">
                  <c:v>0.37419999999999998</c:v>
                </c:pt>
                <c:pt idx="5">
                  <c:v>0.41060000000000002</c:v>
                </c:pt>
                <c:pt idx="6">
                  <c:v>0.48559999999999998</c:v>
                </c:pt>
                <c:pt idx="7">
                  <c:v>0.38269999999999998</c:v>
                </c:pt>
              </c:numCache>
            </c:numRef>
          </c:xVal>
          <c:yVal>
            <c:numRef>
              <c:f>Sheet1!$B$2:$B$9</c:f>
              <c:numCache>
                <c:formatCode>General</c:formatCode>
                <c:ptCount val="8"/>
                <c:pt idx="0">
                  <c:v>19283.14141414141</c:v>
                </c:pt>
                <c:pt idx="1">
                  <c:v>6125.9615384615381</c:v>
                </c:pt>
                <c:pt idx="2">
                  <c:v>23908.927083333328</c:v>
                </c:pt>
                <c:pt idx="3">
                  <c:v>36882.898989898989</c:v>
                </c:pt>
                <c:pt idx="4">
                  <c:v>3586</c:v>
                </c:pt>
                <c:pt idx="5">
                  <c:v>9583.0909090909099</c:v>
                </c:pt>
                <c:pt idx="6">
                  <c:v>1907.64</c:v>
                </c:pt>
                <c:pt idx="7">
                  <c:v>6300.7113402061859</c:v>
                </c:pt>
              </c:numCache>
            </c:numRef>
          </c:yVal>
          <c:bubbleSize>
            <c:numRef>
              <c:f>Sheet1!$C$2:$C$9</c:f>
              <c:numCache>
                <c:formatCode>General</c:formatCode>
                <c:ptCount val="8"/>
                <c:pt idx="0">
                  <c:v>1115386.6605</c:v>
                </c:pt>
                <c:pt idx="1">
                  <c:v>338910.8653</c:v>
                </c:pt>
                <c:pt idx="2">
                  <c:v>1471281.0649000001</c:v>
                </c:pt>
                <c:pt idx="3">
                  <c:v>2282886.3753999998</c:v>
                </c:pt>
                <c:pt idx="4">
                  <c:v>57429.013199999987</c:v>
                </c:pt>
                <c:pt idx="5">
                  <c:v>353367.2169</c:v>
                </c:pt>
                <c:pt idx="6">
                  <c:v>23255.5641</c:v>
                </c:pt>
                <c:pt idx="7">
                  <c:v>357582.02799999999</c:v>
                </c:pt>
              </c:numCache>
            </c:numRef>
          </c:bubbleSize>
          <c:bubble3D val="0"/>
          <c:extLst>
            <c:ext xmlns:c15="http://schemas.microsoft.com/office/drawing/2012/chart" uri="{02D57815-91ED-43cb-92C2-25804820EDAC}">
              <c15:datalabelsRange>
                <c15:f>Sheet1!$E$2:$E$50</c15:f>
                <c15:dlblRangeCache>
                  <c:ptCount val="49"/>
                  <c:pt idx="0">
                    <c:v>La Vache Qui Rit Nature Fromage Fondu Boite Ronde 1X192Gr 12P</c:v>
                  </c:pt>
                  <c:pt idx="1">
                    <c:v>La Vache Qui Rit Nature Fromage Fondu Boite Ronde 1X512Gr 24+8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Nature Fromage Fondu Boite Ronde 1X128Gr 8P</c:v>
                  </c:pt>
                  <c:pt idx="6">
                    <c:v>La Vache Qui Rit Bio Fromage Fondu Boite Ronde 1X128Gr 8P</c:v>
                  </c:pt>
                  <c:pt idx="7">
                    <c:v>La Vache Qui Rit Pik Et Croq' Fromage Fondu Dips Boite 1X175Gr 5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5C33CE8-421A-4E39-966C-9811137AC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8520BB4-C5A1-4D87-877D-FBA48991C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3B9BC16-DA99-4C26-B0CE-779AA7E78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A71221A-5905-4FBE-8A8A-C359C8FB6A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D75F448-FFA5-4556-9414-C2965747A7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21AC248-F54A-42C3-9A12-31E27FC6E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E3D9629-7CC5-41FF-B537-4756BA5616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9</c:f>
              <c:numCache>
                <c:formatCode>General</c:formatCode>
                <c:ptCount val="18"/>
                <c:pt idx="0">
                  <c:v>0.34610000000000002</c:v>
                </c:pt>
                <c:pt idx="1">
                  <c:v>0.33829999999999999</c:v>
                </c:pt>
                <c:pt idx="2">
                  <c:v>0.29520000000000002</c:v>
                </c:pt>
                <c:pt idx="3">
                  <c:v>0.3367</c:v>
                </c:pt>
                <c:pt idx="4">
                  <c:v>0.38890000000000002</c:v>
                </c:pt>
                <c:pt idx="5">
                  <c:v>0.36449999999999999</c:v>
                </c:pt>
                <c:pt idx="6">
                  <c:v>0.52500000000000002</c:v>
                </c:pt>
                <c:pt idx="7">
                  <c:v>0.53700000000000003</c:v>
                </c:pt>
                <c:pt idx="8">
                  <c:v>0.33850000000000002</c:v>
                </c:pt>
                <c:pt idx="9">
                  <c:v>0.42830000000000001</c:v>
                </c:pt>
                <c:pt idx="10">
                  <c:v>0.51900000000000002</c:v>
                </c:pt>
                <c:pt idx="11">
                  <c:v>0.38650000000000001</c:v>
                </c:pt>
                <c:pt idx="12">
                  <c:v>0.41239999999999999</c:v>
                </c:pt>
                <c:pt idx="13">
                  <c:v>0.35139999999999999</c:v>
                </c:pt>
                <c:pt idx="14">
                  <c:v>0.34660000000000002</c:v>
                </c:pt>
                <c:pt idx="15">
                  <c:v>0.39269999999999999</c:v>
                </c:pt>
                <c:pt idx="16">
                  <c:v>0.44190000000000002</c:v>
                </c:pt>
                <c:pt idx="17">
                  <c:v>0.40510000000000002</c:v>
                </c:pt>
              </c:numCache>
            </c:numRef>
          </c:xVal>
          <c:yVal>
            <c:numRef>
              <c:f>Sheet1!$B$2:$B$19</c:f>
              <c:numCache>
                <c:formatCode>General</c:formatCode>
                <c:ptCount val="18"/>
                <c:pt idx="0">
                  <c:v>12114.479591836731</c:v>
                </c:pt>
                <c:pt idx="1">
                  <c:v>535.8648648648649</c:v>
                </c:pt>
                <c:pt idx="2">
                  <c:v>11147.28282828283</c:v>
                </c:pt>
                <c:pt idx="3">
                  <c:v>3558.674157303371</c:v>
                </c:pt>
                <c:pt idx="4">
                  <c:v>247.92156862745099</c:v>
                </c:pt>
                <c:pt idx="5">
                  <c:v>1122.0923076923079</c:v>
                </c:pt>
                <c:pt idx="6">
                  <c:v>611.55737704918033</c:v>
                </c:pt>
                <c:pt idx="7">
                  <c:v>486.04878048780489</c:v>
                </c:pt>
                <c:pt idx="8">
                  <c:v>7616.333333333333</c:v>
                </c:pt>
                <c:pt idx="9">
                  <c:v>1998.6373626373629</c:v>
                </c:pt>
                <c:pt idx="10">
                  <c:v>776.29113924050637</c:v>
                </c:pt>
                <c:pt idx="11">
                  <c:v>1784.8315789473679</c:v>
                </c:pt>
                <c:pt idx="12">
                  <c:v>1265.291666666667</c:v>
                </c:pt>
                <c:pt idx="13">
                  <c:v>5526.197802197802</c:v>
                </c:pt>
                <c:pt idx="14">
                  <c:v>10084.61052631579</c:v>
                </c:pt>
                <c:pt idx="15">
                  <c:v>3883.376470588235</c:v>
                </c:pt>
                <c:pt idx="16">
                  <c:v>989.66666666666663</c:v>
                </c:pt>
                <c:pt idx="17">
                  <c:v>908.5915492957746</c:v>
                </c:pt>
              </c:numCache>
            </c:numRef>
          </c:yVal>
          <c:bubbleSize>
            <c:numRef>
              <c:f>Sheet1!$C$2:$C$19</c:f>
              <c:numCache>
                <c:formatCode>General</c:formatCode>
                <c:ptCount val="18"/>
                <c:pt idx="0">
                  <c:v>735837.03899999987</c:v>
                </c:pt>
                <c:pt idx="1">
                  <c:v>12435.307000000001</c:v>
                </c:pt>
                <c:pt idx="2">
                  <c:v>737303.34119999991</c:v>
                </c:pt>
                <c:pt idx="3">
                  <c:v>199120.19279999999</c:v>
                </c:pt>
                <c:pt idx="4">
                  <c:v>7323.7779999999984</c:v>
                </c:pt>
                <c:pt idx="5">
                  <c:v>43933.779499999997</c:v>
                </c:pt>
                <c:pt idx="6">
                  <c:v>16794.665700000001</c:v>
                </c:pt>
                <c:pt idx="7">
                  <c:v>8745.5810000000001</c:v>
                </c:pt>
                <c:pt idx="8">
                  <c:v>472778.95269999991</c:v>
                </c:pt>
                <c:pt idx="9">
                  <c:v>98555.869400000011</c:v>
                </c:pt>
                <c:pt idx="10">
                  <c:v>27963.0069</c:v>
                </c:pt>
                <c:pt idx="11">
                  <c:v>98599.152199999982</c:v>
                </c:pt>
                <c:pt idx="12">
                  <c:v>50744.359600000003</c:v>
                </c:pt>
                <c:pt idx="13">
                  <c:v>309185.78110000002</c:v>
                </c:pt>
                <c:pt idx="14">
                  <c:v>593369.18190000008</c:v>
                </c:pt>
                <c:pt idx="15">
                  <c:v>190007.0134</c:v>
                </c:pt>
                <c:pt idx="16">
                  <c:v>1570.7198000000001</c:v>
                </c:pt>
                <c:pt idx="17">
                  <c:v>36378.559800000003</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Truffe Boite 1X150Gr 1P</c:v>
                  </c:pt>
                  <c:pt idx="5">
                    <c:v>Boursin Classique Fromage Frais A Tartiner Figue Et 3 Noix Boite 1X150Gr 1P</c:v>
                  </c:pt>
                  <c:pt idx="6">
                    <c:v>Boursin Classique Fromage Frais A Tartiner 3 Noix Boite 1X150Gr 1P</c:v>
                  </c:pt>
                  <c:pt idx="7">
                    <c:v>Boursin Classique Fromage Frais A Tartiner 3 Noix 1X160Gr 10P</c:v>
                  </c:pt>
                  <c:pt idx="8">
                    <c:v>Boursin Salade &amp; Aperitif Fromage Frais Des Afh 1X120Gr 1P</c:v>
                  </c:pt>
                  <c:pt idx="9">
                    <c:v>Boursin Salade &amp; Aperitif Fromage Frais Des Figue Noix 1X120Gr 1P</c:v>
                  </c:pt>
                  <c:pt idx="10">
                    <c:v>Boursin Salade &amp; Aperitif Fromage Frais Des Noisette Et 3 Noix 1X120Gr 1P</c:v>
                  </c:pt>
                  <c:pt idx="11">
                    <c:v>Boursin Salade &amp; Aperitif Fromage Frais Des Ciboulette Echalote 1X120Gr 1P</c:v>
                  </c:pt>
                  <c:pt idx="12">
                    <c:v>Boursin Salade &amp; Aperitif Fromage Frais Des Citron Romarin 1X120Gr 1P</c:v>
                  </c:pt>
                  <c:pt idx="13">
                    <c:v>Boursin Classique Fromage Frais A Tartiner Afh Boite 1X96Gr 6P</c:v>
                  </c:pt>
                  <c:pt idx="14">
                    <c:v>Boursin Classique Fromage Frais A Tartiner Afh Boite 1X250Gr 1P</c:v>
                  </c:pt>
                  <c:pt idx="15">
                    <c:v>Boursin Onctueux Fromage Frais A Tartiner Afh 1X125Gr 1P</c:v>
                  </c:pt>
                  <c:pt idx="16">
                    <c:v>Boursin Onctueux Fromage Frais A Tartiner Afh 1X210Gr 1P</c:v>
                  </c:pt>
                  <c:pt idx="17">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836301D-3872-4A00-AB29-7CB9CBA927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4EA5121-8FAA-4976-92B2-59DC3D199E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0F05A5F-8EBA-492F-B6A7-A8DD7B472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7E426EC-FB59-4A00-8A4B-C798E5609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D6524AB-92BA-428B-BDF0-72BFAFD229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AD9B0B7-34DE-46B6-8EBC-E933B41514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09C2BB5-F1C2-4E75-B3D0-C0EA71E332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3422</c:v>
                </c:pt>
                <c:pt idx="1">
                  <c:v>0.4642</c:v>
                </c:pt>
                <c:pt idx="2">
                  <c:v>0.41460000000000002</c:v>
                </c:pt>
                <c:pt idx="3">
                  <c:v>0.42380000000000001</c:v>
                </c:pt>
                <c:pt idx="4">
                  <c:v>0.51980000000000004</c:v>
                </c:pt>
                <c:pt idx="5">
                  <c:v>0.39100000000000001</c:v>
                </c:pt>
              </c:numCache>
            </c:numRef>
          </c:xVal>
          <c:yVal>
            <c:numRef>
              <c:f>Sheet1!$B$2:$B$7</c:f>
              <c:numCache>
                <c:formatCode>General</c:formatCode>
                <c:ptCount val="6"/>
                <c:pt idx="0">
                  <c:v>6803.333333333333</c:v>
                </c:pt>
                <c:pt idx="1">
                  <c:v>6336.7321428571422</c:v>
                </c:pt>
                <c:pt idx="2">
                  <c:v>24603.90625</c:v>
                </c:pt>
                <c:pt idx="3">
                  <c:v>4204.2222222222226</c:v>
                </c:pt>
                <c:pt idx="4">
                  <c:v>11954</c:v>
                </c:pt>
                <c:pt idx="5">
                  <c:v>7187</c:v>
                </c:pt>
              </c:numCache>
            </c:numRef>
          </c:yVal>
          <c:bubbleSize>
            <c:numRef>
              <c:f>Sheet1!$C$2:$C$7</c:f>
              <c:numCache>
                <c:formatCode>General</c:formatCode>
                <c:ptCount val="6"/>
                <c:pt idx="0">
                  <c:v>25453.1044</c:v>
                </c:pt>
                <c:pt idx="1">
                  <c:v>180235.58540000001</c:v>
                </c:pt>
                <c:pt idx="2">
                  <c:v>1310618.0515000001</c:v>
                </c:pt>
                <c:pt idx="3">
                  <c:v>61994.774900000011</c:v>
                </c:pt>
                <c:pt idx="4">
                  <c:v>386330.07020000002</c:v>
                </c:pt>
                <c:pt idx="5">
                  <c:v>8296.8222000000005</c:v>
                </c:pt>
              </c:numCache>
            </c:numRef>
          </c:bubbleSize>
          <c:bubble3D val="0"/>
          <c:extLst>
            <c:ext xmlns:c15="http://schemas.microsoft.com/office/drawing/2012/chart" uri="{02D57815-91ED-43cb-92C2-25804820EDAC}">
              <c15:datalabelsRange>
                <c15:f>Sheet1!$E$2:$E$50</c15:f>
                <c15:dlblRangeCache>
                  <c:ptCount val="49"/>
                  <c:pt idx="0">
                    <c:v>Kiri Creme Fromage Blanc Frais Carre 1X216Gr 12P</c:v>
                  </c:pt>
                  <c:pt idx="1">
                    <c:v>Kiri Delicieusement Fouette Fromage Frais A Tartiner 1X125Gr 1P</c:v>
                  </c:pt>
                  <c:pt idx="2">
                    <c:v>Kiri Creme Fromage Blanc Frais Carre 1X144Gr 8P</c:v>
                  </c:pt>
                  <c:pt idx="3">
                    <c:v>Kiri Delicieusement Fouette Fromage Frais A Tartiner 1X160Gr 10P</c:v>
                  </c:pt>
                  <c:pt idx="4">
                    <c:v>Kiri Gouter Fromage Blanc Dips Boite 1X175Gr 5P</c:v>
                  </c:pt>
                  <c:pt idx="5">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C5E5762-CE43-4B7C-83AA-CB9F3E826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D63A409-604C-4208-9002-EEE3FEB85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01C3C70-290C-46E2-9DBE-784A840FA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5622F2D-5FD4-4689-9659-089C304E1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A134D88-6AB0-4A0A-941D-A5746F372A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49F9FB6-0A8A-4FF2-BC3D-1A26706CD3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4BE78FE-95EE-43AC-BFB6-DF7E0262A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5679999999999998</c:v>
                </c:pt>
                <c:pt idx="1">
                  <c:v>0.43099999999999999</c:v>
                </c:pt>
                <c:pt idx="2">
                  <c:v>0.47120000000000001</c:v>
                </c:pt>
                <c:pt idx="3">
                  <c:v>0.56910000000000005</c:v>
                </c:pt>
                <c:pt idx="4">
                  <c:v>0.51590000000000003</c:v>
                </c:pt>
                <c:pt idx="5">
                  <c:v>0.46429999999999999</c:v>
                </c:pt>
              </c:numCache>
            </c:numRef>
          </c:xVal>
          <c:yVal>
            <c:numRef>
              <c:f>Sheet1!$B$2:$B$7</c:f>
              <c:numCache>
                <c:formatCode>General</c:formatCode>
                <c:ptCount val="6"/>
                <c:pt idx="0">
                  <c:v>30497.54945054945</c:v>
                </c:pt>
                <c:pt idx="1">
                  <c:v>28146.97872340426</c:v>
                </c:pt>
                <c:pt idx="2">
                  <c:v>14182</c:v>
                </c:pt>
                <c:pt idx="3">
                  <c:v>4702.2</c:v>
                </c:pt>
                <c:pt idx="4">
                  <c:v>3558.5</c:v>
                </c:pt>
                <c:pt idx="5">
                  <c:v>8683.745098039215</c:v>
                </c:pt>
              </c:numCache>
            </c:numRef>
          </c:yVal>
          <c:bubbleSize>
            <c:numRef>
              <c:f>Sheet1!$C$2:$C$7</c:f>
              <c:numCache>
                <c:formatCode>General</c:formatCode>
                <c:ptCount val="6"/>
                <c:pt idx="0">
                  <c:v>1428878.9875</c:v>
                </c:pt>
                <c:pt idx="1">
                  <c:v>713431.4463999999</c:v>
                </c:pt>
                <c:pt idx="2">
                  <c:v>63970.783399999993</c:v>
                </c:pt>
                <c:pt idx="3">
                  <c:v>9602.1797999999999</c:v>
                </c:pt>
                <c:pt idx="4">
                  <c:v>13063.788699999999</c:v>
                </c:pt>
                <c:pt idx="5">
                  <c:v>224893.63399999999</c:v>
                </c:pt>
              </c:numCache>
            </c:numRef>
          </c:bubbleSize>
          <c:bubble3D val="0"/>
          <c:extLst>
            <c:ext xmlns:c15="http://schemas.microsoft.com/office/drawing/2012/chart" uri="{02D57815-91ED-43cb-92C2-25804820EDAC}">
              <c15:datalabelsRange>
                <c15:f>Sheet1!$E$2:$E$50</c15:f>
                <c15:dlblRangeCache>
                  <c:ptCount val="49"/>
                  <c:pt idx="0">
                    <c:v>La Vache Qui Rit Nature Fromage Fondu Boite Ronde 1X192Gr 12P</c:v>
                  </c:pt>
                  <c:pt idx="1">
                    <c:v>La Vache Qui Rit Nature Fromage Fondu Boite Ronde 1X384Gr 24P</c:v>
                  </c:pt>
                  <c:pt idx="2">
                    <c:v>La Vache Qui Rit Nature Fromage Fondu Boite Ronde 1X128Gr 8P</c:v>
                  </c:pt>
                  <c:pt idx="3">
                    <c:v>La Vache Qui Rit Pik Et Croq' Fromage Fondu Dips Boite 1X35Gr 1P</c:v>
                  </c:pt>
                  <c:pt idx="4">
                    <c:v>La Vache Qui Rit Bio Fromage Fondu Boite Ronde 1X128Gr 8P</c:v>
                  </c:pt>
                  <c:pt idx="5">
                    <c:v>La Vache Qui Rit Pik Et Croq' Fromage Fondu Dips Boite 1X175Gr 5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CB5D494-A672-4EF0-9022-FAA4A3A949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EA6A4CD-AEDE-4E49-90FC-7519C27E64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57B992D-8E13-4AE7-BCD9-50DFEFFA32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8872835-5CEE-47B4-849C-00AAB4B9B3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371DA2D-F0FA-4B4C-85D3-BF9C5DDBE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6C78CA7-1D9A-46A8-BC52-2A6BE61F9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A8F41C9-8047-46AA-A898-7A663B5DA2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38700000000000001</c:v>
                </c:pt>
                <c:pt idx="1">
                  <c:v>0.42470000000000002</c:v>
                </c:pt>
                <c:pt idx="2">
                  <c:v>0.49380000000000002</c:v>
                </c:pt>
                <c:pt idx="3">
                  <c:v>0.38890000000000002</c:v>
                </c:pt>
                <c:pt idx="4">
                  <c:v>0.51280000000000003</c:v>
                </c:pt>
                <c:pt idx="5">
                  <c:v>0.44059999999999999</c:v>
                </c:pt>
                <c:pt idx="6">
                  <c:v>0.4234</c:v>
                </c:pt>
              </c:numCache>
            </c:numRef>
          </c:xVal>
          <c:yVal>
            <c:numRef>
              <c:f>Sheet1!$B$2:$B$8</c:f>
              <c:numCache>
                <c:formatCode>General</c:formatCode>
                <c:ptCount val="7"/>
                <c:pt idx="0">
                  <c:v>13191.32075471698</c:v>
                </c:pt>
                <c:pt idx="1">
                  <c:v>15938.25301204819</c:v>
                </c:pt>
                <c:pt idx="2">
                  <c:v>5998.125</c:v>
                </c:pt>
                <c:pt idx="3">
                  <c:v>456.8</c:v>
                </c:pt>
                <c:pt idx="4">
                  <c:v>7412.0886075949365</c:v>
                </c:pt>
                <c:pt idx="5">
                  <c:v>1914.818181818182</c:v>
                </c:pt>
                <c:pt idx="6">
                  <c:v>3634.833333333333</c:v>
                </c:pt>
              </c:numCache>
            </c:numRef>
          </c:yVal>
          <c:bubbleSize>
            <c:numRef>
              <c:f>Sheet1!$C$2:$C$8</c:f>
              <c:numCache>
                <c:formatCode>General</c:formatCode>
                <c:ptCount val="7"/>
                <c:pt idx="0">
                  <c:v>406219.11790000001</c:v>
                </c:pt>
                <c:pt idx="1">
                  <c:v>721435.53999999992</c:v>
                </c:pt>
                <c:pt idx="2">
                  <c:v>23024.1188</c:v>
                </c:pt>
                <c:pt idx="3">
                  <c:v>2645.9699000000001</c:v>
                </c:pt>
                <c:pt idx="4">
                  <c:v>270415.65699999989</c:v>
                </c:pt>
                <c:pt idx="5">
                  <c:v>11168.7999</c:v>
                </c:pt>
                <c:pt idx="6">
                  <c:v>23839.869699999999</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Truffe Boite 1X150Gr 1P</c:v>
                  </c:pt>
                  <c:pt idx="4">
                    <c:v>Boursin Salade &amp; Aperitif Fromage Frais Des Afh 1X120Gr 1P</c:v>
                  </c:pt>
                  <c:pt idx="5">
                    <c:v>Boursin Classique Fromage Frais A Tartiner Afh Boite 1X80Gr 1P</c:v>
                  </c:pt>
                  <c:pt idx="6">
                    <c:v>Boursin Classique Fromage Frais A Tartiner Afh Boite 1X96Gr 6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011C1D4-2237-4005-87A3-9667D2FC23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1BB3406-6DE7-4472-9A9C-C612A308AD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49BBAD2-53FB-4202-A564-AEA04F4A9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669C71C-93A4-4F0F-A7F6-F8CBCFAF5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8E4F002-512E-4F4C-B621-6AABEA041C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1ACE4BB-1AFE-4839-9450-4992735867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3A9A24D-6CDC-4F7B-AFB6-FF4858537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3468</c:v>
                </c:pt>
                <c:pt idx="1">
                  <c:v>0.3231</c:v>
                </c:pt>
                <c:pt idx="2">
                  <c:v>0.45629999999999998</c:v>
                </c:pt>
                <c:pt idx="3">
                  <c:v>0.502</c:v>
                </c:pt>
                <c:pt idx="4">
                  <c:v>0.2797</c:v>
                </c:pt>
                <c:pt idx="5">
                  <c:v>0.34410000000000002</c:v>
                </c:pt>
                <c:pt idx="6">
                  <c:v>0.47489999999999999</c:v>
                </c:pt>
                <c:pt idx="7">
                  <c:v>0.41339999999999999</c:v>
                </c:pt>
                <c:pt idx="8">
                  <c:v>0.36549999999999999</c:v>
                </c:pt>
                <c:pt idx="9">
                  <c:v>0.36370000000000002</c:v>
                </c:pt>
                <c:pt idx="10">
                  <c:v>0.49349999999999999</c:v>
                </c:pt>
              </c:numCache>
            </c:numRef>
          </c:xVal>
          <c:yVal>
            <c:numRef>
              <c:f>Sheet1!$B$2:$B$12</c:f>
              <c:numCache>
                <c:formatCode>General</c:formatCode>
                <c:ptCount val="11"/>
                <c:pt idx="0">
                  <c:v>32269.033707865168</c:v>
                </c:pt>
                <c:pt idx="1">
                  <c:v>33468.141414141413</c:v>
                </c:pt>
                <c:pt idx="2">
                  <c:v>4455.9195402298847</c:v>
                </c:pt>
                <c:pt idx="3">
                  <c:v>372.55263157894728</c:v>
                </c:pt>
                <c:pt idx="4">
                  <c:v>2418.6506024096379</c:v>
                </c:pt>
                <c:pt idx="5">
                  <c:v>18609.404040404039</c:v>
                </c:pt>
                <c:pt idx="6">
                  <c:v>5208.2666666666664</c:v>
                </c:pt>
                <c:pt idx="7">
                  <c:v>2162.5319148936169</c:v>
                </c:pt>
                <c:pt idx="8">
                  <c:v>14583.53535353535</c:v>
                </c:pt>
                <c:pt idx="9">
                  <c:v>20546</c:v>
                </c:pt>
                <c:pt idx="10">
                  <c:v>4180.2941176470586</c:v>
                </c:pt>
              </c:numCache>
            </c:numRef>
          </c:yVal>
          <c:bubbleSize>
            <c:numRef>
              <c:f>Sheet1!$C$2:$C$12</c:f>
              <c:numCache>
                <c:formatCode>General</c:formatCode>
                <c:ptCount val="11"/>
                <c:pt idx="0">
                  <c:v>1778045.8265</c:v>
                </c:pt>
                <c:pt idx="1">
                  <c:v>2125742.0899999989</c:v>
                </c:pt>
                <c:pt idx="2">
                  <c:v>199779.41380000001</c:v>
                </c:pt>
                <c:pt idx="3">
                  <c:v>6682.76</c:v>
                </c:pt>
                <c:pt idx="4">
                  <c:v>137063.24</c:v>
                </c:pt>
                <c:pt idx="5">
                  <c:v>1145425.8885999999</c:v>
                </c:pt>
                <c:pt idx="6">
                  <c:v>155551.09090000001</c:v>
                </c:pt>
                <c:pt idx="7">
                  <c:v>113028.4296</c:v>
                </c:pt>
                <c:pt idx="8">
                  <c:v>868378.01190000016</c:v>
                </c:pt>
                <c:pt idx="9">
                  <c:v>1189534.4426</c:v>
                </c:pt>
                <c:pt idx="10">
                  <c:v>136467.6223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pt idx="10">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F636CF1-A401-4DDC-9180-56D9D5BEA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F9B215F-03C1-4502-B97A-2985199DD7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853EFA3-C26D-4B10-83B0-CC7F358F6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28D2FD1-8160-47C2-8A51-4BB2D4453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E81D53F-CC4D-46BF-99A0-8807D0B4C6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4CA166B-5440-40D2-A898-7C8320DBD9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D570C2D-C4B2-4600-B48F-48F05A03E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54959999999999998</c:v>
                </c:pt>
                <c:pt idx="1">
                  <c:v>0.39600000000000002</c:v>
                </c:pt>
                <c:pt idx="2">
                  <c:v>0.2455</c:v>
                </c:pt>
                <c:pt idx="3">
                  <c:v>0.35460000000000003</c:v>
                </c:pt>
                <c:pt idx="4">
                  <c:v>0.32069999999999999</c:v>
                </c:pt>
                <c:pt idx="5">
                  <c:v>0.42880000000000001</c:v>
                </c:pt>
                <c:pt idx="6">
                  <c:v>0.41899999999999998</c:v>
                </c:pt>
                <c:pt idx="7">
                  <c:v>0.49299999999999999</c:v>
                </c:pt>
              </c:numCache>
            </c:numRef>
          </c:xVal>
          <c:yVal>
            <c:numRef>
              <c:f>Sheet1!$B$2:$B$9</c:f>
              <c:numCache>
                <c:formatCode>General</c:formatCode>
                <c:ptCount val="8"/>
                <c:pt idx="0">
                  <c:v>5071.260869565217</c:v>
                </c:pt>
                <c:pt idx="1">
                  <c:v>45209.37</c:v>
                </c:pt>
                <c:pt idx="2">
                  <c:v>990.84</c:v>
                </c:pt>
                <c:pt idx="3">
                  <c:v>38529.474226804123</c:v>
                </c:pt>
                <c:pt idx="4">
                  <c:v>58923.051020408173</c:v>
                </c:pt>
                <c:pt idx="5">
                  <c:v>7595.7816091954019</c:v>
                </c:pt>
                <c:pt idx="6">
                  <c:v>10108</c:v>
                </c:pt>
                <c:pt idx="7">
                  <c:v>10818.426966292131</c:v>
                </c:pt>
              </c:numCache>
            </c:numRef>
          </c:yVal>
          <c:bubbleSize>
            <c:numRef>
              <c:f>Sheet1!$C$2:$C$9</c:f>
              <c:numCache>
                <c:formatCode>General</c:formatCode>
                <c:ptCount val="8"/>
                <c:pt idx="0">
                  <c:v>149402.61679999999</c:v>
                </c:pt>
                <c:pt idx="1">
                  <c:v>2588083.3026000001</c:v>
                </c:pt>
                <c:pt idx="2">
                  <c:v>17714.815999999999</c:v>
                </c:pt>
                <c:pt idx="3">
                  <c:v>2286448.1486</c:v>
                </c:pt>
                <c:pt idx="4">
                  <c:v>3717874.867000001</c:v>
                </c:pt>
                <c:pt idx="5">
                  <c:v>357809.57189999998</c:v>
                </c:pt>
                <c:pt idx="6">
                  <c:v>539914.27400000009</c:v>
                </c:pt>
                <c:pt idx="7">
                  <c:v>462723.12060000002</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Pik Et Croq' Fromage Fondu Dips Boite 1X175Gr 5P</c:v>
                  </c:pt>
                  <c:pt idx="7">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Boursin</c:v>
                </c:pt>
                <c:pt idx="4">
                  <c:v>Raguin</c:v>
                </c:pt>
                <c:pt idx="5">
                  <c:v>La Vache Qui Rit</c:v>
                </c:pt>
                <c:pt idx="6">
                  <c:v>Others</c:v>
                </c:pt>
              </c:strCache>
            </c:strRef>
          </c:cat>
          <c:val>
            <c:numRef>
              <c:f>Sheet1!$B$2:$B$8</c:f>
              <c:numCache>
                <c:formatCode>General</c:formatCode>
                <c:ptCount val="7"/>
                <c:pt idx="0">
                  <c:v>0.50942957082809426</c:v>
                </c:pt>
                <c:pt idx="1">
                  <c:v>0.33390571820183884</c:v>
                </c:pt>
                <c:pt idx="2">
                  <c:v>5.3246199680762753E-2</c:v>
                </c:pt>
                <c:pt idx="3">
                  <c:v>2.8491899590794085E-2</c:v>
                </c:pt>
                <c:pt idx="4">
                  <c:v>2.4625879877173643E-2</c:v>
                </c:pt>
                <c:pt idx="5">
                  <c:v>8.2218743588304176E-5</c:v>
                </c:pt>
                <c:pt idx="6">
                  <c:v>5.021851307774813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Boursin</c:v>
                </c:pt>
                <c:pt idx="4">
                  <c:v>Raguin</c:v>
                </c:pt>
                <c:pt idx="5">
                  <c:v>La Vache Qui Rit</c:v>
                </c:pt>
                <c:pt idx="6">
                  <c:v>Others</c:v>
                </c:pt>
              </c:strCache>
            </c:strRef>
          </c:cat>
          <c:val>
            <c:numRef>
              <c:f>Sheet1!$C$2:$C$8</c:f>
              <c:numCache>
                <c:formatCode>General</c:formatCode>
                <c:ptCount val="7"/>
                <c:pt idx="0">
                  <c:v>0.40276647681041511</c:v>
                </c:pt>
                <c:pt idx="1">
                  <c:v>0.29210740439381622</c:v>
                </c:pt>
                <c:pt idx="2">
                  <c:v>4.7192839707078958E-2</c:v>
                </c:pt>
                <c:pt idx="3">
                  <c:v>5.93978844589097E-2</c:v>
                </c:pt>
                <c:pt idx="4">
                  <c:v>1.139137510170871E-2</c:v>
                </c:pt>
                <c:pt idx="5">
                  <c:v>2.4410089503661522E-3</c:v>
                </c:pt>
                <c:pt idx="6">
                  <c:v>0.1847030105777055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President</c:v>
                </c:pt>
                <c:pt idx="2">
                  <c:v>La Belle Etoile</c:v>
                </c:pt>
                <c:pt idx="3">
                  <c:v>Boursin</c:v>
                </c:pt>
                <c:pt idx="4">
                  <c:v>Raguin</c:v>
                </c:pt>
                <c:pt idx="5">
                  <c:v>La Vache Qui Rit</c:v>
                </c:pt>
                <c:pt idx="6">
                  <c:v>Others</c:v>
                </c:pt>
              </c:strCache>
            </c:strRef>
          </c:cat>
          <c:val>
            <c:numRef>
              <c:f>Sheet1!$D$2:$D$8</c:f>
              <c:numCache>
                <c:formatCode>General</c:formatCode>
                <c:ptCount val="7"/>
                <c:pt idx="0">
                  <c:v>79.062249204675169</c:v>
                </c:pt>
                <c:pt idx="1">
                  <c:v>87.482001196889826</c:v>
                </c:pt>
                <c:pt idx="2">
                  <c:v>88.63137649263858</c:v>
                </c:pt>
                <c:pt idx="3">
                  <c:v>208.47288286142049</c:v>
                </c:pt>
                <c:pt idx="4">
                  <c:v>46.257738438282836</c:v>
                </c:pt>
                <c:pt idx="5">
                  <c:v>2968.9202775818044</c:v>
                </c:pt>
                <c:pt idx="6">
                  <c:v>367.7986448777345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6607A98-1EFD-4C02-A110-AA519E7F75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2EAAE05-0AE0-40E3-8AF2-9AF6D3B6C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966BD0D-01D4-46A5-80B8-582235CE89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856E773-7CE1-4555-A1F0-2C1F297B2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1C851F5-C199-4227-B515-9C02DC05E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E18C4DA-B75E-4BA9-8E2B-71F28B6BC1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EAA6DE7-CB3F-4A02-A432-4F25CDDB3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9</c:f>
              <c:numCache>
                <c:formatCode>General</c:formatCode>
                <c:ptCount val="18"/>
                <c:pt idx="0">
                  <c:v>0.35299999999999998</c:v>
                </c:pt>
                <c:pt idx="1">
                  <c:v>0.3543</c:v>
                </c:pt>
                <c:pt idx="2">
                  <c:v>0.42080000000000001</c:v>
                </c:pt>
                <c:pt idx="3">
                  <c:v>0.51949999999999996</c:v>
                </c:pt>
                <c:pt idx="4">
                  <c:v>0.39760000000000001</c:v>
                </c:pt>
                <c:pt idx="5">
                  <c:v>0.43149999999999999</c:v>
                </c:pt>
                <c:pt idx="6">
                  <c:v>0.38540000000000002</c:v>
                </c:pt>
                <c:pt idx="7">
                  <c:v>0.36480000000000001</c:v>
                </c:pt>
                <c:pt idx="8">
                  <c:v>0.42059999999999997</c:v>
                </c:pt>
                <c:pt idx="9">
                  <c:v>0.48699999999999999</c:v>
                </c:pt>
                <c:pt idx="10">
                  <c:v>0.39910000000000001</c:v>
                </c:pt>
                <c:pt idx="11">
                  <c:v>0.38500000000000001</c:v>
                </c:pt>
                <c:pt idx="12">
                  <c:v>0.39939999999999998</c:v>
                </c:pt>
                <c:pt idx="13">
                  <c:v>0.38869999999999999</c:v>
                </c:pt>
                <c:pt idx="14">
                  <c:v>0.436</c:v>
                </c:pt>
                <c:pt idx="15">
                  <c:v>0.3695</c:v>
                </c:pt>
                <c:pt idx="16">
                  <c:v>0.4859</c:v>
                </c:pt>
                <c:pt idx="17">
                  <c:v>0.4773</c:v>
                </c:pt>
              </c:numCache>
            </c:numRef>
          </c:xVal>
          <c:yVal>
            <c:numRef>
              <c:f>Sheet1!$B$2:$B$19</c:f>
              <c:numCache>
                <c:formatCode>General</c:formatCode>
                <c:ptCount val="18"/>
                <c:pt idx="0">
                  <c:v>20176.727272727268</c:v>
                </c:pt>
                <c:pt idx="1">
                  <c:v>17911.57</c:v>
                </c:pt>
                <c:pt idx="2">
                  <c:v>6243.6868686868684</c:v>
                </c:pt>
                <c:pt idx="3">
                  <c:v>464.81428571428569</c:v>
                </c:pt>
                <c:pt idx="4">
                  <c:v>7410.2828282828286</c:v>
                </c:pt>
                <c:pt idx="5">
                  <c:v>8367.6530612244896</c:v>
                </c:pt>
                <c:pt idx="6">
                  <c:v>1613.590909090909</c:v>
                </c:pt>
                <c:pt idx="7">
                  <c:v>833.73493975903614</c:v>
                </c:pt>
                <c:pt idx="8">
                  <c:v>2456.744186046511</c:v>
                </c:pt>
                <c:pt idx="9">
                  <c:v>1204.2388059701491</c:v>
                </c:pt>
                <c:pt idx="10">
                  <c:v>2016.5862068965521</c:v>
                </c:pt>
                <c:pt idx="11">
                  <c:v>5263.666666666667</c:v>
                </c:pt>
                <c:pt idx="12">
                  <c:v>8247.1458333333339</c:v>
                </c:pt>
                <c:pt idx="13">
                  <c:v>6186.2183908045981</c:v>
                </c:pt>
                <c:pt idx="14">
                  <c:v>4356.8433734939763</c:v>
                </c:pt>
                <c:pt idx="15">
                  <c:v>20997.565656565661</c:v>
                </c:pt>
                <c:pt idx="16">
                  <c:v>8871.6082474226805</c:v>
                </c:pt>
                <c:pt idx="17">
                  <c:v>880.45</c:v>
                </c:pt>
              </c:numCache>
            </c:numRef>
          </c:yVal>
          <c:bubbleSize>
            <c:numRef>
              <c:f>Sheet1!$C$2:$C$19</c:f>
              <c:numCache>
                <c:formatCode>General</c:formatCode>
                <c:ptCount val="18"/>
                <c:pt idx="0">
                  <c:v>1224973.68</c:v>
                </c:pt>
                <c:pt idx="1">
                  <c:v>1096294.7178</c:v>
                </c:pt>
                <c:pt idx="2">
                  <c:v>339346.78419999999</c:v>
                </c:pt>
                <c:pt idx="3">
                  <c:v>14817.7163</c:v>
                </c:pt>
                <c:pt idx="4">
                  <c:v>418897.6237</c:v>
                </c:pt>
                <c:pt idx="5">
                  <c:v>441863.44069999998</c:v>
                </c:pt>
                <c:pt idx="6">
                  <c:v>82714.662700000001</c:v>
                </c:pt>
                <c:pt idx="7">
                  <c:v>41666.6322</c:v>
                </c:pt>
                <c:pt idx="8">
                  <c:v>116024.16160000001</c:v>
                </c:pt>
                <c:pt idx="9">
                  <c:v>39235.070699999997</c:v>
                </c:pt>
                <c:pt idx="10">
                  <c:v>33307.8298</c:v>
                </c:pt>
                <c:pt idx="11">
                  <c:v>294577.11560000002</c:v>
                </c:pt>
                <c:pt idx="12">
                  <c:v>450695.54549999989</c:v>
                </c:pt>
                <c:pt idx="13">
                  <c:v>311829.70500000002</c:v>
                </c:pt>
                <c:pt idx="14">
                  <c:v>193324.87390000001</c:v>
                </c:pt>
                <c:pt idx="15">
                  <c:v>1242326.0164999999</c:v>
                </c:pt>
                <c:pt idx="16">
                  <c:v>419337.32809999993</c:v>
                </c:pt>
                <c:pt idx="17">
                  <c:v>17448.064399999999</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Truffe Boite 1X150Gr 1P</c:v>
                  </c:pt>
                  <c:pt idx="4">
                    <c:v>Boursin Classique Fromage Frais A Tartiner Figue Et 3 Noix Boite 1X150Gr 1P</c:v>
                  </c:pt>
                  <c:pt idx="5">
                    <c:v>Boursin Salade &amp; Aperitif Fromage Frais Des Afh 1X120Gr 1P</c:v>
                  </c:pt>
                  <c:pt idx="6">
                    <c:v>Boursin Salade &amp; Aperitif Fromage Frais Des Figue Noix 1X120Gr 1P</c:v>
                  </c:pt>
                  <c:pt idx="7">
                    <c:v>Boursin Salade &amp; Aperitif Fromage Frais Des Noisette Et 3 Noix 1X120Gr 1P</c:v>
                  </c:pt>
                  <c:pt idx="8">
                    <c:v>Boursin Salade &amp; Aperitif Fromage Frais Des Ciboulette Echalote 1X120Gr 1P</c:v>
                  </c:pt>
                  <c:pt idx="9">
                    <c:v>Boursin Salade &amp; Aperitif Fromage Frais Des Citron Romarin 1X120Gr 1P</c:v>
                  </c:pt>
                  <c:pt idx="10">
                    <c:v>Boursin Classique Fromage Frais A Tartiner Afh Boite 1X80Gr 1P</c:v>
                  </c:pt>
                  <c:pt idx="11">
                    <c:v>Boursin Classique Fromage Frais A Tartiner Poivre Boite 1X150Gr 1P</c:v>
                  </c:pt>
                  <c:pt idx="12">
                    <c:v>Boursin Classique Fromage Frais A Tartiner Afh Boite 1X96Gr 6P</c:v>
                  </c:pt>
                  <c:pt idx="13">
                    <c:v>Boursin Classique Fromage Frais A Tartiner Afh 1X256Gr 16P</c:v>
                  </c:pt>
                  <c:pt idx="14">
                    <c:v>Boursin Classique Fromage Frais A Tartiner Ciboulette &amp; Echalote 1X160Gr 10P</c:v>
                  </c:pt>
                  <c:pt idx="15">
                    <c:v>Boursin Classique Fromage Frais A Tartiner Afh Boite 1X250Gr 1P</c:v>
                  </c:pt>
                  <c:pt idx="16">
                    <c:v>Boursin Onctueux Fromage Frais A Tartiner Afh 1X125Gr 1P</c:v>
                  </c:pt>
                  <c:pt idx="17">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0618F4A-E276-42EC-83DA-EB5E0FD052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06A84A1-6B14-4F02-B7C0-56DF48CCED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F02055F-3ADB-4EA9-9E20-4AA834DEF5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201BB16-A419-4847-B8F9-542E461652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5FA0431-6918-47CE-A78F-F0667102A9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346D0CD-7C3E-4ABA-B816-97EAF2B441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8638343-CD07-4C15-AF61-FBE837A145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33879999999999999</c:v>
                </c:pt>
                <c:pt idx="1">
                  <c:v>0.31680000000000003</c:v>
                </c:pt>
                <c:pt idx="2">
                  <c:v>0.43819999999999998</c:v>
                </c:pt>
                <c:pt idx="3">
                  <c:v>0.48809999999999998</c:v>
                </c:pt>
                <c:pt idx="4">
                  <c:v>0.27760000000000001</c:v>
                </c:pt>
                <c:pt idx="5">
                  <c:v>0.3322</c:v>
                </c:pt>
                <c:pt idx="6">
                  <c:v>0.4536</c:v>
                </c:pt>
                <c:pt idx="7">
                  <c:v>0.47399999999999998</c:v>
                </c:pt>
                <c:pt idx="8">
                  <c:v>0.34920000000000001</c:v>
                </c:pt>
                <c:pt idx="9">
                  <c:v>0.3422</c:v>
                </c:pt>
                <c:pt idx="10">
                  <c:v>0.47920000000000001</c:v>
                </c:pt>
              </c:numCache>
            </c:numRef>
          </c:xVal>
          <c:yVal>
            <c:numRef>
              <c:f>Sheet1!$B$2:$B$12</c:f>
              <c:numCache>
                <c:formatCode>General</c:formatCode>
                <c:ptCount val="11"/>
                <c:pt idx="0">
                  <c:v>5970.0202020202023</c:v>
                </c:pt>
                <c:pt idx="1">
                  <c:v>5841.94</c:v>
                </c:pt>
                <c:pt idx="2">
                  <c:v>772.49494949494954</c:v>
                </c:pt>
                <c:pt idx="3">
                  <c:v>58.203125</c:v>
                </c:pt>
                <c:pt idx="4">
                  <c:v>409.38297872340428</c:v>
                </c:pt>
                <c:pt idx="5">
                  <c:v>2915.26</c:v>
                </c:pt>
                <c:pt idx="6">
                  <c:v>698.28735632183907</c:v>
                </c:pt>
                <c:pt idx="7">
                  <c:v>474.73469387755102</c:v>
                </c:pt>
                <c:pt idx="8">
                  <c:v>2549.27</c:v>
                </c:pt>
                <c:pt idx="9">
                  <c:v>3761.1111111111109</c:v>
                </c:pt>
                <c:pt idx="10">
                  <c:v>614.63636363636363</c:v>
                </c:pt>
              </c:numCache>
            </c:numRef>
          </c:yVal>
          <c:bubbleSize>
            <c:numRef>
              <c:f>Sheet1!$C$2:$C$12</c:f>
              <c:numCache>
                <c:formatCode>General</c:formatCode>
                <c:ptCount val="11"/>
                <c:pt idx="0">
                  <c:v>370398.33669999999</c:v>
                </c:pt>
                <c:pt idx="1">
                  <c:v>378320.91930000001</c:v>
                </c:pt>
                <c:pt idx="2">
                  <c:v>40723.595600000001</c:v>
                </c:pt>
                <c:pt idx="3">
                  <c:v>1807.5119999999999</c:v>
                </c:pt>
                <c:pt idx="4">
                  <c:v>26351.341199999999</c:v>
                </c:pt>
                <c:pt idx="5">
                  <c:v>184535.56640000001</c:v>
                </c:pt>
                <c:pt idx="6">
                  <c:v>31463.4509</c:v>
                </c:pt>
                <c:pt idx="7">
                  <c:v>23196.938999999998</c:v>
                </c:pt>
                <c:pt idx="8">
                  <c:v>157253.7329</c:v>
                </c:pt>
                <c:pt idx="9">
                  <c:v>232148.01389999999</c:v>
                </c:pt>
                <c:pt idx="10">
                  <c:v>26698.09019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pt idx="10">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28C33F3-0FE6-4D17-83EF-2FA7384FE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51EE239-E16D-4390-8BF6-E9461CBC9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5B53F1E-E620-4773-8DA0-EC0F27541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045DD68-B4CD-4790-878E-A0858D4BD2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D4874F6-3040-4287-9978-B558F9CEC4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B87D79C-0DA4-4673-B486-588DB67C33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D3BA409-0624-435F-82F6-F47892A739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54720000000000002</c:v>
                </c:pt>
                <c:pt idx="1">
                  <c:v>0.3992</c:v>
                </c:pt>
                <c:pt idx="2">
                  <c:v>0.25109999999999999</c:v>
                </c:pt>
                <c:pt idx="3">
                  <c:v>0.35410000000000003</c:v>
                </c:pt>
                <c:pt idx="4">
                  <c:v>0.3362</c:v>
                </c:pt>
                <c:pt idx="5">
                  <c:v>0.41639999999999999</c:v>
                </c:pt>
                <c:pt idx="6">
                  <c:v>0.41560000000000002</c:v>
                </c:pt>
                <c:pt idx="7">
                  <c:v>0.49020000000000002</c:v>
                </c:pt>
              </c:numCache>
            </c:numRef>
          </c:xVal>
          <c:yVal>
            <c:numRef>
              <c:f>Sheet1!$B$2:$B$9</c:f>
              <c:numCache>
                <c:formatCode>General</c:formatCode>
                <c:ptCount val="8"/>
                <c:pt idx="0">
                  <c:v>817.85869565217388</c:v>
                </c:pt>
                <c:pt idx="1">
                  <c:v>7702.77</c:v>
                </c:pt>
                <c:pt idx="2">
                  <c:v>177.34375</c:v>
                </c:pt>
                <c:pt idx="3">
                  <c:v>6931.8</c:v>
                </c:pt>
                <c:pt idx="4">
                  <c:v>11429.494949494951</c:v>
                </c:pt>
                <c:pt idx="5">
                  <c:v>1169.907216494845</c:v>
                </c:pt>
                <c:pt idx="6">
                  <c:v>2091.7979797979801</c:v>
                </c:pt>
                <c:pt idx="7">
                  <c:v>2261.1836734693879</c:v>
                </c:pt>
              </c:numCache>
            </c:numRef>
          </c:yVal>
          <c:bubbleSize>
            <c:numRef>
              <c:f>Sheet1!$C$2:$C$9</c:f>
              <c:numCache>
                <c:formatCode>General</c:formatCode>
                <c:ptCount val="8"/>
                <c:pt idx="0">
                  <c:v>32294.258999999998</c:v>
                </c:pt>
                <c:pt idx="1">
                  <c:v>438659.83460000012</c:v>
                </c:pt>
                <c:pt idx="2">
                  <c:v>4028.5585999999998</c:v>
                </c:pt>
                <c:pt idx="3">
                  <c:v>424371.35280000011</c:v>
                </c:pt>
                <c:pt idx="4">
                  <c:v>711959.80920000002</c:v>
                </c:pt>
                <c:pt idx="5">
                  <c:v>62773.410600000003</c:v>
                </c:pt>
                <c:pt idx="6">
                  <c:v>114703.4375</c:v>
                </c:pt>
                <c:pt idx="7">
                  <c:v>107086.9621</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Pik Et Croq' Fromage Fondu Dips Boite 1X175Gr 5P</c:v>
                  </c:pt>
                  <c:pt idx="7">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0139C9F-A056-45CA-84C7-AE13564AB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D9CBEF2-AAC3-43BE-983C-255471FAAA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0A00C6E-2D6F-4B3A-9805-A9B98E1C2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9C03562-0A5C-4E87-A21F-B6E397D65F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8EAC5CC-62C2-4ACA-A0B1-BDC792EE2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8CC46CF-8E4D-4671-883B-8B0E8CC548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8AF9509-A7FE-450C-AFB0-5B0A59DDDE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9</c:f>
              <c:numCache>
                <c:formatCode>General</c:formatCode>
                <c:ptCount val="18"/>
                <c:pt idx="0">
                  <c:v>0.34760000000000002</c:v>
                </c:pt>
                <c:pt idx="1">
                  <c:v>0.35699999999999998</c:v>
                </c:pt>
                <c:pt idx="2">
                  <c:v>0.4153</c:v>
                </c:pt>
                <c:pt idx="3">
                  <c:v>0.57679999999999998</c:v>
                </c:pt>
                <c:pt idx="4">
                  <c:v>0.39100000000000001</c:v>
                </c:pt>
                <c:pt idx="5">
                  <c:v>0.42159999999999997</c:v>
                </c:pt>
                <c:pt idx="6">
                  <c:v>0.36940000000000001</c:v>
                </c:pt>
                <c:pt idx="7">
                  <c:v>0.34960000000000002</c:v>
                </c:pt>
                <c:pt idx="8">
                  <c:v>0.40629999999999999</c:v>
                </c:pt>
                <c:pt idx="9">
                  <c:v>0.4728</c:v>
                </c:pt>
                <c:pt idx="10">
                  <c:v>0.379</c:v>
                </c:pt>
                <c:pt idx="11">
                  <c:v>0.37459999999999999</c:v>
                </c:pt>
                <c:pt idx="12">
                  <c:v>0.38250000000000001</c:v>
                </c:pt>
                <c:pt idx="13">
                  <c:v>0.38929999999999998</c:v>
                </c:pt>
                <c:pt idx="14">
                  <c:v>0.41739999999999999</c:v>
                </c:pt>
                <c:pt idx="15">
                  <c:v>0.37159999999999999</c:v>
                </c:pt>
                <c:pt idx="16">
                  <c:v>0.47039999999999998</c:v>
                </c:pt>
                <c:pt idx="17">
                  <c:v>0.46750000000000003</c:v>
                </c:pt>
              </c:numCache>
            </c:numRef>
          </c:xVal>
          <c:yVal>
            <c:numRef>
              <c:f>Sheet1!$B$2:$B$19</c:f>
              <c:numCache>
                <c:formatCode>General</c:formatCode>
                <c:ptCount val="18"/>
                <c:pt idx="0">
                  <c:v>3513.05</c:v>
                </c:pt>
                <c:pt idx="1">
                  <c:v>3000.58</c:v>
                </c:pt>
                <c:pt idx="2">
                  <c:v>982.89</c:v>
                </c:pt>
                <c:pt idx="3">
                  <c:v>85.195652173913047</c:v>
                </c:pt>
                <c:pt idx="4">
                  <c:v>1156.58</c:v>
                </c:pt>
                <c:pt idx="5">
                  <c:v>1429.39</c:v>
                </c:pt>
                <c:pt idx="6">
                  <c:v>310.11340206185571</c:v>
                </c:pt>
                <c:pt idx="7">
                  <c:v>137.64646464646461</c:v>
                </c:pt>
                <c:pt idx="8">
                  <c:v>472.06315789473678</c:v>
                </c:pt>
                <c:pt idx="9">
                  <c:v>197.1935483870968</c:v>
                </c:pt>
                <c:pt idx="10">
                  <c:v>306.57142857142861</c:v>
                </c:pt>
                <c:pt idx="11">
                  <c:v>888.82828282828279</c:v>
                </c:pt>
                <c:pt idx="12">
                  <c:v>1363.8080808080811</c:v>
                </c:pt>
                <c:pt idx="13">
                  <c:v>1431.0707070707069</c:v>
                </c:pt>
                <c:pt idx="14">
                  <c:v>744.86734693877554</c:v>
                </c:pt>
                <c:pt idx="15">
                  <c:v>4098.92</c:v>
                </c:pt>
                <c:pt idx="16">
                  <c:v>1389.565656565657</c:v>
                </c:pt>
                <c:pt idx="17">
                  <c:v>106.42465753424661</c:v>
                </c:pt>
              </c:numCache>
            </c:numRef>
          </c:yVal>
          <c:bubbleSize>
            <c:numRef>
              <c:f>Sheet1!$C$2:$C$19</c:f>
              <c:numCache>
                <c:formatCode>General</c:formatCode>
                <c:ptCount val="18"/>
                <c:pt idx="0">
                  <c:v>217231.36960000001</c:v>
                </c:pt>
                <c:pt idx="1">
                  <c:v>182887.1778</c:v>
                </c:pt>
                <c:pt idx="2">
                  <c:v>54476.060599999997</c:v>
                </c:pt>
                <c:pt idx="3">
                  <c:v>3144.3017</c:v>
                </c:pt>
                <c:pt idx="4">
                  <c:v>66767.109700000001</c:v>
                </c:pt>
                <c:pt idx="5">
                  <c:v>78365.946300000011</c:v>
                </c:pt>
                <c:pt idx="6">
                  <c:v>17978.888500000001</c:v>
                </c:pt>
                <c:pt idx="7">
                  <c:v>8400.5091000000011</c:v>
                </c:pt>
                <c:pt idx="8">
                  <c:v>25238.6037</c:v>
                </c:pt>
                <c:pt idx="9">
                  <c:v>9164.8017999999993</c:v>
                </c:pt>
                <c:pt idx="10">
                  <c:v>12632.876899999999</c:v>
                </c:pt>
                <c:pt idx="11">
                  <c:v>52158.628599999996</c:v>
                </c:pt>
                <c:pt idx="12">
                  <c:v>79021.727100000018</c:v>
                </c:pt>
                <c:pt idx="13">
                  <c:v>82006.583399999989</c:v>
                </c:pt>
                <c:pt idx="14">
                  <c:v>40310.319899999988</c:v>
                </c:pt>
                <c:pt idx="15">
                  <c:v>244161.86170000001</c:v>
                </c:pt>
                <c:pt idx="16">
                  <c:v>69057.670599999998</c:v>
                </c:pt>
                <c:pt idx="17">
                  <c:v>3921.063900000001</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Truffe Boite 1X150Gr 1P</c:v>
                  </c:pt>
                  <c:pt idx="4">
                    <c:v>Boursin Classique Fromage Frais A Tartiner Figue Et 3 Noix Boite 1X150Gr 1P</c:v>
                  </c:pt>
                  <c:pt idx="5">
                    <c:v>Boursin Salade &amp; Aperitif Fromage Frais Des Afh 1X120Gr 1P</c:v>
                  </c:pt>
                  <c:pt idx="6">
                    <c:v>Boursin Salade &amp; Aperitif Fromage Frais Des Figue Noix 1X120Gr 1P</c:v>
                  </c:pt>
                  <c:pt idx="7">
                    <c:v>Boursin Salade &amp; Aperitif Fromage Frais Des Noisette Et 3 Noix 1X120Gr 1P</c:v>
                  </c:pt>
                  <c:pt idx="8">
                    <c:v>Boursin Salade &amp; Aperitif Fromage Frais Des Ciboulette Echalote 1X120Gr 1P</c:v>
                  </c:pt>
                  <c:pt idx="9">
                    <c:v>Boursin Salade &amp; Aperitif Fromage Frais Des Citron Romarin 1X120Gr 1P</c:v>
                  </c:pt>
                  <c:pt idx="10">
                    <c:v>Boursin Classique Fromage Frais A Tartiner Afh Boite 1X80Gr 1P</c:v>
                  </c:pt>
                  <c:pt idx="11">
                    <c:v>Boursin Classique Fromage Frais A Tartiner Poivre Boite 1X150Gr 1P</c:v>
                  </c:pt>
                  <c:pt idx="12">
                    <c:v>Boursin Classique Fromage Frais A Tartiner Afh Boite 1X96Gr 6P</c:v>
                  </c:pt>
                  <c:pt idx="13">
                    <c:v>Boursin Classique Fromage Frais A Tartiner Afh 1X256Gr 16P</c:v>
                  </c:pt>
                  <c:pt idx="14">
                    <c:v>Boursin Classique Fromage Frais A Tartiner Ciboulette &amp; Echalote 1X160Gr 10P</c:v>
                  </c:pt>
                  <c:pt idx="15">
                    <c:v>Boursin Classique Fromage Frais A Tartiner Afh Boite 1X250Gr 1P</c:v>
                  </c:pt>
                  <c:pt idx="16">
                    <c:v>Boursin Onctueux Fromage Frais A Tartiner Afh 1X125Gr 1P</c:v>
                  </c:pt>
                  <c:pt idx="17">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5A73C98-C42A-4464-AAE0-E56B0F021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E63E5C7-6474-4693-B4C2-4C1580A97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ABA53E0-0482-4758-85E6-209129D93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A012C70-C2B0-4DC4-B7C7-947923979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28A8BFC-9A18-49F2-8588-62F6CE7879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B019ADA-A0C1-4658-B486-938E9C09B1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ECD9783-6192-403E-A3D8-E787EA394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8750000000000001</c:v>
                </c:pt>
                <c:pt idx="1">
                  <c:v>0.35189999999999999</c:v>
                </c:pt>
                <c:pt idx="2">
                  <c:v>0.49880000000000002</c:v>
                </c:pt>
                <c:pt idx="3">
                  <c:v>0.28079999999999999</c:v>
                </c:pt>
                <c:pt idx="4">
                  <c:v>0.38629999999999998</c:v>
                </c:pt>
                <c:pt idx="5">
                  <c:v>0.51870000000000005</c:v>
                </c:pt>
                <c:pt idx="6">
                  <c:v>0.50219999999999998</c:v>
                </c:pt>
                <c:pt idx="7">
                  <c:v>0.39660000000000001</c:v>
                </c:pt>
                <c:pt idx="8">
                  <c:v>0.39979999999999999</c:v>
                </c:pt>
                <c:pt idx="9">
                  <c:v>0.52190000000000003</c:v>
                </c:pt>
              </c:numCache>
            </c:numRef>
          </c:xVal>
          <c:yVal>
            <c:numRef>
              <c:f>Sheet1!$B$2:$B$11</c:f>
              <c:numCache>
                <c:formatCode>General</c:formatCode>
                <c:ptCount val="10"/>
                <c:pt idx="0">
                  <c:v>5199.8076923076924</c:v>
                </c:pt>
                <c:pt idx="1">
                  <c:v>6595.7294117647061</c:v>
                </c:pt>
                <c:pt idx="2">
                  <c:v>1130.954545454545</c:v>
                </c:pt>
                <c:pt idx="3">
                  <c:v>593.88135593220341</c:v>
                </c:pt>
                <c:pt idx="4">
                  <c:v>4358.739130434783</c:v>
                </c:pt>
                <c:pt idx="5">
                  <c:v>1752.7741935483871</c:v>
                </c:pt>
                <c:pt idx="6">
                  <c:v>423.2</c:v>
                </c:pt>
                <c:pt idx="7">
                  <c:v>3563.9444444444439</c:v>
                </c:pt>
                <c:pt idx="8">
                  <c:v>3449.8529411764712</c:v>
                </c:pt>
                <c:pt idx="9">
                  <c:v>829.63157894736844</c:v>
                </c:pt>
              </c:numCache>
            </c:numRef>
          </c:yVal>
          <c:bubbleSize>
            <c:numRef>
              <c:f>Sheet1!$C$2:$C$11</c:f>
              <c:numCache>
                <c:formatCode>General</c:formatCode>
                <c:ptCount val="10"/>
                <c:pt idx="0">
                  <c:v>156977.5018</c:v>
                </c:pt>
                <c:pt idx="1">
                  <c:v>344392.07760000002</c:v>
                </c:pt>
                <c:pt idx="2">
                  <c:v>23639.9568</c:v>
                </c:pt>
                <c:pt idx="3">
                  <c:v>23887.4028</c:v>
                </c:pt>
                <c:pt idx="4">
                  <c:v>233248.51519999999</c:v>
                </c:pt>
                <c:pt idx="5">
                  <c:v>24789.4863</c:v>
                </c:pt>
                <c:pt idx="6">
                  <c:v>9984.4553999999989</c:v>
                </c:pt>
                <c:pt idx="7">
                  <c:v>183453.649</c:v>
                </c:pt>
                <c:pt idx="8">
                  <c:v>133465.1311</c:v>
                </c:pt>
                <c:pt idx="9">
                  <c:v>14285.70019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Delicieusement Fouette Fromage Frais A Tartiner 1X125Gr 1P</c:v>
                  </c:pt>
                  <c:pt idx="3">
                    <c:v>Kiri Creme Fromage Blanc Frais Carre 1X432Gr 18+6P</c:v>
                  </c:pt>
                  <c:pt idx="4">
                    <c:v>Kiri Creme Fromage Blanc Frais Carre 1X144Gr 8P</c:v>
                  </c:pt>
                  <c:pt idx="5">
                    <c:v>Kiri Bio Fromage Blanc Frais Carre 1X144Gr 8P</c:v>
                  </c:pt>
                  <c:pt idx="6">
                    <c:v>Kiri Delicieusement Fouette Fromage Frais A Tartiner 1X160Gr 10P</c:v>
                  </c:pt>
                  <c:pt idx="7">
                    <c:v>Kiri Gouter Fromage Blanc Dips Boite 1X175Gr 5P</c:v>
                  </c:pt>
                  <c:pt idx="8">
                    <c:v>Kiri Gouter Fromage Blanc Dips Boite 1X280Gr 8P</c:v>
                  </c:pt>
                  <c:pt idx="9">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EB797DD-EE16-4F60-8E71-5D9A8A6E6B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3F7C8A5-EB5B-42CE-B272-15DB02962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3E03BF3-AA18-4EFA-9C61-5D560EED7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37B57C4-DE1A-4049-993D-DF40F29D9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9944C7E-728B-43E2-9AD3-B019F18DE5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98FBBA4-BC8D-4066-8CF3-4EC7B1CF6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F7C3C92-E0A7-4CF3-920A-27FF239430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58020000000000005</c:v>
                </c:pt>
                <c:pt idx="1">
                  <c:v>0.40529999999999999</c:v>
                </c:pt>
                <c:pt idx="2">
                  <c:v>0.39190000000000003</c:v>
                </c:pt>
                <c:pt idx="3">
                  <c:v>0.37559999999999999</c:v>
                </c:pt>
                <c:pt idx="4">
                  <c:v>0.4803</c:v>
                </c:pt>
                <c:pt idx="5">
                  <c:v>0.4627</c:v>
                </c:pt>
                <c:pt idx="6">
                  <c:v>0.52990000000000004</c:v>
                </c:pt>
              </c:numCache>
            </c:numRef>
          </c:xVal>
          <c:yVal>
            <c:numRef>
              <c:f>Sheet1!$B$2:$B$8</c:f>
              <c:numCache>
                <c:formatCode>General</c:formatCode>
                <c:ptCount val="7"/>
                <c:pt idx="0">
                  <c:v>985.5151515151515</c:v>
                </c:pt>
                <c:pt idx="1">
                  <c:v>8872.0612244897966</c:v>
                </c:pt>
                <c:pt idx="2">
                  <c:v>7117.838235294118</c:v>
                </c:pt>
                <c:pt idx="3">
                  <c:v>8935.823529411764</c:v>
                </c:pt>
                <c:pt idx="4">
                  <c:v>1845.32</c:v>
                </c:pt>
                <c:pt idx="5">
                  <c:v>2128.3658536585372</c:v>
                </c:pt>
                <c:pt idx="6">
                  <c:v>1563.261904761905</c:v>
                </c:pt>
              </c:numCache>
            </c:numRef>
          </c:yVal>
          <c:bubbleSize>
            <c:numRef>
              <c:f>Sheet1!$C$2:$C$8</c:f>
              <c:numCache>
                <c:formatCode>General</c:formatCode>
                <c:ptCount val="7"/>
                <c:pt idx="0">
                  <c:v>12942.373100000001</c:v>
                </c:pt>
                <c:pt idx="1">
                  <c:v>490120.52419999999</c:v>
                </c:pt>
                <c:pt idx="2">
                  <c:v>278975.31349999999</c:v>
                </c:pt>
                <c:pt idx="3">
                  <c:v>359632.71120000002</c:v>
                </c:pt>
                <c:pt idx="4">
                  <c:v>45455.146800000002</c:v>
                </c:pt>
                <c:pt idx="5">
                  <c:v>88738.778599999991</c:v>
                </c:pt>
                <c:pt idx="6">
                  <c:v>29255.048200000001</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9D5E02E-EA2C-4F93-92B5-BCDBD55A8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E2341A6-BD49-4D0D-8178-F1A243077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CA0DFF8-9F33-4615-A6D8-82FEC750C3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2040373-94FC-451A-BCCF-E92B636CD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EEE35FF-B33F-416F-AA67-2C21FAEF4A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D90DC82-75A3-40FD-A846-3F8A2702E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5CD7D5E-8CBC-4B7D-BDC7-4742F8526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9</c:f>
              <c:numCache>
                <c:formatCode>General</c:formatCode>
                <c:ptCount val="18"/>
                <c:pt idx="0">
                  <c:v>0.39019999999999999</c:v>
                </c:pt>
                <c:pt idx="1">
                  <c:v>0.40150000000000002</c:v>
                </c:pt>
                <c:pt idx="2">
                  <c:v>0.47849999999999998</c:v>
                </c:pt>
                <c:pt idx="3">
                  <c:v>0.60070000000000001</c:v>
                </c:pt>
                <c:pt idx="4">
                  <c:v>0.45800000000000002</c:v>
                </c:pt>
                <c:pt idx="5">
                  <c:v>0.46550000000000002</c:v>
                </c:pt>
                <c:pt idx="6">
                  <c:v>0.42080000000000001</c:v>
                </c:pt>
                <c:pt idx="7">
                  <c:v>0.38800000000000001</c:v>
                </c:pt>
                <c:pt idx="8">
                  <c:v>0.45300000000000001</c:v>
                </c:pt>
                <c:pt idx="9">
                  <c:v>0.52029999999999998</c:v>
                </c:pt>
                <c:pt idx="10">
                  <c:v>0.46829999999999999</c:v>
                </c:pt>
                <c:pt idx="11">
                  <c:v>0.442</c:v>
                </c:pt>
                <c:pt idx="12">
                  <c:v>0.43880000000000002</c:v>
                </c:pt>
                <c:pt idx="13">
                  <c:v>0.39750000000000002</c:v>
                </c:pt>
                <c:pt idx="14">
                  <c:v>0.47560000000000002</c:v>
                </c:pt>
                <c:pt idx="15">
                  <c:v>0.40870000000000001</c:v>
                </c:pt>
                <c:pt idx="16">
                  <c:v>0.52190000000000003</c:v>
                </c:pt>
                <c:pt idx="17">
                  <c:v>0.51249999999999996</c:v>
                </c:pt>
              </c:numCache>
            </c:numRef>
          </c:xVal>
          <c:yVal>
            <c:numRef>
              <c:f>Sheet1!$B$2:$B$19</c:f>
              <c:numCache>
                <c:formatCode>General</c:formatCode>
                <c:ptCount val="18"/>
                <c:pt idx="0">
                  <c:v>3907.088888888889</c:v>
                </c:pt>
                <c:pt idx="1">
                  <c:v>3670.663265306122</c:v>
                </c:pt>
                <c:pt idx="2">
                  <c:v>1491.433734939759</c:v>
                </c:pt>
                <c:pt idx="3">
                  <c:v>126.0606060606061</c:v>
                </c:pt>
                <c:pt idx="4">
                  <c:v>1809.314606741573</c:v>
                </c:pt>
                <c:pt idx="5">
                  <c:v>1532.329411764706</c:v>
                </c:pt>
                <c:pt idx="6">
                  <c:v>292.74468085106378</c:v>
                </c:pt>
                <c:pt idx="7">
                  <c:v>130.70731707317071</c:v>
                </c:pt>
                <c:pt idx="8">
                  <c:v>428.27906976744191</c:v>
                </c:pt>
                <c:pt idx="9">
                  <c:v>268.07142857142861</c:v>
                </c:pt>
                <c:pt idx="10">
                  <c:v>734.41666666666663</c:v>
                </c:pt>
                <c:pt idx="11">
                  <c:v>1149.7733333333331</c:v>
                </c:pt>
                <c:pt idx="12">
                  <c:v>1990.4594594594589</c:v>
                </c:pt>
                <c:pt idx="13">
                  <c:v>806.3125</c:v>
                </c:pt>
                <c:pt idx="14">
                  <c:v>756.10869565217388</c:v>
                </c:pt>
                <c:pt idx="15">
                  <c:v>2690.9662921348308</c:v>
                </c:pt>
                <c:pt idx="16">
                  <c:v>2365.8641975308642</c:v>
                </c:pt>
                <c:pt idx="17">
                  <c:v>215.78571428571419</c:v>
                </c:pt>
              </c:numCache>
            </c:numRef>
          </c:yVal>
          <c:bubbleSize>
            <c:numRef>
              <c:f>Sheet1!$C$2:$C$19</c:f>
              <c:numCache>
                <c:formatCode>General</c:formatCode>
                <c:ptCount val="18"/>
                <c:pt idx="0">
                  <c:v>203224.26610000001</c:v>
                </c:pt>
                <c:pt idx="1">
                  <c:v>204063.94519999999</c:v>
                </c:pt>
                <c:pt idx="2">
                  <c:v>61191.166899999989</c:v>
                </c:pt>
                <c:pt idx="3">
                  <c:v>1574.5454999999999</c:v>
                </c:pt>
                <c:pt idx="4">
                  <c:v>82728.546799999996</c:v>
                </c:pt>
                <c:pt idx="5">
                  <c:v>65984.07220000001</c:v>
                </c:pt>
                <c:pt idx="6">
                  <c:v>7554.0151999999998</c:v>
                </c:pt>
                <c:pt idx="7">
                  <c:v>3108.8708999999999</c:v>
                </c:pt>
                <c:pt idx="8">
                  <c:v>9548.3824999999997</c:v>
                </c:pt>
                <c:pt idx="9">
                  <c:v>3413.1735999999992</c:v>
                </c:pt>
                <c:pt idx="10">
                  <c:v>4441.4790000000003</c:v>
                </c:pt>
                <c:pt idx="11">
                  <c:v>45605.556199999992</c:v>
                </c:pt>
                <c:pt idx="12">
                  <c:v>78358.659800000009</c:v>
                </c:pt>
                <c:pt idx="13">
                  <c:v>29471.16599999999</c:v>
                </c:pt>
                <c:pt idx="14">
                  <c:v>17286.738700000002</c:v>
                </c:pt>
                <c:pt idx="15">
                  <c:v>134223.04699999999</c:v>
                </c:pt>
                <c:pt idx="16">
                  <c:v>86851.195999999982</c:v>
                </c:pt>
                <c:pt idx="17">
                  <c:v>1395.9426000000001</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Truffe Boite 1X150Gr 1P</c:v>
                  </c:pt>
                  <c:pt idx="4">
                    <c:v>Boursin Classique Fromage Frais A Tartiner Figue Et 3 Noix Boite 1X150Gr 1P</c:v>
                  </c:pt>
                  <c:pt idx="5">
                    <c:v>Boursin Salade &amp; Aperitif Fromage Frais Des Afh 1X120Gr 1P</c:v>
                  </c:pt>
                  <c:pt idx="6">
                    <c:v>Boursin Salade &amp; Aperitif Fromage Frais Des Figue Noix 1X120Gr 1P</c:v>
                  </c:pt>
                  <c:pt idx="7">
                    <c:v>Boursin Salade &amp; Aperitif Fromage Frais Des Noisette Et 3 Noix 1X120Gr 1P</c:v>
                  </c:pt>
                  <c:pt idx="8">
                    <c:v>Boursin Salade &amp; Aperitif Fromage Frais Des Ciboulette Echalote 1X120Gr 1P</c:v>
                  </c:pt>
                  <c:pt idx="9">
                    <c:v>Boursin Salade &amp; Aperitif Fromage Frais Des Citron Romarin 1X120Gr 1P</c:v>
                  </c:pt>
                  <c:pt idx="10">
                    <c:v>Boursin Classique Fromage Frais A Tartiner Afh Boite 1X80Gr 1P</c:v>
                  </c:pt>
                  <c:pt idx="11">
                    <c:v>Boursin Classique Fromage Frais A Tartiner Poivre Boite 1X150Gr 1P</c:v>
                  </c:pt>
                  <c:pt idx="12">
                    <c:v>Boursin Classique Fromage Frais A Tartiner Afh Boite 1X96Gr 6P</c:v>
                  </c:pt>
                  <c:pt idx="13">
                    <c:v>Boursin Classique Fromage Frais A Tartiner Afh 1X256Gr 16P</c:v>
                  </c:pt>
                  <c:pt idx="14">
                    <c:v>Boursin Classique Fromage Frais A Tartiner Ciboulette &amp; Echalote 1X160Gr 10P</c:v>
                  </c:pt>
                  <c:pt idx="15">
                    <c:v>Boursin Classique Fromage Frais A Tartiner Afh Boite 1X250Gr 1P</c:v>
                  </c:pt>
                  <c:pt idx="16">
                    <c:v>Boursin Onctueux Fromage Frais A Tartiner Afh 1X125Gr 1P</c:v>
                  </c:pt>
                  <c:pt idx="17">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616B035-6991-4C57-B9C1-B0BD04CB5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B631290-F165-4E08-9B80-1E5EA90AF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D8926EF-66B0-4D88-A628-BC21178D23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F3B7C5B-63F4-4234-8162-C1530E0078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330EEEB-F66D-4DE3-A8C0-97F4EB9A7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D466E99-0320-48AF-9B6F-D3B724004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D47E258-2FDB-4992-9CA4-66707EEE1B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35649999999999998</c:v>
                </c:pt>
                <c:pt idx="1">
                  <c:v>0.3468</c:v>
                </c:pt>
                <c:pt idx="2">
                  <c:v>0.52090000000000003</c:v>
                </c:pt>
                <c:pt idx="3">
                  <c:v>0.4259</c:v>
                </c:pt>
              </c:numCache>
            </c:numRef>
          </c:xVal>
          <c:yVal>
            <c:numRef>
              <c:f>Sheet1!$B$2:$B$5</c:f>
              <c:numCache>
                <c:formatCode>General</c:formatCode>
                <c:ptCount val="4"/>
                <c:pt idx="0">
                  <c:v>28428.861878453041</c:v>
                </c:pt>
                <c:pt idx="1">
                  <c:v>12732.233502538071</c:v>
                </c:pt>
                <c:pt idx="2">
                  <c:v>1246.9437652811739</c:v>
                </c:pt>
                <c:pt idx="3">
                  <c:v>1488.977272727273</c:v>
                </c:pt>
              </c:numCache>
            </c:numRef>
          </c:yVal>
          <c:bubbleSize>
            <c:numRef>
              <c:f>Sheet1!$C$2:$C$5</c:f>
              <c:numCache>
                <c:formatCode>General</c:formatCode>
                <c:ptCount val="4"/>
                <c:pt idx="0">
                  <c:v>1569349.9712</c:v>
                </c:pt>
                <c:pt idx="1">
                  <c:v>621172.2644000001</c:v>
                </c:pt>
                <c:pt idx="2">
                  <c:v>23162.563399999999</c:v>
                </c:pt>
                <c:pt idx="3">
                  <c:v>28520.879400000002</c:v>
                </c:pt>
              </c:numCache>
            </c:numRef>
          </c:bubbleSize>
          <c:bubble3D val="0"/>
          <c:extLst>
            <c:ext xmlns:c15="http://schemas.microsoft.com/office/drawing/2012/chart" uri="{02D57815-91ED-43cb-92C2-25804820EDAC}">
              <c15:datalabelsRange>
                <c15:f>Sheet1!$E$2:$E$50</c15:f>
                <c15:dlblRangeCache>
                  <c:ptCount val="49"/>
                  <c:pt idx="0">
                    <c:v>Boursin Aperitif Roules Fromage Frais Roule Afh Et Jambon Fume Boite 1X100Gr 20P</c:v>
                  </c:pt>
                  <c:pt idx="1">
                    <c:v>Boursin Aperitif Roules Fromage Frais Roule Ciboulette &amp; Echalote Jambon Fume Boite 1X100Gr 20P</c:v>
                  </c:pt>
                  <c:pt idx="2">
                    <c:v>Boursin Aperitif Roules Fromage Frais Roule Jambon Fume &amp; Trio De Noix Boite 1X100Gr 20P</c:v>
                  </c:pt>
                  <c:pt idx="3">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5675646-B592-40F3-A578-4C8463AC8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E74EAF2-68A4-456B-B8F1-D4F89B48B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831B048-E13F-43E5-9910-7049B69EFB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AC2F5A1-36D0-4BC0-95B6-59A851197D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D55E3AD-DE25-4A48-83E7-CFF6116C1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7B9E4BA-2260-4FDA-8662-97F82ECFD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18C0645-BBD3-4160-B46D-C9913C1AA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40429999999999999</c:v>
                </c:pt>
                <c:pt idx="1">
                  <c:v>0.40560000000000002</c:v>
                </c:pt>
                <c:pt idx="2">
                  <c:v>0.43690000000000001</c:v>
                </c:pt>
                <c:pt idx="3">
                  <c:v>0.2555</c:v>
                </c:pt>
                <c:pt idx="4">
                  <c:v>0.42380000000000001</c:v>
                </c:pt>
              </c:numCache>
            </c:numRef>
          </c:xVal>
          <c:yVal>
            <c:numRef>
              <c:f>Sheet1!$B$2:$B$6</c:f>
              <c:numCache>
                <c:formatCode>General</c:formatCode>
                <c:ptCount val="5"/>
                <c:pt idx="0">
                  <c:v>22494.2546583851</c:v>
                </c:pt>
                <c:pt idx="1">
                  <c:v>7525.8762886597942</c:v>
                </c:pt>
                <c:pt idx="2">
                  <c:v>14703.46871569703</c:v>
                </c:pt>
                <c:pt idx="3">
                  <c:v>775.14666666666665</c:v>
                </c:pt>
                <c:pt idx="4">
                  <c:v>730.54462934947037</c:v>
                </c:pt>
              </c:numCache>
            </c:numRef>
          </c:yVal>
          <c:bubbleSize>
            <c:numRef>
              <c:f>Sheet1!$C$2:$C$6</c:f>
              <c:numCache>
                <c:formatCode>General</c:formatCode>
                <c:ptCount val="5"/>
                <c:pt idx="0">
                  <c:v>1226990.7849000001</c:v>
                </c:pt>
                <c:pt idx="1">
                  <c:v>370190.26640000002</c:v>
                </c:pt>
                <c:pt idx="2">
                  <c:v>714931.66360000009</c:v>
                </c:pt>
                <c:pt idx="3">
                  <c:v>41023.239699999998</c:v>
                </c:pt>
                <c:pt idx="4">
                  <c:v>26373.204000000002</c:v>
                </c:pt>
              </c:numCache>
            </c:numRef>
          </c:bubbleSize>
          <c:bubble3D val="0"/>
          <c:extLst>
            <c:ext xmlns:c15="http://schemas.microsoft.com/office/drawing/2012/chart" uri="{02D57815-91ED-43cb-92C2-25804820EDAC}">
              <c15:datalabelsRange>
                <c15:f>Sheet1!$E$2:$E$50</c15:f>
                <c15:dlblRangeCache>
                  <c:ptCount val="49"/>
                  <c:pt idx="0">
                    <c:v>Boursin Aperitif Roules Fromage Frais Roule Afh Et Jambon Fume Boite 1X100Gr 20P</c:v>
                  </c:pt>
                  <c:pt idx="1">
                    <c:v>Boursin Aperitif Roules Fromage Frais Roule Basilic &amp; Jambon Fume Tomate Boite 1X100Gr 20P</c:v>
                  </c:pt>
                  <c:pt idx="2">
                    <c:v>Boursin Aperitif Roules Fromage Frais Roule Ciboulette &amp; Echalote Jambon Fume Boite 1X100Gr 20P</c:v>
                  </c:pt>
                  <c:pt idx="3">
                    <c:v>Boursin Aperitif Roules Fromage Frais Roule Jambon Fume &amp; Trio De Noix Boite 1X100Gr 20P</c:v>
                  </c:pt>
                  <c:pt idx="4">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580BED2-D60A-44D8-99EF-7D738F9626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629EB96-0DEE-4ED3-810F-0B72B937CE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4CDF0B1-5D46-4236-8E4A-9F8B01CDE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307CEF6-CDFF-4B33-9FA6-19209C39A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8DFB7677-FBBF-4E35-A82F-CB465B48A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A61297F-8C7B-456D-855A-1F20DC7A1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3374751-3CAF-475A-9855-D253A4805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32190000000000002</c:v>
                </c:pt>
                <c:pt idx="1">
                  <c:v>0.33829999999999999</c:v>
                </c:pt>
                <c:pt idx="2">
                  <c:v>0.51339999999999997</c:v>
                </c:pt>
                <c:pt idx="3">
                  <c:v>0.40510000000000002</c:v>
                </c:pt>
              </c:numCache>
            </c:numRef>
          </c:xVal>
          <c:yVal>
            <c:numRef>
              <c:f>Sheet1!$B$2:$B$5</c:f>
              <c:numCache>
                <c:formatCode>General</c:formatCode>
                <c:ptCount val="4"/>
                <c:pt idx="0">
                  <c:v>7852.5</c:v>
                </c:pt>
                <c:pt idx="1">
                  <c:v>4007.6315789473679</c:v>
                </c:pt>
                <c:pt idx="2">
                  <c:v>537.39583333333337</c:v>
                </c:pt>
                <c:pt idx="3">
                  <c:v>590.90566037735846</c:v>
                </c:pt>
              </c:numCache>
            </c:numRef>
          </c:yVal>
          <c:bubbleSize>
            <c:numRef>
              <c:f>Sheet1!$C$2:$C$5</c:f>
              <c:numCache>
                <c:formatCode>General</c:formatCode>
                <c:ptCount val="4"/>
                <c:pt idx="0">
                  <c:v>504699.10119999998</c:v>
                </c:pt>
                <c:pt idx="1">
                  <c:v>238803.049</c:v>
                </c:pt>
                <c:pt idx="2">
                  <c:v>11898.0137</c:v>
                </c:pt>
                <c:pt idx="3">
                  <c:v>17659.939200000001</c:v>
                </c:pt>
              </c:numCache>
            </c:numRef>
          </c:bubbleSize>
          <c:bubble3D val="0"/>
          <c:extLst>
            <c:ext xmlns:c15="http://schemas.microsoft.com/office/drawing/2012/chart" uri="{02D57815-91ED-43cb-92C2-25804820EDAC}">
              <c15:datalabelsRange>
                <c15:f>Sheet1!$E$2:$E$50</c15:f>
                <c15:dlblRangeCache>
                  <c:ptCount val="49"/>
                  <c:pt idx="0">
                    <c:v>Boursin Aperitif Roules Fromage Frais Roule Afh Et Jambon Fume Boite 1X100Gr 20P</c:v>
                  </c:pt>
                  <c:pt idx="1">
                    <c:v>Boursin Aperitif Roules Fromage Frais Roule Ciboulette &amp; Echalote Jambon Fume Boite 1X100Gr 20P</c:v>
                  </c:pt>
                  <c:pt idx="2">
                    <c:v>Boursin Aperitif Roules Fromage Frais Roule Jambon Fume &amp; Trio De Noix Boite 1X100Gr 20P</c:v>
                  </c:pt>
                  <c:pt idx="3">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B$2:$B$8</c:f>
              <c:numCache>
                <c:formatCode>General</c:formatCode>
                <c:ptCount val="7"/>
                <c:pt idx="0">
                  <c:v>0.31949007768307819</c:v>
                </c:pt>
                <c:pt idx="1">
                  <c:v>0.23712781952805789</c:v>
                </c:pt>
                <c:pt idx="2">
                  <c:v>0.22265176642420145</c:v>
                </c:pt>
                <c:pt idx="3">
                  <c:v>0.11253127286336931</c:v>
                </c:pt>
                <c:pt idx="4">
                  <c:v>8.6959762818869746E-2</c:v>
                </c:pt>
                <c:pt idx="5">
                  <c:v>2.118842270597265E-2</c:v>
                </c:pt>
                <c:pt idx="6">
                  <c:v>5.0877976450753202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C$2:$C$8</c:f>
              <c:numCache>
                <c:formatCode>General</c:formatCode>
                <c:ptCount val="7"/>
                <c:pt idx="0">
                  <c:v>0.22339181286549711</c:v>
                </c:pt>
                <c:pt idx="1">
                  <c:v>0.24644945697577278</c:v>
                </c:pt>
                <c:pt idx="2">
                  <c:v>0.19111668059036482</c:v>
                </c:pt>
                <c:pt idx="3">
                  <c:v>0.15179615705931498</c:v>
                </c:pt>
                <c:pt idx="4">
                  <c:v>9.8468393205235316E-2</c:v>
                </c:pt>
                <c:pt idx="5">
                  <c:v>8.8554720133667497E-2</c:v>
                </c:pt>
                <c:pt idx="6">
                  <c:v>2.2277917014759124E-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D$2:$D$8</c:f>
              <c:numCache>
                <c:formatCode>General</c:formatCode>
                <c:ptCount val="7"/>
                <c:pt idx="0">
                  <c:v>69.921361716620552</c:v>
                </c:pt>
                <c:pt idx="1">
                  <c:v>103.93106024686062</c:v>
                </c:pt>
                <c:pt idx="2">
                  <c:v>85.836588525529493</c:v>
                </c:pt>
                <c:pt idx="3">
                  <c:v>134.89241985525163</c:v>
                </c:pt>
                <c:pt idx="4">
                  <c:v>113.23443166506459</c:v>
                </c:pt>
                <c:pt idx="5">
                  <c:v>417.93918010095882</c:v>
                </c:pt>
                <c:pt idx="6">
                  <c:v>437.8695571024291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646F7FD-D736-481D-9EC5-951325C62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DA265E6-2BC5-4187-B82F-1A2B2217B8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B864A67-4B57-4057-8B75-ACDE2C3AE4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47EB49E-7AA7-4FB7-B478-11B254831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CF25030-0EE1-44EC-A3A2-EC30512F0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AEDF134-D905-4F4A-BD70-0EF6C1C777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1B5C10E-1F1C-4771-A39A-EF67B5F94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32590000000000002</c:v>
                </c:pt>
                <c:pt idx="1">
                  <c:v>0.33339999999999997</c:v>
                </c:pt>
                <c:pt idx="2">
                  <c:v>0.52849999999999997</c:v>
                </c:pt>
                <c:pt idx="3">
                  <c:v>0.45679999999999998</c:v>
                </c:pt>
              </c:numCache>
            </c:numRef>
          </c:xVal>
          <c:yVal>
            <c:numRef>
              <c:f>Sheet1!$B$2:$B$5</c:f>
              <c:numCache>
                <c:formatCode>General</c:formatCode>
                <c:ptCount val="4"/>
                <c:pt idx="0">
                  <c:v>9753.2978723404249</c:v>
                </c:pt>
                <c:pt idx="1">
                  <c:v>6344.6627906976746</c:v>
                </c:pt>
                <c:pt idx="2">
                  <c:v>504.1</c:v>
                </c:pt>
                <c:pt idx="3">
                  <c:v>727.37931034482767</c:v>
                </c:pt>
              </c:numCache>
            </c:numRef>
          </c:yVal>
          <c:bubbleSize>
            <c:numRef>
              <c:f>Sheet1!$C$2:$C$5</c:f>
              <c:numCache>
                <c:formatCode>General</c:formatCode>
                <c:ptCount val="4"/>
                <c:pt idx="0">
                  <c:v>585791.43079999997</c:v>
                </c:pt>
                <c:pt idx="1">
                  <c:v>344738.34379999997</c:v>
                </c:pt>
                <c:pt idx="2">
                  <c:v>11264.5497</c:v>
                </c:pt>
                <c:pt idx="3">
                  <c:v>10860.940199999999</c:v>
                </c:pt>
              </c:numCache>
            </c:numRef>
          </c:bubbleSize>
          <c:bubble3D val="0"/>
          <c:extLst>
            <c:ext xmlns:c15="http://schemas.microsoft.com/office/drawing/2012/chart" uri="{02D57815-91ED-43cb-92C2-25804820EDAC}">
              <c15:datalabelsRange>
                <c15:f>Sheet1!$E$2:$E$50</c15:f>
                <c15:dlblRangeCache>
                  <c:ptCount val="49"/>
                  <c:pt idx="0">
                    <c:v>Boursin Aperitif Roules Fromage Frais Roule Afh Et Jambon Fume Boite 1X100Gr 20P</c:v>
                  </c:pt>
                  <c:pt idx="1">
                    <c:v>Boursin Aperitif Roules Fromage Frais Roule Ciboulette &amp; Echalote Jambon Fume Boite 1X100Gr 20P</c:v>
                  </c:pt>
                  <c:pt idx="2">
                    <c:v>Boursin Aperitif Roules Fromage Frais Roule Jambon Fume &amp; Trio De Noix Boite 1X100Gr 20P</c:v>
                  </c:pt>
                  <c:pt idx="3">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8B56C00-8700-4E36-9EE2-87701A3900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5EDDD3A-B261-45F2-8B25-A3B021A07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67CF324A-0115-4A5E-AECB-3D000ADB4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394F092-D0DC-4F9A-87C8-7CCAD1B6B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080C193-E332-4746-83A0-E043B8DCF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5481184-4825-4686-94F5-FFBF555A7F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60BF2D7-25B3-4A9A-8E66-A559A5C24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41980000000000001</c:v>
                </c:pt>
                <c:pt idx="1">
                  <c:v>0.48399999999999999</c:v>
                </c:pt>
              </c:numCache>
            </c:numRef>
          </c:xVal>
          <c:yVal>
            <c:numRef>
              <c:f>Sheet1!$B$2:$B$3</c:f>
              <c:numCache>
                <c:formatCode>General</c:formatCode>
                <c:ptCount val="2"/>
                <c:pt idx="0">
                  <c:v>15549.142857142861</c:v>
                </c:pt>
                <c:pt idx="1">
                  <c:v>4525.5294117647063</c:v>
                </c:pt>
              </c:numCache>
            </c:numRef>
          </c:yVal>
          <c:bubbleSize>
            <c:numRef>
              <c:f>Sheet1!$C$2:$C$3</c:f>
              <c:numCache>
                <c:formatCode>General</c:formatCode>
                <c:ptCount val="2"/>
                <c:pt idx="0">
                  <c:v>478859.43920000002</c:v>
                </c:pt>
                <c:pt idx="1">
                  <c:v>37630.871599999999</c:v>
                </c:pt>
              </c:numCache>
            </c:numRef>
          </c:bubbleSize>
          <c:bubble3D val="0"/>
          <c:extLst>
            <c:ext xmlns:c15="http://schemas.microsoft.com/office/drawing/2012/chart" uri="{02D57815-91ED-43cb-92C2-25804820EDAC}">
              <c15:datalabelsRange>
                <c15:f>Sheet1!$E$2:$E$50</c15:f>
                <c15:dlblRangeCache>
                  <c:ptCount val="49"/>
                  <c:pt idx="0">
                    <c:v>Boursin Aperitif Roules Fromage Frais Roule Afh Et Jambon Fume Boite 1X100Gr 20P</c:v>
                  </c:pt>
                  <c:pt idx="1">
                    <c:v>Boursin Aperitif Roules Fromage Frais Roule Ciboulette &amp; Echalote Jambon Fume Boite 1X100Gr 2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C3402EC-A16E-4DCE-B92A-14F2F4B28E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97838DF-924F-424A-A30C-47200C27B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14E1E22-771B-4EC7-9FFD-950F4AFC7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71B1A52-7892-4D02-95B2-CE6008EC6E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D628CFC-F92A-4A15-83A7-7188114B94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35F1A00-207C-4BF0-B17C-6B080A4E5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31BE10B-F00E-4C29-96DE-7204E3363A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39829999999999999</c:v>
                </c:pt>
                <c:pt idx="1">
                  <c:v>0.4037</c:v>
                </c:pt>
                <c:pt idx="2">
                  <c:v>0.43390000000000001</c:v>
                </c:pt>
                <c:pt idx="3">
                  <c:v>0.2555</c:v>
                </c:pt>
                <c:pt idx="4">
                  <c:v>0.42370000000000002</c:v>
                </c:pt>
              </c:numCache>
            </c:numRef>
          </c:xVal>
          <c:yVal>
            <c:numRef>
              <c:f>Sheet1!$B$2:$B$6</c:f>
              <c:numCache>
                <c:formatCode>General</c:formatCode>
                <c:ptCount val="5"/>
                <c:pt idx="0">
                  <c:v>16275.38775510204</c:v>
                </c:pt>
                <c:pt idx="1">
                  <c:v>5635.0111111111109</c:v>
                </c:pt>
                <c:pt idx="2">
                  <c:v>10927.284210526321</c:v>
                </c:pt>
                <c:pt idx="3">
                  <c:v>574.22500000000002</c:v>
                </c:pt>
                <c:pt idx="4">
                  <c:v>553.08571428571429</c:v>
                </c:pt>
              </c:numCache>
            </c:numRef>
          </c:yVal>
          <c:bubbleSize>
            <c:numRef>
              <c:f>Sheet1!$C$2:$C$6</c:f>
              <c:numCache>
                <c:formatCode>General</c:formatCode>
                <c:ptCount val="5"/>
                <c:pt idx="0">
                  <c:v>909612.2453999999</c:v>
                </c:pt>
                <c:pt idx="1">
                  <c:v>286664.43280000001</c:v>
                </c:pt>
                <c:pt idx="2">
                  <c:v>557057.5425000001</c:v>
                </c:pt>
                <c:pt idx="3">
                  <c:v>32418.247899999998</c:v>
                </c:pt>
                <c:pt idx="4">
                  <c:v>21148.5615</c:v>
                </c:pt>
              </c:numCache>
            </c:numRef>
          </c:bubbleSize>
          <c:bubble3D val="0"/>
          <c:extLst>
            <c:ext xmlns:c15="http://schemas.microsoft.com/office/drawing/2012/chart" uri="{02D57815-91ED-43cb-92C2-25804820EDAC}">
              <c15:datalabelsRange>
                <c15:f>Sheet1!$E$2:$E$50</c15:f>
                <c15:dlblRangeCache>
                  <c:ptCount val="49"/>
                  <c:pt idx="0">
                    <c:v>Boursin Aperitif Roules Fromage Frais Roule Afh Et Jambon Fume Boite 1X100Gr 20P</c:v>
                  </c:pt>
                  <c:pt idx="1">
                    <c:v>Boursin Aperitif Roules Fromage Frais Roule Basilic &amp; Jambon Fume Tomate Boite 1X100Gr 20P</c:v>
                  </c:pt>
                  <c:pt idx="2">
                    <c:v>Boursin Aperitif Roules Fromage Frais Roule Ciboulette &amp; Echalote Jambon Fume Boite 1X100Gr 20P</c:v>
                  </c:pt>
                  <c:pt idx="3">
                    <c:v>Boursin Aperitif Roules Fromage Frais Roule Jambon Fume &amp; Trio De Noix Boite 1X100Gr 20P</c:v>
                  </c:pt>
                  <c:pt idx="4">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2658137-9927-4CDF-BCBB-0D36612568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B8B7667-832E-49B5-B521-76FF7081C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6766A3F-E69C-4B38-826A-3F99AB25E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4258D77-E5EE-4FC2-A2A3-969145F05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19440251-A35F-4A4F-9D4A-6D66DD62D9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EEEC130-9716-4346-B6CF-31B1DB6D08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18207E1-0666-421A-919B-1DFBBE18E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40460000000000002</c:v>
                </c:pt>
                <c:pt idx="1">
                  <c:v>0.40379999999999999</c:v>
                </c:pt>
                <c:pt idx="2">
                  <c:v>0.43580000000000002</c:v>
                </c:pt>
                <c:pt idx="3">
                  <c:v>0.25519999999999998</c:v>
                </c:pt>
                <c:pt idx="4">
                  <c:v>0.42370000000000002</c:v>
                </c:pt>
              </c:numCache>
            </c:numRef>
          </c:xVal>
          <c:yVal>
            <c:numRef>
              <c:f>Sheet1!$B$2:$B$6</c:f>
              <c:numCache>
                <c:formatCode>General</c:formatCode>
                <c:ptCount val="5"/>
                <c:pt idx="0">
                  <c:v>3316.9595959595958</c:v>
                </c:pt>
                <c:pt idx="1">
                  <c:v>1040.5408163265311</c:v>
                </c:pt>
                <c:pt idx="2">
                  <c:v>2060.515151515152</c:v>
                </c:pt>
                <c:pt idx="3">
                  <c:v>100.0416666666667</c:v>
                </c:pt>
                <c:pt idx="4">
                  <c:v>83.186046511627907</c:v>
                </c:pt>
              </c:numCache>
            </c:numRef>
          </c:yVal>
          <c:bubbleSize>
            <c:numRef>
              <c:f>Sheet1!$C$2:$C$6</c:f>
              <c:numCache>
                <c:formatCode>General</c:formatCode>
                <c:ptCount val="5"/>
                <c:pt idx="0">
                  <c:v>185329.7856</c:v>
                </c:pt>
                <c:pt idx="1">
                  <c:v>57629.263599999998</c:v>
                </c:pt>
                <c:pt idx="2">
                  <c:v>109087.9544</c:v>
                </c:pt>
                <c:pt idx="3">
                  <c:v>6780.0874000000003</c:v>
                </c:pt>
                <c:pt idx="4">
                  <c:v>3908.1405</c:v>
                </c:pt>
              </c:numCache>
            </c:numRef>
          </c:bubbleSize>
          <c:bubble3D val="0"/>
          <c:extLst>
            <c:ext xmlns:c15="http://schemas.microsoft.com/office/drawing/2012/chart" uri="{02D57815-91ED-43cb-92C2-25804820EDAC}">
              <c15:datalabelsRange>
                <c15:f>Sheet1!$E$2:$E$50</c15:f>
                <c15:dlblRangeCache>
                  <c:ptCount val="49"/>
                  <c:pt idx="0">
                    <c:v>Boursin Aperitif Roules Fromage Frais Roule Afh Et Jambon Fume Boite 1X100Gr 20P</c:v>
                  </c:pt>
                  <c:pt idx="1">
                    <c:v>Boursin Aperitif Roules Fromage Frais Roule Basilic &amp; Jambon Fume Tomate Boite 1X100Gr 20P</c:v>
                  </c:pt>
                  <c:pt idx="2">
                    <c:v>Boursin Aperitif Roules Fromage Frais Roule Ciboulette &amp; Echalote Jambon Fume Boite 1X100Gr 20P</c:v>
                  </c:pt>
                  <c:pt idx="3">
                    <c:v>Boursin Aperitif Roules Fromage Frais Roule Jambon Fume &amp; Trio De Noix Boite 1X100Gr 20P</c:v>
                  </c:pt>
                  <c:pt idx="4">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1CF6D8B-401C-4F9F-B00F-1B7B1318A3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7AD1884-A24B-4623-83F0-2D56276B74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672AF67-7221-42F7-89DA-349CA8DA0B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8D079A3-0760-4D50-A7EE-EF305641B3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8534B10C-2EEC-4C19-BB51-4B31D7B970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A6A31CD-1A47-4ED8-AE8D-F015305DD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0371912-B7EE-4E67-A946-2A9566500E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44180000000000003</c:v>
                </c:pt>
                <c:pt idx="1">
                  <c:v>0.4294</c:v>
                </c:pt>
                <c:pt idx="2">
                  <c:v>0.47160000000000002</c:v>
                </c:pt>
                <c:pt idx="3">
                  <c:v>0.25779999999999997</c:v>
                </c:pt>
                <c:pt idx="4">
                  <c:v>0.42580000000000001</c:v>
                </c:pt>
              </c:numCache>
            </c:numRef>
          </c:xVal>
          <c:yVal>
            <c:numRef>
              <c:f>Sheet1!$B$2:$B$6</c:f>
              <c:numCache>
                <c:formatCode>General</c:formatCode>
                <c:ptCount val="5"/>
                <c:pt idx="0">
                  <c:v>2936.2117647058822</c:v>
                </c:pt>
                <c:pt idx="1">
                  <c:v>840.0877192982457</c:v>
                </c:pt>
                <c:pt idx="2">
                  <c:v>1739.339285714286</c:v>
                </c:pt>
                <c:pt idx="3">
                  <c:v>144.11111111111109</c:v>
                </c:pt>
                <c:pt idx="4">
                  <c:v>142.29411764705881</c:v>
                </c:pt>
              </c:numCache>
            </c:numRef>
          </c:yVal>
          <c:bubbleSize>
            <c:numRef>
              <c:f>Sheet1!$C$2:$C$6</c:f>
              <c:numCache>
                <c:formatCode>General</c:formatCode>
                <c:ptCount val="5"/>
                <c:pt idx="0">
                  <c:v>132048.75390000001</c:v>
                </c:pt>
                <c:pt idx="1">
                  <c:v>25896.57</c:v>
                </c:pt>
                <c:pt idx="2">
                  <c:v>48786.166700000002</c:v>
                </c:pt>
                <c:pt idx="3">
                  <c:v>1824.9043999999999</c:v>
                </c:pt>
                <c:pt idx="4">
                  <c:v>1316.502</c:v>
                </c:pt>
              </c:numCache>
            </c:numRef>
          </c:bubbleSize>
          <c:bubble3D val="0"/>
          <c:extLst>
            <c:ext xmlns:c15="http://schemas.microsoft.com/office/drawing/2012/chart" uri="{02D57815-91ED-43cb-92C2-25804820EDAC}">
              <c15:datalabelsRange>
                <c15:f>Sheet1!$E$2:$E$50</c15:f>
                <c15:dlblRangeCache>
                  <c:ptCount val="49"/>
                  <c:pt idx="0">
                    <c:v>Boursin Aperitif Roules Fromage Frais Roule Afh Et Jambon Fume Boite 1X100Gr 20P</c:v>
                  </c:pt>
                  <c:pt idx="1">
                    <c:v>Boursin Aperitif Roules Fromage Frais Roule Basilic &amp; Jambon Fume Tomate Boite 1X100Gr 20P</c:v>
                  </c:pt>
                  <c:pt idx="2">
                    <c:v>Boursin Aperitif Roules Fromage Frais Roule Ciboulette &amp; Echalote Jambon Fume Boite 1X100Gr 20P</c:v>
                  </c:pt>
                  <c:pt idx="3">
                    <c:v>Boursin Aperitif Roules Fromage Frais Roule Jambon Fume &amp; Trio De Noix Boite 1X100Gr 20P</c:v>
                  </c:pt>
                  <c:pt idx="4">
                    <c:v>Boursin Aperitif Roules Aperitif 10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CB73B27-0A7A-4B21-B901-F9D2296466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270D238-6097-4DBE-B8CF-0FD5FA0B9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2547080-20CC-4AFE-9B8E-263BD6620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3C97B44-D956-4E8D-A9C5-FE99D3DF2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0DAE7D8-E7CA-43F4-8B27-89D53FBFD4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B3CDD35-5CAE-4077-9E21-9972BCD065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C78CB23-2B5B-44BE-AF56-60C8D16D7C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37290000000000001</c:v>
                </c:pt>
                <c:pt idx="1">
                  <c:v>0.3553</c:v>
                </c:pt>
                <c:pt idx="2">
                  <c:v>0.40739999999999998</c:v>
                </c:pt>
                <c:pt idx="3">
                  <c:v>0.36969999999999997</c:v>
                </c:pt>
                <c:pt idx="4">
                  <c:v>0.47470000000000001</c:v>
                </c:pt>
              </c:numCache>
            </c:numRef>
          </c:xVal>
          <c:yVal>
            <c:numRef>
              <c:f>Sheet1!$B$2:$B$6</c:f>
              <c:numCache>
                <c:formatCode>General</c:formatCode>
                <c:ptCount val="5"/>
                <c:pt idx="0">
                  <c:v>9790.5854800936777</c:v>
                </c:pt>
                <c:pt idx="1">
                  <c:v>3420</c:v>
                </c:pt>
                <c:pt idx="2">
                  <c:v>3727.8082191780818</c:v>
                </c:pt>
                <c:pt idx="3">
                  <c:v>9643.9267015706791</c:v>
                </c:pt>
                <c:pt idx="4">
                  <c:v>1497.620817843866</c:v>
                </c:pt>
              </c:numCache>
            </c:numRef>
          </c:yVal>
          <c:bubbleSize>
            <c:numRef>
              <c:f>Sheet1!$C$2:$C$6</c:f>
              <c:numCache>
                <c:formatCode>General</c:formatCode>
                <c:ptCount val="5"/>
                <c:pt idx="0">
                  <c:v>497022.74139999988</c:v>
                </c:pt>
                <c:pt idx="1">
                  <c:v>15255.8817</c:v>
                </c:pt>
                <c:pt idx="2">
                  <c:v>15284.8145</c:v>
                </c:pt>
                <c:pt idx="3">
                  <c:v>440206.3137</c:v>
                </c:pt>
                <c:pt idx="4">
                  <c:v>20057.296200000001</c:v>
                </c:pt>
              </c:numCache>
            </c:numRef>
          </c:bubbleSize>
          <c:bubble3D val="0"/>
          <c:extLst>
            <c:ext xmlns:c15="http://schemas.microsoft.com/office/drawing/2012/chart" uri="{02D57815-91ED-43cb-92C2-25804820EDAC}">
              <c15:datalabelsRange>
                <c15:f>Sheet1!$E$2:$E$50</c15:f>
                <c15:dlblRangeCache>
                  <c:ptCount val="49"/>
                  <c:pt idx="0">
                    <c:v>Toastinette Cheddar Fondu Tranche A Chaud Sachet 1X200Gr 10P</c:v>
                  </c:pt>
                  <c:pt idx="1">
                    <c:v>Toastinette Cheddar Fondu Tranche A Chaud Sachet 1X340Gr 20P</c:v>
                  </c:pt>
                  <c:pt idx="2">
                    <c:v>Toastinette Fromage Fondu Tranche A Chaud Sachet 1X340Gr 20P</c:v>
                  </c:pt>
                  <c:pt idx="3">
                    <c:v>Toastinette Fromage Fondu Tranche A Chaud Sachet 1X200Gr 10P</c:v>
                  </c:pt>
                  <c:pt idx="4">
                    <c:v>La Vache Qui Rit Le Fondant Fromage Fondu 1X200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72B381F-72DD-4441-9411-F05D16EEAA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38EF9FF8-5BE9-4EDB-9FC6-B8FE8BCD0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1D7853FA-5512-4CFB-8180-828E37809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07708A7-0EBC-4A63-8582-0D89BE57B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3B36CF4-FC81-44F9-96DD-88B5A47D24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DACAF48-6F88-4D77-B24C-5C4E8DF95E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4540287-B282-4182-97FE-AD08B88A03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0629999999999999</c:v>
                </c:pt>
              </c:numCache>
            </c:numRef>
          </c:xVal>
          <c:yVal>
            <c:numRef>
              <c:f>Sheet1!$B$2:$B$2</c:f>
              <c:numCache>
                <c:formatCode>General</c:formatCode>
                <c:ptCount val="1"/>
                <c:pt idx="0">
                  <c:v>4929.184993531695</c:v>
                </c:pt>
              </c:numCache>
            </c:numRef>
          </c:yVal>
          <c:bubbleSize>
            <c:numRef>
              <c:f>Sheet1!$C$2:$C$2</c:f>
              <c:numCache>
                <c:formatCode>General</c:formatCode>
                <c:ptCount val="1"/>
                <c:pt idx="0">
                  <c:v>214406.42539999989</c:v>
                </c:pt>
              </c:numCache>
            </c:numRef>
          </c:bubbleSize>
          <c:bubble3D val="0"/>
          <c:extLst>
            <c:ext xmlns:c15="http://schemas.microsoft.com/office/drawing/2012/chart" uri="{02D57815-91ED-43cb-92C2-25804820EDAC}">
              <c15:datalabelsRange>
                <c15:f>Sheet1!$E$2:$E$50</c15:f>
                <c15:dlblRangeCache>
                  <c:ptCount val="49"/>
                  <c:pt idx="0">
                    <c:v>Boursin Cuisine Sauce Fromage Afh 1X240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009B8C7-30BC-4994-8719-A59A71B5B4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A732835B-3E89-41C9-AAC7-94A5368F12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72852907-2BE0-4C2D-A58C-242E1EC34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614E569-C655-4725-B1B1-5F7EEB23F1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9E39833-130C-4211-A85B-FE154D6AA5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EEDF3AE-2A10-4689-8395-3BC68FEF5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47975D4-D1A3-43DF-A833-75584D6A5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977</c:v>
                </c:pt>
              </c:numCache>
            </c:numRef>
          </c:xVal>
          <c:yVal>
            <c:numRef>
              <c:f>Sheet1!$B$2:$B$2</c:f>
              <c:numCache>
                <c:formatCode>General</c:formatCode>
                <c:ptCount val="1"/>
                <c:pt idx="0">
                  <c:v>8120.2634593356242</c:v>
                </c:pt>
              </c:numCache>
            </c:numRef>
          </c:yVal>
          <c:bubbleSize>
            <c:numRef>
              <c:f>Sheet1!$C$2:$C$2</c:f>
              <c:numCache>
                <c:formatCode>General</c:formatCode>
                <c:ptCount val="1"/>
                <c:pt idx="0">
                  <c:v>404691.69180000009</c:v>
                </c:pt>
              </c:numCache>
            </c:numRef>
          </c:bubbleSize>
          <c:bubble3D val="0"/>
          <c:extLst>
            <c:ext xmlns:c15="http://schemas.microsoft.com/office/drawing/2012/chart" uri="{02D57815-91ED-43cb-92C2-25804820EDAC}">
              <c15:datalabelsRange>
                <c15:f>Sheet1!$E$2:$E$50</c15:f>
                <c15:dlblRangeCache>
                  <c:ptCount val="49"/>
                  <c:pt idx="0">
                    <c:v>Boursin Cuisine Sauce Fromage Afh 1X240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025DBF6-9A64-4124-9A81-C325C8317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1A6A1CB-11CA-4B6A-99C8-10D86C798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C9CA401-D88C-4146-90E1-AF1B0F9B38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DBF2E63-9303-40F1-A014-B3C439F49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3F10089-58DD-41EC-97A1-29BFE3F82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0F4BD73-B82F-4E3B-82F2-A855C222D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F030595-A181-49BB-8CA7-92BC3297A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3619</c:v>
                </c:pt>
                <c:pt idx="1">
                  <c:v>0.3553</c:v>
                </c:pt>
                <c:pt idx="2">
                  <c:v>0.40760000000000002</c:v>
                </c:pt>
                <c:pt idx="3">
                  <c:v>0.36299999999999999</c:v>
                </c:pt>
                <c:pt idx="4">
                  <c:v>0.47470000000000001</c:v>
                </c:pt>
              </c:numCache>
            </c:numRef>
          </c:xVal>
          <c:yVal>
            <c:numRef>
              <c:f>Sheet1!$B$2:$B$6</c:f>
              <c:numCache>
                <c:formatCode>General</c:formatCode>
                <c:ptCount val="5"/>
                <c:pt idx="0">
                  <c:v>4355.3900000000003</c:v>
                </c:pt>
                <c:pt idx="1">
                  <c:v>1560.375</c:v>
                </c:pt>
                <c:pt idx="2">
                  <c:v>1699.3125</c:v>
                </c:pt>
                <c:pt idx="3">
                  <c:v>4384.49</c:v>
                </c:pt>
                <c:pt idx="4">
                  <c:v>682.81355932203394</c:v>
                </c:pt>
              </c:numCache>
            </c:numRef>
          </c:yVal>
          <c:bubbleSize>
            <c:numRef>
              <c:f>Sheet1!$C$2:$C$6</c:f>
              <c:numCache>
                <c:formatCode>General</c:formatCode>
                <c:ptCount val="5"/>
                <c:pt idx="0">
                  <c:v>263410.821</c:v>
                </c:pt>
                <c:pt idx="1">
                  <c:v>15255.8817</c:v>
                </c:pt>
                <c:pt idx="2">
                  <c:v>15268.289500000001</c:v>
                </c:pt>
                <c:pt idx="3">
                  <c:v>264737.46529999998</c:v>
                </c:pt>
                <c:pt idx="4">
                  <c:v>20057.296200000001</c:v>
                </c:pt>
              </c:numCache>
            </c:numRef>
          </c:bubbleSize>
          <c:bubble3D val="0"/>
          <c:extLst>
            <c:ext xmlns:c15="http://schemas.microsoft.com/office/drawing/2012/chart" uri="{02D57815-91ED-43cb-92C2-25804820EDAC}">
              <c15:datalabelsRange>
                <c15:f>Sheet1!$E$2:$E$50</c15:f>
                <c15:dlblRangeCache>
                  <c:ptCount val="49"/>
                  <c:pt idx="0">
                    <c:v>Toastinette Cheddar Fondu Tranche A Chaud Sachet 1X200Gr 10P</c:v>
                  </c:pt>
                  <c:pt idx="1">
                    <c:v>Toastinette Cheddar Fondu Tranche A Chaud Sachet 1X340Gr 20P</c:v>
                  </c:pt>
                  <c:pt idx="2">
                    <c:v>Toastinette Fromage Fondu Tranche A Chaud Sachet 1X340Gr 20P</c:v>
                  </c:pt>
                  <c:pt idx="3">
                    <c:v>Toastinette Fromage Fondu Tranche A Chaud Sachet 1X200Gr 10P</c:v>
                  </c:pt>
                  <c:pt idx="4">
                    <c:v>La Vache Qui Rit Le Fondant Fromage Fondu 1X200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9EFC5FF-68FD-4211-B930-B5C0D0AAD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59C022F1-0535-41FA-A496-842A2E3A7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532BF437-7219-4BB8-9596-E1576F6BF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7A8EF98-C80C-44B2-BC87-80D13BB456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4107E37-4B2E-4264-AFCE-BCA961272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D20838E-2C53-4AE3-96FA-60416CFB17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C0DA24B-5AB8-4F4A-8422-D288DE5D06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7409999999999999</c:v>
                </c:pt>
              </c:numCache>
            </c:numRef>
          </c:xVal>
          <c:yVal>
            <c:numRef>
              <c:f>Sheet1!$B$2:$B$2</c:f>
              <c:numCache>
                <c:formatCode>General</c:formatCode>
                <c:ptCount val="1"/>
                <c:pt idx="0">
                  <c:v>1964.9795918367349</c:v>
                </c:pt>
              </c:numCache>
            </c:numRef>
          </c:yVal>
          <c:bubbleSize>
            <c:numRef>
              <c:f>Sheet1!$C$2:$C$2</c:f>
              <c:numCache>
                <c:formatCode>General</c:formatCode>
                <c:ptCount val="1"/>
                <c:pt idx="0">
                  <c:v>114242.4955</c:v>
                </c:pt>
              </c:numCache>
            </c:numRef>
          </c:bubbleSize>
          <c:bubble3D val="0"/>
          <c:extLst>
            <c:ext xmlns:c15="http://schemas.microsoft.com/office/drawing/2012/chart" uri="{02D57815-91ED-43cb-92C2-25804820EDAC}">
              <c15:datalabelsRange>
                <c15:f>Sheet1!$E$2:$E$50</c15:f>
                <c15:dlblRangeCache>
                  <c:ptCount val="49"/>
                  <c:pt idx="0">
                    <c:v>Boursin Cuisine Sauce Fromage Afh 1X240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B$2:$B$8</c:f>
              <c:numCache>
                <c:formatCode>General</c:formatCode>
                <c:ptCount val="7"/>
                <c:pt idx="0">
                  <c:v>0.29608307297728548</c:v>
                </c:pt>
                <c:pt idx="1">
                  <c:v>0.25351398955387072</c:v>
                </c:pt>
                <c:pt idx="2">
                  <c:v>0.21522591902681237</c:v>
                </c:pt>
                <c:pt idx="3">
                  <c:v>0.13905920361462251</c:v>
                </c:pt>
                <c:pt idx="4">
                  <c:v>7.6126221756594045E-2</c:v>
                </c:pt>
                <c:pt idx="5">
                  <c:v>1.9990162338737134E-2</c:v>
                </c:pt>
                <c:pt idx="6">
                  <c:v>1.430732077777116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C$2:$C$8</c:f>
              <c:numCache>
                <c:formatCode>General</c:formatCode>
                <c:ptCount val="7"/>
                <c:pt idx="0">
                  <c:v>0.24831712789827978</c:v>
                </c:pt>
                <c:pt idx="1">
                  <c:v>0.24840688107703823</c:v>
                </c:pt>
                <c:pt idx="2">
                  <c:v>0.26483171278982809</c:v>
                </c:pt>
                <c:pt idx="3">
                  <c:v>0.11596110695587139</c:v>
                </c:pt>
                <c:pt idx="4">
                  <c:v>8.4098728496634273E-2</c:v>
                </c:pt>
                <c:pt idx="5">
                  <c:v>3.8384442782348552E-2</c:v>
                </c:pt>
                <c:pt idx="6">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D$2:$D$8</c:f>
              <c:numCache>
                <c:formatCode>General</c:formatCode>
                <c:ptCount val="7"/>
                <c:pt idx="0">
                  <c:v>83.867384042359589</c:v>
                </c:pt>
                <c:pt idx="1">
                  <c:v>97.985472720531163</c:v>
                </c:pt>
                <c:pt idx="2">
                  <c:v>123.04824343987862</c:v>
                </c:pt>
                <c:pt idx="3">
                  <c:v>83.389739004429131</c:v>
                </c:pt>
                <c:pt idx="4">
                  <c:v>110.47274717709163</c:v>
                </c:pt>
                <c:pt idx="5">
                  <c:v>192.01666365643663</c:v>
                </c:pt>
                <c:pt idx="6">
                  <c:v>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DD9DCB5-1509-4B34-8FA8-A3C2FE0CE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C9A03AD-7F44-418C-8F0A-6323967DD5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A2BFFEC8-BB67-4438-AAC9-C7B116D18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CFC498A-5CA4-4F95-8350-723AABD03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48E47FC-D10A-4D2F-8F0E-B8BE99898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B10898B-75AF-4BE9-9B92-60B94BA57B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4C8B5EB-C480-4C06-A2BA-79049A25AB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37819999999999998</c:v>
                </c:pt>
                <c:pt idx="1">
                  <c:v>0.37680000000000002</c:v>
                </c:pt>
              </c:numCache>
            </c:numRef>
          </c:xVal>
          <c:yVal>
            <c:numRef>
              <c:f>Sheet1!$B$2:$B$3</c:f>
              <c:numCache>
                <c:formatCode>General</c:formatCode>
                <c:ptCount val="2"/>
                <c:pt idx="0">
                  <c:v>3677.6391752577319</c:v>
                </c:pt>
                <c:pt idx="1">
                  <c:v>3513.0253164556962</c:v>
                </c:pt>
              </c:numCache>
            </c:numRef>
          </c:yVal>
          <c:bubbleSize>
            <c:numRef>
              <c:f>Sheet1!$C$2:$C$3</c:f>
              <c:numCache>
                <c:formatCode>General</c:formatCode>
                <c:ptCount val="2"/>
                <c:pt idx="0">
                  <c:v>210256.40059999999</c:v>
                </c:pt>
                <c:pt idx="1">
                  <c:v>163944.598</c:v>
                </c:pt>
              </c:numCache>
            </c:numRef>
          </c:bubbleSize>
          <c:bubble3D val="0"/>
          <c:extLst>
            <c:ext xmlns:c15="http://schemas.microsoft.com/office/drawing/2012/chart" uri="{02D57815-91ED-43cb-92C2-25804820EDAC}">
              <c15:datalabelsRange>
                <c15:f>Sheet1!$E$2:$E$50</c15:f>
                <c15:dlblRangeCache>
                  <c:ptCount val="49"/>
                  <c:pt idx="0">
                    <c:v>Toastinette Cheddar Fondu Tranche A Chaud Sachet 1X200Gr 10P</c:v>
                  </c:pt>
                  <c:pt idx="1">
                    <c:v>Toastinette Fromage Fondu Tranche A Chaud Sachet 1X200Gr 1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DA49135-6C80-476B-9F32-6DAA018FD1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28FDE8FA-B8BA-4701-905F-3AC47CC2AB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4210556E-3E3E-4355-8C1D-41F465D00C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B5923A8-9B23-49F6-BF89-D5E762D97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F2ABCDD0-35A4-4058-8C8B-97A0D96FC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DA6AA1F-C138-49EB-9C89-531DB1FA7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256E397-C1C7-4776-B704-8117FE8A90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0160000000000001</c:v>
                </c:pt>
              </c:numCache>
            </c:numRef>
          </c:xVal>
          <c:yVal>
            <c:numRef>
              <c:f>Sheet1!$B$2:$B$2</c:f>
              <c:numCache>
                <c:formatCode>General</c:formatCode>
                <c:ptCount val="1"/>
                <c:pt idx="0">
                  <c:v>1510.3611111111111</c:v>
                </c:pt>
              </c:numCache>
            </c:numRef>
          </c:yVal>
          <c:bubbleSize>
            <c:numRef>
              <c:f>Sheet1!$C$2:$C$2</c:f>
              <c:numCache>
                <c:formatCode>General</c:formatCode>
                <c:ptCount val="1"/>
                <c:pt idx="0">
                  <c:v>61677.407299999999</c:v>
                </c:pt>
              </c:numCache>
            </c:numRef>
          </c:bubbleSize>
          <c:bubble3D val="0"/>
          <c:extLst>
            <c:ext xmlns:c15="http://schemas.microsoft.com/office/drawing/2012/chart" uri="{02D57815-91ED-43cb-92C2-25804820EDAC}">
              <c15:datalabelsRange>
                <c15:f>Sheet1!$E$2:$E$50</c15:f>
                <c15:dlblRangeCache>
                  <c:ptCount val="49"/>
                  <c:pt idx="0">
                    <c:v>Boursin Cuisine Sauce Fromage Afh 1X240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0B83F73-2FEC-4B8D-9D7F-48DBBC67F2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5A9D549-FDB9-4A66-B4EB-0691438D4E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6E1AA4E2-B943-4A7C-9D8D-86D4F8A1A8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0C04C3A-75D8-4D12-9D87-FC1E504EA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EDF406F-EB29-41A7-9714-5590B9517A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CDC98E8-5DAD-4315-AE6D-009314BCC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781FF46-57F3-41E6-9D68-384278155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438</c:v>
                </c:pt>
                <c:pt idx="1">
                  <c:v>0.41599999999999998</c:v>
                </c:pt>
              </c:numCache>
            </c:numRef>
          </c:xVal>
          <c:yVal>
            <c:numRef>
              <c:f>Sheet1!$B$2:$B$3</c:f>
              <c:numCache>
                <c:formatCode>General</c:formatCode>
                <c:ptCount val="2"/>
                <c:pt idx="0">
                  <c:v>2435.8888888888891</c:v>
                </c:pt>
                <c:pt idx="1">
                  <c:v>4163.6000000000004</c:v>
                </c:pt>
              </c:numCache>
            </c:numRef>
          </c:yVal>
          <c:bubbleSize>
            <c:numRef>
              <c:f>Sheet1!$C$2:$C$3</c:f>
              <c:numCache>
                <c:formatCode>General</c:formatCode>
                <c:ptCount val="2"/>
                <c:pt idx="0">
                  <c:v>23355.519799999998</c:v>
                </c:pt>
                <c:pt idx="1">
                  <c:v>11524.250400000001</c:v>
                </c:pt>
              </c:numCache>
            </c:numRef>
          </c:bubbleSize>
          <c:bubble3D val="0"/>
          <c:extLst>
            <c:ext xmlns:c15="http://schemas.microsoft.com/office/drawing/2012/chart" uri="{02D57815-91ED-43cb-92C2-25804820EDAC}">
              <c15:datalabelsRange>
                <c15:f>Sheet1!$E$2:$E$50</c15:f>
                <c15:dlblRangeCache>
                  <c:ptCount val="49"/>
                  <c:pt idx="0">
                    <c:v>Toastinette Cheddar Fondu Tranche A Chaud Sachet 1X200Gr 10P</c:v>
                  </c:pt>
                  <c:pt idx="1">
                    <c:v>Toastinette Fromage Fondu Tranche A Chaud Sachet 1X200Gr 1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94763CC-FB64-4487-ACD6-ABDADD93A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431DA257-D124-4E51-ACD4-F9908038FD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DCA98254-7329-4A98-AD75-0C74AA942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A5BC5F3-E57B-496A-9F02-8BA3A30A2D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543DBDE-F194-4646-8782-E121F84A4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93129DD-0633-4A81-AE90-40241166F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5C73356-725F-4F99-911C-591277759C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9059999999999998</c:v>
                </c:pt>
              </c:numCache>
            </c:numRef>
          </c:xVal>
          <c:yVal>
            <c:numRef>
              <c:f>Sheet1!$B$2:$B$2</c:f>
              <c:numCache>
                <c:formatCode>General</c:formatCode>
                <c:ptCount val="1"/>
                <c:pt idx="0">
                  <c:v>2491</c:v>
                </c:pt>
              </c:numCache>
            </c:numRef>
          </c:yVal>
          <c:bubbleSize>
            <c:numRef>
              <c:f>Sheet1!$C$2:$C$2</c:f>
              <c:numCache>
                <c:formatCode>General</c:formatCode>
                <c:ptCount val="1"/>
                <c:pt idx="0">
                  <c:v>38486.522599999997</c:v>
                </c:pt>
              </c:numCache>
            </c:numRef>
          </c:bubbleSize>
          <c:bubble3D val="0"/>
          <c:extLst>
            <c:ext xmlns:c15="http://schemas.microsoft.com/office/drawing/2012/chart" uri="{02D57815-91ED-43cb-92C2-25804820EDAC}">
              <c15:datalabelsRange>
                <c15:f>Sheet1!$E$2:$E$50</c15:f>
                <c15:dlblRangeCache>
                  <c:ptCount val="49"/>
                  <c:pt idx="0">
                    <c:v>Boursin Cuisine Sauce Fromage Afh 1X240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0FC5DB9-2B00-4BD4-9A18-AC16435DB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6BDE95E0-321A-4B86-8BBA-4C8984566C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F422756D-A3B2-49FA-88EC-850A58B411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FBEC4A3-028B-473A-93D8-92531EB69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186EE7A-670E-4FC7-8162-B907795FD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0F41DB7-648D-4242-BA12-7DDBC2FA4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F7E4AE6-446A-4AF2-96CB-5C38C5AA92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9429999999999998</c:v>
                </c:pt>
              </c:numCache>
            </c:numRef>
          </c:xVal>
          <c:yVal>
            <c:numRef>
              <c:f>Sheet1!$B$2:$B$2</c:f>
              <c:numCache>
                <c:formatCode>General</c:formatCode>
                <c:ptCount val="1"/>
                <c:pt idx="0">
                  <c:v>5857.977272727273</c:v>
                </c:pt>
              </c:numCache>
            </c:numRef>
          </c:yVal>
          <c:bubbleSize>
            <c:numRef>
              <c:f>Sheet1!$C$2:$C$2</c:f>
              <c:numCache>
                <c:formatCode>General</c:formatCode>
                <c:ptCount val="1"/>
                <c:pt idx="0">
                  <c:v>295950.19549999997</c:v>
                </c:pt>
              </c:numCache>
            </c:numRef>
          </c:bubbleSize>
          <c:bubble3D val="0"/>
          <c:extLst>
            <c:ext xmlns:c15="http://schemas.microsoft.com/office/drawing/2012/chart" uri="{02D57815-91ED-43cb-92C2-25804820EDAC}">
              <c15:datalabelsRange>
                <c15:f>Sheet1!$E$2:$E$50</c15:f>
                <c15:dlblRangeCache>
                  <c:ptCount val="49"/>
                  <c:pt idx="0">
                    <c:v>Boursin Cuisine Sauce Fromage Afh 1X240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98228DA-D003-4DC1-8E92-ACD5C101A2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40856B56-82AA-41DD-AE25-27E599482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1500EDDA-4430-490D-97F8-96D39569E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4A8510B-257C-4796-911D-F9DD471F18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67C1626-B820-4623-8A45-2BDE3AD085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484E245-0521-4257-A5A0-8D689F5C5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23AD28A-5173-4BCC-823C-DEB4E84F1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37209999999999999</c:v>
                </c:pt>
              </c:numCache>
            </c:numRef>
          </c:xVal>
          <c:yVal>
            <c:numRef>
              <c:f>Sheet1!$B$2:$B$2</c:f>
              <c:numCache>
                <c:formatCode>General</c:formatCode>
                <c:ptCount val="1"/>
                <c:pt idx="0">
                  <c:v>819.71875</c:v>
                </c:pt>
              </c:numCache>
            </c:numRef>
          </c:yVal>
          <c:bubbleSize>
            <c:numRef>
              <c:f>Sheet1!$C$2:$C$2</c:f>
              <c:numCache>
                <c:formatCode>General</c:formatCode>
                <c:ptCount val="1"/>
                <c:pt idx="0">
                  <c:v>46837.77350000001</c:v>
                </c:pt>
              </c:numCache>
            </c:numRef>
          </c:bubbleSize>
          <c:bubble3D val="0"/>
          <c:extLst>
            <c:ext xmlns:c15="http://schemas.microsoft.com/office/drawing/2012/chart" uri="{02D57815-91ED-43cb-92C2-25804820EDAC}">
              <c15:datalabelsRange>
                <c15:f>Sheet1!$E$2:$E$50</c15:f>
                <c15:dlblRangeCache>
                  <c:ptCount val="49"/>
                  <c:pt idx="0">
                    <c:v>Boursin Cuisine Sauce Fromage Afh 1X240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2E92FF3-6C10-413C-AFF5-13198BD244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39386E15-B080-482C-B142-46857A3F4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6DE30A3F-4981-4B6F-8563-851399BC2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8913F93-D412-4281-AE15-275A123AF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79B940D-7B78-43B0-82D8-FE0C7BC959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93F2A21-5CC1-49FB-B1BE-5C8D418E7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EC0E5DC-6E4A-42CC-9137-A50152DB76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43059999999999998</c:v>
                </c:pt>
              </c:numCache>
            </c:numRef>
          </c:xVal>
          <c:yVal>
            <c:numRef>
              <c:f>Sheet1!$B$2:$B$2</c:f>
              <c:numCache>
                <c:formatCode>General</c:formatCode>
                <c:ptCount val="1"/>
                <c:pt idx="0">
                  <c:v>1571.2876712328771</c:v>
                </c:pt>
              </c:numCache>
            </c:numRef>
          </c:yVal>
          <c:bubbleSize>
            <c:numRef>
              <c:f>Sheet1!$C$2:$C$2</c:f>
              <c:numCache>
                <c:formatCode>General</c:formatCode>
                <c:ptCount val="1"/>
                <c:pt idx="0">
                  <c:v>61903.722800000003</c:v>
                </c:pt>
              </c:numCache>
            </c:numRef>
          </c:bubbleSize>
          <c:bubble3D val="0"/>
          <c:extLst>
            <c:ext xmlns:c15="http://schemas.microsoft.com/office/drawing/2012/chart" uri="{02D57815-91ED-43cb-92C2-25804820EDAC}">
              <c15:datalabelsRange>
                <c15:f>Sheet1!$E$2:$E$50</c15:f>
                <c15:dlblRangeCache>
                  <c:ptCount val="49"/>
                  <c:pt idx="0">
                    <c:v>Boursin Cuisine Sauce Fromage Afh 1X240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5E0D8CB-05CA-4CB3-9E8C-B15E6B71F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6BDE8F0-DEF3-412B-AB6F-D7C122FDA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1749988-5135-484B-BD4C-7445AD048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5FFCB8C-F9DC-473B-BF2B-51491C5305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34B5C4E-EBC3-4A39-9205-1D47047FAC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DFA204F-AB40-4DD0-A693-D96D984CDF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B4B3B9A-0324-4063-ABBC-A59D0A2A92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37940000000000002</c:v>
                </c:pt>
                <c:pt idx="1">
                  <c:v>0.3014</c:v>
                </c:pt>
                <c:pt idx="2">
                  <c:v>0.2631</c:v>
                </c:pt>
                <c:pt idx="3">
                  <c:v>0.35049999999999998</c:v>
                </c:pt>
                <c:pt idx="4">
                  <c:v>0.35210000000000002</c:v>
                </c:pt>
                <c:pt idx="5">
                  <c:v>0.39889999999999998</c:v>
                </c:pt>
                <c:pt idx="6">
                  <c:v>0.33850000000000002</c:v>
                </c:pt>
              </c:numCache>
            </c:numRef>
          </c:xVal>
          <c:yVal>
            <c:numRef>
              <c:f>Sheet1!$B$2:$B$8</c:f>
              <c:numCache>
                <c:formatCode>General</c:formatCode>
                <c:ptCount val="7"/>
                <c:pt idx="0">
                  <c:v>81394.755784061694</c:v>
                </c:pt>
                <c:pt idx="1">
                  <c:v>42862.613908872903</c:v>
                </c:pt>
                <c:pt idx="2">
                  <c:v>16379.70670391062</c:v>
                </c:pt>
                <c:pt idx="3">
                  <c:v>47708.959595959597</c:v>
                </c:pt>
                <c:pt idx="4">
                  <c:v>5967.6095617529882</c:v>
                </c:pt>
                <c:pt idx="5">
                  <c:v>34465.816649104323</c:v>
                </c:pt>
                <c:pt idx="6">
                  <c:v>25172.049180327871</c:v>
                </c:pt>
              </c:numCache>
            </c:numRef>
          </c:yVal>
          <c:bubbleSize>
            <c:numRef>
              <c:f>Sheet1!$C$2:$C$8</c:f>
              <c:numCache>
                <c:formatCode>General</c:formatCode>
                <c:ptCount val="7"/>
                <c:pt idx="0">
                  <c:v>3725061.8516000011</c:v>
                </c:pt>
                <c:pt idx="1">
                  <c:v>2366962.6518000001</c:v>
                </c:pt>
                <c:pt idx="2">
                  <c:v>819173.43059999985</c:v>
                </c:pt>
                <c:pt idx="3">
                  <c:v>2907579.7757999999</c:v>
                </c:pt>
                <c:pt idx="4">
                  <c:v>183986.73240000001</c:v>
                </c:pt>
                <c:pt idx="5">
                  <c:v>1863564.0796999999</c:v>
                </c:pt>
                <c:pt idx="6">
                  <c:v>1155386.3507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09970EE-96E7-41BC-BFEF-DE6F697A0D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AEE0D5E-E8C7-4202-9937-BFDEB1562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6C4D987-3B28-4F6F-9FC4-F51E60315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C44E9DA-F1C8-4991-B644-4CFE4A8621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696A602-8C87-4D8F-A17A-D2B0E6AECF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CFFC5A9-50E7-4B4C-973C-39A4E71DF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CA608F3-86CD-4AAB-B10D-A63C0AAED9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43109999999999998</c:v>
                </c:pt>
                <c:pt idx="1">
                  <c:v>0.41099999999999998</c:v>
                </c:pt>
                <c:pt idx="2">
                  <c:v>0.25490000000000002</c:v>
                </c:pt>
                <c:pt idx="3">
                  <c:v>0.3306</c:v>
                </c:pt>
                <c:pt idx="4">
                  <c:v>0.3155</c:v>
                </c:pt>
                <c:pt idx="5">
                  <c:v>0.37190000000000001</c:v>
                </c:pt>
                <c:pt idx="6">
                  <c:v>0.41449999999999998</c:v>
                </c:pt>
                <c:pt idx="7">
                  <c:v>0.56910000000000005</c:v>
                </c:pt>
                <c:pt idx="8">
                  <c:v>0.48430000000000001</c:v>
                </c:pt>
                <c:pt idx="9">
                  <c:v>0.36270000000000002</c:v>
                </c:pt>
                <c:pt idx="10">
                  <c:v>0.33939999999999998</c:v>
                </c:pt>
              </c:numCache>
            </c:numRef>
          </c:xVal>
          <c:yVal>
            <c:numRef>
              <c:f>Sheet1!$B$2:$B$12</c:f>
              <c:numCache>
                <c:formatCode>General</c:formatCode>
                <c:ptCount val="11"/>
                <c:pt idx="0">
                  <c:v>8120.5405405405409</c:v>
                </c:pt>
                <c:pt idx="1">
                  <c:v>64775.474006116208</c:v>
                </c:pt>
                <c:pt idx="2">
                  <c:v>19364.593103448271</c:v>
                </c:pt>
                <c:pt idx="3">
                  <c:v>72823.240534521159</c:v>
                </c:pt>
                <c:pt idx="4">
                  <c:v>143117.4607013301</c:v>
                </c:pt>
                <c:pt idx="5">
                  <c:v>7373.9595959595963</c:v>
                </c:pt>
                <c:pt idx="6">
                  <c:v>22077.01729106628</c:v>
                </c:pt>
                <c:pt idx="7">
                  <c:v>29388.75</c:v>
                </c:pt>
                <c:pt idx="8">
                  <c:v>3280.8506224066391</c:v>
                </c:pt>
                <c:pt idx="9">
                  <c:v>19583.832599118941</c:v>
                </c:pt>
                <c:pt idx="10">
                  <c:v>10205.71428571429</c:v>
                </c:pt>
              </c:numCache>
            </c:numRef>
          </c:yVal>
          <c:bubbleSize>
            <c:numRef>
              <c:f>Sheet1!$C$2:$C$12</c:f>
              <c:numCache>
                <c:formatCode>General</c:formatCode>
                <c:ptCount val="11"/>
                <c:pt idx="0">
                  <c:v>16203.212299999999</c:v>
                </c:pt>
                <c:pt idx="1">
                  <c:v>3547845.7534999992</c:v>
                </c:pt>
                <c:pt idx="2">
                  <c:v>991517.41429999995</c:v>
                </c:pt>
                <c:pt idx="3">
                  <c:v>4149231.1453999998</c:v>
                </c:pt>
                <c:pt idx="4">
                  <c:v>7678155.8173000012</c:v>
                </c:pt>
                <c:pt idx="5">
                  <c:v>217318.38440000001</c:v>
                </c:pt>
                <c:pt idx="6">
                  <c:v>850339.46379999991</c:v>
                </c:pt>
                <c:pt idx="7">
                  <c:v>9602.1797999999999</c:v>
                </c:pt>
                <c:pt idx="8">
                  <c:v>77295.212800000008</c:v>
                </c:pt>
                <c:pt idx="9">
                  <c:v>1074236.973</c:v>
                </c:pt>
                <c:pt idx="10">
                  <c:v>277329.53539999999</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Nature Fromage Fondu Boite Ronde 1X128Gr 8P</c:v>
                  </c:pt>
                  <c:pt idx="7">
                    <c:v>La Vache Qui Rit Pik Et Croq' Fromage Fondu Dips Boite 1X35Gr 1P</c:v>
                  </c:pt>
                  <c:pt idx="8">
                    <c:v>La Vache Qui Rit Bio Fromage Fondu Boite Ronde 1X128Gr 8P</c:v>
                  </c:pt>
                  <c:pt idx="9">
                    <c:v>La Vache Qui Rit Pik Et Croq' Fromage Fondu Dips Boite 1X175Gr 5P</c:v>
                  </c:pt>
                  <c:pt idx="10">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D429945-76AD-4244-BBD4-FAA675BDA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306D5C9-EA68-41A6-A418-9FA216264C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D0C252E-C368-4E2D-BEFF-03E4747582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4E27774-850B-4FF5-A9A7-59CA1EDB10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46066F2-9649-4E19-9615-3ADF0D8F2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033E951-9D26-486A-8D6B-4CDB1139B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B9DAA87-7C57-4E89-ADBA-8F7F67335C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4849999999999998</c:v>
                </c:pt>
                <c:pt idx="1">
                  <c:v>0.32590000000000002</c:v>
                </c:pt>
                <c:pt idx="2">
                  <c:v>0.27950000000000003</c:v>
                </c:pt>
                <c:pt idx="3">
                  <c:v>0.34939999999999999</c:v>
                </c:pt>
                <c:pt idx="4">
                  <c:v>0.47739999999999999</c:v>
                </c:pt>
                <c:pt idx="5">
                  <c:v>0.36840000000000001</c:v>
                </c:pt>
                <c:pt idx="6">
                  <c:v>0.3639</c:v>
                </c:pt>
                <c:pt idx="7">
                  <c:v>0.49390000000000001</c:v>
                </c:pt>
              </c:numCache>
            </c:numRef>
          </c:xVal>
          <c:yVal>
            <c:numRef>
              <c:f>Sheet1!$B$2:$B$9</c:f>
              <c:numCache>
                <c:formatCode>General</c:formatCode>
                <c:ptCount val="8"/>
                <c:pt idx="0">
                  <c:v>43360.813008130077</c:v>
                </c:pt>
                <c:pt idx="1">
                  <c:v>45724.892307692309</c:v>
                </c:pt>
                <c:pt idx="2">
                  <c:v>3357.0257037943702</c:v>
                </c:pt>
                <c:pt idx="3">
                  <c:v>25786.988809766019</c:v>
                </c:pt>
                <c:pt idx="4">
                  <c:v>7090.9286898839136</c:v>
                </c:pt>
                <c:pt idx="5">
                  <c:v>20585.647298674819</c:v>
                </c:pt>
                <c:pt idx="6">
                  <c:v>27675.493562231761</c:v>
                </c:pt>
                <c:pt idx="7">
                  <c:v>5504.0773809523807</c:v>
                </c:pt>
              </c:numCache>
            </c:numRef>
          </c:yVal>
          <c:bubbleSize>
            <c:numRef>
              <c:f>Sheet1!$C$2:$C$9</c:f>
              <c:numCache>
                <c:formatCode>General</c:formatCode>
                <c:ptCount val="8"/>
                <c:pt idx="0">
                  <c:v>2305421.665</c:v>
                </c:pt>
                <c:pt idx="1">
                  <c:v>2848455.0869</c:v>
                </c:pt>
                <c:pt idx="2">
                  <c:v>187301.984</c:v>
                </c:pt>
                <c:pt idx="3">
                  <c:v>1563209.9702000001</c:v>
                </c:pt>
                <c:pt idx="4">
                  <c:v>211804.0281</c:v>
                </c:pt>
                <c:pt idx="5">
                  <c:v>1209085.3938</c:v>
                </c:pt>
                <c:pt idx="6">
                  <c:v>1555147.5876</c:v>
                </c:pt>
                <c:pt idx="7">
                  <c:v>177451.4127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pt idx="7">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Kiri</c:v>
                </c:pt>
                <c:pt idx="2">
                  <c:v>Mini Babybel</c:v>
                </c:pt>
                <c:pt idx="3">
                  <c:v>Private Label</c:v>
                </c:pt>
                <c:pt idx="4">
                  <c:v>Ficello</c:v>
                </c:pt>
                <c:pt idx="5">
                  <c:v>P'Tit Louis</c:v>
                </c:pt>
                <c:pt idx="6">
                  <c:v>Others</c:v>
                </c:pt>
              </c:strCache>
            </c:strRef>
          </c:cat>
          <c:val>
            <c:numRef>
              <c:f>Sheet1!$B$2:$B$8</c:f>
              <c:numCache>
                <c:formatCode>General</c:formatCode>
                <c:ptCount val="7"/>
                <c:pt idx="0">
                  <c:v>0.32869398106931474</c:v>
                </c:pt>
                <c:pt idx="1">
                  <c:v>0.2297766886177145</c:v>
                </c:pt>
                <c:pt idx="2">
                  <c:v>0.22810911694786623</c:v>
                </c:pt>
                <c:pt idx="3">
                  <c:v>0.11660926998015506</c:v>
                </c:pt>
                <c:pt idx="4">
                  <c:v>7.5476793277350657E-2</c:v>
                </c:pt>
                <c:pt idx="5">
                  <c:v>2.1300817967435649E-2</c:v>
                </c:pt>
                <c:pt idx="6">
                  <c:v>3.3332140163127163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Kiri</c:v>
                </c:pt>
                <c:pt idx="2">
                  <c:v>Mini Babybel</c:v>
                </c:pt>
                <c:pt idx="3">
                  <c:v>Private Label</c:v>
                </c:pt>
                <c:pt idx="4">
                  <c:v>Ficello</c:v>
                </c:pt>
                <c:pt idx="5">
                  <c:v>P'Tit Louis</c:v>
                </c:pt>
                <c:pt idx="6">
                  <c:v>Others</c:v>
                </c:pt>
              </c:strCache>
            </c:strRef>
          </c:cat>
          <c:val>
            <c:numRef>
              <c:f>Sheet1!$C$2:$C$8</c:f>
              <c:numCache>
                <c:formatCode>General</c:formatCode>
                <c:ptCount val="7"/>
                <c:pt idx="0">
                  <c:v>0.2160278745644599</c:v>
                </c:pt>
                <c:pt idx="1">
                  <c:v>0.18302930928468952</c:v>
                </c:pt>
                <c:pt idx="2">
                  <c:v>0.26439844230375076</c:v>
                </c:pt>
                <c:pt idx="3">
                  <c:v>0.14921090387374464</c:v>
                </c:pt>
                <c:pt idx="4">
                  <c:v>0.10043041606886657</c:v>
                </c:pt>
                <c:pt idx="5">
                  <c:v>8.6698093871695012E-2</c:v>
                </c:pt>
                <c:pt idx="6">
                  <c:v>2.0496003279360525E-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Kiri</c:v>
                </c:pt>
                <c:pt idx="2">
                  <c:v>Mini Babybel</c:v>
                </c:pt>
                <c:pt idx="3">
                  <c:v>Private Label</c:v>
                </c:pt>
                <c:pt idx="4">
                  <c:v>Ficello</c:v>
                </c:pt>
                <c:pt idx="5">
                  <c:v>P'Tit Louis</c:v>
                </c:pt>
                <c:pt idx="6">
                  <c:v>Others</c:v>
                </c:pt>
              </c:strCache>
            </c:strRef>
          </c:cat>
          <c:val>
            <c:numRef>
              <c:f>Sheet1!$D$2:$D$8</c:f>
              <c:numCache>
                <c:formatCode>General</c:formatCode>
                <c:ptCount val="7"/>
                <c:pt idx="0">
                  <c:v>65.72310021061935</c:v>
                </c:pt>
                <c:pt idx="1">
                  <c:v>79.655299406459889</c:v>
                </c:pt>
                <c:pt idx="2">
                  <c:v>115.90875710775661</c:v>
                </c:pt>
                <c:pt idx="3">
                  <c:v>127.95801217102023</c:v>
                </c:pt>
                <c:pt idx="4">
                  <c:v>133.06131819858871</c:v>
                </c:pt>
                <c:pt idx="5">
                  <c:v>407.01767417682123</c:v>
                </c:pt>
                <c:pt idx="6">
                  <c:v>614.902108867096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28FA6EA-2C00-45FF-9198-9D48D0572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BD7CA94-B22B-4FA3-82FE-1D783244E6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20C1BC4-5173-44AB-ACA8-5761C021A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BCD9995-5576-4AC6-859D-C9F62D008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D37C85D-44D1-498C-8972-617BEF9AF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96E66AF-99E4-4458-B167-8A08257172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4944B95-B65F-4F0D-B8C3-B096DACB6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55130000000000001</c:v>
                </c:pt>
                <c:pt idx="1">
                  <c:v>0.3977</c:v>
                </c:pt>
                <c:pt idx="2">
                  <c:v>0.24640000000000001</c:v>
                </c:pt>
                <c:pt idx="3">
                  <c:v>0.35820000000000002</c:v>
                </c:pt>
                <c:pt idx="4">
                  <c:v>0.32750000000000001</c:v>
                </c:pt>
                <c:pt idx="5">
                  <c:v>0.43259999999999998</c:v>
                </c:pt>
                <c:pt idx="6">
                  <c:v>0.42409999999999998</c:v>
                </c:pt>
                <c:pt idx="7">
                  <c:v>0.49440000000000001</c:v>
                </c:pt>
              </c:numCache>
            </c:numRef>
          </c:xVal>
          <c:yVal>
            <c:numRef>
              <c:f>Sheet1!$B$2:$B$9</c:f>
              <c:numCache>
                <c:formatCode>General</c:formatCode>
                <c:ptCount val="8"/>
                <c:pt idx="0">
                  <c:v>6740.5301914580259</c:v>
                </c:pt>
                <c:pt idx="1">
                  <c:v>61730.220440881763</c:v>
                </c:pt>
                <c:pt idx="2">
                  <c:v>1325.194805194805</c:v>
                </c:pt>
                <c:pt idx="3">
                  <c:v>52226.907545164722</c:v>
                </c:pt>
                <c:pt idx="4">
                  <c:v>79341.235480464631</c:v>
                </c:pt>
                <c:pt idx="5">
                  <c:v>10304.161712247331</c:v>
                </c:pt>
                <c:pt idx="6">
                  <c:v>14262.722513089009</c:v>
                </c:pt>
                <c:pt idx="7">
                  <c:v>14741.66273584906</c:v>
                </c:pt>
              </c:numCache>
            </c:numRef>
          </c:yVal>
          <c:bubbleSize>
            <c:numRef>
              <c:f>Sheet1!$C$2:$C$9</c:f>
              <c:numCache>
                <c:formatCode>General</c:formatCode>
                <c:ptCount val="8"/>
                <c:pt idx="0">
                  <c:v>194639.24890000001</c:v>
                </c:pt>
                <c:pt idx="1">
                  <c:v>3516863.661400001</c:v>
                </c:pt>
                <c:pt idx="2">
                  <c:v>21865.780599999991</c:v>
                </c:pt>
                <c:pt idx="3">
                  <c:v>2989794.8149000001</c:v>
                </c:pt>
                <c:pt idx="4">
                  <c:v>4789467.3874000004</c:v>
                </c:pt>
                <c:pt idx="5">
                  <c:v>466038.12929999991</c:v>
                </c:pt>
                <c:pt idx="6">
                  <c:v>743356.49009999994</c:v>
                </c:pt>
                <c:pt idx="7">
                  <c:v>599065.13089999976</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Pik Et Croq' Fromage Fondu Dips Boite 1X175Gr 5P</c:v>
                  </c:pt>
                  <c:pt idx="7">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8CE3202-1FF1-4614-8427-8C1E7DE854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812618B-6B49-443F-B730-E97DA9445F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34269D3-8251-4920-88E7-C1D958EBE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FA60027-A8E9-4A67-B3E2-28E9433FB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1D5C335-7D6D-47B2-88F3-027880FB7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C6161B0-1DBD-4EC2-B1D5-C4EB1554B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9C116A8-858A-4B5A-9CEC-DD95AF24C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36849999999999999</c:v>
                </c:pt>
                <c:pt idx="1">
                  <c:v>0.29260000000000003</c:v>
                </c:pt>
                <c:pt idx="2">
                  <c:v>0.25950000000000001</c:v>
                </c:pt>
                <c:pt idx="3">
                  <c:v>0.28560000000000002</c:v>
                </c:pt>
                <c:pt idx="4">
                  <c:v>0.3478</c:v>
                </c:pt>
                <c:pt idx="5">
                  <c:v>0.31780000000000003</c:v>
                </c:pt>
                <c:pt idx="6">
                  <c:v>0.32940000000000003</c:v>
                </c:pt>
              </c:numCache>
            </c:numRef>
          </c:xVal>
          <c:yVal>
            <c:numRef>
              <c:f>Sheet1!$B$2:$B$8</c:f>
              <c:numCache>
                <c:formatCode>General</c:formatCode>
                <c:ptCount val="7"/>
                <c:pt idx="0">
                  <c:v>45589.414141414141</c:v>
                </c:pt>
                <c:pt idx="1">
                  <c:v>19457.759999999998</c:v>
                </c:pt>
                <c:pt idx="2">
                  <c:v>8238.3469387755104</c:v>
                </c:pt>
                <c:pt idx="3">
                  <c:v>11794.45</c:v>
                </c:pt>
                <c:pt idx="4">
                  <c:v>1891.373333333333</c:v>
                </c:pt>
                <c:pt idx="5">
                  <c:v>14911.01</c:v>
                </c:pt>
                <c:pt idx="6">
                  <c:v>11125.101010101011</c:v>
                </c:pt>
              </c:numCache>
            </c:numRef>
          </c:yVal>
          <c:bubbleSize>
            <c:numRef>
              <c:f>Sheet1!$C$2:$C$8</c:f>
              <c:numCache>
                <c:formatCode>General</c:formatCode>
                <c:ptCount val="7"/>
                <c:pt idx="0">
                  <c:v>2701473.5923000001</c:v>
                </c:pt>
                <c:pt idx="1">
                  <c:v>1304656.6438</c:v>
                </c:pt>
                <c:pt idx="2">
                  <c:v>566708.10480000009</c:v>
                </c:pt>
                <c:pt idx="3">
                  <c:v>798628.68059999996</c:v>
                </c:pt>
                <c:pt idx="4">
                  <c:v>87696.779200000004</c:v>
                </c:pt>
                <c:pt idx="5">
                  <c:v>964173.1054</c:v>
                </c:pt>
                <c:pt idx="6">
                  <c:v>700106.70720000006</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F1FC5A6-5829-49C5-869F-213E6D641C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A561870-6B66-44B3-9AE1-0FB41AFEFF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A6D5279-FBD3-4CBD-9D7A-556A2629E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869AC33-9D65-44B1-922D-F784B37F2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07D1482-7D62-49A7-8F3E-29C303626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02BB5A2-3EE7-460C-AE05-1FD8CA1965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961AB40-A09A-4370-9F08-1B37E6456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43109999999999998</c:v>
                </c:pt>
                <c:pt idx="1">
                  <c:v>0.36609999999999998</c:v>
                </c:pt>
                <c:pt idx="2">
                  <c:v>0.25650000000000001</c:v>
                </c:pt>
                <c:pt idx="3">
                  <c:v>0.29049999999999998</c:v>
                </c:pt>
                <c:pt idx="4">
                  <c:v>0.3044</c:v>
                </c:pt>
                <c:pt idx="5">
                  <c:v>0.371</c:v>
                </c:pt>
                <c:pt idx="6">
                  <c:v>0.4083</c:v>
                </c:pt>
                <c:pt idx="7">
                  <c:v>0.47270000000000001</c:v>
                </c:pt>
                <c:pt idx="8">
                  <c:v>0.28360000000000002</c:v>
                </c:pt>
                <c:pt idx="9">
                  <c:v>0.33939999999999998</c:v>
                </c:pt>
              </c:numCache>
            </c:numRef>
          </c:xVal>
          <c:yVal>
            <c:numRef>
              <c:f>Sheet1!$B$2:$B$11</c:f>
              <c:numCache>
                <c:formatCode>General</c:formatCode>
                <c:ptCount val="10"/>
                <c:pt idx="0">
                  <c:v>3755.75</c:v>
                </c:pt>
                <c:pt idx="1">
                  <c:v>16701.66</c:v>
                </c:pt>
                <c:pt idx="2">
                  <c:v>9848.9468085106382</c:v>
                </c:pt>
                <c:pt idx="3">
                  <c:v>29213.62</c:v>
                </c:pt>
                <c:pt idx="4">
                  <c:v>82610.363636363632</c:v>
                </c:pt>
                <c:pt idx="5">
                  <c:v>3117.8720930232562</c:v>
                </c:pt>
                <c:pt idx="6">
                  <c:v>8213.010638297872</c:v>
                </c:pt>
                <c:pt idx="7">
                  <c:v>999.73170731707319</c:v>
                </c:pt>
                <c:pt idx="8">
                  <c:v>7241.72</c:v>
                </c:pt>
                <c:pt idx="9">
                  <c:v>4657.1894736842096</c:v>
                </c:pt>
              </c:numCache>
            </c:numRef>
          </c:yVal>
          <c:bubbleSize>
            <c:numRef>
              <c:f>Sheet1!$C$2:$C$11</c:f>
              <c:numCache>
                <c:formatCode>General</c:formatCode>
                <c:ptCount val="10"/>
                <c:pt idx="0">
                  <c:v>16203.212299999999</c:v>
                </c:pt>
                <c:pt idx="1">
                  <c:v>1003580.1054999999</c:v>
                </c:pt>
                <c:pt idx="2">
                  <c:v>652434.56669999997</c:v>
                </c:pt>
                <c:pt idx="3">
                  <c:v>1964518.6340999999</c:v>
                </c:pt>
                <c:pt idx="4">
                  <c:v>5392409.5773</c:v>
                </c:pt>
                <c:pt idx="5">
                  <c:v>159865.11799999999</c:v>
                </c:pt>
                <c:pt idx="6">
                  <c:v>433001.46350000001</c:v>
                </c:pt>
                <c:pt idx="7">
                  <c:v>40975.859999999993</c:v>
                </c:pt>
                <c:pt idx="8">
                  <c:v>491761.31099999999</c:v>
                </c:pt>
                <c:pt idx="9">
                  <c:v>277013.40789999999</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Nature Fromage Fondu Boite Ronde 1X128Gr 8P</c:v>
                  </c:pt>
                  <c:pt idx="7">
                    <c:v>La Vache Qui Rit Bio Fromage Fondu Boite Ronde 1X128Gr 8P</c:v>
                  </c:pt>
                  <c:pt idx="8">
                    <c:v>La Vache Qui Rit Pik Et Croq' Fromage Fondu Dips Boite 1X175Gr 5P</c:v>
                  </c:pt>
                  <c:pt idx="9">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C5D9277-8DC4-470D-ADEF-0FC77EE54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767FA72-E378-489C-9E37-41EC1D4D5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75CC161-B2B2-4089-A40D-DF83FB760D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CE16478-C996-4428-8869-B0A1B658D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EF03B35-DACC-48FF-AB05-11EBD47876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75BF710-028C-4F7A-B0E3-762C1AC238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1CF1777-5601-4187-9690-2C77410EB0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40629999999999999</c:v>
                </c:pt>
                <c:pt idx="1">
                  <c:v>0.31119999999999998</c:v>
                </c:pt>
                <c:pt idx="2">
                  <c:v>0.27110000000000001</c:v>
                </c:pt>
                <c:pt idx="3">
                  <c:v>0.2873</c:v>
                </c:pt>
                <c:pt idx="4">
                  <c:v>0.35589999999999999</c:v>
                </c:pt>
                <c:pt idx="5">
                  <c:v>0.41860000000000003</c:v>
                </c:pt>
                <c:pt idx="6">
                  <c:v>0.35120000000000001</c:v>
                </c:pt>
              </c:numCache>
            </c:numRef>
          </c:xVal>
          <c:yVal>
            <c:numRef>
              <c:f>Sheet1!$B$2:$B$8</c:f>
              <c:numCache>
                <c:formatCode>General</c:formatCode>
                <c:ptCount val="7"/>
                <c:pt idx="0">
                  <c:v>21137</c:v>
                </c:pt>
                <c:pt idx="1">
                  <c:v>16372.639175257729</c:v>
                </c:pt>
                <c:pt idx="2">
                  <c:v>5146.8873239436616</c:v>
                </c:pt>
                <c:pt idx="3">
                  <c:v>11937.040404040399</c:v>
                </c:pt>
                <c:pt idx="4">
                  <c:v>3755.261904761905</c:v>
                </c:pt>
                <c:pt idx="5">
                  <c:v>9403.7474747474753</c:v>
                </c:pt>
                <c:pt idx="6">
                  <c:v>9956.6438356164381</c:v>
                </c:pt>
              </c:numCache>
            </c:numRef>
          </c:yVal>
          <c:bubbleSize>
            <c:numRef>
              <c:f>Sheet1!$C$2:$C$8</c:f>
              <c:numCache>
                <c:formatCode>General</c:formatCode>
                <c:ptCount val="7"/>
                <c:pt idx="0">
                  <c:v>1022986.8484</c:v>
                </c:pt>
                <c:pt idx="1">
                  <c:v>1036852.9036</c:v>
                </c:pt>
                <c:pt idx="2">
                  <c:v>252465.32579999999</c:v>
                </c:pt>
                <c:pt idx="3">
                  <c:v>798333.04369999992</c:v>
                </c:pt>
                <c:pt idx="4">
                  <c:v>96289.953199999989</c:v>
                </c:pt>
                <c:pt idx="5">
                  <c:v>513060.90409999993</c:v>
                </c:pt>
                <c:pt idx="6">
                  <c:v>446982.82140000002</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CC0105B-66A0-4AC3-BDF3-68A780959D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19C92CD-C691-475B-8888-335A6CB482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700B7E1-7303-4551-AB61-AF85C44780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42CC4EF-798B-4F24-A28C-FD2016669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DC26592-E98B-4F07-8F53-71FB3B076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40F1A70-AB03-49DA-B463-B2A61948FA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E9D1604-639E-4D1B-9A72-DC7CD2E1B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836</c:v>
                </c:pt>
                <c:pt idx="1">
                  <c:v>0.25169999999999998</c:v>
                </c:pt>
                <c:pt idx="2">
                  <c:v>0.32369999999999999</c:v>
                </c:pt>
                <c:pt idx="3">
                  <c:v>0.34</c:v>
                </c:pt>
                <c:pt idx="4">
                  <c:v>0.37419999999999998</c:v>
                </c:pt>
                <c:pt idx="5">
                  <c:v>0.41060000000000002</c:v>
                </c:pt>
                <c:pt idx="6">
                  <c:v>0.48559999999999998</c:v>
                </c:pt>
                <c:pt idx="7">
                  <c:v>0.38269999999999998</c:v>
                </c:pt>
              </c:numCache>
            </c:numRef>
          </c:xVal>
          <c:yVal>
            <c:numRef>
              <c:f>Sheet1!$B$2:$B$9</c:f>
              <c:numCache>
                <c:formatCode>General</c:formatCode>
                <c:ptCount val="8"/>
                <c:pt idx="0">
                  <c:v>19283.14141414141</c:v>
                </c:pt>
                <c:pt idx="1">
                  <c:v>6125.9615384615381</c:v>
                </c:pt>
                <c:pt idx="2">
                  <c:v>23908.927083333328</c:v>
                </c:pt>
                <c:pt idx="3">
                  <c:v>36882.898989898989</c:v>
                </c:pt>
                <c:pt idx="4">
                  <c:v>3586</c:v>
                </c:pt>
                <c:pt idx="5">
                  <c:v>9583.0909090909099</c:v>
                </c:pt>
                <c:pt idx="6">
                  <c:v>1907.64</c:v>
                </c:pt>
                <c:pt idx="7">
                  <c:v>6300.7113402061859</c:v>
                </c:pt>
              </c:numCache>
            </c:numRef>
          </c:yVal>
          <c:bubbleSize>
            <c:numRef>
              <c:f>Sheet1!$C$2:$C$9</c:f>
              <c:numCache>
                <c:formatCode>General</c:formatCode>
                <c:ptCount val="8"/>
                <c:pt idx="0">
                  <c:v>1115386.6605</c:v>
                </c:pt>
                <c:pt idx="1">
                  <c:v>338910.8653</c:v>
                </c:pt>
                <c:pt idx="2">
                  <c:v>1471281.0649000001</c:v>
                </c:pt>
                <c:pt idx="3">
                  <c:v>2282886.3753999998</c:v>
                </c:pt>
                <c:pt idx="4">
                  <c:v>57429.013199999987</c:v>
                </c:pt>
                <c:pt idx="5">
                  <c:v>353367.2169</c:v>
                </c:pt>
                <c:pt idx="6">
                  <c:v>23255.5641</c:v>
                </c:pt>
                <c:pt idx="7">
                  <c:v>357582.02799999999</c:v>
                </c:pt>
              </c:numCache>
            </c:numRef>
          </c:bubbleSize>
          <c:bubble3D val="0"/>
          <c:extLst>
            <c:ext xmlns:c15="http://schemas.microsoft.com/office/drawing/2012/chart" uri="{02D57815-91ED-43cb-92C2-25804820EDAC}">
              <c15:datalabelsRange>
                <c15:f>Sheet1!$E$2:$E$50</c15:f>
                <c15:dlblRangeCache>
                  <c:ptCount val="49"/>
                  <c:pt idx="0">
                    <c:v>La Vache Qui Rit Nature Fromage Fondu Boite Ronde 1X192Gr 12P</c:v>
                  </c:pt>
                  <c:pt idx="1">
                    <c:v>La Vache Qui Rit Nature Fromage Fondu Boite Ronde 1X512Gr 24+8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Nature Fromage Fondu Boite Ronde 1X128Gr 8P</c:v>
                  </c:pt>
                  <c:pt idx="6">
                    <c:v>La Vache Qui Rit Bio Fromage Fondu Boite Ronde 1X128Gr 8P</c:v>
                  </c:pt>
                  <c:pt idx="7">
                    <c:v>La Vache Qui Rit Pik Et Croq' Fromage Fondu Dips Boite 1X175Gr 5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2B9EBD5-83B7-4E5E-9F71-D1D8E4B04D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9390335-2CA8-4A44-819C-E9CB597F5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BF93EE7-86CA-405C-97A0-C79DCD97E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730DE51-16DF-4C49-80C6-814B6B90C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2E458574-FF05-411D-B8CD-9123EAC016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43A581D-F207-442F-A58A-C312536DE4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02EEA14-25D7-4C69-907D-92375D1E25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3422</c:v>
                </c:pt>
                <c:pt idx="1">
                  <c:v>0.41460000000000002</c:v>
                </c:pt>
                <c:pt idx="2">
                  <c:v>0.51980000000000004</c:v>
                </c:pt>
                <c:pt idx="3">
                  <c:v>0.39100000000000001</c:v>
                </c:pt>
              </c:numCache>
            </c:numRef>
          </c:xVal>
          <c:yVal>
            <c:numRef>
              <c:f>Sheet1!$B$2:$B$5</c:f>
              <c:numCache>
                <c:formatCode>General</c:formatCode>
                <c:ptCount val="4"/>
                <c:pt idx="0">
                  <c:v>6803.333333333333</c:v>
                </c:pt>
                <c:pt idx="1">
                  <c:v>24603.90625</c:v>
                </c:pt>
                <c:pt idx="2">
                  <c:v>11954</c:v>
                </c:pt>
                <c:pt idx="3">
                  <c:v>7187</c:v>
                </c:pt>
              </c:numCache>
            </c:numRef>
          </c:yVal>
          <c:bubbleSize>
            <c:numRef>
              <c:f>Sheet1!$C$2:$C$5</c:f>
              <c:numCache>
                <c:formatCode>General</c:formatCode>
                <c:ptCount val="4"/>
                <c:pt idx="0">
                  <c:v>25453.1044</c:v>
                </c:pt>
                <c:pt idx="1">
                  <c:v>1310618.0515000001</c:v>
                </c:pt>
                <c:pt idx="2">
                  <c:v>386330.07020000002</c:v>
                </c:pt>
                <c:pt idx="3">
                  <c:v>8296.8222000000005</c:v>
                </c:pt>
              </c:numCache>
            </c:numRef>
          </c:bubbleSize>
          <c:bubble3D val="0"/>
          <c:extLst>
            <c:ext xmlns:c15="http://schemas.microsoft.com/office/drawing/2012/chart" uri="{02D57815-91ED-43cb-92C2-25804820EDAC}">
              <c15:datalabelsRange>
                <c15:f>Sheet1!$E$2:$E$50</c15:f>
                <c15:dlblRangeCache>
                  <c:ptCount val="49"/>
                  <c:pt idx="0">
                    <c:v>Kiri Creme Fromage Blanc Frais Carre 1X216Gr 12P</c:v>
                  </c:pt>
                  <c:pt idx="1">
                    <c:v>Kiri Creme Fromage Blanc Frais Carre 1X144Gr 8P</c:v>
                  </c:pt>
                  <c:pt idx="2">
                    <c:v>Kiri Gouter Fromage Blanc Dips Boite 1X175Gr 5P</c:v>
                  </c:pt>
                  <c:pt idx="3">
                    <c:v>Kiri Gouter Fromage Blanc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F360FE9-0F22-45FB-8784-37AA92E1D7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89B4AA0-7063-400E-A0F4-C215E7163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69747BE-78EE-469A-8C95-1A35E09745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485213C-48AF-4DC0-910B-0920CF38D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6B3D2D5F-973D-47EB-AB21-34D2C0E9FE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1E6913A-4599-446B-B241-33F859C4E6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160BD69-70B1-4E92-B9AC-52B08AB1AE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5679999999999998</c:v>
                </c:pt>
                <c:pt idx="1">
                  <c:v>0.43099999999999999</c:v>
                </c:pt>
                <c:pt idx="2">
                  <c:v>0.47120000000000001</c:v>
                </c:pt>
                <c:pt idx="3">
                  <c:v>0.56910000000000005</c:v>
                </c:pt>
                <c:pt idx="4">
                  <c:v>0.51590000000000003</c:v>
                </c:pt>
                <c:pt idx="5">
                  <c:v>0.46429999999999999</c:v>
                </c:pt>
              </c:numCache>
            </c:numRef>
          </c:xVal>
          <c:yVal>
            <c:numRef>
              <c:f>Sheet1!$B$2:$B$7</c:f>
              <c:numCache>
                <c:formatCode>General</c:formatCode>
                <c:ptCount val="6"/>
                <c:pt idx="0">
                  <c:v>30497.54945054945</c:v>
                </c:pt>
                <c:pt idx="1">
                  <c:v>28146.97872340426</c:v>
                </c:pt>
                <c:pt idx="2">
                  <c:v>14182</c:v>
                </c:pt>
                <c:pt idx="3">
                  <c:v>4702.2</c:v>
                </c:pt>
                <c:pt idx="4">
                  <c:v>3558.5</c:v>
                </c:pt>
                <c:pt idx="5">
                  <c:v>8683.745098039215</c:v>
                </c:pt>
              </c:numCache>
            </c:numRef>
          </c:yVal>
          <c:bubbleSize>
            <c:numRef>
              <c:f>Sheet1!$C$2:$C$7</c:f>
              <c:numCache>
                <c:formatCode>General</c:formatCode>
                <c:ptCount val="6"/>
                <c:pt idx="0">
                  <c:v>1428878.9875</c:v>
                </c:pt>
                <c:pt idx="1">
                  <c:v>713431.4463999999</c:v>
                </c:pt>
                <c:pt idx="2">
                  <c:v>63970.783399999993</c:v>
                </c:pt>
                <c:pt idx="3">
                  <c:v>9602.1797999999999</c:v>
                </c:pt>
                <c:pt idx="4">
                  <c:v>13063.788699999999</c:v>
                </c:pt>
                <c:pt idx="5">
                  <c:v>224893.63399999999</c:v>
                </c:pt>
              </c:numCache>
            </c:numRef>
          </c:bubbleSize>
          <c:bubble3D val="0"/>
          <c:extLst>
            <c:ext xmlns:c15="http://schemas.microsoft.com/office/drawing/2012/chart" uri="{02D57815-91ED-43cb-92C2-25804820EDAC}">
              <c15:datalabelsRange>
                <c15:f>Sheet1!$E$2:$E$50</c15:f>
                <c15:dlblRangeCache>
                  <c:ptCount val="49"/>
                  <c:pt idx="0">
                    <c:v>La Vache Qui Rit Nature Fromage Fondu Boite Ronde 1X192Gr 12P</c:v>
                  </c:pt>
                  <c:pt idx="1">
                    <c:v>La Vache Qui Rit Nature Fromage Fondu Boite Ronde 1X384Gr 24P</c:v>
                  </c:pt>
                  <c:pt idx="2">
                    <c:v>La Vache Qui Rit Nature Fromage Fondu Boite Ronde 1X128Gr 8P</c:v>
                  </c:pt>
                  <c:pt idx="3">
                    <c:v>La Vache Qui Rit Pik Et Croq' Fromage Fondu Dips Boite 1X35Gr 1P</c:v>
                  </c:pt>
                  <c:pt idx="4">
                    <c:v>La Vache Qui Rit Bio Fromage Fondu Boite Ronde 1X128Gr 8P</c:v>
                  </c:pt>
                  <c:pt idx="5">
                    <c:v>La Vache Qui Rit Pik Et Croq' Fromage Fondu Dips Boite 1X175Gr 5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40C7DE5-0D9F-4F67-A04B-4EFB151811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6EF38FC-09B6-4BAC-8986-05F39E17DB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97CA3A4-5178-4599-8B70-525CF4242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7AC288C-9EEC-4324-9E2B-83BD2FD27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593E05C-2B4C-488F-A2BD-5D1B4E7D0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A1552BD-9605-4A45-9544-67DCA2D20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B94B871-E8F1-4529-9161-75C1D99781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468</c:v>
                </c:pt>
                <c:pt idx="1">
                  <c:v>0.3231</c:v>
                </c:pt>
                <c:pt idx="2">
                  <c:v>0.2797</c:v>
                </c:pt>
                <c:pt idx="3">
                  <c:v>0.34410000000000002</c:v>
                </c:pt>
                <c:pt idx="4">
                  <c:v>0.47489999999999999</c:v>
                </c:pt>
                <c:pt idx="5">
                  <c:v>0.36549999999999999</c:v>
                </c:pt>
                <c:pt idx="6">
                  <c:v>0.36370000000000002</c:v>
                </c:pt>
                <c:pt idx="7">
                  <c:v>0.49349999999999999</c:v>
                </c:pt>
              </c:numCache>
            </c:numRef>
          </c:xVal>
          <c:yVal>
            <c:numRef>
              <c:f>Sheet1!$B$2:$B$9</c:f>
              <c:numCache>
                <c:formatCode>General</c:formatCode>
                <c:ptCount val="8"/>
                <c:pt idx="0">
                  <c:v>32269.033707865168</c:v>
                </c:pt>
                <c:pt idx="1">
                  <c:v>33468.141414141413</c:v>
                </c:pt>
                <c:pt idx="2">
                  <c:v>2418.6506024096379</c:v>
                </c:pt>
                <c:pt idx="3">
                  <c:v>18609.404040404039</c:v>
                </c:pt>
                <c:pt idx="4">
                  <c:v>5208.2666666666664</c:v>
                </c:pt>
                <c:pt idx="5">
                  <c:v>14583.53535353535</c:v>
                </c:pt>
                <c:pt idx="6">
                  <c:v>20546</c:v>
                </c:pt>
                <c:pt idx="7">
                  <c:v>4180.2941176470586</c:v>
                </c:pt>
              </c:numCache>
            </c:numRef>
          </c:yVal>
          <c:bubbleSize>
            <c:numRef>
              <c:f>Sheet1!$C$2:$C$9</c:f>
              <c:numCache>
                <c:formatCode>General</c:formatCode>
                <c:ptCount val="8"/>
                <c:pt idx="0">
                  <c:v>1778045.8265</c:v>
                </c:pt>
                <c:pt idx="1">
                  <c:v>2125742.0899999989</c:v>
                </c:pt>
                <c:pt idx="2">
                  <c:v>137063.24</c:v>
                </c:pt>
                <c:pt idx="3">
                  <c:v>1145425.8885999999</c:v>
                </c:pt>
                <c:pt idx="4">
                  <c:v>155551.09090000001</c:v>
                </c:pt>
                <c:pt idx="5">
                  <c:v>868378.01190000016</c:v>
                </c:pt>
                <c:pt idx="6">
                  <c:v>1189534.4426</c:v>
                </c:pt>
                <c:pt idx="7">
                  <c:v>136467.6223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pt idx="7">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607F264-1890-488F-8DCC-7FDA1A965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4C4D2DF-9438-4FBD-B8C1-44390FDA65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4C58D3B-62EB-4D02-A3EF-63D19B010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A6489FB-83C0-41C5-BFA4-4F4532D63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4955E9B-92B8-4D17-8FB3-4D3C66A6B0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4958657-239E-439A-B3D1-E0A1A476D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AB3B8FB-65C5-484D-B89A-CDA769A2D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54959999999999998</c:v>
                </c:pt>
                <c:pt idx="1">
                  <c:v>0.39600000000000002</c:v>
                </c:pt>
                <c:pt idx="2">
                  <c:v>0.2455</c:v>
                </c:pt>
                <c:pt idx="3">
                  <c:v>0.35460000000000003</c:v>
                </c:pt>
                <c:pt idx="4">
                  <c:v>0.32069999999999999</c:v>
                </c:pt>
                <c:pt idx="5">
                  <c:v>0.42880000000000001</c:v>
                </c:pt>
                <c:pt idx="6">
                  <c:v>0.41899999999999998</c:v>
                </c:pt>
                <c:pt idx="7">
                  <c:v>0.49299999999999999</c:v>
                </c:pt>
              </c:numCache>
            </c:numRef>
          </c:xVal>
          <c:yVal>
            <c:numRef>
              <c:f>Sheet1!$B$2:$B$9</c:f>
              <c:numCache>
                <c:formatCode>General</c:formatCode>
                <c:ptCount val="8"/>
                <c:pt idx="0">
                  <c:v>5071.260869565217</c:v>
                </c:pt>
                <c:pt idx="1">
                  <c:v>45209.37</c:v>
                </c:pt>
                <c:pt idx="2">
                  <c:v>990.84</c:v>
                </c:pt>
                <c:pt idx="3">
                  <c:v>38529.474226804123</c:v>
                </c:pt>
                <c:pt idx="4">
                  <c:v>58923.051020408173</c:v>
                </c:pt>
                <c:pt idx="5">
                  <c:v>7595.7816091954019</c:v>
                </c:pt>
                <c:pt idx="6">
                  <c:v>10108</c:v>
                </c:pt>
                <c:pt idx="7">
                  <c:v>10818.426966292131</c:v>
                </c:pt>
              </c:numCache>
            </c:numRef>
          </c:yVal>
          <c:bubbleSize>
            <c:numRef>
              <c:f>Sheet1!$C$2:$C$9</c:f>
              <c:numCache>
                <c:formatCode>General</c:formatCode>
                <c:ptCount val="8"/>
                <c:pt idx="0">
                  <c:v>149402.61679999999</c:v>
                </c:pt>
                <c:pt idx="1">
                  <c:v>2588083.3026000001</c:v>
                </c:pt>
                <c:pt idx="2">
                  <c:v>17714.815999999999</c:v>
                </c:pt>
                <c:pt idx="3">
                  <c:v>2286448.1486</c:v>
                </c:pt>
                <c:pt idx="4">
                  <c:v>3717874.867000001</c:v>
                </c:pt>
                <c:pt idx="5">
                  <c:v>357809.57189999998</c:v>
                </c:pt>
                <c:pt idx="6">
                  <c:v>539914.27400000009</c:v>
                </c:pt>
                <c:pt idx="7">
                  <c:v>462723.12060000002</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Pik Et Croq' Fromage Fondu Dips Boite 1X175Gr 5P</c:v>
                  </c:pt>
                  <c:pt idx="7">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00B8B33-130D-4350-A9D0-74F43442DB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26E1A6D-78F8-47BF-BE6B-C6029B9F2F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621EAB7-193A-4380-B8D5-77825457A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E303AE6-1DA5-4590-80A6-E3B59953E8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0808650-B176-45C0-B055-C3A0367CFF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E35E771-E933-4893-A799-085E9F7D2C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4D6B160-4737-4CC5-A9DF-042E91525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3879999999999999</c:v>
                </c:pt>
                <c:pt idx="1">
                  <c:v>0.31680000000000003</c:v>
                </c:pt>
                <c:pt idx="2">
                  <c:v>0.27760000000000001</c:v>
                </c:pt>
                <c:pt idx="3">
                  <c:v>0.3322</c:v>
                </c:pt>
                <c:pt idx="4">
                  <c:v>0.4536</c:v>
                </c:pt>
                <c:pt idx="5">
                  <c:v>0.34920000000000001</c:v>
                </c:pt>
                <c:pt idx="6">
                  <c:v>0.3422</c:v>
                </c:pt>
                <c:pt idx="7">
                  <c:v>0.47920000000000001</c:v>
                </c:pt>
              </c:numCache>
            </c:numRef>
          </c:xVal>
          <c:yVal>
            <c:numRef>
              <c:f>Sheet1!$B$2:$B$9</c:f>
              <c:numCache>
                <c:formatCode>General</c:formatCode>
                <c:ptCount val="8"/>
                <c:pt idx="0">
                  <c:v>5970.0202020202023</c:v>
                </c:pt>
                <c:pt idx="1">
                  <c:v>5841.94</c:v>
                </c:pt>
                <c:pt idx="2">
                  <c:v>409.38297872340428</c:v>
                </c:pt>
                <c:pt idx="3">
                  <c:v>2915.26</c:v>
                </c:pt>
                <c:pt idx="4">
                  <c:v>698.28735632183907</c:v>
                </c:pt>
                <c:pt idx="5">
                  <c:v>2549.27</c:v>
                </c:pt>
                <c:pt idx="6">
                  <c:v>3761.1111111111109</c:v>
                </c:pt>
                <c:pt idx="7">
                  <c:v>614.63636363636363</c:v>
                </c:pt>
              </c:numCache>
            </c:numRef>
          </c:yVal>
          <c:bubbleSize>
            <c:numRef>
              <c:f>Sheet1!$C$2:$C$9</c:f>
              <c:numCache>
                <c:formatCode>General</c:formatCode>
                <c:ptCount val="8"/>
                <c:pt idx="0">
                  <c:v>370398.33669999999</c:v>
                </c:pt>
                <c:pt idx="1">
                  <c:v>378320.91930000001</c:v>
                </c:pt>
                <c:pt idx="2">
                  <c:v>26351.341199999999</c:v>
                </c:pt>
                <c:pt idx="3">
                  <c:v>184535.56640000001</c:v>
                </c:pt>
                <c:pt idx="4">
                  <c:v>31463.4509</c:v>
                </c:pt>
                <c:pt idx="5">
                  <c:v>157253.7329</c:v>
                </c:pt>
                <c:pt idx="6">
                  <c:v>232148.01389999999</c:v>
                </c:pt>
                <c:pt idx="7">
                  <c:v>26698.09019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pt idx="7">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B$2:$B$8</c:f>
              <c:numCache>
                <c:formatCode>General</c:formatCode>
                <c:ptCount val="7"/>
                <c:pt idx="0">
                  <c:v>0.30158989699479111</c:v>
                </c:pt>
                <c:pt idx="1">
                  <c:v>0.24064716475410985</c:v>
                </c:pt>
                <c:pt idx="2">
                  <c:v>0.21003418865142254</c:v>
                </c:pt>
                <c:pt idx="3">
                  <c:v>0.13291820049045136</c:v>
                </c:pt>
                <c:pt idx="4">
                  <c:v>9.2855418100293241E-2</c:v>
                </c:pt>
                <c:pt idx="5">
                  <c:v>2.1903016053763772E-2</c:v>
                </c:pt>
                <c:pt idx="6">
                  <c:v>5.2114955168109818E-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C$2:$C$8</c:f>
              <c:numCache>
                <c:formatCode>General</c:formatCode>
                <c:ptCount val="7"/>
                <c:pt idx="0">
                  <c:v>0.23237919359803016</c:v>
                </c:pt>
                <c:pt idx="1">
                  <c:v>0.21883656509695287</c:v>
                </c:pt>
                <c:pt idx="2">
                  <c:v>0.20283164050477068</c:v>
                </c:pt>
                <c:pt idx="3">
                  <c:v>0.16066481994459836</c:v>
                </c:pt>
                <c:pt idx="4">
                  <c:v>9.2951677439212066E-2</c:v>
                </c:pt>
                <c:pt idx="5">
                  <c:v>9.2028316405047703E-2</c:v>
                </c:pt>
                <c:pt idx="6">
                  <c:v>3.0778701138811941E-4</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D$2:$D$8</c:f>
              <c:numCache>
                <c:formatCode>General</c:formatCode>
                <c:ptCount val="7"/>
                <c:pt idx="0">
                  <c:v>77.051385312832181</c:v>
                </c:pt>
                <c:pt idx="1">
                  <c:v>90.936689539042447</c:v>
                </c:pt>
                <c:pt idx="2">
                  <c:v>96.570773456979722</c:v>
                </c:pt>
                <c:pt idx="3">
                  <c:v>120.87495869772948</c:v>
                </c:pt>
                <c:pt idx="4">
                  <c:v>100.10366582897173</c:v>
                </c:pt>
                <c:pt idx="5">
                  <c:v>420.1627583121537</c:v>
                </c:pt>
                <c:pt idx="6">
                  <c:v>590.5924899969220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1CA3BD2-1127-4874-9EB7-455AC1D27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888633D-6A30-4562-A95D-F2AE5BC080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BDEA311-89ED-48FA-A14B-DC3D1A48EB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9B470B1-0B97-4889-98C1-94FC497898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FAD123B-9BBF-4F92-A6EE-B0E7334D99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F052103-E279-4966-A191-EB790E6087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4941274-BB08-4086-B1FC-C8BFC927F4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54720000000000002</c:v>
                </c:pt>
                <c:pt idx="1">
                  <c:v>0.3992</c:v>
                </c:pt>
                <c:pt idx="2">
                  <c:v>0.25109999999999999</c:v>
                </c:pt>
                <c:pt idx="3">
                  <c:v>0.35410000000000003</c:v>
                </c:pt>
                <c:pt idx="4">
                  <c:v>0.3362</c:v>
                </c:pt>
                <c:pt idx="5">
                  <c:v>0.41639999999999999</c:v>
                </c:pt>
                <c:pt idx="6">
                  <c:v>0.41560000000000002</c:v>
                </c:pt>
                <c:pt idx="7">
                  <c:v>0.49020000000000002</c:v>
                </c:pt>
              </c:numCache>
            </c:numRef>
          </c:xVal>
          <c:yVal>
            <c:numRef>
              <c:f>Sheet1!$B$2:$B$9</c:f>
              <c:numCache>
                <c:formatCode>General</c:formatCode>
                <c:ptCount val="8"/>
                <c:pt idx="0">
                  <c:v>817.85869565217388</c:v>
                </c:pt>
                <c:pt idx="1">
                  <c:v>7702.77</c:v>
                </c:pt>
                <c:pt idx="2">
                  <c:v>177.34375</c:v>
                </c:pt>
                <c:pt idx="3">
                  <c:v>6931.8</c:v>
                </c:pt>
                <c:pt idx="4">
                  <c:v>11429.494949494951</c:v>
                </c:pt>
                <c:pt idx="5">
                  <c:v>1169.907216494845</c:v>
                </c:pt>
                <c:pt idx="6">
                  <c:v>2091.7979797979801</c:v>
                </c:pt>
                <c:pt idx="7">
                  <c:v>2261.1836734693879</c:v>
                </c:pt>
              </c:numCache>
            </c:numRef>
          </c:yVal>
          <c:bubbleSize>
            <c:numRef>
              <c:f>Sheet1!$C$2:$C$9</c:f>
              <c:numCache>
                <c:formatCode>General</c:formatCode>
                <c:ptCount val="8"/>
                <c:pt idx="0">
                  <c:v>32294.258999999998</c:v>
                </c:pt>
                <c:pt idx="1">
                  <c:v>438659.83460000012</c:v>
                </c:pt>
                <c:pt idx="2">
                  <c:v>4028.5585999999998</c:v>
                </c:pt>
                <c:pt idx="3">
                  <c:v>424371.35280000011</c:v>
                </c:pt>
                <c:pt idx="4">
                  <c:v>711959.80920000002</c:v>
                </c:pt>
                <c:pt idx="5">
                  <c:v>62773.410600000003</c:v>
                </c:pt>
                <c:pt idx="6">
                  <c:v>114703.4375</c:v>
                </c:pt>
                <c:pt idx="7">
                  <c:v>107086.9621</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Pik Et Croq' Fromage Fondu Dips Boite 1X175Gr 5P</c:v>
                  </c:pt>
                  <c:pt idx="7">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5E45425-C8C1-424E-A106-5920F5B495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4600577-3E30-43FF-9678-0EDD12F03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2FDC83A-0BC7-4874-B770-7AE50566E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2964F7A-892B-40AE-807F-A5314547A2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1EBF367-68DC-495E-97A0-8C70236DE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81A93EA-6CDD-4DF9-A4E3-2EA63284E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B4BC4A1-8826-49AF-B5BA-55F0B9D599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8750000000000001</c:v>
                </c:pt>
                <c:pt idx="1">
                  <c:v>0.35189999999999999</c:v>
                </c:pt>
                <c:pt idx="2">
                  <c:v>0.28079999999999999</c:v>
                </c:pt>
                <c:pt idx="3">
                  <c:v>0.38629999999999998</c:v>
                </c:pt>
                <c:pt idx="4">
                  <c:v>0.51870000000000005</c:v>
                </c:pt>
                <c:pt idx="5">
                  <c:v>0.39660000000000001</c:v>
                </c:pt>
                <c:pt idx="6">
                  <c:v>0.39979999999999999</c:v>
                </c:pt>
                <c:pt idx="7">
                  <c:v>0.52190000000000003</c:v>
                </c:pt>
              </c:numCache>
            </c:numRef>
          </c:xVal>
          <c:yVal>
            <c:numRef>
              <c:f>Sheet1!$B$2:$B$9</c:f>
              <c:numCache>
                <c:formatCode>General</c:formatCode>
                <c:ptCount val="8"/>
                <c:pt idx="0">
                  <c:v>5199.8076923076924</c:v>
                </c:pt>
                <c:pt idx="1">
                  <c:v>6595.7294117647061</c:v>
                </c:pt>
                <c:pt idx="2">
                  <c:v>593.88135593220341</c:v>
                </c:pt>
                <c:pt idx="3">
                  <c:v>4358.739130434783</c:v>
                </c:pt>
                <c:pt idx="4">
                  <c:v>1752.7741935483871</c:v>
                </c:pt>
                <c:pt idx="5">
                  <c:v>3563.9444444444439</c:v>
                </c:pt>
                <c:pt idx="6">
                  <c:v>3449.8529411764712</c:v>
                </c:pt>
                <c:pt idx="7">
                  <c:v>829.63157894736844</c:v>
                </c:pt>
              </c:numCache>
            </c:numRef>
          </c:yVal>
          <c:bubbleSize>
            <c:numRef>
              <c:f>Sheet1!$C$2:$C$9</c:f>
              <c:numCache>
                <c:formatCode>General</c:formatCode>
                <c:ptCount val="8"/>
                <c:pt idx="0">
                  <c:v>156977.5018</c:v>
                </c:pt>
                <c:pt idx="1">
                  <c:v>344392.07760000002</c:v>
                </c:pt>
                <c:pt idx="2">
                  <c:v>23887.4028</c:v>
                </c:pt>
                <c:pt idx="3">
                  <c:v>233248.51519999999</c:v>
                </c:pt>
                <c:pt idx="4">
                  <c:v>24789.4863</c:v>
                </c:pt>
                <c:pt idx="5">
                  <c:v>183453.649</c:v>
                </c:pt>
                <c:pt idx="6">
                  <c:v>133465.1311</c:v>
                </c:pt>
                <c:pt idx="7">
                  <c:v>14285.700199999999</c:v>
                </c:pt>
              </c:numCache>
            </c:numRef>
          </c:bubbleSize>
          <c:bubble3D val="0"/>
          <c:extLst>
            <c:ext xmlns:c15="http://schemas.microsoft.com/office/drawing/2012/chart" uri="{02D57815-91ED-43cb-92C2-25804820EDAC}">
              <c15:datalabelsRange>
                <c15:f>Sheet1!$E$2:$E$50</c15:f>
                <c15:dlblRangeCache>
                  <c:ptCount val="49"/>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pt idx="7">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E823AC3-D7C1-4208-A6D3-35B40E0FC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E864FC5-C43B-4289-ABD7-08B249C926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9AEE06A-6A60-47FE-B5E2-760F0DD4E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E837562-ED3C-4CE8-9BC2-8748A8A26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3FCEA73-768F-4CB5-AA56-7DFDF0FF9B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8F52D39-8500-4788-B431-C4BA65FB96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168DE21-1376-4BBC-B757-6B90D053A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58020000000000005</c:v>
                </c:pt>
                <c:pt idx="1">
                  <c:v>0.40529999999999999</c:v>
                </c:pt>
                <c:pt idx="2">
                  <c:v>0.39190000000000003</c:v>
                </c:pt>
                <c:pt idx="3">
                  <c:v>0.37559999999999999</c:v>
                </c:pt>
                <c:pt idx="4">
                  <c:v>0.4803</c:v>
                </c:pt>
                <c:pt idx="5">
                  <c:v>0.4627</c:v>
                </c:pt>
                <c:pt idx="6">
                  <c:v>0.52990000000000004</c:v>
                </c:pt>
              </c:numCache>
            </c:numRef>
          </c:xVal>
          <c:yVal>
            <c:numRef>
              <c:f>Sheet1!$B$2:$B$8</c:f>
              <c:numCache>
                <c:formatCode>General</c:formatCode>
                <c:ptCount val="7"/>
                <c:pt idx="0">
                  <c:v>985.5151515151515</c:v>
                </c:pt>
                <c:pt idx="1">
                  <c:v>8872.0612244897966</c:v>
                </c:pt>
                <c:pt idx="2">
                  <c:v>7117.838235294118</c:v>
                </c:pt>
                <c:pt idx="3">
                  <c:v>8935.823529411764</c:v>
                </c:pt>
                <c:pt idx="4">
                  <c:v>1845.32</c:v>
                </c:pt>
                <c:pt idx="5">
                  <c:v>2128.3658536585372</c:v>
                </c:pt>
                <c:pt idx="6">
                  <c:v>1563.261904761905</c:v>
                </c:pt>
              </c:numCache>
            </c:numRef>
          </c:yVal>
          <c:bubbleSize>
            <c:numRef>
              <c:f>Sheet1!$C$2:$C$8</c:f>
              <c:numCache>
                <c:formatCode>General</c:formatCode>
                <c:ptCount val="7"/>
                <c:pt idx="0">
                  <c:v>12942.373100000001</c:v>
                </c:pt>
                <c:pt idx="1">
                  <c:v>490120.52419999999</c:v>
                </c:pt>
                <c:pt idx="2">
                  <c:v>278975.31349999999</c:v>
                </c:pt>
                <c:pt idx="3">
                  <c:v>359632.71120000002</c:v>
                </c:pt>
                <c:pt idx="4">
                  <c:v>45455.146800000002</c:v>
                </c:pt>
                <c:pt idx="5">
                  <c:v>88738.778599999991</c:v>
                </c:pt>
                <c:pt idx="6">
                  <c:v>29255.048200000001</c:v>
                </c:pt>
              </c:numCache>
            </c:numRef>
          </c:bubbleSize>
          <c:bubble3D val="0"/>
          <c:extLst>
            <c:ext xmlns:c15="http://schemas.microsoft.com/office/drawing/2012/chart" uri="{02D57815-91ED-43cb-92C2-25804820EDAC}">
              <c15:datalabelsRange>
                <c15:f>Sheet1!$E$2:$E$50</c15:f>
                <c15:dlblRangeCache>
                  <c:ptCount val="49"/>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AF350D8-3488-4D16-AC50-482E6675E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DD4E6BE-E51C-48E9-A557-CC92F46E04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DF9C1FF-FA22-44C3-BC92-6820FB877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B137048-A3C5-4FE8-8323-5B068CF8E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444C31AE-590E-4046-89C7-42695C01E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93E05F6-18EB-4A32-9300-A7B7ABB3D2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5047925-850B-49A3-997E-DA4013AAF3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42080000000000001</c:v>
                </c:pt>
                <c:pt idx="1">
                  <c:v>0.40210000000000001</c:v>
                </c:pt>
                <c:pt idx="2">
                  <c:v>0.38840000000000002</c:v>
                </c:pt>
              </c:numCache>
            </c:numRef>
          </c:xVal>
          <c:yVal>
            <c:numRef>
              <c:f>Sheet1!$B$2:$B$4</c:f>
              <c:numCache>
                <c:formatCode>General</c:formatCode>
                <c:ptCount val="3"/>
                <c:pt idx="0">
                  <c:v>9290.7881136950891</c:v>
                </c:pt>
                <c:pt idx="1">
                  <c:v>7421.5241057542771</c:v>
                </c:pt>
                <c:pt idx="2">
                  <c:v>5613.8606676342533</c:v>
                </c:pt>
              </c:numCache>
            </c:numRef>
          </c:yVal>
          <c:bubbleSize>
            <c:numRef>
              <c:f>Sheet1!$C$2:$C$4</c:f>
              <c:numCache>
                <c:formatCode>General</c:formatCode>
                <c:ptCount val="3"/>
                <c:pt idx="0">
                  <c:v>394784.88339999999</c:v>
                </c:pt>
                <c:pt idx="1">
                  <c:v>270428.12439999997</c:v>
                </c:pt>
                <c:pt idx="2">
                  <c:v>224227.94260000001</c:v>
                </c:pt>
              </c:numCache>
            </c:numRef>
          </c:bubbleSize>
          <c:bubble3D val="0"/>
          <c:extLst>
            <c:ext xmlns:c15="http://schemas.microsoft.com/office/drawing/2012/chart" uri="{02D57815-91ED-43cb-92C2-25804820EDAC}">
              <c15:datalabelsRange>
                <c15:f>Sheet1!$E$2:$E$50</c15:f>
                <c15:dlblRangeCache>
                  <c:ptCount val="49"/>
                  <c:pt idx="0">
                    <c:v>Kiri Delicieusement Fouette Fromage Frais A Tartiner 1X125Gr 1P</c:v>
                  </c:pt>
                  <c:pt idx="1">
                    <c:v>Kiri Delicieusement Fouette Fromage Frais A Tartiner 1X210Gr 1P</c:v>
                  </c:pt>
                  <c:pt idx="2">
                    <c:v>Kiri Delicieusement Fouette Fromage Frais A Tartiner 1X160Gr 1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8692BE4-7164-40D0-BD4D-83402D2A97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E886E59-8BE8-40B6-9F2C-4E40E1B66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4CF965C-3C69-41C9-886B-5FA3CC9B59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64C485F-691C-4962-9408-4F54D1197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17F8970-3A61-43D3-8CBE-1276C8540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699FB77-8652-4950-9AFE-4972C59337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1610D24-14CA-4B4D-A980-408058D4B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0.3483</c:v>
                </c:pt>
                <c:pt idx="1">
                  <c:v>0.307</c:v>
                </c:pt>
                <c:pt idx="2">
                  <c:v>0.3422</c:v>
                </c:pt>
                <c:pt idx="3">
                  <c:v>0.34489999999999998</c:v>
                </c:pt>
                <c:pt idx="4">
                  <c:v>0.3775</c:v>
                </c:pt>
                <c:pt idx="5">
                  <c:v>0.35499999999999998</c:v>
                </c:pt>
                <c:pt idx="6">
                  <c:v>0.52400000000000002</c:v>
                </c:pt>
                <c:pt idx="7">
                  <c:v>0.45950000000000002</c:v>
                </c:pt>
                <c:pt idx="8">
                  <c:v>0.31900000000000001</c:v>
                </c:pt>
                <c:pt idx="9">
                  <c:v>0.37180000000000002</c:v>
                </c:pt>
                <c:pt idx="10">
                  <c:v>0.35110000000000002</c:v>
                </c:pt>
                <c:pt idx="11">
                  <c:v>0.24660000000000001</c:v>
                </c:pt>
                <c:pt idx="12">
                  <c:v>0.43590000000000001</c:v>
                </c:pt>
                <c:pt idx="13">
                  <c:v>0.3392</c:v>
                </c:pt>
                <c:pt idx="14">
                  <c:v>0.38400000000000001</c:v>
                </c:pt>
                <c:pt idx="15">
                  <c:v>0.50129999999999997</c:v>
                </c:pt>
                <c:pt idx="16">
                  <c:v>0.52449999999999997</c:v>
                </c:pt>
              </c:numCache>
            </c:numRef>
          </c:xVal>
          <c:yVal>
            <c:numRef>
              <c:f>Sheet1!$B$2:$B$18</c:f>
              <c:numCache>
                <c:formatCode>General</c:formatCode>
                <c:ptCount val="17"/>
                <c:pt idx="0">
                  <c:v>36210.382513661199</c:v>
                </c:pt>
                <c:pt idx="1">
                  <c:v>912.44318181818176</c:v>
                </c:pt>
                <c:pt idx="2">
                  <c:v>35111.053719008269</c:v>
                </c:pt>
                <c:pt idx="3">
                  <c:v>8691.4627994955863</c:v>
                </c:pt>
                <c:pt idx="4">
                  <c:v>956.90802348336592</c:v>
                </c:pt>
                <c:pt idx="5">
                  <c:v>6379.6974063400576</c:v>
                </c:pt>
                <c:pt idx="6">
                  <c:v>1782.271880819367</c:v>
                </c:pt>
                <c:pt idx="7">
                  <c:v>1204.459102902375</c:v>
                </c:pt>
                <c:pt idx="8">
                  <c:v>3167.5167785234898</c:v>
                </c:pt>
                <c:pt idx="9">
                  <c:v>2165.5472636815921</c:v>
                </c:pt>
                <c:pt idx="10">
                  <c:v>11865.907429963459</c:v>
                </c:pt>
                <c:pt idx="11">
                  <c:v>4761.8113207547167</c:v>
                </c:pt>
                <c:pt idx="12">
                  <c:v>1840.8</c:v>
                </c:pt>
                <c:pt idx="13">
                  <c:v>25830.86903304774</c:v>
                </c:pt>
                <c:pt idx="14">
                  <c:v>7665.3875968992243</c:v>
                </c:pt>
                <c:pt idx="15">
                  <c:v>2258.3985765124548</c:v>
                </c:pt>
                <c:pt idx="16">
                  <c:v>502.59259259259261</c:v>
                </c:pt>
              </c:numCache>
            </c:numRef>
          </c:yVal>
          <c:bubbleSize>
            <c:numRef>
              <c:f>Sheet1!$C$2:$C$18</c:f>
              <c:numCache>
                <c:formatCode>General</c:formatCode>
                <c:ptCount val="17"/>
                <c:pt idx="0">
                  <c:v>2046825.7823000001</c:v>
                </c:pt>
                <c:pt idx="1">
                  <c:v>31644.144499999999</c:v>
                </c:pt>
                <c:pt idx="2">
                  <c:v>2119021.4544000002</c:v>
                </c:pt>
                <c:pt idx="3">
                  <c:v>427959.80719999998</c:v>
                </c:pt>
                <c:pt idx="4">
                  <c:v>28852.473999999998</c:v>
                </c:pt>
                <c:pt idx="5">
                  <c:v>270671.19300000009</c:v>
                </c:pt>
                <c:pt idx="6">
                  <c:v>43181.377599999993</c:v>
                </c:pt>
                <c:pt idx="7">
                  <c:v>23385.416400000009</c:v>
                </c:pt>
                <c:pt idx="8">
                  <c:v>91396.574100000013</c:v>
                </c:pt>
                <c:pt idx="9">
                  <c:v>51837.37920000001</c:v>
                </c:pt>
                <c:pt idx="10">
                  <c:v>599204.3587000001</c:v>
                </c:pt>
                <c:pt idx="11">
                  <c:v>90111.2497</c:v>
                </c:pt>
                <c:pt idx="12">
                  <c:v>7381.9490000000014</c:v>
                </c:pt>
                <c:pt idx="13">
                  <c:v>1321744.1344000001</c:v>
                </c:pt>
                <c:pt idx="14">
                  <c:v>346446.61200000002</c:v>
                </c:pt>
                <c:pt idx="15">
                  <c:v>29997.0429</c:v>
                </c:pt>
                <c:pt idx="16">
                  <c:v>7339.8536999999997</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Truffe Boite 1X150Gr 1P</c:v>
                  </c:pt>
                  <c:pt idx="5">
                    <c:v>Boursin Classique Fromage Frais A Tartiner Figue Et 3 Noix Boite 1X150Gr 1P</c:v>
                  </c:pt>
                  <c:pt idx="6">
                    <c:v>Boursin Classique Fromage Frais A Tartiner 3 Noix Boite 1X150Gr 1P</c:v>
                  </c:pt>
                  <c:pt idx="7">
                    <c:v>Boursin Classique Fromage Frais A Tartiner 3 Noix 1X160Gr 10P</c:v>
                  </c:pt>
                  <c:pt idx="8">
                    <c:v>Boursin Classique Fromage Frais A Tartiner Afh Boite 1X80Gr 1P</c:v>
                  </c:pt>
                  <c:pt idx="9">
                    <c:v>Boursin Classique Fromage Frais A Tartiner Poivre Boite 1X150Gr 1P</c:v>
                  </c:pt>
                  <c:pt idx="10">
                    <c:v>Boursin Classique Fromage Frais A Tartiner Afh Boite 1X96Gr 6P</c:v>
                  </c:pt>
                  <c:pt idx="11">
                    <c:v>Boursin Classique Fromage Frais A Tartiner Afh 1X256Gr 16P</c:v>
                  </c:pt>
                  <c:pt idx="12">
                    <c:v>Boursin Classique Fromage Frais A Tartiner Ciboulette &amp; Echalote 1X160Gr 10P</c:v>
                  </c:pt>
                  <c:pt idx="13">
                    <c:v>Boursin Classique Fromage Frais A Tartiner Afh Boite 1X250Gr 1P</c:v>
                  </c:pt>
                  <c:pt idx="14">
                    <c:v>Boursin Onctueux Fromage Frais A Tartiner Afh 1X125Gr 1P</c:v>
                  </c:pt>
                  <c:pt idx="15">
                    <c:v>Boursin Onctueux Fromage Frais A Tartiner Afh 1X210Gr 1P</c:v>
                  </c:pt>
                  <c:pt idx="16">
                    <c:v>Boursin Classique Fromage Frais A Tartiner Citron &amp; Romarin Boite 1X150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F21144E-73FA-4DB1-9D3A-7AE1C9220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348A7E4-DED5-42A2-8680-B1B126D2BA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7CEF303-0799-4B28-B115-A416A63E3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6072C95-8314-4994-922A-F1F406E26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7F019E28-3FE4-4F3A-B8F0-2C2579F28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3FE7A7E-43DB-4161-92BF-3B02F0483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19A74AA-127D-44D5-9A8C-CD752ECEE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4577</c:v>
                </c:pt>
                <c:pt idx="1">
                  <c:v>0.49909999999999999</c:v>
                </c:pt>
                <c:pt idx="2">
                  <c:v>0.43070000000000003</c:v>
                </c:pt>
              </c:numCache>
            </c:numRef>
          </c:xVal>
          <c:yVal>
            <c:numRef>
              <c:f>Sheet1!$B$2:$B$4</c:f>
              <c:numCache>
                <c:formatCode>General</c:formatCode>
                <c:ptCount val="3"/>
                <c:pt idx="0">
                  <c:v>6139.8327359617679</c:v>
                </c:pt>
                <c:pt idx="1">
                  <c:v>481.37096774193537</c:v>
                </c:pt>
                <c:pt idx="2">
                  <c:v>3027.5083798882679</c:v>
                </c:pt>
              </c:numCache>
            </c:numRef>
          </c:yVal>
          <c:bubbleSize>
            <c:numRef>
              <c:f>Sheet1!$C$2:$C$4</c:f>
              <c:numCache>
                <c:formatCode>General</c:formatCode>
                <c:ptCount val="3"/>
                <c:pt idx="0">
                  <c:v>264142.96620000002</c:v>
                </c:pt>
                <c:pt idx="1">
                  <c:v>8501.64</c:v>
                </c:pt>
                <c:pt idx="2">
                  <c:v>146209.82399999999</c:v>
                </c:pt>
              </c:numCache>
            </c:numRef>
          </c:bubbleSize>
          <c:bubble3D val="0"/>
          <c:extLst>
            <c:ext xmlns:c15="http://schemas.microsoft.com/office/drawing/2012/chart" uri="{02D57815-91ED-43cb-92C2-25804820EDAC}">
              <c15:datalabelsRange>
                <c15:f>Sheet1!$E$2:$E$50</c15:f>
                <c15:dlblRangeCache>
                  <c:ptCount val="49"/>
                  <c:pt idx="0">
                    <c:v>Kiri Delicieusement Fouette Fromage Frais A Tartiner 1X125Gr 1P</c:v>
                  </c:pt>
                  <c:pt idx="1">
                    <c:v>Kiri Delicieusement Fouette Fromage Frais A Tartiner 1X210Gr 1P</c:v>
                  </c:pt>
                  <c:pt idx="2">
                    <c:v>Kiri Delicieusement Fouette Fromage Frais A Tartiner 1X160Gr 1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0E32B97-44D5-4497-9BF7-7D4175E86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FB0BC1A-7C8F-44EF-9791-AF81F0318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6583A45-DB01-4FEE-9D68-32F1DF44A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630954C-B217-4E26-850B-3F475373A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89877DC-1EBA-4245-8B97-7F5EA43F3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9FE9F57-4CA5-40A0-9962-C770DD954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6518E48-45C6-444D-83C3-959F81700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3</c:f>
              <c:numCache>
                <c:formatCode>General</c:formatCode>
                <c:ptCount val="12"/>
                <c:pt idx="0">
                  <c:v>0.35720000000000002</c:v>
                </c:pt>
                <c:pt idx="1">
                  <c:v>0.36149999999999999</c:v>
                </c:pt>
                <c:pt idx="2">
                  <c:v>0.42870000000000003</c:v>
                </c:pt>
                <c:pt idx="3">
                  <c:v>0.53720000000000001</c:v>
                </c:pt>
                <c:pt idx="4">
                  <c:v>0.40649999999999997</c:v>
                </c:pt>
                <c:pt idx="5">
                  <c:v>0.40110000000000001</c:v>
                </c:pt>
                <c:pt idx="6">
                  <c:v>0.39090000000000003</c:v>
                </c:pt>
                <c:pt idx="7">
                  <c:v>0.4027</c:v>
                </c:pt>
                <c:pt idx="8">
                  <c:v>0.38950000000000001</c:v>
                </c:pt>
                <c:pt idx="9">
                  <c:v>0.436</c:v>
                </c:pt>
                <c:pt idx="10">
                  <c:v>0.37330000000000002</c:v>
                </c:pt>
                <c:pt idx="11">
                  <c:v>0.4899</c:v>
                </c:pt>
              </c:numCache>
            </c:numRef>
          </c:xVal>
          <c:yVal>
            <c:numRef>
              <c:f>Sheet1!$B$2:$B$13</c:f>
              <c:numCache>
                <c:formatCode>General</c:formatCode>
                <c:ptCount val="12"/>
                <c:pt idx="0">
                  <c:v>27527.410805300711</c:v>
                </c:pt>
                <c:pt idx="1">
                  <c:v>24558.51703406814</c:v>
                </c:pt>
                <c:pt idx="2">
                  <c:v>8635.1798561151081</c:v>
                </c:pt>
                <c:pt idx="3">
                  <c:v>648.25327510917032</c:v>
                </c:pt>
                <c:pt idx="4">
                  <c:v>10309.23469387755</c:v>
                </c:pt>
                <c:pt idx="5">
                  <c:v>2730.8923076923079</c:v>
                </c:pt>
                <c:pt idx="6">
                  <c:v>7229.1382978723404</c:v>
                </c:pt>
                <c:pt idx="7">
                  <c:v>11438.093716719921</c:v>
                </c:pt>
                <c:pt idx="8">
                  <c:v>8505.5930232558148</c:v>
                </c:pt>
                <c:pt idx="9">
                  <c:v>5809.3564356435636</c:v>
                </c:pt>
                <c:pt idx="10">
                  <c:v>27838.234693877552</c:v>
                </c:pt>
                <c:pt idx="11">
                  <c:v>12471.15303983229</c:v>
                </c:pt>
              </c:numCache>
            </c:numRef>
          </c:yVal>
          <c:bubbleSize>
            <c:numRef>
              <c:f>Sheet1!$C$2:$C$13</c:f>
              <c:numCache>
                <c:formatCode>General</c:formatCode>
                <c:ptCount val="12"/>
                <c:pt idx="0">
                  <c:v>1645429.3156999999</c:v>
                </c:pt>
                <c:pt idx="1">
                  <c:v>1483245.8407999999</c:v>
                </c:pt>
                <c:pt idx="2">
                  <c:v>455014.01169999992</c:v>
                </c:pt>
                <c:pt idx="3">
                  <c:v>19536.5635</c:v>
                </c:pt>
                <c:pt idx="4">
                  <c:v>568393.2801999998</c:v>
                </c:pt>
                <c:pt idx="5">
                  <c:v>50382.185700000002</c:v>
                </c:pt>
                <c:pt idx="6">
                  <c:v>392341.30040000001</c:v>
                </c:pt>
                <c:pt idx="7">
                  <c:v>608075.93240000005</c:v>
                </c:pt>
                <c:pt idx="8">
                  <c:v>423307.45439999987</c:v>
                </c:pt>
                <c:pt idx="9">
                  <c:v>250921.9325</c:v>
                </c:pt>
                <c:pt idx="10">
                  <c:v>1620710.9252000011</c:v>
                </c:pt>
                <c:pt idx="11">
                  <c:v>575246.19469999999</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Truffe Boite 1X150Gr 1P</c:v>
                  </c:pt>
                  <c:pt idx="4">
                    <c:v>Boursin Classique Fromage Frais A Tartiner Figue Et 3 Noix Boite 1X150Gr 1P</c:v>
                  </c:pt>
                  <c:pt idx="5">
                    <c:v>Boursin Classique Fromage Frais A Tartiner Afh Boite 1X80Gr 1P</c:v>
                  </c:pt>
                  <c:pt idx="6">
                    <c:v>Boursin Classique Fromage Frais A Tartiner Poivre Boite 1X150Gr 1P</c:v>
                  </c:pt>
                  <c:pt idx="7">
                    <c:v>Boursin Classique Fromage Frais A Tartiner Afh Boite 1X96Gr 6P</c:v>
                  </c:pt>
                  <c:pt idx="8">
                    <c:v>Boursin Classique Fromage Frais A Tartiner Afh 1X256Gr 16P</c:v>
                  </c:pt>
                  <c:pt idx="9">
                    <c:v>Boursin Classique Fromage Frais A Tartiner Ciboulette &amp; Echalote 1X160Gr 10P</c:v>
                  </c:pt>
                  <c:pt idx="10">
                    <c:v>Boursin Classique Fromage Frais A Tartiner Afh Boite 1X250Gr 1P</c:v>
                  </c:pt>
                  <c:pt idx="11">
                    <c:v>Boursin Onctueux Fromage Frais A Tartiner Afh 1X125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6BF2FE4-17F4-486A-AFB6-7830F398C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5BA5836-A09B-44EF-A478-9486D54F3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B70621D-D003-4388-B770-56E47B53C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97192A0-5DFD-4774-AF01-834D19C153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A081BFF-171F-4814-98BD-415A2CDDEB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A174DA3-E67E-45B0-8804-E1AC44B75B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6F5C212F-866B-43A0-8883-BA86CB4C3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659</c:v>
                </c:pt>
                <c:pt idx="1">
                  <c:v>0.40129999999999999</c:v>
                </c:pt>
                <c:pt idx="2">
                  <c:v>0.372</c:v>
                </c:pt>
              </c:numCache>
            </c:numRef>
          </c:xVal>
          <c:yVal>
            <c:numRef>
              <c:f>Sheet1!$B$2:$B$4</c:f>
              <c:numCache>
                <c:formatCode>General</c:formatCode>
                <c:ptCount val="3"/>
                <c:pt idx="0">
                  <c:v>2226.4591836734689</c:v>
                </c:pt>
                <c:pt idx="1">
                  <c:v>3431.15625</c:v>
                </c:pt>
                <c:pt idx="2">
                  <c:v>1402.640449438202</c:v>
                </c:pt>
              </c:numCache>
            </c:numRef>
          </c:yVal>
          <c:bubbleSize>
            <c:numRef>
              <c:f>Sheet1!$C$2:$C$4</c:f>
              <c:numCache>
                <c:formatCode>General</c:formatCode>
                <c:ptCount val="3"/>
                <c:pt idx="0">
                  <c:v>131141.8792</c:v>
                </c:pt>
                <c:pt idx="1">
                  <c:v>186938.92819999999</c:v>
                </c:pt>
                <c:pt idx="2">
                  <c:v>74313.284700000004</c:v>
                </c:pt>
              </c:numCache>
            </c:numRef>
          </c:bubbleSize>
          <c:bubble3D val="0"/>
          <c:extLst>
            <c:ext xmlns:c15="http://schemas.microsoft.com/office/drawing/2012/chart" uri="{02D57815-91ED-43cb-92C2-25804820EDAC}">
              <c15:datalabelsRange>
                <c15:f>Sheet1!$E$2:$E$50</c15:f>
                <c15:dlblRangeCache>
                  <c:ptCount val="49"/>
                  <c:pt idx="0">
                    <c:v>Kiri Delicieusement Fouette Fromage Frais A Tartiner 1X125Gr 1P</c:v>
                  </c:pt>
                  <c:pt idx="1">
                    <c:v>Kiri Delicieusement Fouette Fromage Frais A Tartiner 1X210Gr 1P</c:v>
                  </c:pt>
                  <c:pt idx="2">
                    <c:v>Kiri Delicieusement Fouette Fromage Frais A Tartiner 1X160Gr 1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21FB030-366C-4A7C-A2D7-514AC927A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CE4830F-8AC2-4F09-BFD3-2EC3AE73EE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F130E65-1158-4A4F-9CC0-96126C22DA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8429F69-C06D-452B-A32F-286AD1513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710FA1A-5790-4B43-AF69-BC3EADA76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6A9FC2F-B1E3-4C07-9046-07EC686F1E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293D3F4-862D-479D-81C4-916094535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0.33100000000000002</c:v>
                </c:pt>
                <c:pt idx="1">
                  <c:v>0.28520000000000001</c:v>
                </c:pt>
                <c:pt idx="2">
                  <c:v>0.28360000000000002</c:v>
                </c:pt>
                <c:pt idx="3">
                  <c:v>0.33090000000000003</c:v>
                </c:pt>
                <c:pt idx="4">
                  <c:v>0.37130000000000002</c:v>
                </c:pt>
                <c:pt idx="5">
                  <c:v>0.35320000000000001</c:v>
                </c:pt>
                <c:pt idx="6">
                  <c:v>0.52329999999999999</c:v>
                </c:pt>
                <c:pt idx="7">
                  <c:v>0.39950000000000002</c:v>
                </c:pt>
                <c:pt idx="8">
                  <c:v>0.2979</c:v>
                </c:pt>
                <c:pt idx="9">
                  <c:v>0.37180000000000002</c:v>
                </c:pt>
                <c:pt idx="10">
                  <c:v>0.34339999999999998</c:v>
                </c:pt>
                <c:pt idx="11">
                  <c:v>0.24660000000000001</c:v>
                </c:pt>
                <c:pt idx="12">
                  <c:v>0.43640000000000001</c:v>
                </c:pt>
                <c:pt idx="13">
                  <c:v>0.33300000000000002</c:v>
                </c:pt>
                <c:pt idx="14">
                  <c:v>0.37290000000000001</c:v>
                </c:pt>
                <c:pt idx="15">
                  <c:v>0.50419999999999998</c:v>
                </c:pt>
                <c:pt idx="16">
                  <c:v>0.52459999999999996</c:v>
                </c:pt>
              </c:numCache>
            </c:numRef>
          </c:xVal>
          <c:yVal>
            <c:numRef>
              <c:f>Sheet1!$B$2:$B$18</c:f>
              <c:numCache>
                <c:formatCode>General</c:formatCode>
                <c:ptCount val="17"/>
                <c:pt idx="0">
                  <c:v>14268.91</c:v>
                </c:pt>
                <c:pt idx="1">
                  <c:v>333.52941176470591</c:v>
                </c:pt>
                <c:pt idx="2">
                  <c:v>9722.94</c:v>
                </c:pt>
                <c:pt idx="3">
                  <c:v>3345.6288659793809</c:v>
                </c:pt>
                <c:pt idx="4">
                  <c:v>480.09090909090912</c:v>
                </c:pt>
                <c:pt idx="5">
                  <c:v>3773</c:v>
                </c:pt>
                <c:pt idx="6">
                  <c:v>871.68656716417911</c:v>
                </c:pt>
                <c:pt idx="7">
                  <c:v>524.91836734693879</c:v>
                </c:pt>
                <c:pt idx="8">
                  <c:v>1281.0212765957449</c:v>
                </c:pt>
                <c:pt idx="9">
                  <c:v>989.26136363636363</c:v>
                </c:pt>
                <c:pt idx="10">
                  <c:v>4276.8900000000003</c:v>
                </c:pt>
                <c:pt idx="11">
                  <c:v>2175.4827586206902</c:v>
                </c:pt>
                <c:pt idx="12">
                  <c:v>964.35714285714278</c:v>
                </c:pt>
                <c:pt idx="13">
                  <c:v>11512.05</c:v>
                </c:pt>
                <c:pt idx="14">
                  <c:v>2658.0808080808079</c:v>
                </c:pt>
                <c:pt idx="15">
                  <c:v>1025.28813559322</c:v>
                </c:pt>
                <c:pt idx="16">
                  <c:v>229.12676056338029</c:v>
                </c:pt>
              </c:numCache>
            </c:numRef>
          </c:yVal>
          <c:bubbleSize>
            <c:numRef>
              <c:f>Sheet1!$C$2:$C$18</c:f>
              <c:numCache>
                <c:formatCode>General</c:formatCode>
                <c:ptCount val="17"/>
                <c:pt idx="0">
                  <c:v>904769.62540000002</c:v>
                </c:pt>
                <c:pt idx="1">
                  <c:v>19208.837500000001</c:v>
                </c:pt>
                <c:pt idx="2">
                  <c:v>660282.57319999998</c:v>
                </c:pt>
                <c:pt idx="3">
                  <c:v>205815.49559999999</c:v>
                </c:pt>
                <c:pt idx="4">
                  <c:v>18882.7261</c:v>
                </c:pt>
                <c:pt idx="5">
                  <c:v>226705.78390000001</c:v>
                </c:pt>
                <c:pt idx="6">
                  <c:v>26386.711899999998</c:v>
                </c:pt>
                <c:pt idx="7">
                  <c:v>14639.8354</c:v>
                </c:pt>
                <c:pt idx="8">
                  <c:v>80141.60040000001</c:v>
                </c:pt>
                <c:pt idx="9">
                  <c:v>51837.37920000001</c:v>
                </c:pt>
                <c:pt idx="10">
                  <c:v>266178.70789999998</c:v>
                </c:pt>
                <c:pt idx="11">
                  <c:v>90101.286900000006</c:v>
                </c:pt>
                <c:pt idx="12">
                  <c:v>7213.1059999999998</c:v>
                </c:pt>
                <c:pt idx="13">
                  <c:v>727771.94940000016</c:v>
                </c:pt>
                <c:pt idx="14">
                  <c:v>156408.5736</c:v>
                </c:pt>
                <c:pt idx="15">
                  <c:v>28426.323100000001</c:v>
                </c:pt>
                <c:pt idx="16">
                  <c:v>7330.6674000000003</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Truffe Boite 1X150Gr 1P</c:v>
                  </c:pt>
                  <c:pt idx="5">
                    <c:v>Boursin Classique Fromage Frais A Tartiner Figue Et 3 Noix Boite 1X150Gr 1P</c:v>
                  </c:pt>
                  <c:pt idx="6">
                    <c:v>Boursin Classique Fromage Frais A Tartiner 3 Noix Boite 1X150Gr 1P</c:v>
                  </c:pt>
                  <c:pt idx="7">
                    <c:v>Boursin Classique Fromage Frais A Tartiner 3 Noix 1X160Gr 10P</c:v>
                  </c:pt>
                  <c:pt idx="8">
                    <c:v>Boursin Classique Fromage Frais A Tartiner Afh Boite 1X80Gr 1P</c:v>
                  </c:pt>
                  <c:pt idx="9">
                    <c:v>Boursin Classique Fromage Frais A Tartiner Poivre Boite 1X150Gr 1P</c:v>
                  </c:pt>
                  <c:pt idx="10">
                    <c:v>Boursin Classique Fromage Frais A Tartiner Afh Boite 1X96Gr 6P</c:v>
                  </c:pt>
                  <c:pt idx="11">
                    <c:v>Boursin Classique Fromage Frais A Tartiner Afh 1X256Gr 16P</c:v>
                  </c:pt>
                  <c:pt idx="12">
                    <c:v>Boursin Classique Fromage Frais A Tartiner Ciboulette &amp; Echalote 1X160Gr 10P</c:v>
                  </c:pt>
                  <c:pt idx="13">
                    <c:v>Boursin Classique Fromage Frais A Tartiner Afh Boite 1X250Gr 1P</c:v>
                  </c:pt>
                  <c:pt idx="14">
                    <c:v>Boursin Onctueux Fromage Frais A Tartiner Afh 1X125Gr 1P</c:v>
                  </c:pt>
                  <c:pt idx="15">
                    <c:v>Boursin Onctueux Fromage Frais A Tartiner Afh 1X210Gr 1P</c:v>
                  </c:pt>
                  <c:pt idx="16">
                    <c:v>Boursin Classique Fromage Frais A Tartiner Citron &amp; Romarin Boite 1X150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A77487F-501E-46D4-956A-D2997C9307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BACABF2-809F-429A-94B9-7BEBA0556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FC2B874-EE00-4AA3-9B26-F0787A46A7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21C2DD1-BD75-473B-A209-979122FE76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8B61925D-3C16-4232-B34F-D5DF488B40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2B6D6ED-D80E-4D72-94DF-879E76A97D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8D02E6B-4F50-454E-ABD3-7C1EC7DD3B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39750000000000002</c:v>
                </c:pt>
                <c:pt idx="1">
                  <c:v>0.40410000000000001</c:v>
                </c:pt>
                <c:pt idx="2">
                  <c:v>0.37519999999999998</c:v>
                </c:pt>
              </c:numCache>
            </c:numRef>
          </c:xVal>
          <c:yVal>
            <c:numRef>
              <c:f>Sheet1!$B$2:$B$4</c:f>
              <c:numCache>
                <c:formatCode>General</c:formatCode>
                <c:ptCount val="3"/>
                <c:pt idx="0">
                  <c:v>2355.7580645161288</c:v>
                </c:pt>
                <c:pt idx="1">
                  <c:v>2737.2777777777778</c:v>
                </c:pt>
                <c:pt idx="2">
                  <c:v>2356.2857142857142</c:v>
                </c:pt>
              </c:numCache>
            </c:numRef>
          </c:yVal>
          <c:bubbleSize>
            <c:numRef>
              <c:f>Sheet1!$C$2:$C$4</c:f>
              <c:numCache>
                <c:formatCode>General</c:formatCode>
                <c:ptCount val="3"/>
                <c:pt idx="0">
                  <c:v>83407.418800000014</c:v>
                </c:pt>
                <c:pt idx="1">
                  <c:v>83489.196199999991</c:v>
                </c:pt>
                <c:pt idx="2">
                  <c:v>87919.882999999987</c:v>
                </c:pt>
              </c:numCache>
            </c:numRef>
          </c:bubbleSize>
          <c:bubble3D val="0"/>
          <c:extLst>
            <c:ext xmlns:c15="http://schemas.microsoft.com/office/drawing/2012/chart" uri="{02D57815-91ED-43cb-92C2-25804820EDAC}">
              <c15:datalabelsRange>
                <c15:f>Sheet1!$E$2:$E$50</c15:f>
                <c15:dlblRangeCache>
                  <c:ptCount val="49"/>
                  <c:pt idx="0">
                    <c:v>Kiri Delicieusement Fouette Fromage Frais A Tartiner 1X125Gr 1P</c:v>
                  </c:pt>
                  <c:pt idx="1">
                    <c:v>Kiri Delicieusement Fouette Fromage Frais A Tartiner 1X210Gr 1P</c:v>
                  </c:pt>
                  <c:pt idx="2">
                    <c:v>Kiri Delicieusement Fouette Fromage Frais A Tartiner 1X160Gr 1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Ficello</c:v>
                </c:pt>
                <c:pt idx="4">
                  <c:v>Private Label</c:v>
                </c:pt>
                <c:pt idx="5">
                  <c:v>P'Tit Louis</c:v>
                </c:pt>
                <c:pt idx="6">
                  <c:v>Others</c:v>
                </c:pt>
              </c:strCache>
            </c:strRef>
          </c:cat>
          <c:val>
            <c:numRef>
              <c:f>Sheet1!$B$2:$B$8</c:f>
              <c:numCache>
                <c:formatCode>General</c:formatCode>
                <c:ptCount val="7"/>
                <c:pt idx="0">
                  <c:v>0.32841666726821539</c:v>
                </c:pt>
                <c:pt idx="1">
                  <c:v>0.25975223873303843</c:v>
                </c:pt>
                <c:pt idx="2">
                  <c:v>0.22678905684746631</c:v>
                </c:pt>
                <c:pt idx="3">
                  <c:v>0.11260069231781542</c:v>
                </c:pt>
                <c:pt idx="4">
                  <c:v>5.3124481164213366E-2</c:v>
                </c:pt>
                <c:pt idx="5">
                  <c:v>1.9209417810025727E-2</c:v>
                </c:pt>
                <c:pt idx="6">
                  <c:v>1.0744585922537923E-4</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Ficello</c:v>
                </c:pt>
                <c:pt idx="4">
                  <c:v>Private Label</c:v>
                </c:pt>
                <c:pt idx="5">
                  <c:v>P'Tit Louis</c:v>
                </c:pt>
                <c:pt idx="6">
                  <c:v>Others</c:v>
                </c:pt>
              </c:strCache>
            </c:strRef>
          </c:cat>
          <c:val>
            <c:numRef>
              <c:f>Sheet1!$C$2:$C$8</c:f>
              <c:numCache>
                <c:formatCode>General</c:formatCode>
                <c:ptCount val="7"/>
                <c:pt idx="0">
                  <c:v>0.26243781094527369</c:v>
                </c:pt>
                <c:pt idx="1">
                  <c:v>0.20273631840796025</c:v>
                </c:pt>
                <c:pt idx="2">
                  <c:v>0.21766169154228859</c:v>
                </c:pt>
                <c:pt idx="3">
                  <c:v>0.11567164179104479</c:v>
                </c:pt>
                <c:pt idx="4">
                  <c:v>0.11318407960199006</c:v>
                </c:pt>
                <c:pt idx="5">
                  <c:v>8.8308457711442787E-2</c:v>
                </c:pt>
                <c:pt idx="6">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Ficello</c:v>
                </c:pt>
                <c:pt idx="4">
                  <c:v>Private Label</c:v>
                </c:pt>
                <c:pt idx="5">
                  <c:v>P'Tit Louis</c:v>
                </c:pt>
                <c:pt idx="6">
                  <c:v>Others</c:v>
                </c:pt>
              </c:strCache>
            </c:strRef>
          </c:cat>
          <c:val>
            <c:numRef>
              <c:f>Sheet1!$D$2:$D$8</c:f>
              <c:numCache>
                <c:formatCode>General</c:formatCode>
                <c:ptCount val="7"/>
                <c:pt idx="0">
                  <c:v>79.910015873507035</c:v>
                </c:pt>
                <c:pt idx="1">
                  <c:v>78.049882994973316</c:v>
                </c:pt>
                <c:pt idx="2">
                  <c:v>95.975394301623382</c:v>
                </c:pt>
                <c:pt idx="3">
                  <c:v>102.72729182211565</c:v>
                </c:pt>
                <c:pt idx="4">
                  <c:v>213.05446589139598</c:v>
                </c:pt>
                <c:pt idx="5">
                  <c:v>459.71438897722908</c:v>
                </c:pt>
                <c:pt idx="6">
                  <c:v>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BC3D0C6-1EA9-4D17-9E8E-F3D83E833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F9003B3-2171-4B0A-B730-68CA262E2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7F65C24-6FA0-4676-A41A-0EF0DBDBAD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72A23AA-B79D-4BCE-B7E6-423BE5887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730BF2F-E964-4DF7-A321-B21E498F5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F997D14-C571-4D7A-BC16-51929323A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885D90D-F1F4-457C-A6A9-9EE4BBC45A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3</c:f>
              <c:numCache>
                <c:formatCode>General</c:formatCode>
                <c:ptCount val="12"/>
                <c:pt idx="0">
                  <c:v>0.34610000000000002</c:v>
                </c:pt>
                <c:pt idx="1">
                  <c:v>0.33829999999999999</c:v>
                </c:pt>
                <c:pt idx="2">
                  <c:v>0.29520000000000002</c:v>
                </c:pt>
                <c:pt idx="3">
                  <c:v>0.3367</c:v>
                </c:pt>
                <c:pt idx="4">
                  <c:v>0.38890000000000002</c:v>
                </c:pt>
                <c:pt idx="5">
                  <c:v>0.36449999999999999</c:v>
                </c:pt>
                <c:pt idx="6">
                  <c:v>0.52500000000000002</c:v>
                </c:pt>
                <c:pt idx="7">
                  <c:v>0.53700000000000003</c:v>
                </c:pt>
                <c:pt idx="8">
                  <c:v>0.35139999999999999</c:v>
                </c:pt>
                <c:pt idx="9">
                  <c:v>0.34660000000000002</c:v>
                </c:pt>
                <c:pt idx="10">
                  <c:v>0.39269999999999999</c:v>
                </c:pt>
                <c:pt idx="11">
                  <c:v>0.44190000000000002</c:v>
                </c:pt>
              </c:numCache>
            </c:numRef>
          </c:xVal>
          <c:yVal>
            <c:numRef>
              <c:f>Sheet1!$B$2:$B$13</c:f>
              <c:numCache>
                <c:formatCode>General</c:formatCode>
                <c:ptCount val="12"/>
                <c:pt idx="0">
                  <c:v>12114.479591836731</c:v>
                </c:pt>
                <c:pt idx="1">
                  <c:v>535.8648648648649</c:v>
                </c:pt>
                <c:pt idx="2">
                  <c:v>11147.28282828283</c:v>
                </c:pt>
                <c:pt idx="3">
                  <c:v>3558.674157303371</c:v>
                </c:pt>
                <c:pt idx="4">
                  <c:v>247.92156862745099</c:v>
                </c:pt>
                <c:pt idx="5">
                  <c:v>1122.0923076923079</c:v>
                </c:pt>
                <c:pt idx="6">
                  <c:v>611.55737704918033</c:v>
                </c:pt>
                <c:pt idx="7">
                  <c:v>486.04878048780489</c:v>
                </c:pt>
                <c:pt idx="8">
                  <c:v>5526.197802197802</c:v>
                </c:pt>
                <c:pt idx="9">
                  <c:v>10084.61052631579</c:v>
                </c:pt>
                <c:pt idx="10">
                  <c:v>3883.376470588235</c:v>
                </c:pt>
                <c:pt idx="11">
                  <c:v>989.66666666666663</c:v>
                </c:pt>
              </c:numCache>
            </c:numRef>
          </c:yVal>
          <c:bubbleSize>
            <c:numRef>
              <c:f>Sheet1!$C$2:$C$13</c:f>
              <c:numCache>
                <c:formatCode>General</c:formatCode>
                <c:ptCount val="12"/>
                <c:pt idx="0">
                  <c:v>735837.03899999987</c:v>
                </c:pt>
                <c:pt idx="1">
                  <c:v>12435.307000000001</c:v>
                </c:pt>
                <c:pt idx="2">
                  <c:v>737303.34119999991</c:v>
                </c:pt>
                <c:pt idx="3">
                  <c:v>199120.19279999999</c:v>
                </c:pt>
                <c:pt idx="4">
                  <c:v>7323.7779999999984</c:v>
                </c:pt>
                <c:pt idx="5">
                  <c:v>43933.779499999997</c:v>
                </c:pt>
                <c:pt idx="6">
                  <c:v>16794.665700000001</c:v>
                </c:pt>
                <c:pt idx="7">
                  <c:v>8745.5810000000001</c:v>
                </c:pt>
                <c:pt idx="8">
                  <c:v>309185.78110000002</c:v>
                </c:pt>
                <c:pt idx="9">
                  <c:v>593369.18190000008</c:v>
                </c:pt>
                <c:pt idx="10">
                  <c:v>190007.0134</c:v>
                </c:pt>
                <c:pt idx="11">
                  <c:v>1570.7198000000001</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Truffe Boite 1X150Gr 1P</c:v>
                  </c:pt>
                  <c:pt idx="5">
                    <c:v>Boursin Classique Fromage Frais A Tartiner Figue Et 3 Noix Boite 1X150Gr 1P</c:v>
                  </c:pt>
                  <c:pt idx="6">
                    <c:v>Boursin Classique Fromage Frais A Tartiner 3 Noix Boite 1X150Gr 1P</c:v>
                  </c:pt>
                  <c:pt idx="7">
                    <c:v>Boursin Classique Fromage Frais A Tartiner 3 Noix 1X160Gr 10P</c:v>
                  </c:pt>
                  <c:pt idx="8">
                    <c:v>Boursin Classique Fromage Frais A Tartiner Afh Boite 1X96Gr 6P</c:v>
                  </c:pt>
                  <c:pt idx="9">
                    <c:v>Boursin Classique Fromage Frais A Tartiner Afh Boite 1X250Gr 1P</c:v>
                  </c:pt>
                  <c:pt idx="10">
                    <c:v>Boursin Onctueux Fromage Frais A Tartiner Afh 1X125Gr 1P</c:v>
                  </c:pt>
                  <c:pt idx="11">
                    <c:v>Boursin Onctueux Fromage Frais A Tartiner Afh 1X210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A312705-9820-461F-B3A7-A323430D4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A685C44-45FB-41D6-B7C2-CD7DFD49EC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3A2FD6CC-9334-4F4B-A579-7F1E96445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50BD19C-E981-47DA-842F-1534A2586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E0CAE1D-339C-4979-862E-EACE714CB0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00AFFBD-62F0-4169-ACC7-9FB06E5AA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94B7EE6-5303-49D3-8553-5844044D5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4642</c:v>
                </c:pt>
                <c:pt idx="1">
                  <c:v>0.42380000000000001</c:v>
                </c:pt>
              </c:numCache>
            </c:numRef>
          </c:xVal>
          <c:yVal>
            <c:numRef>
              <c:f>Sheet1!$B$2:$B$3</c:f>
              <c:numCache>
                <c:formatCode>General</c:formatCode>
                <c:ptCount val="2"/>
                <c:pt idx="0">
                  <c:v>6336.7321428571422</c:v>
                </c:pt>
                <c:pt idx="1">
                  <c:v>4204.2222222222226</c:v>
                </c:pt>
              </c:numCache>
            </c:numRef>
          </c:yVal>
          <c:bubbleSize>
            <c:numRef>
              <c:f>Sheet1!$C$2:$C$3</c:f>
              <c:numCache>
                <c:formatCode>General</c:formatCode>
                <c:ptCount val="2"/>
                <c:pt idx="0">
                  <c:v>180235.58540000001</c:v>
                </c:pt>
                <c:pt idx="1">
                  <c:v>61994.774900000011</c:v>
                </c:pt>
              </c:numCache>
            </c:numRef>
          </c:bubbleSize>
          <c:bubble3D val="0"/>
          <c:extLst>
            <c:ext xmlns:c15="http://schemas.microsoft.com/office/drawing/2012/chart" uri="{02D57815-91ED-43cb-92C2-25804820EDAC}">
              <c15:datalabelsRange>
                <c15:f>Sheet1!$E$2:$E$50</c15:f>
                <c15:dlblRangeCache>
                  <c:ptCount val="49"/>
                  <c:pt idx="0">
                    <c:v>Kiri Delicieusement Fouette Fromage Frais A Tartiner 1X125Gr 1P</c:v>
                  </c:pt>
                  <c:pt idx="1">
                    <c:v>Kiri Delicieusement Fouette Fromage Frais A Tartiner 1X160Gr 1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C6C025F-3002-4EF4-BC8D-F6185B560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9E704DD-E07A-49D4-9582-27C87F43A0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60BD40D-6E0F-4F94-BE96-DB6108B00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156EA9F-682D-455F-BE7E-0D341AC55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1763945-D93B-4186-A183-4158E576FA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04A5356-74BB-4E76-914A-EEEAA08E3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1A74F5E-29FB-44E0-8463-E9B0CAA8F2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38700000000000001</c:v>
                </c:pt>
                <c:pt idx="1">
                  <c:v>0.42470000000000002</c:v>
                </c:pt>
                <c:pt idx="2">
                  <c:v>0.49380000000000002</c:v>
                </c:pt>
                <c:pt idx="3">
                  <c:v>0.38890000000000002</c:v>
                </c:pt>
                <c:pt idx="4">
                  <c:v>0.44059999999999999</c:v>
                </c:pt>
                <c:pt idx="5">
                  <c:v>0.4234</c:v>
                </c:pt>
              </c:numCache>
            </c:numRef>
          </c:xVal>
          <c:yVal>
            <c:numRef>
              <c:f>Sheet1!$B$2:$B$7</c:f>
              <c:numCache>
                <c:formatCode>General</c:formatCode>
                <c:ptCount val="6"/>
                <c:pt idx="0">
                  <c:v>13191.32075471698</c:v>
                </c:pt>
                <c:pt idx="1">
                  <c:v>15938.25301204819</c:v>
                </c:pt>
                <c:pt idx="2">
                  <c:v>5998.125</c:v>
                </c:pt>
                <c:pt idx="3">
                  <c:v>456.8</c:v>
                </c:pt>
                <c:pt idx="4">
                  <c:v>1914.818181818182</c:v>
                </c:pt>
                <c:pt idx="5">
                  <c:v>3634.833333333333</c:v>
                </c:pt>
              </c:numCache>
            </c:numRef>
          </c:yVal>
          <c:bubbleSize>
            <c:numRef>
              <c:f>Sheet1!$C$2:$C$7</c:f>
              <c:numCache>
                <c:formatCode>General</c:formatCode>
                <c:ptCount val="6"/>
                <c:pt idx="0">
                  <c:v>406219.11790000001</c:v>
                </c:pt>
                <c:pt idx="1">
                  <c:v>721435.53999999992</c:v>
                </c:pt>
                <c:pt idx="2">
                  <c:v>23024.1188</c:v>
                </c:pt>
                <c:pt idx="3">
                  <c:v>2645.9699000000001</c:v>
                </c:pt>
                <c:pt idx="4">
                  <c:v>11168.7999</c:v>
                </c:pt>
                <c:pt idx="5">
                  <c:v>23839.869699999999</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Truffe Boite 1X150Gr 1P</c:v>
                  </c:pt>
                  <c:pt idx="4">
                    <c:v>Boursin Classique Fromage Frais A Tartiner Afh Boite 1X80Gr 1P</c:v>
                  </c:pt>
                  <c:pt idx="5">
                    <c:v>Boursin Classique Fromage Frais A Tartiner Afh Boite 1X96Gr 6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9F99E0C-AD27-4F47-B7F8-3743BE522A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1D04B0B-7970-4E7C-9F95-66F65E1F9F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F9C5832-4EDD-4BE3-9E51-0EE9D24DA9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28505E9-96A9-4B49-8F90-6D01746D4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E959F21-6CF8-4F5F-9CCB-1D5CA18D4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A56F2CD-039C-47E3-92B7-B77354BE06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065F417B-2152-402B-BCC5-D915AB8057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45629999999999998</c:v>
                </c:pt>
                <c:pt idx="1">
                  <c:v>0.502</c:v>
                </c:pt>
                <c:pt idx="2">
                  <c:v>0.41339999999999999</c:v>
                </c:pt>
              </c:numCache>
            </c:numRef>
          </c:xVal>
          <c:yVal>
            <c:numRef>
              <c:f>Sheet1!$B$2:$B$4</c:f>
              <c:numCache>
                <c:formatCode>General</c:formatCode>
                <c:ptCount val="3"/>
                <c:pt idx="0">
                  <c:v>4455.9195402298847</c:v>
                </c:pt>
                <c:pt idx="1">
                  <c:v>372.55263157894728</c:v>
                </c:pt>
                <c:pt idx="2">
                  <c:v>2162.5319148936169</c:v>
                </c:pt>
              </c:numCache>
            </c:numRef>
          </c:yVal>
          <c:bubbleSize>
            <c:numRef>
              <c:f>Sheet1!$C$2:$C$4</c:f>
              <c:numCache>
                <c:formatCode>General</c:formatCode>
                <c:ptCount val="3"/>
                <c:pt idx="0">
                  <c:v>199779.41380000001</c:v>
                </c:pt>
                <c:pt idx="1">
                  <c:v>6682.76</c:v>
                </c:pt>
                <c:pt idx="2">
                  <c:v>113028.4296</c:v>
                </c:pt>
              </c:numCache>
            </c:numRef>
          </c:bubbleSize>
          <c:bubble3D val="0"/>
          <c:extLst>
            <c:ext xmlns:c15="http://schemas.microsoft.com/office/drawing/2012/chart" uri="{02D57815-91ED-43cb-92C2-25804820EDAC}">
              <c15:datalabelsRange>
                <c15:f>Sheet1!$E$2:$E$50</c15:f>
                <c15:dlblRangeCache>
                  <c:ptCount val="49"/>
                  <c:pt idx="0">
                    <c:v>Kiri Delicieusement Fouette Fromage Frais A Tartiner 1X125Gr 1P</c:v>
                  </c:pt>
                  <c:pt idx="1">
                    <c:v>Kiri Delicieusement Fouette Fromage Frais A Tartiner 1X210Gr 1P</c:v>
                  </c:pt>
                  <c:pt idx="2">
                    <c:v>Kiri Delicieusement Fouette Fromage Frais A Tartiner 1X160Gr 1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39AC4E0-DABC-46CE-9A96-5BCCBA363E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8461704-7E26-439F-8F95-92C504024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6E3C7D7-F28B-4AE2-9C1E-1D4CDEF81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A4B4CF5-9E89-45E2-8854-C566BB443B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C1DC1C9-DBAF-4895-A122-63C14C6AC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BEB2E13-5E21-40A4-8897-E7BCCBA6F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FE10BE7-91D9-44D1-8CAD-3244065D1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3</c:f>
              <c:numCache>
                <c:formatCode>General</c:formatCode>
                <c:ptCount val="12"/>
                <c:pt idx="0">
                  <c:v>0.35299999999999998</c:v>
                </c:pt>
                <c:pt idx="1">
                  <c:v>0.3543</c:v>
                </c:pt>
                <c:pt idx="2">
                  <c:v>0.42080000000000001</c:v>
                </c:pt>
                <c:pt idx="3">
                  <c:v>0.51949999999999996</c:v>
                </c:pt>
                <c:pt idx="4">
                  <c:v>0.39760000000000001</c:v>
                </c:pt>
                <c:pt idx="5">
                  <c:v>0.39910000000000001</c:v>
                </c:pt>
                <c:pt idx="6">
                  <c:v>0.38500000000000001</c:v>
                </c:pt>
                <c:pt idx="7">
                  <c:v>0.39939999999999998</c:v>
                </c:pt>
                <c:pt idx="8">
                  <c:v>0.38869999999999999</c:v>
                </c:pt>
                <c:pt idx="9">
                  <c:v>0.436</c:v>
                </c:pt>
                <c:pt idx="10">
                  <c:v>0.3695</c:v>
                </c:pt>
                <c:pt idx="11">
                  <c:v>0.4859</c:v>
                </c:pt>
              </c:numCache>
            </c:numRef>
          </c:xVal>
          <c:yVal>
            <c:numRef>
              <c:f>Sheet1!$B$2:$B$13</c:f>
              <c:numCache>
                <c:formatCode>General</c:formatCode>
                <c:ptCount val="12"/>
                <c:pt idx="0">
                  <c:v>20176.727272727268</c:v>
                </c:pt>
                <c:pt idx="1">
                  <c:v>17911.57</c:v>
                </c:pt>
                <c:pt idx="2">
                  <c:v>6243.6868686868684</c:v>
                </c:pt>
                <c:pt idx="3">
                  <c:v>464.81428571428569</c:v>
                </c:pt>
                <c:pt idx="4">
                  <c:v>7410.2828282828286</c:v>
                </c:pt>
                <c:pt idx="5">
                  <c:v>2016.5862068965521</c:v>
                </c:pt>
                <c:pt idx="6">
                  <c:v>5263.666666666667</c:v>
                </c:pt>
                <c:pt idx="7">
                  <c:v>8247.1458333333339</c:v>
                </c:pt>
                <c:pt idx="8">
                  <c:v>6186.2183908045981</c:v>
                </c:pt>
                <c:pt idx="9">
                  <c:v>4356.8433734939763</c:v>
                </c:pt>
                <c:pt idx="10">
                  <c:v>20997.565656565661</c:v>
                </c:pt>
                <c:pt idx="11">
                  <c:v>8871.6082474226805</c:v>
                </c:pt>
              </c:numCache>
            </c:numRef>
          </c:yVal>
          <c:bubbleSize>
            <c:numRef>
              <c:f>Sheet1!$C$2:$C$13</c:f>
              <c:numCache>
                <c:formatCode>General</c:formatCode>
                <c:ptCount val="12"/>
                <c:pt idx="0">
                  <c:v>1224973.68</c:v>
                </c:pt>
                <c:pt idx="1">
                  <c:v>1096294.7178</c:v>
                </c:pt>
                <c:pt idx="2">
                  <c:v>339346.78419999999</c:v>
                </c:pt>
                <c:pt idx="3">
                  <c:v>14817.7163</c:v>
                </c:pt>
                <c:pt idx="4">
                  <c:v>418897.6237</c:v>
                </c:pt>
                <c:pt idx="5">
                  <c:v>33307.8298</c:v>
                </c:pt>
                <c:pt idx="6">
                  <c:v>294577.11560000002</c:v>
                </c:pt>
                <c:pt idx="7">
                  <c:v>450695.54549999989</c:v>
                </c:pt>
                <c:pt idx="8">
                  <c:v>311829.70500000002</c:v>
                </c:pt>
                <c:pt idx="9">
                  <c:v>193324.87390000001</c:v>
                </c:pt>
                <c:pt idx="10">
                  <c:v>1242326.0164999999</c:v>
                </c:pt>
                <c:pt idx="11">
                  <c:v>419337.32809999993</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Truffe Boite 1X150Gr 1P</c:v>
                  </c:pt>
                  <c:pt idx="4">
                    <c:v>Boursin Classique Fromage Frais A Tartiner Figue Et 3 Noix Boite 1X150Gr 1P</c:v>
                  </c:pt>
                  <c:pt idx="5">
                    <c:v>Boursin Classique Fromage Frais A Tartiner Afh Boite 1X80Gr 1P</c:v>
                  </c:pt>
                  <c:pt idx="6">
                    <c:v>Boursin Classique Fromage Frais A Tartiner Poivre Boite 1X150Gr 1P</c:v>
                  </c:pt>
                  <c:pt idx="7">
                    <c:v>Boursin Classique Fromage Frais A Tartiner Afh Boite 1X96Gr 6P</c:v>
                  </c:pt>
                  <c:pt idx="8">
                    <c:v>Boursin Classique Fromage Frais A Tartiner Afh 1X256Gr 16P</c:v>
                  </c:pt>
                  <c:pt idx="9">
                    <c:v>Boursin Classique Fromage Frais A Tartiner Ciboulette &amp; Echalote 1X160Gr 10P</c:v>
                  </c:pt>
                  <c:pt idx="10">
                    <c:v>Boursin Classique Fromage Frais A Tartiner Afh Boite 1X250Gr 1P</c:v>
                  </c:pt>
                  <c:pt idx="11">
                    <c:v>Boursin Onctueux Fromage Frais A Tartiner Afh 1X125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7B72E38-9291-405E-A6CF-ED3E30DAB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7851C29-B7FA-489C-818B-122385AA2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DF49B02-7BE3-40A2-A1CE-F266E40730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CF4A714-FA3E-4401-9387-CF6D08760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9ED07B9-3256-4192-BB46-8506C9D8A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C5A264C-EA45-4D2B-B4EA-4793C5AE28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1D67AB9-A928-4FD1-B33E-928181C7E8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43819999999999998</c:v>
                </c:pt>
                <c:pt idx="1">
                  <c:v>0.48809999999999998</c:v>
                </c:pt>
                <c:pt idx="2">
                  <c:v>0.47399999999999998</c:v>
                </c:pt>
              </c:numCache>
            </c:numRef>
          </c:xVal>
          <c:yVal>
            <c:numRef>
              <c:f>Sheet1!$B$2:$B$4</c:f>
              <c:numCache>
                <c:formatCode>General</c:formatCode>
                <c:ptCount val="3"/>
                <c:pt idx="0">
                  <c:v>772.49494949494954</c:v>
                </c:pt>
                <c:pt idx="1">
                  <c:v>58.203125</c:v>
                </c:pt>
                <c:pt idx="2">
                  <c:v>474.73469387755102</c:v>
                </c:pt>
              </c:numCache>
            </c:numRef>
          </c:yVal>
          <c:bubbleSize>
            <c:numRef>
              <c:f>Sheet1!$C$2:$C$4</c:f>
              <c:numCache>
                <c:formatCode>General</c:formatCode>
                <c:ptCount val="3"/>
                <c:pt idx="0">
                  <c:v>40723.595600000001</c:v>
                </c:pt>
                <c:pt idx="1">
                  <c:v>1807.5119999999999</c:v>
                </c:pt>
                <c:pt idx="2">
                  <c:v>23196.938999999998</c:v>
                </c:pt>
              </c:numCache>
            </c:numRef>
          </c:bubbleSize>
          <c:bubble3D val="0"/>
          <c:extLst>
            <c:ext xmlns:c15="http://schemas.microsoft.com/office/drawing/2012/chart" uri="{02D57815-91ED-43cb-92C2-25804820EDAC}">
              <c15:datalabelsRange>
                <c15:f>Sheet1!$E$2:$E$50</c15:f>
                <c15:dlblRangeCache>
                  <c:ptCount val="49"/>
                  <c:pt idx="0">
                    <c:v>Kiri Delicieusement Fouette Fromage Frais A Tartiner 1X125Gr 1P</c:v>
                  </c:pt>
                  <c:pt idx="1">
                    <c:v>Kiri Delicieusement Fouette Fromage Frais A Tartiner 1X210Gr 1P</c:v>
                  </c:pt>
                  <c:pt idx="2">
                    <c:v>Kiri Delicieusement Fouette Fromage Frais A Tartiner 1X160Gr 1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D4E7A93-E271-46F0-8237-37E35A4D52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7972D36-349E-407A-AF0F-1DC9BFBCD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9A5D7E8-43A2-406D-90C1-DDA76D1B0E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F179414-8F7E-41BC-A166-25140D5B1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9917036-3E09-4691-AD30-8276CC433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F0FBFCE-32E2-4DAC-81D4-C742B5420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7600719-4CD0-43FD-A1F9-0959357595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3</c:f>
              <c:numCache>
                <c:formatCode>General</c:formatCode>
                <c:ptCount val="12"/>
                <c:pt idx="0">
                  <c:v>0.34760000000000002</c:v>
                </c:pt>
                <c:pt idx="1">
                  <c:v>0.35699999999999998</c:v>
                </c:pt>
                <c:pt idx="2">
                  <c:v>0.4153</c:v>
                </c:pt>
                <c:pt idx="3">
                  <c:v>0.57679999999999998</c:v>
                </c:pt>
                <c:pt idx="4">
                  <c:v>0.39100000000000001</c:v>
                </c:pt>
                <c:pt idx="5">
                  <c:v>0.379</c:v>
                </c:pt>
                <c:pt idx="6">
                  <c:v>0.37459999999999999</c:v>
                </c:pt>
                <c:pt idx="7">
                  <c:v>0.38250000000000001</c:v>
                </c:pt>
                <c:pt idx="8">
                  <c:v>0.38929999999999998</c:v>
                </c:pt>
                <c:pt idx="9">
                  <c:v>0.41739999999999999</c:v>
                </c:pt>
                <c:pt idx="10">
                  <c:v>0.37159999999999999</c:v>
                </c:pt>
                <c:pt idx="11">
                  <c:v>0.47039999999999998</c:v>
                </c:pt>
              </c:numCache>
            </c:numRef>
          </c:xVal>
          <c:yVal>
            <c:numRef>
              <c:f>Sheet1!$B$2:$B$13</c:f>
              <c:numCache>
                <c:formatCode>General</c:formatCode>
                <c:ptCount val="12"/>
                <c:pt idx="0">
                  <c:v>3513.05</c:v>
                </c:pt>
                <c:pt idx="1">
                  <c:v>3000.58</c:v>
                </c:pt>
                <c:pt idx="2">
                  <c:v>982.89</c:v>
                </c:pt>
                <c:pt idx="3">
                  <c:v>85.195652173913047</c:v>
                </c:pt>
                <c:pt idx="4">
                  <c:v>1156.58</c:v>
                </c:pt>
                <c:pt idx="5">
                  <c:v>306.57142857142861</c:v>
                </c:pt>
                <c:pt idx="6">
                  <c:v>888.82828282828279</c:v>
                </c:pt>
                <c:pt idx="7">
                  <c:v>1363.8080808080811</c:v>
                </c:pt>
                <c:pt idx="8">
                  <c:v>1431.0707070707069</c:v>
                </c:pt>
                <c:pt idx="9">
                  <c:v>744.86734693877554</c:v>
                </c:pt>
                <c:pt idx="10">
                  <c:v>4098.92</c:v>
                </c:pt>
                <c:pt idx="11">
                  <c:v>1389.565656565657</c:v>
                </c:pt>
              </c:numCache>
            </c:numRef>
          </c:yVal>
          <c:bubbleSize>
            <c:numRef>
              <c:f>Sheet1!$C$2:$C$13</c:f>
              <c:numCache>
                <c:formatCode>General</c:formatCode>
                <c:ptCount val="12"/>
                <c:pt idx="0">
                  <c:v>217231.36960000001</c:v>
                </c:pt>
                <c:pt idx="1">
                  <c:v>182887.1778</c:v>
                </c:pt>
                <c:pt idx="2">
                  <c:v>54476.060599999997</c:v>
                </c:pt>
                <c:pt idx="3">
                  <c:v>3144.3017</c:v>
                </c:pt>
                <c:pt idx="4">
                  <c:v>66767.109700000001</c:v>
                </c:pt>
                <c:pt idx="5">
                  <c:v>12632.876899999999</c:v>
                </c:pt>
                <c:pt idx="6">
                  <c:v>52158.628599999996</c:v>
                </c:pt>
                <c:pt idx="7">
                  <c:v>79021.727100000018</c:v>
                </c:pt>
                <c:pt idx="8">
                  <c:v>82006.583399999989</c:v>
                </c:pt>
                <c:pt idx="9">
                  <c:v>40310.319899999988</c:v>
                </c:pt>
                <c:pt idx="10">
                  <c:v>244161.86170000001</c:v>
                </c:pt>
                <c:pt idx="11">
                  <c:v>69057.670599999998</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Truffe Boite 1X150Gr 1P</c:v>
                  </c:pt>
                  <c:pt idx="4">
                    <c:v>Boursin Classique Fromage Frais A Tartiner Figue Et 3 Noix Boite 1X150Gr 1P</c:v>
                  </c:pt>
                  <c:pt idx="5">
                    <c:v>Boursin Classique Fromage Frais A Tartiner Afh Boite 1X80Gr 1P</c:v>
                  </c:pt>
                  <c:pt idx="6">
                    <c:v>Boursin Classique Fromage Frais A Tartiner Poivre Boite 1X150Gr 1P</c:v>
                  </c:pt>
                  <c:pt idx="7">
                    <c:v>Boursin Classique Fromage Frais A Tartiner Afh Boite 1X96Gr 6P</c:v>
                  </c:pt>
                  <c:pt idx="8">
                    <c:v>Boursin Classique Fromage Frais A Tartiner Afh 1X256Gr 16P</c:v>
                  </c:pt>
                  <c:pt idx="9">
                    <c:v>Boursin Classique Fromage Frais A Tartiner Ciboulette &amp; Echalote 1X160Gr 10P</c:v>
                  </c:pt>
                  <c:pt idx="10">
                    <c:v>Boursin Classique Fromage Frais A Tartiner Afh Boite 1X250Gr 1P</c:v>
                  </c:pt>
                  <c:pt idx="11">
                    <c:v>Boursin Onctueux Fromage Frais A Tartiner Afh 1X125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095A3E7-E319-413D-89CC-8831DDF0AE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0A32B85-5513-40EF-8ACE-17036D5273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AFC22DFA-1AFA-46F4-996D-3DA23D482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08CE701-4202-417F-A0CF-C796288F8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D96775E-429F-483B-80C7-E2C45444F8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3B0C188-5468-4A4F-8F96-BEDA3CE3D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289555D-D2D5-42B8-9A25-591F126E2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3</c:f>
              <c:numCache>
                <c:formatCode>General</c:formatCode>
                <c:ptCount val="2"/>
                <c:pt idx="0">
                  <c:v>0.49880000000000002</c:v>
                </c:pt>
                <c:pt idx="1">
                  <c:v>0.50219999999999998</c:v>
                </c:pt>
              </c:numCache>
            </c:numRef>
          </c:xVal>
          <c:yVal>
            <c:numRef>
              <c:f>Sheet1!$B$2:$B$3</c:f>
              <c:numCache>
                <c:formatCode>General</c:formatCode>
                <c:ptCount val="2"/>
                <c:pt idx="0">
                  <c:v>1130.954545454545</c:v>
                </c:pt>
                <c:pt idx="1">
                  <c:v>423.2</c:v>
                </c:pt>
              </c:numCache>
            </c:numRef>
          </c:yVal>
          <c:bubbleSize>
            <c:numRef>
              <c:f>Sheet1!$C$2:$C$3</c:f>
              <c:numCache>
                <c:formatCode>General</c:formatCode>
                <c:ptCount val="2"/>
                <c:pt idx="0">
                  <c:v>23639.9568</c:v>
                </c:pt>
                <c:pt idx="1">
                  <c:v>9984.4553999999989</c:v>
                </c:pt>
              </c:numCache>
            </c:numRef>
          </c:bubbleSize>
          <c:bubble3D val="0"/>
          <c:extLst>
            <c:ext xmlns:c15="http://schemas.microsoft.com/office/drawing/2012/chart" uri="{02D57815-91ED-43cb-92C2-25804820EDAC}">
              <c15:datalabelsRange>
                <c15:f>Sheet1!$E$2:$E$50</c15:f>
                <c15:dlblRangeCache>
                  <c:ptCount val="49"/>
                  <c:pt idx="0">
                    <c:v>Kiri Delicieusement Fouette Fromage Frais A Tartiner 1X125Gr 1P</c:v>
                  </c:pt>
                  <c:pt idx="1">
                    <c:v>Kiri Delicieusement Fouette Fromage Frais A Tartiner 1X160Gr 1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0274BDF-B9E4-4A93-B9C1-5EF730092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995E536-33BD-4595-9DCE-EBA8425A7A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7F35252-C2F4-4E6C-939E-6F63A51CA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EBE91EE-5E94-480D-BB5B-2B8D928545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166CC23-F09F-4FDC-B0F2-B02F09B6B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0E62E7E-DB80-4777-A930-A7C56DE6A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5AE04F0-5AD5-4D6E-B932-E05C9EFB8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13</c:f>
              <c:numCache>
                <c:formatCode>General</c:formatCode>
                <c:ptCount val="12"/>
                <c:pt idx="0">
                  <c:v>0.39019999999999999</c:v>
                </c:pt>
                <c:pt idx="1">
                  <c:v>0.40150000000000002</c:v>
                </c:pt>
                <c:pt idx="2">
                  <c:v>0.47849999999999998</c:v>
                </c:pt>
                <c:pt idx="3">
                  <c:v>0.60070000000000001</c:v>
                </c:pt>
                <c:pt idx="4">
                  <c:v>0.45800000000000002</c:v>
                </c:pt>
                <c:pt idx="5">
                  <c:v>0.46829999999999999</c:v>
                </c:pt>
                <c:pt idx="6">
                  <c:v>0.442</c:v>
                </c:pt>
                <c:pt idx="7">
                  <c:v>0.43880000000000002</c:v>
                </c:pt>
                <c:pt idx="8">
                  <c:v>0.39750000000000002</c:v>
                </c:pt>
                <c:pt idx="9">
                  <c:v>0.47560000000000002</c:v>
                </c:pt>
                <c:pt idx="10">
                  <c:v>0.40870000000000001</c:v>
                </c:pt>
                <c:pt idx="11">
                  <c:v>0.52190000000000003</c:v>
                </c:pt>
              </c:numCache>
            </c:numRef>
          </c:xVal>
          <c:yVal>
            <c:numRef>
              <c:f>Sheet1!$B$2:$B$13</c:f>
              <c:numCache>
                <c:formatCode>General</c:formatCode>
                <c:ptCount val="12"/>
                <c:pt idx="0">
                  <c:v>3907.088888888889</c:v>
                </c:pt>
                <c:pt idx="1">
                  <c:v>3670.663265306122</c:v>
                </c:pt>
                <c:pt idx="2">
                  <c:v>1491.433734939759</c:v>
                </c:pt>
                <c:pt idx="3">
                  <c:v>126.0606060606061</c:v>
                </c:pt>
                <c:pt idx="4">
                  <c:v>1809.314606741573</c:v>
                </c:pt>
                <c:pt idx="5">
                  <c:v>734.41666666666663</c:v>
                </c:pt>
                <c:pt idx="6">
                  <c:v>1149.7733333333331</c:v>
                </c:pt>
                <c:pt idx="7">
                  <c:v>1990.4594594594589</c:v>
                </c:pt>
                <c:pt idx="8">
                  <c:v>806.3125</c:v>
                </c:pt>
                <c:pt idx="9">
                  <c:v>756.10869565217388</c:v>
                </c:pt>
                <c:pt idx="10">
                  <c:v>2690.9662921348308</c:v>
                </c:pt>
                <c:pt idx="11">
                  <c:v>2365.8641975308642</c:v>
                </c:pt>
              </c:numCache>
            </c:numRef>
          </c:yVal>
          <c:bubbleSize>
            <c:numRef>
              <c:f>Sheet1!$C$2:$C$13</c:f>
              <c:numCache>
                <c:formatCode>General</c:formatCode>
                <c:ptCount val="12"/>
                <c:pt idx="0">
                  <c:v>203224.26610000001</c:v>
                </c:pt>
                <c:pt idx="1">
                  <c:v>204063.94519999999</c:v>
                </c:pt>
                <c:pt idx="2">
                  <c:v>61191.166899999989</c:v>
                </c:pt>
                <c:pt idx="3">
                  <c:v>1574.5454999999999</c:v>
                </c:pt>
                <c:pt idx="4">
                  <c:v>82728.546799999996</c:v>
                </c:pt>
                <c:pt idx="5">
                  <c:v>4441.4790000000003</c:v>
                </c:pt>
                <c:pt idx="6">
                  <c:v>45605.556199999992</c:v>
                </c:pt>
                <c:pt idx="7">
                  <c:v>78358.659800000009</c:v>
                </c:pt>
                <c:pt idx="8">
                  <c:v>29471.16599999999</c:v>
                </c:pt>
                <c:pt idx="9">
                  <c:v>17286.738700000002</c:v>
                </c:pt>
                <c:pt idx="10">
                  <c:v>134223.04699999999</c:v>
                </c:pt>
                <c:pt idx="11">
                  <c:v>86851.195999999982</c:v>
                </c:pt>
              </c:numCache>
            </c:numRef>
          </c:bubbleSize>
          <c:bubble3D val="0"/>
          <c:extLst>
            <c:ext xmlns:c15="http://schemas.microsoft.com/office/drawing/2012/chart" uri="{02D57815-91ED-43cb-92C2-25804820EDAC}">
              <c15:datalabelsRange>
                <c15:f>Sheet1!$E$2:$E$50</c15:f>
                <c15:dlblRangeCache>
                  <c:ptCount val="49"/>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Truffe Boite 1X150Gr 1P</c:v>
                  </c:pt>
                  <c:pt idx="4">
                    <c:v>Boursin Classique Fromage Frais A Tartiner Figue Et 3 Noix Boite 1X150Gr 1P</c:v>
                  </c:pt>
                  <c:pt idx="5">
                    <c:v>Boursin Classique Fromage Frais A Tartiner Afh Boite 1X80Gr 1P</c:v>
                  </c:pt>
                  <c:pt idx="6">
                    <c:v>Boursin Classique Fromage Frais A Tartiner Poivre Boite 1X150Gr 1P</c:v>
                  </c:pt>
                  <c:pt idx="7">
                    <c:v>Boursin Classique Fromage Frais A Tartiner Afh Boite 1X96Gr 6P</c:v>
                  </c:pt>
                  <c:pt idx="8">
                    <c:v>Boursin Classique Fromage Frais A Tartiner Afh 1X256Gr 16P</c:v>
                  </c:pt>
                  <c:pt idx="9">
                    <c:v>Boursin Classique Fromage Frais A Tartiner Ciboulette &amp; Echalote 1X160Gr 10P</c:v>
                  </c:pt>
                  <c:pt idx="10">
                    <c:v>Boursin Classique Fromage Frais A Tartiner Afh Boite 1X250Gr 1P</c:v>
                  </c:pt>
                  <c:pt idx="11">
                    <c:v>Boursin Onctueux Fromage Frais A Tartiner Afh 1X125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79E4E41-4012-41ED-B5A6-F2C829CDB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F4BAA87-240F-4A39-B82A-E0DC2137C1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D42E428-D020-4A5F-A47E-ED9BF8729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095A1D6-D547-42F3-897C-DD4E233D7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C386928-70FC-44C3-B2E9-822CB662F9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863FE4F-3C11-4DA0-AD34-57EE560E48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04A48C5-0E75-4689-9D00-3780D76FFD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3926</c:v>
                </c:pt>
                <c:pt idx="1">
                  <c:v>0.44700000000000001</c:v>
                </c:pt>
                <c:pt idx="2">
                  <c:v>0.53649999999999998</c:v>
                </c:pt>
                <c:pt idx="3">
                  <c:v>0.4264</c:v>
                </c:pt>
                <c:pt idx="4">
                  <c:v>0.40820000000000001</c:v>
                </c:pt>
                <c:pt idx="5">
                  <c:v>0.38669999999999999</c:v>
                </c:pt>
              </c:numCache>
            </c:numRef>
          </c:xVal>
          <c:yVal>
            <c:numRef>
              <c:f>Sheet1!$B$2:$B$7</c:f>
              <c:numCache>
                <c:formatCode>General</c:formatCode>
                <c:ptCount val="6"/>
                <c:pt idx="0">
                  <c:v>20726.226611226612</c:v>
                </c:pt>
                <c:pt idx="1">
                  <c:v>4221.7228464419468</c:v>
                </c:pt>
                <c:pt idx="2">
                  <c:v>1752.3170731707321</c:v>
                </c:pt>
                <c:pt idx="3">
                  <c:v>5431.6768665850677</c:v>
                </c:pt>
                <c:pt idx="4">
                  <c:v>2424.0594059405939</c:v>
                </c:pt>
                <c:pt idx="5">
                  <c:v>1723.954154727794</c:v>
                </c:pt>
              </c:numCache>
            </c:numRef>
          </c:yVal>
          <c:bubbleSize>
            <c:numRef>
              <c:f>Sheet1!$C$2:$C$7</c:f>
              <c:numCache>
                <c:formatCode>General</c:formatCode>
                <c:ptCount val="6"/>
                <c:pt idx="0">
                  <c:v>1147947.4047999999</c:v>
                </c:pt>
                <c:pt idx="1">
                  <c:v>177245.5282</c:v>
                </c:pt>
                <c:pt idx="2">
                  <c:v>56817.089500000002</c:v>
                </c:pt>
                <c:pt idx="3">
                  <c:v>241292.2684</c:v>
                </c:pt>
                <c:pt idx="4">
                  <c:v>96136.576799999981</c:v>
                </c:pt>
                <c:pt idx="5">
                  <c:v>69949.332200000004</c:v>
                </c:pt>
              </c:numCache>
            </c:numRef>
          </c:bubbleSize>
          <c:bubble3D val="0"/>
          <c:extLst>
            <c:ext xmlns:c15="http://schemas.microsoft.com/office/drawing/2012/chart" uri="{02D57815-91ED-43cb-92C2-25804820EDAC}">
              <c15:datalabelsRange>
                <c15:f>Sheet1!$E$2:$E$50</c15:f>
                <c15:dlblRangeCache>
                  <c:ptCount val="49"/>
                  <c:pt idx="0">
                    <c:v>Boursin Salade &amp; Aperitif Fromage Frais Des Afh 1X120Gr 1P</c:v>
                  </c:pt>
                  <c:pt idx="1">
                    <c:v>Boursin Salade &amp; Aperitif Fromage Frais Des Figue Noix 1X120Gr 1P</c:v>
                  </c:pt>
                  <c:pt idx="2">
                    <c:v>Boursin Salade &amp; Aperitif Fromage Frais Des Noisette Et 3 Noix 1X120Gr 1P</c:v>
                  </c:pt>
                  <c:pt idx="3">
                    <c:v>Boursin Salade &amp; Aperitif Fromage Frais Des Ciboulette Echalote 1X120Gr 1P</c:v>
                  </c:pt>
                  <c:pt idx="4">
                    <c:v>Boursin Salade &amp; Aperitif Fromage Frais Des Citron Romarin 1X120Gr 1P</c:v>
                  </c:pt>
                  <c:pt idx="5">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B$2:$B$8</c:f>
              <c:numCache>
                <c:formatCode>General</c:formatCode>
                <c:ptCount val="7"/>
                <c:pt idx="0">
                  <c:v>0.29931537598776903</c:v>
                </c:pt>
                <c:pt idx="1">
                  <c:v>0.25401889603584105</c:v>
                </c:pt>
                <c:pt idx="2">
                  <c:v>0.21537172829916659</c:v>
                </c:pt>
                <c:pt idx="3">
                  <c:v>0.13750191574979714</c:v>
                </c:pt>
                <c:pt idx="4">
                  <c:v>7.3735821978016522E-2</c:v>
                </c:pt>
                <c:pt idx="5">
                  <c:v>2.0054344220304918E-2</c:v>
                </c:pt>
                <c:pt idx="6">
                  <c:v>1.917729104718372E-6</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C$2:$C$8</c:f>
              <c:numCache>
                <c:formatCode>General</c:formatCode>
                <c:ptCount val="7"/>
                <c:pt idx="0">
                  <c:v>0.25189947399181761</c:v>
                </c:pt>
                <c:pt idx="1">
                  <c:v>0.24751607247223845</c:v>
                </c:pt>
                <c:pt idx="2">
                  <c:v>0.26592635885447097</c:v>
                </c:pt>
                <c:pt idx="3">
                  <c:v>0.11426066627703095</c:v>
                </c:pt>
                <c:pt idx="4">
                  <c:v>8.2992402104032706E-2</c:v>
                </c:pt>
                <c:pt idx="5">
                  <c:v>3.7405026300409115E-2</c:v>
                </c:pt>
                <c:pt idx="6">
                  <c:v>0</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c:v>
                </c:pt>
                <c:pt idx="1">
                  <c:v>Mini Babybel</c:v>
                </c:pt>
                <c:pt idx="2">
                  <c:v>Kiri</c:v>
                </c:pt>
                <c:pt idx="3">
                  <c:v>Private Label</c:v>
                </c:pt>
                <c:pt idx="4">
                  <c:v>Ficello</c:v>
                </c:pt>
                <c:pt idx="5">
                  <c:v>P'Tit Louis</c:v>
                </c:pt>
                <c:pt idx="6">
                  <c:v>Others</c:v>
                </c:pt>
              </c:strCache>
            </c:strRef>
          </c:cat>
          <c:val>
            <c:numRef>
              <c:f>Sheet1!$D$2:$D$8</c:f>
              <c:numCache>
                <c:formatCode>General</c:formatCode>
                <c:ptCount val="7"/>
                <c:pt idx="0">
                  <c:v>84.158547872966949</c:v>
                </c:pt>
                <c:pt idx="1">
                  <c:v>97.440023689149058</c:v>
                </c:pt>
                <c:pt idx="2">
                  <c:v>123.47319722720542</c:v>
                </c:pt>
                <c:pt idx="3">
                  <c:v>83.097508608493342</c:v>
                </c:pt>
                <c:pt idx="4">
                  <c:v>112.55370846584707</c:v>
                </c:pt>
                <c:pt idx="5">
                  <c:v>186.51832186333334</c:v>
                </c:pt>
                <c:pt idx="6">
                  <c:v>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F9BDA98-C2DC-4614-A114-FEAA511A3F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5582835-ECA0-4FD9-A179-F6FECBDE02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0B2D8A2-6ABD-47D5-AA20-18C029C84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951D693-9117-4C2B-AEF1-01AA1BF91E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33B7FC46-9B7C-46C9-85AB-7FB5A051F3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8DA41D4-8879-4085-816B-C5E29B244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E2D560A1-8E1B-4B1C-9211-F058153C3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3430000000000002</c:v>
                </c:pt>
                <c:pt idx="1">
                  <c:v>0.38550000000000001</c:v>
                </c:pt>
                <c:pt idx="2">
                  <c:v>0.36380000000000001</c:v>
                </c:pt>
                <c:pt idx="3">
                  <c:v>0.42049999999999998</c:v>
                </c:pt>
                <c:pt idx="4">
                  <c:v>0.4869</c:v>
                </c:pt>
                <c:pt idx="5">
                  <c:v>0.47799999999999998</c:v>
                </c:pt>
              </c:numCache>
            </c:numRef>
          </c:xVal>
          <c:yVal>
            <c:numRef>
              <c:f>Sheet1!$B$2:$B$7</c:f>
              <c:numCache>
                <c:formatCode>General</c:formatCode>
                <c:ptCount val="6"/>
                <c:pt idx="0">
                  <c:v>11293.564049586779</c:v>
                </c:pt>
                <c:pt idx="1">
                  <c:v>2199.2426035502958</c:v>
                </c:pt>
                <c:pt idx="2">
                  <c:v>1098.2067247820671</c:v>
                </c:pt>
                <c:pt idx="3">
                  <c:v>3335.8687727825031</c:v>
                </c:pt>
                <c:pt idx="4">
                  <c:v>1614.075757575758</c:v>
                </c:pt>
                <c:pt idx="5">
                  <c:v>1111.304347826087</c:v>
                </c:pt>
              </c:numCache>
            </c:numRef>
          </c:yVal>
          <c:bubbleSize>
            <c:numRef>
              <c:f>Sheet1!$C$2:$C$7</c:f>
              <c:numCache>
                <c:formatCode>General</c:formatCode>
                <c:ptCount val="6"/>
                <c:pt idx="0">
                  <c:v>586213.45919999992</c:v>
                </c:pt>
                <c:pt idx="1">
                  <c:v>108247.5664</c:v>
                </c:pt>
                <c:pt idx="2">
                  <c:v>53176.012199999997</c:v>
                </c:pt>
                <c:pt idx="3">
                  <c:v>150811.14780000001</c:v>
                </c:pt>
                <c:pt idx="4">
                  <c:v>51813.046099999992</c:v>
                </c:pt>
                <c:pt idx="5">
                  <c:v>22765.070899999999</c:v>
                </c:pt>
              </c:numCache>
            </c:numRef>
          </c:bubbleSize>
          <c:bubble3D val="0"/>
          <c:extLst>
            <c:ext xmlns:c15="http://schemas.microsoft.com/office/drawing/2012/chart" uri="{02D57815-91ED-43cb-92C2-25804820EDAC}">
              <c15:datalabelsRange>
                <c15:f>Sheet1!$E$2:$E$50</c15:f>
                <c15:dlblRangeCache>
                  <c:ptCount val="49"/>
                  <c:pt idx="0">
                    <c:v>Boursin Salade &amp; Aperitif Fromage Frais Des Afh 1X120Gr 1P</c:v>
                  </c:pt>
                  <c:pt idx="1">
                    <c:v>Boursin Salade &amp; Aperitif Fromage Frais Des Figue Noix 1X120Gr 1P</c:v>
                  </c:pt>
                  <c:pt idx="2">
                    <c:v>Boursin Salade &amp; Aperitif Fromage Frais Des Noisette Et 3 Noix 1X120Gr 1P</c:v>
                  </c:pt>
                  <c:pt idx="3">
                    <c:v>Boursin Salade &amp; Aperitif Fromage Frais Des Ciboulette Echalote 1X120Gr 1P</c:v>
                  </c:pt>
                  <c:pt idx="4">
                    <c:v>Boursin Salade &amp; Aperitif Fromage Frais Des Citron Romarin 1X120Gr 1P</c:v>
                  </c:pt>
                  <c:pt idx="5">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348FB4A-3E7F-40D0-8FBB-F19B05A41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7DCED8F-FF1C-4326-BC1E-A4AD686E8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8A7BA0B-90A9-4411-B441-A8F0E6B3E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7A8DBAB-3AAB-4442-A654-D3E2C095C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A41D6A1B-47D3-45E5-A6A3-7973A0CFA1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687A604-C1AF-46E5-BD3B-267B287E4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F15392C-7D55-4C74-8CCE-C7D35F4CA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34739999999999999</c:v>
                </c:pt>
                <c:pt idx="1">
                  <c:v>0.46879999999999999</c:v>
                </c:pt>
                <c:pt idx="2">
                  <c:v>0.55230000000000001</c:v>
                </c:pt>
                <c:pt idx="3">
                  <c:v>0.45100000000000001</c:v>
                </c:pt>
                <c:pt idx="4">
                  <c:v>0.40339999999999998</c:v>
                </c:pt>
                <c:pt idx="5">
                  <c:v>0.36549999999999999</c:v>
                </c:pt>
              </c:numCache>
            </c:numRef>
          </c:xVal>
          <c:yVal>
            <c:numRef>
              <c:f>Sheet1!$B$2:$B$7</c:f>
              <c:numCache>
                <c:formatCode>General</c:formatCode>
                <c:ptCount val="6"/>
                <c:pt idx="0">
                  <c:v>6542.91</c:v>
                </c:pt>
                <c:pt idx="1">
                  <c:v>1562.84</c:v>
                </c:pt>
                <c:pt idx="2">
                  <c:v>708.27083333333337</c:v>
                </c:pt>
                <c:pt idx="3">
                  <c:v>2741.89</c:v>
                </c:pt>
                <c:pt idx="4">
                  <c:v>844.63157894736844</c:v>
                </c:pt>
                <c:pt idx="5">
                  <c:v>593.85106382978722</c:v>
                </c:pt>
              </c:numCache>
            </c:numRef>
          </c:yVal>
          <c:bubbleSize>
            <c:numRef>
              <c:f>Sheet1!$C$2:$C$7</c:f>
              <c:numCache>
                <c:formatCode>General</c:formatCode>
                <c:ptCount val="6"/>
                <c:pt idx="0">
                  <c:v>404752.79509999999</c:v>
                </c:pt>
                <c:pt idx="1">
                  <c:v>78689.65879999999</c:v>
                </c:pt>
                <c:pt idx="2">
                  <c:v>28854.082600000002</c:v>
                </c:pt>
                <c:pt idx="3">
                  <c:v>142684.70430000001</c:v>
                </c:pt>
                <c:pt idx="4">
                  <c:v>45376.329899999997</c:v>
                </c:pt>
                <c:pt idx="5">
                  <c:v>33570.772400000002</c:v>
                </c:pt>
              </c:numCache>
            </c:numRef>
          </c:bubbleSize>
          <c:bubble3D val="0"/>
          <c:extLst>
            <c:ext xmlns:c15="http://schemas.microsoft.com/office/drawing/2012/chart" uri="{02D57815-91ED-43cb-92C2-25804820EDAC}">
              <c15:datalabelsRange>
                <c15:f>Sheet1!$E$2:$E$50</c15:f>
                <c15:dlblRangeCache>
                  <c:ptCount val="49"/>
                  <c:pt idx="0">
                    <c:v>Boursin Salade &amp; Aperitif Fromage Frais Des Afh 1X120Gr 1P</c:v>
                  </c:pt>
                  <c:pt idx="1">
                    <c:v>Boursin Salade &amp; Aperitif Fromage Frais Des Figue Noix 1X120Gr 1P</c:v>
                  </c:pt>
                  <c:pt idx="2">
                    <c:v>Boursin Salade &amp; Aperitif Fromage Frais Des Noisette Et 3 Noix 1X120Gr 1P</c:v>
                  </c:pt>
                  <c:pt idx="3">
                    <c:v>Boursin Salade &amp; Aperitif Fromage Frais Des Ciboulette Echalote 1X120Gr 1P</c:v>
                  </c:pt>
                  <c:pt idx="4">
                    <c:v>Boursin Salade &amp; Aperitif Fromage Frais Des Citron Romarin 1X120Gr 1P</c:v>
                  </c:pt>
                  <c:pt idx="5">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B207D2B-4647-4416-A8F7-6BE8427B4A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4AD70F8-6AA6-42FE-8487-D21429EAC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468BEB4-2D13-48A9-A8C5-C49D7B306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F0C5E36-8392-4ACD-9324-71EB5F097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767898CC-D0C6-40AE-B7FF-4511FAEA1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E88C29F-B417-42B4-A451-349C1AE6C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7A3ACB7-E04F-4259-B3B7-2F13A0F1C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33850000000000002</c:v>
                </c:pt>
                <c:pt idx="1">
                  <c:v>0.42830000000000001</c:v>
                </c:pt>
                <c:pt idx="2">
                  <c:v>0.51900000000000002</c:v>
                </c:pt>
                <c:pt idx="3">
                  <c:v>0.38650000000000001</c:v>
                </c:pt>
                <c:pt idx="4">
                  <c:v>0.41239999999999999</c:v>
                </c:pt>
                <c:pt idx="5">
                  <c:v>0.40510000000000002</c:v>
                </c:pt>
              </c:numCache>
            </c:numRef>
          </c:xVal>
          <c:yVal>
            <c:numRef>
              <c:f>Sheet1!$B$2:$B$7</c:f>
              <c:numCache>
                <c:formatCode>General</c:formatCode>
                <c:ptCount val="6"/>
                <c:pt idx="0">
                  <c:v>7616.333333333333</c:v>
                </c:pt>
                <c:pt idx="1">
                  <c:v>1998.6373626373629</c:v>
                </c:pt>
                <c:pt idx="2">
                  <c:v>776.29113924050637</c:v>
                </c:pt>
                <c:pt idx="3">
                  <c:v>1784.8315789473679</c:v>
                </c:pt>
                <c:pt idx="4">
                  <c:v>1265.291666666667</c:v>
                </c:pt>
                <c:pt idx="5">
                  <c:v>908.5915492957746</c:v>
                </c:pt>
              </c:numCache>
            </c:numRef>
          </c:yVal>
          <c:bubbleSize>
            <c:numRef>
              <c:f>Sheet1!$C$2:$C$7</c:f>
              <c:numCache>
                <c:formatCode>General</c:formatCode>
                <c:ptCount val="6"/>
                <c:pt idx="0">
                  <c:v>472778.95269999991</c:v>
                </c:pt>
                <c:pt idx="1">
                  <c:v>98555.869400000011</c:v>
                </c:pt>
                <c:pt idx="2">
                  <c:v>27963.0069</c:v>
                </c:pt>
                <c:pt idx="3">
                  <c:v>98599.152199999982</c:v>
                </c:pt>
                <c:pt idx="4">
                  <c:v>50744.359600000003</c:v>
                </c:pt>
                <c:pt idx="5">
                  <c:v>36378.559800000003</c:v>
                </c:pt>
              </c:numCache>
            </c:numRef>
          </c:bubbleSize>
          <c:bubble3D val="0"/>
          <c:extLst>
            <c:ext xmlns:c15="http://schemas.microsoft.com/office/drawing/2012/chart" uri="{02D57815-91ED-43cb-92C2-25804820EDAC}">
              <c15:datalabelsRange>
                <c15:f>Sheet1!$E$2:$E$50</c15:f>
                <c15:dlblRangeCache>
                  <c:ptCount val="49"/>
                  <c:pt idx="0">
                    <c:v>Boursin Salade &amp; Aperitif Fromage Frais Des Afh 1X120Gr 1P</c:v>
                  </c:pt>
                  <c:pt idx="1">
                    <c:v>Boursin Salade &amp; Aperitif Fromage Frais Des Figue Noix 1X120Gr 1P</c:v>
                  </c:pt>
                  <c:pt idx="2">
                    <c:v>Boursin Salade &amp; Aperitif Fromage Frais Des Noisette Et 3 Noix 1X120Gr 1P</c:v>
                  </c:pt>
                  <c:pt idx="3">
                    <c:v>Boursin Salade &amp; Aperitif Fromage Frais Des Ciboulette Echalote 1X120Gr 1P</c:v>
                  </c:pt>
                  <c:pt idx="4">
                    <c:v>Boursin Salade &amp; Aperitif Fromage Frais Des Citron Romarin 1X120Gr 1P</c:v>
                  </c:pt>
                  <c:pt idx="5">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8D9A529-EA39-4E5A-8F0B-FE79575CA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DA-4C69-8E79-A083B7EFBA29}"/>
                </c:ext>
              </c:extLst>
            </c:dLbl>
            <c:dLbl>
              <c:idx val="2"/>
              <c:tx>
                <c:rich>
                  <a:bodyPr/>
                  <a:lstStyle/>
                  <a:p>
                    <a:fld id="{96334B56-0C49-49B1-AD36-25FBF9F0D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FDA-4C69-8E79-A083B7EFBA29}"/>
                </c:ext>
              </c:extLst>
            </c:dLbl>
            <c:dLbl>
              <c:idx val="3"/>
              <c:tx>
                <c:rich>
                  <a:bodyPr/>
                  <a:lstStyle/>
                  <a:p>
                    <a:fld id="{2AC4EB8C-96F7-43F7-8C5E-7E0837CD5D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FB1D818-CCD8-4220-BFD0-4D2F50563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FDB11047-F2AD-41E5-9B53-4BC14C428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B8C0F6C-9E51-4806-B775-3A8C1D0638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DA6BCA9-58C0-4B60-AC98-4070A1D220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2</c:f>
              <c:numCache>
                <c:formatCode>General</c:formatCode>
                <c:ptCount val="1"/>
                <c:pt idx="0">
                  <c:v>0.51280000000000003</c:v>
                </c:pt>
              </c:numCache>
            </c:numRef>
          </c:xVal>
          <c:yVal>
            <c:numRef>
              <c:f>Sheet1!$B$2:$B$2</c:f>
              <c:numCache>
                <c:formatCode>General</c:formatCode>
                <c:ptCount val="1"/>
                <c:pt idx="0">
                  <c:v>7412.0886075949365</c:v>
                </c:pt>
              </c:numCache>
            </c:numRef>
          </c:yVal>
          <c:bubbleSize>
            <c:numRef>
              <c:f>Sheet1!$C$2:$C$2</c:f>
              <c:numCache>
                <c:formatCode>General</c:formatCode>
                <c:ptCount val="1"/>
                <c:pt idx="0">
                  <c:v>270415.65699999989</c:v>
                </c:pt>
              </c:numCache>
            </c:numRef>
          </c:bubbleSize>
          <c:bubble3D val="0"/>
          <c:extLst>
            <c:ext xmlns:c15="http://schemas.microsoft.com/office/drawing/2012/chart" uri="{02D57815-91ED-43cb-92C2-25804820EDAC}">
              <c15:datalabelsRange>
                <c15:f>Sheet1!$E$2:$E$50</c15:f>
                <c15:dlblRangeCache>
                  <c:ptCount val="49"/>
                  <c:pt idx="0">
                    <c:v>Boursin Salade &amp; Aperitif Fromage Frais Des Afh 1X120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4DC5AAC-7A2E-4D6C-8F18-A269838345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21A075D-D51C-4213-A96A-92BEFE3106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21C4E32-3E50-4FC7-967B-D2573F6D2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212E08B-0F28-40DE-BB58-459465169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BD045779-62D6-4B17-89A7-4FD3F02EEC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ABF2B97-4F23-447D-849E-1A60539FD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8E55DBE-2045-42F5-9F05-D35E1692C8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3149999999999999</c:v>
                </c:pt>
                <c:pt idx="1">
                  <c:v>0.38540000000000002</c:v>
                </c:pt>
                <c:pt idx="2">
                  <c:v>0.36480000000000001</c:v>
                </c:pt>
                <c:pt idx="3">
                  <c:v>0.42059999999999997</c:v>
                </c:pt>
                <c:pt idx="4">
                  <c:v>0.48699999999999999</c:v>
                </c:pt>
                <c:pt idx="5">
                  <c:v>0.4773</c:v>
                </c:pt>
              </c:numCache>
            </c:numRef>
          </c:xVal>
          <c:yVal>
            <c:numRef>
              <c:f>Sheet1!$B$2:$B$7</c:f>
              <c:numCache>
                <c:formatCode>General</c:formatCode>
                <c:ptCount val="6"/>
                <c:pt idx="0">
                  <c:v>8367.6530612244896</c:v>
                </c:pt>
                <c:pt idx="1">
                  <c:v>1613.590909090909</c:v>
                </c:pt>
                <c:pt idx="2">
                  <c:v>833.73493975903614</c:v>
                </c:pt>
                <c:pt idx="3">
                  <c:v>2456.744186046511</c:v>
                </c:pt>
                <c:pt idx="4">
                  <c:v>1204.2388059701491</c:v>
                </c:pt>
                <c:pt idx="5">
                  <c:v>880.45</c:v>
                </c:pt>
              </c:numCache>
            </c:numRef>
          </c:yVal>
          <c:bubbleSize>
            <c:numRef>
              <c:f>Sheet1!$C$2:$C$7</c:f>
              <c:numCache>
                <c:formatCode>General</c:formatCode>
                <c:ptCount val="6"/>
                <c:pt idx="0">
                  <c:v>441863.44069999998</c:v>
                </c:pt>
                <c:pt idx="1">
                  <c:v>82714.662700000001</c:v>
                </c:pt>
                <c:pt idx="2">
                  <c:v>41666.6322</c:v>
                </c:pt>
                <c:pt idx="3">
                  <c:v>116024.16160000001</c:v>
                </c:pt>
                <c:pt idx="4">
                  <c:v>39235.070699999997</c:v>
                </c:pt>
                <c:pt idx="5">
                  <c:v>17448.064399999999</c:v>
                </c:pt>
              </c:numCache>
            </c:numRef>
          </c:bubbleSize>
          <c:bubble3D val="0"/>
          <c:extLst>
            <c:ext xmlns:c15="http://schemas.microsoft.com/office/drawing/2012/chart" uri="{02D57815-91ED-43cb-92C2-25804820EDAC}">
              <c15:datalabelsRange>
                <c15:f>Sheet1!$E$2:$E$50</c15:f>
                <c15:dlblRangeCache>
                  <c:ptCount val="49"/>
                  <c:pt idx="0">
                    <c:v>Boursin Salade &amp; Aperitif Fromage Frais Des Afh 1X120Gr 1P</c:v>
                  </c:pt>
                  <c:pt idx="1">
                    <c:v>Boursin Salade &amp; Aperitif Fromage Frais Des Figue Noix 1X120Gr 1P</c:v>
                  </c:pt>
                  <c:pt idx="2">
                    <c:v>Boursin Salade &amp; Aperitif Fromage Frais Des Noisette Et 3 Noix 1X120Gr 1P</c:v>
                  </c:pt>
                  <c:pt idx="3">
                    <c:v>Boursin Salade &amp; Aperitif Fromage Frais Des Ciboulette Echalote 1X120Gr 1P</c:v>
                  </c:pt>
                  <c:pt idx="4">
                    <c:v>Boursin Salade &amp; Aperitif Fromage Frais Des Citron Romarin 1X120Gr 1P</c:v>
                  </c:pt>
                  <c:pt idx="5">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B814F20-3E67-4481-9141-30CDA44EA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D924872-DDF4-4ECF-8468-FD6794A6C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A31338C-1252-44C8-8420-E1B863FB21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EFBDCF5-1887-4749-97E9-B64EC5E9AC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9640347-66CA-445A-A600-3DF1A061B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B556890-42E0-428C-948B-FB98B4B29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B777F7DB-495A-4001-A999-D7A76F688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2159999999999997</c:v>
                </c:pt>
                <c:pt idx="1">
                  <c:v>0.36940000000000001</c:v>
                </c:pt>
                <c:pt idx="2">
                  <c:v>0.34960000000000002</c:v>
                </c:pt>
                <c:pt idx="3">
                  <c:v>0.40629999999999999</c:v>
                </c:pt>
                <c:pt idx="4">
                  <c:v>0.4728</c:v>
                </c:pt>
                <c:pt idx="5">
                  <c:v>0.46750000000000003</c:v>
                </c:pt>
              </c:numCache>
            </c:numRef>
          </c:xVal>
          <c:yVal>
            <c:numRef>
              <c:f>Sheet1!$B$2:$B$7</c:f>
              <c:numCache>
                <c:formatCode>General</c:formatCode>
                <c:ptCount val="6"/>
                <c:pt idx="0">
                  <c:v>1429.39</c:v>
                </c:pt>
                <c:pt idx="1">
                  <c:v>310.11340206185571</c:v>
                </c:pt>
                <c:pt idx="2">
                  <c:v>137.64646464646461</c:v>
                </c:pt>
                <c:pt idx="3">
                  <c:v>472.06315789473678</c:v>
                </c:pt>
                <c:pt idx="4">
                  <c:v>197.1935483870968</c:v>
                </c:pt>
                <c:pt idx="5">
                  <c:v>106.42465753424661</c:v>
                </c:pt>
              </c:numCache>
            </c:numRef>
          </c:yVal>
          <c:bubbleSize>
            <c:numRef>
              <c:f>Sheet1!$C$2:$C$7</c:f>
              <c:numCache>
                <c:formatCode>General</c:formatCode>
                <c:ptCount val="6"/>
                <c:pt idx="0">
                  <c:v>78365.946300000011</c:v>
                </c:pt>
                <c:pt idx="1">
                  <c:v>17978.888500000001</c:v>
                </c:pt>
                <c:pt idx="2">
                  <c:v>8400.5091000000011</c:v>
                </c:pt>
                <c:pt idx="3">
                  <c:v>25238.6037</c:v>
                </c:pt>
                <c:pt idx="4">
                  <c:v>9164.8017999999993</c:v>
                </c:pt>
                <c:pt idx="5">
                  <c:v>3921.063900000001</c:v>
                </c:pt>
              </c:numCache>
            </c:numRef>
          </c:bubbleSize>
          <c:bubble3D val="0"/>
          <c:extLst>
            <c:ext xmlns:c15="http://schemas.microsoft.com/office/drawing/2012/chart" uri="{02D57815-91ED-43cb-92C2-25804820EDAC}">
              <c15:datalabelsRange>
                <c15:f>Sheet1!$E$2:$E$50</c15:f>
                <c15:dlblRangeCache>
                  <c:ptCount val="49"/>
                  <c:pt idx="0">
                    <c:v>Boursin Salade &amp; Aperitif Fromage Frais Des Afh 1X120Gr 1P</c:v>
                  </c:pt>
                  <c:pt idx="1">
                    <c:v>Boursin Salade &amp; Aperitif Fromage Frais Des Figue Noix 1X120Gr 1P</c:v>
                  </c:pt>
                  <c:pt idx="2">
                    <c:v>Boursin Salade &amp; Aperitif Fromage Frais Des Noisette Et 3 Noix 1X120Gr 1P</c:v>
                  </c:pt>
                  <c:pt idx="3">
                    <c:v>Boursin Salade &amp; Aperitif Fromage Frais Des Ciboulette Echalote 1X120Gr 1P</c:v>
                  </c:pt>
                  <c:pt idx="4">
                    <c:v>Boursin Salade &amp; Aperitif Fromage Frais Des Citron Romarin 1X120Gr 1P</c:v>
                  </c:pt>
                  <c:pt idx="5">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41AFB13-7AE8-4DDE-BFA4-6CA925B06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33319D1-CDE2-43AF-9099-9A93B3A42F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1440298-1B41-42E3-8563-92CE39C575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43C4B98-A3AA-436A-987A-954AF2BEA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5E5E9747-1BBC-47DE-AF1A-6AF265B109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0F0D6B8-50B3-4C96-96CE-35A04BE664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74DBF49-3F0F-435C-9686-ABC6C9855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6550000000000002</c:v>
                </c:pt>
                <c:pt idx="1">
                  <c:v>0.42080000000000001</c:v>
                </c:pt>
                <c:pt idx="2">
                  <c:v>0.38800000000000001</c:v>
                </c:pt>
                <c:pt idx="3">
                  <c:v>0.45300000000000001</c:v>
                </c:pt>
                <c:pt idx="4">
                  <c:v>0.52029999999999998</c:v>
                </c:pt>
                <c:pt idx="5">
                  <c:v>0.51249999999999996</c:v>
                </c:pt>
              </c:numCache>
            </c:numRef>
          </c:xVal>
          <c:yVal>
            <c:numRef>
              <c:f>Sheet1!$B$2:$B$7</c:f>
              <c:numCache>
                <c:formatCode>General</c:formatCode>
                <c:ptCount val="6"/>
                <c:pt idx="0">
                  <c:v>1532.329411764706</c:v>
                </c:pt>
                <c:pt idx="1">
                  <c:v>292.74468085106378</c:v>
                </c:pt>
                <c:pt idx="2">
                  <c:v>130.70731707317071</c:v>
                </c:pt>
                <c:pt idx="3">
                  <c:v>428.27906976744191</c:v>
                </c:pt>
                <c:pt idx="4">
                  <c:v>268.07142857142861</c:v>
                </c:pt>
                <c:pt idx="5">
                  <c:v>215.78571428571419</c:v>
                </c:pt>
              </c:numCache>
            </c:numRef>
          </c:yVal>
          <c:bubbleSize>
            <c:numRef>
              <c:f>Sheet1!$C$2:$C$7</c:f>
              <c:numCache>
                <c:formatCode>General</c:formatCode>
                <c:ptCount val="6"/>
                <c:pt idx="0">
                  <c:v>65984.07220000001</c:v>
                </c:pt>
                <c:pt idx="1">
                  <c:v>7554.0151999999998</c:v>
                </c:pt>
                <c:pt idx="2">
                  <c:v>3108.8708999999999</c:v>
                </c:pt>
                <c:pt idx="3">
                  <c:v>9548.3824999999997</c:v>
                </c:pt>
                <c:pt idx="4">
                  <c:v>3413.1735999999992</c:v>
                </c:pt>
                <c:pt idx="5">
                  <c:v>1395.9426000000001</c:v>
                </c:pt>
              </c:numCache>
            </c:numRef>
          </c:bubbleSize>
          <c:bubble3D val="0"/>
          <c:extLst>
            <c:ext xmlns:c15="http://schemas.microsoft.com/office/drawing/2012/chart" uri="{02D57815-91ED-43cb-92C2-25804820EDAC}">
              <c15:datalabelsRange>
                <c15:f>Sheet1!$E$2:$E$50</c15:f>
                <c15:dlblRangeCache>
                  <c:ptCount val="49"/>
                  <c:pt idx="0">
                    <c:v>Boursin Salade &amp; Aperitif Fromage Frais Des Afh 1X120Gr 1P</c:v>
                  </c:pt>
                  <c:pt idx="1">
                    <c:v>Boursin Salade &amp; Aperitif Fromage Frais Des Figue Noix 1X120Gr 1P</c:v>
                  </c:pt>
                  <c:pt idx="2">
                    <c:v>Boursin Salade &amp; Aperitif Fromage Frais Des Noisette Et 3 Noix 1X120Gr 1P</c:v>
                  </c:pt>
                  <c:pt idx="3">
                    <c:v>Boursin Salade &amp; Aperitif Fromage Frais Des Ciboulette Echalote 1X120Gr 1P</c:v>
                  </c:pt>
                  <c:pt idx="4">
                    <c:v>Boursin Salade &amp; Aperitif Fromage Frais Des Citron Romarin 1X120Gr 1P</c:v>
                  </c:pt>
                  <c:pt idx="5">
                    <c:v>Boursin Salade &amp; Aperitif Soft Cheese Salade 120G</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58039BE-5DC1-43F5-B2A3-E9C787BEE4A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E4103A6-503B-497C-B52B-74A10AC71FF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50E4947-0D1C-4E70-94B7-17902C065B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E024E8F-3472-4F60-97AB-A686AFB2663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5B10111-8434-4FDE-A7D0-631E2C0F02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DAB3EC7-6707-4725-9D93-45417B25811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2E9EF32-FE9A-4494-9DF3-D6F0E10A149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E254DC2-1FC5-4E95-A5CF-6B30262E6CE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CF3AF12-FF73-44B5-B0B8-79BEA4CD0B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C6299D2-470F-4476-A2A9-7658825D421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77800000000000002</c:v>
                </c:pt>
                <c:pt idx="1">
                  <c:v>0.83399999999999996</c:v>
                </c:pt>
                <c:pt idx="2">
                  <c:v>0.77400000000000002</c:v>
                </c:pt>
                <c:pt idx="3">
                  <c:v>0.64300000000000002</c:v>
                </c:pt>
                <c:pt idx="4">
                  <c:v>0.71599999999999997</c:v>
                </c:pt>
                <c:pt idx="5">
                  <c:v>0.99</c:v>
                </c:pt>
                <c:pt idx="6">
                  <c:v>0.502</c:v>
                </c:pt>
                <c:pt idx="7">
                  <c:v>0.68899999999999995</c:v>
                </c:pt>
                <c:pt idx="8">
                  <c:v>0.94899999999999995</c:v>
                </c:pt>
                <c:pt idx="9">
                  <c:v>0.73199999999999998</c:v>
                </c:pt>
              </c:numCache>
            </c:numRef>
          </c:xVal>
          <c:yVal>
            <c:numRef>
              <c:f>Sheet1!$B$2:$B$11</c:f>
              <c:numCache>
                <c:formatCode>General</c:formatCode>
                <c:ptCount val="10"/>
                <c:pt idx="0">
                  <c:v>81394.755784061694</c:v>
                </c:pt>
                <c:pt idx="1">
                  <c:v>42862.613908872903</c:v>
                </c:pt>
                <c:pt idx="2">
                  <c:v>9290.7881136950891</c:v>
                </c:pt>
                <c:pt idx="3">
                  <c:v>7421.5241057542771</c:v>
                </c:pt>
                <c:pt idx="4">
                  <c:v>16379.70670391062</c:v>
                </c:pt>
                <c:pt idx="5">
                  <c:v>47708.959595959597</c:v>
                </c:pt>
                <c:pt idx="6">
                  <c:v>5967.6095617529882</c:v>
                </c:pt>
                <c:pt idx="7">
                  <c:v>5613.8606676342533</c:v>
                </c:pt>
                <c:pt idx="8">
                  <c:v>34465.816649104323</c:v>
                </c:pt>
                <c:pt idx="9">
                  <c:v>25172.049180327871</c:v>
                </c:pt>
              </c:numCache>
            </c:numRef>
          </c:yVal>
          <c:bubbleSize>
            <c:numRef>
              <c:f>Sheet1!$C$2:$C$11</c:f>
              <c:numCache>
                <c:formatCode>General</c:formatCode>
                <c:ptCount val="10"/>
                <c:pt idx="0">
                  <c:v>3725061.8516000011</c:v>
                </c:pt>
                <c:pt idx="1">
                  <c:v>2366962.6518000001</c:v>
                </c:pt>
                <c:pt idx="2">
                  <c:v>394784.88339999999</c:v>
                </c:pt>
                <c:pt idx="3">
                  <c:v>270428.12439999997</c:v>
                </c:pt>
                <c:pt idx="4">
                  <c:v>819173.43059999985</c:v>
                </c:pt>
                <c:pt idx="5">
                  <c:v>2907579.7757999999</c:v>
                </c:pt>
                <c:pt idx="6">
                  <c:v>183986.73240000001</c:v>
                </c:pt>
                <c:pt idx="7">
                  <c:v>224227.94260000001</c:v>
                </c:pt>
                <c:pt idx="8">
                  <c:v>1863564.0796999999</c:v>
                </c:pt>
                <c:pt idx="9">
                  <c:v>1155386.3507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FCDD5A2-EF4E-4F59-B5D8-67EE0B13C20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6B1B9B6-EA9B-4E23-B6E9-2053B4BA473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CF4233D-7DE6-47D4-9118-9151B337AC9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E5823AB-905E-49BC-8501-3832696008C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43F607F-DEA1-403B-B50B-A29D2B291F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EB9D2C5-13E5-45E1-A2BB-68E9BCBF77D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11F9B9A-15E1-4676-AEDE-8145EEAEE6F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2ACD951-88B4-447F-900D-29F0640A21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049A639-628D-43F4-B025-19A2F9BAED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675FB08-C20F-4062-9F6F-13EBAABDFAB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7</c:f>
              <c:numCache>
                <c:formatCode>General</c:formatCode>
                <c:ptCount val="16"/>
                <c:pt idx="0">
                  <c:v>0.85399999999999998</c:v>
                </c:pt>
                <c:pt idx="1">
                  <c:v>7.2999999999999995E-2</c:v>
                </c:pt>
                <c:pt idx="2">
                  <c:v>3.6999999999999998E-2</c:v>
                </c:pt>
                <c:pt idx="3">
                  <c:v>7.2999999999999995E-2</c:v>
                </c:pt>
                <c:pt idx="4">
                  <c:v>0.76400000000000001</c:v>
                </c:pt>
                <c:pt idx="5">
                  <c:v>0.98099999999999998</c:v>
                </c:pt>
                <c:pt idx="6">
                  <c:v>0.72499999999999998</c:v>
                </c:pt>
                <c:pt idx="7">
                  <c:v>0.89800000000000002</c:v>
                </c:pt>
                <c:pt idx="8">
                  <c:v>0.82699999999999996</c:v>
                </c:pt>
                <c:pt idx="9">
                  <c:v>0.495</c:v>
                </c:pt>
                <c:pt idx="10">
                  <c:v>0.69399999999999995</c:v>
                </c:pt>
                <c:pt idx="11">
                  <c:v>8.0000000000000002E-3</c:v>
                </c:pt>
                <c:pt idx="12">
                  <c:v>0.26900000000000002</c:v>
                </c:pt>
                <c:pt idx="13">
                  <c:v>0.48199999999999998</c:v>
                </c:pt>
                <c:pt idx="14">
                  <c:v>0.90800000000000003</c:v>
                </c:pt>
                <c:pt idx="15">
                  <c:v>0.434</c:v>
                </c:pt>
              </c:numCache>
            </c:numRef>
          </c:xVal>
          <c:yVal>
            <c:numRef>
              <c:f>Sheet1!$B$2:$B$17</c:f>
              <c:numCache>
                <c:formatCode>General</c:formatCode>
                <c:ptCount val="16"/>
                <c:pt idx="0">
                  <c:v>9790.5854800936777</c:v>
                </c:pt>
                <c:pt idx="1">
                  <c:v>3420</c:v>
                </c:pt>
                <c:pt idx="2">
                  <c:v>8120.5405405405409</c:v>
                </c:pt>
                <c:pt idx="3">
                  <c:v>3727.8082191780818</c:v>
                </c:pt>
                <c:pt idx="4">
                  <c:v>9643.9267015706791</c:v>
                </c:pt>
                <c:pt idx="5">
                  <c:v>64775.474006116208</c:v>
                </c:pt>
                <c:pt idx="6">
                  <c:v>19364.593103448271</c:v>
                </c:pt>
                <c:pt idx="7">
                  <c:v>72823.240534521159</c:v>
                </c:pt>
                <c:pt idx="8">
                  <c:v>143117.4607013301</c:v>
                </c:pt>
                <c:pt idx="9">
                  <c:v>7373.9595959595963</c:v>
                </c:pt>
                <c:pt idx="10">
                  <c:v>22077.01729106628</c:v>
                </c:pt>
                <c:pt idx="11">
                  <c:v>29388.75</c:v>
                </c:pt>
                <c:pt idx="12">
                  <c:v>1497.620817843866</c:v>
                </c:pt>
                <c:pt idx="13">
                  <c:v>3280.8506224066391</c:v>
                </c:pt>
                <c:pt idx="14">
                  <c:v>19583.832599118941</c:v>
                </c:pt>
                <c:pt idx="15">
                  <c:v>10205.71428571429</c:v>
                </c:pt>
              </c:numCache>
            </c:numRef>
          </c:yVal>
          <c:bubbleSize>
            <c:numRef>
              <c:f>Sheet1!$C$2:$C$17</c:f>
              <c:numCache>
                <c:formatCode>General</c:formatCode>
                <c:ptCount val="16"/>
                <c:pt idx="0">
                  <c:v>497022.74139999988</c:v>
                </c:pt>
                <c:pt idx="1">
                  <c:v>15255.8817</c:v>
                </c:pt>
                <c:pt idx="2">
                  <c:v>16203.212299999999</c:v>
                </c:pt>
                <c:pt idx="3">
                  <c:v>15284.8145</c:v>
                </c:pt>
                <c:pt idx="4">
                  <c:v>440206.3137</c:v>
                </c:pt>
                <c:pt idx="5">
                  <c:v>3547845.7534999992</c:v>
                </c:pt>
                <c:pt idx="6">
                  <c:v>991517.41429999995</c:v>
                </c:pt>
                <c:pt idx="7">
                  <c:v>4149231.1453999998</c:v>
                </c:pt>
                <c:pt idx="8">
                  <c:v>7678155.8173000012</c:v>
                </c:pt>
                <c:pt idx="9">
                  <c:v>217318.38440000001</c:v>
                </c:pt>
                <c:pt idx="10">
                  <c:v>850339.46379999991</c:v>
                </c:pt>
                <c:pt idx="11">
                  <c:v>9602.1797999999999</c:v>
                </c:pt>
                <c:pt idx="12">
                  <c:v>20057.296200000001</c:v>
                </c:pt>
                <c:pt idx="13">
                  <c:v>77295.212800000008</c:v>
                </c:pt>
                <c:pt idx="14">
                  <c:v>1074236.973</c:v>
                </c:pt>
                <c:pt idx="15">
                  <c:v>277329.53539999999</c:v>
                </c:pt>
              </c:numCache>
            </c:numRef>
          </c:bubbleSize>
          <c:bubble3D val="0"/>
          <c:extLst>
            <c:ext xmlns:c15="http://schemas.microsoft.com/office/drawing/2012/chart" uri="{02D57815-91ED-43cb-92C2-25804820EDAC}">
              <c15:datalabelsRange>
                <c15:f>Sheet1!$E$2:$E$21</c15:f>
                <c15:dlblRangeCache>
                  <c:ptCount val="20"/>
                  <c:pt idx="0">
                    <c:v>Toastinette Cheddar Fondu Tranche A Chaud Sachet 1X200Gr 10P</c:v>
                  </c:pt>
                  <c:pt idx="1">
                    <c:v>Toastinette Cheddar Fondu Tranche A Chaud Sachet 1X340Gr 20P</c:v>
                  </c:pt>
                  <c:pt idx="2">
                    <c:v>La Vache Qui Rit Aro Fromage Fondu Boite Ronde Jambon 1X133Gr 8P</c:v>
                  </c:pt>
                  <c:pt idx="3">
                    <c:v>Toastinette Fromage Fondu Tranche A Chaud Sachet 1X340Gr 20P</c:v>
                  </c:pt>
                  <c:pt idx="4">
                    <c:v>Toastinette Fromage Fondu Tranche A Chaud Sachet 1X200Gr 10P</c:v>
                  </c:pt>
                  <c:pt idx="5">
                    <c:v>La Vache Qui Rit Nature Fromage Fondu Boite Ronde 1X192Gr 12P</c:v>
                  </c:pt>
                  <c:pt idx="6">
                    <c:v>La Vache Qui Rit Nature Fromage Fondu Boite Ronde 1X512Gr 24+8P</c:v>
                  </c:pt>
                  <c:pt idx="7">
                    <c:v>La Vache Qui Rit Nature Fromage Fondu Boite Ronde 1X384Gr 24P</c:v>
                  </c:pt>
                  <c:pt idx="8">
                    <c:v>La Vache Qui Rit Nature Fromage Fondu Boite Ronde 1X512Gr 32P</c:v>
                  </c:pt>
                  <c:pt idx="9">
                    <c:v>La Vache Qui Rit Allegee Fromage Fondu Boite Ronde Allege 1X267Gr 16P</c:v>
                  </c:pt>
                  <c:pt idx="10">
                    <c:v>La Vache Qui Rit Nature Fromage Fondu Boite Ronde 1X128Gr 8P</c:v>
                  </c:pt>
                  <c:pt idx="11">
                    <c:v>La Vache Qui Rit Pik Et Croq' Fromage Fondu Dips Boite 1X35Gr 1P</c:v>
                  </c:pt>
                  <c:pt idx="12">
                    <c:v>La Vache Qui Rit Le Fondant Fromage Fondu 1X200Gr 1P</c:v>
                  </c:pt>
                  <c:pt idx="13">
                    <c:v>La Vache Qui Rit Bio Fromage Fondu Boite Ronde 1X128Gr 8P</c:v>
                  </c:pt>
                  <c:pt idx="14">
                    <c:v>La Vache Qui Rit Pik Et Croq' Fromage Fondu Dips Boite 1X175Gr 5P</c:v>
                  </c:pt>
                  <c:pt idx="15">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B02869B-B67D-4046-A0D1-4FCC68557CB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781361A-385F-437A-9B5A-AB3987461EF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C20D5C6-2D9F-4EC3-9639-3170D4E823C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F9C80FA-EE9A-4294-AA97-8ED279909D4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A99F06B-49FF-4195-A272-39A4B7DF1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782C59D-E672-4A53-B2BC-9DC2EF5435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84F1795-FB3C-4465-A639-3A97B22C864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C175D1A-6C40-4FED-B48F-58F23C114B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13E9345-6CA8-4896-87C7-0482E810719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49FCB03-F64C-4499-B03D-B15B4F397D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D530-475A-8F57-1AFC1FB2AA55}"/>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D530-475A-8F57-1AFC1FB2AA55}"/>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D530-475A-8F57-1AFC1FB2AA55}"/>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D530-475A-8F57-1AFC1FB2AA55}"/>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D530-475A-8F57-1AFC1FB2AA55}"/>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D530-475A-8F57-1AFC1FB2AA55}"/>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D530-475A-8F57-1AFC1FB2AA55}"/>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D530-475A-8F57-1AFC1FB2AA55}"/>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D530-475A-8F57-1AFC1FB2AA55}"/>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D530-475A-8F57-1AFC1FB2AA55}"/>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1</c:f>
              <c:numCache>
                <c:formatCode>General</c:formatCode>
                <c:ptCount val="30"/>
                <c:pt idx="0">
                  <c:v>0.91500000000000004</c:v>
                </c:pt>
                <c:pt idx="1">
                  <c:v>0.52800000000000002</c:v>
                </c:pt>
                <c:pt idx="2">
                  <c:v>0.77300000000000002</c:v>
                </c:pt>
                <c:pt idx="3">
                  <c:v>0.96799999999999997</c:v>
                </c:pt>
                <c:pt idx="4">
                  <c:v>0.79300000000000004</c:v>
                </c:pt>
                <c:pt idx="5">
                  <c:v>0.51100000000000001</c:v>
                </c:pt>
                <c:pt idx="6">
                  <c:v>0.69399999999999995</c:v>
                </c:pt>
                <c:pt idx="7">
                  <c:v>0.53700000000000003</c:v>
                </c:pt>
                <c:pt idx="8">
                  <c:v>0.379</c:v>
                </c:pt>
                <c:pt idx="9">
                  <c:v>0.442</c:v>
                </c:pt>
                <c:pt idx="10">
                  <c:v>0.96199999999999997</c:v>
                </c:pt>
                <c:pt idx="11">
                  <c:v>0.80100000000000005</c:v>
                </c:pt>
                <c:pt idx="12">
                  <c:v>0.73799999999999999</c:v>
                </c:pt>
                <c:pt idx="13">
                  <c:v>0.81699999999999995</c:v>
                </c:pt>
                <c:pt idx="14">
                  <c:v>0.70699999999999996</c:v>
                </c:pt>
                <c:pt idx="15">
                  <c:v>0.44700000000000001</c:v>
                </c:pt>
                <c:pt idx="16">
                  <c:v>0.40200000000000002</c:v>
                </c:pt>
                <c:pt idx="17">
                  <c:v>0.82099999999999995</c:v>
                </c:pt>
                <c:pt idx="18">
                  <c:v>0.90500000000000003</c:v>
                </c:pt>
                <c:pt idx="19">
                  <c:v>0.26500000000000001</c:v>
                </c:pt>
                <c:pt idx="20">
                  <c:v>7.4999999999999997E-2</c:v>
                </c:pt>
                <c:pt idx="21">
                  <c:v>0.78800000000000003</c:v>
                </c:pt>
                <c:pt idx="22">
                  <c:v>0.81699999999999995</c:v>
                </c:pt>
                <c:pt idx="23">
                  <c:v>0.77400000000000002</c:v>
                </c:pt>
                <c:pt idx="24">
                  <c:v>0.40899999999999997</c:v>
                </c:pt>
                <c:pt idx="25">
                  <c:v>0.28100000000000003</c:v>
                </c:pt>
                <c:pt idx="26">
                  <c:v>0.32400000000000001</c:v>
                </c:pt>
                <c:pt idx="27">
                  <c:v>0.69799999999999995</c:v>
                </c:pt>
                <c:pt idx="28">
                  <c:v>0.45500000000000002</c:v>
                </c:pt>
                <c:pt idx="29">
                  <c:v>0.35199999999999998</c:v>
                </c:pt>
              </c:numCache>
            </c:numRef>
          </c:xVal>
          <c:yVal>
            <c:numRef>
              <c:f>Sheet1!$B$2:$B$31</c:f>
              <c:numCache>
                <c:formatCode>General</c:formatCode>
                <c:ptCount val="30"/>
                <c:pt idx="0">
                  <c:v>36210.382513661199</c:v>
                </c:pt>
                <c:pt idx="1">
                  <c:v>912.44318181818176</c:v>
                </c:pt>
                <c:pt idx="2">
                  <c:v>4929.184993531695</c:v>
                </c:pt>
                <c:pt idx="3">
                  <c:v>35111.053719008269</c:v>
                </c:pt>
                <c:pt idx="4">
                  <c:v>8691.4627994955863</c:v>
                </c:pt>
                <c:pt idx="5">
                  <c:v>956.90802348336592</c:v>
                </c:pt>
                <c:pt idx="6">
                  <c:v>6379.6974063400576</c:v>
                </c:pt>
                <c:pt idx="7">
                  <c:v>1782.271880819367</c:v>
                </c:pt>
                <c:pt idx="8">
                  <c:v>1204.459102902375</c:v>
                </c:pt>
                <c:pt idx="9">
                  <c:v>1513.710407239819</c:v>
                </c:pt>
                <c:pt idx="10">
                  <c:v>20726.226611226612</c:v>
                </c:pt>
                <c:pt idx="11">
                  <c:v>4221.7228464419468</c:v>
                </c:pt>
                <c:pt idx="12">
                  <c:v>1752.3170731707321</c:v>
                </c:pt>
                <c:pt idx="13">
                  <c:v>5431.6768665850677</c:v>
                </c:pt>
                <c:pt idx="14">
                  <c:v>2424.0594059405939</c:v>
                </c:pt>
                <c:pt idx="15">
                  <c:v>3167.5167785234898</c:v>
                </c:pt>
                <c:pt idx="16">
                  <c:v>2165.5472636815921</c:v>
                </c:pt>
                <c:pt idx="17">
                  <c:v>11865.907429963459</c:v>
                </c:pt>
                <c:pt idx="18">
                  <c:v>28428.861878453041</c:v>
                </c:pt>
                <c:pt idx="19">
                  <c:v>4761.8113207547167</c:v>
                </c:pt>
                <c:pt idx="20">
                  <c:v>1840.8</c:v>
                </c:pt>
                <c:pt idx="21">
                  <c:v>12732.233502538071</c:v>
                </c:pt>
                <c:pt idx="22">
                  <c:v>25830.86903304774</c:v>
                </c:pt>
                <c:pt idx="23">
                  <c:v>7665.3875968992243</c:v>
                </c:pt>
                <c:pt idx="24">
                  <c:v>1246.9437652811739</c:v>
                </c:pt>
                <c:pt idx="25">
                  <c:v>2258.3985765124548</c:v>
                </c:pt>
                <c:pt idx="26">
                  <c:v>502.59259259259261</c:v>
                </c:pt>
                <c:pt idx="27">
                  <c:v>1723.954154727794</c:v>
                </c:pt>
                <c:pt idx="28">
                  <c:v>1054.3076923076919</c:v>
                </c:pt>
                <c:pt idx="29">
                  <c:v>1488.977272727273</c:v>
                </c:pt>
              </c:numCache>
            </c:numRef>
          </c:yVal>
          <c:bubbleSize>
            <c:numRef>
              <c:f>Sheet1!$C$2:$C$31</c:f>
              <c:numCache>
                <c:formatCode>General</c:formatCode>
                <c:ptCount val="30"/>
                <c:pt idx="0">
                  <c:v>2046825.7823000001</c:v>
                </c:pt>
                <c:pt idx="1">
                  <c:v>31644.144499999999</c:v>
                </c:pt>
                <c:pt idx="2">
                  <c:v>214406.42539999989</c:v>
                </c:pt>
                <c:pt idx="3">
                  <c:v>2119021.4544000002</c:v>
                </c:pt>
                <c:pt idx="4">
                  <c:v>427959.80719999998</c:v>
                </c:pt>
                <c:pt idx="5">
                  <c:v>28852.473999999998</c:v>
                </c:pt>
                <c:pt idx="6">
                  <c:v>270671.19300000009</c:v>
                </c:pt>
                <c:pt idx="7">
                  <c:v>43181.377599999993</c:v>
                </c:pt>
                <c:pt idx="8">
                  <c:v>23385.416400000009</c:v>
                </c:pt>
                <c:pt idx="9">
                  <c:v>33021.712499999987</c:v>
                </c:pt>
                <c:pt idx="10">
                  <c:v>1147947.4047999999</c:v>
                </c:pt>
                <c:pt idx="11">
                  <c:v>177245.5282</c:v>
                </c:pt>
                <c:pt idx="12">
                  <c:v>56817.089500000002</c:v>
                </c:pt>
                <c:pt idx="13">
                  <c:v>241292.2684</c:v>
                </c:pt>
                <c:pt idx="14">
                  <c:v>96136.576799999981</c:v>
                </c:pt>
                <c:pt idx="15">
                  <c:v>91396.574100000013</c:v>
                </c:pt>
                <c:pt idx="16">
                  <c:v>51837.37920000001</c:v>
                </c:pt>
                <c:pt idx="17">
                  <c:v>599204.3587000001</c:v>
                </c:pt>
                <c:pt idx="18">
                  <c:v>1569349.9712</c:v>
                </c:pt>
                <c:pt idx="19">
                  <c:v>90111.2497</c:v>
                </c:pt>
                <c:pt idx="20">
                  <c:v>7381.9490000000014</c:v>
                </c:pt>
                <c:pt idx="21">
                  <c:v>621172.2644000001</c:v>
                </c:pt>
                <c:pt idx="22">
                  <c:v>1321744.1344000001</c:v>
                </c:pt>
                <c:pt idx="23">
                  <c:v>346446.61200000002</c:v>
                </c:pt>
                <c:pt idx="24">
                  <c:v>23162.563399999999</c:v>
                </c:pt>
                <c:pt idx="25">
                  <c:v>29997.0429</c:v>
                </c:pt>
                <c:pt idx="26">
                  <c:v>7339.8536999999997</c:v>
                </c:pt>
                <c:pt idx="27">
                  <c:v>69949.332200000004</c:v>
                </c:pt>
                <c:pt idx="28">
                  <c:v>30122.476999999999</c:v>
                </c:pt>
                <c:pt idx="29">
                  <c:v>28520.879400000002</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320Gr 16+4P</c:v>
                  </c:pt>
                  <c:pt idx="2">
                    <c:v>Boursin Cuisine Sauce Fromage Afh 1X240Gr 1P</c:v>
                  </c:pt>
                  <c:pt idx="3">
                    <c:v>Boursin Classique Fromage Frais A Tartiner Afh Boite 1X150Gr 1P</c:v>
                  </c:pt>
                  <c:pt idx="4">
                    <c:v>Boursin Classique Fromage Frais A Tartiner Ciboulette &amp; Echalote Boite 1X150Gr 1P</c:v>
                  </c:pt>
                  <c:pt idx="5">
                    <c:v>Boursin Classique Fromage Frais A Tartiner Truffe Boite 1X150Gr 1P</c:v>
                  </c:pt>
                  <c:pt idx="6">
                    <c:v>Boursin Classique Fromage Frais A Tartiner Figue Et 3 Noix Boite 1X150Gr 1P</c:v>
                  </c:pt>
                  <c:pt idx="7">
                    <c:v>Boursin Classique Fromage Frais A Tartiner 3 Noix Boite 1X150Gr 1P</c:v>
                  </c:pt>
                  <c:pt idx="8">
                    <c:v>Boursin Classique Fromage Frais A Tartiner 3 Noix 1X160Gr 10P</c:v>
                  </c:pt>
                  <c:pt idx="9">
                    <c:v>Boursin Vegetal Specialite Vegetale A Tartiner Afh 1X130Gr 1P</c:v>
                  </c:pt>
                  <c:pt idx="10">
                    <c:v>Boursin Salade &amp; Aperitif Fromage Frais Des Afh 1X120Gr 1P</c:v>
                  </c:pt>
                  <c:pt idx="11">
                    <c:v>Boursin Salade &amp; Aperitif Fromage Frais Des Figue Noix 1X120Gr 1P</c:v>
                  </c:pt>
                  <c:pt idx="12">
                    <c:v>Boursin Salade &amp; Aperitif Fromage Frais Des Noisette Et 3 Noix 1X120Gr 1P</c:v>
                  </c:pt>
                  <c:pt idx="13">
                    <c:v>Boursin Salade &amp; Aperitif Fromage Frais Des Ciboulette Echalote 1X120Gr 1P</c:v>
                  </c:pt>
                  <c:pt idx="14">
                    <c:v>Boursin Salade &amp; Aperitif Fromage Frais Des Citron Romarin 1X120Gr 1P</c:v>
                  </c:pt>
                  <c:pt idx="15">
                    <c:v>Boursin Classique Fromage Frais A Tartiner Afh Boite 1X80Gr 1P</c:v>
                  </c:pt>
                  <c:pt idx="16">
                    <c:v>Boursin Classique Fromage Frais A Tartiner Poivre Boite 1X150Gr 1P</c:v>
                  </c:pt>
                  <c:pt idx="17">
                    <c:v>Boursin Classique Fromage Frais A Tartiner Afh Boite 1X96Gr 6P</c:v>
                  </c:pt>
                  <c:pt idx="18">
                    <c:v>Boursin Aperitif Roules Fromage Frais Roule Afh Et Jambon Fume Boite 1X100Gr 20P</c:v>
                  </c:pt>
                  <c:pt idx="19">
                    <c:v>Boursin Classique Fromage Frais A Tartiner Afh 1X256Gr 16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B$2:$B$7</c:f>
              <c:numCache>
                <c:formatCode>General</c:formatCode>
                <c:ptCount val="6"/>
                <c:pt idx="0">
                  <c:v>0.3053050104468108</c:v>
                </c:pt>
                <c:pt idx="1">
                  <c:v>0.26182106165098318</c:v>
                </c:pt>
                <c:pt idx="2">
                  <c:v>0.21320051122206815</c:v>
                </c:pt>
                <c:pt idx="3">
                  <c:v>0.11479035796928873</c:v>
                </c:pt>
                <c:pt idx="4">
                  <c:v>8.3945323676579184E-2</c:v>
                </c:pt>
                <c:pt idx="5">
                  <c:v>2.09377350342699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C$2:$C$7</c:f>
              <c:numCache>
                <c:formatCode>General</c:formatCode>
                <c:ptCount val="6"/>
                <c:pt idx="0">
                  <c:v>0.23865979381443306</c:v>
                </c:pt>
                <c:pt idx="1">
                  <c:v>0.26469072164948448</c:v>
                </c:pt>
                <c:pt idx="2">
                  <c:v>0.26340206185567017</c:v>
                </c:pt>
                <c:pt idx="3">
                  <c:v>0.10283505154639176</c:v>
                </c:pt>
                <c:pt idx="4">
                  <c:v>8.4793814432989695E-2</c:v>
                </c:pt>
                <c:pt idx="5">
                  <c:v>4.561855670103093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D$2:$D$7</c:f>
              <c:numCache>
                <c:formatCode>General</c:formatCode>
                <c:ptCount val="6"/>
                <c:pt idx="0">
                  <c:v>78.170939109435793</c:v>
                </c:pt>
                <c:pt idx="1">
                  <c:v>101.09603863814694</c:v>
                </c:pt>
                <c:pt idx="2">
                  <c:v>123.54663708161209</c:v>
                </c:pt>
                <c:pt idx="3">
                  <c:v>89.585095268981121</c:v>
                </c:pt>
                <c:pt idx="4">
                  <c:v>101.01076595961382</c:v>
                </c:pt>
                <c:pt idx="5">
                  <c:v>217.8772280113610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812FEAE-0E2E-421A-9ADC-5B51704B520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BEB19C9-D924-4B10-93C3-3D2A971FC5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22720C8-2AAD-48B0-96B4-39DEE8888E6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F3D1222-A1BD-43D2-BDA1-776470A4DB8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6FCD6E8-9CAE-48C2-B72F-F2FD560B4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16C205E-0FCE-4804-9B98-021800EBCF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A71DDC0-3C8C-4A05-9C26-C9B6784C7E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3DB8616-F3D2-4136-8170-FF97B4DDE19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36B642B-FCB3-4A96-86FB-986F4208531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29F864D-A7FD-491E-8949-220CBAC10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86099999999999999</c:v>
                </c:pt>
                <c:pt idx="1">
                  <c:v>0.97499999999999998</c:v>
                </c:pt>
                <c:pt idx="2">
                  <c:v>0.83699999999999997</c:v>
                </c:pt>
                <c:pt idx="3">
                  <c:v>0.372</c:v>
                </c:pt>
                <c:pt idx="4">
                  <c:v>0.81699999999999995</c:v>
                </c:pt>
                <c:pt idx="5">
                  <c:v>0.98299999999999998</c:v>
                </c:pt>
                <c:pt idx="6">
                  <c:v>0.60299999999999998</c:v>
                </c:pt>
                <c:pt idx="7">
                  <c:v>0.89500000000000002</c:v>
                </c:pt>
                <c:pt idx="8">
                  <c:v>0.98099999999999998</c:v>
                </c:pt>
                <c:pt idx="9">
                  <c:v>0.93200000000000005</c:v>
                </c:pt>
                <c:pt idx="10">
                  <c:v>0.67200000000000004</c:v>
                </c:pt>
              </c:numCache>
            </c:numRef>
          </c:xVal>
          <c:yVal>
            <c:numRef>
              <c:f>Sheet1!$B$2:$B$12</c:f>
              <c:numCache>
                <c:formatCode>General</c:formatCode>
                <c:ptCount val="11"/>
                <c:pt idx="0">
                  <c:v>43360.813008130077</c:v>
                </c:pt>
                <c:pt idx="1">
                  <c:v>45724.892307692309</c:v>
                </c:pt>
                <c:pt idx="2">
                  <c:v>6139.8327359617679</c:v>
                </c:pt>
                <c:pt idx="3">
                  <c:v>481.37096774193537</c:v>
                </c:pt>
                <c:pt idx="4">
                  <c:v>3357.0257037943702</c:v>
                </c:pt>
                <c:pt idx="5">
                  <c:v>25786.988809766019</c:v>
                </c:pt>
                <c:pt idx="6">
                  <c:v>7090.9286898839136</c:v>
                </c:pt>
                <c:pt idx="7">
                  <c:v>3027.5083798882679</c:v>
                </c:pt>
                <c:pt idx="8">
                  <c:v>20585.647298674819</c:v>
                </c:pt>
                <c:pt idx="9">
                  <c:v>27675.493562231761</c:v>
                </c:pt>
                <c:pt idx="10">
                  <c:v>5504.0773809523807</c:v>
                </c:pt>
              </c:numCache>
            </c:numRef>
          </c:yVal>
          <c:bubbleSize>
            <c:numRef>
              <c:f>Sheet1!$C$2:$C$12</c:f>
              <c:numCache>
                <c:formatCode>General</c:formatCode>
                <c:ptCount val="11"/>
                <c:pt idx="0">
                  <c:v>2305421.665</c:v>
                </c:pt>
                <c:pt idx="1">
                  <c:v>2848455.0869</c:v>
                </c:pt>
                <c:pt idx="2">
                  <c:v>264142.96620000002</c:v>
                </c:pt>
                <c:pt idx="3">
                  <c:v>8501.64</c:v>
                </c:pt>
                <c:pt idx="4">
                  <c:v>187301.984</c:v>
                </c:pt>
                <c:pt idx="5">
                  <c:v>1563209.9702000001</c:v>
                </c:pt>
                <c:pt idx="6">
                  <c:v>211804.0281</c:v>
                </c:pt>
                <c:pt idx="7">
                  <c:v>146209.82399999999</c:v>
                </c:pt>
                <c:pt idx="8">
                  <c:v>1209085.3938</c:v>
                </c:pt>
                <c:pt idx="9">
                  <c:v>1555147.5876</c:v>
                </c:pt>
                <c:pt idx="10">
                  <c:v>177451.4127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pt idx="10">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0B4A286-C17B-43F9-A006-0E7FDB2B09C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CA28777-AF8D-4067-9C09-21697586CDC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E0A4974-8B93-4D66-9462-2B5D311BBF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9386CE9-FC6D-4653-894B-7E218F7D72C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CF3DF2C-1DF7-485E-AC28-7141CE710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8381AFB-968A-4DF9-B940-C6932631B6B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846A005-68CC-407C-BA98-ADDC5EDBFD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47A31BA-96BB-467E-8CD2-E89B623F6B6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DB49053-422C-4E47-9282-DAA8A5EF4D6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8EA9655-E959-4856-A198-A850116B005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67900000000000005</c:v>
                </c:pt>
                <c:pt idx="1">
                  <c:v>0.998</c:v>
                </c:pt>
                <c:pt idx="2">
                  <c:v>0.23100000000000001</c:v>
                </c:pt>
                <c:pt idx="3">
                  <c:v>0.94099999999999995</c:v>
                </c:pt>
                <c:pt idx="4">
                  <c:v>0.94699999999999995</c:v>
                </c:pt>
                <c:pt idx="5">
                  <c:v>0.84099999999999997</c:v>
                </c:pt>
                <c:pt idx="6">
                  <c:v>0.95499999999999996</c:v>
                </c:pt>
                <c:pt idx="7">
                  <c:v>0.84799999999999998</c:v>
                </c:pt>
              </c:numCache>
            </c:numRef>
          </c:xVal>
          <c:yVal>
            <c:numRef>
              <c:f>Sheet1!$B$2:$B$9</c:f>
              <c:numCache>
                <c:formatCode>General</c:formatCode>
                <c:ptCount val="8"/>
                <c:pt idx="0">
                  <c:v>6740.5301914580259</c:v>
                </c:pt>
                <c:pt idx="1">
                  <c:v>61730.220440881763</c:v>
                </c:pt>
                <c:pt idx="2">
                  <c:v>1325.194805194805</c:v>
                </c:pt>
                <c:pt idx="3">
                  <c:v>52226.907545164722</c:v>
                </c:pt>
                <c:pt idx="4">
                  <c:v>79341.235480464631</c:v>
                </c:pt>
                <c:pt idx="5">
                  <c:v>10304.161712247331</c:v>
                </c:pt>
                <c:pt idx="6">
                  <c:v>14262.722513089009</c:v>
                </c:pt>
                <c:pt idx="7">
                  <c:v>14741.66273584906</c:v>
                </c:pt>
              </c:numCache>
            </c:numRef>
          </c:yVal>
          <c:bubbleSize>
            <c:numRef>
              <c:f>Sheet1!$C$2:$C$9</c:f>
              <c:numCache>
                <c:formatCode>General</c:formatCode>
                <c:ptCount val="8"/>
                <c:pt idx="0">
                  <c:v>194639.24890000001</c:v>
                </c:pt>
                <c:pt idx="1">
                  <c:v>3516863.661400001</c:v>
                </c:pt>
                <c:pt idx="2">
                  <c:v>21865.780599999991</c:v>
                </c:pt>
                <c:pt idx="3">
                  <c:v>2989794.8149000001</c:v>
                </c:pt>
                <c:pt idx="4">
                  <c:v>4789467.3874000004</c:v>
                </c:pt>
                <c:pt idx="5">
                  <c:v>466038.12929999991</c:v>
                </c:pt>
                <c:pt idx="6">
                  <c:v>743356.49009999994</c:v>
                </c:pt>
                <c:pt idx="7">
                  <c:v>599065.13089999976</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Pik Et Croq' Fromage Fondu Dips Boite 1X175Gr 5P</c:v>
                  </c:pt>
                  <c:pt idx="7">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AB02353-F9FD-43A9-BB72-5EA0FE35260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E059E5F-07FE-4342-AAE3-750A28744C3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AC81A87-6A61-4306-93BA-711F3BD0D18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D1E3BD3-D8EC-40E8-955C-900500C0C0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557DEF8-AFD2-4733-887F-E44C42CCF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7402DC7-C609-4128-9CED-C4D133B3EEB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3094E8A-CE7A-4A5C-AAA3-0A86101F262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C8CEB2B-CAA2-4D57-8B3F-251DACEF22C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E49E446-D004-48F1-9D3A-C1E7EA0EB9C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46E09B7-E2BD-48FD-8D7E-6C30EB742AE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E41A-450E-8621-501B5E983138}"/>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E41A-450E-8621-501B5E983138}"/>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E41A-450E-8621-501B5E983138}"/>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E41A-450E-8621-501B5E9831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5</c:f>
              <c:numCache>
                <c:formatCode>General</c:formatCode>
                <c:ptCount val="24"/>
                <c:pt idx="0">
                  <c:v>0.98099999999999998</c:v>
                </c:pt>
                <c:pt idx="1">
                  <c:v>0.873</c:v>
                </c:pt>
                <c:pt idx="2">
                  <c:v>0.998</c:v>
                </c:pt>
                <c:pt idx="3">
                  <c:v>0.97299999999999998</c:v>
                </c:pt>
                <c:pt idx="4">
                  <c:v>0.68700000000000006</c:v>
                </c:pt>
                <c:pt idx="5">
                  <c:v>0.98</c:v>
                </c:pt>
                <c:pt idx="6">
                  <c:v>0.96799999999999997</c:v>
                </c:pt>
                <c:pt idx="7">
                  <c:v>0.84499999999999997</c:v>
                </c:pt>
                <c:pt idx="8">
                  <c:v>0.80300000000000005</c:v>
                </c:pt>
                <c:pt idx="9">
                  <c:v>0.82299999999999995</c:v>
                </c:pt>
                <c:pt idx="10">
                  <c:v>0.66</c:v>
                </c:pt>
                <c:pt idx="11">
                  <c:v>0.32500000000000001</c:v>
                </c:pt>
                <c:pt idx="12">
                  <c:v>0.94</c:v>
                </c:pt>
                <c:pt idx="13">
                  <c:v>0.93899999999999995</c:v>
                </c:pt>
                <c:pt idx="14">
                  <c:v>0.96599999999999997</c:v>
                </c:pt>
                <c:pt idx="15">
                  <c:v>0.873</c:v>
                </c:pt>
                <c:pt idx="16">
                  <c:v>0.86</c:v>
                </c:pt>
                <c:pt idx="17">
                  <c:v>0.80800000000000005</c:v>
                </c:pt>
                <c:pt idx="18">
                  <c:v>0.91100000000000003</c:v>
                </c:pt>
                <c:pt idx="19">
                  <c:v>0.98</c:v>
                </c:pt>
                <c:pt idx="20">
                  <c:v>0.95399999999999996</c:v>
                </c:pt>
                <c:pt idx="21">
                  <c:v>0.75</c:v>
                </c:pt>
                <c:pt idx="22">
                  <c:v>0.41399999999999998</c:v>
                </c:pt>
                <c:pt idx="23">
                  <c:v>0.66100000000000003</c:v>
                </c:pt>
              </c:numCache>
            </c:numRef>
          </c:xVal>
          <c:yVal>
            <c:numRef>
              <c:f>Sheet1!$B$2:$B$25</c:f>
              <c:numCache>
                <c:formatCode>General</c:formatCode>
                <c:ptCount val="24"/>
                <c:pt idx="0">
                  <c:v>27527.410805300711</c:v>
                </c:pt>
                <c:pt idx="1">
                  <c:v>8120.2634593356242</c:v>
                </c:pt>
                <c:pt idx="2">
                  <c:v>24558.51703406814</c:v>
                </c:pt>
                <c:pt idx="3">
                  <c:v>8635.1798561151081</c:v>
                </c:pt>
                <c:pt idx="4">
                  <c:v>648.25327510917032</c:v>
                </c:pt>
                <c:pt idx="5">
                  <c:v>10309.23469387755</c:v>
                </c:pt>
                <c:pt idx="6">
                  <c:v>11293.564049586779</c:v>
                </c:pt>
                <c:pt idx="7">
                  <c:v>2199.2426035502958</c:v>
                </c:pt>
                <c:pt idx="8">
                  <c:v>1098.2067247820671</c:v>
                </c:pt>
                <c:pt idx="9">
                  <c:v>3335.8687727825031</c:v>
                </c:pt>
                <c:pt idx="10">
                  <c:v>1614.075757575758</c:v>
                </c:pt>
                <c:pt idx="11">
                  <c:v>2730.8923076923079</c:v>
                </c:pt>
                <c:pt idx="12">
                  <c:v>7229.1382978723404</c:v>
                </c:pt>
                <c:pt idx="13">
                  <c:v>11438.093716719921</c:v>
                </c:pt>
                <c:pt idx="14">
                  <c:v>22494.2546583851</c:v>
                </c:pt>
                <c:pt idx="15">
                  <c:v>7525.8762886597942</c:v>
                </c:pt>
                <c:pt idx="16">
                  <c:v>8505.5930232558148</c:v>
                </c:pt>
                <c:pt idx="17">
                  <c:v>5809.3564356435636</c:v>
                </c:pt>
                <c:pt idx="18">
                  <c:v>14703.46871569703</c:v>
                </c:pt>
                <c:pt idx="19">
                  <c:v>27838.234693877552</c:v>
                </c:pt>
                <c:pt idx="20">
                  <c:v>12471.15303983229</c:v>
                </c:pt>
                <c:pt idx="21">
                  <c:v>775.14666666666665</c:v>
                </c:pt>
                <c:pt idx="22">
                  <c:v>1111.304347826087</c:v>
                </c:pt>
                <c:pt idx="23">
                  <c:v>730.54462934947037</c:v>
                </c:pt>
              </c:numCache>
            </c:numRef>
          </c:yVal>
          <c:bubbleSize>
            <c:numRef>
              <c:f>Sheet1!$C$2:$C$25</c:f>
              <c:numCache>
                <c:formatCode>General</c:formatCode>
                <c:ptCount val="24"/>
                <c:pt idx="0">
                  <c:v>1645429.3156999999</c:v>
                </c:pt>
                <c:pt idx="1">
                  <c:v>404691.69180000009</c:v>
                </c:pt>
                <c:pt idx="2">
                  <c:v>1483245.8407999999</c:v>
                </c:pt>
                <c:pt idx="3">
                  <c:v>455014.01169999992</c:v>
                </c:pt>
                <c:pt idx="4">
                  <c:v>19536.5635</c:v>
                </c:pt>
                <c:pt idx="5">
                  <c:v>568393.2801999998</c:v>
                </c:pt>
                <c:pt idx="6">
                  <c:v>586213.45919999992</c:v>
                </c:pt>
                <c:pt idx="7">
                  <c:v>108247.5664</c:v>
                </c:pt>
                <c:pt idx="8">
                  <c:v>53176.012199999997</c:v>
                </c:pt>
                <c:pt idx="9">
                  <c:v>150811.14780000001</c:v>
                </c:pt>
                <c:pt idx="10">
                  <c:v>51813.046099999992</c:v>
                </c:pt>
                <c:pt idx="11">
                  <c:v>50382.185700000002</c:v>
                </c:pt>
                <c:pt idx="12">
                  <c:v>392341.30040000001</c:v>
                </c:pt>
                <c:pt idx="13">
                  <c:v>608075.93240000005</c:v>
                </c:pt>
                <c:pt idx="14">
                  <c:v>1226990.7849000001</c:v>
                </c:pt>
                <c:pt idx="15">
                  <c:v>370190.26640000002</c:v>
                </c:pt>
                <c:pt idx="16">
                  <c:v>423307.45439999987</c:v>
                </c:pt>
                <c:pt idx="17">
                  <c:v>250921.9325</c:v>
                </c:pt>
                <c:pt idx="18">
                  <c:v>714931.66360000009</c:v>
                </c:pt>
                <c:pt idx="19">
                  <c:v>1620710.9252000011</c:v>
                </c:pt>
                <c:pt idx="20">
                  <c:v>575246.19469999999</c:v>
                </c:pt>
                <c:pt idx="21">
                  <c:v>41023.239699999998</c:v>
                </c:pt>
                <c:pt idx="22">
                  <c:v>22765.070899999999</c:v>
                </c:pt>
                <c:pt idx="23">
                  <c:v>26373.204000000002</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uisine Sauce Fromage Afh 1X240Gr 1P</c:v>
                  </c:pt>
                  <c:pt idx="2">
                    <c:v>Boursin Classique Fromage Frais A Tartiner Afh Boite 1X150Gr 1P</c:v>
                  </c:pt>
                  <c:pt idx="3">
                    <c:v>Boursin Classique Fromage Frais A Tartiner Ciboulette &amp; Echalote Boite 1X150Gr 1P</c:v>
                  </c:pt>
                  <c:pt idx="4">
                    <c:v>Boursin Classique Fromage Frais A Tartiner Truffe Boite 1X150Gr 1P</c:v>
                  </c:pt>
                  <c:pt idx="5">
                    <c:v>Boursin Classique Fromage Frais A Tartiner Figue Et 3 Noix Boite 1X150Gr 1P</c:v>
                  </c:pt>
                  <c:pt idx="6">
                    <c:v>Boursin Salade &amp; Aperitif Fromage Frais Des Afh 1X120Gr 1P</c:v>
                  </c:pt>
                  <c:pt idx="7">
                    <c:v>Boursin Salade &amp; Aperitif Fromage Frais Des Figue Noix 1X120Gr 1P</c:v>
                  </c:pt>
                  <c:pt idx="8">
                    <c:v>Boursin Salade &amp; Aperitif Fromage Frais Des Noisette Et 3 Noix 1X120Gr 1P</c:v>
                  </c:pt>
                  <c:pt idx="9">
                    <c:v>Boursin Salade &amp; Aperitif Fromage Frais Des Ciboulette Echalote 1X120Gr 1P</c:v>
                  </c:pt>
                  <c:pt idx="10">
                    <c:v>Boursin Salade &amp; Aperitif Fromage Frais Des Citron Romarin 1X120Gr 1P</c:v>
                  </c:pt>
                  <c:pt idx="11">
                    <c:v>Boursin Classique Fromage Frais A Tartiner Afh Boite 1X80Gr 1P</c:v>
                  </c:pt>
                  <c:pt idx="12">
                    <c:v>Boursin Classique Fromage Frais A Tartiner Poivre Boite 1X150Gr 1P</c:v>
                  </c:pt>
                  <c:pt idx="13">
                    <c:v>Boursin Classique Fromage Frais A Tartiner Afh Boite 1X96Gr 6P</c:v>
                  </c:pt>
                  <c:pt idx="14">
                    <c:v>Boursin Aperitif Roules Fromage Frais Roule Afh Et Jambon Fume Boite 1X100Gr 20P</c:v>
                  </c:pt>
                  <c:pt idx="15">
                    <c:v>Boursin Aperitif Roules Fromage Frais Roule Basilic &amp; Jambon Fume Tomate Boite 1X100Gr 20P</c:v>
                  </c:pt>
                  <c:pt idx="16">
                    <c:v>Boursin Classique Fromage Frais A Tartiner Afh 1X256Gr 16P</c:v>
                  </c:pt>
                  <c:pt idx="17">
                    <c:v>Boursin Classique Fromage Frais A Tartiner Ciboulette &amp; Echalote 1X160Gr 10P</c:v>
                  </c:pt>
                  <c:pt idx="18">
                    <c:v>Boursin Aperitif Roules Fromage Frais Roule Ciboulette &amp; Echalote Jambon Fume Boite 1X100Gr 20P</c:v>
                  </c:pt>
                  <c:pt idx="19">
                    <c:v>Boursin Classique Fromage Frais A Tartiner Afh Boite 1X25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9C55A6D-95A9-49A3-89BE-4E25605EEBD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E7F918B-2ADB-4212-B350-5467B6177EB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95A213A-684F-4653-8EE9-01C1E327DAE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4B6660C-3D1E-4E09-99ED-6A955D7D1A2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AA60DE0-8B02-40F4-B4E0-48D411C34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53EEB49-CA2B-4F85-9AC5-D288FB979BB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834339B-D286-4749-AAD5-AFC44FBB5F4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931E6C5-1D34-4BF5-BC8B-0668FB2B91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B223622-8B4F-472E-8795-D23DA774884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926FD29-E77F-4F13-836A-8F26AAF23DD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99</c:v>
                </c:pt>
                <c:pt idx="1">
                  <c:v>1</c:v>
                </c:pt>
                <c:pt idx="2">
                  <c:v>0.98</c:v>
                </c:pt>
                <c:pt idx="3">
                  <c:v>0.96</c:v>
                </c:pt>
                <c:pt idx="4">
                  <c:v>0.98</c:v>
                </c:pt>
                <c:pt idx="5">
                  <c:v>1</c:v>
                </c:pt>
                <c:pt idx="6">
                  <c:v>0.75</c:v>
                </c:pt>
                <c:pt idx="7">
                  <c:v>0.89</c:v>
                </c:pt>
                <c:pt idx="8">
                  <c:v>1</c:v>
                </c:pt>
                <c:pt idx="9">
                  <c:v>0.99</c:v>
                </c:pt>
              </c:numCache>
            </c:numRef>
          </c:xVal>
          <c:yVal>
            <c:numRef>
              <c:f>Sheet1!$B$2:$B$11</c:f>
              <c:numCache>
                <c:formatCode>General</c:formatCode>
                <c:ptCount val="10"/>
                <c:pt idx="0">
                  <c:v>45589.414141414141</c:v>
                </c:pt>
                <c:pt idx="1">
                  <c:v>19457.759999999998</c:v>
                </c:pt>
                <c:pt idx="2">
                  <c:v>2226.4591836734689</c:v>
                </c:pt>
                <c:pt idx="3">
                  <c:v>3431.15625</c:v>
                </c:pt>
                <c:pt idx="4">
                  <c:v>8238.3469387755104</c:v>
                </c:pt>
                <c:pt idx="5">
                  <c:v>11794.45</c:v>
                </c:pt>
                <c:pt idx="6">
                  <c:v>1891.373333333333</c:v>
                </c:pt>
                <c:pt idx="7">
                  <c:v>1402.640449438202</c:v>
                </c:pt>
                <c:pt idx="8">
                  <c:v>14911.01</c:v>
                </c:pt>
                <c:pt idx="9">
                  <c:v>11125.101010101011</c:v>
                </c:pt>
              </c:numCache>
            </c:numRef>
          </c:yVal>
          <c:bubbleSize>
            <c:numRef>
              <c:f>Sheet1!$C$2:$C$11</c:f>
              <c:numCache>
                <c:formatCode>General</c:formatCode>
                <c:ptCount val="10"/>
                <c:pt idx="0">
                  <c:v>2701473.5923000001</c:v>
                </c:pt>
                <c:pt idx="1">
                  <c:v>1304656.6438</c:v>
                </c:pt>
                <c:pt idx="2">
                  <c:v>131141.8792</c:v>
                </c:pt>
                <c:pt idx="3">
                  <c:v>186938.92819999999</c:v>
                </c:pt>
                <c:pt idx="4">
                  <c:v>566708.10480000009</c:v>
                </c:pt>
                <c:pt idx="5">
                  <c:v>798628.68059999996</c:v>
                </c:pt>
                <c:pt idx="6">
                  <c:v>87696.779200000004</c:v>
                </c:pt>
                <c:pt idx="7">
                  <c:v>74313.284700000004</c:v>
                </c:pt>
                <c:pt idx="8">
                  <c:v>964173.1054</c:v>
                </c:pt>
                <c:pt idx="9">
                  <c:v>700106.70720000006</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DEB0E6E-2788-45DC-8743-437BD0392B0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92C1268-043E-4230-B4BF-9B5EBD4E0F1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E9E7F80-12C0-415B-AD57-FFDA3B63EB0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8F8B9B3-5213-40D3-93D4-65DE20C91E4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71F7840-3AD1-46F1-A1CD-34ED924D8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7D2D548-8BD1-412A-84BA-2356B28E905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B36597E-E1B9-4F8B-9DA2-9B0B170EB06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BFF607C-E548-473A-A0C4-81653E34443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5D9ED45-5949-4439-B0A8-DD135F48F96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C2BBC8E-E5D5-421C-B0B0-8D59824C4E3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1</c:v>
                </c:pt>
                <c:pt idx="1">
                  <c:v>0.16</c:v>
                </c:pt>
                <c:pt idx="2">
                  <c:v>0.08</c:v>
                </c:pt>
                <c:pt idx="3">
                  <c:v>0.16</c:v>
                </c:pt>
                <c:pt idx="4">
                  <c:v>1</c:v>
                </c:pt>
                <c:pt idx="5">
                  <c:v>1</c:v>
                </c:pt>
                <c:pt idx="6">
                  <c:v>0.94</c:v>
                </c:pt>
                <c:pt idx="7">
                  <c:v>1</c:v>
                </c:pt>
                <c:pt idx="8">
                  <c:v>0.99</c:v>
                </c:pt>
                <c:pt idx="9">
                  <c:v>0.86</c:v>
                </c:pt>
                <c:pt idx="10">
                  <c:v>0.94</c:v>
                </c:pt>
                <c:pt idx="11">
                  <c:v>0.59</c:v>
                </c:pt>
                <c:pt idx="12">
                  <c:v>0.82</c:v>
                </c:pt>
                <c:pt idx="13">
                  <c:v>1</c:v>
                </c:pt>
                <c:pt idx="14">
                  <c:v>0.95</c:v>
                </c:pt>
              </c:numCache>
            </c:numRef>
          </c:xVal>
          <c:yVal>
            <c:numRef>
              <c:f>Sheet1!$B$2:$B$16</c:f>
              <c:numCache>
                <c:formatCode>General</c:formatCode>
                <c:ptCount val="15"/>
                <c:pt idx="0">
                  <c:v>4355.3900000000003</c:v>
                </c:pt>
                <c:pt idx="1">
                  <c:v>1560.375</c:v>
                </c:pt>
                <c:pt idx="2">
                  <c:v>3755.75</c:v>
                </c:pt>
                <c:pt idx="3">
                  <c:v>1699.3125</c:v>
                </c:pt>
                <c:pt idx="4">
                  <c:v>4384.49</c:v>
                </c:pt>
                <c:pt idx="5">
                  <c:v>16701.66</c:v>
                </c:pt>
                <c:pt idx="6">
                  <c:v>9848.9468085106382</c:v>
                </c:pt>
                <c:pt idx="7">
                  <c:v>29213.62</c:v>
                </c:pt>
                <c:pt idx="8">
                  <c:v>82610.363636363632</c:v>
                </c:pt>
                <c:pt idx="9">
                  <c:v>3117.8720930232562</c:v>
                </c:pt>
                <c:pt idx="10">
                  <c:v>8213.010638297872</c:v>
                </c:pt>
                <c:pt idx="11">
                  <c:v>682.81355932203394</c:v>
                </c:pt>
                <c:pt idx="12">
                  <c:v>999.73170731707319</c:v>
                </c:pt>
                <c:pt idx="13">
                  <c:v>7241.72</c:v>
                </c:pt>
                <c:pt idx="14">
                  <c:v>4657.1894736842096</c:v>
                </c:pt>
              </c:numCache>
            </c:numRef>
          </c:yVal>
          <c:bubbleSize>
            <c:numRef>
              <c:f>Sheet1!$C$2:$C$16</c:f>
              <c:numCache>
                <c:formatCode>General</c:formatCode>
                <c:ptCount val="15"/>
                <c:pt idx="0">
                  <c:v>263410.821</c:v>
                </c:pt>
                <c:pt idx="1">
                  <c:v>15255.8817</c:v>
                </c:pt>
                <c:pt idx="2">
                  <c:v>16203.212299999999</c:v>
                </c:pt>
                <c:pt idx="3">
                  <c:v>15268.289500000001</c:v>
                </c:pt>
                <c:pt idx="4">
                  <c:v>264737.46529999998</c:v>
                </c:pt>
                <c:pt idx="5">
                  <c:v>1003580.1054999999</c:v>
                </c:pt>
                <c:pt idx="6">
                  <c:v>652434.56669999997</c:v>
                </c:pt>
                <c:pt idx="7">
                  <c:v>1964518.6340999999</c:v>
                </c:pt>
                <c:pt idx="8">
                  <c:v>5392409.5773</c:v>
                </c:pt>
                <c:pt idx="9">
                  <c:v>159865.11799999999</c:v>
                </c:pt>
                <c:pt idx="10">
                  <c:v>433001.46350000001</c:v>
                </c:pt>
                <c:pt idx="11">
                  <c:v>20057.296200000001</c:v>
                </c:pt>
                <c:pt idx="12">
                  <c:v>40975.859999999993</c:v>
                </c:pt>
                <c:pt idx="13">
                  <c:v>491761.31099999999</c:v>
                </c:pt>
                <c:pt idx="14">
                  <c:v>277013.40789999999</c:v>
                </c:pt>
              </c:numCache>
            </c:numRef>
          </c:bubbleSize>
          <c:bubble3D val="0"/>
          <c:extLst>
            <c:ext xmlns:c15="http://schemas.microsoft.com/office/drawing/2012/chart" uri="{02D57815-91ED-43cb-92C2-25804820EDAC}">
              <c15:datalabelsRange>
                <c15:f>Sheet1!$E$2:$E$21</c15:f>
                <c15:dlblRangeCache>
                  <c:ptCount val="20"/>
                  <c:pt idx="0">
                    <c:v>Toastinette Cheddar Fondu Tranche A Chaud Sachet 1X200Gr 10P</c:v>
                  </c:pt>
                  <c:pt idx="1">
                    <c:v>Toastinette Cheddar Fondu Tranche A Chaud Sachet 1X340Gr 20P</c:v>
                  </c:pt>
                  <c:pt idx="2">
                    <c:v>La Vache Qui Rit Aro Fromage Fondu Boite Ronde Jambon 1X133Gr 8P</c:v>
                  </c:pt>
                  <c:pt idx="3">
                    <c:v>Toastinette Fromage Fondu Tranche A Chaud Sachet 1X340Gr 20P</c:v>
                  </c:pt>
                  <c:pt idx="4">
                    <c:v>Toastinette Fromage Fondu Tranche A Chaud Sachet 1X200Gr 10P</c:v>
                  </c:pt>
                  <c:pt idx="5">
                    <c:v>La Vache Qui Rit Nature Fromage Fondu Boite Ronde 1X192Gr 12P</c:v>
                  </c:pt>
                  <c:pt idx="6">
                    <c:v>La Vache Qui Rit Nature Fromage Fondu Boite Ronde 1X512Gr 24+8P</c:v>
                  </c:pt>
                  <c:pt idx="7">
                    <c:v>La Vache Qui Rit Nature Fromage Fondu Boite Ronde 1X384Gr 24P</c:v>
                  </c:pt>
                  <c:pt idx="8">
                    <c:v>La Vache Qui Rit Nature Fromage Fondu Boite Ronde 1X512Gr 32P</c:v>
                  </c:pt>
                  <c:pt idx="9">
                    <c:v>La Vache Qui Rit Allegee Fromage Fondu Boite Ronde Allege 1X267Gr 16P</c:v>
                  </c:pt>
                  <c:pt idx="10">
                    <c:v>La Vache Qui Rit Nature Fromage Fondu Boite Ronde 1X128Gr 8P</c:v>
                  </c:pt>
                  <c:pt idx="11">
                    <c:v>La Vache Qui Rit Le Fondant Fromage Fondu 1X200Gr 1P</c:v>
                  </c:pt>
                  <c:pt idx="12">
                    <c:v>La Vache Qui Rit Bio Fromage Fondu Boite Ronde 1X128Gr 8P</c:v>
                  </c:pt>
                  <c:pt idx="13">
                    <c:v>La Vache Qui Rit Pik Et Croq' Fromage Fondu Dips Boite 1X175Gr 5P</c:v>
                  </c:pt>
                  <c:pt idx="14">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9E0D875-2026-47F8-AD2E-9F4EC614EB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DFB727B-F83C-4AC9-8902-718938EC2B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5089880-611A-4940-80AF-1023894C63C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DACED7B-4454-49BA-8785-7EE02000BD6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FA9BF2B-63E3-4605-AC20-1C2055A5A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16EE033-CFD3-4AF0-89D0-9D9697F30F3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D3D6430-13B2-4F7F-9601-43E552FA563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F35D205-F214-4A1D-ABB6-34BC878D53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1D60069-2E36-4DCB-9558-A2FCD660C40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729B945-72D8-49C4-A983-DEECE8B5082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220C-42C2-BBFB-73E9FC15AA4F}"/>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220C-42C2-BBFB-73E9FC15AA4F}"/>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220C-42C2-BBFB-73E9FC15AA4F}"/>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220C-42C2-BBFB-73E9FC15AA4F}"/>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220C-42C2-BBFB-73E9FC15AA4F}"/>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220C-42C2-BBFB-73E9FC15AA4F}"/>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220C-42C2-BBFB-73E9FC15AA4F}"/>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220C-42C2-BBFB-73E9FC15AA4F}"/>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220C-42C2-BBFB-73E9FC15AA4F}"/>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220C-42C2-BBFB-73E9FC15AA4F}"/>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1</c:f>
              <c:numCache>
                <c:formatCode>General</c:formatCode>
                <c:ptCount val="30"/>
                <c:pt idx="0">
                  <c:v>1</c:v>
                </c:pt>
                <c:pt idx="1">
                  <c:v>0.85</c:v>
                </c:pt>
                <c:pt idx="2">
                  <c:v>0.98</c:v>
                </c:pt>
                <c:pt idx="3">
                  <c:v>1</c:v>
                </c:pt>
                <c:pt idx="4">
                  <c:v>0.97</c:v>
                </c:pt>
                <c:pt idx="5">
                  <c:v>0.66</c:v>
                </c:pt>
                <c:pt idx="6">
                  <c:v>0.98</c:v>
                </c:pt>
                <c:pt idx="7">
                  <c:v>0.67</c:v>
                </c:pt>
                <c:pt idx="8">
                  <c:v>0.49</c:v>
                </c:pt>
                <c:pt idx="9">
                  <c:v>0.77</c:v>
                </c:pt>
                <c:pt idx="10">
                  <c:v>1</c:v>
                </c:pt>
                <c:pt idx="11">
                  <c:v>1</c:v>
                </c:pt>
                <c:pt idx="12">
                  <c:v>0.96</c:v>
                </c:pt>
                <c:pt idx="13">
                  <c:v>1</c:v>
                </c:pt>
                <c:pt idx="14">
                  <c:v>0.95</c:v>
                </c:pt>
                <c:pt idx="15">
                  <c:v>0.94</c:v>
                </c:pt>
                <c:pt idx="16">
                  <c:v>0.88</c:v>
                </c:pt>
                <c:pt idx="17">
                  <c:v>1</c:v>
                </c:pt>
                <c:pt idx="18">
                  <c:v>1</c:v>
                </c:pt>
                <c:pt idx="19">
                  <c:v>0.57999999999999996</c:v>
                </c:pt>
                <c:pt idx="20">
                  <c:v>0.14000000000000001</c:v>
                </c:pt>
                <c:pt idx="21">
                  <c:v>0.95</c:v>
                </c:pt>
                <c:pt idx="22">
                  <c:v>1</c:v>
                </c:pt>
                <c:pt idx="23">
                  <c:v>0.99</c:v>
                </c:pt>
                <c:pt idx="24">
                  <c:v>0.48</c:v>
                </c:pt>
                <c:pt idx="25">
                  <c:v>0.59</c:v>
                </c:pt>
                <c:pt idx="26">
                  <c:v>0.71</c:v>
                </c:pt>
                <c:pt idx="27">
                  <c:v>0.94</c:v>
                </c:pt>
                <c:pt idx="28">
                  <c:v>0.79</c:v>
                </c:pt>
                <c:pt idx="29">
                  <c:v>0.53</c:v>
                </c:pt>
              </c:numCache>
            </c:numRef>
          </c:xVal>
          <c:yVal>
            <c:numRef>
              <c:f>Sheet1!$B$2:$B$31</c:f>
              <c:numCache>
                <c:formatCode>General</c:formatCode>
                <c:ptCount val="30"/>
                <c:pt idx="0">
                  <c:v>14268.91</c:v>
                </c:pt>
                <c:pt idx="1">
                  <c:v>333.52941176470591</c:v>
                </c:pt>
                <c:pt idx="2">
                  <c:v>1964.9795918367349</c:v>
                </c:pt>
                <c:pt idx="3">
                  <c:v>9722.94</c:v>
                </c:pt>
                <c:pt idx="4">
                  <c:v>3345.6288659793809</c:v>
                </c:pt>
                <c:pt idx="5">
                  <c:v>480.09090909090912</c:v>
                </c:pt>
                <c:pt idx="6">
                  <c:v>3773</c:v>
                </c:pt>
                <c:pt idx="7">
                  <c:v>871.68656716417911</c:v>
                </c:pt>
                <c:pt idx="8">
                  <c:v>524.91836734693879</c:v>
                </c:pt>
                <c:pt idx="9">
                  <c:v>529.61038961038957</c:v>
                </c:pt>
                <c:pt idx="10">
                  <c:v>6542.91</c:v>
                </c:pt>
                <c:pt idx="11">
                  <c:v>1562.84</c:v>
                </c:pt>
                <c:pt idx="12">
                  <c:v>708.27083333333337</c:v>
                </c:pt>
                <c:pt idx="13">
                  <c:v>2741.89</c:v>
                </c:pt>
                <c:pt idx="14">
                  <c:v>844.63157894736844</c:v>
                </c:pt>
                <c:pt idx="15">
                  <c:v>1281.0212765957449</c:v>
                </c:pt>
                <c:pt idx="16">
                  <c:v>989.26136363636363</c:v>
                </c:pt>
                <c:pt idx="17">
                  <c:v>4276.8900000000003</c:v>
                </c:pt>
                <c:pt idx="18">
                  <c:v>7852.5</c:v>
                </c:pt>
                <c:pt idx="19">
                  <c:v>2175.4827586206902</c:v>
                </c:pt>
                <c:pt idx="20">
                  <c:v>964.35714285714278</c:v>
                </c:pt>
                <c:pt idx="21">
                  <c:v>4007.6315789473679</c:v>
                </c:pt>
                <c:pt idx="22">
                  <c:v>11512.05</c:v>
                </c:pt>
                <c:pt idx="23">
                  <c:v>2658.0808080808079</c:v>
                </c:pt>
                <c:pt idx="24">
                  <c:v>537.39583333333337</c:v>
                </c:pt>
                <c:pt idx="25">
                  <c:v>1025.28813559322</c:v>
                </c:pt>
                <c:pt idx="26">
                  <c:v>229.12676056338029</c:v>
                </c:pt>
                <c:pt idx="27">
                  <c:v>593.85106382978722</c:v>
                </c:pt>
                <c:pt idx="28">
                  <c:v>398.22784810126581</c:v>
                </c:pt>
                <c:pt idx="29">
                  <c:v>590.90566037735846</c:v>
                </c:pt>
              </c:numCache>
            </c:numRef>
          </c:yVal>
          <c:bubbleSize>
            <c:numRef>
              <c:f>Sheet1!$C$2:$C$31</c:f>
              <c:numCache>
                <c:formatCode>General</c:formatCode>
                <c:ptCount val="30"/>
                <c:pt idx="0">
                  <c:v>904769.62540000002</c:v>
                </c:pt>
                <c:pt idx="1">
                  <c:v>19208.837500000001</c:v>
                </c:pt>
                <c:pt idx="2">
                  <c:v>114242.4955</c:v>
                </c:pt>
                <c:pt idx="3">
                  <c:v>660282.57319999998</c:v>
                </c:pt>
                <c:pt idx="4">
                  <c:v>205815.49559999999</c:v>
                </c:pt>
                <c:pt idx="5">
                  <c:v>18882.7261</c:v>
                </c:pt>
                <c:pt idx="6">
                  <c:v>226705.78390000001</c:v>
                </c:pt>
                <c:pt idx="7">
                  <c:v>26386.711899999998</c:v>
                </c:pt>
                <c:pt idx="8">
                  <c:v>14639.8354</c:v>
                </c:pt>
                <c:pt idx="9">
                  <c:v>20175.003799999999</c:v>
                </c:pt>
                <c:pt idx="10">
                  <c:v>404752.79509999999</c:v>
                </c:pt>
                <c:pt idx="11">
                  <c:v>78689.65879999999</c:v>
                </c:pt>
                <c:pt idx="12">
                  <c:v>28854.082600000002</c:v>
                </c:pt>
                <c:pt idx="13">
                  <c:v>142684.70430000001</c:v>
                </c:pt>
                <c:pt idx="14">
                  <c:v>45376.329899999997</c:v>
                </c:pt>
                <c:pt idx="15">
                  <c:v>80141.60040000001</c:v>
                </c:pt>
                <c:pt idx="16">
                  <c:v>51837.37920000001</c:v>
                </c:pt>
                <c:pt idx="17">
                  <c:v>266178.70789999998</c:v>
                </c:pt>
                <c:pt idx="18">
                  <c:v>504699.10119999998</c:v>
                </c:pt>
                <c:pt idx="19">
                  <c:v>90101.286900000006</c:v>
                </c:pt>
                <c:pt idx="20">
                  <c:v>7213.1059999999998</c:v>
                </c:pt>
                <c:pt idx="21">
                  <c:v>238803.049</c:v>
                </c:pt>
                <c:pt idx="22">
                  <c:v>727771.94940000016</c:v>
                </c:pt>
                <c:pt idx="23">
                  <c:v>156408.5736</c:v>
                </c:pt>
                <c:pt idx="24">
                  <c:v>11898.0137</c:v>
                </c:pt>
                <c:pt idx="25">
                  <c:v>28426.323100000001</c:v>
                </c:pt>
                <c:pt idx="26">
                  <c:v>7330.6674000000003</c:v>
                </c:pt>
                <c:pt idx="27">
                  <c:v>33570.772400000002</c:v>
                </c:pt>
                <c:pt idx="28">
                  <c:v>19719.353500000001</c:v>
                </c:pt>
                <c:pt idx="29">
                  <c:v>17659.939200000001</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320Gr 16+4P</c:v>
                  </c:pt>
                  <c:pt idx="2">
                    <c:v>Boursin Cuisine Sauce Fromage Afh 1X240Gr 1P</c:v>
                  </c:pt>
                  <c:pt idx="3">
                    <c:v>Boursin Classique Fromage Frais A Tartiner Afh Boite 1X150Gr 1P</c:v>
                  </c:pt>
                  <c:pt idx="4">
                    <c:v>Boursin Classique Fromage Frais A Tartiner Ciboulette &amp; Echalote Boite 1X150Gr 1P</c:v>
                  </c:pt>
                  <c:pt idx="5">
                    <c:v>Boursin Classique Fromage Frais A Tartiner Truffe Boite 1X150Gr 1P</c:v>
                  </c:pt>
                  <c:pt idx="6">
                    <c:v>Boursin Classique Fromage Frais A Tartiner Figue Et 3 Noix Boite 1X150Gr 1P</c:v>
                  </c:pt>
                  <c:pt idx="7">
                    <c:v>Boursin Classique Fromage Frais A Tartiner 3 Noix Boite 1X150Gr 1P</c:v>
                  </c:pt>
                  <c:pt idx="8">
                    <c:v>Boursin Classique Fromage Frais A Tartiner 3 Noix 1X160Gr 10P</c:v>
                  </c:pt>
                  <c:pt idx="9">
                    <c:v>Boursin Vegetal Specialite Vegetale A Tartiner Afh 1X130Gr 1P</c:v>
                  </c:pt>
                  <c:pt idx="10">
                    <c:v>Boursin Salade &amp; Aperitif Fromage Frais Des Afh 1X120Gr 1P</c:v>
                  </c:pt>
                  <c:pt idx="11">
                    <c:v>Boursin Salade &amp; Aperitif Fromage Frais Des Figue Noix 1X120Gr 1P</c:v>
                  </c:pt>
                  <c:pt idx="12">
                    <c:v>Boursin Salade &amp; Aperitif Fromage Frais Des Noisette Et 3 Noix 1X120Gr 1P</c:v>
                  </c:pt>
                  <c:pt idx="13">
                    <c:v>Boursin Salade &amp; Aperitif Fromage Frais Des Ciboulette Echalote 1X120Gr 1P</c:v>
                  </c:pt>
                  <c:pt idx="14">
                    <c:v>Boursin Salade &amp; Aperitif Fromage Frais Des Citron Romarin 1X120Gr 1P</c:v>
                  </c:pt>
                  <c:pt idx="15">
                    <c:v>Boursin Classique Fromage Frais A Tartiner Afh Boite 1X80Gr 1P</c:v>
                  </c:pt>
                  <c:pt idx="16">
                    <c:v>Boursin Classique Fromage Frais A Tartiner Poivre Boite 1X150Gr 1P</c:v>
                  </c:pt>
                  <c:pt idx="17">
                    <c:v>Boursin Classique Fromage Frais A Tartiner Afh Boite 1X96Gr 6P</c:v>
                  </c:pt>
                  <c:pt idx="18">
                    <c:v>Boursin Aperitif Roules Fromage Frais Roule Afh Et Jambon Fume Boite 1X100Gr 20P</c:v>
                  </c:pt>
                  <c:pt idx="19">
                    <c:v>Boursin Classique Fromage Frais A Tartiner Afh 1X256Gr 16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E4E4A84-27B0-4A95-9996-0E07E09D98C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FF100FF-CD53-4112-9B46-6C9A0A270FB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E0BD1B7-B4FE-4847-9273-2EADE0A0EF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2C74065-908E-4606-8743-EEF992744D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16738BF-917E-4A04-80F0-89BC6AA3B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CA586EF-311E-4462-9D58-C711C2431FF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5416EB4-826D-4294-9E9F-6A2CB2DA278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0982082-FFC0-440B-A6C3-A90C7E1DAC0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4EDBAE4-3B3E-4706-B731-CA9430C31DE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2BD55FB-4E0C-441D-9EBE-023DFD89101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86</c:v>
                </c:pt>
                <c:pt idx="1">
                  <c:v>0.97</c:v>
                </c:pt>
                <c:pt idx="2">
                  <c:v>0.62</c:v>
                </c:pt>
                <c:pt idx="3">
                  <c:v>0.54</c:v>
                </c:pt>
                <c:pt idx="4">
                  <c:v>0.71</c:v>
                </c:pt>
                <c:pt idx="5">
                  <c:v>0.99</c:v>
                </c:pt>
                <c:pt idx="6">
                  <c:v>0.42</c:v>
                </c:pt>
                <c:pt idx="7">
                  <c:v>0.63</c:v>
                </c:pt>
                <c:pt idx="8">
                  <c:v>0.99</c:v>
                </c:pt>
                <c:pt idx="9">
                  <c:v>0.73</c:v>
                </c:pt>
              </c:numCache>
            </c:numRef>
          </c:xVal>
          <c:yVal>
            <c:numRef>
              <c:f>Sheet1!$B$2:$B$11</c:f>
              <c:numCache>
                <c:formatCode>General</c:formatCode>
                <c:ptCount val="10"/>
                <c:pt idx="0">
                  <c:v>21137</c:v>
                </c:pt>
                <c:pt idx="1">
                  <c:v>16372.639175257729</c:v>
                </c:pt>
                <c:pt idx="2">
                  <c:v>2355.7580645161288</c:v>
                </c:pt>
                <c:pt idx="3">
                  <c:v>2737.2777777777778</c:v>
                </c:pt>
                <c:pt idx="4">
                  <c:v>5146.8873239436616</c:v>
                </c:pt>
                <c:pt idx="5">
                  <c:v>11937.040404040399</c:v>
                </c:pt>
                <c:pt idx="6">
                  <c:v>3755.261904761905</c:v>
                </c:pt>
                <c:pt idx="7">
                  <c:v>2356.2857142857142</c:v>
                </c:pt>
                <c:pt idx="8">
                  <c:v>9403.7474747474753</c:v>
                </c:pt>
                <c:pt idx="9">
                  <c:v>9956.6438356164381</c:v>
                </c:pt>
              </c:numCache>
            </c:numRef>
          </c:yVal>
          <c:bubbleSize>
            <c:numRef>
              <c:f>Sheet1!$C$2:$C$11</c:f>
              <c:numCache>
                <c:formatCode>General</c:formatCode>
                <c:ptCount val="10"/>
                <c:pt idx="0">
                  <c:v>1022986.8484</c:v>
                </c:pt>
                <c:pt idx="1">
                  <c:v>1036852.9036</c:v>
                </c:pt>
                <c:pt idx="2">
                  <c:v>83407.418800000014</c:v>
                </c:pt>
                <c:pt idx="3">
                  <c:v>83489.196199999991</c:v>
                </c:pt>
                <c:pt idx="4">
                  <c:v>252465.32579999999</c:v>
                </c:pt>
                <c:pt idx="5">
                  <c:v>798333.04369999992</c:v>
                </c:pt>
                <c:pt idx="6">
                  <c:v>96289.953199999989</c:v>
                </c:pt>
                <c:pt idx="7">
                  <c:v>87919.882999999987</c:v>
                </c:pt>
                <c:pt idx="8">
                  <c:v>513060.90409999993</c:v>
                </c:pt>
                <c:pt idx="9">
                  <c:v>446982.82140000002</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4BBD343-32FB-4413-9241-AEC1DCB30F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CBA617E-7E70-4350-B3B2-7AAC3EF852C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A1ECC66-9AA1-4656-80D3-D594F175D97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E1441D9-4537-4597-B449-4504407C254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A3A630D-B300-470E-A836-47292A5AE2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8377FBC-98F2-4571-AFDB-089E0D9535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D6B1FAF-830A-4EAA-A95B-3237E0E59DA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B1EE339-3378-4FB8-BEAA-0047A58D25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FA42491-638B-4779-9FF8-2F7BA502321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B741B98-1435-41FE-8C06-F4776B4F192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97</c:v>
                </c:pt>
                <c:pt idx="1">
                  <c:v>0.79</c:v>
                </c:pt>
                <c:pt idx="2">
                  <c:v>0.99</c:v>
                </c:pt>
                <c:pt idx="3">
                  <c:v>0.78</c:v>
                </c:pt>
                <c:pt idx="4">
                  <c:v>0.96</c:v>
                </c:pt>
                <c:pt idx="5">
                  <c:v>0.99</c:v>
                </c:pt>
                <c:pt idx="6">
                  <c:v>0.27</c:v>
                </c:pt>
                <c:pt idx="7">
                  <c:v>0.66</c:v>
                </c:pt>
                <c:pt idx="8">
                  <c:v>0.25</c:v>
                </c:pt>
                <c:pt idx="9">
                  <c:v>0.97</c:v>
                </c:pt>
              </c:numCache>
            </c:numRef>
          </c:xVal>
          <c:yVal>
            <c:numRef>
              <c:f>Sheet1!$B$2:$B$11</c:f>
              <c:numCache>
                <c:formatCode>General</c:formatCode>
                <c:ptCount val="10"/>
                <c:pt idx="0">
                  <c:v>3677.6391752577319</c:v>
                </c:pt>
                <c:pt idx="1">
                  <c:v>3513.0253164556962</c:v>
                </c:pt>
                <c:pt idx="2">
                  <c:v>19283.14141414141</c:v>
                </c:pt>
                <c:pt idx="3">
                  <c:v>6125.9615384615381</c:v>
                </c:pt>
                <c:pt idx="4">
                  <c:v>23908.927083333328</c:v>
                </c:pt>
                <c:pt idx="5">
                  <c:v>36882.898989898989</c:v>
                </c:pt>
                <c:pt idx="6">
                  <c:v>3586</c:v>
                </c:pt>
                <c:pt idx="7">
                  <c:v>9583.0909090909099</c:v>
                </c:pt>
                <c:pt idx="8">
                  <c:v>1907.64</c:v>
                </c:pt>
                <c:pt idx="9">
                  <c:v>6300.7113402061859</c:v>
                </c:pt>
              </c:numCache>
            </c:numRef>
          </c:yVal>
          <c:bubbleSize>
            <c:numRef>
              <c:f>Sheet1!$C$2:$C$11</c:f>
              <c:numCache>
                <c:formatCode>General</c:formatCode>
                <c:ptCount val="10"/>
                <c:pt idx="0">
                  <c:v>210256.40059999999</c:v>
                </c:pt>
                <c:pt idx="1">
                  <c:v>163944.598</c:v>
                </c:pt>
                <c:pt idx="2">
                  <c:v>1115386.6605</c:v>
                </c:pt>
                <c:pt idx="3">
                  <c:v>338910.8653</c:v>
                </c:pt>
                <c:pt idx="4">
                  <c:v>1471281.0649000001</c:v>
                </c:pt>
                <c:pt idx="5">
                  <c:v>2282886.3753999998</c:v>
                </c:pt>
                <c:pt idx="6">
                  <c:v>57429.013199999987</c:v>
                </c:pt>
                <c:pt idx="7">
                  <c:v>353367.2169</c:v>
                </c:pt>
                <c:pt idx="8">
                  <c:v>23255.5641</c:v>
                </c:pt>
                <c:pt idx="9">
                  <c:v>357582.02799999999</c:v>
                </c:pt>
              </c:numCache>
            </c:numRef>
          </c:bubbleSize>
          <c:bubble3D val="0"/>
          <c:extLst>
            <c:ext xmlns:c15="http://schemas.microsoft.com/office/drawing/2012/chart" uri="{02D57815-91ED-43cb-92C2-25804820EDAC}">
              <c15:datalabelsRange>
                <c15:f>Sheet1!$E$2:$E$21</c15:f>
                <c15:dlblRangeCache>
                  <c:ptCount val="20"/>
                  <c:pt idx="0">
                    <c:v>Toastinette Cheddar Fondu Tranche A Chaud Sachet 1X200Gr 10P</c:v>
                  </c:pt>
                  <c:pt idx="1">
                    <c:v>Toastinette Fromage Fondu Tranche A Chaud Sachet 1X200Gr 10P</c:v>
                  </c:pt>
                  <c:pt idx="2">
                    <c:v>La Vache Qui Rit Nature Fromage Fondu Boite Ronde 1X192Gr 12P</c:v>
                  </c:pt>
                  <c:pt idx="3">
                    <c:v>La Vache Qui Rit Nature Fromage Fondu Boite Ronde 1X512Gr 24+8P</c:v>
                  </c:pt>
                  <c:pt idx="4">
                    <c:v>La Vache Qui Rit Nature Fromage Fondu Boite Ronde 1X384Gr 24P</c:v>
                  </c:pt>
                  <c:pt idx="5">
                    <c:v>La Vache Qui Rit Nature Fromage Fondu Boite Ronde 1X512Gr 32P</c:v>
                  </c:pt>
                  <c:pt idx="6">
                    <c:v>La Vache Qui Rit Allegee Fromage Fondu Boite Ronde Allege 1X267Gr 16P</c:v>
                  </c:pt>
                  <c:pt idx="7">
                    <c:v>La Vache Qui Rit Nature Fromage Fondu Boite Ronde 1X128Gr 8P</c:v>
                  </c:pt>
                  <c:pt idx="8">
                    <c:v>La Vache Qui Rit Bio Fromage Fondu Boite Ronde 1X128Gr 8P</c:v>
                  </c:pt>
                  <c:pt idx="9">
                    <c:v>La Vache Qui Rit Pik Et Croq' Fromage Fondu Dips Boite 1X175Gr 5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DC401AA-DC65-4764-A40C-B1A4218FBE5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C72434D-FDE0-48F9-A932-4DE227868AD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81357E8-70F9-4328-AC4F-8D73A314B0E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59D3A81-68CB-478C-9AF9-D34C551A3B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82C6443-D799-40B8-A081-F33A62DBB0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AA71F9A-37B7-4D7C-8441-0A8B532834C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89E881D-3880-496A-BDBD-F7DC293663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587F762-0525-4558-B559-15F639E2603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18036F2-8B8B-498A-9908-0112099A88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2A8556B-1F06-462D-AE7E-7AA7CE7E708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4DEF-4186-B8B2-57D945130811}"/>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4DEF-4186-B8B2-57D945130811}"/>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4DEF-4186-B8B2-57D945130811}"/>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4DEF-4186-B8B2-57D945130811}"/>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4DEF-4186-B8B2-57D94513081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6</c:f>
              <c:numCache>
                <c:formatCode>General</c:formatCode>
                <c:ptCount val="25"/>
                <c:pt idx="0">
                  <c:v>0.98</c:v>
                </c:pt>
                <c:pt idx="1">
                  <c:v>0.37</c:v>
                </c:pt>
                <c:pt idx="2">
                  <c:v>0.72</c:v>
                </c:pt>
                <c:pt idx="3">
                  <c:v>0.99</c:v>
                </c:pt>
                <c:pt idx="4">
                  <c:v>0.89</c:v>
                </c:pt>
                <c:pt idx="5">
                  <c:v>0.51</c:v>
                </c:pt>
                <c:pt idx="6">
                  <c:v>0.65</c:v>
                </c:pt>
                <c:pt idx="7">
                  <c:v>0.61</c:v>
                </c:pt>
                <c:pt idx="8">
                  <c:v>0.41</c:v>
                </c:pt>
                <c:pt idx="9">
                  <c:v>0.24</c:v>
                </c:pt>
                <c:pt idx="10">
                  <c:v>0.99</c:v>
                </c:pt>
                <c:pt idx="11">
                  <c:v>0.91</c:v>
                </c:pt>
                <c:pt idx="12">
                  <c:v>0.79</c:v>
                </c:pt>
                <c:pt idx="13">
                  <c:v>0.95</c:v>
                </c:pt>
                <c:pt idx="14">
                  <c:v>0.72</c:v>
                </c:pt>
                <c:pt idx="15">
                  <c:v>0.91</c:v>
                </c:pt>
                <c:pt idx="16">
                  <c:v>0.94</c:v>
                </c:pt>
                <c:pt idx="17">
                  <c:v>0.86</c:v>
                </c:pt>
                <c:pt idx="18">
                  <c:v>0.95</c:v>
                </c:pt>
                <c:pt idx="19">
                  <c:v>0.85</c:v>
                </c:pt>
                <c:pt idx="20">
                  <c:v>0.5</c:v>
                </c:pt>
                <c:pt idx="21">
                  <c:v>0.03</c:v>
                </c:pt>
                <c:pt idx="22">
                  <c:v>0.71</c:v>
                </c:pt>
                <c:pt idx="23">
                  <c:v>0.25</c:v>
                </c:pt>
                <c:pt idx="24">
                  <c:v>0.28999999999999998</c:v>
                </c:pt>
              </c:numCache>
            </c:numRef>
          </c:xVal>
          <c:yVal>
            <c:numRef>
              <c:f>Sheet1!$B$2:$B$26</c:f>
              <c:numCache>
                <c:formatCode>General</c:formatCode>
                <c:ptCount val="25"/>
                <c:pt idx="0">
                  <c:v>12114.479591836731</c:v>
                </c:pt>
                <c:pt idx="1">
                  <c:v>535.8648648648649</c:v>
                </c:pt>
                <c:pt idx="2">
                  <c:v>1510.3611111111111</c:v>
                </c:pt>
                <c:pt idx="3">
                  <c:v>11147.28282828283</c:v>
                </c:pt>
                <c:pt idx="4">
                  <c:v>3558.674157303371</c:v>
                </c:pt>
                <c:pt idx="5">
                  <c:v>247.92156862745099</c:v>
                </c:pt>
                <c:pt idx="6">
                  <c:v>1122.0923076923079</c:v>
                </c:pt>
                <c:pt idx="7">
                  <c:v>611.55737704918033</c:v>
                </c:pt>
                <c:pt idx="8">
                  <c:v>486.04878048780489</c:v>
                </c:pt>
                <c:pt idx="9">
                  <c:v>1088.583333333333</c:v>
                </c:pt>
                <c:pt idx="10">
                  <c:v>7616.333333333333</c:v>
                </c:pt>
                <c:pt idx="11">
                  <c:v>1998.6373626373629</c:v>
                </c:pt>
                <c:pt idx="12">
                  <c:v>776.29113924050637</c:v>
                </c:pt>
                <c:pt idx="13">
                  <c:v>1784.8315789473679</c:v>
                </c:pt>
                <c:pt idx="14">
                  <c:v>1265.291666666667</c:v>
                </c:pt>
                <c:pt idx="15">
                  <c:v>5526.197802197802</c:v>
                </c:pt>
                <c:pt idx="16">
                  <c:v>9753.2978723404249</c:v>
                </c:pt>
                <c:pt idx="17">
                  <c:v>6344.6627906976746</c:v>
                </c:pt>
                <c:pt idx="18">
                  <c:v>10084.61052631579</c:v>
                </c:pt>
                <c:pt idx="19">
                  <c:v>3883.376470588235</c:v>
                </c:pt>
                <c:pt idx="20">
                  <c:v>504.1</c:v>
                </c:pt>
                <c:pt idx="21">
                  <c:v>989.66666666666663</c:v>
                </c:pt>
                <c:pt idx="22">
                  <c:v>908.5915492957746</c:v>
                </c:pt>
                <c:pt idx="23">
                  <c:v>660.44</c:v>
                </c:pt>
                <c:pt idx="24">
                  <c:v>727.37931034482767</c:v>
                </c:pt>
              </c:numCache>
            </c:numRef>
          </c:yVal>
          <c:bubbleSize>
            <c:numRef>
              <c:f>Sheet1!$C$2:$C$26</c:f>
              <c:numCache>
                <c:formatCode>General</c:formatCode>
                <c:ptCount val="25"/>
                <c:pt idx="0">
                  <c:v>735837.03899999987</c:v>
                </c:pt>
                <c:pt idx="1">
                  <c:v>12435.307000000001</c:v>
                </c:pt>
                <c:pt idx="2">
                  <c:v>61677.407299999999</c:v>
                </c:pt>
                <c:pt idx="3">
                  <c:v>737303.34119999991</c:v>
                </c:pt>
                <c:pt idx="4">
                  <c:v>199120.19279999999</c:v>
                </c:pt>
                <c:pt idx="5">
                  <c:v>7323.7779999999984</c:v>
                </c:pt>
                <c:pt idx="6">
                  <c:v>43933.779499999997</c:v>
                </c:pt>
                <c:pt idx="7">
                  <c:v>16794.665700000001</c:v>
                </c:pt>
                <c:pt idx="8">
                  <c:v>8745.5810000000001</c:v>
                </c:pt>
                <c:pt idx="9">
                  <c:v>12846.708699999999</c:v>
                </c:pt>
                <c:pt idx="10">
                  <c:v>472778.95269999991</c:v>
                </c:pt>
                <c:pt idx="11">
                  <c:v>98555.869400000011</c:v>
                </c:pt>
                <c:pt idx="12">
                  <c:v>27963.0069</c:v>
                </c:pt>
                <c:pt idx="13">
                  <c:v>98599.152199999982</c:v>
                </c:pt>
                <c:pt idx="14">
                  <c:v>50744.359600000003</c:v>
                </c:pt>
                <c:pt idx="15">
                  <c:v>309185.78110000002</c:v>
                </c:pt>
                <c:pt idx="16">
                  <c:v>585791.43079999997</c:v>
                </c:pt>
                <c:pt idx="17">
                  <c:v>344738.34379999997</c:v>
                </c:pt>
                <c:pt idx="18">
                  <c:v>593369.18190000008</c:v>
                </c:pt>
                <c:pt idx="19">
                  <c:v>190007.0134</c:v>
                </c:pt>
                <c:pt idx="20">
                  <c:v>11264.5497</c:v>
                </c:pt>
                <c:pt idx="21">
                  <c:v>1570.7198000000001</c:v>
                </c:pt>
                <c:pt idx="22">
                  <c:v>36378.559800000003</c:v>
                </c:pt>
                <c:pt idx="23">
                  <c:v>10403.1235</c:v>
                </c:pt>
                <c:pt idx="24">
                  <c:v>10860.940199999999</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320Gr 16+4P</c:v>
                  </c:pt>
                  <c:pt idx="2">
                    <c:v>Boursin Cuisine Sauce Fromage Afh 1X240Gr 1P</c:v>
                  </c:pt>
                  <c:pt idx="3">
                    <c:v>Boursin Classique Fromage Frais A Tartiner Afh Boite 1X150Gr 1P</c:v>
                  </c:pt>
                  <c:pt idx="4">
                    <c:v>Boursin Classique Fromage Frais A Tartiner Ciboulette &amp; Echalote Boite 1X150Gr 1P</c:v>
                  </c:pt>
                  <c:pt idx="5">
                    <c:v>Boursin Classique Fromage Frais A Tartiner Truffe Boite 1X150Gr 1P</c:v>
                  </c:pt>
                  <c:pt idx="6">
                    <c:v>Boursin Classique Fromage Frais A Tartiner Figue Et 3 Noix Boite 1X150Gr 1P</c:v>
                  </c:pt>
                  <c:pt idx="7">
                    <c:v>Boursin Classique Fromage Frais A Tartiner 3 Noix Boite 1X150Gr 1P</c:v>
                  </c:pt>
                  <c:pt idx="8">
                    <c:v>Boursin Classique Fromage Frais A Tartiner 3 Noix 1X160Gr 10P</c:v>
                  </c:pt>
                  <c:pt idx="9">
                    <c:v>Boursin Vegetal Specialite Vegetale A Tartiner Afh 1X130Gr 1P</c:v>
                  </c:pt>
                  <c:pt idx="10">
                    <c:v>Boursin Salade &amp; Aperitif Fromage Frais Des Afh 1X120Gr 1P</c:v>
                  </c:pt>
                  <c:pt idx="11">
                    <c:v>Boursin Salade &amp; Aperitif Fromage Frais Des Figue Noix 1X120Gr 1P</c:v>
                  </c:pt>
                  <c:pt idx="12">
                    <c:v>Boursin Salade &amp; Aperitif Fromage Frais Des Noisette Et 3 Noix 1X120Gr 1P</c:v>
                  </c:pt>
                  <c:pt idx="13">
                    <c:v>Boursin Salade &amp; Aperitif Fromage Frais Des Ciboulette Echalote 1X120Gr 1P</c:v>
                  </c:pt>
                  <c:pt idx="14">
                    <c:v>Boursin Salade &amp; Aperitif Fromage Frais Des Citron Romarin 1X120Gr 1P</c:v>
                  </c:pt>
                  <c:pt idx="15">
                    <c:v>Boursin Classique Fromage Frais A Tartiner Afh Boite 1X96Gr 6P</c:v>
                  </c:pt>
                  <c:pt idx="16">
                    <c:v>Boursin Aperitif Roules Fromage Frais Roule Afh Et Jambon Fume Boite 1X100Gr 20P</c:v>
                  </c:pt>
                  <c:pt idx="17">
                    <c:v>Boursin Aperitif Roules Fromage Frais Roule Ciboulette &amp; Echalote Jambon Fume Boite 1X100Gr 20P</c:v>
                  </c:pt>
                  <c:pt idx="18">
                    <c:v>Boursin Classique Fromage Frais A Tartiner Afh Boite 1X250Gr 1P</c:v>
                  </c:pt>
                  <c:pt idx="19">
                    <c:v>Boursin Onctueux Fromage Frais A Tartiner Afh 1X125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0EAE6A9-6781-4EEB-9556-BCE0C32B048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987194C-3CE5-4E97-94A8-F499D2DBBD9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EBB8A4B-E100-4325-AE80-5DE2B765A67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DCAB071-9554-4002-9BF5-AF41F1CD304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6EAC5EA-0422-4200-8321-835C5A47F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7991CE9-3668-4C8F-A4AB-68949A3F423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7436937-5F25-4413-8F54-4BF5C83D190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25B8958-3439-49F5-AD58-493CB41104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A09A9CB-F4EC-49C0-94B4-C627B2367C9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C48656F-46E5-4A5C-B18F-4271BFFA5B6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06</c:v>
                </c:pt>
                <c:pt idx="1">
                  <c:v>0.56000000000000005</c:v>
                </c:pt>
                <c:pt idx="2">
                  <c:v>0.96</c:v>
                </c:pt>
                <c:pt idx="3">
                  <c:v>0.27</c:v>
                </c:pt>
                <c:pt idx="4">
                  <c:v>0.71</c:v>
                </c:pt>
                <c:pt idx="5">
                  <c:v>0.02</c:v>
                </c:pt>
              </c:numCache>
            </c:numRef>
          </c:xVal>
          <c:yVal>
            <c:numRef>
              <c:f>Sheet1!$B$2:$B$7</c:f>
              <c:numCache>
                <c:formatCode>General</c:formatCode>
                <c:ptCount val="6"/>
                <c:pt idx="0">
                  <c:v>6803.333333333333</c:v>
                </c:pt>
                <c:pt idx="1">
                  <c:v>6336.7321428571422</c:v>
                </c:pt>
                <c:pt idx="2">
                  <c:v>24603.90625</c:v>
                </c:pt>
                <c:pt idx="3">
                  <c:v>4204.2222222222226</c:v>
                </c:pt>
                <c:pt idx="4">
                  <c:v>11954</c:v>
                </c:pt>
                <c:pt idx="5">
                  <c:v>7187</c:v>
                </c:pt>
              </c:numCache>
            </c:numRef>
          </c:yVal>
          <c:bubbleSize>
            <c:numRef>
              <c:f>Sheet1!$C$2:$C$7</c:f>
              <c:numCache>
                <c:formatCode>General</c:formatCode>
                <c:ptCount val="6"/>
                <c:pt idx="0">
                  <c:v>25453.1044</c:v>
                </c:pt>
                <c:pt idx="1">
                  <c:v>180235.58540000001</c:v>
                </c:pt>
                <c:pt idx="2">
                  <c:v>1310618.0515000001</c:v>
                </c:pt>
                <c:pt idx="3">
                  <c:v>61994.774900000011</c:v>
                </c:pt>
                <c:pt idx="4">
                  <c:v>386330.07020000002</c:v>
                </c:pt>
                <c:pt idx="5">
                  <c:v>8296.8222000000005</c:v>
                </c:pt>
              </c:numCache>
            </c:numRef>
          </c:bubbleSize>
          <c:bubble3D val="0"/>
          <c:extLst>
            <c:ext xmlns:c15="http://schemas.microsoft.com/office/drawing/2012/chart" uri="{02D57815-91ED-43cb-92C2-25804820EDAC}">
              <c15:datalabelsRange>
                <c15:f>Sheet1!$E$2:$E$21</c15:f>
                <c15:dlblRangeCache>
                  <c:ptCount val="20"/>
                  <c:pt idx="0">
                    <c:v>Kiri Creme Fromage Blanc Frais Carre 1X216Gr 12P</c:v>
                  </c:pt>
                  <c:pt idx="1">
                    <c:v>Kiri Delicieusement Fouette Fromage Frais A Tartiner 1X125Gr 1P</c:v>
                  </c:pt>
                  <c:pt idx="2">
                    <c:v>Kiri Creme Fromage Blanc Frais Carre 1X144Gr 8P</c:v>
                  </c:pt>
                  <c:pt idx="3">
                    <c:v>Kiri Delicieusement Fouette Fromage Frais A Tartiner 1X160Gr 10P</c:v>
                  </c:pt>
                  <c:pt idx="4">
                    <c:v>Kiri Gouter Fromage Blanc Dips Boite 1X175Gr 5P</c:v>
                  </c:pt>
                  <c:pt idx="5">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Entremont</c:v>
                </c:pt>
                <c:pt idx="5">
                  <c:v>Caprice Des Dieux</c:v>
                </c:pt>
                <c:pt idx="6">
                  <c:v>La Vache Qui Rit</c:v>
                </c:pt>
                <c:pt idx="7">
                  <c:v>Boursin</c:v>
                </c:pt>
                <c:pt idx="8">
                  <c:v>Kiri</c:v>
                </c:pt>
                <c:pt idx="9">
                  <c:v>Others</c:v>
                </c:pt>
              </c:strCache>
            </c:strRef>
          </c:cat>
          <c:val>
            <c:numRef>
              <c:f>Sheet1!$B$2:$B$11</c:f>
              <c:numCache>
                <c:formatCode>General</c:formatCode>
                <c:ptCount val="10"/>
                <c:pt idx="0">
                  <c:v>0.38883058295447009</c:v>
                </c:pt>
                <c:pt idx="1">
                  <c:v>5.3724273262863928E-2</c:v>
                </c:pt>
                <c:pt idx="2">
                  <c:v>2.944779072832663E-2</c:v>
                </c:pt>
                <c:pt idx="3">
                  <c:v>2.6370711151571691E-2</c:v>
                </c:pt>
                <c:pt idx="4">
                  <c:v>2.4668384364981352E-2</c:v>
                </c:pt>
                <c:pt idx="5">
                  <c:v>2.412462748827458E-2</c:v>
                </c:pt>
                <c:pt idx="6">
                  <c:v>2.2638697804057639E-2</c:v>
                </c:pt>
                <c:pt idx="7">
                  <c:v>1.6497512202773488E-2</c:v>
                </c:pt>
                <c:pt idx="8">
                  <c:v>1.5767331829105148E-2</c:v>
                </c:pt>
                <c:pt idx="9">
                  <c:v>0.39793008821357539</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Entremont</c:v>
                </c:pt>
                <c:pt idx="5">
                  <c:v>Caprice Des Dieux</c:v>
                </c:pt>
                <c:pt idx="6">
                  <c:v>La Vache Qui Rit</c:v>
                </c:pt>
                <c:pt idx="7">
                  <c:v>Boursin</c:v>
                </c:pt>
                <c:pt idx="8">
                  <c:v>Kiri</c:v>
                </c:pt>
                <c:pt idx="9">
                  <c:v>Others</c:v>
                </c:pt>
              </c:strCache>
            </c:strRef>
          </c:cat>
          <c:val>
            <c:numRef>
              <c:f>Sheet1!$C$2:$C$11</c:f>
              <c:numCache>
                <c:formatCode>General</c:formatCode>
                <c:ptCount val="10"/>
                <c:pt idx="0">
                  <c:v>0.24289089029971911</c:v>
                </c:pt>
                <c:pt idx="1">
                  <c:v>4.6522958807027844E-2</c:v>
                </c:pt>
                <c:pt idx="2">
                  <c:v>2.1201830798759758E-2</c:v>
                </c:pt>
                <c:pt idx="3">
                  <c:v>1.8514690683596614E-2</c:v>
                </c:pt>
                <c:pt idx="4">
                  <c:v>3.1197401446921565E-2</c:v>
                </c:pt>
                <c:pt idx="5">
                  <c:v>1.2608888232688601E-2</c:v>
                </c:pt>
                <c:pt idx="6">
                  <c:v>1.3745755204488395E-2</c:v>
                </c:pt>
                <c:pt idx="7">
                  <c:v>2.5173482946995392E-2</c:v>
                </c:pt>
                <c:pt idx="8">
                  <c:v>1.237265613465228E-2</c:v>
                </c:pt>
                <c:pt idx="9">
                  <c:v>0.575771445445150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Entremont</c:v>
                </c:pt>
                <c:pt idx="5">
                  <c:v>Caprice Des Dieux</c:v>
                </c:pt>
                <c:pt idx="6">
                  <c:v>La Vache Qui Rit</c:v>
                </c:pt>
                <c:pt idx="7">
                  <c:v>Boursin</c:v>
                </c:pt>
                <c:pt idx="8">
                  <c:v>Kiri</c:v>
                </c:pt>
                <c:pt idx="9">
                  <c:v>Others</c:v>
                </c:pt>
              </c:strCache>
            </c:strRef>
          </c:cat>
          <c:val>
            <c:numRef>
              <c:f>Sheet1!$D$2:$D$11</c:f>
              <c:numCache>
                <c:formatCode>General</c:formatCode>
                <c:ptCount val="10"/>
                <c:pt idx="0">
                  <c:v>62.467023158042146</c:v>
                </c:pt>
                <c:pt idx="1">
                  <c:v>86.595789913059875</c:v>
                </c:pt>
                <c:pt idx="2">
                  <c:v>71.998035419224649</c:v>
                </c:pt>
                <c:pt idx="3">
                  <c:v>70.209296128493449</c:v>
                </c:pt>
                <c:pt idx="4">
                  <c:v>126.46714509284462</c:v>
                </c:pt>
                <c:pt idx="5">
                  <c:v>52.265628718275401</c:v>
                </c:pt>
                <c:pt idx="6">
                  <c:v>60.717958795424529</c:v>
                </c:pt>
                <c:pt idx="7">
                  <c:v>152.58957009750441</c:v>
                </c:pt>
                <c:pt idx="8">
                  <c:v>78.470195647264902</c:v>
                </c:pt>
                <c:pt idx="9">
                  <c:v>144.6916085259994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B$2:$B$7</c:f>
              <c:numCache>
                <c:formatCode>General</c:formatCode>
                <c:ptCount val="6"/>
                <c:pt idx="0">
                  <c:v>0.26418027688659357</c:v>
                </c:pt>
                <c:pt idx="1">
                  <c:v>0.2403108486901494</c:v>
                </c:pt>
                <c:pt idx="2">
                  <c:v>0.21670931518326939</c:v>
                </c:pt>
                <c:pt idx="3">
                  <c:v>0.17816246047020232</c:v>
                </c:pt>
                <c:pt idx="4">
                  <c:v>8.219551906100811E-2</c:v>
                </c:pt>
                <c:pt idx="5">
                  <c:v>1.8441579708777238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C$2:$C$7</c:f>
              <c:numCache>
                <c:formatCode>General</c:formatCode>
                <c:ptCount val="6"/>
                <c:pt idx="0">
                  <c:v>0.23157415832575068</c:v>
                </c:pt>
                <c:pt idx="1">
                  <c:v>0.22429481346678801</c:v>
                </c:pt>
                <c:pt idx="2">
                  <c:v>0.25659690627843496</c:v>
                </c:pt>
                <c:pt idx="3">
                  <c:v>0.16014558689717928</c:v>
                </c:pt>
                <c:pt idx="4">
                  <c:v>9.3721565059144668E-2</c:v>
                </c:pt>
                <c:pt idx="5">
                  <c:v>3.3666969972702458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D$2:$D$7</c:f>
              <c:numCache>
                <c:formatCode>General</c:formatCode>
                <c:ptCount val="6"/>
                <c:pt idx="0">
                  <c:v>87.65762571486745</c:v>
                </c:pt>
                <c:pt idx="1">
                  <c:v>93.335284149400991</c:v>
                </c:pt>
                <c:pt idx="2">
                  <c:v>118.40603439747524</c:v>
                </c:pt>
                <c:pt idx="3">
                  <c:v>89.887390685179525</c:v>
                </c:pt>
                <c:pt idx="4">
                  <c:v>114.02271818440803</c:v>
                </c:pt>
                <c:pt idx="5">
                  <c:v>182.5601196012439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F326197-89EE-4FCD-B5B5-A35E74CDE4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F67E0CB-7740-411B-B227-6B82A8F41B5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D880404-516E-4E95-B2E3-91E1A0E262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FCE5AFA-3192-4920-A3D4-50AD668B870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E4C3E95-46F8-4E0B-867B-10C7FC376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925804E-C6A9-453F-990B-BAD191ACBC4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25DFD33-B038-4A1A-9B36-1D87A9C9946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0285319-73F2-444C-82BB-D904F8377C2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CF88036-E780-4EF9-BFFA-04298CF1D7F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C1CCDA3-0D23-4C0A-873D-7A6C8F33F8C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18</c:v>
                </c:pt>
                <c:pt idx="1">
                  <c:v>0.05</c:v>
                </c:pt>
                <c:pt idx="2">
                  <c:v>0.91</c:v>
                </c:pt>
                <c:pt idx="3">
                  <c:v>0.47</c:v>
                </c:pt>
                <c:pt idx="4">
                  <c:v>0.09</c:v>
                </c:pt>
                <c:pt idx="5">
                  <c:v>0.05</c:v>
                </c:pt>
                <c:pt idx="6">
                  <c:v>0.08</c:v>
                </c:pt>
                <c:pt idx="7">
                  <c:v>0.51</c:v>
                </c:pt>
              </c:numCache>
            </c:numRef>
          </c:xVal>
          <c:yVal>
            <c:numRef>
              <c:f>Sheet1!$B$2:$B$9</c:f>
              <c:numCache>
                <c:formatCode>General</c:formatCode>
                <c:ptCount val="8"/>
                <c:pt idx="0">
                  <c:v>2435.8888888888891</c:v>
                </c:pt>
                <c:pt idx="1">
                  <c:v>4163.6000000000004</c:v>
                </c:pt>
                <c:pt idx="2">
                  <c:v>30497.54945054945</c:v>
                </c:pt>
                <c:pt idx="3">
                  <c:v>28146.97872340426</c:v>
                </c:pt>
                <c:pt idx="4">
                  <c:v>14182</c:v>
                </c:pt>
                <c:pt idx="5">
                  <c:v>4702.2</c:v>
                </c:pt>
                <c:pt idx="6">
                  <c:v>3558.5</c:v>
                </c:pt>
                <c:pt idx="7">
                  <c:v>8683.745098039215</c:v>
                </c:pt>
              </c:numCache>
            </c:numRef>
          </c:yVal>
          <c:bubbleSize>
            <c:numRef>
              <c:f>Sheet1!$C$2:$C$9</c:f>
              <c:numCache>
                <c:formatCode>General</c:formatCode>
                <c:ptCount val="8"/>
                <c:pt idx="0">
                  <c:v>23355.519799999998</c:v>
                </c:pt>
                <c:pt idx="1">
                  <c:v>11524.250400000001</c:v>
                </c:pt>
                <c:pt idx="2">
                  <c:v>1428878.9875</c:v>
                </c:pt>
                <c:pt idx="3">
                  <c:v>713431.4463999999</c:v>
                </c:pt>
                <c:pt idx="4">
                  <c:v>63970.783399999993</c:v>
                </c:pt>
                <c:pt idx="5">
                  <c:v>9602.1797999999999</c:v>
                </c:pt>
                <c:pt idx="6">
                  <c:v>13063.788699999999</c:v>
                </c:pt>
                <c:pt idx="7">
                  <c:v>224893.63399999999</c:v>
                </c:pt>
              </c:numCache>
            </c:numRef>
          </c:bubbleSize>
          <c:bubble3D val="0"/>
          <c:extLst>
            <c:ext xmlns:c15="http://schemas.microsoft.com/office/drawing/2012/chart" uri="{02D57815-91ED-43cb-92C2-25804820EDAC}">
              <c15:datalabelsRange>
                <c15:f>Sheet1!$E$2:$E$21</c15:f>
                <c15:dlblRangeCache>
                  <c:ptCount val="20"/>
                  <c:pt idx="0">
                    <c:v>Toastinette Cheddar Fondu Tranche A Chaud Sachet 1X200Gr 10P</c:v>
                  </c:pt>
                  <c:pt idx="1">
                    <c:v>Toastinette Fromage Fondu Tranche A Chaud Sachet 1X200Gr 10P</c:v>
                  </c:pt>
                  <c:pt idx="2">
                    <c:v>La Vache Qui Rit Nature Fromage Fondu Boite Ronde 1X192Gr 12P</c:v>
                  </c:pt>
                  <c:pt idx="3">
                    <c:v>La Vache Qui Rit Nature Fromage Fondu Boite Ronde 1X384Gr 24P</c:v>
                  </c:pt>
                  <c:pt idx="4">
                    <c:v>La Vache Qui Rit Nature Fromage Fondu Boite Ronde 1X128Gr 8P</c:v>
                  </c:pt>
                  <c:pt idx="5">
                    <c:v>La Vache Qui Rit Pik Et Croq' Fromage Fondu Dips Boite 1X35Gr 1P</c:v>
                  </c:pt>
                  <c:pt idx="6">
                    <c:v>La Vache Qui Rit Bio Fromage Fondu Boite Ronde 1X128Gr 8P</c:v>
                  </c:pt>
                  <c:pt idx="7">
                    <c:v>La Vache Qui Rit Pik Et Croq' Fromage Fondu Dips Boite 1X175Gr 5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9A1D2BB-68C5-484E-A59E-EB40D9EF5D3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1348250-32AF-4EA7-AF41-9B8933D2301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2719632-1ACD-4C90-BCC1-9F066B6D8D2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26B8BA2-1717-450A-85DA-1B63ED5C366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9761336-4482-427C-80BE-3B89D062E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6D4A41D-F693-4094-8C0D-92FC4823DA8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9067578-B3DB-44D0-821E-0EB638BB3E1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0533760-99F2-4EAB-AC14-053BDA47A61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D04DADB-FEAE-4348-941E-0AD2EE89F13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614E05B-2963-4C3B-9D07-D33536D2971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53</c:v>
                </c:pt>
                <c:pt idx="1">
                  <c:v>0.32</c:v>
                </c:pt>
                <c:pt idx="2">
                  <c:v>0.83</c:v>
                </c:pt>
                <c:pt idx="3">
                  <c:v>0.08</c:v>
                </c:pt>
                <c:pt idx="4">
                  <c:v>0.1</c:v>
                </c:pt>
                <c:pt idx="5">
                  <c:v>0.79</c:v>
                </c:pt>
                <c:pt idx="6">
                  <c:v>0.11</c:v>
                </c:pt>
                <c:pt idx="7">
                  <c:v>0.12</c:v>
                </c:pt>
                <c:pt idx="8">
                  <c:v>0.56000000000000005</c:v>
                </c:pt>
                <c:pt idx="9">
                  <c:v>0.17</c:v>
                </c:pt>
              </c:numCache>
            </c:numRef>
          </c:xVal>
          <c:yVal>
            <c:numRef>
              <c:f>Sheet1!$B$2:$B$11</c:f>
              <c:numCache>
                <c:formatCode>General</c:formatCode>
                <c:ptCount val="10"/>
                <c:pt idx="0">
                  <c:v>13191.32075471698</c:v>
                </c:pt>
                <c:pt idx="1">
                  <c:v>2491</c:v>
                </c:pt>
                <c:pt idx="2">
                  <c:v>15938.25301204819</c:v>
                </c:pt>
                <c:pt idx="3">
                  <c:v>5998.125</c:v>
                </c:pt>
                <c:pt idx="4">
                  <c:v>456.8</c:v>
                </c:pt>
                <c:pt idx="5">
                  <c:v>7412.0886075949365</c:v>
                </c:pt>
                <c:pt idx="6">
                  <c:v>1914.818181818182</c:v>
                </c:pt>
                <c:pt idx="7">
                  <c:v>3634.833333333333</c:v>
                </c:pt>
                <c:pt idx="8">
                  <c:v>15549.142857142861</c:v>
                </c:pt>
                <c:pt idx="9">
                  <c:v>4525.5294117647063</c:v>
                </c:pt>
              </c:numCache>
            </c:numRef>
          </c:yVal>
          <c:bubbleSize>
            <c:numRef>
              <c:f>Sheet1!$C$2:$C$11</c:f>
              <c:numCache>
                <c:formatCode>General</c:formatCode>
                <c:ptCount val="10"/>
                <c:pt idx="0">
                  <c:v>406219.11790000001</c:v>
                </c:pt>
                <c:pt idx="1">
                  <c:v>38486.522599999997</c:v>
                </c:pt>
                <c:pt idx="2">
                  <c:v>721435.53999999992</c:v>
                </c:pt>
                <c:pt idx="3">
                  <c:v>23024.1188</c:v>
                </c:pt>
                <c:pt idx="4">
                  <c:v>2645.9699000000001</c:v>
                </c:pt>
                <c:pt idx="5">
                  <c:v>270415.65699999989</c:v>
                </c:pt>
                <c:pt idx="6">
                  <c:v>11168.7999</c:v>
                </c:pt>
                <c:pt idx="7">
                  <c:v>23839.869699999999</c:v>
                </c:pt>
                <c:pt idx="8">
                  <c:v>478859.43920000002</c:v>
                </c:pt>
                <c:pt idx="9">
                  <c:v>37630.871599999999</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uisine Sauce Fromage Afh 1X240Gr 1P</c:v>
                  </c:pt>
                  <c:pt idx="2">
                    <c:v>Boursin Classique Fromage Frais A Tartiner Afh Boite 1X150Gr 1P</c:v>
                  </c:pt>
                  <c:pt idx="3">
                    <c:v>Boursin Classique Fromage Frais A Tartiner Ciboulette &amp; Echalote Boite 1X150Gr 1P</c:v>
                  </c:pt>
                  <c:pt idx="4">
                    <c:v>Boursin Classique Fromage Frais A Tartiner Truffe Boite 1X150Gr 1P</c:v>
                  </c:pt>
                  <c:pt idx="5">
                    <c:v>Boursin Salade &amp; Aperitif Fromage Frais Des Afh 1X120Gr 1P</c:v>
                  </c:pt>
                  <c:pt idx="6">
                    <c:v>Boursin Classique Fromage Frais A Tartiner Afh Boite 1X80Gr 1P</c:v>
                  </c:pt>
                  <c:pt idx="7">
                    <c:v>Boursin Classique Fromage Frais A Tartiner Afh Boite 1X96Gr 6P</c:v>
                  </c:pt>
                  <c:pt idx="8">
                    <c:v>Boursin Aperitif Roules Fromage Frais Roule Afh Et Jambon Fume Boite 1X100Gr 20P</c:v>
                  </c:pt>
                  <c:pt idx="9">
                    <c:v>Boursin Aperitif Roules Fromage Frais Roule Ciboulette &amp; Echalote Jambon Fume Boite 1X100Gr 20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CEECC97-A257-4287-A6F2-D567FB26F8B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894E02F-2A70-4987-AE38-7FC98C10E0C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11099D6-A0DE-4B8D-B3F9-E3422A7C9E1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D5B6447-0407-4CA3-82D3-1276A9E3056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9FEB9DE-69EC-4476-8ACC-64A0CFB18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51A0039-5DC7-4C0B-B7B3-E5E2839948C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8E6DC2A-9DCD-45C4-86C3-BC4DE0E7863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0BDFFF0-2510-480A-A241-E131C65F994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BB8AC76-FE97-40DC-A99B-A840A58207D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7EFAC29-2D3A-4E69-AB7A-D1FBB1F0C3E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89</c:v>
                </c:pt>
                <c:pt idx="1">
                  <c:v>0.99</c:v>
                </c:pt>
                <c:pt idx="2">
                  <c:v>0.87</c:v>
                </c:pt>
                <c:pt idx="3">
                  <c:v>0.38</c:v>
                </c:pt>
                <c:pt idx="4">
                  <c:v>0.83</c:v>
                </c:pt>
                <c:pt idx="5">
                  <c:v>0.99</c:v>
                </c:pt>
                <c:pt idx="6">
                  <c:v>0.6</c:v>
                </c:pt>
                <c:pt idx="7">
                  <c:v>0.94</c:v>
                </c:pt>
                <c:pt idx="8">
                  <c:v>0.99</c:v>
                </c:pt>
                <c:pt idx="9">
                  <c:v>0.96</c:v>
                </c:pt>
                <c:pt idx="10">
                  <c:v>0.68</c:v>
                </c:pt>
              </c:numCache>
            </c:numRef>
          </c:xVal>
          <c:yVal>
            <c:numRef>
              <c:f>Sheet1!$B$2:$B$12</c:f>
              <c:numCache>
                <c:formatCode>General</c:formatCode>
                <c:ptCount val="11"/>
                <c:pt idx="0">
                  <c:v>32269.033707865168</c:v>
                </c:pt>
                <c:pt idx="1">
                  <c:v>33468.141414141413</c:v>
                </c:pt>
                <c:pt idx="2">
                  <c:v>4455.9195402298847</c:v>
                </c:pt>
                <c:pt idx="3">
                  <c:v>372.55263157894728</c:v>
                </c:pt>
                <c:pt idx="4">
                  <c:v>2418.6506024096379</c:v>
                </c:pt>
                <c:pt idx="5">
                  <c:v>18609.404040404039</c:v>
                </c:pt>
                <c:pt idx="6">
                  <c:v>5208.2666666666664</c:v>
                </c:pt>
                <c:pt idx="7">
                  <c:v>2162.5319148936169</c:v>
                </c:pt>
                <c:pt idx="8">
                  <c:v>14583.53535353535</c:v>
                </c:pt>
                <c:pt idx="9">
                  <c:v>20546</c:v>
                </c:pt>
                <c:pt idx="10">
                  <c:v>4180.2941176470586</c:v>
                </c:pt>
              </c:numCache>
            </c:numRef>
          </c:yVal>
          <c:bubbleSize>
            <c:numRef>
              <c:f>Sheet1!$C$2:$C$12</c:f>
              <c:numCache>
                <c:formatCode>General</c:formatCode>
                <c:ptCount val="11"/>
                <c:pt idx="0">
                  <c:v>1778045.8265</c:v>
                </c:pt>
                <c:pt idx="1">
                  <c:v>2125742.0899999989</c:v>
                </c:pt>
                <c:pt idx="2">
                  <c:v>199779.41380000001</c:v>
                </c:pt>
                <c:pt idx="3">
                  <c:v>6682.76</c:v>
                </c:pt>
                <c:pt idx="4">
                  <c:v>137063.24</c:v>
                </c:pt>
                <c:pt idx="5">
                  <c:v>1145425.8885999999</c:v>
                </c:pt>
                <c:pt idx="6">
                  <c:v>155551.09090000001</c:v>
                </c:pt>
                <c:pt idx="7">
                  <c:v>113028.4296</c:v>
                </c:pt>
                <c:pt idx="8">
                  <c:v>868378.01190000016</c:v>
                </c:pt>
                <c:pt idx="9">
                  <c:v>1189534.4426</c:v>
                </c:pt>
                <c:pt idx="10">
                  <c:v>136467.6223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pt idx="10">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70F6969-92D9-41AD-AF92-552663270BB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A4D3AAE-D775-421D-A8EF-0CFD3B1CFDE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C82FFF2-5278-4E1A-8B78-9D6C105F973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DB8B6E4-A2D6-467A-9E3F-35EC3F3066D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C1FBF7C-7871-4421-B672-68BDE91EEC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F7BA9CB-6AE4-43E8-BC0C-58D02150CFB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8BAD862-78C7-4687-A06D-69136BABDC3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EF7811E-249F-44A2-BA14-58D29447880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5A80CDE-F4C3-415F-8F68-67EA83EE0C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D6F4159-2B12-433B-B49F-D4C05DCAFE4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69</c:v>
                </c:pt>
                <c:pt idx="1">
                  <c:v>1</c:v>
                </c:pt>
                <c:pt idx="2">
                  <c:v>0.25</c:v>
                </c:pt>
                <c:pt idx="3">
                  <c:v>0.97</c:v>
                </c:pt>
                <c:pt idx="4">
                  <c:v>0.98</c:v>
                </c:pt>
                <c:pt idx="5">
                  <c:v>0.87</c:v>
                </c:pt>
                <c:pt idx="6">
                  <c:v>0.97</c:v>
                </c:pt>
                <c:pt idx="7">
                  <c:v>0.89</c:v>
                </c:pt>
              </c:numCache>
            </c:numRef>
          </c:xVal>
          <c:yVal>
            <c:numRef>
              <c:f>Sheet1!$B$2:$B$9</c:f>
              <c:numCache>
                <c:formatCode>General</c:formatCode>
                <c:ptCount val="8"/>
                <c:pt idx="0">
                  <c:v>5071.260869565217</c:v>
                </c:pt>
                <c:pt idx="1">
                  <c:v>45209.37</c:v>
                </c:pt>
                <c:pt idx="2">
                  <c:v>990.84</c:v>
                </c:pt>
                <c:pt idx="3">
                  <c:v>38529.474226804123</c:v>
                </c:pt>
                <c:pt idx="4">
                  <c:v>58923.051020408173</c:v>
                </c:pt>
                <c:pt idx="5">
                  <c:v>7595.7816091954019</c:v>
                </c:pt>
                <c:pt idx="6">
                  <c:v>10108</c:v>
                </c:pt>
                <c:pt idx="7">
                  <c:v>10818.426966292131</c:v>
                </c:pt>
              </c:numCache>
            </c:numRef>
          </c:yVal>
          <c:bubbleSize>
            <c:numRef>
              <c:f>Sheet1!$C$2:$C$9</c:f>
              <c:numCache>
                <c:formatCode>General</c:formatCode>
                <c:ptCount val="8"/>
                <c:pt idx="0">
                  <c:v>149402.61679999999</c:v>
                </c:pt>
                <c:pt idx="1">
                  <c:v>2588083.3026000001</c:v>
                </c:pt>
                <c:pt idx="2">
                  <c:v>17714.815999999999</c:v>
                </c:pt>
                <c:pt idx="3">
                  <c:v>2286448.1486</c:v>
                </c:pt>
                <c:pt idx="4">
                  <c:v>3717874.867000001</c:v>
                </c:pt>
                <c:pt idx="5">
                  <c:v>357809.57189999998</c:v>
                </c:pt>
                <c:pt idx="6">
                  <c:v>539914.27400000009</c:v>
                </c:pt>
                <c:pt idx="7">
                  <c:v>462723.12060000002</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Pik Et Croq' Fromage Fondu Dips Boite 1X175Gr 5P</c:v>
                  </c:pt>
                  <c:pt idx="7">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F9AA791-5F74-4EBA-93E1-87B7D1AC41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3B02B20-78A7-4E8C-8517-7E4D5FB20C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A942B2D-CDE6-47B0-A722-C731C6EF47A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BCB45FC-A4E5-4F2E-B36B-30001A3C10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338EDBA-21AB-4FD4-A094-921AB16F86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D72AF98-6FA6-49CB-858D-3AD51ACD9E2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18F0F07-4C5F-4447-8CDC-173805C099D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3371431-3104-4397-818C-F4ADF2CE17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EB9C919-704A-46C4-9AC3-4BD37B103B8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D2281B2-9C98-44CA-814B-93F425C7C8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FCAA-4D81-BBD3-007D22757B42}"/>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FCAA-4D81-BBD3-007D22757B42}"/>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FCAA-4D81-BBD3-007D22757B42}"/>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FCAA-4D81-BBD3-007D22757B42}"/>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5</c:f>
              <c:numCache>
                <c:formatCode>General</c:formatCode>
                <c:ptCount val="24"/>
                <c:pt idx="0">
                  <c:v>0.99</c:v>
                </c:pt>
                <c:pt idx="1">
                  <c:v>0.88</c:v>
                </c:pt>
                <c:pt idx="2">
                  <c:v>1</c:v>
                </c:pt>
                <c:pt idx="3">
                  <c:v>0.99</c:v>
                </c:pt>
                <c:pt idx="4">
                  <c:v>0.7</c:v>
                </c:pt>
                <c:pt idx="5">
                  <c:v>0.99</c:v>
                </c:pt>
                <c:pt idx="6">
                  <c:v>0.98</c:v>
                </c:pt>
                <c:pt idx="7">
                  <c:v>0.88</c:v>
                </c:pt>
                <c:pt idx="8">
                  <c:v>0.83</c:v>
                </c:pt>
                <c:pt idx="9">
                  <c:v>0.86</c:v>
                </c:pt>
                <c:pt idx="10">
                  <c:v>0.67</c:v>
                </c:pt>
                <c:pt idx="11">
                  <c:v>0.28999999999999998</c:v>
                </c:pt>
                <c:pt idx="12">
                  <c:v>0.96</c:v>
                </c:pt>
                <c:pt idx="13">
                  <c:v>0.96</c:v>
                </c:pt>
                <c:pt idx="14">
                  <c:v>0.98</c:v>
                </c:pt>
                <c:pt idx="15">
                  <c:v>0.9</c:v>
                </c:pt>
                <c:pt idx="16">
                  <c:v>0.87</c:v>
                </c:pt>
                <c:pt idx="17">
                  <c:v>0.83</c:v>
                </c:pt>
                <c:pt idx="18">
                  <c:v>0.95</c:v>
                </c:pt>
                <c:pt idx="19">
                  <c:v>0.99</c:v>
                </c:pt>
                <c:pt idx="20">
                  <c:v>0.97</c:v>
                </c:pt>
                <c:pt idx="21">
                  <c:v>0.8</c:v>
                </c:pt>
                <c:pt idx="22">
                  <c:v>0.4</c:v>
                </c:pt>
                <c:pt idx="23">
                  <c:v>0.7</c:v>
                </c:pt>
              </c:numCache>
            </c:numRef>
          </c:xVal>
          <c:yVal>
            <c:numRef>
              <c:f>Sheet1!$B$2:$B$25</c:f>
              <c:numCache>
                <c:formatCode>General</c:formatCode>
                <c:ptCount val="24"/>
                <c:pt idx="0">
                  <c:v>20176.727272727268</c:v>
                </c:pt>
                <c:pt idx="1">
                  <c:v>5857.977272727273</c:v>
                </c:pt>
                <c:pt idx="2">
                  <c:v>17911.57</c:v>
                </c:pt>
                <c:pt idx="3">
                  <c:v>6243.6868686868684</c:v>
                </c:pt>
                <c:pt idx="4">
                  <c:v>464.81428571428569</c:v>
                </c:pt>
                <c:pt idx="5">
                  <c:v>7410.2828282828286</c:v>
                </c:pt>
                <c:pt idx="6">
                  <c:v>8367.6530612244896</c:v>
                </c:pt>
                <c:pt idx="7">
                  <c:v>1613.590909090909</c:v>
                </c:pt>
                <c:pt idx="8">
                  <c:v>833.73493975903614</c:v>
                </c:pt>
                <c:pt idx="9">
                  <c:v>2456.744186046511</c:v>
                </c:pt>
                <c:pt idx="10">
                  <c:v>1204.2388059701491</c:v>
                </c:pt>
                <c:pt idx="11">
                  <c:v>2016.5862068965521</c:v>
                </c:pt>
                <c:pt idx="12">
                  <c:v>5263.666666666667</c:v>
                </c:pt>
                <c:pt idx="13">
                  <c:v>8247.1458333333339</c:v>
                </c:pt>
                <c:pt idx="14">
                  <c:v>16275.38775510204</c:v>
                </c:pt>
                <c:pt idx="15">
                  <c:v>5635.0111111111109</c:v>
                </c:pt>
                <c:pt idx="16">
                  <c:v>6186.2183908045981</c:v>
                </c:pt>
                <c:pt idx="17">
                  <c:v>4356.8433734939763</c:v>
                </c:pt>
                <c:pt idx="18">
                  <c:v>10927.284210526321</c:v>
                </c:pt>
                <c:pt idx="19">
                  <c:v>20997.565656565661</c:v>
                </c:pt>
                <c:pt idx="20">
                  <c:v>8871.6082474226805</c:v>
                </c:pt>
                <c:pt idx="21">
                  <c:v>574.22500000000002</c:v>
                </c:pt>
                <c:pt idx="22">
                  <c:v>880.45</c:v>
                </c:pt>
                <c:pt idx="23">
                  <c:v>553.08571428571429</c:v>
                </c:pt>
              </c:numCache>
            </c:numRef>
          </c:yVal>
          <c:bubbleSize>
            <c:numRef>
              <c:f>Sheet1!$C$2:$C$25</c:f>
              <c:numCache>
                <c:formatCode>General</c:formatCode>
                <c:ptCount val="24"/>
                <c:pt idx="0">
                  <c:v>1224973.68</c:v>
                </c:pt>
                <c:pt idx="1">
                  <c:v>295950.19549999997</c:v>
                </c:pt>
                <c:pt idx="2">
                  <c:v>1096294.7178</c:v>
                </c:pt>
                <c:pt idx="3">
                  <c:v>339346.78419999999</c:v>
                </c:pt>
                <c:pt idx="4">
                  <c:v>14817.7163</c:v>
                </c:pt>
                <c:pt idx="5">
                  <c:v>418897.6237</c:v>
                </c:pt>
                <c:pt idx="6">
                  <c:v>441863.44069999998</c:v>
                </c:pt>
                <c:pt idx="7">
                  <c:v>82714.662700000001</c:v>
                </c:pt>
                <c:pt idx="8">
                  <c:v>41666.6322</c:v>
                </c:pt>
                <c:pt idx="9">
                  <c:v>116024.16160000001</c:v>
                </c:pt>
                <c:pt idx="10">
                  <c:v>39235.070699999997</c:v>
                </c:pt>
                <c:pt idx="11">
                  <c:v>33307.8298</c:v>
                </c:pt>
                <c:pt idx="12">
                  <c:v>294577.11560000002</c:v>
                </c:pt>
                <c:pt idx="13">
                  <c:v>450695.54549999989</c:v>
                </c:pt>
                <c:pt idx="14">
                  <c:v>909612.2453999999</c:v>
                </c:pt>
                <c:pt idx="15">
                  <c:v>286664.43280000001</c:v>
                </c:pt>
                <c:pt idx="16">
                  <c:v>311829.70500000002</c:v>
                </c:pt>
                <c:pt idx="17">
                  <c:v>193324.87390000001</c:v>
                </c:pt>
                <c:pt idx="18">
                  <c:v>557057.5425000001</c:v>
                </c:pt>
                <c:pt idx="19">
                  <c:v>1242326.0164999999</c:v>
                </c:pt>
                <c:pt idx="20">
                  <c:v>419337.32809999993</c:v>
                </c:pt>
                <c:pt idx="21">
                  <c:v>32418.247899999998</c:v>
                </c:pt>
                <c:pt idx="22">
                  <c:v>17448.064399999999</c:v>
                </c:pt>
                <c:pt idx="23">
                  <c:v>21148.5615</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uisine Sauce Fromage Afh 1X240Gr 1P</c:v>
                  </c:pt>
                  <c:pt idx="2">
                    <c:v>Boursin Classique Fromage Frais A Tartiner Afh Boite 1X150Gr 1P</c:v>
                  </c:pt>
                  <c:pt idx="3">
                    <c:v>Boursin Classique Fromage Frais A Tartiner Ciboulette &amp; Echalote Boite 1X150Gr 1P</c:v>
                  </c:pt>
                  <c:pt idx="4">
                    <c:v>Boursin Classique Fromage Frais A Tartiner Truffe Boite 1X150Gr 1P</c:v>
                  </c:pt>
                  <c:pt idx="5">
                    <c:v>Boursin Classique Fromage Frais A Tartiner Figue Et 3 Noix Boite 1X150Gr 1P</c:v>
                  </c:pt>
                  <c:pt idx="6">
                    <c:v>Boursin Salade &amp; Aperitif Fromage Frais Des Afh 1X120Gr 1P</c:v>
                  </c:pt>
                  <c:pt idx="7">
                    <c:v>Boursin Salade &amp; Aperitif Fromage Frais Des Figue Noix 1X120Gr 1P</c:v>
                  </c:pt>
                  <c:pt idx="8">
                    <c:v>Boursin Salade &amp; Aperitif Fromage Frais Des Noisette Et 3 Noix 1X120Gr 1P</c:v>
                  </c:pt>
                  <c:pt idx="9">
                    <c:v>Boursin Salade &amp; Aperitif Fromage Frais Des Ciboulette Echalote 1X120Gr 1P</c:v>
                  </c:pt>
                  <c:pt idx="10">
                    <c:v>Boursin Salade &amp; Aperitif Fromage Frais Des Citron Romarin 1X120Gr 1P</c:v>
                  </c:pt>
                  <c:pt idx="11">
                    <c:v>Boursin Classique Fromage Frais A Tartiner Afh Boite 1X80Gr 1P</c:v>
                  </c:pt>
                  <c:pt idx="12">
                    <c:v>Boursin Classique Fromage Frais A Tartiner Poivre Boite 1X150Gr 1P</c:v>
                  </c:pt>
                  <c:pt idx="13">
                    <c:v>Boursin Classique Fromage Frais A Tartiner Afh Boite 1X96Gr 6P</c:v>
                  </c:pt>
                  <c:pt idx="14">
                    <c:v>Boursin Aperitif Roules Fromage Frais Roule Afh Et Jambon Fume Boite 1X100Gr 20P</c:v>
                  </c:pt>
                  <c:pt idx="15">
                    <c:v>Boursin Aperitif Roules Fromage Frais Roule Basilic &amp; Jambon Fume Tomate Boite 1X100Gr 20P</c:v>
                  </c:pt>
                  <c:pt idx="16">
                    <c:v>Boursin Classique Fromage Frais A Tartiner Afh 1X256Gr 16P</c:v>
                  </c:pt>
                  <c:pt idx="17">
                    <c:v>Boursin Classique Fromage Frais A Tartiner Ciboulette &amp; Echalote 1X160Gr 10P</c:v>
                  </c:pt>
                  <c:pt idx="18">
                    <c:v>Boursin Aperitif Roules Fromage Frais Roule Ciboulette &amp; Echalote Jambon Fume Boite 1X100Gr 20P</c:v>
                  </c:pt>
                  <c:pt idx="19">
                    <c:v>Boursin Classique Fromage Frais A Tartiner Afh Boite 1X25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4C0D155-128A-46ED-B14F-6DB558B5806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B06E4FF-0ADA-43B3-89FE-02EACAAA088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98FD268-9B07-4C2C-91FE-D54CF10260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B6019C7-2A23-44CB-9B54-589969D1A4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552894A-D4DD-4514-9502-EF953451E6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5097C44-C486-44D3-9F0D-77CA1FBDD8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160AC3B-D10A-4993-9317-3783A8F36C8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6C23E14-8634-42AB-B4D8-4B4D8F337F6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CD64A3F-4332-42FC-B114-331136591A7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6A89E00-DA7A-4A25-85B3-F6D53EE9319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99</c:v>
                </c:pt>
                <c:pt idx="1">
                  <c:v>1</c:v>
                </c:pt>
                <c:pt idx="2">
                  <c:v>0.99</c:v>
                </c:pt>
                <c:pt idx="3">
                  <c:v>0.64</c:v>
                </c:pt>
                <c:pt idx="4">
                  <c:v>0.94</c:v>
                </c:pt>
                <c:pt idx="5">
                  <c:v>1</c:v>
                </c:pt>
                <c:pt idx="6">
                  <c:v>0.87</c:v>
                </c:pt>
                <c:pt idx="7">
                  <c:v>0.98</c:v>
                </c:pt>
                <c:pt idx="8">
                  <c:v>1</c:v>
                </c:pt>
                <c:pt idx="9">
                  <c:v>0.99</c:v>
                </c:pt>
                <c:pt idx="10">
                  <c:v>0.88</c:v>
                </c:pt>
              </c:numCache>
            </c:numRef>
          </c:xVal>
          <c:yVal>
            <c:numRef>
              <c:f>Sheet1!$B$2:$B$12</c:f>
              <c:numCache>
                <c:formatCode>General</c:formatCode>
                <c:ptCount val="11"/>
                <c:pt idx="0">
                  <c:v>5970.0202020202023</c:v>
                </c:pt>
                <c:pt idx="1">
                  <c:v>5841.94</c:v>
                </c:pt>
                <c:pt idx="2">
                  <c:v>772.49494949494954</c:v>
                </c:pt>
                <c:pt idx="3">
                  <c:v>58.203125</c:v>
                </c:pt>
                <c:pt idx="4">
                  <c:v>409.38297872340428</c:v>
                </c:pt>
                <c:pt idx="5">
                  <c:v>2915.26</c:v>
                </c:pt>
                <c:pt idx="6">
                  <c:v>698.28735632183907</c:v>
                </c:pt>
                <c:pt idx="7">
                  <c:v>474.73469387755102</c:v>
                </c:pt>
                <c:pt idx="8">
                  <c:v>2549.27</c:v>
                </c:pt>
                <c:pt idx="9">
                  <c:v>3761.1111111111109</c:v>
                </c:pt>
                <c:pt idx="10">
                  <c:v>614.63636363636363</c:v>
                </c:pt>
              </c:numCache>
            </c:numRef>
          </c:yVal>
          <c:bubbleSize>
            <c:numRef>
              <c:f>Sheet1!$C$2:$C$12</c:f>
              <c:numCache>
                <c:formatCode>General</c:formatCode>
                <c:ptCount val="11"/>
                <c:pt idx="0">
                  <c:v>370398.33669999999</c:v>
                </c:pt>
                <c:pt idx="1">
                  <c:v>378320.91930000001</c:v>
                </c:pt>
                <c:pt idx="2">
                  <c:v>40723.595600000001</c:v>
                </c:pt>
                <c:pt idx="3">
                  <c:v>1807.5119999999999</c:v>
                </c:pt>
                <c:pt idx="4">
                  <c:v>26351.341199999999</c:v>
                </c:pt>
                <c:pt idx="5">
                  <c:v>184535.56640000001</c:v>
                </c:pt>
                <c:pt idx="6">
                  <c:v>31463.4509</c:v>
                </c:pt>
                <c:pt idx="7">
                  <c:v>23196.938999999998</c:v>
                </c:pt>
                <c:pt idx="8">
                  <c:v>157253.7329</c:v>
                </c:pt>
                <c:pt idx="9">
                  <c:v>232148.01389999999</c:v>
                </c:pt>
                <c:pt idx="10">
                  <c:v>26698.09019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pt idx="10">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EF78CDE-A1D0-45F2-A653-02C2278323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456C09D-6DFD-4315-8E64-2F1D65E8783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189668A-364A-4C2A-B5F5-B8A55FD2447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57DA70C-EDB3-4D45-943E-666794F8187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28B6622-6B15-420E-9E7D-BCD726E3B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FBC8641-4405-4B6C-B271-E39963D587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3F31F05-AFB7-4EE7-B7CE-239A09E9B30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8C01AAD-9CAD-474D-9D4A-78CD23ABC0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99A7101-DB79-4624-A132-3A35753837A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728B25C-C4E7-4CEF-854C-739768F56AE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92</c:v>
                </c:pt>
                <c:pt idx="1">
                  <c:v>1</c:v>
                </c:pt>
                <c:pt idx="2">
                  <c:v>0.32</c:v>
                </c:pt>
                <c:pt idx="3">
                  <c:v>1</c:v>
                </c:pt>
                <c:pt idx="4">
                  <c:v>0.99</c:v>
                </c:pt>
                <c:pt idx="5">
                  <c:v>0.97</c:v>
                </c:pt>
                <c:pt idx="6">
                  <c:v>0.99</c:v>
                </c:pt>
                <c:pt idx="7">
                  <c:v>0.98</c:v>
                </c:pt>
              </c:numCache>
            </c:numRef>
          </c:xVal>
          <c:yVal>
            <c:numRef>
              <c:f>Sheet1!$B$2:$B$9</c:f>
              <c:numCache>
                <c:formatCode>General</c:formatCode>
                <c:ptCount val="8"/>
                <c:pt idx="0">
                  <c:v>817.85869565217388</c:v>
                </c:pt>
                <c:pt idx="1">
                  <c:v>7702.77</c:v>
                </c:pt>
                <c:pt idx="2">
                  <c:v>177.34375</c:v>
                </c:pt>
                <c:pt idx="3">
                  <c:v>6931.8</c:v>
                </c:pt>
                <c:pt idx="4">
                  <c:v>11429.494949494951</c:v>
                </c:pt>
                <c:pt idx="5">
                  <c:v>1169.907216494845</c:v>
                </c:pt>
                <c:pt idx="6">
                  <c:v>2091.7979797979801</c:v>
                </c:pt>
                <c:pt idx="7">
                  <c:v>2261.1836734693879</c:v>
                </c:pt>
              </c:numCache>
            </c:numRef>
          </c:yVal>
          <c:bubbleSize>
            <c:numRef>
              <c:f>Sheet1!$C$2:$C$9</c:f>
              <c:numCache>
                <c:formatCode>General</c:formatCode>
                <c:ptCount val="8"/>
                <c:pt idx="0">
                  <c:v>32294.258999999998</c:v>
                </c:pt>
                <c:pt idx="1">
                  <c:v>438659.83460000012</c:v>
                </c:pt>
                <c:pt idx="2">
                  <c:v>4028.5585999999998</c:v>
                </c:pt>
                <c:pt idx="3">
                  <c:v>424371.35280000011</c:v>
                </c:pt>
                <c:pt idx="4">
                  <c:v>711959.80920000002</c:v>
                </c:pt>
                <c:pt idx="5">
                  <c:v>62773.410600000003</c:v>
                </c:pt>
                <c:pt idx="6">
                  <c:v>114703.4375</c:v>
                </c:pt>
                <c:pt idx="7">
                  <c:v>107086.9621</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Pik Et Croq' Fromage Fondu Dips Boite 1X175Gr 5P</c:v>
                  </c:pt>
                  <c:pt idx="7">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DEEF8DF-5253-4553-94B2-2C5450EEF8E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0416F55-2157-4E97-AB07-D98CD0EF383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87BF760-C849-409B-8144-87DFB04BBC1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87A5494-29CC-4726-A227-EE2F18B04A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D4A7923-6E5C-46DA-AC2D-A07184A7B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DA0CD76-3115-46DC-BF5D-772122320DD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D150BBE-6256-408A-B38E-A4E12B91453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6406D93-9D08-45EE-A04B-4208358B371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B966801-53BD-4CAE-B50D-B868465E071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F2F8D59-65C9-429A-A664-B7DCFF1D432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5167-401C-A9CB-C80B0132C907}"/>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5167-401C-A9CB-C80B0132C907}"/>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5167-401C-A9CB-C80B0132C907}"/>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5167-401C-A9CB-C80B0132C907}"/>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5</c:f>
              <c:numCache>
                <c:formatCode>General</c:formatCode>
                <c:ptCount val="24"/>
                <c:pt idx="0">
                  <c:v>1</c:v>
                </c:pt>
                <c:pt idx="1">
                  <c:v>0.96</c:v>
                </c:pt>
                <c:pt idx="2">
                  <c:v>1</c:v>
                </c:pt>
                <c:pt idx="3">
                  <c:v>1</c:v>
                </c:pt>
                <c:pt idx="4">
                  <c:v>0.92</c:v>
                </c:pt>
                <c:pt idx="5">
                  <c:v>1</c:v>
                </c:pt>
                <c:pt idx="6">
                  <c:v>1</c:v>
                </c:pt>
                <c:pt idx="7">
                  <c:v>0.97</c:v>
                </c:pt>
                <c:pt idx="8">
                  <c:v>0.99</c:v>
                </c:pt>
                <c:pt idx="9">
                  <c:v>0.95</c:v>
                </c:pt>
                <c:pt idx="10">
                  <c:v>0.93</c:v>
                </c:pt>
                <c:pt idx="11">
                  <c:v>0.7</c:v>
                </c:pt>
                <c:pt idx="12">
                  <c:v>0.99</c:v>
                </c:pt>
                <c:pt idx="13">
                  <c:v>0.99</c:v>
                </c:pt>
                <c:pt idx="14">
                  <c:v>0.99</c:v>
                </c:pt>
                <c:pt idx="15">
                  <c:v>0.98</c:v>
                </c:pt>
                <c:pt idx="16">
                  <c:v>0.99</c:v>
                </c:pt>
                <c:pt idx="17">
                  <c:v>0.98</c:v>
                </c:pt>
                <c:pt idx="18">
                  <c:v>0.99</c:v>
                </c:pt>
                <c:pt idx="19">
                  <c:v>1</c:v>
                </c:pt>
                <c:pt idx="20">
                  <c:v>0.99</c:v>
                </c:pt>
                <c:pt idx="21">
                  <c:v>0.96</c:v>
                </c:pt>
                <c:pt idx="22">
                  <c:v>0.73</c:v>
                </c:pt>
                <c:pt idx="23">
                  <c:v>0.86</c:v>
                </c:pt>
              </c:numCache>
            </c:numRef>
          </c:xVal>
          <c:yVal>
            <c:numRef>
              <c:f>Sheet1!$B$2:$B$25</c:f>
              <c:numCache>
                <c:formatCode>General</c:formatCode>
                <c:ptCount val="24"/>
                <c:pt idx="0">
                  <c:v>3513.05</c:v>
                </c:pt>
                <c:pt idx="1">
                  <c:v>819.71875</c:v>
                </c:pt>
                <c:pt idx="2">
                  <c:v>3000.58</c:v>
                </c:pt>
                <c:pt idx="3">
                  <c:v>982.89</c:v>
                </c:pt>
                <c:pt idx="4">
                  <c:v>85.195652173913047</c:v>
                </c:pt>
                <c:pt idx="5">
                  <c:v>1156.58</c:v>
                </c:pt>
                <c:pt idx="6">
                  <c:v>1429.39</c:v>
                </c:pt>
                <c:pt idx="7">
                  <c:v>310.11340206185571</c:v>
                </c:pt>
                <c:pt idx="8">
                  <c:v>137.64646464646461</c:v>
                </c:pt>
                <c:pt idx="9">
                  <c:v>472.06315789473678</c:v>
                </c:pt>
                <c:pt idx="10">
                  <c:v>197.1935483870968</c:v>
                </c:pt>
                <c:pt idx="11">
                  <c:v>306.57142857142861</c:v>
                </c:pt>
                <c:pt idx="12">
                  <c:v>888.82828282828279</c:v>
                </c:pt>
                <c:pt idx="13">
                  <c:v>1363.8080808080811</c:v>
                </c:pt>
                <c:pt idx="14">
                  <c:v>3316.9595959595958</c:v>
                </c:pt>
                <c:pt idx="15">
                  <c:v>1040.5408163265311</c:v>
                </c:pt>
                <c:pt idx="16">
                  <c:v>1431.0707070707069</c:v>
                </c:pt>
                <c:pt idx="17">
                  <c:v>744.86734693877554</c:v>
                </c:pt>
                <c:pt idx="18">
                  <c:v>2060.515151515152</c:v>
                </c:pt>
                <c:pt idx="19">
                  <c:v>4098.92</c:v>
                </c:pt>
                <c:pt idx="20">
                  <c:v>1389.565656565657</c:v>
                </c:pt>
                <c:pt idx="21">
                  <c:v>100.0416666666667</c:v>
                </c:pt>
                <c:pt idx="22">
                  <c:v>106.42465753424661</c:v>
                </c:pt>
                <c:pt idx="23">
                  <c:v>83.186046511627907</c:v>
                </c:pt>
              </c:numCache>
            </c:numRef>
          </c:yVal>
          <c:bubbleSize>
            <c:numRef>
              <c:f>Sheet1!$C$2:$C$25</c:f>
              <c:numCache>
                <c:formatCode>General</c:formatCode>
                <c:ptCount val="24"/>
                <c:pt idx="0">
                  <c:v>217231.36960000001</c:v>
                </c:pt>
                <c:pt idx="1">
                  <c:v>46837.77350000001</c:v>
                </c:pt>
                <c:pt idx="2">
                  <c:v>182887.1778</c:v>
                </c:pt>
                <c:pt idx="3">
                  <c:v>54476.060599999997</c:v>
                </c:pt>
                <c:pt idx="4">
                  <c:v>3144.3017</c:v>
                </c:pt>
                <c:pt idx="5">
                  <c:v>66767.109700000001</c:v>
                </c:pt>
                <c:pt idx="6">
                  <c:v>78365.946300000011</c:v>
                </c:pt>
                <c:pt idx="7">
                  <c:v>17978.888500000001</c:v>
                </c:pt>
                <c:pt idx="8">
                  <c:v>8400.5091000000011</c:v>
                </c:pt>
                <c:pt idx="9">
                  <c:v>25238.6037</c:v>
                </c:pt>
                <c:pt idx="10">
                  <c:v>9164.8017999999993</c:v>
                </c:pt>
                <c:pt idx="11">
                  <c:v>12632.876899999999</c:v>
                </c:pt>
                <c:pt idx="12">
                  <c:v>52158.628599999996</c:v>
                </c:pt>
                <c:pt idx="13">
                  <c:v>79021.727100000018</c:v>
                </c:pt>
                <c:pt idx="14">
                  <c:v>185329.7856</c:v>
                </c:pt>
                <c:pt idx="15">
                  <c:v>57629.263599999998</c:v>
                </c:pt>
                <c:pt idx="16">
                  <c:v>82006.583399999989</c:v>
                </c:pt>
                <c:pt idx="17">
                  <c:v>40310.319899999988</c:v>
                </c:pt>
                <c:pt idx="18">
                  <c:v>109087.9544</c:v>
                </c:pt>
                <c:pt idx="19">
                  <c:v>244161.86170000001</c:v>
                </c:pt>
                <c:pt idx="20">
                  <c:v>69057.670599999998</c:v>
                </c:pt>
                <c:pt idx="21">
                  <c:v>6780.0874000000003</c:v>
                </c:pt>
                <c:pt idx="22">
                  <c:v>3921.063900000001</c:v>
                </c:pt>
                <c:pt idx="23">
                  <c:v>3908.1405</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uisine Sauce Fromage Afh 1X240Gr 1P</c:v>
                  </c:pt>
                  <c:pt idx="2">
                    <c:v>Boursin Classique Fromage Frais A Tartiner Afh Boite 1X150Gr 1P</c:v>
                  </c:pt>
                  <c:pt idx="3">
                    <c:v>Boursin Classique Fromage Frais A Tartiner Ciboulette &amp; Echalote Boite 1X150Gr 1P</c:v>
                  </c:pt>
                  <c:pt idx="4">
                    <c:v>Boursin Classique Fromage Frais A Tartiner Truffe Boite 1X150Gr 1P</c:v>
                  </c:pt>
                  <c:pt idx="5">
                    <c:v>Boursin Classique Fromage Frais A Tartiner Figue Et 3 Noix Boite 1X150Gr 1P</c:v>
                  </c:pt>
                  <c:pt idx="6">
                    <c:v>Boursin Salade &amp; Aperitif Fromage Frais Des Afh 1X120Gr 1P</c:v>
                  </c:pt>
                  <c:pt idx="7">
                    <c:v>Boursin Salade &amp; Aperitif Fromage Frais Des Figue Noix 1X120Gr 1P</c:v>
                  </c:pt>
                  <c:pt idx="8">
                    <c:v>Boursin Salade &amp; Aperitif Fromage Frais Des Noisette Et 3 Noix 1X120Gr 1P</c:v>
                  </c:pt>
                  <c:pt idx="9">
                    <c:v>Boursin Salade &amp; Aperitif Fromage Frais Des Ciboulette Echalote 1X120Gr 1P</c:v>
                  </c:pt>
                  <c:pt idx="10">
                    <c:v>Boursin Salade &amp; Aperitif Fromage Frais Des Citron Romarin 1X120Gr 1P</c:v>
                  </c:pt>
                  <c:pt idx="11">
                    <c:v>Boursin Classique Fromage Frais A Tartiner Afh Boite 1X80Gr 1P</c:v>
                  </c:pt>
                  <c:pt idx="12">
                    <c:v>Boursin Classique Fromage Frais A Tartiner Poivre Boite 1X150Gr 1P</c:v>
                  </c:pt>
                  <c:pt idx="13">
                    <c:v>Boursin Classique Fromage Frais A Tartiner Afh Boite 1X96Gr 6P</c:v>
                  </c:pt>
                  <c:pt idx="14">
                    <c:v>Boursin Aperitif Roules Fromage Frais Roule Afh Et Jambon Fume Boite 1X100Gr 20P</c:v>
                  </c:pt>
                  <c:pt idx="15">
                    <c:v>Boursin Aperitif Roules Fromage Frais Roule Basilic &amp; Jambon Fume Tomate Boite 1X100Gr 20P</c:v>
                  </c:pt>
                  <c:pt idx="16">
                    <c:v>Boursin Classique Fromage Frais A Tartiner Afh 1X256Gr 16P</c:v>
                  </c:pt>
                  <c:pt idx="17">
                    <c:v>Boursin Classique Fromage Frais A Tartiner Ciboulette &amp; Echalote 1X160Gr 10P</c:v>
                  </c:pt>
                  <c:pt idx="18">
                    <c:v>Boursin Aperitif Roules Fromage Frais Roule Ciboulette &amp; Echalote Jambon Fume Boite 1X100Gr 20P</c:v>
                  </c:pt>
                  <c:pt idx="19">
                    <c:v>Boursin Classique Fromage Frais A Tartiner Afh Boite 1X25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00558B4-DC0C-44DA-B168-92AE063790A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1EF7416-4A84-4662-8062-DBD84868E2A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AE86D88-F1CA-49B4-BAFA-C511D1A215A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0FB169D-04CE-4DFE-95C5-CBFBB5ADD1B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11FCC17-F5B9-44FD-A715-BEF7471D5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93D003F-0E8E-403D-A864-D7F40056456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630FF88-AE4F-405E-9C55-EE1E6B11BF5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125AD54-90CF-4841-BF6F-556FF7F40C5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A4F372D-C471-414B-9BB7-D303BE9B9D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D51176F-9D97-4A12-AA44-8B59A22447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52</c:v>
                </c:pt>
                <c:pt idx="1">
                  <c:v>0.85</c:v>
                </c:pt>
                <c:pt idx="2">
                  <c:v>0.44</c:v>
                </c:pt>
                <c:pt idx="3">
                  <c:v>0.59</c:v>
                </c:pt>
                <c:pt idx="4">
                  <c:v>0.92</c:v>
                </c:pt>
                <c:pt idx="5">
                  <c:v>0.31</c:v>
                </c:pt>
                <c:pt idx="6">
                  <c:v>0.5</c:v>
                </c:pt>
                <c:pt idx="7">
                  <c:v>0.9</c:v>
                </c:pt>
                <c:pt idx="8">
                  <c:v>0.68</c:v>
                </c:pt>
                <c:pt idx="9">
                  <c:v>0.38</c:v>
                </c:pt>
              </c:numCache>
            </c:numRef>
          </c:xVal>
          <c:yVal>
            <c:numRef>
              <c:f>Sheet1!$B$2:$B$11</c:f>
              <c:numCache>
                <c:formatCode>General</c:formatCode>
                <c:ptCount val="10"/>
                <c:pt idx="0">
                  <c:v>5199.8076923076924</c:v>
                </c:pt>
                <c:pt idx="1">
                  <c:v>6595.7294117647061</c:v>
                </c:pt>
                <c:pt idx="2">
                  <c:v>1130.954545454545</c:v>
                </c:pt>
                <c:pt idx="3">
                  <c:v>593.88135593220341</c:v>
                </c:pt>
                <c:pt idx="4">
                  <c:v>4358.739130434783</c:v>
                </c:pt>
                <c:pt idx="5">
                  <c:v>1752.7741935483871</c:v>
                </c:pt>
                <c:pt idx="6">
                  <c:v>423.2</c:v>
                </c:pt>
                <c:pt idx="7">
                  <c:v>3563.9444444444439</c:v>
                </c:pt>
                <c:pt idx="8">
                  <c:v>3449.8529411764712</c:v>
                </c:pt>
                <c:pt idx="9">
                  <c:v>829.63157894736844</c:v>
                </c:pt>
              </c:numCache>
            </c:numRef>
          </c:yVal>
          <c:bubbleSize>
            <c:numRef>
              <c:f>Sheet1!$C$2:$C$11</c:f>
              <c:numCache>
                <c:formatCode>General</c:formatCode>
                <c:ptCount val="10"/>
                <c:pt idx="0">
                  <c:v>156977.5018</c:v>
                </c:pt>
                <c:pt idx="1">
                  <c:v>344392.07760000002</c:v>
                </c:pt>
                <c:pt idx="2">
                  <c:v>23639.9568</c:v>
                </c:pt>
                <c:pt idx="3">
                  <c:v>23887.4028</c:v>
                </c:pt>
                <c:pt idx="4">
                  <c:v>233248.51519999999</c:v>
                </c:pt>
                <c:pt idx="5">
                  <c:v>24789.4863</c:v>
                </c:pt>
                <c:pt idx="6">
                  <c:v>9984.4553999999989</c:v>
                </c:pt>
                <c:pt idx="7">
                  <c:v>183453.649</c:v>
                </c:pt>
                <c:pt idx="8">
                  <c:v>133465.1311</c:v>
                </c:pt>
                <c:pt idx="9">
                  <c:v>14285.70019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Creme Fromage Blanc Frais Carre 1X432Gr 18+6P</c:v>
                  </c:pt>
                  <c:pt idx="4">
                    <c:v>Kiri Creme Fromage Blanc Frais Carre 1X144Gr 8P</c:v>
                  </c:pt>
                  <c:pt idx="5">
                    <c:v>Kiri Bio Fromage Blanc Frais Carre 1X144Gr 8P</c:v>
                  </c:pt>
                  <c:pt idx="6">
                    <c:v>Kiri Delicieusement Fouette Fromage Frais A Tartiner 1X160Gr 10P</c:v>
                  </c:pt>
                  <c:pt idx="7">
                    <c:v>Kiri Gouter Fromage Blanc Dips Boite 1X175Gr 5P</c:v>
                  </c:pt>
                  <c:pt idx="8">
                    <c:v>Kiri Gouter Fromage Blanc Dips Boite 1X280Gr 8P</c:v>
                  </c:pt>
                  <c:pt idx="9">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8ADA06C-06CD-42A7-8A83-6F025F5F094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477A32E-0072-4FCC-87B9-41089419B43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D4E7AFC-64B2-463B-B1FF-180A2EDB744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5012082-1551-4C53-AC41-5302223ED63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6865364-0275-4614-95F9-C89E555FD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5DEBD37-E16A-45AA-92CC-2E6DED4E2EB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DD4CDCC-627A-4383-A6DB-2D8EDE9D6E0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DB689BF-0BDE-41B2-B681-7B6A3A97E45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76A85C1-099C-41E0-8202-2FA17B5988E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DD555E5-C0B3-4F2A-A00D-D5444DF836B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33</c:v>
                </c:pt>
                <c:pt idx="1">
                  <c:v>0.98</c:v>
                </c:pt>
                <c:pt idx="2">
                  <c:v>0.68</c:v>
                </c:pt>
                <c:pt idx="3">
                  <c:v>0.68</c:v>
                </c:pt>
                <c:pt idx="4">
                  <c:v>0.5</c:v>
                </c:pt>
                <c:pt idx="5">
                  <c:v>0.82</c:v>
                </c:pt>
                <c:pt idx="6">
                  <c:v>0.42</c:v>
                </c:pt>
              </c:numCache>
            </c:numRef>
          </c:xVal>
          <c:yVal>
            <c:numRef>
              <c:f>Sheet1!$B$2:$B$8</c:f>
              <c:numCache>
                <c:formatCode>General</c:formatCode>
                <c:ptCount val="7"/>
                <c:pt idx="0">
                  <c:v>985.5151515151515</c:v>
                </c:pt>
                <c:pt idx="1">
                  <c:v>8872.0612244897966</c:v>
                </c:pt>
                <c:pt idx="2">
                  <c:v>7117.838235294118</c:v>
                </c:pt>
                <c:pt idx="3">
                  <c:v>8935.823529411764</c:v>
                </c:pt>
                <c:pt idx="4">
                  <c:v>1845.32</c:v>
                </c:pt>
                <c:pt idx="5">
                  <c:v>2128.3658536585372</c:v>
                </c:pt>
                <c:pt idx="6">
                  <c:v>1563.261904761905</c:v>
                </c:pt>
              </c:numCache>
            </c:numRef>
          </c:yVal>
          <c:bubbleSize>
            <c:numRef>
              <c:f>Sheet1!$C$2:$C$8</c:f>
              <c:numCache>
                <c:formatCode>General</c:formatCode>
                <c:ptCount val="7"/>
                <c:pt idx="0">
                  <c:v>12942.373100000001</c:v>
                </c:pt>
                <c:pt idx="1">
                  <c:v>490120.52419999999</c:v>
                </c:pt>
                <c:pt idx="2">
                  <c:v>278975.31349999999</c:v>
                </c:pt>
                <c:pt idx="3">
                  <c:v>359632.71120000002</c:v>
                </c:pt>
                <c:pt idx="4">
                  <c:v>45455.146800000002</c:v>
                </c:pt>
                <c:pt idx="5">
                  <c:v>88738.778599999991</c:v>
                </c:pt>
                <c:pt idx="6">
                  <c:v>29255.048200000001</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rivate Label</c:v>
                </c:pt>
                <c:pt idx="2">
                  <c:v>Paysan Breton</c:v>
                </c:pt>
                <c:pt idx="3">
                  <c:v>Tartare</c:v>
                </c:pt>
                <c:pt idx="4">
                  <c:v>Boursin</c:v>
                </c:pt>
                <c:pt idx="5">
                  <c:v>Carre Frais</c:v>
                </c:pt>
                <c:pt idx="6">
                  <c:v>Philadelphia</c:v>
                </c:pt>
                <c:pt idx="7">
                  <c:v>Kiri</c:v>
                </c:pt>
                <c:pt idx="8">
                  <c:v>La Vache Qui Rit</c:v>
                </c:pt>
                <c:pt idx="9">
                  <c:v>Others</c:v>
                </c:pt>
              </c:strCache>
            </c:strRef>
          </c:cat>
          <c:val>
            <c:numRef>
              <c:f>Sheet1!$B$2:$B$11</c:f>
              <c:numCache>
                <c:formatCode>General</c:formatCode>
                <c:ptCount val="10"/>
                <c:pt idx="0">
                  <c:v>0.27660615102000169</c:v>
                </c:pt>
                <c:pt idx="1">
                  <c:v>0.15056168571074607</c:v>
                </c:pt>
                <c:pt idx="2">
                  <c:v>0.14375417471826138</c:v>
                </c:pt>
                <c:pt idx="3">
                  <c:v>0.11209664084929233</c:v>
                </c:pt>
                <c:pt idx="4">
                  <c:v>0.10908758680096771</c:v>
                </c:pt>
                <c:pt idx="5">
                  <c:v>7.2592077458645751E-2</c:v>
                </c:pt>
                <c:pt idx="6">
                  <c:v>7.2552440671364613E-2</c:v>
                </c:pt>
                <c:pt idx="7">
                  <c:v>1.4145454410613437E-2</c:v>
                </c:pt>
                <c:pt idx="8">
                  <c:v>7.1482032968675183E-7</c:v>
                </c:pt>
                <c:pt idx="9">
                  <c:v>4.860307353977731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rivate Label</c:v>
                </c:pt>
                <c:pt idx="2">
                  <c:v>Paysan Breton</c:v>
                </c:pt>
                <c:pt idx="3">
                  <c:v>Tartare</c:v>
                </c:pt>
                <c:pt idx="4">
                  <c:v>Boursin</c:v>
                </c:pt>
                <c:pt idx="5">
                  <c:v>Carre Frais</c:v>
                </c:pt>
                <c:pt idx="6">
                  <c:v>Philadelphia</c:v>
                </c:pt>
                <c:pt idx="7">
                  <c:v>Kiri</c:v>
                </c:pt>
                <c:pt idx="8">
                  <c:v>La Vache Qui Rit</c:v>
                </c:pt>
                <c:pt idx="9">
                  <c:v>Others</c:v>
                </c:pt>
              </c:strCache>
            </c:strRef>
          </c:cat>
          <c:val>
            <c:numRef>
              <c:f>Sheet1!$C$2:$C$11</c:f>
              <c:numCache>
                <c:formatCode>General</c:formatCode>
                <c:ptCount val="10"/>
                <c:pt idx="0">
                  <c:v>0.19302087215803204</c:v>
                </c:pt>
                <c:pt idx="1">
                  <c:v>0.10959435954776993</c:v>
                </c:pt>
                <c:pt idx="2">
                  <c:v>0.11372530749161389</c:v>
                </c:pt>
                <c:pt idx="3">
                  <c:v>0.11179960243508513</c:v>
                </c:pt>
                <c:pt idx="4">
                  <c:v>0.14801528140141634</c:v>
                </c:pt>
                <c:pt idx="5">
                  <c:v>3.8436451733134556E-2</c:v>
                </c:pt>
                <c:pt idx="6">
                  <c:v>6.3641446142377933E-2</c:v>
                </c:pt>
                <c:pt idx="7">
                  <c:v>3.2705926202012674E-2</c:v>
                </c:pt>
                <c:pt idx="8">
                  <c:v>0</c:v>
                </c:pt>
                <c:pt idx="9">
                  <c:v>0.1890607528885575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rivate Label</c:v>
                </c:pt>
                <c:pt idx="2">
                  <c:v>Paysan Breton</c:v>
                </c:pt>
                <c:pt idx="3">
                  <c:v>Tartare</c:v>
                </c:pt>
                <c:pt idx="4">
                  <c:v>Boursin</c:v>
                </c:pt>
                <c:pt idx="5">
                  <c:v>Carre Frais</c:v>
                </c:pt>
                <c:pt idx="6">
                  <c:v>Philadelphia</c:v>
                </c:pt>
                <c:pt idx="7">
                  <c:v>Kiri</c:v>
                </c:pt>
                <c:pt idx="8">
                  <c:v>La Vache Qui Rit</c:v>
                </c:pt>
                <c:pt idx="9">
                  <c:v>Others</c:v>
                </c:pt>
              </c:strCache>
            </c:strRef>
          </c:cat>
          <c:val>
            <c:numRef>
              <c:f>Sheet1!$D$2:$D$11</c:f>
              <c:numCache>
                <c:formatCode>General</c:formatCode>
                <c:ptCount val="10"/>
                <c:pt idx="0">
                  <c:v>69.781843768208347</c:v>
                </c:pt>
                <c:pt idx="1">
                  <c:v>72.790337747890817</c:v>
                </c:pt>
                <c:pt idx="2">
                  <c:v>79.110959883078195</c:v>
                </c:pt>
                <c:pt idx="3">
                  <c:v>99.735015775712185</c:v>
                </c:pt>
                <c:pt idx="4">
                  <c:v>135.68480680709612</c:v>
                </c:pt>
                <c:pt idx="5">
                  <c:v>52.948549041086515</c:v>
                </c:pt>
                <c:pt idx="6">
                  <c:v>87.717856978306003</c:v>
                </c:pt>
                <c:pt idx="7">
                  <c:v>231.21156275809125</c:v>
                </c:pt>
                <c:pt idx="8">
                  <c:v>1</c:v>
                </c:pt>
                <c:pt idx="9">
                  <c:v>388.9892945429224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642C885-8D56-4ECF-9902-499033121D7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63DFA4C-008E-4866-9C20-9F198E2166C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D5DE9B3-9EA4-4CD2-94C1-5F1FA85EDB7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1BF0984-40A7-4B15-8F2B-250FB2DD480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2FA710F-4E7F-47C3-B49E-FC8D0A839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BA47837-C5A6-4CA7-A933-63B828CA4A2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0D88D9B-D1DD-4DDE-8E43-AFD54E7DD59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C34FF0D-AF1D-427E-ADFD-F7845A09DA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6D7027C-D64D-4ECF-B18E-56EE38AD370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D5A97DE-D212-4652-867A-DE26770EA5B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7F54-4D86-AFFA-B80DE19B7C18}"/>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7F54-4D86-AFFA-B80DE19B7C18}"/>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7F54-4D86-AFFA-B80DE19B7C18}"/>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7F54-4D86-AFFA-B80DE19B7C1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5</c:f>
              <c:numCache>
                <c:formatCode>General</c:formatCode>
                <c:ptCount val="24"/>
                <c:pt idx="0">
                  <c:v>0.9</c:v>
                </c:pt>
                <c:pt idx="1">
                  <c:v>0.73</c:v>
                </c:pt>
                <c:pt idx="2">
                  <c:v>0.98</c:v>
                </c:pt>
                <c:pt idx="3">
                  <c:v>0.83</c:v>
                </c:pt>
                <c:pt idx="4">
                  <c:v>0.33</c:v>
                </c:pt>
                <c:pt idx="5">
                  <c:v>0.89</c:v>
                </c:pt>
                <c:pt idx="6">
                  <c:v>0.85</c:v>
                </c:pt>
                <c:pt idx="7">
                  <c:v>0.47</c:v>
                </c:pt>
                <c:pt idx="8">
                  <c:v>0.41</c:v>
                </c:pt>
                <c:pt idx="9">
                  <c:v>0.43</c:v>
                </c:pt>
                <c:pt idx="10">
                  <c:v>0.28000000000000003</c:v>
                </c:pt>
                <c:pt idx="11">
                  <c:v>0.12</c:v>
                </c:pt>
                <c:pt idx="12">
                  <c:v>0.75</c:v>
                </c:pt>
                <c:pt idx="13">
                  <c:v>0.74</c:v>
                </c:pt>
                <c:pt idx="14">
                  <c:v>0.85</c:v>
                </c:pt>
                <c:pt idx="15">
                  <c:v>0.56999999999999995</c:v>
                </c:pt>
                <c:pt idx="16">
                  <c:v>0.64</c:v>
                </c:pt>
                <c:pt idx="17">
                  <c:v>0.46</c:v>
                </c:pt>
                <c:pt idx="18">
                  <c:v>0.56000000000000005</c:v>
                </c:pt>
                <c:pt idx="19">
                  <c:v>0.89</c:v>
                </c:pt>
                <c:pt idx="20">
                  <c:v>0.81</c:v>
                </c:pt>
                <c:pt idx="21">
                  <c:v>0.18</c:v>
                </c:pt>
                <c:pt idx="22">
                  <c:v>0.14000000000000001</c:v>
                </c:pt>
                <c:pt idx="23">
                  <c:v>0.17</c:v>
                </c:pt>
              </c:numCache>
            </c:numRef>
          </c:xVal>
          <c:yVal>
            <c:numRef>
              <c:f>Sheet1!$B$2:$B$25</c:f>
              <c:numCache>
                <c:formatCode>General</c:formatCode>
                <c:ptCount val="24"/>
                <c:pt idx="0">
                  <c:v>3907.088888888889</c:v>
                </c:pt>
                <c:pt idx="1">
                  <c:v>1571.2876712328771</c:v>
                </c:pt>
                <c:pt idx="2">
                  <c:v>3670.663265306122</c:v>
                </c:pt>
                <c:pt idx="3">
                  <c:v>1491.433734939759</c:v>
                </c:pt>
                <c:pt idx="4">
                  <c:v>126.0606060606061</c:v>
                </c:pt>
                <c:pt idx="5">
                  <c:v>1809.314606741573</c:v>
                </c:pt>
                <c:pt idx="6">
                  <c:v>1532.329411764706</c:v>
                </c:pt>
                <c:pt idx="7">
                  <c:v>292.74468085106378</c:v>
                </c:pt>
                <c:pt idx="8">
                  <c:v>130.70731707317071</c:v>
                </c:pt>
                <c:pt idx="9">
                  <c:v>428.27906976744191</c:v>
                </c:pt>
                <c:pt idx="10">
                  <c:v>268.07142857142861</c:v>
                </c:pt>
                <c:pt idx="11">
                  <c:v>734.41666666666663</c:v>
                </c:pt>
                <c:pt idx="12">
                  <c:v>1149.7733333333331</c:v>
                </c:pt>
                <c:pt idx="13">
                  <c:v>1990.4594594594589</c:v>
                </c:pt>
                <c:pt idx="14">
                  <c:v>2936.2117647058822</c:v>
                </c:pt>
                <c:pt idx="15">
                  <c:v>840.0877192982457</c:v>
                </c:pt>
                <c:pt idx="16">
                  <c:v>806.3125</c:v>
                </c:pt>
                <c:pt idx="17">
                  <c:v>756.10869565217388</c:v>
                </c:pt>
                <c:pt idx="18">
                  <c:v>1739.339285714286</c:v>
                </c:pt>
                <c:pt idx="19">
                  <c:v>2690.9662921348308</c:v>
                </c:pt>
                <c:pt idx="20">
                  <c:v>2365.8641975308642</c:v>
                </c:pt>
                <c:pt idx="21">
                  <c:v>144.11111111111109</c:v>
                </c:pt>
                <c:pt idx="22">
                  <c:v>215.78571428571419</c:v>
                </c:pt>
                <c:pt idx="23">
                  <c:v>142.29411764705881</c:v>
                </c:pt>
              </c:numCache>
            </c:numRef>
          </c:yVal>
          <c:bubbleSize>
            <c:numRef>
              <c:f>Sheet1!$C$2:$C$25</c:f>
              <c:numCache>
                <c:formatCode>General</c:formatCode>
                <c:ptCount val="24"/>
                <c:pt idx="0">
                  <c:v>203224.26610000001</c:v>
                </c:pt>
                <c:pt idx="1">
                  <c:v>61903.722800000003</c:v>
                </c:pt>
                <c:pt idx="2">
                  <c:v>204063.94519999999</c:v>
                </c:pt>
                <c:pt idx="3">
                  <c:v>61191.166899999989</c:v>
                </c:pt>
                <c:pt idx="4">
                  <c:v>1574.5454999999999</c:v>
                </c:pt>
                <c:pt idx="5">
                  <c:v>82728.546799999996</c:v>
                </c:pt>
                <c:pt idx="6">
                  <c:v>65984.07220000001</c:v>
                </c:pt>
                <c:pt idx="7">
                  <c:v>7554.0151999999998</c:v>
                </c:pt>
                <c:pt idx="8">
                  <c:v>3108.8708999999999</c:v>
                </c:pt>
                <c:pt idx="9">
                  <c:v>9548.3824999999997</c:v>
                </c:pt>
                <c:pt idx="10">
                  <c:v>3413.1735999999992</c:v>
                </c:pt>
                <c:pt idx="11">
                  <c:v>4441.4790000000003</c:v>
                </c:pt>
                <c:pt idx="12">
                  <c:v>45605.556199999992</c:v>
                </c:pt>
                <c:pt idx="13">
                  <c:v>78358.659800000009</c:v>
                </c:pt>
                <c:pt idx="14">
                  <c:v>132048.75390000001</c:v>
                </c:pt>
                <c:pt idx="15">
                  <c:v>25896.57</c:v>
                </c:pt>
                <c:pt idx="16">
                  <c:v>29471.16599999999</c:v>
                </c:pt>
                <c:pt idx="17">
                  <c:v>17286.738700000002</c:v>
                </c:pt>
                <c:pt idx="18">
                  <c:v>48786.166700000002</c:v>
                </c:pt>
                <c:pt idx="19">
                  <c:v>134223.04699999999</c:v>
                </c:pt>
                <c:pt idx="20">
                  <c:v>86851.195999999982</c:v>
                </c:pt>
                <c:pt idx="21">
                  <c:v>1824.9043999999999</c:v>
                </c:pt>
                <c:pt idx="22">
                  <c:v>1395.9426000000001</c:v>
                </c:pt>
                <c:pt idx="23">
                  <c:v>1316.502</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uisine Sauce Fromage Afh 1X240Gr 1P</c:v>
                  </c:pt>
                  <c:pt idx="2">
                    <c:v>Boursin Classique Fromage Frais A Tartiner Afh Boite 1X150Gr 1P</c:v>
                  </c:pt>
                  <c:pt idx="3">
                    <c:v>Boursin Classique Fromage Frais A Tartiner Ciboulette &amp; Echalote Boite 1X150Gr 1P</c:v>
                  </c:pt>
                  <c:pt idx="4">
                    <c:v>Boursin Classique Fromage Frais A Tartiner Truffe Boite 1X150Gr 1P</c:v>
                  </c:pt>
                  <c:pt idx="5">
                    <c:v>Boursin Classique Fromage Frais A Tartiner Figue Et 3 Noix Boite 1X150Gr 1P</c:v>
                  </c:pt>
                  <c:pt idx="6">
                    <c:v>Boursin Salade &amp; Aperitif Fromage Frais Des Afh 1X120Gr 1P</c:v>
                  </c:pt>
                  <c:pt idx="7">
                    <c:v>Boursin Salade &amp; Aperitif Fromage Frais Des Figue Noix 1X120Gr 1P</c:v>
                  </c:pt>
                  <c:pt idx="8">
                    <c:v>Boursin Salade &amp; Aperitif Fromage Frais Des Noisette Et 3 Noix 1X120Gr 1P</c:v>
                  </c:pt>
                  <c:pt idx="9">
                    <c:v>Boursin Salade &amp; Aperitif Fromage Frais Des Ciboulette Echalote 1X120Gr 1P</c:v>
                  </c:pt>
                  <c:pt idx="10">
                    <c:v>Boursin Salade &amp; Aperitif Fromage Frais Des Citron Romarin 1X120Gr 1P</c:v>
                  </c:pt>
                  <c:pt idx="11">
                    <c:v>Boursin Classique Fromage Frais A Tartiner Afh Boite 1X80Gr 1P</c:v>
                  </c:pt>
                  <c:pt idx="12">
                    <c:v>Boursin Classique Fromage Frais A Tartiner Poivre Boite 1X150Gr 1P</c:v>
                  </c:pt>
                  <c:pt idx="13">
                    <c:v>Boursin Classique Fromage Frais A Tartiner Afh Boite 1X96Gr 6P</c:v>
                  </c:pt>
                  <c:pt idx="14">
                    <c:v>Boursin Aperitif Roules Fromage Frais Roule Afh Et Jambon Fume Boite 1X100Gr 20P</c:v>
                  </c:pt>
                  <c:pt idx="15">
                    <c:v>Boursin Aperitif Roules Fromage Frais Roule Basilic &amp; Jambon Fume Tomate Boite 1X100Gr 20P</c:v>
                  </c:pt>
                  <c:pt idx="16">
                    <c:v>Boursin Classique Fromage Frais A Tartiner Afh 1X256Gr 16P</c:v>
                  </c:pt>
                  <c:pt idx="17">
                    <c:v>Boursin Classique Fromage Frais A Tartiner Ciboulette &amp; Echalote 1X160Gr 10P</c:v>
                  </c:pt>
                  <c:pt idx="18">
                    <c:v>Boursin Aperitif Roules Fromage Frais Roule Ciboulette &amp; Echalote Jambon Fume Boite 1X100Gr 20P</c:v>
                  </c:pt>
                  <c:pt idx="19">
                    <c:v>Boursin Classique Fromage Frais A Tartiner Afh Boite 1X25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433DA3E-E4FF-4406-AE68-EE68A615323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04E25C2-E42F-4A69-8CB7-728D4FABB39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21DC6D4-2CF4-46DB-9E14-65373ACC6E5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DFBA3DC-46B1-4BD3-AC02-84BE8393540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A8DC64F-2734-4630-B612-A2CA7C5DC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592D459-F658-468D-926B-7B1CFB3F4A8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814334C-5E76-44DE-8DFA-F682CF8AB88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263E468-8378-4742-80F9-3BFFAE7FB73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81FAC4C-8973-4E99-9E96-34B7E89108C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4842846-1D0F-4953-8230-991BCC886CE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77800000000000002</c:v>
                </c:pt>
                <c:pt idx="1">
                  <c:v>0.83399999999999996</c:v>
                </c:pt>
                <c:pt idx="2">
                  <c:v>0.77400000000000002</c:v>
                </c:pt>
                <c:pt idx="3">
                  <c:v>0.64300000000000002</c:v>
                </c:pt>
                <c:pt idx="4">
                  <c:v>0.71599999999999997</c:v>
                </c:pt>
                <c:pt idx="5">
                  <c:v>0.99</c:v>
                </c:pt>
                <c:pt idx="6">
                  <c:v>0.502</c:v>
                </c:pt>
                <c:pt idx="7">
                  <c:v>0.68899999999999995</c:v>
                </c:pt>
                <c:pt idx="8">
                  <c:v>0.94899999999999995</c:v>
                </c:pt>
                <c:pt idx="9">
                  <c:v>0.73199999999999998</c:v>
                </c:pt>
              </c:numCache>
            </c:numRef>
          </c:xVal>
          <c:yVal>
            <c:numRef>
              <c:f>Sheet1!$B$2:$B$11</c:f>
              <c:numCache>
                <c:formatCode>General</c:formatCode>
                <c:ptCount val="10"/>
                <c:pt idx="0">
                  <c:v>81394.755784061694</c:v>
                </c:pt>
                <c:pt idx="1">
                  <c:v>42862.613908872903</c:v>
                </c:pt>
                <c:pt idx="2">
                  <c:v>9290.7881136950891</c:v>
                </c:pt>
                <c:pt idx="3">
                  <c:v>7421.5241057542771</c:v>
                </c:pt>
                <c:pt idx="4">
                  <c:v>16379.70670391062</c:v>
                </c:pt>
                <c:pt idx="5">
                  <c:v>47708.959595959597</c:v>
                </c:pt>
                <c:pt idx="6">
                  <c:v>5967.6095617529882</c:v>
                </c:pt>
                <c:pt idx="7">
                  <c:v>5613.8606676342533</c:v>
                </c:pt>
                <c:pt idx="8">
                  <c:v>34465.816649104323</c:v>
                </c:pt>
                <c:pt idx="9">
                  <c:v>25172.049180327871</c:v>
                </c:pt>
              </c:numCache>
            </c:numRef>
          </c:yVal>
          <c:bubbleSize>
            <c:numRef>
              <c:f>Sheet1!$C$2:$C$11</c:f>
              <c:numCache>
                <c:formatCode>General</c:formatCode>
                <c:ptCount val="10"/>
                <c:pt idx="0">
                  <c:v>3725061.8516000011</c:v>
                </c:pt>
                <c:pt idx="1">
                  <c:v>2366962.6518000001</c:v>
                </c:pt>
                <c:pt idx="2">
                  <c:v>394784.88339999999</c:v>
                </c:pt>
                <c:pt idx="3">
                  <c:v>270428.12439999997</c:v>
                </c:pt>
                <c:pt idx="4">
                  <c:v>819173.43059999985</c:v>
                </c:pt>
                <c:pt idx="5">
                  <c:v>2907579.7757999999</c:v>
                </c:pt>
                <c:pt idx="6">
                  <c:v>183986.73240000001</c:v>
                </c:pt>
                <c:pt idx="7">
                  <c:v>224227.94260000001</c:v>
                </c:pt>
                <c:pt idx="8">
                  <c:v>1863564.0796999999</c:v>
                </c:pt>
                <c:pt idx="9">
                  <c:v>1155386.3507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9008A21-888C-4AC1-BE16-EFA451BB7A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ED3C9B0-86B5-4955-B33A-8A3FD835500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A10F976-E9BF-4E17-A239-19CD74AF454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2129012-4D84-4B07-91A8-3A0FD01B9A0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E4671B3-2688-4DE0-82FB-91D3E56B0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E085D2F-27E5-41ED-923D-E4E8D25D189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0E2DC00-3BEA-4BD3-9495-22C6BFA41AA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F740D6D-1F7B-4922-B8C5-34F71406100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E831C69-1F2A-45C3-B1C7-BF04F25D82A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BEA8800-DC6D-49CB-B2B7-2D01ABE44CC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3.6999999999999998E-2</c:v>
                </c:pt>
                <c:pt idx="1">
                  <c:v>0.98099999999999998</c:v>
                </c:pt>
                <c:pt idx="2">
                  <c:v>0.72499999999999998</c:v>
                </c:pt>
                <c:pt idx="3">
                  <c:v>0.89800000000000002</c:v>
                </c:pt>
                <c:pt idx="4">
                  <c:v>0.82699999999999996</c:v>
                </c:pt>
                <c:pt idx="5">
                  <c:v>0.495</c:v>
                </c:pt>
                <c:pt idx="6">
                  <c:v>0.69399999999999995</c:v>
                </c:pt>
                <c:pt idx="7">
                  <c:v>8.0000000000000002E-3</c:v>
                </c:pt>
                <c:pt idx="8">
                  <c:v>0.48199999999999998</c:v>
                </c:pt>
                <c:pt idx="9">
                  <c:v>0.90800000000000003</c:v>
                </c:pt>
                <c:pt idx="10">
                  <c:v>0.434</c:v>
                </c:pt>
              </c:numCache>
            </c:numRef>
          </c:xVal>
          <c:yVal>
            <c:numRef>
              <c:f>Sheet1!$B$2:$B$12</c:f>
              <c:numCache>
                <c:formatCode>General</c:formatCode>
                <c:ptCount val="11"/>
                <c:pt idx="0">
                  <c:v>8120.5405405405409</c:v>
                </c:pt>
                <c:pt idx="1">
                  <c:v>64775.474006116208</c:v>
                </c:pt>
                <c:pt idx="2">
                  <c:v>19364.593103448271</c:v>
                </c:pt>
                <c:pt idx="3">
                  <c:v>72823.240534521159</c:v>
                </c:pt>
                <c:pt idx="4">
                  <c:v>143117.4607013301</c:v>
                </c:pt>
                <c:pt idx="5">
                  <c:v>7373.9595959595963</c:v>
                </c:pt>
                <c:pt idx="6">
                  <c:v>22077.01729106628</c:v>
                </c:pt>
                <c:pt idx="7">
                  <c:v>29388.75</c:v>
                </c:pt>
                <c:pt idx="8">
                  <c:v>3280.8506224066391</c:v>
                </c:pt>
                <c:pt idx="9">
                  <c:v>19583.832599118941</c:v>
                </c:pt>
                <c:pt idx="10">
                  <c:v>10205.71428571429</c:v>
                </c:pt>
              </c:numCache>
            </c:numRef>
          </c:yVal>
          <c:bubbleSize>
            <c:numRef>
              <c:f>Sheet1!$C$2:$C$12</c:f>
              <c:numCache>
                <c:formatCode>General</c:formatCode>
                <c:ptCount val="11"/>
                <c:pt idx="0">
                  <c:v>16203.212299999999</c:v>
                </c:pt>
                <c:pt idx="1">
                  <c:v>3547845.7534999992</c:v>
                </c:pt>
                <c:pt idx="2">
                  <c:v>991517.41429999995</c:v>
                </c:pt>
                <c:pt idx="3">
                  <c:v>4149231.1453999998</c:v>
                </c:pt>
                <c:pt idx="4">
                  <c:v>7678155.8173000012</c:v>
                </c:pt>
                <c:pt idx="5">
                  <c:v>217318.38440000001</c:v>
                </c:pt>
                <c:pt idx="6">
                  <c:v>850339.46379999991</c:v>
                </c:pt>
                <c:pt idx="7">
                  <c:v>9602.1797999999999</c:v>
                </c:pt>
                <c:pt idx="8">
                  <c:v>77295.212800000008</c:v>
                </c:pt>
                <c:pt idx="9">
                  <c:v>1074236.973</c:v>
                </c:pt>
                <c:pt idx="10">
                  <c:v>277329.53539999999</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Nature Fromage Fondu Boite Ronde 1X128Gr 8P</c:v>
                  </c:pt>
                  <c:pt idx="7">
                    <c:v>La Vache Qui Rit Pik Et Croq' Fromage Fondu Dips Boite 1X35Gr 1P</c:v>
                  </c:pt>
                  <c:pt idx="8">
                    <c:v>La Vache Qui Rit Bio Fromage Fondu Boite Ronde 1X128Gr 8P</c:v>
                  </c:pt>
                  <c:pt idx="9">
                    <c:v>La Vache Qui Rit Pik Et Croq' Fromage Fondu Dips Boite 1X175Gr 5P</c:v>
                  </c:pt>
                  <c:pt idx="10">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9CD0938-6FAE-4B80-BA7C-6D3FEA4B207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984AFC5-14A5-4E54-ACF7-C3E1B2691DD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86EBED1-2B74-42B3-A3D4-0811A779F45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82536C3-B561-4035-A4B5-77F0353AD1A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79E1852-6604-4D0F-AB59-3E374B37C5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AC44DC3-C8C5-4136-A58A-F844BC0674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428D455-B75C-41BC-B0A0-06CDCDD4B53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3F5207A-76B6-407F-92B3-D8B21810FF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754F4AF-2D9E-4898-90B6-7DE7EBEA00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A3131DE-674D-4B70-B79F-89B3FBBFA7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E78D-40B1-8517-D1035813C0B3}"/>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E78D-40B1-8517-D1035813C0B3}"/>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E78D-40B1-8517-D1035813C0B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4</c:f>
              <c:numCache>
                <c:formatCode>General</c:formatCode>
                <c:ptCount val="23"/>
                <c:pt idx="0">
                  <c:v>0.91500000000000004</c:v>
                </c:pt>
                <c:pt idx="1">
                  <c:v>0.52800000000000002</c:v>
                </c:pt>
                <c:pt idx="2">
                  <c:v>0.96799999999999997</c:v>
                </c:pt>
                <c:pt idx="3">
                  <c:v>0.79300000000000004</c:v>
                </c:pt>
                <c:pt idx="4">
                  <c:v>0.51100000000000001</c:v>
                </c:pt>
                <c:pt idx="5">
                  <c:v>0.69399999999999995</c:v>
                </c:pt>
                <c:pt idx="6">
                  <c:v>0.53700000000000003</c:v>
                </c:pt>
                <c:pt idx="7">
                  <c:v>0.379</c:v>
                </c:pt>
                <c:pt idx="8">
                  <c:v>0.96199999999999997</c:v>
                </c:pt>
                <c:pt idx="9">
                  <c:v>0.80100000000000005</c:v>
                </c:pt>
                <c:pt idx="10">
                  <c:v>0.73799999999999999</c:v>
                </c:pt>
                <c:pt idx="11">
                  <c:v>0.81699999999999995</c:v>
                </c:pt>
                <c:pt idx="12">
                  <c:v>0.70699999999999996</c:v>
                </c:pt>
                <c:pt idx="13">
                  <c:v>0.44700000000000001</c:v>
                </c:pt>
                <c:pt idx="14">
                  <c:v>0.40200000000000002</c:v>
                </c:pt>
                <c:pt idx="15">
                  <c:v>0.82099999999999995</c:v>
                </c:pt>
                <c:pt idx="16">
                  <c:v>0.26500000000000001</c:v>
                </c:pt>
                <c:pt idx="17">
                  <c:v>7.4999999999999997E-2</c:v>
                </c:pt>
                <c:pt idx="18">
                  <c:v>0.81699999999999995</c:v>
                </c:pt>
                <c:pt idx="19">
                  <c:v>0.77400000000000002</c:v>
                </c:pt>
                <c:pt idx="20">
                  <c:v>0.28100000000000003</c:v>
                </c:pt>
                <c:pt idx="21">
                  <c:v>0.32400000000000001</c:v>
                </c:pt>
                <c:pt idx="22">
                  <c:v>0.69799999999999995</c:v>
                </c:pt>
              </c:numCache>
            </c:numRef>
          </c:xVal>
          <c:yVal>
            <c:numRef>
              <c:f>Sheet1!$B$2:$B$24</c:f>
              <c:numCache>
                <c:formatCode>General</c:formatCode>
                <c:ptCount val="23"/>
                <c:pt idx="0">
                  <c:v>36210.382513661199</c:v>
                </c:pt>
                <c:pt idx="1">
                  <c:v>912.44318181818176</c:v>
                </c:pt>
                <c:pt idx="2">
                  <c:v>35111.053719008269</c:v>
                </c:pt>
                <c:pt idx="3">
                  <c:v>8691.4627994955863</c:v>
                </c:pt>
                <c:pt idx="4">
                  <c:v>956.90802348336592</c:v>
                </c:pt>
                <c:pt idx="5">
                  <c:v>6379.6974063400576</c:v>
                </c:pt>
                <c:pt idx="6">
                  <c:v>1782.271880819367</c:v>
                </c:pt>
                <c:pt idx="7">
                  <c:v>1204.459102902375</c:v>
                </c:pt>
                <c:pt idx="8">
                  <c:v>20726.226611226612</c:v>
                </c:pt>
                <c:pt idx="9">
                  <c:v>4221.7228464419468</c:v>
                </c:pt>
                <c:pt idx="10">
                  <c:v>1752.3170731707321</c:v>
                </c:pt>
                <c:pt idx="11">
                  <c:v>5431.6768665850677</c:v>
                </c:pt>
                <c:pt idx="12">
                  <c:v>2424.0594059405939</c:v>
                </c:pt>
                <c:pt idx="13">
                  <c:v>3167.5167785234898</c:v>
                </c:pt>
                <c:pt idx="14">
                  <c:v>2165.5472636815921</c:v>
                </c:pt>
                <c:pt idx="15">
                  <c:v>11865.907429963459</c:v>
                </c:pt>
                <c:pt idx="16">
                  <c:v>4761.8113207547167</c:v>
                </c:pt>
                <c:pt idx="17">
                  <c:v>1840.8</c:v>
                </c:pt>
                <c:pt idx="18">
                  <c:v>25830.86903304774</c:v>
                </c:pt>
                <c:pt idx="19">
                  <c:v>7665.3875968992243</c:v>
                </c:pt>
                <c:pt idx="20">
                  <c:v>2258.3985765124548</c:v>
                </c:pt>
                <c:pt idx="21">
                  <c:v>502.59259259259261</c:v>
                </c:pt>
                <c:pt idx="22">
                  <c:v>1723.954154727794</c:v>
                </c:pt>
              </c:numCache>
            </c:numRef>
          </c:yVal>
          <c:bubbleSize>
            <c:numRef>
              <c:f>Sheet1!$C$2:$C$24</c:f>
              <c:numCache>
                <c:formatCode>General</c:formatCode>
                <c:ptCount val="23"/>
                <c:pt idx="0">
                  <c:v>2046825.7823000001</c:v>
                </c:pt>
                <c:pt idx="1">
                  <c:v>31644.144499999999</c:v>
                </c:pt>
                <c:pt idx="2">
                  <c:v>2119021.4544000002</c:v>
                </c:pt>
                <c:pt idx="3">
                  <c:v>427959.80719999998</c:v>
                </c:pt>
                <c:pt idx="4">
                  <c:v>28852.473999999998</c:v>
                </c:pt>
                <c:pt idx="5">
                  <c:v>270671.19300000009</c:v>
                </c:pt>
                <c:pt idx="6">
                  <c:v>43181.377599999993</c:v>
                </c:pt>
                <c:pt idx="7">
                  <c:v>23385.416400000009</c:v>
                </c:pt>
                <c:pt idx="8">
                  <c:v>1147947.4047999999</c:v>
                </c:pt>
                <c:pt idx="9">
                  <c:v>177245.5282</c:v>
                </c:pt>
                <c:pt idx="10">
                  <c:v>56817.089500000002</c:v>
                </c:pt>
                <c:pt idx="11">
                  <c:v>241292.2684</c:v>
                </c:pt>
                <c:pt idx="12">
                  <c:v>96136.576799999981</c:v>
                </c:pt>
                <c:pt idx="13">
                  <c:v>91396.574100000013</c:v>
                </c:pt>
                <c:pt idx="14">
                  <c:v>51837.37920000001</c:v>
                </c:pt>
                <c:pt idx="15">
                  <c:v>599204.3587000001</c:v>
                </c:pt>
                <c:pt idx="16">
                  <c:v>90111.2497</c:v>
                </c:pt>
                <c:pt idx="17">
                  <c:v>7381.9490000000014</c:v>
                </c:pt>
                <c:pt idx="18">
                  <c:v>1321744.1344000001</c:v>
                </c:pt>
                <c:pt idx="19">
                  <c:v>346446.61200000002</c:v>
                </c:pt>
                <c:pt idx="20">
                  <c:v>29997.0429</c:v>
                </c:pt>
                <c:pt idx="21">
                  <c:v>7339.8536999999997</c:v>
                </c:pt>
                <c:pt idx="22">
                  <c:v>69949.332200000004</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Truffe Boite 1X150Gr 1P</c:v>
                  </c:pt>
                  <c:pt idx="5">
                    <c:v>Boursin Classique Fromage Frais A Tartiner Figue Et 3 Noix Boite 1X150Gr 1P</c:v>
                  </c:pt>
                  <c:pt idx="6">
                    <c:v>Boursin Classique Fromage Frais A Tartiner 3 Noix Boite 1X150Gr 1P</c:v>
                  </c:pt>
                  <c:pt idx="7">
                    <c:v>Boursin Classique Fromage Frais A Tartiner 3 Noix 1X160Gr 10P</c:v>
                  </c:pt>
                  <c:pt idx="8">
                    <c:v>Boursin Salade &amp; Aperitif Fromage Frais Des Afh 1X120Gr 1P</c:v>
                  </c:pt>
                  <c:pt idx="9">
                    <c:v>Boursin Salade &amp; Aperitif Fromage Frais Des Figue Noix 1X120Gr 1P</c:v>
                  </c:pt>
                  <c:pt idx="10">
                    <c:v>Boursin Salade &amp; Aperitif Fromage Frais Des Noisette Et 3 Noix 1X120Gr 1P</c:v>
                  </c:pt>
                  <c:pt idx="11">
                    <c:v>Boursin Salade &amp; Aperitif Fromage Frais Des Ciboulette Echalote 1X120Gr 1P</c:v>
                  </c:pt>
                  <c:pt idx="12">
                    <c:v>Boursin Salade &amp; Aperitif Fromage Frais Des Citron Romarin 1X120Gr 1P</c:v>
                  </c:pt>
                  <c:pt idx="13">
                    <c:v>Boursin Classique Fromage Frais A Tartiner Afh Boite 1X80Gr 1P</c:v>
                  </c:pt>
                  <c:pt idx="14">
                    <c:v>Boursin Classique Fromage Frais A Tartiner Poivre Boite 1X150Gr 1P</c:v>
                  </c:pt>
                  <c:pt idx="15">
                    <c:v>Boursin Classique Fromage Frais A Tartiner Afh Boite 1X96Gr 6P</c:v>
                  </c:pt>
                  <c:pt idx="16">
                    <c:v>Boursin Classique Fromage Frais A Tartiner Afh 1X256Gr 16P</c:v>
                  </c:pt>
                  <c:pt idx="17">
                    <c:v>Boursin Classique Fromage Frais A Tartiner Ciboulette &amp; Echalote 1X160Gr 10P</c:v>
                  </c:pt>
                  <c:pt idx="18">
                    <c:v>Boursin Classique Fromage Frais A Tartiner Afh Boite 1X250Gr 1P</c:v>
                  </c:pt>
                  <c:pt idx="19">
                    <c:v>Boursin Onctueux Fromage Frais A Tartiner Afh 1X125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64F61AA-55F3-45E7-AA52-63288C811B9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364F703-5231-45C3-BAF4-F193F0C33C3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83289E3-6761-486B-B123-200DC0D2998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AD4B371-7FED-4755-AFC5-123C2FA6209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BAA88D8-F44C-4DE6-978D-B0A288687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DE32A64-E7E3-49F4-8568-A692E34AA50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D3E2F1B-7692-4A69-BD9E-968BDCC5A6E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092ED68-E6EE-4458-8296-F0B828671F9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A3A70CD-045E-413F-930C-4788B8453A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1DB9166-6DDD-4DF9-A2DD-FF116DDF15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86099999999999999</c:v>
                </c:pt>
                <c:pt idx="1">
                  <c:v>0.97499999999999998</c:v>
                </c:pt>
                <c:pt idx="2">
                  <c:v>0.83699999999999997</c:v>
                </c:pt>
                <c:pt idx="3">
                  <c:v>0.372</c:v>
                </c:pt>
                <c:pt idx="4">
                  <c:v>0.81699999999999995</c:v>
                </c:pt>
                <c:pt idx="5">
                  <c:v>0.98299999999999998</c:v>
                </c:pt>
                <c:pt idx="6">
                  <c:v>0.60299999999999998</c:v>
                </c:pt>
                <c:pt idx="7">
                  <c:v>0.89500000000000002</c:v>
                </c:pt>
                <c:pt idx="8">
                  <c:v>0.98099999999999998</c:v>
                </c:pt>
                <c:pt idx="9">
                  <c:v>0.93200000000000005</c:v>
                </c:pt>
                <c:pt idx="10">
                  <c:v>0.67200000000000004</c:v>
                </c:pt>
              </c:numCache>
            </c:numRef>
          </c:xVal>
          <c:yVal>
            <c:numRef>
              <c:f>Sheet1!$B$2:$B$12</c:f>
              <c:numCache>
                <c:formatCode>General</c:formatCode>
                <c:ptCount val="11"/>
                <c:pt idx="0">
                  <c:v>43360.813008130077</c:v>
                </c:pt>
                <c:pt idx="1">
                  <c:v>45724.892307692309</c:v>
                </c:pt>
                <c:pt idx="2">
                  <c:v>6139.8327359617679</c:v>
                </c:pt>
                <c:pt idx="3">
                  <c:v>481.37096774193537</c:v>
                </c:pt>
                <c:pt idx="4">
                  <c:v>3357.0257037943702</c:v>
                </c:pt>
                <c:pt idx="5">
                  <c:v>25786.988809766019</c:v>
                </c:pt>
                <c:pt idx="6">
                  <c:v>7090.9286898839136</c:v>
                </c:pt>
                <c:pt idx="7">
                  <c:v>3027.5083798882679</c:v>
                </c:pt>
                <c:pt idx="8">
                  <c:v>20585.647298674819</c:v>
                </c:pt>
                <c:pt idx="9">
                  <c:v>27675.493562231761</c:v>
                </c:pt>
                <c:pt idx="10">
                  <c:v>5504.0773809523807</c:v>
                </c:pt>
              </c:numCache>
            </c:numRef>
          </c:yVal>
          <c:bubbleSize>
            <c:numRef>
              <c:f>Sheet1!$C$2:$C$12</c:f>
              <c:numCache>
                <c:formatCode>General</c:formatCode>
                <c:ptCount val="11"/>
                <c:pt idx="0">
                  <c:v>2305421.665</c:v>
                </c:pt>
                <c:pt idx="1">
                  <c:v>2848455.0869</c:v>
                </c:pt>
                <c:pt idx="2">
                  <c:v>264142.96620000002</c:v>
                </c:pt>
                <c:pt idx="3">
                  <c:v>8501.64</c:v>
                </c:pt>
                <c:pt idx="4">
                  <c:v>187301.984</c:v>
                </c:pt>
                <c:pt idx="5">
                  <c:v>1563209.9702000001</c:v>
                </c:pt>
                <c:pt idx="6">
                  <c:v>211804.0281</c:v>
                </c:pt>
                <c:pt idx="7">
                  <c:v>146209.82399999999</c:v>
                </c:pt>
                <c:pt idx="8">
                  <c:v>1209085.3938</c:v>
                </c:pt>
                <c:pt idx="9">
                  <c:v>1555147.5876</c:v>
                </c:pt>
                <c:pt idx="10">
                  <c:v>177451.4127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pt idx="10">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58ABFB1-26D1-4D46-B5C6-ECD380529EB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F2C3A12-92C7-42EB-89AE-AF08BA3FE8A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60ED1E7-A1EA-477E-B090-E63510F8DEE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2C4AB19-5A1A-4A1C-98C9-27678C9BCC9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914F927-8FFE-467A-B8A4-DB353AC1C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D5E36D1-CE75-4FA7-ABDA-23DBD2E708D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DD65A38-8517-41A5-B834-6EDC87E90B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F1E616F-7636-4EFB-A6BC-627803481F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0958F59-4470-42A0-A867-049B1DC235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AFCD855-B99A-47CD-AA19-7926356CF57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67900000000000005</c:v>
                </c:pt>
                <c:pt idx="1">
                  <c:v>0.998</c:v>
                </c:pt>
                <c:pt idx="2">
                  <c:v>0.23100000000000001</c:v>
                </c:pt>
                <c:pt idx="3">
                  <c:v>0.94099999999999995</c:v>
                </c:pt>
                <c:pt idx="4">
                  <c:v>0.94699999999999995</c:v>
                </c:pt>
                <c:pt idx="5">
                  <c:v>0.84099999999999997</c:v>
                </c:pt>
                <c:pt idx="6">
                  <c:v>0.95499999999999996</c:v>
                </c:pt>
                <c:pt idx="7">
                  <c:v>0.84799999999999998</c:v>
                </c:pt>
              </c:numCache>
            </c:numRef>
          </c:xVal>
          <c:yVal>
            <c:numRef>
              <c:f>Sheet1!$B$2:$B$9</c:f>
              <c:numCache>
                <c:formatCode>General</c:formatCode>
                <c:ptCount val="8"/>
                <c:pt idx="0">
                  <c:v>6740.5301914580259</c:v>
                </c:pt>
                <c:pt idx="1">
                  <c:v>61730.220440881763</c:v>
                </c:pt>
                <c:pt idx="2">
                  <c:v>1325.194805194805</c:v>
                </c:pt>
                <c:pt idx="3">
                  <c:v>52226.907545164722</c:v>
                </c:pt>
                <c:pt idx="4">
                  <c:v>79341.235480464631</c:v>
                </c:pt>
                <c:pt idx="5">
                  <c:v>10304.161712247331</c:v>
                </c:pt>
                <c:pt idx="6">
                  <c:v>14262.722513089009</c:v>
                </c:pt>
                <c:pt idx="7">
                  <c:v>14741.66273584906</c:v>
                </c:pt>
              </c:numCache>
            </c:numRef>
          </c:yVal>
          <c:bubbleSize>
            <c:numRef>
              <c:f>Sheet1!$C$2:$C$9</c:f>
              <c:numCache>
                <c:formatCode>General</c:formatCode>
                <c:ptCount val="8"/>
                <c:pt idx="0">
                  <c:v>194639.24890000001</c:v>
                </c:pt>
                <c:pt idx="1">
                  <c:v>3516863.661400001</c:v>
                </c:pt>
                <c:pt idx="2">
                  <c:v>21865.780599999991</c:v>
                </c:pt>
                <c:pt idx="3">
                  <c:v>2989794.8149000001</c:v>
                </c:pt>
                <c:pt idx="4">
                  <c:v>4789467.3874000004</c:v>
                </c:pt>
                <c:pt idx="5">
                  <c:v>466038.12929999991</c:v>
                </c:pt>
                <c:pt idx="6">
                  <c:v>743356.49009999994</c:v>
                </c:pt>
                <c:pt idx="7">
                  <c:v>599065.13089999976</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Pik Et Croq' Fromage Fondu Dips Boite 1X175Gr 5P</c:v>
                  </c:pt>
                  <c:pt idx="7">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DC8F57D-AF74-488D-B23C-F47F83C4A3C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D87C0CD-FF1D-4F2D-BAC5-C9F0DC27ABC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F7C0DF1-3680-4270-A3C5-DB0D577AB5B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3E3F10E-5009-42A5-84CC-D14ADF7785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8DF5A22-DBF7-4291-91E6-C61028EEE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1EE88A6-E5A9-4EEA-BABC-527F046182E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5ECC1E4-EA00-43C4-A3AE-14ECB7385A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7ABB3A6-2D6E-4107-BC1A-0B462265283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02DD629-6CEB-497D-9110-31087CDCC05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EE18E87-F26B-49A0-B5D4-D947B6262EA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9</c:f>
              <c:numCache>
                <c:formatCode>General</c:formatCode>
                <c:ptCount val="18"/>
                <c:pt idx="0">
                  <c:v>0.98099999999999998</c:v>
                </c:pt>
                <c:pt idx="1">
                  <c:v>0.998</c:v>
                </c:pt>
                <c:pt idx="2">
                  <c:v>0.97299999999999998</c:v>
                </c:pt>
                <c:pt idx="3">
                  <c:v>0.68700000000000006</c:v>
                </c:pt>
                <c:pt idx="4">
                  <c:v>0.98</c:v>
                </c:pt>
                <c:pt idx="5">
                  <c:v>0.96799999999999997</c:v>
                </c:pt>
                <c:pt idx="6">
                  <c:v>0.84499999999999997</c:v>
                </c:pt>
                <c:pt idx="7">
                  <c:v>0.80300000000000005</c:v>
                </c:pt>
                <c:pt idx="8">
                  <c:v>0.82299999999999995</c:v>
                </c:pt>
                <c:pt idx="9">
                  <c:v>0.66</c:v>
                </c:pt>
                <c:pt idx="10">
                  <c:v>0.32500000000000001</c:v>
                </c:pt>
                <c:pt idx="11">
                  <c:v>0.94</c:v>
                </c:pt>
                <c:pt idx="12">
                  <c:v>0.93899999999999995</c:v>
                </c:pt>
                <c:pt idx="13">
                  <c:v>0.86</c:v>
                </c:pt>
                <c:pt idx="14">
                  <c:v>0.80800000000000005</c:v>
                </c:pt>
                <c:pt idx="15">
                  <c:v>0.98</c:v>
                </c:pt>
                <c:pt idx="16">
                  <c:v>0.95399999999999996</c:v>
                </c:pt>
                <c:pt idx="17">
                  <c:v>0.41399999999999998</c:v>
                </c:pt>
              </c:numCache>
            </c:numRef>
          </c:xVal>
          <c:yVal>
            <c:numRef>
              <c:f>Sheet1!$B$2:$B$19</c:f>
              <c:numCache>
                <c:formatCode>General</c:formatCode>
                <c:ptCount val="18"/>
                <c:pt idx="0">
                  <c:v>27527.410805300711</c:v>
                </c:pt>
                <c:pt idx="1">
                  <c:v>24558.51703406814</c:v>
                </c:pt>
                <c:pt idx="2">
                  <c:v>8635.1798561151081</c:v>
                </c:pt>
                <c:pt idx="3">
                  <c:v>648.25327510917032</c:v>
                </c:pt>
                <c:pt idx="4">
                  <c:v>10309.23469387755</c:v>
                </c:pt>
                <c:pt idx="5">
                  <c:v>11293.564049586779</c:v>
                </c:pt>
                <c:pt idx="6">
                  <c:v>2199.2426035502958</c:v>
                </c:pt>
                <c:pt idx="7">
                  <c:v>1098.2067247820671</c:v>
                </c:pt>
                <c:pt idx="8">
                  <c:v>3335.8687727825031</c:v>
                </c:pt>
                <c:pt idx="9">
                  <c:v>1614.075757575758</c:v>
                </c:pt>
                <c:pt idx="10">
                  <c:v>2730.8923076923079</c:v>
                </c:pt>
                <c:pt idx="11">
                  <c:v>7229.1382978723404</c:v>
                </c:pt>
                <c:pt idx="12">
                  <c:v>11438.093716719921</c:v>
                </c:pt>
                <c:pt idx="13">
                  <c:v>8505.5930232558148</c:v>
                </c:pt>
                <c:pt idx="14">
                  <c:v>5809.3564356435636</c:v>
                </c:pt>
                <c:pt idx="15">
                  <c:v>27838.234693877552</c:v>
                </c:pt>
                <c:pt idx="16">
                  <c:v>12471.15303983229</c:v>
                </c:pt>
                <c:pt idx="17">
                  <c:v>1111.304347826087</c:v>
                </c:pt>
              </c:numCache>
            </c:numRef>
          </c:yVal>
          <c:bubbleSize>
            <c:numRef>
              <c:f>Sheet1!$C$2:$C$19</c:f>
              <c:numCache>
                <c:formatCode>General</c:formatCode>
                <c:ptCount val="18"/>
                <c:pt idx="0">
                  <c:v>1645429.3156999999</c:v>
                </c:pt>
                <c:pt idx="1">
                  <c:v>1483245.8407999999</c:v>
                </c:pt>
                <c:pt idx="2">
                  <c:v>455014.01169999992</c:v>
                </c:pt>
                <c:pt idx="3">
                  <c:v>19536.5635</c:v>
                </c:pt>
                <c:pt idx="4">
                  <c:v>568393.2801999998</c:v>
                </c:pt>
                <c:pt idx="5">
                  <c:v>586213.45919999992</c:v>
                </c:pt>
                <c:pt idx="6">
                  <c:v>108247.5664</c:v>
                </c:pt>
                <c:pt idx="7">
                  <c:v>53176.012199999997</c:v>
                </c:pt>
                <c:pt idx="8">
                  <c:v>150811.14780000001</c:v>
                </c:pt>
                <c:pt idx="9">
                  <c:v>51813.046099999992</c:v>
                </c:pt>
                <c:pt idx="10">
                  <c:v>50382.185700000002</c:v>
                </c:pt>
                <c:pt idx="11">
                  <c:v>392341.30040000001</c:v>
                </c:pt>
                <c:pt idx="12">
                  <c:v>608075.93240000005</c:v>
                </c:pt>
                <c:pt idx="13">
                  <c:v>423307.45439999987</c:v>
                </c:pt>
                <c:pt idx="14">
                  <c:v>250921.9325</c:v>
                </c:pt>
                <c:pt idx="15">
                  <c:v>1620710.9252000011</c:v>
                </c:pt>
                <c:pt idx="16">
                  <c:v>575246.19469999999</c:v>
                </c:pt>
                <c:pt idx="17">
                  <c:v>22765.070899999999</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Truffe Boite 1X150Gr 1P</c:v>
                  </c:pt>
                  <c:pt idx="4">
                    <c:v>Boursin Classique Fromage Frais A Tartiner Figue Et 3 Noix Boite 1X150Gr 1P</c:v>
                  </c:pt>
                  <c:pt idx="5">
                    <c:v>Boursin Salade &amp; Aperitif Fromage Frais Des Afh 1X120Gr 1P</c:v>
                  </c:pt>
                  <c:pt idx="6">
                    <c:v>Boursin Salade &amp; Aperitif Fromage Frais Des Figue Noix 1X120Gr 1P</c:v>
                  </c:pt>
                  <c:pt idx="7">
                    <c:v>Boursin Salade &amp; Aperitif Fromage Frais Des Noisette Et 3 Noix 1X120Gr 1P</c:v>
                  </c:pt>
                  <c:pt idx="8">
                    <c:v>Boursin Salade &amp; Aperitif Fromage Frais Des Ciboulette Echalote 1X120Gr 1P</c:v>
                  </c:pt>
                  <c:pt idx="9">
                    <c:v>Boursin Salade &amp; Aperitif Fromage Frais Des Citron Romarin 1X120Gr 1P</c:v>
                  </c:pt>
                  <c:pt idx="10">
                    <c:v>Boursin Classique Fromage Frais A Tartiner Afh Boite 1X80Gr 1P</c:v>
                  </c:pt>
                  <c:pt idx="11">
                    <c:v>Boursin Classique Fromage Frais A Tartiner Poivre Boite 1X150Gr 1P</c:v>
                  </c:pt>
                  <c:pt idx="12">
                    <c:v>Boursin Classique Fromage Frais A Tartiner Afh Boite 1X96Gr 6P</c:v>
                  </c:pt>
                  <c:pt idx="13">
                    <c:v>Boursin Classique Fromage Frais A Tartiner Afh 1X256Gr 16P</c:v>
                  </c:pt>
                  <c:pt idx="14">
                    <c:v>Boursin Classique Fromage Frais A Tartiner Ciboulette &amp; Echalote 1X160Gr 10P</c:v>
                  </c:pt>
                  <c:pt idx="15">
                    <c:v>Boursin Classique Fromage Frais A Tartiner Afh Boite 1X250Gr 1P</c:v>
                  </c:pt>
                  <c:pt idx="16">
                    <c:v>Boursin Onctueux Fromage Frais A Tartiner Afh 1X125Gr 1P</c:v>
                  </c:pt>
                  <c:pt idx="17">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C29957B-D6CC-40D4-B964-DCC0E5FC595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0E36ED2-3B0F-4CAD-B27A-6C2C22D6FB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8517B25-4E2F-43FD-A7C9-0EE1F221AD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C5AD68B-A8C1-4F31-920D-7B6DA3399B1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B798D7D-02F6-4791-84E7-803B03CE17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CCAEDCD-EE3B-406C-B142-FC6EB526A48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BDB47A1-2820-4C84-8F8C-BB2ECB1925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4C7E7FA-04DF-4656-B2EF-356AA3FB21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987A08D-54F3-4E9F-91DB-AE98345D266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DD90870-0E13-479E-8BF6-14D3C5304C7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99</c:v>
                </c:pt>
                <c:pt idx="1">
                  <c:v>1</c:v>
                </c:pt>
                <c:pt idx="2">
                  <c:v>0.98</c:v>
                </c:pt>
                <c:pt idx="3">
                  <c:v>0.96</c:v>
                </c:pt>
                <c:pt idx="4">
                  <c:v>0.98</c:v>
                </c:pt>
                <c:pt idx="5">
                  <c:v>1</c:v>
                </c:pt>
                <c:pt idx="6">
                  <c:v>0.75</c:v>
                </c:pt>
                <c:pt idx="7">
                  <c:v>0.89</c:v>
                </c:pt>
                <c:pt idx="8">
                  <c:v>1</c:v>
                </c:pt>
                <c:pt idx="9">
                  <c:v>0.99</c:v>
                </c:pt>
              </c:numCache>
            </c:numRef>
          </c:xVal>
          <c:yVal>
            <c:numRef>
              <c:f>Sheet1!$B$2:$B$11</c:f>
              <c:numCache>
                <c:formatCode>General</c:formatCode>
                <c:ptCount val="10"/>
                <c:pt idx="0">
                  <c:v>45589.414141414141</c:v>
                </c:pt>
                <c:pt idx="1">
                  <c:v>19457.759999999998</c:v>
                </c:pt>
                <c:pt idx="2">
                  <c:v>2226.4591836734689</c:v>
                </c:pt>
                <c:pt idx="3">
                  <c:v>3431.15625</c:v>
                </c:pt>
                <c:pt idx="4">
                  <c:v>8238.3469387755104</c:v>
                </c:pt>
                <c:pt idx="5">
                  <c:v>11794.45</c:v>
                </c:pt>
                <c:pt idx="6">
                  <c:v>1891.373333333333</c:v>
                </c:pt>
                <c:pt idx="7">
                  <c:v>1402.640449438202</c:v>
                </c:pt>
                <c:pt idx="8">
                  <c:v>14911.01</c:v>
                </c:pt>
                <c:pt idx="9">
                  <c:v>11125.101010101011</c:v>
                </c:pt>
              </c:numCache>
            </c:numRef>
          </c:yVal>
          <c:bubbleSize>
            <c:numRef>
              <c:f>Sheet1!$C$2:$C$11</c:f>
              <c:numCache>
                <c:formatCode>General</c:formatCode>
                <c:ptCount val="10"/>
                <c:pt idx="0">
                  <c:v>2701473.5923000001</c:v>
                </c:pt>
                <c:pt idx="1">
                  <c:v>1304656.6438</c:v>
                </c:pt>
                <c:pt idx="2">
                  <c:v>131141.8792</c:v>
                </c:pt>
                <c:pt idx="3">
                  <c:v>186938.92819999999</c:v>
                </c:pt>
                <c:pt idx="4">
                  <c:v>566708.10480000009</c:v>
                </c:pt>
                <c:pt idx="5">
                  <c:v>798628.68059999996</c:v>
                </c:pt>
                <c:pt idx="6">
                  <c:v>87696.779200000004</c:v>
                </c:pt>
                <c:pt idx="7">
                  <c:v>74313.284700000004</c:v>
                </c:pt>
                <c:pt idx="8">
                  <c:v>964173.1054</c:v>
                </c:pt>
                <c:pt idx="9">
                  <c:v>700106.70720000006</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1AC1A30-E12F-4EA1-B2CA-A85D688B39E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0D0C62C-E0F8-4CC6-B9C6-B00BECA646B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0458F9A-B070-45F1-B365-67DBFA1B323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408F841-7469-4601-9B72-5EFD18586F6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40B40F5-AC81-4C54-AC6E-AC74EB711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6C42AAF-67E8-4E73-A4D0-5988EF10950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A78C250-F168-490B-8383-05A6AF225E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6E02E25-DDC8-4F67-B98C-3B8A60593D9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4DC8DE7-E6B3-410B-831E-559683F0E2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5CFDD9E-B184-462D-B991-90CF5A2CE5B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08</c:v>
                </c:pt>
                <c:pt idx="1">
                  <c:v>1</c:v>
                </c:pt>
                <c:pt idx="2">
                  <c:v>0.94</c:v>
                </c:pt>
                <c:pt idx="3">
                  <c:v>1</c:v>
                </c:pt>
                <c:pt idx="4">
                  <c:v>0.99</c:v>
                </c:pt>
                <c:pt idx="5">
                  <c:v>0.86</c:v>
                </c:pt>
                <c:pt idx="6">
                  <c:v>0.94</c:v>
                </c:pt>
                <c:pt idx="7">
                  <c:v>0.82</c:v>
                </c:pt>
                <c:pt idx="8">
                  <c:v>1</c:v>
                </c:pt>
                <c:pt idx="9">
                  <c:v>0.95</c:v>
                </c:pt>
              </c:numCache>
            </c:numRef>
          </c:xVal>
          <c:yVal>
            <c:numRef>
              <c:f>Sheet1!$B$2:$B$11</c:f>
              <c:numCache>
                <c:formatCode>General</c:formatCode>
                <c:ptCount val="10"/>
                <c:pt idx="0">
                  <c:v>3755.75</c:v>
                </c:pt>
                <c:pt idx="1">
                  <c:v>16701.66</c:v>
                </c:pt>
                <c:pt idx="2">
                  <c:v>9848.9468085106382</c:v>
                </c:pt>
                <c:pt idx="3">
                  <c:v>29213.62</c:v>
                </c:pt>
                <c:pt idx="4">
                  <c:v>82610.363636363632</c:v>
                </c:pt>
                <c:pt idx="5">
                  <c:v>3117.8720930232562</c:v>
                </c:pt>
                <c:pt idx="6">
                  <c:v>8213.010638297872</c:v>
                </c:pt>
                <c:pt idx="7">
                  <c:v>999.73170731707319</c:v>
                </c:pt>
                <c:pt idx="8">
                  <c:v>7241.72</c:v>
                </c:pt>
                <c:pt idx="9">
                  <c:v>4657.1894736842096</c:v>
                </c:pt>
              </c:numCache>
            </c:numRef>
          </c:yVal>
          <c:bubbleSize>
            <c:numRef>
              <c:f>Sheet1!$C$2:$C$11</c:f>
              <c:numCache>
                <c:formatCode>General</c:formatCode>
                <c:ptCount val="10"/>
                <c:pt idx="0">
                  <c:v>16203.212299999999</c:v>
                </c:pt>
                <c:pt idx="1">
                  <c:v>1003580.1054999999</c:v>
                </c:pt>
                <c:pt idx="2">
                  <c:v>652434.56669999997</c:v>
                </c:pt>
                <c:pt idx="3">
                  <c:v>1964518.6340999999</c:v>
                </c:pt>
                <c:pt idx="4">
                  <c:v>5392409.5773</c:v>
                </c:pt>
                <c:pt idx="5">
                  <c:v>159865.11799999999</c:v>
                </c:pt>
                <c:pt idx="6">
                  <c:v>433001.46350000001</c:v>
                </c:pt>
                <c:pt idx="7">
                  <c:v>40975.859999999993</c:v>
                </c:pt>
                <c:pt idx="8">
                  <c:v>491761.31099999999</c:v>
                </c:pt>
                <c:pt idx="9">
                  <c:v>277013.40789999999</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Nature Fromage Fondu Boite Ronde 1X128Gr 8P</c:v>
                  </c:pt>
                  <c:pt idx="7">
                    <c:v>La Vache Qui Rit Bio Fromage Fondu Boite Ronde 1X128Gr 8P</c:v>
                  </c:pt>
                  <c:pt idx="8">
                    <c:v>La Vache Qui Rit Pik Et Croq' Fromage Fondu Dips Boite 1X175Gr 5P</c:v>
                  </c:pt>
                  <c:pt idx="9">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4BD0FCE-A32A-4CC5-9683-3B5F87CDA4A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7BB903C-AFE5-47A0-A886-E70BBC42FFA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4AEB9C1-1414-4B8F-8046-3E942489AE2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919BC16-5256-4EE0-86A0-1B3A05E1180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C48601D-2E45-48E5-9BA4-E7460AC1BF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CFDA3F0-245E-4831-84C8-2512789E794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FFB71B1-5DA3-4437-ABF4-E08149FE9B0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E6FC8CE-48FC-4663-9D9D-3E75BAFFD71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EF159A4-6F21-4672-BB0B-68D44FFDB75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E9A185B-5AA2-40D9-A25A-E356566CB23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9502-4E56-9243-C92E38ABAC88}"/>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9502-4E56-9243-C92E38ABAC88}"/>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9502-4E56-9243-C92E38ABAC8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4</c:f>
              <c:numCache>
                <c:formatCode>General</c:formatCode>
                <c:ptCount val="23"/>
                <c:pt idx="0">
                  <c:v>1</c:v>
                </c:pt>
                <c:pt idx="1">
                  <c:v>0.85</c:v>
                </c:pt>
                <c:pt idx="2">
                  <c:v>1</c:v>
                </c:pt>
                <c:pt idx="3">
                  <c:v>0.97</c:v>
                </c:pt>
                <c:pt idx="4">
                  <c:v>0.66</c:v>
                </c:pt>
                <c:pt idx="5">
                  <c:v>0.98</c:v>
                </c:pt>
                <c:pt idx="6">
                  <c:v>0.67</c:v>
                </c:pt>
                <c:pt idx="7">
                  <c:v>0.49</c:v>
                </c:pt>
                <c:pt idx="8">
                  <c:v>1</c:v>
                </c:pt>
                <c:pt idx="9">
                  <c:v>1</c:v>
                </c:pt>
                <c:pt idx="10">
                  <c:v>0.96</c:v>
                </c:pt>
                <c:pt idx="11">
                  <c:v>1</c:v>
                </c:pt>
                <c:pt idx="12">
                  <c:v>0.95</c:v>
                </c:pt>
                <c:pt idx="13">
                  <c:v>0.94</c:v>
                </c:pt>
                <c:pt idx="14">
                  <c:v>0.88</c:v>
                </c:pt>
                <c:pt idx="15">
                  <c:v>1</c:v>
                </c:pt>
                <c:pt idx="16">
                  <c:v>0.57999999999999996</c:v>
                </c:pt>
                <c:pt idx="17">
                  <c:v>0.14000000000000001</c:v>
                </c:pt>
                <c:pt idx="18">
                  <c:v>1</c:v>
                </c:pt>
                <c:pt idx="19">
                  <c:v>0.99</c:v>
                </c:pt>
                <c:pt idx="20">
                  <c:v>0.59</c:v>
                </c:pt>
                <c:pt idx="21">
                  <c:v>0.71</c:v>
                </c:pt>
                <c:pt idx="22">
                  <c:v>0.94</c:v>
                </c:pt>
              </c:numCache>
            </c:numRef>
          </c:xVal>
          <c:yVal>
            <c:numRef>
              <c:f>Sheet1!$B$2:$B$24</c:f>
              <c:numCache>
                <c:formatCode>General</c:formatCode>
                <c:ptCount val="23"/>
                <c:pt idx="0">
                  <c:v>14268.91</c:v>
                </c:pt>
                <c:pt idx="1">
                  <c:v>333.52941176470591</c:v>
                </c:pt>
                <c:pt idx="2">
                  <c:v>9722.94</c:v>
                </c:pt>
                <c:pt idx="3">
                  <c:v>3345.6288659793809</c:v>
                </c:pt>
                <c:pt idx="4">
                  <c:v>480.09090909090912</c:v>
                </c:pt>
                <c:pt idx="5">
                  <c:v>3773</c:v>
                </c:pt>
                <c:pt idx="6">
                  <c:v>871.68656716417911</c:v>
                </c:pt>
                <c:pt idx="7">
                  <c:v>524.91836734693879</c:v>
                </c:pt>
                <c:pt idx="8">
                  <c:v>6542.91</c:v>
                </c:pt>
                <c:pt idx="9">
                  <c:v>1562.84</c:v>
                </c:pt>
                <c:pt idx="10">
                  <c:v>708.27083333333337</c:v>
                </c:pt>
                <c:pt idx="11">
                  <c:v>2741.89</c:v>
                </c:pt>
                <c:pt idx="12">
                  <c:v>844.63157894736844</c:v>
                </c:pt>
                <c:pt idx="13">
                  <c:v>1281.0212765957449</c:v>
                </c:pt>
                <c:pt idx="14">
                  <c:v>989.26136363636363</c:v>
                </c:pt>
                <c:pt idx="15">
                  <c:v>4276.8900000000003</c:v>
                </c:pt>
                <c:pt idx="16">
                  <c:v>2175.4827586206902</c:v>
                </c:pt>
                <c:pt idx="17">
                  <c:v>964.35714285714278</c:v>
                </c:pt>
                <c:pt idx="18">
                  <c:v>11512.05</c:v>
                </c:pt>
                <c:pt idx="19">
                  <c:v>2658.0808080808079</c:v>
                </c:pt>
                <c:pt idx="20">
                  <c:v>1025.28813559322</c:v>
                </c:pt>
                <c:pt idx="21">
                  <c:v>229.12676056338029</c:v>
                </c:pt>
                <c:pt idx="22">
                  <c:v>593.85106382978722</c:v>
                </c:pt>
              </c:numCache>
            </c:numRef>
          </c:yVal>
          <c:bubbleSize>
            <c:numRef>
              <c:f>Sheet1!$C$2:$C$24</c:f>
              <c:numCache>
                <c:formatCode>General</c:formatCode>
                <c:ptCount val="23"/>
                <c:pt idx="0">
                  <c:v>904769.62540000002</c:v>
                </c:pt>
                <c:pt idx="1">
                  <c:v>19208.837500000001</c:v>
                </c:pt>
                <c:pt idx="2">
                  <c:v>660282.57319999998</c:v>
                </c:pt>
                <c:pt idx="3">
                  <c:v>205815.49559999999</c:v>
                </c:pt>
                <c:pt idx="4">
                  <c:v>18882.7261</c:v>
                </c:pt>
                <c:pt idx="5">
                  <c:v>226705.78390000001</c:v>
                </c:pt>
                <c:pt idx="6">
                  <c:v>26386.711899999998</c:v>
                </c:pt>
                <c:pt idx="7">
                  <c:v>14639.8354</c:v>
                </c:pt>
                <c:pt idx="8">
                  <c:v>404752.79509999999</c:v>
                </c:pt>
                <c:pt idx="9">
                  <c:v>78689.65879999999</c:v>
                </c:pt>
                <c:pt idx="10">
                  <c:v>28854.082600000002</c:v>
                </c:pt>
                <c:pt idx="11">
                  <c:v>142684.70430000001</c:v>
                </c:pt>
                <c:pt idx="12">
                  <c:v>45376.329899999997</c:v>
                </c:pt>
                <c:pt idx="13">
                  <c:v>80141.60040000001</c:v>
                </c:pt>
                <c:pt idx="14">
                  <c:v>51837.37920000001</c:v>
                </c:pt>
                <c:pt idx="15">
                  <c:v>266178.70789999998</c:v>
                </c:pt>
                <c:pt idx="16">
                  <c:v>90101.286900000006</c:v>
                </c:pt>
                <c:pt idx="17">
                  <c:v>7213.1059999999998</c:v>
                </c:pt>
                <c:pt idx="18">
                  <c:v>727771.94940000016</c:v>
                </c:pt>
                <c:pt idx="19">
                  <c:v>156408.5736</c:v>
                </c:pt>
                <c:pt idx="20">
                  <c:v>28426.323100000001</c:v>
                </c:pt>
                <c:pt idx="21">
                  <c:v>7330.6674000000003</c:v>
                </c:pt>
                <c:pt idx="22">
                  <c:v>33570.772400000002</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Truffe Boite 1X150Gr 1P</c:v>
                  </c:pt>
                  <c:pt idx="5">
                    <c:v>Boursin Classique Fromage Frais A Tartiner Figue Et 3 Noix Boite 1X150Gr 1P</c:v>
                  </c:pt>
                  <c:pt idx="6">
                    <c:v>Boursin Classique Fromage Frais A Tartiner 3 Noix Boite 1X150Gr 1P</c:v>
                  </c:pt>
                  <c:pt idx="7">
                    <c:v>Boursin Classique Fromage Frais A Tartiner 3 Noix 1X160Gr 10P</c:v>
                  </c:pt>
                  <c:pt idx="8">
                    <c:v>Boursin Salade &amp; Aperitif Fromage Frais Des Afh 1X120Gr 1P</c:v>
                  </c:pt>
                  <c:pt idx="9">
                    <c:v>Boursin Salade &amp; Aperitif Fromage Frais Des Figue Noix 1X120Gr 1P</c:v>
                  </c:pt>
                  <c:pt idx="10">
                    <c:v>Boursin Salade &amp; Aperitif Fromage Frais Des Noisette Et 3 Noix 1X120Gr 1P</c:v>
                  </c:pt>
                  <c:pt idx="11">
                    <c:v>Boursin Salade &amp; Aperitif Fromage Frais Des Ciboulette Echalote 1X120Gr 1P</c:v>
                  </c:pt>
                  <c:pt idx="12">
                    <c:v>Boursin Salade &amp; Aperitif Fromage Frais Des Citron Romarin 1X120Gr 1P</c:v>
                  </c:pt>
                  <c:pt idx="13">
                    <c:v>Boursin Classique Fromage Frais A Tartiner Afh Boite 1X80Gr 1P</c:v>
                  </c:pt>
                  <c:pt idx="14">
                    <c:v>Boursin Classique Fromage Frais A Tartiner Poivre Boite 1X150Gr 1P</c:v>
                  </c:pt>
                  <c:pt idx="15">
                    <c:v>Boursin Classique Fromage Frais A Tartiner Afh Boite 1X96Gr 6P</c:v>
                  </c:pt>
                  <c:pt idx="16">
                    <c:v>Boursin Classique Fromage Frais A Tartiner Afh 1X256Gr 16P</c:v>
                  </c:pt>
                  <c:pt idx="17">
                    <c:v>Boursin Classique Fromage Frais A Tartiner Ciboulette &amp; Echalote 1X160Gr 10P</c:v>
                  </c:pt>
                  <c:pt idx="18">
                    <c:v>Boursin Classique Fromage Frais A Tartiner Afh Boite 1X250Gr 1P</c:v>
                  </c:pt>
                  <c:pt idx="19">
                    <c:v>Boursin Onctueux Fromage Frais A Tartiner Afh 1X125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Boursin</c:v>
                </c:pt>
                <c:pt idx="3">
                  <c:v>Paysan Breton</c:v>
                </c:pt>
                <c:pt idx="4">
                  <c:v>Tartare</c:v>
                </c:pt>
                <c:pt idx="5">
                  <c:v>Carre Frais</c:v>
                </c:pt>
                <c:pt idx="6">
                  <c:v>Philadelphia</c:v>
                </c:pt>
                <c:pt idx="7">
                  <c:v>Kiri</c:v>
                </c:pt>
                <c:pt idx="8">
                  <c:v>Others</c:v>
                </c:pt>
              </c:strCache>
            </c:strRef>
          </c:cat>
          <c:val>
            <c:numRef>
              <c:f>Sheet1!$B$2:$B$10</c:f>
              <c:numCache>
                <c:formatCode>General</c:formatCode>
                <c:ptCount val="9"/>
                <c:pt idx="0">
                  <c:v>0.31841083389292907</c:v>
                </c:pt>
                <c:pt idx="1">
                  <c:v>0.15241318949430877</c:v>
                </c:pt>
                <c:pt idx="2">
                  <c:v>0.14742662594923719</c:v>
                </c:pt>
                <c:pt idx="3">
                  <c:v>0.12745093385595646</c:v>
                </c:pt>
                <c:pt idx="4">
                  <c:v>0.12446328564430019</c:v>
                </c:pt>
                <c:pt idx="5">
                  <c:v>6.1347789744763612E-2</c:v>
                </c:pt>
                <c:pt idx="6">
                  <c:v>4.1566627843072745E-2</c:v>
                </c:pt>
                <c:pt idx="7">
                  <c:v>8.4490388731903645E-3</c:v>
                </c:pt>
                <c:pt idx="8">
                  <c:v>1.8471674702241613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Boursin</c:v>
                </c:pt>
                <c:pt idx="3">
                  <c:v>Paysan Breton</c:v>
                </c:pt>
                <c:pt idx="4">
                  <c:v>Tartare</c:v>
                </c:pt>
                <c:pt idx="5">
                  <c:v>Carre Frais</c:v>
                </c:pt>
                <c:pt idx="6">
                  <c:v>Philadelphia</c:v>
                </c:pt>
                <c:pt idx="7">
                  <c:v>Kiri</c:v>
                </c:pt>
                <c:pt idx="8">
                  <c:v>Others</c:v>
                </c:pt>
              </c:strCache>
            </c:strRef>
          </c:cat>
          <c:val>
            <c:numRef>
              <c:f>Sheet1!$C$2:$C$10</c:f>
              <c:numCache>
                <c:formatCode>General</c:formatCode>
                <c:ptCount val="9"/>
                <c:pt idx="0">
                  <c:v>0.15728809665128571</c:v>
                </c:pt>
                <c:pt idx="1">
                  <c:v>0.1261176740891076</c:v>
                </c:pt>
                <c:pt idx="2">
                  <c:v>0.19962090026613566</c:v>
                </c:pt>
                <c:pt idx="3">
                  <c:v>0.11731030653468381</c:v>
                </c:pt>
                <c:pt idx="4">
                  <c:v>0.16689961515633078</c:v>
                </c:pt>
                <c:pt idx="5">
                  <c:v>5.6979838786880857E-2</c:v>
                </c:pt>
                <c:pt idx="6">
                  <c:v>4.0762794616017929E-2</c:v>
                </c:pt>
                <c:pt idx="7">
                  <c:v>4.0284133335886201E-2</c:v>
                </c:pt>
                <c:pt idx="8">
                  <c:v>9.473664056367153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Boursin</c:v>
                </c:pt>
                <c:pt idx="3">
                  <c:v>Paysan Breton</c:v>
                </c:pt>
                <c:pt idx="4">
                  <c:v>Tartare</c:v>
                </c:pt>
                <c:pt idx="5">
                  <c:v>Carre Frais</c:v>
                </c:pt>
                <c:pt idx="6">
                  <c:v>Philadelphia</c:v>
                </c:pt>
                <c:pt idx="7">
                  <c:v>Kiri</c:v>
                </c:pt>
                <c:pt idx="8">
                  <c:v>Others</c:v>
                </c:pt>
              </c:strCache>
            </c:strRef>
          </c:cat>
          <c:val>
            <c:numRef>
              <c:f>Sheet1!$D$2:$D$10</c:f>
              <c:numCache>
                <c:formatCode>General</c:formatCode>
                <c:ptCount val="9"/>
                <c:pt idx="0">
                  <c:v>49.397847029343367</c:v>
                </c:pt>
                <c:pt idx="1">
                  <c:v>82.747217945870062</c:v>
                </c:pt>
                <c:pt idx="2">
                  <c:v>135.40356023264772</c:v>
                </c:pt>
                <c:pt idx="3">
                  <c:v>92.043504888921831</c:v>
                </c:pt>
                <c:pt idx="4">
                  <c:v>134.09545979149874</c:v>
                </c:pt>
                <c:pt idx="5">
                  <c:v>92.880019025859724</c:v>
                </c:pt>
                <c:pt idx="6">
                  <c:v>98.066157230532284</c:v>
                </c:pt>
                <c:pt idx="7">
                  <c:v>476.78953713554017</c:v>
                </c:pt>
                <c:pt idx="8">
                  <c:v>512.8752107797505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B07D4F5-9B5A-4320-AFA0-B6968BC5EBE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18BB782-EC3E-46EB-B3FD-844BEC0CF6E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4D4552E-E128-4D7E-8FC0-2D3407FEB37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D27E729-ACF7-4449-9135-DC8728AC707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DC91C31-CCD3-44C1-A0A6-5D50E4DB8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F5C9EF5-4526-45D1-A696-FC17DA82827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F802A98-870A-434D-8AE3-330DF9BA0D9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C9601B9-B084-458B-81AB-A673859773F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E960DB5-F890-4F68-AF83-26E3AC0F2A6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F9C35F3-59C8-4EB2-98A7-C0ACB0E0340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86</c:v>
                </c:pt>
                <c:pt idx="1">
                  <c:v>0.97</c:v>
                </c:pt>
                <c:pt idx="2">
                  <c:v>0.62</c:v>
                </c:pt>
                <c:pt idx="3">
                  <c:v>0.54</c:v>
                </c:pt>
                <c:pt idx="4">
                  <c:v>0.71</c:v>
                </c:pt>
                <c:pt idx="5">
                  <c:v>0.99</c:v>
                </c:pt>
                <c:pt idx="6">
                  <c:v>0.42</c:v>
                </c:pt>
                <c:pt idx="7">
                  <c:v>0.63</c:v>
                </c:pt>
                <c:pt idx="8">
                  <c:v>0.99</c:v>
                </c:pt>
                <c:pt idx="9">
                  <c:v>0.73</c:v>
                </c:pt>
              </c:numCache>
            </c:numRef>
          </c:xVal>
          <c:yVal>
            <c:numRef>
              <c:f>Sheet1!$B$2:$B$11</c:f>
              <c:numCache>
                <c:formatCode>General</c:formatCode>
                <c:ptCount val="10"/>
                <c:pt idx="0">
                  <c:v>21137</c:v>
                </c:pt>
                <c:pt idx="1">
                  <c:v>16372.639175257729</c:v>
                </c:pt>
                <c:pt idx="2">
                  <c:v>2355.7580645161288</c:v>
                </c:pt>
                <c:pt idx="3">
                  <c:v>2737.2777777777778</c:v>
                </c:pt>
                <c:pt idx="4">
                  <c:v>5146.8873239436616</c:v>
                </c:pt>
                <c:pt idx="5">
                  <c:v>11937.040404040399</c:v>
                </c:pt>
                <c:pt idx="6">
                  <c:v>3755.261904761905</c:v>
                </c:pt>
                <c:pt idx="7">
                  <c:v>2356.2857142857142</c:v>
                </c:pt>
                <c:pt idx="8">
                  <c:v>9403.7474747474753</c:v>
                </c:pt>
                <c:pt idx="9">
                  <c:v>9956.6438356164381</c:v>
                </c:pt>
              </c:numCache>
            </c:numRef>
          </c:yVal>
          <c:bubbleSize>
            <c:numRef>
              <c:f>Sheet1!$C$2:$C$11</c:f>
              <c:numCache>
                <c:formatCode>General</c:formatCode>
                <c:ptCount val="10"/>
                <c:pt idx="0">
                  <c:v>1022986.8484</c:v>
                </c:pt>
                <c:pt idx="1">
                  <c:v>1036852.9036</c:v>
                </c:pt>
                <c:pt idx="2">
                  <c:v>83407.418800000014</c:v>
                </c:pt>
                <c:pt idx="3">
                  <c:v>83489.196199999991</c:v>
                </c:pt>
                <c:pt idx="4">
                  <c:v>252465.32579999999</c:v>
                </c:pt>
                <c:pt idx="5">
                  <c:v>798333.04369999992</c:v>
                </c:pt>
                <c:pt idx="6">
                  <c:v>96289.953199999989</c:v>
                </c:pt>
                <c:pt idx="7">
                  <c:v>87919.882999999987</c:v>
                </c:pt>
                <c:pt idx="8">
                  <c:v>513060.90409999993</c:v>
                </c:pt>
                <c:pt idx="9">
                  <c:v>446982.82140000002</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118A508-568E-43B6-A911-01DAD1C075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B8CEDAA-D1A2-41F0-89F2-743165B5F09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A349F39-4C29-42B2-959F-178C2782E79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9479408-549E-4E7F-A05C-43E55874851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B747835-E182-46E2-9DCC-7DBF6677C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C23C572-1CA0-419A-8EA8-4F4F099068E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1C78614-3658-48FB-9E3C-CAFF6BE37E1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6CFB505-48E8-4422-83D7-FD5667477CB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F04DE8C-D9A0-423F-A043-778ED2D9718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F12FC13-3857-4FBF-A337-594FAC37D8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99</c:v>
                </c:pt>
                <c:pt idx="1">
                  <c:v>0.78</c:v>
                </c:pt>
                <c:pt idx="2">
                  <c:v>0.96</c:v>
                </c:pt>
                <c:pt idx="3">
                  <c:v>0.99</c:v>
                </c:pt>
                <c:pt idx="4">
                  <c:v>0.27</c:v>
                </c:pt>
                <c:pt idx="5">
                  <c:v>0.66</c:v>
                </c:pt>
                <c:pt idx="6">
                  <c:v>0.25</c:v>
                </c:pt>
                <c:pt idx="7">
                  <c:v>0.97</c:v>
                </c:pt>
              </c:numCache>
            </c:numRef>
          </c:xVal>
          <c:yVal>
            <c:numRef>
              <c:f>Sheet1!$B$2:$B$9</c:f>
              <c:numCache>
                <c:formatCode>General</c:formatCode>
                <c:ptCount val="8"/>
                <c:pt idx="0">
                  <c:v>19283.14141414141</c:v>
                </c:pt>
                <c:pt idx="1">
                  <c:v>6125.9615384615381</c:v>
                </c:pt>
                <c:pt idx="2">
                  <c:v>23908.927083333328</c:v>
                </c:pt>
                <c:pt idx="3">
                  <c:v>36882.898989898989</c:v>
                </c:pt>
                <c:pt idx="4">
                  <c:v>3586</c:v>
                </c:pt>
                <c:pt idx="5">
                  <c:v>9583.0909090909099</c:v>
                </c:pt>
                <c:pt idx="6">
                  <c:v>1907.64</c:v>
                </c:pt>
                <c:pt idx="7">
                  <c:v>6300.7113402061859</c:v>
                </c:pt>
              </c:numCache>
            </c:numRef>
          </c:yVal>
          <c:bubbleSize>
            <c:numRef>
              <c:f>Sheet1!$C$2:$C$9</c:f>
              <c:numCache>
                <c:formatCode>General</c:formatCode>
                <c:ptCount val="8"/>
                <c:pt idx="0">
                  <c:v>1115386.6605</c:v>
                </c:pt>
                <c:pt idx="1">
                  <c:v>338910.8653</c:v>
                </c:pt>
                <c:pt idx="2">
                  <c:v>1471281.0649000001</c:v>
                </c:pt>
                <c:pt idx="3">
                  <c:v>2282886.3753999998</c:v>
                </c:pt>
                <c:pt idx="4">
                  <c:v>57429.013199999987</c:v>
                </c:pt>
                <c:pt idx="5">
                  <c:v>353367.2169</c:v>
                </c:pt>
                <c:pt idx="6">
                  <c:v>23255.5641</c:v>
                </c:pt>
                <c:pt idx="7">
                  <c:v>357582.02799999999</c:v>
                </c:pt>
              </c:numCache>
            </c:numRef>
          </c:bubbleSize>
          <c:bubble3D val="0"/>
          <c:extLst>
            <c:ext xmlns:c15="http://schemas.microsoft.com/office/drawing/2012/chart" uri="{02D57815-91ED-43cb-92C2-25804820EDAC}">
              <c15:datalabelsRange>
                <c15:f>Sheet1!$E$2:$E$21</c15:f>
                <c15:dlblRangeCache>
                  <c:ptCount val="20"/>
                  <c:pt idx="0">
                    <c:v>La Vache Qui Rit Nature Fromage Fondu Boite Ronde 1X192Gr 12P</c:v>
                  </c:pt>
                  <c:pt idx="1">
                    <c:v>La Vache Qui Rit Nature Fromage Fondu Boite Ronde 1X512Gr 24+8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Nature Fromage Fondu Boite Ronde 1X128Gr 8P</c:v>
                  </c:pt>
                  <c:pt idx="6">
                    <c:v>La Vache Qui Rit Bio Fromage Fondu Boite Ronde 1X128Gr 8P</c:v>
                  </c:pt>
                  <c:pt idx="7">
                    <c:v>La Vache Qui Rit Pik Et Croq' Fromage Fondu Dips Boite 1X175Gr 5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41627AD-2463-4B2E-BB22-DF238966AD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96496E3-95CB-4F2B-8BC4-1C6ED0EF28E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94A85A5-C039-4089-B5BE-059F8B21AF7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F3C1B7B-772E-4FA2-946D-4C09910DCB2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194115A-F880-412C-B67F-E3BF61F8B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767BD9D-0EF7-41AF-94DA-A1C8F33D55B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F112C63-2B2F-4C84-964A-4A0E7184A6E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820124E-C8E8-4409-ABFA-21F9A252837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A6D8209-CF65-49C3-BBF5-E33EB40F20D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BD4DAB9-E8D0-436C-944B-C6595DD79D1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9</c:f>
              <c:numCache>
                <c:formatCode>General</c:formatCode>
                <c:ptCount val="18"/>
                <c:pt idx="0">
                  <c:v>0.98</c:v>
                </c:pt>
                <c:pt idx="1">
                  <c:v>0.37</c:v>
                </c:pt>
                <c:pt idx="2">
                  <c:v>0.99</c:v>
                </c:pt>
                <c:pt idx="3">
                  <c:v>0.89</c:v>
                </c:pt>
                <c:pt idx="4">
                  <c:v>0.51</c:v>
                </c:pt>
                <c:pt idx="5">
                  <c:v>0.65</c:v>
                </c:pt>
                <c:pt idx="6">
                  <c:v>0.61</c:v>
                </c:pt>
                <c:pt idx="7">
                  <c:v>0.41</c:v>
                </c:pt>
                <c:pt idx="8">
                  <c:v>0.99</c:v>
                </c:pt>
                <c:pt idx="9">
                  <c:v>0.91</c:v>
                </c:pt>
                <c:pt idx="10">
                  <c:v>0.79</c:v>
                </c:pt>
                <c:pt idx="11">
                  <c:v>0.95</c:v>
                </c:pt>
                <c:pt idx="12">
                  <c:v>0.72</c:v>
                </c:pt>
                <c:pt idx="13">
                  <c:v>0.91</c:v>
                </c:pt>
                <c:pt idx="14">
                  <c:v>0.95</c:v>
                </c:pt>
                <c:pt idx="15">
                  <c:v>0.85</c:v>
                </c:pt>
                <c:pt idx="16">
                  <c:v>0.03</c:v>
                </c:pt>
                <c:pt idx="17">
                  <c:v>0.71</c:v>
                </c:pt>
              </c:numCache>
            </c:numRef>
          </c:xVal>
          <c:yVal>
            <c:numRef>
              <c:f>Sheet1!$B$2:$B$19</c:f>
              <c:numCache>
                <c:formatCode>General</c:formatCode>
                <c:ptCount val="18"/>
                <c:pt idx="0">
                  <c:v>12114.479591836731</c:v>
                </c:pt>
                <c:pt idx="1">
                  <c:v>535.8648648648649</c:v>
                </c:pt>
                <c:pt idx="2">
                  <c:v>11147.28282828283</c:v>
                </c:pt>
                <c:pt idx="3">
                  <c:v>3558.674157303371</c:v>
                </c:pt>
                <c:pt idx="4">
                  <c:v>247.92156862745099</c:v>
                </c:pt>
                <c:pt idx="5">
                  <c:v>1122.0923076923079</c:v>
                </c:pt>
                <c:pt idx="6">
                  <c:v>611.55737704918033</c:v>
                </c:pt>
                <c:pt idx="7">
                  <c:v>486.04878048780489</c:v>
                </c:pt>
                <c:pt idx="8">
                  <c:v>7616.333333333333</c:v>
                </c:pt>
                <c:pt idx="9">
                  <c:v>1998.6373626373629</c:v>
                </c:pt>
                <c:pt idx="10">
                  <c:v>776.29113924050637</c:v>
                </c:pt>
                <c:pt idx="11">
                  <c:v>1784.8315789473679</c:v>
                </c:pt>
                <c:pt idx="12">
                  <c:v>1265.291666666667</c:v>
                </c:pt>
                <c:pt idx="13">
                  <c:v>5526.197802197802</c:v>
                </c:pt>
                <c:pt idx="14">
                  <c:v>10084.61052631579</c:v>
                </c:pt>
                <c:pt idx="15">
                  <c:v>3883.376470588235</c:v>
                </c:pt>
                <c:pt idx="16">
                  <c:v>989.66666666666663</c:v>
                </c:pt>
                <c:pt idx="17">
                  <c:v>908.5915492957746</c:v>
                </c:pt>
              </c:numCache>
            </c:numRef>
          </c:yVal>
          <c:bubbleSize>
            <c:numRef>
              <c:f>Sheet1!$C$2:$C$19</c:f>
              <c:numCache>
                <c:formatCode>General</c:formatCode>
                <c:ptCount val="18"/>
                <c:pt idx="0">
                  <c:v>735837.03899999987</c:v>
                </c:pt>
                <c:pt idx="1">
                  <c:v>12435.307000000001</c:v>
                </c:pt>
                <c:pt idx="2">
                  <c:v>737303.34119999991</c:v>
                </c:pt>
                <c:pt idx="3">
                  <c:v>199120.19279999999</c:v>
                </c:pt>
                <c:pt idx="4">
                  <c:v>7323.7779999999984</c:v>
                </c:pt>
                <c:pt idx="5">
                  <c:v>43933.779499999997</c:v>
                </c:pt>
                <c:pt idx="6">
                  <c:v>16794.665700000001</c:v>
                </c:pt>
                <c:pt idx="7">
                  <c:v>8745.5810000000001</c:v>
                </c:pt>
                <c:pt idx="8">
                  <c:v>472778.95269999991</c:v>
                </c:pt>
                <c:pt idx="9">
                  <c:v>98555.869400000011</c:v>
                </c:pt>
                <c:pt idx="10">
                  <c:v>27963.0069</c:v>
                </c:pt>
                <c:pt idx="11">
                  <c:v>98599.152199999982</c:v>
                </c:pt>
                <c:pt idx="12">
                  <c:v>50744.359600000003</c:v>
                </c:pt>
                <c:pt idx="13">
                  <c:v>309185.78110000002</c:v>
                </c:pt>
                <c:pt idx="14">
                  <c:v>593369.18190000008</c:v>
                </c:pt>
                <c:pt idx="15">
                  <c:v>190007.0134</c:v>
                </c:pt>
                <c:pt idx="16">
                  <c:v>1570.7198000000001</c:v>
                </c:pt>
                <c:pt idx="17">
                  <c:v>36378.559800000003</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Truffe Boite 1X150Gr 1P</c:v>
                  </c:pt>
                  <c:pt idx="5">
                    <c:v>Boursin Classique Fromage Frais A Tartiner Figue Et 3 Noix Boite 1X150Gr 1P</c:v>
                  </c:pt>
                  <c:pt idx="6">
                    <c:v>Boursin Classique Fromage Frais A Tartiner 3 Noix Boite 1X150Gr 1P</c:v>
                  </c:pt>
                  <c:pt idx="7">
                    <c:v>Boursin Classique Fromage Frais A Tartiner 3 Noix 1X160Gr 10P</c:v>
                  </c:pt>
                  <c:pt idx="8">
                    <c:v>Boursin Salade &amp; Aperitif Fromage Frais Des Afh 1X120Gr 1P</c:v>
                  </c:pt>
                  <c:pt idx="9">
                    <c:v>Boursin Salade &amp; Aperitif Fromage Frais Des Figue Noix 1X120Gr 1P</c:v>
                  </c:pt>
                  <c:pt idx="10">
                    <c:v>Boursin Salade &amp; Aperitif Fromage Frais Des Noisette Et 3 Noix 1X120Gr 1P</c:v>
                  </c:pt>
                  <c:pt idx="11">
                    <c:v>Boursin Salade &amp; Aperitif Fromage Frais Des Ciboulette Echalote 1X120Gr 1P</c:v>
                  </c:pt>
                  <c:pt idx="12">
                    <c:v>Boursin Salade &amp; Aperitif Fromage Frais Des Citron Romarin 1X120Gr 1P</c:v>
                  </c:pt>
                  <c:pt idx="13">
                    <c:v>Boursin Classique Fromage Frais A Tartiner Afh Boite 1X96Gr 6P</c:v>
                  </c:pt>
                  <c:pt idx="14">
                    <c:v>Boursin Classique Fromage Frais A Tartiner Afh Boite 1X250Gr 1P</c:v>
                  </c:pt>
                  <c:pt idx="15">
                    <c:v>Boursin Onctueux Fromage Frais A Tartiner Afh 1X125Gr 1P</c:v>
                  </c:pt>
                  <c:pt idx="16">
                    <c:v>Boursin Onctueux Fromage Frais A Tartiner Afh 1X210Gr 1P</c:v>
                  </c:pt>
                  <c:pt idx="17">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4C9C675-2C22-487D-9045-81CCAB8455A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9B72B66-F0F5-46CF-9810-5F9DB5AC0FF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6BDA644-5E36-4226-9109-F2A3143E4C3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5CF9BEA-B4A4-4556-9E53-425E1AD0E77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E015657-4557-4A86-9638-680C8A68BB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4363BC2-D7E6-4E47-A4D4-8B0D6058C41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33F2263-7861-4766-A7EA-0197E0D5D23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06D86C8-7C6B-43FE-B959-280CCA0396A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C0621F6-532C-4F80-8B58-389586A5C8A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E4AAC0B-6A1E-4595-BC14-2BCEB2D4455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06</c:v>
                </c:pt>
                <c:pt idx="1">
                  <c:v>0.56000000000000005</c:v>
                </c:pt>
                <c:pt idx="2">
                  <c:v>0.96</c:v>
                </c:pt>
                <c:pt idx="3">
                  <c:v>0.27</c:v>
                </c:pt>
                <c:pt idx="4">
                  <c:v>0.71</c:v>
                </c:pt>
                <c:pt idx="5">
                  <c:v>0.02</c:v>
                </c:pt>
              </c:numCache>
            </c:numRef>
          </c:xVal>
          <c:yVal>
            <c:numRef>
              <c:f>Sheet1!$B$2:$B$7</c:f>
              <c:numCache>
                <c:formatCode>General</c:formatCode>
                <c:ptCount val="6"/>
                <c:pt idx="0">
                  <c:v>6803.333333333333</c:v>
                </c:pt>
                <c:pt idx="1">
                  <c:v>6336.7321428571422</c:v>
                </c:pt>
                <c:pt idx="2">
                  <c:v>24603.90625</c:v>
                </c:pt>
                <c:pt idx="3">
                  <c:v>4204.2222222222226</c:v>
                </c:pt>
                <c:pt idx="4">
                  <c:v>11954</c:v>
                </c:pt>
                <c:pt idx="5">
                  <c:v>7187</c:v>
                </c:pt>
              </c:numCache>
            </c:numRef>
          </c:yVal>
          <c:bubbleSize>
            <c:numRef>
              <c:f>Sheet1!$C$2:$C$7</c:f>
              <c:numCache>
                <c:formatCode>General</c:formatCode>
                <c:ptCount val="6"/>
                <c:pt idx="0">
                  <c:v>25453.1044</c:v>
                </c:pt>
                <c:pt idx="1">
                  <c:v>180235.58540000001</c:v>
                </c:pt>
                <c:pt idx="2">
                  <c:v>1310618.0515000001</c:v>
                </c:pt>
                <c:pt idx="3">
                  <c:v>61994.774900000011</c:v>
                </c:pt>
                <c:pt idx="4">
                  <c:v>386330.07020000002</c:v>
                </c:pt>
                <c:pt idx="5">
                  <c:v>8296.8222000000005</c:v>
                </c:pt>
              </c:numCache>
            </c:numRef>
          </c:bubbleSize>
          <c:bubble3D val="0"/>
          <c:extLst>
            <c:ext xmlns:c15="http://schemas.microsoft.com/office/drawing/2012/chart" uri="{02D57815-91ED-43cb-92C2-25804820EDAC}">
              <c15:datalabelsRange>
                <c15:f>Sheet1!$E$2:$E$21</c15:f>
                <c15:dlblRangeCache>
                  <c:ptCount val="20"/>
                  <c:pt idx="0">
                    <c:v>Kiri Creme Fromage Blanc Frais Carre 1X216Gr 12P</c:v>
                  </c:pt>
                  <c:pt idx="1">
                    <c:v>Kiri Delicieusement Fouette Fromage Frais A Tartiner 1X125Gr 1P</c:v>
                  </c:pt>
                  <c:pt idx="2">
                    <c:v>Kiri Creme Fromage Blanc Frais Carre 1X144Gr 8P</c:v>
                  </c:pt>
                  <c:pt idx="3">
                    <c:v>Kiri Delicieusement Fouette Fromage Frais A Tartiner 1X160Gr 10P</c:v>
                  </c:pt>
                  <c:pt idx="4">
                    <c:v>Kiri Gouter Fromage Blanc Dips Boite 1X175Gr 5P</c:v>
                  </c:pt>
                  <c:pt idx="5">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CA716BB-F9A5-42AF-AB00-47F37DF0B0B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605D6B9-84BC-45A7-9C5E-85B4B27D0E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6A2F287-8DB1-46D8-82D8-192658E75DF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10F8AF7-8910-49A9-A8AD-88EC1B916A3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7325494-3F5A-476E-9A80-42B5DFF9E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A86B7A8-35E0-466B-94AC-A7FAD82A766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8A2E9A0-8C3E-448E-9F34-404BFFBB3E8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0C4258E-810F-4C48-9D41-10AB786724F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D99462A-DEBA-4AAD-B488-C78E6D6A7B7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CF886D2-599B-4A46-9C84-E53BE80C81D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91</c:v>
                </c:pt>
                <c:pt idx="1">
                  <c:v>0.47</c:v>
                </c:pt>
                <c:pt idx="2">
                  <c:v>0.09</c:v>
                </c:pt>
                <c:pt idx="3">
                  <c:v>0.05</c:v>
                </c:pt>
                <c:pt idx="4">
                  <c:v>0.08</c:v>
                </c:pt>
                <c:pt idx="5">
                  <c:v>0.51</c:v>
                </c:pt>
              </c:numCache>
            </c:numRef>
          </c:xVal>
          <c:yVal>
            <c:numRef>
              <c:f>Sheet1!$B$2:$B$7</c:f>
              <c:numCache>
                <c:formatCode>General</c:formatCode>
                <c:ptCount val="6"/>
                <c:pt idx="0">
                  <c:v>30497.54945054945</c:v>
                </c:pt>
                <c:pt idx="1">
                  <c:v>28146.97872340426</c:v>
                </c:pt>
                <c:pt idx="2">
                  <c:v>14182</c:v>
                </c:pt>
                <c:pt idx="3">
                  <c:v>4702.2</c:v>
                </c:pt>
                <c:pt idx="4">
                  <c:v>3558.5</c:v>
                </c:pt>
                <c:pt idx="5">
                  <c:v>8683.745098039215</c:v>
                </c:pt>
              </c:numCache>
            </c:numRef>
          </c:yVal>
          <c:bubbleSize>
            <c:numRef>
              <c:f>Sheet1!$C$2:$C$7</c:f>
              <c:numCache>
                <c:formatCode>General</c:formatCode>
                <c:ptCount val="6"/>
                <c:pt idx="0">
                  <c:v>1428878.9875</c:v>
                </c:pt>
                <c:pt idx="1">
                  <c:v>713431.4463999999</c:v>
                </c:pt>
                <c:pt idx="2">
                  <c:v>63970.783399999993</c:v>
                </c:pt>
                <c:pt idx="3">
                  <c:v>9602.1797999999999</c:v>
                </c:pt>
                <c:pt idx="4">
                  <c:v>13063.788699999999</c:v>
                </c:pt>
                <c:pt idx="5">
                  <c:v>224893.63399999999</c:v>
                </c:pt>
              </c:numCache>
            </c:numRef>
          </c:bubbleSize>
          <c:bubble3D val="0"/>
          <c:extLst>
            <c:ext xmlns:c15="http://schemas.microsoft.com/office/drawing/2012/chart" uri="{02D57815-91ED-43cb-92C2-25804820EDAC}">
              <c15:datalabelsRange>
                <c15:f>Sheet1!$E$2:$E$21</c15:f>
                <c15:dlblRangeCache>
                  <c:ptCount val="20"/>
                  <c:pt idx="0">
                    <c:v>La Vache Qui Rit Nature Fromage Fondu Boite Ronde 1X192Gr 12P</c:v>
                  </c:pt>
                  <c:pt idx="1">
                    <c:v>La Vache Qui Rit Nature Fromage Fondu Boite Ronde 1X384Gr 24P</c:v>
                  </c:pt>
                  <c:pt idx="2">
                    <c:v>La Vache Qui Rit Nature Fromage Fondu Boite Ronde 1X128Gr 8P</c:v>
                  </c:pt>
                  <c:pt idx="3">
                    <c:v>La Vache Qui Rit Pik Et Croq' Fromage Fondu Dips Boite 1X35Gr 1P</c:v>
                  </c:pt>
                  <c:pt idx="4">
                    <c:v>La Vache Qui Rit Bio Fromage Fondu Boite Ronde 1X128Gr 8P</c:v>
                  </c:pt>
                  <c:pt idx="5">
                    <c:v>La Vache Qui Rit Pik Et Croq' Fromage Fondu Dips Boite 1X175Gr 5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E1B6B7D-913C-4F1A-B445-42D8B10D40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2AF6ECD-C319-4784-8E6D-DFEEDB7BED0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EF1FC79-EEB8-4F64-8741-F9E5E93B5B9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1D22E6F-3627-4ECD-9D2C-CEE7483D4BA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350C79D-ACD8-4360-A377-ACC5B9B97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A463429-4F9E-4733-9569-42C8CE4C196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60E7EFB-58A8-49E0-A9FA-2FCDD46E79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83F0C27-DFB8-4C3E-8AB5-FF8CCF540E1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5F352EE-FDFA-4D23-AFCC-F63C8400479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C53B84C-6336-4E11-B26F-F8D7331E010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53</c:v>
                </c:pt>
                <c:pt idx="1">
                  <c:v>0.83</c:v>
                </c:pt>
                <c:pt idx="2">
                  <c:v>0.08</c:v>
                </c:pt>
                <c:pt idx="3">
                  <c:v>0.1</c:v>
                </c:pt>
                <c:pt idx="4">
                  <c:v>0.79</c:v>
                </c:pt>
                <c:pt idx="5">
                  <c:v>0.11</c:v>
                </c:pt>
                <c:pt idx="6">
                  <c:v>0.12</c:v>
                </c:pt>
              </c:numCache>
            </c:numRef>
          </c:xVal>
          <c:yVal>
            <c:numRef>
              <c:f>Sheet1!$B$2:$B$8</c:f>
              <c:numCache>
                <c:formatCode>General</c:formatCode>
                <c:ptCount val="7"/>
                <c:pt idx="0">
                  <c:v>13191.32075471698</c:v>
                </c:pt>
                <c:pt idx="1">
                  <c:v>15938.25301204819</c:v>
                </c:pt>
                <c:pt idx="2">
                  <c:v>5998.125</c:v>
                </c:pt>
                <c:pt idx="3">
                  <c:v>456.8</c:v>
                </c:pt>
                <c:pt idx="4">
                  <c:v>7412.0886075949365</c:v>
                </c:pt>
                <c:pt idx="5">
                  <c:v>1914.818181818182</c:v>
                </c:pt>
                <c:pt idx="6">
                  <c:v>3634.833333333333</c:v>
                </c:pt>
              </c:numCache>
            </c:numRef>
          </c:yVal>
          <c:bubbleSize>
            <c:numRef>
              <c:f>Sheet1!$C$2:$C$8</c:f>
              <c:numCache>
                <c:formatCode>General</c:formatCode>
                <c:ptCount val="7"/>
                <c:pt idx="0">
                  <c:v>406219.11790000001</c:v>
                </c:pt>
                <c:pt idx="1">
                  <c:v>721435.53999999992</c:v>
                </c:pt>
                <c:pt idx="2">
                  <c:v>23024.1188</c:v>
                </c:pt>
                <c:pt idx="3">
                  <c:v>2645.9699000000001</c:v>
                </c:pt>
                <c:pt idx="4">
                  <c:v>270415.65699999989</c:v>
                </c:pt>
                <c:pt idx="5">
                  <c:v>11168.7999</c:v>
                </c:pt>
                <c:pt idx="6">
                  <c:v>23839.869699999999</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Truffe Boite 1X150Gr 1P</c:v>
                  </c:pt>
                  <c:pt idx="4">
                    <c:v>Boursin Salade &amp; Aperitif Fromage Frais Des Afh 1X120Gr 1P</c:v>
                  </c:pt>
                  <c:pt idx="5">
                    <c:v>Boursin Classique Fromage Frais A Tartiner Afh Boite 1X80Gr 1P</c:v>
                  </c:pt>
                  <c:pt idx="6">
                    <c:v>Boursin Classique Fromage Frais A Tartiner Afh Boite 1X96Gr 6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794A44C-F2A0-4747-B4C2-11770882B3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7067C3B-BDAE-444C-8BC1-69969F35C2D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51B0A47-7AA9-4147-9990-3644F9F360C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C3F4683-7AB8-4820-9F03-743AE861AE6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A082208-CB60-4C1E-A2FD-F083152297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4250317-26D0-4CA1-98B5-9E544DBBF2D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D5CB46B-80CB-428C-971E-7ABD08495DD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D8C2558-1CD8-4B44-B2D5-DC791224B4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FCDD273-CB30-4EE9-B13B-45504A3BD46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C6ECFAD-8CA8-4B07-B606-1A502C89ECF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89</c:v>
                </c:pt>
                <c:pt idx="1">
                  <c:v>0.99</c:v>
                </c:pt>
                <c:pt idx="2">
                  <c:v>0.87</c:v>
                </c:pt>
                <c:pt idx="3">
                  <c:v>0.38</c:v>
                </c:pt>
                <c:pt idx="4">
                  <c:v>0.83</c:v>
                </c:pt>
                <c:pt idx="5">
                  <c:v>0.99</c:v>
                </c:pt>
                <c:pt idx="6">
                  <c:v>0.6</c:v>
                </c:pt>
                <c:pt idx="7">
                  <c:v>0.94</c:v>
                </c:pt>
                <c:pt idx="8">
                  <c:v>0.99</c:v>
                </c:pt>
                <c:pt idx="9">
                  <c:v>0.96</c:v>
                </c:pt>
                <c:pt idx="10">
                  <c:v>0.68</c:v>
                </c:pt>
              </c:numCache>
            </c:numRef>
          </c:xVal>
          <c:yVal>
            <c:numRef>
              <c:f>Sheet1!$B$2:$B$12</c:f>
              <c:numCache>
                <c:formatCode>General</c:formatCode>
                <c:ptCount val="11"/>
                <c:pt idx="0">
                  <c:v>32269.033707865168</c:v>
                </c:pt>
                <c:pt idx="1">
                  <c:v>33468.141414141413</c:v>
                </c:pt>
                <c:pt idx="2">
                  <c:v>4455.9195402298847</c:v>
                </c:pt>
                <c:pt idx="3">
                  <c:v>372.55263157894728</c:v>
                </c:pt>
                <c:pt idx="4">
                  <c:v>2418.6506024096379</c:v>
                </c:pt>
                <c:pt idx="5">
                  <c:v>18609.404040404039</c:v>
                </c:pt>
                <c:pt idx="6">
                  <c:v>5208.2666666666664</c:v>
                </c:pt>
                <c:pt idx="7">
                  <c:v>2162.5319148936169</c:v>
                </c:pt>
                <c:pt idx="8">
                  <c:v>14583.53535353535</c:v>
                </c:pt>
                <c:pt idx="9">
                  <c:v>20546</c:v>
                </c:pt>
                <c:pt idx="10">
                  <c:v>4180.2941176470586</c:v>
                </c:pt>
              </c:numCache>
            </c:numRef>
          </c:yVal>
          <c:bubbleSize>
            <c:numRef>
              <c:f>Sheet1!$C$2:$C$12</c:f>
              <c:numCache>
                <c:formatCode>General</c:formatCode>
                <c:ptCount val="11"/>
                <c:pt idx="0">
                  <c:v>1778045.8265</c:v>
                </c:pt>
                <c:pt idx="1">
                  <c:v>2125742.0899999989</c:v>
                </c:pt>
                <c:pt idx="2">
                  <c:v>199779.41380000001</c:v>
                </c:pt>
                <c:pt idx="3">
                  <c:v>6682.76</c:v>
                </c:pt>
                <c:pt idx="4">
                  <c:v>137063.24</c:v>
                </c:pt>
                <c:pt idx="5">
                  <c:v>1145425.8885999999</c:v>
                </c:pt>
                <c:pt idx="6">
                  <c:v>155551.09090000001</c:v>
                </c:pt>
                <c:pt idx="7">
                  <c:v>113028.4296</c:v>
                </c:pt>
                <c:pt idx="8">
                  <c:v>868378.01190000016</c:v>
                </c:pt>
                <c:pt idx="9">
                  <c:v>1189534.4426</c:v>
                </c:pt>
                <c:pt idx="10">
                  <c:v>136467.6223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pt idx="10">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F1D7629-72C3-4F25-BFE6-BFFB29FA968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29079E1-A9B4-4D6E-878A-9A33A6D887C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DA731E7-F172-4832-80AB-37C1BE9EAE9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027D68D-0283-486D-9035-5BA5F813D5A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75CDE46-1AE4-4C6D-B88F-D228E878BD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5FB3770-056D-4D18-B260-6CB39E1D0EF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9255D85-AEE8-4920-9A0D-5D0A3A3F7DE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DC9D6CB-3645-4348-8A48-B46D5118218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E94D363-23EE-4119-9376-6A3FE6ED8D0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E2F2A43-EB00-4845-92BA-815F25FE86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69</c:v>
                </c:pt>
                <c:pt idx="1">
                  <c:v>1</c:v>
                </c:pt>
                <c:pt idx="2">
                  <c:v>0.25</c:v>
                </c:pt>
                <c:pt idx="3">
                  <c:v>0.97</c:v>
                </c:pt>
                <c:pt idx="4">
                  <c:v>0.98</c:v>
                </c:pt>
                <c:pt idx="5">
                  <c:v>0.87</c:v>
                </c:pt>
                <c:pt idx="6">
                  <c:v>0.97</c:v>
                </c:pt>
                <c:pt idx="7">
                  <c:v>0.89</c:v>
                </c:pt>
              </c:numCache>
            </c:numRef>
          </c:xVal>
          <c:yVal>
            <c:numRef>
              <c:f>Sheet1!$B$2:$B$9</c:f>
              <c:numCache>
                <c:formatCode>General</c:formatCode>
                <c:ptCount val="8"/>
                <c:pt idx="0">
                  <c:v>5071.260869565217</c:v>
                </c:pt>
                <c:pt idx="1">
                  <c:v>45209.37</c:v>
                </c:pt>
                <c:pt idx="2">
                  <c:v>990.84</c:v>
                </c:pt>
                <c:pt idx="3">
                  <c:v>38529.474226804123</c:v>
                </c:pt>
                <c:pt idx="4">
                  <c:v>58923.051020408173</c:v>
                </c:pt>
                <c:pt idx="5">
                  <c:v>7595.7816091954019</c:v>
                </c:pt>
                <c:pt idx="6">
                  <c:v>10108</c:v>
                </c:pt>
                <c:pt idx="7">
                  <c:v>10818.426966292131</c:v>
                </c:pt>
              </c:numCache>
            </c:numRef>
          </c:yVal>
          <c:bubbleSize>
            <c:numRef>
              <c:f>Sheet1!$C$2:$C$9</c:f>
              <c:numCache>
                <c:formatCode>General</c:formatCode>
                <c:ptCount val="8"/>
                <c:pt idx="0">
                  <c:v>149402.61679999999</c:v>
                </c:pt>
                <c:pt idx="1">
                  <c:v>2588083.3026000001</c:v>
                </c:pt>
                <c:pt idx="2">
                  <c:v>17714.815999999999</c:v>
                </c:pt>
                <c:pt idx="3">
                  <c:v>2286448.1486</c:v>
                </c:pt>
                <c:pt idx="4">
                  <c:v>3717874.867000001</c:v>
                </c:pt>
                <c:pt idx="5">
                  <c:v>357809.57189999998</c:v>
                </c:pt>
                <c:pt idx="6">
                  <c:v>539914.27400000009</c:v>
                </c:pt>
                <c:pt idx="7">
                  <c:v>462723.12060000002</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Pik Et Croq' Fromage Fondu Dips Boite 1X175Gr 5P</c:v>
                  </c:pt>
                  <c:pt idx="7">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7849864-2B03-41D4-88F7-0D4BFADF55B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8286AFF-A441-4DCE-9C27-99E6E52E49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3828E1A-862C-4C63-B2EE-DE600EFCE03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102C43C-A068-4595-8581-114EE5D5DAB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350F046-4EE4-4248-A917-960B1D62B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5112B5A-EF07-4AE2-87DB-DAC42C89462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7577B41-D351-4968-A80F-028C075BA89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39FA02D-E617-4820-A725-6ADC6134D73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D9AB572-80A3-4F13-AD9D-94914343F9C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5CC3827-9B0A-41AB-8D98-BA00CEDD4BA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9</c:f>
              <c:numCache>
                <c:formatCode>General</c:formatCode>
                <c:ptCount val="18"/>
                <c:pt idx="0">
                  <c:v>0.99</c:v>
                </c:pt>
                <c:pt idx="1">
                  <c:v>1</c:v>
                </c:pt>
                <c:pt idx="2">
                  <c:v>0.99</c:v>
                </c:pt>
                <c:pt idx="3">
                  <c:v>0.7</c:v>
                </c:pt>
                <c:pt idx="4">
                  <c:v>0.99</c:v>
                </c:pt>
                <c:pt idx="5">
                  <c:v>0.98</c:v>
                </c:pt>
                <c:pt idx="6">
                  <c:v>0.88</c:v>
                </c:pt>
                <c:pt idx="7">
                  <c:v>0.83</c:v>
                </c:pt>
                <c:pt idx="8">
                  <c:v>0.86</c:v>
                </c:pt>
                <c:pt idx="9">
                  <c:v>0.67</c:v>
                </c:pt>
                <c:pt idx="10">
                  <c:v>0.28999999999999998</c:v>
                </c:pt>
                <c:pt idx="11">
                  <c:v>0.96</c:v>
                </c:pt>
                <c:pt idx="12">
                  <c:v>0.96</c:v>
                </c:pt>
                <c:pt idx="13">
                  <c:v>0.87</c:v>
                </c:pt>
                <c:pt idx="14">
                  <c:v>0.83</c:v>
                </c:pt>
                <c:pt idx="15">
                  <c:v>0.99</c:v>
                </c:pt>
                <c:pt idx="16">
                  <c:v>0.97</c:v>
                </c:pt>
                <c:pt idx="17">
                  <c:v>0.4</c:v>
                </c:pt>
              </c:numCache>
            </c:numRef>
          </c:xVal>
          <c:yVal>
            <c:numRef>
              <c:f>Sheet1!$B$2:$B$19</c:f>
              <c:numCache>
                <c:formatCode>General</c:formatCode>
                <c:ptCount val="18"/>
                <c:pt idx="0">
                  <c:v>20176.727272727268</c:v>
                </c:pt>
                <c:pt idx="1">
                  <c:v>17911.57</c:v>
                </c:pt>
                <c:pt idx="2">
                  <c:v>6243.6868686868684</c:v>
                </c:pt>
                <c:pt idx="3">
                  <c:v>464.81428571428569</c:v>
                </c:pt>
                <c:pt idx="4">
                  <c:v>7410.2828282828286</c:v>
                </c:pt>
                <c:pt idx="5">
                  <c:v>8367.6530612244896</c:v>
                </c:pt>
                <c:pt idx="6">
                  <c:v>1613.590909090909</c:v>
                </c:pt>
                <c:pt idx="7">
                  <c:v>833.73493975903614</c:v>
                </c:pt>
                <c:pt idx="8">
                  <c:v>2456.744186046511</c:v>
                </c:pt>
                <c:pt idx="9">
                  <c:v>1204.2388059701491</c:v>
                </c:pt>
                <c:pt idx="10">
                  <c:v>2016.5862068965521</c:v>
                </c:pt>
                <c:pt idx="11">
                  <c:v>5263.666666666667</c:v>
                </c:pt>
                <c:pt idx="12">
                  <c:v>8247.1458333333339</c:v>
                </c:pt>
                <c:pt idx="13">
                  <c:v>6186.2183908045981</c:v>
                </c:pt>
                <c:pt idx="14">
                  <c:v>4356.8433734939763</c:v>
                </c:pt>
                <c:pt idx="15">
                  <c:v>20997.565656565661</c:v>
                </c:pt>
                <c:pt idx="16">
                  <c:v>8871.6082474226805</c:v>
                </c:pt>
                <c:pt idx="17">
                  <c:v>880.45</c:v>
                </c:pt>
              </c:numCache>
            </c:numRef>
          </c:yVal>
          <c:bubbleSize>
            <c:numRef>
              <c:f>Sheet1!$C$2:$C$19</c:f>
              <c:numCache>
                <c:formatCode>General</c:formatCode>
                <c:ptCount val="18"/>
                <c:pt idx="0">
                  <c:v>1224973.68</c:v>
                </c:pt>
                <c:pt idx="1">
                  <c:v>1096294.7178</c:v>
                </c:pt>
                <c:pt idx="2">
                  <c:v>339346.78419999999</c:v>
                </c:pt>
                <c:pt idx="3">
                  <c:v>14817.7163</c:v>
                </c:pt>
                <c:pt idx="4">
                  <c:v>418897.6237</c:v>
                </c:pt>
                <c:pt idx="5">
                  <c:v>441863.44069999998</c:v>
                </c:pt>
                <c:pt idx="6">
                  <c:v>82714.662700000001</c:v>
                </c:pt>
                <c:pt idx="7">
                  <c:v>41666.6322</c:v>
                </c:pt>
                <c:pt idx="8">
                  <c:v>116024.16160000001</c:v>
                </c:pt>
                <c:pt idx="9">
                  <c:v>39235.070699999997</c:v>
                </c:pt>
                <c:pt idx="10">
                  <c:v>33307.8298</c:v>
                </c:pt>
                <c:pt idx="11">
                  <c:v>294577.11560000002</c:v>
                </c:pt>
                <c:pt idx="12">
                  <c:v>450695.54549999989</c:v>
                </c:pt>
                <c:pt idx="13">
                  <c:v>311829.70500000002</c:v>
                </c:pt>
                <c:pt idx="14">
                  <c:v>193324.87390000001</c:v>
                </c:pt>
                <c:pt idx="15">
                  <c:v>1242326.0164999999</c:v>
                </c:pt>
                <c:pt idx="16">
                  <c:v>419337.32809999993</c:v>
                </c:pt>
                <c:pt idx="17">
                  <c:v>17448.064399999999</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Truffe Boite 1X150Gr 1P</c:v>
                  </c:pt>
                  <c:pt idx="4">
                    <c:v>Boursin Classique Fromage Frais A Tartiner Figue Et 3 Noix Boite 1X150Gr 1P</c:v>
                  </c:pt>
                  <c:pt idx="5">
                    <c:v>Boursin Salade &amp; Aperitif Fromage Frais Des Afh 1X120Gr 1P</c:v>
                  </c:pt>
                  <c:pt idx="6">
                    <c:v>Boursin Salade &amp; Aperitif Fromage Frais Des Figue Noix 1X120Gr 1P</c:v>
                  </c:pt>
                  <c:pt idx="7">
                    <c:v>Boursin Salade &amp; Aperitif Fromage Frais Des Noisette Et 3 Noix 1X120Gr 1P</c:v>
                  </c:pt>
                  <c:pt idx="8">
                    <c:v>Boursin Salade &amp; Aperitif Fromage Frais Des Ciboulette Echalote 1X120Gr 1P</c:v>
                  </c:pt>
                  <c:pt idx="9">
                    <c:v>Boursin Salade &amp; Aperitif Fromage Frais Des Citron Romarin 1X120Gr 1P</c:v>
                  </c:pt>
                  <c:pt idx="10">
                    <c:v>Boursin Classique Fromage Frais A Tartiner Afh Boite 1X80Gr 1P</c:v>
                  </c:pt>
                  <c:pt idx="11">
                    <c:v>Boursin Classique Fromage Frais A Tartiner Poivre Boite 1X150Gr 1P</c:v>
                  </c:pt>
                  <c:pt idx="12">
                    <c:v>Boursin Classique Fromage Frais A Tartiner Afh Boite 1X96Gr 6P</c:v>
                  </c:pt>
                  <c:pt idx="13">
                    <c:v>Boursin Classique Fromage Frais A Tartiner Afh 1X256Gr 16P</c:v>
                  </c:pt>
                  <c:pt idx="14">
                    <c:v>Boursin Classique Fromage Frais A Tartiner Ciboulette &amp; Echalote 1X160Gr 10P</c:v>
                  </c:pt>
                  <c:pt idx="15">
                    <c:v>Boursin Classique Fromage Frais A Tartiner Afh Boite 1X250Gr 1P</c:v>
                  </c:pt>
                  <c:pt idx="16">
                    <c:v>Boursin Onctueux Fromage Frais A Tartiner Afh 1X125Gr 1P</c:v>
                  </c:pt>
                  <c:pt idx="17">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C1C1FC9-01E0-4A50-A9B1-F522450236D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C990B39-A0D7-49DA-82E5-6649CF79545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F7D9FEE-562E-4EE6-8771-58ACC820EE7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389F34A-3B70-42FF-A2A8-48A7F115137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233B920-C58F-4B8F-95AF-C540022E3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1700CAB-A002-401B-AEBC-68307860509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96E07A9-EB15-4F13-8F73-EA0A5058EB0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7E2A3F1-8AFB-4B9F-BD52-975C8448FF9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76E8D9E-749E-4C09-80B6-B75DBF5EAB7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BDC7494-0A87-4B19-B840-1DD9928AA51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99</c:v>
                </c:pt>
                <c:pt idx="1">
                  <c:v>1</c:v>
                </c:pt>
                <c:pt idx="2">
                  <c:v>0.99</c:v>
                </c:pt>
                <c:pt idx="3">
                  <c:v>0.64</c:v>
                </c:pt>
                <c:pt idx="4">
                  <c:v>0.94</c:v>
                </c:pt>
                <c:pt idx="5">
                  <c:v>1</c:v>
                </c:pt>
                <c:pt idx="6">
                  <c:v>0.87</c:v>
                </c:pt>
                <c:pt idx="7">
                  <c:v>0.98</c:v>
                </c:pt>
                <c:pt idx="8">
                  <c:v>1</c:v>
                </c:pt>
                <c:pt idx="9">
                  <c:v>0.99</c:v>
                </c:pt>
                <c:pt idx="10">
                  <c:v>0.88</c:v>
                </c:pt>
              </c:numCache>
            </c:numRef>
          </c:xVal>
          <c:yVal>
            <c:numRef>
              <c:f>Sheet1!$B$2:$B$12</c:f>
              <c:numCache>
                <c:formatCode>General</c:formatCode>
                <c:ptCount val="11"/>
                <c:pt idx="0">
                  <c:v>5970.0202020202023</c:v>
                </c:pt>
                <c:pt idx="1">
                  <c:v>5841.94</c:v>
                </c:pt>
                <c:pt idx="2">
                  <c:v>772.49494949494954</c:v>
                </c:pt>
                <c:pt idx="3">
                  <c:v>58.203125</c:v>
                </c:pt>
                <c:pt idx="4">
                  <c:v>409.38297872340428</c:v>
                </c:pt>
                <c:pt idx="5">
                  <c:v>2915.26</c:v>
                </c:pt>
                <c:pt idx="6">
                  <c:v>698.28735632183907</c:v>
                </c:pt>
                <c:pt idx="7">
                  <c:v>474.73469387755102</c:v>
                </c:pt>
                <c:pt idx="8">
                  <c:v>2549.27</c:v>
                </c:pt>
                <c:pt idx="9">
                  <c:v>3761.1111111111109</c:v>
                </c:pt>
                <c:pt idx="10">
                  <c:v>614.63636363636363</c:v>
                </c:pt>
              </c:numCache>
            </c:numRef>
          </c:yVal>
          <c:bubbleSize>
            <c:numRef>
              <c:f>Sheet1!$C$2:$C$12</c:f>
              <c:numCache>
                <c:formatCode>General</c:formatCode>
                <c:ptCount val="11"/>
                <c:pt idx="0">
                  <c:v>370398.33669999999</c:v>
                </c:pt>
                <c:pt idx="1">
                  <c:v>378320.91930000001</c:v>
                </c:pt>
                <c:pt idx="2">
                  <c:v>40723.595600000001</c:v>
                </c:pt>
                <c:pt idx="3">
                  <c:v>1807.5119999999999</c:v>
                </c:pt>
                <c:pt idx="4">
                  <c:v>26351.341199999999</c:v>
                </c:pt>
                <c:pt idx="5">
                  <c:v>184535.56640000001</c:v>
                </c:pt>
                <c:pt idx="6">
                  <c:v>31463.4509</c:v>
                </c:pt>
                <c:pt idx="7">
                  <c:v>23196.938999999998</c:v>
                </c:pt>
                <c:pt idx="8">
                  <c:v>157253.7329</c:v>
                </c:pt>
                <c:pt idx="9">
                  <c:v>232148.01389999999</c:v>
                </c:pt>
                <c:pt idx="10">
                  <c:v>26698.09019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Creme Fromage Blanc Frais Carre 1X432Gr 18+6P</c:v>
                  </c:pt>
                  <c:pt idx="5">
                    <c:v>Kiri Creme Fromage Blanc Frais Carre 1X144Gr 8P</c:v>
                  </c:pt>
                  <c:pt idx="6">
                    <c:v>Kiri Bio Fromage Blanc Frais Carre 1X144Gr 8P</c:v>
                  </c:pt>
                  <c:pt idx="7">
                    <c:v>Kiri Delicieusement Fouette Fromage Frais A Tartiner 1X160Gr 10P</c:v>
                  </c:pt>
                  <c:pt idx="8">
                    <c:v>Kiri Gouter Fromage Blanc Dips Boite 1X175Gr 5P</c:v>
                  </c:pt>
                  <c:pt idx="9">
                    <c:v>Kiri Gouter Fromage Blanc Dips Boite 1X280Gr 8P</c:v>
                  </c:pt>
                  <c:pt idx="10">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aysan Breton</c:v>
                </c:pt>
                <c:pt idx="2">
                  <c:v>Private Label</c:v>
                </c:pt>
                <c:pt idx="3">
                  <c:v>Tartare</c:v>
                </c:pt>
                <c:pt idx="4">
                  <c:v>Boursin</c:v>
                </c:pt>
                <c:pt idx="5">
                  <c:v>Carre Frais</c:v>
                </c:pt>
                <c:pt idx="6">
                  <c:v>Philadelphia</c:v>
                </c:pt>
                <c:pt idx="7">
                  <c:v>Kiri</c:v>
                </c:pt>
                <c:pt idx="8">
                  <c:v>Rondele</c:v>
                </c:pt>
                <c:pt idx="9">
                  <c:v>Others</c:v>
                </c:pt>
              </c:strCache>
            </c:strRef>
          </c:cat>
          <c:val>
            <c:numRef>
              <c:f>Sheet1!$B$2:$B$11</c:f>
              <c:numCache>
                <c:formatCode>General</c:formatCode>
                <c:ptCount val="10"/>
                <c:pt idx="0">
                  <c:v>0.27075427139184916</c:v>
                </c:pt>
                <c:pt idx="1">
                  <c:v>0.13612791406353675</c:v>
                </c:pt>
                <c:pt idx="2">
                  <c:v>0.13087169912234742</c:v>
                </c:pt>
                <c:pt idx="3">
                  <c:v>0.11763975222922306</c:v>
                </c:pt>
                <c:pt idx="4">
                  <c:v>0.11099385009924465</c:v>
                </c:pt>
                <c:pt idx="5">
                  <c:v>8.2179566453576047E-2</c:v>
                </c:pt>
                <c:pt idx="6">
                  <c:v>6.9705557417695116E-2</c:v>
                </c:pt>
                <c:pt idx="7">
                  <c:v>1.3561061572820884E-2</c:v>
                </c:pt>
                <c:pt idx="8">
                  <c:v>1.2968094490742477E-2</c:v>
                </c:pt>
                <c:pt idx="9">
                  <c:v>5.519823315896446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aysan Breton</c:v>
                </c:pt>
                <c:pt idx="2">
                  <c:v>Private Label</c:v>
                </c:pt>
                <c:pt idx="3">
                  <c:v>Tartare</c:v>
                </c:pt>
                <c:pt idx="4">
                  <c:v>Boursin</c:v>
                </c:pt>
                <c:pt idx="5">
                  <c:v>Carre Frais</c:v>
                </c:pt>
                <c:pt idx="6">
                  <c:v>Philadelphia</c:v>
                </c:pt>
                <c:pt idx="7">
                  <c:v>Kiri</c:v>
                </c:pt>
                <c:pt idx="8">
                  <c:v>Rondele</c:v>
                </c:pt>
                <c:pt idx="9">
                  <c:v>Others</c:v>
                </c:pt>
              </c:strCache>
            </c:strRef>
          </c:cat>
          <c:val>
            <c:numRef>
              <c:f>Sheet1!$C$2:$C$11</c:f>
              <c:numCache>
                <c:formatCode>General</c:formatCode>
                <c:ptCount val="10"/>
                <c:pt idx="0">
                  <c:v>0.18985233707116683</c:v>
                </c:pt>
                <c:pt idx="1">
                  <c:v>0.10691684245586765</c:v>
                </c:pt>
                <c:pt idx="2">
                  <c:v>0.10025535694459864</c:v>
                </c:pt>
                <c:pt idx="3">
                  <c:v>0.11479960031086929</c:v>
                </c:pt>
                <c:pt idx="4">
                  <c:v>0.14932830021094701</c:v>
                </c:pt>
                <c:pt idx="5">
                  <c:v>3.6083046519373808E-2</c:v>
                </c:pt>
                <c:pt idx="6">
                  <c:v>5.7288775396913509E-2</c:v>
                </c:pt>
                <c:pt idx="7">
                  <c:v>3.1420006661485506E-2</c:v>
                </c:pt>
                <c:pt idx="8">
                  <c:v>4.5409126235150428E-2</c:v>
                </c:pt>
                <c:pt idx="9">
                  <c:v>0.1686466081936271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aysan Breton</c:v>
                </c:pt>
                <c:pt idx="2">
                  <c:v>Private Label</c:v>
                </c:pt>
                <c:pt idx="3">
                  <c:v>Tartare</c:v>
                </c:pt>
                <c:pt idx="4">
                  <c:v>Boursin</c:v>
                </c:pt>
                <c:pt idx="5">
                  <c:v>Carre Frais</c:v>
                </c:pt>
                <c:pt idx="6">
                  <c:v>Philadelphia</c:v>
                </c:pt>
                <c:pt idx="7">
                  <c:v>Kiri</c:v>
                </c:pt>
                <c:pt idx="8">
                  <c:v>Rondele</c:v>
                </c:pt>
                <c:pt idx="9">
                  <c:v>Others</c:v>
                </c:pt>
              </c:strCache>
            </c:strRef>
          </c:cat>
          <c:val>
            <c:numRef>
              <c:f>Sheet1!$D$2:$D$11</c:f>
              <c:numCache>
                <c:formatCode>General</c:formatCode>
                <c:ptCount val="10"/>
                <c:pt idx="0">
                  <c:v>70.119793898432363</c:v>
                </c:pt>
                <c:pt idx="1">
                  <c:v>78.541453596332161</c:v>
                </c:pt>
                <c:pt idx="2">
                  <c:v>76.605834276571429</c:v>
                </c:pt>
                <c:pt idx="3">
                  <c:v>97.585720928058677</c:v>
                </c:pt>
                <c:pt idx="4">
                  <c:v>134.53745417194355</c:v>
                </c:pt>
                <c:pt idx="5">
                  <c:v>43.907564953822721</c:v>
                </c:pt>
                <c:pt idx="6">
                  <c:v>82.18681195478176</c:v>
                </c:pt>
                <c:pt idx="7">
                  <c:v>231.69282502527358</c:v>
                </c:pt>
                <c:pt idx="8">
                  <c:v>350.16035908410907</c:v>
                </c:pt>
                <c:pt idx="9">
                  <c:v>305.5289971110934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856FDCF-41DA-4CD1-9662-FC7119AA0D1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2930266-D531-428A-93F0-9811B084CAD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1CA16B0-22C9-4BBD-A4A1-C5649BC32E7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4CF6A96-1772-464E-8BC9-C4B72FA4199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4710194-4D37-49E5-ADB1-15A0DF133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56DF77B-9C64-4E92-9808-1EDE5066C6F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93CF748-CA25-497B-B7DC-E3CC44F59F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8675E48-D85E-44C8-A1B4-8DFE8A00EC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D287697-904E-4C65-A933-9E6570CB818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02C1334-5770-4B48-894C-ACEACD56993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92</c:v>
                </c:pt>
                <c:pt idx="1">
                  <c:v>1</c:v>
                </c:pt>
                <c:pt idx="2">
                  <c:v>0.32</c:v>
                </c:pt>
                <c:pt idx="3">
                  <c:v>1</c:v>
                </c:pt>
                <c:pt idx="4">
                  <c:v>0.99</c:v>
                </c:pt>
                <c:pt idx="5">
                  <c:v>0.97</c:v>
                </c:pt>
                <c:pt idx="6">
                  <c:v>0.99</c:v>
                </c:pt>
                <c:pt idx="7">
                  <c:v>0.98</c:v>
                </c:pt>
              </c:numCache>
            </c:numRef>
          </c:xVal>
          <c:yVal>
            <c:numRef>
              <c:f>Sheet1!$B$2:$B$9</c:f>
              <c:numCache>
                <c:formatCode>General</c:formatCode>
                <c:ptCount val="8"/>
                <c:pt idx="0">
                  <c:v>817.85869565217388</c:v>
                </c:pt>
                <c:pt idx="1">
                  <c:v>7702.77</c:v>
                </c:pt>
                <c:pt idx="2">
                  <c:v>177.34375</c:v>
                </c:pt>
                <c:pt idx="3">
                  <c:v>6931.8</c:v>
                </c:pt>
                <c:pt idx="4">
                  <c:v>11429.494949494951</c:v>
                </c:pt>
                <c:pt idx="5">
                  <c:v>1169.907216494845</c:v>
                </c:pt>
                <c:pt idx="6">
                  <c:v>2091.7979797979801</c:v>
                </c:pt>
                <c:pt idx="7">
                  <c:v>2261.1836734693879</c:v>
                </c:pt>
              </c:numCache>
            </c:numRef>
          </c:yVal>
          <c:bubbleSize>
            <c:numRef>
              <c:f>Sheet1!$C$2:$C$9</c:f>
              <c:numCache>
                <c:formatCode>General</c:formatCode>
                <c:ptCount val="8"/>
                <c:pt idx="0">
                  <c:v>32294.258999999998</c:v>
                </c:pt>
                <c:pt idx="1">
                  <c:v>438659.83460000012</c:v>
                </c:pt>
                <c:pt idx="2">
                  <c:v>4028.5585999999998</c:v>
                </c:pt>
                <c:pt idx="3">
                  <c:v>424371.35280000011</c:v>
                </c:pt>
                <c:pt idx="4">
                  <c:v>711959.80920000002</c:v>
                </c:pt>
                <c:pt idx="5">
                  <c:v>62773.410600000003</c:v>
                </c:pt>
                <c:pt idx="6">
                  <c:v>114703.4375</c:v>
                </c:pt>
                <c:pt idx="7">
                  <c:v>107086.9621</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Pik Et Croq' Fromage Fondu Dips Boite 1X175Gr 5P</c:v>
                  </c:pt>
                  <c:pt idx="7">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8B345C7-A612-427C-8038-FF2614A3B9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0DCE815-7D2C-49C9-94DB-E425513A4D9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67558F3-CF0B-44CF-A9C2-8FD883C259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CE7143B-FA29-4D50-BE6C-AB47FE3054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92F0E25-DA5C-479D-9BAA-826C77FBA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F6776F6-800C-4688-ACF3-D7DB3B11544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7FBE8F1-52D5-4E27-8199-E69345E193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067232F-D0E9-4827-B4FA-6EF80AFE681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DD03A13-572F-4485-8B41-405763B50C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898F011-F9AB-4BF0-9D6E-A92A0FB5C9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9</c:f>
              <c:numCache>
                <c:formatCode>General</c:formatCode>
                <c:ptCount val="18"/>
                <c:pt idx="0">
                  <c:v>1</c:v>
                </c:pt>
                <c:pt idx="1">
                  <c:v>1</c:v>
                </c:pt>
                <c:pt idx="2">
                  <c:v>1</c:v>
                </c:pt>
                <c:pt idx="3">
                  <c:v>0.92</c:v>
                </c:pt>
                <c:pt idx="4">
                  <c:v>1</c:v>
                </c:pt>
                <c:pt idx="5">
                  <c:v>1</c:v>
                </c:pt>
                <c:pt idx="6">
                  <c:v>0.97</c:v>
                </c:pt>
                <c:pt idx="7">
                  <c:v>0.99</c:v>
                </c:pt>
                <c:pt idx="8">
                  <c:v>0.95</c:v>
                </c:pt>
                <c:pt idx="9">
                  <c:v>0.93</c:v>
                </c:pt>
                <c:pt idx="10">
                  <c:v>0.7</c:v>
                </c:pt>
                <c:pt idx="11">
                  <c:v>0.99</c:v>
                </c:pt>
                <c:pt idx="12">
                  <c:v>0.99</c:v>
                </c:pt>
                <c:pt idx="13">
                  <c:v>0.99</c:v>
                </c:pt>
                <c:pt idx="14">
                  <c:v>0.98</c:v>
                </c:pt>
                <c:pt idx="15">
                  <c:v>1</c:v>
                </c:pt>
                <c:pt idx="16">
                  <c:v>0.99</c:v>
                </c:pt>
                <c:pt idx="17">
                  <c:v>0.73</c:v>
                </c:pt>
              </c:numCache>
            </c:numRef>
          </c:xVal>
          <c:yVal>
            <c:numRef>
              <c:f>Sheet1!$B$2:$B$19</c:f>
              <c:numCache>
                <c:formatCode>General</c:formatCode>
                <c:ptCount val="18"/>
                <c:pt idx="0">
                  <c:v>3513.05</c:v>
                </c:pt>
                <c:pt idx="1">
                  <c:v>3000.58</c:v>
                </c:pt>
                <c:pt idx="2">
                  <c:v>982.89</c:v>
                </c:pt>
                <c:pt idx="3">
                  <c:v>85.195652173913047</c:v>
                </c:pt>
                <c:pt idx="4">
                  <c:v>1156.58</c:v>
                </c:pt>
                <c:pt idx="5">
                  <c:v>1429.39</c:v>
                </c:pt>
                <c:pt idx="6">
                  <c:v>310.11340206185571</c:v>
                </c:pt>
                <c:pt idx="7">
                  <c:v>137.64646464646461</c:v>
                </c:pt>
                <c:pt idx="8">
                  <c:v>472.06315789473678</c:v>
                </c:pt>
                <c:pt idx="9">
                  <c:v>197.1935483870968</c:v>
                </c:pt>
                <c:pt idx="10">
                  <c:v>306.57142857142861</c:v>
                </c:pt>
                <c:pt idx="11">
                  <c:v>888.82828282828279</c:v>
                </c:pt>
                <c:pt idx="12">
                  <c:v>1363.8080808080811</c:v>
                </c:pt>
                <c:pt idx="13">
                  <c:v>1431.0707070707069</c:v>
                </c:pt>
                <c:pt idx="14">
                  <c:v>744.86734693877554</c:v>
                </c:pt>
                <c:pt idx="15">
                  <c:v>4098.92</c:v>
                </c:pt>
                <c:pt idx="16">
                  <c:v>1389.565656565657</c:v>
                </c:pt>
                <c:pt idx="17">
                  <c:v>106.42465753424661</c:v>
                </c:pt>
              </c:numCache>
            </c:numRef>
          </c:yVal>
          <c:bubbleSize>
            <c:numRef>
              <c:f>Sheet1!$C$2:$C$19</c:f>
              <c:numCache>
                <c:formatCode>General</c:formatCode>
                <c:ptCount val="18"/>
                <c:pt idx="0">
                  <c:v>217231.36960000001</c:v>
                </c:pt>
                <c:pt idx="1">
                  <c:v>182887.1778</c:v>
                </c:pt>
                <c:pt idx="2">
                  <c:v>54476.060599999997</c:v>
                </c:pt>
                <c:pt idx="3">
                  <c:v>3144.3017</c:v>
                </c:pt>
                <c:pt idx="4">
                  <c:v>66767.109700000001</c:v>
                </c:pt>
                <c:pt idx="5">
                  <c:v>78365.946300000011</c:v>
                </c:pt>
                <c:pt idx="6">
                  <c:v>17978.888500000001</c:v>
                </c:pt>
                <c:pt idx="7">
                  <c:v>8400.5091000000011</c:v>
                </c:pt>
                <c:pt idx="8">
                  <c:v>25238.6037</c:v>
                </c:pt>
                <c:pt idx="9">
                  <c:v>9164.8017999999993</c:v>
                </c:pt>
                <c:pt idx="10">
                  <c:v>12632.876899999999</c:v>
                </c:pt>
                <c:pt idx="11">
                  <c:v>52158.628599999996</c:v>
                </c:pt>
                <c:pt idx="12">
                  <c:v>79021.727100000018</c:v>
                </c:pt>
                <c:pt idx="13">
                  <c:v>82006.583399999989</c:v>
                </c:pt>
                <c:pt idx="14">
                  <c:v>40310.319899999988</c:v>
                </c:pt>
                <c:pt idx="15">
                  <c:v>244161.86170000001</c:v>
                </c:pt>
                <c:pt idx="16">
                  <c:v>69057.670599999998</c:v>
                </c:pt>
                <c:pt idx="17">
                  <c:v>3921.063900000001</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Truffe Boite 1X150Gr 1P</c:v>
                  </c:pt>
                  <c:pt idx="4">
                    <c:v>Boursin Classique Fromage Frais A Tartiner Figue Et 3 Noix Boite 1X150Gr 1P</c:v>
                  </c:pt>
                  <c:pt idx="5">
                    <c:v>Boursin Salade &amp; Aperitif Fromage Frais Des Afh 1X120Gr 1P</c:v>
                  </c:pt>
                  <c:pt idx="6">
                    <c:v>Boursin Salade &amp; Aperitif Fromage Frais Des Figue Noix 1X120Gr 1P</c:v>
                  </c:pt>
                  <c:pt idx="7">
                    <c:v>Boursin Salade &amp; Aperitif Fromage Frais Des Noisette Et 3 Noix 1X120Gr 1P</c:v>
                  </c:pt>
                  <c:pt idx="8">
                    <c:v>Boursin Salade &amp; Aperitif Fromage Frais Des Ciboulette Echalote 1X120Gr 1P</c:v>
                  </c:pt>
                  <c:pt idx="9">
                    <c:v>Boursin Salade &amp; Aperitif Fromage Frais Des Citron Romarin 1X120Gr 1P</c:v>
                  </c:pt>
                  <c:pt idx="10">
                    <c:v>Boursin Classique Fromage Frais A Tartiner Afh Boite 1X80Gr 1P</c:v>
                  </c:pt>
                  <c:pt idx="11">
                    <c:v>Boursin Classique Fromage Frais A Tartiner Poivre Boite 1X150Gr 1P</c:v>
                  </c:pt>
                  <c:pt idx="12">
                    <c:v>Boursin Classique Fromage Frais A Tartiner Afh Boite 1X96Gr 6P</c:v>
                  </c:pt>
                  <c:pt idx="13">
                    <c:v>Boursin Classique Fromage Frais A Tartiner Afh 1X256Gr 16P</c:v>
                  </c:pt>
                  <c:pt idx="14">
                    <c:v>Boursin Classique Fromage Frais A Tartiner Ciboulette &amp; Echalote 1X160Gr 10P</c:v>
                  </c:pt>
                  <c:pt idx="15">
                    <c:v>Boursin Classique Fromage Frais A Tartiner Afh Boite 1X250Gr 1P</c:v>
                  </c:pt>
                  <c:pt idx="16">
                    <c:v>Boursin Onctueux Fromage Frais A Tartiner Afh 1X125Gr 1P</c:v>
                  </c:pt>
                  <c:pt idx="17">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69F2692-511E-4DCA-8181-73ABE382C0F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BB89D02-F710-415B-9087-282B2888AB9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CE70380-2013-48DE-A020-CBE4B779D84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336F4AB-12F9-450A-ABE8-D338E26078F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1089399-63DC-4B1C-BDE3-FC2715F03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73A525E-D822-4381-9682-291916F359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F05E800-0F93-42E2-AAD5-ECAC4D09D6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4D20C9B-8EAB-423A-AEEF-E82FDC3263E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E4826F6-DB6D-4A94-9720-71F06F6A5A1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121DE7E-0714-4F85-A85F-0E2685517C8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52</c:v>
                </c:pt>
                <c:pt idx="1">
                  <c:v>0.85</c:v>
                </c:pt>
                <c:pt idx="2">
                  <c:v>0.44</c:v>
                </c:pt>
                <c:pt idx="3">
                  <c:v>0.59</c:v>
                </c:pt>
                <c:pt idx="4">
                  <c:v>0.92</c:v>
                </c:pt>
                <c:pt idx="5">
                  <c:v>0.31</c:v>
                </c:pt>
                <c:pt idx="6">
                  <c:v>0.5</c:v>
                </c:pt>
                <c:pt idx="7">
                  <c:v>0.9</c:v>
                </c:pt>
                <c:pt idx="8">
                  <c:v>0.68</c:v>
                </c:pt>
                <c:pt idx="9">
                  <c:v>0.38</c:v>
                </c:pt>
              </c:numCache>
            </c:numRef>
          </c:xVal>
          <c:yVal>
            <c:numRef>
              <c:f>Sheet1!$B$2:$B$11</c:f>
              <c:numCache>
                <c:formatCode>General</c:formatCode>
                <c:ptCount val="10"/>
                <c:pt idx="0">
                  <c:v>5199.8076923076924</c:v>
                </c:pt>
                <c:pt idx="1">
                  <c:v>6595.7294117647061</c:v>
                </c:pt>
                <c:pt idx="2">
                  <c:v>1130.954545454545</c:v>
                </c:pt>
                <c:pt idx="3">
                  <c:v>593.88135593220341</c:v>
                </c:pt>
                <c:pt idx="4">
                  <c:v>4358.739130434783</c:v>
                </c:pt>
                <c:pt idx="5">
                  <c:v>1752.7741935483871</c:v>
                </c:pt>
                <c:pt idx="6">
                  <c:v>423.2</c:v>
                </c:pt>
                <c:pt idx="7">
                  <c:v>3563.9444444444439</c:v>
                </c:pt>
                <c:pt idx="8">
                  <c:v>3449.8529411764712</c:v>
                </c:pt>
                <c:pt idx="9">
                  <c:v>829.63157894736844</c:v>
                </c:pt>
              </c:numCache>
            </c:numRef>
          </c:yVal>
          <c:bubbleSize>
            <c:numRef>
              <c:f>Sheet1!$C$2:$C$11</c:f>
              <c:numCache>
                <c:formatCode>General</c:formatCode>
                <c:ptCount val="10"/>
                <c:pt idx="0">
                  <c:v>156977.5018</c:v>
                </c:pt>
                <c:pt idx="1">
                  <c:v>344392.07760000002</c:v>
                </c:pt>
                <c:pt idx="2">
                  <c:v>23639.9568</c:v>
                </c:pt>
                <c:pt idx="3">
                  <c:v>23887.4028</c:v>
                </c:pt>
                <c:pt idx="4">
                  <c:v>233248.51519999999</c:v>
                </c:pt>
                <c:pt idx="5">
                  <c:v>24789.4863</c:v>
                </c:pt>
                <c:pt idx="6">
                  <c:v>9984.4553999999989</c:v>
                </c:pt>
                <c:pt idx="7">
                  <c:v>183453.649</c:v>
                </c:pt>
                <c:pt idx="8">
                  <c:v>133465.1311</c:v>
                </c:pt>
                <c:pt idx="9">
                  <c:v>14285.70019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Delicieusement Fouette Fromage Frais A Tartiner 1X125Gr 1P</c:v>
                  </c:pt>
                  <c:pt idx="3">
                    <c:v>Kiri Creme Fromage Blanc Frais Carre 1X432Gr 18+6P</c:v>
                  </c:pt>
                  <c:pt idx="4">
                    <c:v>Kiri Creme Fromage Blanc Frais Carre 1X144Gr 8P</c:v>
                  </c:pt>
                  <c:pt idx="5">
                    <c:v>Kiri Bio Fromage Blanc Frais Carre 1X144Gr 8P</c:v>
                  </c:pt>
                  <c:pt idx="6">
                    <c:v>Kiri Delicieusement Fouette Fromage Frais A Tartiner 1X160Gr 10P</c:v>
                  </c:pt>
                  <c:pt idx="7">
                    <c:v>Kiri Gouter Fromage Blanc Dips Boite 1X175Gr 5P</c:v>
                  </c:pt>
                  <c:pt idx="8">
                    <c:v>Kiri Gouter Fromage Blanc Dips Boite 1X280Gr 8P</c:v>
                  </c:pt>
                  <c:pt idx="9">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2222891-02EC-4C11-BBC8-C255AC40BE4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C3C3102-2D84-4DD0-B201-E4D6845628A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60FA181-A5E0-498B-B0E8-EC65D900EAD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E6F0BCE-E1C7-4C15-907A-86D7BCEBE6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3F4C944-5627-420E-A2DE-E6535E80A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C2E4745-D002-4ECF-99BC-32863548330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6C9EA5F-6F81-422C-92F4-FE7C26DADB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CD9EA39-C99F-47EB-92D9-91CD0E8AD4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1D83D6B-24E4-4003-9BB5-C765885852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63AEFA1-6211-4EAD-B155-819300B0A16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33</c:v>
                </c:pt>
                <c:pt idx="1">
                  <c:v>0.98</c:v>
                </c:pt>
                <c:pt idx="2">
                  <c:v>0.68</c:v>
                </c:pt>
                <c:pt idx="3">
                  <c:v>0.68</c:v>
                </c:pt>
                <c:pt idx="4">
                  <c:v>0.5</c:v>
                </c:pt>
                <c:pt idx="5">
                  <c:v>0.82</c:v>
                </c:pt>
                <c:pt idx="6">
                  <c:v>0.42</c:v>
                </c:pt>
              </c:numCache>
            </c:numRef>
          </c:xVal>
          <c:yVal>
            <c:numRef>
              <c:f>Sheet1!$B$2:$B$8</c:f>
              <c:numCache>
                <c:formatCode>General</c:formatCode>
                <c:ptCount val="7"/>
                <c:pt idx="0">
                  <c:v>985.5151515151515</c:v>
                </c:pt>
                <c:pt idx="1">
                  <c:v>8872.0612244897966</c:v>
                </c:pt>
                <c:pt idx="2">
                  <c:v>7117.838235294118</c:v>
                </c:pt>
                <c:pt idx="3">
                  <c:v>8935.823529411764</c:v>
                </c:pt>
                <c:pt idx="4">
                  <c:v>1845.32</c:v>
                </c:pt>
                <c:pt idx="5">
                  <c:v>2128.3658536585372</c:v>
                </c:pt>
                <c:pt idx="6">
                  <c:v>1563.261904761905</c:v>
                </c:pt>
              </c:numCache>
            </c:numRef>
          </c:yVal>
          <c:bubbleSize>
            <c:numRef>
              <c:f>Sheet1!$C$2:$C$8</c:f>
              <c:numCache>
                <c:formatCode>General</c:formatCode>
                <c:ptCount val="7"/>
                <c:pt idx="0">
                  <c:v>12942.373100000001</c:v>
                </c:pt>
                <c:pt idx="1">
                  <c:v>490120.52419999999</c:v>
                </c:pt>
                <c:pt idx="2">
                  <c:v>278975.31349999999</c:v>
                </c:pt>
                <c:pt idx="3">
                  <c:v>359632.71120000002</c:v>
                </c:pt>
                <c:pt idx="4">
                  <c:v>45455.146800000002</c:v>
                </c:pt>
                <c:pt idx="5">
                  <c:v>88738.778599999991</c:v>
                </c:pt>
                <c:pt idx="6">
                  <c:v>29255.048200000001</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E54C8F0-4585-4CD4-8E40-33685CD40DD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C131113-5650-49A8-B505-DE8C0CD7FBD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7AC8A68-A26E-4662-88AD-97CDB40A456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3A86B04-5898-447D-AEC5-C4E91E0F276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8FFC687-F8B5-4F0E-A1CC-44ADAE9597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806F9E8-EB33-4868-9F75-239E50B3D6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C7A44DE-2C97-4CA6-80DA-10806ED5CB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828CA73-C28A-4177-87A7-A39C08609E9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E40CEEC-16C0-4FDA-9183-691E8957992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338AEBF-4EA5-4B8D-989E-184403A5341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9</c:f>
              <c:numCache>
                <c:formatCode>General</c:formatCode>
                <c:ptCount val="18"/>
                <c:pt idx="0">
                  <c:v>0.9</c:v>
                </c:pt>
                <c:pt idx="1">
                  <c:v>0.98</c:v>
                </c:pt>
                <c:pt idx="2">
                  <c:v>0.83</c:v>
                </c:pt>
                <c:pt idx="3">
                  <c:v>0.33</c:v>
                </c:pt>
                <c:pt idx="4">
                  <c:v>0.89</c:v>
                </c:pt>
                <c:pt idx="5">
                  <c:v>0.85</c:v>
                </c:pt>
                <c:pt idx="6">
                  <c:v>0.47</c:v>
                </c:pt>
                <c:pt idx="7">
                  <c:v>0.41</c:v>
                </c:pt>
                <c:pt idx="8">
                  <c:v>0.43</c:v>
                </c:pt>
                <c:pt idx="9">
                  <c:v>0.28000000000000003</c:v>
                </c:pt>
                <c:pt idx="10">
                  <c:v>0.12</c:v>
                </c:pt>
                <c:pt idx="11">
                  <c:v>0.75</c:v>
                </c:pt>
                <c:pt idx="12">
                  <c:v>0.74</c:v>
                </c:pt>
                <c:pt idx="13">
                  <c:v>0.64</c:v>
                </c:pt>
                <c:pt idx="14">
                  <c:v>0.46</c:v>
                </c:pt>
                <c:pt idx="15">
                  <c:v>0.89</c:v>
                </c:pt>
                <c:pt idx="16">
                  <c:v>0.81</c:v>
                </c:pt>
                <c:pt idx="17">
                  <c:v>0.14000000000000001</c:v>
                </c:pt>
              </c:numCache>
            </c:numRef>
          </c:xVal>
          <c:yVal>
            <c:numRef>
              <c:f>Sheet1!$B$2:$B$19</c:f>
              <c:numCache>
                <c:formatCode>General</c:formatCode>
                <c:ptCount val="18"/>
                <c:pt idx="0">
                  <c:v>3907.088888888889</c:v>
                </c:pt>
                <c:pt idx="1">
                  <c:v>3670.663265306122</c:v>
                </c:pt>
                <c:pt idx="2">
                  <c:v>1491.433734939759</c:v>
                </c:pt>
                <c:pt idx="3">
                  <c:v>126.0606060606061</c:v>
                </c:pt>
                <c:pt idx="4">
                  <c:v>1809.314606741573</c:v>
                </c:pt>
                <c:pt idx="5">
                  <c:v>1532.329411764706</c:v>
                </c:pt>
                <c:pt idx="6">
                  <c:v>292.74468085106378</c:v>
                </c:pt>
                <c:pt idx="7">
                  <c:v>130.70731707317071</c:v>
                </c:pt>
                <c:pt idx="8">
                  <c:v>428.27906976744191</c:v>
                </c:pt>
                <c:pt idx="9">
                  <c:v>268.07142857142861</c:v>
                </c:pt>
                <c:pt idx="10">
                  <c:v>734.41666666666663</c:v>
                </c:pt>
                <c:pt idx="11">
                  <c:v>1149.7733333333331</c:v>
                </c:pt>
                <c:pt idx="12">
                  <c:v>1990.4594594594589</c:v>
                </c:pt>
                <c:pt idx="13">
                  <c:v>806.3125</c:v>
                </c:pt>
                <c:pt idx="14">
                  <c:v>756.10869565217388</c:v>
                </c:pt>
                <c:pt idx="15">
                  <c:v>2690.9662921348308</c:v>
                </c:pt>
                <c:pt idx="16">
                  <c:v>2365.8641975308642</c:v>
                </c:pt>
                <c:pt idx="17">
                  <c:v>215.78571428571419</c:v>
                </c:pt>
              </c:numCache>
            </c:numRef>
          </c:yVal>
          <c:bubbleSize>
            <c:numRef>
              <c:f>Sheet1!$C$2:$C$19</c:f>
              <c:numCache>
                <c:formatCode>General</c:formatCode>
                <c:ptCount val="18"/>
                <c:pt idx="0">
                  <c:v>203224.26610000001</c:v>
                </c:pt>
                <c:pt idx="1">
                  <c:v>204063.94519999999</c:v>
                </c:pt>
                <c:pt idx="2">
                  <c:v>61191.166899999989</c:v>
                </c:pt>
                <c:pt idx="3">
                  <c:v>1574.5454999999999</c:v>
                </c:pt>
                <c:pt idx="4">
                  <c:v>82728.546799999996</c:v>
                </c:pt>
                <c:pt idx="5">
                  <c:v>65984.07220000001</c:v>
                </c:pt>
                <c:pt idx="6">
                  <c:v>7554.0151999999998</c:v>
                </c:pt>
                <c:pt idx="7">
                  <c:v>3108.8708999999999</c:v>
                </c:pt>
                <c:pt idx="8">
                  <c:v>9548.3824999999997</c:v>
                </c:pt>
                <c:pt idx="9">
                  <c:v>3413.1735999999992</c:v>
                </c:pt>
                <c:pt idx="10">
                  <c:v>4441.4790000000003</c:v>
                </c:pt>
                <c:pt idx="11">
                  <c:v>45605.556199999992</c:v>
                </c:pt>
                <c:pt idx="12">
                  <c:v>78358.659800000009</c:v>
                </c:pt>
                <c:pt idx="13">
                  <c:v>29471.16599999999</c:v>
                </c:pt>
                <c:pt idx="14">
                  <c:v>17286.738700000002</c:v>
                </c:pt>
                <c:pt idx="15">
                  <c:v>134223.04699999999</c:v>
                </c:pt>
                <c:pt idx="16">
                  <c:v>86851.195999999982</c:v>
                </c:pt>
                <c:pt idx="17">
                  <c:v>1395.9426000000001</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Truffe Boite 1X150Gr 1P</c:v>
                  </c:pt>
                  <c:pt idx="4">
                    <c:v>Boursin Classique Fromage Frais A Tartiner Figue Et 3 Noix Boite 1X150Gr 1P</c:v>
                  </c:pt>
                  <c:pt idx="5">
                    <c:v>Boursin Salade &amp; Aperitif Fromage Frais Des Afh 1X120Gr 1P</c:v>
                  </c:pt>
                  <c:pt idx="6">
                    <c:v>Boursin Salade &amp; Aperitif Fromage Frais Des Figue Noix 1X120Gr 1P</c:v>
                  </c:pt>
                  <c:pt idx="7">
                    <c:v>Boursin Salade &amp; Aperitif Fromage Frais Des Noisette Et 3 Noix 1X120Gr 1P</c:v>
                  </c:pt>
                  <c:pt idx="8">
                    <c:v>Boursin Salade &amp; Aperitif Fromage Frais Des Ciboulette Echalote 1X120Gr 1P</c:v>
                  </c:pt>
                  <c:pt idx="9">
                    <c:v>Boursin Salade &amp; Aperitif Fromage Frais Des Citron Romarin 1X120Gr 1P</c:v>
                  </c:pt>
                  <c:pt idx="10">
                    <c:v>Boursin Classique Fromage Frais A Tartiner Afh Boite 1X80Gr 1P</c:v>
                  </c:pt>
                  <c:pt idx="11">
                    <c:v>Boursin Classique Fromage Frais A Tartiner Poivre Boite 1X150Gr 1P</c:v>
                  </c:pt>
                  <c:pt idx="12">
                    <c:v>Boursin Classique Fromage Frais A Tartiner Afh Boite 1X96Gr 6P</c:v>
                  </c:pt>
                  <c:pt idx="13">
                    <c:v>Boursin Classique Fromage Frais A Tartiner Afh 1X256Gr 16P</c:v>
                  </c:pt>
                  <c:pt idx="14">
                    <c:v>Boursin Classique Fromage Frais A Tartiner Ciboulette &amp; Echalote 1X160Gr 10P</c:v>
                  </c:pt>
                  <c:pt idx="15">
                    <c:v>Boursin Classique Fromage Frais A Tartiner Afh Boite 1X250Gr 1P</c:v>
                  </c:pt>
                  <c:pt idx="16">
                    <c:v>Boursin Onctueux Fromage Frais A Tartiner Afh 1X125Gr 1P</c:v>
                  </c:pt>
                  <c:pt idx="17">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800B107-63E8-4374-920E-94D88062E08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C5B9FA9-681D-47DF-ADA5-5F5C72BC498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D1681AA-2B30-4151-8F75-ABAA1688D10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E0C654A-BBF6-4C25-B771-2656C81A478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6126FD2-4DF2-4D14-9DEB-F953C34C6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9DF6DB4-B9EC-430E-AB43-15E5B7ECE8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6D02E8B-A7EF-426B-8B8D-D0C2E8ED5FE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1701D31-9BB2-4D6C-AB7A-596B060BF8E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3990BC2-384E-4FE6-8639-EF6AC65A7B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BF71A69-A72D-4D3A-8DB2-D411796461A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90500000000000003</c:v>
                </c:pt>
                <c:pt idx="1">
                  <c:v>0.78800000000000003</c:v>
                </c:pt>
                <c:pt idx="2">
                  <c:v>0.40899999999999997</c:v>
                </c:pt>
                <c:pt idx="3">
                  <c:v>0.35199999999999998</c:v>
                </c:pt>
              </c:numCache>
            </c:numRef>
          </c:xVal>
          <c:yVal>
            <c:numRef>
              <c:f>Sheet1!$B$2:$B$5</c:f>
              <c:numCache>
                <c:formatCode>General</c:formatCode>
                <c:ptCount val="4"/>
                <c:pt idx="0">
                  <c:v>28428.861878453041</c:v>
                </c:pt>
                <c:pt idx="1">
                  <c:v>12732.233502538071</c:v>
                </c:pt>
                <c:pt idx="2">
                  <c:v>1246.9437652811739</c:v>
                </c:pt>
                <c:pt idx="3">
                  <c:v>1488.977272727273</c:v>
                </c:pt>
              </c:numCache>
            </c:numRef>
          </c:yVal>
          <c:bubbleSize>
            <c:numRef>
              <c:f>Sheet1!$C$2:$C$5</c:f>
              <c:numCache>
                <c:formatCode>General</c:formatCode>
                <c:ptCount val="4"/>
                <c:pt idx="0">
                  <c:v>1569349.9712</c:v>
                </c:pt>
                <c:pt idx="1">
                  <c:v>621172.2644000001</c:v>
                </c:pt>
                <c:pt idx="2">
                  <c:v>23162.563399999999</c:v>
                </c:pt>
                <c:pt idx="3">
                  <c:v>28520.879400000002</c:v>
                </c:pt>
              </c:numCache>
            </c:numRef>
          </c:bubbleSize>
          <c:bubble3D val="0"/>
          <c:extLst>
            <c:ext xmlns:c15="http://schemas.microsoft.com/office/drawing/2012/chart" uri="{02D57815-91ED-43cb-92C2-25804820EDAC}">
              <c15:datalabelsRange>
                <c15:f>Sheet1!$E$2:$E$21</c15:f>
                <c15:dlblRangeCache>
                  <c:ptCount val="20"/>
                  <c:pt idx="0">
                    <c:v>Boursin Aperitif Roules Fromage Frais Roule Afh Et Jambon Fume Boite 1X100Gr 20P</c:v>
                  </c:pt>
                  <c:pt idx="1">
                    <c:v>Boursin Aperitif Roules Fromage Frais Roule Ciboulette &amp; Echalote Jambon Fume Boite 1X100Gr 20P</c:v>
                  </c:pt>
                  <c:pt idx="2">
                    <c:v>Boursin Aperitif Roules Fromage Frais Roule Jambon Fume &amp; Trio De Noix Boite 1X100Gr 20P</c:v>
                  </c:pt>
                  <c:pt idx="3">
                    <c:v>Boursin Aperitif Roules Aperitif 10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CCC3594-34DC-4AC5-B9CC-6A2E6093807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6706739-E707-4748-8C25-EBF96DE1CDA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FA362EA-8E88-4CA7-9052-62D15E5383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B4F51E5-27D4-4CCF-A908-FF02B998F7C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3C81433-62A9-485C-B673-9C34E2764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219BC55-4D75-4DF4-A34C-008BD9096B1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720F974-9F61-4613-9B11-0DF2550305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46C2269-EF8C-4C4E-9AA9-E2C1C3CC8BD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3982225-8DFE-4C99-8C18-7CEA9B3A6EB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AC6BB80-B819-4F4B-AD15-E51B5E4C4F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96599999999999997</c:v>
                </c:pt>
                <c:pt idx="1">
                  <c:v>0.873</c:v>
                </c:pt>
                <c:pt idx="2">
                  <c:v>0.91100000000000003</c:v>
                </c:pt>
                <c:pt idx="3">
                  <c:v>0.75</c:v>
                </c:pt>
                <c:pt idx="4">
                  <c:v>0.66100000000000003</c:v>
                </c:pt>
              </c:numCache>
            </c:numRef>
          </c:xVal>
          <c:yVal>
            <c:numRef>
              <c:f>Sheet1!$B$2:$B$6</c:f>
              <c:numCache>
                <c:formatCode>General</c:formatCode>
                <c:ptCount val="5"/>
                <c:pt idx="0">
                  <c:v>22494.2546583851</c:v>
                </c:pt>
                <c:pt idx="1">
                  <c:v>7525.8762886597942</c:v>
                </c:pt>
                <c:pt idx="2">
                  <c:v>14703.46871569703</c:v>
                </c:pt>
                <c:pt idx="3">
                  <c:v>775.14666666666665</c:v>
                </c:pt>
                <c:pt idx="4">
                  <c:v>730.54462934947037</c:v>
                </c:pt>
              </c:numCache>
            </c:numRef>
          </c:yVal>
          <c:bubbleSize>
            <c:numRef>
              <c:f>Sheet1!$C$2:$C$6</c:f>
              <c:numCache>
                <c:formatCode>General</c:formatCode>
                <c:ptCount val="5"/>
                <c:pt idx="0">
                  <c:v>1226990.7849000001</c:v>
                </c:pt>
                <c:pt idx="1">
                  <c:v>370190.26640000002</c:v>
                </c:pt>
                <c:pt idx="2">
                  <c:v>714931.66360000009</c:v>
                </c:pt>
                <c:pt idx="3">
                  <c:v>41023.239699999998</c:v>
                </c:pt>
                <c:pt idx="4">
                  <c:v>26373.204000000002</c:v>
                </c:pt>
              </c:numCache>
            </c:numRef>
          </c:bubbleSize>
          <c:bubble3D val="0"/>
          <c:extLst>
            <c:ext xmlns:c15="http://schemas.microsoft.com/office/drawing/2012/chart" uri="{02D57815-91ED-43cb-92C2-25804820EDAC}">
              <c15:datalabelsRange>
                <c15:f>Sheet1!$E$2:$E$21</c15:f>
                <c15:dlblRangeCache>
                  <c:ptCount val="20"/>
                  <c:pt idx="0">
                    <c:v>Boursin Aperitif Roules Fromage Frais Roule Afh Et Jambon Fume Boite 1X100Gr 20P</c:v>
                  </c:pt>
                  <c:pt idx="1">
                    <c:v>Boursin Aperitif Roules Fromage Frais Roule Basilic &amp; Jambon Fume Tomate Boite 1X100Gr 20P</c:v>
                  </c:pt>
                  <c:pt idx="2">
                    <c:v>Boursin Aperitif Roules Fromage Frais Roule Ciboulette &amp; Echalote Jambon Fume Boite 1X100Gr 20P</c:v>
                  </c:pt>
                  <c:pt idx="3">
                    <c:v>Boursin Aperitif Roules Fromage Frais Roule Jambon Fume &amp; Trio De Noix Boite 1X100Gr 20P</c:v>
                  </c:pt>
                  <c:pt idx="4">
                    <c:v>Boursin Aperitif Roules Aperitif 10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213080B-FA3A-4063-A064-306290C10D3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F0EF669-1A2B-4AFC-9646-F4DA7B077F5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5615320-7250-495F-8264-FC5FBDAA738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8652F7B-5BF4-4969-9829-B571E0799AC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0C6E3B9-AB8F-49A6-98D8-DECEF59236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117495F-9AB5-40FD-93B2-73E097AC69D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979187D-D20E-4301-A6AF-0666050435C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BC3A8F9-7D73-465A-821E-794992705B5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23EEA25-33B5-45DE-8785-45B2DA9E7FA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4CFBDEC-CFF7-41C7-BEF3-DFEF862F9ED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1</c:v>
                </c:pt>
                <c:pt idx="1">
                  <c:v>0.95</c:v>
                </c:pt>
                <c:pt idx="2">
                  <c:v>0.48</c:v>
                </c:pt>
                <c:pt idx="3">
                  <c:v>0.53</c:v>
                </c:pt>
              </c:numCache>
            </c:numRef>
          </c:xVal>
          <c:yVal>
            <c:numRef>
              <c:f>Sheet1!$B$2:$B$5</c:f>
              <c:numCache>
                <c:formatCode>General</c:formatCode>
                <c:ptCount val="4"/>
                <c:pt idx="0">
                  <c:v>7852.5</c:v>
                </c:pt>
                <c:pt idx="1">
                  <c:v>4007.6315789473679</c:v>
                </c:pt>
                <c:pt idx="2">
                  <c:v>537.39583333333337</c:v>
                </c:pt>
                <c:pt idx="3">
                  <c:v>590.90566037735846</c:v>
                </c:pt>
              </c:numCache>
            </c:numRef>
          </c:yVal>
          <c:bubbleSize>
            <c:numRef>
              <c:f>Sheet1!$C$2:$C$5</c:f>
              <c:numCache>
                <c:formatCode>General</c:formatCode>
                <c:ptCount val="4"/>
                <c:pt idx="0">
                  <c:v>504699.10119999998</c:v>
                </c:pt>
                <c:pt idx="1">
                  <c:v>238803.049</c:v>
                </c:pt>
                <c:pt idx="2">
                  <c:v>11898.0137</c:v>
                </c:pt>
                <c:pt idx="3">
                  <c:v>17659.939200000001</c:v>
                </c:pt>
              </c:numCache>
            </c:numRef>
          </c:bubbleSize>
          <c:bubble3D val="0"/>
          <c:extLst>
            <c:ext xmlns:c15="http://schemas.microsoft.com/office/drawing/2012/chart" uri="{02D57815-91ED-43cb-92C2-25804820EDAC}">
              <c15:datalabelsRange>
                <c15:f>Sheet1!$E$2:$E$21</c15:f>
                <c15:dlblRangeCache>
                  <c:ptCount val="20"/>
                  <c:pt idx="0">
                    <c:v>Boursin Aperitif Roules Fromage Frais Roule Afh Et Jambon Fume Boite 1X100Gr 20P</c:v>
                  </c:pt>
                  <c:pt idx="1">
                    <c:v>Boursin Aperitif Roules Fromage Frais Roule Ciboulette &amp; Echalote Jambon Fume Boite 1X100Gr 20P</c:v>
                  </c:pt>
                  <c:pt idx="2">
                    <c:v>Boursin Aperitif Roules Fromage Frais Roule Jambon Fume &amp; Trio De Noix Boite 1X100Gr 20P</c:v>
                  </c:pt>
                  <c:pt idx="3">
                    <c:v>Boursin Aperitif Roules Aperitif 10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EDDE36F-0221-4E16-867B-D5E98C86D59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EF0AB07-45B5-4F23-8C81-FBFBCCB11A4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1C2BC82-B40D-4238-95E0-70B229A3980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215E1D1-4EAB-49D3-BC05-8954AFB894B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267DD95-3462-4B7D-AF42-F52BCD08DE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F74BD91-CC2F-49CA-A841-62D7258B7A7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8D976EA-D289-484E-841E-C5F7435E1F4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9E7CFBB-933B-4AB2-B8CA-16926683E6A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256F541-2C14-4618-8B45-4709B53B791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A78F7C4-4F7D-42E9-9E8B-DE95DD68B8E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94</c:v>
                </c:pt>
                <c:pt idx="1">
                  <c:v>0.86</c:v>
                </c:pt>
                <c:pt idx="2">
                  <c:v>0.5</c:v>
                </c:pt>
                <c:pt idx="3">
                  <c:v>0.28999999999999998</c:v>
                </c:pt>
              </c:numCache>
            </c:numRef>
          </c:xVal>
          <c:yVal>
            <c:numRef>
              <c:f>Sheet1!$B$2:$B$5</c:f>
              <c:numCache>
                <c:formatCode>General</c:formatCode>
                <c:ptCount val="4"/>
                <c:pt idx="0">
                  <c:v>9753.2978723404249</c:v>
                </c:pt>
                <c:pt idx="1">
                  <c:v>6344.6627906976746</c:v>
                </c:pt>
                <c:pt idx="2">
                  <c:v>504.1</c:v>
                </c:pt>
                <c:pt idx="3">
                  <c:v>727.37931034482767</c:v>
                </c:pt>
              </c:numCache>
            </c:numRef>
          </c:yVal>
          <c:bubbleSize>
            <c:numRef>
              <c:f>Sheet1!$C$2:$C$5</c:f>
              <c:numCache>
                <c:formatCode>General</c:formatCode>
                <c:ptCount val="4"/>
                <c:pt idx="0">
                  <c:v>585791.43079999997</c:v>
                </c:pt>
                <c:pt idx="1">
                  <c:v>344738.34379999997</c:v>
                </c:pt>
                <c:pt idx="2">
                  <c:v>11264.5497</c:v>
                </c:pt>
                <c:pt idx="3">
                  <c:v>10860.940199999999</c:v>
                </c:pt>
              </c:numCache>
            </c:numRef>
          </c:bubbleSize>
          <c:bubble3D val="0"/>
          <c:extLst>
            <c:ext xmlns:c15="http://schemas.microsoft.com/office/drawing/2012/chart" uri="{02D57815-91ED-43cb-92C2-25804820EDAC}">
              <c15:datalabelsRange>
                <c15:f>Sheet1!$E$2:$E$21</c15:f>
                <c15:dlblRangeCache>
                  <c:ptCount val="20"/>
                  <c:pt idx="0">
                    <c:v>Boursin Aperitif Roules Fromage Frais Roule Afh Et Jambon Fume Boite 1X100Gr 20P</c:v>
                  </c:pt>
                  <c:pt idx="1">
                    <c:v>Boursin Aperitif Roules Fromage Frais Roule Ciboulette &amp; Echalote Jambon Fume Boite 1X100Gr 20P</c:v>
                  </c:pt>
                  <c:pt idx="2">
                    <c:v>Boursin Aperitif Roules Fromage Frais Roule Jambon Fume &amp; Trio De Noix Boite 1X100Gr 20P</c:v>
                  </c:pt>
                  <c:pt idx="3">
                    <c:v>Boursin Aperitif Roules Aperitif 10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A2C2E61-D1FE-42DC-8424-30B27FC49A0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EDFB40C-6A7E-4346-8689-A5BDA2F1D41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253AF57-C5C2-4EA7-B4A5-1EAE29BA90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8A9B365-3E09-4722-8AD8-92BC3E4C85E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DD60262-CBAA-488C-A1C8-A98770FBBD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87CEAF4-B906-4D6A-85A9-C48F54CEE5E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5D931DC-AED3-4149-833C-59CD1F423EE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F36FC46-0CE5-4B77-8A95-A43EFF6142F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F931BB0-8343-47C6-8E25-12FED3A3424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2C591D5-0487-4CCE-A6E5-2168FAA8178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56000000000000005</c:v>
                </c:pt>
                <c:pt idx="1">
                  <c:v>0.17</c:v>
                </c:pt>
              </c:numCache>
            </c:numRef>
          </c:xVal>
          <c:yVal>
            <c:numRef>
              <c:f>Sheet1!$B$2:$B$3</c:f>
              <c:numCache>
                <c:formatCode>General</c:formatCode>
                <c:ptCount val="2"/>
                <c:pt idx="0">
                  <c:v>15549.142857142861</c:v>
                </c:pt>
                <c:pt idx="1">
                  <c:v>4525.5294117647063</c:v>
                </c:pt>
              </c:numCache>
            </c:numRef>
          </c:yVal>
          <c:bubbleSize>
            <c:numRef>
              <c:f>Sheet1!$C$2:$C$3</c:f>
              <c:numCache>
                <c:formatCode>General</c:formatCode>
                <c:ptCount val="2"/>
                <c:pt idx="0">
                  <c:v>478859.43920000002</c:v>
                </c:pt>
                <c:pt idx="1">
                  <c:v>37630.871599999999</c:v>
                </c:pt>
              </c:numCache>
            </c:numRef>
          </c:bubbleSize>
          <c:bubble3D val="0"/>
          <c:extLst>
            <c:ext xmlns:c15="http://schemas.microsoft.com/office/drawing/2012/chart" uri="{02D57815-91ED-43cb-92C2-25804820EDAC}">
              <c15:datalabelsRange>
                <c15:f>Sheet1!$E$2:$E$21</c15:f>
                <c15:dlblRangeCache>
                  <c:ptCount val="20"/>
                  <c:pt idx="0">
                    <c:v>Boursin Aperitif Roules Fromage Frais Roule Afh Et Jambon Fume Boite 1X100Gr 20P</c:v>
                  </c:pt>
                  <c:pt idx="1">
                    <c:v>Boursin Aperitif Roules Fromage Frais Roule Ciboulette &amp; Echalote Jambon Fume Boite 1X100Gr 20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aysan Breton</c:v>
                </c:pt>
                <c:pt idx="2">
                  <c:v>Private Label</c:v>
                </c:pt>
                <c:pt idx="3">
                  <c:v>Boursin</c:v>
                </c:pt>
                <c:pt idx="4">
                  <c:v>Tartare</c:v>
                </c:pt>
                <c:pt idx="5">
                  <c:v>Carre Frais</c:v>
                </c:pt>
                <c:pt idx="6">
                  <c:v>Philadelphia</c:v>
                </c:pt>
                <c:pt idx="7">
                  <c:v>Kiri</c:v>
                </c:pt>
                <c:pt idx="8">
                  <c:v>La Vache Qui Rit</c:v>
                </c:pt>
                <c:pt idx="9">
                  <c:v>Others</c:v>
                </c:pt>
              </c:strCache>
            </c:strRef>
          </c:cat>
          <c:val>
            <c:numRef>
              <c:f>Sheet1!$B$2:$B$11</c:f>
              <c:numCache>
                <c:formatCode>General</c:formatCode>
                <c:ptCount val="10"/>
                <c:pt idx="0">
                  <c:v>0.2884473818756389</c:v>
                </c:pt>
                <c:pt idx="1">
                  <c:v>0.14779203133673968</c:v>
                </c:pt>
                <c:pt idx="2">
                  <c:v>0.1385246970986459</c:v>
                </c:pt>
                <c:pt idx="3">
                  <c:v>0.11349279498105341</c:v>
                </c:pt>
                <c:pt idx="4">
                  <c:v>0.11299457419714112</c:v>
                </c:pt>
                <c:pt idx="5">
                  <c:v>7.2669546673538352E-2</c:v>
                </c:pt>
                <c:pt idx="6">
                  <c:v>6.9295206058352793E-2</c:v>
                </c:pt>
                <c:pt idx="7">
                  <c:v>1.0997655667079911E-2</c:v>
                </c:pt>
                <c:pt idx="8">
                  <c:v>1.0194157171575895E-6</c:v>
                </c:pt>
                <c:pt idx="9">
                  <c:v>4.578509269609275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aysan Breton</c:v>
                </c:pt>
                <c:pt idx="2">
                  <c:v>Private Label</c:v>
                </c:pt>
                <c:pt idx="3">
                  <c:v>Boursin</c:v>
                </c:pt>
                <c:pt idx="4">
                  <c:v>Tartare</c:v>
                </c:pt>
                <c:pt idx="5">
                  <c:v>Carre Frais</c:v>
                </c:pt>
                <c:pt idx="6">
                  <c:v>Philadelphia</c:v>
                </c:pt>
                <c:pt idx="7">
                  <c:v>Kiri</c:v>
                </c:pt>
                <c:pt idx="8">
                  <c:v>La Vache Qui Rit</c:v>
                </c:pt>
                <c:pt idx="9">
                  <c:v>Others</c:v>
                </c:pt>
              </c:strCache>
            </c:strRef>
          </c:cat>
          <c:val>
            <c:numRef>
              <c:f>Sheet1!$C$2:$C$11</c:f>
              <c:numCache>
                <c:formatCode>General</c:formatCode>
                <c:ptCount val="10"/>
                <c:pt idx="0">
                  <c:v>0.19956537486417961</c:v>
                </c:pt>
                <c:pt idx="1">
                  <c:v>0.122057225642883</c:v>
                </c:pt>
                <c:pt idx="2">
                  <c:v>0.11861644331763854</c:v>
                </c:pt>
                <c:pt idx="3">
                  <c:v>0.14813473379210429</c:v>
                </c:pt>
                <c:pt idx="4">
                  <c:v>0.10449112640347698</c:v>
                </c:pt>
                <c:pt idx="5">
                  <c:v>4.0202825063382824E-2</c:v>
                </c:pt>
                <c:pt idx="6">
                  <c:v>7.5878304961970303E-2</c:v>
                </c:pt>
                <c:pt idx="7">
                  <c:v>3.2415791379934805E-2</c:v>
                </c:pt>
                <c:pt idx="8">
                  <c:v>0</c:v>
                </c:pt>
                <c:pt idx="9">
                  <c:v>0.1586381745744295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aysan Breton</c:v>
                </c:pt>
                <c:pt idx="2">
                  <c:v>Private Label</c:v>
                </c:pt>
                <c:pt idx="3">
                  <c:v>Boursin</c:v>
                </c:pt>
                <c:pt idx="4">
                  <c:v>Tartare</c:v>
                </c:pt>
                <c:pt idx="5">
                  <c:v>Carre Frais</c:v>
                </c:pt>
                <c:pt idx="6">
                  <c:v>Philadelphia</c:v>
                </c:pt>
                <c:pt idx="7">
                  <c:v>Kiri</c:v>
                </c:pt>
                <c:pt idx="8">
                  <c:v>La Vache Qui Rit</c:v>
                </c:pt>
                <c:pt idx="9">
                  <c:v>Others</c:v>
                </c:pt>
              </c:strCache>
            </c:strRef>
          </c:cat>
          <c:val>
            <c:numRef>
              <c:f>Sheet1!$D$2:$D$11</c:f>
              <c:numCache>
                <c:formatCode>General</c:formatCode>
                <c:ptCount val="10"/>
                <c:pt idx="0">
                  <c:v>69.186058672642119</c:v>
                </c:pt>
                <c:pt idx="1">
                  <c:v>82.587149346894961</c:v>
                </c:pt>
                <c:pt idx="2">
                  <c:v>85.628372270086729</c:v>
                </c:pt>
                <c:pt idx="3">
                  <c:v>130.52346963244145</c:v>
                </c:pt>
                <c:pt idx="4">
                  <c:v>92.474463615546512</c:v>
                </c:pt>
                <c:pt idx="5">
                  <c:v>55.322796004205912</c:v>
                </c:pt>
                <c:pt idx="6">
                  <c:v>109.5000784009127</c:v>
                </c:pt>
                <c:pt idx="7">
                  <c:v>294.75183040115877</c:v>
                </c:pt>
                <c:pt idx="8">
                  <c:v>1</c:v>
                </c:pt>
                <c:pt idx="9">
                  <c:v>346.4843363481221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65E2ED3-0640-4FB1-94AA-326DE973F60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B83E25B-6A62-4974-962D-467748E3EFA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50BEA9F-CBA3-446E-A203-534A7AE6F7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69F25CD-20BE-4203-A81A-82191304A99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BFC03DF-F3DE-404F-8541-9E8802E9C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8C643A-6378-4614-8EFF-EE61245F040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69F33FF-F700-4DF9-8453-6519B0D8082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CCD5A79-FEAB-48F3-9360-AA40FC25531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FB9D77A-8EC6-4B2E-8E4C-504FA065D87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250C825-7B8C-44DC-9217-BBA2242EFA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98</c:v>
                </c:pt>
                <c:pt idx="1">
                  <c:v>0.9</c:v>
                </c:pt>
                <c:pt idx="2">
                  <c:v>0.95</c:v>
                </c:pt>
                <c:pt idx="3">
                  <c:v>0.8</c:v>
                </c:pt>
                <c:pt idx="4">
                  <c:v>0.7</c:v>
                </c:pt>
              </c:numCache>
            </c:numRef>
          </c:xVal>
          <c:yVal>
            <c:numRef>
              <c:f>Sheet1!$B$2:$B$6</c:f>
              <c:numCache>
                <c:formatCode>General</c:formatCode>
                <c:ptCount val="5"/>
                <c:pt idx="0">
                  <c:v>16275.38775510204</c:v>
                </c:pt>
                <c:pt idx="1">
                  <c:v>5635.0111111111109</c:v>
                </c:pt>
                <c:pt idx="2">
                  <c:v>10927.284210526321</c:v>
                </c:pt>
                <c:pt idx="3">
                  <c:v>574.22500000000002</c:v>
                </c:pt>
                <c:pt idx="4">
                  <c:v>553.08571428571429</c:v>
                </c:pt>
              </c:numCache>
            </c:numRef>
          </c:yVal>
          <c:bubbleSize>
            <c:numRef>
              <c:f>Sheet1!$C$2:$C$6</c:f>
              <c:numCache>
                <c:formatCode>General</c:formatCode>
                <c:ptCount val="5"/>
                <c:pt idx="0">
                  <c:v>909612.2453999999</c:v>
                </c:pt>
                <c:pt idx="1">
                  <c:v>286664.43280000001</c:v>
                </c:pt>
                <c:pt idx="2">
                  <c:v>557057.5425000001</c:v>
                </c:pt>
                <c:pt idx="3">
                  <c:v>32418.247899999998</c:v>
                </c:pt>
                <c:pt idx="4">
                  <c:v>21148.5615</c:v>
                </c:pt>
              </c:numCache>
            </c:numRef>
          </c:bubbleSize>
          <c:bubble3D val="0"/>
          <c:extLst>
            <c:ext xmlns:c15="http://schemas.microsoft.com/office/drawing/2012/chart" uri="{02D57815-91ED-43cb-92C2-25804820EDAC}">
              <c15:datalabelsRange>
                <c15:f>Sheet1!$E$2:$E$21</c15:f>
                <c15:dlblRangeCache>
                  <c:ptCount val="20"/>
                  <c:pt idx="0">
                    <c:v>Boursin Aperitif Roules Fromage Frais Roule Afh Et Jambon Fume Boite 1X100Gr 20P</c:v>
                  </c:pt>
                  <c:pt idx="1">
                    <c:v>Boursin Aperitif Roules Fromage Frais Roule Basilic &amp; Jambon Fume Tomate Boite 1X100Gr 20P</c:v>
                  </c:pt>
                  <c:pt idx="2">
                    <c:v>Boursin Aperitif Roules Fromage Frais Roule Ciboulette &amp; Echalote Jambon Fume Boite 1X100Gr 20P</c:v>
                  </c:pt>
                  <c:pt idx="3">
                    <c:v>Boursin Aperitif Roules Fromage Frais Roule Jambon Fume &amp; Trio De Noix Boite 1X100Gr 20P</c:v>
                  </c:pt>
                  <c:pt idx="4">
                    <c:v>Boursin Aperitif Roules Aperitif 10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D9F14C7-4F6E-40C4-A9D9-FD15E0BC505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7470288-A5E2-4B6F-B186-8C698140D77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AC37BC9-A32E-401A-8A77-C313FF8D62D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D10BD46-1244-43DB-98BA-FDE4477B855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8E4CB54-610E-4398-8731-CD0143E8C1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87437EB-2ED0-4508-99A4-CE0593E8A7D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7F44200-824E-4DCC-9A1B-50ADB0D35E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30E13E8-3F54-4170-8D4B-E65E3231A44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BABF249-ACDA-4281-9E97-6F9AE5DEE8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37969AA-F384-49FC-B5B5-32E449A5E02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99</c:v>
                </c:pt>
                <c:pt idx="1">
                  <c:v>0.98</c:v>
                </c:pt>
                <c:pt idx="2">
                  <c:v>0.99</c:v>
                </c:pt>
                <c:pt idx="3">
                  <c:v>0.96</c:v>
                </c:pt>
                <c:pt idx="4">
                  <c:v>0.86</c:v>
                </c:pt>
              </c:numCache>
            </c:numRef>
          </c:xVal>
          <c:yVal>
            <c:numRef>
              <c:f>Sheet1!$B$2:$B$6</c:f>
              <c:numCache>
                <c:formatCode>General</c:formatCode>
                <c:ptCount val="5"/>
                <c:pt idx="0">
                  <c:v>3316.9595959595958</c:v>
                </c:pt>
                <c:pt idx="1">
                  <c:v>1040.5408163265311</c:v>
                </c:pt>
                <c:pt idx="2">
                  <c:v>2060.515151515152</c:v>
                </c:pt>
                <c:pt idx="3">
                  <c:v>100.0416666666667</c:v>
                </c:pt>
                <c:pt idx="4">
                  <c:v>83.186046511627907</c:v>
                </c:pt>
              </c:numCache>
            </c:numRef>
          </c:yVal>
          <c:bubbleSize>
            <c:numRef>
              <c:f>Sheet1!$C$2:$C$6</c:f>
              <c:numCache>
                <c:formatCode>General</c:formatCode>
                <c:ptCount val="5"/>
                <c:pt idx="0">
                  <c:v>185329.7856</c:v>
                </c:pt>
                <c:pt idx="1">
                  <c:v>57629.263599999998</c:v>
                </c:pt>
                <c:pt idx="2">
                  <c:v>109087.9544</c:v>
                </c:pt>
                <c:pt idx="3">
                  <c:v>6780.0874000000003</c:v>
                </c:pt>
                <c:pt idx="4">
                  <c:v>3908.1405</c:v>
                </c:pt>
              </c:numCache>
            </c:numRef>
          </c:bubbleSize>
          <c:bubble3D val="0"/>
          <c:extLst>
            <c:ext xmlns:c15="http://schemas.microsoft.com/office/drawing/2012/chart" uri="{02D57815-91ED-43cb-92C2-25804820EDAC}">
              <c15:datalabelsRange>
                <c15:f>Sheet1!$E$2:$E$21</c15:f>
                <c15:dlblRangeCache>
                  <c:ptCount val="20"/>
                  <c:pt idx="0">
                    <c:v>Boursin Aperitif Roules Fromage Frais Roule Afh Et Jambon Fume Boite 1X100Gr 20P</c:v>
                  </c:pt>
                  <c:pt idx="1">
                    <c:v>Boursin Aperitif Roules Fromage Frais Roule Basilic &amp; Jambon Fume Tomate Boite 1X100Gr 20P</c:v>
                  </c:pt>
                  <c:pt idx="2">
                    <c:v>Boursin Aperitif Roules Fromage Frais Roule Ciboulette &amp; Echalote Jambon Fume Boite 1X100Gr 20P</c:v>
                  </c:pt>
                  <c:pt idx="3">
                    <c:v>Boursin Aperitif Roules Fromage Frais Roule Jambon Fume &amp; Trio De Noix Boite 1X100Gr 20P</c:v>
                  </c:pt>
                  <c:pt idx="4">
                    <c:v>Boursin Aperitif Roules Aperitif 10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E79A8AD-3F58-4967-A2B4-01FD87656E3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4B087E6-BF03-446A-8224-4460DA6521E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8EDD041-DCBD-4FED-944E-D2198C4C33C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882DB7C-5904-40DA-88A8-7466AE971CC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2917C6B-AB11-4A96-8534-A44C3A5842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BBE9373-FF96-437B-B369-57EE52F8390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3466594-F28D-4A0C-91FF-2CC3CA5F51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1EDEE4B-898A-4EC9-BC19-FCB9561AE0F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C8F2676-B25B-424E-B181-FF1B17F5DB1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8C3A654-BF8E-4F2C-BA0E-E329F524437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85</c:v>
                </c:pt>
                <c:pt idx="1">
                  <c:v>0.56999999999999995</c:v>
                </c:pt>
                <c:pt idx="2">
                  <c:v>0.56000000000000005</c:v>
                </c:pt>
                <c:pt idx="3">
                  <c:v>0.18</c:v>
                </c:pt>
                <c:pt idx="4">
                  <c:v>0.17</c:v>
                </c:pt>
              </c:numCache>
            </c:numRef>
          </c:xVal>
          <c:yVal>
            <c:numRef>
              <c:f>Sheet1!$B$2:$B$6</c:f>
              <c:numCache>
                <c:formatCode>General</c:formatCode>
                <c:ptCount val="5"/>
                <c:pt idx="0">
                  <c:v>2936.2117647058822</c:v>
                </c:pt>
                <c:pt idx="1">
                  <c:v>840.0877192982457</c:v>
                </c:pt>
                <c:pt idx="2">
                  <c:v>1739.339285714286</c:v>
                </c:pt>
                <c:pt idx="3">
                  <c:v>144.11111111111109</c:v>
                </c:pt>
                <c:pt idx="4">
                  <c:v>142.29411764705881</c:v>
                </c:pt>
              </c:numCache>
            </c:numRef>
          </c:yVal>
          <c:bubbleSize>
            <c:numRef>
              <c:f>Sheet1!$C$2:$C$6</c:f>
              <c:numCache>
                <c:formatCode>General</c:formatCode>
                <c:ptCount val="5"/>
                <c:pt idx="0">
                  <c:v>132048.75390000001</c:v>
                </c:pt>
                <c:pt idx="1">
                  <c:v>25896.57</c:v>
                </c:pt>
                <c:pt idx="2">
                  <c:v>48786.166700000002</c:v>
                </c:pt>
                <c:pt idx="3">
                  <c:v>1824.9043999999999</c:v>
                </c:pt>
                <c:pt idx="4">
                  <c:v>1316.502</c:v>
                </c:pt>
              </c:numCache>
            </c:numRef>
          </c:bubbleSize>
          <c:bubble3D val="0"/>
          <c:extLst>
            <c:ext xmlns:c15="http://schemas.microsoft.com/office/drawing/2012/chart" uri="{02D57815-91ED-43cb-92C2-25804820EDAC}">
              <c15:datalabelsRange>
                <c15:f>Sheet1!$E$2:$E$21</c15:f>
                <c15:dlblRangeCache>
                  <c:ptCount val="20"/>
                  <c:pt idx="0">
                    <c:v>Boursin Aperitif Roules Fromage Frais Roule Afh Et Jambon Fume Boite 1X100Gr 20P</c:v>
                  </c:pt>
                  <c:pt idx="1">
                    <c:v>Boursin Aperitif Roules Fromage Frais Roule Basilic &amp; Jambon Fume Tomate Boite 1X100Gr 20P</c:v>
                  </c:pt>
                  <c:pt idx="2">
                    <c:v>Boursin Aperitif Roules Fromage Frais Roule Ciboulette &amp; Echalote Jambon Fume Boite 1X100Gr 20P</c:v>
                  </c:pt>
                  <c:pt idx="3">
                    <c:v>Boursin Aperitif Roules Fromage Frais Roule Jambon Fume &amp; Trio De Noix Boite 1X100Gr 20P</c:v>
                  </c:pt>
                  <c:pt idx="4">
                    <c:v>Boursin Aperitif Roules Aperitif 10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33342FE-7066-488B-9915-FFACA5A811C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D208B40-D624-4586-B87A-AEC49D106D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2875009-E0DC-4AD3-8B15-C18C12F6DE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C206CC3-6D10-4E60-AB91-EE3794E3AB0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B01D3C1-4B76-4EFB-826D-298090D159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01E0A61-C0FC-47FE-96CF-040A30469D9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BDB94E1-490A-4532-A977-5867E1B13D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4C3AEB9-6744-4611-A7DA-E903420D8FA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FBD2C0F-2F04-409E-B77A-4C0AC3F130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3B179EC-6396-4270-978C-ADDD48333AE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0.85399999999999998</c:v>
                </c:pt>
                <c:pt idx="1">
                  <c:v>7.2999999999999995E-2</c:v>
                </c:pt>
                <c:pt idx="2">
                  <c:v>7.2999999999999995E-2</c:v>
                </c:pt>
                <c:pt idx="3">
                  <c:v>0.76400000000000001</c:v>
                </c:pt>
                <c:pt idx="4">
                  <c:v>0.26900000000000002</c:v>
                </c:pt>
              </c:numCache>
            </c:numRef>
          </c:xVal>
          <c:yVal>
            <c:numRef>
              <c:f>Sheet1!$B$2:$B$6</c:f>
              <c:numCache>
                <c:formatCode>General</c:formatCode>
                <c:ptCount val="5"/>
                <c:pt idx="0">
                  <c:v>9790.5854800936777</c:v>
                </c:pt>
                <c:pt idx="1">
                  <c:v>3420</c:v>
                </c:pt>
                <c:pt idx="2">
                  <c:v>3727.8082191780818</c:v>
                </c:pt>
                <c:pt idx="3">
                  <c:v>9643.9267015706791</c:v>
                </c:pt>
                <c:pt idx="4">
                  <c:v>1497.620817843866</c:v>
                </c:pt>
              </c:numCache>
            </c:numRef>
          </c:yVal>
          <c:bubbleSize>
            <c:numRef>
              <c:f>Sheet1!$C$2:$C$6</c:f>
              <c:numCache>
                <c:formatCode>General</c:formatCode>
                <c:ptCount val="5"/>
                <c:pt idx="0">
                  <c:v>497022.74139999988</c:v>
                </c:pt>
                <c:pt idx="1">
                  <c:v>15255.8817</c:v>
                </c:pt>
                <c:pt idx="2">
                  <c:v>15284.8145</c:v>
                </c:pt>
                <c:pt idx="3">
                  <c:v>440206.3137</c:v>
                </c:pt>
                <c:pt idx="4">
                  <c:v>20057.296200000001</c:v>
                </c:pt>
              </c:numCache>
            </c:numRef>
          </c:bubbleSize>
          <c:bubble3D val="0"/>
          <c:extLst>
            <c:ext xmlns:c15="http://schemas.microsoft.com/office/drawing/2012/chart" uri="{02D57815-91ED-43cb-92C2-25804820EDAC}">
              <c15:datalabelsRange>
                <c15:f>Sheet1!$E$2:$E$21</c15:f>
                <c15:dlblRangeCache>
                  <c:ptCount val="20"/>
                  <c:pt idx="0">
                    <c:v>Toastinette Cheddar Fondu Tranche A Chaud Sachet 1X200Gr 10P</c:v>
                  </c:pt>
                  <c:pt idx="1">
                    <c:v>Toastinette Cheddar Fondu Tranche A Chaud Sachet 1X340Gr 20P</c:v>
                  </c:pt>
                  <c:pt idx="2">
                    <c:v>Toastinette Fromage Fondu Tranche A Chaud Sachet 1X340Gr 20P</c:v>
                  </c:pt>
                  <c:pt idx="3">
                    <c:v>Toastinette Fromage Fondu Tranche A Chaud Sachet 1X200Gr 10P</c:v>
                  </c:pt>
                  <c:pt idx="4">
                    <c:v>La Vache Qui Rit Le Fondant Fromage Fondu 1X20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FE90EBC-3FDF-4AD2-8F5C-E15E0C779A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1079E80-DD6B-4F28-91FE-7C71D8A790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F136069-1600-43B3-BD2B-E5A3068BB1F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AF06231-38EF-45AA-81E2-797B4D4CB6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F4FE3CC-ABE1-4152-A342-4AB104F0A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4D898C9-1EE4-4D41-B46B-B71BAFE9DFF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C9EC3DB-BDE0-4330-A2C8-E931CB0AEDE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55452D0-BE41-4A25-8A1A-DD4A8CCDDD1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E27A31E-956D-4E62-9385-72004F532C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C506962-F9E3-4AA3-85EB-D9A5D859C57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77300000000000002</c:v>
                </c:pt>
              </c:numCache>
            </c:numRef>
          </c:xVal>
          <c:yVal>
            <c:numRef>
              <c:f>Sheet1!$B$2:$B$2</c:f>
              <c:numCache>
                <c:formatCode>General</c:formatCode>
                <c:ptCount val="1"/>
                <c:pt idx="0">
                  <c:v>4929.184993531695</c:v>
                </c:pt>
              </c:numCache>
            </c:numRef>
          </c:yVal>
          <c:bubbleSize>
            <c:numRef>
              <c:f>Sheet1!$C$2:$C$2</c:f>
              <c:numCache>
                <c:formatCode>General</c:formatCode>
                <c:ptCount val="1"/>
                <c:pt idx="0">
                  <c:v>214406.42539999989</c:v>
                </c:pt>
              </c:numCache>
            </c:numRef>
          </c:bubbleSize>
          <c:bubble3D val="0"/>
          <c:extLst>
            <c:ext xmlns:c15="http://schemas.microsoft.com/office/drawing/2012/chart" uri="{02D57815-91ED-43cb-92C2-25804820EDAC}">
              <c15:datalabelsRange>
                <c15:f>Sheet1!$E$2:$E$21</c15:f>
                <c15:dlblRangeCache>
                  <c:ptCount val="20"/>
                  <c:pt idx="0">
                    <c:v>Boursin Cuisine Sauce Fromage Afh 1X24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B66F915-3986-4359-BBC7-EA3D6162314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00268D9-289B-44D3-82C8-BF51591A78C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B008A76-CB23-4891-8EDF-D2C78B9B434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A6D6523-D405-4F84-A14A-4DD6945F5C0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B96121C-6E36-4B8A-AD99-576B3856C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25335D2-D9BE-4A5C-B542-89F8279FF88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273603C-6AC1-46FE-BA0D-C7098ADBEE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9DBCC0C-1E82-425A-B166-2DF8B44225F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4990121-69FD-45CE-9DFF-CA7E0C23DC8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7BBC8EB-A32F-467B-A31E-D23FBE21454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873</c:v>
                </c:pt>
              </c:numCache>
            </c:numRef>
          </c:xVal>
          <c:yVal>
            <c:numRef>
              <c:f>Sheet1!$B$2:$B$2</c:f>
              <c:numCache>
                <c:formatCode>General</c:formatCode>
                <c:ptCount val="1"/>
                <c:pt idx="0">
                  <c:v>8120.2634593356242</c:v>
                </c:pt>
              </c:numCache>
            </c:numRef>
          </c:yVal>
          <c:bubbleSize>
            <c:numRef>
              <c:f>Sheet1!$C$2:$C$2</c:f>
              <c:numCache>
                <c:formatCode>General</c:formatCode>
                <c:ptCount val="1"/>
                <c:pt idx="0">
                  <c:v>404691.69180000009</c:v>
                </c:pt>
              </c:numCache>
            </c:numRef>
          </c:bubbleSize>
          <c:bubble3D val="0"/>
          <c:extLst>
            <c:ext xmlns:c15="http://schemas.microsoft.com/office/drawing/2012/chart" uri="{02D57815-91ED-43cb-92C2-25804820EDAC}">
              <c15:datalabelsRange>
                <c15:f>Sheet1!$E$2:$E$21</c15:f>
                <c15:dlblRangeCache>
                  <c:ptCount val="20"/>
                  <c:pt idx="0">
                    <c:v>Boursin Cuisine Sauce Fromage Afh 1X24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BC8D61A-43C2-458E-84B4-2492203B97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48D6DA3-436A-4728-9180-2F6B6FD3BA0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316EAE1-B114-43A9-894A-FD960FF3FC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19AE08D-C6AE-4D70-9049-F7A69890AD8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CBD8090-EA41-4930-83E8-14F408E4D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DCCE0B8-53A4-4D31-90AA-EF4C03709FB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4D35BE1-BA7C-40AD-BEE8-2AE8AE8AA95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AAECFE3-80FD-4767-B41A-F6312D4C62B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5BF3B5D-9073-4D94-A4B7-74A28BE3D32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4710936-A30C-41A2-9912-33A85319F57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6</c:f>
              <c:numCache>
                <c:formatCode>General</c:formatCode>
                <c:ptCount val="5"/>
                <c:pt idx="0">
                  <c:v>1</c:v>
                </c:pt>
                <c:pt idx="1">
                  <c:v>0.16</c:v>
                </c:pt>
                <c:pt idx="2">
                  <c:v>0.16</c:v>
                </c:pt>
                <c:pt idx="3">
                  <c:v>1</c:v>
                </c:pt>
                <c:pt idx="4">
                  <c:v>0.59</c:v>
                </c:pt>
              </c:numCache>
            </c:numRef>
          </c:xVal>
          <c:yVal>
            <c:numRef>
              <c:f>Sheet1!$B$2:$B$6</c:f>
              <c:numCache>
                <c:formatCode>General</c:formatCode>
                <c:ptCount val="5"/>
                <c:pt idx="0">
                  <c:v>4355.3900000000003</c:v>
                </c:pt>
                <c:pt idx="1">
                  <c:v>1560.375</c:v>
                </c:pt>
                <c:pt idx="2">
                  <c:v>1699.3125</c:v>
                </c:pt>
                <c:pt idx="3">
                  <c:v>4384.49</c:v>
                </c:pt>
                <c:pt idx="4">
                  <c:v>682.81355932203394</c:v>
                </c:pt>
              </c:numCache>
            </c:numRef>
          </c:yVal>
          <c:bubbleSize>
            <c:numRef>
              <c:f>Sheet1!$C$2:$C$6</c:f>
              <c:numCache>
                <c:formatCode>General</c:formatCode>
                <c:ptCount val="5"/>
                <c:pt idx="0">
                  <c:v>263410.821</c:v>
                </c:pt>
                <c:pt idx="1">
                  <c:v>15255.8817</c:v>
                </c:pt>
                <c:pt idx="2">
                  <c:v>15268.289500000001</c:v>
                </c:pt>
                <c:pt idx="3">
                  <c:v>264737.46529999998</c:v>
                </c:pt>
                <c:pt idx="4">
                  <c:v>20057.296200000001</c:v>
                </c:pt>
              </c:numCache>
            </c:numRef>
          </c:bubbleSize>
          <c:bubble3D val="0"/>
          <c:extLst>
            <c:ext xmlns:c15="http://schemas.microsoft.com/office/drawing/2012/chart" uri="{02D57815-91ED-43cb-92C2-25804820EDAC}">
              <c15:datalabelsRange>
                <c15:f>Sheet1!$E$2:$E$21</c15:f>
                <c15:dlblRangeCache>
                  <c:ptCount val="20"/>
                  <c:pt idx="0">
                    <c:v>Toastinette Cheddar Fondu Tranche A Chaud Sachet 1X200Gr 10P</c:v>
                  </c:pt>
                  <c:pt idx="1">
                    <c:v>Toastinette Cheddar Fondu Tranche A Chaud Sachet 1X340Gr 20P</c:v>
                  </c:pt>
                  <c:pt idx="2">
                    <c:v>Toastinette Fromage Fondu Tranche A Chaud Sachet 1X340Gr 20P</c:v>
                  </c:pt>
                  <c:pt idx="3">
                    <c:v>Toastinette Fromage Fondu Tranche A Chaud Sachet 1X200Gr 10P</c:v>
                  </c:pt>
                  <c:pt idx="4">
                    <c:v>La Vache Qui Rit Le Fondant Fromage Fondu 1X20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CC7DD70-0C78-4698-90FA-8CC2AF5E3E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C3DB79B-7E45-4A3E-952C-2929A47D4A3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49C76B6-B1A6-4F06-B588-94DFCC132D6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0467A6F-7B84-4EBC-8D7A-7618B596AF1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7AD814B-C974-43B8-AE80-81E190DE5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E18F238-3E05-4DA7-8ADE-D81BFAEA7E3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81DF0CB-C1AF-49C8-B35D-2D3ADFC8FDE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811E5E6-EBFB-4A69-8CAC-C568F3ADB5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40CF21A-4DF1-4660-B666-26F193C3B6B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6CF2504-D81E-454E-8C8F-B59350352E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98</c:v>
                </c:pt>
              </c:numCache>
            </c:numRef>
          </c:xVal>
          <c:yVal>
            <c:numRef>
              <c:f>Sheet1!$B$2:$B$2</c:f>
              <c:numCache>
                <c:formatCode>General</c:formatCode>
                <c:ptCount val="1"/>
                <c:pt idx="0">
                  <c:v>1964.9795918367349</c:v>
                </c:pt>
              </c:numCache>
            </c:numRef>
          </c:yVal>
          <c:bubbleSize>
            <c:numRef>
              <c:f>Sheet1!$C$2:$C$2</c:f>
              <c:numCache>
                <c:formatCode>General</c:formatCode>
                <c:ptCount val="1"/>
                <c:pt idx="0">
                  <c:v>114242.4955</c:v>
                </c:pt>
              </c:numCache>
            </c:numRef>
          </c:bubbleSize>
          <c:bubble3D val="0"/>
          <c:extLst>
            <c:ext xmlns:c15="http://schemas.microsoft.com/office/drawing/2012/chart" uri="{02D57815-91ED-43cb-92C2-25804820EDAC}">
              <c15:datalabelsRange>
                <c15:f>Sheet1!$E$2:$E$21</c15:f>
                <c15:dlblRangeCache>
                  <c:ptCount val="20"/>
                  <c:pt idx="0">
                    <c:v>Boursin Cuisine Sauce Fromage Afh 1X24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1AA8833-476A-4D3C-A23B-A344A6D3551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AA5AF4C-52ED-479C-911F-F8B3BAE7C67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E0079A0-8508-43CE-9BA3-956452DF0E4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8AEB8E3-3915-4610-923C-63241E1B10B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E489D53-54FF-4937-BBF5-911DB566D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F7FAE89-CC29-45C7-BC03-A6FE5E96E50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6101CC9-9BAB-4B20-8340-28912BE3E7C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5DE83DF-C6BD-4D3D-931A-E98FDF9D6EE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A791F6B-9438-4D4F-9A4C-A138A1145DF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8775AD6-2944-4939-92D9-A946D9C7FA0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97</c:v>
                </c:pt>
                <c:pt idx="1">
                  <c:v>0.79</c:v>
                </c:pt>
              </c:numCache>
            </c:numRef>
          </c:xVal>
          <c:yVal>
            <c:numRef>
              <c:f>Sheet1!$B$2:$B$3</c:f>
              <c:numCache>
                <c:formatCode>General</c:formatCode>
                <c:ptCount val="2"/>
                <c:pt idx="0">
                  <c:v>3677.6391752577319</c:v>
                </c:pt>
                <c:pt idx="1">
                  <c:v>3513.0253164556962</c:v>
                </c:pt>
              </c:numCache>
            </c:numRef>
          </c:yVal>
          <c:bubbleSize>
            <c:numRef>
              <c:f>Sheet1!$C$2:$C$3</c:f>
              <c:numCache>
                <c:formatCode>General</c:formatCode>
                <c:ptCount val="2"/>
                <c:pt idx="0">
                  <c:v>210256.40059999999</c:v>
                </c:pt>
                <c:pt idx="1">
                  <c:v>163944.598</c:v>
                </c:pt>
              </c:numCache>
            </c:numRef>
          </c:bubbleSize>
          <c:bubble3D val="0"/>
          <c:extLst>
            <c:ext xmlns:c15="http://schemas.microsoft.com/office/drawing/2012/chart" uri="{02D57815-91ED-43cb-92C2-25804820EDAC}">
              <c15:datalabelsRange>
                <c15:f>Sheet1!$E$2:$E$21</c15:f>
                <c15:dlblRangeCache>
                  <c:ptCount val="20"/>
                  <c:pt idx="0">
                    <c:v>Toastinette Cheddar Fondu Tranche A Chaud Sachet 1X200Gr 10P</c:v>
                  </c:pt>
                  <c:pt idx="1">
                    <c:v>Toastinette Fromage Fondu Tranche A Chaud Sachet 1X200Gr 10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6BB6D60-5725-4B65-B8A5-E151F2D0DDC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58CAE99-F624-4B98-9D32-AAD7B4247D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B96BE22-7F10-49E0-808F-5FD1D2A8D46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AFECD45-16F6-4483-AF8D-3CE59BD7BCD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72192D6-3C0B-412D-AE64-184FD6BE6D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68A898E-238A-4333-8ACD-423858BD62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69E4D6A-71B4-4466-ADDB-78B529E77DB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7BAF1BD-D705-4108-B809-1B38CCDD9A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7C7EC4C-E368-4466-A2BF-BFBA32A3659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A67EC1B-4357-4499-BFF7-D522AEC322E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72</c:v>
                </c:pt>
              </c:numCache>
            </c:numRef>
          </c:xVal>
          <c:yVal>
            <c:numRef>
              <c:f>Sheet1!$B$2:$B$2</c:f>
              <c:numCache>
                <c:formatCode>General</c:formatCode>
                <c:ptCount val="1"/>
                <c:pt idx="0">
                  <c:v>1510.3611111111111</c:v>
                </c:pt>
              </c:numCache>
            </c:numRef>
          </c:yVal>
          <c:bubbleSize>
            <c:numRef>
              <c:f>Sheet1!$C$2:$C$2</c:f>
              <c:numCache>
                <c:formatCode>General</c:formatCode>
                <c:ptCount val="1"/>
                <c:pt idx="0">
                  <c:v>61677.407299999999</c:v>
                </c:pt>
              </c:numCache>
            </c:numRef>
          </c:bubbleSize>
          <c:bubble3D val="0"/>
          <c:extLst>
            <c:ext xmlns:c15="http://schemas.microsoft.com/office/drawing/2012/chart" uri="{02D57815-91ED-43cb-92C2-25804820EDAC}">
              <c15:datalabelsRange>
                <c15:f>Sheet1!$E$2:$E$21</c15:f>
                <c15:dlblRangeCache>
                  <c:ptCount val="20"/>
                  <c:pt idx="0">
                    <c:v>Boursin Cuisine Sauce Fromage Afh 1X24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rivate Label</c:v>
                </c:pt>
                <c:pt idx="2">
                  <c:v>Paysan Breton</c:v>
                </c:pt>
                <c:pt idx="3">
                  <c:v>Tartare</c:v>
                </c:pt>
                <c:pt idx="4">
                  <c:v>Boursin</c:v>
                </c:pt>
                <c:pt idx="5">
                  <c:v>Philadelphia</c:v>
                </c:pt>
                <c:pt idx="6">
                  <c:v>Carre Frais</c:v>
                </c:pt>
                <c:pt idx="7">
                  <c:v>Kiri</c:v>
                </c:pt>
                <c:pt idx="8">
                  <c:v>La Vache Qui Rit</c:v>
                </c:pt>
                <c:pt idx="9">
                  <c:v>Others</c:v>
                </c:pt>
              </c:strCache>
            </c:strRef>
          </c:cat>
          <c:val>
            <c:numRef>
              <c:f>Sheet1!$B$2:$B$11</c:f>
              <c:numCache>
                <c:formatCode>General</c:formatCode>
                <c:ptCount val="10"/>
                <c:pt idx="0">
                  <c:v>0.2681909816214102</c:v>
                </c:pt>
                <c:pt idx="1">
                  <c:v>0.21660717262365337</c:v>
                </c:pt>
                <c:pt idx="2">
                  <c:v>0.15351086607812078</c:v>
                </c:pt>
                <c:pt idx="3">
                  <c:v>9.8033752554767692E-2</c:v>
                </c:pt>
                <c:pt idx="4">
                  <c:v>9.680069867927657E-2</c:v>
                </c:pt>
                <c:pt idx="5">
                  <c:v>8.4860571209743163E-2</c:v>
                </c:pt>
                <c:pt idx="6">
                  <c:v>5.0952494096346432E-2</c:v>
                </c:pt>
                <c:pt idx="7">
                  <c:v>2.1181202843015411E-2</c:v>
                </c:pt>
                <c:pt idx="8">
                  <c:v>1.7637020884674776E-6</c:v>
                </c:pt>
                <c:pt idx="9">
                  <c:v>9.8604965915778785E-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rivate Label</c:v>
                </c:pt>
                <c:pt idx="2">
                  <c:v>Paysan Breton</c:v>
                </c:pt>
                <c:pt idx="3">
                  <c:v>Tartare</c:v>
                </c:pt>
                <c:pt idx="4">
                  <c:v>Boursin</c:v>
                </c:pt>
                <c:pt idx="5">
                  <c:v>Philadelphia</c:v>
                </c:pt>
                <c:pt idx="6">
                  <c:v>Carre Frais</c:v>
                </c:pt>
                <c:pt idx="7">
                  <c:v>Kiri</c:v>
                </c:pt>
                <c:pt idx="8">
                  <c:v>La Vache Qui Rit</c:v>
                </c:pt>
                <c:pt idx="9">
                  <c:v>Others</c:v>
                </c:pt>
              </c:strCache>
            </c:strRef>
          </c:cat>
          <c:val>
            <c:numRef>
              <c:f>Sheet1!$C$2:$C$11</c:f>
              <c:numCache>
                <c:formatCode>General</c:formatCode>
                <c:ptCount val="10"/>
                <c:pt idx="0">
                  <c:v>0.19004207573632539</c:v>
                </c:pt>
                <c:pt idx="1">
                  <c:v>0.19284712482468444</c:v>
                </c:pt>
                <c:pt idx="2">
                  <c:v>0.15778401122019636</c:v>
                </c:pt>
                <c:pt idx="3">
                  <c:v>0.12482468443197754</c:v>
                </c:pt>
                <c:pt idx="4">
                  <c:v>0.12412342215988779</c:v>
                </c:pt>
                <c:pt idx="5">
                  <c:v>6.5918653576437586E-2</c:v>
                </c:pt>
                <c:pt idx="6">
                  <c:v>6.3814866760168301E-2</c:v>
                </c:pt>
                <c:pt idx="7">
                  <c:v>5.8204768583450216E-2</c:v>
                </c:pt>
                <c:pt idx="8">
                  <c:v>0</c:v>
                </c:pt>
                <c:pt idx="9">
                  <c:v>2.244039270687237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 Moret</c:v>
                </c:pt>
                <c:pt idx="1">
                  <c:v>Private Label</c:v>
                </c:pt>
                <c:pt idx="2">
                  <c:v>Paysan Breton</c:v>
                </c:pt>
                <c:pt idx="3">
                  <c:v>Tartare</c:v>
                </c:pt>
                <c:pt idx="4">
                  <c:v>Boursin</c:v>
                </c:pt>
                <c:pt idx="5">
                  <c:v>Philadelphia</c:v>
                </c:pt>
                <c:pt idx="6">
                  <c:v>Carre Frais</c:v>
                </c:pt>
                <c:pt idx="7">
                  <c:v>Kiri</c:v>
                </c:pt>
                <c:pt idx="8">
                  <c:v>La Vache Qui Rit</c:v>
                </c:pt>
                <c:pt idx="9">
                  <c:v>Others</c:v>
                </c:pt>
              </c:strCache>
            </c:strRef>
          </c:cat>
          <c:val>
            <c:numRef>
              <c:f>Sheet1!$D$2:$D$11</c:f>
              <c:numCache>
                <c:formatCode>General</c:formatCode>
                <c:ptCount val="10"/>
                <c:pt idx="0">
                  <c:v>70.860725661758778</c:v>
                </c:pt>
                <c:pt idx="1">
                  <c:v>89.030812086610311</c:v>
                </c:pt>
                <c:pt idx="2">
                  <c:v>102.78361086172299</c:v>
                </c:pt>
                <c:pt idx="3">
                  <c:v>127.32827335385615</c:v>
                </c:pt>
                <c:pt idx="4">
                  <c:v>128.22575028217287</c:v>
                </c:pt>
                <c:pt idx="5">
                  <c:v>77.678776652954255</c:v>
                </c:pt>
                <c:pt idx="6">
                  <c:v>125.24385291032137</c:v>
                </c:pt>
                <c:pt idx="7">
                  <c:v>274.7944439927947</c:v>
                </c:pt>
                <c:pt idx="8">
                  <c:v>1</c:v>
                </c:pt>
                <c:pt idx="9">
                  <c:v>227.578727891243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E19DD27-D3E3-4A84-A535-91161C47D5A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30DE8D8-7C45-417E-BADA-156A741100C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B80EF71-868A-402A-BD1F-6C473D0ADF4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C19DFD1-79AE-4FE4-90E6-3BA8944760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C4BD157-0850-47E8-88F1-48000ECC13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9AE16FC-60F1-45DB-8311-4BBE949FBD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32544B4-B501-43C3-8977-8BDC45481D3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1E48762-4EB7-41BD-9EC0-1E55E03DFD2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F32991A-4B3D-4A89-986F-FC89F235E3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1D64F5C-9EBD-4920-9E7D-BC8F8FF9BB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18</c:v>
                </c:pt>
                <c:pt idx="1">
                  <c:v>0.05</c:v>
                </c:pt>
              </c:numCache>
            </c:numRef>
          </c:xVal>
          <c:yVal>
            <c:numRef>
              <c:f>Sheet1!$B$2:$B$3</c:f>
              <c:numCache>
                <c:formatCode>General</c:formatCode>
                <c:ptCount val="2"/>
                <c:pt idx="0">
                  <c:v>2435.8888888888891</c:v>
                </c:pt>
                <c:pt idx="1">
                  <c:v>4163.6000000000004</c:v>
                </c:pt>
              </c:numCache>
            </c:numRef>
          </c:yVal>
          <c:bubbleSize>
            <c:numRef>
              <c:f>Sheet1!$C$2:$C$3</c:f>
              <c:numCache>
                <c:formatCode>General</c:formatCode>
                <c:ptCount val="2"/>
                <c:pt idx="0">
                  <c:v>23355.519799999998</c:v>
                </c:pt>
                <c:pt idx="1">
                  <c:v>11524.250400000001</c:v>
                </c:pt>
              </c:numCache>
            </c:numRef>
          </c:bubbleSize>
          <c:bubble3D val="0"/>
          <c:extLst>
            <c:ext xmlns:c15="http://schemas.microsoft.com/office/drawing/2012/chart" uri="{02D57815-91ED-43cb-92C2-25804820EDAC}">
              <c15:datalabelsRange>
                <c15:f>Sheet1!$E$2:$E$21</c15:f>
                <c15:dlblRangeCache>
                  <c:ptCount val="20"/>
                  <c:pt idx="0">
                    <c:v>Toastinette Cheddar Fondu Tranche A Chaud Sachet 1X200Gr 10P</c:v>
                  </c:pt>
                  <c:pt idx="1">
                    <c:v>Toastinette Fromage Fondu Tranche A Chaud Sachet 1X200Gr 10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213B5FB-8283-4AB8-B765-99DFB249F17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A302AB8-2699-495C-A523-8C08247ABCF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967120F-774A-4D18-ADA2-88A9A9F0A4E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D30BCE4-2FD5-4A42-B088-0EE9E8137C7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15A89F2-1D28-4E8D-8429-829FD20DA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FE2689A-0508-45B6-B44B-C1A07076755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50736BF-A79C-401F-AF13-6868521ACCB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956FD33-E5F1-4D70-A864-5350F8CD95D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4F5A1BE-A1A5-4A14-97CA-31F8DC62B6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9C59870-3B85-4D9F-AE12-555A0B59C88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32</c:v>
                </c:pt>
              </c:numCache>
            </c:numRef>
          </c:xVal>
          <c:yVal>
            <c:numRef>
              <c:f>Sheet1!$B$2:$B$2</c:f>
              <c:numCache>
                <c:formatCode>General</c:formatCode>
                <c:ptCount val="1"/>
                <c:pt idx="0">
                  <c:v>2491</c:v>
                </c:pt>
              </c:numCache>
            </c:numRef>
          </c:yVal>
          <c:bubbleSize>
            <c:numRef>
              <c:f>Sheet1!$C$2:$C$2</c:f>
              <c:numCache>
                <c:formatCode>General</c:formatCode>
                <c:ptCount val="1"/>
                <c:pt idx="0">
                  <c:v>38486.522599999997</c:v>
                </c:pt>
              </c:numCache>
            </c:numRef>
          </c:bubbleSize>
          <c:bubble3D val="0"/>
          <c:extLst>
            <c:ext xmlns:c15="http://schemas.microsoft.com/office/drawing/2012/chart" uri="{02D57815-91ED-43cb-92C2-25804820EDAC}">
              <c15:datalabelsRange>
                <c15:f>Sheet1!$E$2:$E$21</c15:f>
                <c15:dlblRangeCache>
                  <c:ptCount val="20"/>
                  <c:pt idx="0">
                    <c:v>Boursin Cuisine Sauce Fromage Afh 1X24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ECB4888-B7E3-40CF-B5B5-71B0BC9DA4B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6F53353-AAFE-40B2-A6F9-56EE9D52D98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F8D5E9B-79CA-4CDA-B209-C5EF93FCF9F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4D85ACC-A53E-48B0-9A70-B38B9ABCD7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C662B0F-7721-4C0C-98C8-CAFB6C856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F7C9A79-BC0B-45B9-9C7D-C47BE23FB26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76A9704-15BC-4B49-9D99-8243A8A918B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3FEBD8B-0D4C-455E-8C60-BCDC9A4F39A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273B2B4-8C69-4953-A01A-F2FECF83562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402B5B7-614C-4B9F-ABA7-943D750E4C9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88</c:v>
                </c:pt>
              </c:numCache>
            </c:numRef>
          </c:xVal>
          <c:yVal>
            <c:numRef>
              <c:f>Sheet1!$B$2:$B$2</c:f>
              <c:numCache>
                <c:formatCode>General</c:formatCode>
                <c:ptCount val="1"/>
                <c:pt idx="0">
                  <c:v>5857.977272727273</c:v>
                </c:pt>
              </c:numCache>
            </c:numRef>
          </c:yVal>
          <c:bubbleSize>
            <c:numRef>
              <c:f>Sheet1!$C$2:$C$2</c:f>
              <c:numCache>
                <c:formatCode>General</c:formatCode>
                <c:ptCount val="1"/>
                <c:pt idx="0">
                  <c:v>295950.19549999997</c:v>
                </c:pt>
              </c:numCache>
            </c:numRef>
          </c:bubbleSize>
          <c:bubble3D val="0"/>
          <c:extLst>
            <c:ext xmlns:c15="http://schemas.microsoft.com/office/drawing/2012/chart" uri="{02D57815-91ED-43cb-92C2-25804820EDAC}">
              <c15:datalabelsRange>
                <c15:f>Sheet1!$E$2:$E$21</c15:f>
                <c15:dlblRangeCache>
                  <c:ptCount val="20"/>
                  <c:pt idx="0">
                    <c:v>Boursin Cuisine Sauce Fromage Afh 1X24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9D6CCD8-732A-4F01-9F88-8E01F9AD848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B3B620B-4D0E-430D-95AB-FCCACB575B9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4FA8127-374F-4783-8BC8-3F7165628D6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F21800C-DCFC-49AA-BE10-B045E3B6D96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F7ED0B-AAE0-4E3B-B4C4-874E9FFD7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4A9BBD6-1B94-427F-9D08-1688ECBA727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1B1A6D5-D6AB-48FB-B307-72D7BDAAAB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D96B5FC-20CF-457A-B5C0-EA95EBEAD26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FE28557-C634-46B3-B002-49EECED63A5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BFD5E4D-DE51-40EE-956B-DE87D7E1480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96</c:v>
                </c:pt>
              </c:numCache>
            </c:numRef>
          </c:xVal>
          <c:yVal>
            <c:numRef>
              <c:f>Sheet1!$B$2:$B$2</c:f>
              <c:numCache>
                <c:formatCode>General</c:formatCode>
                <c:ptCount val="1"/>
                <c:pt idx="0">
                  <c:v>819.71875</c:v>
                </c:pt>
              </c:numCache>
            </c:numRef>
          </c:yVal>
          <c:bubbleSize>
            <c:numRef>
              <c:f>Sheet1!$C$2:$C$2</c:f>
              <c:numCache>
                <c:formatCode>General</c:formatCode>
                <c:ptCount val="1"/>
                <c:pt idx="0">
                  <c:v>46837.77350000001</c:v>
                </c:pt>
              </c:numCache>
            </c:numRef>
          </c:bubbleSize>
          <c:bubble3D val="0"/>
          <c:extLst>
            <c:ext xmlns:c15="http://schemas.microsoft.com/office/drawing/2012/chart" uri="{02D57815-91ED-43cb-92C2-25804820EDAC}">
              <c15:datalabelsRange>
                <c15:f>Sheet1!$E$2:$E$21</c15:f>
                <c15:dlblRangeCache>
                  <c:ptCount val="20"/>
                  <c:pt idx="0">
                    <c:v>Boursin Cuisine Sauce Fromage Afh 1X24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C3A7F12-D595-44D1-9DC6-89BEC58C05F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8822472-5BB1-424C-97CB-9686E8343F9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9FC09B0-4820-4A04-8FAB-CF49F71CB41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28B2247-96EF-418C-BF90-033BDDA94B4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E1224DE-31C3-4CC4-8B52-FE37164258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5811F65-8A65-4A03-BAF7-1C7F61A58C6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931C60C-6698-4C73-BA74-DBFF412FE8E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BD2F67F-FD51-4869-8F60-BC5F4061EC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7F89E60-A5D6-446C-8E63-53773C51DCE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41D0DA7-F057-4DD3-8592-901ABFE3EEF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73</c:v>
                </c:pt>
              </c:numCache>
            </c:numRef>
          </c:xVal>
          <c:yVal>
            <c:numRef>
              <c:f>Sheet1!$B$2:$B$2</c:f>
              <c:numCache>
                <c:formatCode>General</c:formatCode>
                <c:ptCount val="1"/>
                <c:pt idx="0">
                  <c:v>1571.2876712328771</c:v>
                </c:pt>
              </c:numCache>
            </c:numRef>
          </c:yVal>
          <c:bubbleSize>
            <c:numRef>
              <c:f>Sheet1!$C$2:$C$2</c:f>
              <c:numCache>
                <c:formatCode>General</c:formatCode>
                <c:ptCount val="1"/>
                <c:pt idx="0">
                  <c:v>61903.722800000003</c:v>
                </c:pt>
              </c:numCache>
            </c:numRef>
          </c:bubbleSize>
          <c:bubble3D val="0"/>
          <c:extLst>
            <c:ext xmlns:c15="http://schemas.microsoft.com/office/drawing/2012/chart" uri="{02D57815-91ED-43cb-92C2-25804820EDAC}">
              <c15:datalabelsRange>
                <c15:f>Sheet1!$E$2:$E$21</c15:f>
                <c15:dlblRangeCache>
                  <c:ptCount val="20"/>
                  <c:pt idx="0">
                    <c:v>Boursin Cuisine Sauce Fromage Afh 1X24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EB47F06-FF55-4650-B80A-B9AA4922788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7406A44-EAE3-4A20-9A08-1C551B787B9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0F600B9-7B7B-47FE-9576-168CCC7DF66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BF4CE38-8564-458E-9DD7-48D53E0EED9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A97762A-3D88-4393-98A9-9621C378C5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6C7D305-EA32-40E7-B011-4017B4967E4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64A7A51-8BAD-46DE-85DF-4236694D1D1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87CED1D-2B4C-4FC8-B896-05E2810598B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4B57C1C-BB1D-4AC7-BBFF-2213307E303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681AF9C-97F8-4DDD-B3F8-45E3CC0432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77800000000000002</c:v>
                </c:pt>
                <c:pt idx="1">
                  <c:v>0.83399999999999996</c:v>
                </c:pt>
                <c:pt idx="2">
                  <c:v>0.71599999999999997</c:v>
                </c:pt>
                <c:pt idx="3">
                  <c:v>0.99</c:v>
                </c:pt>
                <c:pt idx="4">
                  <c:v>0.502</c:v>
                </c:pt>
                <c:pt idx="5">
                  <c:v>0.94899999999999995</c:v>
                </c:pt>
                <c:pt idx="6">
                  <c:v>0.73199999999999998</c:v>
                </c:pt>
              </c:numCache>
            </c:numRef>
          </c:xVal>
          <c:yVal>
            <c:numRef>
              <c:f>Sheet1!$B$2:$B$8</c:f>
              <c:numCache>
                <c:formatCode>General</c:formatCode>
                <c:ptCount val="7"/>
                <c:pt idx="0">
                  <c:v>81394.755784061694</c:v>
                </c:pt>
                <c:pt idx="1">
                  <c:v>42862.613908872903</c:v>
                </c:pt>
                <c:pt idx="2">
                  <c:v>16379.70670391062</c:v>
                </c:pt>
                <c:pt idx="3">
                  <c:v>47708.959595959597</c:v>
                </c:pt>
                <c:pt idx="4">
                  <c:v>5967.6095617529882</c:v>
                </c:pt>
                <c:pt idx="5">
                  <c:v>34465.816649104323</c:v>
                </c:pt>
                <c:pt idx="6">
                  <c:v>25172.049180327871</c:v>
                </c:pt>
              </c:numCache>
            </c:numRef>
          </c:yVal>
          <c:bubbleSize>
            <c:numRef>
              <c:f>Sheet1!$C$2:$C$8</c:f>
              <c:numCache>
                <c:formatCode>General</c:formatCode>
                <c:ptCount val="7"/>
                <c:pt idx="0">
                  <c:v>3725061.8516000011</c:v>
                </c:pt>
                <c:pt idx="1">
                  <c:v>2366962.6518000001</c:v>
                </c:pt>
                <c:pt idx="2">
                  <c:v>819173.43059999985</c:v>
                </c:pt>
                <c:pt idx="3">
                  <c:v>2907579.7757999999</c:v>
                </c:pt>
                <c:pt idx="4">
                  <c:v>183986.73240000001</c:v>
                </c:pt>
                <c:pt idx="5">
                  <c:v>1863564.0796999999</c:v>
                </c:pt>
                <c:pt idx="6">
                  <c:v>1155386.3507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C53D8E9-6776-44E9-B7D3-9BAB5CE9059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1BD5DD8-A003-418A-831B-A4C4484F5F7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5FA874C-0A81-48F6-9F3D-FC8A26A7D49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AFB1533-6E6D-41D2-A44F-6BD883545F6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5880829-24EF-45A8-8046-5EE11E7CD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9AF0A60-CC59-4732-851A-47B0F43782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1A18B9F-241A-4942-8F95-BDADC441028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0C3E0F9-E19C-4ECA-94E1-13936C2094E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0F2EE9A-393D-4CB1-B005-1F376F563DD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887B637-295D-42F3-8885-6840F5808C1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3.6999999999999998E-2</c:v>
                </c:pt>
                <c:pt idx="1">
                  <c:v>0.98099999999999998</c:v>
                </c:pt>
                <c:pt idx="2">
                  <c:v>0.72499999999999998</c:v>
                </c:pt>
                <c:pt idx="3">
                  <c:v>0.89800000000000002</c:v>
                </c:pt>
                <c:pt idx="4">
                  <c:v>0.82699999999999996</c:v>
                </c:pt>
                <c:pt idx="5">
                  <c:v>0.495</c:v>
                </c:pt>
                <c:pt idx="6">
                  <c:v>0.69399999999999995</c:v>
                </c:pt>
                <c:pt idx="7">
                  <c:v>8.0000000000000002E-3</c:v>
                </c:pt>
                <c:pt idx="8">
                  <c:v>0.48199999999999998</c:v>
                </c:pt>
                <c:pt idx="9">
                  <c:v>0.90800000000000003</c:v>
                </c:pt>
                <c:pt idx="10">
                  <c:v>0.434</c:v>
                </c:pt>
              </c:numCache>
            </c:numRef>
          </c:xVal>
          <c:yVal>
            <c:numRef>
              <c:f>Sheet1!$B$2:$B$12</c:f>
              <c:numCache>
                <c:formatCode>General</c:formatCode>
                <c:ptCount val="11"/>
                <c:pt idx="0">
                  <c:v>8120.5405405405409</c:v>
                </c:pt>
                <c:pt idx="1">
                  <c:v>64775.474006116208</c:v>
                </c:pt>
                <c:pt idx="2">
                  <c:v>19364.593103448271</c:v>
                </c:pt>
                <c:pt idx="3">
                  <c:v>72823.240534521159</c:v>
                </c:pt>
                <c:pt idx="4">
                  <c:v>143117.4607013301</c:v>
                </c:pt>
                <c:pt idx="5">
                  <c:v>7373.9595959595963</c:v>
                </c:pt>
                <c:pt idx="6">
                  <c:v>22077.01729106628</c:v>
                </c:pt>
                <c:pt idx="7">
                  <c:v>29388.75</c:v>
                </c:pt>
                <c:pt idx="8">
                  <c:v>3280.8506224066391</c:v>
                </c:pt>
                <c:pt idx="9">
                  <c:v>19583.832599118941</c:v>
                </c:pt>
                <c:pt idx="10">
                  <c:v>10205.71428571429</c:v>
                </c:pt>
              </c:numCache>
            </c:numRef>
          </c:yVal>
          <c:bubbleSize>
            <c:numRef>
              <c:f>Sheet1!$C$2:$C$12</c:f>
              <c:numCache>
                <c:formatCode>General</c:formatCode>
                <c:ptCount val="11"/>
                <c:pt idx="0">
                  <c:v>16203.212299999999</c:v>
                </c:pt>
                <c:pt idx="1">
                  <c:v>3547845.7534999992</c:v>
                </c:pt>
                <c:pt idx="2">
                  <c:v>991517.41429999995</c:v>
                </c:pt>
                <c:pt idx="3">
                  <c:v>4149231.1453999998</c:v>
                </c:pt>
                <c:pt idx="4">
                  <c:v>7678155.8173000012</c:v>
                </c:pt>
                <c:pt idx="5">
                  <c:v>217318.38440000001</c:v>
                </c:pt>
                <c:pt idx="6">
                  <c:v>850339.46379999991</c:v>
                </c:pt>
                <c:pt idx="7">
                  <c:v>9602.1797999999999</c:v>
                </c:pt>
                <c:pt idx="8">
                  <c:v>77295.212800000008</c:v>
                </c:pt>
                <c:pt idx="9">
                  <c:v>1074236.973</c:v>
                </c:pt>
                <c:pt idx="10">
                  <c:v>277329.53539999999</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Nature Fromage Fondu Boite Ronde 1X128Gr 8P</c:v>
                  </c:pt>
                  <c:pt idx="7">
                    <c:v>La Vache Qui Rit Pik Et Croq' Fromage Fondu Dips Boite 1X35Gr 1P</c:v>
                  </c:pt>
                  <c:pt idx="8">
                    <c:v>La Vache Qui Rit Bio Fromage Fondu Boite Ronde 1X128Gr 8P</c:v>
                  </c:pt>
                  <c:pt idx="9">
                    <c:v>La Vache Qui Rit Pik Et Croq' Fromage Fondu Dips Boite 1X175Gr 5P</c:v>
                  </c:pt>
                  <c:pt idx="10">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099BC1D-FB7A-4B70-9830-F735D1469B0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A6BD1B7-F57E-48CE-877F-940AB974951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8283908-AB57-4BD0-8CCA-06A07359F2D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B8A0963-3AD3-481F-868D-8C797203DC1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D612584-7757-4B4D-B2EB-353E0F4B8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059E434-684E-4A3F-A19F-A2C0564464A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27EDF5A-8CA0-4489-A7BC-CBE8C3BEA56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CDF9BC1-1827-405C-80F3-2F0CB7980E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64DB1E4-F439-4CCC-983D-4EE8581452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FFC325B-F0CB-49BF-808A-0FB3729302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86099999999999999</c:v>
                </c:pt>
                <c:pt idx="1">
                  <c:v>0.97499999999999998</c:v>
                </c:pt>
                <c:pt idx="2">
                  <c:v>0.81699999999999995</c:v>
                </c:pt>
                <c:pt idx="3">
                  <c:v>0.98299999999999998</c:v>
                </c:pt>
                <c:pt idx="4">
                  <c:v>0.60299999999999998</c:v>
                </c:pt>
                <c:pt idx="5">
                  <c:v>0.98099999999999998</c:v>
                </c:pt>
                <c:pt idx="6">
                  <c:v>0.93200000000000005</c:v>
                </c:pt>
                <c:pt idx="7">
                  <c:v>0.67200000000000004</c:v>
                </c:pt>
              </c:numCache>
            </c:numRef>
          </c:xVal>
          <c:yVal>
            <c:numRef>
              <c:f>Sheet1!$B$2:$B$9</c:f>
              <c:numCache>
                <c:formatCode>General</c:formatCode>
                <c:ptCount val="8"/>
                <c:pt idx="0">
                  <c:v>43360.813008130077</c:v>
                </c:pt>
                <c:pt idx="1">
                  <c:v>45724.892307692309</c:v>
                </c:pt>
                <c:pt idx="2">
                  <c:v>3357.0257037943702</c:v>
                </c:pt>
                <c:pt idx="3">
                  <c:v>25786.988809766019</c:v>
                </c:pt>
                <c:pt idx="4">
                  <c:v>7090.9286898839136</c:v>
                </c:pt>
                <c:pt idx="5">
                  <c:v>20585.647298674819</c:v>
                </c:pt>
                <c:pt idx="6">
                  <c:v>27675.493562231761</c:v>
                </c:pt>
                <c:pt idx="7">
                  <c:v>5504.0773809523807</c:v>
                </c:pt>
              </c:numCache>
            </c:numRef>
          </c:yVal>
          <c:bubbleSize>
            <c:numRef>
              <c:f>Sheet1!$C$2:$C$9</c:f>
              <c:numCache>
                <c:formatCode>General</c:formatCode>
                <c:ptCount val="8"/>
                <c:pt idx="0">
                  <c:v>2305421.665</c:v>
                </c:pt>
                <c:pt idx="1">
                  <c:v>2848455.0869</c:v>
                </c:pt>
                <c:pt idx="2">
                  <c:v>187301.984</c:v>
                </c:pt>
                <c:pt idx="3">
                  <c:v>1563209.9702000001</c:v>
                </c:pt>
                <c:pt idx="4">
                  <c:v>211804.0281</c:v>
                </c:pt>
                <c:pt idx="5">
                  <c:v>1209085.3938</c:v>
                </c:pt>
                <c:pt idx="6">
                  <c:v>1555147.5876</c:v>
                </c:pt>
                <c:pt idx="7">
                  <c:v>177451.4127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pt idx="7">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02AF856-74E6-476E-BA49-E900D2E8B98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293ABD4-D181-4833-938E-EE4D9955990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5CB2D79-1460-47A5-B0E1-1F72E9DBD87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07BFA85-019D-458E-82DB-BAAF464D5D4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F5AA510-68C3-43F6-B507-AC9E491C2F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D0C5A62-0E8F-44F9-B7E9-3CB52C50F16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F79A1D2-BD59-427E-A00C-8377B5134F7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89C8F3E-6D21-4480-AD38-0943F8A259D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661A1E1-A046-4D33-9458-B0E504FAF44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DE638E1-4F89-4EFF-A6C8-0C0C9AAFB60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67900000000000005</c:v>
                </c:pt>
                <c:pt idx="1">
                  <c:v>0.998</c:v>
                </c:pt>
                <c:pt idx="2">
                  <c:v>0.23100000000000001</c:v>
                </c:pt>
                <c:pt idx="3">
                  <c:v>0.94099999999999995</c:v>
                </c:pt>
                <c:pt idx="4">
                  <c:v>0.94699999999999995</c:v>
                </c:pt>
                <c:pt idx="5">
                  <c:v>0.84099999999999997</c:v>
                </c:pt>
                <c:pt idx="6">
                  <c:v>0.95499999999999996</c:v>
                </c:pt>
                <c:pt idx="7">
                  <c:v>0.84799999999999998</c:v>
                </c:pt>
              </c:numCache>
            </c:numRef>
          </c:xVal>
          <c:yVal>
            <c:numRef>
              <c:f>Sheet1!$B$2:$B$9</c:f>
              <c:numCache>
                <c:formatCode>General</c:formatCode>
                <c:ptCount val="8"/>
                <c:pt idx="0">
                  <c:v>6740.5301914580259</c:v>
                </c:pt>
                <c:pt idx="1">
                  <c:v>61730.220440881763</c:v>
                </c:pt>
                <c:pt idx="2">
                  <c:v>1325.194805194805</c:v>
                </c:pt>
                <c:pt idx="3">
                  <c:v>52226.907545164722</c:v>
                </c:pt>
                <c:pt idx="4">
                  <c:v>79341.235480464631</c:v>
                </c:pt>
                <c:pt idx="5">
                  <c:v>10304.161712247331</c:v>
                </c:pt>
                <c:pt idx="6">
                  <c:v>14262.722513089009</c:v>
                </c:pt>
                <c:pt idx="7">
                  <c:v>14741.66273584906</c:v>
                </c:pt>
              </c:numCache>
            </c:numRef>
          </c:yVal>
          <c:bubbleSize>
            <c:numRef>
              <c:f>Sheet1!$C$2:$C$9</c:f>
              <c:numCache>
                <c:formatCode>General</c:formatCode>
                <c:ptCount val="8"/>
                <c:pt idx="0">
                  <c:v>194639.24890000001</c:v>
                </c:pt>
                <c:pt idx="1">
                  <c:v>3516863.661400001</c:v>
                </c:pt>
                <c:pt idx="2">
                  <c:v>21865.780599999991</c:v>
                </c:pt>
                <c:pt idx="3">
                  <c:v>2989794.8149000001</c:v>
                </c:pt>
                <c:pt idx="4">
                  <c:v>4789467.3874000004</c:v>
                </c:pt>
                <c:pt idx="5">
                  <c:v>466038.12929999991</c:v>
                </c:pt>
                <c:pt idx="6">
                  <c:v>743356.49009999994</c:v>
                </c:pt>
                <c:pt idx="7">
                  <c:v>599065.13089999976</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Pik Et Croq' Fromage Fondu Dips Boite 1X175Gr 5P</c:v>
                  </c:pt>
                  <c:pt idx="7">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CE3DA32-B630-4EFF-976D-A153608D4A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6D612DB-2C09-402E-927E-BAC56B0A793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84F94E2-58A0-411B-99AA-928F2A0341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21DA6F3-8CCF-425C-9957-AC3A5496BF3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50FCC06-5B30-4276-951B-F95B49912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7FF7045-FDC7-4BAA-9DFF-57546F8F76B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C151429-A732-436F-8956-787703CD8CF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CCEDD52-C518-47E2-AA67-B6B21A91C4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E0C9A5A-134D-4A0C-B8FC-5BFA2623AC9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93778D1-12B2-4E73-A193-5A1112264CD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99</c:v>
                </c:pt>
                <c:pt idx="1">
                  <c:v>1</c:v>
                </c:pt>
                <c:pt idx="2">
                  <c:v>0.98</c:v>
                </c:pt>
                <c:pt idx="3">
                  <c:v>1</c:v>
                </c:pt>
                <c:pt idx="4">
                  <c:v>0.75</c:v>
                </c:pt>
                <c:pt idx="5">
                  <c:v>1</c:v>
                </c:pt>
                <c:pt idx="6">
                  <c:v>0.99</c:v>
                </c:pt>
              </c:numCache>
            </c:numRef>
          </c:xVal>
          <c:yVal>
            <c:numRef>
              <c:f>Sheet1!$B$2:$B$8</c:f>
              <c:numCache>
                <c:formatCode>General</c:formatCode>
                <c:ptCount val="7"/>
                <c:pt idx="0">
                  <c:v>45589.414141414141</c:v>
                </c:pt>
                <c:pt idx="1">
                  <c:v>19457.759999999998</c:v>
                </c:pt>
                <c:pt idx="2">
                  <c:v>8238.3469387755104</c:v>
                </c:pt>
                <c:pt idx="3">
                  <c:v>11794.45</c:v>
                </c:pt>
                <c:pt idx="4">
                  <c:v>1891.373333333333</c:v>
                </c:pt>
                <c:pt idx="5">
                  <c:v>14911.01</c:v>
                </c:pt>
                <c:pt idx="6">
                  <c:v>11125.101010101011</c:v>
                </c:pt>
              </c:numCache>
            </c:numRef>
          </c:yVal>
          <c:bubbleSize>
            <c:numRef>
              <c:f>Sheet1!$C$2:$C$8</c:f>
              <c:numCache>
                <c:formatCode>General</c:formatCode>
                <c:ptCount val="7"/>
                <c:pt idx="0">
                  <c:v>2701473.5923000001</c:v>
                </c:pt>
                <c:pt idx="1">
                  <c:v>1304656.6438</c:v>
                </c:pt>
                <c:pt idx="2">
                  <c:v>566708.10480000009</c:v>
                </c:pt>
                <c:pt idx="3">
                  <c:v>798628.68059999996</c:v>
                </c:pt>
                <c:pt idx="4">
                  <c:v>87696.779200000004</c:v>
                </c:pt>
                <c:pt idx="5">
                  <c:v>964173.1054</c:v>
                </c:pt>
                <c:pt idx="6">
                  <c:v>700106.70720000006</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Boursin</c:v>
                </c:pt>
                <c:pt idx="3">
                  <c:v>Paysan Breton</c:v>
                </c:pt>
                <c:pt idx="4">
                  <c:v>Tartare</c:v>
                </c:pt>
                <c:pt idx="5">
                  <c:v>Carre Frais</c:v>
                </c:pt>
                <c:pt idx="6">
                  <c:v>Philadelphia</c:v>
                </c:pt>
                <c:pt idx="7">
                  <c:v>Kiri</c:v>
                </c:pt>
                <c:pt idx="8">
                  <c:v>Others</c:v>
                </c:pt>
              </c:strCache>
            </c:strRef>
          </c:cat>
          <c:val>
            <c:numRef>
              <c:f>Sheet1!$B$2:$B$10</c:f>
              <c:numCache>
                <c:formatCode>General</c:formatCode>
                <c:ptCount val="9"/>
                <c:pt idx="0">
                  <c:v>0.31974322312126419</c:v>
                </c:pt>
                <c:pt idx="1">
                  <c:v>0.15040111133327463</c:v>
                </c:pt>
                <c:pt idx="2">
                  <c:v>0.14739530695076908</c:v>
                </c:pt>
                <c:pt idx="3">
                  <c:v>0.12837562989617532</c:v>
                </c:pt>
                <c:pt idx="4">
                  <c:v>0.12738433885838121</c:v>
                </c:pt>
                <c:pt idx="5">
                  <c:v>6.0575764286157852E-2</c:v>
                </c:pt>
                <c:pt idx="6">
                  <c:v>3.8666549064058392E-2</c:v>
                </c:pt>
                <c:pt idx="7">
                  <c:v>8.6026762896081379E-3</c:v>
                </c:pt>
                <c:pt idx="8">
                  <c:v>1.885540020031113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Boursin</c:v>
                </c:pt>
                <c:pt idx="3">
                  <c:v>Paysan Breton</c:v>
                </c:pt>
                <c:pt idx="4">
                  <c:v>Tartare</c:v>
                </c:pt>
                <c:pt idx="5">
                  <c:v>Carre Frais</c:v>
                </c:pt>
                <c:pt idx="6">
                  <c:v>Philadelphia</c:v>
                </c:pt>
                <c:pt idx="7">
                  <c:v>Kiri</c:v>
                </c:pt>
                <c:pt idx="8">
                  <c:v>Others</c:v>
                </c:pt>
              </c:strCache>
            </c:strRef>
          </c:cat>
          <c:val>
            <c:numRef>
              <c:f>Sheet1!$C$2:$C$10</c:f>
              <c:numCache>
                <c:formatCode>General</c:formatCode>
                <c:ptCount val="9"/>
                <c:pt idx="0">
                  <c:v>0.15680697762609022</c:v>
                </c:pt>
                <c:pt idx="1">
                  <c:v>0.12590064467197568</c:v>
                </c:pt>
                <c:pt idx="2">
                  <c:v>0.19984831247629878</c:v>
                </c:pt>
                <c:pt idx="3">
                  <c:v>0.11907470610542278</c:v>
                </c:pt>
                <c:pt idx="4">
                  <c:v>0.17102768297307541</c:v>
                </c:pt>
                <c:pt idx="5">
                  <c:v>5.707243079256729E-2</c:v>
                </c:pt>
                <c:pt idx="6">
                  <c:v>3.9249146757679168E-2</c:v>
                </c:pt>
                <c:pt idx="7">
                  <c:v>4.1524459613196799E-2</c:v>
                </c:pt>
                <c:pt idx="8">
                  <c:v>8.949563898369356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Boursin</c:v>
                </c:pt>
                <c:pt idx="3">
                  <c:v>Paysan Breton</c:v>
                </c:pt>
                <c:pt idx="4">
                  <c:v>Tartare</c:v>
                </c:pt>
                <c:pt idx="5">
                  <c:v>Carre Frais</c:v>
                </c:pt>
                <c:pt idx="6">
                  <c:v>Philadelphia</c:v>
                </c:pt>
                <c:pt idx="7">
                  <c:v>Kiri</c:v>
                </c:pt>
                <c:pt idx="8">
                  <c:v>Others</c:v>
                </c:pt>
              </c:strCache>
            </c:strRef>
          </c:cat>
          <c:val>
            <c:numRef>
              <c:f>Sheet1!$D$2:$D$10</c:f>
              <c:numCache>
                <c:formatCode>General</c:formatCode>
                <c:ptCount val="9"/>
                <c:pt idx="0">
                  <c:v>49.041532794776515</c:v>
                </c:pt>
                <c:pt idx="1">
                  <c:v>83.709916473284395</c:v>
                </c:pt>
                <c:pt idx="2">
                  <c:v>135.5866184688291</c:v>
                </c:pt>
                <c:pt idx="3">
                  <c:v>92.754914777614161</c:v>
                </c:pt>
                <c:pt idx="4">
                  <c:v>134.2611536911256</c:v>
                </c:pt>
                <c:pt idx="5">
                  <c:v>94.21660868026207</c:v>
                </c:pt>
                <c:pt idx="6">
                  <c:v>101.50672275577423</c:v>
                </c:pt>
                <c:pt idx="7">
                  <c:v>482.69234149095581</c:v>
                </c:pt>
                <c:pt idx="8">
                  <c:v>474.6419489002241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85447C2-6F6D-476D-B22B-BF9320EAF31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4AADE2B-ED52-4DCC-A2AE-0C8D8D0967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572D4EF-3043-4557-9194-09410A77F6E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A8D86EB-AAB5-4D96-BD2A-08BD9F7A97D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9E714EE-4EDC-49F8-909B-0CA70BEEA0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4979914-8C97-4FB9-9485-2D76C57317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E8001E5-CFFE-45E0-8C1B-9DD3E0B13DE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14E479E-BF77-4717-8635-A4B867208F8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3C2CB18-27A5-4D5A-96F5-F3912497DEE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1539F39-4603-4EC1-8B4F-AF0C9C50187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08</c:v>
                </c:pt>
                <c:pt idx="1">
                  <c:v>1</c:v>
                </c:pt>
                <c:pt idx="2">
                  <c:v>0.94</c:v>
                </c:pt>
                <c:pt idx="3">
                  <c:v>1</c:v>
                </c:pt>
                <c:pt idx="4">
                  <c:v>0.99</c:v>
                </c:pt>
                <c:pt idx="5">
                  <c:v>0.86</c:v>
                </c:pt>
                <c:pt idx="6">
                  <c:v>0.94</c:v>
                </c:pt>
                <c:pt idx="7">
                  <c:v>0.82</c:v>
                </c:pt>
                <c:pt idx="8">
                  <c:v>1</c:v>
                </c:pt>
                <c:pt idx="9">
                  <c:v>0.95</c:v>
                </c:pt>
              </c:numCache>
            </c:numRef>
          </c:xVal>
          <c:yVal>
            <c:numRef>
              <c:f>Sheet1!$B$2:$B$11</c:f>
              <c:numCache>
                <c:formatCode>General</c:formatCode>
                <c:ptCount val="10"/>
                <c:pt idx="0">
                  <c:v>3755.75</c:v>
                </c:pt>
                <c:pt idx="1">
                  <c:v>16701.66</c:v>
                </c:pt>
                <c:pt idx="2">
                  <c:v>9848.9468085106382</c:v>
                </c:pt>
                <c:pt idx="3">
                  <c:v>29213.62</c:v>
                </c:pt>
                <c:pt idx="4">
                  <c:v>82610.363636363632</c:v>
                </c:pt>
                <c:pt idx="5">
                  <c:v>3117.8720930232562</c:v>
                </c:pt>
                <c:pt idx="6">
                  <c:v>8213.010638297872</c:v>
                </c:pt>
                <c:pt idx="7">
                  <c:v>999.73170731707319</c:v>
                </c:pt>
                <c:pt idx="8">
                  <c:v>7241.72</c:v>
                </c:pt>
                <c:pt idx="9">
                  <c:v>4657.1894736842096</c:v>
                </c:pt>
              </c:numCache>
            </c:numRef>
          </c:yVal>
          <c:bubbleSize>
            <c:numRef>
              <c:f>Sheet1!$C$2:$C$11</c:f>
              <c:numCache>
                <c:formatCode>General</c:formatCode>
                <c:ptCount val="10"/>
                <c:pt idx="0">
                  <c:v>16203.212299999999</c:v>
                </c:pt>
                <c:pt idx="1">
                  <c:v>1003580.1054999999</c:v>
                </c:pt>
                <c:pt idx="2">
                  <c:v>652434.56669999997</c:v>
                </c:pt>
                <c:pt idx="3">
                  <c:v>1964518.6340999999</c:v>
                </c:pt>
                <c:pt idx="4">
                  <c:v>5392409.5773</c:v>
                </c:pt>
                <c:pt idx="5">
                  <c:v>159865.11799999999</c:v>
                </c:pt>
                <c:pt idx="6">
                  <c:v>433001.46350000001</c:v>
                </c:pt>
                <c:pt idx="7">
                  <c:v>40975.859999999993</c:v>
                </c:pt>
                <c:pt idx="8">
                  <c:v>491761.31099999999</c:v>
                </c:pt>
                <c:pt idx="9">
                  <c:v>277013.40789999999</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Nature Fromage Fondu Boite Ronde 1X128Gr 8P</c:v>
                  </c:pt>
                  <c:pt idx="7">
                    <c:v>La Vache Qui Rit Bio Fromage Fondu Boite Ronde 1X128Gr 8P</c:v>
                  </c:pt>
                  <c:pt idx="8">
                    <c:v>La Vache Qui Rit Pik Et Croq' Fromage Fondu Dips Boite 1X175Gr 5P</c:v>
                  </c:pt>
                  <c:pt idx="9">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AC7F749-84C3-48F8-AD8E-40EDAB44A32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E601CBF-2CE2-4217-A11F-DBCD33B51F0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273CAFD-D220-4C56-8CC4-6E5E3B181F9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5ED64B0-F240-4639-B9BA-D715CB0D263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63F6331-8C61-4E4E-BE8F-06BBD4EB8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9F55060-0156-4E94-BC91-C3A5AE37FDA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92E8D24-63C6-4616-B62B-05B5223A8A3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B77EA3A-CC93-4A95-B653-0AB308C63A0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CF50B24-92D1-45A3-A2EA-81058F3A826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040BCC8-4DFE-4088-BABE-C63680AC8F2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86</c:v>
                </c:pt>
                <c:pt idx="1">
                  <c:v>0.97</c:v>
                </c:pt>
                <c:pt idx="2">
                  <c:v>0.71</c:v>
                </c:pt>
                <c:pt idx="3">
                  <c:v>0.99</c:v>
                </c:pt>
                <c:pt idx="4">
                  <c:v>0.42</c:v>
                </c:pt>
                <c:pt idx="5">
                  <c:v>0.99</c:v>
                </c:pt>
                <c:pt idx="6">
                  <c:v>0.73</c:v>
                </c:pt>
              </c:numCache>
            </c:numRef>
          </c:xVal>
          <c:yVal>
            <c:numRef>
              <c:f>Sheet1!$B$2:$B$8</c:f>
              <c:numCache>
                <c:formatCode>General</c:formatCode>
                <c:ptCount val="7"/>
                <c:pt idx="0">
                  <c:v>21137</c:v>
                </c:pt>
                <c:pt idx="1">
                  <c:v>16372.639175257729</c:v>
                </c:pt>
                <c:pt idx="2">
                  <c:v>5146.8873239436616</c:v>
                </c:pt>
                <c:pt idx="3">
                  <c:v>11937.040404040399</c:v>
                </c:pt>
                <c:pt idx="4">
                  <c:v>3755.261904761905</c:v>
                </c:pt>
                <c:pt idx="5">
                  <c:v>9403.7474747474753</c:v>
                </c:pt>
                <c:pt idx="6">
                  <c:v>9956.6438356164381</c:v>
                </c:pt>
              </c:numCache>
            </c:numRef>
          </c:yVal>
          <c:bubbleSize>
            <c:numRef>
              <c:f>Sheet1!$C$2:$C$8</c:f>
              <c:numCache>
                <c:formatCode>General</c:formatCode>
                <c:ptCount val="7"/>
                <c:pt idx="0">
                  <c:v>1022986.8484</c:v>
                </c:pt>
                <c:pt idx="1">
                  <c:v>1036852.9036</c:v>
                </c:pt>
                <c:pt idx="2">
                  <c:v>252465.32579999999</c:v>
                </c:pt>
                <c:pt idx="3">
                  <c:v>798333.04369999992</c:v>
                </c:pt>
                <c:pt idx="4">
                  <c:v>96289.953199999989</c:v>
                </c:pt>
                <c:pt idx="5">
                  <c:v>513060.90409999993</c:v>
                </c:pt>
                <c:pt idx="6">
                  <c:v>446982.82140000002</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446AB4E-B58F-45B6-AE14-6227355653E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675649F-E778-47F0-96A6-9DE582BCE33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BB9C084-4CEF-4C13-9479-08FEEAB5FA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59E5517-7A6B-4318-82BB-6C3B586517B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E91D478-F5B1-4473-912B-9C8366F7FE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D73A79F-7420-4171-AD43-FEBC18E69D7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F0B186A-242D-4FB4-BA65-5EDEFF3DF9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92588D1-7A47-43A1-93D2-9DDBEB19751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0A55168-5CB2-4E60-B3FA-66D83115A3D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984F653-71C7-4B67-9185-445A590AD49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99</c:v>
                </c:pt>
                <c:pt idx="1">
                  <c:v>0.78</c:v>
                </c:pt>
                <c:pt idx="2">
                  <c:v>0.96</c:v>
                </c:pt>
                <c:pt idx="3">
                  <c:v>0.99</c:v>
                </c:pt>
                <c:pt idx="4">
                  <c:v>0.27</c:v>
                </c:pt>
                <c:pt idx="5">
                  <c:v>0.66</c:v>
                </c:pt>
                <c:pt idx="6">
                  <c:v>0.25</c:v>
                </c:pt>
                <c:pt idx="7">
                  <c:v>0.97</c:v>
                </c:pt>
              </c:numCache>
            </c:numRef>
          </c:xVal>
          <c:yVal>
            <c:numRef>
              <c:f>Sheet1!$B$2:$B$9</c:f>
              <c:numCache>
                <c:formatCode>General</c:formatCode>
                <c:ptCount val="8"/>
                <c:pt idx="0">
                  <c:v>19283.14141414141</c:v>
                </c:pt>
                <c:pt idx="1">
                  <c:v>6125.9615384615381</c:v>
                </c:pt>
                <c:pt idx="2">
                  <c:v>23908.927083333328</c:v>
                </c:pt>
                <c:pt idx="3">
                  <c:v>36882.898989898989</c:v>
                </c:pt>
                <c:pt idx="4">
                  <c:v>3586</c:v>
                </c:pt>
                <c:pt idx="5">
                  <c:v>9583.0909090909099</c:v>
                </c:pt>
                <c:pt idx="6">
                  <c:v>1907.64</c:v>
                </c:pt>
                <c:pt idx="7">
                  <c:v>6300.7113402061859</c:v>
                </c:pt>
              </c:numCache>
            </c:numRef>
          </c:yVal>
          <c:bubbleSize>
            <c:numRef>
              <c:f>Sheet1!$C$2:$C$9</c:f>
              <c:numCache>
                <c:formatCode>General</c:formatCode>
                <c:ptCount val="8"/>
                <c:pt idx="0">
                  <c:v>1115386.6605</c:v>
                </c:pt>
                <c:pt idx="1">
                  <c:v>338910.8653</c:v>
                </c:pt>
                <c:pt idx="2">
                  <c:v>1471281.0649000001</c:v>
                </c:pt>
                <c:pt idx="3">
                  <c:v>2282886.3753999998</c:v>
                </c:pt>
                <c:pt idx="4">
                  <c:v>57429.013199999987</c:v>
                </c:pt>
                <c:pt idx="5">
                  <c:v>353367.2169</c:v>
                </c:pt>
                <c:pt idx="6">
                  <c:v>23255.5641</c:v>
                </c:pt>
                <c:pt idx="7">
                  <c:v>357582.02799999999</c:v>
                </c:pt>
              </c:numCache>
            </c:numRef>
          </c:bubbleSize>
          <c:bubble3D val="0"/>
          <c:extLst>
            <c:ext xmlns:c15="http://schemas.microsoft.com/office/drawing/2012/chart" uri="{02D57815-91ED-43cb-92C2-25804820EDAC}">
              <c15:datalabelsRange>
                <c15:f>Sheet1!$E$2:$E$21</c15:f>
                <c15:dlblRangeCache>
                  <c:ptCount val="20"/>
                  <c:pt idx="0">
                    <c:v>La Vache Qui Rit Nature Fromage Fondu Boite Ronde 1X192Gr 12P</c:v>
                  </c:pt>
                  <c:pt idx="1">
                    <c:v>La Vache Qui Rit Nature Fromage Fondu Boite Ronde 1X512Gr 24+8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Nature Fromage Fondu Boite Ronde 1X128Gr 8P</c:v>
                  </c:pt>
                  <c:pt idx="6">
                    <c:v>La Vache Qui Rit Bio Fromage Fondu Boite Ronde 1X128Gr 8P</c:v>
                  </c:pt>
                  <c:pt idx="7">
                    <c:v>La Vache Qui Rit Pik Et Croq' Fromage Fondu Dips Boite 1X175Gr 5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0352ACF-AB0F-42FC-A6D5-F71C7E6146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B4EF7DF-5D9C-4EA4-A04D-F3E082FBFB8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190F371-39B7-49C3-B2E4-82906D3A2BF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604D449-9177-42E3-8468-328D5803C9D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BFFFE1D-F62D-4B90-87A0-8266E02673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DCAA6E0-F667-479C-935B-DD64252DAE7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AAC15A0-29EC-4F95-B460-7AC2929825A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9956965-2C39-4344-BEED-CB9F428FC1A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C230567-FB0D-4C5B-8D90-DD9A76E2E2F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243FD72-B4CE-4C5E-A1AD-4AC0DDB93E2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c:f>
              <c:numCache>
                <c:formatCode>General</c:formatCode>
                <c:ptCount val="4"/>
                <c:pt idx="0">
                  <c:v>0.06</c:v>
                </c:pt>
                <c:pt idx="1">
                  <c:v>0.96</c:v>
                </c:pt>
                <c:pt idx="2">
                  <c:v>0.71</c:v>
                </c:pt>
                <c:pt idx="3">
                  <c:v>0.02</c:v>
                </c:pt>
              </c:numCache>
            </c:numRef>
          </c:xVal>
          <c:yVal>
            <c:numRef>
              <c:f>Sheet1!$B$2:$B$5</c:f>
              <c:numCache>
                <c:formatCode>General</c:formatCode>
                <c:ptCount val="4"/>
                <c:pt idx="0">
                  <c:v>6803.333333333333</c:v>
                </c:pt>
                <c:pt idx="1">
                  <c:v>24603.90625</c:v>
                </c:pt>
                <c:pt idx="2">
                  <c:v>11954</c:v>
                </c:pt>
                <c:pt idx="3">
                  <c:v>7187</c:v>
                </c:pt>
              </c:numCache>
            </c:numRef>
          </c:yVal>
          <c:bubbleSize>
            <c:numRef>
              <c:f>Sheet1!$C$2:$C$5</c:f>
              <c:numCache>
                <c:formatCode>General</c:formatCode>
                <c:ptCount val="4"/>
                <c:pt idx="0">
                  <c:v>25453.1044</c:v>
                </c:pt>
                <c:pt idx="1">
                  <c:v>1310618.0515000001</c:v>
                </c:pt>
                <c:pt idx="2">
                  <c:v>386330.07020000002</c:v>
                </c:pt>
                <c:pt idx="3">
                  <c:v>8296.8222000000005</c:v>
                </c:pt>
              </c:numCache>
            </c:numRef>
          </c:bubbleSize>
          <c:bubble3D val="0"/>
          <c:extLst>
            <c:ext xmlns:c15="http://schemas.microsoft.com/office/drawing/2012/chart" uri="{02D57815-91ED-43cb-92C2-25804820EDAC}">
              <c15:datalabelsRange>
                <c15:f>Sheet1!$E$2:$E$21</c15:f>
                <c15:dlblRangeCache>
                  <c:ptCount val="20"/>
                  <c:pt idx="0">
                    <c:v>Kiri Creme Fromage Blanc Frais Carre 1X216Gr 12P</c:v>
                  </c:pt>
                  <c:pt idx="1">
                    <c:v>Kiri Creme Fromage Blanc Frais Carre 1X144Gr 8P</c:v>
                  </c:pt>
                  <c:pt idx="2">
                    <c:v>Kiri Gouter Fromage Blanc Dips Boite 1X175Gr 5P</c:v>
                  </c:pt>
                  <c:pt idx="3">
                    <c:v>Kiri Gouter Fromage Blanc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6A40E01-AB36-4EA9-8882-CD218F882CA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E7618B2-EB53-4C51-9812-18784AEB604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7921E72-D7F5-42A3-9F40-D8E66A630B4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BA3F408-08A3-4FBF-B3AA-46A0F4B5322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7D663EB-73CD-45E1-9804-81070A86F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82CB09B-D6E9-4FE7-9A81-21BB15CA120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E7944BD-4181-4E48-8C5A-64BB69B7A1E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D1FCE19-F960-44E5-A4E9-6029CB98982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0A7375A-133F-49D2-845A-3898FB8BBFB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4FA5530-E0B8-4BC4-9C47-22DD51A186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91</c:v>
                </c:pt>
                <c:pt idx="1">
                  <c:v>0.47</c:v>
                </c:pt>
                <c:pt idx="2">
                  <c:v>0.09</c:v>
                </c:pt>
                <c:pt idx="3">
                  <c:v>0.05</c:v>
                </c:pt>
                <c:pt idx="4">
                  <c:v>0.08</c:v>
                </c:pt>
                <c:pt idx="5">
                  <c:v>0.51</c:v>
                </c:pt>
              </c:numCache>
            </c:numRef>
          </c:xVal>
          <c:yVal>
            <c:numRef>
              <c:f>Sheet1!$B$2:$B$7</c:f>
              <c:numCache>
                <c:formatCode>General</c:formatCode>
                <c:ptCount val="6"/>
                <c:pt idx="0">
                  <c:v>30497.54945054945</c:v>
                </c:pt>
                <c:pt idx="1">
                  <c:v>28146.97872340426</c:v>
                </c:pt>
                <c:pt idx="2">
                  <c:v>14182</c:v>
                </c:pt>
                <c:pt idx="3">
                  <c:v>4702.2</c:v>
                </c:pt>
                <c:pt idx="4">
                  <c:v>3558.5</c:v>
                </c:pt>
                <c:pt idx="5">
                  <c:v>8683.745098039215</c:v>
                </c:pt>
              </c:numCache>
            </c:numRef>
          </c:yVal>
          <c:bubbleSize>
            <c:numRef>
              <c:f>Sheet1!$C$2:$C$7</c:f>
              <c:numCache>
                <c:formatCode>General</c:formatCode>
                <c:ptCount val="6"/>
                <c:pt idx="0">
                  <c:v>1428878.9875</c:v>
                </c:pt>
                <c:pt idx="1">
                  <c:v>713431.4463999999</c:v>
                </c:pt>
                <c:pt idx="2">
                  <c:v>63970.783399999993</c:v>
                </c:pt>
                <c:pt idx="3">
                  <c:v>9602.1797999999999</c:v>
                </c:pt>
                <c:pt idx="4">
                  <c:v>13063.788699999999</c:v>
                </c:pt>
                <c:pt idx="5">
                  <c:v>224893.63399999999</c:v>
                </c:pt>
              </c:numCache>
            </c:numRef>
          </c:bubbleSize>
          <c:bubble3D val="0"/>
          <c:extLst>
            <c:ext xmlns:c15="http://schemas.microsoft.com/office/drawing/2012/chart" uri="{02D57815-91ED-43cb-92C2-25804820EDAC}">
              <c15:datalabelsRange>
                <c15:f>Sheet1!$E$2:$E$21</c15:f>
                <c15:dlblRangeCache>
                  <c:ptCount val="20"/>
                  <c:pt idx="0">
                    <c:v>La Vache Qui Rit Nature Fromage Fondu Boite Ronde 1X192Gr 12P</c:v>
                  </c:pt>
                  <c:pt idx="1">
                    <c:v>La Vache Qui Rit Nature Fromage Fondu Boite Ronde 1X384Gr 24P</c:v>
                  </c:pt>
                  <c:pt idx="2">
                    <c:v>La Vache Qui Rit Nature Fromage Fondu Boite Ronde 1X128Gr 8P</c:v>
                  </c:pt>
                  <c:pt idx="3">
                    <c:v>La Vache Qui Rit Pik Et Croq' Fromage Fondu Dips Boite 1X35Gr 1P</c:v>
                  </c:pt>
                  <c:pt idx="4">
                    <c:v>La Vache Qui Rit Bio Fromage Fondu Boite Ronde 1X128Gr 8P</c:v>
                  </c:pt>
                  <c:pt idx="5">
                    <c:v>La Vache Qui Rit Pik Et Croq' Fromage Fondu Dips Boite 1X175Gr 5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52BC951-824E-4148-84C0-1634FAE16AA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84F6604-C296-4A7C-893F-EAF19837378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DC4B889-8075-43AF-B496-88CFF9CDE01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2452DD6-AAE6-4A13-B1CA-6A5BFC6FF12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F363074-24AD-4973-BD1C-989AE767C2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59D4E16-6C65-4235-A952-AF64F6E590D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B114815-16C1-4BB4-9641-95D00E33AF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8716FAF-1CC5-4552-92DF-C04DD3C41A0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D8BAC12-76DE-4BAC-9C87-95A2214B8CF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B993540-55E4-4A5B-9999-CDA32BFB1D4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89</c:v>
                </c:pt>
                <c:pt idx="1">
                  <c:v>0.99</c:v>
                </c:pt>
                <c:pt idx="2">
                  <c:v>0.83</c:v>
                </c:pt>
                <c:pt idx="3">
                  <c:v>0.99</c:v>
                </c:pt>
                <c:pt idx="4">
                  <c:v>0.6</c:v>
                </c:pt>
                <c:pt idx="5">
                  <c:v>0.99</c:v>
                </c:pt>
                <c:pt idx="6">
                  <c:v>0.96</c:v>
                </c:pt>
                <c:pt idx="7">
                  <c:v>0.68</c:v>
                </c:pt>
              </c:numCache>
            </c:numRef>
          </c:xVal>
          <c:yVal>
            <c:numRef>
              <c:f>Sheet1!$B$2:$B$9</c:f>
              <c:numCache>
                <c:formatCode>General</c:formatCode>
                <c:ptCount val="8"/>
                <c:pt idx="0">
                  <c:v>32269.033707865168</c:v>
                </c:pt>
                <c:pt idx="1">
                  <c:v>33468.141414141413</c:v>
                </c:pt>
                <c:pt idx="2">
                  <c:v>2418.6506024096379</c:v>
                </c:pt>
                <c:pt idx="3">
                  <c:v>18609.404040404039</c:v>
                </c:pt>
                <c:pt idx="4">
                  <c:v>5208.2666666666664</c:v>
                </c:pt>
                <c:pt idx="5">
                  <c:v>14583.53535353535</c:v>
                </c:pt>
                <c:pt idx="6">
                  <c:v>20546</c:v>
                </c:pt>
                <c:pt idx="7">
                  <c:v>4180.2941176470586</c:v>
                </c:pt>
              </c:numCache>
            </c:numRef>
          </c:yVal>
          <c:bubbleSize>
            <c:numRef>
              <c:f>Sheet1!$C$2:$C$9</c:f>
              <c:numCache>
                <c:formatCode>General</c:formatCode>
                <c:ptCount val="8"/>
                <c:pt idx="0">
                  <c:v>1778045.8265</c:v>
                </c:pt>
                <c:pt idx="1">
                  <c:v>2125742.0899999989</c:v>
                </c:pt>
                <c:pt idx="2">
                  <c:v>137063.24</c:v>
                </c:pt>
                <c:pt idx="3">
                  <c:v>1145425.8885999999</c:v>
                </c:pt>
                <c:pt idx="4">
                  <c:v>155551.09090000001</c:v>
                </c:pt>
                <c:pt idx="5">
                  <c:v>868378.01190000016</c:v>
                </c:pt>
                <c:pt idx="6">
                  <c:v>1189534.4426</c:v>
                </c:pt>
                <c:pt idx="7">
                  <c:v>136467.6223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pt idx="7">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5F3436B-77B1-41E0-95C1-891C6030D37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9624380-29B7-4422-8926-55385BF8D3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5F2E373-2CCE-4179-BB42-53C9CD59A5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1925F59-FD9C-49F1-92E2-B3F7E9A2A96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B8C0ECF-FA23-4E14-91D8-1B8D642C9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8B5A375-FDA8-42AE-B299-D88D0D8D06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C3F96FC-D466-4FB2-80E6-8E660D19D95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57DB7CF-3406-497D-8299-DA03FEF5C8C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103C8BA-EE57-4549-AD9A-41E7B16DD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69D4CB2-4682-435B-8E78-21F7EAF74FF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69</c:v>
                </c:pt>
                <c:pt idx="1">
                  <c:v>1</c:v>
                </c:pt>
                <c:pt idx="2">
                  <c:v>0.25</c:v>
                </c:pt>
                <c:pt idx="3">
                  <c:v>0.97</c:v>
                </c:pt>
                <c:pt idx="4">
                  <c:v>0.98</c:v>
                </c:pt>
                <c:pt idx="5">
                  <c:v>0.87</c:v>
                </c:pt>
                <c:pt idx="6">
                  <c:v>0.97</c:v>
                </c:pt>
                <c:pt idx="7">
                  <c:v>0.89</c:v>
                </c:pt>
              </c:numCache>
            </c:numRef>
          </c:xVal>
          <c:yVal>
            <c:numRef>
              <c:f>Sheet1!$B$2:$B$9</c:f>
              <c:numCache>
                <c:formatCode>General</c:formatCode>
                <c:ptCount val="8"/>
                <c:pt idx="0">
                  <c:v>5071.260869565217</c:v>
                </c:pt>
                <c:pt idx="1">
                  <c:v>45209.37</c:v>
                </c:pt>
                <c:pt idx="2">
                  <c:v>990.84</c:v>
                </c:pt>
                <c:pt idx="3">
                  <c:v>38529.474226804123</c:v>
                </c:pt>
                <c:pt idx="4">
                  <c:v>58923.051020408173</c:v>
                </c:pt>
                <c:pt idx="5">
                  <c:v>7595.7816091954019</c:v>
                </c:pt>
                <c:pt idx="6">
                  <c:v>10108</c:v>
                </c:pt>
                <c:pt idx="7">
                  <c:v>10818.426966292131</c:v>
                </c:pt>
              </c:numCache>
            </c:numRef>
          </c:yVal>
          <c:bubbleSize>
            <c:numRef>
              <c:f>Sheet1!$C$2:$C$9</c:f>
              <c:numCache>
                <c:formatCode>General</c:formatCode>
                <c:ptCount val="8"/>
                <c:pt idx="0">
                  <c:v>149402.61679999999</c:v>
                </c:pt>
                <c:pt idx="1">
                  <c:v>2588083.3026000001</c:v>
                </c:pt>
                <c:pt idx="2">
                  <c:v>17714.815999999999</c:v>
                </c:pt>
                <c:pt idx="3">
                  <c:v>2286448.1486</c:v>
                </c:pt>
                <c:pt idx="4">
                  <c:v>3717874.867000001</c:v>
                </c:pt>
                <c:pt idx="5">
                  <c:v>357809.57189999998</c:v>
                </c:pt>
                <c:pt idx="6">
                  <c:v>539914.27400000009</c:v>
                </c:pt>
                <c:pt idx="7">
                  <c:v>462723.12060000002</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Pik Et Croq' Fromage Fondu Dips Boite 1X175Gr 5P</c:v>
                  </c:pt>
                  <c:pt idx="7">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8A21797-F32A-4DD5-8ED0-9BEE4E64BB5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74D7DF4-A9EC-4089-B068-E39100F24BB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B2E83EC-7B1F-4177-87C0-0C7AA75BA6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A17C36E-6A5A-46F9-9BAD-23ED58E802E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DE9AE2C-F95C-426B-9E79-E61AB653B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BA65EE5-A2D9-4F6D-A786-8E593A145C7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15E9CE4-1603-40F5-9633-E0DAE96139B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F1F9705-059F-48CC-A121-F3118D3EF42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41DF7B9-CFAF-4238-948D-31F342A864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8ED79F2-6FCC-4074-9456-1C300FE99FE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99</c:v>
                </c:pt>
                <c:pt idx="1">
                  <c:v>1</c:v>
                </c:pt>
                <c:pt idx="2">
                  <c:v>0.94</c:v>
                </c:pt>
                <c:pt idx="3">
                  <c:v>1</c:v>
                </c:pt>
                <c:pt idx="4">
                  <c:v>0.87</c:v>
                </c:pt>
                <c:pt idx="5">
                  <c:v>1</c:v>
                </c:pt>
                <c:pt idx="6">
                  <c:v>0.99</c:v>
                </c:pt>
                <c:pt idx="7">
                  <c:v>0.88</c:v>
                </c:pt>
              </c:numCache>
            </c:numRef>
          </c:xVal>
          <c:yVal>
            <c:numRef>
              <c:f>Sheet1!$B$2:$B$9</c:f>
              <c:numCache>
                <c:formatCode>General</c:formatCode>
                <c:ptCount val="8"/>
                <c:pt idx="0">
                  <c:v>5970.0202020202023</c:v>
                </c:pt>
                <c:pt idx="1">
                  <c:v>5841.94</c:v>
                </c:pt>
                <c:pt idx="2">
                  <c:v>409.38297872340428</c:v>
                </c:pt>
                <c:pt idx="3">
                  <c:v>2915.26</c:v>
                </c:pt>
                <c:pt idx="4">
                  <c:v>698.28735632183907</c:v>
                </c:pt>
                <c:pt idx="5">
                  <c:v>2549.27</c:v>
                </c:pt>
                <c:pt idx="6">
                  <c:v>3761.1111111111109</c:v>
                </c:pt>
                <c:pt idx="7">
                  <c:v>614.63636363636363</c:v>
                </c:pt>
              </c:numCache>
            </c:numRef>
          </c:yVal>
          <c:bubbleSize>
            <c:numRef>
              <c:f>Sheet1!$C$2:$C$9</c:f>
              <c:numCache>
                <c:formatCode>General</c:formatCode>
                <c:ptCount val="8"/>
                <c:pt idx="0">
                  <c:v>370398.33669999999</c:v>
                </c:pt>
                <c:pt idx="1">
                  <c:v>378320.91930000001</c:v>
                </c:pt>
                <c:pt idx="2">
                  <c:v>26351.341199999999</c:v>
                </c:pt>
                <c:pt idx="3">
                  <c:v>184535.56640000001</c:v>
                </c:pt>
                <c:pt idx="4">
                  <c:v>31463.4509</c:v>
                </c:pt>
                <c:pt idx="5">
                  <c:v>157253.7329</c:v>
                </c:pt>
                <c:pt idx="6">
                  <c:v>232148.01389999999</c:v>
                </c:pt>
                <c:pt idx="7">
                  <c:v>26698.09019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pt idx="7">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4451A7C-DEB8-4DD0-A699-333F6711CBD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D7AF300-C2CD-49E8-954C-2872FB4C21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23BF0D6-3D5B-4174-88C4-CACC2230889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80AA570-DBCB-45C1-953D-03DF793E86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D048FBE-9314-48E0-AF52-BCB7B403A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F2E51EE-1422-4FF0-8A66-A8744D2941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F2900-9729-43BA-8C34-E19DD839126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19F4E21-781D-4BC9-A586-D7100DEFCE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BCC50CE-28FA-402B-BC7B-5C095989856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32E6327-25D5-4E8A-9989-AC317A36E1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92</c:v>
                </c:pt>
                <c:pt idx="1">
                  <c:v>1</c:v>
                </c:pt>
                <c:pt idx="2">
                  <c:v>0.32</c:v>
                </c:pt>
                <c:pt idx="3">
                  <c:v>1</c:v>
                </c:pt>
                <c:pt idx="4">
                  <c:v>0.99</c:v>
                </c:pt>
                <c:pt idx="5">
                  <c:v>0.97</c:v>
                </c:pt>
                <c:pt idx="6">
                  <c:v>0.99</c:v>
                </c:pt>
                <c:pt idx="7">
                  <c:v>0.98</c:v>
                </c:pt>
              </c:numCache>
            </c:numRef>
          </c:xVal>
          <c:yVal>
            <c:numRef>
              <c:f>Sheet1!$B$2:$B$9</c:f>
              <c:numCache>
                <c:formatCode>General</c:formatCode>
                <c:ptCount val="8"/>
                <c:pt idx="0">
                  <c:v>817.85869565217388</c:v>
                </c:pt>
                <c:pt idx="1">
                  <c:v>7702.77</c:v>
                </c:pt>
                <c:pt idx="2">
                  <c:v>177.34375</c:v>
                </c:pt>
                <c:pt idx="3">
                  <c:v>6931.8</c:v>
                </c:pt>
                <c:pt idx="4">
                  <c:v>11429.494949494951</c:v>
                </c:pt>
                <c:pt idx="5">
                  <c:v>1169.907216494845</c:v>
                </c:pt>
                <c:pt idx="6">
                  <c:v>2091.7979797979801</c:v>
                </c:pt>
                <c:pt idx="7">
                  <c:v>2261.1836734693879</c:v>
                </c:pt>
              </c:numCache>
            </c:numRef>
          </c:yVal>
          <c:bubbleSize>
            <c:numRef>
              <c:f>Sheet1!$C$2:$C$9</c:f>
              <c:numCache>
                <c:formatCode>General</c:formatCode>
                <c:ptCount val="8"/>
                <c:pt idx="0">
                  <c:v>32294.258999999998</c:v>
                </c:pt>
                <c:pt idx="1">
                  <c:v>438659.83460000012</c:v>
                </c:pt>
                <c:pt idx="2">
                  <c:v>4028.5585999999998</c:v>
                </c:pt>
                <c:pt idx="3">
                  <c:v>424371.35280000011</c:v>
                </c:pt>
                <c:pt idx="4">
                  <c:v>711959.80920000002</c:v>
                </c:pt>
                <c:pt idx="5">
                  <c:v>62773.410600000003</c:v>
                </c:pt>
                <c:pt idx="6">
                  <c:v>114703.4375</c:v>
                </c:pt>
                <c:pt idx="7">
                  <c:v>107086.9621</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Pik Et Croq' Fromage Fondu Dips Boite 1X175Gr 5P</c:v>
                  </c:pt>
                  <c:pt idx="7">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A7EBD8C-C874-4D15-BA78-19C69DA631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BC6F7FB-34AE-49CA-9F4C-76EF02E06D2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52230A0-D539-4B24-987E-FD6F3C8E2E9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75D52BD-F381-4007-B312-DD2D970750D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3CF691D-6DA0-4F0B-8A5D-1A213A3A0D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8AA3F42-852B-4B42-9CAA-D2CEECE5E39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5534541-D9D2-4D15-AD70-735836503F1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F5CD4E4-8AE4-450E-9C94-CA306FBF756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2BE40B4-3479-456F-9411-62A34043575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CB73B7C-7B3E-46D1-BE5E-7760056DF2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9</c:f>
              <c:numCache>
                <c:formatCode>General</c:formatCode>
                <c:ptCount val="8"/>
                <c:pt idx="0">
                  <c:v>0.52</c:v>
                </c:pt>
                <c:pt idx="1">
                  <c:v>0.85</c:v>
                </c:pt>
                <c:pt idx="2">
                  <c:v>0.59</c:v>
                </c:pt>
                <c:pt idx="3">
                  <c:v>0.92</c:v>
                </c:pt>
                <c:pt idx="4">
                  <c:v>0.31</c:v>
                </c:pt>
                <c:pt idx="5">
                  <c:v>0.9</c:v>
                </c:pt>
                <c:pt idx="6">
                  <c:v>0.68</c:v>
                </c:pt>
                <c:pt idx="7">
                  <c:v>0.38</c:v>
                </c:pt>
              </c:numCache>
            </c:numRef>
          </c:xVal>
          <c:yVal>
            <c:numRef>
              <c:f>Sheet1!$B$2:$B$9</c:f>
              <c:numCache>
                <c:formatCode>General</c:formatCode>
                <c:ptCount val="8"/>
                <c:pt idx="0">
                  <c:v>5199.8076923076924</c:v>
                </c:pt>
                <c:pt idx="1">
                  <c:v>6595.7294117647061</c:v>
                </c:pt>
                <c:pt idx="2">
                  <c:v>593.88135593220341</c:v>
                </c:pt>
                <c:pt idx="3">
                  <c:v>4358.739130434783</c:v>
                </c:pt>
                <c:pt idx="4">
                  <c:v>1752.7741935483871</c:v>
                </c:pt>
                <c:pt idx="5">
                  <c:v>3563.9444444444439</c:v>
                </c:pt>
                <c:pt idx="6">
                  <c:v>3449.8529411764712</c:v>
                </c:pt>
                <c:pt idx="7">
                  <c:v>829.63157894736844</c:v>
                </c:pt>
              </c:numCache>
            </c:numRef>
          </c:yVal>
          <c:bubbleSize>
            <c:numRef>
              <c:f>Sheet1!$C$2:$C$9</c:f>
              <c:numCache>
                <c:formatCode>General</c:formatCode>
                <c:ptCount val="8"/>
                <c:pt idx="0">
                  <c:v>156977.5018</c:v>
                </c:pt>
                <c:pt idx="1">
                  <c:v>344392.07760000002</c:v>
                </c:pt>
                <c:pt idx="2">
                  <c:v>23887.4028</c:v>
                </c:pt>
                <c:pt idx="3">
                  <c:v>233248.51519999999</c:v>
                </c:pt>
                <c:pt idx="4">
                  <c:v>24789.4863</c:v>
                </c:pt>
                <c:pt idx="5">
                  <c:v>183453.649</c:v>
                </c:pt>
                <c:pt idx="6">
                  <c:v>133465.1311</c:v>
                </c:pt>
                <c:pt idx="7">
                  <c:v>14285.700199999999</c:v>
                </c:pt>
              </c:numCache>
            </c:numRef>
          </c:bubbleSize>
          <c:bubble3D val="0"/>
          <c:extLst>
            <c:ext xmlns:c15="http://schemas.microsoft.com/office/drawing/2012/chart" uri="{02D57815-91ED-43cb-92C2-25804820EDAC}">
              <c15:datalabelsRange>
                <c15:f>Sheet1!$E$2:$E$21</c15:f>
                <c15:dlblRangeCache>
                  <c:ptCount val="20"/>
                  <c:pt idx="0">
                    <c:v>Kiri Creme Fromage Blanc Frais Carre 1X432Gr 24P</c:v>
                  </c:pt>
                  <c:pt idx="1">
                    <c:v>Kiri Creme Fromage Blanc Frais Carre 1X216Gr 12P</c:v>
                  </c:pt>
                  <c:pt idx="2">
                    <c:v>Kiri Creme Fromage Blanc Frais Carre 1X432Gr 18+6P</c:v>
                  </c:pt>
                  <c:pt idx="3">
                    <c:v>Kiri Creme Fromage Blanc Frais Carre 1X144Gr 8P</c:v>
                  </c:pt>
                  <c:pt idx="4">
                    <c:v>Kiri Bio Fromage Blanc Frais Carre 1X144Gr 8P</c:v>
                  </c:pt>
                  <c:pt idx="5">
                    <c:v>Kiri Gouter Fromage Blanc Dips Boite 1X175Gr 5P</c:v>
                  </c:pt>
                  <c:pt idx="6">
                    <c:v>Kiri Gouter Fromage Blanc Dips Boite 1X280Gr 8P</c:v>
                  </c:pt>
                  <c:pt idx="7">
                    <c:v>Kiri Chevre Fromage Blanc Frais Carre 1X144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Boursin</c:v>
                </c:pt>
                <c:pt idx="2">
                  <c:v>Paysan Breton</c:v>
                </c:pt>
                <c:pt idx="3">
                  <c:v>Private Label</c:v>
                </c:pt>
                <c:pt idx="4">
                  <c:v>Tartare</c:v>
                </c:pt>
                <c:pt idx="5">
                  <c:v>Carre Frais</c:v>
                </c:pt>
                <c:pt idx="6">
                  <c:v>Philadelphia</c:v>
                </c:pt>
                <c:pt idx="7">
                  <c:v>Kiri</c:v>
                </c:pt>
                <c:pt idx="8">
                  <c:v>Others</c:v>
                </c:pt>
              </c:strCache>
            </c:strRef>
          </c:cat>
          <c:val>
            <c:numRef>
              <c:f>Sheet1!$B$2:$B$10</c:f>
              <c:numCache>
                <c:formatCode>General</c:formatCode>
                <c:ptCount val="9"/>
                <c:pt idx="0">
                  <c:v>0.33013901850908262</c:v>
                </c:pt>
                <c:pt idx="1">
                  <c:v>0.147718639186522</c:v>
                </c:pt>
                <c:pt idx="2">
                  <c:v>0.13130814637901514</c:v>
                </c:pt>
                <c:pt idx="3">
                  <c:v>0.12849530522556324</c:v>
                </c:pt>
                <c:pt idx="4">
                  <c:v>0.12849396929497128</c:v>
                </c:pt>
                <c:pt idx="5">
                  <c:v>5.7537430417662197E-2</c:v>
                </c:pt>
                <c:pt idx="6">
                  <c:v>4.4350616712711739E-2</c:v>
                </c:pt>
                <c:pt idx="7">
                  <c:v>9.9586553057033553E-3</c:v>
                </c:pt>
                <c:pt idx="8">
                  <c:v>2.199821896876845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Boursin</c:v>
                </c:pt>
                <c:pt idx="2">
                  <c:v>Paysan Breton</c:v>
                </c:pt>
                <c:pt idx="3">
                  <c:v>Private Label</c:v>
                </c:pt>
                <c:pt idx="4">
                  <c:v>Tartare</c:v>
                </c:pt>
                <c:pt idx="5">
                  <c:v>Carre Frais</c:v>
                </c:pt>
                <c:pt idx="6">
                  <c:v>Philadelphia</c:v>
                </c:pt>
                <c:pt idx="7">
                  <c:v>Kiri</c:v>
                </c:pt>
                <c:pt idx="8">
                  <c:v>Others</c:v>
                </c:pt>
              </c:strCache>
            </c:strRef>
          </c:cat>
          <c:val>
            <c:numRef>
              <c:f>Sheet1!$C$2:$C$10</c:f>
              <c:numCache>
                <c:formatCode>General</c:formatCode>
                <c:ptCount val="9"/>
                <c:pt idx="0">
                  <c:v>0.15406744446220233</c:v>
                </c:pt>
                <c:pt idx="1">
                  <c:v>0.18475307655425924</c:v>
                </c:pt>
                <c:pt idx="2">
                  <c:v>0.11714879335144639</c:v>
                </c:pt>
                <c:pt idx="3">
                  <c:v>0.11075595333226786</c:v>
                </c:pt>
                <c:pt idx="4">
                  <c:v>0.15470672846412017</c:v>
                </c:pt>
                <c:pt idx="5">
                  <c:v>5.6097171168291514E-2</c:v>
                </c:pt>
                <c:pt idx="6">
                  <c:v>4.6827553140482654E-2</c:v>
                </c:pt>
                <c:pt idx="7">
                  <c:v>4.1713281125139841E-2</c:v>
                </c:pt>
                <c:pt idx="8">
                  <c:v>0.1339299984017899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Boursin</c:v>
                </c:pt>
                <c:pt idx="2">
                  <c:v>Paysan Breton</c:v>
                </c:pt>
                <c:pt idx="3">
                  <c:v>Private Label</c:v>
                </c:pt>
                <c:pt idx="4">
                  <c:v>Tartare</c:v>
                </c:pt>
                <c:pt idx="5">
                  <c:v>Carre Frais</c:v>
                </c:pt>
                <c:pt idx="6">
                  <c:v>Philadelphia</c:v>
                </c:pt>
                <c:pt idx="7">
                  <c:v>Kiri</c:v>
                </c:pt>
                <c:pt idx="8">
                  <c:v>Others</c:v>
                </c:pt>
              </c:strCache>
            </c:strRef>
          </c:cat>
          <c:val>
            <c:numRef>
              <c:f>Sheet1!$D$2:$D$10</c:f>
              <c:numCache>
                <c:formatCode>General</c:formatCode>
                <c:ptCount val="9"/>
                <c:pt idx="0">
                  <c:v>46.667444871549982</c:v>
                </c:pt>
                <c:pt idx="1">
                  <c:v>125.07093050117692</c:v>
                </c:pt>
                <c:pt idx="2">
                  <c:v>89.216698721267136</c:v>
                </c:pt>
                <c:pt idx="3">
                  <c:v>86.194552507459036</c:v>
                </c:pt>
                <c:pt idx="4">
                  <c:v>120.3999917762481</c:v>
                </c:pt>
                <c:pt idx="5">
                  <c:v>97.496830777954642</c:v>
                </c:pt>
                <c:pt idx="6">
                  <c:v>105.58489737316546</c:v>
                </c:pt>
                <c:pt idx="7">
                  <c:v>418.8645941109188</c:v>
                </c:pt>
                <c:pt idx="8">
                  <c:v>608.8220077813322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C8C919B-B017-4DE1-9937-CC0CA7C2366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1D90A4A-391C-43E8-A1F5-82D818DA5DD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FF549CD-1C17-48F3-9ED1-154D60EBE29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2F7287A-A676-43D5-AE84-E372BE42C6B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54D1F9B-C49C-4503-B875-7A8F45FEB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F1F3070-12FA-4930-AE5D-F7FDD7742E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7A2E171-A490-434F-A126-BD5EB1C80A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79E843C-743F-4022-8C05-3213E7780C9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11669DF-7573-4F4F-82B1-48C0DBAAB6B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0D8E8F3-146F-4906-9CD5-DA7389F3081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8</c:f>
              <c:numCache>
                <c:formatCode>General</c:formatCode>
                <c:ptCount val="7"/>
                <c:pt idx="0">
                  <c:v>0.33</c:v>
                </c:pt>
                <c:pt idx="1">
                  <c:v>0.98</c:v>
                </c:pt>
                <c:pt idx="2">
                  <c:v>0.68</c:v>
                </c:pt>
                <c:pt idx="3">
                  <c:v>0.68</c:v>
                </c:pt>
                <c:pt idx="4">
                  <c:v>0.5</c:v>
                </c:pt>
                <c:pt idx="5">
                  <c:v>0.82</c:v>
                </c:pt>
                <c:pt idx="6">
                  <c:v>0.42</c:v>
                </c:pt>
              </c:numCache>
            </c:numRef>
          </c:xVal>
          <c:yVal>
            <c:numRef>
              <c:f>Sheet1!$B$2:$B$8</c:f>
              <c:numCache>
                <c:formatCode>General</c:formatCode>
                <c:ptCount val="7"/>
                <c:pt idx="0">
                  <c:v>985.5151515151515</c:v>
                </c:pt>
                <c:pt idx="1">
                  <c:v>8872.0612244897966</c:v>
                </c:pt>
                <c:pt idx="2">
                  <c:v>7117.838235294118</c:v>
                </c:pt>
                <c:pt idx="3">
                  <c:v>8935.823529411764</c:v>
                </c:pt>
                <c:pt idx="4">
                  <c:v>1845.32</c:v>
                </c:pt>
                <c:pt idx="5">
                  <c:v>2128.3658536585372</c:v>
                </c:pt>
                <c:pt idx="6">
                  <c:v>1563.261904761905</c:v>
                </c:pt>
              </c:numCache>
            </c:numRef>
          </c:yVal>
          <c:bubbleSize>
            <c:numRef>
              <c:f>Sheet1!$C$2:$C$8</c:f>
              <c:numCache>
                <c:formatCode>General</c:formatCode>
                <c:ptCount val="7"/>
                <c:pt idx="0">
                  <c:v>12942.373100000001</c:v>
                </c:pt>
                <c:pt idx="1">
                  <c:v>490120.52419999999</c:v>
                </c:pt>
                <c:pt idx="2">
                  <c:v>278975.31349999999</c:v>
                </c:pt>
                <c:pt idx="3">
                  <c:v>359632.71120000002</c:v>
                </c:pt>
                <c:pt idx="4">
                  <c:v>45455.146800000002</c:v>
                </c:pt>
                <c:pt idx="5">
                  <c:v>88738.778599999991</c:v>
                </c:pt>
                <c:pt idx="6">
                  <c:v>29255.048200000001</c:v>
                </c:pt>
              </c:numCache>
            </c:numRef>
          </c:bubbleSize>
          <c:bubble3D val="0"/>
          <c:extLst>
            <c:ext xmlns:c15="http://schemas.microsoft.com/office/drawing/2012/chart" uri="{02D57815-91ED-43cb-92C2-25804820EDAC}">
              <c15:datalabelsRange>
                <c15:f>Sheet1!$E$2:$E$21</c15:f>
                <c15:dlblRangeCache>
                  <c:ptCount val="20"/>
                  <c:pt idx="0">
                    <c:v>La Vache Qui Rit Aro Fromage Fondu Boite Ronde Jambon 1X133Gr 8P</c:v>
                  </c:pt>
                  <c:pt idx="1">
                    <c:v>La Vache Qui Rit Nature Fromage Fondu Boite Ronde 1X192Gr 12P</c:v>
                  </c:pt>
                  <c:pt idx="2">
                    <c:v>La Vache Qui Rit Nature Fromage Fondu Boite Ronde 1X384Gr 24P</c:v>
                  </c:pt>
                  <c:pt idx="3">
                    <c:v>La Vache Qui Rit Nature Fromage Fondu Boite Ronde 1X512Gr 32P</c:v>
                  </c:pt>
                  <c:pt idx="4">
                    <c:v>La Vache Qui Rit Allegee Fromage Fondu Boite Ronde Allege 1X267Gr 16P</c:v>
                  </c:pt>
                  <c:pt idx="5">
                    <c:v>La Vache Qui Rit Pik Et Croq' Fromage Fondu Dips Boite 1X175Gr 5P</c:v>
                  </c:pt>
                  <c:pt idx="6">
                    <c:v>La Vache Qui Rit Pik Et Croq' Fromage Fondu Dips Boite 1X280Gr 8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A59EEF1-01F9-4374-927F-0E423413764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A4B97E0-5214-48C3-B07D-96B5EBA9E0F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43343A0-361E-4F7D-A905-AE0B407B191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6C6746F-4E9C-4C70-9A7D-19C537FDA06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F1A99CD-6964-453D-BAAE-E0341BA489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EC41885-9389-4BDE-87AF-DE02DFEC512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AF3692E-F74A-4B22-9429-846E50C77FB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6F8ED0F-1985-46BE-908C-E2BA51FDFF4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9015167-7BBC-4E04-B4C4-E75BFFCDAEE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AA36A8D-29F9-49CA-B62D-319FB05A876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77400000000000002</c:v>
                </c:pt>
                <c:pt idx="1">
                  <c:v>0.64300000000000002</c:v>
                </c:pt>
                <c:pt idx="2">
                  <c:v>0.68899999999999995</c:v>
                </c:pt>
              </c:numCache>
            </c:numRef>
          </c:xVal>
          <c:yVal>
            <c:numRef>
              <c:f>Sheet1!$B$2:$B$4</c:f>
              <c:numCache>
                <c:formatCode>General</c:formatCode>
                <c:ptCount val="3"/>
                <c:pt idx="0">
                  <c:v>9290.7881136950891</c:v>
                </c:pt>
                <c:pt idx="1">
                  <c:v>7421.5241057542771</c:v>
                </c:pt>
                <c:pt idx="2">
                  <c:v>5613.8606676342533</c:v>
                </c:pt>
              </c:numCache>
            </c:numRef>
          </c:yVal>
          <c:bubbleSize>
            <c:numRef>
              <c:f>Sheet1!$C$2:$C$4</c:f>
              <c:numCache>
                <c:formatCode>General</c:formatCode>
                <c:ptCount val="3"/>
                <c:pt idx="0">
                  <c:v>394784.88339999999</c:v>
                </c:pt>
                <c:pt idx="1">
                  <c:v>270428.12439999997</c:v>
                </c:pt>
                <c:pt idx="2">
                  <c:v>224227.94260000001</c:v>
                </c:pt>
              </c:numCache>
            </c:numRef>
          </c:bubbleSize>
          <c:bubble3D val="0"/>
          <c:extLst>
            <c:ext xmlns:c15="http://schemas.microsoft.com/office/drawing/2012/chart" uri="{02D57815-91ED-43cb-92C2-25804820EDAC}">
              <c15:datalabelsRange>
                <c15:f>Sheet1!$E$2:$E$21</c15:f>
                <c15:dlblRangeCache>
                  <c:ptCount val="20"/>
                  <c:pt idx="0">
                    <c:v>Kiri Delicieusement Fouette Fromage Frais A Tartiner 1X125Gr 1P</c:v>
                  </c:pt>
                  <c:pt idx="1">
                    <c:v>Kiri Delicieusement Fouette Fromage Frais A Tartiner 1X210Gr 1P</c:v>
                  </c:pt>
                  <c:pt idx="2">
                    <c:v>Kiri Delicieusement Fouette Fromage Frais A Tartiner 1X160Gr 10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41E3D4B-EF68-4F2F-920A-DAD92A8A6EF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4366D62-AF3D-47ED-8C2B-6EEDA9BFC3A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5C9CED0-1FBA-42EF-A28B-71400F5AB27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E5B782B-C297-4022-8C3C-FB0285F38D6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F577C01-C899-4031-AB20-B3F63C6FB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276515A-449E-4D3B-BCB7-C2F06A8A5C7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06EC193-EF6F-44E2-9FA2-6931FAF5B7B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D24B658-4870-42A5-9C7D-48D2FC72163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8C67E46-B117-468B-BC6A-F501B86AF02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484E110-FE41-4841-B986-9AB41260C1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8</c:f>
              <c:numCache>
                <c:formatCode>General</c:formatCode>
                <c:ptCount val="17"/>
                <c:pt idx="0">
                  <c:v>0.91500000000000004</c:v>
                </c:pt>
                <c:pt idx="1">
                  <c:v>0.52800000000000002</c:v>
                </c:pt>
                <c:pt idx="2">
                  <c:v>0.96799999999999997</c:v>
                </c:pt>
                <c:pt idx="3">
                  <c:v>0.79300000000000004</c:v>
                </c:pt>
                <c:pt idx="4">
                  <c:v>0.51100000000000001</c:v>
                </c:pt>
                <c:pt idx="5">
                  <c:v>0.69399999999999995</c:v>
                </c:pt>
                <c:pt idx="6">
                  <c:v>0.53700000000000003</c:v>
                </c:pt>
                <c:pt idx="7">
                  <c:v>0.379</c:v>
                </c:pt>
                <c:pt idx="8">
                  <c:v>0.44700000000000001</c:v>
                </c:pt>
                <c:pt idx="9">
                  <c:v>0.40200000000000002</c:v>
                </c:pt>
                <c:pt idx="10">
                  <c:v>0.82099999999999995</c:v>
                </c:pt>
                <c:pt idx="11">
                  <c:v>0.26500000000000001</c:v>
                </c:pt>
                <c:pt idx="12">
                  <c:v>7.4999999999999997E-2</c:v>
                </c:pt>
                <c:pt idx="13">
                  <c:v>0.81699999999999995</c:v>
                </c:pt>
                <c:pt idx="14">
                  <c:v>0.77400000000000002</c:v>
                </c:pt>
                <c:pt idx="15">
                  <c:v>0.28100000000000003</c:v>
                </c:pt>
                <c:pt idx="16">
                  <c:v>0.32400000000000001</c:v>
                </c:pt>
              </c:numCache>
            </c:numRef>
          </c:xVal>
          <c:yVal>
            <c:numRef>
              <c:f>Sheet1!$B$2:$B$18</c:f>
              <c:numCache>
                <c:formatCode>General</c:formatCode>
                <c:ptCount val="17"/>
                <c:pt idx="0">
                  <c:v>36210.382513661199</c:v>
                </c:pt>
                <c:pt idx="1">
                  <c:v>912.44318181818176</c:v>
                </c:pt>
                <c:pt idx="2">
                  <c:v>35111.053719008269</c:v>
                </c:pt>
                <c:pt idx="3">
                  <c:v>8691.4627994955863</c:v>
                </c:pt>
                <c:pt idx="4">
                  <c:v>956.90802348336592</c:v>
                </c:pt>
                <c:pt idx="5">
                  <c:v>6379.6974063400576</c:v>
                </c:pt>
                <c:pt idx="6">
                  <c:v>1782.271880819367</c:v>
                </c:pt>
                <c:pt idx="7">
                  <c:v>1204.459102902375</c:v>
                </c:pt>
                <c:pt idx="8">
                  <c:v>3167.5167785234898</c:v>
                </c:pt>
                <c:pt idx="9">
                  <c:v>2165.5472636815921</c:v>
                </c:pt>
                <c:pt idx="10">
                  <c:v>11865.907429963459</c:v>
                </c:pt>
                <c:pt idx="11">
                  <c:v>4761.8113207547167</c:v>
                </c:pt>
                <c:pt idx="12">
                  <c:v>1840.8</c:v>
                </c:pt>
                <c:pt idx="13">
                  <c:v>25830.86903304774</c:v>
                </c:pt>
                <c:pt idx="14">
                  <c:v>7665.3875968992243</c:v>
                </c:pt>
                <c:pt idx="15">
                  <c:v>2258.3985765124548</c:v>
                </c:pt>
                <c:pt idx="16">
                  <c:v>502.59259259259261</c:v>
                </c:pt>
              </c:numCache>
            </c:numRef>
          </c:yVal>
          <c:bubbleSize>
            <c:numRef>
              <c:f>Sheet1!$C$2:$C$18</c:f>
              <c:numCache>
                <c:formatCode>General</c:formatCode>
                <c:ptCount val="17"/>
                <c:pt idx="0">
                  <c:v>2046825.7823000001</c:v>
                </c:pt>
                <c:pt idx="1">
                  <c:v>31644.144499999999</c:v>
                </c:pt>
                <c:pt idx="2">
                  <c:v>2119021.4544000002</c:v>
                </c:pt>
                <c:pt idx="3">
                  <c:v>427959.80719999998</c:v>
                </c:pt>
                <c:pt idx="4">
                  <c:v>28852.473999999998</c:v>
                </c:pt>
                <c:pt idx="5">
                  <c:v>270671.19300000009</c:v>
                </c:pt>
                <c:pt idx="6">
                  <c:v>43181.377599999993</c:v>
                </c:pt>
                <c:pt idx="7">
                  <c:v>23385.416400000009</c:v>
                </c:pt>
                <c:pt idx="8">
                  <c:v>91396.574100000013</c:v>
                </c:pt>
                <c:pt idx="9">
                  <c:v>51837.37920000001</c:v>
                </c:pt>
                <c:pt idx="10">
                  <c:v>599204.3587000001</c:v>
                </c:pt>
                <c:pt idx="11">
                  <c:v>90111.2497</c:v>
                </c:pt>
                <c:pt idx="12">
                  <c:v>7381.9490000000014</c:v>
                </c:pt>
                <c:pt idx="13">
                  <c:v>1321744.1344000001</c:v>
                </c:pt>
                <c:pt idx="14">
                  <c:v>346446.61200000002</c:v>
                </c:pt>
                <c:pt idx="15">
                  <c:v>29997.0429</c:v>
                </c:pt>
                <c:pt idx="16">
                  <c:v>7339.8536999999997</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Truffe Boite 1X150Gr 1P</c:v>
                  </c:pt>
                  <c:pt idx="5">
                    <c:v>Boursin Classique Fromage Frais A Tartiner Figue Et 3 Noix Boite 1X150Gr 1P</c:v>
                  </c:pt>
                  <c:pt idx="6">
                    <c:v>Boursin Classique Fromage Frais A Tartiner 3 Noix Boite 1X150Gr 1P</c:v>
                  </c:pt>
                  <c:pt idx="7">
                    <c:v>Boursin Classique Fromage Frais A Tartiner 3 Noix 1X160Gr 10P</c:v>
                  </c:pt>
                  <c:pt idx="8">
                    <c:v>Boursin Classique Fromage Frais A Tartiner Afh Boite 1X80Gr 1P</c:v>
                  </c:pt>
                  <c:pt idx="9">
                    <c:v>Boursin Classique Fromage Frais A Tartiner Poivre Boite 1X150Gr 1P</c:v>
                  </c:pt>
                  <c:pt idx="10">
                    <c:v>Boursin Classique Fromage Frais A Tartiner Afh Boite 1X96Gr 6P</c:v>
                  </c:pt>
                  <c:pt idx="11">
                    <c:v>Boursin Classique Fromage Frais A Tartiner Afh 1X256Gr 16P</c:v>
                  </c:pt>
                  <c:pt idx="12">
                    <c:v>Boursin Classique Fromage Frais A Tartiner Ciboulette &amp; Echalote 1X160Gr 10P</c:v>
                  </c:pt>
                  <c:pt idx="13">
                    <c:v>Boursin Classique Fromage Frais A Tartiner Afh Boite 1X250Gr 1P</c:v>
                  </c:pt>
                  <c:pt idx="14">
                    <c:v>Boursin Onctueux Fromage Frais A Tartiner Afh 1X125Gr 1P</c:v>
                  </c:pt>
                  <c:pt idx="15">
                    <c:v>Boursin Onctueux Fromage Frais A Tartiner Afh 1X210Gr 1P</c:v>
                  </c:pt>
                  <c:pt idx="16">
                    <c:v>Boursin Classique Fromage Frais A Tartiner Citron &amp; Romarin Boite 1X15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9FABB45-566D-40FB-A22C-D70483DA16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FF14401-5691-4D27-8A1A-6A72658344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34D542E-F381-4EF0-9EE4-DF26B044BC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BF1C0D9-EFB3-49A6-9D9D-EFAE215FD4D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ADBFF9B-BFC9-460C-A4F0-70666ADCA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AC17BB2-A2BD-457E-A28D-D2A3F58152F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CA87B4D-5FC9-4E1D-BCDE-91B6CD162A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16E3EC4-9359-4090-B834-007C6273816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57DC2F2-F1FA-4EAB-AC7D-2E4BBE4332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02096AF-8374-4C06-858E-75EBF26A0F7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83699999999999997</c:v>
                </c:pt>
                <c:pt idx="1">
                  <c:v>0.372</c:v>
                </c:pt>
                <c:pt idx="2">
                  <c:v>0.89500000000000002</c:v>
                </c:pt>
              </c:numCache>
            </c:numRef>
          </c:xVal>
          <c:yVal>
            <c:numRef>
              <c:f>Sheet1!$B$2:$B$4</c:f>
              <c:numCache>
                <c:formatCode>General</c:formatCode>
                <c:ptCount val="3"/>
                <c:pt idx="0">
                  <c:v>6139.8327359617679</c:v>
                </c:pt>
                <c:pt idx="1">
                  <c:v>481.37096774193537</c:v>
                </c:pt>
                <c:pt idx="2">
                  <c:v>3027.5083798882679</c:v>
                </c:pt>
              </c:numCache>
            </c:numRef>
          </c:yVal>
          <c:bubbleSize>
            <c:numRef>
              <c:f>Sheet1!$C$2:$C$4</c:f>
              <c:numCache>
                <c:formatCode>General</c:formatCode>
                <c:ptCount val="3"/>
                <c:pt idx="0">
                  <c:v>264142.96620000002</c:v>
                </c:pt>
                <c:pt idx="1">
                  <c:v>8501.64</c:v>
                </c:pt>
                <c:pt idx="2">
                  <c:v>146209.82399999999</c:v>
                </c:pt>
              </c:numCache>
            </c:numRef>
          </c:bubbleSize>
          <c:bubble3D val="0"/>
          <c:extLst>
            <c:ext xmlns:c15="http://schemas.microsoft.com/office/drawing/2012/chart" uri="{02D57815-91ED-43cb-92C2-25804820EDAC}">
              <c15:datalabelsRange>
                <c15:f>Sheet1!$E$2:$E$21</c15:f>
                <c15:dlblRangeCache>
                  <c:ptCount val="20"/>
                  <c:pt idx="0">
                    <c:v>Kiri Delicieusement Fouette Fromage Frais A Tartiner 1X125Gr 1P</c:v>
                  </c:pt>
                  <c:pt idx="1">
                    <c:v>Kiri Delicieusement Fouette Fromage Frais A Tartiner 1X210Gr 1P</c:v>
                  </c:pt>
                  <c:pt idx="2">
                    <c:v>Kiri Delicieusement Fouette Fromage Frais A Tartiner 1X160Gr 10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84E5E73-6187-46C0-B4B3-2AA9F5BA2E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E012969-7037-4904-A126-02079FE34F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426B921-4BD4-4B4A-AAF7-1CA50D65C77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78B44F8-4655-4627-A95F-925EB9FF1CB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D7E0B09-86AB-4BA7-87A0-93EDD1011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12AC7C4-09A6-4C78-9D5A-5C88D16D248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B895F24-DA93-4920-AD73-347F59F585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19DA9E7-A808-418E-AB9F-F4FB58E15C8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F5F1407-B073-44E8-B547-EECD7A2985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22B5070-6120-4D34-9987-79C1CA916F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General</c:formatCode>
                <c:ptCount val="12"/>
                <c:pt idx="0">
                  <c:v>0.98099999999999998</c:v>
                </c:pt>
                <c:pt idx="1">
                  <c:v>0.998</c:v>
                </c:pt>
                <c:pt idx="2">
                  <c:v>0.97299999999999998</c:v>
                </c:pt>
                <c:pt idx="3">
                  <c:v>0.68700000000000006</c:v>
                </c:pt>
                <c:pt idx="4">
                  <c:v>0.98</c:v>
                </c:pt>
                <c:pt idx="5">
                  <c:v>0.32500000000000001</c:v>
                </c:pt>
                <c:pt idx="6">
                  <c:v>0.94</c:v>
                </c:pt>
                <c:pt idx="7">
                  <c:v>0.93899999999999995</c:v>
                </c:pt>
                <c:pt idx="8">
                  <c:v>0.86</c:v>
                </c:pt>
                <c:pt idx="9">
                  <c:v>0.80800000000000005</c:v>
                </c:pt>
                <c:pt idx="10">
                  <c:v>0.98</c:v>
                </c:pt>
                <c:pt idx="11">
                  <c:v>0.95399999999999996</c:v>
                </c:pt>
              </c:numCache>
            </c:numRef>
          </c:xVal>
          <c:yVal>
            <c:numRef>
              <c:f>Sheet1!$B$2:$B$13</c:f>
              <c:numCache>
                <c:formatCode>General</c:formatCode>
                <c:ptCount val="12"/>
                <c:pt idx="0">
                  <c:v>27527.410805300711</c:v>
                </c:pt>
                <c:pt idx="1">
                  <c:v>24558.51703406814</c:v>
                </c:pt>
                <c:pt idx="2">
                  <c:v>8635.1798561151081</c:v>
                </c:pt>
                <c:pt idx="3">
                  <c:v>648.25327510917032</c:v>
                </c:pt>
                <c:pt idx="4">
                  <c:v>10309.23469387755</c:v>
                </c:pt>
                <c:pt idx="5">
                  <c:v>2730.8923076923079</c:v>
                </c:pt>
                <c:pt idx="6">
                  <c:v>7229.1382978723404</c:v>
                </c:pt>
                <c:pt idx="7">
                  <c:v>11438.093716719921</c:v>
                </c:pt>
                <c:pt idx="8">
                  <c:v>8505.5930232558148</c:v>
                </c:pt>
                <c:pt idx="9">
                  <c:v>5809.3564356435636</c:v>
                </c:pt>
                <c:pt idx="10">
                  <c:v>27838.234693877552</c:v>
                </c:pt>
                <c:pt idx="11">
                  <c:v>12471.15303983229</c:v>
                </c:pt>
              </c:numCache>
            </c:numRef>
          </c:yVal>
          <c:bubbleSize>
            <c:numRef>
              <c:f>Sheet1!$C$2:$C$13</c:f>
              <c:numCache>
                <c:formatCode>General</c:formatCode>
                <c:ptCount val="12"/>
                <c:pt idx="0">
                  <c:v>1645429.3156999999</c:v>
                </c:pt>
                <c:pt idx="1">
                  <c:v>1483245.8407999999</c:v>
                </c:pt>
                <c:pt idx="2">
                  <c:v>455014.01169999992</c:v>
                </c:pt>
                <c:pt idx="3">
                  <c:v>19536.5635</c:v>
                </c:pt>
                <c:pt idx="4">
                  <c:v>568393.2801999998</c:v>
                </c:pt>
                <c:pt idx="5">
                  <c:v>50382.185700000002</c:v>
                </c:pt>
                <c:pt idx="6">
                  <c:v>392341.30040000001</c:v>
                </c:pt>
                <c:pt idx="7">
                  <c:v>608075.93240000005</c:v>
                </c:pt>
                <c:pt idx="8">
                  <c:v>423307.45439999987</c:v>
                </c:pt>
                <c:pt idx="9">
                  <c:v>250921.9325</c:v>
                </c:pt>
                <c:pt idx="10">
                  <c:v>1620710.9252000011</c:v>
                </c:pt>
                <c:pt idx="11">
                  <c:v>575246.19469999999</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Truffe Boite 1X150Gr 1P</c:v>
                  </c:pt>
                  <c:pt idx="4">
                    <c:v>Boursin Classique Fromage Frais A Tartiner Figue Et 3 Noix Boite 1X150Gr 1P</c:v>
                  </c:pt>
                  <c:pt idx="5">
                    <c:v>Boursin Classique Fromage Frais A Tartiner Afh Boite 1X80Gr 1P</c:v>
                  </c:pt>
                  <c:pt idx="6">
                    <c:v>Boursin Classique Fromage Frais A Tartiner Poivre Boite 1X150Gr 1P</c:v>
                  </c:pt>
                  <c:pt idx="7">
                    <c:v>Boursin Classique Fromage Frais A Tartiner Afh Boite 1X96Gr 6P</c:v>
                  </c:pt>
                  <c:pt idx="8">
                    <c:v>Boursin Classique Fromage Frais A Tartiner Afh 1X256Gr 16P</c:v>
                  </c:pt>
                  <c:pt idx="9">
                    <c:v>Boursin Classique Fromage Frais A Tartiner Ciboulette &amp; Echalote 1X160Gr 10P</c:v>
                  </c:pt>
                  <c:pt idx="10">
                    <c:v>Boursin Classique Fromage Frais A Tartiner Afh Boite 1X250Gr 1P</c:v>
                  </c:pt>
                  <c:pt idx="11">
                    <c:v>Boursin Onctueux Fromage Frais A Tartiner Afh 1X125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121017C-1F25-4F1B-BA2D-26D1F7DAD0F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3D90EFE-A589-45D5-8DC0-F6F418AD4F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937C8EA-1B33-4E44-9355-134A0EF4E14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3DE2DF2-394D-4614-A17E-FB53CC6A500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7F282EB-D8E4-4B31-A37D-0B1ED6E527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9F42621-59B4-4F8A-BAA2-77B56F76FE1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11DAED2-180B-4A55-BFB8-223CB950723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46B6EE3-C32B-4F17-B135-3E13EDF3B7F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0664E2B-F5B3-46ED-9005-4DE27F0A26A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2587F17-85D0-48AD-81B0-1E97712AB10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98</c:v>
                </c:pt>
                <c:pt idx="1">
                  <c:v>0.96</c:v>
                </c:pt>
                <c:pt idx="2">
                  <c:v>0.89</c:v>
                </c:pt>
              </c:numCache>
            </c:numRef>
          </c:xVal>
          <c:yVal>
            <c:numRef>
              <c:f>Sheet1!$B$2:$B$4</c:f>
              <c:numCache>
                <c:formatCode>General</c:formatCode>
                <c:ptCount val="3"/>
                <c:pt idx="0">
                  <c:v>2226.4591836734689</c:v>
                </c:pt>
                <c:pt idx="1">
                  <c:v>3431.15625</c:v>
                </c:pt>
                <c:pt idx="2">
                  <c:v>1402.640449438202</c:v>
                </c:pt>
              </c:numCache>
            </c:numRef>
          </c:yVal>
          <c:bubbleSize>
            <c:numRef>
              <c:f>Sheet1!$C$2:$C$4</c:f>
              <c:numCache>
                <c:formatCode>General</c:formatCode>
                <c:ptCount val="3"/>
                <c:pt idx="0">
                  <c:v>131141.8792</c:v>
                </c:pt>
                <c:pt idx="1">
                  <c:v>186938.92819999999</c:v>
                </c:pt>
                <c:pt idx="2">
                  <c:v>74313.284700000004</c:v>
                </c:pt>
              </c:numCache>
            </c:numRef>
          </c:bubbleSize>
          <c:bubble3D val="0"/>
          <c:extLst>
            <c:ext xmlns:c15="http://schemas.microsoft.com/office/drawing/2012/chart" uri="{02D57815-91ED-43cb-92C2-25804820EDAC}">
              <c15:datalabelsRange>
                <c15:f>Sheet1!$E$2:$E$21</c15:f>
                <c15:dlblRangeCache>
                  <c:ptCount val="20"/>
                  <c:pt idx="0">
                    <c:v>Kiri Delicieusement Fouette Fromage Frais A Tartiner 1X125Gr 1P</c:v>
                  </c:pt>
                  <c:pt idx="1">
                    <c:v>Kiri Delicieusement Fouette Fromage Frais A Tartiner 1X210Gr 1P</c:v>
                  </c:pt>
                  <c:pt idx="2">
                    <c:v>Kiri Delicieusement Fouette Fromage Frais A Tartiner 1X160Gr 10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B8D2497-B0C3-4994-9496-2873342F7E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B6DC7F7-138A-483B-B1E8-0C3795D668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8ED6D3E-41E9-4D37-A258-F57D03C58D3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2B90DEB-7814-4343-9356-C63717D22D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09A7B92-6342-4B6E-A999-07BAD168F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40B97D1-B1F7-4689-9854-C0C68B9C49C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6894152-A057-4873-9A0F-7B0CB111DF1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C4316F7-FF61-4403-B6B7-B324ED810FE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93BAC7A-B1B2-48E9-93D6-E21CBCB7361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443FF78-8BA6-4177-BDE5-1F6ABF19971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8</c:f>
              <c:numCache>
                <c:formatCode>General</c:formatCode>
                <c:ptCount val="17"/>
                <c:pt idx="0">
                  <c:v>1</c:v>
                </c:pt>
                <c:pt idx="1">
                  <c:v>0.85</c:v>
                </c:pt>
                <c:pt idx="2">
                  <c:v>1</c:v>
                </c:pt>
                <c:pt idx="3">
                  <c:v>0.97</c:v>
                </c:pt>
                <c:pt idx="4">
                  <c:v>0.66</c:v>
                </c:pt>
                <c:pt idx="5">
                  <c:v>0.98</c:v>
                </c:pt>
                <c:pt idx="6">
                  <c:v>0.67</c:v>
                </c:pt>
                <c:pt idx="7">
                  <c:v>0.49</c:v>
                </c:pt>
                <c:pt idx="8">
                  <c:v>0.94</c:v>
                </c:pt>
                <c:pt idx="9">
                  <c:v>0.88</c:v>
                </c:pt>
                <c:pt idx="10">
                  <c:v>1</c:v>
                </c:pt>
                <c:pt idx="11">
                  <c:v>0.57999999999999996</c:v>
                </c:pt>
                <c:pt idx="12">
                  <c:v>0.14000000000000001</c:v>
                </c:pt>
                <c:pt idx="13">
                  <c:v>1</c:v>
                </c:pt>
                <c:pt idx="14">
                  <c:v>0.99</c:v>
                </c:pt>
                <c:pt idx="15">
                  <c:v>0.59</c:v>
                </c:pt>
                <c:pt idx="16">
                  <c:v>0.71</c:v>
                </c:pt>
              </c:numCache>
            </c:numRef>
          </c:xVal>
          <c:yVal>
            <c:numRef>
              <c:f>Sheet1!$B$2:$B$18</c:f>
              <c:numCache>
                <c:formatCode>General</c:formatCode>
                <c:ptCount val="17"/>
                <c:pt idx="0">
                  <c:v>14268.91</c:v>
                </c:pt>
                <c:pt idx="1">
                  <c:v>333.52941176470591</c:v>
                </c:pt>
                <c:pt idx="2">
                  <c:v>9722.94</c:v>
                </c:pt>
                <c:pt idx="3">
                  <c:v>3345.6288659793809</c:v>
                </c:pt>
                <c:pt idx="4">
                  <c:v>480.09090909090912</c:v>
                </c:pt>
                <c:pt idx="5">
                  <c:v>3773</c:v>
                </c:pt>
                <c:pt idx="6">
                  <c:v>871.68656716417911</c:v>
                </c:pt>
                <c:pt idx="7">
                  <c:v>524.91836734693879</c:v>
                </c:pt>
                <c:pt idx="8">
                  <c:v>1281.0212765957449</c:v>
                </c:pt>
                <c:pt idx="9">
                  <c:v>989.26136363636363</c:v>
                </c:pt>
                <c:pt idx="10">
                  <c:v>4276.8900000000003</c:v>
                </c:pt>
                <c:pt idx="11">
                  <c:v>2175.4827586206902</c:v>
                </c:pt>
                <c:pt idx="12">
                  <c:v>964.35714285714278</c:v>
                </c:pt>
                <c:pt idx="13">
                  <c:v>11512.05</c:v>
                </c:pt>
                <c:pt idx="14">
                  <c:v>2658.0808080808079</c:v>
                </c:pt>
                <c:pt idx="15">
                  <c:v>1025.28813559322</c:v>
                </c:pt>
                <c:pt idx="16">
                  <c:v>229.12676056338029</c:v>
                </c:pt>
              </c:numCache>
            </c:numRef>
          </c:yVal>
          <c:bubbleSize>
            <c:numRef>
              <c:f>Sheet1!$C$2:$C$18</c:f>
              <c:numCache>
                <c:formatCode>General</c:formatCode>
                <c:ptCount val="17"/>
                <c:pt idx="0">
                  <c:v>904769.62540000002</c:v>
                </c:pt>
                <c:pt idx="1">
                  <c:v>19208.837500000001</c:v>
                </c:pt>
                <c:pt idx="2">
                  <c:v>660282.57319999998</c:v>
                </c:pt>
                <c:pt idx="3">
                  <c:v>205815.49559999999</c:v>
                </c:pt>
                <c:pt idx="4">
                  <c:v>18882.7261</c:v>
                </c:pt>
                <c:pt idx="5">
                  <c:v>226705.78390000001</c:v>
                </c:pt>
                <c:pt idx="6">
                  <c:v>26386.711899999998</c:v>
                </c:pt>
                <c:pt idx="7">
                  <c:v>14639.8354</c:v>
                </c:pt>
                <c:pt idx="8">
                  <c:v>80141.60040000001</c:v>
                </c:pt>
                <c:pt idx="9">
                  <c:v>51837.37920000001</c:v>
                </c:pt>
                <c:pt idx="10">
                  <c:v>266178.70789999998</c:v>
                </c:pt>
                <c:pt idx="11">
                  <c:v>90101.286900000006</c:v>
                </c:pt>
                <c:pt idx="12">
                  <c:v>7213.1059999999998</c:v>
                </c:pt>
                <c:pt idx="13">
                  <c:v>727771.94940000016</c:v>
                </c:pt>
                <c:pt idx="14">
                  <c:v>156408.5736</c:v>
                </c:pt>
                <c:pt idx="15">
                  <c:v>28426.323100000001</c:v>
                </c:pt>
                <c:pt idx="16">
                  <c:v>7330.6674000000003</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Truffe Boite 1X150Gr 1P</c:v>
                  </c:pt>
                  <c:pt idx="5">
                    <c:v>Boursin Classique Fromage Frais A Tartiner Figue Et 3 Noix Boite 1X150Gr 1P</c:v>
                  </c:pt>
                  <c:pt idx="6">
                    <c:v>Boursin Classique Fromage Frais A Tartiner 3 Noix Boite 1X150Gr 1P</c:v>
                  </c:pt>
                  <c:pt idx="7">
                    <c:v>Boursin Classique Fromage Frais A Tartiner 3 Noix 1X160Gr 10P</c:v>
                  </c:pt>
                  <c:pt idx="8">
                    <c:v>Boursin Classique Fromage Frais A Tartiner Afh Boite 1X80Gr 1P</c:v>
                  </c:pt>
                  <c:pt idx="9">
                    <c:v>Boursin Classique Fromage Frais A Tartiner Poivre Boite 1X150Gr 1P</c:v>
                  </c:pt>
                  <c:pt idx="10">
                    <c:v>Boursin Classique Fromage Frais A Tartiner Afh Boite 1X96Gr 6P</c:v>
                  </c:pt>
                  <c:pt idx="11">
                    <c:v>Boursin Classique Fromage Frais A Tartiner Afh 1X256Gr 16P</c:v>
                  </c:pt>
                  <c:pt idx="12">
                    <c:v>Boursin Classique Fromage Frais A Tartiner Ciboulette &amp; Echalote 1X160Gr 10P</c:v>
                  </c:pt>
                  <c:pt idx="13">
                    <c:v>Boursin Classique Fromage Frais A Tartiner Afh Boite 1X250Gr 1P</c:v>
                  </c:pt>
                  <c:pt idx="14">
                    <c:v>Boursin Onctueux Fromage Frais A Tartiner Afh 1X125Gr 1P</c:v>
                  </c:pt>
                  <c:pt idx="15">
                    <c:v>Boursin Onctueux Fromage Frais A Tartiner Afh 1X210Gr 1P</c:v>
                  </c:pt>
                  <c:pt idx="16">
                    <c:v>Boursin Classique Fromage Frais A Tartiner Citron &amp; Romarin Boite 1X15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4C6A742-B954-4084-8CC5-8685952806C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F336848-4B34-442F-87AD-BD3F6E63034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FB5CE14-4478-487B-9FE5-B8CE040F58B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7E7DEDC-609D-41AB-87C6-16D45648354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50C3289-2258-48E3-818B-D85F674883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DCDC4CA-56EF-4585-BA98-F0901C97DD5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4288316-5106-4EB0-A182-8341641DF00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C50815C-FEC1-495E-934D-CB944FCDC8C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5BA8A1F-BB16-4EFD-A195-C106EF9697B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12C1BE3-CE08-4B11-8E5D-DB677E2F488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62</c:v>
                </c:pt>
                <c:pt idx="1">
                  <c:v>0.54</c:v>
                </c:pt>
                <c:pt idx="2">
                  <c:v>0.63</c:v>
                </c:pt>
              </c:numCache>
            </c:numRef>
          </c:xVal>
          <c:yVal>
            <c:numRef>
              <c:f>Sheet1!$B$2:$B$4</c:f>
              <c:numCache>
                <c:formatCode>General</c:formatCode>
                <c:ptCount val="3"/>
                <c:pt idx="0">
                  <c:v>2355.7580645161288</c:v>
                </c:pt>
                <c:pt idx="1">
                  <c:v>2737.2777777777778</c:v>
                </c:pt>
                <c:pt idx="2">
                  <c:v>2356.2857142857142</c:v>
                </c:pt>
              </c:numCache>
            </c:numRef>
          </c:yVal>
          <c:bubbleSize>
            <c:numRef>
              <c:f>Sheet1!$C$2:$C$4</c:f>
              <c:numCache>
                <c:formatCode>General</c:formatCode>
                <c:ptCount val="3"/>
                <c:pt idx="0">
                  <c:v>83407.418800000014</c:v>
                </c:pt>
                <c:pt idx="1">
                  <c:v>83489.196199999991</c:v>
                </c:pt>
                <c:pt idx="2">
                  <c:v>87919.882999999987</c:v>
                </c:pt>
              </c:numCache>
            </c:numRef>
          </c:bubbleSize>
          <c:bubble3D val="0"/>
          <c:extLst>
            <c:ext xmlns:c15="http://schemas.microsoft.com/office/drawing/2012/chart" uri="{02D57815-91ED-43cb-92C2-25804820EDAC}">
              <c15:datalabelsRange>
                <c15:f>Sheet1!$E$2:$E$21</c15:f>
                <c15:dlblRangeCache>
                  <c:ptCount val="20"/>
                  <c:pt idx="0">
                    <c:v>Kiri Delicieusement Fouette Fromage Frais A Tartiner 1X125Gr 1P</c:v>
                  </c:pt>
                  <c:pt idx="1">
                    <c:v>Kiri Delicieusement Fouette Fromage Frais A Tartiner 1X210Gr 1P</c:v>
                  </c:pt>
                  <c:pt idx="2">
                    <c:v>Kiri Delicieusement Fouette Fromage Frais A Tartiner 1X160Gr 10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79E6865-C09E-44FC-B10C-29E22AFAE87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BECC8B3-C8AC-47EA-8271-8976982470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7E9C776-4CC0-4492-B852-6CB4F9467B2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241DDC2-2A40-4FA9-A849-5DE2292D1FB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91B9E2D-FC1C-4746-822D-F07230E3E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4A19D6F-CBB8-47B3-AD4D-D5FFD6BEFCA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CB61437-6366-423F-A858-2598D85CB3E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4BF3C85-7539-4D6F-9B78-6156233C704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BA2E189-01CE-4DB5-A175-B57F8692978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A5FA38D-E959-43BD-960D-1284ACAD657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General</c:formatCode>
                <c:ptCount val="12"/>
                <c:pt idx="0">
                  <c:v>0.98</c:v>
                </c:pt>
                <c:pt idx="1">
                  <c:v>0.37</c:v>
                </c:pt>
                <c:pt idx="2">
                  <c:v>0.99</c:v>
                </c:pt>
                <c:pt idx="3">
                  <c:v>0.89</c:v>
                </c:pt>
                <c:pt idx="4">
                  <c:v>0.51</c:v>
                </c:pt>
                <c:pt idx="5">
                  <c:v>0.65</c:v>
                </c:pt>
                <c:pt idx="6">
                  <c:v>0.61</c:v>
                </c:pt>
                <c:pt idx="7">
                  <c:v>0.41</c:v>
                </c:pt>
                <c:pt idx="8">
                  <c:v>0.91</c:v>
                </c:pt>
                <c:pt idx="9">
                  <c:v>0.95</c:v>
                </c:pt>
                <c:pt idx="10">
                  <c:v>0.85</c:v>
                </c:pt>
                <c:pt idx="11">
                  <c:v>0.03</c:v>
                </c:pt>
              </c:numCache>
            </c:numRef>
          </c:xVal>
          <c:yVal>
            <c:numRef>
              <c:f>Sheet1!$B$2:$B$13</c:f>
              <c:numCache>
                <c:formatCode>General</c:formatCode>
                <c:ptCount val="12"/>
                <c:pt idx="0">
                  <c:v>12114.479591836731</c:v>
                </c:pt>
                <c:pt idx="1">
                  <c:v>535.8648648648649</c:v>
                </c:pt>
                <c:pt idx="2">
                  <c:v>11147.28282828283</c:v>
                </c:pt>
                <c:pt idx="3">
                  <c:v>3558.674157303371</c:v>
                </c:pt>
                <c:pt idx="4">
                  <c:v>247.92156862745099</c:v>
                </c:pt>
                <c:pt idx="5">
                  <c:v>1122.0923076923079</c:v>
                </c:pt>
                <c:pt idx="6">
                  <c:v>611.55737704918033</c:v>
                </c:pt>
                <c:pt idx="7">
                  <c:v>486.04878048780489</c:v>
                </c:pt>
                <c:pt idx="8">
                  <c:v>5526.197802197802</c:v>
                </c:pt>
                <c:pt idx="9">
                  <c:v>10084.61052631579</c:v>
                </c:pt>
                <c:pt idx="10">
                  <c:v>3883.376470588235</c:v>
                </c:pt>
                <c:pt idx="11">
                  <c:v>989.66666666666663</c:v>
                </c:pt>
              </c:numCache>
            </c:numRef>
          </c:yVal>
          <c:bubbleSize>
            <c:numRef>
              <c:f>Sheet1!$C$2:$C$13</c:f>
              <c:numCache>
                <c:formatCode>General</c:formatCode>
                <c:ptCount val="12"/>
                <c:pt idx="0">
                  <c:v>735837.03899999987</c:v>
                </c:pt>
                <c:pt idx="1">
                  <c:v>12435.307000000001</c:v>
                </c:pt>
                <c:pt idx="2">
                  <c:v>737303.34119999991</c:v>
                </c:pt>
                <c:pt idx="3">
                  <c:v>199120.19279999999</c:v>
                </c:pt>
                <c:pt idx="4">
                  <c:v>7323.7779999999984</c:v>
                </c:pt>
                <c:pt idx="5">
                  <c:v>43933.779499999997</c:v>
                </c:pt>
                <c:pt idx="6">
                  <c:v>16794.665700000001</c:v>
                </c:pt>
                <c:pt idx="7">
                  <c:v>8745.5810000000001</c:v>
                </c:pt>
                <c:pt idx="8">
                  <c:v>309185.78110000002</c:v>
                </c:pt>
                <c:pt idx="9">
                  <c:v>593369.18190000008</c:v>
                </c:pt>
                <c:pt idx="10">
                  <c:v>190007.0134</c:v>
                </c:pt>
                <c:pt idx="11">
                  <c:v>1570.7198000000001</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Ciboulette &amp; Echalote Boite 1X150Gr 1P</c:v>
                  </c:pt>
                  <c:pt idx="4">
                    <c:v>Boursin Classique Fromage Frais A Tartiner Truffe Boite 1X150Gr 1P</c:v>
                  </c:pt>
                  <c:pt idx="5">
                    <c:v>Boursin Classique Fromage Frais A Tartiner Figue Et 3 Noix Boite 1X150Gr 1P</c:v>
                  </c:pt>
                  <c:pt idx="6">
                    <c:v>Boursin Classique Fromage Frais A Tartiner 3 Noix Boite 1X150Gr 1P</c:v>
                  </c:pt>
                  <c:pt idx="7">
                    <c:v>Boursin Classique Fromage Frais A Tartiner 3 Noix 1X160Gr 10P</c:v>
                  </c:pt>
                  <c:pt idx="8">
                    <c:v>Boursin Classique Fromage Frais A Tartiner Afh Boite 1X96Gr 6P</c:v>
                  </c:pt>
                  <c:pt idx="9">
                    <c:v>Boursin Classique Fromage Frais A Tartiner Afh Boite 1X250Gr 1P</c:v>
                  </c:pt>
                  <c:pt idx="10">
                    <c:v>Boursin Onctueux Fromage Frais A Tartiner Afh 1X125Gr 1P</c:v>
                  </c:pt>
                  <c:pt idx="11">
                    <c:v>Boursin Onctueux Fromage Frais A Tartiner Afh 1X21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F6771FD-DBCE-4954-9C81-3CE20CBACB9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DD80F18-F901-4BFA-BC27-96A3B313C19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E90BE40-027A-4555-B88E-964F7A45480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1004FEB-DAA8-4D64-B3BC-B3628E75CA7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1364DC3-EC89-41B2-87D5-56406B876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BE78B08-A82D-4954-AD51-8A0103BD4CB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94BD75C-43D0-49F2-B753-3A9913EE863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4762CD9-3DFC-482B-BE7A-8CC84A0C2D4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F68EF4F-2E23-47C5-8171-A5FBD7DC66E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24ABE20-3B35-4715-B335-60E774AC7E1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56000000000000005</c:v>
                </c:pt>
                <c:pt idx="1">
                  <c:v>0.27</c:v>
                </c:pt>
              </c:numCache>
            </c:numRef>
          </c:xVal>
          <c:yVal>
            <c:numRef>
              <c:f>Sheet1!$B$2:$B$3</c:f>
              <c:numCache>
                <c:formatCode>General</c:formatCode>
                <c:ptCount val="2"/>
                <c:pt idx="0">
                  <c:v>6336.7321428571422</c:v>
                </c:pt>
                <c:pt idx="1">
                  <c:v>4204.2222222222226</c:v>
                </c:pt>
              </c:numCache>
            </c:numRef>
          </c:yVal>
          <c:bubbleSize>
            <c:numRef>
              <c:f>Sheet1!$C$2:$C$3</c:f>
              <c:numCache>
                <c:formatCode>General</c:formatCode>
                <c:ptCount val="2"/>
                <c:pt idx="0">
                  <c:v>180235.58540000001</c:v>
                </c:pt>
                <c:pt idx="1">
                  <c:v>61994.774900000011</c:v>
                </c:pt>
              </c:numCache>
            </c:numRef>
          </c:bubbleSize>
          <c:bubble3D val="0"/>
          <c:extLst>
            <c:ext xmlns:c15="http://schemas.microsoft.com/office/drawing/2012/chart" uri="{02D57815-91ED-43cb-92C2-25804820EDAC}">
              <c15:datalabelsRange>
                <c15:f>Sheet1!$E$2:$E$21</c15:f>
                <c15:dlblRangeCache>
                  <c:ptCount val="20"/>
                  <c:pt idx="0">
                    <c:v>Kiri Delicieusement Fouette Fromage Frais A Tartiner 1X125Gr 1P</c:v>
                  </c:pt>
                  <c:pt idx="1">
                    <c:v>Kiri Delicieusement Fouette Fromage Frais A Tartiner 1X160Gr 10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Boursin</c:v>
                </c:pt>
                <c:pt idx="3">
                  <c:v>Paysan Breton</c:v>
                </c:pt>
                <c:pt idx="4">
                  <c:v>Tartare</c:v>
                </c:pt>
                <c:pt idx="5">
                  <c:v>Carre Frais</c:v>
                </c:pt>
                <c:pt idx="6">
                  <c:v>Philadelphia</c:v>
                </c:pt>
                <c:pt idx="7">
                  <c:v>Kiri</c:v>
                </c:pt>
                <c:pt idx="8">
                  <c:v>Others</c:v>
                </c:pt>
              </c:strCache>
            </c:strRef>
          </c:cat>
          <c:val>
            <c:numRef>
              <c:f>Sheet1!$B$2:$B$10</c:f>
              <c:numCache>
                <c:formatCode>General</c:formatCode>
                <c:ptCount val="9"/>
                <c:pt idx="0">
                  <c:v>0.29807884539087498</c:v>
                </c:pt>
                <c:pt idx="1">
                  <c:v>0.18972670621061996</c:v>
                </c:pt>
                <c:pt idx="2">
                  <c:v>0.147300012611152</c:v>
                </c:pt>
                <c:pt idx="3">
                  <c:v>0.11790046328200754</c:v>
                </c:pt>
                <c:pt idx="4">
                  <c:v>0.10297712728669182</c:v>
                </c:pt>
                <c:pt idx="5">
                  <c:v>6.9949716901814021E-2</c:v>
                </c:pt>
                <c:pt idx="6">
                  <c:v>5.567242001311995E-2</c:v>
                </c:pt>
                <c:pt idx="7">
                  <c:v>5.9371161266173053E-3</c:v>
                </c:pt>
                <c:pt idx="8">
                  <c:v>1.245759217710241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Boursin</c:v>
                </c:pt>
                <c:pt idx="3">
                  <c:v>Paysan Breton</c:v>
                </c:pt>
                <c:pt idx="4">
                  <c:v>Tartare</c:v>
                </c:pt>
                <c:pt idx="5">
                  <c:v>Carre Frais</c:v>
                </c:pt>
                <c:pt idx="6">
                  <c:v>Philadelphia</c:v>
                </c:pt>
                <c:pt idx="7">
                  <c:v>Kiri</c:v>
                </c:pt>
                <c:pt idx="8">
                  <c:v>Others</c:v>
                </c:pt>
              </c:strCache>
            </c:strRef>
          </c:cat>
          <c:val>
            <c:numRef>
              <c:f>Sheet1!$C$2:$C$10</c:f>
              <c:numCache>
                <c:formatCode>General</c:formatCode>
                <c:ptCount val="9"/>
                <c:pt idx="0">
                  <c:v>0.16824966078697429</c:v>
                </c:pt>
                <c:pt idx="1">
                  <c:v>0.15820895522388065</c:v>
                </c:pt>
                <c:pt idx="2">
                  <c:v>0.22659430122116697</c:v>
                </c:pt>
                <c:pt idx="3">
                  <c:v>0.10122116689280872</c:v>
                </c:pt>
                <c:pt idx="4">
                  <c:v>0.15223880597014933</c:v>
                </c:pt>
                <c:pt idx="5">
                  <c:v>5.8073270013568545E-2</c:v>
                </c:pt>
                <c:pt idx="6">
                  <c:v>4.3147896879240179E-2</c:v>
                </c:pt>
                <c:pt idx="7">
                  <c:v>2.5780189959294444E-2</c:v>
                </c:pt>
                <c:pt idx="8">
                  <c:v>6.6485753052917262E-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 Moret</c:v>
                </c:pt>
                <c:pt idx="1">
                  <c:v>Private Label</c:v>
                </c:pt>
                <c:pt idx="2">
                  <c:v>Boursin</c:v>
                </c:pt>
                <c:pt idx="3">
                  <c:v>Paysan Breton</c:v>
                </c:pt>
                <c:pt idx="4">
                  <c:v>Tartare</c:v>
                </c:pt>
                <c:pt idx="5">
                  <c:v>Carre Frais</c:v>
                </c:pt>
                <c:pt idx="6">
                  <c:v>Philadelphia</c:v>
                </c:pt>
                <c:pt idx="7">
                  <c:v>Kiri</c:v>
                </c:pt>
                <c:pt idx="8">
                  <c:v>Others</c:v>
                </c:pt>
              </c:strCache>
            </c:strRef>
          </c:cat>
          <c:val>
            <c:numRef>
              <c:f>Sheet1!$D$2:$D$10</c:f>
              <c:numCache>
                <c:formatCode>General</c:formatCode>
                <c:ptCount val="9"/>
                <c:pt idx="0">
                  <c:v>56.444683475053772</c:v>
                </c:pt>
                <c:pt idx="1">
                  <c:v>83.387815233691597</c:v>
                </c:pt>
                <c:pt idx="2">
                  <c:v>153.83182744141303</c:v>
                </c:pt>
                <c:pt idx="3">
                  <c:v>85.853069678527547</c:v>
                </c:pt>
                <c:pt idx="4">
                  <c:v>147.8374955501636</c:v>
                </c:pt>
                <c:pt idx="5">
                  <c:v>83.021451101916497</c:v>
                </c:pt>
                <c:pt idx="6">
                  <c:v>77.503181771282442</c:v>
                </c:pt>
                <c:pt idx="7">
                  <c:v>434.22074639430718</c:v>
                </c:pt>
                <c:pt idx="8">
                  <c:v>533.6966574898872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AF7AE83-78CE-4157-8960-301E5C1CC52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41769F1-DE25-41F8-826E-556EBB0B5DF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87E7B38-A436-4C08-84C8-7C25E06AC76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9DE58FF-DCEB-46DD-96BA-1952E119DDA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65F86A4-482E-4A9A-A1FE-78AC55CEA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C1CEC27-5A7B-4971-A391-DA0476BFAC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4C76B4C-B9D0-4AAB-B0D3-2FE39F62643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81BA42E-0D22-4AC7-9034-08093A66207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42FA465-B4A5-4BDB-B2A0-BC64ECEC189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F4BD468-1F94-4E86-A326-BE1DC85B9A0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53</c:v>
                </c:pt>
                <c:pt idx="1">
                  <c:v>0.83</c:v>
                </c:pt>
                <c:pt idx="2">
                  <c:v>0.08</c:v>
                </c:pt>
                <c:pt idx="3">
                  <c:v>0.1</c:v>
                </c:pt>
                <c:pt idx="4">
                  <c:v>0.11</c:v>
                </c:pt>
                <c:pt idx="5">
                  <c:v>0.12</c:v>
                </c:pt>
              </c:numCache>
            </c:numRef>
          </c:xVal>
          <c:yVal>
            <c:numRef>
              <c:f>Sheet1!$B$2:$B$7</c:f>
              <c:numCache>
                <c:formatCode>General</c:formatCode>
                <c:ptCount val="6"/>
                <c:pt idx="0">
                  <c:v>13191.32075471698</c:v>
                </c:pt>
                <c:pt idx="1">
                  <c:v>15938.25301204819</c:v>
                </c:pt>
                <c:pt idx="2">
                  <c:v>5998.125</c:v>
                </c:pt>
                <c:pt idx="3">
                  <c:v>456.8</c:v>
                </c:pt>
                <c:pt idx="4">
                  <c:v>1914.818181818182</c:v>
                </c:pt>
                <c:pt idx="5">
                  <c:v>3634.833333333333</c:v>
                </c:pt>
              </c:numCache>
            </c:numRef>
          </c:yVal>
          <c:bubbleSize>
            <c:numRef>
              <c:f>Sheet1!$C$2:$C$7</c:f>
              <c:numCache>
                <c:formatCode>General</c:formatCode>
                <c:ptCount val="6"/>
                <c:pt idx="0">
                  <c:v>406219.11790000001</c:v>
                </c:pt>
                <c:pt idx="1">
                  <c:v>721435.53999999992</c:v>
                </c:pt>
                <c:pt idx="2">
                  <c:v>23024.1188</c:v>
                </c:pt>
                <c:pt idx="3">
                  <c:v>2645.9699000000001</c:v>
                </c:pt>
                <c:pt idx="4">
                  <c:v>11168.7999</c:v>
                </c:pt>
                <c:pt idx="5">
                  <c:v>23839.869699999999</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Truffe Boite 1X150Gr 1P</c:v>
                  </c:pt>
                  <c:pt idx="4">
                    <c:v>Boursin Classique Fromage Frais A Tartiner Afh Boite 1X80Gr 1P</c:v>
                  </c:pt>
                  <c:pt idx="5">
                    <c:v>Boursin Classique Fromage Frais A Tartiner Afh Boite 1X96Gr 6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C19F8F6-8D37-45AD-8706-AF2542E2868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BC20DA5-0DE8-4881-A9F5-2CF6DAC56C0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FC3FEE8-2607-43A6-8185-4A3E3F317A3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8FD3529-9D12-4E41-8CB4-B546186747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72BAE90-581D-434E-AA18-66E34E7CD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3CAA2DB-F399-4E3E-BEB9-DD682652040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8DE17F8-EA61-469B-875B-83F0B87420C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0C13803-B311-4C55-980D-1F2323CC95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F8D0CE7-497D-435B-845E-144AC9C0B84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44F6277-2061-41BB-BCE2-67A2620D56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87</c:v>
                </c:pt>
                <c:pt idx="1">
                  <c:v>0.38</c:v>
                </c:pt>
                <c:pt idx="2">
                  <c:v>0.94</c:v>
                </c:pt>
              </c:numCache>
            </c:numRef>
          </c:xVal>
          <c:yVal>
            <c:numRef>
              <c:f>Sheet1!$B$2:$B$4</c:f>
              <c:numCache>
                <c:formatCode>General</c:formatCode>
                <c:ptCount val="3"/>
                <c:pt idx="0">
                  <c:v>4455.9195402298847</c:v>
                </c:pt>
                <c:pt idx="1">
                  <c:v>372.55263157894728</c:v>
                </c:pt>
                <c:pt idx="2">
                  <c:v>2162.5319148936169</c:v>
                </c:pt>
              </c:numCache>
            </c:numRef>
          </c:yVal>
          <c:bubbleSize>
            <c:numRef>
              <c:f>Sheet1!$C$2:$C$4</c:f>
              <c:numCache>
                <c:formatCode>General</c:formatCode>
                <c:ptCount val="3"/>
                <c:pt idx="0">
                  <c:v>199779.41380000001</c:v>
                </c:pt>
                <c:pt idx="1">
                  <c:v>6682.76</c:v>
                </c:pt>
                <c:pt idx="2">
                  <c:v>113028.4296</c:v>
                </c:pt>
              </c:numCache>
            </c:numRef>
          </c:bubbleSize>
          <c:bubble3D val="0"/>
          <c:extLst>
            <c:ext xmlns:c15="http://schemas.microsoft.com/office/drawing/2012/chart" uri="{02D57815-91ED-43cb-92C2-25804820EDAC}">
              <c15:datalabelsRange>
                <c15:f>Sheet1!$E$2:$E$21</c15:f>
                <c15:dlblRangeCache>
                  <c:ptCount val="20"/>
                  <c:pt idx="0">
                    <c:v>Kiri Delicieusement Fouette Fromage Frais A Tartiner 1X125Gr 1P</c:v>
                  </c:pt>
                  <c:pt idx="1">
                    <c:v>Kiri Delicieusement Fouette Fromage Frais A Tartiner 1X210Gr 1P</c:v>
                  </c:pt>
                  <c:pt idx="2">
                    <c:v>Kiri Delicieusement Fouette Fromage Frais A Tartiner 1X160Gr 10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1735EDB-9B75-4891-B634-404FF3C290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7302D03-466F-42CD-A788-DF14D79BA75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B0CE5CC-749F-41EF-AEC6-AC35B7820F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F79050B-5F2E-4DEA-BEDB-2E3F1D1561E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8C81FBC-99EF-4347-8F94-50A32836B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B8751DD-80B5-4516-8ACA-7224859E6A3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403185C-326B-4326-AE85-757A8F644DD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0FE6235-821B-4409-9FB8-1D2A1A4691B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6D88D4C-0916-4D7C-BBE7-8666D6584E9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E6E8D24-3E8B-460D-BEA2-47B8F65B904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General</c:formatCode>
                <c:ptCount val="12"/>
                <c:pt idx="0">
                  <c:v>0.99</c:v>
                </c:pt>
                <c:pt idx="1">
                  <c:v>1</c:v>
                </c:pt>
                <c:pt idx="2">
                  <c:v>0.99</c:v>
                </c:pt>
                <c:pt idx="3">
                  <c:v>0.7</c:v>
                </c:pt>
                <c:pt idx="4">
                  <c:v>0.99</c:v>
                </c:pt>
                <c:pt idx="5">
                  <c:v>0.28999999999999998</c:v>
                </c:pt>
                <c:pt idx="6">
                  <c:v>0.96</c:v>
                </c:pt>
                <c:pt idx="7">
                  <c:v>0.96</c:v>
                </c:pt>
                <c:pt idx="8">
                  <c:v>0.87</c:v>
                </c:pt>
                <c:pt idx="9">
                  <c:v>0.83</c:v>
                </c:pt>
                <c:pt idx="10">
                  <c:v>0.99</c:v>
                </c:pt>
                <c:pt idx="11">
                  <c:v>0.97</c:v>
                </c:pt>
              </c:numCache>
            </c:numRef>
          </c:xVal>
          <c:yVal>
            <c:numRef>
              <c:f>Sheet1!$B$2:$B$13</c:f>
              <c:numCache>
                <c:formatCode>General</c:formatCode>
                <c:ptCount val="12"/>
                <c:pt idx="0">
                  <c:v>20176.727272727268</c:v>
                </c:pt>
                <c:pt idx="1">
                  <c:v>17911.57</c:v>
                </c:pt>
                <c:pt idx="2">
                  <c:v>6243.6868686868684</c:v>
                </c:pt>
                <c:pt idx="3">
                  <c:v>464.81428571428569</c:v>
                </c:pt>
                <c:pt idx="4">
                  <c:v>7410.2828282828286</c:v>
                </c:pt>
                <c:pt idx="5">
                  <c:v>2016.5862068965521</c:v>
                </c:pt>
                <c:pt idx="6">
                  <c:v>5263.666666666667</c:v>
                </c:pt>
                <c:pt idx="7">
                  <c:v>8247.1458333333339</c:v>
                </c:pt>
                <c:pt idx="8">
                  <c:v>6186.2183908045981</c:v>
                </c:pt>
                <c:pt idx="9">
                  <c:v>4356.8433734939763</c:v>
                </c:pt>
                <c:pt idx="10">
                  <c:v>20997.565656565661</c:v>
                </c:pt>
                <c:pt idx="11">
                  <c:v>8871.6082474226805</c:v>
                </c:pt>
              </c:numCache>
            </c:numRef>
          </c:yVal>
          <c:bubbleSize>
            <c:numRef>
              <c:f>Sheet1!$C$2:$C$13</c:f>
              <c:numCache>
                <c:formatCode>General</c:formatCode>
                <c:ptCount val="12"/>
                <c:pt idx="0">
                  <c:v>1224973.68</c:v>
                </c:pt>
                <c:pt idx="1">
                  <c:v>1096294.7178</c:v>
                </c:pt>
                <c:pt idx="2">
                  <c:v>339346.78419999999</c:v>
                </c:pt>
                <c:pt idx="3">
                  <c:v>14817.7163</c:v>
                </c:pt>
                <c:pt idx="4">
                  <c:v>418897.6237</c:v>
                </c:pt>
                <c:pt idx="5">
                  <c:v>33307.8298</c:v>
                </c:pt>
                <c:pt idx="6">
                  <c:v>294577.11560000002</c:v>
                </c:pt>
                <c:pt idx="7">
                  <c:v>450695.54549999989</c:v>
                </c:pt>
                <c:pt idx="8">
                  <c:v>311829.70500000002</c:v>
                </c:pt>
                <c:pt idx="9">
                  <c:v>193324.87390000001</c:v>
                </c:pt>
                <c:pt idx="10">
                  <c:v>1242326.0164999999</c:v>
                </c:pt>
                <c:pt idx="11">
                  <c:v>419337.32809999993</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Truffe Boite 1X150Gr 1P</c:v>
                  </c:pt>
                  <c:pt idx="4">
                    <c:v>Boursin Classique Fromage Frais A Tartiner Figue Et 3 Noix Boite 1X150Gr 1P</c:v>
                  </c:pt>
                  <c:pt idx="5">
                    <c:v>Boursin Classique Fromage Frais A Tartiner Afh Boite 1X80Gr 1P</c:v>
                  </c:pt>
                  <c:pt idx="6">
                    <c:v>Boursin Classique Fromage Frais A Tartiner Poivre Boite 1X150Gr 1P</c:v>
                  </c:pt>
                  <c:pt idx="7">
                    <c:v>Boursin Classique Fromage Frais A Tartiner Afh Boite 1X96Gr 6P</c:v>
                  </c:pt>
                  <c:pt idx="8">
                    <c:v>Boursin Classique Fromage Frais A Tartiner Afh 1X256Gr 16P</c:v>
                  </c:pt>
                  <c:pt idx="9">
                    <c:v>Boursin Classique Fromage Frais A Tartiner Ciboulette &amp; Echalote 1X160Gr 10P</c:v>
                  </c:pt>
                  <c:pt idx="10">
                    <c:v>Boursin Classique Fromage Frais A Tartiner Afh Boite 1X250Gr 1P</c:v>
                  </c:pt>
                  <c:pt idx="11">
                    <c:v>Boursin Onctueux Fromage Frais A Tartiner Afh 1X125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F56808D-4421-47CF-BC34-207F93DED1D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954F35D-063B-4D06-B15E-3814209DE66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FC5BA7A-B8A6-4BC7-B4E3-314858CB12A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C5FE17C-156B-439B-ACA8-8C6CB4797B0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BE96E24-645E-4B81-9A3E-DD552EA78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6037BDA-9675-4550-8745-57A17F1C62B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46B7E40-A717-4A27-AB0F-584B9B24FFB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E3925FA-2F2E-4DF0-B2D6-2402F5EF31A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EB3C83D-0CC4-4025-B236-1ED39A7F93E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D7EE502-0053-4229-BF4A-FCC51928D00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4</c:f>
              <c:numCache>
                <c:formatCode>General</c:formatCode>
                <c:ptCount val="3"/>
                <c:pt idx="0">
                  <c:v>0.99</c:v>
                </c:pt>
                <c:pt idx="1">
                  <c:v>0.64</c:v>
                </c:pt>
                <c:pt idx="2">
                  <c:v>0.98</c:v>
                </c:pt>
              </c:numCache>
            </c:numRef>
          </c:xVal>
          <c:yVal>
            <c:numRef>
              <c:f>Sheet1!$B$2:$B$4</c:f>
              <c:numCache>
                <c:formatCode>General</c:formatCode>
                <c:ptCount val="3"/>
                <c:pt idx="0">
                  <c:v>772.49494949494954</c:v>
                </c:pt>
                <c:pt idx="1">
                  <c:v>58.203125</c:v>
                </c:pt>
                <c:pt idx="2">
                  <c:v>474.73469387755102</c:v>
                </c:pt>
              </c:numCache>
            </c:numRef>
          </c:yVal>
          <c:bubbleSize>
            <c:numRef>
              <c:f>Sheet1!$C$2:$C$4</c:f>
              <c:numCache>
                <c:formatCode>General</c:formatCode>
                <c:ptCount val="3"/>
                <c:pt idx="0">
                  <c:v>40723.595600000001</c:v>
                </c:pt>
                <c:pt idx="1">
                  <c:v>1807.5119999999999</c:v>
                </c:pt>
                <c:pt idx="2">
                  <c:v>23196.938999999998</c:v>
                </c:pt>
              </c:numCache>
            </c:numRef>
          </c:bubbleSize>
          <c:bubble3D val="0"/>
          <c:extLst>
            <c:ext xmlns:c15="http://schemas.microsoft.com/office/drawing/2012/chart" uri="{02D57815-91ED-43cb-92C2-25804820EDAC}">
              <c15:datalabelsRange>
                <c15:f>Sheet1!$E$2:$E$21</c15:f>
                <c15:dlblRangeCache>
                  <c:ptCount val="20"/>
                  <c:pt idx="0">
                    <c:v>Kiri Delicieusement Fouette Fromage Frais A Tartiner 1X125Gr 1P</c:v>
                  </c:pt>
                  <c:pt idx="1">
                    <c:v>Kiri Delicieusement Fouette Fromage Frais A Tartiner 1X210Gr 1P</c:v>
                  </c:pt>
                  <c:pt idx="2">
                    <c:v>Kiri Delicieusement Fouette Fromage Frais A Tartiner 1X160Gr 10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CB68970-DEA3-431B-B230-2DB29A5A9E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AC195A3-3F8F-49FC-AD35-890E1C814D9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63C8231-3ABB-4EB8-AFEB-44B2B10B056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D696A4B-A838-456F-905B-D3FACF1CA49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81B74F4-93A3-4243-98E9-779DA1527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23A9915-566B-47C8-AD17-232C53B5D27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1E48969-E996-4DB8-998A-A5FDA08B1A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BDA9450-E95D-4631-95A6-4034D18E6D3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0DBE1D7-677A-4483-8622-0C66949180A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57D6299-89DB-4E35-9BA2-E41359F6870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General</c:formatCode>
                <c:ptCount val="12"/>
                <c:pt idx="0">
                  <c:v>1</c:v>
                </c:pt>
                <c:pt idx="1">
                  <c:v>1</c:v>
                </c:pt>
                <c:pt idx="2">
                  <c:v>1</c:v>
                </c:pt>
                <c:pt idx="3">
                  <c:v>0.92</c:v>
                </c:pt>
                <c:pt idx="4">
                  <c:v>1</c:v>
                </c:pt>
                <c:pt idx="5">
                  <c:v>0.7</c:v>
                </c:pt>
                <c:pt idx="6">
                  <c:v>0.99</c:v>
                </c:pt>
                <c:pt idx="7">
                  <c:v>0.99</c:v>
                </c:pt>
                <c:pt idx="8">
                  <c:v>0.99</c:v>
                </c:pt>
                <c:pt idx="9">
                  <c:v>0.98</c:v>
                </c:pt>
                <c:pt idx="10">
                  <c:v>1</c:v>
                </c:pt>
                <c:pt idx="11">
                  <c:v>0.99</c:v>
                </c:pt>
              </c:numCache>
            </c:numRef>
          </c:xVal>
          <c:yVal>
            <c:numRef>
              <c:f>Sheet1!$B$2:$B$13</c:f>
              <c:numCache>
                <c:formatCode>General</c:formatCode>
                <c:ptCount val="12"/>
                <c:pt idx="0">
                  <c:v>3513.05</c:v>
                </c:pt>
                <c:pt idx="1">
                  <c:v>3000.58</c:v>
                </c:pt>
                <c:pt idx="2">
                  <c:v>982.89</c:v>
                </c:pt>
                <c:pt idx="3">
                  <c:v>85.195652173913047</c:v>
                </c:pt>
                <c:pt idx="4">
                  <c:v>1156.58</c:v>
                </c:pt>
                <c:pt idx="5">
                  <c:v>306.57142857142861</c:v>
                </c:pt>
                <c:pt idx="6">
                  <c:v>888.82828282828279</c:v>
                </c:pt>
                <c:pt idx="7">
                  <c:v>1363.8080808080811</c:v>
                </c:pt>
                <c:pt idx="8">
                  <c:v>1431.0707070707069</c:v>
                </c:pt>
                <c:pt idx="9">
                  <c:v>744.86734693877554</c:v>
                </c:pt>
                <c:pt idx="10">
                  <c:v>4098.92</c:v>
                </c:pt>
                <c:pt idx="11">
                  <c:v>1389.565656565657</c:v>
                </c:pt>
              </c:numCache>
            </c:numRef>
          </c:yVal>
          <c:bubbleSize>
            <c:numRef>
              <c:f>Sheet1!$C$2:$C$13</c:f>
              <c:numCache>
                <c:formatCode>General</c:formatCode>
                <c:ptCount val="12"/>
                <c:pt idx="0">
                  <c:v>217231.36960000001</c:v>
                </c:pt>
                <c:pt idx="1">
                  <c:v>182887.1778</c:v>
                </c:pt>
                <c:pt idx="2">
                  <c:v>54476.060599999997</c:v>
                </c:pt>
                <c:pt idx="3">
                  <c:v>3144.3017</c:v>
                </c:pt>
                <c:pt idx="4">
                  <c:v>66767.109700000001</c:v>
                </c:pt>
                <c:pt idx="5">
                  <c:v>12632.876899999999</c:v>
                </c:pt>
                <c:pt idx="6">
                  <c:v>52158.628599999996</c:v>
                </c:pt>
                <c:pt idx="7">
                  <c:v>79021.727100000018</c:v>
                </c:pt>
                <c:pt idx="8">
                  <c:v>82006.583399999989</c:v>
                </c:pt>
                <c:pt idx="9">
                  <c:v>40310.319899999988</c:v>
                </c:pt>
                <c:pt idx="10">
                  <c:v>244161.86170000001</c:v>
                </c:pt>
                <c:pt idx="11">
                  <c:v>69057.670599999998</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Truffe Boite 1X150Gr 1P</c:v>
                  </c:pt>
                  <c:pt idx="4">
                    <c:v>Boursin Classique Fromage Frais A Tartiner Figue Et 3 Noix Boite 1X150Gr 1P</c:v>
                  </c:pt>
                  <c:pt idx="5">
                    <c:v>Boursin Classique Fromage Frais A Tartiner Afh Boite 1X80Gr 1P</c:v>
                  </c:pt>
                  <c:pt idx="6">
                    <c:v>Boursin Classique Fromage Frais A Tartiner Poivre Boite 1X150Gr 1P</c:v>
                  </c:pt>
                  <c:pt idx="7">
                    <c:v>Boursin Classique Fromage Frais A Tartiner Afh Boite 1X96Gr 6P</c:v>
                  </c:pt>
                  <c:pt idx="8">
                    <c:v>Boursin Classique Fromage Frais A Tartiner Afh 1X256Gr 16P</c:v>
                  </c:pt>
                  <c:pt idx="9">
                    <c:v>Boursin Classique Fromage Frais A Tartiner Ciboulette &amp; Echalote 1X160Gr 10P</c:v>
                  </c:pt>
                  <c:pt idx="10">
                    <c:v>Boursin Classique Fromage Frais A Tartiner Afh Boite 1X250Gr 1P</c:v>
                  </c:pt>
                  <c:pt idx="11">
                    <c:v>Boursin Onctueux Fromage Frais A Tartiner Afh 1X125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066712F-6EBC-41A7-8C61-8F28FDF834C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E9F061B-2016-4410-8B1D-168AEEDD144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BD83847-FCC2-4413-9784-92F6920DBF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13D3170-0AEC-477B-96EB-F2A6741C4B1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4C529B-E7D0-4CF8-8454-5054DF98FB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51BB4A5-EBA5-431C-8A52-047E6967FCC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95DEA88-38D6-4157-9539-E69B29868B8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FE1773F-75C0-4359-82B1-A4823C603D9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60AFFBF-8B99-4D38-9514-DF4BEF42F82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4C272A6-6509-4F3F-B1F0-A16FF9590B1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c:f>
              <c:numCache>
                <c:formatCode>General</c:formatCode>
                <c:ptCount val="2"/>
                <c:pt idx="0">
                  <c:v>0.44</c:v>
                </c:pt>
                <c:pt idx="1">
                  <c:v>0.5</c:v>
                </c:pt>
              </c:numCache>
            </c:numRef>
          </c:xVal>
          <c:yVal>
            <c:numRef>
              <c:f>Sheet1!$B$2:$B$3</c:f>
              <c:numCache>
                <c:formatCode>General</c:formatCode>
                <c:ptCount val="2"/>
                <c:pt idx="0">
                  <c:v>1130.954545454545</c:v>
                </c:pt>
                <c:pt idx="1">
                  <c:v>423.2</c:v>
                </c:pt>
              </c:numCache>
            </c:numRef>
          </c:yVal>
          <c:bubbleSize>
            <c:numRef>
              <c:f>Sheet1!$C$2:$C$3</c:f>
              <c:numCache>
                <c:formatCode>General</c:formatCode>
                <c:ptCount val="2"/>
                <c:pt idx="0">
                  <c:v>23639.9568</c:v>
                </c:pt>
                <c:pt idx="1">
                  <c:v>9984.4553999999989</c:v>
                </c:pt>
              </c:numCache>
            </c:numRef>
          </c:bubbleSize>
          <c:bubble3D val="0"/>
          <c:extLst>
            <c:ext xmlns:c15="http://schemas.microsoft.com/office/drawing/2012/chart" uri="{02D57815-91ED-43cb-92C2-25804820EDAC}">
              <c15:datalabelsRange>
                <c15:f>Sheet1!$E$2:$E$21</c15:f>
                <c15:dlblRangeCache>
                  <c:ptCount val="20"/>
                  <c:pt idx="0">
                    <c:v>Kiri Delicieusement Fouette Fromage Frais A Tartiner 1X125Gr 1P</c:v>
                  </c:pt>
                  <c:pt idx="1">
                    <c:v>Kiri Delicieusement Fouette Fromage Frais A Tartiner 1X160Gr 10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0DDE3A0-7F89-40B3-83C1-3194DAEC14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0638298-E238-4540-B0BD-BD3538D90E7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BE90037-8447-48C5-A454-77CC5FF07F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C2A668D-B6C9-41C1-9F81-6E3B470DB1D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993D4C0-E758-43CD-8A69-E8992D9D40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DA9981C-2EBB-4507-9934-6DBCFA557E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5A34449-F76F-4357-A672-96EF6D354B7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082A419-4418-4E5B-8902-0DB4FCB136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F59ECAF-DB49-4AAB-8332-F9B2093B708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F132F80-A2D1-432F-864A-F0F7A43A65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General</c:formatCode>
                <c:ptCount val="12"/>
                <c:pt idx="0">
                  <c:v>0.9</c:v>
                </c:pt>
                <c:pt idx="1">
                  <c:v>0.98</c:v>
                </c:pt>
                <c:pt idx="2">
                  <c:v>0.83</c:v>
                </c:pt>
                <c:pt idx="3">
                  <c:v>0.33</c:v>
                </c:pt>
                <c:pt idx="4">
                  <c:v>0.89</c:v>
                </c:pt>
                <c:pt idx="5">
                  <c:v>0.12</c:v>
                </c:pt>
                <c:pt idx="6">
                  <c:v>0.75</c:v>
                </c:pt>
                <c:pt idx="7">
                  <c:v>0.74</c:v>
                </c:pt>
                <c:pt idx="8">
                  <c:v>0.64</c:v>
                </c:pt>
                <c:pt idx="9">
                  <c:v>0.46</c:v>
                </c:pt>
                <c:pt idx="10">
                  <c:v>0.89</c:v>
                </c:pt>
                <c:pt idx="11">
                  <c:v>0.81</c:v>
                </c:pt>
              </c:numCache>
            </c:numRef>
          </c:xVal>
          <c:yVal>
            <c:numRef>
              <c:f>Sheet1!$B$2:$B$13</c:f>
              <c:numCache>
                <c:formatCode>General</c:formatCode>
                <c:ptCount val="12"/>
                <c:pt idx="0">
                  <c:v>3907.088888888889</c:v>
                </c:pt>
                <c:pt idx="1">
                  <c:v>3670.663265306122</c:v>
                </c:pt>
                <c:pt idx="2">
                  <c:v>1491.433734939759</c:v>
                </c:pt>
                <c:pt idx="3">
                  <c:v>126.0606060606061</c:v>
                </c:pt>
                <c:pt idx="4">
                  <c:v>1809.314606741573</c:v>
                </c:pt>
                <c:pt idx="5">
                  <c:v>734.41666666666663</c:v>
                </c:pt>
                <c:pt idx="6">
                  <c:v>1149.7733333333331</c:v>
                </c:pt>
                <c:pt idx="7">
                  <c:v>1990.4594594594589</c:v>
                </c:pt>
                <c:pt idx="8">
                  <c:v>806.3125</c:v>
                </c:pt>
                <c:pt idx="9">
                  <c:v>756.10869565217388</c:v>
                </c:pt>
                <c:pt idx="10">
                  <c:v>2690.9662921348308</c:v>
                </c:pt>
                <c:pt idx="11">
                  <c:v>2365.8641975308642</c:v>
                </c:pt>
              </c:numCache>
            </c:numRef>
          </c:yVal>
          <c:bubbleSize>
            <c:numRef>
              <c:f>Sheet1!$C$2:$C$13</c:f>
              <c:numCache>
                <c:formatCode>General</c:formatCode>
                <c:ptCount val="12"/>
                <c:pt idx="0">
                  <c:v>203224.26610000001</c:v>
                </c:pt>
                <c:pt idx="1">
                  <c:v>204063.94519999999</c:v>
                </c:pt>
                <c:pt idx="2">
                  <c:v>61191.166899999989</c:v>
                </c:pt>
                <c:pt idx="3">
                  <c:v>1574.5454999999999</c:v>
                </c:pt>
                <c:pt idx="4">
                  <c:v>82728.546799999996</c:v>
                </c:pt>
                <c:pt idx="5">
                  <c:v>4441.4790000000003</c:v>
                </c:pt>
                <c:pt idx="6">
                  <c:v>45605.556199999992</c:v>
                </c:pt>
                <c:pt idx="7">
                  <c:v>78358.659800000009</c:v>
                </c:pt>
                <c:pt idx="8">
                  <c:v>29471.16599999999</c:v>
                </c:pt>
                <c:pt idx="9">
                  <c:v>17286.738700000002</c:v>
                </c:pt>
                <c:pt idx="10">
                  <c:v>134223.04699999999</c:v>
                </c:pt>
                <c:pt idx="11">
                  <c:v>86851.195999999982</c:v>
                </c:pt>
              </c:numCache>
            </c:numRef>
          </c:bubbleSize>
          <c:bubble3D val="0"/>
          <c:extLst>
            <c:ext xmlns:c15="http://schemas.microsoft.com/office/drawing/2012/chart" uri="{02D57815-91ED-43cb-92C2-25804820EDAC}">
              <c15:datalabelsRange>
                <c15:f>Sheet1!$E$2:$E$21</c15:f>
                <c15:dlblRangeCache>
                  <c:ptCount val="20"/>
                  <c:pt idx="0">
                    <c:v>Boursin Classique Fromage Frais A Tartiner Afh 1X160Gr 10P</c:v>
                  </c:pt>
                  <c:pt idx="1">
                    <c:v>Boursin Classique Fromage Frais A Tartiner Afh Boite 1X150Gr 1P</c:v>
                  </c:pt>
                  <c:pt idx="2">
                    <c:v>Boursin Classique Fromage Frais A Tartiner Ciboulette &amp; Echalote Boite 1X150Gr 1P</c:v>
                  </c:pt>
                  <c:pt idx="3">
                    <c:v>Boursin Classique Fromage Frais A Tartiner Truffe Boite 1X150Gr 1P</c:v>
                  </c:pt>
                  <c:pt idx="4">
                    <c:v>Boursin Classique Fromage Frais A Tartiner Figue Et 3 Noix Boite 1X150Gr 1P</c:v>
                  </c:pt>
                  <c:pt idx="5">
                    <c:v>Boursin Classique Fromage Frais A Tartiner Afh Boite 1X80Gr 1P</c:v>
                  </c:pt>
                  <c:pt idx="6">
                    <c:v>Boursin Classique Fromage Frais A Tartiner Poivre Boite 1X150Gr 1P</c:v>
                  </c:pt>
                  <c:pt idx="7">
                    <c:v>Boursin Classique Fromage Frais A Tartiner Afh Boite 1X96Gr 6P</c:v>
                  </c:pt>
                  <c:pt idx="8">
                    <c:v>Boursin Classique Fromage Frais A Tartiner Afh 1X256Gr 16P</c:v>
                  </c:pt>
                  <c:pt idx="9">
                    <c:v>Boursin Classique Fromage Frais A Tartiner Ciboulette &amp; Echalote 1X160Gr 10P</c:v>
                  </c:pt>
                  <c:pt idx="10">
                    <c:v>Boursin Classique Fromage Frais A Tartiner Afh Boite 1X250Gr 1P</c:v>
                  </c:pt>
                  <c:pt idx="11">
                    <c:v>Boursin Onctueux Fromage Frais A Tartiner Afh 1X125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92376EB-CE98-4C8D-8EBA-AC892DD30DB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71E40A6-4927-4963-AB9C-7C8EB68CE5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1CCFF83-0E72-49E6-8DB4-3311D09241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FC04FE5-F5DE-432A-8501-639A570FBE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3863F24-E4F1-4FE0-97E4-39B69018D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8EC5A1F-396D-42E3-9128-2E2C2E42CD9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7141E6F-52CB-4BCF-B255-E3A4C763991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A76B0B9-0B82-4DAC-83D8-51F4868BF4A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71CC260-8672-4576-935D-B114EF91852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1695DAA-3D81-4B62-B1AF-0F89E352F2A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96199999999999997</c:v>
                </c:pt>
                <c:pt idx="1">
                  <c:v>0.80100000000000005</c:v>
                </c:pt>
                <c:pt idx="2">
                  <c:v>0.73799999999999999</c:v>
                </c:pt>
                <c:pt idx="3">
                  <c:v>0.81699999999999995</c:v>
                </c:pt>
                <c:pt idx="4">
                  <c:v>0.70699999999999996</c:v>
                </c:pt>
                <c:pt idx="5">
                  <c:v>0.69799999999999995</c:v>
                </c:pt>
              </c:numCache>
            </c:numRef>
          </c:xVal>
          <c:yVal>
            <c:numRef>
              <c:f>Sheet1!$B$2:$B$7</c:f>
              <c:numCache>
                <c:formatCode>General</c:formatCode>
                <c:ptCount val="6"/>
                <c:pt idx="0">
                  <c:v>20726.226611226612</c:v>
                </c:pt>
                <c:pt idx="1">
                  <c:v>4221.7228464419468</c:v>
                </c:pt>
                <c:pt idx="2">
                  <c:v>1752.3170731707321</c:v>
                </c:pt>
                <c:pt idx="3">
                  <c:v>5431.6768665850677</c:v>
                </c:pt>
                <c:pt idx="4">
                  <c:v>2424.0594059405939</c:v>
                </c:pt>
                <c:pt idx="5">
                  <c:v>1723.954154727794</c:v>
                </c:pt>
              </c:numCache>
            </c:numRef>
          </c:yVal>
          <c:bubbleSize>
            <c:numRef>
              <c:f>Sheet1!$C$2:$C$7</c:f>
              <c:numCache>
                <c:formatCode>General</c:formatCode>
                <c:ptCount val="6"/>
                <c:pt idx="0">
                  <c:v>1147947.4047999999</c:v>
                </c:pt>
                <c:pt idx="1">
                  <c:v>177245.5282</c:v>
                </c:pt>
                <c:pt idx="2">
                  <c:v>56817.089500000002</c:v>
                </c:pt>
                <c:pt idx="3">
                  <c:v>241292.2684</c:v>
                </c:pt>
                <c:pt idx="4">
                  <c:v>96136.576799999981</c:v>
                </c:pt>
                <c:pt idx="5">
                  <c:v>69949.332200000004</c:v>
                </c:pt>
              </c:numCache>
            </c:numRef>
          </c:bubbleSize>
          <c:bubble3D val="0"/>
          <c:extLst>
            <c:ext xmlns:c15="http://schemas.microsoft.com/office/drawing/2012/chart" uri="{02D57815-91ED-43cb-92C2-25804820EDAC}">
              <c15:datalabelsRange>
                <c15:f>Sheet1!$E$2:$E$21</c15:f>
                <c15:dlblRangeCache>
                  <c:ptCount val="20"/>
                  <c:pt idx="0">
                    <c:v>Boursin Salade &amp; Aperitif Fromage Frais Des Afh 1X120Gr 1P</c:v>
                  </c:pt>
                  <c:pt idx="1">
                    <c:v>Boursin Salade &amp; Aperitif Fromage Frais Des Figue Noix 1X120Gr 1P</c:v>
                  </c:pt>
                  <c:pt idx="2">
                    <c:v>Boursin Salade &amp; Aperitif Fromage Frais Des Noisette Et 3 Noix 1X120Gr 1P</c:v>
                  </c:pt>
                  <c:pt idx="3">
                    <c:v>Boursin Salade &amp; Aperitif Fromage Frais Des Ciboulette Echalote 1X120Gr 1P</c:v>
                  </c:pt>
                  <c:pt idx="4">
                    <c:v>Boursin Salade &amp; Aperitif Fromage Frais Des Citron Romarin 1X120Gr 1P</c:v>
                  </c:pt>
                  <c:pt idx="5">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84359A8-4722-4AB3-B387-BAD10224A40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EB29BA7-9814-4E0F-ADCB-55DF6D1C8E1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59112C4-265B-4746-9A51-4C8CB522F1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01B4047-F5CE-429E-82D6-A85909E41D5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78205EE-AB42-4F0B-B2CB-8A7A4FA9A2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0245A39-3748-4C72-BB28-A3BF4DA9404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5822648-E669-4198-8ED3-363BEDE82E6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C9C8BA8-CAA6-410B-AAD7-919FC41BCC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C99E1C2-B8C0-4A47-BC2B-5D045E39152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21FA657-DF96-48D5-A1DC-4BEEAFA7C5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96799999999999997</c:v>
                </c:pt>
                <c:pt idx="1">
                  <c:v>0.84499999999999997</c:v>
                </c:pt>
                <c:pt idx="2">
                  <c:v>0.80300000000000005</c:v>
                </c:pt>
                <c:pt idx="3">
                  <c:v>0.82299999999999995</c:v>
                </c:pt>
                <c:pt idx="4">
                  <c:v>0.66</c:v>
                </c:pt>
                <c:pt idx="5">
                  <c:v>0.41399999999999998</c:v>
                </c:pt>
              </c:numCache>
            </c:numRef>
          </c:xVal>
          <c:yVal>
            <c:numRef>
              <c:f>Sheet1!$B$2:$B$7</c:f>
              <c:numCache>
                <c:formatCode>General</c:formatCode>
                <c:ptCount val="6"/>
                <c:pt idx="0">
                  <c:v>11293.564049586779</c:v>
                </c:pt>
                <c:pt idx="1">
                  <c:v>2199.2426035502958</c:v>
                </c:pt>
                <c:pt idx="2">
                  <c:v>1098.2067247820671</c:v>
                </c:pt>
                <c:pt idx="3">
                  <c:v>3335.8687727825031</c:v>
                </c:pt>
                <c:pt idx="4">
                  <c:v>1614.075757575758</c:v>
                </c:pt>
                <c:pt idx="5">
                  <c:v>1111.304347826087</c:v>
                </c:pt>
              </c:numCache>
            </c:numRef>
          </c:yVal>
          <c:bubbleSize>
            <c:numRef>
              <c:f>Sheet1!$C$2:$C$7</c:f>
              <c:numCache>
                <c:formatCode>General</c:formatCode>
                <c:ptCount val="6"/>
                <c:pt idx="0">
                  <c:v>586213.45919999992</c:v>
                </c:pt>
                <c:pt idx="1">
                  <c:v>108247.5664</c:v>
                </c:pt>
                <c:pt idx="2">
                  <c:v>53176.012199999997</c:v>
                </c:pt>
                <c:pt idx="3">
                  <c:v>150811.14780000001</c:v>
                </c:pt>
                <c:pt idx="4">
                  <c:v>51813.046099999992</c:v>
                </c:pt>
                <c:pt idx="5">
                  <c:v>22765.070899999999</c:v>
                </c:pt>
              </c:numCache>
            </c:numRef>
          </c:bubbleSize>
          <c:bubble3D val="0"/>
          <c:extLst>
            <c:ext xmlns:c15="http://schemas.microsoft.com/office/drawing/2012/chart" uri="{02D57815-91ED-43cb-92C2-25804820EDAC}">
              <c15:datalabelsRange>
                <c15:f>Sheet1!$E$2:$E$21</c15:f>
                <c15:dlblRangeCache>
                  <c:ptCount val="20"/>
                  <c:pt idx="0">
                    <c:v>Boursin Salade &amp; Aperitif Fromage Frais Des Afh 1X120Gr 1P</c:v>
                  </c:pt>
                  <c:pt idx="1">
                    <c:v>Boursin Salade &amp; Aperitif Fromage Frais Des Figue Noix 1X120Gr 1P</c:v>
                  </c:pt>
                  <c:pt idx="2">
                    <c:v>Boursin Salade &amp; Aperitif Fromage Frais Des Noisette Et 3 Noix 1X120Gr 1P</c:v>
                  </c:pt>
                  <c:pt idx="3">
                    <c:v>Boursin Salade &amp; Aperitif Fromage Frais Des Ciboulette Echalote 1X120Gr 1P</c:v>
                  </c:pt>
                  <c:pt idx="4">
                    <c:v>Boursin Salade &amp; Aperitif Fromage Frais Des Citron Romarin 1X120Gr 1P</c:v>
                  </c:pt>
                  <c:pt idx="5">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85934C6-8D4F-4394-98D1-EE137BE23C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16CA001-8878-4BAE-82F5-AA3AFB74E6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04D36E3-F0F0-4791-823E-8BB3C40BCE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5BD4E53-A137-41A8-AB09-C86BB952758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87D309B-0E88-40A9-BC71-FFBE7674A3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5618F64-0A98-4FF7-8F70-DCD71C2398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6811116-473B-4888-B1CA-97655E0E5A5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383503B-AD3D-45C5-A8CA-31FC955380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96D4FBC-59FB-4532-99BC-5325EDBFC88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40EFD7A-C9C8-4E86-92C7-1FEFA17A6CE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1</c:v>
                </c:pt>
                <c:pt idx="1">
                  <c:v>1</c:v>
                </c:pt>
                <c:pt idx="2">
                  <c:v>0.96</c:v>
                </c:pt>
                <c:pt idx="3">
                  <c:v>1</c:v>
                </c:pt>
                <c:pt idx="4">
                  <c:v>0.95</c:v>
                </c:pt>
                <c:pt idx="5">
                  <c:v>0.94</c:v>
                </c:pt>
              </c:numCache>
            </c:numRef>
          </c:xVal>
          <c:yVal>
            <c:numRef>
              <c:f>Sheet1!$B$2:$B$7</c:f>
              <c:numCache>
                <c:formatCode>General</c:formatCode>
                <c:ptCount val="6"/>
                <c:pt idx="0">
                  <c:v>6542.91</c:v>
                </c:pt>
                <c:pt idx="1">
                  <c:v>1562.84</c:v>
                </c:pt>
                <c:pt idx="2">
                  <c:v>708.27083333333337</c:v>
                </c:pt>
                <c:pt idx="3">
                  <c:v>2741.89</c:v>
                </c:pt>
                <c:pt idx="4">
                  <c:v>844.63157894736844</c:v>
                </c:pt>
                <c:pt idx="5">
                  <c:v>593.85106382978722</c:v>
                </c:pt>
              </c:numCache>
            </c:numRef>
          </c:yVal>
          <c:bubbleSize>
            <c:numRef>
              <c:f>Sheet1!$C$2:$C$7</c:f>
              <c:numCache>
                <c:formatCode>General</c:formatCode>
                <c:ptCount val="6"/>
                <c:pt idx="0">
                  <c:v>404752.79509999999</c:v>
                </c:pt>
                <c:pt idx="1">
                  <c:v>78689.65879999999</c:v>
                </c:pt>
                <c:pt idx="2">
                  <c:v>28854.082600000002</c:v>
                </c:pt>
                <c:pt idx="3">
                  <c:v>142684.70430000001</c:v>
                </c:pt>
                <c:pt idx="4">
                  <c:v>45376.329899999997</c:v>
                </c:pt>
                <c:pt idx="5">
                  <c:v>33570.772400000002</c:v>
                </c:pt>
              </c:numCache>
            </c:numRef>
          </c:bubbleSize>
          <c:bubble3D val="0"/>
          <c:extLst>
            <c:ext xmlns:c15="http://schemas.microsoft.com/office/drawing/2012/chart" uri="{02D57815-91ED-43cb-92C2-25804820EDAC}">
              <c15:datalabelsRange>
                <c15:f>Sheet1!$E$2:$E$21</c15:f>
                <c15:dlblRangeCache>
                  <c:ptCount val="20"/>
                  <c:pt idx="0">
                    <c:v>Boursin Salade &amp; Aperitif Fromage Frais Des Afh 1X120Gr 1P</c:v>
                  </c:pt>
                  <c:pt idx="1">
                    <c:v>Boursin Salade &amp; Aperitif Fromage Frais Des Figue Noix 1X120Gr 1P</c:v>
                  </c:pt>
                  <c:pt idx="2">
                    <c:v>Boursin Salade &amp; Aperitif Fromage Frais Des Noisette Et 3 Noix 1X120Gr 1P</c:v>
                  </c:pt>
                  <c:pt idx="3">
                    <c:v>Boursin Salade &amp; Aperitif Fromage Frais Des Ciboulette Echalote 1X120Gr 1P</c:v>
                  </c:pt>
                  <c:pt idx="4">
                    <c:v>Boursin Salade &amp; Aperitif Fromage Frais Des Citron Romarin 1X120Gr 1P</c:v>
                  </c:pt>
                  <c:pt idx="5">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B$2:$B$8</c:f>
              <c:numCache>
                <c:formatCode>General</c:formatCode>
                <c:ptCount val="7"/>
                <c:pt idx="0">
                  <c:v>0.58193069055219471</c:v>
                </c:pt>
                <c:pt idx="1">
                  <c:v>0.10245669958445451</c:v>
                </c:pt>
                <c:pt idx="2">
                  <c:v>7.954473803627847E-2</c:v>
                </c:pt>
                <c:pt idx="3">
                  <c:v>6.7604999672716951E-2</c:v>
                </c:pt>
                <c:pt idx="4">
                  <c:v>1.9333806171907286E-2</c:v>
                </c:pt>
                <c:pt idx="5">
                  <c:v>1.670551892246316E-2</c:v>
                </c:pt>
                <c:pt idx="6">
                  <c:v>0.13242354705998491</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C$2:$C$8</c:f>
              <c:numCache>
                <c:formatCode>General</c:formatCode>
                <c:ptCount val="7"/>
                <c:pt idx="0">
                  <c:v>0.18598439845642351</c:v>
                </c:pt>
                <c:pt idx="1">
                  <c:v>0.10271783678243492</c:v>
                </c:pt>
                <c:pt idx="2">
                  <c:v>0.1195350850532792</c:v>
                </c:pt>
                <c:pt idx="3">
                  <c:v>6.8254450676465989E-2</c:v>
                </c:pt>
                <c:pt idx="4">
                  <c:v>2.2131351366286304E-2</c:v>
                </c:pt>
                <c:pt idx="5">
                  <c:v>4.3498282356625131E-2</c:v>
                </c:pt>
                <c:pt idx="6">
                  <c:v>0.4578785953084850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D$2:$D$8</c:f>
              <c:numCache>
                <c:formatCode>General</c:formatCode>
                <c:ptCount val="7"/>
                <c:pt idx="0">
                  <c:v>31.959888260910024</c:v>
                </c:pt>
                <c:pt idx="1">
                  <c:v>100.25487566849169</c:v>
                </c:pt>
                <c:pt idx="2">
                  <c:v>150.27403195263787</c:v>
                </c:pt>
                <c:pt idx="3">
                  <c:v>100.96065528717268</c:v>
                </c:pt>
                <c:pt idx="4">
                  <c:v>114.46970746217551</c:v>
                </c:pt>
                <c:pt idx="5">
                  <c:v>260.38270680795762</c:v>
                </c:pt>
                <c:pt idx="6">
                  <c:v>345.76826061083858</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EEC567F-3709-49EA-80A2-D039ACBCE92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1698D97-4633-4A91-AA47-3641FDBD8E9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E248709-895D-4950-AFBD-6B63360D281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432276D-9B7F-4DFF-924D-59248AE49D2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5160A31-3BEB-4E54-9D2D-AACF6ACC3C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EDD5A83-89D7-42A1-B00E-5A7CFB48D92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8509091-637B-43A6-B9BB-D2D79E52DE5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70A5F13-375B-4AC3-8F77-151DF0F3A1C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C437BC9-5D61-4723-9CDD-0297DE451F4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14B993B-2650-4E5A-980F-C51FBE84EDB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99</c:v>
                </c:pt>
                <c:pt idx="1">
                  <c:v>0.91</c:v>
                </c:pt>
                <c:pt idx="2">
                  <c:v>0.79</c:v>
                </c:pt>
                <c:pt idx="3">
                  <c:v>0.95</c:v>
                </c:pt>
                <c:pt idx="4">
                  <c:v>0.72</c:v>
                </c:pt>
                <c:pt idx="5">
                  <c:v>0.71</c:v>
                </c:pt>
              </c:numCache>
            </c:numRef>
          </c:xVal>
          <c:yVal>
            <c:numRef>
              <c:f>Sheet1!$B$2:$B$7</c:f>
              <c:numCache>
                <c:formatCode>General</c:formatCode>
                <c:ptCount val="6"/>
                <c:pt idx="0">
                  <c:v>7616.333333333333</c:v>
                </c:pt>
                <c:pt idx="1">
                  <c:v>1998.6373626373629</c:v>
                </c:pt>
                <c:pt idx="2">
                  <c:v>776.29113924050637</c:v>
                </c:pt>
                <c:pt idx="3">
                  <c:v>1784.8315789473679</c:v>
                </c:pt>
                <c:pt idx="4">
                  <c:v>1265.291666666667</c:v>
                </c:pt>
                <c:pt idx="5">
                  <c:v>908.5915492957746</c:v>
                </c:pt>
              </c:numCache>
            </c:numRef>
          </c:yVal>
          <c:bubbleSize>
            <c:numRef>
              <c:f>Sheet1!$C$2:$C$7</c:f>
              <c:numCache>
                <c:formatCode>General</c:formatCode>
                <c:ptCount val="6"/>
                <c:pt idx="0">
                  <c:v>472778.95269999991</c:v>
                </c:pt>
                <c:pt idx="1">
                  <c:v>98555.869400000011</c:v>
                </c:pt>
                <c:pt idx="2">
                  <c:v>27963.0069</c:v>
                </c:pt>
                <c:pt idx="3">
                  <c:v>98599.152199999982</c:v>
                </c:pt>
                <c:pt idx="4">
                  <c:v>50744.359600000003</c:v>
                </c:pt>
                <c:pt idx="5">
                  <c:v>36378.559800000003</c:v>
                </c:pt>
              </c:numCache>
            </c:numRef>
          </c:bubbleSize>
          <c:bubble3D val="0"/>
          <c:extLst>
            <c:ext xmlns:c15="http://schemas.microsoft.com/office/drawing/2012/chart" uri="{02D57815-91ED-43cb-92C2-25804820EDAC}">
              <c15:datalabelsRange>
                <c15:f>Sheet1!$E$2:$E$21</c15:f>
                <c15:dlblRangeCache>
                  <c:ptCount val="20"/>
                  <c:pt idx="0">
                    <c:v>Boursin Salade &amp; Aperitif Fromage Frais Des Afh 1X120Gr 1P</c:v>
                  </c:pt>
                  <c:pt idx="1">
                    <c:v>Boursin Salade &amp; Aperitif Fromage Frais Des Figue Noix 1X120Gr 1P</c:v>
                  </c:pt>
                  <c:pt idx="2">
                    <c:v>Boursin Salade &amp; Aperitif Fromage Frais Des Noisette Et 3 Noix 1X120Gr 1P</c:v>
                  </c:pt>
                  <c:pt idx="3">
                    <c:v>Boursin Salade &amp; Aperitif Fromage Frais Des Ciboulette Echalote 1X120Gr 1P</c:v>
                  </c:pt>
                  <c:pt idx="4">
                    <c:v>Boursin Salade &amp; Aperitif Fromage Frais Des Citron Romarin 1X120Gr 1P</c:v>
                  </c:pt>
                  <c:pt idx="5">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93C3BA6-49FA-4220-9744-406609293C3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C0695BC-7E5E-4C72-BF51-C4FC82B6065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9B9C644-3127-402A-944C-3D4D9B7283F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7D70406-3F8E-4113-817C-00C73654228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274D47F-9436-436D-A434-AF03D24122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E67D7F2-C45A-4E78-946A-39CA162A904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65317EC-77CE-4005-86C5-0055C19C094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2DDA98-556C-4819-8AD7-6C50DE76D2B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BBDF3E9-2450-4624-829E-5E123BF858E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5CDB189-6E83-4925-A2F0-01A43D831BC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2</c:f>
              <c:numCache>
                <c:formatCode>General</c:formatCode>
                <c:ptCount val="1"/>
                <c:pt idx="0">
                  <c:v>0.79</c:v>
                </c:pt>
              </c:numCache>
            </c:numRef>
          </c:xVal>
          <c:yVal>
            <c:numRef>
              <c:f>Sheet1!$B$2:$B$2</c:f>
              <c:numCache>
                <c:formatCode>General</c:formatCode>
                <c:ptCount val="1"/>
                <c:pt idx="0">
                  <c:v>7412.0886075949365</c:v>
                </c:pt>
              </c:numCache>
            </c:numRef>
          </c:yVal>
          <c:bubbleSize>
            <c:numRef>
              <c:f>Sheet1!$C$2:$C$2</c:f>
              <c:numCache>
                <c:formatCode>General</c:formatCode>
                <c:ptCount val="1"/>
                <c:pt idx="0">
                  <c:v>270415.65699999989</c:v>
                </c:pt>
              </c:numCache>
            </c:numRef>
          </c:bubbleSize>
          <c:bubble3D val="0"/>
          <c:extLst>
            <c:ext xmlns:c15="http://schemas.microsoft.com/office/drawing/2012/chart" uri="{02D57815-91ED-43cb-92C2-25804820EDAC}">
              <c15:datalabelsRange>
                <c15:f>Sheet1!$E$2:$E$21</c15:f>
                <c15:dlblRangeCache>
                  <c:ptCount val="20"/>
                  <c:pt idx="0">
                    <c:v>Boursin Salade &amp; Aperitif Fromage Frais Des Afh 1X120Gr 1P</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24697BF-E31A-4BEF-B522-CCC7DCBD5E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A0F151F-1A16-472E-A5C6-337DB504E08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F1778FA-EC67-4CD5-9E52-B625696F94F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5FA67DC-9C6F-4F86-B162-C7D9A9D6E4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E93EB5E-47C7-4C9E-BC78-7AB65A7941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13E3A23-921A-4F67-8EF5-E35E197C345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04DF4EE-8412-4A73-B735-4A3BF2DE568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BAE5619-E5C5-4911-8995-22931CED803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BF08383-685A-45CC-8FF2-B8D0BC9388B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4C692B3-707C-4AB4-A094-57902BD4741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98</c:v>
                </c:pt>
                <c:pt idx="1">
                  <c:v>0.88</c:v>
                </c:pt>
                <c:pt idx="2">
                  <c:v>0.83</c:v>
                </c:pt>
                <c:pt idx="3">
                  <c:v>0.86</c:v>
                </c:pt>
                <c:pt idx="4">
                  <c:v>0.67</c:v>
                </c:pt>
                <c:pt idx="5">
                  <c:v>0.4</c:v>
                </c:pt>
              </c:numCache>
            </c:numRef>
          </c:xVal>
          <c:yVal>
            <c:numRef>
              <c:f>Sheet1!$B$2:$B$7</c:f>
              <c:numCache>
                <c:formatCode>General</c:formatCode>
                <c:ptCount val="6"/>
                <c:pt idx="0">
                  <c:v>8367.6530612244896</c:v>
                </c:pt>
                <c:pt idx="1">
                  <c:v>1613.590909090909</c:v>
                </c:pt>
                <c:pt idx="2">
                  <c:v>833.73493975903614</c:v>
                </c:pt>
                <c:pt idx="3">
                  <c:v>2456.744186046511</c:v>
                </c:pt>
                <c:pt idx="4">
                  <c:v>1204.2388059701491</c:v>
                </c:pt>
                <c:pt idx="5">
                  <c:v>880.45</c:v>
                </c:pt>
              </c:numCache>
            </c:numRef>
          </c:yVal>
          <c:bubbleSize>
            <c:numRef>
              <c:f>Sheet1!$C$2:$C$7</c:f>
              <c:numCache>
                <c:formatCode>General</c:formatCode>
                <c:ptCount val="6"/>
                <c:pt idx="0">
                  <c:v>441863.44069999998</c:v>
                </c:pt>
                <c:pt idx="1">
                  <c:v>82714.662700000001</c:v>
                </c:pt>
                <c:pt idx="2">
                  <c:v>41666.6322</c:v>
                </c:pt>
                <c:pt idx="3">
                  <c:v>116024.16160000001</c:v>
                </c:pt>
                <c:pt idx="4">
                  <c:v>39235.070699999997</c:v>
                </c:pt>
                <c:pt idx="5">
                  <c:v>17448.064399999999</c:v>
                </c:pt>
              </c:numCache>
            </c:numRef>
          </c:bubbleSize>
          <c:bubble3D val="0"/>
          <c:extLst>
            <c:ext xmlns:c15="http://schemas.microsoft.com/office/drawing/2012/chart" uri="{02D57815-91ED-43cb-92C2-25804820EDAC}">
              <c15:datalabelsRange>
                <c15:f>Sheet1!$E$2:$E$21</c15:f>
                <c15:dlblRangeCache>
                  <c:ptCount val="20"/>
                  <c:pt idx="0">
                    <c:v>Boursin Salade &amp; Aperitif Fromage Frais Des Afh 1X120Gr 1P</c:v>
                  </c:pt>
                  <c:pt idx="1">
                    <c:v>Boursin Salade &amp; Aperitif Fromage Frais Des Figue Noix 1X120Gr 1P</c:v>
                  </c:pt>
                  <c:pt idx="2">
                    <c:v>Boursin Salade &amp; Aperitif Fromage Frais Des Noisette Et 3 Noix 1X120Gr 1P</c:v>
                  </c:pt>
                  <c:pt idx="3">
                    <c:v>Boursin Salade &amp; Aperitif Fromage Frais Des Ciboulette Echalote 1X120Gr 1P</c:v>
                  </c:pt>
                  <c:pt idx="4">
                    <c:v>Boursin Salade &amp; Aperitif Fromage Frais Des Citron Romarin 1X120Gr 1P</c:v>
                  </c:pt>
                  <c:pt idx="5">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CBAC699-85F6-4590-B73A-5FC3A29E309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5176FB7-5BB1-4530-8BC5-CC96168351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1B19048-1381-4E29-82F3-DBBB07BCFAB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F322283-5253-4A83-92B9-5F79415F708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B996190-ABC4-4DAA-A202-33F4BAD2A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A1373A7-7BDB-4363-9D12-0F63FB5E892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920CA75-5B3E-4D1D-9F4F-219C6C04481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CEA90AB-4039-4F8C-8822-443D0614013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8E9F45B-94C2-4F97-9C19-FE1EB000703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BC46F86-C631-4EC6-B5B4-AB450E105AD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1</c:v>
                </c:pt>
                <c:pt idx="1">
                  <c:v>0.97</c:v>
                </c:pt>
                <c:pt idx="2">
                  <c:v>0.99</c:v>
                </c:pt>
                <c:pt idx="3">
                  <c:v>0.95</c:v>
                </c:pt>
                <c:pt idx="4">
                  <c:v>0.93</c:v>
                </c:pt>
                <c:pt idx="5">
                  <c:v>0.73</c:v>
                </c:pt>
              </c:numCache>
            </c:numRef>
          </c:xVal>
          <c:yVal>
            <c:numRef>
              <c:f>Sheet1!$B$2:$B$7</c:f>
              <c:numCache>
                <c:formatCode>General</c:formatCode>
                <c:ptCount val="6"/>
                <c:pt idx="0">
                  <c:v>1429.39</c:v>
                </c:pt>
                <c:pt idx="1">
                  <c:v>310.11340206185571</c:v>
                </c:pt>
                <c:pt idx="2">
                  <c:v>137.64646464646461</c:v>
                </c:pt>
                <c:pt idx="3">
                  <c:v>472.06315789473678</c:v>
                </c:pt>
                <c:pt idx="4">
                  <c:v>197.1935483870968</c:v>
                </c:pt>
                <c:pt idx="5">
                  <c:v>106.42465753424661</c:v>
                </c:pt>
              </c:numCache>
            </c:numRef>
          </c:yVal>
          <c:bubbleSize>
            <c:numRef>
              <c:f>Sheet1!$C$2:$C$7</c:f>
              <c:numCache>
                <c:formatCode>General</c:formatCode>
                <c:ptCount val="6"/>
                <c:pt idx="0">
                  <c:v>78365.946300000011</c:v>
                </c:pt>
                <c:pt idx="1">
                  <c:v>17978.888500000001</c:v>
                </c:pt>
                <c:pt idx="2">
                  <c:v>8400.5091000000011</c:v>
                </c:pt>
                <c:pt idx="3">
                  <c:v>25238.6037</c:v>
                </c:pt>
                <c:pt idx="4">
                  <c:v>9164.8017999999993</c:v>
                </c:pt>
                <c:pt idx="5">
                  <c:v>3921.063900000001</c:v>
                </c:pt>
              </c:numCache>
            </c:numRef>
          </c:bubbleSize>
          <c:bubble3D val="0"/>
          <c:extLst>
            <c:ext xmlns:c15="http://schemas.microsoft.com/office/drawing/2012/chart" uri="{02D57815-91ED-43cb-92C2-25804820EDAC}">
              <c15:datalabelsRange>
                <c15:f>Sheet1!$E$2:$E$21</c15:f>
                <c15:dlblRangeCache>
                  <c:ptCount val="20"/>
                  <c:pt idx="0">
                    <c:v>Boursin Salade &amp; Aperitif Fromage Frais Des Afh 1X120Gr 1P</c:v>
                  </c:pt>
                  <c:pt idx="1">
                    <c:v>Boursin Salade &amp; Aperitif Fromage Frais Des Figue Noix 1X120Gr 1P</c:v>
                  </c:pt>
                  <c:pt idx="2">
                    <c:v>Boursin Salade &amp; Aperitif Fromage Frais Des Noisette Et 3 Noix 1X120Gr 1P</c:v>
                  </c:pt>
                  <c:pt idx="3">
                    <c:v>Boursin Salade &amp; Aperitif Fromage Frais Des Ciboulette Echalote 1X120Gr 1P</c:v>
                  </c:pt>
                  <c:pt idx="4">
                    <c:v>Boursin Salade &amp; Aperitif Fromage Frais Des Citron Romarin 1X120Gr 1P</c:v>
                  </c:pt>
                  <c:pt idx="5">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4B88A0A-D8FD-4A84-844F-C0BB88DCFE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A59534D-EBD0-481D-839E-00C8F8AE6A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DC897A9-6573-4823-AB09-020B68805E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0444FF0-6931-4D26-AFB8-E3AB40B81E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A2A6B49-72A4-4D8C-B0F9-C11299693C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6C76D0E-80D2-40DF-AB0F-75FC41AEB32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F2E127C-7F50-4705-89BA-CED0169FB01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76BE909-C2D5-40C7-B730-48147B2661B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9D39B07-AC16-42EA-B7AF-3E9A4E1443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4817400-EAE6-4B65-AD5C-9BC35F4DF51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7</c:f>
              <c:numCache>
                <c:formatCode>General</c:formatCode>
                <c:ptCount val="6"/>
                <c:pt idx="0">
                  <c:v>0.85</c:v>
                </c:pt>
                <c:pt idx="1">
                  <c:v>0.47</c:v>
                </c:pt>
                <c:pt idx="2">
                  <c:v>0.41</c:v>
                </c:pt>
                <c:pt idx="3">
                  <c:v>0.43</c:v>
                </c:pt>
                <c:pt idx="4">
                  <c:v>0.28000000000000003</c:v>
                </c:pt>
                <c:pt idx="5">
                  <c:v>0.14000000000000001</c:v>
                </c:pt>
              </c:numCache>
            </c:numRef>
          </c:xVal>
          <c:yVal>
            <c:numRef>
              <c:f>Sheet1!$B$2:$B$7</c:f>
              <c:numCache>
                <c:formatCode>General</c:formatCode>
                <c:ptCount val="6"/>
                <c:pt idx="0">
                  <c:v>1532.329411764706</c:v>
                </c:pt>
                <c:pt idx="1">
                  <c:v>292.74468085106378</c:v>
                </c:pt>
                <c:pt idx="2">
                  <c:v>130.70731707317071</c:v>
                </c:pt>
                <c:pt idx="3">
                  <c:v>428.27906976744191</c:v>
                </c:pt>
                <c:pt idx="4">
                  <c:v>268.07142857142861</c:v>
                </c:pt>
                <c:pt idx="5">
                  <c:v>215.78571428571419</c:v>
                </c:pt>
              </c:numCache>
            </c:numRef>
          </c:yVal>
          <c:bubbleSize>
            <c:numRef>
              <c:f>Sheet1!$C$2:$C$7</c:f>
              <c:numCache>
                <c:formatCode>General</c:formatCode>
                <c:ptCount val="6"/>
                <c:pt idx="0">
                  <c:v>65984.07220000001</c:v>
                </c:pt>
                <c:pt idx="1">
                  <c:v>7554.0151999999998</c:v>
                </c:pt>
                <c:pt idx="2">
                  <c:v>3108.8708999999999</c:v>
                </c:pt>
                <c:pt idx="3">
                  <c:v>9548.3824999999997</c:v>
                </c:pt>
                <c:pt idx="4">
                  <c:v>3413.1735999999992</c:v>
                </c:pt>
                <c:pt idx="5">
                  <c:v>1395.9426000000001</c:v>
                </c:pt>
              </c:numCache>
            </c:numRef>
          </c:bubbleSize>
          <c:bubble3D val="0"/>
          <c:extLst>
            <c:ext xmlns:c15="http://schemas.microsoft.com/office/drawing/2012/chart" uri="{02D57815-91ED-43cb-92C2-25804820EDAC}">
              <c15:datalabelsRange>
                <c15:f>Sheet1!$E$2:$E$21</c15:f>
                <c15:dlblRangeCache>
                  <c:ptCount val="20"/>
                  <c:pt idx="0">
                    <c:v>Boursin Salade &amp; Aperitif Fromage Frais Des Afh 1X120Gr 1P</c:v>
                  </c:pt>
                  <c:pt idx="1">
                    <c:v>Boursin Salade &amp; Aperitif Fromage Frais Des Figue Noix 1X120Gr 1P</c:v>
                  </c:pt>
                  <c:pt idx="2">
                    <c:v>Boursin Salade &amp; Aperitif Fromage Frais Des Noisette Et 3 Noix 1X120Gr 1P</c:v>
                  </c:pt>
                  <c:pt idx="3">
                    <c:v>Boursin Salade &amp; Aperitif Fromage Frais Des Ciboulette Echalote 1X120Gr 1P</c:v>
                  </c:pt>
                  <c:pt idx="4">
                    <c:v>Boursin Salade &amp; Aperitif Fromage Frais Des Citron Romarin 1X120Gr 1P</c:v>
                  </c:pt>
                  <c:pt idx="5">
                    <c:v>Boursin Salade &amp; Aperitif Soft Cheese Salade 120G</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La Vache Qui Rit</c:v>
                </c:pt>
                <c:pt idx="6">
                  <c:v>Coeur De Lion</c:v>
                </c:pt>
                <c:pt idx="7">
                  <c:v>Boursin</c:v>
                </c:pt>
                <c:pt idx="8">
                  <c:v>Kiri</c:v>
                </c:pt>
                <c:pt idx="9">
                  <c:v>Others</c:v>
                </c:pt>
              </c:strCache>
            </c:strRef>
          </c:cat>
          <c:val>
            <c:numRef>
              <c:f>Sheet1!$B$2:$B$11</c:f>
              <c:numCache>
                <c:formatCode>General</c:formatCode>
                <c:ptCount val="10"/>
                <c:pt idx="0">
                  <c:v>0.53152589590550658</c:v>
                </c:pt>
                <c:pt idx="1">
                  <c:v>4.901710106822886E-2</c:v>
                </c:pt>
                <c:pt idx="2">
                  <c:v>3.4695977122520337E-2</c:v>
                </c:pt>
                <c:pt idx="3">
                  <c:v>2.572503202351125E-2</c:v>
                </c:pt>
                <c:pt idx="4">
                  <c:v>2.3692449110444214E-2</c:v>
                </c:pt>
                <c:pt idx="5">
                  <c:v>2.041088074405429E-2</c:v>
                </c:pt>
                <c:pt idx="6">
                  <c:v>1.8742905663045033E-2</c:v>
                </c:pt>
                <c:pt idx="7">
                  <c:v>1.5973561978760979E-2</c:v>
                </c:pt>
                <c:pt idx="8">
                  <c:v>1.5897830040815412E-2</c:v>
                </c:pt>
                <c:pt idx="9">
                  <c:v>0.2643183663431131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La Vache Qui Rit</c:v>
                </c:pt>
                <c:pt idx="6">
                  <c:v>Coeur De Lion</c:v>
                </c:pt>
                <c:pt idx="7">
                  <c:v>Boursin</c:v>
                </c:pt>
                <c:pt idx="8">
                  <c:v>Kiri</c:v>
                </c:pt>
                <c:pt idx="9">
                  <c:v>Others</c:v>
                </c:pt>
              </c:strCache>
            </c:strRef>
          </c:cat>
          <c:val>
            <c:numRef>
              <c:f>Sheet1!$C$2:$C$11</c:f>
              <c:numCache>
                <c:formatCode>General</c:formatCode>
                <c:ptCount val="10"/>
                <c:pt idx="0">
                  <c:v>0.44096028452874897</c:v>
                </c:pt>
                <c:pt idx="1">
                  <c:v>5.8209839952578515E-2</c:v>
                </c:pt>
                <c:pt idx="2">
                  <c:v>3.0468286899822169E-2</c:v>
                </c:pt>
                <c:pt idx="3">
                  <c:v>1.7486662714878479E-2</c:v>
                </c:pt>
                <c:pt idx="4">
                  <c:v>1.1914641375222284E-2</c:v>
                </c:pt>
                <c:pt idx="5">
                  <c:v>1.3870776526378184E-2</c:v>
                </c:pt>
                <c:pt idx="6">
                  <c:v>1.0373443983402487E-2</c:v>
                </c:pt>
                <c:pt idx="7">
                  <c:v>2.1398933017190275E-2</c:v>
                </c:pt>
                <c:pt idx="8">
                  <c:v>1.5293420272673381E-2</c:v>
                </c:pt>
                <c:pt idx="9">
                  <c:v>0.3800237107291045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St Moret</c:v>
                </c:pt>
                <c:pt idx="4">
                  <c:v>Caprice Des Dieux</c:v>
                </c:pt>
                <c:pt idx="5">
                  <c:v>La Vache Qui Rit</c:v>
                </c:pt>
                <c:pt idx="6">
                  <c:v>Coeur De Lion</c:v>
                </c:pt>
                <c:pt idx="7">
                  <c:v>Boursin</c:v>
                </c:pt>
                <c:pt idx="8">
                  <c:v>Kiri</c:v>
                </c:pt>
                <c:pt idx="9">
                  <c:v>Others</c:v>
                </c:pt>
              </c:strCache>
            </c:strRef>
          </c:cat>
          <c:val>
            <c:numRef>
              <c:f>Sheet1!$D$2:$D$11</c:f>
              <c:numCache>
                <c:formatCode>General</c:formatCode>
                <c:ptCount val="10"/>
                <c:pt idx="0">
                  <c:v>82.961204322421551</c:v>
                </c:pt>
                <c:pt idx="1">
                  <c:v>118.75414637751408</c:v>
                </c:pt>
                <c:pt idx="2">
                  <c:v>87.815042050065003</c:v>
                </c:pt>
                <c:pt idx="3">
                  <c:v>67.975280648423066</c:v>
                </c:pt>
                <c:pt idx="4">
                  <c:v>50.288770568552231</c:v>
                </c:pt>
                <c:pt idx="5">
                  <c:v>67.957755965130289</c:v>
                </c:pt>
                <c:pt idx="6">
                  <c:v>55.345975538123604</c:v>
                </c:pt>
                <c:pt idx="7">
                  <c:v>133.9646914422911</c:v>
                </c:pt>
                <c:pt idx="8">
                  <c:v>96.198161846048833</c:v>
                </c:pt>
                <c:pt idx="9">
                  <c:v>143.7749922515008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B$2:$B$8</c:f>
              <c:numCache>
                <c:formatCode>General</c:formatCode>
                <c:ptCount val="7"/>
                <c:pt idx="0">
                  <c:v>0.57192377194482347</c:v>
                </c:pt>
                <c:pt idx="1">
                  <c:v>0.19030202916971634</c:v>
                </c:pt>
                <c:pt idx="2">
                  <c:v>8.5042087261606308E-2</c:v>
                </c:pt>
                <c:pt idx="3">
                  <c:v>5.9577341431075632E-2</c:v>
                </c:pt>
                <c:pt idx="4">
                  <c:v>2.3654634916643356E-2</c:v>
                </c:pt>
                <c:pt idx="5">
                  <c:v>1.4614709564537092E-2</c:v>
                </c:pt>
                <c:pt idx="6">
                  <c:v>5.4885425711597796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C$2:$C$8</c:f>
              <c:numCache>
                <c:formatCode>General</c:formatCode>
                <c:ptCount val="7"/>
                <c:pt idx="0">
                  <c:v>0.2976899222235122</c:v>
                </c:pt>
                <c:pt idx="1">
                  <c:v>0.18944959453408744</c:v>
                </c:pt>
                <c:pt idx="2">
                  <c:v>0.10291703288502684</c:v>
                </c:pt>
                <c:pt idx="3">
                  <c:v>0.12129152087030073</c:v>
                </c:pt>
                <c:pt idx="4">
                  <c:v>3.5455465083497797E-2</c:v>
                </c:pt>
                <c:pt idx="5">
                  <c:v>7.4841213246878188E-2</c:v>
                </c:pt>
                <c:pt idx="6">
                  <c:v>0.17835525115669729</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D$2:$D$8</c:f>
              <c:numCache>
                <c:formatCode>General</c:formatCode>
                <c:ptCount val="7"/>
                <c:pt idx="0">
                  <c:v>52.05062926676738</c:v>
                </c:pt>
                <c:pt idx="1">
                  <c:v>99.552062245816259</c:v>
                </c:pt>
                <c:pt idx="2">
                  <c:v>121.01894038469877</c:v>
                </c:pt>
                <c:pt idx="3">
                  <c:v>203.58666223906877</c:v>
                </c:pt>
                <c:pt idx="4">
                  <c:v>149.88802494073329</c:v>
                </c:pt>
                <c:pt idx="5">
                  <c:v>512.09511154762868</c:v>
                </c:pt>
                <c:pt idx="6">
                  <c:v>324.9592197642537</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B$2:$B$8</c:f>
              <c:numCache>
                <c:formatCode>General</c:formatCode>
                <c:ptCount val="7"/>
                <c:pt idx="0">
                  <c:v>0.53350023020364823</c:v>
                </c:pt>
                <c:pt idx="1">
                  <c:v>0.10870363150360941</c:v>
                </c:pt>
                <c:pt idx="2">
                  <c:v>8.4392440544771713E-2</c:v>
                </c:pt>
                <c:pt idx="3">
                  <c:v>7.3832981536049877E-2</c:v>
                </c:pt>
                <c:pt idx="4">
                  <c:v>1.9001131217442947E-2</c:v>
                </c:pt>
                <c:pt idx="5">
                  <c:v>1.5974751162220101E-2</c:v>
                </c:pt>
                <c:pt idx="6">
                  <c:v>0.164594833832257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C$2:$C$8</c:f>
              <c:numCache>
                <c:formatCode>General</c:formatCode>
                <c:ptCount val="7"/>
                <c:pt idx="0">
                  <c:v>0.16990755498884288</c:v>
                </c:pt>
                <c:pt idx="1">
                  <c:v>9.3273828498565539E-2</c:v>
                </c:pt>
                <c:pt idx="2">
                  <c:v>0.11724577621931785</c:v>
                </c:pt>
                <c:pt idx="3">
                  <c:v>6.5986611412177251E-2</c:v>
                </c:pt>
                <c:pt idx="4">
                  <c:v>2.1613006056742115E-2</c:v>
                </c:pt>
                <c:pt idx="5">
                  <c:v>3.729678036340453E-2</c:v>
                </c:pt>
                <c:pt idx="6">
                  <c:v>0.4946764424609500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D$2:$D$8</c:f>
              <c:numCache>
                <c:formatCode>General</c:formatCode>
                <c:ptCount val="7"/>
                <c:pt idx="0">
                  <c:v>31.847700407549141</c:v>
                </c:pt>
                <c:pt idx="1">
                  <c:v>85.805623242189895</c:v>
                </c:pt>
                <c:pt idx="2">
                  <c:v>138.92923994432519</c:v>
                </c:pt>
                <c:pt idx="3">
                  <c:v>89.372811498826536</c:v>
                </c:pt>
                <c:pt idx="4">
                  <c:v>113.74589128094374</c:v>
                </c:pt>
                <c:pt idx="5">
                  <c:v>233.4733103800109</c:v>
                </c:pt>
                <c:pt idx="6">
                  <c:v>300.54190094756314</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B$2:$B$8</c:f>
              <c:numCache>
                <c:formatCode>General</c:formatCode>
                <c:ptCount val="7"/>
                <c:pt idx="0">
                  <c:v>0.53954172924579713</c:v>
                </c:pt>
                <c:pt idx="1">
                  <c:v>0.11080272875790807</c:v>
                </c:pt>
                <c:pt idx="2">
                  <c:v>0.10593684578473278</c:v>
                </c:pt>
                <c:pt idx="3">
                  <c:v>7.0405515639937744E-2</c:v>
                </c:pt>
                <c:pt idx="4">
                  <c:v>2.5817343510612142E-2</c:v>
                </c:pt>
                <c:pt idx="5">
                  <c:v>1.9006616505626392E-2</c:v>
                </c:pt>
                <c:pt idx="6">
                  <c:v>0.1284892205553857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C$2:$C$8</c:f>
              <c:numCache>
                <c:formatCode>General</c:formatCode>
                <c:ptCount val="7"/>
                <c:pt idx="0">
                  <c:v>0.19601108033240999</c:v>
                </c:pt>
                <c:pt idx="1">
                  <c:v>0.12332409972299166</c:v>
                </c:pt>
                <c:pt idx="2">
                  <c:v>0.12997229916897504</c:v>
                </c:pt>
                <c:pt idx="3">
                  <c:v>7.1578947368421048E-2</c:v>
                </c:pt>
                <c:pt idx="4">
                  <c:v>2.4265927977839333E-2</c:v>
                </c:pt>
                <c:pt idx="5">
                  <c:v>5.6177285318559547E-2</c:v>
                </c:pt>
                <c:pt idx="6">
                  <c:v>0.3986703601108033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Casa Azzurra</c:v>
                </c:pt>
                <c:pt idx="3">
                  <c:v>Salakis</c:v>
                </c:pt>
                <c:pt idx="4">
                  <c:v>Islos</c:v>
                </c:pt>
                <c:pt idx="5">
                  <c:v>Boursin</c:v>
                </c:pt>
                <c:pt idx="6">
                  <c:v>Others</c:v>
                </c:pt>
              </c:strCache>
            </c:strRef>
          </c:cat>
          <c:val>
            <c:numRef>
              <c:f>Sheet1!$D$2:$D$8</c:f>
              <c:numCache>
                <c:formatCode>General</c:formatCode>
                <c:ptCount val="7"/>
                <c:pt idx="0">
                  <c:v>36.329178950885911</c:v>
                </c:pt>
                <c:pt idx="1">
                  <c:v>111.30059801364769</c:v>
                </c:pt>
                <c:pt idx="2">
                  <c:v>122.68847369033726</c:v>
                </c:pt>
                <c:pt idx="3">
                  <c:v>101.66667585318794</c:v>
                </c:pt>
                <c:pt idx="4">
                  <c:v>93.990801059237157</c:v>
                </c:pt>
                <c:pt idx="5">
                  <c:v>295.56699532465331</c:v>
                </c:pt>
                <c:pt idx="6">
                  <c:v>310.2753354620553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Galbani</c:v>
                </c:pt>
                <c:pt idx="2">
                  <c:v>Salakis</c:v>
                </c:pt>
                <c:pt idx="3">
                  <c:v>Casa Azzurra</c:v>
                </c:pt>
                <c:pt idx="4">
                  <c:v>Boursin</c:v>
                </c:pt>
                <c:pt idx="5">
                  <c:v>Others</c:v>
                </c:pt>
              </c:strCache>
            </c:strRef>
          </c:cat>
          <c:val>
            <c:numRef>
              <c:f>Sheet1!$B$2:$B$7</c:f>
              <c:numCache>
                <c:formatCode>General</c:formatCode>
                <c:ptCount val="6"/>
                <c:pt idx="0">
                  <c:v>0.74871711217984238</c:v>
                </c:pt>
                <c:pt idx="1">
                  <c:v>7.6071849501999481E-2</c:v>
                </c:pt>
                <c:pt idx="2">
                  <c:v>5.064275017443616E-2</c:v>
                </c:pt>
                <c:pt idx="3">
                  <c:v>2.5364126662786955E-2</c:v>
                </c:pt>
                <c:pt idx="4">
                  <c:v>1.4245214183082704E-2</c:v>
                </c:pt>
                <c:pt idx="5">
                  <c:v>8.4958947297852305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Galbani</c:v>
                </c:pt>
                <c:pt idx="2">
                  <c:v>Salakis</c:v>
                </c:pt>
                <c:pt idx="3">
                  <c:v>Casa Azzurra</c:v>
                </c:pt>
                <c:pt idx="4">
                  <c:v>Boursin</c:v>
                </c:pt>
                <c:pt idx="5">
                  <c:v>Others</c:v>
                </c:pt>
              </c:strCache>
            </c:strRef>
          </c:cat>
          <c:val>
            <c:numRef>
              <c:f>Sheet1!$C$2:$C$7</c:f>
              <c:numCache>
                <c:formatCode>General</c:formatCode>
                <c:ptCount val="6"/>
                <c:pt idx="0">
                  <c:v>0.48145933014354064</c:v>
                </c:pt>
                <c:pt idx="1">
                  <c:v>9.330143540669858E-2</c:v>
                </c:pt>
                <c:pt idx="2">
                  <c:v>8.6722488038277534E-2</c:v>
                </c:pt>
                <c:pt idx="3">
                  <c:v>4.9641148325358854E-2</c:v>
                </c:pt>
                <c:pt idx="4">
                  <c:v>4.72488038277512E-2</c:v>
                </c:pt>
                <c:pt idx="5">
                  <c:v>0.24162679425837316</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Galbani</c:v>
                </c:pt>
                <c:pt idx="2">
                  <c:v>Salakis</c:v>
                </c:pt>
                <c:pt idx="3">
                  <c:v>Casa Azzurra</c:v>
                </c:pt>
                <c:pt idx="4">
                  <c:v>Boursin</c:v>
                </c:pt>
                <c:pt idx="5">
                  <c:v>Others</c:v>
                </c:pt>
              </c:strCache>
            </c:strRef>
          </c:cat>
          <c:val>
            <c:numRef>
              <c:f>Sheet1!$D$2:$D$7</c:f>
              <c:numCache>
                <c:formatCode>General</c:formatCode>
                <c:ptCount val="6"/>
                <c:pt idx="0">
                  <c:v>64.304571421080837</c:v>
                </c:pt>
                <c:pt idx="1">
                  <c:v>122.6490955819948</c:v>
                </c:pt>
                <c:pt idx="2">
                  <c:v>171.24363850613702</c:v>
                </c:pt>
                <c:pt idx="3">
                  <c:v>195.714005789878</c:v>
                </c:pt>
                <c:pt idx="4">
                  <c:v>331.68194749828905</c:v>
                </c:pt>
                <c:pt idx="5">
                  <c:v>284.4041763032547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B$2:$B$8</c:f>
              <c:numCache>
                <c:formatCode>General</c:formatCode>
                <c:ptCount val="7"/>
                <c:pt idx="0">
                  <c:v>0.5695265069023937</c:v>
                </c:pt>
                <c:pt idx="1">
                  <c:v>0.1922483555891045</c:v>
                </c:pt>
                <c:pt idx="2">
                  <c:v>8.5432256994114122E-2</c:v>
                </c:pt>
                <c:pt idx="3">
                  <c:v>6.1052012923676825E-2</c:v>
                </c:pt>
                <c:pt idx="4">
                  <c:v>2.4257274299552198E-2</c:v>
                </c:pt>
                <c:pt idx="5">
                  <c:v>1.5302594405321522E-2</c:v>
                </c:pt>
                <c:pt idx="6">
                  <c:v>5.2180998885837104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C$2:$C$8</c:f>
              <c:numCache>
                <c:formatCode>General</c:formatCode>
                <c:ptCount val="7"/>
                <c:pt idx="0">
                  <c:v>0.29770361804064105</c:v>
                </c:pt>
                <c:pt idx="1">
                  <c:v>0.19031885015694697</c:v>
                </c:pt>
                <c:pt idx="2">
                  <c:v>0.10375020650916901</c:v>
                </c:pt>
                <c:pt idx="3">
                  <c:v>0.1242359160746737</c:v>
                </c:pt>
                <c:pt idx="4">
                  <c:v>3.684123575086734E-2</c:v>
                </c:pt>
                <c:pt idx="5">
                  <c:v>7.6325788865025612E-2</c:v>
                </c:pt>
                <c:pt idx="6">
                  <c:v>0.1708243846026763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D$2:$D$8</c:f>
              <c:numCache>
                <c:formatCode>General</c:formatCode>
                <c:ptCount val="7"/>
                <c:pt idx="0">
                  <c:v>52.272126833889743</c:v>
                </c:pt>
                <c:pt idx="1">
                  <c:v>98.996347497358315</c:v>
                </c:pt>
                <c:pt idx="2">
                  <c:v>121.44149078996813</c:v>
                </c:pt>
                <c:pt idx="3">
                  <c:v>203.49192454962167</c:v>
                </c:pt>
                <c:pt idx="4">
                  <c:v>151.87706292106961</c:v>
                </c:pt>
                <c:pt idx="5">
                  <c:v>498.77678806204972</c:v>
                </c:pt>
                <c:pt idx="6">
                  <c:v>327.3689431979065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B$2:$B$8</c:f>
              <c:numCache>
                <c:formatCode>General</c:formatCode>
                <c:ptCount val="7"/>
                <c:pt idx="0">
                  <c:v>0.51182329765431012</c:v>
                </c:pt>
                <c:pt idx="1">
                  <c:v>0.20137045843653895</c:v>
                </c:pt>
                <c:pt idx="2">
                  <c:v>9.5041590398001655E-2</c:v>
                </c:pt>
                <c:pt idx="3">
                  <c:v>8.008987582951263E-2</c:v>
                </c:pt>
                <c:pt idx="4">
                  <c:v>2.6125679968292806E-2</c:v>
                </c:pt>
                <c:pt idx="5">
                  <c:v>1.6288697837481412E-2</c:v>
                </c:pt>
                <c:pt idx="6">
                  <c:v>6.9260399875862397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C$2:$C$8</c:f>
              <c:numCache>
                <c:formatCode>General</c:formatCode>
                <c:ptCount val="7"/>
                <c:pt idx="0">
                  <c:v>0.25729372937293743</c:v>
                </c:pt>
                <c:pt idx="1">
                  <c:v>0.18468646864686475</c:v>
                </c:pt>
                <c:pt idx="2">
                  <c:v>9.7821782178217867E-2</c:v>
                </c:pt>
                <c:pt idx="3">
                  <c:v>0.12039603960396045</c:v>
                </c:pt>
                <c:pt idx="4">
                  <c:v>3.4191419141914203E-2</c:v>
                </c:pt>
                <c:pt idx="5">
                  <c:v>7.353135313531356E-2</c:v>
                </c:pt>
                <c:pt idx="6">
                  <c:v>0.2320792079207921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D$2:$D$8</c:f>
              <c:numCache>
                <c:formatCode>General</c:formatCode>
                <c:ptCount val="7"/>
                <c:pt idx="0">
                  <c:v>50.270030800105516</c:v>
                </c:pt>
                <c:pt idx="1">
                  <c:v>91.714777868009818</c:v>
                </c:pt>
                <c:pt idx="2">
                  <c:v>102.92523701315784</c:v>
                </c:pt>
                <c:pt idx="3">
                  <c:v>150.3261658942356</c:v>
                </c:pt>
                <c:pt idx="4">
                  <c:v>130.87283922719067</c:v>
                </c:pt>
                <c:pt idx="5">
                  <c:v>451.42560730737404</c:v>
                </c:pt>
                <c:pt idx="6">
                  <c:v>335.08210801086193</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B$2:$B$8</c:f>
              <c:numCache>
                <c:formatCode>General</c:formatCode>
                <c:ptCount val="7"/>
                <c:pt idx="0">
                  <c:v>0.63587410986236903</c:v>
                </c:pt>
                <c:pt idx="1">
                  <c:v>0.1711809120297873</c:v>
                </c:pt>
                <c:pt idx="2">
                  <c:v>7.4444436198293537E-2</c:v>
                </c:pt>
                <c:pt idx="3">
                  <c:v>3.4547194233411696E-2</c:v>
                </c:pt>
                <c:pt idx="4">
                  <c:v>1.8565384142816738E-2</c:v>
                </c:pt>
                <c:pt idx="5">
                  <c:v>9.8024194756492541E-3</c:v>
                </c:pt>
                <c:pt idx="6">
                  <c:v>5.5585544057672479E-2</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C$2:$C$8</c:f>
              <c:numCache>
                <c:formatCode>General</c:formatCode>
                <c:ptCount val="7"/>
                <c:pt idx="0">
                  <c:v>0.38410757946210261</c:v>
                </c:pt>
                <c:pt idx="1">
                  <c:v>0.19144254278728604</c:v>
                </c:pt>
                <c:pt idx="2">
                  <c:v>0.10611246943765279</c:v>
                </c:pt>
                <c:pt idx="3">
                  <c:v>9.4621026894865512E-2</c:v>
                </c:pt>
                <c:pt idx="4">
                  <c:v>2.4694376528117356E-2</c:v>
                </c:pt>
                <c:pt idx="5">
                  <c:v>6.3080684596576994E-2</c:v>
                </c:pt>
                <c:pt idx="6">
                  <c:v>0.13594132029339845</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Galbani</c:v>
                </c:pt>
                <c:pt idx="2">
                  <c:v>Salakis</c:v>
                </c:pt>
                <c:pt idx="3">
                  <c:v>Casa Azzurra</c:v>
                </c:pt>
                <c:pt idx="4">
                  <c:v>Islos</c:v>
                </c:pt>
                <c:pt idx="5">
                  <c:v>Boursin</c:v>
                </c:pt>
                <c:pt idx="6">
                  <c:v>Others</c:v>
                </c:pt>
              </c:strCache>
            </c:strRef>
          </c:cat>
          <c:val>
            <c:numRef>
              <c:f>Sheet1!$D$2:$D$8</c:f>
              <c:numCache>
                <c:formatCode>General</c:formatCode>
                <c:ptCount val="7"/>
                <c:pt idx="0">
                  <c:v>60.40623033783217</c:v>
                </c:pt>
                <c:pt idx="1">
                  <c:v>111.836384394291</c:v>
                </c:pt>
                <c:pt idx="2">
                  <c:v>142.53915383952517</c:v>
                </c:pt>
                <c:pt idx="3">
                  <c:v>273.88917969886683</c:v>
                </c:pt>
                <c:pt idx="4">
                  <c:v>133.01301140958094</c:v>
                </c:pt>
                <c:pt idx="5">
                  <c:v>643.52157906809953</c:v>
                </c:pt>
                <c:pt idx="6">
                  <c:v>244.56236346693535</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547</c:f>
              <c:strCache>
                <c:ptCount val="3546"/>
                <c:pt idx="0">
                  <c:v>Private Lab</c:v>
                </c:pt>
                <c:pt idx="1">
                  <c:v>Caprice Des</c:v>
                </c:pt>
                <c:pt idx="2">
                  <c:v>Private Lab</c:v>
                </c:pt>
                <c:pt idx="3">
                  <c:v>Private Lab</c:v>
                </c:pt>
                <c:pt idx="4">
                  <c:v>Private Lab</c:v>
                </c:pt>
                <c:pt idx="5">
                  <c:v>La Vache Qu</c:v>
                </c:pt>
                <c:pt idx="6">
                  <c:v>Coeur De Li</c:v>
                </c:pt>
                <c:pt idx="7">
                  <c:v>Private Lab</c:v>
                </c:pt>
                <c:pt idx="8">
                  <c:v>Private Lab</c:v>
                </c:pt>
                <c:pt idx="9">
                  <c:v>Private Lab</c:v>
                </c:pt>
                <c:pt idx="10">
                  <c:v>Caprice Des</c:v>
                </c:pt>
                <c:pt idx="11">
                  <c:v>Soignon</c:v>
                </c:pt>
                <c:pt idx="12">
                  <c:v>President</c:v>
                </c:pt>
                <c:pt idx="13">
                  <c:v>Private Lab</c:v>
                </c:pt>
                <c:pt idx="14">
                  <c:v>Private Lab</c:v>
                </c:pt>
                <c:pt idx="15">
                  <c:v>Mini Babybe</c:v>
                </c:pt>
                <c:pt idx="16">
                  <c:v>Private Lab</c:v>
                </c:pt>
                <c:pt idx="17">
                  <c:v>Private Lab</c:v>
                </c:pt>
                <c:pt idx="18">
                  <c:v>Le Rustique</c:v>
                </c:pt>
                <c:pt idx="19">
                  <c:v>Coeur De Li</c:v>
                </c:pt>
                <c:pt idx="20">
                  <c:v>Galbani</c:v>
                </c:pt>
                <c:pt idx="21">
                  <c:v>Mini Babybe</c:v>
                </c:pt>
                <c:pt idx="22">
                  <c:v>Soignon</c:v>
                </c:pt>
                <c:pt idx="23">
                  <c:v>St Moret</c:v>
                </c:pt>
                <c:pt idx="24">
                  <c:v>La Vache Qu</c:v>
                </c:pt>
                <c:pt idx="25">
                  <c:v>La Vache Qu</c:v>
                </c:pt>
                <c:pt idx="26">
                  <c:v>Private Lab</c:v>
                </c:pt>
                <c:pt idx="27">
                  <c:v>Kiri</c:v>
                </c:pt>
                <c:pt idx="28">
                  <c:v>Private Lab</c:v>
                </c:pt>
                <c:pt idx="29">
                  <c:v>Private Lab</c:v>
                </c:pt>
                <c:pt idx="30">
                  <c:v>President</c:v>
                </c:pt>
                <c:pt idx="31">
                  <c:v>Tartare</c:v>
                </c:pt>
                <c:pt idx="32">
                  <c:v>Salakis</c:v>
                </c:pt>
                <c:pt idx="33">
                  <c:v>St Moret</c:v>
                </c:pt>
                <c:pt idx="34">
                  <c:v>President</c:v>
                </c:pt>
                <c:pt idx="35">
                  <c:v>Paysan Bret</c:v>
                </c:pt>
                <c:pt idx="36">
                  <c:v>President</c:v>
                </c:pt>
                <c:pt idx="37">
                  <c:v>Kiri</c:v>
                </c:pt>
                <c:pt idx="38">
                  <c:v>St Moret</c:v>
                </c:pt>
                <c:pt idx="39">
                  <c:v>All Others</c:v>
                </c:pt>
                <c:pt idx="40">
                  <c:v>Private Lab</c:v>
                </c:pt>
                <c:pt idx="41">
                  <c:v>Soignon</c:v>
                </c:pt>
                <c:pt idx="42">
                  <c:v>Apericube</c:v>
                </c:pt>
                <c:pt idx="43">
                  <c:v>Private Lab</c:v>
                </c:pt>
                <c:pt idx="44">
                  <c:v>Private Lab</c:v>
                </c:pt>
                <c:pt idx="45">
                  <c:v>Ficello</c:v>
                </c:pt>
                <c:pt idx="46">
                  <c:v>Richesmonts</c:v>
                </c:pt>
                <c:pt idx="47">
                  <c:v>Private Lab</c:v>
                </c:pt>
                <c:pt idx="48">
                  <c:v>Private Lab</c:v>
                </c:pt>
                <c:pt idx="49">
                  <c:v>Chaussee Au</c:v>
                </c:pt>
                <c:pt idx="50">
                  <c:v>Philadelphi</c:v>
                </c:pt>
                <c:pt idx="51">
                  <c:v>President</c:v>
                </c:pt>
                <c:pt idx="52">
                  <c:v>Private Lab</c:v>
                </c:pt>
                <c:pt idx="53">
                  <c:v>Kiri</c:v>
                </c:pt>
                <c:pt idx="54">
                  <c:v>Carre Frais</c:v>
                </c:pt>
                <c:pt idx="55">
                  <c:v>Apericube</c:v>
                </c:pt>
                <c:pt idx="56">
                  <c:v>Carre Frais</c:v>
                </c:pt>
                <c:pt idx="57">
                  <c:v>Paysan Bret</c:v>
                </c:pt>
                <c:pt idx="58">
                  <c:v>Boursin</c:v>
                </c:pt>
                <c:pt idx="59">
                  <c:v>Petit Billy</c:v>
                </c:pt>
                <c:pt idx="60">
                  <c:v>Boursin</c:v>
                </c:pt>
                <c:pt idx="61">
                  <c:v>Private Lab</c:v>
                </c:pt>
                <c:pt idx="62">
                  <c:v>Islos</c:v>
                </c:pt>
                <c:pt idx="63">
                  <c:v>Kiri</c:v>
                </c:pt>
                <c:pt idx="64">
                  <c:v>Private Lab</c:v>
                </c:pt>
                <c:pt idx="65">
                  <c:v>Private Lab</c:v>
                </c:pt>
                <c:pt idx="66">
                  <c:v>Private Lab</c:v>
                </c:pt>
                <c:pt idx="67">
                  <c:v>Lepetit</c:v>
                </c:pt>
                <c:pt idx="68">
                  <c:v>President</c:v>
                </c:pt>
                <c:pt idx="69">
                  <c:v>Private Lab</c:v>
                </c:pt>
                <c:pt idx="70">
                  <c:v>Ficello</c:v>
                </c:pt>
                <c:pt idx="71">
                  <c:v>Societe</c:v>
                </c:pt>
                <c:pt idx="72">
                  <c:v>Private Lab</c:v>
                </c:pt>
                <c:pt idx="73">
                  <c:v>Apericube</c:v>
                </c:pt>
                <c:pt idx="74">
                  <c:v>Leerdammer</c:v>
                </c:pt>
                <c:pt idx="75">
                  <c:v>Philadelphi</c:v>
                </c:pt>
                <c:pt idx="76">
                  <c:v>Private Lab</c:v>
                </c:pt>
                <c:pt idx="77">
                  <c:v>Istara</c:v>
                </c:pt>
                <c:pt idx="78">
                  <c:v>St Moret</c:v>
                </c:pt>
                <c:pt idx="79">
                  <c:v>Caprice Des</c:v>
                </c:pt>
                <c:pt idx="80">
                  <c:v>Coeur De Li</c:v>
                </c:pt>
                <c:pt idx="81">
                  <c:v>Private Lab</c:v>
                </c:pt>
                <c:pt idx="82">
                  <c:v>Private Lab</c:v>
                </c:pt>
                <c:pt idx="83">
                  <c:v>Entremont</c:v>
                </c:pt>
                <c:pt idx="84">
                  <c:v>Private Lab</c:v>
                </c:pt>
                <c:pt idx="85">
                  <c:v>All Others</c:v>
                </c:pt>
                <c:pt idx="86">
                  <c:v>St Moret</c:v>
                </c:pt>
                <c:pt idx="87">
                  <c:v>Private Lab</c:v>
                </c:pt>
                <c:pt idx="88">
                  <c:v>Private Lab</c:v>
                </c:pt>
                <c:pt idx="89">
                  <c:v>Galbani</c:v>
                </c:pt>
                <c:pt idx="90">
                  <c:v>Entremont</c:v>
                </c:pt>
                <c:pt idx="91">
                  <c:v>Lou Perac</c:v>
                </c:pt>
                <c:pt idx="92">
                  <c:v>Salakis</c:v>
                </c:pt>
                <c:pt idx="93">
                  <c:v>Private Lab</c:v>
                </c:pt>
                <c:pt idx="94">
                  <c:v>Soignon</c:v>
                </c:pt>
                <c:pt idx="95">
                  <c:v>All Others</c:v>
                </c:pt>
                <c:pt idx="96">
                  <c:v>Private Lab</c:v>
                </c:pt>
                <c:pt idx="97">
                  <c:v>Boursin</c:v>
                </c:pt>
                <c:pt idx="98">
                  <c:v>Galbani</c:v>
                </c:pt>
                <c:pt idx="99">
                  <c:v>President</c:v>
                </c:pt>
                <c:pt idx="100">
                  <c:v>Casa Azzurr</c:v>
                </c:pt>
                <c:pt idx="101">
                  <c:v>Private Lab</c:v>
                </c:pt>
                <c:pt idx="102">
                  <c:v>Private Lab</c:v>
                </c:pt>
                <c:pt idx="103">
                  <c:v>Tartare</c:v>
                </c:pt>
                <c:pt idx="104">
                  <c:v>Juraflore</c:v>
                </c:pt>
                <c:pt idx="105">
                  <c:v>Private Lab</c:v>
                </c:pt>
                <c:pt idx="106">
                  <c:v>All Others</c:v>
                </c:pt>
                <c:pt idx="107">
                  <c:v>Private Lab</c:v>
                </c:pt>
                <c:pt idx="108">
                  <c:v>Soignon</c:v>
                </c:pt>
                <c:pt idx="109">
                  <c:v>Private Lab</c:v>
                </c:pt>
                <c:pt idx="110">
                  <c:v>Private Lab</c:v>
                </c:pt>
                <c:pt idx="111">
                  <c:v>Tartare</c:v>
                </c:pt>
                <c:pt idx="112">
                  <c:v>President</c:v>
                </c:pt>
                <c:pt idx="113">
                  <c:v>Private Lab</c:v>
                </c:pt>
                <c:pt idx="114">
                  <c:v>Aperivrais</c:v>
                </c:pt>
                <c:pt idx="115">
                  <c:v>Saint Agur</c:v>
                </c:pt>
                <c:pt idx="116">
                  <c:v>Le Brebiou</c:v>
                </c:pt>
                <c:pt idx="117">
                  <c:v>Private Lab</c:v>
                </c:pt>
                <c:pt idx="118">
                  <c:v>Private Lab</c:v>
                </c:pt>
                <c:pt idx="119">
                  <c:v>President</c:v>
                </c:pt>
                <c:pt idx="120">
                  <c:v>Boursin</c:v>
                </c:pt>
                <c:pt idx="121">
                  <c:v>Private Lab</c:v>
                </c:pt>
                <c:pt idx="122">
                  <c:v>Private Lab</c:v>
                </c:pt>
                <c:pt idx="123">
                  <c:v>Coeur De Li</c:v>
                </c:pt>
                <c:pt idx="124">
                  <c:v>Etorki</c:v>
                </c:pt>
                <c:pt idx="125">
                  <c:v>President</c:v>
                </c:pt>
                <c:pt idx="126">
                  <c:v>Casa Azzurr</c:v>
                </c:pt>
                <c:pt idx="127">
                  <c:v>President</c:v>
                </c:pt>
                <c:pt idx="128">
                  <c:v>St Moret</c:v>
                </c:pt>
                <c:pt idx="129">
                  <c:v>St Moret</c:v>
                </c:pt>
                <c:pt idx="130">
                  <c:v>Galbani</c:v>
                </c:pt>
                <c:pt idx="131">
                  <c:v>Boursin</c:v>
                </c:pt>
                <c:pt idx="132">
                  <c:v>Entremont</c:v>
                </c:pt>
                <c:pt idx="133">
                  <c:v>President</c:v>
                </c:pt>
                <c:pt idx="134">
                  <c:v>Richesmonts</c:v>
                </c:pt>
                <c:pt idx="135">
                  <c:v>All Others</c:v>
                </c:pt>
                <c:pt idx="136">
                  <c:v>President</c:v>
                </c:pt>
                <c:pt idx="137">
                  <c:v>Richesmonts</c:v>
                </c:pt>
                <c:pt idx="138">
                  <c:v>Entremont</c:v>
                </c:pt>
                <c:pt idx="139">
                  <c:v>Paysan Bret</c:v>
                </c:pt>
                <c:pt idx="140">
                  <c:v>St Moret</c:v>
                </c:pt>
                <c:pt idx="141">
                  <c:v>Private Lab</c:v>
                </c:pt>
                <c:pt idx="142">
                  <c:v>Private Lab</c:v>
                </c:pt>
                <c:pt idx="143">
                  <c:v>Aperivrais</c:v>
                </c:pt>
                <c:pt idx="144">
                  <c:v>Casa Azzurr</c:v>
                </c:pt>
                <c:pt idx="145">
                  <c:v>Chavroux</c:v>
                </c:pt>
                <c:pt idx="146">
                  <c:v>Private Lab</c:v>
                </c:pt>
                <c:pt idx="147">
                  <c:v>Kiri</c:v>
                </c:pt>
                <c:pt idx="148">
                  <c:v>Paysan Bret</c:v>
                </c:pt>
                <c:pt idx="149">
                  <c:v>L'Ortolan</c:v>
                </c:pt>
                <c:pt idx="150">
                  <c:v>All Others</c:v>
                </c:pt>
                <c:pt idx="151">
                  <c:v>Chaussee Au</c:v>
                </c:pt>
                <c:pt idx="152">
                  <c:v>Private Lab</c:v>
                </c:pt>
                <c:pt idx="153">
                  <c:v>Pochat</c:v>
                </c:pt>
                <c:pt idx="154">
                  <c:v>Apericube</c:v>
                </c:pt>
                <c:pt idx="155">
                  <c:v>La Vache Qu</c:v>
                </c:pt>
                <c:pt idx="156">
                  <c:v>Casa Azzurr</c:v>
                </c:pt>
                <c:pt idx="157">
                  <c:v>All Others</c:v>
                </c:pt>
                <c:pt idx="158">
                  <c:v>Saint Albra</c:v>
                </c:pt>
                <c:pt idx="159">
                  <c:v>Private Lab</c:v>
                </c:pt>
                <c:pt idx="160">
                  <c:v>Entremont</c:v>
                </c:pt>
                <c:pt idx="161">
                  <c:v>Private Lab</c:v>
                </c:pt>
                <c:pt idx="162">
                  <c:v>St Moret</c:v>
                </c:pt>
                <c:pt idx="163">
                  <c:v>Mini Babybe</c:v>
                </c:pt>
                <c:pt idx="164">
                  <c:v>President</c:v>
                </c:pt>
                <c:pt idx="165">
                  <c:v>Apericube</c:v>
                </c:pt>
                <c:pt idx="166">
                  <c:v>Private Lab</c:v>
                </c:pt>
                <c:pt idx="167">
                  <c:v>Private Lab</c:v>
                </c:pt>
                <c:pt idx="168">
                  <c:v>President</c:v>
                </c:pt>
                <c:pt idx="169">
                  <c:v>Soignon</c:v>
                </c:pt>
                <c:pt idx="170">
                  <c:v>Private Lab</c:v>
                </c:pt>
                <c:pt idx="171">
                  <c:v>Private Lab</c:v>
                </c:pt>
                <c:pt idx="172">
                  <c:v>President</c:v>
                </c:pt>
                <c:pt idx="173">
                  <c:v>Private Lab</c:v>
                </c:pt>
                <c:pt idx="174">
                  <c:v>Apericube</c:v>
                </c:pt>
                <c:pt idx="175">
                  <c:v>La Vache Qu</c:v>
                </c:pt>
                <c:pt idx="176">
                  <c:v>Private Lab</c:v>
                </c:pt>
                <c:pt idx="177">
                  <c:v>Le Rustique</c:v>
                </c:pt>
                <c:pt idx="178">
                  <c:v>Entremont</c:v>
                </c:pt>
                <c:pt idx="179">
                  <c:v>Private Lab</c:v>
                </c:pt>
                <c:pt idx="180">
                  <c:v>Mini Babybe</c:v>
                </c:pt>
                <c:pt idx="181">
                  <c:v>Istara</c:v>
                </c:pt>
                <c:pt idx="182">
                  <c:v>Private Lab</c:v>
                </c:pt>
                <c:pt idx="183">
                  <c:v>Private Lab</c:v>
                </c:pt>
                <c:pt idx="184">
                  <c:v>Private Lab</c:v>
                </c:pt>
                <c:pt idx="185">
                  <c:v>President</c:v>
                </c:pt>
                <c:pt idx="186">
                  <c:v>Salakis</c:v>
                </c:pt>
                <c:pt idx="187">
                  <c:v>Private Lab</c:v>
                </c:pt>
                <c:pt idx="188">
                  <c:v>Casa Azzurr</c:v>
                </c:pt>
                <c:pt idx="189">
                  <c:v>Private Lab</c:v>
                </c:pt>
                <c:pt idx="190">
                  <c:v>Private Lab</c:v>
                </c:pt>
                <c:pt idx="191">
                  <c:v>Private Lab</c:v>
                </c:pt>
                <c:pt idx="192">
                  <c:v>Private Lab</c:v>
                </c:pt>
                <c:pt idx="193">
                  <c:v>Leerdammer</c:v>
                </c:pt>
                <c:pt idx="194">
                  <c:v>Richesmonts</c:v>
                </c:pt>
                <c:pt idx="195">
                  <c:v>La Vache Qu</c:v>
                </c:pt>
                <c:pt idx="196">
                  <c:v>Coeur De Li</c:v>
                </c:pt>
                <c:pt idx="197">
                  <c:v>Richesmonts</c:v>
                </c:pt>
                <c:pt idx="198">
                  <c:v>Casa Azzurr</c:v>
                </c:pt>
                <c:pt idx="199">
                  <c:v>Lactalis: A</c:v>
                </c:pt>
                <c:pt idx="200">
                  <c:v>President</c:v>
                </c:pt>
                <c:pt idx="201">
                  <c:v>Leerdammer</c:v>
                </c:pt>
                <c:pt idx="202">
                  <c:v>Lactalis: A</c:v>
                </c:pt>
                <c:pt idx="203">
                  <c:v>Private Lab</c:v>
                </c:pt>
                <c:pt idx="204">
                  <c:v>Private Lab</c:v>
                </c:pt>
                <c:pt idx="205">
                  <c:v>Casa Azzurr</c:v>
                </c:pt>
                <c:pt idx="206">
                  <c:v>All Others</c:v>
                </c:pt>
                <c:pt idx="207">
                  <c:v>Caprice Des</c:v>
                </c:pt>
                <c:pt idx="208">
                  <c:v>Leerdammer</c:v>
                </c:pt>
                <c:pt idx="209">
                  <c:v>Private Lab</c:v>
                </c:pt>
                <c:pt idx="210">
                  <c:v>Saint Agur</c:v>
                </c:pt>
                <c:pt idx="211">
                  <c:v>Private Lab</c:v>
                </c:pt>
                <c:pt idx="212">
                  <c:v>All Others</c:v>
                </c:pt>
                <c:pt idx="213">
                  <c:v>Casa Azzurr</c:v>
                </c:pt>
                <c:pt idx="214">
                  <c:v>Lactalis: A</c:v>
                </c:pt>
                <c:pt idx="215">
                  <c:v>Private Lab</c:v>
                </c:pt>
                <c:pt idx="216">
                  <c:v>Bresse Bleu</c:v>
                </c:pt>
                <c:pt idx="217">
                  <c:v>Private Lab</c:v>
                </c:pt>
                <c:pt idx="218">
                  <c:v>Private Lab</c:v>
                </c:pt>
                <c:pt idx="219">
                  <c:v>Soignon</c:v>
                </c:pt>
                <c:pt idx="220">
                  <c:v>President</c:v>
                </c:pt>
                <c:pt idx="221">
                  <c:v>Private Lab</c:v>
                </c:pt>
                <c:pt idx="222">
                  <c:v>Kiri</c:v>
                </c:pt>
                <c:pt idx="223">
                  <c:v>Le Rustique</c:v>
                </c:pt>
                <c:pt idx="224">
                  <c:v>Salakis</c:v>
                </c:pt>
                <c:pt idx="225">
                  <c:v>Richesmonts</c:v>
                </c:pt>
                <c:pt idx="226">
                  <c:v>All Others</c:v>
                </c:pt>
                <c:pt idx="227">
                  <c:v>Lou Perac</c:v>
                </c:pt>
                <c:pt idx="228">
                  <c:v>Casa Azzurr</c:v>
                </c:pt>
                <c:pt idx="229">
                  <c:v>Private Lab</c:v>
                </c:pt>
                <c:pt idx="230">
                  <c:v>All Others</c:v>
                </c:pt>
                <c:pt idx="231">
                  <c:v>Leerdammer</c:v>
                </c:pt>
                <c:pt idx="232">
                  <c:v>Entremont</c:v>
                </c:pt>
                <c:pt idx="233">
                  <c:v>Private Lab</c:v>
                </c:pt>
                <c:pt idx="234">
                  <c:v>Tartare</c:v>
                </c:pt>
                <c:pt idx="235">
                  <c:v>Private Lab</c:v>
                </c:pt>
                <c:pt idx="236">
                  <c:v>Private Lab</c:v>
                </c:pt>
                <c:pt idx="237">
                  <c:v>Apericube</c:v>
                </c:pt>
                <c:pt idx="238">
                  <c:v>Parmareggio</c:v>
                </c:pt>
                <c:pt idx="239">
                  <c:v>Entremont</c:v>
                </c:pt>
                <c:pt idx="240">
                  <c:v>Leerdammer</c:v>
                </c:pt>
                <c:pt idx="241">
                  <c:v>Private Lab</c:v>
                </c:pt>
                <c:pt idx="242">
                  <c:v>Private Lab</c:v>
                </c:pt>
                <c:pt idx="243">
                  <c:v>Le Rustique</c:v>
                </c:pt>
                <c:pt idx="244">
                  <c:v>Private Lab</c:v>
                </c:pt>
                <c:pt idx="245">
                  <c:v>President</c:v>
                </c:pt>
                <c:pt idx="246">
                  <c:v>Saint Agur</c:v>
                </c:pt>
                <c:pt idx="247">
                  <c:v>Entremont</c:v>
                </c:pt>
                <c:pt idx="248">
                  <c:v>Babybel</c:v>
                </c:pt>
                <c:pt idx="249">
                  <c:v>President</c:v>
                </c:pt>
                <c:pt idx="250">
                  <c:v>Paysan Bret</c:v>
                </c:pt>
                <c:pt idx="251">
                  <c:v>P'Tit Louis</c:v>
                </c:pt>
                <c:pt idx="252">
                  <c:v>All Others</c:v>
                </c:pt>
                <c:pt idx="253">
                  <c:v>Galbani</c:v>
                </c:pt>
                <c:pt idx="254">
                  <c:v>Private Lab</c:v>
                </c:pt>
                <c:pt idx="255">
                  <c:v>Entremont</c:v>
                </c:pt>
                <c:pt idx="256">
                  <c:v>Carre Frais</c:v>
                </c:pt>
                <c:pt idx="257">
                  <c:v>Philadelphi</c:v>
                </c:pt>
                <c:pt idx="258">
                  <c:v>Boursin</c:v>
                </c:pt>
                <c:pt idx="259">
                  <c:v>Private Lab</c:v>
                </c:pt>
                <c:pt idx="260">
                  <c:v>Mini Babybe</c:v>
                </c:pt>
                <c:pt idx="261">
                  <c:v>Private Lab</c:v>
                </c:pt>
                <c:pt idx="262">
                  <c:v>Private Lab</c:v>
                </c:pt>
                <c:pt idx="263">
                  <c:v>Richesmonts</c:v>
                </c:pt>
                <c:pt idx="264">
                  <c:v>Private Lab</c:v>
                </c:pt>
                <c:pt idx="265">
                  <c:v>Chavroux</c:v>
                </c:pt>
                <c:pt idx="266">
                  <c:v>Private Lab</c:v>
                </c:pt>
                <c:pt idx="267">
                  <c:v>Private Lab</c:v>
                </c:pt>
                <c:pt idx="268">
                  <c:v>Paysan Bret</c:v>
                </c:pt>
                <c:pt idx="269">
                  <c:v>Boursin</c:v>
                </c:pt>
                <c:pt idx="270">
                  <c:v>All Others</c:v>
                </c:pt>
                <c:pt idx="271">
                  <c:v>Soignon</c:v>
                </c:pt>
                <c:pt idx="272">
                  <c:v>Rondele</c:v>
                </c:pt>
                <c:pt idx="273">
                  <c:v>Private Lab</c:v>
                </c:pt>
                <c:pt idx="274">
                  <c:v>Private Lab</c:v>
                </c:pt>
                <c:pt idx="275">
                  <c:v>Saint Agur</c:v>
                </c:pt>
                <c:pt idx="276">
                  <c:v>Galbani</c:v>
                </c:pt>
                <c:pt idx="277">
                  <c:v>Entremont</c:v>
                </c:pt>
                <c:pt idx="278">
                  <c:v>Private Lab</c:v>
                </c:pt>
                <c:pt idx="279">
                  <c:v>Fol Epi</c:v>
                </c:pt>
                <c:pt idx="280">
                  <c:v>Private Lab</c:v>
                </c:pt>
                <c:pt idx="281">
                  <c:v>All Others</c:v>
                </c:pt>
                <c:pt idx="282">
                  <c:v>All Others</c:v>
                </c:pt>
                <c:pt idx="283">
                  <c:v>Private Lab</c:v>
                </c:pt>
                <c:pt idx="284">
                  <c:v>Private Lab</c:v>
                </c:pt>
                <c:pt idx="285">
                  <c:v>Port Salut</c:v>
                </c:pt>
                <c:pt idx="286">
                  <c:v>Private Lab</c:v>
                </c:pt>
                <c:pt idx="287">
                  <c:v>Private Lab</c:v>
                </c:pt>
                <c:pt idx="288">
                  <c:v>All Others</c:v>
                </c:pt>
                <c:pt idx="289">
                  <c:v>Societe</c:v>
                </c:pt>
                <c:pt idx="290">
                  <c:v>All Others</c:v>
                </c:pt>
                <c:pt idx="291">
                  <c:v>Salakis</c:v>
                </c:pt>
                <c:pt idx="292">
                  <c:v>Private Lab</c:v>
                </c:pt>
                <c:pt idx="293">
                  <c:v>Apericube</c:v>
                </c:pt>
                <c:pt idx="294">
                  <c:v>All Others</c:v>
                </c:pt>
                <c:pt idx="295">
                  <c:v>Savencia: A</c:v>
                </c:pt>
                <c:pt idx="296">
                  <c:v>Soignon</c:v>
                </c:pt>
                <c:pt idx="297">
                  <c:v>Private Lab</c:v>
                </c:pt>
                <c:pt idx="298">
                  <c:v>Apericube</c:v>
                </c:pt>
                <c:pt idx="299">
                  <c:v>Pochat</c:v>
                </c:pt>
                <c:pt idx="300">
                  <c:v>Private Lab</c:v>
                </c:pt>
                <c:pt idx="301">
                  <c:v>Lactalis: A</c:v>
                </c:pt>
                <c:pt idx="302">
                  <c:v>All Others</c:v>
                </c:pt>
                <c:pt idx="303">
                  <c:v>Apericube</c:v>
                </c:pt>
                <c:pt idx="304">
                  <c:v>Mini Babybe</c:v>
                </c:pt>
                <c:pt idx="305">
                  <c:v>L'Ortolan</c:v>
                </c:pt>
                <c:pt idx="306">
                  <c:v>Soignon</c:v>
                </c:pt>
                <c:pt idx="307">
                  <c:v>Private Lab</c:v>
                </c:pt>
                <c:pt idx="308">
                  <c:v>Savencia: A</c:v>
                </c:pt>
                <c:pt idx="309">
                  <c:v>All Others</c:v>
                </c:pt>
                <c:pt idx="310">
                  <c:v>Richesmonts</c:v>
                </c:pt>
                <c:pt idx="311">
                  <c:v>President</c:v>
                </c:pt>
                <c:pt idx="312">
                  <c:v>All Others</c:v>
                </c:pt>
                <c:pt idx="313">
                  <c:v>La Vache Qu</c:v>
                </c:pt>
                <c:pt idx="314">
                  <c:v>Salakis</c:v>
                </c:pt>
                <c:pt idx="315">
                  <c:v>All Others</c:v>
                </c:pt>
                <c:pt idx="316">
                  <c:v>All Others</c:v>
                </c:pt>
                <c:pt idx="317">
                  <c:v>All Others</c:v>
                </c:pt>
                <c:pt idx="318">
                  <c:v>Soignon</c:v>
                </c:pt>
                <c:pt idx="319">
                  <c:v>Galbani</c:v>
                </c:pt>
                <c:pt idx="320">
                  <c:v>Bresse Bleu</c:v>
                </c:pt>
                <c:pt idx="321">
                  <c:v>All Others</c:v>
                </c:pt>
                <c:pt idx="322">
                  <c:v>Private Lab</c:v>
                </c:pt>
                <c:pt idx="323">
                  <c:v>Galbani</c:v>
                </c:pt>
                <c:pt idx="324">
                  <c:v>Paysan Bret</c:v>
                </c:pt>
                <c:pt idx="325">
                  <c:v>Richesmonts</c:v>
                </c:pt>
                <c:pt idx="326">
                  <c:v>All Others</c:v>
                </c:pt>
                <c:pt idx="327">
                  <c:v>Private Lab</c:v>
                </c:pt>
                <c:pt idx="328">
                  <c:v>Private Lab</c:v>
                </c:pt>
                <c:pt idx="329">
                  <c:v>All Others</c:v>
                </c:pt>
                <c:pt idx="330">
                  <c:v>Galbani</c:v>
                </c:pt>
                <c:pt idx="331">
                  <c:v>Caprice Des</c:v>
                </c:pt>
                <c:pt idx="332">
                  <c:v>Saint Albra</c:v>
                </c:pt>
                <c:pt idx="333">
                  <c:v>Private Lab</c:v>
                </c:pt>
                <c:pt idx="334">
                  <c:v>Entremont</c:v>
                </c:pt>
                <c:pt idx="335">
                  <c:v>President</c:v>
                </c:pt>
                <c:pt idx="336">
                  <c:v>President</c:v>
                </c:pt>
                <c:pt idx="337">
                  <c:v>President</c:v>
                </c:pt>
                <c:pt idx="338">
                  <c:v>Private Lab</c:v>
                </c:pt>
                <c:pt idx="339">
                  <c:v>All Others</c:v>
                </c:pt>
                <c:pt idx="340">
                  <c:v>Private Lab</c:v>
                </c:pt>
                <c:pt idx="341">
                  <c:v>Laita: All </c:v>
                </c:pt>
                <c:pt idx="342">
                  <c:v>La Vache Qu</c:v>
                </c:pt>
                <c:pt idx="343">
                  <c:v>All Others</c:v>
                </c:pt>
                <c:pt idx="344">
                  <c:v>Private Lab</c:v>
                </c:pt>
                <c:pt idx="345">
                  <c:v>Aperivrais</c:v>
                </c:pt>
                <c:pt idx="346">
                  <c:v>All Others</c:v>
                </c:pt>
                <c:pt idx="347">
                  <c:v>Cousteron</c:v>
                </c:pt>
                <c:pt idx="348">
                  <c:v>Private Lab</c:v>
                </c:pt>
                <c:pt idx="349">
                  <c:v>Kiri</c:v>
                </c:pt>
                <c:pt idx="350">
                  <c:v>All Others</c:v>
                </c:pt>
                <c:pt idx="351">
                  <c:v>Casa Azzurr</c:v>
                </c:pt>
                <c:pt idx="352">
                  <c:v>Private Lab</c:v>
                </c:pt>
                <c:pt idx="353">
                  <c:v>All Others</c:v>
                </c:pt>
                <c:pt idx="354">
                  <c:v>Fauquet</c:v>
                </c:pt>
                <c:pt idx="355">
                  <c:v>All Others</c:v>
                </c:pt>
                <c:pt idx="356">
                  <c:v>Private Lab</c:v>
                </c:pt>
                <c:pt idx="357">
                  <c:v>Entremont</c:v>
                </c:pt>
                <c:pt idx="358">
                  <c:v>All Others</c:v>
                </c:pt>
                <c:pt idx="359">
                  <c:v>President</c:v>
                </c:pt>
                <c:pt idx="360">
                  <c:v>Chavroux</c:v>
                </c:pt>
                <c:pt idx="361">
                  <c:v>President</c:v>
                </c:pt>
                <c:pt idx="362">
                  <c:v>Private Lab</c:v>
                </c:pt>
                <c:pt idx="363">
                  <c:v>Galbani</c:v>
                </c:pt>
                <c:pt idx="364">
                  <c:v>Soignon</c:v>
                </c:pt>
                <c:pt idx="365">
                  <c:v>Boursin</c:v>
                </c:pt>
                <c:pt idx="366">
                  <c:v>Entremont</c:v>
                </c:pt>
                <c:pt idx="367">
                  <c:v>All Others</c:v>
                </c:pt>
                <c:pt idx="368">
                  <c:v>Leerdammer</c:v>
                </c:pt>
                <c:pt idx="369">
                  <c:v>Private Lab</c:v>
                </c:pt>
                <c:pt idx="370">
                  <c:v>All Others</c:v>
                </c:pt>
                <c:pt idx="371">
                  <c:v>Private Lab</c:v>
                </c:pt>
                <c:pt idx="372">
                  <c:v>Casa Azzurr</c:v>
                </c:pt>
                <c:pt idx="373">
                  <c:v>President</c:v>
                </c:pt>
                <c:pt idx="374">
                  <c:v>Apericube</c:v>
                </c:pt>
                <c:pt idx="375">
                  <c:v>All Others</c:v>
                </c:pt>
                <c:pt idx="376">
                  <c:v>All Others</c:v>
                </c:pt>
                <c:pt idx="377">
                  <c:v>Entremont</c:v>
                </c:pt>
                <c:pt idx="378">
                  <c:v>All Others</c:v>
                </c:pt>
                <c:pt idx="379">
                  <c:v>St Moret</c:v>
                </c:pt>
                <c:pt idx="380">
                  <c:v>Private Lab</c:v>
                </c:pt>
                <c:pt idx="381">
                  <c:v>Casa Azzurr</c:v>
                </c:pt>
                <c:pt idx="382">
                  <c:v>Private Lab</c:v>
                </c:pt>
                <c:pt idx="383">
                  <c:v>Private Lab</c:v>
                </c:pt>
                <c:pt idx="384">
                  <c:v>Richesmonts</c:v>
                </c:pt>
                <c:pt idx="385">
                  <c:v>Societe</c:v>
                </c:pt>
                <c:pt idx="386">
                  <c:v>All Others</c:v>
                </c:pt>
                <c:pt idx="387">
                  <c:v>Private Lab</c:v>
                </c:pt>
                <c:pt idx="388">
                  <c:v>Private Lab</c:v>
                </c:pt>
                <c:pt idx="389">
                  <c:v>Societe</c:v>
                </c:pt>
                <c:pt idx="390">
                  <c:v>All Others</c:v>
                </c:pt>
                <c:pt idx="391">
                  <c:v>Private Lab</c:v>
                </c:pt>
                <c:pt idx="392">
                  <c:v>Violife</c:v>
                </c:pt>
                <c:pt idx="393">
                  <c:v>Private Lab</c:v>
                </c:pt>
                <c:pt idx="394">
                  <c:v>All Others</c:v>
                </c:pt>
                <c:pt idx="395">
                  <c:v>Apericube</c:v>
                </c:pt>
                <c:pt idx="396">
                  <c:v>Leerdammer</c:v>
                </c:pt>
                <c:pt idx="397">
                  <c:v>Soignon</c:v>
                </c:pt>
                <c:pt idx="398">
                  <c:v>All Others</c:v>
                </c:pt>
                <c:pt idx="399">
                  <c:v>Private Lab</c:v>
                </c:pt>
                <c:pt idx="400">
                  <c:v>La Pointe P</c:v>
                </c:pt>
                <c:pt idx="401">
                  <c:v>La Pointe P</c:v>
                </c:pt>
                <c:pt idx="402">
                  <c:v>Boursin</c:v>
                </c:pt>
                <c:pt idx="403">
                  <c:v>Soignon</c:v>
                </c:pt>
                <c:pt idx="404">
                  <c:v>All Others</c:v>
                </c:pt>
                <c:pt idx="405">
                  <c:v>Casa Azzurr</c:v>
                </c:pt>
                <c:pt idx="406">
                  <c:v>Private Lab</c:v>
                </c:pt>
                <c:pt idx="407">
                  <c:v>Caprice Des</c:v>
                </c:pt>
                <c:pt idx="408">
                  <c:v>Private Lab</c:v>
                </c:pt>
                <c:pt idx="409">
                  <c:v>Private Lab</c:v>
                </c:pt>
                <c:pt idx="410">
                  <c:v>Pave D'Affi</c:v>
                </c:pt>
                <c:pt idx="411">
                  <c:v>All Others</c:v>
                </c:pt>
                <c:pt idx="412">
                  <c:v>All Others</c:v>
                </c:pt>
                <c:pt idx="413">
                  <c:v>Private Lab</c:v>
                </c:pt>
                <c:pt idx="414">
                  <c:v>Ficello</c:v>
                </c:pt>
                <c:pt idx="415">
                  <c:v>All Others</c:v>
                </c:pt>
                <c:pt idx="416">
                  <c:v>All Others</c:v>
                </c:pt>
                <c:pt idx="417">
                  <c:v>Pave D'Affi</c:v>
                </c:pt>
                <c:pt idx="418">
                  <c:v>Private Lab</c:v>
                </c:pt>
                <c:pt idx="419">
                  <c:v>Casa Azzurr</c:v>
                </c:pt>
                <c:pt idx="420">
                  <c:v>Mini Babybe</c:v>
                </c:pt>
                <c:pt idx="421">
                  <c:v>President</c:v>
                </c:pt>
                <c:pt idx="422">
                  <c:v>Etoile Du V</c:v>
                </c:pt>
                <c:pt idx="423">
                  <c:v>Lou Perac</c:v>
                </c:pt>
                <c:pt idx="424">
                  <c:v>Private Lab</c:v>
                </c:pt>
                <c:pt idx="425">
                  <c:v>Coeur De Li</c:v>
                </c:pt>
                <c:pt idx="426">
                  <c:v>Private Lab</c:v>
                </c:pt>
                <c:pt idx="427">
                  <c:v>Private Lab</c:v>
                </c:pt>
                <c:pt idx="428">
                  <c:v>Lou Perac</c:v>
                </c:pt>
                <c:pt idx="429">
                  <c:v>All Others</c:v>
                </c:pt>
                <c:pt idx="430">
                  <c:v>Private Lab</c:v>
                </c:pt>
                <c:pt idx="431">
                  <c:v>All Others</c:v>
                </c:pt>
                <c:pt idx="432">
                  <c:v>Vieux Pane</c:v>
                </c:pt>
                <c:pt idx="433">
                  <c:v>Apericube</c:v>
                </c:pt>
                <c:pt idx="434">
                  <c:v>All Others</c:v>
                </c:pt>
                <c:pt idx="435">
                  <c:v>Saint Agur</c:v>
                </c:pt>
                <c:pt idx="436">
                  <c:v>Paysan Bret</c:v>
                </c:pt>
                <c:pt idx="437">
                  <c:v>Private Lab</c:v>
                </c:pt>
                <c:pt idx="438">
                  <c:v>P'Tit Louis</c:v>
                </c:pt>
                <c:pt idx="439">
                  <c:v>All Others</c:v>
                </c:pt>
                <c:pt idx="440">
                  <c:v>Galbani</c:v>
                </c:pt>
                <c:pt idx="441">
                  <c:v>Galbani</c:v>
                </c:pt>
                <c:pt idx="442">
                  <c:v>All Others</c:v>
                </c:pt>
                <c:pt idx="443">
                  <c:v>Aperivrais</c:v>
                </c:pt>
                <c:pt idx="444">
                  <c:v>Chaussee Au</c:v>
                </c:pt>
                <c:pt idx="445">
                  <c:v>All Others</c:v>
                </c:pt>
                <c:pt idx="446">
                  <c:v>Private Lab</c:v>
                </c:pt>
                <c:pt idx="447">
                  <c:v>Private Lab</c:v>
                </c:pt>
                <c:pt idx="448">
                  <c:v>La Pointe P</c:v>
                </c:pt>
                <c:pt idx="449">
                  <c:v>All Others</c:v>
                </c:pt>
                <c:pt idx="450">
                  <c:v>Private Lab</c:v>
                </c:pt>
                <c:pt idx="451">
                  <c:v>All Others</c:v>
                </c:pt>
                <c:pt idx="452">
                  <c:v>All Others</c:v>
                </c:pt>
                <c:pt idx="453">
                  <c:v>Kiri</c:v>
                </c:pt>
                <c:pt idx="454">
                  <c:v>All Others</c:v>
                </c:pt>
                <c:pt idx="455">
                  <c:v>Entremont</c:v>
                </c:pt>
                <c:pt idx="456">
                  <c:v>Private Lab</c:v>
                </c:pt>
                <c:pt idx="457">
                  <c:v>Mini Babybe</c:v>
                </c:pt>
                <c:pt idx="458">
                  <c:v>St Moret</c:v>
                </c:pt>
                <c:pt idx="459">
                  <c:v>All Others</c:v>
                </c:pt>
                <c:pt idx="460">
                  <c:v>Tartare</c:v>
                </c:pt>
                <c:pt idx="461">
                  <c:v>All Others</c:v>
                </c:pt>
                <c:pt idx="462">
                  <c:v>Soignon</c:v>
                </c:pt>
                <c:pt idx="463">
                  <c:v>All Others</c:v>
                </c:pt>
                <c:pt idx="464">
                  <c:v>Private Lab</c:v>
                </c:pt>
                <c:pt idx="465">
                  <c:v>Private Lab</c:v>
                </c:pt>
                <c:pt idx="466">
                  <c:v>All Others</c:v>
                </c:pt>
                <c:pt idx="467">
                  <c:v>All Others</c:v>
                </c:pt>
                <c:pt idx="468">
                  <c:v>Private Lab</c:v>
                </c:pt>
                <c:pt idx="469">
                  <c:v>Casa Azzurr</c:v>
                </c:pt>
                <c:pt idx="470">
                  <c:v>La Pointe P</c:v>
                </c:pt>
                <c:pt idx="471">
                  <c:v>Fauquet</c:v>
                </c:pt>
                <c:pt idx="472">
                  <c:v>Juraflore</c:v>
                </c:pt>
                <c:pt idx="473">
                  <c:v>Private Lab</c:v>
                </c:pt>
                <c:pt idx="474">
                  <c:v>All Others</c:v>
                </c:pt>
                <c:pt idx="475">
                  <c:v>Paysan Bret</c:v>
                </c:pt>
                <c:pt idx="476">
                  <c:v>Boursin</c:v>
                </c:pt>
                <c:pt idx="477">
                  <c:v>La Vache Qu</c:v>
                </c:pt>
                <c:pt idx="478">
                  <c:v>Boursin</c:v>
                </c:pt>
                <c:pt idx="479">
                  <c:v>St Moret</c:v>
                </c:pt>
                <c:pt idx="480">
                  <c:v>Private Lab</c:v>
                </c:pt>
                <c:pt idx="481">
                  <c:v>P'Tit Louis</c:v>
                </c:pt>
                <c:pt idx="482">
                  <c:v>Leerdammer</c:v>
                </c:pt>
                <c:pt idx="483">
                  <c:v>Private Lab</c:v>
                </c:pt>
                <c:pt idx="484">
                  <c:v>Private Lab</c:v>
                </c:pt>
                <c:pt idx="485">
                  <c:v>Private Lab</c:v>
                </c:pt>
                <c:pt idx="486">
                  <c:v>Private Lab</c:v>
                </c:pt>
                <c:pt idx="487">
                  <c:v>Private Lab</c:v>
                </c:pt>
                <c:pt idx="488">
                  <c:v>All Others</c:v>
                </c:pt>
                <c:pt idx="489">
                  <c:v>All Others</c:v>
                </c:pt>
                <c:pt idx="490">
                  <c:v>Apericube</c:v>
                </c:pt>
                <c:pt idx="491">
                  <c:v>Savencia: A</c:v>
                </c:pt>
                <c:pt idx="492">
                  <c:v>All Others</c:v>
                </c:pt>
                <c:pt idx="493">
                  <c:v>Triballat N</c:v>
                </c:pt>
                <c:pt idx="494">
                  <c:v>All Others</c:v>
                </c:pt>
                <c:pt idx="495">
                  <c:v>All Others</c:v>
                </c:pt>
                <c:pt idx="496">
                  <c:v>All Others</c:v>
                </c:pt>
                <c:pt idx="497">
                  <c:v>Violife</c:v>
                </c:pt>
                <c:pt idx="498">
                  <c:v>Galbani</c:v>
                </c:pt>
                <c:pt idx="499">
                  <c:v>Pave D'Affi</c:v>
                </c:pt>
                <c:pt idx="500">
                  <c:v>Savencia: A</c:v>
                </c:pt>
                <c:pt idx="501">
                  <c:v>All Others</c:v>
                </c:pt>
                <c:pt idx="502">
                  <c:v>Etorki</c:v>
                </c:pt>
                <c:pt idx="503">
                  <c:v>All Others</c:v>
                </c:pt>
                <c:pt idx="504">
                  <c:v>All Others</c:v>
                </c:pt>
                <c:pt idx="505">
                  <c:v>Galbani</c:v>
                </c:pt>
                <c:pt idx="506">
                  <c:v>Kiri</c:v>
                </c:pt>
                <c:pt idx="507">
                  <c:v>All Others</c:v>
                </c:pt>
                <c:pt idx="508">
                  <c:v>Lactalis: A</c:v>
                </c:pt>
                <c:pt idx="509">
                  <c:v>Le Rustique</c:v>
                </c:pt>
                <c:pt idx="510">
                  <c:v>Entremont</c:v>
                </c:pt>
                <c:pt idx="511">
                  <c:v>Boursin</c:v>
                </c:pt>
                <c:pt idx="512">
                  <c:v>Richesmonts</c:v>
                </c:pt>
                <c:pt idx="513">
                  <c:v>Private Lab</c:v>
                </c:pt>
                <c:pt idx="514">
                  <c:v>All Others</c:v>
                </c:pt>
                <c:pt idx="515">
                  <c:v>Tartare</c:v>
                </c:pt>
                <c:pt idx="516">
                  <c:v>Societe</c:v>
                </c:pt>
                <c:pt idx="517">
                  <c:v>All Others</c:v>
                </c:pt>
                <c:pt idx="518">
                  <c:v>Caprice Des</c:v>
                </c:pt>
                <c:pt idx="519">
                  <c:v>All Others</c:v>
                </c:pt>
                <c:pt idx="520">
                  <c:v>President</c:v>
                </c:pt>
                <c:pt idx="521">
                  <c:v>Savencia: A</c:v>
                </c:pt>
                <c:pt idx="522">
                  <c:v>All Others</c:v>
                </c:pt>
                <c:pt idx="523">
                  <c:v>All Others</c:v>
                </c:pt>
                <c:pt idx="524">
                  <c:v>Private Lab</c:v>
                </c:pt>
                <c:pt idx="525">
                  <c:v>All Others</c:v>
                </c:pt>
                <c:pt idx="526">
                  <c:v>Private Lab</c:v>
                </c:pt>
                <c:pt idx="527">
                  <c:v>La Vache Qu</c:v>
                </c:pt>
                <c:pt idx="528">
                  <c:v>Casa Azzurr</c:v>
                </c:pt>
                <c:pt idx="529">
                  <c:v>Private Lab</c:v>
                </c:pt>
                <c:pt idx="530">
                  <c:v>Private Lab</c:v>
                </c:pt>
                <c:pt idx="531">
                  <c:v>Caprice Des</c:v>
                </c:pt>
                <c:pt idx="532">
                  <c:v>Etoile Du Q</c:v>
                </c:pt>
                <c:pt idx="533">
                  <c:v>Private Lab</c:v>
                </c:pt>
                <c:pt idx="534">
                  <c:v>Private Lab</c:v>
                </c:pt>
                <c:pt idx="535">
                  <c:v>All Others</c:v>
                </c:pt>
                <c:pt idx="536">
                  <c:v>Private Lab</c:v>
                </c:pt>
                <c:pt idx="537">
                  <c:v>Salakis</c:v>
                </c:pt>
                <c:pt idx="538">
                  <c:v>Casa Azzurr</c:v>
                </c:pt>
                <c:pt idx="539">
                  <c:v>All Others</c:v>
                </c:pt>
                <c:pt idx="540">
                  <c:v>All Others</c:v>
                </c:pt>
                <c:pt idx="541">
                  <c:v>All Others</c:v>
                </c:pt>
                <c:pt idx="542">
                  <c:v>All Others</c:v>
                </c:pt>
                <c:pt idx="543">
                  <c:v>All Others</c:v>
                </c:pt>
                <c:pt idx="544">
                  <c:v>Apericube</c:v>
                </c:pt>
                <c:pt idx="545">
                  <c:v>All Others</c:v>
                </c:pt>
                <c:pt idx="546">
                  <c:v>All Others</c:v>
                </c:pt>
                <c:pt idx="547">
                  <c:v>Galbani</c:v>
                </c:pt>
                <c:pt idx="548">
                  <c:v>Richesmonts</c:v>
                </c:pt>
                <c:pt idx="549">
                  <c:v>Lactalis: A</c:v>
                </c:pt>
                <c:pt idx="550">
                  <c:v>All Others</c:v>
                </c:pt>
                <c:pt idx="551">
                  <c:v>All Others</c:v>
                </c:pt>
                <c:pt idx="552">
                  <c:v>Boursin</c:v>
                </c:pt>
                <c:pt idx="553">
                  <c:v>All Others</c:v>
                </c:pt>
                <c:pt idx="554">
                  <c:v>All Others</c:v>
                </c:pt>
                <c:pt idx="555">
                  <c:v>All Others</c:v>
                </c:pt>
                <c:pt idx="556">
                  <c:v>All Others</c:v>
                </c:pt>
                <c:pt idx="557">
                  <c:v>President</c:v>
                </c:pt>
                <c:pt idx="558">
                  <c:v>All Others</c:v>
                </c:pt>
                <c:pt idx="559">
                  <c:v>Private Lab</c:v>
                </c:pt>
                <c:pt idx="560">
                  <c:v>All Others</c:v>
                </c:pt>
                <c:pt idx="561">
                  <c:v>Ficello</c:v>
                </c:pt>
                <c:pt idx="562">
                  <c:v>Private Lab</c:v>
                </c:pt>
                <c:pt idx="563">
                  <c:v>Philadelphi</c:v>
                </c:pt>
                <c:pt idx="564">
                  <c:v>All Others</c:v>
                </c:pt>
                <c:pt idx="565">
                  <c:v>All Others</c:v>
                </c:pt>
                <c:pt idx="566">
                  <c:v>Apericube</c:v>
                </c:pt>
                <c:pt idx="567">
                  <c:v>All Others</c:v>
                </c:pt>
                <c:pt idx="568">
                  <c:v>President</c:v>
                </c:pt>
                <c:pt idx="569">
                  <c:v>Private Lab</c:v>
                </c:pt>
                <c:pt idx="570">
                  <c:v>Private Lab</c:v>
                </c:pt>
                <c:pt idx="571">
                  <c:v>All Others</c:v>
                </c:pt>
                <c:pt idx="572">
                  <c:v>Galbani</c:v>
                </c:pt>
                <c:pt idx="573">
                  <c:v>Leerdammer</c:v>
                </c:pt>
                <c:pt idx="574">
                  <c:v>All Others</c:v>
                </c:pt>
                <c:pt idx="575">
                  <c:v>Entremont</c:v>
                </c:pt>
                <c:pt idx="576">
                  <c:v>Corsica</c:v>
                </c:pt>
                <c:pt idx="577">
                  <c:v>All Others</c:v>
                </c:pt>
                <c:pt idx="578">
                  <c:v>La Pointe P</c:v>
                </c:pt>
                <c:pt idx="579">
                  <c:v>Private Lab</c:v>
                </c:pt>
                <c:pt idx="580">
                  <c:v>Private Lab</c:v>
                </c:pt>
                <c:pt idx="581">
                  <c:v>President</c:v>
                </c:pt>
                <c:pt idx="582">
                  <c:v>La Pointe P</c:v>
                </c:pt>
                <c:pt idx="583">
                  <c:v>Kiri</c:v>
                </c:pt>
                <c:pt idx="584">
                  <c:v>All Others</c:v>
                </c:pt>
                <c:pt idx="585">
                  <c:v>President</c:v>
                </c:pt>
                <c:pt idx="586">
                  <c:v>Tartare</c:v>
                </c:pt>
                <c:pt idx="587">
                  <c:v>Private Lab</c:v>
                </c:pt>
                <c:pt idx="588">
                  <c:v>All Others</c:v>
                </c:pt>
                <c:pt idx="589">
                  <c:v>All Others</c:v>
                </c:pt>
                <c:pt idx="590">
                  <c:v>Le Coq Crem</c:v>
                </c:pt>
                <c:pt idx="591">
                  <c:v>All Others</c:v>
                </c:pt>
                <c:pt idx="592">
                  <c:v>Rondele</c:v>
                </c:pt>
                <c:pt idx="593">
                  <c:v>Leerdammer</c:v>
                </c:pt>
                <c:pt idx="594">
                  <c:v>All Others</c:v>
                </c:pt>
                <c:pt idx="595">
                  <c:v>Societe</c:v>
                </c:pt>
                <c:pt idx="596">
                  <c:v>Private Lab</c:v>
                </c:pt>
                <c:pt idx="597">
                  <c:v>Galbani</c:v>
                </c:pt>
                <c:pt idx="598">
                  <c:v>President</c:v>
                </c:pt>
                <c:pt idx="599">
                  <c:v>Casa Azzurr</c:v>
                </c:pt>
                <c:pt idx="600">
                  <c:v>All Others</c:v>
                </c:pt>
                <c:pt idx="601">
                  <c:v>Private Lab</c:v>
                </c:pt>
                <c:pt idx="602">
                  <c:v>Corsica</c:v>
                </c:pt>
                <c:pt idx="603">
                  <c:v>Private Lab</c:v>
                </c:pt>
                <c:pt idx="604">
                  <c:v>Violife</c:v>
                </c:pt>
                <c:pt idx="605">
                  <c:v>Pave D'Affi</c:v>
                </c:pt>
                <c:pt idx="606">
                  <c:v>All Others</c:v>
                </c:pt>
                <c:pt idx="607">
                  <c:v>All Others</c:v>
                </c:pt>
                <c:pt idx="608">
                  <c:v>Entremont</c:v>
                </c:pt>
                <c:pt idx="609">
                  <c:v>La Pointe P</c:v>
                </c:pt>
                <c:pt idx="610">
                  <c:v>Juraflore</c:v>
                </c:pt>
                <c:pt idx="611">
                  <c:v>Mini Babybe</c:v>
                </c:pt>
                <c:pt idx="612">
                  <c:v>All Others</c:v>
                </c:pt>
                <c:pt idx="613">
                  <c:v>Istara</c:v>
                </c:pt>
                <c:pt idx="614">
                  <c:v>Etoile Du V</c:v>
                </c:pt>
                <c:pt idx="615">
                  <c:v>All Others</c:v>
                </c:pt>
                <c:pt idx="616">
                  <c:v>Soignon</c:v>
                </c:pt>
                <c:pt idx="617">
                  <c:v>All Others</c:v>
                </c:pt>
                <c:pt idx="618">
                  <c:v>All Others</c:v>
                </c:pt>
                <c:pt idx="619">
                  <c:v>All Others</c:v>
                </c:pt>
                <c:pt idx="620">
                  <c:v>Casa Azzurr</c:v>
                </c:pt>
                <c:pt idx="621">
                  <c:v>Richesmonts</c:v>
                </c:pt>
                <c:pt idx="622">
                  <c:v>All Others</c:v>
                </c:pt>
                <c:pt idx="623">
                  <c:v>Private Lab</c:v>
                </c:pt>
                <c:pt idx="624">
                  <c:v>President</c:v>
                </c:pt>
                <c:pt idx="625">
                  <c:v>Juraflore</c:v>
                </c:pt>
                <c:pt idx="626">
                  <c:v>Apericube</c:v>
                </c:pt>
                <c:pt idx="627">
                  <c:v>Etoile Du V</c:v>
                </c:pt>
                <c:pt idx="628">
                  <c:v>All Others</c:v>
                </c:pt>
                <c:pt idx="629">
                  <c:v>Private Lab</c:v>
                </c:pt>
                <c:pt idx="630">
                  <c:v>Lactalis: A</c:v>
                </c:pt>
                <c:pt idx="631">
                  <c:v>Rondele</c:v>
                </c:pt>
                <c:pt idx="632">
                  <c:v>All Others</c:v>
                </c:pt>
                <c:pt idx="633">
                  <c:v>Saint Agur</c:v>
                </c:pt>
                <c:pt idx="634">
                  <c:v>All Others</c:v>
                </c:pt>
                <c:pt idx="635">
                  <c:v>Lou Perac</c:v>
                </c:pt>
                <c:pt idx="636">
                  <c:v>All Others</c:v>
                </c:pt>
                <c:pt idx="637">
                  <c:v>Fauquet</c:v>
                </c:pt>
                <c:pt idx="638">
                  <c:v>Lactalis: A</c:v>
                </c:pt>
                <c:pt idx="639">
                  <c:v>President</c:v>
                </c:pt>
                <c:pt idx="640">
                  <c:v>Casa Azzurr</c:v>
                </c:pt>
                <c:pt idx="641">
                  <c:v>All Others</c:v>
                </c:pt>
                <c:pt idx="642">
                  <c:v>Private Lab</c:v>
                </c:pt>
                <c:pt idx="643">
                  <c:v>Pochat</c:v>
                </c:pt>
                <c:pt idx="644">
                  <c:v>Private Lab</c:v>
                </c:pt>
                <c:pt idx="645">
                  <c:v>All Others</c:v>
                </c:pt>
                <c:pt idx="646">
                  <c:v>All Others</c:v>
                </c:pt>
                <c:pt idx="647">
                  <c:v>Private Lab</c:v>
                </c:pt>
                <c:pt idx="648">
                  <c:v>Casa Azzurr</c:v>
                </c:pt>
                <c:pt idx="649">
                  <c:v>All Others</c:v>
                </c:pt>
                <c:pt idx="650">
                  <c:v>Eurial Autr</c:v>
                </c:pt>
                <c:pt idx="651">
                  <c:v>All Others</c:v>
                </c:pt>
                <c:pt idx="652">
                  <c:v>All Others</c:v>
                </c:pt>
                <c:pt idx="653">
                  <c:v>All Others</c:v>
                </c:pt>
                <c:pt idx="654">
                  <c:v>All Others</c:v>
                </c:pt>
                <c:pt idx="655">
                  <c:v>Galbani</c:v>
                </c:pt>
                <c:pt idx="656">
                  <c:v>Casa Azzurr</c:v>
                </c:pt>
                <c:pt idx="657">
                  <c:v>Pave D'Affi</c:v>
                </c:pt>
                <c:pt idx="658">
                  <c:v>President</c:v>
                </c:pt>
                <c:pt idx="659">
                  <c:v>Triballat R</c:v>
                </c:pt>
                <c:pt idx="660">
                  <c:v>Violife</c:v>
                </c:pt>
                <c:pt idx="661">
                  <c:v>Islos</c:v>
                </c:pt>
                <c:pt idx="662">
                  <c:v>Private Lab</c:v>
                </c:pt>
                <c:pt idx="663">
                  <c:v>All Others</c:v>
                </c:pt>
                <c:pt idx="664">
                  <c:v>Eurial Autr</c:v>
                </c:pt>
                <c:pt idx="665">
                  <c:v>Private Lab</c:v>
                </c:pt>
                <c:pt idx="666">
                  <c:v>All Others</c:v>
                </c:pt>
                <c:pt idx="667">
                  <c:v>Savencia: A</c:v>
                </c:pt>
                <c:pt idx="668">
                  <c:v>Apericube</c:v>
                </c:pt>
                <c:pt idx="669">
                  <c:v>All Others</c:v>
                </c:pt>
                <c:pt idx="670">
                  <c:v>Soignon</c:v>
                </c:pt>
                <c:pt idx="671">
                  <c:v>L'Ortolan</c:v>
                </c:pt>
                <c:pt idx="672">
                  <c:v>All Others</c:v>
                </c:pt>
                <c:pt idx="673">
                  <c:v>All Others</c:v>
                </c:pt>
                <c:pt idx="674">
                  <c:v>All Others</c:v>
                </c:pt>
                <c:pt idx="675">
                  <c:v>All Others</c:v>
                </c:pt>
                <c:pt idx="676">
                  <c:v>Port Salut</c:v>
                </c:pt>
                <c:pt idx="677">
                  <c:v>All Others</c:v>
                </c:pt>
                <c:pt idx="678">
                  <c:v>All Others</c:v>
                </c:pt>
                <c:pt idx="679">
                  <c:v>Private Lab</c:v>
                </c:pt>
                <c:pt idx="680">
                  <c:v>All Others</c:v>
                </c:pt>
                <c:pt idx="681">
                  <c:v>Babybel</c:v>
                </c:pt>
                <c:pt idx="682">
                  <c:v>All Others</c:v>
                </c:pt>
                <c:pt idx="683">
                  <c:v>Leerdammer</c:v>
                </c:pt>
                <c:pt idx="684">
                  <c:v>All Others</c:v>
                </c:pt>
                <c:pt idx="685">
                  <c:v>Private Lab</c:v>
                </c:pt>
                <c:pt idx="686">
                  <c:v>All Others</c:v>
                </c:pt>
                <c:pt idx="687">
                  <c:v>All Others</c:v>
                </c:pt>
                <c:pt idx="688">
                  <c:v>Apericube</c:v>
                </c:pt>
                <c:pt idx="689">
                  <c:v>Private Lab</c:v>
                </c:pt>
                <c:pt idx="690">
                  <c:v>All Others</c:v>
                </c:pt>
                <c:pt idx="691">
                  <c:v>Soignon</c:v>
                </c:pt>
                <c:pt idx="692">
                  <c:v>Milleret: A</c:v>
                </c:pt>
                <c:pt idx="693">
                  <c:v>Private Lab</c:v>
                </c:pt>
                <c:pt idx="694">
                  <c:v>All Others</c:v>
                </c:pt>
                <c:pt idx="695">
                  <c:v>Violife</c:v>
                </c:pt>
                <c:pt idx="696">
                  <c:v>All Others</c:v>
                </c:pt>
                <c:pt idx="697">
                  <c:v>All Others</c:v>
                </c:pt>
                <c:pt idx="698">
                  <c:v>All Others</c:v>
                </c:pt>
                <c:pt idx="699">
                  <c:v>Paysan Bret</c:v>
                </c:pt>
                <c:pt idx="700">
                  <c:v>Savencia: A</c:v>
                </c:pt>
                <c:pt idx="701">
                  <c:v>Private Lab</c:v>
                </c:pt>
                <c:pt idx="702">
                  <c:v>All Others</c:v>
                </c:pt>
                <c:pt idx="703">
                  <c:v>Private Lab</c:v>
                </c:pt>
                <c:pt idx="704">
                  <c:v>All Others</c:v>
                </c:pt>
                <c:pt idx="705">
                  <c:v>All Others</c:v>
                </c:pt>
                <c:pt idx="706">
                  <c:v>All Others</c:v>
                </c:pt>
                <c:pt idx="707">
                  <c:v>All Others</c:v>
                </c:pt>
                <c:pt idx="708">
                  <c:v>All Others</c:v>
                </c:pt>
                <c:pt idx="709">
                  <c:v>All Others</c:v>
                </c:pt>
                <c:pt idx="710">
                  <c:v>All Others</c:v>
                </c:pt>
                <c:pt idx="711">
                  <c:v>All Others</c:v>
                </c:pt>
                <c:pt idx="712">
                  <c:v>President</c:v>
                </c:pt>
                <c:pt idx="713">
                  <c:v>Private Lab</c:v>
                </c:pt>
                <c:pt idx="714">
                  <c:v>All Others</c:v>
                </c:pt>
                <c:pt idx="715">
                  <c:v>All Others</c:v>
                </c:pt>
                <c:pt idx="716">
                  <c:v>Saint Agur</c:v>
                </c:pt>
                <c:pt idx="717">
                  <c:v>Le Brebiou</c:v>
                </c:pt>
                <c:pt idx="718">
                  <c:v>All Others</c:v>
                </c:pt>
                <c:pt idx="719">
                  <c:v>Private Lab</c:v>
                </c:pt>
                <c:pt idx="720">
                  <c:v>All Others</c:v>
                </c:pt>
                <c:pt idx="721">
                  <c:v>Triballat N</c:v>
                </c:pt>
                <c:pt idx="722">
                  <c:v>Leerdammer</c:v>
                </c:pt>
                <c:pt idx="723">
                  <c:v>Private Lab</c:v>
                </c:pt>
                <c:pt idx="724">
                  <c:v>Islos</c:v>
                </c:pt>
                <c:pt idx="725">
                  <c:v>Private Lab</c:v>
                </c:pt>
                <c:pt idx="726">
                  <c:v>President</c:v>
                </c:pt>
                <c:pt idx="727">
                  <c:v>Salakis</c:v>
                </c:pt>
                <c:pt idx="728">
                  <c:v>All Others</c:v>
                </c:pt>
                <c:pt idx="729">
                  <c:v>Private Lab</c:v>
                </c:pt>
                <c:pt idx="730">
                  <c:v>All Others</c:v>
                </c:pt>
                <c:pt idx="731">
                  <c:v>Soignon</c:v>
                </c:pt>
                <c:pt idx="732">
                  <c:v>Private Lab</c:v>
                </c:pt>
                <c:pt idx="733">
                  <c:v>Entremont</c:v>
                </c:pt>
                <c:pt idx="734">
                  <c:v>Entremont</c:v>
                </c:pt>
                <c:pt idx="735">
                  <c:v>Boursin</c:v>
                </c:pt>
                <c:pt idx="736">
                  <c:v>All Others</c:v>
                </c:pt>
                <c:pt idx="737">
                  <c:v>La Belle Et</c:v>
                </c:pt>
                <c:pt idx="738">
                  <c:v>Lactalis: A</c:v>
                </c:pt>
                <c:pt idx="739">
                  <c:v>All Others</c:v>
                </c:pt>
                <c:pt idx="740">
                  <c:v>Private Lab</c:v>
                </c:pt>
                <c:pt idx="741">
                  <c:v>Lactalis: A</c:v>
                </c:pt>
                <c:pt idx="742">
                  <c:v>All Others</c:v>
                </c:pt>
                <c:pt idx="743">
                  <c:v>All Others</c:v>
                </c:pt>
                <c:pt idx="744">
                  <c:v>Entremont</c:v>
                </c:pt>
                <c:pt idx="745">
                  <c:v>Chaussee Au</c:v>
                </c:pt>
                <c:pt idx="746">
                  <c:v>All Others</c:v>
                </c:pt>
                <c:pt idx="747">
                  <c:v>O'Tapas Ape</c:v>
                </c:pt>
                <c:pt idx="748">
                  <c:v>Private Lab</c:v>
                </c:pt>
                <c:pt idx="749">
                  <c:v>All Others</c:v>
                </c:pt>
                <c:pt idx="750">
                  <c:v>Private Lab</c:v>
                </c:pt>
                <c:pt idx="751">
                  <c:v>All Others</c:v>
                </c:pt>
                <c:pt idx="752">
                  <c:v>Private Lab</c:v>
                </c:pt>
                <c:pt idx="753">
                  <c:v>Richesmonts</c:v>
                </c:pt>
                <c:pt idx="754">
                  <c:v>All Others</c:v>
                </c:pt>
                <c:pt idx="755">
                  <c:v>Richesmonts</c:v>
                </c:pt>
                <c:pt idx="756">
                  <c:v>All Others</c:v>
                </c:pt>
                <c:pt idx="757">
                  <c:v>All Others</c:v>
                </c:pt>
                <c:pt idx="758">
                  <c:v>All Others</c:v>
                </c:pt>
                <c:pt idx="759">
                  <c:v>Private Lab</c:v>
                </c:pt>
                <c:pt idx="760">
                  <c:v>Private Lab</c:v>
                </c:pt>
                <c:pt idx="761">
                  <c:v>All Others</c:v>
                </c:pt>
                <c:pt idx="762">
                  <c:v>Private Lab</c:v>
                </c:pt>
                <c:pt idx="763">
                  <c:v>All Others</c:v>
                </c:pt>
                <c:pt idx="764">
                  <c:v>Milleret: A</c:v>
                </c:pt>
                <c:pt idx="765">
                  <c:v>Mini Babybe</c:v>
                </c:pt>
                <c:pt idx="766">
                  <c:v>All Others</c:v>
                </c:pt>
                <c:pt idx="767">
                  <c:v>All Others</c:v>
                </c:pt>
                <c:pt idx="768">
                  <c:v>All Others</c:v>
                </c:pt>
                <c:pt idx="769">
                  <c:v>La Vache Qu</c:v>
                </c:pt>
                <c:pt idx="770">
                  <c:v>All Others</c:v>
                </c:pt>
                <c:pt idx="771">
                  <c:v>All Others</c:v>
                </c:pt>
                <c:pt idx="772">
                  <c:v>All Others</c:v>
                </c:pt>
                <c:pt idx="773">
                  <c:v>All Others</c:v>
                </c:pt>
                <c:pt idx="774">
                  <c:v>Richesmonts</c:v>
                </c:pt>
                <c:pt idx="775">
                  <c:v>La Belle Et</c:v>
                </c:pt>
                <c:pt idx="776">
                  <c:v>Richesmonts</c:v>
                </c:pt>
                <c:pt idx="777">
                  <c:v>Private Lab</c:v>
                </c:pt>
                <c:pt idx="778">
                  <c:v>Eurial Autr</c:v>
                </c:pt>
                <c:pt idx="779">
                  <c:v>Private Lab</c:v>
                </c:pt>
                <c:pt idx="780">
                  <c:v>Lactalis: A</c:v>
                </c:pt>
                <c:pt idx="781">
                  <c:v>Mini Babybe</c:v>
                </c:pt>
                <c:pt idx="782">
                  <c:v>All Others</c:v>
                </c:pt>
                <c:pt idx="783">
                  <c:v>Aperivrais</c:v>
                </c:pt>
                <c:pt idx="784">
                  <c:v>Private Lab</c:v>
                </c:pt>
                <c:pt idx="785">
                  <c:v>All Others</c:v>
                </c:pt>
                <c:pt idx="786">
                  <c:v>Societe</c:v>
                </c:pt>
                <c:pt idx="787">
                  <c:v>All Others</c:v>
                </c:pt>
                <c:pt idx="788">
                  <c:v>Private Lab</c:v>
                </c:pt>
                <c:pt idx="789">
                  <c:v>All Others</c:v>
                </c:pt>
                <c:pt idx="790">
                  <c:v>All Others</c:v>
                </c:pt>
                <c:pt idx="791">
                  <c:v>All Others</c:v>
                </c:pt>
                <c:pt idx="792">
                  <c:v>All Others</c:v>
                </c:pt>
                <c:pt idx="793">
                  <c:v>All Others</c:v>
                </c:pt>
                <c:pt idx="794">
                  <c:v>Pave D'Affi</c:v>
                </c:pt>
                <c:pt idx="795">
                  <c:v>Nurishh</c:v>
                </c:pt>
                <c:pt idx="796">
                  <c:v>All Others</c:v>
                </c:pt>
                <c:pt idx="797">
                  <c:v>All Others</c:v>
                </c:pt>
                <c:pt idx="798">
                  <c:v>Casa Azzurr</c:v>
                </c:pt>
                <c:pt idx="799">
                  <c:v>Private Lab</c:v>
                </c:pt>
                <c:pt idx="800">
                  <c:v>O'Tapas Ape</c:v>
                </c:pt>
                <c:pt idx="801">
                  <c:v>Boursin</c:v>
                </c:pt>
                <c:pt idx="802">
                  <c:v>All Others</c:v>
                </c:pt>
                <c:pt idx="803">
                  <c:v>Ficello</c:v>
                </c:pt>
                <c:pt idx="804">
                  <c:v>Fauquet</c:v>
                </c:pt>
                <c:pt idx="805">
                  <c:v>Apericube</c:v>
                </c:pt>
                <c:pt idx="806">
                  <c:v>Lactalis: A</c:v>
                </c:pt>
                <c:pt idx="807">
                  <c:v>All Others</c:v>
                </c:pt>
                <c:pt idx="808">
                  <c:v>Societe</c:v>
                </c:pt>
                <c:pt idx="809">
                  <c:v>Paysan Bret</c:v>
                </c:pt>
                <c:pt idx="810">
                  <c:v>Private Lab</c:v>
                </c:pt>
                <c:pt idx="811">
                  <c:v>All Others</c:v>
                </c:pt>
                <c:pt idx="812">
                  <c:v>All Others</c:v>
                </c:pt>
                <c:pt idx="813">
                  <c:v>All Others</c:v>
                </c:pt>
                <c:pt idx="814">
                  <c:v>All Others</c:v>
                </c:pt>
                <c:pt idx="815">
                  <c:v>Richesmonts</c:v>
                </c:pt>
                <c:pt idx="816">
                  <c:v>St Moret</c:v>
                </c:pt>
                <c:pt idx="817">
                  <c:v>Casa Azzurr</c:v>
                </c:pt>
                <c:pt idx="818">
                  <c:v>President</c:v>
                </c:pt>
                <c:pt idx="819">
                  <c:v>All Others</c:v>
                </c:pt>
                <c:pt idx="820">
                  <c:v>Private Lab</c:v>
                </c:pt>
                <c:pt idx="821">
                  <c:v>Entremont</c:v>
                </c:pt>
                <c:pt idx="822">
                  <c:v>Port Salut</c:v>
                </c:pt>
                <c:pt idx="823">
                  <c:v>All Others</c:v>
                </c:pt>
                <c:pt idx="824">
                  <c:v>All Others</c:v>
                </c:pt>
                <c:pt idx="825">
                  <c:v>Galbani</c:v>
                </c:pt>
                <c:pt idx="826">
                  <c:v>Aperivrais</c:v>
                </c:pt>
                <c:pt idx="827">
                  <c:v>All Others</c:v>
                </c:pt>
                <c:pt idx="828">
                  <c:v>Etoile Du Q</c:v>
                </c:pt>
                <c:pt idx="829">
                  <c:v>Leerdammer</c:v>
                </c:pt>
                <c:pt idx="830">
                  <c:v>Private Lab</c:v>
                </c:pt>
                <c:pt idx="831">
                  <c:v>St Moret</c:v>
                </c:pt>
                <c:pt idx="832">
                  <c:v>Eurial Autr</c:v>
                </c:pt>
                <c:pt idx="833">
                  <c:v>All Others</c:v>
                </c:pt>
                <c:pt idx="834">
                  <c:v>Casa Azzurr</c:v>
                </c:pt>
                <c:pt idx="835">
                  <c:v>Boursin</c:v>
                </c:pt>
                <c:pt idx="836">
                  <c:v>Eurial Autr</c:v>
                </c:pt>
                <c:pt idx="837">
                  <c:v>Etoile Du Q</c:v>
                </c:pt>
                <c:pt idx="838">
                  <c:v>All Others</c:v>
                </c:pt>
                <c:pt idx="839">
                  <c:v>All Others</c:v>
                </c:pt>
                <c:pt idx="840">
                  <c:v>All Others</c:v>
                </c:pt>
                <c:pt idx="841">
                  <c:v>L'Ortolan</c:v>
                </c:pt>
                <c:pt idx="842">
                  <c:v>Boursin</c:v>
                </c:pt>
                <c:pt idx="843">
                  <c:v>Saint Agur</c:v>
                </c:pt>
                <c:pt idx="844">
                  <c:v>All Others</c:v>
                </c:pt>
                <c:pt idx="845">
                  <c:v>All Others</c:v>
                </c:pt>
                <c:pt idx="846">
                  <c:v>Savencia: A</c:v>
                </c:pt>
                <c:pt idx="847">
                  <c:v>All Others</c:v>
                </c:pt>
                <c:pt idx="848">
                  <c:v>Savencia: A</c:v>
                </c:pt>
                <c:pt idx="849">
                  <c:v>All Others</c:v>
                </c:pt>
                <c:pt idx="850">
                  <c:v>All Others</c:v>
                </c:pt>
                <c:pt idx="851">
                  <c:v>All Others</c:v>
                </c:pt>
                <c:pt idx="852">
                  <c:v>Private Lab</c:v>
                </c:pt>
                <c:pt idx="853">
                  <c:v>All Others</c:v>
                </c:pt>
                <c:pt idx="854">
                  <c:v>L'Ortolan</c:v>
                </c:pt>
                <c:pt idx="855">
                  <c:v>Nurishh</c:v>
                </c:pt>
                <c:pt idx="856">
                  <c:v>Entremont</c:v>
                </c:pt>
                <c:pt idx="857">
                  <c:v>All Others</c:v>
                </c:pt>
                <c:pt idx="858">
                  <c:v>Richesmonts</c:v>
                </c:pt>
                <c:pt idx="859">
                  <c:v>O'Tapas Ape</c:v>
                </c:pt>
                <c:pt idx="860">
                  <c:v>All Others</c:v>
                </c:pt>
                <c:pt idx="861">
                  <c:v>Boursin</c:v>
                </c:pt>
                <c:pt idx="862">
                  <c:v>Salakis</c:v>
                </c:pt>
                <c:pt idx="863">
                  <c:v>All Others</c:v>
                </c:pt>
                <c:pt idx="864">
                  <c:v>Violife</c:v>
                </c:pt>
                <c:pt idx="865">
                  <c:v>All Others</c:v>
                </c:pt>
                <c:pt idx="866">
                  <c:v>Private Lab</c:v>
                </c:pt>
                <c:pt idx="867">
                  <c:v>All Others</c:v>
                </c:pt>
                <c:pt idx="868">
                  <c:v>All Others</c:v>
                </c:pt>
                <c:pt idx="869">
                  <c:v>Nurishh</c:v>
                </c:pt>
                <c:pt idx="870">
                  <c:v>Coeur De Li</c:v>
                </c:pt>
                <c:pt idx="871">
                  <c:v>Le Coq Crem</c:v>
                </c:pt>
                <c:pt idx="872">
                  <c:v>La Belle Et</c:v>
                </c:pt>
                <c:pt idx="873">
                  <c:v>All Others</c:v>
                </c:pt>
                <c:pt idx="874">
                  <c:v>All Others</c:v>
                </c:pt>
                <c:pt idx="875">
                  <c:v>All Others</c:v>
                </c:pt>
                <c:pt idx="876">
                  <c:v>Lactalis: A</c:v>
                </c:pt>
                <c:pt idx="877">
                  <c:v>Pave D'Affi</c:v>
                </c:pt>
                <c:pt idx="878">
                  <c:v>All Others</c:v>
                </c:pt>
                <c:pt idx="879">
                  <c:v>All Others</c:v>
                </c:pt>
                <c:pt idx="880">
                  <c:v>President</c:v>
                </c:pt>
                <c:pt idx="881">
                  <c:v>Triballat R</c:v>
                </c:pt>
                <c:pt idx="882">
                  <c:v>Galbani</c:v>
                </c:pt>
                <c:pt idx="883">
                  <c:v>Paysan Bret</c:v>
                </c:pt>
                <c:pt idx="884">
                  <c:v>Private Lab</c:v>
                </c:pt>
                <c:pt idx="885">
                  <c:v>Savencia: A</c:v>
                </c:pt>
                <c:pt idx="886">
                  <c:v>All Others</c:v>
                </c:pt>
                <c:pt idx="887">
                  <c:v>All Others</c:v>
                </c:pt>
                <c:pt idx="888">
                  <c:v>All Others</c:v>
                </c:pt>
                <c:pt idx="889">
                  <c:v>All Others</c:v>
                </c:pt>
                <c:pt idx="890">
                  <c:v>All Others</c:v>
                </c:pt>
                <c:pt idx="891">
                  <c:v>Casa Azzurr</c:v>
                </c:pt>
                <c:pt idx="892">
                  <c:v>All Others</c:v>
                </c:pt>
                <c:pt idx="893">
                  <c:v>Private Lab</c:v>
                </c:pt>
                <c:pt idx="894">
                  <c:v>All Others</c:v>
                </c:pt>
                <c:pt idx="895">
                  <c:v>All Others</c:v>
                </c:pt>
                <c:pt idx="896">
                  <c:v>All Others</c:v>
                </c:pt>
                <c:pt idx="897">
                  <c:v>Nurishh</c:v>
                </c:pt>
                <c:pt idx="898">
                  <c:v>All Others</c:v>
                </c:pt>
                <c:pt idx="899">
                  <c:v>Milleret: A</c:v>
                </c:pt>
                <c:pt idx="900">
                  <c:v>Violife</c:v>
                </c:pt>
                <c:pt idx="901">
                  <c:v>Private Lab</c:v>
                </c:pt>
                <c:pt idx="902">
                  <c:v>Tartare</c:v>
                </c:pt>
                <c:pt idx="903">
                  <c:v>All Others</c:v>
                </c:pt>
                <c:pt idx="904">
                  <c:v>All Others</c:v>
                </c:pt>
                <c:pt idx="905">
                  <c:v>Private Lab</c:v>
                </c:pt>
                <c:pt idx="906">
                  <c:v>All Others</c:v>
                </c:pt>
                <c:pt idx="907">
                  <c:v>President</c:v>
                </c:pt>
                <c:pt idx="908">
                  <c:v>Entremont</c:v>
                </c:pt>
                <c:pt idx="909">
                  <c:v>All Others</c:v>
                </c:pt>
                <c:pt idx="910">
                  <c:v>Galbani</c:v>
                </c:pt>
                <c:pt idx="911">
                  <c:v>Galbani</c:v>
                </c:pt>
                <c:pt idx="912">
                  <c:v>Triballat R</c:v>
                </c:pt>
                <c:pt idx="913">
                  <c:v>All Others</c:v>
                </c:pt>
                <c:pt idx="914">
                  <c:v>All Others</c:v>
                </c:pt>
                <c:pt idx="915">
                  <c:v>All Others</c:v>
                </c:pt>
                <c:pt idx="916">
                  <c:v>Savencia: A</c:v>
                </c:pt>
                <c:pt idx="917">
                  <c:v>All Others</c:v>
                </c:pt>
                <c:pt idx="918">
                  <c:v>All Others</c:v>
                </c:pt>
                <c:pt idx="919">
                  <c:v>Eurial Autr</c:v>
                </c:pt>
                <c:pt idx="920">
                  <c:v>Etorki</c:v>
                </c:pt>
                <c:pt idx="921">
                  <c:v>All Others</c:v>
                </c:pt>
                <c:pt idx="922">
                  <c:v>All Others</c:v>
                </c:pt>
                <c:pt idx="923">
                  <c:v>Paysan Bret</c:v>
                </c:pt>
                <c:pt idx="924">
                  <c:v>Lactalis: A</c:v>
                </c:pt>
                <c:pt idx="925">
                  <c:v>Triballat R</c:v>
                </c:pt>
                <c:pt idx="926">
                  <c:v>Tartare</c:v>
                </c:pt>
                <c:pt idx="927">
                  <c:v>Bresse Bleu</c:v>
                </c:pt>
                <c:pt idx="928">
                  <c:v>All Others</c:v>
                </c:pt>
                <c:pt idx="929">
                  <c:v>All Others</c:v>
                </c:pt>
                <c:pt idx="930">
                  <c:v>President</c:v>
                </c:pt>
                <c:pt idx="931">
                  <c:v>All Others</c:v>
                </c:pt>
                <c:pt idx="932">
                  <c:v>Nurishh</c:v>
                </c:pt>
                <c:pt idx="933">
                  <c:v>All Others</c:v>
                </c:pt>
                <c:pt idx="934">
                  <c:v>Private Lab</c:v>
                </c:pt>
                <c:pt idx="935">
                  <c:v>All Others</c:v>
                </c:pt>
                <c:pt idx="936">
                  <c:v>Boursin</c:v>
                </c:pt>
                <c:pt idx="937">
                  <c:v>All Others</c:v>
                </c:pt>
                <c:pt idx="938">
                  <c:v>All Others</c:v>
                </c:pt>
                <c:pt idx="939">
                  <c:v>Savencia: A</c:v>
                </c:pt>
                <c:pt idx="940">
                  <c:v>St Moret</c:v>
                </c:pt>
                <c:pt idx="941">
                  <c:v>Lactalis: A</c:v>
                </c:pt>
                <c:pt idx="942">
                  <c:v>Private Lab</c:v>
                </c:pt>
                <c:pt idx="943">
                  <c:v>All Others</c:v>
                </c:pt>
                <c:pt idx="944">
                  <c:v>All Others</c:v>
                </c:pt>
                <c:pt idx="945">
                  <c:v>Savencia: A</c:v>
                </c:pt>
                <c:pt idx="946">
                  <c:v>La Belle Et</c:v>
                </c:pt>
                <c:pt idx="947">
                  <c:v>All Others</c:v>
                </c:pt>
                <c:pt idx="948">
                  <c:v>All Others</c:v>
                </c:pt>
                <c:pt idx="949">
                  <c:v>All Others</c:v>
                </c:pt>
                <c:pt idx="950">
                  <c:v>Violife</c:v>
                </c:pt>
                <c:pt idx="951">
                  <c:v>All Others</c:v>
                </c:pt>
                <c:pt idx="952">
                  <c:v>All Others</c:v>
                </c:pt>
                <c:pt idx="953">
                  <c:v>President</c:v>
                </c:pt>
                <c:pt idx="954">
                  <c:v>Private Lab</c:v>
                </c:pt>
                <c:pt idx="955">
                  <c:v>Aperivrais</c:v>
                </c:pt>
                <c:pt idx="956">
                  <c:v>All Others</c:v>
                </c:pt>
                <c:pt idx="957">
                  <c:v>All Others</c:v>
                </c:pt>
                <c:pt idx="958">
                  <c:v>Apericube</c:v>
                </c:pt>
                <c:pt idx="959">
                  <c:v>All Others</c:v>
                </c:pt>
                <c:pt idx="960">
                  <c:v>All Others</c:v>
                </c:pt>
                <c:pt idx="961">
                  <c:v>Lactalis: A</c:v>
                </c:pt>
                <c:pt idx="962">
                  <c:v>All Others</c:v>
                </c:pt>
                <c:pt idx="963">
                  <c:v>Private Lab</c:v>
                </c:pt>
                <c:pt idx="964">
                  <c:v>Private Lab</c:v>
                </c:pt>
                <c:pt idx="965">
                  <c:v>Leerdammer</c:v>
                </c:pt>
                <c:pt idx="966">
                  <c:v>All Others</c:v>
                </c:pt>
                <c:pt idx="967">
                  <c:v>All Others</c:v>
                </c:pt>
                <c:pt idx="968">
                  <c:v>Private Lab</c:v>
                </c:pt>
                <c:pt idx="969">
                  <c:v>Petit Billy</c:v>
                </c:pt>
                <c:pt idx="970">
                  <c:v>Apericube</c:v>
                </c:pt>
                <c:pt idx="971">
                  <c:v>Private Lab</c:v>
                </c:pt>
                <c:pt idx="972">
                  <c:v>Boursin</c:v>
                </c:pt>
                <c:pt idx="973">
                  <c:v>Violife</c:v>
                </c:pt>
                <c:pt idx="974">
                  <c:v>Leerdammer</c:v>
                </c:pt>
                <c:pt idx="975">
                  <c:v>All Others</c:v>
                </c:pt>
                <c:pt idx="976">
                  <c:v>All Others</c:v>
                </c:pt>
                <c:pt idx="977">
                  <c:v>President</c:v>
                </c:pt>
                <c:pt idx="978">
                  <c:v>Mini Babybe</c:v>
                </c:pt>
                <c:pt idx="979">
                  <c:v>All Others</c:v>
                </c:pt>
                <c:pt idx="980">
                  <c:v>All Others</c:v>
                </c:pt>
                <c:pt idx="981">
                  <c:v>All Others</c:v>
                </c:pt>
                <c:pt idx="982">
                  <c:v>Chavroux</c:v>
                </c:pt>
                <c:pt idx="983">
                  <c:v>All Others</c:v>
                </c:pt>
                <c:pt idx="984">
                  <c:v>Entremont</c:v>
                </c:pt>
                <c:pt idx="985">
                  <c:v>All Others</c:v>
                </c:pt>
                <c:pt idx="986">
                  <c:v>Etoile Du V</c:v>
                </c:pt>
                <c:pt idx="987">
                  <c:v>All Others</c:v>
                </c:pt>
                <c:pt idx="988">
                  <c:v>Apericube</c:v>
                </c:pt>
                <c:pt idx="989">
                  <c:v>Private Lab</c:v>
                </c:pt>
                <c:pt idx="990">
                  <c:v>Lou Perac</c:v>
                </c:pt>
                <c:pt idx="991">
                  <c:v>Fol Epi</c:v>
                </c:pt>
                <c:pt idx="992">
                  <c:v>Eurial Autr</c:v>
                </c:pt>
                <c:pt idx="993">
                  <c:v>Private Lab</c:v>
                </c:pt>
                <c:pt idx="994">
                  <c:v>All Others</c:v>
                </c:pt>
                <c:pt idx="995">
                  <c:v>All Others</c:v>
                </c:pt>
                <c:pt idx="996">
                  <c:v>President</c:v>
                </c:pt>
                <c:pt idx="997">
                  <c:v>All Others</c:v>
                </c:pt>
                <c:pt idx="998">
                  <c:v>All Others</c:v>
                </c:pt>
                <c:pt idx="999">
                  <c:v>Richesmonts</c:v>
                </c:pt>
                <c:pt idx="1000">
                  <c:v>Eurial Autr</c:v>
                </c:pt>
                <c:pt idx="1001">
                  <c:v>All Others</c:v>
                </c:pt>
                <c:pt idx="1002">
                  <c:v>All Others</c:v>
                </c:pt>
                <c:pt idx="1003">
                  <c:v>All Others</c:v>
                </c:pt>
                <c:pt idx="1004">
                  <c:v>Savencia: A</c:v>
                </c:pt>
                <c:pt idx="1005">
                  <c:v>La Pointe P</c:v>
                </c:pt>
                <c:pt idx="1006">
                  <c:v>All Others</c:v>
                </c:pt>
                <c:pt idx="1007">
                  <c:v>All Others</c:v>
                </c:pt>
                <c:pt idx="1008">
                  <c:v>All Others</c:v>
                </c:pt>
                <c:pt idx="1009">
                  <c:v>All Others</c:v>
                </c:pt>
                <c:pt idx="1010">
                  <c:v>All Others</c:v>
                </c:pt>
                <c:pt idx="1011">
                  <c:v>All Others</c:v>
                </c:pt>
                <c:pt idx="1012">
                  <c:v>All Others</c:v>
                </c:pt>
                <c:pt idx="1013">
                  <c:v>All Others</c:v>
                </c:pt>
                <c:pt idx="1014">
                  <c:v>All Others</c:v>
                </c:pt>
                <c:pt idx="1015">
                  <c:v>Savencia: A</c:v>
                </c:pt>
                <c:pt idx="1016">
                  <c:v>All Others</c:v>
                </c:pt>
                <c:pt idx="1017">
                  <c:v>Private Lab</c:v>
                </c:pt>
                <c:pt idx="1018">
                  <c:v>President</c:v>
                </c:pt>
                <c:pt idx="1019">
                  <c:v>Lactalis: A</c:v>
                </c:pt>
                <c:pt idx="1020">
                  <c:v>All Others</c:v>
                </c:pt>
                <c:pt idx="1021">
                  <c:v>All Others</c:v>
                </c:pt>
                <c:pt idx="1022">
                  <c:v>All Others</c:v>
                </c:pt>
                <c:pt idx="1023">
                  <c:v>All Others</c:v>
                </c:pt>
                <c:pt idx="1024">
                  <c:v>Aperivrais</c:v>
                </c:pt>
                <c:pt idx="1025">
                  <c:v>All Others</c:v>
                </c:pt>
                <c:pt idx="1026">
                  <c:v>Violife</c:v>
                </c:pt>
                <c:pt idx="1027">
                  <c:v>Bresse Bleu</c:v>
                </c:pt>
                <c:pt idx="1028">
                  <c:v>Etoile Du V</c:v>
                </c:pt>
                <c:pt idx="1029">
                  <c:v>All Others</c:v>
                </c:pt>
                <c:pt idx="1030">
                  <c:v>Private Lab</c:v>
                </c:pt>
                <c:pt idx="1031">
                  <c:v>All Others</c:v>
                </c:pt>
                <c:pt idx="1032">
                  <c:v>Etoile Du Q</c:v>
                </c:pt>
                <c:pt idx="1033">
                  <c:v>All Others</c:v>
                </c:pt>
                <c:pt idx="1034">
                  <c:v>All Others</c:v>
                </c:pt>
                <c:pt idx="1035">
                  <c:v>Etoile Du V</c:v>
                </c:pt>
                <c:pt idx="1036">
                  <c:v>Societe</c:v>
                </c:pt>
                <c:pt idx="1037">
                  <c:v>Leerdammer</c:v>
                </c:pt>
                <c:pt idx="1038">
                  <c:v>All Others</c:v>
                </c:pt>
                <c:pt idx="1039">
                  <c:v>All Others</c:v>
                </c:pt>
                <c:pt idx="1040">
                  <c:v>Corsica</c:v>
                </c:pt>
                <c:pt idx="1041">
                  <c:v>Lactalis: A</c:v>
                </c:pt>
                <c:pt idx="1042">
                  <c:v>All Others</c:v>
                </c:pt>
                <c:pt idx="1043">
                  <c:v>Lactalis: A</c:v>
                </c:pt>
                <c:pt idx="1044">
                  <c:v>Private Lab</c:v>
                </c:pt>
                <c:pt idx="1045">
                  <c:v>President</c:v>
                </c:pt>
                <c:pt idx="1046">
                  <c:v>All Others</c:v>
                </c:pt>
                <c:pt idx="1047">
                  <c:v>All Others</c:v>
                </c:pt>
                <c:pt idx="1048">
                  <c:v>Tartare</c:v>
                </c:pt>
                <c:pt idx="1049">
                  <c:v>All Others</c:v>
                </c:pt>
                <c:pt idx="1050">
                  <c:v>All Others</c:v>
                </c:pt>
                <c:pt idx="1051">
                  <c:v>Leerdammer</c:v>
                </c:pt>
                <c:pt idx="1052">
                  <c:v>All Others</c:v>
                </c:pt>
                <c:pt idx="1053">
                  <c:v>All Others</c:v>
                </c:pt>
                <c:pt idx="1054">
                  <c:v>All Others</c:v>
                </c:pt>
                <c:pt idx="1055">
                  <c:v>All Others</c:v>
                </c:pt>
                <c:pt idx="1056">
                  <c:v>All Others</c:v>
                </c:pt>
                <c:pt idx="1057">
                  <c:v>L'Ortolan</c:v>
                </c:pt>
                <c:pt idx="1058">
                  <c:v>All Others</c:v>
                </c:pt>
                <c:pt idx="1059">
                  <c:v>All Others</c:v>
                </c:pt>
                <c:pt idx="1060">
                  <c:v>Apericube</c:v>
                </c:pt>
                <c:pt idx="1061">
                  <c:v>Entremont</c:v>
                </c:pt>
                <c:pt idx="1062">
                  <c:v>All Others</c:v>
                </c:pt>
                <c:pt idx="1063">
                  <c:v>Nurishh</c:v>
                </c:pt>
                <c:pt idx="1064">
                  <c:v>Nurishh</c:v>
                </c:pt>
                <c:pt idx="1065">
                  <c:v>Boursin</c:v>
                </c:pt>
                <c:pt idx="1066">
                  <c:v>Lactalis: A</c:v>
                </c:pt>
                <c:pt idx="1067">
                  <c:v>Private Lab</c:v>
                </c:pt>
                <c:pt idx="1068">
                  <c:v>All Others</c:v>
                </c:pt>
                <c:pt idx="1069">
                  <c:v>Carre Frais</c:v>
                </c:pt>
                <c:pt idx="1070">
                  <c:v>All Others</c:v>
                </c:pt>
                <c:pt idx="1071">
                  <c:v>All Others</c:v>
                </c:pt>
                <c:pt idx="1072">
                  <c:v>All Others</c:v>
                </c:pt>
                <c:pt idx="1073">
                  <c:v>All Others</c:v>
                </c:pt>
                <c:pt idx="1074">
                  <c:v>All Others</c:v>
                </c:pt>
                <c:pt idx="1075">
                  <c:v>Paysan Bret</c:v>
                </c:pt>
                <c:pt idx="1076">
                  <c:v>All Others</c:v>
                </c:pt>
                <c:pt idx="1077">
                  <c:v>All Others</c:v>
                </c:pt>
                <c:pt idx="1078">
                  <c:v>Eurial Autr</c:v>
                </c:pt>
                <c:pt idx="1079">
                  <c:v>All Others</c:v>
                </c:pt>
                <c:pt idx="1080">
                  <c:v>All Others</c:v>
                </c:pt>
                <c:pt idx="1081">
                  <c:v>Private Lab</c:v>
                </c:pt>
                <c:pt idx="1082">
                  <c:v>All Others</c:v>
                </c:pt>
                <c:pt idx="1083">
                  <c:v>All Others</c:v>
                </c:pt>
                <c:pt idx="1084">
                  <c:v>Boursin</c:v>
                </c:pt>
                <c:pt idx="1085">
                  <c:v>All Others</c:v>
                </c:pt>
                <c:pt idx="1086">
                  <c:v>All Others</c:v>
                </c:pt>
                <c:pt idx="1087">
                  <c:v>Private Lab</c:v>
                </c:pt>
                <c:pt idx="1088">
                  <c:v>All Others</c:v>
                </c:pt>
                <c:pt idx="1089">
                  <c:v>All Others</c:v>
                </c:pt>
                <c:pt idx="1090">
                  <c:v>Private Lab</c:v>
                </c:pt>
                <c:pt idx="1091">
                  <c:v>Nurishh</c:v>
                </c:pt>
                <c:pt idx="1092">
                  <c:v>All Others</c:v>
                </c:pt>
                <c:pt idx="1093">
                  <c:v>Triballat N</c:v>
                </c:pt>
                <c:pt idx="1094">
                  <c:v>All Others</c:v>
                </c:pt>
                <c:pt idx="1095">
                  <c:v>Lactalis: A</c:v>
                </c:pt>
                <c:pt idx="1096">
                  <c:v>All Others</c:v>
                </c:pt>
                <c:pt idx="1097">
                  <c:v>All Others</c:v>
                </c:pt>
                <c:pt idx="1098">
                  <c:v>All Others</c:v>
                </c:pt>
                <c:pt idx="1099">
                  <c:v>All Others</c:v>
                </c:pt>
                <c:pt idx="1100">
                  <c:v>Private Lab</c:v>
                </c:pt>
                <c:pt idx="1101">
                  <c:v>All Others</c:v>
                </c:pt>
                <c:pt idx="1102">
                  <c:v>All Others</c:v>
                </c:pt>
                <c:pt idx="1103">
                  <c:v>All Others</c:v>
                </c:pt>
                <c:pt idx="1104">
                  <c:v>Lactalis: A</c:v>
                </c:pt>
                <c:pt idx="1105">
                  <c:v>Casa Azzurr</c:v>
                </c:pt>
                <c:pt idx="1106">
                  <c:v>O'Tapas Ape</c:v>
                </c:pt>
                <c:pt idx="1107">
                  <c:v>All Others</c:v>
                </c:pt>
                <c:pt idx="1108">
                  <c:v>All Others</c:v>
                </c:pt>
                <c:pt idx="1109">
                  <c:v>All Others</c:v>
                </c:pt>
                <c:pt idx="1110">
                  <c:v>All Others</c:v>
                </c:pt>
                <c:pt idx="1111">
                  <c:v>All Others</c:v>
                </c:pt>
                <c:pt idx="1112">
                  <c:v>All Others</c:v>
                </c:pt>
                <c:pt idx="1113">
                  <c:v>All Others</c:v>
                </c:pt>
                <c:pt idx="1114">
                  <c:v>All Others</c:v>
                </c:pt>
                <c:pt idx="1115">
                  <c:v>Pave D'Affi</c:v>
                </c:pt>
                <c:pt idx="1116">
                  <c:v>All Others</c:v>
                </c:pt>
                <c:pt idx="1117">
                  <c:v>Eurial Autr</c:v>
                </c:pt>
                <c:pt idx="1118">
                  <c:v>All Others</c:v>
                </c:pt>
                <c:pt idx="1119">
                  <c:v>All Others</c:v>
                </c:pt>
                <c:pt idx="1120">
                  <c:v>All Others</c:v>
                </c:pt>
                <c:pt idx="1121">
                  <c:v>All Others</c:v>
                </c:pt>
                <c:pt idx="1122">
                  <c:v>Pochat</c:v>
                </c:pt>
                <c:pt idx="1123">
                  <c:v>Private Lab</c:v>
                </c:pt>
                <c:pt idx="1124">
                  <c:v>All Others</c:v>
                </c:pt>
                <c:pt idx="1125">
                  <c:v>Soignon</c:v>
                </c:pt>
                <c:pt idx="1126">
                  <c:v>Soignon</c:v>
                </c:pt>
                <c:pt idx="1127">
                  <c:v>P'Tit Louis</c:v>
                </c:pt>
                <c:pt idx="1128">
                  <c:v>All Others</c:v>
                </c:pt>
                <c:pt idx="1129">
                  <c:v>Private Lab</c:v>
                </c:pt>
                <c:pt idx="1130">
                  <c:v>Istara</c:v>
                </c:pt>
                <c:pt idx="1131">
                  <c:v>President</c:v>
                </c:pt>
                <c:pt idx="1132">
                  <c:v>All Others</c:v>
                </c:pt>
                <c:pt idx="1133">
                  <c:v>Private Lab</c:v>
                </c:pt>
                <c:pt idx="1134">
                  <c:v>All Others</c:v>
                </c:pt>
                <c:pt idx="1135">
                  <c:v>Savencia: A</c:v>
                </c:pt>
                <c:pt idx="1136">
                  <c:v>All Others</c:v>
                </c:pt>
                <c:pt idx="1137">
                  <c:v>Lactalis: A</c:v>
                </c:pt>
                <c:pt idx="1138">
                  <c:v>Salakis</c:v>
                </c:pt>
                <c:pt idx="1139">
                  <c:v>President</c:v>
                </c:pt>
                <c:pt idx="1140">
                  <c:v>All Others</c:v>
                </c:pt>
                <c:pt idx="1141">
                  <c:v>All Others</c:v>
                </c:pt>
                <c:pt idx="1142">
                  <c:v>Lactalis: A</c:v>
                </c:pt>
                <c:pt idx="1143">
                  <c:v>All Others</c:v>
                </c:pt>
                <c:pt idx="1144">
                  <c:v>Private Lab</c:v>
                </c:pt>
                <c:pt idx="1145">
                  <c:v>All Others</c:v>
                </c:pt>
                <c:pt idx="1146">
                  <c:v>All Others</c:v>
                </c:pt>
                <c:pt idx="1147">
                  <c:v>All Others</c:v>
                </c:pt>
                <c:pt idx="1148">
                  <c:v>All Others</c:v>
                </c:pt>
                <c:pt idx="1149">
                  <c:v>Lactalis: A</c:v>
                </c:pt>
                <c:pt idx="1150">
                  <c:v>Etoile Du V</c:v>
                </c:pt>
                <c:pt idx="1151">
                  <c:v>Private Lab</c:v>
                </c:pt>
                <c:pt idx="1152">
                  <c:v>Boursin</c:v>
                </c:pt>
                <c:pt idx="1153">
                  <c:v>All Others</c:v>
                </c:pt>
                <c:pt idx="1154">
                  <c:v>All Others</c:v>
                </c:pt>
                <c:pt idx="1155">
                  <c:v>All Others</c:v>
                </c:pt>
                <c:pt idx="1156">
                  <c:v>Lactalis: A</c:v>
                </c:pt>
                <c:pt idx="1157">
                  <c:v>Leerdammer</c:v>
                </c:pt>
                <c:pt idx="1158">
                  <c:v>All Others</c:v>
                </c:pt>
                <c:pt idx="1159">
                  <c:v>Richesmonts</c:v>
                </c:pt>
                <c:pt idx="1160">
                  <c:v>All Others</c:v>
                </c:pt>
                <c:pt idx="1161">
                  <c:v>All Others</c:v>
                </c:pt>
                <c:pt idx="1162">
                  <c:v>Bresse Bleu</c:v>
                </c:pt>
                <c:pt idx="1163">
                  <c:v>Boursin</c:v>
                </c:pt>
                <c:pt idx="1164">
                  <c:v>All Others</c:v>
                </c:pt>
                <c:pt idx="1165">
                  <c:v>All Others</c:v>
                </c:pt>
                <c:pt idx="1166">
                  <c:v>All Others</c:v>
                </c:pt>
                <c:pt idx="1167">
                  <c:v>All Others</c:v>
                </c:pt>
                <c:pt idx="1168">
                  <c:v>Etoile Du V</c:v>
                </c:pt>
                <c:pt idx="1169">
                  <c:v>Milleret: A</c:v>
                </c:pt>
                <c:pt idx="1170">
                  <c:v>Juraflore</c:v>
                </c:pt>
                <c:pt idx="1171">
                  <c:v>Apericube</c:v>
                </c:pt>
                <c:pt idx="1172">
                  <c:v>Le Saint Am</c:v>
                </c:pt>
                <c:pt idx="1173">
                  <c:v>Coeur De Li</c:v>
                </c:pt>
                <c:pt idx="1174">
                  <c:v>Salakis</c:v>
                </c:pt>
                <c:pt idx="1175">
                  <c:v>All Others</c:v>
                </c:pt>
                <c:pt idx="1176">
                  <c:v>All Others</c:v>
                </c:pt>
                <c:pt idx="1177">
                  <c:v>All Others</c:v>
                </c:pt>
                <c:pt idx="1178">
                  <c:v>All Others</c:v>
                </c:pt>
                <c:pt idx="1179">
                  <c:v>La Belle Et</c:v>
                </c:pt>
                <c:pt idx="1180">
                  <c:v>All Others</c:v>
                </c:pt>
                <c:pt idx="1181">
                  <c:v>Boursin</c:v>
                </c:pt>
                <c:pt idx="1182">
                  <c:v>Etoile Du V</c:v>
                </c:pt>
                <c:pt idx="1183">
                  <c:v>All Others</c:v>
                </c:pt>
                <c:pt idx="1184">
                  <c:v>All Others</c:v>
                </c:pt>
                <c:pt idx="1185">
                  <c:v>Le Saint Am</c:v>
                </c:pt>
                <c:pt idx="1186">
                  <c:v>All Others</c:v>
                </c:pt>
                <c:pt idx="1187">
                  <c:v>All Others</c:v>
                </c:pt>
                <c:pt idx="1188">
                  <c:v>All Others</c:v>
                </c:pt>
                <c:pt idx="1189">
                  <c:v>Boursin</c:v>
                </c:pt>
                <c:pt idx="1190">
                  <c:v>Etoile Du V</c:v>
                </c:pt>
                <c:pt idx="1191">
                  <c:v>Boursin</c:v>
                </c:pt>
                <c:pt idx="1192">
                  <c:v>Etoile Du V</c:v>
                </c:pt>
                <c:pt idx="1193">
                  <c:v>All Others</c:v>
                </c:pt>
                <c:pt idx="1194">
                  <c:v>Private Lab</c:v>
                </c:pt>
                <c:pt idx="1195">
                  <c:v>All Others</c:v>
                </c:pt>
                <c:pt idx="1196">
                  <c:v>Etoile Du V</c:v>
                </c:pt>
                <c:pt idx="1197">
                  <c:v>All Others</c:v>
                </c:pt>
                <c:pt idx="1198">
                  <c:v>All Others</c:v>
                </c:pt>
                <c:pt idx="1199">
                  <c:v>Private Lab</c:v>
                </c:pt>
                <c:pt idx="1200">
                  <c:v>Private Lab</c:v>
                </c:pt>
                <c:pt idx="1201">
                  <c:v>All Others</c:v>
                </c:pt>
                <c:pt idx="1202">
                  <c:v>All Others</c:v>
                </c:pt>
                <c:pt idx="1203">
                  <c:v>All Others</c:v>
                </c:pt>
                <c:pt idx="1204">
                  <c:v>All Others</c:v>
                </c:pt>
                <c:pt idx="1205">
                  <c:v>All Others</c:v>
                </c:pt>
                <c:pt idx="1206">
                  <c:v>All Others</c:v>
                </c:pt>
                <c:pt idx="1207">
                  <c:v>Private Lab</c:v>
                </c:pt>
                <c:pt idx="1208">
                  <c:v>All Others</c:v>
                </c:pt>
                <c:pt idx="1209">
                  <c:v>All Others</c:v>
                </c:pt>
                <c:pt idx="1210">
                  <c:v>All Others</c:v>
                </c:pt>
                <c:pt idx="1211">
                  <c:v>All Others</c:v>
                </c:pt>
                <c:pt idx="1212">
                  <c:v>Boursin</c:v>
                </c:pt>
                <c:pt idx="1213">
                  <c:v>Casa Azzurr</c:v>
                </c:pt>
                <c:pt idx="1214">
                  <c:v>Paysan Bret</c:v>
                </c:pt>
                <c:pt idx="1215">
                  <c:v>Private Lab</c:v>
                </c:pt>
                <c:pt idx="1216">
                  <c:v>All Others</c:v>
                </c:pt>
                <c:pt idx="1217">
                  <c:v>All Others</c:v>
                </c:pt>
                <c:pt idx="1218">
                  <c:v>Etoile Du V</c:v>
                </c:pt>
                <c:pt idx="1219">
                  <c:v>All Others</c:v>
                </c:pt>
                <c:pt idx="1220">
                  <c:v>All Others</c:v>
                </c:pt>
                <c:pt idx="1221">
                  <c:v>All Others</c:v>
                </c:pt>
                <c:pt idx="1222">
                  <c:v>All Others</c:v>
                </c:pt>
                <c:pt idx="1223">
                  <c:v>All Others</c:v>
                </c:pt>
                <c:pt idx="1224">
                  <c:v>All Others</c:v>
                </c:pt>
                <c:pt idx="1225">
                  <c:v>Tartare</c:v>
                </c:pt>
                <c:pt idx="1226">
                  <c:v>Carre Frais</c:v>
                </c:pt>
                <c:pt idx="1227">
                  <c:v>All Others</c:v>
                </c:pt>
                <c:pt idx="1228">
                  <c:v>All Others</c:v>
                </c:pt>
                <c:pt idx="1229">
                  <c:v>All Others</c:v>
                </c:pt>
                <c:pt idx="1230">
                  <c:v>Raguin</c:v>
                </c:pt>
                <c:pt idx="1231">
                  <c:v>Eurial Autr</c:v>
                </c:pt>
                <c:pt idx="1232">
                  <c:v>All Others</c:v>
                </c:pt>
                <c:pt idx="1233">
                  <c:v>All Others</c:v>
                </c:pt>
                <c:pt idx="1234">
                  <c:v>Pave D'Affi</c:v>
                </c:pt>
                <c:pt idx="1235">
                  <c:v>All Others</c:v>
                </c:pt>
                <c:pt idx="1236">
                  <c:v>Casa Azzurr</c:v>
                </c:pt>
                <c:pt idx="1237">
                  <c:v>Private Lab</c:v>
                </c:pt>
                <c:pt idx="1238">
                  <c:v>All Others</c:v>
                </c:pt>
                <c:pt idx="1239">
                  <c:v>All Others</c:v>
                </c:pt>
                <c:pt idx="1240">
                  <c:v>All Others</c:v>
                </c:pt>
                <c:pt idx="1241">
                  <c:v>All Others</c:v>
                </c:pt>
                <c:pt idx="1242">
                  <c:v>Philadelphi</c:v>
                </c:pt>
                <c:pt idx="1243">
                  <c:v>All Others</c:v>
                </c:pt>
                <c:pt idx="1244">
                  <c:v>Mini Babybe</c:v>
                </c:pt>
                <c:pt idx="1245">
                  <c:v>All Others</c:v>
                </c:pt>
                <c:pt idx="1246">
                  <c:v>All Others</c:v>
                </c:pt>
                <c:pt idx="1247">
                  <c:v>Private Lab</c:v>
                </c:pt>
                <c:pt idx="1248">
                  <c:v>All Others</c:v>
                </c:pt>
                <c:pt idx="1249">
                  <c:v>Pave D'Affi</c:v>
                </c:pt>
                <c:pt idx="1250">
                  <c:v>Etoile Du V</c:v>
                </c:pt>
                <c:pt idx="1251">
                  <c:v>Etoile Du Q</c:v>
                </c:pt>
                <c:pt idx="1252">
                  <c:v>All Others</c:v>
                </c:pt>
                <c:pt idx="1253">
                  <c:v>Private Lab</c:v>
                </c:pt>
                <c:pt idx="1254">
                  <c:v>All Others</c:v>
                </c:pt>
                <c:pt idx="1255">
                  <c:v>All Others</c:v>
                </c:pt>
                <c:pt idx="1256">
                  <c:v>All Others</c:v>
                </c:pt>
                <c:pt idx="1257">
                  <c:v>Saint Albra</c:v>
                </c:pt>
                <c:pt idx="1258">
                  <c:v>La Vache Qu</c:v>
                </c:pt>
                <c:pt idx="1259">
                  <c:v>Lactalis: A</c:v>
                </c:pt>
                <c:pt idx="1260">
                  <c:v>Pochat</c:v>
                </c:pt>
                <c:pt idx="1261">
                  <c:v>All Others</c:v>
                </c:pt>
                <c:pt idx="1262">
                  <c:v>All Others</c:v>
                </c:pt>
                <c:pt idx="1263">
                  <c:v>All Others</c:v>
                </c:pt>
                <c:pt idx="1264">
                  <c:v>All Others</c:v>
                </c:pt>
                <c:pt idx="1265">
                  <c:v>All Others</c:v>
                </c:pt>
                <c:pt idx="1266">
                  <c:v>Private Lab</c:v>
                </c:pt>
                <c:pt idx="1267">
                  <c:v>Lactalis: A</c:v>
                </c:pt>
                <c:pt idx="1268">
                  <c:v>All Others</c:v>
                </c:pt>
                <c:pt idx="1269">
                  <c:v>All Others</c:v>
                </c:pt>
                <c:pt idx="1270">
                  <c:v>Lactalis: A</c:v>
                </c:pt>
                <c:pt idx="1271">
                  <c:v>All Others</c:v>
                </c:pt>
                <c:pt idx="1272">
                  <c:v>All Others</c:v>
                </c:pt>
                <c:pt idx="1273">
                  <c:v>All Others</c:v>
                </c:pt>
                <c:pt idx="1274">
                  <c:v>Private Lab</c:v>
                </c:pt>
                <c:pt idx="1275">
                  <c:v>All Others</c:v>
                </c:pt>
                <c:pt idx="1276">
                  <c:v>All Others</c:v>
                </c:pt>
                <c:pt idx="1277">
                  <c:v>All Others</c:v>
                </c:pt>
                <c:pt idx="1278">
                  <c:v>All Others</c:v>
                </c:pt>
                <c:pt idx="1279">
                  <c:v>Private Lab</c:v>
                </c:pt>
                <c:pt idx="1280">
                  <c:v>Parmareggio</c:v>
                </c:pt>
                <c:pt idx="1281">
                  <c:v>All Others</c:v>
                </c:pt>
                <c:pt idx="1282">
                  <c:v>All Others</c:v>
                </c:pt>
                <c:pt idx="1283">
                  <c:v>Galbani</c:v>
                </c:pt>
                <c:pt idx="1284">
                  <c:v>All Others</c:v>
                </c:pt>
                <c:pt idx="1285">
                  <c:v>Milleret: A</c:v>
                </c:pt>
                <c:pt idx="1286">
                  <c:v>All Others</c:v>
                </c:pt>
                <c:pt idx="1287">
                  <c:v>All Others</c:v>
                </c:pt>
                <c:pt idx="1288">
                  <c:v>All Others</c:v>
                </c:pt>
                <c:pt idx="1289">
                  <c:v>All Others</c:v>
                </c:pt>
                <c:pt idx="1290">
                  <c:v>All Others</c:v>
                </c:pt>
                <c:pt idx="1291">
                  <c:v>Corsica</c:v>
                </c:pt>
                <c:pt idx="1292">
                  <c:v>All Others</c:v>
                </c:pt>
                <c:pt idx="1293">
                  <c:v>All Others</c:v>
                </c:pt>
                <c:pt idx="1294">
                  <c:v>Etoile Du V</c:v>
                </c:pt>
                <c:pt idx="1295">
                  <c:v>Raguin</c:v>
                </c:pt>
                <c:pt idx="1296">
                  <c:v>All Others</c:v>
                </c:pt>
                <c:pt idx="1297">
                  <c:v>All Others</c:v>
                </c:pt>
                <c:pt idx="1298">
                  <c:v>All Others</c:v>
                </c:pt>
                <c:pt idx="1299">
                  <c:v>All Others</c:v>
                </c:pt>
                <c:pt idx="1300">
                  <c:v>All Others</c:v>
                </c:pt>
                <c:pt idx="1301">
                  <c:v>All Others</c:v>
                </c:pt>
                <c:pt idx="1302">
                  <c:v>All Others</c:v>
                </c:pt>
                <c:pt idx="1303">
                  <c:v>Paysan Bret</c:v>
                </c:pt>
                <c:pt idx="1304">
                  <c:v>All Others</c:v>
                </c:pt>
                <c:pt idx="1305">
                  <c:v>Societe</c:v>
                </c:pt>
                <c:pt idx="1306">
                  <c:v>All Others</c:v>
                </c:pt>
                <c:pt idx="1307">
                  <c:v>All Others</c:v>
                </c:pt>
                <c:pt idx="1308">
                  <c:v>All Others</c:v>
                </c:pt>
                <c:pt idx="1309">
                  <c:v>All Others</c:v>
                </c:pt>
                <c:pt idx="1310">
                  <c:v>All Others</c:v>
                </c:pt>
                <c:pt idx="1311">
                  <c:v>All Others</c:v>
                </c:pt>
                <c:pt idx="1312">
                  <c:v>All Others</c:v>
                </c:pt>
                <c:pt idx="1313">
                  <c:v>Lactalis: A</c:v>
                </c:pt>
                <c:pt idx="1314">
                  <c:v>All Others</c:v>
                </c:pt>
                <c:pt idx="1315">
                  <c:v>All Others</c:v>
                </c:pt>
                <c:pt idx="1316">
                  <c:v>L'Ortolan</c:v>
                </c:pt>
                <c:pt idx="1317">
                  <c:v>All Others</c:v>
                </c:pt>
                <c:pt idx="1318">
                  <c:v>All Others</c:v>
                </c:pt>
                <c:pt idx="1319">
                  <c:v>All Others</c:v>
                </c:pt>
                <c:pt idx="1320">
                  <c:v>All Others</c:v>
                </c:pt>
                <c:pt idx="1321">
                  <c:v>Nurishh</c:v>
                </c:pt>
                <c:pt idx="1322">
                  <c:v>All Others</c:v>
                </c:pt>
                <c:pt idx="1323">
                  <c:v>Private Lab</c:v>
                </c:pt>
                <c:pt idx="1324">
                  <c:v>All Others</c:v>
                </c:pt>
                <c:pt idx="1325">
                  <c:v>All Others</c:v>
                </c:pt>
                <c:pt idx="1326">
                  <c:v>All Others</c:v>
                </c:pt>
                <c:pt idx="1327">
                  <c:v>Mini Babybe</c:v>
                </c:pt>
                <c:pt idx="1328">
                  <c:v>All Others</c:v>
                </c:pt>
                <c:pt idx="1329">
                  <c:v>All Others</c:v>
                </c:pt>
                <c:pt idx="1330">
                  <c:v>All Others</c:v>
                </c:pt>
                <c:pt idx="1331">
                  <c:v>All Others</c:v>
                </c:pt>
                <c:pt idx="1332">
                  <c:v>All Others</c:v>
                </c:pt>
                <c:pt idx="1333">
                  <c:v>All Others</c:v>
                </c:pt>
                <c:pt idx="1334">
                  <c:v>All Others</c:v>
                </c:pt>
                <c:pt idx="1335">
                  <c:v>All Others</c:v>
                </c:pt>
                <c:pt idx="1336">
                  <c:v>Richesmonts</c:v>
                </c:pt>
                <c:pt idx="1337">
                  <c:v>All Others</c:v>
                </c:pt>
                <c:pt idx="1338">
                  <c:v>All Others</c:v>
                </c:pt>
                <c:pt idx="1339">
                  <c:v>All Others</c:v>
                </c:pt>
                <c:pt idx="1340">
                  <c:v>All Others</c:v>
                </c:pt>
                <c:pt idx="1341">
                  <c:v>All Others</c:v>
                </c:pt>
                <c:pt idx="1342">
                  <c:v>All Others</c:v>
                </c:pt>
                <c:pt idx="1343">
                  <c:v>All Others</c:v>
                </c:pt>
                <c:pt idx="1344">
                  <c:v>All Others</c:v>
                </c:pt>
                <c:pt idx="1345">
                  <c:v>All Others</c:v>
                </c:pt>
                <c:pt idx="1346">
                  <c:v>All Others</c:v>
                </c:pt>
                <c:pt idx="1347">
                  <c:v>All Others</c:v>
                </c:pt>
                <c:pt idx="1348">
                  <c:v>Galbani</c:v>
                </c:pt>
                <c:pt idx="1349">
                  <c:v>All Others</c:v>
                </c:pt>
                <c:pt idx="1350">
                  <c:v>All Others</c:v>
                </c:pt>
                <c:pt idx="1351">
                  <c:v>All Others</c:v>
                </c:pt>
                <c:pt idx="1352">
                  <c:v>All Others</c:v>
                </c:pt>
                <c:pt idx="1353">
                  <c:v>All Others</c:v>
                </c:pt>
                <c:pt idx="1354">
                  <c:v>All Others</c:v>
                </c:pt>
                <c:pt idx="1355">
                  <c:v>Lactalis: A</c:v>
                </c:pt>
                <c:pt idx="1356">
                  <c:v>All Others</c:v>
                </c:pt>
                <c:pt idx="1357">
                  <c:v>All Others</c:v>
                </c:pt>
                <c:pt idx="1358">
                  <c:v>All Others</c:v>
                </c:pt>
                <c:pt idx="1359">
                  <c:v>All Others</c:v>
                </c:pt>
                <c:pt idx="1360">
                  <c:v>All Others</c:v>
                </c:pt>
                <c:pt idx="1361">
                  <c:v>Private Lab</c:v>
                </c:pt>
                <c:pt idx="1362">
                  <c:v>All Others</c:v>
                </c:pt>
                <c:pt idx="1363">
                  <c:v>All Others</c:v>
                </c:pt>
                <c:pt idx="1364">
                  <c:v>All Others</c:v>
                </c:pt>
                <c:pt idx="1365">
                  <c:v>All Others</c:v>
                </c:pt>
                <c:pt idx="1366">
                  <c:v>All Others</c:v>
                </c:pt>
                <c:pt idx="1367">
                  <c:v>All Others</c:v>
                </c:pt>
                <c:pt idx="1368">
                  <c:v>All Others</c:v>
                </c:pt>
                <c:pt idx="1369">
                  <c:v>All Others</c:v>
                </c:pt>
                <c:pt idx="1370">
                  <c:v>Casa Azzurr</c:v>
                </c:pt>
                <c:pt idx="1371">
                  <c:v>All Others</c:v>
                </c:pt>
                <c:pt idx="1372">
                  <c:v>All Others</c:v>
                </c:pt>
                <c:pt idx="1373">
                  <c:v>Fauquet</c:v>
                </c:pt>
                <c:pt idx="1374">
                  <c:v>All Others</c:v>
                </c:pt>
                <c:pt idx="1375">
                  <c:v>Private Lab</c:v>
                </c:pt>
                <c:pt idx="1376">
                  <c:v>Savencia: A</c:v>
                </c:pt>
                <c:pt idx="1377">
                  <c:v>All Others</c:v>
                </c:pt>
                <c:pt idx="1378">
                  <c:v>All Others</c:v>
                </c:pt>
                <c:pt idx="1379">
                  <c:v>All Others</c:v>
                </c:pt>
                <c:pt idx="1380">
                  <c:v>Nurishh</c:v>
                </c:pt>
                <c:pt idx="1381">
                  <c:v>Lactalis: A</c:v>
                </c:pt>
                <c:pt idx="1382">
                  <c:v>All Others</c:v>
                </c:pt>
                <c:pt idx="1383">
                  <c:v>All Others</c:v>
                </c:pt>
                <c:pt idx="1384">
                  <c:v>Savencia: A</c:v>
                </c:pt>
                <c:pt idx="1385">
                  <c:v>Lactalis: A</c:v>
                </c:pt>
                <c:pt idx="1386">
                  <c:v>Triballat N</c:v>
                </c:pt>
                <c:pt idx="1387">
                  <c:v>All Others</c:v>
                </c:pt>
                <c:pt idx="1388">
                  <c:v>All Others</c:v>
                </c:pt>
                <c:pt idx="1389">
                  <c:v>All Others</c:v>
                </c:pt>
                <c:pt idx="1390">
                  <c:v>Raguin</c:v>
                </c:pt>
                <c:pt idx="1391">
                  <c:v>All Others</c:v>
                </c:pt>
                <c:pt idx="1392">
                  <c:v>All Others</c:v>
                </c:pt>
                <c:pt idx="1393">
                  <c:v>All Others</c:v>
                </c:pt>
                <c:pt idx="1394">
                  <c:v>All Others</c:v>
                </c:pt>
                <c:pt idx="1395">
                  <c:v>La Vache Qu</c:v>
                </c:pt>
                <c:pt idx="1396">
                  <c:v>All Others</c:v>
                </c:pt>
                <c:pt idx="1397">
                  <c:v>Entremont</c:v>
                </c:pt>
                <c:pt idx="1398">
                  <c:v>All Others</c:v>
                </c:pt>
                <c:pt idx="1399">
                  <c:v>Lactalis: A</c:v>
                </c:pt>
                <c:pt idx="1400">
                  <c:v>All Others</c:v>
                </c:pt>
                <c:pt idx="1401">
                  <c:v>Private Lab</c:v>
                </c:pt>
                <c:pt idx="1402">
                  <c:v>Galbani</c:v>
                </c:pt>
                <c:pt idx="1403">
                  <c:v>Private Lab</c:v>
                </c:pt>
                <c:pt idx="1404">
                  <c:v>All Others</c:v>
                </c:pt>
                <c:pt idx="1405">
                  <c:v>All Others</c:v>
                </c:pt>
                <c:pt idx="1406">
                  <c:v>Lactalis: A</c:v>
                </c:pt>
                <c:pt idx="1407">
                  <c:v>All Others</c:v>
                </c:pt>
                <c:pt idx="1408">
                  <c:v>All Others</c:v>
                </c:pt>
                <c:pt idx="1409">
                  <c:v>Private Lab</c:v>
                </c:pt>
                <c:pt idx="1410">
                  <c:v>Lactalis: A</c:v>
                </c:pt>
                <c:pt idx="1411">
                  <c:v>All Others</c:v>
                </c:pt>
                <c:pt idx="1412">
                  <c:v>All Others</c:v>
                </c:pt>
                <c:pt idx="1413">
                  <c:v>All Others</c:v>
                </c:pt>
                <c:pt idx="1414">
                  <c:v>All Others</c:v>
                </c:pt>
                <c:pt idx="1415">
                  <c:v>All Others</c:v>
                </c:pt>
                <c:pt idx="1416">
                  <c:v>All Others</c:v>
                </c:pt>
                <c:pt idx="1417">
                  <c:v>All Others</c:v>
                </c:pt>
                <c:pt idx="1418">
                  <c:v>All Others</c:v>
                </c:pt>
                <c:pt idx="1419">
                  <c:v>St Moret</c:v>
                </c:pt>
                <c:pt idx="1420">
                  <c:v>President</c:v>
                </c:pt>
                <c:pt idx="1421">
                  <c:v>All Others</c:v>
                </c:pt>
                <c:pt idx="1422">
                  <c:v>All Others</c:v>
                </c:pt>
                <c:pt idx="1423">
                  <c:v>Savencia: A</c:v>
                </c:pt>
                <c:pt idx="1424">
                  <c:v>Pave D'Affi</c:v>
                </c:pt>
                <c:pt idx="1425">
                  <c:v>All Others</c:v>
                </c:pt>
                <c:pt idx="1426">
                  <c:v>All Others</c:v>
                </c:pt>
                <c:pt idx="1427">
                  <c:v>Nurishh</c:v>
                </c:pt>
                <c:pt idx="1428">
                  <c:v>All Others</c:v>
                </c:pt>
                <c:pt idx="1429">
                  <c:v>All Others</c:v>
                </c:pt>
                <c:pt idx="1430">
                  <c:v>Savencia: A</c:v>
                </c:pt>
                <c:pt idx="1431">
                  <c:v>All Others</c:v>
                </c:pt>
                <c:pt idx="1432">
                  <c:v>Eurial Autr</c:v>
                </c:pt>
                <c:pt idx="1433">
                  <c:v>All Others</c:v>
                </c:pt>
                <c:pt idx="1434">
                  <c:v>All Others</c:v>
                </c:pt>
                <c:pt idx="1435">
                  <c:v>All Others</c:v>
                </c:pt>
                <c:pt idx="1436">
                  <c:v>All Others</c:v>
                </c:pt>
                <c:pt idx="1437">
                  <c:v>Etoile Du V</c:v>
                </c:pt>
                <c:pt idx="1438">
                  <c:v>All Others</c:v>
                </c:pt>
                <c:pt idx="1439">
                  <c:v>Lactalis: A</c:v>
                </c:pt>
                <c:pt idx="1440">
                  <c:v>Etoile Du V</c:v>
                </c:pt>
                <c:pt idx="1441">
                  <c:v>La Vache Qu</c:v>
                </c:pt>
                <c:pt idx="1442">
                  <c:v>All Others</c:v>
                </c:pt>
                <c:pt idx="1443">
                  <c:v>All Others</c:v>
                </c:pt>
                <c:pt idx="1444">
                  <c:v>Private Lab</c:v>
                </c:pt>
                <c:pt idx="1445">
                  <c:v>All Others</c:v>
                </c:pt>
                <c:pt idx="1446">
                  <c:v>All Others</c:v>
                </c:pt>
                <c:pt idx="1447">
                  <c:v>All Others</c:v>
                </c:pt>
                <c:pt idx="1448">
                  <c:v>All Others</c:v>
                </c:pt>
                <c:pt idx="1449">
                  <c:v>All Others</c:v>
                </c:pt>
                <c:pt idx="1450">
                  <c:v>All Others</c:v>
                </c:pt>
                <c:pt idx="1451">
                  <c:v>All Others</c:v>
                </c:pt>
                <c:pt idx="1452">
                  <c:v>Nurishh</c:v>
                </c:pt>
                <c:pt idx="1453">
                  <c:v>All Others</c:v>
                </c:pt>
                <c:pt idx="1454">
                  <c:v>Triballat N</c:v>
                </c:pt>
                <c:pt idx="1455">
                  <c:v>Triballat R</c:v>
                </c:pt>
                <c:pt idx="1456">
                  <c:v>All Others</c:v>
                </c:pt>
                <c:pt idx="1457">
                  <c:v>Lactalis: A</c:v>
                </c:pt>
                <c:pt idx="1458">
                  <c:v>All Others</c:v>
                </c:pt>
                <c:pt idx="1459">
                  <c:v>All Others</c:v>
                </c:pt>
                <c:pt idx="1460">
                  <c:v>Etoile Du V</c:v>
                </c:pt>
                <c:pt idx="1461">
                  <c:v>All Others</c:v>
                </c:pt>
                <c:pt idx="1462">
                  <c:v>Lactalis: A</c:v>
                </c:pt>
                <c:pt idx="1463">
                  <c:v>All Others</c:v>
                </c:pt>
                <c:pt idx="1464">
                  <c:v>All Others</c:v>
                </c:pt>
                <c:pt idx="1465">
                  <c:v>All Others</c:v>
                </c:pt>
                <c:pt idx="1466">
                  <c:v>Entremont</c:v>
                </c:pt>
                <c:pt idx="1467">
                  <c:v>All Others</c:v>
                </c:pt>
                <c:pt idx="1468">
                  <c:v>All Others</c:v>
                </c:pt>
                <c:pt idx="1469">
                  <c:v>All Others</c:v>
                </c:pt>
                <c:pt idx="1470">
                  <c:v>All Others</c:v>
                </c:pt>
                <c:pt idx="1471">
                  <c:v>All Others</c:v>
                </c:pt>
                <c:pt idx="1472">
                  <c:v>Private Lab</c:v>
                </c:pt>
                <c:pt idx="1473">
                  <c:v>All Others</c:v>
                </c:pt>
                <c:pt idx="1474">
                  <c:v>Raguin</c:v>
                </c:pt>
                <c:pt idx="1475">
                  <c:v>Lactalis: A</c:v>
                </c:pt>
                <c:pt idx="1476">
                  <c:v>All Others</c:v>
                </c:pt>
                <c:pt idx="1477">
                  <c:v>Etoile Du V</c:v>
                </c:pt>
                <c:pt idx="1478">
                  <c:v>All Others</c:v>
                </c:pt>
                <c:pt idx="1479">
                  <c:v>Etoile Du V</c:v>
                </c:pt>
                <c:pt idx="1480">
                  <c:v>All Others</c:v>
                </c:pt>
                <c:pt idx="1481">
                  <c:v>Savencia: A</c:v>
                </c:pt>
                <c:pt idx="1482">
                  <c:v>All Others</c:v>
                </c:pt>
                <c:pt idx="1483">
                  <c:v>Juraflore</c:v>
                </c:pt>
                <c:pt idx="1484">
                  <c:v>All Others</c:v>
                </c:pt>
                <c:pt idx="1485">
                  <c:v>Savencia: A</c:v>
                </c:pt>
                <c:pt idx="1486">
                  <c:v>Private Lab</c:v>
                </c:pt>
                <c:pt idx="1487">
                  <c:v>La Vache Qu</c:v>
                </c:pt>
                <c:pt idx="1488">
                  <c:v>All Others</c:v>
                </c:pt>
                <c:pt idx="1489">
                  <c:v>All Others</c:v>
                </c:pt>
                <c:pt idx="1490">
                  <c:v>All Others</c:v>
                </c:pt>
                <c:pt idx="1491">
                  <c:v>All Others</c:v>
                </c:pt>
                <c:pt idx="1492">
                  <c:v>All Others</c:v>
                </c:pt>
                <c:pt idx="1493">
                  <c:v>All Others</c:v>
                </c:pt>
                <c:pt idx="1494">
                  <c:v>Private Lab</c:v>
                </c:pt>
                <c:pt idx="1495">
                  <c:v>All Others</c:v>
                </c:pt>
                <c:pt idx="1496">
                  <c:v>All Others</c:v>
                </c:pt>
                <c:pt idx="1497">
                  <c:v>All Others</c:v>
                </c:pt>
                <c:pt idx="1498">
                  <c:v>All Others</c:v>
                </c:pt>
                <c:pt idx="1499">
                  <c:v>All Others</c:v>
                </c:pt>
                <c:pt idx="1500">
                  <c:v>All Others</c:v>
                </c:pt>
                <c:pt idx="1501">
                  <c:v>Lactalis: A</c:v>
                </c:pt>
                <c:pt idx="1502">
                  <c:v>All Others</c:v>
                </c:pt>
                <c:pt idx="1503">
                  <c:v>Salakis</c:v>
                </c:pt>
                <c:pt idx="1504">
                  <c:v>Triballat N</c:v>
                </c:pt>
                <c:pt idx="1505">
                  <c:v>All Others</c:v>
                </c:pt>
                <c:pt idx="1506">
                  <c:v>All Others</c:v>
                </c:pt>
                <c:pt idx="1507">
                  <c:v>All Others</c:v>
                </c:pt>
                <c:pt idx="1508">
                  <c:v>All Others</c:v>
                </c:pt>
                <c:pt idx="1509">
                  <c:v>All Others</c:v>
                </c:pt>
                <c:pt idx="1510">
                  <c:v>All Others</c:v>
                </c:pt>
                <c:pt idx="1511">
                  <c:v>All Others</c:v>
                </c:pt>
                <c:pt idx="1512">
                  <c:v>All Others</c:v>
                </c:pt>
                <c:pt idx="1513">
                  <c:v>Private Lab</c:v>
                </c:pt>
                <c:pt idx="1514">
                  <c:v>All Others</c:v>
                </c:pt>
                <c:pt idx="1515">
                  <c:v>All Others</c:v>
                </c:pt>
                <c:pt idx="1516">
                  <c:v>Milleret: A</c:v>
                </c:pt>
                <c:pt idx="1517">
                  <c:v>All Others</c:v>
                </c:pt>
                <c:pt idx="1518">
                  <c:v>La Vache Qu</c:v>
                </c:pt>
                <c:pt idx="1519">
                  <c:v>La Belle Et</c:v>
                </c:pt>
                <c:pt idx="1520">
                  <c:v>All Others</c:v>
                </c:pt>
                <c:pt idx="1521">
                  <c:v>All Others</c:v>
                </c:pt>
                <c:pt idx="1522">
                  <c:v>All Others</c:v>
                </c:pt>
                <c:pt idx="1523">
                  <c:v>Private Lab</c:v>
                </c:pt>
                <c:pt idx="1524">
                  <c:v>All Others</c:v>
                </c:pt>
                <c:pt idx="1525">
                  <c:v>Savencia: A</c:v>
                </c:pt>
                <c:pt idx="1526">
                  <c:v>Societe</c:v>
                </c:pt>
                <c:pt idx="1527">
                  <c:v>La Belle Et</c:v>
                </c:pt>
                <c:pt idx="1528">
                  <c:v>All Others</c:v>
                </c:pt>
                <c:pt idx="1529">
                  <c:v>All Others</c:v>
                </c:pt>
                <c:pt idx="1530">
                  <c:v>All Others</c:v>
                </c:pt>
                <c:pt idx="1531">
                  <c:v>All Others</c:v>
                </c:pt>
                <c:pt idx="1532">
                  <c:v>All Others</c:v>
                </c:pt>
                <c:pt idx="1533">
                  <c:v>All Others</c:v>
                </c:pt>
                <c:pt idx="1534">
                  <c:v>Pochat</c:v>
                </c:pt>
                <c:pt idx="1535">
                  <c:v>All Others</c:v>
                </c:pt>
                <c:pt idx="1536">
                  <c:v>Savencia: A</c:v>
                </c:pt>
                <c:pt idx="1537">
                  <c:v>All Others</c:v>
                </c:pt>
                <c:pt idx="1538">
                  <c:v>All Others</c:v>
                </c:pt>
                <c:pt idx="1539">
                  <c:v>All Others</c:v>
                </c:pt>
                <c:pt idx="1540">
                  <c:v>All Others</c:v>
                </c:pt>
                <c:pt idx="1541">
                  <c:v>La Pointe P</c:v>
                </c:pt>
                <c:pt idx="1542">
                  <c:v>Petit Billy</c:v>
                </c:pt>
                <c:pt idx="1543">
                  <c:v>All Others</c:v>
                </c:pt>
                <c:pt idx="1544">
                  <c:v>All Others</c:v>
                </c:pt>
                <c:pt idx="1545">
                  <c:v>All Others</c:v>
                </c:pt>
                <c:pt idx="1546">
                  <c:v>All Others</c:v>
                </c:pt>
                <c:pt idx="1547">
                  <c:v>La Belle Et</c:v>
                </c:pt>
                <c:pt idx="1548">
                  <c:v>Juraflore</c:v>
                </c:pt>
                <c:pt idx="1549">
                  <c:v>All Others</c:v>
                </c:pt>
                <c:pt idx="1550">
                  <c:v>All Others</c:v>
                </c:pt>
                <c:pt idx="1551">
                  <c:v>All Others</c:v>
                </c:pt>
                <c:pt idx="1552">
                  <c:v>All Others</c:v>
                </c:pt>
                <c:pt idx="1553">
                  <c:v>All Others</c:v>
                </c:pt>
                <c:pt idx="1554">
                  <c:v>All Others</c:v>
                </c:pt>
                <c:pt idx="1555">
                  <c:v>All Others</c:v>
                </c:pt>
                <c:pt idx="1556">
                  <c:v>O'Tapas Ape</c:v>
                </c:pt>
                <c:pt idx="1557">
                  <c:v>Etoile Du Q</c:v>
                </c:pt>
                <c:pt idx="1558">
                  <c:v>All Others</c:v>
                </c:pt>
                <c:pt idx="1559">
                  <c:v>All Others</c:v>
                </c:pt>
                <c:pt idx="1560">
                  <c:v>All Others</c:v>
                </c:pt>
                <c:pt idx="1561">
                  <c:v>All Others</c:v>
                </c:pt>
                <c:pt idx="1562">
                  <c:v>All Others</c:v>
                </c:pt>
                <c:pt idx="1563">
                  <c:v>All Others</c:v>
                </c:pt>
                <c:pt idx="1564">
                  <c:v>Private Lab</c:v>
                </c:pt>
                <c:pt idx="1565">
                  <c:v>Pave D'Affi</c:v>
                </c:pt>
                <c:pt idx="1566">
                  <c:v>Etoile Du V</c:v>
                </c:pt>
                <c:pt idx="1567">
                  <c:v>Private Lab</c:v>
                </c:pt>
                <c:pt idx="1568">
                  <c:v>All Others</c:v>
                </c:pt>
                <c:pt idx="1569">
                  <c:v>Islos</c:v>
                </c:pt>
                <c:pt idx="1570">
                  <c:v>All Others</c:v>
                </c:pt>
                <c:pt idx="1571">
                  <c:v>All Others</c:v>
                </c:pt>
                <c:pt idx="1572">
                  <c:v>All Others</c:v>
                </c:pt>
                <c:pt idx="1573">
                  <c:v>All Others</c:v>
                </c:pt>
                <c:pt idx="1574">
                  <c:v>All Others</c:v>
                </c:pt>
                <c:pt idx="1575">
                  <c:v>Casa Azzurr</c:v>
                </c:pt>
                <c:pt idx="1576">
                  <c:v>La Belle Et</c:v>
                </c:pt>
                <c:pt idx="1577">
                  <c:v>All Others</c:v>
                </c:pt>
                <c:pt idx="1578">
                  <c:v>La Belle Et</c:v>
                </c:pt>
                <c:pt idx="1579">
                  <c:v>Pave D'Affi</c:v>
                </c:pt>
                <c:pt idx="1580">
                  <c:v>All Others</c:v>
                </c:pt>
                <c:pt idx="1581">
                  <c:v>All Others</c:v>
                </c:pt>
                <c:pt idx="1582">
                  <c:v>All Others</c:v>
                </c:pt>
                <c:pt idx="1583">
                  <c:v>Lactalis: A</c:v>
                </c:pt>
                <c:pt idx="1584">
                  <c:v>O'Tapas Ape</c:v>
                </c:pt>
                <c:pt idx="1585">
                  <c:v>All Others</c:v>
                </c:pt>
                <c:pt idx="1586">
                  <c:v>All Others</c:v>
                </c:pt>
                <c:pt idx="1587">
                  <c:v>All Others</c:v>
                </c:pt>
                <c:pt idx="1588">
                  <c:v>All Others</c:v>
                </c:pt>
                <c:pt idx="1589">
                  <c:v>All Others</c:v>
                </c:pt>
                <c:pt idx="1590">
                  <c:v>All Others</c:v>
                </c:pt>
                <c:pt idx="1591">
                  <c:v>All Others</c:v>
                </c:pt>
                <c:pt idx="1592">
                  <c:v>All Others</c:v>
                </c:pt>
                <c:pt idx="1593">
                  <c:v>All Others</c:v>
                </c:pt>
                <c:pt idx="1594">
                  <c:v>Lactalis: A</c:v>
                </c:pt>
                <c:pt idx="1595">
                  <c:v>All Others</c:v>
                </c:pt>
                <c:pt idx="1596">
                  <c:v>Entremont</c:v>
                </c:pt>
                <c:pt idx="1597">
                  <c:v>All Others</c:v>
                </c:pt>
                <c:pt idx="1598">
                  <c:v>All Others</c:v>
                </c:pt>
                <c:pt idx="1599">
                  <c:v>All Others</c:v>
                </c:pt>
                <c:pt idx="1600">
                  <c:v>Milleret: A</c:v>
                </c:pt>
                <c:pt idx="1601">
                  <c:v>All Others</c:v>
                </c:pt>
                <c:pt idx="1602">
                  <c:v>La Belle Et</c:v>
                </c:pt>
                <c:pt idx="1603">
                  <c:v>All Others</c:v>
                </c:pt>
                <c:pt idx="1604">
                  <c:v>All Others</c:v>
                </c:pt>
                <c:pt idx="1605">
                  <c:v>All Others</c:v>
                </c:pt>
                <c:pt idx="1606">
                  <c:v>Pave D'Affi</c:v>
                </c:pt>
                <c:pt idx="1607">
                  <c:v>L'Ortolan</c:v>
                </c:pt>
                <c:pt idx="1608">
                  <c:v>All Others</c:v>
                </c:pt>
                <c:pt idx="1609">
                  <c:v>All Others</c:v>
                </c:pt>
                <c:pt idx="1610">
                  <c:v>All Others</c:v>
                </c:pt>
                <c:pt idx="1611">
                  <c:v>Private Lab</c:v>
                </c:pt>
                <c:pt idx="1612">
                  <c:v>All Others</c:v>
                </c:pt>
                <c:pt idx="1613">
                  <c:v>All Others</c:v>
                </c:pt>
                <c:pt idx="1614">
                  <c:v>All Others</c:v>
                </c:pt>
                <c:pt idx="1615">
                  <c:v>Private Lab</c:v>
                </c:pt>
                <c:pt idx="1616">
                  <c:v>All Others</c:v>
                </c:pt>
                <c:pt idx="1617">
                  <c:v>All Others</c:v>
                </c:pt>
                <c:pt idx="1618">
                  <c:v>Lactalis: A</c:v>
                </c:pt>
                <c:pt idx="1619">
                  <c:v>Casa Azzurr</c:v>
                </c:pt>
                <c:pt idx="1620">
                  <c:v>All Others</c:v>
                </c:pt>
                <c:pt idx="1621">
                  <c:v>Savencia: A</c:v>
                </c:pt>
                <c:pt idx="1622">
                  <c:v>All Others</c:v>
                </c:pt>
                <c:pt idx="1623">
                  <c:v>All Others</c:v>
                </c:pt>
                <c:pt idx="1624">
                  <c:v>All Others</c:v>
                </c:pt>
                <c:pt idx="1625">
                  <c:v>All Others</c:v>
                </c:pt>
                <c:pt idx="1626">
                  <c:v>All Others</c:v>
                </c:pt>
                <c:pt idx="1627">
                  <c:v>La Belle Et</c:v>
                </c:pt>
                <c:pt idx="1628">
                  <c:v>All Others</c:v>
                </c:pt>
                <c:pt idx="1629">
                  <c:v>Private Lab</c:v>
                </c:pt>
                <c:pt idx="1630">
                  <c:v>All Others</c:v>
                </c:pt>
                <c:pt idx="1631">
                  <c:v>Private Lab</c:v>
                </c:pt>
                <c:pt idx="1632">
                  <c:v>All Others</c:v>
                </c:pt>
                <c:pt idx="1633">
                  <c:v>All Others</c:v>
                </c:pt>
                <c:pt idx="1634">
                  <c:v>All Others</c:v>
                </c:pt>
                <c:pt idx="1635">
                  <c:v>All Others</c:v>
                </c:pt>
                <c:pt idx="1636">
                  <c:v>All Others</c:v>
                </c:pt>
                <c:pt idx="1637">
                  <c:v>All Others</c:v>
                </c:pt>
                <c:pt idx="1638">
                  <c:v>All Others</c:v>
                </c:pt>
                <c:pt idx="1639">
                  <c:v>All Others</c:v>
                </c:pt>
                <c:pt idx="1640">
                  <c:v>All Others</c:v>
                </c:pt>
                <c:pt idx="1641">
                  <c:v>All Others</c:v>
                </c:pt>
                <c:pt idx="1642">
                  <c:v>Private Lab</c:v>
                </c:pt>
                <c:pt idx="1643">
                  <c:v>Private Lab</c:v>
                </c:pt>
                <c:pt idx="1644">
                  <c:v>All Others</c:v>
                </c:pt>
                <c:pt idx="1645">
                  <c:v>All Others</c:v>
                </c:pt>
                <c:pt idx="1646">
                  <c:v>All Others</c:v>
                </c:pt>
                <c:pt idx="1647">
                  <c:v>All Others</c:v>
                </c:pt>
                <c:pt idx="1648">
                  <c:v>All Others</c:v>
                </c:pt>
                <c:pt idx="1649">
                  <c:v>All Others</c:v>
                </c:pt>
                <c:pt idx="1650">
                  <c:v>All Others</c:v>
                </c:pt>
                <c:pt idx="1651">
                  <c:v>All Others</c:v>
                </c:pt>
                <c:pt idx="1652">
                  <c:v>All Others</c:v>
                </c:pt>
                <c:pt idx="1653">
                  <c:v>Private Lab</c:v>
                </c:pt>
                <c:pt idx="1654">
                  <c:v>All Others</c:v>
                </c:pt>
                <c:pt idx="1655">
                  <c:v>All Others</c:v>
                </c:pt>
                <c:pt idx="1656">
                  <c:v>All Others</c:v>
                </c:pt>
                <c:pt idx="1657">
                  <c:v>Pochat</c:v>
                </c:pt>
                <c:pt idx="1658">
                  <c:v>All Others</c:v>
                </c:pt>
                <c:pt idx="1659">
                  <c:v>All Others</c:v>
                </c:pt>
                <c:pt idx="1660">
                  <c:v>La Belle Et</c:v>
                </c:pt>
                <c:pt idx="1661">
                  <c:v>Paysan Bret</c:v>
                </c:pt>
                <c:pt idx="1662">
                  <c:v>Paysan Bret</c:v>
                </c:pt>
                <c:pt idx="1663">
                  <c:v>All Others</c:v>
                </c:pt>
                <c:pt idx="1664">
                  <c:v>All Others</c:v>
                </c:pt>
                <c:pt idx="1665">
                  <c:v>All Others</c:v>
                </c:pt>
                <c:pt idx="1666">
                  <c:v>All Others</c:v>
                </c:pt>
                <c:pt idx="1667">
                  <c:v>All Others</c:v>
                </c:pt>
                <c:pt idx="1668">
                  <c:v>Etoile Du V</c:v>
                </c:pt>
                <c:pt idx="1669">
                  <c:v>All Others</c:v>
                </c:pt>
                <c:pt idx="1670">
                  <c:v>All Others</c:v>
                </c:pt>
                <c:pt idx="1671">
                  <c:v>Etoile Du V</c:v>
                </c:pt>
                <c:pt idx="1672">
                  <c:v>Soignon</c:v>
                </c:pt>
                <c:pt idx="1673">
                  <c:v>Lactalis: A</c:v>
                </c:pt>
                <c:pt idx="1674">
                  <c:v>All Others</c:v>
                </c:pt>
                <c:pt idx="1675">
                  <c:v>All Others</c:v>
                </c:pt>
                <c:pt idx="1676">
                  <c:v>All Others</c:v>
                </c:pt>
                <c:pt idx="1677">
                  <c:v>All Others</c:v>
                </c:pt>
                <c:pt idx="1678">
                  <c:v>All Others</c:v>
                </c:pt>
                <c:pt idx="1679">
                  <c:v>All Others</c:v>
                </c:pt>
                <c:pt idx="1680">
                  <c:v>All Others</c:v>
                </c:pt>
                <c:pt idx="1681">
                  <c:v>All Others</c:v>
                </c:pt>
                <c:pt idx="1682">
                  <c:v>Kiri</c:v>
                </c:pt>
                <c:pt idx="1683">
                  <c:v>Lactalis: A</c:v>
                </c:pt>
                <c:pt idx="1684">
                  <c:v>All Others</c:v>
                </c:pt>
                <c:pt idx="1685">
                  <c:v>All Others</c:v>
                </c:pt>
                <c:pt idx="1686">
                  <c:v>All Others</c:v>
                </c:pt>
                <c:pt idx="1687">
                  <c:v>All Others</c:v>
                </c:pt>
                <c:pt idx="1688">
                  <c:v>All Others</c:v>
                </c:pt>
                <c:pt idx="1689">
                  <c:v>Entremont</c:v>
                </c:pt>
                <c:pt idx="1690">
                  <c:v>All Others</c:v>
                </c:pt>
                <c:pt idx="1691">
                  <c:v>All Others</c:v>
                </c:pt>
                <c:pt idx="1692">
                  <c:v>Etoile Du V</c:v>
                </c:pt>
                <c:pt idx="1693">
                  <c:v>Paysan Bret</c:v>
                </c:pt>
                <c:pt idx="1694">
                  <c:v>All Others</c:v>
                </c:pt>
                <c:pt idx="1695">
                  <c:v>All Others</c:v>
                </c:pt>
                <c:pt idx="1696">
                  <c:v>All Others</c:v>
                </c:pt>
                <c:pt idx="1697">
                  <c:v>All Others</c:v>
                </c:pt>
                <c:pt idx="1698">
                  <c:v>All Others</c:v>
                </c:pt>
                <c:pt idx="1699">
                  <c:v>Boursin</c:v>
                </c:pt>
                <c:pt idx="1700">
                  <c:v>Etoile Du V</c:v>
                </c:pt>
                <c:pt idx="1701">
                  <c:v>All Others</c:v>
                </c:pt>
                <c:pt idx="1702">
                  <c:v>All Others</c:v>
                </c:pt>
                <c:pt idx="1703">
                  <c:v>All Others</c:v>
                </c:pt>
                <c:pt idx="1704">
                  <c:v>Juraflore</c:v>
                </c:pt>
                <c:pt idx="1705">
                  <c:v>All Others</c:v>
                </c:pt>
                <c:pt idx="1706">
                  <c:v>All Others</c:v>
                </c:pt>
                <c:pt idx="1707">
                  <c:v>All Others</c:v>
                </c:pt>
                <c:pt idx="1708">
                  <c:v>All Others</c:v>
                </c:pt>
                <c:pt idx="1709">
                  <c:v>All Others</c:v>
                </c:pt>
                <c:pt idx="1710">
                  <c:v>All Others</c:v>
                </c:pt>
                <c:pt idx="1711">
                  <c:v>All Others</c:v>
                </c:pt>
                <c:pt idx="1712">
                  <c:v>Milleret: A</c:v>
                </c:pt>
                <c:pt idx="1713">
                  <c:v>Soignon</c:v>
                </c:pt>
                <c:pt idx="1714">
                  <c:v>Lactalis: A</c:v>
                </c:pt>
                <c:pt idx="1715">
                  <c:v>Mini Babybe</c:v>
                </c:pt>
                <c:pt idx="1716">
                  <c:v>All Others</c:v>
                </c:pt>
                <c:pt idx="1717">
                  <c:v>All Others</c:v>
                </c:pt>
                <c:pt idx="1718">
                  <c:v>All Others</c:v>
                </c:pt>
                <c:pt idx="1719">
                  <c:v>All Others</c:v>
                </c:pt>
                <c:pt idx="1720">
                  <c:v>All Others</c:v>
                </c:pt>
                <c:pt idx="1721">
                  <c:v>All Others</c:v>
                </c:pt>
                <c:pt idx="1722">
                  <c:v>Entremont</c:v>
                </c:pt>
                <c:pt idx="1723">
                  <c:v>All Others</c:v>
                </c:pt>
                <c:pt idx="1724">
                  <c:v>All Others</c:v>
                </c:pt>
                <c:pt idx="1725">
                  <c:v>Private Lab</c:v>
                </c:pt>
                <c:pt idx="1726">
                  <c:v>All Others</c:v>
                </c:pt>
                <c:pt idx="1727">
                  <c:v>All Others</c:v>
                </c:pt>
                <c:pt idx="1728">
                  <c:v>Eurial Autr</c:v>
                </c:pt>
                <c:pt idx="1729">
                  <c:v>La Belle Et</c:v>
                </c:pt>
                <c:pt idx="1730">
                  <c:v>All Others</c:v>
                </c:pt>
                <c:pt idx="1731">
                  <c:v>All Others</c:v>
                </c:pt>
                <c:pt idx="1732">
                  <c:v>All Others</c:v>
                </c:pt>
                <c:pt idx="1733">
                  <c:v>All Others</c:v>
                </c:pt>
                <c:pt idx="1734">
                  <c:v>Milleret: A</c:v>
                </c:pt>
                <c:pt idx="1735">
                  <c:v>All Others</c:v>
                </c:pt>
                <c:pt idx="1736">
                  <c:v>All Others</c:v>
                </c:pt>
                <c:pt idx="1737">
                  <c:v>Triballat R</c:v>
                </c:pt>
                <c:pt idx="1738">
                  <c:v>Entremont</c:v>
                </c:pt>
                <c:pt idx="1739">
                  <c:v>All Others</c:v>
                </c:pt>
                <c:pt idx="1740">
                  <c:v>All Others</c:v>
                </c:pt>
                <c:pt idx="1741">
                  <c:v>All Others</c:v>
                </c:pt>
                <c:pt idx="1742">
                  <c:v>All Others</c:v>
                </c:pt>
                <c:pt idx="1743">
                  <c:v>All Others</c:v>
                </c:pt>
                <c:pt idx="1744">
                  <c:v>All Others</c:v>
                </c:pt>
                <c:pt idx="1745">
                  <c:v>All Others</c:v>
                </c:pt>
                <c:pt idx="1746">
                  <c:v>Eurial Autr</c:v>
                </c:pt>
                <c:pt idx="1747">
                  <c:v>All Others</c:v>
                </c:pt>
                <c:pt idx="1748">
                  <c:v>All Others</c:v>
                </c:pt>
                <c:pt idx="1749">
                  <c:v>All Others</c:v>
                </c:pt>
                <c:pt idx="1750">
                  <c:v>All Others</c:v>
                </c:pt>
                <c:pt idx="1751">
                  <c:v>La Belle Et</c:v>
                </c:pt>
                <c:pt idx="1752">
                  <c:v>All Others</c:v>
                </c:pt>
                <c:pt idx="1753">
                  <c:v>All Others</c:v>
                </c:pt>
                <c:pt idx="1754">
                  <c:v>Eurial Autr</c:v>
                </c:pt>
                <c:pt idx="1755">
                  <c:v>All Others</c:v>
                </c:pt>
                <c:pt idx="1756">
                  <c:v>All Others</c:v>
                </c:pt>
                <c:pt idx="1757">
                  <c:v>All Others</c:v>
                </c:pt>
                <c:pt idx="1758">
                  <c:v>All Others</c:v>
                </c:pt>
                <c:pt idx="1759">
                  <c:v>All Others</c:v>
                </c:pt>
                <c:pt idx="1760">
                  <c:v>All Others</c:v>
                </c:pt>
                <c:pt idx="1761">
                  <c:v>All Others</c:v>
                </c:pt>
                <c:pt idx="1762">
                  <c:v>All Others</c:v>
                </c:pt>
                <c:pt idx="1763">
                  <c:v>All Others</c:v>
                </c:pt>
                <c:pt idx="1764">
                  <c:v>All Others</c:v>
                </c:pt>
                <c:pt idx="1765">
                  <c:v>All Others</c:v>
                </c:pt>
                <c:pt idx="1766">
                  <c:v>All Others</c:v>
                </c:pt>
                <c:pt idx="1767">
                  <c:v>All Others</c:v>
                </c:pt>
                <c:pt idx="1768">
                  <c:v>All Others</c:v>
                </c:pt>
                <c:pt idx="1769">
                  <c:v>All Others</c:v>
                </c:pt>
                <c:pt idx="1770">
                  <c:v>All Others</c:v>
                </c:pt>
                <c:pt idx="1771">
                  <c:v>All Others</c:v>
                </c:pt>
                <c:pt idx="1772">
                  <c:v>All Others</c:v>
                </c:pt>
                <c:pt idx="1773">
                  <c:v>Richesmonts</c:v>
                </c:pt>
                <c:pt idx="1774">
                  <c:v>All Others</c:v>
                </c:pt>
                <c:pt idx="1775">
                  <c:v>All Others</c:v>
                </c:pt>
                <c:pt idx="1776">
                  <c:v>All Others</c:v>
                </c:pt>
                <c:pt idx="1777">
                  <c:v>All Others</c:v>
                </c:pt>
                <c:pt idx="1778">
                  <c:v>All Others</c:v>
                </c:pt>
                <c:pt idx="1779">
                  <c:v>All Others</c:v>
                </c:pt>
                <c:pt idx="1780">
                  <c:v>Boursin</c:v>
                </c:pt>
                <c:pt idx="1781">
                  <c:v>All Others</c:v>
                </c:pt>
                <c:pt idx="1782">
                  <c:v>All Others</c:v>
                </c:pt>
                <c:pt idx="1783">
                  <c:v>All Others</c:v>
                </c:pt>
                <c:pt idx="1784">
                  <c:v>All Others</c:v>
                </c:pt>
                <c:pt idx="1785">
                  <c:v>All Others</c:v>
                </c:pt>
                <c:pt idx="1786">
                  <c:v>All Others</c:v>
                </c:pt>
                <c:pt idx="1787">
                  <c:v>All Others</c:v>
                </c:pt>
                <c:pt idx="1788">
                  <c:v>Lou Perac</c:v>
                </c:pt>
                <c:pt idx="1789">
                  <c:v>Etoile Du Q</c:v>
                </c:pt>
                <c:pt idx="1790">
                  <c:v>All Others</c:v>
                </c:pt>
                <c:pt idx="1791">
                  <c:v>All Others</c:v>
                </c:pt>
                <c:pt idx="1792">
                  <c:v>All Others</c:v>
                </c:pt>
                <c:pt idx="1793">
                  <c:v>All Others</c:v>
                </c:pt>
                <c:pt idx="1794">
                  <c:v>All Others</c:v>
                </c:pt>
                <c:pt idx="1795">
                  <c:v>All Others</c:v>
                </c:pt>
                <c:pt idx="1796">
                  <c:v>All Others</c:v>
                </c:pt>
                <c:pt idx="1797">
                  <c:v>All Others</c:v>
                </c:pt>
                <c:pt idx="1798">
                  <c:v>All Others</c:v>
                </c:pt>
                <c:pt idx="1799">
                  <c:v>All Others</c:v>
                </c:pt>
                <c:pt idx="1800">
                  <c:v>All Others</c:v>
                </c:pt>
                <c:pt idx="1801">
                  <c:v>Entremont</c:v>
                </c:pt>
                <c:pt idx="1802">
                  <c:v>All Others</c:v>
                </c:pt>
                <c:pt idx="1803">
                  <c:v>All Others</c:v>
                </c:pt>
                <c:pt idx="1804">
                  <c:v>All Others</c:v>
                </c:pt>
                <c:pt idx="1805">
                  <c:v>All Others</c:v>
                </c:pt>
                <c:pt idx="1806">
                  <c:v>All Others</c:v>
                </c:pt>
                <c:pt idx="1807">
                  <c:v>All Others</c:v>
                </c:pt>
                <c:pt idx="1808">
                  <c:v>All Others</c:v>
                </c:pt>
                <c:pt idx="1809">
                  <c:v>Juraflore</c:v>
                </c:pt>
                <c:pt idx="1810">
                  <c:v>All Others</c:v>
                </c:pt>
                <c:pt idx="1811">
                  <c:v>All Others</c:v>
                </c:pt>
                <c:pt idx="1812">
                  <c:v>All Others</c:v>
                </c:pt>
                <c:pt idx="1813">
                  <c:v>Etoile Du V</c:v>
                </c:pt>
                <c:pt idx="1814">
                  <c:v>All Others</c:v>
                </c:pt>
                <c:pt idx="1815">
                  <c:v>All Others</c:v>
                </c:pt>
                <c:pt idx="1816">
                  <c:v>All Others</c:v>
                </c:pt>
                <c:pt idx="1817">
                  <c:v>All Others</c:v>
                </c:pt>
                <c:pt idx="1818">
                  <c:v>All Others</c:v>
                </c:pt>
                <c:pt idx="1819">
                  <c:v>President</c:v>
                </c:pt>
                <c:pt idx="1820">
                  <c:v>Entremont</c:v>
                </c:pt>
                <c:pt idx="1821">
                  <c:v>Lactalis: A</c:v>
                </c:pt>
                <c:pt idx="1822">
                  <c:v>All Others</c:v>
                </c:pt>
                <c:pt idx="1823">
                  <c:v>All Others</c:v>
                </c:pt>
                <c:pt idx="1824">
                  <c:v>All Others</c:v>
                </c:pt>
                <c:pt idx="1825">
                  <c:v>All Others</c:v>
                </c:pt>
                <c:pt idx="1826">
                  <c:v>All Others</c:v>
                </c:pt>
                <c:pt idx="1827">
                  <c:v>Private Lab</c:v>
                </c:pt>
                <c:pt idx="1828">
                  <c:v>All Others</c:v>
                </c:pt>
                <c:pt idx="1829">
                  <c:v>All Others</c:v>
                </c:pt>
                <c:pt idx="1830">
                  <c:v>All Others</c:v>
                </c:pt>
                <c:pt idx="1831">
                  <c:v>All Others</c:v>
                </c:pt>
                <c:pt idx="1832">
                  <c:v>All Others</c:v>
                </c:pt>
                <c:pt idx="1833">
                  <c:v>Etoile Du V</c:v>
                </c:pt>
                <c:pt idx="1834">
                  <c:v>All Others</c:v>
                </c:pt>
                <c:pt idx="1835">
                  <c:v>All Others</c:v>
                </c:pt>
                <c:pt idx="1836">
                  <c:v>Tartare</c:v>
                </c:pt>
                <c:pt idx="1837">
                  <c:v>All Others</c:v>
                </c:pt>
                <c:pt idx="1838">
                  <c:v>All Others</c:v>
                </c:pt>
                <c:pt idx="1839">
                  <c:v>All Others</c:v>
                </c:pt>
                <c:pt idx="1840">
                  <c:v>All Others</c:v>
                </c:pt>
                <c:pt idx="1841">
                  <c:v>All Others</c:v>
                </c:pt>
                <c:pt idx="1842">
                  <c:v>All Others</c:v>
                </c:pt>
                <c:pt idx="1843">
                  <c:v>All Others</c:v>
                </c:pt>
                <c:pt idx="1844">
                  <c:v>President</c:v>
                </c:pt>
                <c:pt idx="1845">
                  <c:v>All Others</c:v>
                </c:pt>
                <c:pt idx="1846">
                  <c:v>All Others</c:v>
                </c:pt>
                <c:pt idx="1847">
                  <c:v>All Others</c:v>
                </c:pt>
                <c:pt idx="1848">
                  <c:v>All Others</c:v>
                </c:pt>
                <c:pt idx="1849">
                  <c:v>Triballat R</c:v>
                </c:pt>
                <c:pt idx="1850">
                  <c:v>All Others</c:v>
                </c:pt>
                <c:pt idx="1851">
                  <c:v>All Others</c:v>
                </c:pt>
                <c:pt idx="1852">
                  <c:v>All Others</c:v>
                </c:pt>
                <c:pt idx="1853">
                  <c:v>All Others</c:v>
                </c:pt>
                <c:pt idx="1854">
                  <c:v>Private Lab</c:v>
                </c:pt>
                <c:pt idx="1855">
                  <c:v>Entremont</c:v>
                </c:pt>
                <c:pt idx="1856">
                  <c:v>All Others</c:v>
                </c:pt>
                <c:pt idx="1857">
                  <c:v>All Others</c:v>
                </c:pt>
                <c:pt idx="1858">
                  <c:v>All Others</c:v>
                </c:pt>
                <c:pt idx="1859">
                  <c:v>All Others</c:v>
                </c:pt>
                <c:pt idx="1860">
                  <c:v>All Others</c:v>
                </c:pt>
                <c:pt idx="1861">
                  <c:v>All Others</c:v>
                </c:pt>
                <c:pt idx="1862">
                  <c:v>All Others</c:v>
                </c:pt>
                <c:pt idx="1863">
                  <c:v>All Others</c:v>
                </c:pt>
                <c:pt idx="1864">
                  <c:v>Triballat R</c:v>
                </c:pt>
                <c:pt idx="1865">
                  <c:v>All Others</c:v>
                </c:pt>
                <c:pt idx="1866">
                  <c:v>All Others</c:v>
                </c:pt>
                <c:pt idx="1867">
                  <c:v>All Others</c:v>
                </c:pt>
                <c:pt idx="1868">
                  <c:v>All Others</c:v>
                </c:pt>
                <c:pt idx="1869">
                  <c:v>All Others</c:v>
                </c:pt>
                <c:pt idx="1870">
                  <c:v>All Others</c:v>
                </c:pt>
                <c:pt idx="1871">
                  <c:v>Private Lab</c:v>
                </c:pt>
                <c:pt idx="1872">
                  <c:v>All Others</c:v>
                </c:pt>
                <c:pt idx="1873">
                  <c:v>All Others</c:v>
                </c:pt>
                <c:pt idx="1874">
                  <c:v>All Others</c:v>
                </c:pt>
                <c:pt idx="1875">
                  <c:v>Private Lab</c:v>
                </c:pt>
                <c:pt idx="1876">
                  <c:v>All Others</c:v>
                </c:pt>
                <c:pt idx="1877">
                  <c:v>Corsica</c:v>
                </c:pt>
                <c:pt idx="1878">
                  <c:v>All Others</c:v>
                </c:pt>
                <c:pt idx="1879">
                  <c:v>All Others</c:v>
                </c:pt>
                <c:pt idx="1880">
                  <c:v>All Others</c:v>
                </c:pt>
                <c:pt idx="1881">
                  <c:v>St Moret</c:v>
                </c:pt>
                <c:pt idx="1882">
                  <c:v>Savencia: A</c:v>
                </c:pt>
                <c:pt idx="1883">
                  <c:v>Saint Agur</c:v>
                </c:pt>
                <c:pt idx="1884">
                  <c:v>Lactalis: A</c:v>
                </c:pt>
                <c:pt idx="1885">
                  <c:v>All Others</c:v>
                </c:pt>
                <c:pt idx="1886">
                  <c:v>All Others</c:v>
                </c:pt>
                <c:pt idx="1887">
                  <c:v>All Others</c:v>
                </c:pt>
                <c:pt idx="1888">
                  <c:v>All Others</c:v>
                </c:pt>
                <c:pt idx="1889">
                  <c:v>Savencia: A</c:v>
                </c:pt>
                <c:pt idx="1890">
                  <c:v>All Others</c:v>
                </c:pt>
                <c:pt idx="1891">
                  <c:v>All Others</c:v>
                </c:pt>
                <c:pt idx="1892">
                  <c:v>All Others</c:v>
                </c:pt>
                <c:pt idx="1893">
                  <c:v>All Others</c:v>
                </c:pt>
                <c:pt idx="1894">
                  <c:v>Lactalis: A</c:v>
                </c:pt>
                <c:pt idx="1895">
                  <c:v>All Others</c:v>
                </c:pt>
                <c:pt idx="1896">
                  <c:v>All Others</c:v>
                </c:pt>
                <c:pt idx="1897">
                  <c:v>All Others</c:v>
                </c:pt>
                <c:pt idx="1898">
                  <c:v>All Others</c:v>
                </c:pt>
                <c:pt idx="1899">
                  <c:v>All Others</c:v>
                </c:pt>
                <c:pt idx="1900">
                  <c:v>All Others</c:v>
                </c:pt>
                <c:pt idx="1901">
                  <c:v>President</c:v>
                </c:pt>
                <c:pt idx="1902">
                  <c:v>All Others</c:v>
                </c:pt>
                <c:pt idx="1903">
                  <c:v>All Others</c:v>
                </c:pt>
                <c:pt idx="1904">
                  <c:v>All Others</c:v>
                </c:pt>
                <c:pt idx="1905">
                  <c:v>All Others</c:v>
                </c:pt>
                <c:pt idx="1906">
                  <c:v>Richesmonts</c:v>
                </c:pt>
                <c:pt idx="1907">
                  <c:v>All Others</c:v>
                </c:pt>
                <c:pt idx="1908">
                  <c:v>La Belle Et</c:v>
                </c:pt>
                <c:pt idx="1909">
                  <c:v>All Others</c:v>
                </c:pt>
                <c:pt idx="1910">
                  <c:v>All Others</c:v>
                </c:pt>
                <c:pt idx="1911">
                  <c:v>All Others</c:v>
                </c:pt>
                <c:pt idx="1912">
                  <c:v>All Others</c:v>
                </c:pt>
                <c:pt idx="1913">
                  <c:v>All Others</c:v>
                </c:pt>
                <c:pt idx="1914">
                  <c:v>All Others</c:v>
                </c:pt>
                <c:pt idx="1915">
                  <c:v>All Others</c:v>
                </c:pt>
                <c:pt idx="1916">
                  <c:v>All Others</c:v>
                </c:pt>
                <c:pt idx="1917">
                  <c:v>All Others</c:v>
                </c:pt>
                <c:pt idx="1918">
                  <c:v>All Others</c:v>
                </c:pt>
                <c:pt idx="1919">
                  <c:v>All Others</c:v>
                </c:pt>
                <c:pt idx="1920">
                  <c:v>All Others</c:v>
                </c:pt>
                <c:pt idx="1921">
                  <c:v>Private Lab</c:v>
                </c:pt>
                <c:pt idx="1922">
                  <c:v>All Others</c:v>
                </c:pt>
                <c:pt idx="1923">
                  <c:v>All Others</c:v>
                </c:pt>
                <c:pt idx="1924">
                  <c:v>Paysan Bret</c:v>
                </c:pt>
                <c:pt idx="1925">
                  <c:v>All Others</c:v>
                </c:pt>
                <c:pt idx="1926">
                  <c:v>Eurial Autr</c:v>
                </c:pt>
                <c:pt idx="1927">
                  <c:v>All Others</c:v>
                </c:pt>
                <c:pt idx="1928">
                  <c:v>Triballat R</c:v>
                </c:pt>
                <c:pt idx="1929">
                  <c:v>All Others</c:v>
                </c:pt>
                <c:pt idx="1930">
                  <c:v>All Others</c:v>
                </c:pt>
                <c:pt idx="1931">
                  <c:v>All Others</c:v>
                </c:pt>
                <c:pt idx="1932">
                  <c:v>La Belle Et</c:v>
                </c:pt>
                <c:pt idx="1933">
                  <c:v>All Others</c:v>
                </c:pt>
                <c:pt idx="1934">
                  <c:v>Cousteron</c:v>
                </c:pt>
                <c:pt idx="1935">
                  <c:v>All Others</c:v>
                </c:pt>
                <c:pt idx="1936">
                  <c:v>All Others</c:v>
                </c:pt>
                <c:pt idx="1937">
                  <c:v>All Others</c:v>
                </c:pt>
                <c:pt idx="1938">
                  <c:v>All Others</c:v>
                </c:pt>
                <c:pt idx="1939">
                  <c:v>La Belle Et</c:v>
                </c:pt>
                <c:pt idx="1940">
                  <c:v>All Others</c:v>
                </c:pt>
                <c:pt idx="1941">
                  <c:v>All Others</c:v>
                </c:pt>
                <c:pt idx="1942">
                  <c:v>All Others</c:v>
                </c:pt>
                <c:pt idx="1943">
                  <c:v>All Others</c:v>
                </c:pt>
                <c:pt idx="1944">
                  <c:v>Savencia: A</c:v>
                </c:pt>
                <c:pt idx="1945">
                  <c:v>Eurial Autr</c:v>
                </c:pt>
                <c:pt idx="1946">
                  <c:v>All Others</c:v>
                </c:pt>
                <c:pt idx="1947">
                  <c:v>All Others</c:v>
                </c:pt>
                <c:pt idx="1948">
                  <c:v>All Others</c:v>
                </c:pt>
                <c:pt idx="1949">
                  <c:v>All Others</c:v>
                </c:pt>
                <c:pt idx="1950">
                  <c:v>Entremont</c:v>
                </c:pt>
                <c:pt idx="1951">
                  <c:v>All Others</c:v>
                </c:pt>
                <c:pt idx="1952">
                  <c:v>All Others</c:v>
                </c:pt>
                <c:pt idx="1953">
                  <c:v>All Others</c:v>
                </c:pt>
                <c:pt idx="1954">
                  <c:v>All Others</c:v>
                </c:pt>
                <c:pt idx="1955">
                  <c:v>St Moret</c:v>
                </c:pt>
                <c:pt idx="1956">
                  <c:v>Pochat</c:v>
                </c:pt>
                <c:pt idx="1957">
                  <c:v>All Others</c:v>
                </c:pt>
                <c:pt idx="1958">
                  <c:v>All Others</c:v>
                </c:pt>
                <c:pt idx="1959">
                  <c:v>Savencia: A</c:v>
                </c:pt>
                <c:pt idx="1960">
                  <c:v>Private Lab</c:v>
                </c:pt>
                <c:pt idx="1961">
                  <c:v>All Others</c:v>
                </c:pt>
                <c:pt idx="1962">
                  <c:v>All Others</c:v>
                </c:pt>
                <c:pt idx="1963">
                  <c:v>All Others</c:v>
                </c:pt>
                <c:pt idx="1964">
                  <c:v>Fauquet</c:v>
                </c:pt>
                <c:pt idx="1965">
                  <c:v>All Others</c:v>
                </c:pt>
                <c:pt idx="1966">
                  <c:v>Lactalis: A</c:v>
                </c:pt>
                <c:pt idx="1967">
                  <c:v>Private Lab</c:v>
                </c:pt>
                <c:pt idx="1968">
                  <c:v>All Others</c:v>
                </c:pt>
                <c:pt idx="1969">
                  <c:v>All Others</c:v>
                </c:pt>
                <c:pt idx="1970">
                  <c:v>All Others</c:v>
                </c:pt>
                <c:pt idx="1971">
                  <c:v>All Others</c:v>
                </c:pt>
                <c:pt idx="1972">
                  <c:v>All Others</c:v>
                </c:pt>
                <c:pt idx="1973">
                  <c:v>All Others</c:v>
                </c:pt>
                <c:pt idx="1974">
                  <c:v>Entremont</c:v>
                </c:pt>
                <c:pt idx="1975">
                  <c:v>All Others</c:v>
                </c:pt>
                <c:pt idx="1976">
                  <c:v>All Others</c:v>
                </c:pt>
                <c:pt idx="1977">
                  <c:v>All Others</c:v>
                </c:pt>
                <c:pt idx="1978">
                  <c:v>All Others</c:v>
                </c:pt>
                <c:pt idx="1979">
                  <c:v>All Others</c:v>
                </c:pt>
                <c:pt idx="1980">
                  <c:v>Milleret: A</c:v>
                </c:pt>
                <c:pt idx="1981">
                  <c:v>All Others</c:v>
                </c:pt>
                <c:pt idx="1982">
                  <c:v>All Others</c:v>
                </c:pt>
                <c:pt idx="1983">
                  <c:v>All Others</c:v>
                </c:pt>
                <c:pt idx="1984">
                  <c:v>Savencia: A</c:v>
                </c:pt>
                <c:pt idx="1985">
                  <c:v>All Others</c:v>
                </c:pt>
                <c:pt idx="1986">
                  <c:v>All Others</c:v>
                </c:pt>
                <c:pt idx="1987">
                  <c:v>All Others</c:v>
                </c:pt>
                <c:pt idx="1988">
                  <c:v>All Others</c:v>
                </c:pt>
                <c:pt idx="1989">
                  <c:v>All Others</c:v>
                </c:pt>
                <c:pt idx="1990">
                  <c:v>All Others</c:v>
                </c:pt>
                <c:pt idx="1991">
                  <c:v>All Others</c:v>
                </c:pt>
                <c:pt idx="1992">
                  <c:v>All Others</c:v>
                </c:pt>
                <c:pt idx="1993">
                  <c:v>All Others</c:v>
                </c:pt>
                <c:pt idx="1994">
                  <c:v>All Others</c:v>
                </c:pt>
                <c:pt idx="1995">
                  <c:v>All Others</c:v>
                </c:pt>
                <c:pt idx="1996">
                  <c:v>All Others</c:v>
                </c:pt>
                <c:pt idx="1997">
                  <c:v>All Others</c:v>
                </c:pt>
                <c:pt idx="1998">
                  <c:v>Raguin</c:v>
                </c:pt>
                <c:pt idx="1999">
                  <c:v>All Others</c:v>
                </c:pt>
                <c:pt idx="2000">
                  <c:v>All Others</c:v>
                </c:pt>
                <c:pt idx="2001">
                  <c:v>All Others</c:v>
                </c:pt>
                <c:pt idx="2002">
                  <c:v>All Others</c:v>
                </c:pt>
                <c:pt idx="2003">
                  <c:v>All Others</c:v>
                </c:pt>
                <c:pt idx="2004">
                  <c:v>All Others</c:v>
                </c:pt>
                <c:pt idx="2005">
                  <c:v>All Others</c:v>
                </c:pt>
                <c:pt idx="2006">
                  <c:v>All Others</c:v>
                </c:pt>
                <c:pt idx="2007">
                  <c:v>All Others</c:v>
                </c:pt>
                <c:pt idx="2008">
                  <c:v>All Others</c:v>
                </c:pt>
                <c:pt idx="2009">
                  <c:v>All Others</c:v>
                </c:pt>
                <c:pt idx="2010">
                  <c:v>All Others</c:v>
                </c:pt>
                <c:pt idx="2011">
                  <c:v>All Others</c:v>
                </c:pt>
                <c:pt idx="2012">
                  <c:v>All Others</c:v>
                </c:pt>
                <c:pt idx="2013">
                  <c:v>All Others</c:v>
                </c:pt>
                <c:pt idx="2014">
                  <c:v>All Others</c:v>
                </c:pt>
                <c:pt idx="2015">
                  <c:v>All Others</c:v>
                </c:pt>
                <c:pt idx="2016">
                  <c:v>All Others</c:v>
                </c:pt>
                <c:pt idx="2017">
                  <c:v>Eurial Autr</c:v>
                </c:pt>
                <c:pt idx="2018">
                  <c:v>Eurial Autr</c:v>
                </c:pt>
                <c:pt idx="2019">
                  <c:v>All Others</c:v>
                </c:pt>
                <c:pt idx="2020">
                  <c:v>All Others</c:v>
                </c:pt>
                <c:pt idx="2021">
                  <c:v>All Others</c:v>
                </c:pt>
                <c:pt idx="2022">
                  <c:v>All Others</c:v>
                </c:pt>
                <c:pt idx="2023">
                  <c:v>All Others</c:v>
                </c:pt>
                <c:pt idx="2024">
                  <c:v>Milleret: A</c:v>
                </c:pt>
                <c:pt idx="2025">
                  <c:v>All Others</c:v>
                </c:pt>
                <c:pt idx="2026">
                  <c:v>All Others</c:v>
                </c:pt>
                <c:pt idx="2027">
                  <c:v>All Others</c:v>
                </c:pt>
                <c:pt idx="2028">
                  <c:v>All Others</c:v>
                </c:pt>
                <c:pt idx="2029">
                  <c:v>All Others</c:v>
                </c:pt>
                <c:pt idx="2030">
                  <c:v>Casa Azzurr</c:v>
                </c:pt>
                <c:pt idx="2031">
                  <c:v>All Others</c:v>
                </c:pt>
                <c:pt idx="2032">
                  <c:v>All Others</c:v>
                </c:pt>
                <c:pt idx="2033">
                  <c:v>All Others</c:v>
                </c:pt>
                <c:pt idx="2034">
                  <c:v>All Others</c:v>
                </c:pt>
                <c:pt idx="2035">
                  <c:v>All Others</c:v>
                </c:pt>
                <c:pt idx="2036">
                  <c:v>All Others</c:v>
                </c:pt>
                <c:pt idx="2037">
                  <c:v>All Others</c:v>
                </c:pt>
                <c:pt idx="2038">
                  <c:v>All Others</c:v>
                </c:pt>
                <c:pt idx="2039">
                  <c:v>Private Lab</c:v>
                </c:pt>
                <c:pt idx="2040">
                  <c:v>Savencia: A</c:v>
                </c:pt>
                <c:pt idx="2041">
                  <c:v>Lactalis: A</c:v>
                </c:pt>
                <c:pt idx="2042">
                  <c:v>All Others</c:v>
                </c:pt>
                <c:pt idx="2043">
                  <c:v>All Others</c:v>
                </c:pt>
                <c:pt idx="2044">
                  <c:v>All Others</c:v>
                </c:pt>
                <c:pt idx="2045">
                  <c:v>Eurial Autr</c:v>
                </c:pt>
                <c:pt idx="2046">
                  <c:v>All Others</c:v>
                </c:pt>
                <c:pt idx="2047">
                  <c:v>All Others</c:v>
                </c:pt>
                <c:pt idx="2048">
                  <c:v>All Others</c:v>
                </c:pt>
                <c:pt idx="2049">
                  <c:v>Lou Perac</c:v>
                </c:pt>
                <c:pt idx="2050">
                  <c:v>All Others</c:v>
                </c:pt>
                <c:pt idx="2051">
                  <c:v>All Others</c:v>
                </c:pt>
                <c:pt idx="2052">
                  <c:v>All Others</c:v>
                </c:pt>
                <c:pt idx="2053">
                  <c:v>All Others</c:v>
                </c:pt>
                <c:pt idx="2054">
                  <c:v>All Others</c:v>
                </c:pt>
                <c:pt idx="2055">
                  <c:v>Pave D'Affi</c:v>
                </c:pt>
                <c:pt idx="2056">
                  <c:v>Triballat N</c:v>
                </c:pt>
                <c:pt idx="2057">
                  <c:v>President</c:v>
                </c:pt>
                <c:pt idx="2058">
                  <c:v>All Others</c:v>
                </c:pt>
                <c:pt idx="2059">
                  <c:v>All Others</c:v>
                </c:pt>
                <c:pt idx="2060">
                  <c:v>All Others</c:v>
                </c:pt>
                <c:pt idx="2061">
                  <c:v>Raguin</c:v>
                </c:pt>
                <c:pt idx="2062">
                  <c:v>All Others</c:v>
                </c:pt>
                <c:pt idx="2063">
                  <c:v>All Others</c:v>
                </c:pt>
                <c:pt idx="2064">
                  <c:v>All Others</c:v>
                </c:pt>
                <c:pt idx="2065">
                  <c:v>All Others</c:v>
                </c:pt>
                <c:pt idx="2066">
                  <c:v>All Others</c:v>
                </c:pt>
                <c:pt idx="2067">
                  <c:v>President</c:v>
                </c:pt>
                <c:pt idx="2068">
                  <c:v>All Others</c:v>
                </c:pt>
                <c:pt idx="2069">
                  <c:v>All Others</c:v>
                </c:pt>
                <c:pt idx="2070">
                  <c:v>All Others</c:v>
                </c:pt>
                <c:pt idx="2071">
                  <c:v>All Others</c:v>
                </c:pt>
                <c:pt idx="2072">
                  <c:v>All Others</c:v>
                </c:pt>
                <c:pt idx="2073">
                  <c:v>All Others</c:v>
                </c:pt>
                <c:pt idx="2074">
                  <c:v>All Others</c:v>
                </c:pt>
                <c:pt idx="2075">
                  <c:v>All Others</c:v>
                </c:pt>
                <c:pt idx="2076">
                  <c:v>All Others</c:v>
                </c:pt>
                <c:pt idx="2077">
                  <c:v>All Others</c:v>
                </c:pt>
                <c:pt idx="2078">
                  <c:v>All Others</c:v>
                </c:pt>
                <c:pt idx="2079">
                  <c:v>All Others</c:v>
                </c:pt>
                <c:pt idx="2080">
                  <c:v>All Others</c:v>
                </c:pt>
                <c:pt idx="2081">
                  <c:v>All Others</c:v>
                </c:pt>
                <c:pt idx="2082">
                  <c:v>All Others</c:v>
                </c:pt>
                <c:pt idx="2083">
                  <c:v>All Others</c:v>
                </c:pt>
                <c:pt idx="2084">
                  <c:v>All Others</c:v>
                </c:pt>
                <c:pt idx="2085">
                  <c:v>All Others</c:v>
                </c:pt>
                <c:pt idx="2086">
                  <c:v>All Others</c:v>
                </c:pt>
                <c:pt idx="2087">
                  <c:v>All Others</c:v>
                </c:pt>
                <c:pt idx="2088">
                  <c:v>All Others</c:v>
                </c:pt>
                <c:pt idx="2089">
                  <c:v>All Others</c:v>
                </c:pt>
                <c:pt idx="2090">
                  <c:v>All Others</c:v>
                </c:pt>
                <c:pt idx="2091">
                  <c:v>All Others</c:v>
                </c:pt>
                <c:pt idx="2092">
                  <c:v>All Others</c:v>
                </c:pt>
                <c:pt idx="2093">
                  <c:v>All Others</c:v>
                </c:pt>
                <c:pt idx="2094">
                  <c:v>All Others</c:v>
                </c:pt>
                <c:pt idx="2095">
                  <c:v>All Others</c:v>
                </c:pt>
                <c:pt idx="2096">
                  <c:v>All Others</c:v>
                </c:pt>
                <c:pt idx="2097">
                  <c:v>All Others</c:v>
                </c:pt>
                <c:pt idx="2098">
                  <c:v>All Others</c:v>
                </c:pt>
                <c:pt idx="2099">
                  <c:v>All Others</c:v>
                </c:pt>
                <c:pt idx="2100">
                  <c:v>All Others</c:v>
                </c:pt>
                <c:pt idx="2101">
                  <c:v>Pochat</c:v>
                </c:pt>
                <c:pt idx="2102">
                  <c:v>All Others</c:v>
                </c:pt>
                <c:pt idx="2103">
                  <c:v>Triballat R</c:v>
                </c:pt>
                <c:pt idx="2104">
                  <c:v>All Others</c:v>
                </c:pt>
                <c:pt idx="2105">
                  <c:v>All Others</c:v>
                </c:pt>
                <c:pt idx="2106">
                  <c:v>All Others</c:v>
                </c:pt>
                <c:pt idx="2107">
                  <c:v>All Others</c:v>
                </c:pt>
                <c:pt idx="2108">
                  <c:v>Tartare</c:v>
                </c:pt>
                <c:pt idx="2109">
                  <c:v>All Others</c:v>
                </c:pt>
                <c:pt idx="2110">
                  <c:v>Savencia: A</c:v>
                </c:pt>
                <c:pt idx="2111">
                  <c:v>All Others</c:v>
                </c:pt>
                <c:pt idx="2112">
                  <c:v>All Others</c:v>
                </c:pt>
                <c:pt idx="2113">
                  <c:v>Vieux Pane</c:v>
                </c:pt>
                <c:pt idx="2114">
                  <c:v>All Others</c:v>
                </c:pt>
                <c:pt idx="2115">
                  <c:v>All Others</c:v>
                </c:pt>
                <c:pt idx="2116">
                  <c:v>All Others</c:v>
                </c:pt>
                <c:pt idx="2117">
                  <c:v>All Others</c:v>
                </c:pt>
                <c:pt idx="2118">
                  <c:v>All Others</c:v>
                </c:pt>
                <c:pt idx="2119">
                  <c:v>All Others</c:v>
                </c:pt>
                <c:pt idx="2120">
                  <c:v>Etoile Du V</c:v>
                </c:pt>
                <c:pt idx="2121">
                  <c:v>All Others</c:v>
                </c:pt>
                <c:pt idx="2122">
                  <c:v>All Others</c:v>
                </c:pt>
                <c:pt idx="2123">
                  <c:v>All Others</c:v>
                </c:pt>
                <c:pt idx="2124">
                  <c:v>All Others</c:v>
                </c:pt>
                <c:pt idx="2125">
                  <c:v>All Others</c:v>
                </c:pt>
                <c:pt idx="2126">
                  <c:v>All Others</c:v>
                </c:pt>
                <c:pt idx="2127">
                  <c:v>All Others</c:v>
                </c:pt>
                <c:pt idx="2128">
                  <c:v>All Others</c:v>
                </c:pt>
                <c:pt idx="2129">
                  <c:v>President</c:v>
                </c:pt>
                <c:pt idx="2130">
                  <c:v>All Others</c:v>
                </c:pt>
                <c:pt idx="2131">
                  <c:v>All Others</c:v>
                </c:pt>
                <c:pt idx="2132">
                  <c:v>Pochat</c:v>
                </c:pt>
                <c:pt idx="2133">
                  <c:v>All Others</c:v>
                </c:pt>
                <c:pt idx="2134">
                  <c:v>All Others</c:v>
                </c:pt>
                <c:pt idx="2135">
                  <c:v>All Others</c:v>
                </c:pt>
                <c:pt idx="2136">
                  <c:v>All Others</c:v>
                </c:pt>
                <c:pt idx="2137">
                  <c:v>All Others</c:v>
                </c:pt>
                <c:pt idx="2138">
                  <c:v>All Others</c:v>
                </c:pt>
                <c:pt idx="2139">
                  <c:v>All Others</c:v>
                </c:pt>
                <c:pt idx="2140">
                  <c:v>All Others</c:v>
                </c:pt>
                <c:pt idx="2141">
                  <c:v>Caprice Des</c:v>
                </c:pt>
                <c:pt idx="2142">
                  <c:v>All Others</c:v>
                </c:pt>
                <c:pt idx="2143">
                  <c:v>All Others</c:v>
                </c:pt>
                <c:pt idx="2144">
                  <c:v>All Others</c:v>
                </c:pt>
                <c:pt idx="2145">
                  <c:v>All Others</c:v>
                </c:pt>
                <c:pt idx="2146">
                  <c:v>All Others</c:v>
                </c:pt>
                <c:pt idx="2147">
                  <c:v>All Others</c:v>
                </c:pt>
                <c:pt idx="2148">
                  <c:v>Raguin</c:v>
                </c:pt>
                <c:pt idx="2149">
                  <c:v>All Others</c:v>
                </c:pt>
                <c:pt idx="2150">
                  <c:v>All Others</c:v>
                </c:pt>
                <c:pt idx="2151">
                  <c:v>All Others</c:v>
                </c:pt>
                <c:pt idx="2152">
                  <c:v>Pave D'Affi</c:v>
                </c:pt>
                <c:pt idx="2153">
                  <c:v>Savencia: A</c:v>
                </c:pt>
                <c:pt idx="2154">
                  <c:v>All Others</c:v>
                </c:pt>
                <c:pt idx="2155">
                  <c:v>All Others</c:v>
                </c:pt>
                <c:pt idx="2156">
                  <c:v>All Others</c:v>
                </c:pt>
                <c:pt idx="2157">
                  <c:v>Savencia: A</c:v>
                </c:pt>
                <c:pt idx="2158">
                  <c:v>All Others</c:v>
                </c:pt>
                <c:pt idx="2159">
                  <c:v>All Others</c:v>
                </c:pt>
                <c:pt idx="2160">
                  <c:v>Richesmonts</c:v>
                </c:pt>
                <c:pt idx="2161">
                  <c:v>All Others</c:v>
                </c:pt>
                <c:pt idx="2162">
                  <c:v>All Others</c:v>
                </c:pt>
                <c:pt idx="2163">
                  <c:v>All Others</c:v>
                </c:pt>
                <c:pt idx="2164">
                  <c:v>All Others</c:v>
                </c:pt>
                <c:pt idx="2165">
                  <c:v>All Others</c:v>
                </c:pt>
                <c:pt idx="2166">
                  <c:v>Savencia: A</c:v>
                </c:pt>
                <c:pt idx="2167">
                  <c:v>All Others</c:v>
                </c:pt>
                <c:pt idx="2168">
                  <c:v>All Others</c:v>
                </c:pt>
                <c:pt idx="2169">
                  <c:v>All Others</c:v>
                </c:pt>
                <c:pt idx="2170">
                  <c:v>All Others</c:v>
                </c:pt>
                <c:pt idx="2171">
                  <c:v>All Others</c:v>
                </c:pt>
                <c:pt idx="2172">
                  <c:v>All Others</c:v>
                </c:pt>
                <c:pt idx="2173">
                  <c:v>All Others</c:v>
                </c:pt>
                <c:pt idx="2174">
                  <c:v>Milleret: A</c:v>
                </c:pt>
                <c:pt idx="2175">
                  <c:v>All Others</c:v>
                </c:pt>
                <c:pt idx="2176">
                  <c:v>All Others</c:v>
                </c:pt>
                <c:pt idx="2177">
                  <c:v>All Others</c:v>
                </c:pt>
                <c:pt idx="2178">
                  <c:v>All Others</c:v>
                </c:pt>
                <c:pt idx="2179">
                  <c:v>Eurial Autr</c:v>
                </c:pt>
                <c:pt idx="2180">
                  <c:v>All Others</c:v>
                </c:pt>
                <c:pt idx="2181">
                  <c:v>All Others</c:v>
                </c:pt>
                <c:pt idx="2182">
                  <c:v>All Others</c:v>
                </c:pt>
                <c:pt idx="2183">
                  <c:v>All Others</c:v>
                </c:pt>
                <c:pt idx="2184">
                  <c:v>All Others</c:v>
                </c:pt>
                <c:pt idx="2185">
                  <c:v>Soignon</c:v>
                </c:pt>
                <c:pt idx="2186">
                  <c:v>Pochat</c:v>
                </c:pt>
                <c:pt idx="2187">
                  <c:v>All Others</c:v>
                </c:pt>
                <c:pt idx="2188">
                  <c:v>All Others</c:v>
                </c:pt>
                <c:pt idx="2189">
                  <c:v>All Others</c:v>
                </c:pt>
                <c:pt idx="2190">
                  <c:v>All Others</c:v>
                </c:pt>
                <c:pt idx="2191">
                  <c:v>Leerdammer</c:v>
                </c:pt>
                <c:pt idx="2192">
                  <c:v>All Others</c:v>
                </c:pt>
                <c:pt idx="2193">
                  <c:v>All Others</c:v>
                </c:pt>
                <c:pt idx="2194">
                  <c:v>All Others</c:v>
                </c:pt>
                <c:pt idx="2195">
                  <c:v>All Others</c:v>
                </c:pt>
                <c:pt idx="2196">
                  <c:v>All Others</c:v>
                </c:pt>
                <c:pt idx="2197">
                  <c:v>All Others</c:v>
                </c:pt>
                <c:pt idx="2198">
                  <c:v>All Others</c:v>
                </c:pt>
                <c:pt idx="2199">
                  <c:v>All Others</c:v>
                </c:pt>
                <c:pt idx="2200">
                  <c:v>All Others</c:v>
                </c:pt>
                <c:pt idx="2201">
                  <c:v>All Others</c:v>
                </c:pt>
                <c:pt idx="2202">
                  <c:v>All Others</c:v>
                </c:pt>
                <c:pt idx="2203">
                  <c:v>All Others</c:v>
                </c:pt>
                <c:pt idx="2204">
                  <c:v>All Others</c:v>
                </c:pt>
                <c:pt idx="2205">
                  <c:v>All Others</c:v>
                </c:pt>
                <c:pt idx="2206">
                  <c:v>All Others</c:v>
                </c:pt>
                <c:pt idx="2207">
                  <c:v>Raguin</c:v>
                </c:pt>
                <c:pt idx="2208">
                  <c:v>Etoile Du V</c:v>
                </c:pt>
                <c:pt idx="2209">
                  <c:v>La Belle Et</c:v>
                </c:pt>
                <c:pt idx="2210">
                  <c:v>All Others</c:v>
                </c:pt>
                <c:pt idx="2211">
                  <c:v>Private Lab</c:v>
                </c:pt>
                <c:pt idx="2212">
                  <c:v>All Others</c:v>
                </c:pt>
                <c:pt idx="2213">
                  <c:v>All Others</c:v>
                </c:pt>
                <c:pt idx="2214">
                  <c:v>All Others</c:v>
                </c:pt>
                <c:pt idx="2215">
                  <c:v>All Others</c:v>
                </c:pt>
                <c:pt idx="2216">
                  <c:v>All Others</c:v>
                </c:pt>
                <c:pt idx="2217">
                  <c:v>All Others</c:v>
                </c:pt>
                <c:pt idx="2218">
                  <c:v>All Others</c:v>
                </c:pt>
                <c:pt idx="2219">
                  <c:v>All Others</c:v>
                </c:pt>
                <c:pt idx="2220">
                  <c:v>Etoile Du V</c:v>
                </c:pt>
                <c:pt idx="2221">
                  <c:v>Paysan Bret</c:v>
                </c:pt>
                <c:pt idx="2222">
                  <c:v>Lou Perac</c:v>
                </c:pt>
                <c:pt idx="2223">
                  <c:v>All Others</c:v>
                </c:pt>
                <c:pt idx="2224">
                  <c:v>All Others</c:v>
                </c:pt>
                <c:pt idx="2225">
                  <c:v>All Others</c:v>
                </c:pt>
                <c:pt idx="2226">
                  <c:v>Milleret: A</c:v>
                </c:pt>
                <c:pt idx="2227">
                  <c:v>Petit Billy</c:v>
                </c:pt>
                <c:pt idx="2228">
                  <c:v>All Others</c:v>
                </c:pt>
                <c:pt idx="2229">
                  <c:v>All Others</c:v>
                </c:pt>
                <c:pt idx="2230">
                  <c:v>Lactalis: A</c:v>
                </c:pt>
                <c:pt idx="2231">
                  <c:v>All Others</c:v>
                </c:pt>
                <c:pt idx="2232">
                  <c:v>All Others</c:v>
                </c:pt>
                <c:pt idx="2233">
                  <c:v>All Others</c:v>
                </c:pt>
                <c:pt idx="2234">
                  <c:v>Eurial Autr</c:v>
                </c:pt>
                <c:pt idx="2235">
                  <c:v>All Others</c:v>
                </c:pt>
                <c:pt idx="2236">
                  <c:v>All Others</c:v>
                </c:pt>
                <c:pt idx="2237">
                  <c:v>President</c:v>
                </c:pt>
                <c:pt idx="2238">
                  <c:v>All Others</c:v>
                </c:pt>
                <c:pt idx="2239">
                  <c:v>All Others</c:v>
                </c:pt>
                <c:pt idx="2240">
                  <c:v>Eurial Autr</c:v>
                </c:pt>
                <c:pt idx="2241">
                  <c:v>Private Lab</c:v>
                </c:pt>
                <c:pt idx="2242">
                  <c:v>All Others</c:v>
                </c:pt>
                <c:pt idx="2243">
                  <c:v>All Others</c:v>
                </c:pt>
                <c:pt idx="2244">
                  <c:v>All Others</c:v>
                </c:pt>
                <c:pt idx="2245">
                  <c:v>All Others</c:v>
                </c:pt>
                <c:pt idx="2246">
                  <c:v>All Others</c:v>
                </c:pt>
                <c:pt idx="2247">
                  <c:v>All Others</c:v>
                </c:pt>
                <c:pt idx="2248">
                  <c:v>All Others</c:v>
                </c:pt>
                <c:pt idx="2249">
                  <c:v>All Others</c:v>
                </c:pt>
                <c:pt idx="2250">
                  <c:v>Private Lab</c:v>
                </c:pt>
                <c:pt idx="2251">
                  <c:v>All Others</c:v>
                </c:pt>
                <c:pt idx="2252">
                  <c:v>All Others</c:v>
                </c:pt>
                <c:pt idx="2253">
                  <c:v>All Others</c:v>
                </c:pt>
                <c:pt idx="2254">
                  <c:v>All Others</c:v>
                </c:pt>
                <c:pt idx="2255">
                  <c:v>All Others</c:v>
                </c:pt>
                <c:pt idx="2256">
                  <c:v>All Others</c:v>
                </c:pt>
                <c:pt idx="2257">
                  <c:v>All Others</c:v>
                </c:pt>
                <c:pt idx="2258">
                  <c:v>All Others</c:v>
                </c:pt>
                <c:pt idx="2259">
                  <c:v>All Others</c:v>
                </c:pt>
                <c:pt idx="2260">
                  <c:v>All Others</c:v>
                </c:pt>
                <c:pt idx="2261">
                  <c:v>All Others</c:v>
                </c:pt>
                <c:pt idx="2262">
                  <c:v>All Others</c:v>
                </c:pt>
                <c:pt idx="2263">
                  <c:v>All Others</c:v>
                </c:pt>
                <c:pt idx="2264">
                  <c:v>All Others</c:v>
                </c:pt>
                <c:pt idx="2265">
                  <c:v>All Others</c:v>
                </c:pt>
                <c:pt idx="2266">
                  <c:v>Soignon</c:v>
                </c:pt>
                <c:pt idx="2267">
                  <c:v>All Others</c:v>
                </c:pt>
                <c:pt idx="2268">
                  <c:v>All Others</c:v>
                </c:pt>
                <c:pt idx="2269">
                  <c:v>Leerdammer</c:v>
                </c:pt>
                <c:pt idx="2270">
                  <c:v>All Others</c:v>
                </c:pt>
                <c:pt idx="2271">
                  <c:v>All Others</c:v>
                </c:pt>
                <c:pt idx="2272">
                  <c:v>All Others</c:v>
                </c:pt>
                <c:pt idx="2273">
                  <c:v>All Others</c:v>
                </c:pt>
                <c:pt idx="2274">
                  <c:v>All Others</c:v>
                </c:pt>
                <c:pt idx="2275">
                  <c:v>All Others</c:v>
                </c:pt>
                <c:pt idx="2276">
                  <c:v>All Others</c:v>
                </c:pt>
                <c:pt idx="2277">
                  <c:v>La Belle Et</c:v>
                </c:pt>
                <c:pt idx="2278">
                  <c:v>All Others</c:v>
                </c:pt>
                <c:pt idx="2279">
                  <c:v>Private Lab</c:v>
                </c:pt>
                <c:pt idx="2280">
                  <c:v>Leerdammer</c:v>
                </c:pt>
                <c:pt idx="2281">
                  <c:v>All Others</c:v>
                </c:pt>
                <c:pt idx="2282">
                  <c:v>Paysan Bret</c:v>
                </c:pt>
                <c:pt idx="2283">
                  <c:v>All Others</c:v>
                </c:pt>
                <c:pt idx="2284">
                  <c:v>All Others</c:v>
                </c:pt>
                <c:pt idx="2285">
                  <c:v>All Others</c:v>
                </c:pt>
                <c:pt idx="2286">
                  <c:v>All Others</c:v>
                </c:pt>
                <c:pt idx="2287">
                  <c:v>All Others</c:v>
                </c:pt>
                <c:pt idx="2288">
                  <c:v>All Others</c:v>
                </c:pt>
                <c:pt idx="2289">
                  <c:v>Fol Epi</c:v>
                </c:pt>
                <c:pt idx="2290">
                  <c:v>All Others</c:v>
                </c:pt>
                <c:pt idx="2291">
                  <c:v>Fol Epi</c:v>
                </c:pt>
                <c:pt idx="2292">
                  <c:v>All Others</c:v>
                </c:pt>
                <c:pt idx="2293">
                  <c:v>All Others</c:v>
                </c:pt>
                <c:pt idx="2294">
                  <c:v>All Others</c:v>
                </c:pt>
                <c:pt idx="2295">
                  <c:v>All Others</c:v>
                </c:pt>
                <c:pt idx="2296">
                  <c:v>All Others</c:v>
                </c:pt>
                <c:pt idx="2297">
                  <c:v>All Others</c:v>
                </c:pt>
                <c:pt idx="2298">
                  <c:v>All Others</c:v>
                </c:pt>
                <c:pt idx="2299">
                  <c:v>All Others</c:v>
                </c:pt>
                <c:pt idx="2300">
                  <c:v>All Others</c:v>
                </c:pt>
                <c:pt idx="2301">
                  <c:v>All Others</c:v>
                </c:pt>
                <c:pt idx="2302">
                  <c:v>All Others</c:v>
                </c:pt>
                <c:pt idx="2303">
                  <c:v>All Others</c:v>
                </c:pt>
                <c:pt idx="2304">
                  <c:v>All Others</c:v>
                </c:pt>
                <c:pt idx="2305">
                  <c:v>All Others</c:v>
                </c:pt>
                <c:pt idx="2306">
                  <c:v>All Others</c:v>
                </c:pt>
                <c:pt idx="2307">
                  <c:v>All Others</c:v>
                </c:pt>
                <c:pt idx="2308">
                  <c:v>All Others</c:v>
                </c:pt>
                <c:pt idx="2309">
                  <c:v>All Others</c:v>
                </c:pt>
                <c:pt idx="2310">
                  <c:v>All Others</c:v>
                </c:pt>
                <c:pt idx="2311">
                  <c:v>All Others</c:v>
                </c:pt>
                <c:pt idx="2312">
                  <c:v>Pave D'Affi</c:v>
                </c:pt>
                <c:pt idx="2313">
                  <c:v>All Others</c:v>
                </c:pt>
                <c:pt idx="2314">
                  <c:v>All Others</c:v>
                </c:pt>
                <c:pt idx="2315">
                  <c:v>All Others</c:v>
                </c:pt>
                <c:pt idx="2316">
                  <c:v>All Others</c:v>
                </c:pt>
                <c:pt idx="2317">
                  <c:v>Eurial Autr</c:v>
                </c:pt>
                <c:pt idx="2318">
                  <c:v>All Others</c:v>
                </c:pt>
                <c:pt idx="2319">
                  <c:v>Richesmonts</c:v>
                </c:pt>
                <c:pt idx="2320">
                  <c:v>All Others</c:v>
                </c:pt>
                <c:pt idx="2321">
                  <c:v>All Others</c:v>
                </c:pt>
                <c:pt idx="2322">
                  <c:v>All Others</c:v>
                </c:pt>
                <c:pt idx="2323">
                  <c:v>Private Lab</c:v>
                </c:pt>
                <c:pt idx="2324">
                  <c:v>All Others</c:v>
                </c:pt>
                <c:pt idx="2325">
                  <c:v>All Others</c:v>
                </c:pt>
                <c:pt idx="2326">
                  <c:v>Private Lab</c:v>
                </c:pt>
                <c:pt idx="2327">
                  <c:v>All Others</c:v>
                </c:pt>
                <c:pt idx="2328">
                  <c:v>All Others</c:v>
                </c:pt>
                <c:pt idx="2329">
                  <c:v>All Others</c:v>
                </c:pt>
                <c:pt idx="2330">
                  <c:v>All Others</c:v>
                </c:pt>
                <c:pt idx="2331">
                  <c:v>Eurial Autr</c:v>
                </c:pt>
                <c:pt idx="2332">
                  <c:v>Lactalis: A</c:v>
                </c:pt>
                <c:pt idx="2333">
                  <c:v>All Others</c:v>
                </c:pt>
                <c:pt idx="2334">
                  <c:v>All Others</c:v>
                </c:pt>
                <c:pt idx="2335">
                  <c:v>All Others</c:v>
                </c:pt>
                <c:pt idx="2336">
                  <c:v>All Others</c:v>
                </c:pt>
                <c:pt idx="2337">
                  <c:v>All Others</c:v>
                </c:pt>
                <c:pt idx="2338">
                  <c:v>All Others</c:v>
                </c:pt>
                <c:pt idx="2339">
                  <c:v>Private Lab</c:v>
                </c:pt>
                <c:pt idx="2340">
                  <c:v>All Others</c:v>
                </c:pt>
                <c:pt idx="2341">
                  <c:v>All Others</c:v>
                </c:pt>
                <c:pt idx="2342">
                  <c:v>All Others</c:v>
                </c:pt>
                <c:pt idx="2343">
                  <c:v>All Others</c:v>
                </c:pt>
                <c:pt idx="2344">
                  <c:v>President</c:v>
                </c:pt>
                <c:pt idx="2345">
                  <c:v>All Others</c:v>
                </c:pt>
                <c:pt idx="2346">
                  <c:v>All Others</c:v>
                </c:pt>
                <c:pt idx="2347">
                  <c:v>Entremont</c:v>
                </c:pt>
                <c:pt idx="2348">
                  <c:v>All Others</c:v>
                </c:pt>
                <c:pt idx="2349">
                  <c:v>All Others</c:v>
                </c:pt>
                <c:pt idx="2350">
                  <c:v>All Others</c:v>
                </c:pt>
                <c:pt idx="2351">
                  <c:v>All Others</c:v>
                </c:pt>
                <c:pt idx="2352">
                  <c:v>All Others</c:v>
                </c:pt>
                <c:pt idx="2353">
                  <c:v>All Others</c:v>
                </c:pt>
                <c:pt idx="2354">
                  <c:v>All Others</c:v>
                </c:pt>
                <c:pt idx="2355">
                  <c:v>Lactalis: A</c:v>
                </c:pt>
                <c:pt idx="2356">
                  <c:v>All Others</c:v>
                </c:pt>
                <c:pt idx="2357">
                  <c:v>All Others</c:v>
                </c:pt>
                <c:pt idx="2358">
                  <c:v>All Others</c:v>
                </c:pt>
                <c:pt idx="2359">
                  <c:v>All Others</c:v>
                </c:pt>
                <c:pt idx="2360">
                  <c:v>All Others</c:v>
                </c:pt>
                <c:pt idx="2361">
                  <c:v>All Others</c:v>
                </c:pt>
                <c:pt idx="2362">
                  <c:v>All Others</c:v>
                </c:pt>
                <c:pt idx="2363">
                  <c:v>All Others</c:v>
                </c:pt>
                <c:pt idx="2364">
                  <c:v>All Others</c:v>
                </c:pt>
                <c:pt idx="2365">
                  <c:v>All Others</c:v>
                </c:pt>
                <c:pt idx="2366">
                  <c:v>All Others</c:v>
                </c:pt>
                <c:pt idx="2367">
                  <c:v>All Others</c:v>
                </c:pt>
                <c:pt idx="2368">
                  <c:v>All Others</c:v>
                </c:pt>
                <c:pt idx="2369">
                  <c:v>All Others</c:v>
                </c:pt>
                <c:pt idx="2370">
                  <c:v>All Others</c:v>
                </c:pt>
                <c:pt idx="2371">
                  <c:v>All Others</c:v>
                </c:pt>
                <c:pt idx="2372">
                  <c:v>All Others</c:v>
                </c:pt>
                <c:pt idx="2373">
                  <c:v>Pave D'Affi</c:v>
                </c:pt>
                <c:pt idx="2374">
                  <c:v>All Others</c:v>
                </c:pt>
                <c:pt idx="2375">
                  <c:v>Raguin</c:v>
                </c:pt>
                <c:pt idx="2376">
                  <c:v>All Others</c:v>
                </c:pt>
                <c:pt idx="2377">
                  <c:v>All Others</c:v>
                </c:pt>
                <c:pt idx="2378">
                  <c:v>Pave D'Affi</c:v>
                </c:pt>
                <c:pt idx="2379">
                  <c:v>All Others</c:v>
                </c:pt>
                <c:pt idx="2380">
                  <c:v>All Others</c:v>
                </c:pt>
                <c:pt idx="2381">
                  <c:v>All Others</c:v>
                </c:pt>
                <c:pt idx="2382">
                  <c:v>All Others</c:v>
                </c:pt>
                <c:pt idx="2383">
                  <c:v>Milleret: A</c:v>
                </c:pt>
                <c:pt idx="2384">
                  <c:v>All Others</c:v>
                </c:pt>
                <c:pt idx="2385">
                  <c:v>All Others</c:v>
                </c:pt>
                <c:pt idx="2386">
                  <c:v>All Others</c:v>
                </c:pt>
                <c:pt idx="2387">
                  <c:v>All Others</c:v>
                </c:pt>
                <c:pt idx="2388">
                  <c:v>All Others</c:v>
                </c:pt>
                <c:pt idx="2389">
                  <c:v>All Others</c:v>
                </c:pt>
                <c:pt idx="2390">
                  <c:v>All Others</c:v>
                </c:pt>
                <c:pt idx="2391">
                  <c:v>All Others</c:v>
                </c:pt>
                <c:pt idx="2392">
                  <c:v>All Others</c:v>
                </c:pt>
                <c:pt idx="2393">
                  <c:v>All Others</c:v>
                </c:pt>
                <c:pt idx="2394">
                  <c:v>All Others</c:v>
                </c:pt>
                <c:pt idx="2395">
                  <c:v>All Others</c:v>
                </c:pt>
                <c:pt idx="2396">
                  <c:v>All Others</c:v>
                </c:pt>
                <c:pt idx="2397">
                  <c:v>All Others</c:v>
                </c:pt>
                <c:pt idx="2398">
                  <c:v>All Others</c:v>
                </c:pt>
                <c:pt idx="2399">
                  <c:v>Raguin</c:v>
                </c:pt>
                <c:pt idx="2400">
                  <c:v>All Others</c:v>
                </c:pt>
                <c:pt idx="2401">
                  <c:v>Private Lab</c:v>
                </c:pt>
                <c:pt idx="2402">
                  <c:v>All Others</c:v>
                </c:pt>
                <c:pt idx="2403">
                  <c:v>Pave D'Affi</c:v>
                </c:pt>
                <c:pt idx="2404">
                  <c:v>All Others</c:v>
                </c:pt>
                <c:pt idx="2405">
                  <c:v>All Others</c:v>
                </c:pt>
                <c:pt idx="2406">
                  <c:v>All Others</c:v>
                </c:pt>
                <c:pt idx="2407">
                  <c:v>All Others</c:v>
                </c:pt>
                <c:pt idx="2408">
                  <c:v>All Others</c:v>
                </c:pt>
                <c:pt idx="2409">
                  <c:v>All Others</c:v>
                </c:pt>
                <c:pt idx="2410">
                  <c:v>All Others</c:v>
                </c:pt>
                <c:pt idx="2411">
                  <c:v>Lactalis: A</c:v>
                </c:pt>
                <c:pt idx="2412">
                  <c:v>All Others</c:v>
                </c:pt>
                <c:pt idx="2413">
                  <c:v>All Others</c:v>
                </c:pt>
                <c:pt idx="2414">
                  <c:v>All Others</c:v>
                </c:pt>
                <c:pt idx="2415">
                  <c:v>All Others</c:v>
                </c:pt>
                <c:pt idx="2416">
                  <c:v>All Others</c:v>
                </c:pt>
                <c:pt idx="2417">
                  <c:v>All Others</c:v>
                </c:pt>
                <c:pt idx="2418">
                  <c:v>All Others</c:v>
                </c:pt>
                <c:pt idx="2419">
                  <c:v>Savencia: A</c:v>
                </c:pt>
                <c:pt idx="2420">
                  <c:v>All Others</c:v>
                </c:pt>
                <c:pt idx="2421">
                  <c:v>Le Saint Am</c:v>
                </c:pt>
                <c:pt idx="2422">
                  <c:v>All Others</c:v>
                </c:pt>
                <c:pt idx="2423">
                  <c:v>All Others</c:v>
                </c:pt>
                <c:pt idx="2424">
                  <c:v>Private Lab</c:v>
                </c:pt>
                <c:pt idx="2425">
                  <c:v>All Others</c:v>
                </c:pt>
                <c:pt idx="2426">
                  <c:v>All Others</c:v>
                </c:pt>
                <c:pt idx="2427">
                  <c:v>All Others</c:v>
                </c:pt>
                <c:pt idx="2428">
                  <c:v>All Others</c:v>
                </c:pt>
                <c:pt idx="2429">
                  <c:v>Raguin</c:v>
                </c:pt>
                <c:pt idx="2430">
                  <c:v>All Others</c:v>
                </c:pt>
                <c:pt idx="2431">
                  <c:v>All Others</c:v>
                </c:pt>
                <c:pt idx="2432">
                  <c:v>All Others</c:v>
                </c:pt>
                <c:pt idx="2433">
                  <c:v>All Others</c:v>
                </c:pt>
                <c:pt idx="2434">
                  <c:v>All Others</c:v>
                </c:pt>
                <c:pt idx="2435">
                  <c:v>Lou Perac</c:v>
                </c:pt>
                <c:pt idx="2436">
                  <c:v>All Others</c:v>
                </c:pt>
                <c:pt idx="2437">
                  <c:v>All Others</c:v>
                </c:pt>
                <c:pt idx="2438">
                  <c:v>All Others</c:v>
                </c:pt>
                <c:pt idx="2439">
                  <c:v>All Others</c:v>
                </c:pt>
                <c:pt idx="2440">
                  <c:v>All Others</c:v>
                </c:pt>
                <c:pt idx="2441">
                  <c:v>All Others</c:v>
                </c:pt>
                <c:pt idx="2442">
                  <c:v>All Others</c:v>
                </c:pt>
                <c:pt idx="2443">
                  <c:v>Lactalis: A</c:v>
                </c:pt>
                <c:pt idx="2444">
                  <c:v>Private Lab</c:v>
                </c:pt>
                <c:pt idx="2445">
                  <c:v>All Others</c:v>
                </c:pt>
                <c:pt idx="2446">
                  <c:v>All Others</c:v>
                </c:pt>
                <c:pt idx="2447">
                  <c:v>Pochat</c:v>
                </c:pt>
                <c:pt idx="2448">
                  <c:v>All Others</c:v>
                </c:pt>
                <c:pt idx="2449">
                  <c:v>All Others</c:v>
                </c:pt>
                <c:pt idx="2450">
                  <c:v>All Others</c:v>
                </c:pt>
                <c:pt idx="2451">
                  <c:v>All Others</c:v>
                </c:pt>
                <c:pt idx="2452">
                  <c:v>All Others</c:v>
                </c:pt>
                <c:pt idx="2453">
                  <c:v>All Others</c:v>
                </c:pt>
                <c:pt idx="2454">
                  <c:v>Mini Babybe</c:v>
                </c:pt>
                <c:pt idx="2455">
                  <c:v>All Others</c:v>
                </c:pt>
                <c:pt idx="2456">
                  <c:v>All Others</c:v>
                </c:pt>
                <c:pt idx="2457">
                  <c:v>Lactalis: A</c:v>
                </c:pt>
                <c:pt idx="2458">
                  <c:v>All Others</c:v>
                </c:pt>
                <c:pt idx="2459">
                  <c:v>All Others</c:v>
                </c:pt>
                <c:pt idx="2460">
                  <c:v>Private Lab</c:v>
                </c:pt>
                <c:pt idx="2461">
                  <c:v>All Others</c:v>
                </c:pt>
                <c:pt idx="2462">
                  <c:v>Lactalis: A</c:v>
                </c:pt>
                <c:pt idx="2463">
                  <c:v>All Others</c:v>
                </c:pt>
                <c:pt idx="2464">
                  <c:v>All Others</c:v>
                </c:pt>
                <c:pt idx="2465">
                  <c:v>All Others</c:v>
                </c:pt>
                <c:pt idx="2466">
                  <c:v>All Others</c:v>
                </c:pt>
                <c:pt idx="2467">
                  <c:v>All Others</c:v>
                </c:pt>
                <c:pt idx="2468">
                  <c:v>All Others</c:v>
                </c:pt>
                <c:pt idx="2469">
                  <c:v>Port Salut</c:v>
                </c:pt>
                <c:pt idx="2470">
                  <c:v>All Others</c:v>
                </c:pt>
                <c:pt idx="2471">
                  <c:v>All Others</c:v>
                </c:pt>
                <c:pt idx="2472">
                  <c:v>All Others</c:v>
                </c:pt>
                <c:pt idx="2473">
                  <c:v>All Others</c:v>
                </c:pt>
                <c:pt idx="2474">
                  <c:v>All Others</c:v>
                </c:pt>
                <c:pt idx="2475">
                  <c:v>All Others</c:v>
                </c:pt>
                <c:pt idx="2476">
                  <c:v>All Others</c:v>
                </c:pt>
                <c:pt idx="2477">
                  <c:v>All Others</c:v>
                </c:pt>
                <c:pt idx="2478">
                  <c:v>Soignon</c:v>
                </c:pt>
                <c:pt idx="2479">
                  <c:v>All Others</c:v>
                </c:pt>
                <c:pt idx="2480">
                  <c:v>Richesmonts</c:v>
                </c:pt>
                <c:pt idx="2481">
                  <c:v>Private Lab</c:v>
                </c:pt>
                <c:pt idx="2482">
                  <c:v>All Others</c:v>
                </c:pt>
                <c:pt idx="2483">
                  <c:v>All Others</c:v>
                </c:pt>
                <c:pt idx="2484">
                  <c:v>All Others</c:v>
                </c:pt>
                <c:pt idx="2485">
                  <c:v>All Others</c:v>
                </c:pt>
                <c:pt idx="2486">
                  <c:v>All Others</c:v>
                </c:pt>
                <c:pt idx="2487">
                  <c:v>All Others</c:v>
                </c:pt>
                <c:pt idx="2488">
                  <c:v>All Others</c:v>
                </c:pt>
                <c:pt idx="2489">
                  <c:v>All Others</c:v>
                </c:pt>
                <c:pt idx="2490">
                  <c:v>All Others</c:v>
                </c:pt>
                <c:pt idx="2491">
                  <c:v>All Others</c:v>
                </c:pt>
                <c:pt idx="2492">
                  <c:v>All Others</c:v>
                </c:pt>
                <c:pt idx="2493">
                  <c:v>All Others</c:v>
                </c:pt>
                <c:pt idx="2494">
                  <c:v>All Others</c:v>
                </c:pt>
                <c:pt idx="2495">
                  <c:v>All Others</c:v>
                </c:pt>
                <c:pt idx="2496">
                  <c:v>All Others</c:v>
                </c:pt>
                <c:pt idx="2497">
                  <c:v>All Others</c:v>
                </c:pt>
                <c:pt idx="2498">
                  <c:v>All Others</c:v>
                </c:pt>
                <c:pt idx="2499">
                  <c:v>All Others</c:v>
                </c:pt>
                <c:pt idx="2500">
                  <c:v>Eurial Autr</c:v>
                </c:pt>
                <c:pt idx="2501">
                  <c:v>All Others</c:v>
                </c:pt>
                <c:pt idx="2502">
                  <c:v>All Others</c:v>
                </c:pt>
                <c:pt idx="2503">
                  <c:v>All Others</c:v>
                </c:pt>
                <c:pt idx="2504">
                  <c:v>All Others</c:v>
                </c:pt>
                <c:pt idx="2505">
                  <c:v>All Others</c:v>
                </c:pt>
                <c:pt idx="2506">
                  <c:v>All Others</c:v>
                </c:pt>
                <c:pt idx="2507">
                  <c:v>All Others</c:v>
                </c:pt>
                <c:pt idx="2508">
                  <c:v>All Others</c:v>
                </c:pt>
                <c:pt idx="2509">
                  <c:v>All Others</c:v>
                </c:pt>
                <c:pt idx="2510">
                  <c:v>All Others</c:v>
                </c:pt>
                <c:pt idx="2511">
                  <c:v>All Others</c:v>
                </c:pt>
                <c:pt idx="2512">
                  <c:v>All Others</c:v>
                </c:pt>
                <c:pt idx="2513">
                  <c:v>All Others</c:v>
                </c:pt>
                <c:pt idx="2514">
                  <c:v>All Others</c:v>
                </c:pt>
                <c:pt idx="2515">
                  <c:v>All Others</c:v>
                </c:pt>
                <c:pt idx="2516">
                  <c:v>All Others</c:v>
                </c:pt>
                <c:pt idx="2517">
                  <c:v>All Others</c:v>
                </c:pt>
                <c:pt idx="2518">
                  <c:v>All Others</c:v>
                </c:pt>
                <c:pt idx="2519">
                  <c:v>All Others</c:v>
                </c:pt>
                <c:pt idx="2520">
                  <c:v>All Others</c:v>
                </c:pt>
                <c:pt idx="2521">
                  <c:v>Limiano</c:v>
                </c:pt>
                <c:pt idx="2522">
                  <c:v>All Others</c:v>
                </c:pt>
                <c:pt idx="2523">
                  <c:v>All Others</c:v>
                </c:pt>
                <c:pt idx="2524">
                  <c:v>All Others</c:v>
                </c:pt>
                <c:pt idx="2525">
                  <c:v>All Others</c:v>
                </c:pt>
                <c:pt idx="2526">
                  <c:v>All Others</c:v>
                </c:pt>
                <c:pt idx="2527">
                  <c:v>All Others</c:v>
                </c:pt>
                <c:pt idx="2528">
                  <c:v>All Others</c:v>
                </c:pt>
                <c:pt idx="2529">
                  <c:v>Savencia: A</c:v>
                </c:pt>
                <c:pt idx="2530">
                  <c:v>All Others</c:v>
                </c:pt>
                <c:pt idx="2531">
                  <c:v>All Others</c:v>
                </c:pt>
                <c:pt idx="2532">
                  <c:v>All Others</c:v>
                </c:pt>
                <c:pt idx="2533">
                  <c:v>All Others</c:v>
                </c:pt>
                <c:pt idx="2534">
                  <c:v>All Others</c:v>
                </c:pt>
                <c:pt idx="2535">
                  <c:v>Private Lab</c:v>
                </c:pt>
                <c:pt idx="2536">
                  <c:v>All Others</c:v>
                </c:pt>
                <c:pt idx="2537">
                  <c:v>All Others</c:v>
                </c:pt>
                <c:pt idx="2538">
                  <c:v>All Others</c:v>
                </c:pt>
                <c:pt idx="2539">
                  <c:v>All Others</c:v>
                </c:pt>
                <c:pt idx="2540">
                  <c:v>All Others</c:v>
                </c:pt>
                <c:pt idx="2541">
                  <c:v>All Others</c:v>
                </c:pt>
                <c:pt idx="2542">
                  <c:v>All Others</c:v>
                </c:pt>
                <c:pt idx="2543">
                  <c:v>All Others</c:v>
                </c:pt>
                <c:pt idx="2544">
                  <c:v>All Others</c:v>
                </c:pt>
                <c:pt idx="2545">
                  <c:v>All Others</c:v>
                </c:pt>
                <c:pt idx="2546">
                  <c:v>All Others</c:v>
                </c:pt>
                <c:pt idx="2547">
                  <c:v>All Others</c:v>
                </c:pt>
                <c:pt idx="2548">
                  <c:v>All Others</c:v>
                </c:pt>
                <c:pt idx="2549">
                  <c:v>All Others</c:v>
                </c:pt>
                <c:pt idx="2550">
                  <c:v>All Others</c:v>
                </c:pt>
                <c:pt idx="2551">
                  <c:v>All Others</c:v>
                </c:pt>
                <c:pt idx="2552">
                  <c:v>Eurial Autr</c:v>
                </c:pt>
                <c:pt idx="2553">
                  <c:v>All Others</c:v>
                </c:pt>
                <c:pt idx="2554">
                  <c:v>All Others</c:v>
                </c:pt>
                <c:pt idx="2555">
                  <c:v>All Others</c:v>
                </c:pt>
                <c:pt idx="2556">
                  <c:v>All Others</c:v>
                </c:pt>
                <c:pt idx="2557">
                  <c:v>All Others</c:v>
                </c:pt>
                <c:pt idx="2558">
                  <c:v>Private Lab</c:v>
                </c:pt>
                <c:pt idx="2559">
                  <c:v>All Others</c:v>
                </c:pt>
                <c:pt idx="2560">
                  <c:v>All Others</c:v>
                </c:pt>
                <c:pt idx="2561">
                  <c:v>All Others</c:v>
                </c:pt>
                <c:pt idx="2562">
                  <c:v>All Others</c:v>
                </c:pt>
                <c:pt idx="2563">
                  <c:v>All Others</c:v>
                </c:pt>
                <c:pt idx="2564">
                  <c:v>All Others</c:v>
                </c:pt>
                <c:pt idx="2565">
                  <c:v>All Others</c:v>
                </c:pt>
                <c:pt idx="2566">
                  <c:v>All Others</c:v>
                </c:pt>
                <c:pt idx="2567">
                  <c:v>All Others</c:v>
                </c:pt>
                <c:pt idx="2568">
                  <c:v>All Others</c:v>
                </c:pt>
                <c:pt idx="2569">
                  <c:v>All Others</c:v>
                </c:pt>
                <c:pt idx="2570">
                  <c:v>All Others</c:v>
                </c:pt>
                <c:pt idx="2571">
                  <c:v>All Others</c:v>
                </c:pt>
                <c:pt idx="2572">
                  <c:v>All Others</c:v>
                </c:pt>
                <c:pt idx="2573">
                  <c:v>All Others</c:v>
                </c:pt>
                <c:pt idx="2574">
                  <c:v>Lactalis: A</c:v>
                </c:pt>
                <c:pt idx="2575">
                  <c:v>All Others</c:v>
                </c:pt>
                <c:pt idx="2576">
                  <c:v>All Others</c:v>
                </c:pt>
                <c:pt idx="2577">
                  <c:v>All Others</c:v>
                </c:pt>
                <c:pt idx="2578">
                  <c:v>All Others</c:v>
                </c:pt>
                <c:pt idx="2579">
                  <c:v>All Others</c:v>
                </c:pt>
                <c:pt idx="2580">
                  <c:v>All Others</c:v>
                </c:pt>
                <c:pt idx="2581">
                  <c:v>Raguin</c:v>
                </c:pt>
                <c:pt idx="2582">
                  <c:v>All Others</c:v>
                </c:pt>
                <c:pt idx="2583">
                  <c:v>All Others</c:v>
                </c:pt>
                <c:pt idx="2584">
                  <c:v>All Others</c:v>
                </c:pt>
                <c:pt idx="2585">
                  <c:v>All Others</c:v>
                </c:pt>
                <c:pt idx="2586">
                  <c:v>All Others</c:v>
                </c:pt>
                <c:pt idx="2587">
                  <c:v>All Others</c:v>
                </c:pt>
                <c:pt idx="2588">
                  <c:v>All Others</c:v>
                </c:pt>
                <c:pt idx="2589">
                  <c:v>All Others</c:v>
                </c:pt>
                <c:pt idx="2590">
                  <c:v>All Others</c:v>
                </c:pt>
                <c:pt idx="2591">
                  <c:v>All Others</c:v>
                </c:pt>
                <c:pt idx="2592">
                  <c:v>Private Lab</c:v>
                </c:pt>
                <c:pt idx="2593">
                  <c:v>All Others</c:v>
                </c:pt>
                <c:pt idx="2594">
                  <c:v>All Others</c:v>
                </c:pt>
                <c:pt idx="2595">
                  <c:v>All Others</c:v>
                </c:pt>
                <c:pt idx="2596">
                  <c:v>All Others</c:v>
                </c:pt>
                <c:pt idx="2597">
                  <c:v>All Others</c:v>
                </c:pt>
                <c:pt idx="2598">
                  <c:v>All Others</c:v>
                </c:pt>
                <c:pt idx="2599">
                  <c:v>President</c:v>
                </c:pt>
                <c:pt idx="2600">
                  <c:v>All Others</c:v>
                </c:pt>
                <c:pt idx="2601">
                  <c:v>All Others</c:v>
                </c:pt>
                <c:pt idx="2602">
                  <c:v>All Others</c:v>
                </c:pt>
                <c:pt idx="2603">
                  <c:v>All Others</c:v>
                </c:pt>
                <c:pt idx="2604">
                  <c:v>All Others</c:v>
                </c:pt>
                <c:pt idx="2605">
                  <c:v>All Others</c:v>
                </c:pt>
                <c:pt idx="2606">
                  <c:v>All Others</c:v>
                </c:pt>
                <c:pt idx="2607">
                  <c:v>All Others</c:v>
                </c:pt>
                <c:pt idx="2608">
                  <c:v>All Others</c:v>
                </c:pt>
                <c:pt idx="2609">
                  <c:v>All Others</c:v>
                </c:pt>
                <c:pt idx="2610">
                  <c:v>Lactalis: A</c:v>
                </c:pt>
                <c:pt idx="2611">
                  <c:v>All Others</c:v>
                </c:pt>
                <c:pt idx="2612">
                  <c:v>All Others</c:v>
                </c:pt>
                <c:pt idx="2613">
                  <c:v>All Others</c:v>
                </c:pt>
                <c:pt idx="2614">
                  <c:v>All Others</c:v>
                </c:pt>
                <c:pt idx="2615">
                  <c:v>All Others</c:v>
                </c:pt>
                <c:pt idx="2616">
                  <c:v>All Others</c:v>
                </c:pt>
                <c:pt idx="2617">
                  <c:v>All Others</c:v>
                </c:pt>
                <c:pt idx="2618">
                  <c:v>All Others</c:v>
                </c:pt>
                <c:pt idx="2619">
                  <c:v>All Others</c:v>
                </c:pt>
                <c:pt idx="2620">
                  <c:v>All Others</c:v>
                </c:pt>
                <c:pt idx="2621">
                  <c:v>All Others</c:v>
                </c:pt>
                <c:pt idx="2622">
                  <c:v>All Others</c:v>
                </c:pt>
                <c:pt idx="2623">
                  <c:v>All Others</c:v>
                </c:pt>
                <c:pt idx="2624">
                  <c:v>All Others</c:v>
                </c:pt>
                <c:pt idx="2625">
                  <c:v>President</c:v>
                </c:pt>
                <c:pt idx="2626">
                  <c:v>All Others</c:v>
                </c:pt>
                <c:pt idx="2627">
                  <c:v>All Others</c:v>
                </c:pt>
                <c:pt idx="2628">
                  <c:v>All Others</c:v>
                </c:pt>
                <c:pt idx="2629">
                  <c:v>All Others</c:v>
                </c:pt>
                <c:pt idx="2630">
                  <c:v>All Others</c:v>
                </c:pt>
                <c:pt idx="2631">
                  <c:v>All Others</c:v>
                </c:pt>
                <c:pt idx="2632">
                  <c:v>All Others</c:v>
                </c:pt>
                <c:pt idx="2633">
                  <c:v>All Others</c:v>
                </c:pt>
                <c:pt idx="2634">
                  <c:v>All Others</c:v>
                </c:pt>
                <c:pt idx="2635">
                  <c:v>All Others</c:v>
                </c:pt>
                <c:pt idx="2636">
                  <c:v>All Others</c:v>
                </c:pt>
                <c:pt idx="2637">
                  <c:v>Limiano</c:v>
                </c:pt>
                <c:pt idx="2638">
                  <c:v>All Others</c:v>
                </c:pt>
                <c:pt idx="2639">
                  <c:v>All Others</c:v>
                </c:pt>
                <c:pt idx="2640">
                  <c:v>All Others</c:v>
                </c:pt>
                <c:pt idx="2641">
                  <c:v>All Others</c:v>
                </c:pt>
                <c:pt idx="2642">
                  <c:v>All Others</c:v>
                </c:pt>
                <c:pt idx="2643">
                  <c:v>All Others</c:v>
                </c:pt>
                <c:pt idx="2644">
                  <c:v>Private Lab</c:v>
                </c:pt>
                <c:pt idx="2645">
                  <c:v>All Others</c:v>
                </c:pt>
                <c:pt idx="2646">
                  <c:v>All Others</c:v>
                </c:pt>
                <c:pt idx="2647">
                  <c:v>All Others</c:v>
                </c:pt>
                <c:pt idx="2648">
                  <c:v>All Others</c:v>
                </c:pt>
                <c:pt idx="2649">
                  <c:v>All Others</c:v>
                </c:pt>
                <c:pt idx="2650">
                  <c:v>All Others</c:v>
                </c:pt>
                <c:pt idx="2651">
                  <c:v>All Others</c:v>
                </c:pt>
                <c:pt idx="2652">
                  <c:v>All Others</c:v>
                </c:pt>
                <c:pt idx="2653">
                  <c:v>All Others</c:v>
                </c:pt>
                <c:pt idx="2654">
                  <c:v>All Others</c:v>
                </c:pt>
                <c:pt idx="2655">
                  <c:v>All Others</c:v>
                </c:pt>
                <c:pt idx="2656">
                  <c:v>Raguin</c:v>
                </c:pt>
                <c:pt idx="2657">
                  <c:v>All Others</c:v>
                </c:pt>
                <c:pt idx="2658">
                  <c:v>All Others</c:v>
                </c:pt>
                <c:pt idx="2659">
                  <c:v>All Others</c:v>
                </c:pt>
                <c:pt idx="2660">
                  <c:v>All Others</c:v>
                </c:pt>
                <c:pt idx="2661">
                  <c:v>Etorki</c:v>
                </c:pt>
                <c:pt idx="2662">
                  <c:v>Etoile Du V</c:v>
                </c:pt>
                <c:pt idx="2663">
                  <c:v>All Others</c:v>
                </c:pt>
                <c:pt idx="2664">
                  <c:v>All Others</c:v>
                </c:pt>
                <c:pt idx="2665">
                  <c:v>All Others</c:v>
                </c:pt>
                <c:pt idx="2666">
                  <c:v>All Others</c:v>
                </c:pt>
                <c:pt idx="2667">
                  <c:v>All Others</c:v>
                </c:pt>
                <c:pt idx="2668">
                  <c:v>All Others</c:v>
                </c:pt>
                <c:pt idx="2669">
                  <c:v>All Others</c:v>
                </c:pt>
                <c:pt idx="2670">
                  <c:v>All Others</c:v>
                </c:pt>
                <c:pt idx="2671">
                  <c:v>All Others</c:v>
                </c:pt>
                <c:pt idx="2672">
                  <c:v>All Others</c:v>
                </c:pt>
                <c:pt idx="2673">
                  <c:v>All Others</c:v>
                </c:pt>
                <c:pt idx="2674">
                  <c:v>All Others</c:v>
                </c:pt>
                <c:pt idx="2675">
                  <c:v>All Others</c:v>
                </c:pt>
                <c:pt idx="2676">
                  <c:v>All Others</c:v>
                </c:pt>
                <c:pt idx="2677">
                  <c:v>All Others</c:v>
                </c:pt>
                <c:pt idx="2678">
                  <c:v>All Others</c:v>
                </c:pt>
                <c:pt idx="2679">
                  <c:v>All Others</c:v>
                </c:pt>
                <c:pt idx="2680">
                  <c:v>All Others</c:v>
                </c:pt>
                <c:pt idx="2681">
                  <c:v>All Others</c:v>
                </c:pt>
                <c:pt idx="2682">
                  <c:v>All Others</c:v>
                </c:pt>
                <c:pt idx="2683">
                  <c:v>All Others</c:v>
                </c:pt>
                <c:pt idx="2684">
                  <c:v>All Others</c:v>
                </c:pt>
                <c:pt idx="2685">
                  <c:v>All Others</c:v>
                </c:pt>
                <c:pt idx="2686">
                  <c:v>All Others</c:v>
                </c:pt>
                <c:pt idx="2687">
                  <c:v>All Others</c:v>
                </c:pt>
                <c:pt idx="2688">
                  <c:v>All Others</c:v>
                </c:pt>
                <c:pt idx="2689">
                  <c:v>All Others</c:v>
                </c:pt>
                <c:pt idx="2690">
                  <c:v>All Others</c:v>
                </c:pt>
                <c:pt idx="2691">
                  <c:v>All Others</c:v>
                </c:pt>
                <c:pt idx="2692">
                  <c:v>All Others</c:v>
                </c:pt>
                <c:pt idx="2693">
                  <c:v>All Others</c:v>
                </c:pt>
                <c:pt idx="2694">
                  <c:v>All Others</c:v>
                </c:pt>
                <c:pt idx="2695">
                  <c:v>All Others</c:v>
                </c:pt>
                <c:pt idx="2696">
                  <c:v>All Others</c:v>
                </c:pt>
                <c:pt idx="2697">
                  <c:v>All Others</c:v>
                </c:pt>
                <c:pt idx="2698">
                  <c:v>All Others</c:v>
                </c:pt>
                <c:pt idx="2699">
                  <c:v>All Others</c:v>
                </c:pt>
                <c:pt idx="2700">
                  <c:v>All Others</c:v>
                </c:pt>
                <c:pt idx="2701">
                  <c:v>All Others</c:v>
                </c:pt>
                <c:pt idx="2702">
                  <c:v>All Others</c:v>
                </c:pt>
                <c:pt idx="2703">
                  <c:v>All Others</c:v>
                </c:pt>
                <c:pt idx="2704">
                  <c:v>All Others</c:v>
                </c:pt>
                <c:pt idx="2705">
                  <c:v>All Others</c:v>
                </c:pt>
                <c:pt idx="2706">
                  <c:v>All Others</c:v>
                </c:pt>
                <c:pt idx="2707">
                  <c:v>All Others</c:v>
                </c:pt>
                <c:pt idx="2708">
                  <c:v>All Others</c:v>
                </c:pt>
                <c:pt idx="2709">
                  <c:v>Private Lab</c:v>
                </c:pt>
                <c:pt idx="2710">
                  <c:v>All Others</c:v>
                </c:pt>
                <c:pt idx="2711">
                  <c:v>All Others</c:v>
                </c:pt>
                <c:pt idx="2712">
                  <c:v>All Others</c:v>
                </c:pt>
                <c:pt idx="2713">
                  <c:v>Rondele</c:v>
                </c:pt>
                <c:pt idx="2714">
                  <c:v>All Others</c:v>
                </c:pt>
                <c:pt idx="2715">
                  <c:v>Lactalis: A</c:v>
                </c:pt>
                <c:pt idx="2716">
                  <c:v>All Others</c:v>
                </c:pt>
                <c:pt idx="2717">
                  <c:v>All Others</c:v>
                </c:pt>
                <c:pt idx="2718">
                  <c:v>All Others</c:v>
                </c:pt>
                <c:pt idx="2719">
                  <c:v>All Others</c:v>
                </c:pt>
                <c:pt idx="2720">
                  <c:v>All Others</c:v>
                </c:pt>
                <c:pt idx="2721">
                  <c:v>Leerdammer</c:v>
                </c:pt>
                <c:pt idx="2722">
                  <c:v>All Others</c:v>
                </c:pt>
                <c:pt idx="2723">
                  <c:v>All Others</c:v>
                </c:pt>
                <c:pt idx="2724">
                  <c:v>All Others</c:v>
                </c:pt>
                <c:pt idx="2725">
                  <c:v>All Others</c:v>
                </c:pt>
                <c:pt idx="2726">
                  <c:v>All Others</c:v>
                </c:pt>
                <c:pt idx="2727">
                  <c:v>All Others</c:v>
                </c:pt>
                <c:pt idx="2728">
                  <c:v>All Others</c:v>
                </c:pt>
                <c:pt idx="2729">
                  <c:v>All Others</c:v>
                </c:pt>
                <c:pt idx="2730">
                  <c:v>All Others</c:v>
                </c:pt>
                <c:pt idx="2731">
                  <c:v>All Others</c:v>
                </c:pt>
                <c:pt idx="2732">
                  <c:v>All Others</c:v>
                </c:pt>
                <c:pt idx="2733">
                  <c:v>Violife</c:v>
                </c:pt>
                <c:pt idx="2734">
                  <c:v>All Others</c:v>
                </c:pt>
                <c:pt idx="2735">
                  <c:v>All Others</c:v>
                </c:pt>
                <c:pt idx="2736">
                  <c:v>All Others</c:v>
                </c:pt>
                <c:pt idx="2737">
                  <c:v>All Others</c:v>
                </c:pt>
                <c:pt idx="2738">
                  <c:v>All Others</c:v>
                </c:pt>
                <c:pt idx="2739">
                  <c:v>All Others</c:v>
                </c:pt>
                <c:pt idx="2740">
                  <c:v>All Others</c:v>
                </c:pt>
                <c:pt idx="2741">
                  <c:v>All Others</c:v>
                </c:pt>
                <c:pt idx="2742">
                  <c:v>All Others</c:v>
                </c:pt>
                <c:pt idx="2743">
                  <c:v>All Others</c:v>
                </c:pt>
                <c:pt idx="2744">
                  <c:v>All Others</c:v>
                </c:pt>
                <c:pt idx="2745">
                  <c:v>All Others</c:v>
                </c:pt>
                <c:pt idx="2746">
                  <c:v>All Others</c:v>
                </c:pt>
                <c:pt idx="2747">
                  <c:v>All Others</c:v>
                </c:pt>
                <c:pt idx="2748">
                  <c:v>All Others</c:v>
                </c:pt>
                <c:pt idx="2749">
                  <c:v>All Others</c:v>
                </c:pt>
                <c:pt idx="2750">
                  <c:v>All Others</c:v>
                </c:pt>
                <c:pt idx="2751">
                  <c:v>All Others</c:v>
                </c:pt>
                <c:pt idx="2752">
                  <c:v>All Others</c:v>
                </c:pt>
                <c:pt idx="2753">
                  <c:v>Rondele</c:v>
                </c:pt>
                <c:pt idx="2754">
                  <c:v>All Others</c:v>
                </c:pt>
                <c:pt idx="2755">
                  <c:v>All Others</c:v>
                </c:pt>
                <c:pt idx="2756">
                  <c:v>All Others</c:v>
                </c:pt>
                <c:pt idx="2757">
                  <c:v>All Others</c:v>
                </c:pt>
                <c:pt idx="2758">
                  <c:v>All Others</c:v>
                </c:pt>
                <c:pt idx="2759">
                  <c:v>All Others</c:v>
                </c:pt>
                <c:pt idx="2760">
                  <c:v>Private Lab</c:v>
                </c:pt>
                <c:pt idx="2761">
                  <c:v>All Others</c:v>
                </c:pt>
                <c:pt idx="2762">
                  <c:v>All Others</c:v>
                </c:pt>
                <c:pt idx="2763">
                  <c:v>O'Tapas Ape</c:v>
                </c:pt>
                <c:pt idx="2764">
                  <c:v>All Others</c:v>
                </c:pt>
                <c:pt idx="2765">
                  <c:v>All Others</c:v>
                </c:pt>
                <c:pt idx="2766">
                  <c:v>All Others</c:v>
                </c:pt>
                <c:pt idx="2767">
                  <c:v>All Others</c:v>
                </c:pt>
                <c:pt idx="2768">
                  <c:v>All Others</c:v>
                </c:pt>
                <c:pt idx="2769">
                  <c:v>All Others</c:v>
                </c:pt>
                <c:pt idx="2770">
                  <c:v>All Others</c:v>
                </c:pt>
                <c:pt idx="2771">
                  <c:v>Raguin</c:v>
                </c:pt>
                <c:pt idx="2772">
                  <c:v>All Others</c:v>
                </c:pt>
                <c:pt idx="2773">
                  <c:v>All Others</c:v>
                </c:pt>
                <c:pt idx="2774">
                  <c:v>All Others</c:v>
                </c:pt>
                <c:pt idx="2775">
                  <c:v>All Others</c:v>
                </c:pt>
                <c:pt idx="2776">
                  <c:v>All Others</c:v>
                </c:pt>
                <c:pt idx="2777">
                  <c:v>All Others</c:v>
                </c:pt>
                <c:pt idx="2778">
                  <c:v>All Others</c:v>
                </c:pt>
                <c:pt idx="2779">
                  <c:v>All Others</c:v>
                </c:pt>
                <c:pt idx="2780">
                  <c:v>All Others</c:v>
                </c:pt>
                <c:pt idx="2781">
                  <c:v>All Others</c:v>
                </c:pt>
                <c:pt idx="2782">
                  <c:v>All Others</c:v>
                </c:pt>
                <c:pt idx="2783">
                  <c:v>All Others</c:v>
                </c:pt>
                <c:pt idx="2784">
                  <c:v>All Others</c:v>
                </c:pt>
                <c:pt idx="2785">
                  <c:v>All Others</c:v>
                </c:pt>
                <c:pt idx="2786">
                  <c:v>Le Saint Am</c:v>
                </c:pt>
                <c:pt idx="2787">
                  <c:v>All Others</c:v>
                </c:pt>
                <c:pt idx="2788">
                  <c:v>All Others</c:v>
                </c:pt>
                <c:pt idx="2789">
                  <c:v>All Others</c:v>
                </c:pt>
                <c:pt idx="2790">
                  <c:v>All Others</c:v>
                </c:pt>
                <c:pt idx="2791">
                  <c:v>All Others</c:v>
                </c:pt>
                <c:pt idx="2792">
                  <c:v>All Others</c:v>
                </c:pt>
                <c:pt idx="2793">
                  <c:v>All Others</c:v>
                </c:pt>
                <c:pt idx="2794">
                  <c:v>All Others</c:v>
                </c:pt>
                <c:pt idx="2795">
                  <c:v>All Others</c:v>
                </c:pt>
                <c:pt idx="2796">
                  <c:v>All Others</c:v>
                </c:pt>
                <c:pt idx="2797">
                  <c:v>All Others</c:v>
                </c:pt>
                <c:pt idx="2798">
                  <c:v>All Others</c:v>
                </c:pt>
                <c:pt idx="2799">
                  <c:v>Lactalis: A</c:v>
                </c:pt>
                <c:pt idx="2800">
                  <c:v>All Others</c:v>
                </c:pt>
                <c:pt idx="2801">
                  <c:v>All Others</c:v>
                </c:pt>
                <c:pt idx="2802">
                  <c:v>All Others</c:v>
                </c:pt>
                <c:pt idx="2803">
                  <c:v>All Others</c:v>
                </c:pt>
                <c:pt idx="2804">
                  <c:v>All Others</c:v>
                </c:pt>
                <c:pt idx="2805">
                  <c:v>All Others</c:v>
                </c:pt>
                <c:pt idx="2806">
                  <c:v>All Others</c:v>
                </c:pt>
                <c:pt idx="2807">
                  <c:v>All Others</c:v>
                </c:pt>
                <c:pt idx="2808">
                  <c:v>All Others</c:v>
                </c:pt>
                <c:pt idx="2809">
                  <c:v>All Others</c:v>
                </c:pt>
                <c:pt idx="2810">
                  <c:v>All Others</c:v>
                </c:pt>
                <c:pt idx="2811">
                  <c:v>All Others</c:v>
                </c:pt>
                <c:pt idx="2812">
                  <c:v>All Others</c:v>
                </c:pt>
                <c:pt idx="2813">
                  <c:v>All Others</c:v>
                </c:pt>
                <c:pt idx="2814">
                  <c:v>All Others</c:v>
                </c:pt>
                <c:pt idx="2815">
                  <c:v>All Others</c:v>
                </c:pt>
                <c:pt idx="2816">
                  <c:v>All Others</c:v>
                </c:pt>
                <c:pt idx="2817">
                  <c:v>Raguin</c:v>
                </c:pt>
                <c:pt idx="2818">
                  <c:v>All Others</c:v>
                </c:pt>
                <c:pt idx="2819">
                  <c:v>All Others</c:v>
                </c:pt>
                <c:pt idx="2820">
                  <c:v>All Others</c:v>
                </c:pt>
                <c:pt idx="2821">
                  <c:v>All Others</c:v>
                </c:pt>
                <c:pt idx="2822">
                  <c:v>Le Saint Am</c:v>
                </c:pt>
                <c:pt idx="2823">
                  <c:v>All Others</c:v>
                </c:pt>
                <c:pt idx="2824">
                  <c:v>All Others</c:v>
                </c:pt>
                <c:pt idx="2825">
                  <c:v>All Others</c:v>
                </c:pt>
                <c:pt idx="2826">
                  <c:v>All Others</c:v>
                </c:pt>
                <c:pt idx="2827">
                  <c:v>All Others</c:v>
                </c:pt>
                <c:pt idx="2828">
                  <c:v>All Others</c:v>
                </c:pt>
                <c:pt idx="2829">
                  <c:v>All Others</c:v>
                </c:pt>
                <c:pt idx="2830">
                  <c:v>Raguin</c:v>
                </c:pt>
                <c:pt idx="2831">
                  <c:v>All Others</c:v>
                </c:pt>
                <c:pt idx="2832">
                  <c:v>All Others</c:v>
                </c:pt>
                <c:pt idx="2833">
                  <c:v>All Others</c:v>
                </c:pt>
                <c:pt idx="2834">
                  <c:v>Rondele</c:v>
                </c:pt>
                <c:pt idx="2835">
                  <c:v>All Others</c:v>
                </c:pt>
                <c:pt idx="2836">
                  <c:v>All Others</c:v>
                </c:pt>
                <c:pt idx="2837">
                  <c:v>All Others</c:v>
                </c:pt>
                <c:pt idx="2838">
                  <c:v>All Others</c:v>
                </c:pt>
                <c:pt idx="2839">
                  <c:v>All Others</c:v>
                </c:pt>
                <c:pt idx="2840">
                  <c:v>All Others</c:v>
                </c:pt>
                <c:pt idx="2841">
                  <c:v>All Others</c:v>
                </c:pt>
                <c:pt idx="2842">
                  <c:v>All Others</c:v>
                </c:pt>
                <c:pt idx="2843">
                  <c:v>All Others</c:v>
                </c:pt>
                <c:pt idx="2844">
                  <c:v>All Others</c:v>
                </c:pt>
                <c:pt idx="2845">
                  <c:v>All Others</c:v>
                </c:pt>
                <c:pt idx="2846">
                  <c:v>All Others</c:v>
                </c:pt>
                <c:pt idx="2847">
                  <c:v>All Others</c:v>
                </c:pt>
                <c:pt idx="2848">
                  <c:v>All Others</c:v>
                </c:pt>
                <c:pt idx="2849">
                  <c:v>All Others</c:v>
                </c:pt>
                <c:pt idx="2850">
                  <c:v>All Others</c:v>
                </c:pt>
                <c:pt idx="2851">
                  <c:v>All Others</c:v>
                </c:pt>
                <c:pt idx="2852">
                  <c:v>All Others</c:v>
                </c:pt>
                <c:pt idx="2853">
                  <c:v>All Others</c:v>
                </c:pt>
                <c:pt idx="2854">
                  <c:v>All Others</c:v>
                </c:pt>
                <c:pt idx="2855">
                  <c:v>All Others</c:v>
                </c:pt>
                <c:pt idx="2856">
                  <c:v>All Others</c:v>
                </c:pt>
                <c:pt idx="2857">
                  <c:v>All Others</c:v>
                </c:pt>
                <c:pt idx="2858">
                  <c:v>All Others</c:v>
                </c:pt>
                <c:pt idx="2859">
                  <c:v>All Others</c:v>
                </c:pt>
                <c:pt idx="2860">
                  <c:v>All Others</c:v>
                </c:pt>
                <c:pt idx="2861">
                  <c:v>All Others</c:v>
                </c:pt>
                <c:pt idx="2862">
                  <c:v>All Others</c:v>
                </c:pt>
                <c:pt idx="2863">
                  <c:v>All Others</c:v>
                </c:pt>
                <c:pt idx="2864">
                  <c:v>All Others</c:v>
                </c:pt>
                <c:pt idx="2865">
                  <c:v>All Others</c:v>
                </c:pt>
                <c:pt idx="2866">
                  <c:v>All Others</c:v>
                </c:pt>
                <c:pt idx="2867">
                  <c:v>All Others</c:v>
                </c:pt>
                <c:pt idx="2868">
                  <c:v>Lactalis: A</c:v>
                </c:pt>
                <c:pt idx="2869">
                  <c:v>All Others</c:v>
                </c:pt>
                <c:pt idx="2870">
                  <c:v>All Others</c:v>
                </c:pt>
                <c:pt idx="2871">
                  <c:v>All Others</c:v>
                </c:pt>
                <c:pt idx="2872">
                  <c:v>Private Lab</c:v>
                </c:pt>
                <c:pt idx="2873">
                  <c:v>All Others</c:v>
                </c:pt>
                <c:pt idx="2874">
                  <c:v>All Others</c:v>
                </c:pt>
                <c:pt idx="2875">
                  <c:v>All Others</c:v>
                </c:pt>
                <c:pt idx="2876">
                  <c:v>All Others</c:v>
                </c:pt>
                <c:pt idx="2877">
                  <c:v>All Others</c:v>
                </c:pt>
                <c:pt idx="2878">
                  <c:v>All Others</c:v>
                </c:pt>
                <c:pt idx="2879">
                  <c:v>All Others</c:v>
                </c:pt>
                <c:pt idx="2880">
                  <c:v>All Others</c:v>
                </c:pt>
                <c:pt idx="2881">
                  <c:v>All Others</c:v>
                </c:pt>
                <c:pt idx="2882">
                  <c:v>All Others</c:v>
                </c:pt>
                <c:pt idx="2883">
                  <c:v>All Others</c:v>
                </c:pt>
                <c:pt idx="2884">
                  <c:v>All Others</c:v>
                </c:pt>
                <c:pt idx="2885">
                  <c:v>All Others</c:v>
                </c:pt>
                <c:pt idx="2886">
                  <c:v>Private Lab</c:v>
                </c:pt>
                <c:pt idx="2887">
                  <c:v>Savencia: A</c:v>
                </c:pt>
                <c:pt idx="2888">
                  <c:v>Eurial Autr</c:v>
                </c:pt>
                <c:pt idx="2889">
                  <c:v>Lactalis: A</c:v>
                </c:pt>
                <c:pt idx="2890">
                  <c:v>All Others</c:v>
                </c:pt>
                <c:pt idx="2891">
                  <c:v>All Others</c:v>
                </c:pt>
                <c:pt idx="2892">
                  <c:v>All Others</c:v>
                </c:pt>
                <c:pt idx="2893">
                  <c:v>All Others</c:v>
                </c:pt>
                <c:pt idx="2894">
                  <c:v>All Others</c:v>
                </c:pt>
                <c:pt idx="2895">
                  <c:v>Private Lab</c:v>
                </c:pt>
                <c:pt idx="2896">
                  <c:v>All Others</c:v>
                </c:pt>
                <c:pt idx="2897">
                  <c:v>All Others</c:v>
                </c:pt>
                <c:pt idx="2898">
                  <c:v>Raguin</c:v>
                </c:pt>
                <c:pt idx="2899">
                  <c:v>All Others</c:v>
                </c:pt>
                <c:pt idx="2900">
                  <c:v>All Others</c:v>
                </c:pt>
                <c:pt idx="2901">
                  <c:v>All Others</c:v>
                </c:pt>
                <c:pt idx="2902">
                  <c:v>Raguin</c:v>
                </c:pt>
                <c:pt idx="2903">
                  <c:v>Savencia: A</c:v>
                </c:pt>
                <c:pt idx="2904">
                  <c:v>All Others</c:v>
                </c:pt>
                <c:pt idx="2905">
                  <c:v>All Others</c:v>
                </c:pt>
                <c:pt idx="2906">
                  <c:v>Raguin</c:v>
                </c:pt>
                <c:pt idx="2907">
                  <c:v>All Others</c:v>
                </c:pt>
                <c:pt idx="2908">
                  <c:v>All Others</c:v>
                </c:pt>
                <c:pt idx="2909">
                  <c:v>All Others</c:v>
                </c:pt>
                <c:pt idx="2910">
                  <c:v>All Others</c:v>
                </c:pt>
                <c:pt idx="2911">
                  <c:v>All Others</c:v>
                </c:pt>
                <c:pt idx="2912">
                  <c:v>All Others</c:v>
                </c:pt>
                <c:pt idx="2913">
                  <c:v>All Others</c:v>
                </c:pt>
                <c:pt idx="2914">
                  <c:v>All Others</c:v>
                </c:pt>
                <c:pt idx="2915">
                  <c:v>All Others</c:v>
                </c:pt>
                <c:pt idx="2916">
                  <c:v>All Others</c:v>
                </c:pt>
                <c:pt idx="2917">
                  <c:v>All Others</c:v>
                </c:pt>
                <c:pt idx="2918">
                  <c:v>All Others</c:v>
                </c:pt>
                <c:pt idx="2919">
                  <c:v>All Others</c:v>
                </c:pt>
                <c:pt idx="2920">
                  <c:v>All Others</c:v>
                </c:pt>
                <c:pt idx="2921">
                  <c:v>All Others</c:v>
                </c:pt>
                <c:pt idx="2922">
                  <c:v>All Others</c:v>
                </c:pt>
                <c:pt idx="2923">
                  <c:v>All Others</c:v>
                </c:pt>
                <c:pt idx="2924">
                  <c:v>All Others</c:v>
                </c:pt>
                <c:pt idx="2925">
                  <c:v>All Others</c:v>
                </c:pt>
                <c:pt idx="2926">
                  <c:v>All Others</c:v>
                </c:pt>
                <c:pt idx="2927">
                  <c:v>All Others</c:v>
                </c:pt>
                <c:pt idx="2928">
                  <c:v>All Others</c:v>
                </c:pt>
                <c:pt idx="2929">
                  <c:v>All Others</c:v>
                </c:pt>
                <c:pt idx="2930">
                  <c:v>All Others</c:v>
                </c:pt>
                <c:pt idx="2931">
                  <c:v>Raguin</c:v>
                </c:pt>
                <c:pt idx="2932">
                  <c:v>All Others</c:v>
                </c:pt>
                <c:pt idx="2933">
                  <c:v>All Others</c:v>
                </c:pt>
                <c:pt idx="2934">
                  <c:v>Casa Azzurr</c:v>
                </c:pt>
                <c:pt idx="2935">
                  <c:v>Eurial Autr</c:v>
                </c:pt>
                <c:pt idx="2936">
                  <c:v>All Others</c:v>
                </c:pt>
                <c:pt idx="2937">
                  <c:v>All Others</c:v>
                </c:pt>
                <c:pt idx="2938">
                  <c:v>All Others</c:v>
                </c:pt>
                <c:pt idx="2939">
                  <c:v>Pochat</c:v>
                </c:pt>
                <c:pt idx="2940">
                  <c:v>All Others</c:v>
                </c:pt>
                <c:pt idx="2941">
                  <c:v>All Others</c:v>
                </c:pt>
                <c:pt idx="2942">
                  <c:v>All Others</c:v>
                </c:pt>
                <c:pt idx="2943">
                  <c:v>All Others</c:v>
                </c:pt>
                <c:pt idx="2944">
                  <c:v>Private Lab</c:v>
                </c:pt>
                <c:pt idx="2945">
                  <c:v>All Others</c:v>
                </c:pt>
                <c:pt idx="2946">
                  <c:v>All Others</c:v>
                </c:pt>
                <c:pt idx="2947">
                  <c:v>All Others</c:v>
                </c:pt>
                <c:pt idx="2948">
                  <c:v>All Others</c:v>
                </c:pt>
                <c:pt idx="2949">
                  <c:v>Private Lab</c:v>
                </c:pt>
                <c:pt idx="2950">
                  <c:v>All Others</c:v>
                </c:pt>
                <c:pt idx="2951">
                  <c:v>All Others</c:v>
                </c:pt>
                <c:pt idx="2952">
                  <c:v>All Others</c:v>
                </c:pt>
                <c:pt idx="2953">
                  <c:v>All Others</c:v>
                </c:pt>
                <c:pt idx="2954">
                  <c:v>All Others</c:v>
                </c:pt>
                <c:pt idx="2955">
                  <c:v>All Others</c:v>
                </c:pt>
                <c:pt idx="2956">
                  <c:v>All Others</c:v>
                </c:pt>
                <c:pt idx="2957">
                  <c:v>All Others</c:v>
                </c:pt>
                <c:pt idx="2958">
                  <c:v>All Others</c:v>
                </c:pt>
                <c:pt idx="2959">
                  <c:v>Private Lab</c:v>
                </c:pt>
                <c:pt idx="2960">
                  <c:v>All Others</c:v>
                </c:pt>
                <c:pt idx="2961">
                  <c:v>Eurial Autr</c:v>
                </c:pt>
                <c:pt idx="2962">
                  <c:v>Lactalis: A</c:v>
                </c:pt>
                <c:pt idx="2963">
                  <c:v>All Others</c:v>
                </c:pt>
                <c:pt idx="2964">
                  <c:v>All Others</c:v>
                </c:pt>
                <c:pt idx="2965">
                  <c:v>All Others</c:v>
                </c:pt>
                <c:pt idx="2966">
                  <c:v>All Others</c:v>
                </c:pt>
                <c:pt idx="2967">
                  <c:v>All Others</c:v>
                </c:pt>
                <c:pt idx="2968">
                  <c:v>All Others</c:v>
                </c:pt>
                <c:pt idx="2969">
                  <c:v>All Others</c:v>
                </c:pt>
                <c:pt idx="2970">
                  <c:v>All Others</c:v>
                </c:pt>
                <c:pt idx="2971">
                  <c:v>All Others</c:v>
                </c:pt>
                <c:pt idx="2972">
                  <c:v>All Others</c:v>
                </c:pt>
                <c:pt idx="2973">
                  <c:v>All Others</c:v>
                </c:pt>
                <c:pt idx="2974">
                  <c:v>All Others</c:v>
                </c:pt>
                <c:pt idx="2975">
                  <c:v>All Others</c:v>
                </c:pt>
                <c:pt idx="2976">
                  <c:v>All Others</c:v>
                </c:pt>
                <c:pt idx="2977">
                  <c:v>All Others</c:v>
                </c:pt>
                <c:pt idx="2978">
                  <c:v>All Others</c:v>
                </c:pt>
                <c:pt idx="2979">
                  <c:v>All Others</c:v>
                </c:pt>
                <c:pt idx="2980">
                  <c:v>All Others</c:v>
                </c:pt>
                <c:pt idx="2981">
                  <c:v>All Others</c:v>
                </c:pt>
                <c:pt idx="2982">
                  <c:v>All Others</c:v>
                </c:pt>
                <c:pt idx="2983">
                  <c:v>All Others</c:v>
                </c:pt>
                <c:pt idx="2984">
                  <c:v>All Others</c:v>
                </c:pt>
                <c:pt idx="2985">
                  <c:v>All Others</c:v>
                </c:pt>
                <c:pt idx="2986">
                  <c:v>All Others</c:v>
                </c:pt>
                <c:pt idx="2987">
                  <c:v>All Others</c:v>
                </c:pt>
                <c:pt idx="2988">
                  <c:v>All Others</c:v>
                </c:pt>
                <c:pt idx="2989">
                  <c:v>All Others</c:v>
                </c:pt>
                <c:pt idx="2990">
                  <c:v>All Others</c:v>
                </c:pt>
                <c:pt idx="2991">
                  <c:v>All Others</c:v>
                </c:pt>
                <c:pt idx="2992">
                  <c:v>All Others</c:v>
                </c:pt>
                <c:pt idx="2993">
                  <c:v>All Others</c:v>
                </c:pt>
                <c:pt idx="2994">
                  <c:v>All Others</c:v>
                </c:pt>
                <c:pt idx="2995">
                  <c:v>All Others</c:v>
                </c:pt>
                <c:pt idx="2996">
                  <c:v>Galbani</c:v>
                </c:pt>
                <c:pt idx="2997">
                  <c:v>All Others</c:v>
                </c:pt>
                <c:pt idx="2998">
                  <c:v>All Others</c:v>
                </c:pt>
                <c:pt idx="2999">
                  <c:v>All Others</c:v>
                </c:pt>
                <c:pt idx="3000">
                  <c:v>All Others</c:v>
                </c:pt>
                <c:pt idx="3001">
                  <c:v>All Others</c:v>
                </c:pt>
                <c:pt idx="3002">
                  <c:v>All Others</c:v>
                </c:pt>
                <c:pt idx="3003">
                  <c:v>All Others</c:v>
                </c:pt>
                <c:pt idx="3004">
                  <c:v>All Others</c:v>
                </c:pt>
                <c:pt idx="3005">
                  <c:v>All Others</c:v>
                </c:pt>
                <c:pt idx="3006">
                  <c:v>All Others</c:v>
                </c:pt>
                <c:pt idx="3007">
                  <c:v>All Others</c:v>
                </c:pt>
                <c:pt idx="3008">
                  <c:v>All Others</c:v>
                </c:pt>
                <c:pt idx="3009">
                  <c:v>All Others</c:v>
                </c:pt>
                <c:pt idx="3010">
                  <c:v>All Others</c:v>
                </c:pt>
                <c:pt idx="3011">
                  <c:v>All Others</c:v>
                </c:pt>
                <c:pt idx="3012">
                  <c:v>All Others</c:v>
                </c:pt>
                <c:pt idx="3013">
                  <c:v>All Others</c:v>
                </c:pt>
                <c:pt idx="3014">
                  <c:v>All Others</c:v>
                </c:pt>
                <c:pt idx="3015">
                  <c:v>Private Lab</c:v>
                </c:pt>
                <c:pt idx="3016">
                  <c:v>All Others</c:v>
                </c:pt>
                <c:pt idx="3017">
                  <c:v>All Others</c:v>
                </c:pt>
                <c:pt idx="3018">
                  <c:v>All Others</c:v>
                </c:pt>
                <c:pt idx="3019">
                  <c:v>Societe</c:v>
                </c:pt>
                <c:pt idx="3020">
                  <c:v>Savencia: A</c:v>
                </c:pt>
                <c:pt idx="3021">
                  <c:v>All Others</c:v>
                </c:pt>
                <c:pt idx="3022">
                  <c:v>All Others</c:v>
                </c:pt>
                <c:pt idx="3023">
                  <c:v>All Others</c:v>
                </c:pt>
                <c:pt idx="3024">
                  <c:v>All Others</c:v>
                </c:pt>
                <c:pt idx="3025">
                  <c:v>All Others</c:v>
                </c:pt>
                <c:pt idx="3026">
                  <c:v>All Others</c:v>
                </c:pt>
                <c:pt idx="3027">
                  <c:v>All Others</c:v>
                </c:pt>
                <c:pt idx="3028">
                  <c:v>All Others</c:v>
                </c:pt>
                <c:pt idx="3029">
                  <c:v>All Others</c:v>
                </c:pt>
                <c:pt idx="3030">
                  <c:v>Casa Azzurr</c:v>
                </c:pt>
                <c:pt idx="3031">
                  <c:v>All Others</c:v>
                </c:pt>
                <c:pt idx="3032">
                  <c:v>All Others</c:v>
                </c:pt>
                <c:pt idx="3033">
                  <c:v>All Others</c:v>
                </c:pt>
                <c:pt idx="3034">
                  <c:v>All Others</c:v>
                </c:pt>
                <c:pt idx="3035">
                  <c:v>All Others</c:v>
                </c:pt>
                <c:pt idx="3036">
                  <c:v>All Others</c:v>
                </c:pt>
                <c:pt idx="3037">
                  <c:v>All Others</c:v>
                </c:pt>
                <c:pt idx="3038">
                  <c:v>All Others</c:v>
                </c:pt>
                <c:pt idx="3039">
                  <c:v>All Others</c:v>
                </c:pt>
                <c:pt idx="3040">
                  <c:v>All Others</c:v>
                </c:pt>
                <c:pt idx="3041">
                  <c:v>All Others</c:v>
                </c:pt>
                <c:pt idx="3042">
                  <c:v>All Others</c:v>
                </c:pt>
                <c:pt idx="3043">
                  <c:v>All Others</c:v>
                </c:pt>
                <c:pt idx="3044">
                  <c:v>All Others</c:v>
                </c:pt>
                <c:pt idx="3045">
                  <c:v>All Others</c:v>
                </c:pt>
                <c:pt idx="3046">
                  <c:v>All Others</c:v>
                </c:pt>
                <c:pt idx="3047">
                  <c:v>Fol Epi</c:v>
                </c:pt>
                <c:pt idx="3048">
                  <c:v>All Others</c:v>
                </c:pt>
                <c:pt idx="3049">
                  <c:v>Eurial Autr</c:v>
                </c:pt>
                <c:pt idx="3050">
                  <c:v>All Others</c:v>
                </c:pt>
                <c:pt idx="3051">
                  <c:v>All Others</c:v>
                </c:pt>
                <c:pt idx="3052">
                  <c:v>All Others</c:v>
                </c:pt>
                <c:pt idx="3053">
                  <c:v>All Others</c:v>
                </c:pt>
                <c:pt idx="3054">
                  <c:v>All Others</c:v>
                </c:pt>
                <c:pt idx="3055">
                  <c:v>All Others</c:v>
                </c:pt>
                <c:pt idx="3056">
                  <c:v>All Others</c:v>
                </c:pt>
                <c:pt idx="3057">
                  <c:v>All Others</c:v>
                </c:pt>
                <c:pt idx="3058">
                  <c:v>All Others</c:v>
                </c:pt>
                <c:pt idx="3059">
                  <c:v>All Others</c:v>
                </c:pt>
                <c:pt idx="3060">
                  <c:v>All Others</c:v>
                </c:pt>
                <c:pt idx="3061">
                  <c:v>All Others</c:v>
                </c:pt>
                <c:pt idx="3062">
                  <c:v>All Others</c:v>
                </c:pt>
                <c:pt idx="3063">
                  <c:v>All Others</c:v>
                </c:pt>
                <c:pt idx="3064">
                  <c:v>All Others</c:v>
                </c:pt>
                <c:pt idx="3065">
                  <c:v>All Others</c:v>
                </c:pt>
                <c:pt idx="3066">
                  <c:v>All Others</c:v>
                </c:pt>
                <c:pt idx="3067">
                  <c:v>All Others</c:v>
                </c:pt>
                <c:pt idx="3068">
                  <c:v>All Others</c:v>
                </c:pt>
                <c:pt idx="3069">
                  <c:v>All Others</c:v>
                </c:pt>
                <c:pt idx="3070">
                  <c:v>Entremont</c:v>
                </c:pt>
                <c:pt idx="3071">
                  <c:v>Entremont</c:v>
                </c:pt>
                <c:pt idx="3072">
                  <c:v>All Others</c:v>
                </c:pt>
                <c:pt idx="3073">
                  <c:v>All Others</c:v>
                </c:pt>
                <c:pt idx="3074">
                  <c:v>All Others</c:v>
                </c:pt>
                <c:pt idx="3075">
                  <c:v>All Others</c:v>
                </c:pt>
                <c:pt idx="3076">
                  <c:v>Private Lab</c:v>
                </c:pt>
                <c:pt idx="3077">
                  <c:v>All Others</c:v>
                </c:pt>
                <c:pt idx="3078">
                  <c:v>All Others</c:v>
                </c:pt>
                <c:pt idx="3079">
                  <c:v>All Others</c:v>
                </c:pt>
                <c:pt idx="3080">
                  <c:v>Savencia: A</c:v>
                </c:pt>
                <c:pt idx="3081">
                  <c:v>All Others</c:v>
                </c:pt>
                <c:pt idx="3082">
                  <c:v>All Others</c:v>
                </c:pt>
                <c:pt idx="3083">
                  <c:v>Eurial Autr</c:v>
                </c:pt>
                <c:pt idx="3084">
                  <c:v>All Others</c:v>
                </c:pt>
                <c:pt idx="3085">
                  <c:v>All Others</c:v>
                </c:pt>
                <c:pt idx="3086">
                  <c:v>All Others</c:v>
                </c:pt>
                <c:pt idx="3087">
                  <c:v>All Others</c:v>
                </c:pt>
                <c:pt idx="3088">
                  <c:v>All Others</c:v>
                </c:pt>
                <c:pt idx="3089">
                  <c:v>All Others</c:v>
                </c:pt>
                <c:pt idx="3090">
                  <c:v>All Others</c:v>
                </c:pt>
                <c:pt idx="3091">
                  <c:v>All Others</c:v>
                </c:pt>
                <c:pt idx="3092">
                  <c:v>All Others</c:v>
                </c:pt>
                <c:pt idx="3093">
                  <c:v>All Others</c:v>
                </c:pt>
                <c:pt idx="3094">
                  <c:v>All Others</c:v>
                </c:pt>
                <c:pt idx="3095">
                  <c:v>All Others</c:v>
                </c:pt>
                <c:pt idx="3096">
                  <c:v>All Others</c:v>
                </c:pt>
                <c:pt idx="3097">
                  <c:v>All Others</c:v>
                </c:pt>
                <c:pt idx="3098">
                  <c:v>All Others</c:v>
                </c:pt>
                <c:pt idx="3099">
                  <c:v>Private Lab</c:v>
                </c:pt>
                <c:pt idx="3100">
                  <c:v>All Others</c:v>
                </c:pt>
                <c:pt idx="3101">
                  <c:v>All Others</c:v>
                </c:pt>
                <c:pt idx="3102">
                  <c:v>All Others</c:v>
                </c:pt>
                <c:pt idx="3103">
                  <c:v>Private Lab</c:v>
                </c:pt>
                <c:pt idx="3104">
                  <c:v>Private Lab</c:v>
                </c:pt>
                <c:pt idx="3105">
                  <c:v>All Others</c:v>
                </c:pt>
                <c:pt idx="3106">
                  <c:v>All Others</c:v>
                </c:pt>
                <c:pt idx="3107">
                  <c:v>All Others</c:v>
                </c:pt>
                <c:pt idx="3108">
                  <c:v>All Others</c:v>
                </c:pt>
                <c:pt idx="3109">
                  <c:v>All Others</c:v>
                </c:pt>
                <c:pt idx="3110">
                  <c:v>All Others</c:v>
                </c:pt>
                <c:pt idx="3111">
                  <c:v>All Others</c:v>
                </c:pt>
                <c:pt idx="3112">
                  <c:v>All Others</c:v>
                </c:pt>
                <c:pt idx="3113">
                  <c:v>All Others</c:v>
                </c:pt>
                <c:pt idx="3114">
                  <c:v>All Others</c:v>
                </c:pt>
                <c:pt idx="3115">
                  <c:v>All Others</c:v>
                </c:pt>
                <c:pt idx="3116">
                  <c:v>All Others</c:v>
                </c:pt>
                <c:pt idx="3117">
                  <c:v>All Others</c:v>
                </c:pt>
                <c:pt idx="3118">
                  <c:v>All Others</c:v>
                </c:pt>
                <c:pt idx="3119">
                  <c:v>All Others</c:v>
                </c:pt>
                <c:pt idx="3120">
                  <c:v>Societe</c:v>
                </c:pt>
                <c:pt idx="3121">
                  <c:v>All Others</c:v>
                </c:pt>
                <c:pt idx="3122">
                  <c:v>All Others</c:v>
                </c:pt>
                <c:pt idx="3123">
                  <c:v>All Others</c:v>
                </c:pt>
                <c:pt idx="3124">
                  <c:v>All Others</c:v>
                </c:pt>
                <c:pt idx="3125">
                  <c:v>All Others</c:v>
                </c:pt>
                <c:pt idx="3126">
                  <c:v>All Others</c:v>
                </c:pt>
                <c:pt idx="3127">
                  <c:v>All Others</c:v>
                </c:pt>
                <c:pt idx="3128">
                  <c:v>All Others</c:v>
                </c:pt>
                <c:pt idx="3129">
                  <c:v>All Others</c:v>
                </c:pt>
                <c:pt idx="3130">
                  <c:v>All Others</c:v>
                </c:pt>
                <c:pt idx="3131">
                  <c:v>All Others</c:v>
                </c:pt>
                <c:pt idx="3132">
                  <c:v>All Others</c:v>
                </c:pt>
                <c:pt idx="3133">
                  <c:v>Private Lab</c:v>
                </c:pt>
                <c:pt idx="3134">
                  <c:v>All Others</c:v>
                </c:pt>
                <c:pt idx="3135">
                  <c:v>All Others</c:v>
                </c:pt>
                <c:pt idx="3136">
                  <c:v>All Others</c:v>
                </c:pt>
                <c:pt idx="3137">
                  <c:v>All Others</c:v>
                </c:pt>
                <c:pt idx="3138">
                  <c:v>All Others</c:v>
                </c:pt>
                <c:pt idx="3139">
                  <c:v>All Others</c:v>
                </c:pt>
                <c:pt idx="3140">
                  <c:v>All Others</c:v>
                </c:pt>
                <c:pt idx="3141">
                  <c:v>Private Lab</c:v>
                </c:pt>
                <c:pt idx="3142">
                  <c:v>All Others</c:v>
                </c:pt>
                <c:pt idx="3143">
                  <c:v>All Others</c:v>
                </c:pt>
                <c:pt idx="3144">
                  <c:v>President</c:v>
                </c:pt>
                <c:pt idx="3145">
                  <c:v>All Others</c:v>
                </c:pt>
                <c:pt idx="3146">
                  <c:v>All Others</c:v>
                </c:pt>
                <c:pt idx="3147">
                  <c:v>All Others</c:v>
                </c:pt>
                <c:pt idx="3148">
                  <c:v>All Others</c:v>
                </c:pt>
                <c:pt idx="3149">
                  <c:v>Private Lab</c:v>
                </c:pt>
                <c:pt idx="3150">
                  <c:v>All Others</c:v>
                </c:pt>
                <c:pt idx="3151">
                  <c:v>All Others</c:v>
                </c:pt>
                <c:pt idx="3152">
                  <c:v>All Others</c:v>
                </c:pt>
                <c:pt idx="3153">
                  <c:v>Private Lab</c:v>
                </c:pt>
                <c:pt idx="3154">
                  <c:v>All Others</c:v>
                </c:pt>
                <c:pt idx="3155">
                  <c:v>All Others</c:v>
                </c:pt>
                <c:pt idx="3156">
                  <c:v>All Others</c:v>
                </c:pt>
                <c:pt idx="3157">
                  <c:v>All Others</c:v>
                </c:pt>
                <c:pt idx="3158">
                  <c:v>All Others</c:v>
                </c:pt>
                <c:pt idx="3159">
                  <c:v>All Others</c:v>
                </c:pt>
                <c:pt idx="3160">
                  <c:v>Savencia: A</c:v>
                </c:pt>
                <c:pt idx="3161">
                  <c:v>All Others</c:v>
                </c:pt>
                <c:pt idx="3162">
                  <c:v>All Others</c:v>
                </c:pt>
                <c:pt idx="3163">
                  <c:v>All Others</c:v>
                </c:pt>
                <c:pt idx="3164">
                  <c:v>All Others</c:v>
                </c:pt>
                <c:pt idx="3165">
                  <c:v>All Others</c:v>
                </c:pt>
                <c:pt idx="3166">
                  <c:v>All Others</c:v>
                </c:pt>
                <c:pt idx="3167">
                  <c:v>All Others</c:v>
                </c:pt>
                <c:pt idx="3168">
                  <c:v>All Others</c:v>
                </c:pt>
                <c:pt idx="3169">
                  <c:v>All Others</c:v>
                </c:pt>
                <c:pt idx="3170">
                  <c:v>Limiano</c:v>
                </c:pt>
                <c:pt idx="3171">
                  <c:v>All Others</c:v>
                </c:pt>
                <c:pt idx="3172">
                  <c:v>All Others</c:v>
                </c:pt>
                <c:pt idx="3173">
                  <c:v>All Others</c:v>
                </c:pt>
                <c:pt idx="3174">
                  <c:v>All Others</c:v>
                </c:pt>
                <c:pt idx="3175">
                  <c:v>Private Lab</c:v>
                </c:pt>
                <c:pt idx="3176">
                  <c:v>All Others</c:v>
                </c:pt>
                <c:pt idx="3177">
                  <c:v>All Others</c:v>
                </c:pt>
                <c:pt idx="3178">
                  <c:v>All Others</c:v>
                </c:pt>
                <c:pt idx="3179">
                  <c:v>All Others</c:v>
                </c:pt>
                <c:pt idx="3180">
                  <c:v>All Others</c:v>
                </c:pt>
                <c:pt idx="3181">
                  <c:v>Private Lab</c:v>
                </c:pt>
                <c:pt idx="3182">
                  <c:v>All Others</c:v>
                </c:pt>
                <c:pt idx="3183">
                  <c:v>Private Lab</c:v>
                </c:pt>
                <c:pt idx="3184">
                  <c:v>Entremont</c:v>
                </c:pt>
                <c:pt idx="3185">
                  <c:v>All Others</c:v>
                </c:pt>
                <c:pt idx="3186">
                  <c:v>All Others</c:v>
                </c:pt>
                <c:pt idx="3187">
                  <c:v>All Others</c:v>
                </c:pt>
                <c:pt idx="3188">
                  <c:v>All Others</c:v>
                </c:pt>
                <c:pt idx="3189">
                  <c:v>All Others</c:v>
                </c:pt>
                <c:pt idx="3190">
                  <c:v>All Others</c:v>
                </c:pt>
                <c:pt idx="3191">
                  <c:v>All Others</c:v>
                </c:pt>
                <c:pt idx="3192">
                  <c:v>All Others</c:v>
                </c:pt>
                <c:pt idx="3193">
                  <c:v>Casa Azzurr</c:v>
                </c:pt>
                <c:pt idx="3194">
                  <c:v>All Others</c:v>
                </c:pt>
                <c:pt idx="3195">
                  <c:v>All Others</c:v>
                </c:pt>
                <c:pt idx="3196">
                  <c:v>All Others</c:v>
                </c:pt>
                <c:pt idx="3197">
                  <c:v>All Others</c:v>
                </c:pt>
                <c:pt idx="3198">
                  <c:v>All Others</c:v>
                </c:pt>
                <c:pt idx="3199">
                  <c:v>All Others</c:v>
                </c:pt>
                <c:pt idx="3200">
                  <c:v>All Others</c:v>
                </c:pt>
                <c:pt idx="3201">
                  <c:v>All Others</c:v>
                </c:pt>
                <c:pt idx="3202">
                  <c:v>All Others</c:v>
                </c:pt>
                <c:pt idx="3203">
                  <c:v>All Others</c:v>
                </c:pt>
                <c:pt idx="3204">
                  <c:v>All Others</c:v>
                </c:pt>
                <c:pt idx="3205">
                  <c:v>All Others</c:v>
                </c:pt>
                <c:pt idx="3206">
                  <c:v>All Others</c:v>
                </c:pt>
                <c:pt idx="3207">
                  <c:v>All Others</c:v>
                </c:pt>
                <c:pt idx="3208">
                  <c:v>Salakis</c:v>
                </c:pt>
                <c:pt idx="3209">
                  <c:v>Societe</c:v>
                </c:pt>
                <c:pt idx="3210">
                  <c:v>All Others</c:v>
                </c:pt>
                <c:pt idx="3211">
                  <c:v>All Others</c:v>
                </c:pt>
                <c:pt idx="3212">
                  <c:v>All Others</c:v>
                </c:pt>
                <c:pt idx="3213">
                  <c:v>All Others</c:v>
                </c:pt>
                <c:pt idx="3214">
                  <c:v>All Others</c:v>
                </c:pt>
                <c:pt idx="3215">
                  <c:v>All Others</c:v>
                </c:pt>
                <c:pt idx="3216">
                  <c:v>All Others</c:v>
                </c:pt>
                <c:pt idx="3217">
                  <c:v>All Others</c:v>
                </c:pt>
                <c:pt idx="3218">
                  <c:v>All Others</c:v>
                </c:pt>
                <c:pt idx="3219">
                  <c:v>All Others</c:v>
                </c:pt>
                <c:pt idx="3220">
                  <c:v>All Others</c:v>
                </c:pt>
                <c:pt idx="3221">
                  <c:v>All Others</c:v>
                </c:pt>
                <c:pt idx="3222">
                  <c:v>All Others</c:v>
                </c:pt>
                <c:pt idx="3223">
                  <c:v>All Others</c:v>
                </c:pt>
                <c:pt idx="3224">
                  <c:v>All Others</c:v>
                </c:pt>
                <c:pt idx="3225">
                  <c:v>All Others</c:v>
                </c:pt>
                <c:pt idx="3226">
                  <c:v>All Others</c:v>
                </c:pt>
                <c:pt idx="3227">
                  <c:v>All Others</c:v>
                </c:pt>
                <c:pt idx="3228">
                  <c:v>All Others</c:v>
                </c:pt>
                <c:pt idx="3229">
                  <c:v>All Others</c:v>
                </c:pt>
                <c:pt idx="3230">
                  <c:v>Juraflore</c:v>
                </c:pt>
                <c:pt idx="3231">
                  <c:v>All Others</c:v>
                </c:pt>
                <c:pt idx="3232">
                  <c:v>All Others</c:v>
                </c:pt>
                <c:pt idx="3233">
                  <c:v>All Others</c:v>
                </c:pt>
                <c:pt idx="3234">
                  <c:v>All Others</c:v>
                </c:pt>
                <c:pt idx="3235">
                  <c:v>All Others</c:v>
                </c:pt>
                <c:pt idx="3236">
                  <c:v>All Others</c:v>
                </c:pt>
                <c:pt idx="3237">
                  <c:v>All Others</c:v>
                </c:pt>
                <c:pt idx="3238">
                  <c:v>All Others</c:v>
                </c:pt>
                <c:pt idx="3239">
                  <c:v>Pave D'Affi</c:v>
                </c:pt>
                <c:pt idx="3240">
                  <c:v>All Others</c:v>
                </c:pt>
                <c:pt idx="3241">
                  <c:v>All Others</c:v>
                </c:pt>
                <c:pt idx="3242">
                  <c:v>All Others</c:v>
                </c:pt>
                <c:pt idx="3243">
                  <c:v>All Others</c:v>
                </c:pt>
                <c:pt idx="3244">
                  <c:v>All Others</c:v>
                </c:pt>
                <c:pt idx="3245">
                  <c:v>All Others</c:v>
                </c:pt>
                <c:pt idx="3246">
                  <c:v>All Others</c:v>
                </c:pt>
                <c:pt idx="3247">
                  <c:v>All Others</c:v>
                </c:pt>
                <c:pt idx="3248">
                  <c:v>All Others</c:v>
                </c:pt>
                <c:pt idx="3249">
                  <c:v>All Others</c:v>
                </c:pt>
                <c:pt idx="3250">
                  <c:v>All Others</c:v>
                </c:pt>
                <c:pt idx="3251">
                  <c:v>Lactalis: A</c:v>
                </c:pt>
                <c:pt idx="3252">
                  <c:v>All Others</c:v>
                </c:pt>
                <c:pt idx="3253">
                  <c:v>All Others</c:v>
                </c:pt>
                <c:pt idx="3254">
                  <c:v>All Others</c:v>
                </c:pt>
                <c:pt idx="3255">
                  <c:v>All Others</c:v>
                </c:pt>
                <c:pt idx="3256">
                  <c:v>All Others</c:v>
                </c:pt>
                <c:pt idx="3257">
                  <c:v>All Others</c:v>
                </c:pt>
                <c:pt idx="3258">
                  <c:v>All Others</c:v>
                </c:pt>
                <c:pt idx="3259">
                  <c:v>All Others</c:v>
                </c:pt>
                <c:pt idx="3260">
                  <c:v>All Others</c:v>
                </c:pt>
                <c:pt idx="3261">
                  <c:v>All Others</c:v>
                </c:pt>
                <c:pt idx="3262">
                  <c:v>All Others</c:v>
                </c:pt>
                <c:pt idx="3263">
                  <c:v>Private Lab</c:v>
                </c:pt>
                <c:pt idx="3264">
                  <c:v>All Others</c:v>
                </c:pt>
                <c:pt idx="3265">
                  <c:v>All Others</c:v>
                </c:pt>
                <c:pt idx="3266">
                  <c:v>All Others</c:v>
                </c:pt>
                <c:pt idx="3267">
                  <c:v>All Others</c:v>
                </c:pt>
                <c:pt idx="3268">
                  <c:v>All Others</c:v>
                </c:pt>
                <c:pt idx="3269">
                  <c:v>All Others</c:v>
                </c:pt>
                <c:pt idx="3270">
                  <c:v>All Others</c:v>
                </c:pt>
                <c:pt idx="3271">
                  <c:v>All Others</c:v>
                </c:pt>
                <c:pt idx="3272">
                  <c:v>All Others</c:v>
                </c:pt>
                <c:pt idx="3273">
                  <c:v>Lactalis: A</c:v>
                </c:pt>
                <c:pt idx="3274">
                  <c:v>All Others</c:v>
                </c:pt>
                <c:pt idx="3275">
                  <c:v>Lactalis: A</c:v>
                </c:pt>
                <c:pt idx="3276">
                  <c:v>All Others</c:v>
                </c:pt>
                <c:pt idx="3277">
                  <c:v>All Others</c:v>
                </c:pt>
                <c:pt idx="3278">
                  <c:v>Private Lab</c:v>
                </c:pt>
                <c:pt idx="3279">
                  <c:v>All Others</c:v>
                </c:pt>
                <c:pt idx="3280">
                  <c:v>All Others</c:v>
                </c:pt>
                <c:pt idx="3281">
                  <c:v>All Others</c:v>
                </c:pt>
                <c:pt idx="3282">
                  <c:v>All Others</c:v>
                </c:pt>
                <c:pt idx="3283">
                  <c:v>All Others</c:v>
                </c:pt>
                <c:pt idx="3284">
                  <c:v>All Others</c:v>
                </c:pt>
                <c:pt idx="3285">
                  <c:v>All Others</c:v>
                </c:pt>
                <c:pt idx="3286">
                  <c:v>Private Lab</c:v>
                </c:pt>
                <c:pt idx="3287">
                  <c:v>All Others</c:v>
                </c:pt>
                <c:pt idx="3288">
                  <c:v>All Others</c:v>
                </c:pt>
                <c:pt idx="3289">
                  <c:v>All Others</c:v>
                </c:pt>
                <c:pt idx="3290">
                  <c:v>All Others</c:v>
                </c:pt>
                <c:pt idx="3291">
                  <c:v>All Others</c:v>
                </c:pt>
                <c:pt idx="3292">
                  <c:v>All Others</c:v>
                </c:pt>
                <c:pt idx="3293">
                  <c:v>All Others</c:v>
                </c:pt>
                <c:pt idx="3294">
                  <c:v>All Others</c:v>
                </c:pt>
                <c:pt idx="3295">
                  <c:v>All Others</c:v>
                </c:pt>
                <c:pt idx="3296">
                  <c:v>All Others</c:v>
                </c:pt>
                <c:pt idx="3297">
                  <c:v>All Others</c:v>
                </c:pt>
                <c:pt idx="3298">
                  <c:v>All Others</c:v>
                </c:pt>
                <c:pt idx="3299">
                  <c:v>All Others</c:v>
                </c:pt>
                <c:pt idx="3300">
                  <c:v>All Others</c:v>
                </c:pt>
                <c:pt idx="3301">
                  <c:v>All Others</c:v>
                </c:pt>
                <c:pt idx="3302">
                  <c:v>All Others</c:v>
                </c:pt>
                <c:pt idx="3303">
                  <c:v>All Others</c:v>
                </c:pt>
                <c:pt idx="3304">
                  <c:v>All Others</c:v>
                </c:pt>
                <c:pt idx="3305">
                  <c:v>All Others</c:v>
                </c:pt>
                <c:pt idx="3306">
                  <c:v>All Others</c:v>
                </c:pt>
                <c:pt idx="3307">
                  <c:v>All Others</c:v>
                </c:pt>
                <c:pt idx="3308">
                  <c:v>All Others</c:v>
                </c:pt>
                <c:pt idx="3309">
                  <c:v>All Others</c:v>
                </c:pt>
                <c:pt idx="3310">
                  <c:v>All Others</c:v>
                </c:pt>
                <c:pt idx="3311">
                  <c:v>All Others</c:v>
                </c:pt>
                <c:pt idx="3312">
                  <c:v>All Others</c:v>
                </c:pt>
                <c:pt idx="3313">
                  <c:v>All Others</c:v>
                </c:pt>
                <c:pt idx="3314">
                  <c:v>All Others</c:v>
                </c:pt>
                <c:pt idx="3315">
                  <c:v>All Others</c:v>
                </c:pt>
                <c:pt idx="3316">
                  <c:v>All Others</c:v>
                </c:pt>
                <c:pt idx="3317">
                  <c:v>All Others</c:v>
                </c:pt>
                <c:pt idx="3318">
                  <c:v>All Others</c:v>
                </c:pt>
                <c:pt idx="3319">
                  <c:v>All Others</c:v>
                </c:pt>
                <c:pt idx="3320">
                  <c:v>All Others</c:v>
                </c:pt>
                <c:pt idx="3321">
                  <c:v>All Others</c:v>
                </c:pt>
                <c:pt idx="3322">
                  <c:v>All Others</c:v>
                </c:pt>
                <c:pt idx="3323">
                  <c:v>All Others</c:v>
                </c:pt>
                <c:pt idx="3324">
                  <c:v>Lactalis: A</c:v>
                </c:pt>
                <c:pt idx="3325">
                  <c:v>All Others</c:v>
                </c:pt>
                <c:pt idx="3326">
                  <c:v>All Others</c:v>
                </c:pt>
                <c:pt idx="3327">
                  <c:v>All Others</c:v>
                </c:pt>
                <c:pt idx="3328">
                  <c:v>All Others</c:v>
                </c:pt>
                <c:pt idx="3329">
                  <c:v>All Others</c:v>
                </c:pt>
                <c:pt idx="3330">
                  <c:v>All Others</c:v>
                </c:pt>
                <c:pt idx="3331">
                  <c:v>All Others</c:v>
                </c:pt>
                <c:pt idx="3332">
                  <c:v>All Others</c:v>
                </c:pt>
                <c:pt idx="3333">
                  <c:v>All Others</c:v>
                </c:pt>
                <c:pt idx="3334">
                  <c:v>All Others</c:v>
                </c:pt>
                <c:pt idx="3335">
                  <c:v>Lactalis: A</c:v>
                </c:pt>
                <c:pt idx="3336">
                  <c:v>All Others</c:v>
                </c:pt>
                <c:pt idx="3337">
                  <c:v>All Others</c:v>
                </c:pt>
                <c:pt idx="3338">
                  <c:v>All Others</c:v>
                </c:pt>
                <c:pt idx="3339">
                  <c:v>All Others</c:v>
                </c:pt>
                <c:pt idx="3340">
                  <c:v>All Others</c:v>
                </c:pt>
                <c:pt idx="3341">
                  <c:v>All Others</c:v>
                </c:pt>
                <c:pt idx="3342">
                  <c:v>All Others</c:v>
                </c:pt>
                <c:pt idx="3343">
                  <c:v>All Others</c:v>
                </c:pt>
                <c:pt idx="3344">
                  <c:v>All Others</c:v>
                </c:pt>
                <c:pt idx="3345">
                  <c:v>All Others</c:v>
                </c:pt>
                <c:pt idx="3346">
                  <c:v>All Others</c:v>
                </c:pt>
                <c:pt idx="3347">
                  <c:v>All Others</c:v>
                </c:pt>
                <c:pt idx="3348">
                  <c:v>All Others</c:v>
                </c:pt>
                <c:pt idx="3349">
                  <c:v>All Others</c:v>
                </c:pt>
                <c:pt idx="3350">
                  <c:v>All Others</c:v>
                </c:pt>
                <c:pt idx="3351">
                  <c:v>All Others</c:v>
                </c:pt>
                <c:pt idx="3352">
                  <c:v>All Others</c:v>
                </c:pt>
                <c:pt idx="3353">
                  <c:v>All Others</c:v>
                </c:pt>
                <c:pt idx="3354">
                  <c:v>All Others</c:v>
                </c:pt>
                <c:pt idx="3355">
                  <c:v>All Others</c:v>
                </c:pt>
                <c:pt idx="3356">
                  <c:v>Savencia: A</c:v>
                </c:pt>
                <c:pt idx="3357">
                  <c:v>All Others</c:v>
                </c:pt>
                <c:pt idx="3358">
                  <c:v>All Others</c:v>
                </c:pt>
                <c:pt idx="3359">
                  <c:v>All Others</c:v>
                </c:pt>
                <c:pt idx="3360">
                  <c:v>Private Lab</c:v>
                </c:pt>
                <c:pt idx="3361">
                  <c:v>All Others</c:v>
                </c:pt>
                <c:pt idx="3362">
                  <c:v>All Others</c:v>
                </c:pt>
                <c:pt idx="3363">
                  <c:v>All Others</c:v>
                </c:pt>
                <c:pt idx="3364">
                  <c:v>All Others</c:v>
                </c:pt>
                <c:pt idx="3365">
                  <c:v>All Others</c:v>
                </c:pt>
                <c:pt idx="3366">
                  <c:v>All Others</c:v>
                </c:pt>
                <c:pt idx="3367">
                  <c:v>All Others</c:v>
                </c:pt>
                <c:pt idx="3368">
                  <c:v>All Others</c:v>
                </c:pt>
                <c:pt idx="3369">
                  <c:v>All Others</c:v>
                </c:pt>
                <c:pt idx="3370">
                  <c:v>All Others</c:v>
                </c:pt>
                <c:pt idx="3371">
                  <c:v>All Others</c:v>
                </c:pt>
                <c:pt idx="3372">
                  <c:v>All Others</c:v>
                </c:pt>
                <c:pt idx="3373">
                  <c:v>All Others</c:v>
                </c:pt>
                <c:pt idx="3374">
                  <c:v>All Others</c:v>
                </c:pt>
                <c:pt idx="3375">
                  <c:v>Private Lab</c:v>
                </c:pt>
                <c:pt idx="3376">
                  <c:v>Private Lab</c:v>
                </c:pt>
                <c:pt idx="3377">
                  <c:v>All Others</c:v>
                </c:pt>
                <c:pt idx="3378">
                  <c:v>All Others</c:v>
                </c:pt>
                <c:pt idx="3379">
                  <c:v>All Others</c:v>
                </c:pt>
                <c:pt idx="3380">
                  <c:v>All Others</c:v>
                </c:pt>
                <c:pt idx="3381">
                  <c:v>All Others</c:v>
                </c:pt>
                <c:pt idx="3382">
                  <c:v>All Others</c:v>
                </c:pt>
                <c:pt idx="3383">
                  <c:v>Private Lab</c:v>
                </c:pt>
                <c:pt idx="3384">
                  <c:v>All Others</c:v>
                </c:pt>
                <c:pt idx="3385">
                  <c:v>All Others</c:v>
                </c:pt>
                <c:pt idx="3386">
                  <c:v>All Others</c:v>
                </c:pt>
                <c:pt idx="3387">
                  <c:v>All Others</c:v>
                </c:pt>
                <c:pt idx="3388">
                  <c:v>Private Lab</c:v>
                </c:pt>
                <c:pt idx="3389">
                  <c:v>All Others</c:v>
                </c:pt>
                <c:pt idx="3390">
                  <c:v>All Others</c:v>
                </c:pt>
                <c:pt idx="3391">
                  <c:v>All Others</c:v>
                </c:pt>
                <c:pt idx="3392">
                  <c:v>All Others</c:v>
                </c:pt>
                <c:pt idx="3393">
                  <c:v>All Others</c:v>
                </c:pt>
                <c:pt idx="3394">
                  <c:v>All Others</c:v>
                </c:pt>
                <c:pt idx="3395">
                  <c:v>All Others</c:v>
                </c:pt>
                <c:pt idx="3396">
                  <c:v>All Others</c:v>
                </c:pt>
                <c:pt idx="3397">
                  <c:v>All Others</c:v>
                </c:pt>
                <c:pt idx="3398">
                  <c:v>All Others</c:v>
                </c:pt>
                <c:pt idx="3399">
                  <c:v>All Others</c:v>
                </c:pt>
                <c:pt idx="3400">
                  <c:v>All Others</c:v>
                </c:pt>
                <c:pt idx="3401">
                  <c:v>Private Lab</c:v>
                </c:pt>
                <c:pt idx="3402">
                  <c:v>Private Lab</c:v>
                </c:pt>
                <c:pt idx="3403">
                  <c:v>All Others</c:v>
                </c:pt>
                <c:pt idx="3404">
                  <c:v>All Others</c:v>
                </c:pt>
                <c:pt idx="3405">
                  <c:v>Private Lab</c:v>
                </c:pt>
                <c:pt idx="3406">
                  <c:v>All Others</c:v>
                </c:pt>
                <c:pt idx="3407">
                  <c:v>All Others</c:v>
                </c:pt>
                <c:pt idx="3408">
                  <c:v>All Others</c:v>
                </c:pt>
                <c:pt idx="3409">
                  <c:v>All Others</c:v>
                </c:pt>
                <c:pt idx="3410">
                  <c:v>Private Lab</c:v>
                </c:pt>
                <c:pt idx="3411">
                  <c:v>All Others</c:v>
                </c:pt>
                <c:pt idx="3412">
                  <c:v>All Others</c:v>
                </c:pt>
                <c:pt idx="3413">
                  <c:v>Private Lab</c:v>
                </c:pt>
                <c:pt idx="3414">
                  <c:v>All Others</c:v>
                </c:pt>
                <c:pt idx="3415">
                  <c:v>All Others</c:v>
                </c:pt>
                <c:pt idx="3416">
                  <c:v>All Others</c:v>
                </c:pt>
                <c:pt idx="3417">
                  <c:v>All Others</c:v>
                </c:pt>
                <c:pt idx="3418">
                  <c:v>All Others</c:v>
                </c:pt>
                <c:pt idx="3419">
                  <c:v>All Others</c:v>
                </c:pt>
                <c:pt idx="3420">
                  <c:v>All Others</c:v>
                </c:pt>
                <c:pt idx="3421">
                  <c:v>All Others</c:v>
                </c:pt>
                <c:pt idx="3422">
                  <c:v>Milleret: A</c:v>
                </c:pt>
                <c:pt idx="3423">
                  <c:v>All Others</c:v>
                </c:pt>
                <c:pt idx="3424">
                  <c:v>All Others</c:v>
                </c:pt>
                <c:pt idx="3425">
                  <c:v>All Others</c:v>
                </c:pt>
                <c:pt idx="3426">
                  <c:v>All Others</c:v>
                </c:pt>
                <c:pt idx="3427">
                  <c:v>All Others</c:v>
                </c:pt>
                <c:pt idx="3428">
                  <c:v>All Others</c:v>
                </c:pt>
                <c:pt idx="3429">
                  <c:v>All Others</c:v>
                </c:pt>
                <c:pt idx="3430">
                  <c:v>All Others</c:v>
                </c:pt>
                <c:pt idx="3431">
                  <c:v>All Others</c:v>
                </c:pt>
                <c:pt idx="3432">
                  <c:v>Private Lab</c:v>
                </c:pt>
                <c:pt idx="3433">
                  <c:v>All Others</c:v>
                </c:pt>
                <c:pt idx="3434">
                  <c:v>All Others</c:v>
                </c:pt>
                <c:pt idx="3435">
                  <c:v>Private Lab</c:v>
                </c:pt>
                <c:pt idx="3436">
                  <c:v>All Others</c:v>
                </c:pt>
                <c:pt idx="3437">
                  <c:v>All Others</c:v>
                </c:pt>
                <c:pt idx="3438">
                  <c:v>Private Lab</c:v>
                </c:pt>
                <c:pt idx="3439">
                  <c:v>All Others</c:v>
                </c:pt>
                <c:pt idx="3440">
                  <c:v>All Others</c:v>
                </c:pt>
                <c:pt idx="3441">
                  <c:v>Nurishh</c:v>
                </c:pt>
                <c:pt idx="3442">
                  <c:v>All Others</c:v>
                </c:pt>
                <c:pt idx="3443">
                  <c:v>All Others</c:v>
                </c:pt>
                <c:pt idx="3444">
                  <c:v>All Others</c:v>
                </c:pt>
                <c:pt idx="3445">
                  <c:v>All Others</c:v>
                </c:pt>
                <c:pt idx="3446">
                  <c:v>All Others</c:v>
                </c:pt>
                <c:pt idx="3447">
                  <c:v>All Others</c:v>
                </c:pt>
                <c:pt idx="3448">
                  <c:v>All Others</c:v>
                </c:pt>
                <c:pt idx="3449">
                  <c:v>All Others</c:v>
                </c:pt>
                <c:pt idx="3450">
                  <c:v>All Others</c:v>
                </c:pt>
                <c:pt idx="3451">
                  <c:v>All Others</c:v>
                </c:pt>
                <c:pt idx="3452">
                  <c:v>All Others</c:v>
                </c:pt>
                <c:pt idx="3453">
                  <c:v>Nurishh</c:v>
                </c:pt>
                <c:pt idx="3454">
                  <c:v>All Others</c:v>
                </c:pt>
                <c:pt idx="3455">
                  <c:v>All Others</c:v>
                </c:pt>
                <c:pt idx="3456">
                  <c:v>All Others</c:v>
                </c:pt>
                <c:pt idx="3457">
                  <c:v>All Others</c:v>
                </c:pt>
                <c:pt idx="3458">
                  <c:v>All Others</c:v>
                </c:pt>
                <c:pt idx="3459">
                  <c:v>All Others</c:v>
                </c:pt>
                <c:pt idx="3460">
                  <c:v>All Others</c:v>
                </c:pt>
                <c:pt idx="3461">
                  <c:v>All Others</c:v>
                </c:pt>
                <c:pt idx="3462">
                  <c:v>All Others</c:v>
                </c:pt>
                <c:pt idx="3463">
                  <c:v>All Others</c:v>
                </c:pt>
                <c:pt idx="3464">
                  <c:v>All Others</c:v>
                </c:pt>
                <c:pt idx="3465">
                  <c:v>All Others</c:v>
                </c:pt>
                <c:pt idx="3466">
                  <c:v>All Others</c:v>
                </c:pt>
                <c:pt idx="3467">
                  <c:v>All Others</c:v>
                </c:pt>
                <c:pt idx="3468">
                  <c:v>All Others</c:v>
                </c:pt>
                <c:pt idx="3469">
                  <c:v>Private Lab</c:v>
                </c:pt>
                <c:pt idx="3470">
                  <c:v>All Others</c:v>
                </c:pt>
                <c:pt idx="3471">
                  <c:v>All Others</c:v>
                </c:pt>
                <c:pt idx="3472">
                  <c:v>All Others</c:v>
                </c:pt>
                <c:pt idx="3473">
                  <c:v>All Others</c:v>
                </c:pt>
                <c:pt idx="3474">
                  <c:v>All Others</c:v>
                </c:pt>
                <c:pt idx="3475">
                  <c:v>All Others</c:v>
                </c:pt>
                <c:pt idx="3476">
                  <c:v>All Others</c:v>
                </c:pt>
                <c:pt idx="3477">
                  <c:v>All Others</c:v>
                </c:pt>
                <c:pt idx="3478">
                  <c:v>Private Lab</c:v>
                </c:pt>
                <c:pt idx="3479">
                  <c:v>All Others</c:v>
                </c:pt>
                <c:pt idx="3480">
                  <c:v>All Others</c:v>
                </c:pt>
                <c:pt idx="3481">
                  <c:v>Private Lab</c:v>
                </c:pt>
                <c:pt idx="3482">
                  <c:v>All Others</c:v>
                </c:pt>
                <c:pt idx="3483">
                  <c:v>All Others</c:v>
                </c:pt>
                <c:pt idx="3484">
                  <c:v>All Others</c:v>
                </c:pt>
                <c:pt idx="3485">
                  <c:v>All Others</c:v>
                </c:pt>
                <c:pt idx="3486">
                  <c:v>All Others</c:v>
                </c:pt>
                <c:pt idx="3487">
                  <c:v>All Others</c:v>
                </c:pt>
                <c:pt idx="3488">
                  <c:v>All Others</c:v>
                </c:pt>
                <c:pt idx="3489">
                  <c:v>Private Lab</c:v>
                </c:pt>
                <c:pt idx="3490">
                  <c:v>All Others</c:v>
                </c:pt>
                <c:pt idx="3491">
                  <c:v>All Others</c:v>
                </c:pt>
                <c:pt idx="3492">
                  <c:v>All Others</c:v>
                </c:pt>
                <c:pt idx="3493">
                  <c:v>All Others</c:v>
                </c:pt>
                <c:pt idx="3494">
                  <c:v>All Others</c:v>
                </c:pt>
                <c:pt idx="3495">
                  <c:v>Lactalis: A</c:v>
                </c:pt>
                <c:pt idx="3496">
                  <c:v>Boursin</c:v>
                </c:pt>
                <c:pt idx="3497">
                  <c:v>All Others</c:v>
                </c:pt>
                <c:pt idx="3498">
                  <c:v>All Others</c:v>
                </c:pt>
                <c:pt idx="3499">
                  <c:v>Private Lab</c:v>
                </c:pt>
                <c:pt idx="3500">
                  <c:v>All Others</c:v>
                </c:pt>
                <c:pt idx="3501">
                  <c:v>All Others</c:v>
                </c:pt>
                <c:pt idx="3502">
                  <c:v>All Others</c:v>
                </c:pt>
                <c:pt idx="3503">
                  <c:v>Private Lab</c:v>
                </c:pt>
                <c:pt idx="3504">
                  <c:v>All Others</c:v>
                </c:pt>
                <c:pt idx="3505">
                  <c:v>All Others</c:v>
                </c:pt>
                <c:pt idx="3506">
                  <c:v>All Others</c:v>
                </c:pt>
                <c:pt idx="3507">
                  <c:v>Bresse Bleu</c:v>
                </c:pt>
                <c:pt idx="3508">
                  <c:v>All Others</c:v>
                </c:pt>
                <c:pt idx="3509">
                  <c:v>All Others</c:v>
                </c:pt>
                <c:pt idx="3510">
                  <c:v>All Others</c:v>
                </c:pt>
                <c:pt idx="3511">
                  <c:v>Casa Azzurr</c:v>
                </c:pt>
                <c:pt idx="3512">
                  <c:v>All Others</c:v>
                </c:pt>
                <c:pt idx="3513">
                  <c:v>All Others</c:v>
                </c:pt>
                <c:pt idx="3514">
                  <c:v>All Others</c:v>
                </c:pt>
                <c:pt idx="3515">
                  <c:v>All Others</c:v>
                </c:pt>
                <c:pt idx="3516">
                  <c:v>All Others</c:v>
                </c:pt>
                <c:pt idx="3517">
                  <c:v>All Others</c:v>
                </c:pt>
                <c:pt idx="3518">
                  <c:v>All Others</c:v>
                </c:pt>
                <c:pt idx="3519">
                  <c:v>All Others</c:v>
                </c:pt>
                <c:pt idx="3520">
                  <c:v>All Others</c:v>
                </c:pt>
                <c:pt idx="3521">
                  <c:v>All Others</c:v>
                </c:pt>
                <c:pt idx="3522">
                  <c:v>All Others</c:v>
                </c:pt>
                <c:pt idx="3523">
                  <c:v>All Others</c:v>
                </c:pt>
                <c:pt idx="3524">
                  <c:v>All Others</c:v>
                </c:pt>
                <c:pt idx="3525">
                  <c:v>All Others</c:v>
                </c:pt>
                <c:pt idx="3526">
                  <c:v>All Others</c:v>
                </c:pt>
                <c:pt idx="3527">
                  <c:v>Ficello</c:v>
                </c:pt>
                <c:pt idx="3528">
                  <c:v>All Others</c:v>
                </c:pt>
                <c:pt idx="3529">
                  <c:v>Private Lab</c:v>
                </c:pt>
                <c:pt idx="3530">
                  <c:v>Mini Babybe</c:v>
                </c:pt>
                <c:pt idx="3531">
                  <c:v>All Others</c:v>
                </c:pt>
                <c:pt idx="3532">
                  <c:v>All Others</c:v>
                </c:pt>
                <c:pt idx="3533">
                  <c:v>Savencia: A</c:v>
                </c:pt>
                <c:pt idx="3534">
                  <c:v>All Others</c:v>
                </c:pt>
                <c:pt idx="3535">
                  <c:v>All Others</c:v>
                </c:pt>
                <c:pt idx="3536">
                  <c:v>All Others</c:v>
                </c:pt>
                <c:pt idx="3537">
                  <c:v>All Others</c:v>
                </c:pt>
                <c:pt idx="3538">
                  <c:v>Savencia: A</c:v>
                </c:pt>
                <c:pt idx="3539">
                  <c:v>All Others</c:v>
                </c:pt>
                <c:pt idx="3540">
                  <c:v>All Others</c:v>
                </c:pt>
                <c:pt idx="3541">
                  <c:v>All Others</c:v>
                </c:pt>
                <c:pt idx="3542">
                  <c:v>All Others</c:v>
                </c:pt>
                <c:pt idx="3543">
                  <c:v>All Others</c:v>
                </c:pt>
                <c:pt idx="3544">
                  <c:v>Private Lab</c:v>
                </c:pt>
                <c:pt idx="3545">
                  <c:v>Private Lab</c:v>
                </c:pt>
              </c:strCache>
            </c:strRef>
          </c:cat>
          <c:val>
            <c:numRef>
              <c:f>Sheet1!$B$2:$B$3547</c:f>
              <c:numCache>
                <c:formatCode>General</c:formatCode>
                <c:ptCount val="3546"/>
                <c:pt idx="0">
                  <c:v>0.998</c:v>
                </c:pt>
                <c:pt idx="1">
                  <c:v>0.90900000000000003</c:v>
                </c:pt>
                <c:pt idx="2">
                  <c:v>1</c:v>
                </c:pt>
                <c:pt idx="3">
                  <c:v>0.98799999999999999</c:v>
                </c:pt>
                <c:pt idx="4">
                  <c:v>0.375</c:v>
                </c:pt>
                <c:pt idx="5">
                  <c:v>0.82699999999999996</c:v>
                </c:pt>
                <c:pt idx="6">
                  <c:v>0.96399999999999997</c:v>
                </c:pt>
                <c:pt idx="7">
                  <c:v>1</c:v>
                </c:pt>
                <c:pt idx="8">
                  <c:v>0.86699999999999999</c:v>
                </c:pt>
                <c:pt idx="9">
                  <c:v>0.998</c:v>
                </c:pt>
                <c:pt idx="10">
                  <c:v>0.98799999999999999</c:v>
                </c:pt>
                <c:pt idx="11">
                  <c:v>0.98799999999999999</c:v>
                </c:pt>
                <c:pt idx="12">
                  <c:v>0.99199999999999999</c:v>
                </c:pt>
                <c:pt idx="13">
                  <c:v>1</c:v>
                </c:pt>
                <c:pt idx="14">
                  <c:v>0.995</c:v>
                </c:pt>
                <c:pt idx="15">
                  <c:v>0.86799999999999999</c:v>
                </c:pt>
                <c:pt idx="16">
                  <c:v>0.995</c:v>
                </c:pt>
                <c:pt idx="17">
                  <c:v>0.98799999999999999</c:v>
                </c:pt>
                <c:pt idx="18">
                  <c:v>0.99</c:v>
                </c:pt>
                <c:pt idx="19">
                  <c:v>0.97699999999999998</c:v>
                </c:pt>
                <c:pt idx="20">
                  <c:v>0.95299999999999996</c:v>
                </c:pt>
                <c:pt idx="21">
                  <c:v>0.99</c:v>
                </c:pt>
                <c:pt idx="22">
                  <c:v>0.91400000000000003</c:v>
                </c:pt>
                <c:pt idx="23">
                  <c:v>0.99099999999999999</c:v>
                </c:pt>
                <c:pt idx="24">
                  <c:v>0.89800000000000002</c:v>
                </c:pt>
                <c:pt idx="25">
                  <c:v>0.98099999999999998</c:v>
                </c:pt>
                <c:pt idx="26">
                  <c:v>0.99199999999999999</c:v>
                </c:pt>
                <c:pt idx="27">
                  <c:v>0.77800000000000002</c:v>
                </c:pt>
                <c:pt idx="28">
                  <c:v>0.97399999999999998</c:v>
                </c:pt>
                <c:pt idx="29">
                  <c:v>0.96499999999999997</c:v>
                </c:pt>
                <c:pt idx="30">
                  <c:v>0.92400000000000004</c:v>
                </c:pt>
                <c:pt idx="31">
                  <c:v>0.90300000000000002</c:v>
                </c:pt>
                <c:pt idx="32">
                  <c:v>0.94</c:v>
                </c:pt>
                <c:pt idx="33">
                  <c:v>0.85199999999999998</c:v>
                </c:pt>
                <c:pt idx="34">
                  <c:v>0.97599999999999998</c:v>
                </c:pt>
                <c:pt idx="35">
                  <c:v>0.97699999999999998</c:v>
                </c:pt>
                <c:pt idx="36">
                  <c:v>0.85899999999999999</c:v>
                </c:pt>
                <c:pt idx="37">
                  <c:v>0.99</c:v>
                </c:pt>
                <c:pt idx="38">
                  <c:v>0.95899999999999996</c:v>
                </c:pt>
                <c:pt idx="39">
                  <c:v>0.83499999999999996</c:v>
                </c:pt>
                <c:pt idx="40">
                  <c:v>0.998</c:v>
                </c:pt>
                <c:pt idx="41">
                  <c:v>0.83</c:v>
                </c:pt>
                <c:pt idx="42">
                  <c:v>0.90800000000000003</c:v>
                </c:pt>
                <c:pt idx="43">
                  <c:v>0.84499999999999997</c:v>
                </c:pt>
                <c:pt idx="44">
                  <c:v>0.97</c:v>
                </c:pt>
                <c:pt idx="45">
                  <c:v>0.83699999999999997</c:v>
                </c:pt>
                <c:pt idx="46">
                  <c:v>0.877</c:v>
                </c:pt>
                <c:pt idx="47">
                  <c:v>0.90200000000000002</c:v>
                </c:pt>
                <c:pt idx="48">
                  <c:v>0.995</c:v>
                </c:pt>
                <c:pt idx="49">
                  <c:v>0.99199999999999999</c:v>
                </c:pt>
                <c:pt idx="50">
                  <c:v>0.98099999999999998</c:v>
                </c:pt>
                <c:pt idx="51">
                  <c:v>0.98399999999999999</c:v>
                </c:pt>
                <c:pt idx="52">
                  <c:v>0.995</c:v>
                </c:pt>
                <c:pt idx="53">
                  <c:v>0.83399999999999996</c:v>
                </c:pt>
                <c:pt idx="54">
                  <c:v>0.874</c:v>
                </c:pt>
                <c:pt idx="55">
                  <c:v>0.878</c:v>
                </c:pt>
                <c:pt idx="56">
                  <c:v>0.92100000000000004</c:v>
                </c:pt>
                <c:pt idx="57">
                  <c:v>0.82499999999999996</c:v>
                </c:pt>
                <c:pt idx="58">
                  <c:v>0.96799999999999997</c:v>
                </c:pt>
                <c:pt idx="59">
                  <c:v>0.95799999999999996</c:v>
                </c:pt>
                <c:pt idx="60">
                  <c:v>0.91500000000000004</c:v>
                </c:pt>
                <c:pt idx="61">
                  <c:v>0.84</c:v>
                </c:pt>
                <c:pt idx="62">
                  <c:v>0.84</c:v>
                </c:pt>
                <c:pt idx="63">
                  <c:v>0.94899999999999995</c:v>
                </c:pt>
                <c:pt idx="64">
                  <c:v>0.98</c:v>
                </c:pt>
                <c:pt idx="65">
                  <c:v>0.95899999999999996</c:v>
                </c:pt>
                <c:pt idx="66">
                  <c:v>0.98</c:v>
                </c:pt>
                <c:pt idx="67">
                  <c:v>0.91400000000000003</c:v>
                </c:pt>
                <c:pt idx="68">
                  <c:v>0.79400000000000004</c:v>
                </c:pt>
                <c:pt idx="69">
                  <c:v>0.99</c:v>
                </c:pt>
                <c:pt idx="70">
                  <c:v>0.94599999999999995</c:v>
                </c:pt>
                <c:pt idx="71">
                  <c:v>0.95699999999999996</c:v>
                </c:pt>
                <c:pt idx="72">
                  <c:v>0.90800000000000003</c:v>
                </c:pt>
                <c:pt idx="73">
                  <c:v>0.85799999999999998</c:v>
                </c:pt>
                <c:pt idx="74">
                  <c:v>0.99299999999999999</c:v>
                </c:pt>
                <c:pt idx="75">
                  <c:v>0.82899999999999996</c:v>
                </c:pt>
                <c:pt idx="76">
                  <c:v>0.96199999999999997</c:v>
                </c:pt>
                <c:pt idx="77">
                  <c:v>0.90300000000000002</c:v>
                </c:pt>
                <c:pt idx="78">
                  <c:v>0.78600000000000003</c:v>
                </c:pt>
                <c:pt idx="79">
                  <c:v>0.91</c:v>
                </c:pt>
                <c:pt idx="80">
                  <c:v>0.82499999999999996</c:v>
                </c:pt>
                <c:pt idx="81">
                  <c:v>0.84599999999999997</c:v>
                </c:pt>
                <c:pt idx="82">
                  <c:v>0.89300000000000002</c:v>
                </c:pt>
                <c:pt idx="83">
                  <c:v>0.93400000000000005</c:v>
                </c:pt>
                <c:pt idx="84">
                  <c:v>0.98199999999999998</c:v>
                </c:pt>
                <c:pt idx="85">
                  <c:v>0.80700000000000005</c:v>
                </c:pt>
                <c:pt idx="86">
                  <c:v>0.90200000000000002</c:v>
                </c:pt>
                <c:pt idx="87">
                  <c:v>0.95799999999999996</c:v>
                </c:pt>
                <c:pt idx="88">
                  <c:v>0.81899999999999995</c:v>
                </c:pt>
                <c:pt idx="89">
                  <c:v>0.82499999999999996</c:v>
                </c:pt>
                <c:pt idx="90">
                  <c:v>0.84099999999999997</c:v>
                </c:pt>
                <c:pt idx="91">
                  <c:v>0.92300000000000004</c:v>
                </c:pt>
                <c:pt idx="92">
                  <c:v>0.92800000000000005</c:v>
                </c:pt>
                <c:pt idx="93">
                  <c:v>0.995</c:v>
                </c:pt>
                <c:pt idx="94">
                  <c:v>0.94099999999999995</c:v>
                </c:pt>
                <c:pt idx="95">
                  <c:v>0.92</c:v>
                </c:pt>
                <c:pt idx="96">
                  <c:v>0.97</c:v>
                </c:pt>
                <c:pt idx="97">
                  <c:v>0.90500000000000003</c:v>
                </c:pt>
                <c:pt idx="98">
                  <c:v>0.85899999999999999</c:v>
                </c:pt>
                <c:pt idx="99">
                  <c:v>0.80100000000000005</c:v>
                </c:pt>
                <c:pt idx="100">
                  <c:v>0.87</c:v>
                </c:pt>
                <c:pt idx="101">
                  <c:v>0.99199999999999999</c:v>
                </c:pt>
                <c:pt idx="102">
                  <c:v>0.94399999999999995</c:v>
                </c:pt>
                <c:pt idx="103">
                  <c:v>0.83199999999999996</c:v>
                </c:pt>
                <c:pt idx="104">
                  <c:v>0.90600000000000003</c:v>
                </c:pt>
                <c:pt idx="105">
                  <c:v>0.85399999999999998</c:v>
                </c:pt>
                <c:pt idx="106">
                  <c:v>0.79</c:v>
                </c:pt>
                <c:pt idx="107">
                  <c:v>0.95599999999999996</c:v>
                </c:pt>
                <c:pt idx="108">
                  <c:v>0.93300000000000005</c:v>
                </c:pt>
                <c:pt idx="109">
                  <c:v>0.872</c:v>
                </c:pt>
                <c:pt idx="110">
                  <c:v>0.997</c:v>
                </c:pt>
                <c:pt idx="111">
                  <c:v>0.879</c:v>
                </c:pt>
                <c:pt idx="112">
                  <c:v>0.90300000000000002</c:v>
                </c:pt>
                <c:pt idx="113">
                  <c:v>0.97499999999999998</c:v>
                </c:pt>
                <c:pt idx="114">
                  <c:v>0.96299999999999997</c:v>
                </c:pt>
                <c:pt idx="115">
                  <c:v>0.94899999999999995</c:v>
                </c:pt>
                <c:pt idx="116">
                  <c:v>0.92800000000000005</c:v>
                </c:pt>
                <c:pt idx="117">
                  <c:v>0.92300000000000004</c:v>
                </c:pt>
                <c:pt idx="118">
                  <c:v>0.92100000000000004</c:v>
                </c:pt>
                <c:pt idx="119">
                  <c:v>0.78600000000000003</c:v>
                </c:pt>
                <c:pt idx="120">
                  <c:v>0.81699999999999995</c:v>
                </c:pt>
                <c:pt idx="121">
                  <c:v>0.89500000000000002</c:v>
                </c:pt>
                <c:pt idx="122">
                  <c:v>0.94399999999999995</c:v>
                </c:pt>
                <c:pt idx="123">
                  <c:v>0.82399999999999995</c:v>
                </c:pt>
                <c:pt idx="124">
                  <c:v>0.89400000000000002</c:v>
                </c:pt>
                <c:pt idx="125">
                  <c:v>0.98099999999999998</c:v>
                </c:pt>
                <c:pt idx="126">
                  <c:v>0.82799999999999996</c:v>
                </c:pt>
                <c:pt idx="127">
                  <c:v>0.93200000000000005</c:v>
                </c:pt>
                <c:pt idx="128">
                  <c:v>0.77100000000000002</c:v>
                </c:pt>
                <c:pt idx="129">
                  <c:v>0.83299999999999996</c:v>
                </c:pt>
                <c:pt idx="130">
                  <c:v>0.85</c:v>
                </c:pt>
                <c:pt idx="131">
                  <c:v>0.96199999999999997</c:v>
                </c:pt>
                <c:pt idx="132">
                  <c:v>0.64</c:v>
                </c:pt>
                <c:pt idx="133">
                  <c:v>0.82799999999999996</c:v>
                </c:pt>
                <c:pt idx="134">
                  <c:v>0.80800000000000005</c:v>
                </c:pt>
                <c:pt idx="135">
                  <c:v>0.76</c:v>
                </c:pt>
                <c:pt idx="136">
                  <c:v>0.82099999999999995</c:v>
                </c:pt>
                <c:pt idx="137">
                  <c:v>0.80500000000000005</c:v>
                </c:pt>
                <c:pt idx="138">
                  <c:v>0.83199999999999996</c:v>
                </c:pt>
                <c:pt idx="139">
                  <c:v>0.89600000000000002</c:v>
                </c:pt>
                <c:pt idx="140">
                  <c:v>0.84799999999999998</c:v>
                </c:pt>
                <c:pt idx="141">
                  <c:v>0.81599999999999995</c:v>
                </c:pt>
                <c:pt idx="142">
                  <c:v>0.84299999999999997</c:v>
                </c:pt>
                <c:pt idx="143">
                  <c:v>0.93899999999999995</c:v>
                </c:pt>
                <c:pt idx="144">
                  <c:v>0.81399999999999995</c:v>
                </c:pt>
                <c:pt idx="145">
                  <c:v>0.95</c:v>
                </c:pt>
                <c:pt idx="146">
                  <c:v>0.91400000000000003</c:v>
                </c:pt>
                <c:pt idx="147">
                  <c:v>0.73199999999999998</c:v>
                </c:pt>
                <c:pt idx="148">
                  <c:v>0.63100000000000001</c:v>
                </c:pt>
                <c:pt idx="149">
                  <c:v>0.95199999999999996</c:v>
                </c:pt>
                <c:pt idx="150">
                  <c:v>0.77200000000000002</c:v>
                </c:pt>
                <c:pt idx="151">
                  <c:v>0.83199999999999996</c:v>
                </c:pt>
                <c:pt idx="152">
                  <c:v>0.81699999999999995</c:v>
                </c:pt>
                <c:pt idx="153">
                  <c:v>0.75600000000000001</c:v>
                </c:pt>
                <c:pt idx="154">
                  <c:v>0.75700000000000001</c:v>
                </c:pt>
                <c:pt idx="155">
                  <c:v>0.90800000000000003</c:v>
                </c:pt>
                <c:pt idx="156">
                  <c:v>0.78200000000000003</c:v>
                </c:pt>
                <c:pt idx="157">
                  <c:v>0.84099999999999997</c:v>
                </c:pt>
                <c:pt idx="158">
                  <c:v>0.97499999999999998</c:v>
                </c:pt>
                <c:pt idx="159">
                  <c:v>0.83199999999999996</c:v>
                </c:pt>
                <c:pt idx="160">
                  <c:v>0.82099999999999995</c:v>
                </c:pt>
                <c:pt idx="161">
                  <c:v>0.57099999999999995</c:v>
                </c:pt>
                <c:pt idx="162">
                  <c:v>0.60399999999999998</c:v>
                </c:pt>
                <c:pt idx="163">
                  <c:v>0.82</c:v>
                </c:pt>
                <c:pt idx="164">
                  <c:v>0.88</c:v>
                </c:pt>
                <c:pt idx="165">
                  <c:v>0.76200000000000001</c:v>
                </c:pt>
                <c:pt idx="166">
                  <c:v>0.95299999999999996</c:v>
                </c:pt>
                <c:pt idx="167">
                  <c:v>0.84799999999999998</c:v>
                </c:pt>
                <c:pt idx="168">
                  <c:v>0.748</c:v>
                </c:pt>
                <c:pt idx="169">
                  <c:v>0.88500000000000001</c:v>
                </c:pt>
                <c:pt idx="170">
                  <c:v>0.97</c:v>
                </c:pt>
                <c:pt idx="171">
                  <c:v>0.99299999999999999</c:v>
                </c:pt>
                <c:pt idx="172">
                  <c:v>0.91800000000000004</c:v>
                </c:pt>
                <c:pt idx="173">
                  <c:v>0.89400000000000002</c:v>
                </c:pt>
                <c:pt idx="174">
                  <c:v>0.85</c:v>
                </c:pt>
                <c:pt idx="175">
                  <c:v>0.69399999999999995</c:v>
                </c:pt>
                <c:pt idx="176">
                  <c:v>0.92100000000000004</c:v>
                </c:pt>
                <c:pt idx="177">
                  <c:v>0.80900000000000005</c:v>
                </c:pt>
                <c:pt idx="178">
                  <c:v>0.79400000000000004</c:v>
                </c:pt>
                <c:pt idx="179">
                  <c:v>0.871</c:v>
                </c:pt>
                <c:pt idx="180">
                  <c:v>0.80800000000000005</c:v>
                </c:pt>
                <c:pt idx="181">
                  <c:v>0.73699999999999999</c:v>
                </c:pt>
                <c:pt idx="182">
                  <c:v>0.88500000000000001</c:v>
                </c:pt>
                <c:pt idx="183">
                  <c:v>0.82499999999999996</c:v>
                </c:pt>
                <c:pt idx="184">
                  <c:v>0.80600000000000005</c:v>
                </c:pt>
                <c:pt idx="185">
                  <c:v>0.80500000000000005</c:v>
                </c:pt>
                <c:pt idx="186">
                  <c:v>0.81499999999999995</c:v>
                </c:pt>
                <c:pt idx="187">
                  <c:v>0.84399999999999997</c:v>
                </c:pt>
                <c:pt idx="188">
                  <c:v>0.745</c:v>
                </c:pt>
                <c:pt idx="189">
                  <c:v>0.90700000000000003</c:v>
                </c:pt>
                <c:pt idx="190">
                  <c:v>0.86799999999999999</c:v>
                </c:pt>
                <c:pt idx="191">
                  <c:v>0.99199999999999999</c:v>
                </c:pt>
                <c:pt idx="192">
                  <c:v>0.82</c:v>
                </c:pt>
                <c:pt idx="193">
                  <c:v>0.82199999999999995</c:v>
                </c:pt>
                <c:pt idx="194">
                  <c:v>0.82399999999999995</c:v>
                </c:pt>
                <c:pt idx="195">
                  <c:v>0.72499999999999998</c:v>
                </c:pt>
                <c:pt idx="196">
                  <c:v>0.80500000000000005</c:v>
                </c:pt>
                <c:pt idx="197">
                  <c:v>0.79700000000000004</c:v>
                </c:pt>
                <c:pt idx="198">
                  <c:v>0.77800000000000002</c:v>
                </c:pt>
                <c:pt idx="199">
                  <c:v>0.79200000000000004</c:v>
                </c:pt>
                <c:pt idx="200">
                  <c:v>0.78200000000000003</c:v>
                </c:pt>
                <c:pt idx="201">
                  <c:v>0.72499999999999998</c:v>
                </c:pt>
                <c:pt idx="202">
                  <c:v>0.78</c:v>
                </c:pt>
                <c:pt idx="203">
                  <c:v>0.76700000000000002</c:v>
                </c:pt>
                <c:pt idx="204">
                  <c:v>0.82699999999999996</c:v>
                </c:pt>
                <c:pt idx="205">
                  <c:v>0.83199999999999996</c:v>
                </c:pt>
                <c:pt idx="206">
                  <c:v>0.78600000000000003</c:v>
                </c:pt>
                <c:pt idx="207">
                  <c:v>0.73199999999999998</c:v>
                </c:pt>
                <c:pt idx="208">
                  <c:v>0.72899999999999998</c:v>
                </c:pt>
                <c:pt idx="209">
                  <c:v>0.90900000000000003</c:v>
                </c:pt>
                <c:pt idx="210">
                  <c:v>0.84299999999999997</c:v>
                </c:pt>
                <c:pt idx="211">
                  <c:v>0.76900000000000002</c:v>
                </c:pt>
                <c:pt idx="212">
                  <c:v>0.59199999999999997</c:v>
                </c:pt>
                <c:pt idx="213">
                  <c:v>0.75600000000000001</c:v>
                </c:pt>
                <c:pt idx="214">
                  <c:v>0.80800000000000005</c:v>
                </c:pt>
                <c:pt idx="215">
                  <c:v>0.91300000000000003</c:v>
                </c:pt>
                <c:pt idx="216">
                  <c:v>0.80900000000000005</c:v>
                </c:pt>
                <c:pt idx="217">
                  <c:v>0.91600000000000004</c:v>
                </c:pt>
                <c:pt idx="218">
                  <c:v>0.89100000000000001</c:v>
                </c:pt>
                <c:pt idx="219">
                  <c:v>0.76</c:v>
                </c:pt>
                <c:pt idx="220">
                  <c:v>0.75700000000000001</c:v>
                </c:pt>
                <c:pt idx="221">
                  <c:v>0.85899999999999999</c:v>
                </c:pt>
                <c:pt idx="222">
                  <c:v>0.71599999999999997</c:v>
                </c:pt>
                <c:pt idx="223">
                  <c:v>0.80900000000000005</c:v>
                </c:pt>
                <c:pt idx="224">
                  <c:v>0.76</c:v>
                </c:pt>
                <c:pt idx="225">
                  <c:v>0.82</c:v>
                </c:pt>
                <c:pt idx="226">
                  <c:v>0.69499999999999995</c:v>
                </c:pt>
                <c:pt idx="227">
                  <c:v>0.69599999999999995</c:v>
                </c:pt>
                <c:pt idx="228">
                  <c:v>0.76700000000000002</c:v>
                </c:pt>
                <c:pt idx="229">
                  <c:v>0.86699999999999999</c:v>
                </c:pt>
                <c:pt idx="230">
                  <c:v>0.78800000000000003</c:v>
                </c:pt>
                <c:pt idx="231">
                  <c:v>0.91400000000000003</c:v>
                </c:pt>
                <c:pt idx="232">
                  <c:v>0.80300000000000005</c:v>
                </c:pt>
                <c:pt idx="233">
                  <c:v>0.92900000000000005</c:v>
                </c:pt>
                <c:pt idx="234">
                  <c:v>0.80100000000000005</c:v>
                </c:pt>
                <c:pt idx="235">
                  <c:v>0.92</c:v>
                </c:pt>
                <c:pt idx="236">
                  <c:v>0.91100000000000003</c:v>
                </c:pt>
                <c:pt idx="237">
                  <c:v>0.63800000000000001</c:v>
                </c:pt>
                <c:pt idx="238">
                  <c:v>0.82199999999999995</c:v>
                </c:pt>
                <c:pt idx="239">
                  <c:v>0.79700000000000004</c:v>
                </c:pt>
                <c:pt idx="240">
                  <c:v>0.84799999999999998</c:v>
                </c:pt>
                <c:pt idx="241">
                  <c:v>0.91200000000000003</c:v>
                </c:pt>
                <c:pt idx="242">
                  <c:v>0.92100000000000004</c:v>
                </c:pt>
                <c:pt idx="243">
                  <c:v>0.69599999999999995</c:v>
                </c:pt>
                <c:pt idx="244">
                  <c:v>0.85799999999999998</c:v>
                </c:pt>
                <c:pt idx="245">
                  <c:v>0.91200000000000003</c:v>
                </c:pt>
                <c:pt idx="246">
                  <c:v>0.82</c:v>
                </c:pt>
                <c:pt idx="247">
                  <c:v>0.78700000000000003</c:v>
                </c:pt>
                <c:pt idx="248">
                  <c:v>0.95899999999999996</c:v>
                </c:pt>
                <c:pt idx="249">
                  <c:v>0.82099999999999995</c:v>
                </c:pt>
                <c:pt idx="250">
                  <c:v>0.76600000000000001</c:v>
                </c:pt>
                <c:pt idx="251">
                  <c:v>0.86699999999999999</c:v>
                </c:pt>
                <c:pt idx="252">
                  <c:v>0.65100000000000002</c:v>
                </c:pt>
                <c:pt idx="253">
                  <c:v>0.81200000000000006</c:v>
                </c:pt>
                <c:pt idx="254">
                  <c:v>0.90200000000000002</c:v>
                </c:pt>
                <c:pt idx="255">
                  <c:v>0.84899999999999998</c:v>
                </c:pt>
                <c:pt idx="256">
                  <c:v>0.55300000000000005</c:v>
                </c:pt>
                <c:pt idx="257">
                  <c:v>0.69699999999999995</c:v>
                </c:pt>
                <c:pt idx="258">
                  <c:v>0.78800000000000003</c:v>
                </c:pt>
                <c:pt idx="259">
                  <c:v>0.85799999999999998</c:v>
                </c:pt>
                <c:pt idx="260">
                  <c:v>0.443</c:v>
                </c:pt>
                <c:pt idx="261">
                  <c:v>0.94499999999999995</c:v>
                </c:pt>
                <c:pt idx="262">
                  <c:v>0.96199999999999997</c:v>
                </c:pt>
                <c:pt idx="263">
                  <c:v>0.83899999999999997</c:v>
                </c:pt>
                <c:pt idx="264">
                  <c:v>0.92600000000000005</c:v>
                </c:pt>
                <c:pt idx="265">
                  <c:v>0.76700000000000002</c:v>
                </c:pt>
                <c:pt idx="266">
                  <c:v>0.85799999999999998</c:v>
                </c:pt>
                <c:pt idx="267">
                  <c:v>0.94</c:v>
                </c:pt>
                <c:pt idx="268">
                  <c:v>0.76400000000000001</c:v>
                </c:pt>
                <c:pt idx="269">
                  <c:v>0.82099999999999995</c:v>
                </c:pt>
                <c:pt idx="270">
                  <c:v>0.65600000000000003</c:v>
                </c:pt>
                <c:pt idx="271">
                  <c:v>0.72299999999999998</c:v>
                </c:pt>
                <c:pt idx="272">
                  <c:v>0.81599999999999995</c:v>
                </c:pt>
                <c:pt idx="273">
                  <c:v>0.78200000000000003</c:v>
                </c:pt>
                <c:pt idx="274">
                  <c:v>0.83199999999999996</c:v>
                </c:pt>
                <c:pt idx="275">
                  <c:v>0.81299999999999994</c:v>
                </c:pt>
                <c:pt idx="276">
                  <c:v>0.85499999999999998</c:v>
                </c:pt>
                <c:pt idx="277">
                  <c:v>0.84299999999999997</c:v>
                </c:pt>
                <c:pt idx="278">
                  <c:v>0.83</c:v>
                </c:pt>
                <c:pt idx="279">
                  <c:v>0.90300000000000002</c:v>
                </c:pt>
                <c:pt idx="280">
                  <c:v>0.77100000000000002</c:v>
                </c:pt>
                <c:pt idx="281">
                  <c:v>0.78400000000000003</c:v>
                </c:pt>
                <c:pt idx="282">
                  <c:v>0.78100000000000003</c:v>
                </c:pt>
                <c:pt idx="283">
                  <c:v>0.89800000000000002</c:v>
                </c:pt>
                <c:pt idx="284">
                  <c:v>0.86599999999999999</c:v>
                </c:pt>
                <c:pt idx="285">
                  <c:v>0.82</c:v>
                </c:pt>
                <c:pt idx="286">
                  <c:v>0.80800000000000005</c:v>
                </c:pt>
                <c:pt idx="287">
                  <c:v>0.55300000000000005</c:v>
                </c:pt>
                <c:pt idx="288">
                  <c:v>0.73799999999999999</c:v>
                </c:pt>
                <c:pt idx="289">
                  <c:v>0.92100000000000004</c:v>
                </c:pt>
                <c:pt idx="290">
                  <c:v>0.72599999999999998</c:v>
                </c:pt>
                <c:pt idx="291">
                  <c:v>0.65700000000000003</c:v>
                </c:pt>
                <c:pt idx="292">
                  <c:v>0.95799999999999996</c:v>
                </c:pt>
                <c:pt idx="293">
                  <c:v>0.76300000000000001</c:v>
                </c:pt>
                <c:pt idx="294">
                  <c:v>0.66</c:v>
                </c:pt>
                <c:pt idx="295">
                  <c:v>0.76400000000000001</c:v>
                </c:pt>
                <c:pt idx="296">
                  <c:v>0.78700000000000003</c:v>
                </c:pt>
                <c:pt idx="297">
                  <c:v>0.71099999999999997</c:v>
                </c:pt>
                <c:pt idx="298">
                  <c:v>0.65400000000000003</c:v>
                </c:pt>
                <c:pt idx="299">
                  <c:v>0.82299999999999995</c:v>
                </c:pt>
                <c:pt idx="300">
                  <c:v>0.94599999999999995</c:v>
                </c:pt>
                <c:pt idx="301">
                  <c:v>0.65100000000000002</c:v>
                </c:pt>
                <c:pt idx="302">
                  <c:v>0.64</c:v>
                </c:pt>
                <c:pt idx="303">
                  <c:v>0.81599999999999995</c:v>
                </c:pt>
                <c:pt idx="304">
                  <c:v>0.73599999999999999</c:v>
                </c:pt>
                <c:pt idx="305">
                  <c:v>0.66100000000000003</c:v>
                </c:pt>
                <c:pt idx="306">
                  <c:v>0.76</c:v>
                </c:pt>
                <c:pt idx="307">
                  <c:v>0.84499999999999997</c:v>
                </c:pt>
                <c:pt idx="308">
                  <c:v>0.80500000000000005</c:v>
                </c:pt>
                <c:pt idx="309">
                  <c:v>0.70499999999999996</c:v>
                </c:pt>
                <c:pt idx="310">
                  <c:v>0.76700000000000002</c:v>
                </c:pt>
                <c:pt idx="311">
                  <c:v>0.44700000000000001</c:v>
                </c:pt>
                <c:pt idx="312">
                  <c:v>2E-3</c:v>
                </c:pt>
                <c:pt idx="313">
                  <c:v>0.85399999999999998</c:v>
                </c:pt>
                <c:pt idx="314">
                  <c:v>0.65600000000000003</c:v>
                </c:pt>
                <c:pt idx="315">
                  <c:v>0.7</c:v>
                </c:pt>
                <c:pt idx="316">
                  <c:v>0.40300000000000002</c:v>
                </c:pt>
                <c:pt idx="317">
                  <c:v>0.60199999999999998</c:v>
                </c:pt>
                <c:pt idx="318">
                  <c:v>0.95499999999999996</c:v>
                </c:pt>
                <c:pt idx="319">
                  <c:v>0.78100000000000003</c:v>
                </c:pt>
                <c:pt idx="320">
                  <c:v>0.873</c:v>
                </c:pt>
                <c:pt idx="321">
                  <c:v>0.70899999999999996</c:v>
                </c:pt>
                <c:pt idx="322">
                  <c:v>0.81200000000000006</c:v>
                </c:pt>
                <c:pt idx="323">
                  <c:v>0.751</c:v>
                </c:pt>
                <c:pt idx="324">
                  <c:v>0.86699999999999999</c:v>
                </c:pt>
                <c:pt idx="325">
                  <c:v>0.79200000000000004</c:v>
                </c:pt>
                <c:pt idx="326">
                  <c:v>0.71199999999999997</c:v>
                </c:pt>
                <c:pt idx="327">
                  <c:v>0.80500000000000005</c:v>
                </c:pt>
                <c:pt idx="328">
                  <c:v>0.88700000000000001</c:v>
                </c:pt>
                <c:pt idx="329">
                  <c:v>0.623</c:v>
                </c:pt>
                <c:pt idx="330">
                  <c:v>0.68799999999999994</c:v>
                </c:pt>
                <c:pt idx="331">
                  <c:v>0.81599999999999995</c:v>
                </c:pt>
                <c:pt idx="332">
                  <c:v>0.78</c:v>
                </c:pt>
                <c:pt idx="333">
                  <c:v>0.94899999999999995</c:v>
                </c:pt>
                <c:pt idx="334">
                  <c:v>0.69899999999999995</c:v>
                </c:pt>
                <c:pt idx="335">
                  <c:v>0.81699999999999995</c:v>
                </c:pt>
                <c:pt idx="336">
                  <c:v>0.44700000000000001</c:v>
                </c:pt>
                <c:pt idx="337">
                  <c:v>0.89</c:v>
                </c:pt>
                <c:pt idx="338">
                  <c:v>0.877</c:v>
                </c:pt>
                <c:pt idx="339">
                  <c:v>0.68300000000000005</c:v>
                </c:pt>
                <c:pt idx="340">
                  <c:v>0.82199999999999995</c:v>
                </c:pt>
                <c:pt idx="341">
                  <c:v>0.39600000000000002</c:v>
                </c:pt>
                <c:pt idx="342">
                  <c:v>0.76400000000000001</c:v>
                </c:pt>
                <c:pt idx="343">
                  <c:v>0.64600000000000002</c:v>
                </c:pt>
                <c:pt idx="344">
                  <c:v>0.85299999999999998</c:v>
                </c:pt>
                <c:pt idx="345">
                  <c:v>0.79400000000000004</c:v>
                </c:pt>
                <c:pt idx="346">
                  <c:v>0.69299999999999995</c:v>
                </c:pt>
                <c:pt idx="347">
                  <c:v>0.82</c:v>
                </c:pt>
                <c:pt idx="348">
                  <c:v>0.80400000000000005</c:v>
                </c:pt>
                <c:pt idx="349">
                  <c:v>0.77400000000000002</c:v>
                </c:pt>
                <c:pt idx="350">
                  <c:v>0.76700000000000002</c:v>
                </c:pt>
                <c:pt idx="351">
                  <c:v>0.66300000000000003</c:v>
                </c:pt>
                <c:pt idx="352">
                  <c:v>0.86599999999999999</c:v>
                </c:pt>
                <c:pt idx="353">
                  <c:v>0.45600000000000002</c:v>
                </c:pt>
                <c:pt idx="354">
                  <c:v>0.73899999999999999</c:v>
                </c:pt>
                <c:pt idx="355">
                  <c:v>0.752</c:v>
                </c:pt>
                <c:pt idx="356">
                  <c:v>0.92400000000000004</c:v>
                </c:pt>
                <c:pt idx="357">
                  <c:v>0.754</c:v>
                </c:pt>
                <c:pt idx="358">
                  <c:v>0.60299999999999998</c:v>
                </c:pt>
                <c:pt idx="359">
                  <c:v>0.60599999999999998</c:v>
                </c:pt>
                <c:pt idx="360">
                  <c:v>0.61899999999999999</c:v>
                </c:pt>
                <c:pt idx="361">
                  <c:v>0.71599999999999997</c:v>
                </c:pt>
                <c:pt idx="362">
                  <c:v>0.82499999999999996</c:v>
                </c:pt>
                <c:pt idx="363">
                  <c:v>0.68100000000000005</c:v>
                </c:pt>
                <c:pt idx="364">
                  <c:v>0.78200000000000003</c:v>
                </c:pt>
                <c:pt idx="365">
                  <c:v>0.79300000000000004</c:v>
                </c:pt>
                <c:pt idx="366">
                  <c:v>0.73199999999999998</c:v>
                </c:pt>
                <c:pt idx="367">
                  <c:v>0.437</c:v>
                </c:pt>
                <c:pt idx="368">
                  <c:v>0.81499999999999995</c:v>
                </c:pt>
                <c:pt idx="369">
                  <c:v>0.78900000000000003</c:v>
                </c:pt>
                <c:pt idx="370">
                  <c:v>0.78900000000000003</c:v>
                </c:pt>
                <c:pt idx="371">
                  <c:v>0.77900000000000003</c:v>
                </c:pt>
                <c:pt idx="372">
                  <c:v>0.77900000000000003</c:v>
                </c:pt>
                <c:pt idx="373">
                  <c:v>0.754</c:v>
                </c:pt>
                <c:pt idx="374">
                  <c:v>0.54</c:v>
                </c:pt>
                <c:pt idx="375">
                  <c:v>0.753</c:v>
                </c:pt>
                <c:pt idx="376">
                  <c:v>0.626</c:v>
                </c:pt>
                <c:pt idx="377">
                  <c:v>0.79</c:v>
                </c:pt>
                <c:pt idx="378">
                  <c:v>0.66500000000000004</c:v>
                </c:pt>
                <c:pt idx="379">
                  <c:v>0.73499999999999999</c:v>
                </c:pt>
                <c:pt idx="380">
                  <c:v>0.86</c:v>
                </c:pt>
                <c:pt idx="381">
                  <c:v>0.65200000000000002</c:v>
                </c:pt>
                <c:pt idx="382">
                  <c:v>0.86599999999999999</c:v>
                </c:pt>
                <c:pt idx="383">
                  <c:v>0.86699999999999999</c:v>
                </c:pt>
                <c:pt idx="384">
                  <c:v>0.748</c:v>
                </c:pt>
                <c:pt idx="385">
                  <c:v>0.86499999999999999</c:v>
                </c:pt>
                <c:pt idx="386">
                  <c:v>0.35299999999999998</c:v>
                </c:pt>
                <c:pt idx="387">
                  <c:v>0.74099999999999999</c:v>
                </c:pt>
                <c:pt idx="388">
                  <c:v>0.82899999999999996</c:v>
                </c:pt>
                <c:pt idx="389">
                  <c:v>0.83199999999999996</c:v>
                </c:pt>
                <c:pt idx="390">
                  <c:v>0.44700000000000001</c:v>
                </c:pt>
                <c:pt idx="391">
                  <c:v>0.88</c:v>
                </c:pt>
                <c:pt idx="392">
                  <c:v>0.623</c:v>
                </c:pt>
                <c:pt idx="393">
                  <c:v>0.77800000000000002</c:v>
                </c:pt>
                <c:pt idx="394">
                  <c:v>0.39400000000000002</c:v>
                </c:pt>
                <c:pt idx="395">
                  <c:v>0.77900000000000003</c:v>
                </c:pt>
                <c:pt idx="396">
                  <c:v>0.67800000000000005</c:v>
                </c:pt>
                <c:pt idx="397">
                  <c:v>0.65500000000000003</c:v>
                </c:pt>
                <c:pt idx="398">
                  <c:v>0.78600000000000003</c:v>
                </c:pt>
                <c:pt idx="399">
                  <c:v>0.80500000000000005</c:v>
                </c:pt>
                <c:pt idx="400">
                  <c:v>0.64100000000000001</c:v>
                </c:pt>
                <c:pt idx="401">
                  <c:v>0.70899999999999996</c:v>
                </c:pt>
                <c:pt idx="402">
                  <c:v>0.77400000000000002</c:v>
                </c:pt>
                <c:pt idx="403">
                  <c:v>0.66900000000000004</c:v>
                </c:pt>
                <c:pt idx="404">
                  <c:v>0.39400000000000002</c:v>
                </c:pt>
                <c:pt idx="405">
                  <c:v>0.74</c:v>
                </c:pt>
                <c:pt idx="406">
                  <c:v>0.81200000000000006</c:v>
                </c:pt>
                <c:pt idx="407">
                  <c:v>0.41099999999999998</c:v>
                </c:pt>
                <c:pt idx="408">
                  <c:v>0.77800000000000002</c:v>
                </c:pt>
                <c:pt idx="409">
                  <c:v>0.82399999999999995</c:v>
                </c:pt>
                <c:pt idx="410">
                  <c:v>0.83</c:v>
                </c:pt>
                <c:pt idx="411">
                  <c:v>0.63500000000000001</c:v>
                </c:pt>
                <c:pt idx="412">
                  <c:v>0.67500000000000004</c:v>
                </c:pt>
                <c:pt idx="413">
                  <c:v>0.82</c:v>
                </c:pt>
                <c:pt idx="414">
                  <c:v>0.63600000000000001</c:v>
                </c:pt>
                <c:pt idx="415">
                  <c:v>0.63400000000000001</c:v>
                </c:pt>
                <c:pt idx="416">
                  <c:v>0.64600000000000002</c:v>
                </c:pt>
                <c:pt idx="417">
                  <c:v>0.66500000000000004</c:v>
                </c:pt>
                <c:pt idx="418">
                  <c:v>0.85699999999999998</c:v>
                </c:pt>
                <c:pt idx="419">
                  <c:v>0.61799999999999999</c:v>
                </c:pt>
                <c:pt idx="420">
                  <c:v>0.69199999999999995</c:v>
                </c:pt>
                <c:pt idx="421">
                  <c:v>0.45600000000000002</c:v>
                </c:pt>
                <c:pt idx="422">
                  <c:v>0.64100000000000001</c:v>
                </c:pt>
                <c:pt idx="423">
                  <c:v>0.67200000000000004</c:v>
                </c:pt>
                <c:pt idx="424">
                  <c:v>0.45600000000000002</c:v>
                </c:pt>
                <c:pt idx="425">
                  <c:v>0.45200000000000001</c:v>
                </c:pt>
                <c:pt idx="426">
                  <c:v>0.79</c:v>
                </c:pt>
                <c:pt idx="427">
                  <c:v>0.35199999999999998</c:v>
                </c:pt>
                <c:pt idx="428">
                  <c:v>0.67900000000000005</c:v>
                </c:pt>
                <c:pt idx="429">
                  <c:v>0.36</c:v>
                </c:pt>
                <c:pt idx="430">
                  <c:v>0.81200000000000006</c:v>
                </c:pt>
                <c:pt idx="431">
                  <c:v>0.49399999999999999</c:v>
                </c:pt>
                <c:pt idx="432">
                  <c:v>0.84599999999999997</c:v>
                </c:pt>
                <c:pt idx="433">
                  <c:v>0.106</c:v>
                </c:pt>
                <c:pt idx="434">
                  <c:v>0.55000000000000004</c:v>
                </c:pt>
                <c:pt idx="435">
                  <c:v>0.72299999999999998</c:v>
                </c:pt>
                <c:pt idx="436">
                  <c:v>0.434</c:v>
                </c:pt>
                <c:pt idx="437">
                  <c:v>0.28100000000000003</c:v>
                </c:pt>
                <c:pt idx="438">
                  <c:v>0.60799999999999998</c:v>
                </c:pt>
                <c:pt idx="439">
                  <c:v>0.39900000000000002</c:v>
                </c:pt>
                <c:pt idx="440">
                  <c:v>0.88900000000000001</c:v>
                </c:pt>
                <c:pt idx="441">
                  <c:v>0.63300000000000001</c:v>
                </c:pt>
                <c:pt idx="442">
                  <c:v>0.65100000000000002</c:v>
                </c:pt>
                <c:pt idx="443">
                  <c:v>0.68600000000000005</c:v>
                </c:pt>
                <c:pt idx="444">
                  <c:v>0.70899999999999996</c:v>
                </c:pt>
                <c:pt idx="445">
                  <c:v>0.39300000000000002</c:v>
                </c:pt>
                <c:pt idx="446">
                  <c:v>0.03</c:v>
                </c:pt>
                <c:pt idx="447">
                  <c:v>0.44700000000000001</c:v>
                </c:pt>
                <c:pt idx="448">
                  <c:v>0.65900000000000003</c:v>
                </c:pt>
                <c:pt idx="449">
                  <c:v>0.63200000000000001</c:v>
                </c:pt>
                <c:pt idx="450">
                  <c:v>0.77</c:v>
                </c:pt>
                <c:pt idx="451">
                  <c:v>0.77800000000000002</c:v>
                </c:pt>
                <c:pt idx="452">
                  <c:v>0.66300000000000003</c:v>
                </c:pt>
                <c:pt idx="453">
                  <c:v>0.64300000000000002</c:v>
                </c:pt>
                <c:pt idx="454">
                  <c:v>0.68300000000000005</c:v>
                </c:pt>
                <c:pt idx="455">
                  <c:v>0.75800000000000001</c:v>
                </c:pt>
                <c:pt idx="456">
                  <c:v>0.66800000000000004</c:v>
                </c:pt>
                <c:pt idx="457">
                  <c:v>0.61799999999999999</c:v>
                </c:pt>
                <c:pt idx="458">
                  <c:v>0.63600000000000001</c:v>
                </c:pt>
                <c:pt idx="459">
                  <c:v>0.58799999999999997</c:v>
                </c:pt>
                <c:pt idx="460">
                  <c:v>0.69799999999999995</c:v>
                </c:pt>
                <c:pt idx="461">
                  <c:v>0.186</c:v>
                </c:pt>
                <c:pt idx="462">
                  <c:v>0.70899999999999996</c:v>
                </c:pt>
                <c:pt idx="463">
                  <c:v>0.58699999999999997</c:v>
                </c:pt>
                <c:pt idx="464">
                  <c:v>0.78100000000000003</c:v>
                </c:pt>
                <c:pt idx="465">
                  <c:v>0.85299999999999998</c:v>
                </c:pt>
                <c:pt idx="466">
                  <c:v>0.30199999999999999</c:v>
                </c:pt>
                <c:pt idx="467">
                  <c:v>0.63</c:v>
                </c:pt>
                <c:pt idx="468">
                  <c:v>0.79800000000000004</c:v>
                </c:pt>
                <c:pt idx="469">
                  <c:v>0.81299999999999994</c:v>
                </c:pt>
                <c:pt idx="470">
                  <c:v>0.52700000000000002</c:v>
                </c:pt>
                <c:pt idx="471">
                  <c:v>0.22800000000000001</c:v>
                </c:pt>
                <c:pt idx="472">
                  <c:v>0.29099999999999998</c:v>
                </c:pt>
                <c:pt idx="473">
                  <c:v>0.59699999999999998</c:v>
                </c:pt>
                <c:pt idx="474">
                  <c:v>0.59599999999999997</c:v>
                </c:pt>
                <c:pt idx="475">
                  <c:v>0.42499999999999999</c:v>
                </c:pt>
                <c:pt idx="476">
                  <c:v>0.81699999999999995</c:v>
                </c:pt>
                <c:pt idx="477">
                  <c:v>0.434</c:v>
                </c:pt>
                <c:pt idx="478">
                  <c:v>0.69399999999999995</c:v>
                </c:pt>
                <c:pt idx="479">
                  <c:v>0.59399999999999997</c:v>
                </c:pt>
                <c:pt idx="480">
                  <c:v>0.75800000000000001</c:v>
                </c:pt>
                <c:pt idx="481">
                  <c:v>0.752</c:v>
                </c:pt>
                <c:pt idx="482">
                  <c:v>0.69299999999999995</c:v>
                </c:pt>
                <c:pt idx="483">
                  <c:v>0.79500000000000004</c:v>
                </c:pt>
                <c:pt idx="484">
                  <c:v>0.78600000000000003</c:v>
                </c:pt>
                <c:pt idx="485">
                  <c:v>0.82299999999999995</c:v>
                </c:pt>
                <c:pt idx="486">
                  <c:v>0.41099999999999998</c:v>
                </c:pt>
                <c:pt idx="487">
                  <c:v>0.63800000000000001</c:v>
                </c:pt>
                <c:pt idx="488">
                  <c:v>0.49399999999999999</c:v>
                </c:pt>
                <c:pt idx="489">
                  <c:v>0.71299999999999997</c:v>
                </c:pt>
                <c:pt idx="490">
                  <c:v>0.75900000000000001</c:v>
                </c:pt>
                <c:pt idx="491">
                  <c:v>0.64</c:v>
                </c:pt>
                <c:pt idx="492">
                  <c:v>0.72099999999999997</c:v>
                </c:pt>
                <c:pt idx="493">
                  <c:v>0.35399999999999998</c:v>
                </c:pt>
                <c:pt idx="494">
                  <c:v>0.72699999999999998</c:v>
                </c:pt>
                <c:pt idx="495">
                  <c:v>0.47099999999999997</c:v>
                </c:pt>
                <c:pt idx="496">
                  <c:v>0.69599999999999995</c:v>
                </c:pt>
                <c:pt idx="497">
                  <c:v>0.56999999999999995</c:v>
                </c:pt>
                <c:pt idx="498">
                  <c:v>0.59899999999999998</c:v>
                </c:pt>
                <c:pt idx="499">
                  <c:v>0.76</c:v>
                </c:pt>
                <c:pt idx="500">
                  <c:v>0.8</c:v>
                </c:pt>
                <c:pt idx="501">
                  <c:v>0.61699999999999999</c:v>
                </c:pt>
                <c:pt idx="502">
                  <c:v>0.40200000000000002</c:v>
                </c:pt>
                <c:pt idx="503">
                  <c:v>0.56799999999999995</c:v>
                </c:pt>
                <c:pt idx="504">
                  <c:v>0.46300000000000002</c:v>
                </c:pt>
                <c:pt idx="505">
                  <c:v>0.57699999999999996</c:v>
                </c:pt>
                <c:pt idx="506">
                  <c:v>0.68899999999999995</c:v>
                </c:pt>
                <c:pt idx="507">
                  <c:v>0.72099999999999997</c:v>
                </c:pt>
                <c:pt idx="508">
                  <c:v>0.80400000000000005</c:v>
                </c:pt>
                <c:pt idx="509">
                  <c:v>0.75700000000000001</c:v>
                </c:pt>
                <c:pt idx="510">
                  <c:v>0.66600000000000004</c:v>
                </c:pt>
                <c:pt idx="511">
                  <c:v>0.77300000000000002</c:v>
                </c:pt>
                <c:pt idx="512">
                  <c:v>0.68300000000000005</c:v>
                </c:pt>
                <c:pt idx="513">
                  <c:v>0.86399999999999999</c:v>
                </c:pt>
                <c:pt idx="514">
                  <c:v>0.48299999999999998</c:v>
                </c:pt>
                <c:pt idx="515">
                  <c:v>0.58899999999999997</c:v>
                </c:pt>
                <c:pt idx="516">
                  <c:v>0.61</c:v>
                </c:pt>
                <c:pt idx="517">
                  <c:v>0.67700000000000005</c:v>
                </c:pt>
                <c:pt idx="518">
                  <c:v>0.53400000000000003</c:v>
                </c:pt>
                <c:pt idx="519">
                  <c:v>0.56899999999999995</c:v>
                </c:pt>
                <c:pt idx="520">
                  <c:v>0.67200000000000004</c:v>
                </c:pt>
                <c:pt idx="521">
                  <c:v>0.42599999999999999</c:v>
                </c:pt>
                <c:pt idx="522">
                  <c:v>0.318</c:v>
                </c:pt>
                <c:pt idx="523">
                  <c:v>0.68700000000000006</c:v>
                </c:pt>
                <c:pt idx="524">
                  <c:v>0.72599999999999998</c:v>
                </c:pt>
                <c:pt idx="525">
                  <c:v>0.52600000000000002</c:v>
                </c:pt>
                <c:pt idx="526">
                  <c:v>0.74199999999999999</c:v>
                </c:pt>
                <c:pt idx="527">
                  <c:v>0.495</c:v>
                </c:pt>
                <c:pt idx="528">
                  <c:v>0.71</c:v>
                </c:pt>
                <c:pt idx="529">
                  <c:v>0.75</c:v>
                </c:pt>
                <c:pt idx="530">
                  <c:v>0.41099999999999998</c:v>
                </c:pt>
                <c:pt idx="531">
                  <c:v>0.67200000000000004</c:v>
                </c:pt>
                <c:pt idx="532">
                  <c:v>0.27200000000000002</c:v>
                </c:pt>
                <c:pt idx="533">
                  <c:v>0.67100000000000004</c:v>
                </c:pt>
                <c:pt idx="534">
                  <c:v>0.73599999999999999</c:v>
                </c:pt>
                <c:pt idx="535">
                  <c:v>0.45400000000000001</c:v>
                </c:pt>
                <c:pt idx="536">
                  <c:v>0.68700000000000006</c:v>
                </c:pt>
                <c:pt idx="537">
                  <c:v>0.57399999999999995</c:v>
                </c:pt>
                <c:pt idx="538">
                  <c:v>0.73099999999999998</c:v>
                </c:pt>
                <c:pt idx="539">
                  <c:v>0.438</c:v>
                </c:pt>
                <c:pt idx="540">
                  <c:v>0.61499999999999999</c:v>
                </c:pt>
                <c:pt idx="541">
                  <c:v>0.58699999999999997</c:v>
                </c:pt>
                <c:pt idx="542">
                  <c:v>0.433</c:v>
                </c:pt>
                <c:pt idx="543">
                  <c:v>0.59299999999999997</c:v>
                </c:pt>
                <c:pt idx="544">
                  <c:v>0.505</c:v>
                </c:pt>
                <c:pt idx="545">
                  <c:v>0.45200000000000001</c:v>
                </c:pt>
                <c:pt idx="546">
                  <c:v>0.57699999999999996</c:v>
                </c:pt>
                <c:pt idx="547">
                  <c:v>0.68899999999999995</c:v>
                </c:pt>
                <c:pt idx="548">
                  <c:v>0.65600000000000003</c:v>
                </c:pt>
                <c:pt idx="549">
                  <c:v>0.45600000000000002</c:v>
                </c:pt>
                <c:pt idx="550">
                  <c:v>0.39300000000000002</c:v>
                </c:pt>
                <c:pt idx="551">
                  <c:v>0.42</c:v>
                </c:pt>
                <c:pt idx="552">
                  <c:v>0.80100000000000005</c:v>
                </c:pt>
                <c:pt idx="553">
                  <c:v>0.434</c:v>
                </c:pt>
                <c:pt idx="554">
                  <c:v>0.52600000000000002</c:v>
                </c:pt>
                <c:pt idx="555">
                  <c:v>0.54600000000000004</c:v>
                </c:pt>
                <c:pt idx="556">
                  <c:v>0.64300000000000002</c:v>
                </c:pt>
                <c:pt idx="557">
                  <c:v>0.443</c:v>
                </c:pt>
                <c:pt idx="558">
                  <c:v>0.497</c:v>
                </c:pt>
                <c:pt idx="559">
                  <c:v>0.61299999999999999</c:v>
                </c:pt>
                <c:pt idx="560">
                  <c:v>0.67600000000000005</c:v>
                </c:pt>
                <c:pt idx="561">
                  <c:v>0.64400000000000002</c:v>
                </c:pt>
                <c:pt idx="562">
                  <c:v>0.57399999999999995</c:v>
                </c:pt>
                <c:pt idx="563">
                  <c:v>0.61199999999999999</c:v>
                </c:pt>
                <c:pt idx="564">
                  <c:v>0.443</c:v>
                </c:pt>
                <c:pt idx="565">
                  <c:v>0.42899999999999999</c:v>
                </c:pt>
                <c:pt idx="566">
                  <c:v>0.51600000000000001</c:v>
                </c:pt>
                <c:pt idx="567">
                  <c:v>0.621</c:v>
                </c:pt>
                <c:pt idx="568">
                  <c:v>0.73599999999999999</c:v>
                </c:pt>
                <c:pt idx="569">
                  <c:v>0.84099999999999997</c:v>
                </c:pt>
                <c:pt idx="570">
                  <c:v>0.54600000000000004</c:v>
                </c:pt>
                <c:pt idx="571">
                  <c:v>0.72</c:v>
                </c:pt>
                <c:pt idx="572">
                  <c:v>0.80400000000000005</c:v>
                </c:pt>
                <c:pt idx="573">
                  <c:v>0.60799999999999998</c:v>
                </c:pt>
                <c:pt idx="574">
                  <c:v>0.32700000000000001</c:v>
                </c:pt>
                <c:pt idx="575">
                  <c:v>0.754</c:v>
                </c:pt>
                <c:pt idx="576">
                  <c:v>0.437</c:v>
                </c:pt>
                <c:pt idx="577">
                  <c:v>0.32900000000000001</c:v>
                </c:pt>
                <c:pt idx="578">
                  <c:v>0.48599999999999999</c:v>
                </c:pt>
                <c:pt idx="579">
                  <c:v>0.45100000000000001</c:v>
                </c:pt>
                <c:pt idx="580">
                  <c:v>0.78</c:v>
                </c:pt>
                <c:pt idx="581">
                  <c:v>0.76300000000000001</c:v>
                </c:pt>
                <c:pt idx="582">
                  <c:v>0.55200000000000005</c:v>
                </c:pt>
                <c:pt idx="583">
                  <c:v>0.502</c:v>
                </c:pt>
                <c:pt idx="584">
                  <c:v>0.373</c:v>
                </c:pt>
                <c:pt idx="585">
                  <c:v>0.69299999999999995</c:v>
                </c:pt>
                <c:pt idx="586">
                  <c:v>0.50800000000000001</c:v>
                </c:pt>
                <c:pt idx="587">
                  <c:v>0.33700000000000002</c:v>
                </c:pt>
                <c:pt idx="588">
                  <c:v>0.625</c:v>
                </c:pt>
                <c:pt idx="589">
                  <c:v>0.67</c:v>
                </c:pt>
                <c:pt idx="590">
                  <c:v>0.78900000000000003</c:v>
                </c:pt>
                <c:pt idx="591">
                  <c:v>0.45100000000000001</c:v>
                </c:pt>
                <c:pt idx="592">
                  <c:v>0.748</c:v>
                </c:pt>
                <c:pt idx="593">
                  <c:v>0.79200000000000004</c:v>
                </c:pt>
                <c:pt idx="594">
                  <c:v>0.54600000000000004</c:v>
                </c:pt>
                <c:pt idx="595">
                  <c:v>0.73599999999999999</c:v>
                </c:pt>
                <c:pt idx="596">
                  <c:v>0.74099999999999999</c:v>
                </c:pt>
                <c:pt idx="597">
                  <c:v>0.45200000000000001</c:v>
                </c:pt>
                <c:pt idx="598">
                  <c:v>0.65200000000000002</c:v>
                </c:pt>
                <c:pt idx="599">
                  <c:v>0.58699999999999997</c:v>
                </c:pt>
                <c:pt idx="600">
                  <c:v>0.60299999999999998</c:v>
                </c:pt>
                <c:pt idx="601">
                  <c:v>0.68</c:v>
                </c:pt>
                <c:pt idx="602">
                  <c:v>0.436</c:v>
                </c:pt>
                <c:pt idx="603">
                  <c:v>0.59599999999999997</c:v>
                </c:pt>
                <c:pt idx="604">
                  <c:v>0.51600000000000001</c:v>
                </c:pt>
                <c:pt idx="605">
                  <c:v>0.59099999999999997</c:v>
                </c:pt>
                <c:pt idx="606">
                  <c:v>0.60599999999999998</c:v>
                </c:pt>
                <c:pt idx="607">
                  <c:v>0.68700000000000006</c:v>
                </c:pt>
                <c:pt idx="608">
                  <c:v>0.70599999999999996</c:v>
                </c:pt>
                <c:pt idx="609">
                  <c:v>0.40500000000000003</c:v>
                </c:pt>
                <c:pt idx="610">
                  <c:v>0.60099999999999998</c:v>
                </c:pt>
                <c:pt idx="611">
                  <c:v>0.69699999999999995</c:v>
                </c:pt>
                <c:pt idx="612">
                  <c:v>0.53500000000000003</c:v>
                </c:pt>
                <c:pt idx="613">
                  <c:v>0.52600000000000002</c:v>
                </c:pt>
                <c:pt idx="614">
                  <c:v>0.60299999999999998</c:v>
                </c:pt>
                <c:pt idx="615">
                  <c:v>0.22900000000000001</c:v>
                </c:pt>
                <c:pt idx="616">
                  <c:v>0.627</c:v>
                </c:pt>
                <c:pt idx="617">
                  <c:v>0.623</c:v>
                </c:pt>
                <c:pt idx="618">
                  <c:v>0.434</c:v>
                </c:pt>
                <c:pt idx="619">
                  <c:v>0.54800000000000004</c:v>
                </c:pt>
                <c:pt idx="620">
                  <c:v>0.61199999999999999</c:v>
                </c:pt>
                <c:pt idx="621">
                  <c:v>0.58099999999999996</c:v>
                </c:pt>
                <c:pt idx="622">
                  <c:v>0.53700000000000003</c:v>
                </c:pt>
                <c:pt idx="623">
                  <c:v>0.64200000000000002</c:v>
                </c:pt>
                <c:pt idx="624">
                  <c:v>0.64700000000000002</c:v>
                </c:pt>
                <c:pt idx="625">
                  <c:v>0.51100000000000001</c:v>
                </c:pt>
                <c:pt idx="626">
                  <c:v>0.49399999999999999</c:v>
                </c:pt>
                <c:pt idx="627">
                  <c:v>0.374</c:v>
                </c:pt>
                <c:pt idx="628">
                  <c:v>0.20699999999999999</c:v>
                </c:pt>
                <c:pt idx="629">
                  <c:v>0.63200000000000001</c:v>
                </c:pt>
                <c:pt idx="630">
                  <c:v>0.38300000000000001</c:v>
                </c:pt>
                <c:pt idx="631">
                  <c:v>0.751</c:v>
                </c:pt>
                <c:pt idx="632">
                  <c:v>0.59599999999999997</c:v>
                </c:pt>
                <c:pt idx="633">
                  <c:v>0.40799999999999997</c:v>
                </c:pt>
                <c:pt idx="634">
                  <c:v>6.8000000000000005E-2</c:v>
                </c:pt>
                <c:pt idx="635">
                  <c:v>0.46600000000000003</c:v>
                </c:pt>
                <c:pt idx="636">
                  <c:v>0.35399999999999998</c:v>
                </c:pt>
                <c:pt idx="637">
                  <c:v>0.36899999999999999</c:v>
                </c:pt>
                <c:pt idx="638">
                  <c:v>0.42</c:v>
                </c:pt>
                <c:pt idx="639">
                  <c:v>0.745</c:v>
                </c:pt>
                <c:pt idx="640">
                  <c:v>0.41099999999999998</c:v>
                </c:pt>
                <c:pt idx="641">
                  <c:v>0.57899999999999996</c:v>
                </c:pt>
                <c:pt idx="642">
                  <c:v>0.64</c:v>
                </c:pt>
                <c:pt idx="643">
                  <c:v>0.52900000000000003</c:v>
                </c:pt>
                <c:pt idx="644">
                  <c:v>0.45300000000000001</c:v>
                </c:pt>
                <c:pt idx="645">
                  <c:v>0.61</c:v>
                </c:pt>
                <c:pt idx="646">
                  <c:v>0.497</c:v>
                </c:pt>
                <c:pt idx="647">
                  <c:v>0.42399999999999999</c:v>
                </c:pt>
                <c:pt idx="648">
                  <c:v>0.60299999999999998</c:v>
                </c:pt>
                <c:pt idx="649">
                  <c:v>0.72399999999999998</c:v>
                </c:pt>
                <c:pt idx="650">
                  <c:v>0.28399999999999997</c:v>
                </c:pt>
                <c:pt idx="651">
                  <c:v>4.3999999999999997E-2</c:v>
                </c:pt>
                <c:pt idx="652">
                  <c:v>0.48799999999999999</c:v>
                </c:pt>
                <c:pt idx="653">
                  <c:v>0.106</c:v>
                </c:pt>
                <c:pt idx="654">
                  <c:v>0.1</c:v>
                </c:pt>
                <c:pt idx="655">
                  <c:v>0.57299999999999995</c:v>
                </c:pt>
                <c:pt idx="656">
                  <c:v>0.443</c:v>
                </c:pt>
                <c:pt idx="657">
                  <c:v>0.66</c:v>
                </c:pt>
                <c:pt idx="658">
                  <c:v>0.42399999999999999</c:v>
                </c:pt>
                <c:pt idx="659">
                  <c:v>0.51</c:v>
                </c:pt>
                <c:pt idx="660">
                  <c:v>0.47199999999999998</c:v>
                </c:pt>
                <c:pt idx="661">
                  <c:v>0.77800000000000002</c:v>
                </c:pt>
                <c:pt idx="662">
                  <c:v>0.65600000000000003</c:v>
                </c:pt>
                <c:pt idx="663">
                  <c:v>0.19700000000000001</c:v>
                </c:pt>
                <c:pt idx="664">
                  <c:v>0.65200000000000002</c:v>
                </c:pt>
                <c:pt idx="665">
                  <c:v>0.69899999999999995</c:v>
                </c:pt>
                <c:pt idx="666">
                  <c:v>0.39900000000000002</c:v>
                </c:pt>
                <c:pt idx="667">
                  <c:v>0.36799999999999999</c:v>
                </c:pt>
                <c:pt idx="668">
                  <c:v>0.46800000000000003</c:v>
                </c:pt>
                <c:pt idx="669">
                  <c:v>6.8000000000000005E-2</c:v>
                </c:pt>
                <c:pt idx="670">
                  <c:v>0.74399999999999999</c:v>
                </c:pt>
                <c:pt idx="671">
                  <c:v>0.443</c:v>
                </c:pt>
                <c:pt idx="672">
                  <c:v>0.121</c:v>
                </c:pt>
                <c:pt idx="673">
                  <c:v>0.51400000000000001</c:v>
                </c:pt>
                <c:pt idx="674">
                  <c:v>0.29299999999999998</c:v>
                </c:pt>
                <c:pt idx="675">
                  <c:v>0.56799999999999995</c:v>
                </c:pt>
                <c:pt idx="676">
                  <c:v>0.14000000000000001</c:v>
                </c:pt>
                <c:pt idx="677">
                  <c:v>0.52300000000000002</c:v>
                </c:pt>
                <c:pt idx="678">
                  <c:v>0.29099999999999998</c:v>
                </c:pt>
                <c:pt idx="679">
                  <c:v>0.443</c:v>
                </c:pt>
                <c:pt idx="680">
                  <c:v>0.55200000000000005</c:v>
                </c:pt>
                <c:pt idx="681">
                  <c:v>0.40200000000000002</c:v>
                </c:pt>
                <c:pt idx="682">
                  <c:v>0.36899999999999999</c:v>
                </c:pt>
                <c:pt idx="683">
                  <c:v>0.75900000000000001</c:v>
                </c:pt>
                <c:pt idx="684">
                  <c:v>0.29699999999999999</c:v>
                </c:pt>
                <c:pt idx="685">
                  <c:v>0.61799999999999999</c:v>
                </c:pt>
                <c:pt idx="686">
                  <c:v>0.127</c:v>
                </c:pt>
                <c:pt idx="687">
                  <c:v>0.63800000000000001</c:v>
                </c:pt>
                <c:pt idx="688">
                  <c:v>6.3E-2</c:v>
                </c:pt>
                <c:pt idx="689">
                  <c:v>0.499</c:v>
                </c:pt>
                <c:pt idx="690">
                  <c:v>0.44700000000000001</c:v>
                </c:pt>
                <c:pt idx="691">
                  <c:v>0.55700000000000005</c:v>
                </c:pt>
                <c:pt idx="692">
                  <c:v>0.11799999999999999</c:v>
                </c:pt>
                <c:pt idx="693">
                  <c:v>0.74299999999999999</c:v>
                </c:pt>
                <c:pt idx="694">
                  <c:v>0.55600000000000005</c:v>
                </c:pt>
                <c:pt idx="695">
                  <c:v>0.55000000000000004</c:v>
                </c:pt>
                <c:pt idx="696">
                  <c:v>0.54200000000000004</c:v>
                </c:pt>
                <c:pt idx="697">
                  <c:v>0.46600000000000003</c:v>
                </c:pt>
                <c:pt idx="698">
                  <c:v>0.59199999999999997</c:v>
                </c:pt>
                <c:pt idx="699">
                  <c:v>7.9000000000000001E-2</c:v>
                </c:pt>
                <c:pt idx="700">
                  <c:v>0.40300000000000002</c:v>
                </c:pt>
                <c:pt idx="701">
                  <c:v>0.434</c:v>
                </c:pt>
                <c:pt idx="702">
                  <c:v>0.60899999999999999</c:v>
                </c:pt>
                <c:pt idx="703">
                  <c:v>0.63100000000000001</c:v>
                </c:pt>
                <c:pt idx="704">
                  <c:v>1.2999999999999999E-2</c:v>
                </c:pt>
                <c:pt idx="705">
                  <c:v>0.58599999999999997</c:v>
                </c:pt>
                <c:pt idx="706">
                  <c:v>0.42599999999999999</c:v>
                </c:pt>
                <c:pt idx="707">
                  <c:v>0.27400000000000002</c:v>
                </c:pt>
                <c:pt idx="708">
                  <c:v>0.49099999999999999</c:v>
                </c:pt>
                <c:pt idx="709">
                  <c:v>0.1</c:v>
                </c:pt>
                <c:pt idx="710">
                  <c:v>0.59699999999999998</c:v>
                </c:pt>
                <c:pt idx="711">
                  <c:v>0.151</c:v>
                </c:pt>
                <c:pt idx="712">
                  <c:v>0.434</c:v>
                </c:pt>
                <c:pt idx="713">
                  <c:v>0.65</c:v>
                </c:pt>
                <c:pt idx="714">
                  <c:v>0.29299999999999998</c:v>
                </c:pt>
                <c:pt idx="715">
                  <c:v>0.59599999999999997</c:v>
                </c:pt>
                <c:pt idx="716">
                  <c:v>0.75600000000000001</c:v>
                </c:pt>
                <c:pt idx="717">
                  <c:v>0.66800000000000004</c:v>
                </c:pt>
                <c:pt idx="718">
                  <c:v>8.5999999999999993E-2</c:v>
                </c:pt>
                <c:pt idx="719">
                  <c:v>0.434</c:v>
                </c:pt>
                <c:pt idx="720">
                  <c:v>0.11</c:v>
                </c:pt>
                <c:pt idx="721">
                  <c:v>0.29599999999999999</c:v>
                </c:pt>
                <c:pt idx="722">
                  <c:v>0.80400000000000005</c:v>
                </c:pt>
                <c:pt idx="723">
                  <c:v>0.59099999999999997</c:v>
                </c:pt>
                <c:pt idx="724">
                  <c:v>0.54600000000000004</c:v>
                </c:pt>
                <c:pt idx="725">
                  <c:v>0.39900000000000002</c:v>
                </c:pt>
                <c:pt idx="726">
                  <c:v>7.2999999999999995E-2</c:v>
                </c:pt>
                <c:pt idx="727">
                  <c:v>0.72599999999999998</c:v>
                </c:pt>
                <c:pt idx="728">
                  <c:v>4.2000000000000003E-2</c:v>
                </c:pt>
                <c:pt idx="729">
                  <c:v>0.443</c:v>
                </c:pt>
                <c:pt idx="730">
                  <c:v>0.42599999999999999</c:v>
                </c:pt>
                <c:pt idx="731">
                  <c:v>0.42899999999999999</c:v>
                </c:pt>
                <c:pt idx="732">
                  <c:v>0.438</c:v>
                </c:pt>
                <c:pt idx="733">
                  <c:v>0.67600000000000005</c:v>
                </c:pt>
                <c:pt idx="734">
                  <c:v>0.23699999999999999</c:v>
                </c:pt>
                <c:pt idx="735">
                  <c:v>0.70699999999999996</c:v>
                </c:pt>
                <c:pt idx="736">
                  <c:v>0.106</c:v>
                </c:pt>
                <c:pt idx="737">
                  <c:v>0.159</c:v>
                </c:pt>
                <c:pt idx="738">
                  <c:v>0.28199999999999997</c:v>
                </c:pt>
                <c:pt idx="739">
                  <c:v>0.48299999999999998</c:v>
                </c:pt>
                <c:pt idx="740">
                  <c:v>0.36099999999999999</c:v>
                </c:pt>
                <c:pt idx="741">
                  <c:v>0.23100000000000001</c:v>
                </c:pt>
                <c:pt idx="742">
                  <c:v>0.17399999999999999</c:v>
                </c:pt>
                <c:pt idx="743">
                  <c:v>0.46200000000000002</c:v>
                </c:pt>
                <c:pt idx="744">
                  <c:v>0.67400000000000004</c:v>
                </c:pt>
                <c:pt idx="745">
                  <c:v>0.5</c:v>
                </c:pt>
                <c:pt idx="746">
                  <c:v>0.40600000000000003</c:v>
                </c:pt>
                <c:pt idx="747">
                  <c:v>0.40699999999999997</c:v>
                </c:pt>
                <c:pt idx="748">
                  <c:v>0.51200000000000001</c:v>
                </c:pt>
                <c:pt idx="749">
                  <c:v>0.64300000000000002</c:v>
                </c:pt>
                <c:pt idx="750">
                  <c:v>0.50600000000000001</c:v>
                </c:pt>
                <c:pt idx="751">
                  <c:v>0.42499999999999999</c:v>
                </c:pt>
                <c:pt idx="752">
                  <c:v>0.74199999999999999</c:v>
                </c:pt>
                <c:pt idx="753">
                  <c:v>0.54900000000000004</c:v>
                </c:pt>
                <c:pt idx="754">
                  <c:v>0.224</c:v>
                </c:pt>
                <c:pt idx="755">
                  <c:v>0.54600000000000004</c:v>
                </c:pt>
                <c:pt idx="756">
                  <c:v>0.34699999999999998</c:v>
                </c:pt>
                <c:pt idx="757">
                  <c:v>0.28000000000000003</c:v>
                </c:pt>
                <c:pt idx="758">
                  <c:v>0.41899999999999998</c:v>
                </c:pt>
                <c:pt idx="759">
                  <c:v>0.42399999999999999</c:v>
                </c:pt>
                <c:pt idx="760">
                  <c:v>0.47199999999999998</c:v>
                </c:pt>
                <c:pt idx="761">
                  <c:v>0.28299999999999997</c:v>
                </c:pt>
                <c:pt idx="762">
                  <c:v>0.60599999999999998</c:v>
                </c:pt>
                <c:pt idx="763">
                  <c:v>0.32400000000000001</c:v>
                </c:pt>
                <c:pt idx="764">
                  <c:v>0.46500000000000002</c:v>
                </c:pt>
                <c:pt idx="765">
                  <c:v>0.42299999999999999</c:v>
                </c:pt>
                <c:pt idx="766">
                  <c:v>0.504</c:v>
                </c:pt>
                <c:pt idx="767">
                  <c:v>0.32200000000000001</c:v>
                </c:pt>
                <c:pt idx="768">
                  <c:v>0.109</c:v>
                </c:pt>
                <c:pt idx="769">
                  <c:v>0.48199999999999998</c:v>
                </c:pt>
                <c:pt idx="770">
                  <c:v>0.56200000000000006</c:v>
                </c:pt>
                <c:pt idx="771">
                  <c:v>0.64100000000000001</c:v>
                </c:pt>
                <c:pt idx="772">
                  <c:v>9.6000000000000002E-2</c:v>
                </c:pt>
                <c:pt idx="773">
                  <c:v>0.67400000000000004</c:v>
                </c:pt>
                <c:pt idx="774">
                  <c:v>0.70899999999999996</c:v>
                </c:pt>
                <c:pt idx="775">
                  <c:v>0.16500000000000001</c:v>
                </c:pt>
                <c:pt idx="776">
                  <c:v>0.44500000000000001</c:v>
                </c:pt>
                <c:pt idx="777">
                  <c:v>0.69699999999999995</c:v>
                </c:pt>
                <c:pt idx="778">
                  <c:v>0.23100000000000001</c:v>
                </c:pt>
                <c:pt idx="779">
                  <c:v>0.46300000000000002</c:v>
                </c:pt>
                <c:pt idx="780">
                  <c:v>0.68</c:v>
                </c:pt>
                <c:pt idx="781">
                  <c:v>0.64500000000000002</c:v>
                </c:pt>
                <c:pt idx="782">
                  <c:v>0.6</c:v>
                </c:pt>
                <c:pt idx="783">
                  <c:v>0.65600000000000003</c:v>
                </c:pt>
                <c:pt idx="784">
                  <c:v>0.46300000000000002</c:v>
                </c:pt>
                <c:pt idx="785">
                  <c:v>0.24099999999999999</c:v>
                </c:pt>
                <c:pt idx="786">
                  <c:v>0.42599999999999999</c:v>
                </c:pt>
                <c:pt idx="787">
                  <c:v>0.191</c:v>
                </c:pt>
                <c:pt idx="788">
                  <c:v>0.495</c:v>
                </c:pt>
                <c:pt idx="789">
                  <c:v>0.03</c:v>
                </c:pt>
                <c:pt idx="790">
                  <c:v>6.8000000000000005E-2</c:v>
                </c:pt>
                <c:pt idx="791">
                  <c:v>0.27300000000000002</c:v>
                </c:pt>
                <c:pt idx="792">
                  <c:v>4.1000000000000002E-2</c:v>
                </c:pt>
                <c:pt idx="793">
                  <c:v>0.105</c:v>
                </c:pt>
                <c:pt idx="794">
                  <c:v>0.42</c:v>
                </c:pt>
                <c:pt idx="795">
                  <c:v>0.52600000000000002</c:v>
                </c:pt>
                <c:pt idx="796">
                  <c:v>0.441</c:v>
                </c:pt>
                <c:pt idx="797">
                  <c:v>0.49399999999999999</c:v>
                </c:pt>
                <c:pt idx="798">
                  <c:v>0.49</c:v>
                </c:pt>
                <c:pt idx="799">
                  <c:v>0.45300000000000001</c:v>
                </c:pt>
                <c:pt idx="800">
                  <c:v>0.23200000000000001</c:v>
                </c:pt>
                <c:pt idx="801">
                  <c:v>0.44700000000000001</c:v>
                </c:pt>
                <c:pt idx="802">
                  <c:v>0.68400000000000005</c:v>
                </c:pt>
                <c:pt idx="803">
                  <c:v>0.45200000000000001</c:v>
                </c:pt>
                <c:pt idx="804">
                  <c:v>0.246</c:v>
                </c:pt>
                <c:pt idx="805">
                  <c:v>0.47199999999999998</c:v>
                </c:pt>
                <c:pt idx="806">
                  <c:v>0.68799999999999994</c:v>
                </c:pt>
                <c:pt idx="807">
                  <c:v>0.443</c:v>
                </c:pt>
                <c:pt idx="808">
                  <c:v>0.38500000000000001</c:v>
                </c:pt>
                <c:pt idx="809">
                  <c:v>4.1000000000000002E-2</c:v>
                </c:pt>
                <c:pt idx="810">
                  <c:v>0.45600000000000002</c:v>
                </c:pt>
                <c:pt idx="811">
                  <c:v>0.55300000000000005</c:v>
                </c:pt>
                <c:pt idx="812">
                  <c:v>0.32200000000000001</c:v>
                </c:pt>
                <c:pt idx="813">
                  <c:v>0.34300000000000003</c:v>
                </c:pt>
                <c:pt idx="814">
                  <c:v>0.42899999999999999</c:v>
                </c:pt>
                <c:pt idx="815">
                  <c:v>0.46800000000000003</c:v>
                </c:pt>
                <c:pt idx="816">
                  <c:v>0.64700000000000002</c:v>
                </c:pt>
                <c:pt idx="817">
                  <c:v>0.32400000000000001</c:v>
                </c:pt>
                <c:pt idx="818">
                  <c:v>0.33300000000000002</c:v>
                </c:pt>
                <c:pt idx="819">
                  <c:v>0.47</c:v>
                </c:pt>
                <c:pt idx="820">
                  <c:v>0.34399999999999997</c:v>
                </c:pt>
                <c:pt idx="821">
                  <c:v>0.68799999999999994</c:v>
                </c:pt>
                <c:pt idx="822">
                  <c:v>0.13300000000000001</c:v>
                </c:pt>
                <c:pt idx="823">
                  <c:v>0.41699999999999998</c:v>
                </c:pt>
                <c:pt idx="824">
                  <c:v>0.11700000000000001</c:v>
                </c:pt>
                <c:pt idx="825">
                  <c:v>0.54800000000000004</c:v>
                </c:pt>
                <c:pt idx="826">
                  <c:v>0.59599999999999997</c:v>
                </c:pt>
                <c:pt idx="827">
                  <c:v>0.36899999999999999</c:v>
                </c:pt>
                <c:pt idx="828">
                  <c:v>0.21199999999999999</c:v>
                </c:pt>
                <c:pt idx="829">
                  <c:v>0.39700000000000002</c:v>
                </c:pt>
                <c:pt idx="830">
                  <c:v>0.38200000000000001</c:v>
                </c:pt>
                <c:pt idx="831">
                  <c:v>0.63400000000000001</c:v>
                </c:pt>
                <c:pt idx="832">
                  <c:v>0.64</c:v>
                </c:pt>
                <c:pt idx="833">
                  <c:v>0.02</c:v>
                </c:pt>
                <c:pt idx="834">
                  <c:v>0.40600000000000003</c:v>
                </c:pt>
                <c:pt idx="835">
                  <c:v>0.73799999999999999</c:v>
                </c:pt>
                <c:pt idx="836">
                  <c:v>0.60499999999999998</c:v>
                </c:pt>
                <c:pt idx="837">
                  <c:v>0.155</c:v>
                </c:pt>
                <c:pt idx="838">
                  <c:v>0.16300000000000001</c:v>
                </c:pt>
                <c:pt idx="839">
                  <c:v>0.23</c:v>
                </c:pt>
                <c:pt idx="840">
                  <c:v>0.48099999999999998</c:v>
                </c:pt>
                <c:pt idx="841">
                  <c:v>0.40200000000000002</c:v>
                </c:pt>
                <c:pt idx="842">
                  <c:v>0.26500000000000001</c:v>
                </c:pt>
                <c:pt idx="843">
                  <c:v>0.48399999999999999</c:v>
                </c:pt>
                <c:pt idx="844">
                  <c:v>8.4000000000000005E-2</c:v>
                </c:pt>
                <c:pt idx="845">
                  <c:v>0.36199999999999999</c:v>
                </c:pt>
                <c:pt idx="846">
                  <c:v>0.372</c:v>
                </c:pt>
                <c:pt idx="847">
                  <c:v>1.6E-2</c:v>
                </c:pt>
                <c:pt idx="848">
                  <c:v>0.19</c:v>
                </c:pt>
                <c:pt idx="849">
                  <c:v>0.105</c:v>
                </c:pt>
                <c:pt idx="850">
                  <c:v>0.48699999999999999</c:v>
                </c:pt>
                <c:pt idx="851">
                  <c:v>0.17699999999999999</c:v>
                </c:pt>
                <c:pt idx="852">
                  <c:v>0.29699999999999999</c:v>
                </c:pt>
                <c:pt idx="853">
                  <c:v>0.32400000000000001</c:v>
                </c:pt>
                <c:pt idx="854">
                  <c:v>0.39700000000000002</c:v>
                </c:pt>
                <c:pt idx="855">
                  <c:v>0.432</c:v>
                </c:pt>
                <c:pt idx="856">
                  <c:v>0.26200000000000001</c:v>
                </c:pt>
                <c:pt idx="857">
                  <c:v>0.55600000000000005</c:v>
                </c:pt>
                <c:pt idx="858">
                  <c:v>0.374</c:v>
                </c:pt>
                <c:pt idx="859">
                  <c:v>0.36799999999999999</c:v>
                </c:pt>
                <c:pt idx="860">
                  <c:v>0.26900000000000002</c:v>
                </c:pt>
                <c:pt idx="861">
                  <c:v>0.69799999999999995</c:v>
                </c:pt>
                <c:pt idx="862">
                  <c:v>0.33300000000000002</c:v>
                </c:pt>
                <c:pt idx="863">
                  <c:v>0.32800000000000001</c:v>
                </c:pt>
                <c:pt idx="864">
                  <c:v>0.47</c:v>
                </c:pt>
                <c:pt idx="865">
                  <c:v>1.7000000000000001E-2</c:v>
                </c:pt>
                <c:pt idx="866">
                  <c:v>0.44700000000000001</c:v>
                </c:pt>
                <c:pt idx="867">
                  <c:v>0.54300000000000004</c:v>
                </c:pt>
                <c:pt idx="868">
                  <c:v>0.13500000000000001</c:v>
                </c:pt>
                <c:pt idx="869">
                  <c:v>0.499</c:v>
                </c:pt>
                <c:pt idx="870">
                  <c:v>0.45200000000000001</c:v>
                </c:pt>
                <c:pt idx="871">
                  <c:v>0.443</c:v>
                </c:pt>
                <c:pt idx="872">
                  <c:v>6.9000000000000006E-2</c:v>
                </c:pt>
                <c:pt idx="873">
                  <c:v>0.47399999999999998</c:v>
                </c:pt>
                <c:pt idx="874">
                  <c:v>8.0000000000000002E-3</c:v>
                </c:pt>
                <c:pt idx="875">
                  <c:v>0.24</c:v>
                </c:pt>
                <c:pt idx="876">
                  <c:v>0.39100000000000001</c:v>
                </c:pt>
                <c:pt idx="877">
                  <c:v>0.57099999999999995</c:v>
                </c:pt>
                <c:pt idx="878">
                  <c:v>0.19400000000000001</c:v>
                </c:pt>
                <c:pt idx="879">
                  <c:v>0.19500000000000001</c:v>
                </c:pt>
                <c:pt idx="880">
                  <c:v>0.37</c:v>
                </c:pt>
                <c:pt idx="881">
                  <c:v>0.23</c:v>
                </c:pt>
                <c:pt idx="882">
                  <c:v>0.443</c:v>
                </c:pt>
                <c:pt idx="883">
                  <c:v>0.71599999999999997</c:v>
                </c:pt>
                <c:pt idx="884">
                  <c:v>0.45600000000000002</c:v>
                </c:pt>
                <c:pt idx="885">
                  <c:v>0.434</c:v>
                </c:pt>
                <c:pt idx="886">
                  <c:v>0.45600000000000002</c:v>
                </c:pt>
                <c:pt idx="887">
                  <c:v>0.245</c:v>
                </c:pt>
                <c:pt idx="888">
                  <c:v>0.35099999999999998</c:v>
                </c:pt>
                <c:pt idx="889">
                  <c:v>0.28499999999999998</c:v>
                </c:pt>
                <c:pt idx="890">
                  <c:v>0.51300000000000001</c:v>
                </c:pt>
                <c:pt idx="891">
                  <c:v>0.40200000000000002</c:v>
                </c:pt>
                <c:pt idx="892">
                  <c:v>8.0000000000000002E-3</c:v>
                </c:pt>
                <c:pt idx="893">
                  <c:v>0.437</c:v>
                </c:pt>
                <c:pt idx="894">
                  <c:v>0.45500000000000002</c:v>
                </c:pt>
                <c:pt idx="895">
                  <c:v>0.45100000000000001</c:v>
                </c:pt>
                <c:pt idx="896">
                  <c:v>0.20100000000000001</c:v>
                </c:pt>
                <c:pt idx="897">
                  <c:v>0.44600000000000001</c:v>
                </c:pt>
                <c:pt idx="898">
                  <c:v>0.01</c:v>
                </c:pt>
                <c:pt idx="899">
                  <c:v>0.10299999999999999</c:v>
                </c:pt>
                <c:pt idx="900">
                  <c:v>0.45800000000000002</c:v>
                </c:pt>
                <c:pt idx="901">
                  <c:v>0.48399999999999999</c:v>
                </c:pt>
                <c:pt idx="902">
                  <c:v>0.40100000000000002</c:v>
                </c:pt>
                <c:pt idx="903">
                  <c:v>0.252</c:v>
                </c:pt>
                <c:pt idx="904">
                  <c:v>0.45700000000000002</c:v>
                </c:pt>
                <c:pt idx="905">
                  <c:v>0.33800000000000002</c:v>
                </c:pt>
                <c:pt idx="906">
                  <c:v>0.28299999999999997</c:v>
                </c:pt>
                <c:pt idx="907">
                  <c:v>0.443</c:v>
                </c:pt>
                <c:pt idx="908">
                  <c:v>0.37</c:v>
                </c:pt>
                <c:pt idx="909">
                  <c:v>0.61</c:v>
                </c:pt>
                <c:pt idx="910">
                  <c:v>0.443</c:v>
                </c:pt>
                <c:pt idx="911">
                  <c:v>0.44700000000000001</c:v>
                </c:pt>
                <c:pt idx="912">
                  <c:v>0.10299999999999999</c:v>
                </c:pt>
                <c:pt idx="913">
                  <c:v>8.0000000000000002E-3</c:v>
                </c:pt>
                <c:pt idx="914">
                  <c:v>4.0000000000000001E-3</c:v>
                </c:pt>
                <c:pt idx="915">
                  <c:v>5.7000000000000002E-2</c:v>
                </c:pt>
                <c:pt idx="916">
                  <c:v>0.42899999999999999</c:v>
                </c:pt>
                <c:pt idx="917">
                  <c:v>0.2</c:v>
                </c:pt>
                <c:pt idx="918">
                  <c:v>0.20599999999999999</c:v>
                </c:pt>
                <c:pt idx="919">
                  <c:v>0.52</c:v>
                </c:pt>
                <c:pt idx="920">
                  <c:v>0.47</c:v>
                </c:pt>
                <c:pt idx="921">
                  <c:v>0.4</c:v>
                </c:pt>
                <c:pt idx="922">
                  <c:v>1.7000000000000001E-2</c:v>
                </c:pt>
                <c:pt idx="923">
                  <c:v>2.1999999999999999E-2</c:v>
                </c:pt>
                <c:pt idx="924">
                  <c:v>0.157</c:v>
                </c:pt>
                <c:pt idx="925">
                  <c:v>0.17</c:v>
                </c:pt>
                <c:pt idx="926">
                  <c:v>0.35599999999999998</c:v>
                </c:pt>
                <c:pt idx="927">
                  <c:v>0.48599999999999999</c:v>
                </c:pt>
                <c:pt idx="928">
                  <c:v>0.28999999999999998</c:v>
                </c:pt>
                <c:pt idx="929">
                  <c:v>0.11899999999999999</c:v>
                </c:pt>
                <c:pt idx="930">
                  <c:v>0.72199999999999998</c:v>
                </c:pt>
                <c:pt idx="931">
                  <c:v>0.67900000000000005</c:v>
                </c:pt>
                <c:pt idx="932">
                  <c:v>0.39600000000000002</c:v>
                </c:pt>
                <c:pt idx="933">
                  <c:v>0.182</c:v>
                </c:pt>
                <c:pt idx="934">
                  <c:v>0.63</c:v>
                </c:pt>
                <c:pt idx="935">
                  <c:v>0.16700000000000001</c:v>
                </c:pt>
                <c:pt idx="936">
                  <c:v>0.53700000000000003</c:v>
                </c:pt>
                <c:pt idx="937">
                  <c:v>0.35299999999999998</c:v>
                </c:pt>
                <c:pt idx="938">
                  <c:v>7.5999999999999998E-2</c:v>
                </c:pt>
                <c:pt idx="939">
                  <c:v>0.39700000000000002</c:v>
                </c:pt>
                <c:pt idx="940">
                  <c:v>0.47299999999999998</c:v>
                </c:pt>
                <c:pt idx="941">
                  <c:v>0.57499999999999996</c:v>
                </c:pt>
                <c:pt idx="942">
                  <c:v>0.40600000000000003</c:v>
                </c:pt>
                <c:pt idx="943">
                  <c:v>0.26600000000000001</c:v>
                </c:pt>
                <c:pt idx="944">
                  <c:v>0.374</c:v>
                </c:pt>
                <c:pt idx="945">
                  <c:v>0.151</c:v>
                </c:pt>
                <c:pt idx="946">
                  <c:v>4.2000000000000003E-2</c:v>
                </c:pt>
                <c:pt idx="947">
                  <c:v>0.29199999999999998</c:v>
                </c:pt>
                <c:pt idx="948">
                  <c:v>0.251</c:v>
                </c:pt>
                <c:pt idx="949">
                  <c:v>0.373</c:v>
                </c:pt>
                <c:pt idx="950">
                  <c:v>0.36299999999999999</c:v>
                </c:pt>
                <c:pt idx="951">
                  <c:v>0.29399999999999998</c:v>
                </c:pt>
                <c:pt idx="952">
                  <c:v>4.5999999999999999E-2</c:v>
                </c:pt>
                <c:pt idx="953">
                  <c:v>0.438</c:v>
                </c:pt>
                <c:pt idx="954">
                  <c:v>0.36099999999999999</c:v>
                </c:pt>
                <c:pt idx="955">
                  <c:v>0.57299999999999995</c:v>
                </c:pt>
                <c:pt idx="956">
                  <c:v>2.4E-2</c:v>
                </c:pt>
                <c:pt idx="957">
                  <c:v>0.10299999999999999</c:v>
                </c:pt>
                <c:pt idx="958">
                  <c:v>0.35099999999999998</c:v>
                </c:pt>
                <c:pt idx="959">
                  <c:v>3.1E-2</c:v>
                </c:pt>
                <c:pt idx="960">
                  <c:v>0.29399999999999998</c:v>
                </c:pt>
                <c:pt idx="961">
                  <c:v>0.17</c:v>
                </c:pt>
                <c:pt idx="962">
                  <c:v>0.214</c:v>
                </c:pt>
                <c:pt idx="963">
                  <c:v>0.36399999999999999</c:v>
                </c:pt>
                <c:pt idx="964">
                  <c:v>0.123</c:v>
                </c:pt>
                <c:pt idx="965">
                  <c:v>0.33300000000000002</c:v>
                </c:pt>
                <c:pt idx="966">
                  <c:v>8.0000000000000002E-3</c:v>
                </c:pt>
                <c:pt idx="967">
                  <c:v>0.36799999999999999</c:v>
                </c:pt>
                <c:pt idx="968">
                  <c:v>6.8000000000000005E-2</c:v>
                </c:pt>
                <c:pt idx="969">
                  <c:v>0.64</c:v>
                </c:pt>
                <c:pt idx="970">
                  <c:v>0.06</c:v>
                </c:pt>
                <c:pt idx="971">
                  <c:v>0.46100000000000002</c:v>
                </c:pt>
                <c:pt idx="972">
                  <c:v>0.40200000000000002</c:v>
                </c:pt>
                <c:pt idx="973">
                  <c:v>0.34100000000000003</c:v>
                </c:pt>
                <c:pt idx="974">
                  <c:v>0.42399999999999999</c:v>
                </c:pt>
                <c:pt idx="975">
                  <c:v>0.30099999999999999</c:v>
                </c:pt>
                <c:pt idx="976">
                  <c:v>4.9000000000000002E-2</c:v>
                </c:pt>
                <c:pt idx="977">
                  <c:v>0.36099999999999999</c:v>
                </c:pt>
                <c:pt idx="978">
                  <c:v>0.31900000000000001</c:v>
                </c:pt>
                <c:pt idx="979">
                  <c:v>0.47499999999999998</c:v>
                </c:pt>
                <c:pt idx="980">
                  <c:v>7.6999999999999999E-2</c:v>
                </c:pt>
                <c:pt idx="981">
                  <c:v>5.0000000000000001E-3</c:v>
                </c:pt>
                <c:pt idx="982">
                  <c:v>0.57799999999999996</c:v>
                </c:pt>
                <c:pt idx="983">
                  <c:v>8.0000000000000002E-3</c:v>
                </c:pt>
                <c:pt idx="984">
                  <c:v>0.38100000000000001</c:v>
                </c:pt>
                <c:pt idx="985">
                  <c:v>0.32200000000000001</c:v>
                </c:pt>
                <c:pt idx="986">
                  <c:v>8.6999999999999994E-2</c:v>
                </c:pt>
                <c:pt idx="987">
                  <c:v>0.16300000000000001</c:v>
                </c:pt>
                <c:pt idx="988">
                  <c:v>0.38600000000000001</c:v>
                </c:pt>
                <c:pt idx="989">
                  <c:v>0.52300000000000002</c:v>
                </c:pt>
                <c:pt idx="990">
                  <c:v>0.36499999999999999</c:v>
                </c:pt>
                <c:pt idx="991">
                  <c:v>0.215</c:v>
                </c:pt>
                <c:pt idx="992">
                  <c:v>0.54</c:v>
                </c:pt>
                <c:pt idx="993">
                  <c:v>0.38200000000000001</c:v>
                </c:pt>
                <c:pt idx="994">
                  <c:v>0.38800000000000001</c:v>
                </c:pt>
                <c:pt idx="995">
                  <c:v>9.4E-2</c:v>
                </c:pt>
                <c:pt idx="996">
                  <c:v>0.374</c:v>
                </c:pt>
                <c:pt idx="997">
                  <c:v>0.45</c:v>
                </c:pt>
                <c:pt idx="998">
                  <c:v>0.313</c:v>
                </c:pt>
                <c:pt idx="999">
                  <c:v>0.33300000000000002</c:v>
                </c:pt>
                <c:pt idx="1000">
                  <c:v>8.9999999999999993E-3</c:v>
                </c:pt>
                <c:pt idx="1001">
                  <c:v>1.7000000000000001E-2</c:v>
                </c:pt>
                <c:pt idx="1002">
                  <c:v>0.10100000000000001</c:v>
                </c:pt>
                <c:pt idx="1003">
                  <c:v>0.04</c:v>
                </c:pt>
                <c:pt idx="1004">
                  <c:v>0.22600000000000001</c:v>
                </c:pt>
                <c:pt idx="1005">
                  <c:v>9.5000000000000001E-2</c:v>
                </c:pt>
                <c:pt idx="1006">
                  <c:v>0.436</c:v>
                </c:pt>
                <c:pt idx="1007">
                  <c:v>0.251</c:v>
                </c:pt>
                <c:pt idx="1008">
                  <c:v>0.26100000000000001</c:v>
                </c:pt>
                <c:pt idx="1009">
                  <c:v>0.495</c:v>
                </c:pt>
                <c:pt idx="1010">
                  <c:v>0.30599999999999999</c:v>
                </c:pt>
                <c:pt idx="1011">
                  <c:v>0.38800000000000001</c:v>
                </c:pt>
                <c:pt idx="1012">
                  <c:v>8.0000000000000002E-3</c:v>
                </c:pt>
                <c:pt idx="1013">
                  <c:v>0.38500000000000001</c:v>
                </c:pt>
                <c:pt idx="1014">
                  <c:v>0.34599999999999997</c:v>
                </c:pt>
                <c:pt idx="1015">
                  <c:v>0.16600000000000001</c:v>
                </c:pt>
                <c:pt idx="1016">
                  <c:v>0.376</c:v>
                </c:pt>
                <c:pt idx="1017">
                  <c:v>0.69</c:v>
                </c:pt>
                <c:pt idx="1018">
                  <c:v>7.2999999999999995E-2</c:v>
                </c:pt>
                <c:pt idx="1019">
                  <c:v>8.2000000000000003E-2</c:v>
                </c:pt>
                <c:pt idx="1020">
                  <c:v>1.6E-2</c:v>
                </c:pt>
                <c:pt idx="1021">
                  <c:v>5.0000000000000001E-3</c:v>
                </c:pt>
                <c:pt idx="1022">
                  <c:v>1.2E-2</c:v>
                </c:pt>
                <c:pt idx="1023">
                  <c:v>0.17</c:v>
                </c:pt>
                <c:pt idx="1024">
                  <c:v>0.52400000000000002</c:v>
                </c:pt>
                <c:pt idx="1025">
                  <c:v>3.5999999999999997E-2</c:v>
                </c:pt>
                <c:pt idx="1026">
                  <c:v>0.38500000000000001</c:v>
                </c:pt>
                <c:pt idx="1027">
                  <c:v>0.37</c:v>
                </c:pt>
                <c:pt idx="1028">
                  <c:v>0.16400000000000001</c:v>
                </c:pt>
                <c:pt idx="1029">
                  <c:v>0.36299999999999999</c:v>
                </c:pt>
                <c:pt idx="1030">
                  <c:v>0.129</c:v>
                </c:pt>
                <c:pt idx="1031">
                  <c:v>0.5</c:v>
                </c:pt>
                <c:pt idx="1032">
                  <c:v>0.376</c:v>
                </c:pt>
                <c:pt idx="1033">
                  <c:v>1.2E-2</c:v>
                </c:pt>
                <c:pt idx="1034">
                  <c:v>9.0999999999999998E-2</c:v>
                </c:pt>
                <c:pt idx="1035">
                  <c:v>0.34300000000000003</c:v>
                </c:pt>
                <c:pt idx="1036">
                  <c:v>0.47699999999999998</c:v>
                </c:pt>
                <c:pt idx="1037">
                  <c:v>0.35299999999999998</c:v>
                </c:pt>
                <c:pt idx="1038">
                  <c:v>4.7E-2</c:v>
                </c:pt>
                <c:pt idx="1039">
                  <c:v>0.55900000000000005</c:v>
                </c:pt>
                <c:pt idx="1040">
                  <c:v>0.16400000000000001</c:v>
                </c:pt>
                <c:pt idx="1041">
                  <c:v>0.56999999999999995</c:v>
                </c:pt>
                <c:pt idx="1042">
                  <c:v>0.126</c:v>
                </c:pt>
                <c:pt idx="1043">
                  <c:v>0.14099999999999999</c:v>
                </c:pt>
                <c:pt idx="1044">
                  <c:v>0.36</c:v>
                </c:pt>
                <c:pt idx="1045">
                  <c:v>0.41499999999999998</c:v>
                </c:pt>
                <c:pt idx="1046">
                  <c:v>0.51900000000000002</c:v>
                </c:pt>
                <c:pt idx="1047">
                  <c:v>1.7000000000000001E-2</c:v>
                </c:pt>
                <c:pt idx="1048">
                  <c:v>0.44800000000000001</c:v>
                </c:pt>
                <c:pt idx="1049">
                  <c:v>0.35099999999999998</c:v>
                </c:pt>
                <c:pt idx="1050">
                  <c:v>0.254</c:v>
                </c:pt>
                <c:pt idx="1051">
                  <c:v>0.28799999999999998</c:v>
                </c:pt>
                <c:pt idx="1052">
                  <c:v>0.32800000000000001</c:v>
                </c:pt>
                <c:pt idx="1053">
                  <c:v>0.15</c:v>
                </c:pt>
                <c:pt idx="1054">
                  <c:v>1.0999999999999999E-2</c:v>
                </c:pt>
                <c:pt idx="1055">
                  <c:v>0.40600000000000003</c:v>
                </c:pt>
                <c:pt idx="1056">
                  <c:v>0.39500000000000002</c:v>
                </c:pt>
                <c:pt idx="1057">
                  <c:v>0.36499999999999999</c:v>
                </c:pt>
                <c:pt idx="1058">
                  <c:v>5.2999999999999999E-2</c:v>
                </c:pt>
                <c:pt idx="1059">
                  <c:v>3.6999999999999998E-2</c:v>
                </c:pt>
                <c:pt idx="1060">
                  <c:v>0.14099999999999999</c:v>
                </c:pt>
                <c:pt idx="1061">
                  <c:v>0.374</c:v>
                </c:pt>
                <c:pt idx="1062">
                  <c:v>0.57099999999999995</c:v>
                </c:pt>
                <c:pt idx="1063">
                  <c:v>0.41399999999999998</c:v>
                </c:pt>
                <c:pt idx="1064">
                  <c:v>0.47399999999999998</c:v>
                </c:pt>
                <c:pt idx="1065">
                  <c:v>0.442</c:v>
                </c:pt>
                <c:pt idx="1066">
                  <c:v>0.28999999999999998</c:v>
                </c:pt>
                <c:pt idx="1067">
                  <c:v>0.69399999999999995</c:v>
                </c:pt>
                <c:pt idx="1068">
                  <c:v>7.3999999999999996E-2</c:v>
                </c:pt>
                <c:pt idx="1069">
                  <c:v>5.8999999999999997E-2</c:v>
                </c:pt>
                <c:pt idx="1070">
                  <c:v>0.24299999999999999</c:v>
                </c:pt>
                <c:pt idx="1071">
                  <c:v>4.2999999999999997E-2</c:v>
                </c:pt>
                <c:pt idx="1072">
                  <c:v>8.4000000000000005E-2</c:v>
                </c:pt>
                <c:pt idx="1073">
                  <c:v>0.17899999999999999</c:v>
                </c:pt>
                <c:pt idx="1074">
                  <c:v>7.9000000000000001E-2</c:v>
                </c:pt>
                <c:pt idx="1075">
                  <c:v>4.5999999999999999E-2</c:v>
                </c:pt>
                <c:pt idx="1076">
                  <c:v>0.39600000000000002</c:v>
                </c:pt>
                <c:pt idx="1077">
                  <c:v>0.29199999999999998</c:v>
                </c:pt>
                <c:pt idx="1078">
                  <c:v>0.187</c:v>
                </c:pt>
                <c:pt idx="1079">
                  <c:v>4.3999999999999997E-2</c:v>
                </c:pt>
                <c:pt idx="1080">
                  <c:v>2.4E-2</c:v>
                </c:pt>
                <c:pt idx="1081">
                  <c:v>0.36099999999999999</c:v>
                </c:pt>
                <c:pt idx="1082">
                  <c:v>0.17399999999999999</c:v>
                </c:pt>
                <c:pt idx="1083">
                  <c:v>2.9000000000000001E-2</c:v>
                </c:pt>
                <c:pt idx="1084">
                  <c:v>0.28100000000000003</c:v>
                </c:pt>
                <c:pt idx="1085">
                  <c:v>5.0000000000000001E-3</c:v>
                </c:pt>
                <c:pt idx="1086">
                  <c:v>2.9000000000000001E-2</c:v>
                </c:pt>
                <c:pt idx="1087">
                  <c:v>0.55900000000000005</c:v>
                </c:pt>
                <c:pt idx="1088">
                  <c:v>5.0000000000000001E-3</c:v>
                </c:pt>
                <c:pt idx="1089">
                  <c:v>0.26800000000000002</c:v>
                </c:pt>
                <c:pt idx="1090">
                  <c:v>0.54600000000000004</c:v>
                </c:pt>
                <c:pt idx="1091">
                  <c:v>0.35199999999999998</c:v>
                </c:pt>
                <c:pt idx="1092">
                  <c:v>0.114</c:v>
                </c:pt>
                <c:pt idx="1093">
                  <c:v>0.251</c:v>
                </c:pt>
                <c:pt idx="1094">
                  <c:v>0.309</c:v>
                </c:pt>
                <c:pt idx="1095">
                  <c:v>6.0999999999999999E-2</c:v>
                </c:pt>
                <c:pt idx="1096">
                  <c:v>4.1000000000000002E-2</c:v>
                </c:pt>
                <c:pt idx="1097">
                  <c:v>0.105</c:v>
                </c:pt>
                <c:pt idx="1098">
                  <c:v>0.191</c:v>
                </c:pt>
                <c:pt idx="1099">
                  <c:v>0.42299999999999999</c:v>
                </c:pt>
                <c:pt idx="1100">
                  <c:v>0.32200000000000001</c:v>
                </c:pt>
                <c:pt idx="1101">
                  <c:v>4.1000000000000002E-2</c:v>
                </c:pt>
                <c:pt idx="1102">
                  <c:v>9.1999999999999998E-2</c:v>
                </c:pt>
                <c:pt idx="1103">
                  <c:v>0.439</c:v>
                </c:pt>
                <c:pt idx="1104">
                  <c:v>5.7000000000000002E-2</c:v>
                </c:pt>
                <c:pt idx="1105">
                  <c:v>0.32900000000000001</c:v>
                </c:pt>
                <c:pt idx="1106">
                  <c:v>0.18</c:v>
                </c:pt>
                <c:pt idx="1107">
                  <c:v>2.8000000000000001E-2</c:v>
                </c:pt>
                <c:pt idx="1108">
                  <c:v>0.22800000000000001</c:v>
                </c:pt>
                <c:pt idx="1109">
                  <c:v>0.115</c:v>
                </c:pt>
                <c:pt idx="1110">
                  <c:v>9.1999999999999998E-2</c:v>
                </c:pt>
                <c:pt idx="1111">
                  <c:v>0.52</c:v>
                </c:pt>
                <c:pt idx="1112">
                  <c:v>4.2999999999999997E-2</c:v>
                </c:pt>
                <c:pt idx="1113">
                  <c:v>0.14599999999999999</c:v>
                </c:pt>
                <c:pt idx="1114">
                  <c:v>0.186</c:v>
                </c:pt>
                <c:pt idx="1115">
                  <c:v>0.32800000000000001</c:v>
                </c:pt>
                <c:pt idx="1116">
                  <c:v>3.5000000000000003E-2</c:v>
                </c:pt>
                <c:pt idx="1117">
                  <c:v>8.2000000000000003E-2</c:v>
                </c:pt>
                <c:pt idx="1118">
                  <c:v>7.2999999999999995E-2</c:v>
                </c:pt>
                <c:pt idx="1119">
                  <c:v>0.54100000000000004</c:v>
                </c:pt>
                <c:pt idx="1120">
                  <c:v>0.03</c:v>
                </c:pt>
                <c:pt idx="1121">
                  <c:v>0.495</c:v>
                </c:pt>
                <c:pt idx="1122">
                  <c:v>0.25600000000000001</c:v>
                </c:pt>
                <c:pt idx="1123">
                  <c:v>7.2999999999999995E-2</c:v>
                </c:pt>
                <c:pt idx="1124">
                  <c:v>5.6000000000000001E-2</c:v>
                </c:pt>
                <c:pt idx="1125">
                  <c:v>0.32800000000000001</c:v>
                </c:pt>
                <c:pt idx="1126">
                  <c:v>0.36099999999999999</c:v>
                </c:pt>
                <c:pt idx="1127">
                  <c:v>0.57099999999999995</c:v>
                </c:pt>
                <c:pt idx="1128">
                  <c:v>8.0000000000000002E-3</c:v>
                </c:pt>
                <c:pt idx="1129">
                  <c:v>0.308</c:v>
                </c:pt>
                <c:pt idx="1130">
                  <c:v>2.7E-2</c:v>
                </c:pt>
                <c:pt idx="1131">
                  <c:v>0.41099999999999998</c:v>
                </c:pt>
                <c:pt idx="1132">
                  <c:v>0.27400000000000002</c:v>
                </c:pt>
                <c:pt idx="1133">
                  <c:v>0.38600000000000001</c:v>
                </c:pt>
                <c:pt idx="1134">
                  <c:v>2.4E-2</c:v>
                </c:pt>
                <c:pt idx="1135">
                  <c:v>4.0000000000000001E-3</c:v>
                </c:pt>
                <c:pt idx="1136">
                  <c:v>0.41199999999999998</c:v>
                </c:pt>
                <c:pt idx="1137">
                  <c:v>0.29199999999999998</c:v>
                </c:pt>
                <c:pt idx="1138">
                  <c:v>0.45200000000000001</c:v>
                </c:pt>
                <c:pt idx="1139">
                  <c:v>0.61</c:v>
                </c:pt>
                <c:pt idx="1140">
                  <c:v>7.0000000000000007E-2</c:v>
                </c:pt>
                <c:pt idx="1141">
                  <c:v>0.185</c:v>
                </c:pt>
                <c:pt idx="1142">
                  <c:v>0.111</c:v>
                </c:pt>
                <c:pt idx="1143">
                  <c:v>6.2E-2</c:v>
                </c:pt>
                <c:pt idx="1144">
                  <c:v>0.3</c:v>
                </c:pt>
                <c:pt idx="1145">
                  <c:v>1.6E-2</c:v>
                </c:pt>
                <c:pt idx="1146">
                  <c:v>2.5000000000000001E-2</c:v>
                </c:pt>
                <c:pt idx="1147">
                  <c:v>0.1</c:v>
                </c:pt>
                <c:pt idx="1148">
                  <c:v>0.1</c:v>
                </c:pt>
                <c:pt idx="1149">
                  <c:v>0.246</c:v>
                </c:pt>
                <c:pt idx="1150">
                  <c:v>0.24199999999999999</c:v>
                </c:pt>
                <c:pt idx="1151">
                  <c:v>7.2999999999999995E-2</c:v>
                </c:pt>
                <c:pt idx="1152">
                  <c:v>0.35199999999999998</c:v>
                </c:pt>
                <c:pt idx="1153">
                  <c:v>5.2999999999999999E-2</c:v>
                </c:pt>
                <c:pt idx="1154">
                  <c:v>3.9E-2</c:v>
                </c:pt>
                <c:pt idx="1155">
                  <c:v>0.182</c:v>
                </c:pt>
                <c:pt idx="1156">
                  <c:v>6.0999999999999999E-2</c:v>
                </c:pt>
                <c:pt idx="1157">
                  <c:v>0.54</c:v>
                </c:pt>
                <c:pt idx="1158">
                  <c:v>6.5000000000000002E-2</c:v>
                </c:pt>
                <c:pt idx="1159">
                  <c:v>0.05</c:v>
                </c:pt>
                <c:pt idx="1160">
                  <c:v>4.7E-2</c:v>
                </c:pt>
                <c:pt idx="1161">
                  <c:v>0.04</c:v>
                </c:pt>
                <c:pt idx="1162">
                  <c:v>6.4000000000000001E-2</c:v>
                </c:pt>
                <c:pt idx="1163">
                  <c:v>0.40899999999999997</c:v>
                </c:pt>
                <c:pt idx="1164">
                  <c:v>9.6000000000000002E-2</c:v>
                </c:pt>
                <c:pt idx="1165">
                  <c:v>4.9000000000000002E-2</c:v>
                </c:pt>
                <c:pt idx="1166">
                  <c:v>4.5999999999999999E-2</c:v>
                </c:pt>
                <c:pt idx="1167">
                  <c:v>0.114</c:v>
                </c:pt>
                <c:pt idx="1168">
                  <c:v>0.27300000000000002</c:v>
                </c:pt>
                <c:pt idx="1169">
                  <c:v>0.26900000000000002</c:v>
                </c:pt>
                <c:pt idx="1170">
                  <c:v>0.11700000000000001</c:v>
                </c:pt>
                <c:pt idx="1171">
                  <c:v>0.26900000000000002</c:v>
                </c:pt>
                <c:pt idx="1172">
                  <c:v>0.22700000000000001</c:v>
                </c:pt>
                <c:pt idx="1173">
                  <c:v>0.28299999999999997</c:v>
                </c:pt>
                <c:pt idx="1174">
                  <c:v>0.31900000000000001</c:v>
                </c:pt>
                <c:pt idx="1175">
                  <c:v>7.3999999999999996E-2</c:v>
                </c:pt>
                <c:pt idx="1176">
                  <c:v>1.7000000000000001E-2</c:v>
                </c:pt>
                <c:pt idx="1177">
                  <c:v>1.6E-2</c:v>
                </c:pt>
                <c:pt idx="1178">
                  <c:v>6.4000000000000001E-2</c:v>
                </c:pt>
                <c:pt idx="1179">
                  <c:v>2.4E-2</c:v>
                </c:pt>
                <c:pt idx="1180">
                  <c:v>0.129</c:v>
                </c:pt>
                <c:pt idx="1181">
                  <c:v>0.51100000000000001</c:v>
                </c:pt>
                <c:pt idx="1182">
                  <c:v>0.105</c:v>
                </c:pt>
                <c:pt idx="1183">
                  <c:v>6.2E-2</c:v>
                </c:pt>
                <c:pt idx="1184">
                  <c:v>6.4000000000000001E-2</c:v>
                </c:pt>
                <c:pt idx="1185">
                  <c:v>0.223</c:v>
                </c:pt>
                <c:pt idx="1186">
                  <c:v>0.26500000000000001</c:v>
                </c:pt>
                <c:pt idx="1187">
                  <c:v>9.6000000000000002E-2</c:v>
                </c:pt>
                <c:pt idx="1188">
                  <c:v>4.5999999999999999E-2</c:v>
                </c:pt>
                <c:pt idx="1189">
                  <c:v>0.52800000000000002</c:v>
                </c:pt>
                <c:pt idx="1190">
                  <c:v>0.123</c:v>
                </c:pt>
                <c:pt idx="1191">
                  <c:v>0.45500000000000002</c:v>
                </c:pt>
                <c:pt idx="1192">
                  <c:v>0.26300000000000001</c:v>
                </c:pt>
                <c:pt idx="1193">
                  <c:v>1.7999999999999999E-2</c:v>
                </c:pt>
                <c:pt idx="1194">
                  <c:v>0.28799999999999998</c:v>
                </c:pt>
                <c:pt idx="1195">
                  <c:v>5.0000000000000001E-3</c:v>
                </c:pt>
                <c:pt idx="1196">
                  <c:v>0.1</c:v>
                </c:pt>
                <c:pt idx="1197">
                  <c:v>3.1E-2</c:v>
                </c:pt>
                <c:pt idx="1198">
                  <c:v>0.13200000000000001</c:v>
                </c:pt>
                <c:pt idx="1199">
                  <c:v>0.50700000000000001</c:v>
                </c:pt>
                <c:pt idx="1200">
                  <c:v>0.31900000000000001</c:v>
                </c:pt>
                <c:pt idx="1201">
                  <c:v>4.9000000000000002E-2</c:v>
                </c:pt>
                <c:pt idx="1202">
                  <c:v>0.12</c:v>
                </c:pt>
                <c:pt idx="1203">
                  <c:v>0.16</c:v>
                </c:pt>
                <c:pt idx="1204">
                  <c:v>0.29599999999999999</c:v>
                </c:pt>
                <c:pt idx="1205">
                  <c:v>5.1999999999999998E-2</c:v>
                </c:pt>
                <c:pt idx="1206">
                  <c:v>1.2E-2</c:v>
                </c:pt>
                <c:pt idx="1207">
                  <c:v>0.29499999999999998</c:v>
                </c:pt>
                <c:pt idx="1208">
                  <c:v>0.10100000000000001</c:v>
                </c:pt>
                <c:pt idx="1209">
                  <c:v>7.0999999999999994E-2</c:v>
                </c:pt>
                <c:pt idx="1210">
                  <c:v>0.09</c:v>
                </c:pt>
                <c:pt idx="1211">
                  <c:v>8.1000000000000003E-2</c:v>
                </c:pt>
                <c:pt idx="1212">
                  <c:v>0.379</c:v>
                </c:pt>
                <c:pt idx="1213">
                  <c:v>8.2000000000000003E-2</c:v>
                </c:pt>
                <c:pt idx="1214">
                  <c:v>5.0999999999999997E-2</c:v>
                </c:pt>
                <c:pt idx="1215">
                  <c:v>0.22900000000000001</c:v>
                </c:pt>
                <c:pt idx="1216">
                  <c:v>0.09</c:v>
                </c:pt>
                <c:pt idx="1217">
                  <c:v>7.0999999999999994E-2</c:v>
                </c:pt>
                <c:pt idx="1218">
                  <c:v>1.0999999999999999E-2</c:v>
                </c:pt>
                <c:pt idx="1219">
                  <c:v>0.114</c:v>
                </c:pt>
                <c:pt idx="1220">
                  <c:v>0.38800000000000001</c:v>
                </c:pt>
                <c:pt idx="1221">
                  <c:v>0.187</c:v>
                </c:pt>
                <c:pt idx="1222">
                  <c:v>2.3E-2</c:v>
                </c:pt>
                <c:pt idx="1223">
                  <c:v>0.06</c:v>
                </c:pt>
                <c:pt idx="1224">
                  <c:v>0.35099999999999998</c:v>
                </c:pt>
                <c:pt idx="1225">
                  <c:v>0.36899999999999999</c:v>
                </c:pt>
                <c:pt idx="1226">
                  <c:v>6.8000000000000005E-2</c:v>
                </c:pt>
                <c:pt idx="1227">
                  <c:v>0.35199999999999998</c:v>
                </c:pt>
                <c:pt idx="1228">
                  <c:v>5.1999999999999998E-2</c:v>
                </c:pt>
                <c:pt idx="1229">
                  <c:v>7.4999999999999997E-2</c:v>
                </c:pt>
                <c:pt idx="1230">
                  <c:v>1.9E-2</c:v>
                </c:pt>
                <c:pt idx="1231">
                  <c:v>5.0000000000000001E-3</c:v>
                </c:pt>
                <c:pt idx="1232">
                  <c:v>0.17100000000000001</c:v>
                </c:pt>
                <c:pt idx="1233">
                  <c:v>6.8000000000000005E-2</c:v>
                </c:pt>
                <c:pt idx="1234">
                  <c:v>0.27600000000000002</c:v>
                </c:pt>
                <c:pt idx="1235">
                  <c:v>3.9E-2</c:v>
                </c:pt>
                <c:pt idx="1236">
                  <c:v>0.26900000000000002</c:v>
                </c:pt>
                <c:pt idx="1237">
                  <c:v>0.31900000000000001</c:v>
                </c:pt>
                <c:pt idx="1238">
                  <c:v>7.2999999999999995E-2</c:v>
                </c:pt>
                <c:pt idx="1239">
                  <c:v>2.7E-2</c:v>
                </c:pt>
                <c:pt idx="1240">
                  <c:v>0.05</c:v>
                </c:pt>
                <c:pt idx="1241">
                  <c:v>0.02</c:v>
                </c:pt>
                <c:pt idx="1242">
                  <c:v>0.33700000000000002</c:v>
                </c:pt>
                <c:pt idx="1243">
                  <c:v>0.20499999999999999</c:v>
                </c:pt>
                <c:pt idx="1244">
                  <c:v>0.128</c:v>
                </c:pt>
                <c:pt idx="1245">
                  <c:v>0.03</c:v>
                </c:pt>
                <c:pt idx="1246">
                  <c:v>0.113</c:v>
                </c:pt>
                <c:pt idx="1247">
                  <c:v>0.501</c:v>
                </c:pt>
                <c:pt idx="1248">
                  <c:v>0.111</c:v>
                </c:pt>
                <c:pt idx="1249">
                  <c:v>0.376</c:v>
                </c:pt>
                <c:pt idx="1250">
                  <c:v>8.6999999999999994E-2</c:v>
                </c:pt>
                <c:pt idx="1251">
                  <c:v>0.114</c:v>
                </c:pt>
                <c:pt idx="1252">
                  <c:v>5.1999999999999998E-2</c:v>
                </c:pt>
                <c:pt idx="1253">
                  <c:v>7.2999999999999995E-2</c:v>
                </c:pt>
                <c:pt idx="1254">
                  <c:v>4.4999999999999998E-2</c:v>
                </c:pt>
                <c:pt idx="1255">
                  <c:v>1.6E-2</c:v>
                </c:pt>
                <c:pt idx="1256">
                  <c:v>0.14599999999999999</c:v>
                </c:pt>
                <c:pt idx="1257">
                  <c:v>0.22800000000000001</c:v>
                </c:pt>
                <c:pt idx="1258">
                  <c:v>0.26900000000000002</c:v>
                </c:pt>
                <c:pt idx="1259">
                  <c:v>3.5999999999999997E-2</c:v>
                </c:pt>
                <c:pt idx="1260">
                  <c:v>0.27400000000000002</c:v>
                </c:pt>
                <c:pt idx="1261">
                  <c:v>7.8E-2</c:v>
                </c:pt>
                <c:pt idx="1262">
                  <c:v>0.129</c:v>
                </c:pt>
                <c:pt idx="1263">
                  <c:v>8.9999999999999993E-3</c:v>
                </c:pt>
                <c:pt idx="1264">
                  <c:v>7.6999999999999999E-2</c:v>
                </c:pt>
                <c:pt idx="1265">
                  <c:v>0.03</c:v>
                </c:pt>
                <c:pt idx="1266">
                  <c:v>0.497</c:v>
                </c:pt>
                <c:pt idx="1267">
                  <c:v>3.5999999999999997E-2</c:v>
                </c:pt>
                <c:pt idx="1268">
                  <c:v>7.0000000000000001E-3</c:v>
                </c:pt>
                <c:pt idx="1269">
                  <c:v>0.21199999999999999</c:v>
                </c:pt>
                <c:pt idx="1270">
                  <c:v>9.5000000000000001E-2</c:v>
                </c:pt>
                <c:pt idx="1271">
                  <c:v>0.08</c:v>
                </c:pt>
                <c:pt idx="1272">
                  <c:v>3.0000000000000001E-3</c:v>
                </c:pt>
                <c:pt idx="1273">
                  <c:v>7.8E-2</c:v>
                </c:pt>
                <c:pt idx="1274">
                  <c:v>0.24199999999999999</c:v>
                </c:pt>
                <c:pt idx="1275">
                  <c:v>4.4999999999999998E-2</c:v>
                </c:pt>
                <c:pt idx="1276">
                  <c:v>4.2999999999999997E-2</c:v>
                </c:pt>
                <c:pt idx="1277">
                  <c:v>2.4E-2</c:v>
                </c:pt>
                <c:pt idx="1278">
                  <c:v>8.2000000000000003E-2</c:v>
                </c:pt>
                <c:pt idx="1279">
                  <c:v>7.2999999999999995E-2</c:v>
                </c:pt>
                <c:pt idx="1280">
                  <c:v>0.56899999999999995</c:v>
                </c:pt>
                <c:pt idx="1281">
                  <c:v>4.0000000000000001E-3</c:v>
                </c:pt>
                <c:pt idx="1282">
                  <c:v>8.5000000000000006E-2</c:v>
                </c:pt>
                <c:pt idx="1283">
                  <c:v>0.315</c:v>
                </c:pt>
                <c:pt idx="1284">
                  <c:v>0.33600000000000002</c:v>
                </c:pt>
                <c:pt idx="1285">
                  <c:v>0.33300000000000002</c:v>
                </c:pt>
                <c:pt idx="1286">
                  <c:v>4.8000000000000001E-2</c:v>
                </c:pt>
                <c:pt idx="1287">
                  <c:v>0.32900000000000001</c:v>
                </c:pt>
                <c:pt idx="1288">
                  <c:v>1.7000000000000001E-2</c:v>
                </c:pt>
                <c:pt idx="1289">
                  <c:v>0.17599999999999999</c:v>
                </c:pt>
                <c:pt idx="1290">
                  <c:v>9.4E-2</c:v>
                </c:pt>
                <c:pt idx="1291">
                  <c:v>0.29199999999999998</c:v>
                </c:pt>
                <c:pt idx="1292">
                  <c:v>8.7999999999999995E-2</c:v>
                </c:pt>
                <c:pt idx="1293">
                  <c:v>8.0000000000000002E-3</c:v>
                </c:pt>
                <c:pt idx="1294">
                  <c:v>9.9000000000000005E-2</c:v>
                </c:pt>
                <c:pt idx="1295">
                  <c:v>2.8000000000000001E-2</c:v>
                </c:pt>
                <c:pt idx="1296">
                  <c:v>5.6000000000000001E-2</c:v>
                </c:pt>
                <c:pt idx="1297">
                  <c:v>9.2999999999999999E-2</c:v>
                </c:pt>
                <c:pt idx="1298">
                  <c:v>0.1</c:v>
                </c:pt>
                <c:pt idx="1299">
                  <c:v>2.5999999999999999E-2</c:v>
                </c:pt>
                <c:pt idx="1300">
                  <c:v>0.183</c:v>
                </c:pt>
                <c:pt idx="1301">
                  <c:v>0.223</c:v>
                </c:pt>
                <c:pt idx="1302">
                  <c:v>0.10199999999999999</c:v>
                </c:pt>
                <c:pt idx="1303">
                  <c:v>0.03</c:v>
                </c:pt>
                <c:pt idx="1304">
                  <c:v>0.14299999999999999</c:v>
                </c:pt>
                <c:pt idx="1305">
                  <c:v>0.33800000000000002</c:v>
                </c:pt>
                <c:pt idx="1306">
                  <c:v>7.0000000000000007E-2</c:v>
                </c:pt>
                <c:pt idx="1307">
                  <c:v>7.4999999999999997E-2</c:v>
                </c:pt>
                <c:pt idx="1308">
                  <c:v>6.9000000000000006E-2</c:v>
                </c:pt>
                <c:pt idx="1309">
                  <c:v>6.2E-2</c:v>
                </c:pt>
                <c:pt idx="1310">
                  <c:v>1.6E-2</c:v>
                </c:pt>
                <c:pt idx="1311">
                  <c:v>0.05</c:v>
                </c:pt>
                <c:pt idx="1312">
                  <c:v>1.2999999999999999E-2</c:v>
                </c:pt>
                <c:pt idx="1313">
                  <c:v>1.6E-2</c:v>
                </c:pt>
                <c:pt idx="1314">
                  <c:v>5.8999999999999997E-2</c:v>
                </c:pt>
                <c:pt idx="1315">
                  <c:v>0.14699999999999999</c:v>
                </c:pt>
                <c:pt idx="1316">
                  <c:v>0.251</c:v>
                </c:pt>
                <c:pt idx="1317">
                  <c:v>2.7E-2</c:v>
                </c:pt>
                <c:pt idx="1318">
                  <c:v>0.10299999999999999</c:v>
                </c:pt>
                <c:pt idx="1319">
                  <c:v>0.374</c:v>
                </c:pt>
                <c:pt idx="1320">
                  <c:v>0.216</c:v>
                </c:pt>
                <c:pt idx="1321">
                  <c:v>0.46200000000000002</c:v>
                </c:pt>
                <c:pt idx="1322">
                  <c:v>4.9000000000000002E-2</c:v>
                </c:pt>
                <c:pt idx="1323">
                  <c:v>5.0000000000000001E-3</c:v>
                </c:pt>
                <c:pt idx="1324">
                  <c:v>1.2999999999999999E-2</c:v>
                </c:pt>
                <c:pt idx="1325">
                  <c:v>8.0000000000000002E-3</c:v>
                </c:pt>
                <c:pt idx="1326">
                  <c:v>4.8000000000000001E-2</c:v>
                </c:pt>
                <c:pt idx="1327">
                  <c:v>0.31</c:v>
                </c:pt>
                <c:pt idx="1328">
                  <c:v>5.5E-2</c:v>
                </c:pt>
                <c:pt idx="1329">
                  <c:v>1.4E-2</c:v>
                </c:pt>
                <c:pt idx="1330">
                  <c:v>0.04</c:v>
                </c:pt>
                <c:pt idx="1331">
                  <c:v>0.35599999999999998</c:v>
                </c:pt>
                <c:pt idx="1332">
                  <c:v>1.7000000000000001E-2</c:v>
                </c:pt>
                <c:pt idx="1333">
                  <c:v>0.115</c:v>
                </c:pt>
                <c:pt idx="1334">
                  <c:v>7.1999999999999995E-2</c:v>
                </c:pt>
                <c:pt idx="1335">
                  <c:v>2.5000000000000001E-2</c:v>
                </c:pt>
                <c:pt idx="1336">
                  <c:v>0.36099999999999999</c:v>
                </c:pt>
                <c:pt idx="1337">
                  <c:v>7.0000000000000001E-3</c:v>
                </c:pt>
                <c:pt idx="1338">
                  <c:v>0.14899999999999999</c:v>
                </c:pt>
                <c:pt idx="1339">
                  <c:v>0.30399999999999999</c:v>
                </c:pt>
                <c:pt idx="1340">
                  <c:v>0.41099999999999998</c:v>
                </c:pt>
                <c:pt idx="1341">
                  <c:v>2.8000000000000001E-2</c:v>
                </c:pt>
                <c:pt idx="1342">
                  <c:v>0.03</c:v>
                </c:pt>
                <c:pt idx="1343">
                  <c:v>7.5999999999999998E-2</c:v>
                </c:pt>
                <c:pt idx="1344">
                  <c:v>0.47299999999999998</c:v>
                </c:pt>
                <c:pt idx="1345">
                  <c:v>4.5999999999999999E-2</c:v>
                </c:pt>
                <c:pt idx="1346">
                  <c:v>0.17799999999999999</c:v>
                </c:pt>
                <c:pt idx="1347">
                  <c:v>8.0000000000000002E-3</c:v>
                </c:pt>
                <c:pt idx="1348">
                  <c:v>7.2999999999999995E-2</c:v>
                </c:pt>
                <c:pt idx="1349">
                  <c:v>0.01</c:v>
                </c:pt>
                <c:pt idx="1350">
                  <c:v>0.34</c:v>
                </c:pt>
                <c:pt idx="1351">
                  <c:v>0.25600000000000001</c:v>
                </c:pt>
                <c:pt idx="1352">
                  <c:v>0.17799999999999999</c:v>
                </c:pt>
                <c:pt idx="1353">
                  <c:v>4.5999999999999999E-2</c:v>
                </c:pt>
                <c:pt idx="1354">
                  <c:v>0.14799999999999999</c:v>
                </c:pt>
                <c:pt idx="1355">
                  <c:v>0.45600000000000002</c:v>
                </c:pt>
                <c:pt idx="1356">
                  <c:v>5.2999999999999999E-2</c:v>
                </c:pt>
                <c:pt idx="1357">
                  <c:v>2.7E-2</c:v>
                </c:pt>
                <c:pt idx="1358">
                  <c:v>1.2999999999999999E-2</c:v>
                </c:pt>
                <c:pt idx="1359">
                  <c:v>0.245</c:v>
                </c:pt>
                <c:pt idx="1360">
                  <c:v>7.4999999999999997E-2</c:v>
                </c:pt>
                <c:pt idx="1361">
                  <c:v>0.32400000000000001</c:v>
                </c:pt>
                <c:pt idx="1362">
                  <c:v>0.03</c:v>
                </c:pt>
                <c:pt idx="1363">
                  <c:v>6.4000000000000001E-2</c:v>
                </c:pt>
                <c:pt idx="1364">
                  <c:v>8.0000000000000002E-3</c:v>
                </c:pt>
                <c:pt idx="1365">
                  <c:v>1.9E-2</c:v>
                </c:pt>
                <c:pt idx="1366">
                  <c:v>0.14099999999999999</c:v>
                </c:pt>
                <c:pt idx="1367">
                  <c:v>0.08</c:v>
                </c:pt>
                <c:pt idx="1368">
                  <c:v>0.23100000000000001</c:v>
                </c:pt>
                <c:pt idx="1369">
                  <c:v>5.0999999999999997E-2</c:v>
                </c:pt>
                <c:pt idx="1370">
                  <c:v>0.52900000000000003</c:v>
                </c:pt>
                <c:pt idx="1371">
                  <c:v>0.26900000000000002</c:v>
                </c:pt>
                <c:pt idx="1372">
                  <c:v>3.3000000000000002E-2</c:v>
                </c:pt>
                <c:pt idx="1373">
                  <c:v>7.1999999999999995E-2</c:v>
                </c:pt>
                <c:pt idx="1374">
                  <c:v>1.7999999999999999E-2</c:v>
                </c:pt>
                <c:pt idx="1375">
                  <c:v>7.2999999999999995E-2</c:v>
                </c:pt>
                <c:pt idx="1376">
                  <c:v>0.122</c:v>
                </c:pt>
                <c:pt idx="1377">
                  <c:v>0.125</c:v>
                </c:pt>
                <c:pt idx="1378">
                  <c:v>0.05</c:v>
                </c:pt>
                <c:pt idx="1379">
                  <c:v>4.0000000000000001E-3</c:v>
                </c:pt>
                <c:pt idx="1380">
                  <c:v>0.46100000000000002</c:v>
                </c:pt>
                <c:pt idx="1381">
                  <c:v>0.315</c:v>
                </c:pt>
                <c:pt idx="1382">
                  <c:v>6.8000000000000005E-2</c:v>
                </c:pt>
                <c:pt idx="1383">
                  <c:v>8.9999999999999993E-3</c:v>
                </c:pt>
                <c:pt idx="1384">
                  <c:v>0.14499999999999999</c:v>
                </c:pt>
                <c:pt idx="1385">
                  <c:v>0.314</c:v>
                </c:pt>
                <c:pt idx="1386">
                  <c:v>0.16400000000000001</c:v>
                </c:pt>
                <c:pt idx="1387">
                  <c:v>7.1999999999999995E-2</c:v>
                </c:pt>
                <c:pt idx="1388">
                  <c:v>6.8000000000000005E-2</c:v>
                </c:pt>
                <c:pt idx="1389">
                  <c:v>3.4000000000000002E-2</c:v>
                </c:pt>
                <c:pt idx="1390">
                  <c:v>3.3000000000000002E-2</c:v>
                </c:pt>
                <c:pt idx="1391">
                  <c:v>0.435</c:v>
                </c:pt>
                <c:pt idx="1392">
                  <c:v>5.8000000000000003E-2</c:v>
                </c:pt>
                <c:pt idx="1393">
                  <c:v>8.5000000000000006E-2</c:v>
                </c:pt>
                <c:pt idx="1394">
                  <c:v>0.14599999999999999</c:v>
                </c:pt>
                <c:pt idx="1395">
                  <c:v>3.6999999999999998E-2</c:v>
                </c:pt>
                <c:pt idx="1396">
                  <c:v>5.8999999999999997E-2</c:v>
                </c:pt>
                <c:pt idx="1397">
                  <c:v>0.42</c:v>
                </c:pt>
                <c:pt idx="1398">
                  <c:v>4.5999999999999999E-2</c:v>
                </c:pt>
                <c:pt idx="1399">
                  <c:v>1.2E-2</c:v>
                </c:pt>
                <c:pt idx="1400">
                  <c:v>4.5999999999999999E-2</c:v>
                </c:pt>
                <c:pt idx="1401">
                  <c:v>0.19600000000000001</c:v>
                </c:pt>
                <c:pt idx="1402">
                  <c:v>0.32900000000000001</c:v>
                </c:pt>
                <c:pt idx="1403">
                  <c:v>7.2999999999999995E-2</c:v>
                </c:pt>
                <c:pt idx="1404">
                  <c:v>0.14899999999999999</c:v>
                </c:pt>
                <c:pt idx="1405">
                  <c:v>5.3999999999999999E-2</c:v>
                </c:pt>
                <c:pt idx="1406">
                  <c:v>2.3E-2</c:v>
                </c:pt>
                <c:pt idx="1407">
                  <c:v>7.4999999999999997E-2</c:v>
                </c:pt>
                <c:pt idx="1408">
                  <c:v>0.122</c:v>
                </c:pt>
                <c:pt idx="1409">
                  <c:v>9.4E-2</c:v>
                </c:pt>
                <c:pt idx="1410">
                  <c:v>0.123</c:v>
                </c:pt>
                <c:pt idx="1411">
                  <c:v>1.7000000000000001E-2</c:v>
                </c:pt>
                <c:pt idx="1412">
                  <c:v>0.375</c:v>
                </c:pt>
                <c:pt idx="1413">
                  <c:v>9.2999999999999999E-2</c:v>
                </c:pt>
                <c:pt idx="1414">
                  <c:v>0.14599999999999999</c:v>
                </c:pt>
                <c:pt idx="1415">
                  <c:v>2.1999999999999999E-2</c:v>
                </c:pt>
                <c:pt idx="1416">
                  <c:v>4.5999999999999999E-2</c:v>
                </c:pt>
                <c:pt idx="1417">
                  <c:v>5.0000000000000001E-3</c:v>
                </c:pt>
                <c:pt idx="1418">
                  <c:v>7.1999999999999995E-2</c:v>
                </c:pt>
                <c:pt idx="1419">
                  <c:v>0.33300000000000002</c:v>
                </c:pt>
                <c:pt idx="1420">
                  <c:v>0.27300000000000002</c:v>
                </c:pt>
                <c:pt idx="1421">
                  <c:v>0.16</c:v>
                </c:pt>
                <c:pt idx="1422">
                  <c:v>6.4000000000000001E-2</c:v>
                </c:pt>
                <c:pt idx="1423">
                  <c:v>4.2000000000000003E-2</c:v>
                </c:pt>
                <c:pt idx="1424">
                  <c:v>0.22800000000000001</c:v>
                </c:pt>
                <c:pt idx="1425">
                  <c:v>1.2E-2</c:v>
                </c:pt>
                <c:pt idx="1426">
                  <c:v>5.1999999999999998E-2</c:v>
                </c:pt>
                <c:pt idx="1427">
                  <c:v>0.27900000000000003</c:v>
                </c:pt>
                <c:pt idx="1428">
                  <c:v>0.1</c:v>
                </c:pt>
                <c:pt idx="1429">
                  <c:v>2.3E-2</c:v>
                </c:pt>
                <c:pt idx="1430">
                  <c:v>6.8000000000000005E-2</c:v>
                </c:pt>
                <c:pt idx="1431">
                  <c:v>6.7000000000000004E-2</c:v>
                </c:pt>
                <c:pt idx="1432">
                  <c:v>0.13900000000000001</c:v>
                </c:pt>
                <c:pt idx="1433">
                  <c:v>0.108</c:v>
                </c:pt>
                <c:pt idx="1434">
                  <c:v>3.3000000000000002E-2</c:v>
                </c:pt>
                <c:pt idx="1435">
                  <c:v>2.4E-2</c:v>
                </c:pt>
                <c:pt idx="1436">
                  <c:v>3.5999999999999997E-2</c:v>
                </c:pt>
                <c:pt idx="1437">
                  <c:v>0.16400000000000001</c:v>
                </c:pt>
                <c:pt idx="1438">
                  <c:v>6.2E-2</c:v>
                </c:pt>
                <c:pt idx="1439">
                  <c:v>0.29399999999999998</c:v>
                </c:pt>
                <c:pt idx="1440">
                  <c:v>6.2E-2</c:v>
                </c:pt>
                <c:pt idx="1441">
                  <c:v>7.2999999999999995E-2</c:v>
                </c:pt>
                <c:pt idx="1442">
                  <c:v>3.5000000000000003E-2</c:v>
                </c:pt>
                <c:pt idx="1443">
                  <c:v>1.6E-2</c:v>
                </c:pt>
                <c:pt idx="1444">
                  <c:v>0.55800000000000005</c:v>
                </c:pt>
                <c:pt idx="1445">
                  <c:v>1.0999999999999999E-2</c:v>
                </c:pt>
                <c:pt idx="1446">
                  <c:v>6.0000000000000001E-3</c:v>
                </c:pt>
                <c:pt idx="1447">
                  <c:v>0.05</c:v>
                </c:pt>
                <c:pt idx="1448">
                  <c:v>0.01</c:v>
                </c:pt>
                <c:pt idx="1449">
                  <c:v>6.5000000000000002E-2</c:v>
                </c:pt>
                <c:pt idx="1450">
                  <c:v>0.41099999999999998</c:v>
                </c:pt>
                <c:pt idx="1451">
                  <c:v>0.253</c:v>
                </c:pt>
                <c:pt idx="1452">
                  <c:v>0.32500000000000001</c:v>
                </c:pt>
                <c:pt idx="1453">
                  <c:v>4.4999999999999998E-2</c:v>
                </c:pt>
                <c:pt idx="1454">
                  <c:v>0.14099999999999999</c:v>
                </c:pt>
                <c:pt idx="1455">
                  <c:v>0.04</c:v>
                </c:pt>
                <c:pt idx="1456">
                  <c:v>4.3999999999999997E-2</c:v>
                </c:pt>
                <c:pt idx="1457">
                  <c:v>0.17599999999999999</c:v>
                </c:pt>
                <c:pt idx="1458">
                  <c:v>1.2999999999999999E-2</c:v>
                </c:pt>
                <c:pt idx="1459">
                  <c:v>6.3E-2</c:v>
                </c:pt>
                <c:pt idx="1460">
                  <c:v>7.0000000000000007E-2</c:v>
                </c:pt>
                <c:pt idx="1461">
                  <c:v>0.14699999999999999</c:v>
                </c:pt>
                <c:pt idx="1462">
                  <c:v>0.312</c:v>
                </c:pt>
                <c:pt idx="1463">
                  <c:v>3.1E-2</c:v>
                </c:pt>
                <c:pt idx="1464">
                  <c:v>7.2999999999999995E-2</c:v>
                </c:pt>
                <c:pt idx="1465">
                  <c:v>8.0000000000000002E-3</c:v>
                </c:pt>
                <c:pt idx="1466">
                  <c:v>0.42</c:v>
                </c:pt>
                <c:pt idx="1467">
                  <c:v>4.1000000000000002E-2</c:v>
                </c:pt>
                <c:pt idx="1468">
                  <c:v>0.152</c:v>
                </c:pt>
                <c:pt idx="1469">
                  <c:v>0.16900000000000001</c:v>
                </c:pt>
                <c:pt idx="1470">
                  <c:v>1.2E-2</c:v>
                </c:pt>
                <c:pt idx="1471">
                  <c:v>4.5999999999999999E-2</c:v>
                </c:pt>
                <c:pt idx="1472">
                  <c:v>0.23</c:v>
                </c:pt>
                <c:pt idx="1473">
                  <c:v>1.7999999999999999E-2</c:v>
                </c:pt>
                <c:pt idx="1474">
                  <c:v>1.4999999999999999E-2</c:v>
                </c:pt>
                <c:pt idx="1475">
                  <c:v>5.6000000000000001E-2</c:v>
                </c:pt>
                <c:pt idx="1476">
                  <c:v>4.1000000000000002E-2</c:v>
                </c:pt>
                <c:pt idx="1477">
                  <c:v>6.3E-2</c:v>
                </c:pt>
                <c:pt idx="1478">
                  <c:v>0.46</c:v>
                </c:pt>
                <c:pt idx="1479">
                  <c:v>8.1000000000000003E-2</c:v>
                </c:pt>
                <c:pt idx="1480">
                  <c:v>9.2999999999999999E-2</c:v>
                </c:pt>
                <c:pt idx="1481">
                  <c:v>0.26</c:v>
                </c:pt>
                <c:pt idx="1482">
                  <c:v>1.2E-2</c:v>
                </c:pt>
                <c:pt idx="1483">
                  <c:v>4.0000000000000001E-3</c:v>
                </c:pt>
                <c:pt idx="1484">
                  <c:v>5.0000000000000001E-3</c:v>
                </c:pt>
                <c:pt idx="1485">
                  <c:v>4.0000000000000001E-3</c:v>
                </c:pt>
                <c:pt idx="1486">
                  <c:v>0.217</c:v>
                </c:pt>
                <c:pt idx="1487">
                  <c:v>7.2999999999999995E-2</c:v>
                </c:pt>
                <c:pt idx="1488">
                  <c:v>5.5E-2</c:v>
                </c:pt>
                <c:pt idx="1489">
                  <c:v>0.05</c:v>
                </c:pt>
                <c:pt idx="1490">
                  <c:v>6.4000000000000001E-2</c:v>
                </c:pt>
                <c:pt idx="1491">
                  <c:v>5.5E-2</c:v>
                </c:pt>
                <c:pt idx="1492">
                  <c:v>5.1999999999999998E-2</c:v>
                </c:pt>
                <c:pt idx="1493">
                  <c:v>5.0000000000000001E-3</c:v>
                </c:pt>
                <c:pt idx="1494">
                  <c:v>7.2999999999999995E-2</c:v>
                </c:pt>
                <c:pt idx="1495">
                  <c:v>4.4999999999999998E-2</c:v>
                </c:pt>
                <c:pt idx="1496">
                  <c:v>4.2000000000000003E-2</c:v>
                </c:pt>
                <c:pt idx="1497">
                  <c:v>3.6999999999999998E-2</c:v>
                </c:pt>
                <c:pt idx="1498">
                  <c:v>0.51200000000000001</c:v>
                </c:pt>
                <c:pt idx="1499">
                  <c:v>4.0000000000000001E-3</c:v>
                </c:pt>
                <c:pt idx="1500">
                  <c:v>0.122</c:v>
                </c:pt>
                <c:pt idx="1501">
                  <c:v>4.9000000000000002E-2</c:v>
                </c:pt>
                <c:pt idx="1502">
                  <c:v>4.2999999999999997E-2</c:v>
                </c:pt>
                <c:pt idx="1503">
                  <c:v>0.246</c:v>
                </c:pt>
                <c:pt idx="1504">
                  <c:v>9.6000000000000002E-2</c:v>
                </c:pt>
                <c:pt idx="1505">
                  <c:v>3.0000000000000001E-3</c:v>
                </c:pt>
                <c:pt idx="1506">
                  <c:v>4.0000000000000001E-3</c:v>
                </c:pt>
                <c:pt idx="1507">
                  <c:v>0.1</c:v>
                </c:pt>
                <c:pt idx="1508">
                  <c:v>0.14000000000000001</c:v>
                </c:pt>
                <c:pt idx="1509">
                  <c:v>1.7000000000000001E-2</c:v>
                </c:pt>
                <c:pt idx="1510">
                  <c:v>0.123</c:v>
                </c:pt>
                <c:pt idx="1511">
                  <c:v>7.5999999999999998E-2</c:v>
                </c:pt>
                <c:pt idx="1512">
                  <c:v>0.19600000000000001</c:v>
                </c:pt>
                <c:pt idx="1513">
                  <c:v>0.44400000000000001</c:v>
                </c:pt>
                <c:pt idx="1514">
                  <c:v>1.2999999999999999E-2</c:v>
                </c:pt>
                <c:pt idx="1515">
                  <c:v>0.125</c:v>
                </c:pt>
                <c:pt idx="1516">
                  <c:v>6.8000000000000005E-2</c:v>
                </c:pt>
                <c:pt idx="1517">
                  <c:v>2.1999999999999999E-2</c:v>
                </c:pt>
                <c:pt idx="1518">
                  <c:v>8.0000000000000002E-3</c:v>
                </c:pt>
                <c:pt idx="1519">
                  <c:v>0.10100000000000001</c:v>
                </c:pt>
                <c:pt idx="1520">
                  <c:v>0.123</c:v>
                </c:pt>
                <c:pt idx="1521">
                  <c:v>0.01</c:v>
                </c:pt>
                <c:pt idx="1522">
                  <c:v>5.6000000000000001E-2</c:v>
                </c:pt>
                <c:pt idx="1523">
                  <c:v>0.14599999999999999</c:v>
                </c:pt>
                <c:pt idx="1524">
                  <c:v>2.7E-2</c:v>
                </c:pt>
                <c:pt idx="1525">
                  <c:v>0.24199999999999999</c:v>
                </c:pt>
                <c:pt idx="1526">
                  <c:v>0.1</c:v>
                </c:pt>
                <c:pt idx="1527">
                  <c:v>0.05</c:v>
                </c:pt>
                <c:pt idx="1528">
                  <c:v>3.4000000000000002E-2</c:v>
                </c:pt>
                <c:pt idx="1529">
                  <c:v>5.8999999999999997E-2</c:v>
                </c:pt>
                <c:pt idx="1530">
                  <c:v>2E-3</c:v>
                </c:pt>
                <c:pt idx="1531">
                  <c:v>0.14000000000000001</c:v>
                </c:pt>
                <c:pt idx="1532">
                  <c:v>4.5999999999999999E-2</c:v>
                </c:pt>
                <c:pt idx="1533">
                  <c:v>0.04</c:v>
                </c:pt>
                <c:pt idx="1534">
                  <c:v>0.105</c:v>
                </c:pt>
                <c:pt idx="1535">
                  <c:v>5.0000000000000001E-3</c:v>
                </c:pt>
                <c:pt idx="1536">
                  <c:v>4.1000000000000002E-2</c:v>
                </c:pt>
                <c:pt idx="1537">
                  <c:v>3.7999999999999999E-2</c:v>
                </c:pt>
                <c:pt idx="1538">
                  <c:v>4.9000000000000002E-2</c:v>
                </c:pt>
                <c:pt idx="1539">
                  <c:v>2.1999999999999999E-2</c:v>
                </c:pt>
                <c:pt idx="1540">
                  <c:v>0.1</c:v>
                </c:pt>
                <c:pt idx="1541">
                  <c:v>5.5E-2</c:v>
                </c:pt>
                <c:pt idx="1542">
                  <c:v>0.26900000000000002</c:v>
                </c:pt>
                <c:pt idx="1543">
                  <c:v>8.5000000000000006E-2</c:v>
                </c:pt>
                <c:pt idx="1544">
                  <c:v>8.0000000000000002E-3</c:v>
                </c:pt>
                <c:pt idx="1545">
                  <c:v>0.161</c:v>
                </c:pt>
                <c:pt idx="1546">
                  <c:v>3.5999999999999997E-2</c:v>
                </c:pt>
                <c:pt idx="1547">
                  <c:v>5.5E-2</c:v>
                </c:pt>
                <c:pt idx="1548">
                  <c:v>0.06</c:v>
                </c:pt>
                <c:pt idx="1549">
                  <c:v>3.6999999999999998E-2</c:v>
                </c:pt>
                <c:pt idx="1550">
                  <c:v>1.2E-2</c:v>
                </c:pt>
                <c:pt idx="1551">
                  <c:v>4.8000000000000001E-2</c:v>
                </c:pt>
                <c:pt idx="1552">
                  <c:v>1.2999999999999999E-2</c:v>
                </c:pt>
                <c:pt idx="1553">
                  <c:v>0.106</c:v>
                </c:pt>
                <c:pt idx="1554">
                  <c:v>3.5000000000000003E-2</c:v>
                </c:pt>
                <c:pt idx="1555">
                  <c:v>0.224</c:v>
                </c:pt>
                <c:pt idx="1556">
                  <c:v>0.105</c:v>
                </c:pt>
                <c:pt idx="1557">
                  <c:v>6.4000000000000001E-2</c:v>
                </c:pt>
                <c:pt idx="1558">
                  <c:v>0.14099999999999999</c:v>
                </c:pt>
                <c:pt idx="1559">
                  <c:v>4.7E-2</c:v>
                </c:pt>
                <c:pt idx="1560">
                  <c:v>3.4000000000000002E-2</c:v>
                </c:pt>
                <c:pt idx="1561">
                  <c:v>4.2999999999999997E-2</c:v>
                </c:pt>
                <c:pt idx="1562">
                  <c:v>8.8999999999999996E-2</c:v>
                </c:pt>
                <c:pt idx="1563">
                  <c:v>2.5999999999999999E-2</c:v>
                </c:pt>
                <c:pt idx="1564">
                  <c:v>7.2999999999999995E-2</c:v>
                </c:pt>
                <c:pt idx="1565">
                  <c:v>0.373</c:v>
                </c:pt>
                <c:pt idx="1566">
                  <c:v>6.5000000000000002E-2</c:v>
                </c:pt>
                <c:pt idx="1567">
                  <c:v>0.54500000000000004</c:v>
                </c:pt>
                <c:pt idx="1568">
                  <c:v>8.6999999999999994E-2</c:v>
                </c:pt>
                <c:pt idx="1569">
                  <c:v>0.218</c:v>
                </c:pt>
                <c:pt idx="1570">
                  <c:v>5.2999999999999999E-2</c:v>
                </c:pt>
                <c:pt idx="1571">
                  <c:v>1.6E-2</c:v>
                </c:pt>
                <c:pt idx="1572">
                  <c:v>2.7E-2</c:v>
                </c:pt>
                <c:pt idx="1573">
                  <c:v>0.21</c:v>
                </c:pt>
                <c:pt idx="1574">
                  <c:v>0.13200000000000001</c:v>
                </c:pt>
                <c:pt idx="1575">
                  <c:v>0.215</c:v>
                </c:pt>
                <c:pt idx="1576">
                  <c:v>0.10100000000000001</c:v>
                </c:pt>
                <c:pt idx="1577">
                  <c:v>8.0000000000000002E-3</c:v>
                </c:pt>
                <c:pt idx="1578">
                  <c:v>6.2E-2</c:v>
                </c:pt>
                <c:pt idx="1579">
                  <c:v>0.249</c:v>
                </c:pt>
                <c:pt idx="1580">
                  <c:v>1.2E-2</c:v>
                </c:pt>
                <c:pt idx="1581">
                  <c:v>1.2E-2</c:v>
                </c:pt>
                <c:pt idx="1582">
                  <c:v>3.5000000000000003E-2</c:v>
                </c:pt>
                <c:pt idx="1583">
                  <c:v>0.11899999999999999</c:v>
                </c:pt>
                <c:pt idx="1584">
                  <c:v>3.4000000000000002E-2</c:v>
                </c:pt>
                <c:pt idx="1585">
                  <c:v>5.0000000000000001E-3</c:v>
                </c:pt>
                <c:pt idx="1586">
                  <c:v>8.0000000000000002E-3</c:v>
                </c:pt>
                <c:pt idx="1587">
                  <c:v>0.13700000000000001</c:v>
                </c:pt>
                <c:pt idx="1588">
                  <c:v>0.05</c:v>
                </c:pt>
                <c:pt idx="1589">
                  <c:v>2.1000000000000001E-2</c:v>
                </c:pt>
                <c:pt idx="1590">
                  <c:v>7.0000000000000001E-3</c:v>
                </c:pt>
                <c:pt idx="1591">
                  <c:v>0.13900000000000001</c:v>
                </c:pt>
                <c:pt idx="1592">
                  <c:v>0.13300000000000001</c:v>
                </c:pt>
                <c:pt idx="1593">
                  <c:v>2E-3</c:v>
                </c:pt>
                <c:pt idx="1594">
                  <c:v>0.08</c:v>
                </c:pt>
                <c:pt idx="1595">
                  <c:v>0.14899999999999999</c:v>
                </c:pt>
                <c:pt idx="1596">
                  <c:v>0.01</c:v>
                </c:pt>
                <c:pt idx="1597">
                  <c:v>2.7E-2</c:v>
                </c:pt>
                <c:pt idx="1598">
                  <c:v>0.187</c:v>
                </c:pt>
                <c:pt idx="1599">
                  <c:v>4.1000000000000002E-2</c:v>
                </c:pt>
                <c:pt idx="1600">
                  <c:v>4.5999999999999999E-2</c:v>
                </c:pt>
                <c:pt idx="1601">
                  <c:v>1.7000000000000001E-2</c:v>
                </c:pt>
                <c:pt idx="1602">
                  <c:v>4.7E-2</c:v>
                </c:pt>
                <c:pt idx="1603">
                  <c:v>0.11899999999999999</c:v>
                </c:pt>
                <c:pt idx="1604">
                  <c:v>6.2E-2</c:v>
                </c:pt>
                <c:pt idx="1605">
                  <c:v>5.2999999999999999E-2</c:v>
                </c:pt>
                <c:pt idx="1606">
                  <c:v>0.183</c:v>
                </c:pt>
                <c:pt idx="1607">
                  <c:v>4.5999999999999999E-2</c:v>
                </c:pt>
                <c:pt idx="1608">
                  <c:v>0.33800000000000002</c:v>
                </c:pt>
                <c:pt idx="1609">
                  <c:v>4.0000000000000001E-3</c:v>
                </c:pt>
                <c:pt idx="1610">
                  <c:v>0.19</c:v>
                </c:pt>
                <c:pt idx="1611">
                  <c:v>7.2999999999999995E-2</c:v>
                </c:pt>
                <c:pt idx="1612">
                  <c:v>8.9999999999999993E-3</c:v>
                </c:pt>
                <c:pt idx="1613">
                  <c:v>1.2999999999999999E-2</c:v>
                </c:pt>
                <c:pt idx="1614">
                  <c:v>0.109</c:v>
                </c:pt>
                <c:pt idx="1615">
                  <c:v>6.4000000000000001E-2</c:v>
                </c:pt>
                <c:pt idx="1616">
                  <c:v>2.1000000000000001E-2</c:v>
                </c:pt>
                <c:pt idx="1617">
                  <c:v>0.11799999999999999</c:v>
                </c:pt>
                <c:pt idx="1618">
                  <c:v>0.251</c:v>
                </c:pt>
                <c:pt idx="1619">
                  <c:v>0.26900000000000002</c:v>
                </c:pt>
                <c:pt idx="1620">
                  <c:v>4.7E-2</c:v>
                </c:pt>
                <c:pt idx="1621">
                  <c:v>9.0999999999999998E-2</c:v>
                </c:pt>
                <c:pt idx="1622">
                  <c:v>5.0000000000000001E-3</c:v>
                </c:pt>
                <c:pt idx="1623">
                  <c:v>6.8000000000000005E-2</c:v>
                </c:pt>
                <c:pt idx="1624">
                  <c:v>4.5999999999999999E-2</c:v>
                </c:pt>
                <c:pt idx="1625">
                  <c:v>0.03</c:v>
                </c:pt>
                <c:pt idx="1626">
                  <c:v>6.8000000000000005E-2</c:v>
                </c:pt>
                <c:pt idx="1627">
                  <c:v>0.05</c:v>
                </c:pt>
                <c:pt idx="1628">
                  <c:v>1.0999999999999999E-2</c:v>
                </c:pt>
                <c:pt idx="1629">
                  <c:v>0.14099999999999999</c:v>
                </c:pt>
                <c:pt idx="1630">
                  <c:v>4.5999999999999999E-2</c:v>
                </c:pt>
                <c:pt idx="1631">
                  <c:v>0.437</c:v>
                </c:pt>
                <c:pt idx="1632">
                  <c:v>1.7000000000000001E-2</c:v>
                </c:pt>
                <c:pt idx="1633">
                  <c:v>7.2999999999999995E-2</c:v>
                </c:pt>
                <c:pt idx="1634">
                  <c:v>0.127</c:v>
                </c:pt>
                <c:pt idx="1635">
                  <c:v>6.2E-2</c:v>
                </c:pt>
                <c:pt idx="1636">
                  <c:v>5.0999999999999997E-2</c:v>
                </c:pt>
                <c:pt idx="1637">
                  <c:v>3.5000000000000003E-2</c:v>
                </c:pt>
                <c:pt idx="1638">
                  <c:v>0.14599999999999999</c:v>
                </c:pt>
                <c:pt idx="1639">
                  <c:v>2E-3</c:v>
                </c:pt>
                <c:pt idx="1640">
                  <c:v>8.0000000000000002E-3</c:v>
                </c:pt>
                <c:pt idx="1641">
                  <c:v>3.6999999999999998E-2</c:v>
                </c:pt>
                <c:pt idx="1642">
                  <c:v>0.17299999999999999</c:v>
                </c:pt>
                <c:pt idx="1643">
                  <c:v>0.128</c:v>
                </c:pt>
                <c:pt idx="1644">
                  <c:v>8.0000000000000002E-3</c:v>
                </c:pt>
                <c:pt idx="1645">
                  <c:v>4.9000000000000002E-2</c:v>
                </c:pt>
                <c:pt idx="1646">
                  <c:v>4.1000000000000002E-2</c:v>
                </c:pt>
                <c:pt idx="1647">
                  <c:v>6.4000000000000001E-2</c:v>
                </c:pt>
                <c:pt idx="1648">
                  <c:v>8.9999999999999993E-3</c:v>
                </c:pt>
                <c:pt idx="1649">
                  <c:v>1.7000000000000001E-2</c:v>
                </c:pt>
                <c:pt idx="1650">
                  <c:v>0.26100000000000001</c:v>
                </c:pt>
                <c:pt idx="1651">
                  <c:v>0.23300000000000001</c:v>
                </c:pt>
                <c:pt idx="1652">
                  <c:v>4.0000000000000001E-3</c:v>
                </c:pt>
                <c:pt idx="1653">
                  <c:v>7.8E-2</c:v>
                </c:pt>
                <c:pt idx="1654">
                  <c:v>2.3E-2</c:v>
                </c:pt>
                <c:pt idx="1655">
                  <c:v>8.0000000000000002E-3</c:v>
                </c:pt>
                <c:pt idx="1656">
                  <c:v>1.7000000000000001E-2</c:v>
                </c:pt>
                <c:pt idx="1657">
                  <c:v>0.13200000000000001</c:v>
                </c:pt>
                <c:pt idx="1658">
                  <c:v>0.183</c:v>
                </c:pt>
                <c:pt idx="1659">
                  <c:v>0.05</c:v>
                </c:pt>
                <c:pt idx="1660">
                  <c:v>2.7E-2</c:v>
                </c:pt>
                <c:pt idx="1661">
                  <c:v>5.0000000000000001E-3</c:v>
                </c:pt>
                <c:pt idx="1662">
                  <c:v>8.0000000000000002E-3</c:v>
                </c:pt>
                <c:pt idx="1663">
                  <c:v>0.05</c:v>
                </c:pt>
                <c:pt idx="1664">
                  <c:v>4.0000000000000001E-3</c:v>
                </c:pt>
                <c:pt idx="1665">
                  <c:v>0.219</c:v>
                </c:pt>
                <c:pt idx="1666">
                  <c:v>2.4E-2</c:v>
                </c:pt>
                <c:pt idx="1667">
                  <c:v>3.5999999999999997E-2</c:v>
                </c:pt>
                <c:pt idx="1668">
                  <c:v>1.0999999999999999E-2</c:v>
                </c:pt>
                <c:pt idx="1669">
                  <c:v>1.2999999999999999E-2</c:v>
                </c:pt>
                <c:pt idx="1670">
                  <c:v>8.9999999999999993E-3</c:v>
                </c:pt>
                <c:pt idx="1671">
                  <c:v>5.0000000000000001E-3</c:v>
                </c:pt>
                <c:pt idx="1672">
                  <c:v>0.183</c:v>
                </c:pt>
                <c:pt idx="1673">
                  <c:v>8.0000000000000002E-3</c:v>
                </c:pt>
                <c:pt idx="1674">
                  <c:v>5.2999999999999999E-2</c:v>
                </c:pt>
                <c:pt idx="1675">
                  <c:v>3.2000000000000001E-2</c:v>
                </c:pt>
                <c:pt idx="1676">
                  <c:v>6.4000000000000001E-2</c:v>
                </c:pt>
                <c:pt idx="1677">
                  <c:v>8.3000000000000004E-2</c:v>
                </c:pt>
                <c:pt idx="1678">
                  <c:v>0.155</c:v>
                </c:pt>
                <c:pt idx="1679">
                  <c:v>1.2999999999999999E-2</c:v>
                </c:pt>
                <c:pt idx="1680">
                  <c:v>4.0000000000000001E-3</c:v>
                </c:pt>
                <c:pt idx="1681">
                  <c:v>0.04</c:v>
                </c:pt>
                <c:pt idx="1682">
                  <c:v>0.26700000000000002</c:v>
                </c:pt>
                <c:pt idx="1683">
                  <c:v>1.7999999999999999E-2</c:v>
                </c:pt>
                <c:pt idx="1684">
                  <c:v>4.1000000000000002E-2</c:v>
                </c:pt>
                <c:pt idx="1685">
                  <c:v>0.32900000000000001</c:v>
                </c:pt>
                <c:pt idx="1686">
                  <c:v>3.4000000000000002E-2</c:v>
                </c:pt>
                <c:pt idx="1687">
                  <c:v>1.2999999999999999E-2</c:v>
                </c:pt>
                <c:pt idx="1688">
                  <c:v>1.2E-2</c:v>
                </c:pt>
                <c:pt idx="1689">
                  <c:v>4.2000000000000003E-2</c:v>
                </c:pt>
                <c:pt idx="1690">
                  <c:v>1.7000000000000001E-2</c:v>
                </c:pt>
                <c:pt idx="1691">
                  <c:v>8.0000000000000002E-3</c:v>
                </c:pt>
                <c:pt idx="1692">
                  <c:v>2.1999999999999999E-2</c:v>
                </c:pt>
                <c:pt idx="1693">
                  <c:v>5.1999999999999998E-2</c:v>
                </c:pt>
                <c:pt idx="1694">
                  <c:v>2E-3</c:v>
                </c:pt>
                <c:pt idx="1695">
                  <c:v>2.4E-2</c:v>
                </c:pt>
                <c:pt idx="1696">
                  <c:v>2.3E-2</c:v>
                </c:pt>
                <c:pt idx="1697">
                  <c:v>8.0000000000000002E-3</c:v>
                </c:pt>
                <c:pt idx="1698">
                  <c:v>8.0000000000000002E-3</c:v>
                </c:pt>
                <c:pt idx="1699">
                  <c:v>0.32400000000000001</c:v>
                </c:pt>
                <c:pt idx="1700">
                  <c:v>4.9000000000000002E-2</c:v>
                </c:pt>
                <c:pt idx="1701">
                  <c:v>8.0000000000000002E-3</c:v>
                </c:pt>
                <c:pt idx="1702">
                  <c:v>2.7E-2</c:v>
                </c:pt>
                <c:pt idx="1703">
                  <c:v>0.11600000000000001</c:v>
                </c:pt>
                <c:pt idx="1704">
                  <c:v>4.0000000000000001E-3</c:v>
                </c:pt>
                <c:pt idx="1705">
                  <c:v>4.0000000000000001E-3</c:v>
                </c:pt>
                <c:pt idx="1706">
                  <c:v>0.13200000000000001</c:v>
                </c:pt>
                <c:pt idx="1707">
                  <c:v>3.5000000000000003E-2</c:v>
                </c:pt>
                <c:pt idx="1708">
                  <c:v>1.2999999999999999E-2</c:v>
                </c:pt>
                <c:pt idx="1709">
                  <c:v>3.2000000000000001E-2</c:v>
                </c:pt>
                <c:pt idx="1710">
                  <c:v>2.7E-2</c:v>
                </c:pt>
                <c:pt idx="1711">
                  <c:v>1.7000000000000001E-2</c:v>
                </c:pt>
                <c:pt idx="1712">
                  <c:v>4.5999999999999999E-2</c:v>
                </c:pt>
                <c:pt idx="1713">
                  <c:v>2.1999999999999999E-2</c:v>
                </c:pt>
                <c:pt idx="1714">
                  <c:v>1.0999999999999999E-2</c:v>
                </c:pt>
                <c:pt idx="1715">
                  <c:v>0.316</c:v>
                </c:pt>
                <c:pt idx="1716">
                  <c:v>4.0000000000000001E-3</c:v>
                </c:pt>
                <c:pt idx="1717">
                  <c:v>4.8000000000000001E-2</c:v>
                </c:pt>
                <c:pt idx="1718">
                  <c:v>8.0000000000000002E-3</c:v>
                </c:pt>
                <c:pt idx="1719">
                  <c:v>8.0000000000000002E-3</c:v>
                </c:pt>
                <c:pt idx="1720">
                  <c:v>0.1</c:v>
                </c:pt>
                <c:pt idx="1721">
                  <c:v>5.0000000000000001E-3</c:v>
                </c:pt>
                <c:pt idx="1722">
                  <c:v>6.8000000000000005E-2</c:v>
                </c:pt>
                <c:pt idx="1723">
                  <c:v>5.7000000000000002E-2</c:v>
                </c:pt>
                <c:pt idx="1724">
                  <c:v>8.0000000000000002E-3</c:v>
                </c:pt>
                <c:pt idx="1725">
                  <c:v>1.9E-2</c:v>
                </c:pt>
                <c:pt idx="1726">
                  <c:v>3.6999999999999998E-2</c:v>
                </c:pt>
                <c:pt idx="1727">
                  <c:v>0.155</c:v>
                </c:pt>
                <c:pt idx="1728">
                  <c:v>5.5E-2</c:v>
                </c:pt>
                <c:pt idx="1729">
                  <c:v>0.06</c:v>
                </c:pt>
                <c:pt idx="1730">
                  <c:v>5.0000000000000001E-3</c:v>
                </c:pt>
                <c:pt idx="1731">
                  <c:v>5.0000000000000001E-3</c:v>
                </c:pt>
                <c:pt idx="1732">
                  <c:v>4.2999999999999997E-2</c:v>
                </c:pt>
                <c:pt idx="1733">
                  <c:v>5.0000000000000001E-3</c:v>
                </c:pt>
                <c:pt idx="1734">
                  <c:v>4.4999999999999998E-2</c:v>
                </c:pt>
                <c:pt idx="1735">
                  <c:v>1.6E-2</c:v>
                </c:pt>
                <c:pt idx="1736">
                  <c:v>2.1000000000000001E-2</c:v>
                </c:pt>
                <c:pt idx="1737">
                  <c:v>4.5999999999999999E-2</c:v>
                </c:pt>
                <c:pt idx="1738">
                  <c:v>6.8000000000000005E-2</c:v>
                </c:pt>
                <c:pt idx="1739">
                  <c:v>0.1</c:v>
                </c:pt>
                <c:pt idx="1740">
                  <c:v>1.2999999999999999E-2</c:v>
                </c:pt>
                <c:pt idx="1741">
                  <c:v>7.6999999999999999E-2</c:v>
                </c:pt>
                <c:pt idx="1742">
                  <c:v>0.123</c:v>
                </c:pt>
                <c:pt idx="1743">
                  <c:v>3.0000000000000001E-3</c:v>
                </c:pt>
                <c:pt idx="1744">
                  <c:v>1.2999999999999999E-2</c:v>
                </c:pt>
                <c:pt idx="1745">
                  <c:v>1.2999999999999999E-2</c:v>
                </c:pt>
                <c:pt idx="1746">
                  <c:v>5.5E-2</c:v>
                </c:pt>
                <c:pt idx="1747">
                  <c:v>3.0000000000000001E-3</c:v>
                </c:pt>
                <c:pt idx="1748">
                  <c:v>0.10299999999999999</c:v>
                </c:pt>
                <c:pt idx="1749">
                  <c:v>2E-3</c:v>
                </c:pt>
                <c:pt idx="1750">
                  <c:v>4.3999999999999997E-2</c:v>
                </c:pt>
                <c:pt idx="1751">
                  <c:v>1.4E-2</c:v>
                </c:pt>
                <c:pt idx="1752">
                  <c:v>8.0000000000000002E-3</c:v>
                </c:pt>
                <c:pt idx="1753">
                  <c:v>8.0000000000000002E-3</c:v>
                </c:pt>
                <c:pt idx="1754">
                  <c:v>5.8000000000000003E-2</c:v>
                </c:pt>
                <c:pt idx="1755">
                  <c:v>6.6000000000000003E-2</c:v>
                </c:pt>
                <c:pt idx="1756">
                  <c:v>0.31</c:v>
                </c:pt>
                <c:pt idx="1757">
                  <c:v>3.6999999999999998E-2</c:v>
                </c:pt>
                <c:pt idx="1758">
                  <c:v>3.7999999999999999E-2</c:v>
                </c:pt>
                <c:pt idx="1759">
                  <c:v>3.2000000000000001E-2</c:v>
                </c:pt>
                <c:pt idx="1760">
                  <c:v>7.8E-2</c:v>
                </c:pt>
                <c:pt idx="1761">
                  <c:v>3.5999999999999997E-2</c:v>
                </c:pt>
                <c:pt idx="1762">
                  <c:v>4.0000000000000001E-3</c:v>
                </c:pt>
                <c:pt idx="1763">
                  <c:v>7.8E-2</c:v>
                </c:pt>
                <c:pt idx="1764">
                  <c:v>4.0000000000000001E-3</c:v>
                </c:pt>
                <c:pt idx="1765">
                  <c:v>1.4E-2</c:v>
                </c:pt>
                <c:pt idx="1766">
                  <c:v>2.4E-2</c:v>
                </c:pt>
                <c:pt idx="1767">
                  <c:v>3.4000000000000002E-2</c:v>
                </c:pt>
                <c:pt idx="1768">
                  <c:v>4.0000000000000001E-3</c:v>
                </c:pt>
                <c:pt idx="1769">
                  <c:v>0.04</c:v>
                </c:pt>
                <c:pt idx="1770">
                  <c:v>5.8999999999999997E-2</c:v>
                </c:pt>
                <c:pt idx="1771">
                  <c:v>9.0999999999999998E-2</c:v>
                </c:pt>
                <c:pt idx="1772">
                  <c:v>8.0000000000000002E-3</c:v>
                </c:pt>
                <c:pt idx="1773">
                  <c:v>1.4999999999999999E-2</c:v>
                </c:pt>
                <c:pt idx="1774">
                  <c:v>8.0000000000000002E-3</c:v>
                </c:pt>
                <c:pt idx="1775">
                  <c:v>2E-3</c:v>
                </c:pt>
                <c:pt idx="1776">
                  <c:v>5.5E-2</c:v>
                </c:pt>
                <c:pt idx="1777">
                  <c:v>0.115</c:v>
                </c:pt>
                <c:pt idx="1778">
                  <c:v>5.0000000000000001E-3</c:v>
                </c:pt>
                <c:pt idx="1779">
                  <c:v>4.0000000000000001E-3</c:v>
                </c:pt>
                <c:pt idx="1780">
                  <c:v>7.4999999999999997E-2</c:v>
                </c:pt>
                <c:pt idx="1781">
                  <c:v>1.7000000000000001E-2</c:v>
                </c:pt>
                <c:pt idx="1782">
                  <c:v>4.4999999999999998E-2</c:v>
                </c:pt>
                <c:pt idx="1783">
                  <c:v>3.6999999999999998E-2</c:v>
                </c:pt>
                <c:pt idx="1784">
                  <c:v>8.0000000000000002E-3</c:v>
                </c:pt>
                <c:pt idx="1785">
                  <c:v>0.05</c:v>
                </c:pt>
                <c:pt idx="1786">
                  <c:v>1.9E-2</c:v>
                </c:pt>
                <c:pt idx="1787">
                  <c:v>1.2999999999999999E-2</c:v>
                </c:pt>
                <c:pt idx="1788">
                  <c:v>7.0999999999999994E-2</c:v>
                </c:pt>
                <c:pt idx="1789">
                  <c:v>8.7999999999999995E-2</c:v>
                </c:pt>
                <c:pt idx="1790">
                  <c:v>8.0000000000000002E-3</c:v>
                </c:pt>
                <c:pt idx="1791">
                  <c:v>1.2E-2</c:v>
                </c:pt>
                <c:pt idx="1792">
                  <c:v>0.27900000000000003</c:v>
                </c:pt>
                <c:pt idx="1793">
                  <c:v>5.0000000000000001E-3</c:v>
                </c:pt>
                <c:pt idx="1794">
                  <c:v>1.7999999999999999E-2</c:v>
                </c:pt>
                <c:pt idx="1795">
                  <c:v>5.0000000000000001E-3</c:v>
                </c:pt>
                <c:pt idx="1796">
                  <c:v>0.05</c:v>
                </c:pt>
                <c:pt idx="1797">
                  <c:v>8.9999999999999993E-3</c:v>
                </c:pt>
                <c:pt idx="1798">
                  <c:v>2E-3</c:v>
                </c:pt>
                <c:pt idx="1799">
                  <c:v>0.114</c:v>
                </c:pt>
                <c:pt idx="1800">
                  <c:v>5.5E-2</c:v>
                </c:pt>
                <c:pt idx="1801">
                  <c:v>6.4000000000000001E-2</c:v>
                </c:pt>
                <c:pt idx="1802">
                  <c:v>5.0000000000000001E-3</c:v>
                </c:pt>
                <c:pt idx="1803">
                  <c:v>1.4E-2</c:v>
                </c:pt>
                <c:pt idx="1804">
                  <c:v>5.0000000000000001E-3</c:v>
                </c:pt>
                <c:pt idx="1805">
                  <c:v>2E-3</c:v>
                </c:pt>
                <c:pt idx="1806">
                  <c:v>4.0000000000000001E-3</c:v>
                </c:pt>
                <c:pt idx="1807">
                  <c:v>1.2999999999999999E-2</c:v>
                </c:pt>
                <c:pt idx="1808">
                  <c:v>2E-3</c:v>
                </c:pt>
                <c:pt idx="1809">
                  <c:v>0.29099999999999998</c:v>
                </c:pt>
                <c:pt idx="1810">
                  <c:v>1.2999999999999999E-2</c:v>
                </c:pt>
                <c:pt idx="1811">
                  <c:v>0.184</c:v>
                </c:pt>
                <c:pt idx="1812">
                  <c:v>0.14199999999999999</c:v>
                </c:pt>
                <c:pt idx="1813">
                  <c:v>3.6999999999999998E-2</c:v>
                </c:pt>
                <c:pt idx="1814">
                  <c:v>4.2999999999999997E-2</c:v>
                </c:pt>
                <c:pt idx="1815">
                  <c:v>1.7000000000000001E-2</c:v>
                </c:pt>
                <c:pt idx="1816">
                  <c:v>2.1000000000000001E-2</c:v>
                </c:pt>
                <c:pt idx="1817">
                  <c:v>7.2999999999999995E-2</c:v>
                </c:pt>
                <c:pt idx="1818">
                  <c:v>4.0000000000000001E-3</c:v>
                </c:pt>
                <c:pt idx="1819">
                  <c:v>4.5999999999999999E-2</c:v>
                </c:pt>
                <c:pt idx="1820">
                  <c:v>7.3999999999999996E-2</c:v>
                </c:pt>
                <c:pt idx="1821">
                  <c:v>5.5E-2</c:v>
                </c:pt>
                <c:pt idx="1822">
                  <c:v>0.04</c:v>
                </c:pt>
                <c:pt idx="1823">
                  <c:v>6.7000000000000004E-2</c:v>
                </c:pt>
                <c:pt idx="1824">
                  <c:v>1.7000000000000001E-2</c:v>
                </c:pt>
                <c:pt idx="1825">
                  <c:v>2.4E-2</c:v>
                </c:pt>
                <c:pt idx="1826">
                  <c:v>5.0000000000000001E-3</c:v>
                </c:pt>
                <c:pt idx="1827">
                  <c:v>1.4999999999999999E-2</c:v>
                </c:pt>
                <c:pt idx="1828">
                  <c:v>2E-3</c:v>
                </c:pt>
                <c:pt idx="1829">
                  <c:v>2.1999999999999999E-2</c:v>
                </c:pt>
                <c:pt idx="1830">
                  <c:v>2.3E-2</c:v>
                </c:pt>
                <c:pt idx="1831">
                  <c:v>2.7E-2</c:v>
                </c:pt>
                <c:pt idx="1832">
                  <c:v>6.4000000000000001E-2</c:v>
                </c:pt>
                <c:pt idx="1833">
                  <c:v>5.7000000000000002E-2</c:v>
                </c:pt>
                <c:pt idx="1834">
                  <c:v>8.0000000000000002E-3</c:v>
                </c:pt>
                <c:pt idx="1835">
                  <c:v>0.14099999999999999</c:v>
                </c:pt>
                <c:pt idx="1836">
                  <c:v>0.187</c:v>
                </c:pt>
                <c:pt idx="1837">
                  <c:v>5.0000000000000001E-3</c:v>
                </c:pt>
                <c:pt idx="1838">
                  <c:v>0.05</c:v>
                </c:pt>
                <c:pt idx="1839">
                  <c:v>4.1000000000000002E-2</c:v>
                </c:pt>
                <c:pt idx="1840">
                  <c:v>2.1999999999999999E-2</c:v>
                </c:pt>
                <c:pt idx="1841">
                  <c:v>2E-3</c:v>
                </c:pt>
                <c:pt idx="1842">
                  <c:v>8.9999999999999993E-3</c:v>
                </c:pt>
                <c:pt idx="1843">
                  <c:v>1.2999999999999999E-2</c:v>
                </c:pt>
                <c:pt idx="1844">
                  <c:v>0.29699999999999999</c:v>
                </c:pt>
                <c:pt idx="1845">
                  <c:v>3.6999999999999998E-2</c:v>
                </c:pt>
                <c:pt idx="1846">
                  <c:v>0.14499999999999999</c:v>
                </c:pt>
                <c:pt idx="1847">
                  <c:v>3.9E-2</c:v>
                </c:pt>
                <c:pt idx="1848">
                  <c:v>7.0000000000000007E-2</c:v>
                </c:pt>
                <c:pt idx="1849">
                  <c:v>2E-3</c:v>
                </c:pt>
                <c:pt idx="1850">
                  <c:v>1.4E-2</c:v>
                </c:pt>
                <c:pt idx="1851">
                  <c:v>8.0000000000000002E-3</c:v>
                </c:pt>
                <c:pt idx="1852">
                  <c:v>4.5999999999999999E-2</c:v>
                </c:pt>
                <c:pt idx="1853">
                  <c:v>6.8000000000000005E-2</c:v>
                </c:pt>
                <c:pt idx="1854">
                  <c:v>7.2999999999999995E-2</c:v>
                </c:pt>
                <c:pt idx="1855">
                  <c:v>0.31</c:v>
                </c:pt>
                <c:pt idx="1856">
                  <c:v>2E-3</c:v>
                </c:pt>
                <c:pt idx="1857">
                  <c:v>6.4000000000000001E-2</c:v>
                </c:pt>
                <c:pt idx="1858">
                  <c:v>1.6E-2</c:v>
                </c:pt>
                <c:pt idx="1859">
                  <c:v>1.2999999999999999E-2</c:v>
                </c:pt>
                <c:pt idx="1860">
                  <c:v>2.7E-2</c:v>
                </c:pt>
                <c:pt idx="1861">
                  <c:v>3.0000000000000001E-3</c:v>
                </c:pt>
                <c:pt idx="1862">
                  <c:v>4.0000000000000001E-3</c:v>
                </c:pt>
                <c:pt idx="1863">
                  <c:v>5.8999999999999997E-2</c:v>
                </c:pt>
                <c:pt idx="1864">
                  <c:v>2E-3</c:v>
                </c:pt>
                <c:pt idx="1865">
                  <c:v>0.05</c:v>
                </c:pt>
                <c:pt idx="1866">
                  <c:v>4.8000000000000001E-2</c:v>
                </c:pt>
                <c:pt idx="1867">
                  <c:v>1.9E-2</c:v>
                </c:pt>
                <c:pt idx="1868">
                  <c:v>3.2000000000000001E-2</c:v>
                </c:pt>
                <c:pt idx="1869">
                  <c:v>8.0000000000000002E-3</c:v>
                </c:pt>
                <c:pt idx="1870">
                  <c:v>4.0000000000000001E-3</c:v>
                </c:pt>
                <c:pt idx="1871">
                  <c:v>0.17799999999999999</c:v>
                </c:pt>
                <c:pt idx="1872">
                  <c:v>1.0999999999999999E-2</c:v>
                </c:pt>
                <c:pt idx="1873">
                  <c:v>1.7999999999999999E-2</c:v>
                </c:pt>
                <c:pt idx="1874">
                  <c:v>5.0000000000000001E-3</c:v>
                </c:pt>
                <c:pt idx="1875">
                  <c:v>0.34699999999999998</c:v>
                </c:pt>
                <c:pt idx="1876">
                  <c:v>4.1000000000000002E-2</c:v>
                </c:pt>
                <c:pt idx="1877">
                  <c:v>5.1999999999999998E-2</c:v>
                </c:pt>
                <c:pt idx="1878">
                  <c:v>2.7E-2</c:v>
                </c:pt>
                <c:pt idx="1879">
                  <c:v>4.0000000000000001E-3</c:v>
                </c:pt>
                <c:pt idx="1880">
                  <c:v>3.1E-2</c:v>
                </c:pt>
                <c:pt idx="1881">
                  <c:v>6.4000000000000001E-2</c:v>
                </c:pt>
                <c:pt idx="1882">
                  <c:v>2E-3</c:v>
                </c:pt>
                <c:pt idx="1883">
                  <c:v>4.4999999999999998E-2</c:v>
                </c:pt>
                <c:pt idx="1884">
                  <c:v>0.08</c:v>
                </c:pt>
                <c:pt idx="1885">
                  <c:v>4.0000000000000001E-3</c:v>
                </c:pt>
                <c:pt idx="1886">
                  <c:v>9.8000000000000004E-2</c:v>
                </c:pt>
                <c:pt idx="1887">
                  <c:v>2.4E-2</c:v>
                </c:pt>
                <c:pt idx="1888">
                  <c:v>5.0000000000000001E-3</c:v>
                </c:pt>
                <c:pt idx="1889">
                  <c:v>3.6999999999999998E-2</c:v>
                </c:pt>
                <c:pt idx="1890">
                  <c:v>8.0000000000000002E-3</c:v>
                </c:pt>
                <c:pt idx="1891">
                  <c:v>1.7999999999999999E-2</c:v>
                </c:pt>
                <c:pt idx="1892">
                  <c:v>2.3E-2</c:v>
                </c:pt>
                <c:pt idx="1893">
                  <c:v>1.7000000000000001E-2</c:v>
                </c:pt>
                <c:pt idx="1894">
                  <c:v>0.23</c:v>
                </c:pt>
                <c:pt idx="1895">
                  <c:v>4.5999999999999999E-2</c:v>
                </c:pt>
                <c:pt idx="1896">
                  <c:v>2.3E-2</c:v>
                </c:pt>
                <c:pt idx="1897">
                  <c:v>4.5999999999999999E-2</c:v>
                </c:pt>
                <c:pt idx="1898">
                  <c:v>0.12</c:v>
                </c:pt>
                <c:pt idx="1899">
                  <c:v>2.1000000000000001E-2</c:v>
                </c:pt>
                <c:pt idx="1900">
                  <c:v>2.7E-2</c:v>
                </c:pt>
                <c:pt idx="1901">
                  <c:v>4.5999999999999999E-2</c:v>
                </c:pt>
                <c:pt idx="1902">
                  <c:v>0.04</c:v>
                </c:pt>
                <c:pt idx="1903">
                  <c:v>3.5000000000000003E-2</c:v>
                </c:pt>
                <c:pt idx="1904">
                  <c:v>2.5999999999999999E-2</c:v>
                </c:pt>
                <c:pt idx="1905">
                  <c:v>0.26600000000000001</c:v>
                </c:pt>
                <c:pt idx="1906">
                  <c:v>5.8999999999999997E-2</c:v>
                </c:pt>
                <c:pt idx="1907">
                  <c:v>5.0000000000000001E-3</c:v>
                </c:pt>
                <c:pt idx="1908">
                  <c:v>2.8000000000000001E-2</c:v>
                </c:pt>
                <c:pt idx="1909">
                  <c:v>3.5000000000000003E-2</c:v>
                </c:pt>
                <c:pt idx="1910">
                  <c:v>2.8000000000000001E-2</c:v>
                </c:pt>
                <c:pt idx="1911">
                  <c:v>1.4E-2</c:v>
                </c:pt>
                <c:pt idx="1912">
                  <c:v>2E-3</c:v>
                </c:pt>
                <c:pt idx="1913">
                  <c:v>7.5999999999999998E-2</c:v>
                </c:pt>
                <c:pt idx="1914">
                  <c:v>5.0000000000000001E-3</c:v>
                </c:pt>
                <c:pt idx="1915">
                  <c:v>6.4000000000000001E-2</c:v>
                </c:pt>
                <c:pt idx="1916">
                  <c:v>1.7000000000000001E-2</c:v>
                </c:pt>
                <c:pt idx="1917">
                  <c:v>4.5999999999999999E-2</c:v>
                </c:pt>
                <c:pt idx="1918">
                  <c:v>2.4E-2</c:v>
                </c:pt>
                <c:pt idx="1919">
                  <c:v>4.1000000000000002E-2</c:v>
                </c:pt>
                <c:pt idx="1920">
                  <c:v>8.0000000000000002E-3</c:v>
                </c:pt>
                <c:pt idx="1921">
                  <c:v>7.2999999999999995E-2</c:v>
                </c:pt>
                <c:pt idx="1922">
                  <c:v>7.8E-2</c:v>
                </c:pt>
                <c:pt idx="1923">
                  <c:v>2E-3</c:v>
                </c:pt>
                <c:pt idx="1924">
                  <c:v>4.8000000000000001E-2</c:v>
                </c:pt>
                <c:pt idx="1925">
                  <c:v>1.2999999999999999E-2</c:v>
                </c:pt>
                <c:pt idx="1926">
                  <c:v>8.0000000000000002E-3</c:v>
                </c:pt>
                <c:pt idx="1927">
                  <c:v>0.114</c:v>
                </c:pt>
                <c:pt idx="1928">
                  <c:v>0.13800000000000001</c:v>
                </c:pt>
                <c:pt idx="1929">
                  <c:v>1.7000000000000001E-2</c:v>
                </c:pt>
                <c:pt idx="1930">
                  <c:v>8.0000000000000002E-3</c:v>
                </c:pt>
                <c:pt idx="1931">
                  <c:v>6.4000000000000001E-2</c:v>
                </c:pt>
                <c:pt idx="1932">
                  <c:v>4.9000000000000002E-2</c:v>
                </c:pt>
                <c:pt idx="1933">
                  <c:v>2.1000000000000001E-2</c:v>
                </c:pt>
                <c:pt idx="1934">
                  <c:v>4.1000000000000002E-2</c:v>
                </c:pt>
                <c:pt idx="1935">
                  <c:v>1.7000000000000001E-2</c:v>
                </c:pt>
                <c:pt idx="1936">
                  <c:v>7.5999999999999998E-2</c:v>
                </c:pt>
                <c:pt idx="1937">
                  <c:v>1.2999999999999999E-2</c:v>
                </c:pt>
                <c:pt idx="1938">
                  <c:v>8.0000000000000002E-3</c:v>
                </c:pt>
                <c:pt idx="1939">
                  <c:v>2.4E-2</c:v>
                </c:pt>
                <c:pt idx="1940">
                  <c:v>5.0000000000000001E-3</c:v>
                </c:pt>
                <c:pt idx="1941">
                  <c:v>2E-3</c:v>
                </c:pt>
                <c:pt idx="1942">
                  <c:v>0.13</c:v>
                </c:pt>
                <c:pt idx="1943">
                  <c:v>1.2999999999999999E-2</c:v>
                </c:pt>
                <c:pt idx="1944">
                  <c:v>2E-3</c:v>
                </c:pt>
                <c:pt idx="1945">
                  <c:v>6.8000000000000005E-2</c:v>
                </c:pt>
                <c:pt idx="1946">
                  <c:v>8.5000000000000006E-2</c:v>
                </c:pt>
                <c:pt idx="1947">
                  <c:v>6.8000000000000005E-2</c:v>
                </c:pt>
                <c:pt idx="1948">
                  <c:v>2.3E-2</c:v>
                </c:pt>
                <c:pt idx="1949">
                  <c:v>4.5999999999999999E-2</c:v>
                </c:pt>
                <c:pt idx="1950">
                  <c:v>0.05</c:v>
                </c:pt>
                <c:pt idx="1951">
                  <c:v>3.2000000000000001E-2</c:v>
                </c:pt>
                <c:pt idx="1952">
                  <c:v>5.0000000000000001E-3</c:v>
                </c:pt>
                <c:pt idx="1953">
                  <c:v>5.3999999999999999E-2</c:v>
                </c:pt>
                <c:pt idx="1954">
                  <c:v>3.4000000000000002E-2</c:v>
                </c:pt>
                <c:pt idx="1955">
                  <c:v>0.123</c:v>
                </c:pt>
                <c:pt idx="1956">
                  <c:v>5.2999999999999999E-2</c:v>
                </c:pt>
                <c:pt idx="1957">
                  <c:v>2E-3</c:v>
                </c:pt>
                <c:pt idx="1958">
                  <c:v>0.05</c:v>
                </c:pt>
                <c:pt idx="1959">
                  <c:v>2E-3</c:v>
                </c:pt>
                <c:pt idx="1960">
                  <c:v>8.6999999999999994E-2</c:v>
                </c:pt>
                <c:pt idx="1961">
                  <c:v>4.1000000000000002E-2</c:v>
                </c:pt>
                <c:pt idx="1962">
                  <c:v>0.106</c:v>
                </c:pt>
                <c:pt idx="1963">
                  <c:v>2E-3</c:v>
                </c:pt>
                <c:pt idx="1964">
                  <c:v>8.9999999999999993E-3</c:v>
                </c:pt>
                <c:pt idx="1965">
                  <c:v>2.3E-2</c:v>
                </c:pt>
                <c:pt idx="1966">
                  <c:v>8.9999999999999993E-3</c:v>
                </c:pt>
                <c:pt idx="1967">
                  <c:v>4.5999999999999999E-2</c:v>
                </c:pt>
                <c:pt idx="1968">
                  <c:v>0.123</c:v>
                </c:pt>
                <c:pt idx="1969">
                  <c:v>5.0000000000000001E-3</c:v>
                </c:pt>
                <c:pt idx="1970">
                  <c:v>4.5999999999999999E-2</c:v>
                </c:pt>
                <c:pt idx="1971">
                  <c:v>0.13200000000000001</c:v>
                </c:pt>
                <c:pt idx="1972">
                  <c:v>4.5999999999999999E-2</c:v>
                </c:pt>
                <c:pt idx="1973">
                  <c:v>8.8999999999999996E-2</c:v>
                </c:pt>
                <c:pt idx="1974">
                  <c:v>6.4000000000000001E-2</c:v>
                </c:pt>
                <c:pt idx="1975">
                  <c:v>8.0000000000000002E-3</c:v>
                </c:pt>
                <c:pt idx="1976">
                  <c:v>6.8000000000000005E-2</c:v>
                </c:pt>
                <c:pt idx="1977">
                  <c:v>1.2999999999999999E-2</c:v>
                </c:pt>
                <c:pt idx="1978">
                  <c:v>0.05</c:v>
                </c:pt>
                <c:pt idx="1979">
                  <c:v>2E-3</c:v>
                </c:pt>
                <c:pt idx="1980">
                  <c:v>4.1000000000000002E-2</c:v>
                </c:pt>
                <c:pt idx="1981">
                  <c:v>1.2E-2</c:v>
                </c:pt>
                <c:pt idx="1982">
                  <c:v>5.8999999999999997E-2</c:v>
                </c:pt>
                <c:pt idx="1983">
                  <c:v>0.11</c:v>
                </c:pt>
                <c:pt idx="1984">
                  <c:v>3.6999999999999998E-2</c:v>
                </c:pt>
                <c:pt idx="1985">
                  <c:v>7.2999999999999995E-2</c:v>
                </c:pt>
                <c:pt idx="1986">
                  <c:v>3.6999999999999998E-2</c:v>
                </c:pt>
                <c:pt idx="1987">
                  <c:v>9.4E-2</c:v>
                </c:pt>
                <c:pt idx="1988">
                  <c:v>5.0000000000000001E-3</c:v>
                </c:pt>
                <c:pt idx="1989">
                  <c:v>8.9999999999999993E-3</c:v>
                </c:pt>
                <c:pt idx="1990">
                  <c:v>5.0000000000000001E-3</c:v>
                </c:pt>
                <c:pt idx="1991">
                  <c:v>1.2999999999999999E-2</c:v>
                </c:pt>
                <c:pt idx="1992">
                  <c:v>1.9E-2</c:v>
                </c:pt>
                <c:pt idx="1993">
                  <c:v>1.7000000000000001E-2</c:v>
                </c:pt>
                <c:pt idx="1994">
                  <c:v>5.0000000000000001E-3</c:v>
                </c:pt>
                <c:pt idx="1995">
                  <c:v>2.5999999999999999E-2</c:v>
                </c:pt>
                <c:pt idx="1996">
                  <c:v>5.3999999999999999E-2</c:v>
                </c:pt>
                <c:pt idx="1997">
                  <c:v>0.114</c:v>
                </c:pt>
                <c:pt idx="1998">
                  <c:v>8.9999999999999993E-3</c:v>
                </c:pt>
                <c:pt idx="1999">
                  <c:v>8.0000000000000002E-3</c:v>
                </c:pt>
                <c:pt idx="2000">
                  <c:v>1.2999999999999999E-2</c:v>
                </c:pt>
                <c:pt idx="2001">
                  <c:v>5.0000000000000001E-3</c:v>
                </c:pt>
                <c:pt idx="2002">
                  <c:v>3.2000000000000001E-2</c:v>
                </c:pt>
                <c:pt idx="2003">
                  <c:v>2.9000000000000001E-2</c:v>
                </c:pt>
                <c:pt idx="2004">
                  <c:v>0.13200000000000001</c:v>
                </c:pt>
                <c:pt idx="2005">
                  <c:v>5.0000000000000001E-3</c:v>
                </c:pt>
                <c:pt idx="2006">
                  <c:v>4.0000000000000001E-3</c:v>
                </c:pt>
                <c:pt idx="2007">
                  <c:v>6.4000000000000001E-2</c:v>
                </c:pt>
                <c:pt idx="2008">
                  <c:v>8.9999999999999993E-3</c:v>
                </c:pt>
                <c:pt idx="2009">
                  <c:v>2E-3</c:v>
                </c:pt>
                <c:pt idx="2010">
                  <c:v>1.7000000000000001E-2</c:v>
                </c:pt>
                <c:pt idx="2011">
                  <c:v>1.2999999999999999E-2</c:v>
                </c:pt>
                <c:pt idx="2012">
                  <c:v>7.5999999999999998E-2</c:v>
                </c:pt>
                <c:pt idx="2013">
                  <c:v>1.2999999999999999E-2</c:v>
                </c:pt>
                <c:pt idx="2014">
                  <c:v>5.0000000000000001E-3</c:v>
                </c:pt>
                <c:pt idx="2015">
                  <c:v>3.5999999999999997E-2</c:v>
                </c:pt>
                <c:pt idx="2016">
                  <c:v>4.5999999999999999E-2</c:v>
                </c:pt>
                <c:pt idx="2017">
                  <c:v>8.0000000000000002E-3</c:v>
                </c:pt>
                <c:pt idx="2018">
                  <c:v>1.7999999999999999E-2</c:v>
                </c:pt>
                <c:pt idx="2019">
                  <c:v>5.2999999999999999E-2</c:v>
                </c:pt>
                <c:pt idx="2020">
                  <c:v>2.7E-2</c:v>
                </c:pt>
                <c:pt idx="2021">
                  <c:v>7.8E-2</c:v>
                </c:pt>
                <c:pt idx="2022">
                  <c:v>5.0000000000000001E-3</c:v>
                </c:pt>
                <c:pt idx="2023">
                  <c:v>2.3E-2</c:v>
                </c:pt>
                <c:pt idx="2024">
                  <c:v>3.6999999999999998E-2</c:v>
                </c:pt>
                <c:pt idx="2025">
                  <c:v>8.9999999999999993E-3</c:v>
                </c:pt>
                <c:pt idx="2026">
                  <c:v>2.9000000000000001E-2</c:v>
                </c:pt>
                <c:pt idx="2027">
                  <c:v>8.0000000000000002E-3</c:v>
                </c:pt>
                <c:pt idx="2028">
                  <c:v>5.5E-2</c:v>
                </c:pt>
                <c:pt idx="2029">
                  <c:v>4.0000000000000001E-3</c:v>
                </c:pt>
                <c:pt idx="2030">
                  <c:v>4.5999999999999999E-2</c:v>
                </c:pt>
                <c:pt idx="2031">
                  <c:v>8.0000000000000002E-3</c:v>
                </c:pt>
                <c:pt idx="2032">
                  <c:v>4.0000000000000001E-3</c:v>
                </c:pt>
                <c:pt idx="2033">
                  <c:v>3.9E-2</c:v>
                </c:pt>
                <c:pt idx="2034">
                  <c:v>5.0000000000000001E-3</c:v>
                </c:pt>
                <c:pt idx="2035">
                  <c:v>6.4000000000000001E-2</c:v>
                </c:pt>
                <c:pt idx="2036">
                  <c:v>6.4000000000000001E-2</c:v>
                </c:pt>
                <c:pt idx="2037">
                  <c:v>5.0000000000000001E-3</c:v>
                </c:pt>
                <c:pt idx="2038">
                  <c:v>2.7E-2</c:v>
                </c:pt>
                <c:pt idx="2039">
                  <c:v>1.0999999999999999E-2</c:v>
                </c:pt>
                <c:pt idx="2040">
                  <c:v>4.1000000000000002E-2</c:v>
                </c:pt>
                <c:pt idx="2041">
                  <c:v>5.0000000000000001E-3</c:v>
                </c:pt>
                <c:pt idx="2042">
                  <c:v>5.8999999999999997E-2</c:v>
                </c:pt>
                <c:pt idx="2043">
                  <c:v>5.0000000000000001E-3</c:v>
                </c:pt>
                <c:pt idx="2044">
                  <c:v>6.4000000000000001E-2</c:v>
                </c:pt>
                <c:pt idx="2045">
                  <c:v>1.7999999999999999E-2</c:v>
                </c:pt>
                <c:pt idx="2046">
                  <c:v>8.3000000000000004E-2</c:v>
                </c:pt>
                <c:pt idx="2047">
                  <c:v>1.4999999999999999E-2</c:v>
                </c:pt>
                <c:pt idx="2048">
                  <c:v>5.0000000000000001E-3</c:v>
                </c:pt>
                <c:pt idx="2049">
                  <c:v>2.7E-2</c:v>
                </c:pt>
                <c:pt idx="2050">
                  <c:v>8.9999999999999993E-3</c:v>
                </c:pt>
                <c:pt idx="2051">
                  <c:v>0.03</c:v>
                </c:pt>
                <c:pt idx="2052">
                  <c:v>8.0000000000000002E-3</c:v>
                </c:pt>
                <c:pt idx="2053">
                  <c:v>5.0000000000000001E-3</c:v>
                </c:pt>
                <c:pt idx="2054">
                  <c:v>1.0999999999999999E-2</c:v>
                </c:pt>
                <c:pt idx="2055">
                  <c:v>0.189</c:v>
                </c:pt>
                <c:pt idx="2056">
                  <c:v>2E-3</c:v>
                </c:pt>
                <c:pt idx="2057">
                  <c:v>3.6999999999999998E-2</c:v>
                </c:pt>
                <c:pt idx="2058">
                  <c:v>1.0999999999999999E-2</c:v>
                </c:pt>
                <c:pt idx="2059">
                  <c:v>1.4E-2</c:v>
                </c:pt>
                <c:pt idx="2060">
                  <c:v>6.4000000000000001E-2</c:v>
                </c:pt>
                <c:pt idx="2061">
                  <c:v>8.9999999999999993E-3</c:v>
                </c:pt>
                <c:pt idx="2062">
                  <c:v>0.01</c:v>
                </c:pt>
                <c:pt idx="2063">
                  <c:v>0.01</c:v>
                </c:pt>
                <c:pt idx="2064">
                  <c:v>2.7E-2</c:v>
                </c:pt>
                <c:pt idx="2065">
                  <c:v>8.0000000000000002E-3</c:v>
                </c:pt>
                <c:pt idx="2066">
                  <c:v>3.2000000000000001E-2</c:v>
                </c:pt>
                <c:pt idx="2067">
                  <c:v>0.05</c:v>
                </c:pt>
                <c:pt idx="2068">
                  <c:v>3.6999999999999998E-2</c:v>
                </c:pt>
                <c:pt idx="2069">
                  <c:v>3.7999999999999999E-2</c:v>
                </c:pt>
                <c:pt idx="2070">
                  <c:v>2.3E-2</c:v>
                </c:pt>
                <c:pt idx="2071">
                  <c:v>2.3E-2</c:v>
                </c:pt>
                <c:pt idx="2072">
                  <c:v>8.0000000000000002E-3</c:v>
                </c:pt>
                <c:pt idx="2073">
                  <c:v>5.0000000000000001E-3</c:v>
                </c:pt>
                <c:pt idx="2074">
                  <c:v>3.2000000000000001E-2</c:v>
                </c:pt>
                <c:pt idx="2075">
                  <c:v>8.0000000000000002E-3</c:v>
                </c:pt>
                <c:pt idx="2076">
                  <c:v>5.0000000000000001E-3</c:v>
                </c:pt>
                <c:pt idx="2077">
                  <c:v>2.1999999999999999E-2</c:v>
                </c:pt>
                <c:pt idx="2078">
                  <c:v>1.7999999999999999E-2</c:v>
                </c:pt>
                <c:pt idx="2079">
                  <c:v>1.2E-2</c:v>
                </c:pt>
                <c:pt idx="2080">
                  <c:v>8.9999999999999993E-3</c:v>
                </c:pt>
                <c:pt idx="2081">
                  <c:v>6.8000000000000005E-2</c:v>
                </c:pt>
                <c:pt idx="2082">
                  <c:v>3.2000000000000001E-2</c:v>
                </c:pt>
                <c:pt idx="2083">
                  <c:v>2.3E-2</c:v>
                </c:pt>
                <c:pt idx="2084">
                  <c:v>1.4999999999999999E-2</c:v>
                </c:pt>
                <c:pt idx="2085">
                  <c:v>8.0000000000000002E-3</c:v>
                </c:pt>
                <c:pt idx="2086">
                  <c:v>4.0000000000000001E-3</c:v>
                </c:pt>
                <c:pt idx="2087">
                  <c:v>8.0000000000000002E-3</c:v>
                </c:pt>
                <c:pt idx="2088">
                  <c:v>8.0000000000000002E-3</c:v>
                </c:pt>
                <c:pt idx="2089">
                  <c:v>1.7999999999999999E-2</c:v>
                </c:pt>
                <c:pt idx="2090">
                  <c:v>2.1999999999999999E-2</c:v>
                </c:pt>
                <c:pt idx="2091">
                  <c:v>1.7999999999999999E-2</c:v>
                </c:pt>
                <c:pt idx="2092">
                  <c:v>5.8999999999999997E-2</c:v>
                </c:pt>
                <c:pt idx="2093">
                  <c:v>3.1E-2</c:v>
                </c:pt>
                <c:pt idx="2094">
                  <c:v>0.109</c:v>
                </c:pt>
                <c:pt idx="2095">
                  <c:v>1.6E-2</c:v>
                </c:pt>
                <c:pt idx="2096">
                  <c:v>4.0000000000000001E-3</c:v>
                </c:pt>
                <c:pt idx="2097">
                  <c:v>1.4E-2</c:v>
                </c:pt>
                <c:pt idx="2098">
                  <c:v>1.7000000000000001E-2</c:v>
                </c:pt>
                <c:pt idx="2099">
                  <c:v>1.7000000000000001E-2</c:v>
                </c:pt>
                <c:pt idx="2100">
                  <c:v>1.7999999999999999E-2</c:v>
                </c:pt>
                <c:pt idx="2101">
                  <c:v>0.02</c:v>
                </c:pt>
                <c:pt idx="2102">
                  <c:v>1.6E-2</c:v>
                </c:pt>
                <c:pt idx="2103">
                  <c:v>4.3999999999999997E-2</c:v>
                </c:pt>
                <c:pt idx="2104">
                  <c:v>8.0000000000000002E-3</c:v>
                </c:pt>
                <c:pt idx="2105">
                  <c:v>8.9999999999999993E-3</c:v>
                </c:pt>
                <c:pt idx="2106">
                  <c:v>0.05</c:v>
                </c:pt>
                <c:pt idx="2107">
                  <c:v>4.1000000000000002E-2</c:v>
                </c:pt>
                <c:pt idx="2108">
                  <c:v>0.155</c:v>
                </c:pt>
                <c:pt idx="2109">
                  <c:v>8.0000000000000002E-3</c:v>
                </c:pt>
                <c:pt idx="2110">
                  <c:v>4.1000000000000002E-2</c:v>
                </c:pt>
                <c:pt idx="2111">
                  <c:v>3.7999999999999999E-2</c:v>
                </c:pt>
                <c:pt idx="2112">
                  <c:v>8.0000000000000002E-3</c:v>
                </c:pt>
                <c:pt idx="2113">
                  <c:v>4.1000000000000002E-2</c:v>
                </c:pt>
                <c:pt idx="2114">
                  <c:v>3.0000000000000001E-3</c:v>
                </c:pt>
                <c:pt idx="2115">
                  <c:v>8.9999999999999993E-3</c:v>
                </c:pt>
                <c:pt idx="2116">
                  <c:v>8.0000000000000002E-3</c:v>
                </c:pt>
                <c:pt idx="2117">
                  <c:v>0.01</c:v>
                </c:pt>
                <c:pt idx="2118">
                  <c:v>1.6E-2</c:v>
                </c:pt>
                <c:pt idx="2119">
                  <c:v>1.0999999999999999E-2</c:v>
                </c:pt>
                <c:pt idx="2120">
                  <c:v>4.1000000000000002E-2</c:v>
                </c:pt>
                <c:pt idx="2121">
                  <c:v>3.6999999999999998E-2</c:v>
                </c:pt>
                <c:pt idx="2122">
                  <c:v>0.02</c:v>
                </c:pt>
                <c:pt idx="2123">
                  <c:v>8.0000000000000002E-3</c:v>
                </c:pt>
                <c:pt idx="2124">
                  <c:v>5.0000000000000001E-3</c:v>
                </c:pt>
                <c:pt idx="2125">
                  <c:v>2.7E-2</c:v>
                </c:pt>
                <c:pt idx="2126">
                  <c:v>8.0000000000000002E-3</c:v>
                </c:pt>
                <c:pt idx="2127">
                  <c:v>2.7E-2</c:v>
                </c:pt>
                <c:pt idx="2128">
                  <c:v>2.7E-2</c:v>
                </c:pt>
                <c:pt idx="2129">
                  <c:v>2.7E-2</c:v>
                </c:pt>
                <c:pt idx="2130">
                  <c:v>2.7E-2</c:v>
                </c:pt>
                <c:pt idx="2131">
                  <c:v>5.0000000000000001E-3</c:v>
                </c:pt>
                <c:pt idx="2132">
                  <c:v>0.11600000000000001</c:v>
                </c:pt>
                <c:pt idx="2133">
                  <c:v>3.6999999999999998E-2</c:v>
                </c:pt>
                <c:pt idx="2134">
                  <c:v>5.8999999999999997E-2</c:v>
                </c:pt>
                <c:pt idx="2135">
                  <c:v>1.7999999999999999E-2</c:v>
                </c:pt>
                <c:pt idx="2136">
                  <c:v>5.8999999999999997E-2</c:v>
                </c:pt>
                <c:pt idx="2137">
                  <c:v>9.2999999999999999E-2</c:v>
                </c:pt>
                <c:pt idx="2138">
                  <c:v>3.6999999999999998E-2</c:v>
                </c:pt>
                <c:pt idx="2139">
                  <c:v>1.7999999999999999E-2</c:v>
                </c:pt>
                <c:pt idx="2140">
                  <c:v>1.4E-2</c:v>
                </c:pt>
                <c:pt idx="2141">
                  <c:v>0.187</c:v>
                </c:pt>
                <c:pt idx="2142">
                  <c:v>8.0000000000000002E-3</c:v>
                </c:pt>
                <c:pt idx="2143">
                  <c:v>3.6999999999999998E-2</c:v>
                </c:pt>
                <c:pt idx="2144">
                  <c:v>5.0000000000000001E-3</c:v>
                </c:pt>
                <c:pt idx="2145">
                  <c:v>5.8999999999999997E-2</c:v>
                </c:pt>
                <c:pt idx="2146">
                  <c:v>5.5E-2</c:v>
                </c:pt>
                <c:pt idx="2147">
                  <c:v>6.4000000000000001E-2</c:v>
                </c:pt>
                <c:pt idx="2148">
                  <c:v>8.9999999999999993E-3</c:v>
                </c:pt>
                <c:pt idx="2149">
                  <c:v>2.9000000000000001E-2</c:v>
                </c:pt>
                <c:pt idx="2150">
                  <c:v>5.5E-2</c:v>
                </c:pt>
                <c:pt idx="2151">
                  <c:v>4.0000000000000001E-3</c:v>
                </c:pt>
                <c:pt idx="2152">
                  <c:v>6.2E-2</c:v>
                </c:pt>
                <c:pt idx="2153">
                  <c:v>0.28299999999999997</c:v>
                </c:pt>
                <c:pt idx="2154">
                  <c:v>1.4999999999999999E-2</c:v>
                </c:pt>
                <c:pt idx="2155">
                  <c:v>4.0000000000000001E-3</c:v>
                </c:pt>
                <c:pt idx="2156">
                  <c:v>5.0000000000000001E-3</c:v>
                </c:pt>
                <c:pt idx="2157">
                  <c:v>0.26900000000000002</c:v>
                </c:pt>
                <c:pt idx="2158">
                  <c:v>8.0000000000000002E-3</c:v>
                </c:pt>
                <c:pt idx="2159">
                  <c:v>4.0000000000000001E-3</c:v>
                </c:pt>
                <c:pt idx="2160">
                  <c:v>6.8000000000000005E-2</c:v>
                </c:pt>
                <c:pt idx="2161">
                  <c:v>2E-3</c:v>
                </c:pt>
                <c:pt idx="2162">
                  <c:v>2.3E-2</c:v>
                </c:pt>
                <c:pt idx="2163">
                  <c:v>8.9999999999999993E-3</c:v>
                </c:pt>
                <c:pt idx="2164">
                  <c:v>4.0000000000000001E-3</c:v>
                </c:pt>
                <c:pt idx="2165">
                  <c:v>2.7E-2</c:v>
                </c:pt>
                <c:pt idx="2166">
                  <c:v>4.1000000000000002E-2</c:v>
                </c:pt>
                <c:pt idx="2167">
                  <c:v>8.9999999999999993E-3</c:v>
                </c:pt>
                <c:pt idx="2168">
                  <c:v>5.0000000000000001E-3</c:v>
                </c:pt>
                <c:pt idx="2169">
                  <c:v>1.4999999999999999E-2</c:v>
                </c:pt>
                <c:pt idx="2170">
                  <c:v>8.0000000000000002E-3</c:v>
                </c:pt>
                <c:pt idx="2171">
                  <c:v>8.0000000000000002E-3</c:v>
                </c:pt>
                <c:pt idx="2172">
                  <c:v>9.0999999999999998E-2</c:v>
                </c:pt>
                <c:pt idx="2173">
                  <c:v>2.3E-2</c:v>
                </c:pt>
                <c:pt idx="2174">
                  <c:v>6.8000000000000005E-2</c:v>
                </c:pt>
                <c:pt idx="2175">
                  <c:v>0.08</c:v>
                </c:pt>
                <c:pt idx="2176">
                  <c:v>8.9999999999999993E-3</c:v>
                </c:pt>
                <c:pt idx="2177">
                  <c:v>8.0000000000000002E-3</c:v>
                </c:pt>
                <c:pt idx="2178">
                  <c:v>8.9999999999999993E-3</c:v>
                </c:pt>
                <c:pt idx="2179">
                  <c:v>5.5E-2</c:v>
                </c:pt>
                <c:pt idx="2180">
                  <c:v>3.1E-2</c:v>
                </c:pt>
                <c:pt idx="2181">
                  <c:v>8.9999999999999993E-3</c:v>
                </c:pt>
                <c:pt idx="2182">
                  <c:v>1.2999999999999999E-2</c:v>
                </c:pt>
                <c:pt idx="2183">
                  <c:v>3.5999999999999997E-2</c:v>
                </c:pt>
                <c:pt idx="2184">
                  <c:v>2.7E-2</c:v>
                </c:pt>
                <c:pt idx="2185">
                  <c:v>4.1000000000000002E-2</c:v>
                </c:pt>
                <c:pt idx="2186">
                  <c:v>1.2E-2</c:v>
                </c:pt>
                <c:pt idx="2187">
                  <c:v>4.0000000000000001E-3</c:v>
                </c:pt>
                <c:pt idx="2188">
                  <c:v>2.7E-2</c:v>
                </c:pt>
                <c:pt idx="2189">
                  <c:v>4.0000000000000001E-3</c:v>
                </c:pt>
                <c:pt idx="2190">
                  <c:v>8.0000000000000002E-3</c:v>
                </c:pt>
                <c:pt idx="2191">
                  <c:v>4.5999999999999999E-2</c:v>
                </c:pt>
                <c:pt idx="2192">
                  <c:v>4.9000000000000002E-2</c:v>
                </c:pt>
                <c:pt idx="2193">
                  <c:v>1.7999999999999999E-2</c:v>
                </c:pt>
                <c:pt idx="2194">
                  <c:v>1.2999999999999999E-2</c:v>
                </c:pt>
                <c:pt idx="2195">
                  <c:v>5.8999999999999997E-2</c:v>
                </c:pt>
                <c:pt idx="2196">
                  <c:v>0.17299999999999999</c:v>
                </c:pt>
                <c:pt idx="2197">
                  <c:v>1.2999999999999999E-2</c:v>
                </c:pt>
                <c:pt idx="2198">
                  <c:v>4.1000000000000002E-2</c:v>
                </c:pt>
                <c:pt idx="2199">
                  <c:v>2E-3</c:v>
                </c:pt>
                <c:pt idx="2200">
                  <c:v>0.04</c:v>
                </c:pt>
                <c:pt idx="2201">
                  <c:v>4.2999999999999997E-2</c:v>
                </c:pt>
                <c:pt idx="2202">
                  <c:v>5.0000000000000001E-3</c:v>
                </c:pt>
                <c:pt idx="2203">
                  <c:v>4.0000000000000001E-3</c:v>
                </c:pt>
                <c:pt idx="2204">
                  <c:v>5.0000000000000001E-3</c:v>
                </c:pt>
                <c:pt idx="2205">
                  <c:v>1.2999999999999999E-2</c:v>
                </c:pt>
                <c:pt idx="2206">
                  <c:v>6.8000000000000005E-2</c:v>
                </c:pt>
                <c:pt idx="2207">
                  <c:v>8.9999999999999993E-3</c:v>
                </c:pt>
                <c:pt idx="2208">
                  <c:v>2E-3</c:v>
                </c:pt>
                <c:pt idx="2209">
                  <c:v>4.4999999999999998E-2</c:v>
                </c:pt>
                <c:pt idx="2210">
                  <c:v>8.0000000000000002E-3</c:v>
                </c:pt>
                <c:pt idx="2211">
                  <c:v>5.8999999999999997E-2</c:v>
                </c:pt>
                <c:pt idx="2212">
                  <c:v>6.8000000000000005E-2</c:v>
                </c:pt>
                <c:pt idx="2213">
                  <c:v>0.04</c:v>
                </c:pt>
                <c:pt idx="2214">
                  <c:v>4.5999999999999999E-2</c:v>
                </c:pt>
                <c:pt idx="2215">
                  <c:v>1.4999999999999999E-2</c:v>
                </c:pt>
                <c:pt idx="2216">
                  <c:v>1.2E-2</c:v>
                </c:pt>
                <c:pt idx="2217">
                  <c:v>6.7000000000000004E-2</c:v>
                </c:pt>
                <c:pt idx="2218">
                  <c:v>1.0999999999999999E-2</c:v>
                </c:pt>
                <c:pt idx="2219">
                  <c:v>1.2999999999999999E-2</c:v>
                </c:pt>
                <c:pt idx="2220">
                  <c:v>3.2000000000000001E-2</c:v>
                </c:pt>
                <c:pt idx="2221">
                  <c:v>4.5999999999999999E-2</c:v>
                </c:pt>
                <c:pt idx="2222">
                  <c:v>2.3E-2</c:v>
                </c:pt>
                <c:pt idx="2223">
                  <c:v>2.7E-2</c:v>
                </c:pt>
                <c:pt idx="2224">
                  <c:v>2.1999999999999999E-2</c:v>
                </c:pt>
                <c:pt idx="2225">
                  <c:v>8.9999999999999993E-3</c:v>
                </c:pt>
                <c:pt idx="2226">
                  <c:v>4.1000000000000002E-2</c:v>
                </c:pt>
                <c:pt idx="2227">
                  <c:v>8.6999999999999994E-2</c:v>
                </c:pt>
                <c:pt idx="2228">
                  <c:v>5.0000000000000001E-3</c:v>
                </c:pt>
                <c:pt idx="2229">
                  <c:v>8.0000000000000002E-3</c:v>
                </c:pt>
                <c:pt idx="2230">
                  <c:v>2.1000000000000001E-2</c:v>
                </c:pt>
                <c:pt idx="2231">
                  <c:v>5.0000000000000001E-3</c:v>
                </c:pt>
                <c:pt idx="2232">
                  <c:v>1.2999999999999999E-2</c:v>
                </c:pt>
                <c:pt idx="2233">
                  <c:v>4.0000000000000001E-3</c:v>
                </c:pt>
                <c:pt idx="2234">
                  <c:v>8.0000000000000002E-3</c:v>
                </c:pt>
                <c:pt idx="2235">
                  <c:v>2E-3</c:v>
                </c:pt>
                <c:pt idx="2236">
                  <c:v>5.0000000000000001E-3</c:v>
                </c:pt>
                <c:pt idx="2237">
                  <c:v>4.1000000000000002E-2</c:v>
                </c:pt>
                <c:pt idx="2238">
                  <c:v>0.05</c:v>
                </c:pt>
                <c:pt idx="2239">
                  <c:v>2E-3</c:v>
                </c:pt>
                <c:pt idx="2240">
                  <c:v>2E-3</c:v>
                </c:pt>
                <c:pt idx="2241">
                  <c:v>6.4000000000000001E-2</c:v>
                </c:pt>
                <c:pt idx="2242">
                  <c:v>1.7999999999999999E-2</c:v>
                </c:pt>
                <c:pt idx="2243">
                  <c:v>2.5000000000000001E-2</c:v>
                </c:pt>
                <c:pt idx="2244">
                  <c:v>3.1E-2</c:v>
                </c:pt>
                <c:pt idx="2245">
                  <c:v>4.0000000000000001E-3</c:v>
                </c:pt>
                <c:pt idx="2246">
                  <c:v>2E-3</c:v>
                </c:pt>
                <c:pt idx="2247">
                  <c:v>1.7000000000000001E-2</c:v>
                </c:pt>
                <c:pt idx="2248">
                  <c:v>2.1999999999999999E-2</c:v>
                </c:pt>
                <c:pt idx="2249">
                  <c:v>5.0000000000000001E-3</c:v>
                </c:pt>
                <c:pt idx="2250">
                  <c:v>4.0000000000000001E-3</c:v>
                </c:pt>
                <c:pt idx="2251">
                  <c:v>8.9999999999999993E-3</c:v>
                </c:pt>
                <c:pt idx="2252">
                  <c:v>6.4000000000000001E-2</c:v>
                </c:pt>
                <c:pt idx="2253">
                  <c:v>2E-3</c:v>
                </c:pt>
                <c:pt idx="2254">
                  <c:v>1.4999999999999999E-2</c:v>
                </c:pt>
                <c:pt idx="2255">
                  <c:v>8.9999999999999993E-3</c:v>
                </c:pt>
                <c:pt idx="2256">
                  <c:v>2E-3</c:v>
                </c:pt>
                <c:pt idx="2257">
                  <c:v>0.126</c:v>
                </c:pt>
                <c:pt idx="2258">
                  <c:v>4.0000000000000001E-3</c:v>
                </c:pt>
                <c:pt idx="2259">
                  <c:v>5.0000000000000001E-3</c:v>
                </c:pt>
                <c:pt idx="2260">
                  <c:v>5.5E-2</c:v>
                </c:pt>
                <c:pt idx="2261">
                  <c:v>3.2000000000000001E-2</c:v>
                </c:pt>
                <c:pt idx="2262">
                  <c:v>1.7999999999999999E-2</c:v>
                </c:pt>
                <c:pt idx="2263">
                  <c:v>6.2E-2</c:v>
                </c:pt>
                <c:pt idx="2264">
                  <c:v>3.9E-2</c:v>
                </c:pt>
                <c:pt idx="2265">
                  <c:v>8.0000000000000002E-3</c:v>
                </c:pt>
                <c:pt idx="2266">
                  <c:v>1.7999999999999999E-2</c:v>
                </c:pt>
                <c:pt idx="2267">
                  <c:v>2E-3</c:v>
                </c:pt>
                <c:pt idx="2268">
                  <c:v>1.7999999999999999E-2</c:v>
                </c:pt>
                <c:pt idx="2269">
                  <c:v>4.5999999999999999E-2</c:v>
                </c:pt>
                <c:pt idx="2270">
                  <c:v>4.0000000000000001E-3</c:v>
                </c:pt>
                <c:pt idx="2271">
                  <c:v>3.6999999999999998E-2</c:v>
                </c:pt>
                <c:pt idx="2272">
                  <c:v>4.0000000000000001E-3</c:v>
                </c:pt>
                <c:pt idx="2273">
                  <c:v>5.8999999999999997E-2</c:v>
                </c:pt>
                <c:pt idx="2274">
                  <c:v>2E-3</c:v>
                </c:pt>
                <c:pt idx="2275">
                  <c:v>1.2999999999999999E-2</c:v>
                </c:pt>
                <c:pt idx="2276">
                  <c:v>4.1000000000000002E-2</c:v>
                </c:pt>
                <c:pt idx="2277">
                  <c:v>0.04</c:v>
                </c:pt>
                <c:pt idx="2278">
                  <c:v>5.0000000000000001E-3</c:v>
                </c:pt>
                <c:pt idx="2279">
                  <c:v>8.0000000000000002E-3</c:v>
                </c:pt>
                <c:pt idx="2280">
                  <c:v>4.5999999999999999E-2</c:v>
                </c:pt>
                <c:pt idx="2281">
                  <c:v>2.7E-2</c:v>
                </c:pt>
                <c:pt idx="2282">
                  <c:v>2.7E-2</c:v>
                </c:pt>
                <c:pt idx="2283">
                  <c:v>4.0000000000000001E-3</c:v>
                </c:pt>
                <c:pt idx="2284">
                  <c:v>1.7999999999999999E-2</c:v>
                </c:pt>
                <c:pt idx="2285">
                  <c:v>4.0000000000000001E-3</c:v>
                </c:pt>
                <c:pt idx="2286">
                  <c:v>8.0000000000000002E-3</c:v>
                </c:pt>
                <c:pt idx="2287">
                  <c:v>1.2999999999999999E-2</c:v>
                </c:pt>
                <c:pt idx="2288">
                  <c:v>3.3000000000000002E-2</c:v>
                </c:pt>
                <c:pt idx="2289">
                  <c:v>4.1000000000000002E-2</c:v>
                </c:pt>
                <c:pt idx="2290">
                  <c:v>3.6999999999999998E-2</c:v>
                </c:pt>
                <c:pt idx="2291">
                  <c:v>4.1000000000000002E-2</c:v>
                </c:pt>
                <c:pt idx="2292">
                  <c:v>4.0000000000000001E-3</c:v>
                </c:pt>
                <c:pt idx="2293">
                  <c:v>4.1000000000000002E-2</c:v>
                </c:pt>
                <c:pt idx="2294">
                  <c:v>1.0999999999999999E-2</c:v>
                </c:pt>
                <c:pt idx="2295">
                  <c:v>3.1E-2</c:v>
                </c:pt>
                <c:pt idx="2296">
                  <c:v>2E-3</c:v>
                </c:pt>
                <c:pt idx="2297">
                  <c:v>8.0000000000000002E-3</c:v>
                </c:pt>
                <c:pt idx="2298">
                  <c:v>2.7E-2</c:v>
                </c:pt>
                <c:pt idx="2299">
                  <c:v>1.7999999999999999E-2</c:v>
                </c:pt>
                <c:pt idx="2300">
                  <c:v>2E-3</c:v>
                </c:pt>
                <c:pt idx="2301">
                  <c:v>4.5999999999999999E-2</c:v>
                </c:pt>
                <c:pt idx="2302">
                  <c:v>2E-3</c:v>
                </c:pt>
                <c:pt idx="2303">
                  <c:v>1.7000000000000001E-2</c:v>
                </c:pt>
                <c:pt idx="2304">
                  <c:v>5.0000000000000001E-3</c:v>
                </c:pt>
                <c:pt idx="2305">
                  <c:v>4.4999999999999998E-2</c:v>
                </c:pt>
                <c:pt idx="2306">
                  <c:v>5.0000000000000001E-3</c:v>
                </c:pt>
                <c:pt idx="2307">
                  <c:v>1.2E-2</c:v>
                </c:pt>
                <c:pt idx="2308">
                  <c:v>3.2000000000000001E-2</c:v>
                </c:pt>
                <c:pt idx="2309">
                  <c:v>5.0000000000000001E-3</c:v>
                </c:pt>
                <c:pt idx="2310">
                  <c:v>5.0000000000000001E-3</c:v>
                </c:pt>
                <c:pt idx="2311">
                  <c:v>3.5999999999999997E-2</c:v>
                </c:pt>
                <c:pt idx="2312">
                  <c:v>4.5999999999999999E-2</c:v>
                </c:pt>
                <c:pt idx="2313">
                  <c:v>6.0000000000000001E-3</c:v>
                </c:pt>
                <c:pt idx="2314">
                  <c:v>4.1000000000000002E-2</c:v>
                </c:pt>
                <c:pt idx="2315">
                  <c:v>5.0000000000000001E-3</c:v>
                </c:pt>
                <c:pt idx="2316">
                  <c:v>4.0000000000000001E-3</c:v>
                </c:pt>
                <c:pt idx="2317">
                  <c:v>4.0000000000000001E-3</c:v>
                </c:pt>
                <c:pt idx="2318">
                  <c:v>1.4E-2</c:v>
                </c:pt>
                <c:pt idx="2319">
                  <c:v>4.5999999999999999E-2</c:v>
                </c:pt>
                <c:pt idx="2320">
                  <c:v>4.2999999999999997E-2</c:v>
                </c:pt>
                <c:pt idx="2321">
                  <c:v>2.3E-2</c:v>
                </c:pt>
                <c:pt idx="2322">
                  <c:v>0.01</c:v>
                </c:pt>
                <c:pt idx="2323">
                  <c:v>8.9999999999999993E-3</c:v>
                </c:pt>
                <c:pt idx="2324">
                  <c:v>2E-3</c:v>
                </c:pt>
                <c:pt idx="2325">
                  <c:v>4.0000000000000001E-3</c:v>
                </c:pt>
                <c:pt idx="2326">
                  <c:v>4.5999999999999999E-2</c:v>
                </c:pt>
                <c:pt idx="2327">
                  <c:v>8.0000000000000002E-3</c:v>
                </c:pt>
                <c:pt idx="2328">
                  <c:v>1.7000000000000001E-2</c:v>
                </c:pt>
                <c:pt idx="2329">
                  <c:v>0.05</c:v>
                </c:pt>
                <c:pt idx="2330">
                  <c:v>8.9999999999999993E-3</c:v>
                </c:pt>
                <c:pt idx="2331">
                  <c:v>8.0000000000000002E-3</c:v>
                </c:pt>
                <c:pt idx="2332">
                  <c:v>1.4E-2</c:v>
                </c:pt>
                <c:pt idx="2333">
                  <c:v>2.7E-2</c:v>
                </c:pt>
                <c:pt idx="2334">
                  <c:v>5.0000000000000001E-3</c:v>
                </c:pt>
                <c:pt idx="2335">
                  <c:v>5.0000000000000001E-3</c:v>
                </c:pt>
                <c:pt idx="2336">
                  <c:v>3.2000000000000001E-2</c:v>
                </c:pt>
                <c:pt idx="2337">
                  <c:v>8.0000000000000002E-3</c:v>
                </c:pt>
                <c:pt idx="2338">
                  <c:v>2.7E-2</c:v>
                </c:pt>
                <c:pt idx="2339">
                  <c:v>8.0000000000000002E-3</c:v>
                </c:pt>
                <c:pt idx="2340">
                  <c:v>5.0000000000000001E-3</c:v>
                </c:pt>
                <c:pt idx="2341">
                  <c:v>8.9999999999999993E-3</c:v>
                </c:pt>
                <c:pt idx="2342">
                  <c:v>3.9E-2</c:v>
                </c:pt>
                <c:pt idx="2343">
                  <c:v>2.7E-2</c:v>
                </c:pt>
                <c:pt idx="2344">
                  <c:v>4.1000000000000002E-2</c:v>
                </c:pt>
                <c:pt idx="2345">
                  <c:v>8.0000000000000002E-3</c:v>
                </c:pt>
                <c:pt idx="2346">
                  <c:v>5.5E-2</c:v>
                </c:pt>
                <c:pt idx="2347">
                  <c:v>4.5999999999999999E-2</c:v>
                </c:pt>
                <c:pt idx="2348">
                  <c:v>8.0000000000000002E-3</c:v>
                </c:pt>
                <c:pt idx="2349">
                  <c:v>2.7E-2</c:v>
                </c:pt>
                <c:pt idx="2350">
                  <c:v>3.2000000000000001E-2</c:v>
                </c:pt>
                <c:pt idx="2351">
                  <c:v>8.9999999999999993E-3</c:v>
                </c:pt>
                <c:pt idx="2352">
                  <c:v>8.9999999999999993E-3</c:v>
                </c:pt>
                <c:pt idx="2353">
                  <c:v>0.03</c:v>
                </c:pt>
                <c:pt idx="2354">
                  <c:v>1.7999999999999999E-2</c:v>
                </c:pt>
                <c:pt idx="2355">
                  <c:v>3.2000000000000001E-2</c:v>
                </c:pt>
                <c:pt idx="2356">
                  <c:v>2.3E-2</c:v>
                </c:pt>
                <c:pt idx="2357">
                  <c:v>1.2999999999999999E-2</c:v>
                </c:pt>
                <c:pt idx="2358">
                  <c:v>3.6999999999999998E-2</c:v>
                </c:pt>
                <c:pt idx="2359">
                  <c:v>3.1E-2</c:v>
                </c:pt>
                <c:pt idx="2360">
                  <c:v>2.3E-2</c:v>
                </c:pt>
                <c:pt idx="2361">
                  <c:v>1.7999999999999999E-2</c:v>
                </c:pt>
                <c:pt idx="2362">
                  <c:v>4.0000000000000001E-3</c:v>
                </c:pt>
                <c:pt idx="2363">
                  <c:v>8.9999999999999993E-3</c:v>
                </c:pt>
                <c:pt idx="2364">
                  <c:v>5.0000000000000001E-3</c:v>
                </c:pt>
                <c:pt idx="2365">
                  <c:v>8.0000000000000002E-3</c:v>
                </c:pt>
                <c:pt idx="2366">
                  <c:v>5.0000000000000001E-3</c:v>
                </c:pt>
                <c:pt idx="2367">
                  <c:v>1.4E-2</c:v>
                </c:pt>
                <c:pt idx="2368">
                  <c:v>0.05</c:v>
                </c:pt>
                <c:pt idx="2369">
                  <c:v>0.114</c:v>
                </c:pt>
                <c:pt idx="2370">
                  <c:v>4.5999999999999999E-2</c:v>
                </c:pt>
                <c:pt idx="2371">
                  <c:v>3.2000000000000001E-2</c:v>
                </c:pt>
                <c:pt idx="2372">
                  <c:v>2.1999999999999999E-2</c:v>
                </c:pt>
                <c:pt idx="2373">
                  <c:v>5.2999999999999999E-2</c:v>
                </c:pt>
                <c:pt idx="2374">
                  <c:v>1.7999999999999999E-2</c:v>
                </c:pt>
                <c:pt idx="2375">
                  <c:v>8.9999999999999993E-3</c:v>
                </c:pt>
                <c:pt idx="2376">
                  <c:v>3.2000000000000001E-2</c:v>
                </c:pt>
                <c:pt idx="2377">
                  <c:v>8.0000000000000002E-3</c:v>
                </c:pt>
                <c:pt idx="2378">
                  <c:v>8.4000000000000005E-2</c:v>
                </c:pt>
                <c:pt idx="2379">
                  <c:v>8.9999999999999993E-3</c:v>
                </c:pt>
                <c:pt idx="2380">
                  <c:v>2E-3</c:v>
                </c:pt>
                <c:pt idx="2381">
                  <c:v>1.2999999999999999E-2</c:v>
                </c:pt>
                <c:pt idx="2382">
                  <c:v>3.6999999999999998E-2</c:v>
                </c:pt>
                <c:pt idx="2383">
                  <c:v>3.6999999999999998E-2</c:v>
                </c:pt>
                <c:pt idx="2384">
                  <c:v>0.03</c:v>
                </c:pt>
                <c:pt idx="2385">
                  <c:v>2E-3</c:v>
                </c:pt>
                <c:pt idx="2386">
                  <c:v>2E-3</c:v>
                </c:pt>
                <c:pt idx="2387">
                  <c:v>1.7999999999999999E-2</c:v>
                </c:pt>
                <c:pt idx="2388">
                  <c:v>2E-3</c:v>
                </c:pt>
                <c:pt idx="2389">
                  <c:v>6.0000000000000001E-3</c:v>
                </c:pt>
                <c:pt idx="2390">
                  <c:v>8.0000000000000002E-3</c:v>
                </c:pt>
                <c:pt idx="2391">
                  <c:v>4.5999999999999999E-2</c:v>
                </c:pt>
                <c:pt idx="2392">
                  <c:v>5.0000000000000001E-3</c:v>
                </c:pt>
                <c:pt idx="2393">
                  <c:v>4.0000000000000001E-3</c:v>
                </c:pt>
                <c:pt idx="2394">
                  <c:v>1.2999999999999999E-2</c:v>
                </c:pt>
                <c:pt idx="2395">
                  <c:v>8.9999999999999993E-3</c:v>
                </c:pt>
                <c:pt idx="2396">
                  <c:v>1.7999999999999999E-2</c:v>
                </c:pt>
                <c:pt idx="2397">
                  <c:v>8.9999999999999993E-3</c:v>
                </c:pt>
                <c:pt idx="2398">
                  <c:v>3.6999999999999998E-2</c:v>
                </c:pt>
                <c:pt idx="2399">
                  <c:v>8.9999999999999993E-3</c:v>
                </c:pt>
                <c:pt idx="2400">
                  <c:v>5.0000000000000001E-3</c:v>
                </c:pt>
                <c:pt idx="2401">
                  <c:v>1.4E-2</c:v>
                </c:pt>
                <c:pt idx="2402">
                  <c:v>0.01</c:v>
                </c:pt>
                <c:pt idx="2403">
                  <c:v>5.5E-2</c:v>
                </c:pt>
                <c:pt idx="2404">
                  <c:v>5.0000000000000001E-3</c:v>
                </c:pt>
                <c:pt idx="2405">
                  <c:v>0.02</c:v>
                </c:pt>
                <c:pt idx="2406">
                  <c:v>1.2999999999999999E-2</c:v>
                </c:pt>
                <c:pt idx="2407">
                  <c:v>8.0000000000000002E-3</c:v>
                </c:pt>
                <c:pt idx="2408">
                  <c:v>3.6999999999999998E-2</c:v>
                </c:pt>
                <c:pt idx="2409">
                  <c:v>5.0000000000000001E-3</c:v>
                </c:pt>
                <c:pt idx="2410">
                  <c:v>5.0000000000000001E-3</c:v>
                </c:pt>
                <c:pt idx="2411">
                  <c:v>0.05</c:v>
                </c:pt>
                <c:pt idx="2412">
                  <c:v>4.0000000000000001E-3</c:v>
                </c:pt>
                <c:pt idx="2413">
                  <c:v>5.0000000000000001E-3</c:v>
                </c:pt>
                <c:pt idx="2414">
                  <c:v>1.2E-2</c:v>
                </c:pt>
                <c:pt idx="2415">
                  <c:v>1.7000000000000001E-2</c:v>
                </c:pt>
                <c:pt idx="2416">
                  <c:v>1.2999999999999999E-2</c:v>
                </c:pt>
                <c:pt idx="2417">
                  <c:v>5.0000000000000001E-3</c:v>
                </c:pt>
                <c:pt idx="2418">
                  <c:v>0.02</c:v>
                </c:pt>
                <c:pt idx="2419">
                  <c:v>3.6999999999999998E-2</c:v>
                </c:pt>
                <c:pt idx="2420">
                  <c:v>2E-3</c:v>
                </c:pt>
                <c:pt idx="2421">
                  <c:v>3.5999999999999997E-2</c:v>
                </c:pt>
                <c:pt idx="2422">
                  <c:v>1.2E-2</c:v>
                </c:pt>
                <c:pt idx="2423">
                  <c:v>2.7E-2</c:v>
                </c:pt>
                <c:pt idx="2424">
                  <c:v>4.0000000000000001E-3</c:v>
                </c:pt>
                <c:pt idx="2425">
                  <c:v>1.2999999999999999E-2</c:v>
                </c:pt>
                <c:pt idx="2426">
                  <c:v>5.0000000000000001E-3</c:v>
                </c:pt>
                <c:pt idx="2427">
                  <c:v>2E-3</c:v>
                </c:pt>
                <c:pt idx="2428">
                  <c:v>5.0000000000000001E-3</c:v>
                </c:pt>
                <c:pt idx="2429">
                  <c:v>8.9999999999999993E-3</c:v>
                </c:pt>
                <c:pt idx="2430">
                  <c:v>2.3E-2</c:v>
                </c:pt>
                <c:pt idx="2431">
                  <c:v>4.0000000000000001E-3</c:v>
                </c:pt>
                <c:pt idx="2432">
                  <c:v>2E-3</c:v>
                </c:pt>
                <c:pt idx="2433">
                  <c:v>1.2999999999999999E-2</c:v>
                </c:pt>
                <c:pt idx="2434">
                  <c:v>1.0999999999999999E-2</c:v>
                </c:pt>
                <c:pt idx="2435">
                  <c:v>2.7E-2</c:v>
                </c:pt>
                <c:pt idx="2436">
                  <c:v>1.7999999999999999E-2</c:v>
                </c:pt>
                <c:pt idx="2437">
                  <c:v>8.0000000000000002E-3</c:v>
                </c:pt>
                <c:pt idx="2438">
                  <c:v>1.2E-2</c:v>
                </c:pt>
                <c:pt idx="2439">
                  <c:v>0.05</c:v>
                </c:pt>
                <c:pt idx="2440">
                  <c:v>4.0000000000000001E-3</c:v>
                </c:pt>
                <c:pt idx="2441">
                  <c:v>4.0000000000000001E-3</c:v>
                </c:pt>
                <c:pt idx="2442">
                  <c:v>5.0000000000000001E-3</c:v>
                </c:pt>
                <c:pt idx="2443">
                  <c:v>8.0000000000000002E-3</c:v>
                </c:pt>
                <c:pt idx="2444">
                  <c:v>4.0000000000000001E-3</c:v>
                </c:pt>
                <c:pt idx="2445">
                  <c:v>1.4E-2</c:v>
                </c:pt>
                <c:pt idx="2446">
                  <c:v>4.0000000000000001E-3</c:v>
                </c:pt>
                <c:pt idx="2447">
                  <c:v>5.0000000000000001E-3</c:v>
                </c:pt>
                <c:pt idx="2448">
                  <c:v>1.2999999999999999E-2</c:v>
                </c:pt>
                <c:pt idx="2449">
                  <c:v>2E-3</c:v>
                </c:pt>
                <c:pt idx="2450">
                  <c:v>1.7999999999999999E-2</c:v>
                </c:pt>
                <c:pt idx="2451">
                  <c:v>5.0000000000000001E-3</c:v>
                </c:pt>
                <c:pt idx="2452">
                  <c:v>5.0000000000000001E-3</c:v>
                </c:pt>
                <c:pt idx="2453">
                  <c:v>1.4999999999999999E-2</c:v>
                </c:pt>
                <c:pt idx="2454">
                  <c:v>2.3E-2</c:v>
                </c:pt>
                <c:pt idx="2455">
                  <c:v>1.2999999999999999E-2</c:v>
                </c:pt>
                <c:pt idx="2456">
                  <c:v>3.5000000000000003E-2</c:v>
                </c:pt>
                <c:pt idx="2457">
                  <c:v>4.0000000000000001E-3</c:v>
                </c:pt>
                <c:pt idx="2458">
                  <c:v>5.0000000000000001E-3</c:v>
                </c:pt>
                <c:pt idx="2459">
                  <c:v>1.0999999999999999E-2</c:v>
                </c:pt>
                <c:pt idx="2460">
                  <c:v>8.0000000000000002E-3</c:v>
                </c:pt>
                <c:pt idx="2461">
                  <c:v>2.7E-2</c:v>
                </c:pt>
                <c:pt idx="2462">
                  <c:v>1.4E-2</c:v>
                </c:pt>
                <c:pt idx="2463">
                  <c:v>4.0000000000000001E-3</c:v>
                </c:pt>
                <c:pt idx="2464">
                  <c:v>1.2E-2</c:v>
                </c:pt>
                <c:pt idx="2465">
                  <c:v>2E-3</c:v>
                </c:pt>
                <c:pt idx="2466">
                  <c:v>8.9999999999999993E-3</c:v>
                </c:pt>
                <c:pt idx="2467">
                  <c:v>4.0000000000000001E-3</c:v>
                </c:pt>
                <c:pt idx="2468">
                  <c:v>2.3E-2</c:v>
                </c:pt>
                <c:pt idx="2469">
                  <c:v>1.7999999999999999E-2</c:v>
                </c:pt>
                <c:pt idx="2470">
                  <c:v>5.0000000000000001E-3</c:v>
                </c:pt>
                <c:pt idx="2471">
                  <c:v>4.0000000000000001E-3</c:v>
                </c:pt>
                <c:pt idx="2472">
                  <c:v>4.0000000000000001E-3</c:v>
                </c:pt>
                <c:pt idx="2473">
                  <c:v>5.0000000000000001E-3</c:v>
                </c:pt>
                <c:pt idx="2474">
                  <c:v>5.0000000000000001E-3</c:v>
                </c:pt>
                <c:pt idx="2475">
                  <c:v>8.9999999999999993E-3</c:v>
                </c:pt>
                <c:pt idx="2476">
                  <c:v>2.5999999999999999E-2</c:v>
                </c:pt>
                <c:pt idx="2477">
                  <c:v>4.0000000000000001E-3</c:v>
                </c:pt>
                <c:pt idx="2478">
                  <c:v>1.2999999999999999E-2</c:v>
                </c:pt>
                <c:pt idx="2479">
                  <c:v>1.2999999999999999E-2</c:v>
                </c:pt>
                <c:pt idx="2480">
                  <c:v>5.8999999999999997E-2</c:v>
                </c:pt>
                <c:pt idx="2481">
                  <c:v>5.8999999999999997E-2</c:v>
                </c:pt>
                <c:pt idx="2482">
                  <c:v>8.9999999999999993E-3</c:v>
                </c:pt>
                <c:pt idx="2483">
                  <c:v>8.9999999999999993E-3</c:v>
                </c:pt>
                <c:pt idx="2484">
                  <c:v>1.7999999999999999E-2</c:v>
                </c:pt>
                <c:pt idx="2485">
                  <c:v>4.0000000000000001E-3</c:v>
                </c:pt>
                <c:pt idx="2486">
                  <c:v>1.2999999999999999E-2</c:v>
                </c:pt>
                <c:pt idx="2487">
                  <c:v>5.0000000000000001E-3</c:v>
                </c:pt>
                <c:pt idx="2488">
                  <c:v>5.0000000000000001E-3</c:v>
                </c:pt>
                <c:pt idx="2489">
                  <c:v>2E-3</c:v>
                </c:pt>
                <c:pt idx="2490">
                  <c:v>5.0000000000000001E-3</c:v>
                </c:pt>
                <c:pt idx="2491">
                  <c:v>2E-3</c:v>
                </c:pt>
                <c:pt idx="2492">
                  <c:v>8.9999999999999993E-3</c:v>
                </c:pt>
                <c:pt idx="2493">
                  <c:v>5.0000000000000001E-3</c:v>
                </c:pt>
                <c:pt idx="2494">
                  <c:v>5.0000000000000001E-3</c:v>
                </c:pt>
                <c:pt idx="2495">
                  <c:v>5.0000000000000001E-3</c:v>
                </c:pt>
                <c:pt idx="2496">
                  <c:v>5.5E-2</c:v>
                </c:pt>
                <c:pt idx="2497">
                  <c:v>3.2000000000000001E-2</c:v>
                </c:pt>
                <c:pt idx="2498">
                  <c:v>2E-3</c:v>
                </c:pt>
                <c:pt idx="2499">
                  <c:v>8.9999999999999993E-3</c:v>
                </c:pt>
                <c:pt idx="2500">
                  <c:v>1.4E-2</c:v>
                </c:pt>
                <c:pt idx="2501">
                  <c:v>2E-3</c:v>
                </c:pt>
                <c:pt idx="2502">
                  <c:v>4.0000000000000001E-3</c:v>
                </c:pt>
                <c:pt idx="2503">
                  <c:v>1.7999999999999999E-2</c:v>
                </c:pt>
                <c:pt idx="2504">
                  <c:v>2.1999999999999999E-2</c:v>
                </c:pt>
                <c:pt idx="2505">
                  <c:v>2.1000000000000001E-2</c:v>
                </c:pt>
                <c:pt idx="2506">
                  <c:v>1.2999999999999999E-2</c:v>
                </c:pt>
                <c:pt idx="2507">
                  <c:v>5.0000000000000001E-3</c:v>
                </c:pt>
                <c:pt idx="2508">
                  <c:v>5.0000000000000001E-3</c:v>
                </c:pt>
                <c:pt idx="2509">
                  <c:v>4.0000000000000001E-3</c:v>
                </c:pt>
                <c:pt idx="2510">
                  <c:v>0.05</c:v>
                </c:pt>
                <c:pt idx="2511">
                  <c:v>3.1E-2</c:v>
                </c:pt>
                <c:pt idx="2512">
                  <c:v>8.0000000000000002E-3</c:v>
                </c:pt>
                <c:pt idx="2513">
                  <c:v>2E-3</c:v>
                </c:pt>
                <c:pt idx="2514">
                  <c:v>2.7E-2</c:v>
                </c:pt>
                <c:pt idx="2515">
                  <c:v>8.9999999999999993E-3</c:v>
                </c:pt>
                <c:pt idx="2516">
                  <c:v>1.2999999999999999E-2</c:v>
                </c:pt>
                <c:pt idx="2517">
                  <c:v>2.1999999999999999E-2</c:v>
                </c:pt>
                <c:pt idx="2518">
                  <c:v>5.0000000000000001E-3</c:v>
                </c:pt>
                <c:pt idx="2519">
                  <c:v>8.0000000000000002E-3</c:v>
                </c:pt>
                <c:pt idx="2520">
                  <c:v>8.9999999999999993E-3</c:v>
                </c:pt>
                <c:pt idx="2521">
                  <c:v>8.9999999999999993E-3</c:v>
                </c:pt>
                <c:pt idx="2522">
                  <c:v>2.1999999999999999E-2</c:v>
                </c:pt>
                <c:pt idx="2523">
                  <c:v>2.3E-2</c:v>
                </c:pt>
                <c:pt idx="2524">
                  <c:v>1.2999999999999999E-2</c:v>
                </c:pt>
                <c:pt idx="2525">
                  <c:v>1.2999999999999999E-2</c:v>
                </c:pt>
                <c:pt idx="2526">
                  <c:v>4.0000000000000001E-3</c:v>
                </c:pt>
                <c:pt idx="2527">
                  <c:v>1.2999999999999999E-2</c:v>
                </c:pt>
                <c:pt idx="2528">
                  <c:v>2E-3</c:v>
                </c:pt>
                <c:pt idx="2529">
                  <c:v>8.0000000000000002E-3</c:v>
                </c:pt>
                <c:pt idx="2530">
                  <c:v>2.5000000000000001E-2</c:v>
                </c:pt>
                <c:pt idx="2531">
                  <c:v>1.7000000000000001E-2</c:v>
                </c:pt>
                <c:pt idx="2532">
                  <c:v>5.0000000000000001E-3</c:v>
                </c:pt>
                <c:pt idx="2533">
                  <c:v>2.7E-2</c:v>
                </c:pt>
                <c:pt idx="2534">
                  <c:v>2.1999999999999999E-2</c:v>
                </c:pt>
                <c:pt idx="2535">
                  <c:v>3.6999999999999998E-2</c:v>
                </c:pt>
                <c:pt idx="2536">
                  <c:v>8.0000000000000002E-3</c:v>
                </c:pt>
                <c:pt idx="2537">
                  <c:v>8.0000000000000002E-3</c:v>
                </c:pt>
                <c:pt idx="2538">
                  <c:v>8.9999999999999993E-3</c:v>
                </c:pt>
                <c:pt idx="2539">
                  <c:v>5.0000000000000001E-3</c:v>
                </c:pt>
                <c:pt idx="2540">
                  <c:v>2.4E-2</c:v>
                </c:pt>
                <c:pt idx="2541">
                  <c:v>1.2999999999999999E-2</c:v>
                </c:pt>
                <c:pt idx="2542">
                  <c:v>5.0000000000000001E-3</c:v>
                </c:pt>
                <c:pt idx="2543">
                  <c:v>8.9999999999999993E-3</c:v>
                </c:pt>
                <c:pt idx="2544">
                  <c:v>8.0000000000000002E-3</c:v>
                </c:pt>
                <c:pt idx="2545">
                  <c:v>3.6999999999999998E-2</c:v>
                </c:pt>
                <c:pt idx="2546">
                  <c:v>5.1999999999999998E-2</c:v>
                </c:pt>
                <c:pt idx="2547">
                  <c:v>2.7E-2</c:v>
                </c:pt>
                <c:pt idx="2548">
                  <c:v>5.0000000000000001E-3</c:v>
                </c:pt>
                <c:pt idx="2549">
                  <c:v>5.0000000000000001E-3</c:v>
                </c:pt>
                <c:pt idx="2550">
                  <c:v>1.4E-2</c:v>
                </c:pt>
                <c:pt idx="2551">
                  <c:v>1.2E-2</c:v>
                </c:pt>
                <c:pt idx="2552">
                  <c:v>2.3E-2</c:v>
                </c:pt>
                <c:pt idx="2553">
                  <c:v>5.0000000000000001E-3</c:v>
                </c:pt>
                <c:pt idx="2554">
                  <c:v>2.3E-2</c:v>
                </c:pt>
                <c:pt idx="2555">
                  <c:v>5.0000000000000001E-3</c:v>
                </c:pt>
                <c:pt idx="2556">
                  <c:v>4.0000000000000001E-3</c:v>
                </c:pt>
                <c:pt idx="2557">
                  <c:v>5.0000000000000001E-3</c:v>
                </c:pt>
                <c:pt idx="2558">
                  <c:v>2E-3</c:v>
                </c:pt>
                <c:pt idx="2559">
                  <c:v>3.6999999999999998E-2</c:v>
                </c:pt>
                <c:pt idx="2560">
                  <c:v>1.7000000000000001E-2</c:v>
                </c:pt>
                <c:pt idx="2561">
                  <c:v>1.7999999999999999E-2</c:v>
                </c:pt>
                <c:pt idx="2562">
                  <c:v>1.6E-2</c:v>
                </c:pt>
                <c:pt idx="2563">
                  <c:v>8.0000000000000002E-3</c:v>
                </c:pt>
                <c:pt idx="2564">
                  <c:v>3.2000000000000001E-2</c:v>
                </c:pt>
                <c:pt idx="2565">
                  <c:v>5.0000000000000001E-3</c:v>
                </c:pt>
                <c:pt idx="2566">
                  <c:v>3.6999999999999998E-2</c:v>
                </c:pt>
                <c:pt idx="2567">
                  <c:v>8.9999999999999993E-3</c:v>
                </c:pt>
                <c:pt idx="2568">
                  <c:v>3.2000000000000001E-2</c:v>
                </c:pt>
                <c:pt idx="2569">
                  <c:v>1.7999999999999999E-2</c:v>
                </c:pt>
                <c:pt idx="2570">
                  <c:v>4.0000000000000001E-3</c:v>
                </c:pt>
                <c:pt idx="2571">
                  <c:v>4.0000000000000001E-3</c:v>
                </c:pt>
                <c:pt idx="2572">
                  <c:v>5.0000000000000001E-3</c:v>
                </c:pt>
                <c:pt idx="2573">
                  <c:v>1.2999999999999999E-2</c:v>
                </c:pt>
                <c:pt idx="2574">
                  <c:v>3.1E-2</c:v>
                </c:pt>
                <c:pt idx="2575">
                  <c:v>3.1E-2</c:v>
                </c:pt>
                <c:pt idx="2576">
                  <c:v>4.0000000000000001E-3</c:v>
                </c:pt>
                <c:pt idx="2577">
                  <c:v>1.4E-2</c:v>
                </c:pt>
                <c:pt idx="2578">
                  <c:v>1.7000000000000001E-2</c:v>
                </c:pt>
                <c:pt idx="2579">
                  <c:v>5.0000000000000001E-3</c:v>
                </c:pt>
                <c:pt idx="2580">
                  <c:v>6.4000000000000001E-2</c:v>
                </c:pt>
                <c:pt idx="2581">
                  <c:v>8.9999999999999993E-3</c:v>
                </c:pt>
                <c:pt idx="2582">
                  <c:v>3.2000000000000001E-2</c:v>
                </c:pt>
                <c:pt idx="2583">
                  <c:v>3.6999999999999998E-2</c:v>
                </c:pt>
                <c:pt idx="2584">
                  <c:v>2E-3</c:v>
                </c:pt>
                <c:pt idx="2585">
                  <c:v>2.7E-2</c:v>
                </c:pt>
                <c:pt idx="2586">
                  <c:v>4.0000000000000001E-3</c:v>
                </c:pt>
                <c:pt idx="2587">
                  <c:v>1.2999999999999999E-2</c:v>
                </c:pt>
                <c:pt idx="2588">
                  <c:v>8.0000000000000002E-3</c:v>
                </c:pt>
                <c:pt idx="2589">
                  <c:v>5.0000000000000001E-3</c:v>
                </c:pt>
                <c:pt idx="2590">
                  <c:v>2.7E-2</c:v>
                </c:pt>
                <c:pt idx="2591">
                  <c:v>1.2999999999999999E-2</c:v>
                </c:pt>
                <c:pt idx="2592">
                  <c:v>1.7999999999999999E-2</c:v>
                </c:pt>
                <c:pt idx="2593">
                  <c:v>2.3E-2</c:v>
                </c:pt>
                <c:pt idx="2594">
                  <c:v>4.0000000000000001E-3</c:v>
                </c:pt>
                <c:pt idx="2595">
                  <c:v>1.7999999999999999E-2</c:v>
                </c:pt>
                <c:pt idx="2596">
                  <c:v>2.3E-2</c:v>
                </c:pt>
                <c:pt idx="2597">
                  <c:v>6.4000000000000001E-2</c:v>
                </c:pt>
                <c:pt idx="2598">
                  <c:v>5.0000000000000001E-3</c:v>
                </c:pt>
                <c:pt idx="2599">
                  <c:v>0.14000000000000001</c:v>
                </c:pt>
                <c:pt idx="2600">
                  <c:v>3.1E-2</c:v>
                </c:pt>
                <c:pt idx="2601">
                  <c:v>8.9999999999999993E-3</c:v>
                </c:pt>
                <c:pt idx="2602">
                  <c:v>8.9999999999999993E-3</c:v>
                </c:pt>
                <c:pt idx="2603">
                  <c:v>5.0000000000000001E-3</c:v>
                </c:pt>
                <c:pt idx="2604">
                  <c:v>5.0000000000000001E-3</c:v>
                </c:pt>
                <c:pt idx="2605">
                  <c:v>3.0000000000000001E-3</c:v>
                </c:pt>
                <c:pt idx="2606">
                  <c:v>4.0000000000000001E-3</c:v>
                </c:pt>
                <c:pt idx="2607">
                  <c:v>1.6E-2</c:v>
                </c:pt>
                <c:pt idx="2608">
                  <c:v>8.9999999999999993E-3</c:v>
                </c:pt>
                <c:pt idx="2609">
                  <c:v>2E-3</c:v>
                </c:pt>
                <c:pt idx="2610">
                  <c:v>4.0000000000000001E-3</c:v>
                </c:pt>
                <c:pt idx="2611">
                  <c:v>1.4E-2</c:v>
                </c:pt>
                <c:pt idx="2612">
                  <c:v>8.0000000000000002E-3</c:v>
                </c:pt>
                <c:pt idx="2613">
                  <c:v>4.0000000000000001E-3</c:v>
                </c:pt>
                <c:pt idx="2614">
                  <c:v>8.0000000000000002E-3</c:v>
                </c:pt>
                <c:pt idx="2615">
                  <c:v>5.0000000000000001E-3</c:v>
                </c:pt>
                <c:pt idx="2616">
                  <c:v>4.0000000000000001E-3</c:v>
                </c:pt>
                <c:pt idx="2617">
                  <c:v>4.0000000000000001E-3</c:v>
                </c:pt>
                <c:pt idx="2618">
                  <c:v>2E-3</c:v>
                </c:pt>
                <c:pt idx="2619">
                  <c:v>2.1999999999999999E-2</c:v>
                </c:pt>
                <c:pt idx="2620">
                  <c:v>5.0000000000000001E-3</c:v>
                </c:pt>
                <c:pt idx="2621">
                  <c:v>5.0000000000000001E-3</c:v>
                </c:pt>
                <c:pt idx="2622">
                  <c:v>8.9999999999999993E-3</c:v>
                </c:pt>
                <c:pt idx="2623">
                  <c:v>1.7000000000000001E-2</c:v>
                </c:pt>
                <c:pt idx="2624">
                  <c:v>4.0000000000000001E-3</c:v>
                </c:pt>
                <c:pt idx="2625">
                  <c:v>4.1000000000000002E-2</c:v>
                </c:pt>
                <c:pt idx="2626">
                  <c:v>8.9999999999999993E-3</c:v>
                </c:pt>
                <c:pt idx="2627">
                  <c:v>2.7E-2</c:v>
                </c:pt>
                <c:pt idx="2628">
                  <c:v>4.0000000000000001E-3</c:v>
                </c:pt>
                <c:pt idx="2629">
                  <c:v>5.0000000000000001E-3</c:v>
                </c:pt>
                <c:pt idx="2630">
                  <c:v>5.8999999999999997E-2</c:v>
                </c:pt>
                <c:pt idx="2631">
                  <c:v>5.8999999999999997E-2</c:v>
                </c:pt>
                <c:pt idx="2632">
                  <c:v>8.0000000000000002E-3</c:v>
                </c:pt>
                <c:pt idx="2633">
                  <c:v>2E-3</c:v>
                </c:pt>
                <c:pt idx="2634">
                  <c:v>5.0000000000000001E-3</c:v>
                </c:pt>
                <c:pt idx="2635">
                  <c:v>1.6E-2</c:v>
                </c:pt>
                <c:pt idx="2636">
                  <c:v>8.9999999999999993E-3</c:v>
                </c:pt>
                <c:pt idx="2637">
                  <c:v>1.4E-2</c:v>
                </c:pt>
                <c:pt idx="2638">
                  <c:v>5.8999999999999997E-2</c:v>
                </c:pt>
                <c:pt idx="2639">
                  <c:v>1.4E-2</c:v>
                </c:pt>
                <c:pt idx="2640">
                  <c:v>1.4E-2</c:v>
                </c:pt>
                <c:pt idx="2641">
                  <c:v>4.0000000000000001E-3</c:v>
                </c:pt>
                <c:pt idx="2642">
                  <c:v>5.0000000000000001E-3</c:v>
                </c:pt>
                <c:pt idx="2643">
                  <c:v>2E-3</c:v>
                </c:pt>
                <c:pt idx="2644">
                  <c:v>3.6999999999999998E-2</c:v>
                </c:pt>
                <c:pt idx="2645">
                  <c:v>2.8000000000000001E-2</c:v>
                </c:pt>
                <c:pt idx="2646">
                  <c:v>5.0000000000000001E-3</c:v>
                </c:pt>
                <c:pt idx="2647">
                  <c:v>4.0000000000000001E-3</c:v>
                </c:pt>
                <c:pt idx="2648">
                  <c:v>5.0000000000000001E-3</c:v>
                </c:pt>
                <c:pt idx="2649">
                  <c:v>8.0000000000000002E-3</c:v>
                </c:pt>
                <c:pt idx="2650">
                  <c:v>2E-3</c:v>
                </c:pt>
                <c:pt idx="2651">
                  <c:v>4.0000000000000001E-3</c:v>
                </c:pt>
                <c:pt idx="2652">
                  <c:v>1.4E-2</c:v>
                </c:pt>
                <c:pt idx="2653">
                  <c:v>4.0000000000000001E-3</c:v>
                </c:pt>
                <c:pt idx="2654">
                  <c:v>8.0000000000000002E-3</c:v>
                </c:pt>
                <c:pt idx="2655">
                  <c:v>1.2999999999999999E-2</c:v>
                </c:pt>
                <c:pt idx="2656">
                  <c:v>8.9999999999999993E-3</c:v>
                </c:pt>
                <c:pt idx="2657">
                  <c:v>1.7000000000000001E-2</c:v>
                </c:pt>
                <c:pt idx="2658">
                  <c:v>5.0000000000000001E-3</c:v>
                </c:pt>
                <c:pt idx="2659">
                  <c:v>1.2999999999999999E-2</c:v>
                </c:pt>
                <c:pt idx="2660">
                  <c:v>2E-3</c:v>
                </c:pt>
                <c:pt idx="2661">
                  <c:v>2.7E-2</c:v>
                </c:pt>
                <c:pt idx="2662">
                  <c:v>2.7E-2</c:v>
                </c:pt>
                <c:pt idx="2663">
                  <c:v>1.2E-2</c:v>
                </c:pt>
                <c:pt idx="2664">
                  <c:v>8.9999999999999993E-3</c:v>
                </c:pt>
                <c:pt idx="2665">
                  <c:v>8.9999999999999993E-3</c:v>
                </c:pt>
                <c:pt idx="2666">
                  <c:v>4.0000000000000001E-3</c:v>
                </c:pt>
                <c:pt idx="2667">
                  <c:v>4.0000000000000001E-3</c:v>
                </c:pt>
                <c:pt idx="2668">
                  <c:v>2E-3</c:v>
                </c:pt>
                <c:pt idx="2669">
                  <c:v>1.7000000000000001E-2</c:v>
                </c:pt>
                <c:pt idx="2670">
                  <c:v>2E-3</c:v>
                </c:pt>
                <c:pt idx="2671">
                  <c:v>1.0999999999999999E-2</c:v>
                </c:pt>
                <c:pt idx="2672">
                  <c:v>1.7000000000000001E-2</c:v>
                </c:pt>
                <c:pt idx="2673">
                  <c:v>5.0000000000000001E-3</c:v>
                </c:pt>
                <c:pt idx="2674">
                  <c:v>4.0000000000000001E-3</c:v>
                </c:pt>
                <c:pt idx="2675">
                  <c:v>4.2999999999999997E-2</c:v>
                </c:pt>
                <c:pt idx="2676">
                  <c:v>2E-3</c:v>
                </c:pt>
                <c:pt idx="2677">
                  <c:v>5.0000000000000001E-3</c:v>
                </c:pt>
                <c:pt idx="2678">
                  <c:v>1.7999999999999999E-2</c:v>
                </c:pt>
                <c:pt idx="2679">
                  <c:v>5.0000000000000001E-3</c:v>
                </c:pt>
                <c:pt idx="2680">
                  <c:v>5.0000000000000001E-3</c:v>
                </c:pt>
                <c:pt idx="2681">
                  <c:v>4.0000000000000001E-3</c:v>
                </c:pt>
                <c:pt idx="2682">
                  <c:v>1.7999999999999999E-2</c:v>
                </c:pt>
                <c:pt idx="2683">
                  <c:v>8.0000000000000002E-3</c:v>
                </c:pt>
                <c:pt idx="2684">
                  <c:v>5.0000000000000001E-3</c:v>
                </c:pt>
                <c:pt idx="2685">
                  <c:v>8.9999999999999993E-3</c:v>
                </c:pt>
                <c:pt idx="2686">
                  <c:v>5.0000000000000001E-3</c:v>
                </c:pt>
                <c:pt idx="2687">
                  <c:v>1.0999999999999999E-2</c:v>
                </c:pt>
                <c:pt idx="2688">
                  <c:v>1.7000000000000001E-2</c:v>
                </c:pt>
                <c:pt idx="2689">
                  <c:v>3.2000000000000001E-2</c:v>
                </c:pt>
                <c:pt idx="2690">
                  <c:v>6.6000000000000003E-2</c:v>
                </c:pt>
                <c:pt idx="2691">
                  <c:v>8.9999999999999993E-3</c:v>
                </c:pt>
                <c:pt idx="2692">
                  <c:v>5.0000000000000001E-3</c:v>
                </c:pt>
                <c:pt idx="2693">
                  <c:v>2.1000000000000001E-2</c:v>
                </c:pt>
                <c:pt idx="2694">
                  <c:v>8.9999999999999993E-3</c:v>
                </c:pt>
                <c:pt idx="2695">
                  <c:v>5.0000000000000001E-3</c:v>
                </c:pt>
                <c:pt idx="2696">
                  <c:v>5.0000000000000001E-3</c:v>
                </c:pt>
                <c:pt idx="2697">
                  <c:v>5.0000000000000001E-3</c:v>
                </c:pt>
                <c:pt idx="2698">
                  <c:v>5.0000000000000001E-3</c:v>
                </c:pt>
                <c:pt idx="2699">
                  <c:v>1.4E-2</c:v>
                </c:pt>
                <c:pt idx="2700">
                  <c:v>8.9999999999999993E-3</c:v>
                </c:pt>
                <c:pt idx="2701">
                  <c:v>8.0000000000000002E-3</c:v>
                </c:pt>
                <c:pt idx="2702">
                  <c:v>2E-3</c:v>
                </c:pt>
                <c:pt idx="2703">
                  <c:v>5.0000000000000001E-3</c:v>
                </c:pt>
                <c:pt idx="2704">
                  <c:v>8.9999999999999993E-3</c:v>
                </c:pt>
                <c:pt idx="2705">
                  <c:v>5.0000000000000001E-3</c:v>
                </c:pt>
                <c:pt idx="2706">
                  <c:v>2.7E-2</c:v>
                </c:pt>
                <c:pt idx="2707">
                  <c:v>5.0000000000000001E-3</c:v>
                </c:pt>
                <c:pt idx="2708">
                  <c:v>5.0000000000000001E-3</c:v>
                </c:pt>
                <c:pt idx="2709">
                  <c:v>2E-3</c:v>
                </c:pt>
                <c:pt idx="2710">
                  <c:v>5.0000000000000001E-3</c:v>
                </c:pt>
                <c:pt idx="2711">
                  <c:v>5.0000000000000001E-3</c:v>
                </c:pt>
                <c:pt idx="2712">
                  <c:v>1.4E-2</c:v>
                </c:pt>
                <c:pt idx="2713">
                  <c:v>5.8999999999999997E-2</c:v>
                </c:pt>
                <c:pt idx="2714">
                  <c:v>1.4E-2</c:v>
                </c:pt>
                <c:pt idx="2715">
                  <c:v>1.4E-2</c:v>
                </c:pt>
                <c:pt idx="2716">
                  <c:v>2E-3</c:v>
                </c:pt>
                <c:pt idx="2717">
                  <c:v>1.4E-2</c:v>
                </c:pt>
                <c:pt idx="2718">
                  <c:v>2.4E-2</c:v>
                </c:pt>
                <c:pt idx="2719">
                  <c:v>4.0000000000000001E-3</c:v>
                </c:pt>
                <c:pt idx="2720">
                  <c:v>1.7999999999999999E-2</c:v>
                </c:pt>
                <c:pt idx="2721">
                  <c:v>1.0999999999999999E-2</c:v>
                </c:pt>
                <c:pt idx="2722">
                  <c:v>8.9999999999999993E-3</c:v>
                </c:pt>
                <c:pt idx="2723">
                  <c:v>5.0000000000000001E-3</c:v>
                </c:pt>
                <c:pt idx="2724">
                  <c:v>1.4E-2</c:v>
                </c:pt>
                <c:pt idx="2725">
                  <c:v>5.0000000000000001E-3</c:v>
                </c:pt>
                <c:pt idx="2726">
                  <c:v>4.0000000000000001E-3</c:v>
                </c:pt>
                <c:pt idx="2727">
                  <c:v>5.8999999999999997E-2</c:v>
                </c:pt>
                <c:pt idx="2728">
                  <c:v>5.0000000000000001E-3</c:v>
                </c:pt>
                <c:pt idx="2729">
                  <c:v>2.3E-2</c:v>
                </c:pt>
                <c:pt idx="2730">
                  <c:v>2E-3</c:v>
                </c:pt>
                <c:pt idx="2731">
                  <c:v>2.7E-2</c:v>
                </c:pt>
                <c:pt idx="2732">
                  <c:v>1.4E-2</c:v>
                </c:pt>
                <c:pt idx="2733">
                  <c:v>8.5000000000000006E-2</c:v>
                </c:pt>
                <c:pt idx="2734">
                  <c:v>1.4E-2</c:v>
                </c:pt>
                <c:pt idx="2735">
                  <c:v>1.7000000000000001E-2</c:v>
                </c:pt>
                <c:pt idx="2736">
                  <c:v>1.4E-2</c:v>
                </c:pt>
                <c:pt idx="2737">
                  <c:v>5.0000000000000001E-3</c:v>
                </c:pt>
                <c:pt idx="2738">
                  <c:v>8.9999999999999993E-3</c:v>
                </c:pt>
                <c:pt idx="2739">
                  <c:v>8.9999999999999993E-3</c:v>
                </c:pt>
                <c:pt idx="2740">
                  <c:v>1.2E-2</c:v>
                </c:pt>
                <c:pt idx="2741">
                  <c:v>8.9999999999999993E-3</c:v>
                </c:pt>
                <c:pt idx="2742">
                  <c:v>4.0000000000000001E-3</c:v>
                </c:pt>
                <c:pt idx="2743">
                  <c:v>5.0000000000000001E-3</c:v>
                </c:pt>
                <c:pt idx="2744">
                  <c:v>8.0000000000000002E-3</c:v>
                </c:pt>
                <c:pt idx="2745">
                  <c:v>1.7999999999999999E-2</c:v>
                </c:pt>
                <c:pt idx="2746">
                  <c:v>5.0000000000000001E-3</c:v>
                </c:pt>
                <c:pt idx="2747">
                  <c:v>4.0000000000000001E-3</c:v>
                </c:pt>
                <c:pt idx="2748">
                  <c:v>1.4E-2</c:v>
                </c:pt>
                <c:pt idx="2749">
                  <c:v>5.0000000000000001E-3</c:v>
                </c:pt>
                <c:pt idx="2750">
                  <c:v>2.7E-2</c:v>
                </c:pt>
                <c:pt idx="2751">
                  <c:v>8.9999999999999993E-3</c:v>
                </c:pt>
                <c:pt idx="2752">
                  <c:v>8.9999999999999993E-3</c:v>
                </c:pt>
                <c:pt idx="2753">
                  <c:v>6.4000000000000001E-2</c:v>
                </c:pt>
                <c:pt idx="2754">
                  <c:v>5.0000000000000001E-3</c:v>
                </c:pt>
                <c:pt idx="2755">
                  <c:v>8.9999999999999993E-3</c:v>
                </c:pt>
                <c:pt idx="2756">
                  <c:v>1.0999999999999999E-2</c:v>
                </c:pt>
                <c:pt idx="2757">
                  <c:v>0.02</c:v>
                </c:pt>
                <c:pt idx="2758">
                  <c:v>5.0000000000000001E-3</c:v>
                </c:pt>
                <c:pt idx="2759">
                  <c:v>4.1000000000000002E-2</c:v>
                </c:pt>
                <c:pt idx="2760">
                  <c:v>1.7999999999999999E-2</c:v>
                </c:pt>
                <c:pt idx="2761">
                  <c:v>1.4E-2</c:v>
                </c:pt>
                <c:pt idx="2762">
                  <c:v>6.0000000000000001E-3</c:v>
                </c:pt>
                <c:pt idx="2763">
                  <c:v>3.6999999999999998E-2</c:v>
                </c:pt>
                <c:pt idx="2764">
                  <c:v>5.0000000000000001E-3</c:v>
                </c:pt>
                <c:pt idx="2765">
                  <c:v>5.0000000000000001E-3</c:v>
                </c:pt>
                <c:pt idx="2766">
                  <c:v>8.0000000000000002E-3</c:v>
                </c:pt>
                <c:pt idx="2767">
                  <c:v>5.0000000000000001E-3</c:v>
                </c:pt>
                <c:pt idx="2768">
                  <c:v>4.0000000000000001E-3</c:v>
                </c:pt>
                <c:pt idx="2769">
                  <c:v>5.0000000000000001E-3</c:v>
                </c:pt>
                <c:pt idx="2770">
                  <c:v>8.9999999999999993E-3</c:v>
                </c:pt>
                <c:pt idx="2771">
                  <c:v>8.9999999999999993E-3</c:v>
                </c:pt>
                <c:pt idx="2772">
                  <c:v>8.0000000000000002E-3</c:v>
                </c:pt>
                <c:pt idx="2773">
                  <c:v>8.9999999999999993E-3</c:v>
                </c:pt>
                <c:pt idx="2774">
                  <c:v>4.0000000000000001E-3</c:v>
                </c:pt>
                <c:pt idx="2775">
                  <c:v>5.0000000000000001E-3</c:v>
                </c:pt>
                <c:pt idx="2776">
                  <c:v>8.0000000000000002E-3</c:v>
                </c:pt>
                <c:pt idx="2777">
                  <c:v>1.4E-2</c:v>
                </c:pt>
                <c:pt idx="2778">
                  <c:v>8.9999999999999993E-3</c:v>
                </c:pt>
                <c:pt idx="2779">
                  <c:v>5.0000000000000001E-3</c:v>
                </c:pt>
                <c:pt idx="2780">
                  <c:v>3.6999999999999998E-2</c:v>
                </c:pt>
                <c:pt idx="2781">
                  <c:v>8.9999999999999993E-3</c:v>
                </c:pt>
                <c:pt idx="2782">
                  <c:v>8.9999999999999993E-3</c:v>
                </c:pt>
                <c:pt idx="2783">
                  <c:v>1.7999999999999999E-2</c:v>
                </c:pt>
                <c:pt idx="2784">
                  <c:v>1.2999999999999999E-2</c:v>
                </c:pt>
                <c:pt idx="2785">
                  <c:v>2.3E-2</c:v>
                </c:pt>
                <c:pt idx="2786">
                  <c:v>4.8000000000000001E-2</c:v>
                </c:pt>
                <c:pt idx="2787">
                  <c:v>5.0000000000000001E-3</c:v>
                </c:pt>
                <c:pt idx="2788">
                  <c:v>5.0000000000000001E-3</c:v>
                </c:pt>
                <c:pt idx="2789">
                  <c:v>2E-3</c:v>
                </c:pt>
                <c:pt idx="2790">
                  <c:v>3.4000000000000002E-2</c:v>
                </c:pt>
                <c:pt idx="2791">
                  <c:v>4.0000000000000001E-3</c:v>
                </c:pt>
                <c:pt idx="2792">
                  <c:v>5.0000000000000001E-3</c:v>
                </c:pt>
                <c:pt idx="2793">
                  <c:v>1.7000000000000001E-2</c:v>
                </c:pt>
                <c:pt idx="2794">
                  <c:v>8.0000000000000002E-3</c:v>
                </c:pt>
                <c:pt idx="2795">
                  <c:v>8.0000000000000002E-3</c:v>
                </c:pt>
                <c:pt idx="2796">
                  <c:v>2.3E-2</c:v>
                </c:pt>
                <c:pt idx="2797">
                  <c:v>8.9999999999999993E-3</c:v>
                </c:pt>
                <c:pt idx="2798">
                  <c:v>3.2000000000000001E-2</c:v>
                </c:pt>
                <c:pt idx="2799">
                  <c:v>5.0000000000000001E-3</c:v>
                </c:pt>
                <c:pt idx="2800">
                  <c:v>1.4E-2</c:v>
                </c:pt>
                <c:pt idx="2801">
                  <c:v>5.0000000000000001E-3</c:v>
                </c:pt>
                <c:pt idx="2802">
                  <c:v>1.4999999999999999E-2</c:v>
                </c:pt>
                <c:pt idx="2803">
                  <c:v>5.0000000000000001E-3</c:v>
                </c:pt>
                <c:pt idx="2804">
                  <c:v>5.0000000000000001E-3</c:v>
                </c:pt>
                <c:pt idx="2805">
                  <c:v>5.0000000000000001E-3</c:v>
                </c:pt>
                <c:pt idx="2806">
                  <c:v>1.2999999999999999E-2</c:v>
                </c:pt>
                <c:pt idx="2807">
                  <c:v>8.0000000000000002E-3</c:v>
                </c:pt>
                <c:pt idx="2808">
                  <c:v>6.2E-2</c:v>
                </c:pt>
                <c:pt idx="2809">
                  <c:v>4.0000000000000001E-3</c:v>
                </c:pt>
                <c:pt idx="2810">
                  <c:v>8.0000000000000002E-3</c:v>
                </c:pt>
                <c:pt idx="2811">
                  <c:v>1.4E-2</c:v>
                </c:pt>
                <c:pt idx="2812">
                  <c:v>8.9999999999999993E-3</c:v>
                </c:pt>
                <c:pt idx="2813">
                  <c:v>1.0999999999999999E-2</c:v>
                </c:pt>
                <c:pt idx="2814">
                  <c:v>2E-3</c:v>
                </c:pt>
                <c:pt idx="2815">
                  <c:v>8.9999999999999993E-3</c:v>
                </c:pt>
                <c:pt idx="2816">
                  <c:v>2E-3</c:v>
                </c:pt>
                <c:pt idx="2817">
                  <c:v>8.9999999999999993E-3</c:v>
                </c:pt>
                <c:pt idx="2818">
                  <c:v>1.0999999999999999E-2</c:v>
                </c:pt>
                <c:pt idx="2819">
                  <c:v>5.8999999999999997E-2</c:v>
                </c:pt>
                <c:pt idx="2820">
                  <c:v>1.4E-2</c:v>
                </c:pt>
                <c:pt idx="2821">
                  <c:v>4.0000000000000001E-3</c:v>
                </c:pt>
                <c:pt idx="2822">
                  <c:v>4.8000000000000001E-2</c:v>
                </c:pt>
                <c:pt idx="2823">
                  <c:v>5.0000000000000001E-3</c:v>
                </c:pt>
                <c:pt idx="2824">
                  <c:v>8.0000000000000002E-3</c:v>
                </c:pt>
                <c:pt idx="2825">
                  <c:v>3.2000000000000001E-2</c:v>
                </c:pt>
                <c:pt idx="2826">
                  <c:v>4.0000000000000001E-3</c:v>
                </c:pt>
                <c:pt idx="2827">
                  <c:v>4.0000000000000001E-3</c:v>
                </c:pt>
                <c:pt idx="2828">
                  <c:v>1.4E-2</c:v>
                </c:pt>
                <c:pt idx="2829">
                  <c:v>4.0000000000000001E-3</c:v>
                </c:pt>
                <c:pt idx="2830">
                  <c:v>8.9999999999999993E-3</c:v>
                </c:pt>
                <c:pt idx="2831">
                  <c:v>6.0000000000000001E-3</c:v>
                </c:pt>
                <c:pt idx="2832">
                  <c:v>5.0000000000000001E-3</c:v>
                </c:pt>
                <c:pt idx="2833">
                  <c:v>5.0000000000000001E-3</c:v>
                </c:pt>
                <c:pt idx="2834">
                  <c:v>5.8999999999999997E-2</c:v>
                </c:pt>
                <c:pt idx="2835">
                  <c:v>1.2999999999999999E-2</c:v>
                </c:pt>
                <c:pt idx="2836">
                  <c:v>1.4E-2</c:v>
                </c:pt>
                <c:pt idx="2837">
                  <c:v>6.4000000000000001E-2</c:v>
                </c:pt>
                <c:pt idx="2838">
                  <c:v>3.3000000000000002E-2</c:v>
                </c:pt>
                <c:pt idx="2839">
                  <c:v>1.4E-2</c:v>
                </c:pt>
                <c:pt idx="2840">
                  <c:v>1.2999999999999999E-2</c:v>
                </c:pt>
                <c:pt idx="2841">
                  <c:v>2E-3</c:v>
                </c:pt>
                <c:pt idx="2842">
                  <c:v>4.0000000000000001E-3</c:v>
                </c:pt>
                <c:pt idx="2843">
                  <c:v>4.2999999999999997E-2</c:v>
                </c:pt>
                <c:pt idx="2844">
                  <c:v>1.2999999999999999E-2</c:v>
                </c:pt>
                <c:pt idx="2845">
                  <c:v>2.7E-2</c:v>
                </c:pt>
                <c:pt idx="2846">
                  <c:v>4.0000000000000001E-3</c:v>
                </c:pt>
                <c:pt idx="2847">
                  <c:v>8.0000000000000002E-3</c:v>
                </c:pt>
                <c:pt idx="2848">
                  <c:v>5.0000000000000001E-3</c:v>
                </c:pt>
                <c:pt idx="2849">
                  <c:v>9.4E-2</c:v>
                </c:pt>
                <c:pt idx="2850">
                  <c:v>3.2000000000000001E-2</c:v>
                </c:pt>
                <c:pt idx="2851">
                  <c:v>1.4E-2</c:v>
                </c:pt>
                <c:pt idx="2852">
                  <c:v>3.2000000000000001E-2</c:v>
                </c:pt>
                <c:pt idx="2853">
                  <c:v>5.0000000000000001E-3</c:v>
                </c:pt>
                <c:pt idx="2854">
                  <c:v>5.0000000000000001E-3</c:v>
                </c:pt>
                <c:pt idx="2855">
                  <c:v>1.4E-2</c:v>
                </c:pt>
                <c:pt idx="2856">
                  <c:v>1.7999999999999999E-2</c:v>
                </c:pt>
                <c:pt idx="2857">
                  <c:v>8.9999999999999993E-3</c:v>
                </c:pt>
                <c:pt idx="2858">
                  <c:v>1.7999999999999999E-2</c:v>
                </c:pt>
                <c:pt idx="2859">
                  <c:v>5.0000000000000001E-3</c:v>
                </c:pt>
                <c:pt idx="2860">
                  <c:v>8.0000000000000002E-3</c:v>
                </c:pt>
                <c:pt idx="2861">
                  <c:v>5.0000000000000001E-3</c:v>
                </c:pt>
                <c:pt idx="2862">
                  <c:v>8.0000000000000002E-3</c:v>
                </c:pt>
                <c:pt idx="2863">
                  <c:v>5.0000000000000001E-3</c:v>
                </c:pt>
                <c:pt idx="2864">
                  <c:v>1.2999999999999999E-2</c:v>
                </c:pt>
                <c:pt idx="2865">
                  <c:v>6.8000000000000005E-2</c:v>
                </c:pt>
                <c:pt idx="2866">
                  <c:v>3.2000000000000001E-2</c:v>
                </c:pt>
                <c:pt idx="2867">
                  <c:v>8.9999999999999993E-3</c:v>
                </c:pt>
                <c:pt idx="2868">
                  <c:v>5.0000000000000001E-3</c:v>
                </c:pt>
                <c:pt idx="2869">
                  <c:v>5.0000000000000001E-3</c:v>
                </c:pt>
                <c:pt idx="2870">
                  <c:v>1.4E-2</c:v>
                </c:pt>
                <c:pt idx="2871">
                  <c:v>5.0000000000000001E-3</c:v>
                </c:pt>
                <c:pt idx="2872">
                  <c:v>8.9999999999999993E-3</c:v>
                </c:pt>
                <c:pt idx="2873">
                  <c:v>5.0000000000000001E-3</c:v>
                </c:pt>
                <c:pt idx="2874">
                  <c:v>5.0000000000000001E-3</c:v>
                </c:pt>
                <c:pt idx="2875">
                  <c:v>1.2999999999999999E-2</c:v>
                </c:pt>
                <c:pt idx="2876">
                  <c:v>7.8E-2</c:v>
                </c:pt>
                <c:pt idx="2877">
                  <c:v>2.7E-2</c:v>
                </c:pt>
                <c:pt idx="2878">
                  <c:v>5.0000000000000001E-3</c:v>
                </c:pt>
                <c:pt idx="2879">
                  <c:v>2E-3</c:v>
                </c:pt>
                <c:pt idx="2880">
                  <c:v>4.0000000000000001E-3</c:v>
                </c:pt>
                <c:pt idx="2881">
                  <c:v>1.4E-2</c:v>
                </c:pt>
                <c:pt idx="2882">
                  <c:v>5.0000000000000001E-3</c:v>
                </c:pt>
                <c:pt idx="2883">
                  <c:v>4.0000000000000001E-3</c:v>
                </c:pt>
                <c:pt idx="2884">
                  <c:v>1.4E-2</c:v>
                </c:pt>
                <c:pt idx="2885">
                  <c:v>1.4E-2</c:v>
                </c:pt>
                <c:pt idx="2886">
                  <c:v>4.0000000000000001E-3</c:v>
                </c:pt>
                <c:pt idx="2887">
                  <c:v>3.2000000000000001E-2</c:v>
                </c:pt>
                <c:pt idx="2888">
                  <c:v>8.0000000000000002E-3</c:v>
                </c:pt>
                <c:pt idx="2889">
                  <c:v>8.0000000000000002E-3</c:v>
                </c:pt>
                <c:pt idx="2890">
                  <c:v>8.9999999999999993E-3</c:v>
                </c:pt>
                <c:pt idx="2891">
                  <c:v>8.9999999999999993E-3</c:v>
                </c:pt>
                <c:pt idx="2892">
                  <c:v>5.0000000000000001E-3</c:v>
                </c:pt>
                <c:pt idx="2893">
                  <c:v>4.0000000000000001E-3</c:v>
                </c:pt>
                <c:pt idx="2894">
                  <c:v>1.2999999999999999E-2</c:v>
                </c:pt>
                <c:pt idx="2895">
                  <c:v>8.9999999999999993E-3</c:v>
                </c:pt>
                <c:pt idx="2896">
                  <c:v>1.4E-2</c:v>
                </c:pt>
                <c:pt idx="2897">
                  <c:v>2.3E-2</c:v>
                </c:pt>
                <c:pt idx="2898">
                  <c:v>8.9999999999999993E-3</c:v>
                </c:pt>
                <c:pt idx="2899">
                  <c:v>5.0000000000000001E-3</c:v>
                </c:pt>
                <c:pt idx="2900">
                  <c:v>1.7000000000000001E-2</c:v>
                </c:pt>
                <c:pt idx="2901">
                  <c:v>8.0000000000000002E-3</c:v>
                </c:pt>
                <c:pt idx="2902">
                  <c:v>8.9999999999999993E-3</c:v>
                </c:pt>
                <c:pt idx="2903">
                  <c:v>3.2000000000000001E-2</c:v>
                </c:pt>
                <c:pt idx="2904">
                  <c:v>5.0000000000000001E-3</c:v>
                </c:pt>
                <c:pt idx="2905">
                  <c:v>4.0000000000000001E-3</c:v>
                </c:pt>
                <c:pt idx="2906">
                  <c:v>8.9999999999999993E-3</c:v>
                </c:pt>
                <c:pt idx="2907">
                  <c:v>5.0000000000000001E-3</c:v>
                </c:pt>
                <c:pt idx="2908">
                  <c:v>3.2000000000000001E-2</c:v>
                </c:pt>
                <c:pt idx="2909">
                  <c:v>5.0000000000000001E-3</c:v>
                </c:pt>
                <c:pt idx="2910">
                  <c:v>8.0000000000000002E-3</c:v>
                </c:pt>
                <c:pt idx="2911">
                  <c:v>4.1000000000000002E-2</c:v>
                </c:pt>
                <c:pt idx="2912">
                  <c:v>1.2999999999999999E-2</c:v>
                </c:pt>
                <c:pt idx="2913">
                  <c:v>1.4E-2</c:v>
                </c:pt>
                <c:pt idx="2914">
                  <c:v>4.0000000000000001E-3</c:v>
                </c:pt>
                <c:pt idx="2915">
                  <c:v>8.9999999999999993E-3</c:v>
                </c:pt>
                <c:pt idx="2916">
                  <c:v>8.9999999999999993E-3</c:v>
                </c:pt>
                <c:pt idx="2917">
                  <c:v>8.9999999999999993E-3</c:v>
                </c:pt>
                <c:pt idx="2918">
                  <c:v>4.0000000000000001E-3</c:v>
                </c:pt>
                <c:pt idx="2919">
                  <c:v>8.0000000000000002E-3</c:v>
                </c:pt>
                <c:pt idx="2920">
                  <c:v>5.0000000000000001E-3</c:v>
                </c:pt>
                <c:pt idx="2921">
                  <c:v>5.0000000000000001E-3</c:v>
                </c:pt>
                <c:pt idx="2922">
                  <c:v>8.0000000000000002E-3</c:v>
                </c:pt>
                <c:pt idx="2923">
                  <c:v>0.01</c:v>
                </c:pt>
                <c:pt idx="2924">
                  <c:v>2.5000000000000001E-2</c:v>
                </c:pt>
                <c:pt idx="2925">
                  <c:v>5.0000000000000001E-3</c:v>
                </c:pt>
                <c:pt idx="2926">
                  <c:v>8.9999999999999993E-3</c:v>
                </c:pt>
                <c:pt idx="2927">
                  <c:v>1.4E-2</c:v>
                </c:pt>
                <c:pt idx="2928">
                  <c:v>8.9999999999999993E-3</c:v>
                </c:pt>
                <c:pt idx="2929">
                  <c:v>5.0000000000000001E-3</c:v>
                </c:pt>
                <c:pt idx="2930">
                  <c:v>4.0000000000000001E-3</c:v>
                </c:pt>
                <c:pt idx="2931">
                  <c:v>5.0000000000000001E-3</c:v>
                </c:pt>
                <c:pt idx="2932">
                  <c:v>1.4E-2</c:v>
                </c:pt>
                <c:pt idx="2933">
                  <c:v>5.0000000000000001E-3</c:v>
                </c:pt>
                <c:pt idx="2934">
                  <c:v>1.4E-2</c:v>
                </c:pt>
                <c:pt idx="2935">
                  <c:v>2.5999999999999999E-2</c:v>
                </c:pt>
                <c:pt idx="2936">
                  <c:v>6.0000000000000001E-3</c:v>
                </c:pt>
                <c:pt idx="2937">
                  <c:v>1.7999999999999999E-2</c:v>
                </c:pt>
                <c:pt idx="2938">
                  <c:v>1.4E-2</c:v>
                </c:pt>
                <c:pt idx="2939">
                  <c:v>5.0000000000000001E-3</c:v>
                </c:pt>
                <c:pt idx="2940">
                  <c:v>4.1000000000000002E-2</c:v>
                </c:pt>
                <c:pt idx="2941">
                  <c:v>8.0000000000000002E-3</c:v>
                </c:pt>
                <c:pt idx="2942">
                  <c:v>5.0000000000000001E-3</c:v>
                </c:pt>
                <c:pt idx="2943">
                  <c:v>8.9999999999999993E-3</c:v>
                </c:pt>
                <c:pt idx="2944">
                  <c:v>1.4E-2</c:v>
                </c:pt>
                <c:pt idx="2945">
                  <c:v>5.0000000000000001E-3</c:v>
                </c:pt>
                <c:pt idx="2946">
                  <c:v>1.2999999999999999E-2</c:v>
                </c:pt>
                <c:pt idx="2947">
                  <c:v>8.9999999999999993E-3</c:v>
                </c:pt>
                <c:pt idx="2948">
                  <c:v>5.0000000000000001E-3</c:v>
                </c:pt>
                <c:pt idx="2949">
                  <c:v>4.0000000000000001E-3</c:v>
                </c:pt>
                <c:pt idx="2950">
                  <c:v>2.7E-2</c:v>
                </c:pt>
                <c:pt idx="2951">
                  <c:v>8.9999999999999993E-3</c:v>
                </c:pt>
                <c:pt idx="2952">
                  <c:v>5.0000000000000001E-3</c:v>
                </c:pt>
                <c:pt idx="2953">
                  <c:v>2.7E-2</c:v>
                </c:pt>
                <c:pt idx="2954">
                  <c:v>5.0000000000000001E-3</c:v>
                </c:pt>
                <c:pt idx="2955">
                  <c:v>8.0000000000000002E-3</c:v>
                </c:pt>
                <c:pt idx="2956">
                  <c:v>5.0000000000000001E-3</c:v>
                </c:pt>
                <c:pt idx="2957">
                  <c:v>4.0000000000000001E-3</c:v>
                </c:pt>
                <c:pt idx="2958">
                  <c:v>5.0000000000000001E-3</c:v>
                </c:pt>
                <c:pt idx="2959">
                  <c:v>5.0000000000000001E-3</c:v>
                </c:pt>
                <c:pt idx="2960">
                  <c:v>1.4E-2</c:v>
                </c:pt>
                <c:pt idx="2961">
                  <c:v>4.0000000000000001E-3</c:v>
                </c:pt>
                <c:pt idx="2962">
                  <c:v>4.0000000000000001E-3</c:v>
                </c:pt>
                <c:pt idx="2963">
                  <c:v>5.0000000000000001E-3</c:v>
                </c:pt>
                <c:pt idx="2964">
                  <c:v>5.0000000000000001E-3</c:v>
                </c:pt>
                <c:pt idx="2965">
                  <c:v>5.0000000000000001E-3</c:v>
                </c:pt>
                <c:pt idx="2966">
                  <c:v>8.0000000000000002E-3</c:v>
                </c:pt>
                <c:pt idx="2967">
                  <c:v>4.0000000000000001E-3</c:v>
                </c:pt>
                <c:pt idx="2968">
                  <c:v>1.4E-2</c:v>
                </c:pt>
                <c:pt idx="2969">
                  <c:v>1.2999999999999999E-2</c:v>
                </c:pt>
                <c:pt idx="2970">
                  <c:v>5.0000000000000001E-3</c:v>
                </c:pt>
                <c:pt idx="2971">
                  <c:v>0.04</c:v>
                </c:pt>
                <c:pt idx="2972">
                  <c:v>2.1999999999999999E-2</c:v>
                </c:pt>
                <c:pt idx="2973">
                  <c:v>8.0000000000000002E-3</c:v>
                </c:pt>
                <c:pt idx="2974">
                  <c:v>5.0000000000000001E-3</c:v>
                </c:pt>
                <c:pt idx="2975">
                  <c:v>5.0000000000000001E-3</c:v>
                </c:pt>
                <c:pt idx="2976">
                  <c:v>4.0000000000000001E-3</c:v>
                </c:pt>
                <c:pt idx="2977">
                  <c:v>5.0000000000000001E-3</c:v>
                </c:pt>
                <c:pt idx="2978">
                  <c:v>4.5999999999999999E-2</c:v>
                </c:pt>
                <c:pt idx="2979">
                  <c:v>2.3E-2</c:v>
                </c:pt>
                <c:pt idx="2980">
                  <c:v>8.9999999999999993E-3</c:v>
                </c:pt>
                <c:pt idx="2981">
                  <c:v>2.7E-2</c:v>
                </c:pt>
                <c:pt idx="2982">
                  <c:v>5.0000000000000001E-3</c:v>
                </c:pt>
                <c:pt idx="2983">
                  <c:v>4.0000000000000001E-3</c:v>
                </c:pt>
                <c:pt idx="2984">
                  <c:v>3.6999999999999998E-2</c:v>
                </c:pt>
                <c:pt idx="2985">
                  <c:v>8.0000000000000002E-3</c:v>
                </c:pt>
                <c:pt idx="2986">
                  <c:v>4.0000000000000001E-3</c:v>
                </c:pt>
                <c:pt idx="2987">
                  <c:v>1.0999999999999999E-2</c:v>
                </c:pt>
                <c:pt idx="2988">
                  <c:v>5.0000000000000001E-3</c:v>
                </c:pt>
                <c:pt idx="2989">
                  <c:v>3.6999999999999998E-2</c:v>
                </c:pt>
                <c:pt idx="2990">
                  <c:v>5.0000000000000001E-3</c:v>
                </c:pt>
                <c:pt idx="2991">
                  <c:v>5.0000000000000001E-3</c:v>
                </c:pt>
                <c:pt idx="2992">
                  <c:v>5.8999999999999997E-2</c:v>
                </c:pt>
                <c:pt idx="2993">
                  <c:v>5.0000000000000001E-3</c:v>
                </c:pt>
                <c:pt idx="2994">
                  <c:v>5.0000000000000001E-3</c:v>
                </c:pt>
                <c:pt idx="2995">
                  <c:v>8.9999999999999993E-3</c:v>
                </c:pt>
                <c:pt idx="2996">
                  <c:v>4.0000000000000001E-3</c:v>
                </c:pt>
                <c:pt idx="2997">
                  <c:v>8.9999999999999993E-3</c:v>
                </c:pt>
                <c:pt idx="2998">
                  <c:v>5.0000000000000001E-3</c:v>
                </c:pt>
                <c:pt idx="2999">
                  <c:v>2.1000000000000001E-2</c:v>
                </c:pt>
                <c:pt idx="3000">
                  <c:v>5.0000000000000001E-3</c:v>
                </c:pt>
                <c:pt idx="3001">
                  <c:v>8.9999999999999993E-3</c:v>
                </c:pt>
                <c:pt idx="3002">
                  <c:v>1.2999999999999999E-2</c:v>
                </c:pt>
                <c:pt idx="3003">
                  <c:v>1.4E-2</c:v>
                </c:pt>
                <c:pt idx="3004">
                  <c:v>5.0000000000000001E-3</c:v>
                </c:pt>
                <c:pt idx="3005">
                  <c:v>5.0000000000000001E-3</c:v>
                </c:pt>
                <c:pt idx="3006">
                  <c:v>1.2999999999999999E-2</c:v>
                </c:pt>
                <c:pt idx="3007">
                  <c:v>1.2999999999999999E-2</c:v>
                </c:pt>
                <c:pt idx="3008">
                  <c:v>5.0000000000000001E-3</c:v>
                </c:pt>
                <c:pt idx="3009">
                  <c:v>5.0000000000000001E-3</c:v>
                </c:pt>
                <c:pt idx="3010">
                  <c:v>8.9999999999999993E-3</c:v>
                </c:pt>
                <c:pt idx="3011">
                  <c:v>5.0000000000000001E-3</c:v>
                </c:pt>
                <c:pt idx="3012">
                  <c:v>1.4E-2</c:v>
                </c:pt>
                <c:pt idx="3013">
                  <c:v>5.0000000000000001E-3</c:v>
                </c:pt>
                <c:pt idx="3014">
                  <c:v>8.9999999999999993E-3</c:v>
                </c:pt>
                <c:pt idx="3015">
                  <c:v>1.4E-2</c:v>
                </c:pt>
                <c:pt idx="3016">
                  <c:v>1.4E-2</c:v>
                </c:pt>
                <c:pt idx="3017">
                  <c:v>5.0000000000000001E-3</c:v>
                </c:pt>
                <c:pt idx="3018">
                  <c:v>8.9999999999999993E-3</c:v>
                </c:pt>
                <c:pt idx="3019">
                  <c:v>2.3E-2</c:v>
                </c:pt>
                <c:pt idx="3020">
                  <c:v>5.0000000000000001E-3</c:v>
                </c:pt>
                <c:pt idx="3021">
                  <c:v>1.4E-2</c:v>
                </c:pt>
                <c:pt idx="3022">
                  <c:v>5.0000000000000001E-3</c:v>
                </c:pt>
                <c:pt idx="3023">
                  <c:v>5.0000000000000001E-3</c:v>
                </c:pt>
                <c:pt idx="3024">
                  <c:v>2.3E-2</c:v>
                </c:pt>
                <c:pt idx="3025">
                  <c:v>8.0000000000000002E-3</c:v>
                </c:pt>
                <c:pt idx="3026">
                  <c:v>1.4E-2</c:v>
                </c:pt>
                <c:pt idx="3027">
                  <c:v>8.9999999999999993E-3</c:v>
                </c:pt>
                <c:pt idx="3028">
                  <c:v>5.0000000000000001E-3</c:v>
                </c:pt>
                <c:pt idx="3029">
                  <c:v>1.7999999999999999E-2</c:v>
                </c:pt>
                <c:pt idx="3030">
                  <c:v>1.7999999999999999E-2</c:v>
                </c:pt>
                <c:pt idx="3031">
                  <c:v>5.0000000000000001E-3</c:v>
                </c:pt>
                <c:pt idx="3032">
                  <c:v>3.2000000000000001E-2</c:v>
                </c:pt>
                <c:pt idx="3033">
                  <c:v>5.0000000000000001E-3</c:v>
                </c:pt>
                <c:pt idx="3034">
                  <c:v>5.0000000000000001E-3</c:v>
                </c:pt>
                <c:pt idx="3035">
                  <c:v>8.9999999999999993E-3</c:v>
                </c:pt>
                <c:pt idx="3036">
                  <c:v>6.4000000000000001E-2</c:v>
                </c:pt>
                <c:pt idx="3037">
                  <c:v>8.0000000000000002E-3</c:v>
                </c:pt>
                <c:pt idx="3038">
                  <c:v>3.6999999999999998E-2</c:v>
                </c:pt>
                <c:pt idx="3039">
                  <c:v>1.4E-2</c:v>
                </c:pt>
                <c:pt idx="3040">
                  <c:v>8.9999999999999993E-3</c:v>
                </c:pt>
                <c:pt idx="3041">
                  <c:v>1.7999999999999999E-2</c:v>
                </c:pt>
                <c:pt idx="3042">
                  <c:v>5.0000000000000001E-3</c:v>
                </c:pt>
                <c:pt idx="3043">
                  <c:v>1.4E-2</c:v>
                </c:pt>
                <c:pt idx="3044">
                  <c:v>8.9999999999999993E-3</c:v>
                </c:pt>
                <c:pt idx="3045">
                  <c:v>4.0000000000000001E-3</c:v>
                </c:pt>
                <c:pt idx="3046">
                  <c:v>4.0000000000000001E-3</c:v>
                </c:pt>
                <c:pt idx="3047">
                  <c:v>0.17899999999999999</c:v>
                </c:pt>
                <c:pt idx="3048">
                  <c:v>5.0000000000000001E-3</c:v>
                </c:pt>
                <c:pt idx="3049">
                  <c:v>4.0000000000000001E-3</c:v>
                </c:pt>
                <c:pt idx="3050">
                  <c:v>8.0000000000000002E-3</c:v>
                </c:pt>
                <c:pt idx="3051">
                  <c:v>5.0000000000000001E-3</c:v>
                </c:pt>
                <c:pt idx="3052">
                  <c:v>5.0000000000000001E-3</c:v>
                </c:pt>
                <c:pt idx="3053">
                  <c:v>2E-3</c:v>
                </c:pt>
                <c:pt idx="3054">
                  <c:v>5.0000000000000001E-3</c:v>
                </c:pt>
                <c:pt idx="3055">
                  <c:v>6.4000000000000001E-2</c:v>
                </c:pt>
                <c:pt idx="3056">
                  <c:v>5.0000000000000001E-3</c:v>
                </c:pt>
                <c:pt idx="3057">
                  <c:v>8.0000000000000002E-3</c:v>
                </c:pt>
                <c:pt idx="3058">
                  <c:v>2.3E-2</c:v>
                </c:pt>
                <c:pt idx="3059">
                  <c:v>5.0000000000000001E-3</c:v>
                </c:pt>
                <c:pt idx="3060">
                  <c:v>8.0000000000000002E-3</c:v>
                </c:pt>
                <c:pt idx="3061">
                  <c:v>5.0000000000000001E-3</c:v>
                </c:pt>
                <c:pt idx="3062">
                  <c:v>5.0000000000000001E-3</c:v>
                </c:pt>
                <c:pt idx="3063">
                  <c:v>8.0000000000000002E-3</c:v>
                </c:pt>
                <c:pt idx="3064">
                  <c:v>5.0000000000000001E-3</c:v>
                </c:pt>
                <c:pt idx="3065">
                  <c:v>5.0000000000000001E-3</c:v>
                </c:pt>
                <c:pt idx="3066">
                  <c:v>1.7000000000000001E-2</c:v>
                </c:pt>
                <c:pt idx="3067">
                  <c:v>5.0000000000000001E-3</c:v>
                </c:pt>
                <c:pt idx="3068">
                  <c:v>2.5999999999999999E-2</c:v>
                </c:pt>
                <c:pt idx="3069">
                  <c:v>8.0000000000000002E-3</c:v>
                </c:pt>
                <c:pt idx="3070">
                  <c:v>8.9999999999999993E-3</c:v>
                </c:pt>
                <c:pt idx="3071">
                  <c:v>5.0000000000000001E-3</c:v>
                </c:pt>
                <c:pt idx="3072">
                  <c:v>5.0000000000000001E-3</c:v>
                </c:pt>
                <c:pt idx="3073">
                  <c:v>1.4E-2</c:v>
                </c:pt>
                <c:pt idx="3074">
                  <c:v>4.0000000000000001E-3</c:v>
                </c:pt>
                <c:pt idx="3075">
                  <c:v>4.0000000000000001E-3</c:v>
                </c:pt>
                <c:pt idx="3076">
                  <c:v>5.0000000000000001E-3</c:v>
                </c:pt>
                <c:pt idx="3077">
                  <c:v>5.0000000000000001E-3</c:v>
                </c:pt>
                <c:pt idx="3078">
                  <c:v>1.7999999999999999E-2</c:v>
                </c:pt>
                <c:pt idx="3079">
                  <c:v>4.0000000000000001E-3</c:v>
                </c:pt>
                <c:pt idx="3080">
                  <c:v>4.0000000000000001E-3</c:v>
                </c:pt>
                <c:pt idx="3081">
                  <c:v>4.0000000000000001E-3</c:v>
                </c:pt>
                <c:pt idx="3082">
                  <c:v>8.9999999999999993E-3</c:v>
                </c:pt>
                <c:pt idx="3083">
                  <c:v>8.0000000000000002E-3</c:v>
                </c:pt>
                <c:pt idx="3084">
                  <c:v>5.0000000000000001E-3</c:v>
                </c:pt>
                <c:pt idx="3085">
                  <c:v>2.5999999999999999E-2</c:v>
                </c:pt>
                <c:pt idx="3086">
                  <c:v>1.4E-2</c:v>
                </c:pt>
                <c:pt idx="3087">
                  <c:v>5.0000000000000001E-3</c:v>
                </c:pt>
                <c:pt idx="3088">
                  <c:v>5.0000000000000001E-3</c:v>
                </c:pt>
                <c:pt idx="3089">
                  <c:v>4.0000000000000001E-3</c:v>
                </c:pt>
                <c:pt idx="3090">
                  <c:v>8.9999999999999993E-3</c:v>
                </c:pt>
                <c:pt idx="3091">
                  <c:v>8.9999999999999993E-3</c:v>
                </c:pt>
                <c:pt idx="3092">
                  <c:v>5.0000000000000001E-3</c:v>
                </c:pt>
                <c:pt idx="3093">
                  <c:v>5.0000000000000001E-3</c:v>
                </c:pt>
                <c:pt idx="3094">
                  <c:v>2.1999999999999999E-2</c:v>
                </c:pt>
                <c:pt idx="3095">
                  <c:v>5.0000000000000001E-3</c:v>
                </c:pt>
                <c:pt idx="3096">
                  <c:v>5.0000000000000001E-3</c:v>
                </c:pt>
                <c:pt idx="3097">
                  <c:v>1.4E-2</c:v>
                </c:pt>
                <c:pt idx="3098">
                  <c:v>8.9999999999999993E-3</c:v>
                </c:pt>
                <c:pt idx="3099">
                  <c:v>4.0000000000000001E-3</c:v>
                </c:pt>
                <c:pt idx="3100">
                  <c:v>5.0000000000000001E-3</c:v>
                </c:pt>
                <c:pt idx="3101">
                  <c:v>8.0000000000000002E-3</c:v>
                </c:pt>
                <c:pt idx="3102">
                  <c:v>5.0000000000000001E-3</c:v>
                </c:pt>
                <c:pt idx="3103">
                  <c:v>4.0000000000000001E-3</c:v>
                </c:pt>
                <c:pt idx="3104">
                  <c:v>8.9999999999999993E-3</c:v>
                </c:pt>
                <c:pt idx="3105">
                  <c:v>4.0000000000000001E-3</c:v>
                </c:pt>
                <c:pt idx="3106">
                  <c:v>1.7999999999999999E-2</c:v>
                </c:pt>
                <c:pt idx="3107">
                  <c:v>5.5E-2</c:v>
                </c:pt>
                <c:pt idx="3108">
                  <c:v>5.0000000000000001E-3</c:v>
                </c:pt>
                <c:pt idx="3109">
                  <c:v>5.0000000000000001E-3</c:v>
                </c:pt>
                <c:pt idx="3110">
                  <c:v>8.9999999999999993E-3</c:v>
                </c:pt>
                <c:pt idx="3111">
                  <c:v>2.7E-2</c:v>
                </c:pt>
                <c:pt idx="3112">
                  <c:v>5.0000000000000001E-3</c:v>
                </c:pt>
                <c:pt idx="3113">
                  <c:v>5.0000000000000001E-3</c:v>
                </c:pt>
                <c:pt idx="3114">
                  <c:v>1.2999999999999999E-2</c:v>
                </c:pt>
                <c:pt idx="3115">
                  <c:v>5.0000000000000001E-3</c:v>
                </c:pt>
                <c:pt idx="3116">
                  <c:v>5.0000000000000001E-3</c:v>
                </c:pt>
                <c:pt idx="3117">
                  <c:v>5.0000000000000001E-3</c:v>
                </c:pt>
                <c:pt idx="3118">
                  <c:v>4.0000000000000001E-3</c:v>
                </c:pt>
                <c:pt idx="3119">
                  <c:v>1.2999999999999999E-2</c:v>
                </c:pt>
                <c:pt idx="3120">
                  <c:v>8.0000000000000002E-3</c:v>
                </c:pt>
                <c:pt idx="3121">
                  <c:v>5.0000000000000001E-3</c:v>
                </c:pt>
                <c:pt idx="3122">
                  <c:v>4.0000000000000001E-3</c:v>
                </c:pt>
                <c:pt idx="3123">
                  <c:v>5.0000000000000001E-3</c:v>
                </c:pt>
                <c:pt idx="3124">
                  <c:v>8.9999999999999993E-3</c:v>
                </c:pt>
                <c:pt idx="3125">
                  <c:v>1.7999999999999999E-2</c:v>
                </c:pt>
                <c:pt idx="3126">
                  <c:v>8.0000000000000002E-3</c:v>
                </c:pt>
                <c:pt idx="3127">
                  <c:v>8.9999999999999993E-3</c:v>
                </c:pt>
                <c:pt idx="3128">
                  <c:v>8.9999999999999993E-3</c:v>
                </c:pt>
                <c:pt idx="3129">
                  <c:v>5.0000000000000001E-3</c:v>
                </c:pt>
                <c:pt idx="3130">
                  <c:v>8.9999999999999993E-3</c:v>
                </c:pt>
                <c:pt idx="3131">
                  <c:v>5.0000000000000001E-3</c:v>
                </c:pt>
                <c:pt idx="3132">
                  <c:v>1.2E-2</c:v>
                </c:pt>
                <c:pt idx="3133">
                  <c:v>5.0000000000000001E-3</c:v>
                </c:pt>
                <c:pt idx="3134">
                  <c:v>5.0000000000000001E-3</c:v>
                </c:pt>
                <c:pt idx="3135">
                  <c:v>5.0000000000000001E-3</c:v>
                </c:pt>
                <c:pt idx="3136">
                  <c:v>4.0000000000000001E-3</c:v>
                </c:pt>
                <c:pt idx="3137">
                  <c:v>4.0000000000000001E-3</c:v>
                </c:pt>
                <c:pt idx="3138">
                  <c:v>5.0000000000000001E-3</c:v>
                </c:pt>
                <c:pt idx="3139">
                  <c:v>5.0000000000000001E-3</c:v>
                </c:pt>
                <c:pt idx="3140">
                  <c:v>1.2999999999999999E-2</c:v>
                </c:pt>
                <c:pt idx="3141">
                  <c:v>5.0000000000000001E-3</c:v>
                </c:pt>
                <c:pt idx="3142">
                  <c:v>8.9999999999999993E-3</c:v>
                </c:pt>
                <c:pt idx="3143">
                  <c:v>2.1999999999999999E-2</c:v>
                </c:pt>
                <c:pt idx="3144">
                  <c:v>2.7E-2</c:v>
                </c:pt>
                <c:pt idx="3145">
                  <c:v>5.0000000000000001E-3</c:v>
                </c:pt>
                <c:pt idx="3146">
                  <c:v>5.0000000000000001E-3</c:v>
                </c:pt>
                <c:pt idx="3147">
                  <c:v>1.4E-2</c:v>
                </c:pt>
                <c:pt idx="3148">
                  <c:v>5.0000000000000001E-3</c:v>
                </c:pt>
                <c:pt idx="3149">
                  <c:v>5.0000000000000001E-3</c:v>
                </c:pt>
                <c:pt idx="3150">
                  <c:v>8.0000000000000002E-3</c:v>
                </c:pt>
                <c:pt idx="3151">
                  <c:v>8.0000000000000002E-3</c:v>
                </c:pt>
                <c:pt idx="3152">
                  <c:v>5.0000000000000001E-3</c:v>
                </c:pt>
                <c:pt idx="3153">
                  <c:v>4.0000000000000001E-3</c:v>
                </c:pt>
                <c:pt idx="3154">
                  <c:v>5.0000000000000001E-3</c:v>
                </c:pt>
                <c:pt idx="3155">
                  <c:v>4.0000000000000001E-3</c:v>
                </c:pt>
                <c:pt idx="3156">
                  <c:v>5.0000000000000001E-3</c:v>
                </c:pt>
                <c:pt idx="3157">
                  <c:v>8.0000000000000002E-3</c:v>
                </c:pt>
                <c:pt idx="3158">
                  <c:v>1.7999999999999999E-2</c:v>
                </c:pt>
                <c:pt idx="3159">
                  <c:v>5.0000000000000001E-3</c:v>
                </c:pt>
                <c:pt idx="3160">
                  <c:v>5.0000000000000001E-3</c:v>
                </c:pt>
                <c:pt idx="3161">
                  <c:v>5.0000000000000001E-3</c:v>
                </c:pt>
                <c:pt idx="3162">
                  <c:v>8.9999999999999993E-3</c:v>
                </c:pt>
                <c:pt idx="3163">
                  <c:v>4.0000000000000001E-3</c:v>
                </c:pt>
                <c:pt idx="3164">
                  <c:v>5.0000000000000001E-3</c:v>
                </c:pt>
                <c:pt idx="3165">
                  <c:v>5.0000000000000001E-3</c:v>
                </c:pt>
                <c:pt idx="3166">
                  <c:v>8.0000000000000002E-3</c:v>
                </c:pt>
                <c:pt idx="3167">
                  <c:v>8.0000000000000002E-3</c:v>
                </c:pt>
                <c:pt idx="3168">
                  <c:v>5.0000000000000001E-3</c:v>
                </c:pt>
                <c:pt idx="3169">
                  <c:v>1.4E-2</c:v>
                </c:pt>
                <c:pt idx="3170">
                  <c:v>5.0000000000000001E-3</c:v>
                </c:pt>
                <c:pt idx="3171">
                  <c:v>5.0000000000000001E-3</c:v>
                </c:pt>
                <c:pt idx="3172">
                  <c:v>5.0000000000000001E-3</c:v>
                </c:pt>
                <c:pt idx="3173">
                  <c:v>5.0000000000000001E-3</c:v>
                </c:pt>
                <c:pt idx="3174">
                  <c:v>4.0000000000000001E-3</c:v>
                </c:pt>
                <c:pt idx="3175">
                  <c:v>8.9999999999999993E-3</c:v>
                </c:pt>
                <c:pt idx="3176">
                  <c:v>8.9999999999999993E-3</c:v>
                </c:pt>
                <c:pt idx="3177">
                  <c:v>5.0000000000000001E-3</c:v>
                </c:pt>
                <c:pt idx="3178">
                  <c:v>4.0000000000000001E-3</c:v>
                </c:pt>
                <c:pt idx="3179">
                  <c:v>1.7999999999999999E-2</c:v>
                </c:pt>
                <c:pt idx="3180">
                  <c:v>1.4E-2</c:v>
                </c:pt>
                <c:pt idx="3181">
                  <c:v>8.9999999999999993E-3</c:v>
                </c:pt>
                <c:pt idx="3182">
                  <c:v>8.9999999999999993E-3</c:v>
                </c:pt>
                <c:pt idx="3183">
                  <c:v>8.0000000000000002E-3</c:v>
                </c:pt>
                <c:pt idx="3184">
                  <c:v>4.5999999999999999E-2</c:v>
                </c:pt>
                <c:pt idx="3185">
                  <c:v>8.0000000000000002E-3</c:v>
                </c:pt>
                <c:pt idx="3186">
                  <c:v>5.0000000000000001E-3</c:v>
                </c:pt>
                <c:pt idx="3187">
                  <c:v>5.0000000000000001E-3</c:v>
                </c:pt>
                <c:pt idx="3188">
                  <c:v>5.0000000000000001E-3</c:v>
                </c:pt>
                <c:pt idx="3189">
                  <c:v>1.7999999999999999E-2</c:v>
                </c:pt>
                <c:pt idx="3190">
                  <c:v>1.7999999999999999E-2</c:v>
                </c:pt>
                <c:pt idx="3191">
                  <c:v>5.0000000000000001E-3</c:v>
                </c:pt>
                <c:pt idx="3192">
                  <c:v>5.0000000000000001E-3</c:v>
                </c:pt>
                <c:pt idx="3193">
                  <c:v>8.9999999999999993E-3</c:v>
                </c:pt>
                <c:pt idx="3194">
                  <c:v>1.2E-2</c:v>
                </c:pt>
                <c:pt idx="3195">
                  <c:v>8.0000000000000002E-3</c:v>
                </c:pt>
                <c:pt idx="3196">
                  <c:v>2.3E-2</c:v>
                </c:pt>
                <c:pt idx="3197">
                  <c:v>5.0000000000000001E-3</c:v>
                </c:pt>
                <c:pt idx="3198">
                  <c:v>5.0000000000000001E-3</c:v>
                </c:pt>
                <c:pt idx="3199">
                  <c:v>5.0000000000000001E-3</c:v>
                </c:pt>
                <c:pt idx="3200">
                  <c:v>4.0000000000000001E-3</c:v>
                </c:pt>
                <c:pt idx="3201">
                  <c:v>5.0000000000000001E-3</c:v>
                </c:pt>
                <c:pt idx="3202">
                  <c:v>8.9999999999999993E-3</c:v>
                </c:pt>
                <c:pt idx="3203">
                  <c:v>5.0000000000000001E-3</c:v>
                </c:pt>
                <c:pt idx="3204">
                  <c:v>1.4E-2</c:v>
                </c:pt>
                <c:pt idx="3205">
                  <c:v>5.0000000000000001E-3</c:v>
                </c:pt>
                <c:pt idx="3206">
                  <c:v>5.0000000000000001E-3</c:v>
                </c:pt>
                <c:pt idx="3207">
                  <c:v>4.0000000000000001E-3</c:v>
                </c:pt>
                <c:pt idx="3208">
                  <c:v>5.0000000000000001E-3</c:v>
                </c:pt>
                <c:pt idx="3209">
                  <c:v>5.0000000000000001E-3</c:v>
                </c:pt>
                <c:pt idx="3210">
                  <c:v>4.0000000000000001E-3</c:v>
                </c:pt>
                <c:pt idx="3211">
                  <c:v>1.4E-2</c:v>
                </c:pt>
                <c:pt idx="3212">
                  <c:v>8.9999999999999993E-3</c:v>
                </c:pt>
                <c:pt idx="3213">
                  <c:v>4.0000000000000001E-3</c:v>
                </c:pt>
                <c:pt idx="3214">
                  <c:v>8.0000000000000002E-3</c:v>
                </c:pt>
                <c:pt idx="3215">
                  <c:v>1.4E-2</c:v>
                </c:pt>
                <c:pt idx="3216">
                  <c:v>1.0999999999999999E-2</c:v>
                </c:pt>
                <c:pt idx="3217">
                  <c:v>5.0000000000000001E-3</c:v>
                </c:pt>
                <c:pt idx="3218">
                  <c:v>4.0000000000000001E-3</c:v>
                </c:pt>
                <c:pt idx="3219">
                  <c:v>5.0000000000000001E-3</c:v>
                </c:pt>
                <c:pt idx="3220">
                  <c:v>1.4E-2</c:v>
                </c:pt>
                <c:pt idx="3221">
                  <c:v>5.0000000000000001E-3</c:v>
                </c:pt>
                <c:pt idx="3222">
                  <c:v>5.0000000000000001E-3</c:v>
                </c:pt>
                <c:pt idx="3223">
                  <c:v>1.4E-2</c:v>
                </c:pt>
                <c:pt idx="3224">
                  <c:v>5.0000000000000001E-3</c:v>
                </c:pt>
                <c:pt idx="3225">
                  <c:v>1.4E-2</c:v>
                </c:pt>
                <c:pt idx="3226">
                  <c:v>5.0000000000000001E-3</c:v>
                </c:pt>
                <c:pt idx="3227">
                  <c:v>4.0000000000000001E-3</c:v>
                </c:pt>
                <c:pt idx="3228">
                  <c:v>8.9999999999999993E-3</c:v>
                </c:pt>
                <c:pt idx="3229">
                  <c:v>5.0000000000000001E-3</c:v>
                </c:pt>
                <c:pt idx="3230">
                  <c:v>8.9999999999999993E-3</c:v>
                </c:pt>
                <c:pt idx="3231">
                  <c:v>2E-3</c:v>
                </c:pt>
                <c:pt idx="3232">
                  <c:v>4.0000000000000001E-3</c:v>
                </c:pt>
                <c:pt idx="3233">
                  <c:v>5.0000000000000001E-3</c:v>
                </c:pt>
                <c:pt idx="3234">
                  <c:v>8.9999999999999993E-3</c:v>
                </c:pt>
                <c:pt idx="3235">
                  <c:v>2E-3</c:v>
                </c:pt>
                <c:pt idx="3236">
                  <c:v>5.0000000000000001E-3</c:v>
                </c:pt>
                <c:pt idx="3237">
                  <c:v>5.0000000000000001E-3</c:v>
                </c:pt>
                <c:pt idx="3238">
                  <c:v>4.0000000000000001E-3</c:v>
                </c:pt>
                <c:pt idx="3239">
                  <c:v>1.7999999999999999E-2</c:v>
                </c:pt>
                <c:pt idx="3240">
                  <c:v>5.0000000000000001E-3</c:v>
                </c:pt>
                <c:pt idx="3241">
                  <c:v>4.0000000000000001E-3</c:v>
                </c:pt>
                <c:pt idx="3242">
                  <c:v>5.0000000000000001E-3</c:v>
                </c:pt>
                <c:pt idx="3243">
                  <c:v>8.0000000000000002E-3</c:v>
                </c:pt>
                <c:pt idx="3244">
                  <c:v>4.0000000000000001E-3</c:v>
                </c:pt>
                <c:pt idx="3245">
                  <c:v>4.0000000000000001E-3</c:v>
                </c:pt>
                <c:pt idx="3246">
                  <c:v>8.9999999999999993E-3</c:v>
                </c:pt>
                <c:pt idx="3247">
                  <c:v>5.0000000000000001E-3</c:v>
                </c:pt>
                <c:pt idx="3248">
                  <c:v>5.0000000000000001E-3</c:v>
                </c:pt>
                <c:pt idx="3249">
                  <c:v>5.0000000000000001E-3</c:v>
                </c:pt>
                <c:pt idx="3250">
                  <c:v>8.9999999999999993E-3</c:v>
                </c:pt>
                <c:pt idx="3251">
                  <c:v>1.7999999999999999E-2</c:v>
                </c:pt>
                <c:pt idx="3252">
                  <c:v>1.4E-2</c:v>
                </c:pt>
                <c:pt idx="3253">
                  <c:v>1.7999999999999999E-2</c:v>
                </c:pt>
                <c:pt idx="3254">
                  <c:v>5.0000000000000001E-3</c:v>
                </c:pt>
                <c:pt idx="3255">
                  <c:v>5.0000000000000001E-3</c:v>
                </c:pt>
                <c:pt idx="3256">
                  <c:v>5.0000000000000001E-3</c:v>
                </c:pt>
                <c:pt idx="3257">
                  <c:v>1.4E-2</c:v>
                </c:pt>
                <c:pt idx="3258">
                  <c:v>5.0000000000000001E-3</c:v>
                </c:pt>
                <c:pt idx="3259">
                  <c:v>5.0000000000000001E-3</c:v>
                </c:pt>
                <c:pt idx="3260">
                  <c:v>8.9999999999999993E-3</c:v>
                </c:pt>
                <c:pt idx="3261">
                  <c:v>1.4E-2</c:v>
                </c:pt>
                <c:pt idx="3262">
                  <c:v>5.0000000000000001E-3</c:v>
                </c:pt>
                <c:pt idx="3263">
                  <c:v>5.0000000000000001E-3</c:v>
                </c:pt>
                <c:pt idx="3264">
                  <c:v>4.0000000000000001E-3</c:v>
                </c:pt>
                <c:pt idx="3265">
                  <c:v>4.0000000000000001E-3</c:v>
                </c:pt>
                <c:pt idx="3266">
                  <c:v>5.0000000000000001E-3</c:v>
                </c:pt>
                <c:pt idx="3267">
                  <c:v>5.0000000000000001E-3</c:v>
                </c:pt>
                <c:pt idx="3268">
                  <c:v>5.0000000000000001E-3</c:v>
                </c:pt>
                <c:pt idx="3269">
                  <c:v>5.0000000000000001E-3</c:v>
                </c:pt>
                <c:pt idx="3270">
                  <c:v>4.0000000000000001E-3</c:v>
                </c:pt>
                <c:pt idx="3271">
                  <c:v>2.7E-2</c:v>
                </c:pt>
                <c:pt idx="3272">
                  <c:v>5.0000000000000001E-3</c:v>
                </c:pt>
                <c:pt idx="3273">
                  <c:v>1.4E-2</c:v>
                </c:pt>
                <c:pt idx="3274">
                  <c:v>4.0000000000000001E-3</c:v>
                </c:pt>
                <c:pt idx="3275">
                  <c:v>8.9999999999999993E-3</c:v>
                </c:pt>
                <c:pt idx="3276">
                  <c:v>5.0000000000000001E-3</c:v>
                </c:pt>
                <c:pt idx="3277">
                  <c:v>5.0000000000000001E-3</c:v>
                </c:pt>
                <c:pt idx="3278">
                  <c:v>5.0000000000000001E-3</c:v>
                </c:pt>
                <c:pt idx="3279">
                  <c:v>4.0000000000000001E-3</c:v>
                </c:pt>
                <c:pt idx="3280">
                  <c:v>1.2999999999999999E-2</c:v>
                </c:pt>
                <c:pt idx="3281">
                  <c:v>5.0000000000000001E-3</c:v>
                </c:pt>
                <c:pt idx="3282">
                  <c:v>5.0000000000000001E-3</c:v>
                </c:pt>
                <c:pt idx="3283">
                  <c:v>2E-3</c:v>
                </c:pt>
                <c:pt idx="3284">
                  <c:v>4.0000000000000001E-3</c:v>
                </c:pt>
                <c:pt idx="3285">
                  <c:v>4.0000000000000001E-3</c:v>
                </c:pt>
                <c:pt idx="3286">
                  <c:v>5.0000000000000001E-3</c:v>
                </c:pt>
                <c:pt idx="3287">
                  <c:v>5.0000000000000001E-3</c:v>
                </c:pt>
                <c:pt idx="3288">
                  <c:v>4.0000000000000001E-3</c:v>
                </c:pt>
                <c:pt idx="3289">
                  <c:v>4.0000000000000001E-3</c:v>
                </c:pt>
                <c:pt idx="3290">
                  <c:v>4.0000000000000001E-3</c:v>
                </c:pt>
                <c:pt idx="3291">
                  <c:v>5.0000000000000001E-3</c:v>
                </c:pt>
                <c:pt idx="3292">
                  <c:v>8.9999999999999993E-3</c:v>
                </c:pt>
                <c:pt idx="3293">
                  <c:v>4.0000000000000001E-3</c:v>
                </c:pt>
                <c:pt idx="3294">
                  <c:v>5.0000000000000001E-3</c:v>
                </c:pt>
                <c:pt idx="3295">
                  <c:v>4.0000000000000001E-3</c:v>
                </c:pt>
                <c:pt idx="3296">
                  <c:v>5.0000000000000001E-3</c:v>
                </c:pt>
                <c:pt idx="3297">
                  <c:v>8.9999999999999993E-3</c:v>
                </c:pt>
                <c:pt idx="3298">
                  <c:v>5.0000000000000001E-3</c:v>
                </c:pt>
                <c:pt idx="3299">
                  <c:v>5.0000000000000001E-3</c:v>
                </c:pt>
                <c:pt idx="3300">
                  <c:v>5.0000000000000001E-3</c:v>
                </c:pt>
                <c:pt idx="3301">
                  <c:v>5.0000000000000001E-3</c:v>
                </c:pt>
                <c:pt idx="3302">
                  <c:v>4.0000000000000001E-3</c:v>
                </c:pt>
                <c:pt idx="3303">
                  <c:v>5.0000000000000001E-3</c:v>
                </c:pt>
                <c:pt idx="3304">
                  <c:v>5.0000000000000001E-3</c:v>
                </c:pt>
                <c:pt idx="3305">
                  <c:v>8.0000000000000002E-3</c:v>
                </c:pt>
                <c:pt idx="3306">
                  <c:v>5.0000000000000001E-3</c:v>
                </c:pt>
                <c:pt idx="3307">
                  <c:v>1.4E-2</c:v>
                </c:pt>
                <c:pt idx="3308">
                  <c:v>5.0000000000000001E-3</c:v>
                </c:pt>
                <c:pt idx="3309">
                  <c:v>1.4E-2</c:v>
                </c:pt>
                <c:pt idx="3310">
                  <c:v>8.9999999999999993E-3</c:v>
                </c:pt>
                <c:pt idx="3311">
                  <c:v>5.0000000000000001E-3</c:v>
                </c:pt>
                <c:pt idx="3312">
                  <c:v>1.4E-2</c:v>
                </c:pt>
                <c:pt idx="3313">
                  <c:v>8.9999999999999993E-3</c:v>
                </c:pt>
                <c:pt idx="3314">
                  <c:v>5.0000000000000001E-3</c:v>
                </c:pt>
                <c:pt idx="3315">
                  <c:v>8.9999999999999993E-3</c:v>
                </c:pt>
                <c:pt idx="3316">
                  <c:v>8.9999999999999993E-3</c:v>
                </c:pt>
                <c:pt idx="3317">
                  <c:v>1.4E-2</c:v>
                </c:pt>
                <c:pt idx="3318">
                  <c:v>5.0000000000000001E-3</c:v>
                </c:pt>
                <c:pt idx="3319">
                  <c:v>8.0000000000000002E-3</c:v>
                </c:pt>
                <c:pt idx="3320">
                  <c:v>5.0000000000000001E-3</c:v>
                </c:pt>
                <c:pt idx="3321">
                  <c:v>5.0000000000000001E-3</c:v>
                </c:pt>
                <c:pt idx="3322">
                  <c:v>5.0000000000000001E-3</c:v>
                </c:pt>
                <c:pt idx="3323">
                  <c:v>5.0000000000000001E-3</c:v>
                </c:pt>
                <c:pt idx="3324">
                  <c:v>5.0000000000000001E-3</c:v>
                </c:pt>
                <c:pt idx="3325">
                  <c:v>8.9999999999999993E-3</c:v>
                </c:pt>
                <c:pt idx="3326">
                  <c:v>5.0000000000000001E-3</c:v>
                </c:pt>
                <c:pt idx="3327">
                  <c:v>5.0000000000000001E-3</c:v>
                </c:pt>
                <c:pt idx="3328">
                  <c:v>5.0000000000000001E-3</c:v>
                </c:pt>
                <c:pt idx="3329">
                  <c:v>4.0000000000000001E-3</c:v>
                </c:pt>
                <c:pt idx="3330">
                  <c:v>5.0000000000000001E-3</c:v>
                </c:pt>
                <c:pt idx="3331">
                  <c:v>5.0000000000000001E-3</c:v>
                </c:pt>
                <c:pt idx="3332">
                  <c:v>5.0000000000000001E-3</c:v>
                </c:pt>
                <c:pt idx="3333">
                  <c:v>8.9999999999999993E-3</c:v>
                </c:pt>
                <c:pt idx="3334">
                  <c:v>5.0000000000000001E-3</c:v>
                </c:pt>
                <c:pt idx="3335">
                  <c:v>8.9999999999999993E-3</c:v>
                </c:pt>
                <c:pt idx="3336">
                  <c:v>5.0000000000000001E-3</c:v>
                </c:pt>
                <c:pt idx="3337">
                  <c:v>4.0000000000000001E-3</c:v>
                </c:pt>
                <c:pt idx="3338">
                  <c:v>5.0000000000000001E-3</c:v>
                </c:pt>
                <c:pt idx="3339">
                  <c:v>5.0000000000000001E-3</c:v>
                </c:pt>
                <c:pt idx="3340">
                  <c:v>5.0000000000000001E-3</c:v>
                </c:pt>
                <c:pt idx="3341">
                  <c:v>8.9999999999999993E-3</c:v>
                </c:pt>
                <c:pt idx="3342">
                  <c:v>5.0000000000000001E-3</c:v>
                </c:pt>
                <c:pt idx="3343">
                  <c:v>5.0000000000000001E-3</c:v>
                </c:pt>
                <c:pt idx="3344">
                  <c:v>4.0000000000000001E-3</c:v>
                </c:pt>
                <c:pt idx="3345">
                  <c:v>5.0000000000000001E-3</c:v>
                </c:pt>
                <c:pt idx="3346">
                  <c:v>8.9999999999999993E-3</c:v>
                </c:pt>
                <c:pt idx="3347">
                  <c:v>8.9999999999999993E-3</c:v>
                </c:pt>
                <c:pt idx="3348">
                  <c:v>8.0000000000000002E-3</c:v>
                </c:pt>
                <c:pt idx="3349">
                  <c:v>1.4E-2</c:v>
                </c:pt>
                <c:pt idx="3350">
                  <c:v>5.0000000000000001E-3</c:v>
                </c:pt>
                <c:pt idx="3351">
                  <c:v>4.0000000000000001E-3</c:v>
                </c:pt>
                <c:pt idx="3352">
                  <c:v>5.0000000000000001E-3</c:v>
                </c:pt>
                <c:pt idx="3353">
                  <c:v>5.0000000000000001E-3</c:v>
                </c:pt>
                <c:pt idx="3354">
                  <c:v>4.0000000000000001E-3</c:v>
                </c:pt>
                <c:pt idx="3355">
                  <c:v>5.0000000000000001E-3</c:v>
                </c:pt>
                <c:pt idx="3356">
                  <c:v>5.0000000000000001E-3</c:v>
                </c:pt>
                <c:pt idx="3357">
                  <c:v>8.9999999999999993E-3</c:v>
                </c:pt>
                <c:pt idx="3358">
                  <c:v>5.0000000000000001E-3</c:v>
                </c:pt>
                <c:pt idx="3359">
                  <c:v>5.0000000000000001E-3</c:v>
                </c:pt>
                <c:pt idx="3360">
                  <c:v>4.0000000000000001E-3</c:v>
                </c:pt>
                <c:pt idx="3361">
                  <c:v>5.0000000000000001E-3</c:v>
                </c:pt>
                <c:pt idx="3362">
                  <c:v>5.0000000000000001E-3</c:v>
                </c:pt>
                <c:pt idx="3363">
                  <c:v>5.0000000000000001E-3</c:v>
                </c:pt>
                <c:pt idx="3364">
                  <c:v>1.4E-2</c:v>
                </c:pt>
                <c:pt idx="3365">
                  <c:v>5.0000000000000001E-3</c:v>
                </c:pt>
                <c:pt idx="3366">
                  <c:v>5.0000000000000001E-3</c:v>
                </c:pt>
                <c:pt idx="3367">
                  <c:v>4.0000000000000001E-3</c:v>
                </c:pt>
                <c:pt idx="3368">
                  <c:v>5.0000000000000001E-3</c:v>
                </c:pt>
                <c:pt idx="3369">
                  <c:v>5.0000000000000001E-3</c:v>
                </c:pt>
                <c:pt idx="3370">
                  <c:v>5.0000000000000001E-3</c:v>
                </c:pt>
                <c:pt idx="3371">
                  <c:v>8.9999999999999993E-3</c:v>
                </c:pt>
                <c:pt idx="3372">
                  <c:v>4.0000000000000001E-3</c:v>
                </c:pt>
                <c:pt idx="3373">
                  <c:v>5.0000000000000001E-3</c:v>
                </c:pt>
                <c:pt idx="3374">
                  <c:v>5.0000000000000001E-3</c:v>
                </c:pt>
                <c:pt idx="3375">
                  <c:v>5.0000000000000001E-3</c:v>
                </c:pt>
                <c:pt idx="3376">
                  <c:v>5.0000000000000001E-3</c:v>
                </c:pt>
                <c:pt idx="3377">
                  <c:v>1.2999999999999999E-2</c:v>
                </c:pt>
                <c:pt idx="3378">
                  <c:v>5.0000000000000001E-3</c:v>
                </c:pt>
                <c:pt idx="3379">
                  <c:v>5.0000000000000001E-3</c:v>
                </c:pt>
                <c:pt idx="3380">
                  <c:v>5.0000000000000001E-3</c:v>
                </c:pt>
                <c:pt idx="3381">
                  <c:v>5.0000000000000001E-3</c:v>
                </c:pt>
                <c:pt idx="3382">
                  <c:v>8.9999999999999993E-3</c:v>
                </c:pt>
                <c:pt idx="3383">
                  <c:v>8.9999999999999993E-3</c:v>
                </c:pt>
                <c:pt idx="3384">
                  <c:v>5.0000000000000001E-3</c:v>
                </c:pt>
                <c:pt idx="3385">
                  <c:v>5.0000000000000001E-3</c:v>
                </c:pt>
                <c:pt idx="3386">
                  <c:v>5.0000000000000001E-3</c:v>
                </c:pt>
                <c:pt idx="3387">
                  <c:v>5.0000000000000001E-3</c:v>
                </c:pt>
                <c:pt idx="3388">
                  <c:v>5.0000000000000001E-3</c:v>
                </c:pt>
                <c:pt idx="3389">
                  <c:v>5.0000000000000001E-3</c:v>
                </c:pt>
                <c:pt idx="3390">
                  <c:v>8.9999999999999993E-3</c:v>
                </c:pt>
                <c:pt idx="3391">
                  <c:v>5.0000000000000001E-3</c:v>
                </c:pt>
                <c:pt idx="3392">
                  <c:v>5.0000000000000001E-3</c:v>
                </c:pt>
                <c:pt idx="3393">
                  <c:v>5.0000000000000001E-3</c:v>
                </c:pt>
                <c:pt idx="3394">
                  <c:v>5.0000000000000001E-3</c:v>
                </c:pt>
                <c:pt idx="3395">
                  <c:v>5.0000000000000001E-3</c:v>
                </c:pt>
                <c:pt idx="3396">
                  <c:v>5.0000000000000001E-3</c:v>
                </c:pt>
                <c:pt idx="3397">
                  <c:v>5.0000000000000001E-3</c:v>
                </c:pt>
                <c:pt idx="3398">
                  <c:v>8.9999999999999993E-3</c:v>
                </c:pt>
                <c:pt idx="3399">
                  <c:v>5.0000000000000001E-3</c:v>
                </c:pt>
                <c:pt idx="3400">
                  <c:v>5.0000000000000001E-3</c:v>
                </c:pt>
                <c:pt idx="3401">
                  <c:v>2.1999999999999999E-2</c:v>
                </c:pt>
                <c:pt idx="3402">
                  <c:v>8.9999999999999993E-3</c:v>
                </c:pt>
                <c:pt idx="3403">
                  <c:v>2.3E-2</c:v>
                </c:pt>
                <c:pt idx="3404">
                  <c:v>1.4E-2</c:v>
                </c:pt>
                <c:pt idx="3405">
                  <c:v>5.0000000000000001E-3</c:v>
                </c:pt>
                <c:pt idx="3406">
                  <c:v>2E-3</c:v>
                </c:pt>
                <c:pt idx="3407">
                  <c:v>5.0000000000000001E-3</c:v>
                </c:pt>
                <c:pt idx="3408">
                  <c:v>8.9999999999999993E-3</c:v>
                </c:pt>
                <c:pt idx="3409">
                  <c:v>4.0000000000000001E-3</c:v>
                </c:pt>
                <c:pt idx="3410">
                  <c:v>2.7E-2</c:v>
                </c:pt>
                <c:pt idx="3411">
                  <c:v>8.9999999999999993E-3</c:v>
                </c:pt>
                <c:pt idx="3412">
                  <c:v>8.0000000000000002E-3</c:v>
                </c:pt>
                <c:pt idx="3413">
                  <c:v>5.0000000000000001E-3</c:v>
                </c:pt>
                <c:pt idx="3414">
                  <c:v>4.0000000000000001E-3</c:v>
                </c:pt>
                <c:pt idx="3415">
                  <c:v>1.4E-2</c:v>
                </c:pt>
                <c:pt idx="3416">
                  <c:v>5.0000000000000001E-3</c:v>
                </c:pt>
                <c:pt idx="3417">
                  <c:v>5.0000000000000001E-3</c:v>
                </c:pt>
                <c:pt idx="3418">
                  <c:v>5.0000000000000001E-3</c:v>
                </c:pt>
                <c:pt idx="3419">
                  <c:v>5.0000000000000001E-3</c:v>
                </c:pt>
                <c:pt idx="3420">
                  <c:v>5.0000000000000001E-3</c:v>
                </c:pt>
                <c:pt idx="3421">
                  <c:v>8.9999999999999993E-3</c:v>
                </c:pt>
                <c:pt idx="3422">
                  <c:v>5.0000000000000001E-3</c:v>
                </c:pt>
                <c:pt idx="3423">
                  <c:v>5.0000000000000001E-3</c:v>
                </c:pt>
                <c:pt idx="3424">
                  <c:v>5.0000000000000001E-3</c:v>
                </c:pt>
                <c:pt idx="3425">
                  <c:v>5.0000000000000001E-3</c:v>
                </c:pt>
                <c:pt idx="3426">
                  <c:v>5.0000000000000001E-3</c:v>
                </c:pt>
                <c:pt idx="3427">
                  <c:v>5.0000000000000001E-3</c:v>
                </c:pt>
                <c:pt idx="3428">
                  <c:v>8.9999999999999993E-3</c:v>
                </c:pt>
                <c:pt idx="3429">
                  <c:v>5.0000000000000001E-3</c:v>
                </c:pt>
                <c:pt idx="3430">
                  <c:v>5.0000000000000001E-3</c:v>
                </c:pt>
                <c:pt idx="3431">
                  <c:v>5.0000000000000001E-3</c:v>
                </c:pt>
                <c:pt idx="3432">
                  <c:v>8.9999999999999993E-3</c:v>
                </c:pt>
                <c:pt idx="3433">
                  <c:v>5.0000000000000001E-3</c:v>
                </c:pt>
                <c:pt idx="3434">
                  <c:v>5.0000000000000001E-3</c:v>
                </c:pt>
                <c:pt idx="3435">
                  <c:v>5.0000000000000001E-3</c:v>
                </c:pt>
                <c:pt idx="3436">
                  <c:v>5.0000000000000001E-3</c:v>
                </c:pt>
                <c:pt idx="3437">
                  <c:v>5.0000000000000001E-3</c:v>
                </c:pt>
                <c:pt idx="3438">
                  <c:v>2.3E-2</c:v>
                </c:pt>
                <c:pt idx="3439">
                  <c:v>5.0000000000000001E-3</c:v>
                </c:pt>
                <c:pt idx="3440">
                  <c:v>5.0000000000000001E-3</c:v>
                </c:pt>
                <c:pt idx="3441">
                  <c:v>1.7999999999999999E-2</c:v>
                </c:pt>
                <c:pt idx="3442">
                  <c:v>5.0000000000000001E-3</c:v>
                </c:pt>
                <c:pt idx="3443">
                  <c:v>5.0000000000000001E-3</c:v>
                </c:pt>
                <c:pt idx="3444">
                  <c:v>5.0000000000000001E-3</c:v>
                </c:pt>
                <c:pt idx="3445">
                  <c:v>5.0000000000000001E-3</c:v>
                </c:pt>
                <c:pt idx="3446">
                  <c:v>5.0000000000000001E-3</c:v>
                </c:pt>
                <c:pt idx="3447">
                  <c:v>5.0000000000000001E-3</c:v>
                </c:pt>
                <c:pt idx="3448">
                  <c:v>5.0000000000000001E-3</c:v>
                </c:pt>
                <c:pt idx="3449">
                  <c:v>5.0000000000000001E-3</c:v>
                </c:pt>
                <c:pt idx="3450">
                  <c:v>5.0000000000000001E-3</c:v>
                </c:pt>
                <c:pt idx="3451">
                  <c:v>5.0000000000000001E-3</c:v>
                </c:pt>
                <c:pt idx="3452">
                  <c:v>5.0000000000000001E-3</c:v>
                </c:pt>
                <c:pt idx="3453">
                  <c:v>1.4E-2</c:v>
                </c:pt>
                <c:pt idx="3454">
                  <c:v>5.0000000000000001E-3</c:v>
                </c:pt>
                <c:pt idx="3455">
                  <c:v>5.0000000000000001E-3</c:v>
                </c:pt>
                <c:pt idx="3456">
                  <c:v>5.0000000000000001E-3</c:v>
                </c:pt>
                <c:pt idx="3457">
                  <c:v>5.0000000000000001E-3</c:v>
                </c:pt>
                <c:pt idx="3458">
                  <c:v>5.0000000000000001E-3</c:v>
                </c:pt>
                <c:pt idx="3459">
                  <c:v>5.0000000000000001E-3</c:v>
                </c:pt>
                <c:pt idx="3460">
                  <c:v>5.0000000000000001E-3</c:v>
                </c:pt>
                <c:pt idx="3461">
                  <c:v>5.0000000000000001E-3</c:v>
                </c:pt>
                <c:pt idx="3462">
                  <c:v>5.0000000000000001E-3</c:v>
                </c:pt>
                <c:pt idx="3463">
                  <c:v>5.0000000000000001E-3</c:v>
                </c:pt>
                <c:pt idx="3464">
                  <c:v>5.0000000000000001E-3</c:v>
                </c:pt>
                <c:pt idx="3465">
                  <c:v>5.0000000000000001E-3</c:v>
                </c:pt>
                <c:pt idx="3466">
                  <c:v>5.0000000000000001E-3</c:v>
                </c:pt>
                <c:pt idx="3467">
                  <c:v>5.0000000000000001E-3</c:v>
                </c:pt>
                <c:pt idx="3468">
                  <c:v>5.0000000000000001E-3</c:v>
                </c:pt>
                <c:pt idx="3469">
                  <c:v>5.0000000000000001E-3</c:v>
                </c:pt>
                <c:pt idx="3470">
                  <c:v>5.0000000000000001E-3</c:v>
                </c:pt>
                <c:pt idx="3471">
                  <c:v>5.0000000000000001E-3</c:v>
                </c:pt>
                <c:pt idx="3472">
                  <c:v>5.0000000000000001E-3</c:v>
                </c:pt>
                <c:pt idx="3473">
                  <c:v>5.0000000000000001E-3</c:v>
                </c:pt>
                <c:pt idx="3474">
                  <c:v>5.0000000000000001E-3</c:v>
                </c:pt>
                <c:pt idx="3475">
                  <c:v>5.0000000000000001E-3</c:v>
                </c:pt>
                <c:pt idx="3476">
                  <c:v>5.0000000000000001E-3</c:v>
                </c:pt>
                <c:pt idx="3477">
                  <c:v>5.0000000000000001E-3</c:v>
                </c:pt>
                <c:pt idx="3478">
                  <c:v>5.0000000000000001E-3</c:v>
                </c:pt>
                <c:pt idx="3479">
                  <c:v>8.9999999999999993E-3</c:v>
                </c:pt>
                <c:pt idx="3480">
                  <c:v>5.0000000000000001E-3</c:v>
                </c:pt>
                <c:pt idx="3481">
                  <c:v>5.0000000000000001E-3</c:v>
                </c:pt>
                <c:pt idx="3482">
                  <c:v>8.9999999999999993E-3</c:v>
                </c:pt>
                <c:pt idx="3483">
                  <c:v>5.0000000000000001E-3</c:v>
                </c:pt>
                <c:pt idx="3484">
                  <c:v>5.0000000000000001E-3</c:v>
                </c:pt>
                <c:pt idx="3485">
                  <c:v>5.0000000000000001E-3</c:v>
                </c:pt>
                <c:pt idx="3486">
                  <c:v>4.0000000000000001E-3</c:v>
                </c:pt>
                <c:pt idx="3487">
                  <c:v>5.0000000000000001E-3</c:v>
                </c:pt>
                <c:pt idx="3488">
                  <c:v>5.0000000000000001E-3</c:v>
                </c:pt>
                <c:pt idx="3489">
                  <c:v>1.4E-2</c:v>
                </c:pt>
                <c:pt idx="3490">
                  <c:v>5.0000000000000001E-3</c:v>
                </c:pt>
                <c:pt idx="3491">
                  <c:v>5.0000000000000001E-3</c:v>
                </c:pt>
                <c:pt idx="3492">
                  <c:v>5.0000000000000001E-3</c:v>
                </c:pt>
                <c:pt idx="3493">
                  <c:v>5.0000000000000001E-3</c:v>
                </c:pt>
                <c:pt idx="3494">
                  <c:v>5.0000000000000001E-3</c:v>
                </c:pt>
                <c:pt idx="3495">
                  <c:v>5.0000000000000001E-3</c:v>
                </c:pt>
                <c:pt idx="3496">
                  <c:v>8.9999999999999993E-3</c:v>
                </c:pt>
                <c:pt idx="3497">
                  <c:v>5.0000000000000001E-3</c:v>
                </c:pt>
                <c:pt idx="3498">
                  <c:v>5.0000000000000001E-3</c:v>
                </c:pt>
                <c:pt idx="3499">
                  <c:v>5.0000000000000001E-3</c:v>
                </c:pt>
                <c:pt idx="3500">
                  <c:v>4.0000000000000001E-3</c:v>
                </c:pt>
                <c:pt idx="3501">
                  <c:v>5.0000000000000001E-3</c:v>
                </c:pt>
                <c:pt idx="3502">
                  <c:v>5.0000000000000001E-3</c:v>
                </c:pt>
                <c:pt idx="3503">
                  <c:v>4.0000000000000001E-3</c:v>
                </c:pt>
                <c:pt idx="3504">
                  <c:v>4.0000000000000001E-3</c:v>
                </c:pt>
                <c:pt idx="3505">
                  <c:v>4.0000000000000001E-3</c:v>
                </c:pt>
                <c:pt idx="3506">
                  <c:v>5.0000000000000001E-3</c:v>
                </c:pt>
                <c:pt idx="3507">
                  <c:v>5.0000000000000001E-3</c:v>
                </c:pt>
                <c:pt idx="3508">
                  <c:v>5.0000000000000001E-3</c:v>
                </c:pt>
                <c:pt idx="3509">
                  <c:v>5.0000000000000001E-3</c:v>
                </c:pt>
                <c:pt idx="3510">
                  <c:v>5.0000000000000001E-3</c:v>
                </c:pt>
                <c:pt idx="3511">
                  <c:v>5.0000000000000001E-3</c:v>
                </c:pt>
                <c:pt idx="3512">
                  <c:v>5.0000000000000001E-3</c:v>
                </c:pt>
                <c:pt idx="3513">
                  <c:v>5.0000000000000001E-3</c:v>
                </c:pt>
                <c:pt idx="3514">
                  <c:v>5.0000000000000001E-3</c:v>
                </c:pt>
                <c:pt idx="3515">
                  <c:v>2E-3</c:v>
                </c:pt>
                <c:pt idx="3516">
                  <c:v>5.0000000000000001E-3</c:v>
                </c:pt>
                <c:pt idx="3517">
                  <c:v>5.0000000000000001E-3</c:v>
                </c:pt>
                <c:pt idx="3518">
                  <c:v>1.7999999999999999E-2</c:v>
                </c:pt>
                <c:pt idx="3519">
                  <c:v>5.0000000000000001E-3</c:v>
                </c:pt>
                <c:pt idx="3520">
                  <c:v>5.0000000000000001E-3</c:v>
                </c:pt>
                <c:pt idx="3521">
                  <c:v>5.0000000000000001E-3</c:v>
                </c:pt>
                <c:pt idx="3522">
                  <c:v>5.0000000000000001E-3</c:v>
                </c:pt>
                <c:pt idx="3523">
                  <c:v>5.0000000000000001E-3</c:v>
                </c:pt>
                <c:pt idx="3524">
                  <c:v>5.0000000000000001E-3</c:v>
                </c:pt>
                <c:pt idx="3525">
                  <c:v>4.0000000000000001E-3</c:v>
                </c:pt>
                <c:pt idx="3526">
                  <c:v>4.0000000000000001E-3</c:v>
                </c:pt>
                <c:pt idx="3527">
                  <c:v>5.0000000000000001E-3</c:v>
                </c:pt>
                <c:pt idx="3528">
                  <c:v>5.0000000000000001E-3</c:v>
                </c:pt>
                <c:pt idx="3529">
                  <c:v>5.0000000000000001E-3</c:v>
                </c:pt>
                <c:pt idx="3530">
                  <c:v>5.0000000000000001E-3</c:v>
                </c:pt>
                <c:pt idx="3531">
                  <c:v>5.0000000000000001E-3</c:v>
                </c:pt>
                <c:pt idx="3532">
                  <c:v>5.0000000000000001E-3</c:v>
                </c:pt>
                <c:pt idx="3533">
                  <c:v>5.0000000000000001E-3</c:v>
                </c:pt>
                <c:pt idx="3534">
                  <c:v>5.0000000000000001E-3</c:v>
                </c:pt>
                <c:pt idx="3535">
                  <c:v>5.0000000000000001E-3</c:v>
                </c:pt>
                <c:pt idx="3536">
                  <c:v>5.0000000000000001E-3</c:v>
                </c:pt>
                <c:pt idx="3537">
                  <c:v>5.0000000000000001E-3</c:v>
                </c:pt>
                <c:pt idx="3538">
                  <c:v>4.0000000000000001E-3</c:v>
                </c:pt>
                <c:pt idx="3539">
                  <c:v>5.0000000000000001E-3</c:v>
                </c:pt>
                <c:pt idx="3540">
                  <c:v>5.0000000000000001E-3</c:v>
                </c:pt>
                <c:pt idx="3541">
                  <c:v>5.0000000000000001E-3</c:v>
                </c:pt>
                <c:pt idx="3542">
                  <c:v>5.0000000000000001E-3</c:v>
                </c:pt>
                <c:pt idx="3543">
                  <c:v>5.0000000000000001E-3</c:v>
                </c:pt>
                <c:pt idx="3544">
                  <c:v>5.0000000000000001E-3</c:v>
                </c:pt>
                <c:pt idx="3545">
                  <c:v>5.000000000000000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00A097"/>
              </a:solidFill>
            </c:spPr>
            <c:extLst>
              <c:ext xmlns:c16="http://schemas.microsoft.com/office/drawing/2014/chart" uri="{C3380CC4-5D6E-409C-BE32-E72D297353CC}">
                <c16:uniqueId val="{00000119-2993-41DE-A2CB-63102DE87051}"/>
              </c:ext>
            </c:extLst>
          </c:dPt>
          <c:dPt>
            <c:idx val="140"/>
            <c:invertIfNegative val="1"/>
            <c:bubble3D val="0"/>
            <c:spPr>
              <a:solidFill>
                <a:srgbClr val="00A097"/>
              </a:solidFill>
            </c:spPr>
            <c:extLst>
              <c:ext xmlns:c16="http://schemas.microsoft.com/office/drawing/2014/chart" uri="{C3380CC4-5D6E-409C-BE32-E72D297353CC}">
                <c16:uniqueId val="{0000011B-2993-41DE-A2CB-63102DE87051}"/>
              </c:ext>
            </c:extLst>
          </c:dPt>
          <c:dPt>
            <c:idx val="141"/>
            <c:invertIfNegative val="1"/>
            <c:bubble3D val="0"/>
            <c:spPr>
              <a:solidFill>
                <a:srgbClr val="00A097"/>
              </a:solidFill>
            </c:spPr>
            <c:extLst>
              <c:ext xmlns:c16="http://schemas.microsoft.com/office/drawing/2014/chart" uri="{C3380CC4-5D6E-409C-BE32-E72D297353CC}">
                <c16:uniqueId val="{0000011D-2993-41DE-A2CB-63102DE87051}"/>
              </c:ext>
            </c:extLst>
          </c:dPt>
          <c:dPt>
            <c:idx val="142"/>
            <c:invertIfNegative val="1"/>
            <c:bubble3D val="0"/>
            <c:spPr>
              <a:solidFill>
                <a:srgbClr val="00A097"/>
              </a:solidFill>
            </c:spPr>
            <c:extLst>
              <c:ext xmlns:c16="http://schemas.microsoft.com/office/drawing/2014/chart" uri="{C3380CC4-5D6E-409C-BE32-E72D297353CC}">
                <c16:uniqueId val="{0000011F-2993-41DE-A2CB-63102DE87051}"/>
              </c:ext>
            </c:extLst>
          </c:dPt>
          <c:dPt>
            <c:idx val="143"/>
            <c:invertIfNegative val="1"/>
            <c:bubble3D val="0"/>
            <c:spPr>
              <a:solidFill>
                <a:srgbClr val="00A097"/>
              </a:solidFill>
            </c:spPr>
            <c:extLst>
              <c:ext xmlns:c16="http://schemas.microsoft.com/office/drawing/2014/chart" uri="{C3380CC4-5D6E-409C-BE32-E72D297353CC}">
                <c16:uniqueId val="{00000121-2993-41DE-A2CB-63102DE87051}"/>
              </c:ext>
            </c:extLst>
          </c:dPt>
          <c:dPt>
            <c:idx val="144"/>
            <c:invertIfNegative val="1"/>
            <c:bubble3D val="0"/>
            <c:spPr>
              <a:solidFill>
                <a:srgbClr val="00A097"/>
              </a:solidFill>
            </c:spPr>
            <c:extLst>
              <c:ext xmlns:c16="http://schemas.microsoft.com/office/drawing/2014/chart" uri="{C3380CC4-5D6E-409C-BE32-E72D297353CC}">
                <c16:uniqueId val="{00000123-2993-41DE-A2CB-63102DE87051}"/>
              </c:ext>
            </c:extLst>
          </c:dPt>
          <c:dPt>
            <c:idx val="145"/>
            <c:invertIfNegative val="1"/>
            <c:bubble3D val="0"/>
            <c:spPr>
              <a:solidFill>
                <a:srgbClr val="00A097"/>
              </a:solidFill>
            </c:spPr>
            <c:extLst>
              <c:ext xmlns:c16="http://schemas.microsoft.com/office/drawing/2014/chart" uri="{C3380CC4-5D6E-409C-BE32-E72D297353CC}">
                <c16:uniqueId val="{00000125-2993-41DE-A2CB-63102DE87051}"/>
              </c:ext>
            </c:extLst>
          </c:dPt>
          <c:dPt>
            <c:idx val="146"/>
            <c:invertIfNegative val="1"/>
            <c:bubble3D val="0"/>
            <c:spPr>
              <a:solidFill>
                <a:srgbClr val="00A097"/>
              </a:solidFill>
            </c:spPr>
            <c:extLst>
              <c:ext xmlns:c16="http://schemas.microsoft.com/office/drawing/2014/chart" uri="{C3380CC4-5D6E-409C-BE32-E72D297353CC}">
                <c16:uniqueId val="{00000127-2993-41DE-A2CB-63102DE87051}"/>
              </c:ext>
            </c:extLst>
          </c:dPt>
          <c:dPt>
            <c:idx val="147"/>
            <c:invertIfNegative val="1"/>
            <c:bubble3D val="0"/>
            <c:spPr>
              <a:solidFill>
                <a:srgbClr val="00A097"/>
              </a:solidFill>
            </c:spPr>
            <c:extLst>
              <c:ext xmlns:c16="http://schemas.microsoft.com/office/drawing/2014/chart" uri="{C3380CC4-5D6E-409C-BE32-E72D297353CC}">
                <c16:uniqueId val="{00000129-2993-41DE-A2CB-63102DE87051}"/>
              </c:ext>
            </c:extLst>
          </c:dPt>
          <c:dPt>
            <c:idx val="148"/>
            <c:invertIfNegative val="1"/>
            <c:bubble3D val="0"/>
            <c:spPr>
              <a:solidFill>
                <a:srgbClr val="00A097"/>
              </a:solidFill>
            </c:spPr>
            <c:extLst>
              <c:ext xmlns:c16="http://schemas.microsoft.com/office/drawing/2014/chart" uri="{C3380CC4-5D6E-409C-BE32-E72D297353CC}">
                <c16:uniqueId val="{0000012B-2993-41DE-A2CB-63102DE87051}"/>
              </c:ext>
            </c:extLst>
          </c:dPt>
          <c:dPt>
            <c:idx val="149"/>
            <c:invertIfNegative val="1"/>
            <c:bubble3D val="0"/>
            <c:spPr>
              <a:solidFill>
                <a:srgbClr val="00A097"/>
              </a:solidFill>
            </c:spPr>
            <c:extLst>
              <c:ext xmlns:c16="http://schemas.microsoft.com/office/drawing/2014/chart" uri="{C3380CC4-5D6E-409C-BE32-E72D297353CC}">
                <c16:uniqueId val="{0000012D-2993-41DE-A2CB-63102DE87051}"/>
              </c:ext>
            </c:extLst>
          </c:dPt>
          <c:dPt>
            <c:idx val="150"/>
            <c:invertIfNegative val="1"/>
            <c:bubble3D val="0"/>
            <c:spPr>
              <a:solidFill>
                <a:srgbClr val="00A097"/>
              </a:solidFill>
            </c:spPr>
            <c:extLst>
              <c:ext xmlns:c16="http://schemas.microsoft.com/office/drawing/2014/chart" uri="{C3380CC4-5D6E-409C-BE32-E72D297353CC}">
                <c16:uniqueId val="{0000012F-2993-41DE-A2CB-63102DE87051}"/>
              </c:ext>
            </c:extLst>
          </c:dPt>
          <c:dPt>
            <c:idx val="151"/>
            <c:invertIfNegative val="1"/>
            <c:bubble3D val="0"/>
            <c:spPr>
              <a:solidFill>
                <a:srgbClr val="00A097"/>
              </a:solidFill>
            </c:spPr>
            <c:extLst>
              <c:ext xmlns:c16="http://schemas.microsoft.com/office/drawing/2014/chart" uri="{C3380CC4-5D6E-409C-BE32-E72D297353CC}">
                <c16:uniqueId val="{00000131-2993-41DE-A2CB-63102DE87051}"/>
              </c:ext>
            </c:extLst>
          </c:dPt>
          <c:dPt>
            <c:idx val="152"/>
            <c:invertIfNegative val="1"/>
            <c:bubble3D val="0"/>
            <c:spPr>
              <a:solidFill>
                <a:srgbClr val="00A097"/>
              </a:solidFill>
            </c:spPr>
            <c:extLst>
              <c:ext xmlns:c16="http://schemas.microsoft.com/office/drawing/2014/chart" uri="{C3380CC4-5D6E-409C-BE32-E72D297353CC}">
                <c16:uniqueId val="{00000133-2993-41DE-A2CB-63102DE87051}"/>
              </c:ext>
            </c:extLst>
          </c:dPt>
          <c:dPt>
            <c:idx val="153"/>
            <c:invertIfNegative val="1"/>
            <c:bubble3D val="0"/>
            <c:spPr>
              <a:solidFill>
                <a:srgbClr val="00A097"/>
              </a:solidFill>
            </c:spPr>
            <c:extLst>
              <c:ext xmlns:c16="http://schemas.microsoft.com/office/drawing/2014/chart" uri="{C3380CC4-5D6E-409C-BE32-E72D297353CC}">
                <c16:uniqueId val="{00000135-2993-41DE-A2CB-63102DE87051}"/>
              </c:ext>
            </c:extLst>
          </c:dPt>
          <c:dPt>
            <c:idx val="154"/>
            <c:invertIfNegative val="1"/>
            <c:bubble3D val="0"/>
            <c:spPr>
              <a:solidFill>
                <a:srgbClr val="00A097"/>
              </a:solidFill>
            </c:spPr>
            <c:extLst>
              <c:ext xmlns:c16="http://schemas.microsoft.com/office/drawing/2014/chart" uri="{C3380CC4-5D6E-409C-BE32-E72D297353CC}">
                <c16:uniqueId val="{00000137-2993-41DE-A2CB-63102DE87051}"/>
              </c:ext>
            </c:extLst>
          </c:dPt>
          <c:dPt>
            <c:idx val="155"/>
            <c:invertIfNegative val="1"/>
            <c:bubble3D val="0"/>
            <c:spPr>
              <a:solidFill>
                <a:srgbClr val="00A097"/>
              </a:solidFill>
            </c:spPr>
            <c:extLst>
              <c:ext xmlns:c16="http://schemas.microsoft.com/office/drawing/2014/chart" uri="{C3380CC4-5D6E-409C-BE32-E72D297353CC}">
                <c16:uniqueId val="{00000139-2993-41DE-A2CB-63102DE87051}"/>
              </c:ext>
            </c:extLst>
          </c:dPt>
          <c:dPt>
            <c:idx val="156"/>
            <c:invertIfNegative val="1"/>
            <c:bubble3D val="0"/>
            <c:spPr>
              <a:solidFill>
                <a:srgbClr val="00A097"/>
              </a:solidFill>
            </c:spPr>
            <c:extLst>
              <c:ext xmlns:c16="http://schemas.microsoft.com/office/drawing/2014/chart" uri="{C3380CC4-5D6E-409C-BE32-E72D297353CC}">
                <c16:uniqueId val="{0000013B-2993-41DE-A2CB-63102DE87051}"/>
              </c:ext>
            </c:extLst>
          </c:dPt>
          <c:dPt>
            <c:idx val="157"/>
            <c:invertIfNegative val="1"/>
            <c:bubble3D val="0"/>
            <c:spPr>
              <a:solidFill>
                <a:srgbClr val="00A097"/>
              </a:solidFill>
            </c:spPr>
            <c:extLst>
              <c:ext xmlns:c16="http://schemas.microsoft.com/office/drawing/2014/chart" uri="{C3380CC4-5D6E-409C-BE32-E72D297353CC}">
                <c16:uniqueId val="{0000013D-2993-41DE-A2CB-63102DE87051}"/>
              </c:ext>
            </c:extLst>
          </c:dPt>
          <c:dPt>
            <c:idx val="158"/>
            <c:invertIfNegative val="1"/>
            <c:bubble3D val="0"/>
            <c:spPr>
              <a:solidFill>
                <a:srgbClr val="00A097"/>
              </a:solidFill>
            </c:spPr>
            <c:extLst>
              <c:ext xmlns:c16="http://schemas.microsoft.com/office/drawing/2014/chart" uri="{C3380CC4-5D6E-409C-BE32-E72D297353CC}">
                <c16:uniqueId val="{0000013F-2993-41DE-A2CB-63102DE87051}"/>
              </c:ext>
            </c:extLst>
          </c:dPt>
          <c:dPt>
            <c:idx val="159"/>
            <c:invertIfNegative val="1"/>
            <c:bubble3D val="0"/>
            <c:spPr>
              <a:solidFill>
                <a:srgbClr val="00A097"/>
              </a:solidFill>
            </c:spPr>
            <c:extLst>
              <c:ext xmlns:c16="http://schemas.microsoft.com/office/drawing/2014/chart" uri="{C3380CC4-5D6E-409C-BE32-E72D297353CC}">
                <c16:uniqueId val="{00000141-2993-41DE-A2CB-63102DE87051}"/>
              </c:ext>
            </c:extLst>
          </c:dPt>
          <c:dPt>
            <c:idx val="160"/>
            <c:invertIfNegative val="1"/>
            <c:bubble3D val="0"/>
            <c:spPr>
              <a:solidFill>
                <a:srgbClr val="00A097"/>
              </a:solidFill>
            </c:spPr>
            <c:extLst>
              <c:ext xmlns:c16="http://schemas.microsoft.com/office/drawing/2014/chart" uri="{C3380CC4-5D6E-409C-BE32-E72D297353CC}">
                <c16:uniqueId val="{00000143-2993-41DE-A2CB-63102DE87051}"/>
              </c:ext>
            </c:extLst>
          </c:dPt>
          <c:dPt>
            <c:idx val="161"/>
            <c:invertIfNegative val="1"/>
            <c:bubble3D val="0"/>
            <c:spPr>
              <a:solidFill>
                <a:srgbClr val="00A097"/>
              </a:solidFill>
            </c:spPr>
            <c:extLst>
              <c:ext xmlns:c16="http://schemas.microsoft.com/office/drawing/2014/chart" uri="{C3380CC4-5D6E-409C-BE32-E72D297353CC}">
                <c16:uniqueId val="{00000145-2993-41DE-A2CB-63102DE87051}"/>
              </c:ext>
            </c:extLst>
          </c:dPt>
          <c:dPt>
            <c:idx val="162"/>
            <c:invertIfNegative val="1"/>
            <c:bubble3D val="0"/>
            <c:spPr>
              <a:solidFill>
                <a:srgbClr val="00A097"/>
              </a:solidFill>
            </c:spPr>
            <c:extLst>
              <c:ext xmlns:c16="http://schemas.microsoft.com/office/drawing/2014/chart" uri="{C3380CC4-5D6E-409C-BE32-E72D297353CC}">
                <c16:uniqueId val="{00000147-2993-41DE-A2CB-63102DE87051}"/>
              </c:ext>
            </c:extLst>
          </c:dPt>
          <c:dPt>
            <c:idx val="163"/>
            <c:invertIfNegative val="1"/>
            <c:bubble3D val="0"/>
            <c:spPr>
              <a:solidFill>
                <a:srgbClr val="00A097"/>
              </a:solidFill>
            </c:spPr>
            <c:extLst>
              <c:ext xmlns:c16="http://schemas.microsoft.com/office/drawing/2014/chart" uri="{C3380CC4-5D6E-409C-BE32-E72D297353CC}">
                <c16:uniqueId val="{00000149-2993-41DE-A2CB-63102DE87051}"/>
              </c:ext>
            </c:extLst>
          </c:dPt>
          <c:dPt>
            <c:idx val="164"/>
            <c:invertIfNegative val="1"/>
            <c:bubble3D val="0"/>
            <c:spPr>
              <a:solidFill>
                <a:srgbClr val="00A097"/>
              </a:solidFill>
            </c:spPr>
            <c:extLst>
              <c:ext xmlns:c16="http://schemas.microsoft.com/office/drawing/2014/chart" uri="{C3380CC4-5D6E-409C-BE32-E72D297353CC}">
                <c16:uniqueId val="{0000014B-2993-41DE-A2CB-63102DE87051}"/>
              </c:ext>
            </c:extLst>
          </c:dPt>
          <c:dPt>
            <c:idx val="165"/>
            <c:invertIfNegative val="1"/>
            <c:bubble3D val="0"/>
            <c:spPr>
              <a:solidFill>
                <a:srgbClr val="00A097"/>
              </a:solidFill>
            </c:spPr>
            <c:extLst>
              <c:ext xmlns:c16="http://schemas.microsoft.com/office/drawing/2014/chart" uri="{C3380CC4-5D6E-409C-BE32-E72D297353CC}">
                <c16:uniqueId val="{0000014D-2993-41DE-A2CB-63102DE87051}"/>
              </c:ext>
            </c:extLst>
          </c:dPt>
          <c:dPt>
            <c:idx val="166"/>
            <c:invertIfNegative val="1"/>
            <c:bubble3D val="0"/>
            <c:spPr>
              <a:solidFill>
                <a:srgbClr val="00A097"/>
              </a:solidFill>
            </c:spPr>
            <c:extLst>
              <c:ext xmlns:c16="http://schemas.microsoft.com/office/drawing/2014/chart" uri="{C3380CC4-5D6E-409C-BE32-E72D297353CC}">
                <c16:uniqueId val="{0000014F-2993-41DE-A2CB-63102DE87051}"/>
              </c:ext>
            </c:extLst>
          </c:dPt>
          <c:dPt>
            <c:idx val="167"/>
            <c:invertIfNegative val="1"/>
            <c:bubble3D val="0"/>
            <c:spPr>
              <a:solidFill>
                <a:srgbClr val="00A097"/>
              </a:solidFill>
            </c:spPr>
            <c:extLst>
              <c:ext xmlns:c16="http://schemas.microsoft.com/office/drawing/2014/chart" uri="{C3380CC4-5D6E-409C-BE32-E72D297353CC}">
                <c16:uniqueId val="{00000151-2993-41DE-A2CB-63102DE87051}"/>
              </c:ext>
            </c:extLst>
          </c:dPt>
          <c:dPt>
            <c:idx val="168"/>
            <c:invertIfNegative val="1"/>
            <c:bubble3D val="0"/>
            <c:spPr>
              <a:solidFill>
                <a:srgbClr val="00A097"/>
              </a:solidFill>
            </c:spPr>
            <c:extLst>
              <c:ext xmlns:c16="http://schemas.microsoft.com/office/drawing/2014/chart" uri="{C3380CC4-5D6E-409C-BE32-E72D297353CC}">
                <c16:uniqueId val="{00000153-2993-41DE-A2CB-63102DE87051}"/>
              </c:ext>
            </c:extLst>
          </c:dPt>
          <c:dPt>
            <c:idx val="169"/>
            <c:invertIfNegative val="1"/>
            <c:bubble3D val="0"/>
            <c:spPr>
              <a:solidFill>
                <a:srgbClr val="00A097"/>
              </a:solidFill>
            </c:spPr>
            <c:extLst>
              <c:ext xmlns:c16="http://schemas.microsoft.com/office/drawing/2014/chart" uri="{C3380CC4-5D6E-409C-BE32-E72D297353CC}">
                <c16:uniqueId val="{00000155-2993-41DE-A2CB-63102DE87051}"/>
              </c:ext>
            </c:extLst>
          </c:dPt>
          <c:dPt>
            <c:idx val="170"/>
            <c:invertIfNegative val="1"/>
            <c:bubble3D val="0"/>
            <c:spPr>
              <a:solidFill>
                <a:srgbClr val="00A097"/>
              </a:solidFill>
            </c:spPr>
            <c:extLst>
              <c:ext xmlns:c16="http://schemas.microsoft.com/office/drawing/2014/chart" uri="{C3380CC4-5D6E-409C-BE32-E72D297353CC}">
                <c16:uniqueId val="{00000157-2993-41DE-A2CB-63102DE87051}"/>
              </c:ext>
            </c:extLst>
          </c:dPt>
          <c:dPt>
            <c:idx val="171"/>
            <c:invertIfNegative val="1"/>
            <c:bubble3D val="0"/>
            <c:spPr>
              <a:solidFill>
                <a:srgbClr val="00A097"/>
              </a:solidFill>
            </c:spPr>
            <c:extLst>
              <c:ext xmlns:c16="http://schemas.microsoft.com/office/drawing/2014/chart" uri="{C3380CC4-5D6E-409C-BE32-E72D297353CC}">
                <c16:uniqueId val="{00000159-2993-41DE-A2CB-63102DE87051}"/>
              </c:ext>
            </c:extLst>
          </c:dPt>
          <c:dPt>
            <c:idx val="172"/>
            <c:invertIfNegative val="1"/>
            <c:bubble3D val="0"/>
            <c:spPr>
              <a:solidFill>
                <a:srgbClr val="00A097"/>
              </a:solidFill>
            </c:spPr>
            <c:extLst>
              <c:ext xmlns:c16="http://schemas.microsoft.com/office/drawing/2014/chart" uri="{C3380CC4-5D6E-409C-BE32-E72D297353CC}">
                <c16:uniqueId val="{0000015B-2993-41DE-A2CB-63102DE87051}"/>
              </c:ext>
            </c:extLst>
          </c:dPt>
          <c:dPt>
            <c:idx val="173"/>
            <c:invertIfNegative val="1"/>
            <c:bubble3D val="0"/>
            <c:spPr>
              <a:solidFill>
                <a:srgbClr val="00A097"/>
              </a:solidFill>
            </c:spPr>
            <c:extLst>
              <c:ext xmlns:c16="http://schemas.microsoft.com/office/drawing/2014/chart" uri="{C3380CC4-5D6E-409C-BE32-E72D297353CC}">
                <c16:uniqueId val="{0000015D-2993-41DE-A2CB-63102DE87051}"/>
              </c:ext>
            </c:extLst>
          </c:dPt>
          <c:dPt>
            <c:idx val="174"/>
            <c:invertIfNegative val="1"/>
            <c:bubble3D val="0"/>
            <c:spPr>
              <a:solidFill>
                <a:srgbClr val="00A097"/>
              </a:solidFill>
            </c:spPr>
            <c:extLst>
              <c:ext xmlns:c16="http://schemas.microsoft.com/office/drawing/2014/chart" uri="{C3380CC4-5D6E-409C-BE32-E72D297353CC}">
                <c16:uniqueId val="{0000015F-2993-41DE-A2CB-63102DE87051}"/>
              </c:ext>
            </c:extLst>
          </c:dPt>
          <c:dPt>
            <c:idx val="175"/>
            <c:invertIfNegative val="1"/>
            <c:bubble3D val="0"/>
            <c:spPr>
              <a:solidFill>
                <a:srgbClr val="00A097"/>
              </a:solidFill>
            </c:spPr>
            <c:extLst>
              <c:ext xmlns:c16="http://schemas.microsoft.com/office/drawing/2014/chart" uri="{C3380CC4-5D6E-409C-BE32-E72D297353CC}">
                <c16:uniqueId val="{00000161-2993-41DE-A2CB-63102DE87051}"/>
              </c:ext>
            </c:extLst>
          </c:dPt>
          <c:dPt>
            <c:idx val="176"/>
            <c:invertIfNegative val="1"/>
            <c:bubble3D val="0"/>
            <c:spPr>
              <a:solidFill>
                <a:srgbClr val="00A097"/>
              </a:solidFill>
            </c:spPr>
            <c:extLst>
              <c:ext xmlns:c16="http://schemas.microsoft.com/office/drawing/2014/chart" uri="{C3380CC4-5D6E-409C-BE32-E72D297353CC}">
                <c16:uniqueId val="{00000163-2993-41DE-A2CB-63102DE87051}"/>
              </c:ext>
            </c:extLst>
          </c:dPt>
          <c:dPt>
            <c:idx val="177"/>
            <c:invertIfNegative val="1"/>
            <c:bubble3D val="0"/>
            <c:spPr>
              <a:solidFill>
                <a:srgbClr val="00A097"/>
              </a:solidFill>
            </c:spPr>
            <c:extLst>
              <c:ext xmlns:c16="http://schemas.microsoft.com/office/drawing/2014/chart" uri="{C3380CC4-5D6E-409C-BE32-E72D297353CC}">
                <c16:uniqueId val="{00000165-2993-41DE-A2CB-63102DE87051}"/>
              </c:ext>
            </c:extLst>
          </c:dPt>
          <c:dPt>
            <c:idx val="178"/>
            <c:invertIfNegative val="1"/>
            <c:bubble3D val="0"/>
            <c:spPr>
              <a:solidFill>
                <a:srgbClr val="00A097"/>
              </a:solidFill>
            </c:spPr>
            <c:extLst>
              <c:ext xmlns:c16="http://schemas.microsoft.com/office/drawing/2014/chart" uri="{C3380CC4-5D6E-409C-BE32-E72D297353CC}">
                <c16:uniqueId val="{00000167-2993-41DE-A2CB-63102DE87051}"/>
              </c:ext>
            </c:extLst>
          </c:dPt>
          <c:dPt>
            <c:idx val="179"/>
            <c:invertIfNegative val="1"/>
            <c:bubble3D val="0"/>
            <c:spPr>
              <a:solidFill>
                <a:srgbClr val="00A097"/>
              </a:solidFill>
            </c:spPr>
            <c:extLst>
              <c:ext xmlns:c16="http://schemas.microsoft.com/office/drawing/2014/chart" uri="{C3380CC4-5D6E-409C-BE32-E72D297353CC}">
                <c16:uniqueId val="{00000169-2993-41DE-A2CB-63102DE87051}"/>
              </c:ext>
            </c:extLst>
          </c:dPt>
          <c:dPt>
            <c:idx val="180"/>
            <c:invertIfNegative val="1"/>
            <c:bubble3D val="0"/>
            <c:spPr>
              <a:solidFill>
                <a:srgbClr val="00A097"/>
              </a:solidFill>
            </c:spPr>
            <c:extLst>
              <c:ext xmlns:c16="http://schemas.microsoft.com/office/drawing/2014/chart" uri="{C3380CC4-5D6E-409C-BE32-E72D297353CC}">
                <c16:uniqueId val="{0000016B-2993-41DE-A2CB-63102DE87051}"/>
              </c:ext>
            </c:extLst>
          </c:dPt>
          <c:dPt>
            <c:idx val="181"/>
            <c:invertIfNegative val="1"/>
            <c:bubble3D val="0"/>
            <c:spPr>
              <a:solidFill>
                <a:srgbClr val="00A097"/>
              </a:solidFill>
            </c:spPr>
            <c:extLst>
              <c:ext xmlns:c16="http://schemas.microsoft.com/office/drawing/2014/chart" uri="{C3380CC4-5D6E-409C-BE32-E72D297353CC}">
                <c16:uniqueId val="{0000016D-2993-41DE-A2CB-63102DE87051}"/>
              </c:ext>
            </c:extLst>
          </c:dPt>
          <c:dPt>
            <c:idx val="182"/>
            <c:invertIfNegative val="1"/>
            <c:bubble3D val="0"/>
            <c:spPr>
              <a:solidFill>
                <a:srgbClr val="00A097"/>
              </a:solidFill>
            </c:spPr>
            <c:extLst>
              <c:ext xmlns:c16="http://schemas.microsoft.com/office/drawing/2014/chart" uri="{C3380CC4-5D6E-409C-BE32-E72D297353CC}">
                <c16:uniqueId val="{0000016F-2993-41DE-A2CB-63102DE87051}"/>
              </c:ext>
            </c:extLst>
          </c:dPt>
          <c:dPt>
            <c:idx val="183"/>
            <c:invertIfNegative val="1"/>
            <c:bubble3D val="0"/>
            <c:spPr>
              <a:solidFill>
                <a:srgbClr val="00A097"/>
              </a:solidFill>
            </c:spPr>
            <c:extLst>
              <c:ext xmlns:c16="http://schemas.microsoft.com/office/drawing/2014/chart" uri="{C3380CC4-5D6E-409C-BE32-E72D297353CC}">
                <c16:uniqueId val="{00000171-2993-41DE-A2CB-63102DE87051}"/>
              </c:ext>
            </c:extLst>
          </c:dPt>
          <c:dPt>
            <c:idx val="184"/>
            <c:invertIfNegative val="1"/>
            <c:bubble3D val="0"/>
            <c:spPr>
              <a:solidFill>
                <a:srgbClr val="00A097"/>
              </a:solidFill>
            </c:spPr>
            <c:extLst>
              <c:ext xmlns:c16="http://schemas.microsoft.com/office/drawing/2014/chart" uri="{C3380CC4-5D6E-409C-BE32-E72D297353CC}">
                <c16:uniqueId val="{00000173-2993-41DE-A2CB-63102DE87051}"/>
              </c:ext>
            </c:extLst>
          </c:dPt>
          <c:dPt>
            <c:idx val="185"/>
            <c:invertIfNegative val="1"/>
            <c:bubble3D val="0"/>
            <c:spPr>
              <a:solidFill>
                <a:srgbClr val="00A097"/>
              </a:solidFill>
            </c:spPr>
            <c:extLst>
              <c:ext xmlns:c16="http://schemas.microsoft.com/office/drawing/2014/chart" uri="{C3380CC4-5D6E-409C-BE32-E72D297353CC}">
                <c16:uniqueId val="{00000175-2993-41DE-A2CB-63102DE87051}"/>
              </c:ext>
            </c:extLst>
          </c:dPt>
          <c:dPt>
            <c:idx val="186"/>
            <c:invertIfNegative val="1"/>
            <c:bubble3D val="0"/>
            <c:spPr>
              <a:solidFill>
                <a:srgbClr val="00A097"/>
              </a:solidFill>
            </c:spPr>
            <c:extLst>
              <c:ext xmlns:c16="http://schemas.microsoft.com/office/drawing/2014/chart" uri="{C3380CC4-5D6E-409C-BE32-E72D297353CC}">
                <c16:uniqueId val="{00000177-2993-41DE-A2CB-63102DE87051}"/>
              </c:ext>
            </c:extLst>
          </c:dPt>
          <c:dPt>
            <c:idx val="187"/>
            <c:invertIfNegative val="1"/>
            <c:bubble3D val="0"/>
            <c:spPr>
              <a:solidFill>
                <a:srgbClr val="00A097"/>
              </a:solidFill>
            </c:spPr>
            <c:extLst>
              <c:ext xmlns:c16="http://schemas.microsoft.com/office/drawing/2014/chart" uri="{C3380CC4-5D6E-409C-BE32-E72D297353CC}">
                <c16:uniqueId val="{00000179-2993-41DE-A2CB-63102DE87051}"/>
              </c:ext>
            </c:extLst>
          </c:dPt>
          <c:dPt>
            <c:idx val="188"/>
            <c:invertIfNegative val="1"/>
            <c:bubble3D val="0"/>
            <c:spPr>
              <a:solidFill>
                <a:srgbClr val="00A097"/>
              </a:solidFill>
            </c:spPr>
            <c:extLst>
              <c:ext xmlns:c16="http://schemas.microsoft.com/office/drawing/2014/chart" uri="{C3380CC4-5D6E-409C-BE32-E72D297353CC}">
                <c16:uniqueId val="{0000017B-2993-41DE-A2CB-63102DE87051}"/>
              </c:ext>
            </c:extLst>
          </c:dPt>
          <c:dPt>
            <c:idx val="189"/>
            <c:invertIfNegative val="1"/>
            <c:bubble3D val="0"/>
            <c:spPr>
              <a:solidFill>
                <a:srgbClr val="00A097"/>
              </a:solidFill>
            </c:spPr>
            <c:extLst>
              <c:ext xmlns:c16="http://schemas.microsoft.com/office/drawing/2014/chart" uri="{C3380CC4-5D6E-409C-BE32-E72D297353CC}">
                <c16:uniqueId val="{0000017D-2993-41DE-A2CB-63102DE87051}"/>
              </c:ext>
            </c:extLst>
          </c:dPt>
          <c:dPt>
            <c:idx val="190"/>
            <c:invertIfNegative val="1"/>
            <c:bubble3D val="0"/>
            <c:spPr>
              <a:solidFill>
                <a:srgbClr val="00A097"/>
              </a:solidFill>
            </c:spPr>
            <c:extLst>
              <c:ext xmlns:c16="http://schemas.microsoft.com/office/drawing/2014/chart" uri="{C3380CC4-5D6E-409C-BE32-E72D297353CC}">
                <c16:uniqueId val="{0000017F-2993-41DE-A2CB-63102DE87051}"/>
              </c:ext>
            </c:extLst>
          </c:dPt>
          <c:dPt>
            <c:idx val="191"/>
            <c:invertIfNegative val="1"/>
            <c:bubble3D val="0"/>
            <c:spPr>
              <a:solidFill>
                <a:srgbClr val="00A097"/>
              </a:solidFill>
            </c:spPr>
            <c:extLst>
              <c:ext xmlns:c16="http://schemas.microsoft.com/office/drawing/2014/chart" uri="{C3380CC4-5D6E-409C-BE32-E72D297353CC}">
                <c16:uniqueId val="{00000181-2993-41DE-A2CB-63102DE87051}"/>
              </c:ext>
            </c:extLst>
          </c:dPt>
          <c:dPt>
            <c:idx val="192"/>
            <c:invertIfNegative val="1"/>
            <c:bubble3D val="0"/>
            <c:spPr>
              <a:solidFill>
                <a:srgbClr val="00A097"/>
              </a:solidFill>
            </c:spPr>
            <c:extLst>
              <c:ext xmlns:c16="http://schemas.microsoft.com/office/drawing/2014/chart" uri="{C3380CC4-5D6E-409C-BE32-E72D297353CC}">
                <c16:uniqueId val="{00000183-2993-41DE-A2CB-63102DE87051}"/>
              </c:ext>
            </c:extLst>
          </c:dPt>
          <c:dPt>
            <c:idx val="193"/>
            <c:invertIfNegative val="1"/>
            <c:bubble3D val="0"/>
            <c:spPr>
              <a:solidFill>
                <a:srgbClr val="00A097"/>
              </a:solidFill>
            </c:spPr>
            <c:extLst>
              <c:ext xmlns:c16="http://schemas.microsoft.com/office/drawing/2014/chart" uri="{C3380CC4-5D6E-409C-BE32-E72D297353CC}">
                <c16:uniqueId val="{00000185-2993-41DE-A2CB-63102DE87051}"/>
              </c:ext>
            </c:extLst>
          </c:dPt>
          <c:dPt>
            <c:idx val="194"/>
            <c:invertIfNegative val="1"/>
            <c:bubble3D val="0"/>
            <c:spPr>
              <a:solidFill>
                <a:srgbClr val="00A097"/>
              </a:solidFill>
            </c:spPr>
            <c:extLst>
              <c:ext xmlns:c16="http://schemas.microsoft.com/office/drawing/2014/chart" uri="{C3380CC4-5D6E-409C-BE32-E72D297353CC}">
                <c16:uniqueId val="{00000187-2993-41DE-A2CB-63102DE87051}"/>
              </c:ext>
            </c:extLst>
          </c:dPt>
          <c:dPt>
            <c:idx val="195"/>
            <c:invertIfNegative val="1"/>
            <c:bubble3D val="0"/>
            <c:spPr>
              <a:solidFill>
                <a:srgbClr val="00A097"/>
              </a:solidFill>
            </c:spPr>
            <c:extLst>
              <c:ext xmlns:c16="http://schemas.microsoft.com/office/drawing/2014/chart" uri="{C3380CC4-5D6E-409C-BE32-E72D297353CC}">
                <c16:uniqueId val="{00000189-2993-41DE-A2CB-63102DE87051}"/>
              </c:ext>
            </c:extLst>
          </c:dPt>
          <c:dPt>
            <c:idx val="196"/>
            <c:invertIfNegative val="1"/>
            <c:bubble3D val="0"/>
            <c:spPr>
              <a:solidFill>
                <a:srgbClr val="00A097"/>
              </a:solidFill>
            </c:spPr>
            <c:extLst>
              <c:ext xmlns:c16="http://schemas.microsoft.com/office/drawing/2014/chart" uri="{C3380CC4-5D6E-409C-BE32-E72D297353CC}">
                <c16:uniqueId val="{0000018B-2993-41DE-A2CB-63102DE87051}"/>
              </c:ext>
            </c:extLst>
          </c:dPt>
          <c:dPt>
            <c:idx val="197"/>
            <c:invertIfNegative val="1"/>
            <c:bubble3D val="0"/>
            <c:spPr>
              <a:solidFill>
                <a:srgbClr val="00A097"/>
              </a:solidFill>
            </c:spPr>
            <c:extLst>
              <c:ext xmlns:c16="http://schemas.microsoft.com/office/drawing/2014/chart" uri="{C3380CC4-5D6E-409C-BE32-E72D297353CC}">
                <c16:uniqueId val="{0000018D-2993-41DE-A2CB-63102DE87051}"/>
              </c:ext>
            </c:extLst>
          </c:dPt>
          <c:dPt>
            <c:idx val="198"/>
            <c:invertIfNegative val="1"/>
            <c:bubble3D val="0"/>
            <c:spPr>
              <a:solidFill>
                <a:srgbClr val="00A097"/>
              </a:solidFill>
            </c:spPr>
            <c:extLst>
              <c:ext xmlns:c16="http://schemas.microsoft.com/office/drawing/2014/chart" uri="{C3380CC4-5D6E-409C-BE32-E72D297353CC}">
                <c16:uniqueId val="{0000018F-2993-41DE-A2CB-63102DE87051}"/>
              </c:ext>
            </c:extLst>
          </c:dPt>
          <c:dPt>
            <c:idx val="199"/>
            <c:invertIfNegative val="1"/>
            <c:bubble3D val="0"/>
            <c:spPr>
              <a:solidFill>
                <a:srgbClr val="00A097"/>
              </a:solidFill>
            </c:spPr>
            <c:extLst>
              <c:ext xmlns:c16="http://schemas.microsoft.com/office/drawing/2014/chart" uri="{C3380CC4-5D6E-409C-BE32-E72D297353CC}">
                <c16:uniqueId val="{00000191-2993-41DE-A2CB-63102DE87051}"/>
              </c:ext>
            </c:extLst>
          </c:dPt>
          <c:dPt>
            <c:idx val="200"/>
            <c:invertIfNegative val="1"/>
            <c:bubble3D val="0"/>
            <c:spPr>
              <a:solidFill>
                <a:srgbClr val="00A097"/>
              </a:solidFill>
            </c:spPr>
            <c:extLst>
              <c:ext xmlns:c16="http://schemas.microsoft.com/office/drawing/2014/chart" uri="{C3380CC4-5D6E-409C-BE32-E72D297353CC}">
                <c16:uniqueId val="{00000193-2993-41DE-A2CB-63102DE87051}"/>
              </c:ext>
            </c:extLst>
          </c:dPt>
          <c:dPt>
            <c:idx val="201"/>
            <c:invertIfNegative val="1"/>
            <c:bubble3D val="0"/>
            <c:spPr>
              <a:solidFill>
                <a:srgbClr val="00A097"/>
              </a:solidFill>
            </c:spPr>
            <c:extLst>
              <c:ext xmlns:c16="http://schemas.microsoft.com/office/drawing/2014/chart" uri="{C3380CC4-5D6E-409C-BE32-E72D297353CC}">
                <c16:uniqueId val="{00000195-2993-41DE-A2CB-63102DE87051}"/>
              </c:ext>
            </c:extLst>
          </c:dPt>
          <c:dPt>
            <c:idx val="202"/>
            <c:invertIfNegative val="1"/>
            <c:bubble3D val="0"/>
            <c:spPr>
              <a:solidFill>
                <a:srgbClr val="00A097"/>
              </a:solidFill>
            </c:spPr>
            <c:extLst>
              <c:ext xmlns:c16="http://schemas.microsoft.com/office/drawing/2014/chart" uri="{C3380CC4-5D6E-409C-BE32-E72D297353CC}">
                <c16:uniqueId val="{00000197-2993-41DE-A2CB-63102DE87051}"/>
              </c:ext>
            </c:extLst>
          </c:dPt>
          <c:dPt>
            <c:idx val="203"/>
            <c:invertIfNegative val="1"/>
            <c:bubble3D val="0"/>
            <c:spPr>
              <a:solidFill>
                <a:srgbClr val="00A097"/>
              </a:solidFill>
            </c:spPr>
            <c:extLst>
              <c:ext xmlns:c16="http://schemas.microsoft.com/office/drawing/2014/chart" uri="{C3380CC4-5D6E-409C-BE32-E72D297353CC}">
                <c16:uniqueId val="{00000199-2993-41DE-A2CB-63102DE87051}"/>
              </c:ext>
            </c:extLst>
          </c:dPt>
          <c:dPt>
            <c:idx val="204"/>
            <c:invertIfNegative val="1"/>
            <c:bubble3D val="0"/>
            <c:spPr>
              <a:solidFill>
                <a:srgbClr val="00A097"/>
              </a:solidFill>
            </c:spPr>
            <c:extLst>
              <c:ext xmlns:c16="http://schemas.microsoft.com/office/drawing/2014/chart" uri="{C3380CC4-5D6E-409C-BE32-E72D297353CC}">
                <c16:uniqueId val="{0000019B-2993-41DE-A2CB-63102DE87051}"/>
              </c:ext>
            </c:extLst>
          </c:dPt>
          <c:dPt>
            <c:idx val="205"/>
            <c:invertIfNegative val="1"/>
            <c:bubble3D val="0"/>
            <c:spPr>
              <a:solidFill>
                <a:srgbClr val="00A097"/>
              </a:solidFill>
            </c:spPr>
            <c:extLst>
              <c:ext xmlns:c16="http://schemas.microsoft.com/office/drawing/2014/chart" uri="{C3380CC4-5D6E-409C-BE32-E72D297353CC}">
                <c16:uniqueId val="{0000019D-2993-41DE-A2CB-63102DE87051}"/>
              </c:ext>
            </c:extLst>
          </c:dPt>
          <c:dPt>
            <c:idx val="206"/>
            <c:invertIfNegative val="1"/>
            <c:bubble3D val="0"/>
            <c:spPr>
              <a:solidFill>
                <a:srgbClr val="00A097"/>
              </a:solidFill>
            </c:spPr>
            <c:extLst>
              <c:ext xmlns:c16="http://schemas.microsoft.com/office/drawing/2014/chart" uri="{C3380CC4-5D6E-409C-BE32-E72D297353CC}">
                <c16:uniqueId val="{0000019F-2993-41DE-A2CB-63102DE87051}"/>
              </c:ext>
            </c:extLst>
          </c:dPt>
          <c:dPt>
            <c:idx val="207"/>
            <c:invertIfNegative val="1"/>
            <c:bubble3D val="0"/>
            <c:spPr>
              <a:solidFill>
                <a:srgbClr val="00A097"/>
              </a:solidFill>
            </c:spPr>
            <c:extLst>
              <c:ext xmlns:c16="http://schemas.microsoft.com/office/drawing/2014/chart" uri="{C3380CC4-5D6E-409C-BE32-E72D297353CC}">
                <c16:uniqueId val="{000001A1-2993-41DE-A2CB-63102DE87051}"/>
              </c:ext>
            </c:extLst>
          </c:dPt>
          <c:dPt>
            <c:idx val="208"/>
            <c:invertIfNegative val="1"/>
            <c:bubble3D val="0"/>
            <c:spPr>
              <a:solidFill>
                <a:srgbClr val="00A097"/>
              </a:solidFill>
            </c:spPr>
            <c:extLst>
              <c:ext xmlns:c16="http://schemas.microsoft.com/office/drawing/2014/chart" uri="{C3380CC4-5D6E-409C-BE32-E72D297353CC}">
                <c16:uniqueId val="{000001A3-2993-41DE-A2CB-63102DE87051}"/>
              </c:ext>
            </c:extLst>
          </c:dPt>
          <c:dPt>
            <c:idx val="209"/>
            <c:invertIfNegative val="1"/>
            <c:bubble3D val="0"/>
            <c:spPr>
              <a:solidFill>
                <a:srgbClr val="00A097"/>
              </a:solidFill>
            </c:spPr>
            <c:extLst>
              <c:ext xmlns:c16="http://schemas.microsoft.com/office/drawing/2014/chart" uri="{C3380CC4-5D6E-409C-BE32-E72D297353CC}">
                <c16:uniqueId val="{000001A5-2993-41DE-A2CB-63102DE87051}"/>
              </c:ext>
            </c:extLst>
          </c:dPt>
          <c:dPt>
            <c:idx val="210"/>
            <c:invertIfNegative val="1"/>
            <c:bubble3D val="0"/>
            <c:spPr>
              <a:solidFill>
                <a:srgbClr val="00A097"/>
              </a:solidFill>
            </c:spPr>
            <c:extLst>
              <c:ext xmlns:c16="http://schemas.microsoft.com/office/drawing/2014/chart" uri="{C3380CC4-5D6E-409C-BE32-E72D297353CC}">
                <c16:uniqueId val="{000001A7-61F5-407B-959D-D24239F5BB85}"/>
              </c:ext>
            </c:extLst>
          </c:dPt>
          <c:dPt>
            <c:idx val="211"/>
            <c:invertIfNegative val="1"/>
            <c:bubble3D val="0"/>
            <c:spPr>
              <a:solidFill>
                <a:srgbClr val="00A097"/>
              </a:solidFill>
            </c:spPr>
            <c:extLst>
              <c:ext xmlns:c16="http://schemas.microsoft.com/office/drawing/2014/chart" uri="{C3380CC4-5D6E-409C-BE32-E72D297353CC}">
                <c16:uniqueId val="{000001A9-61F5-407B-959D-D24239F5BB85}"/>
              </c:ext>
            </c:extLst>
          </c:dPt>
          <c:dPt>
            <c:idx val="212"/>
            <c:invertIfNegative val="1"/>
            <c:bubble3D val="0"/>
            <c:spPr>
              <a:solidFill>
                <a:srgbClr val="00A097"/>
              </a:solidFill>
            </c:spPr>
            <c:extLst>
              <c:ext xmlns:c16="http://schemas.microsoft.com/office/drawing/2014/chart" uri="{C3380CC4-5D6E-409C-BE32-E72D297353CC}">
                <c16:uniqueId val="{000001AB-61F5-407B-959D-D24239F5BB85}"/>
              </c:ext>
            </c:extLst>
          </c:dPt>
          <c:dPt>
            <c:idx val="213"/>
            <c:invertIfNegative val="1"/>
            <c:bubble3D val="0"/>
            <c:spPr>
              <a:solidFill>
                <a:srgbClr val="00A097"/>
              </a:solidFill>
            </c:spPr>
            <c:extLst>
              <c:ext xmlns:c16="http://schemas.microsoft.com/office/drawing/2014/chart" uri="{C3380CC4-5D6E-409C-BE32-E72D297353CC}">
                <c16:uniqueId val="{000001AD-61F5-407B-959D-D24239F5BB85}"/>
              </c:ext>
            </c:extLst>
          </c:dPt>
          <c:dPt>
            <c:idx val="214"/>
            <c:invertIfNegative val="1"/>
            <c:bubble3D val="0"/>
            <c:spPr>
              <a:solidFill>
                <a:srgbClr val="00A097"/>
              </a:solidFill>
            </c:spPr>
            <c:extLst>
              <c:ext xmlns:c16="http://schemas.microsoft.com/office/drawing/2014/chart" uri="{C3380CC4-5D6E-409C-BE32-E72D297353CC}">
                <c16:uniqueId val="{000001AF-61F5-407B-959D-D24239F5BB85}"/>
              </c:ext>
            </c:extLst>
          </c:dPt>
          <c:dPt>
            <c:idx val="215"/>
            <c:invertIfNegative val="1"/>
            <c:bubble3D val="0"/>
            <c:spPr>
              <a:solidFill>
                <a:srgbClr val="00A097"/>
              </a:solidFill>
            </c:spPr>
            <c:extLst>
              <c:ext xmlns:c16="http://schemas.microsoft.com/office/drawing/2014/chart" uri="{C3380CC4-5D6E-409C-BE32-E72D297353CC}">
                <c16:uniqueId val="{000001B1-61F5-407B-959D-D24239F5BB85}"/>
              </c:ext>
            </c:extLst>
          </c:dPt>
          <c:dPt>
            <c:idx val="216"/>
            <c:invertIfNegative val="1"/>
            <c:bubble3D val="0"/>
            <c:spPr>
              <a:solidFill>
                <a:srgbClr val="00A097"/>
              </a:solidFill>
            </c:spPr>
            <c:extLst>
              <c:ext xmlns:c16="http://schemas.microsoft.com/office/drawing/2014/chart" uri="{C3380CC4-5D6E-409C-BE32-E72D297353CC}">
                <c16:uniqueId val="{000001B3-61F5-407B-959D-D24239F5BB85}"/>
              </c:ext>
            </c:extLst>
          </c:dPt>
          <c:dPt>
            <c:idx val="217"/>
            <c:invertIfNegative val="1"/>
            <c:bubble3D val="0"/>
            <c:spPr>
              <a:solidFill>
                <a:srgbClr val="00A097"/>
              </a:solidFill>
            </c:spPr>
            <c:extLst>
              <c:ext xmlns:c16="http://schemas.microsoft.com/office/drawing/2014/chart" uri="{C3380CC4-5D6E-409C-BE32-E72D297353CC}">
                <c16:uniqueId val="{000001B5-61F5-407B-959D-D24239F5BB85}"/>
              </c:ext>
            </c:extLst>
          </c:dPt>
          <c:dPt>
            <c:idx val="218"/>
            <c:invertIfNegative val="1"/>
            <c:bubble3D val="0"/>
            <c:spPr>
              <a:solidFill>
                <a:srgbClr val="00A097"/>
              </a:solidFill>
            </c:spPr>
            <c:extLst>
              <c:ext xmlns:c16="http://schemas.microsoft.com/office/drawing/2014/chart" uri="{C3380CC4-5D6E-409C-BE32-E72D297353CC}">
                <c16:uniqueId val="{000001B7-61F5-407B-959D-D24239F5BB85}"/>
              </c:ext>
            </c:extLst>
          </c:dPt>
          <c:dPt>
            <c:idx val="219"/>
            <c:invertIfNegative val="1"/>
            <c:bubble3D val="0"/>
            <c:spPr>
              <a:solidFill>
                <a:srgbClr val="00A097"/>
              </a:solidFill>
            </c:spPr>
            <c:extLst>
              <c:ext xmlns:c16="http://schemas.microsoft.com/office/drawing/2014/chart" uri="{C3380CC4-5D6E-409C-BE32-E72D297353CC}">
                <c16:uniqueId val="{000001B9-61F5-407B-959D-D24239F5BB85}"/>
              </c:ext>
            </c:extLst>
          </c:dPt>
          <c:dPt>
            <c:idx val="220"/>
            <c:invertIfNegative val="1"/>
            <c:bubble3D val="0"/>
            <c:spPr>
              <a:solidFill>
                <a:srgbClr val="00A097"/>
              </a:solidFill>
            </c:spPr>
            <c:extLst>
              <c:ext xmlns:c16="http://schemas.microsoft.com/office/drawing/2014/chart" uri="{C3380CC4-5D6E-409C-BE32-E72D297353CC}">
                <c16:uniqueId val="{000001BB-61F5-407B-959D-D24239F5BB85}"/>
              </c:ext>
            </c:extLst>
          </c:dPt>
          <c:dPt>
            <c:idx val="221"/>
            <c:invertIfNegative val="1"/>
            <c:bubble3D val="0"/>
            <c:spPr>
              <a:solidFill>
                <a:srgbClr val="00A097"/>
              </a:solidFill>
            </c:spPr>
            <c:extLst>
              <c:ext xmlns:c16="http://schemas.microsoft.com/office/drawing/2014/chart" uri="{C3380CC4-5D6E-409C-BE32-E72D297353CC}">
                <c16:uniqueId val="{000001BD-61F5-407B-959D-D24239F5BB85}"/>
              </c:ext>
            </c:extLst>
          </c:dPt>
          <c:dPt>
            <c:idx val="222"/>
            <c:invertIfNegative val="1"/>
            <c:bubble3D val="0"/>
            <c:spPr>
              <a:solidFill>
                <a:srgbClr val="00A097"/>
              </a:solidFill>
            </c:spPr>
            <c:extLst>
              <c:ext xmlns:c16="http://schemas.microsoft.com/office/drawing/2014/chart" uri="{C3380CC4-5D6E-409C-BE32-E72D297353CC}">
                <c16:uniqueId val="{000001BF-61F5-407B-959D-D24239F5BB85}"/>
              </c:ext>
            </c:extLst>
          </c:dPt>
          <c:dPt>
            <c:idx val="223"/>
            <c:invertIfNegative val="1"/>
            <c:bubble3D val="0"/>
            <c:spPr>
              <a:solidFill>
                <a:srgbClr val="00A097"/>
              </a:solidFill>
            </c:spPr>
            <c:extLst>
              <c:ext xmlns:c16="http://schemas.microsoft.com/office/drawing/2014/chart" uri="{C3380CC4-5D6E-409C-BE32-E72D297353CC}">
                <c16:uniqueId val="{000001C1-61F5-407B-959D-D24239F5BB85}"/>
              </c:ext>
            </c:extLst>
          </c:dPt>
          <c:dPt>
            <c:idx val="224"/>
            <c:invertIfNegative val="1"/>
            <c:bubble3D val="0"/>
            <c:spPr>
              <a:solidFill>
                <a:srgbClr val="00A097"/>
              </a:solidFill>
            </c:spPr>
            <c:extLst>
              <c:ext xmlns:c16="http://schemas.microsoft.com/office/drawing/2014/chart" uri="{C3380CC4-5D6E-409C-BE32-E72D297353CC}">
                <c16:uniqueId val="{000001C3-61F5-407B-959D-D24239F5BB85}"/>
              </c:ext>
            </c:extLst>
          </c:dPt>
          <c:dPt>
            <c:idx val="225"/>
            <c:invertIfNegative val="1"/>
            <c:bubble3D val="0"/>
            <c:spPr>
              <a:solidFill>
                <a:srgbClr val="00A097"/>
              </a:solidFill>
            </c:spPr>
            <c:extLst>
              <c:ext xmlns:c16="http://schemas.microsoft.com/office/drawing/2014/chart" uri="{C3380CC4-5D6E-409C-BE32-E72D297353CC}">
                <c16:uniqueId val="{000001C5-61F5-407B-959D-D24239F5BB85}"/>
              </c:ext>
            </c:extLst>
          </c:dPt>
          <c:dPt>
            <c:idx val="226"/>
            <c:invertIfNegative val="1"/>
            <c:bubble3D val="0"/>
            <c:spPr>
              <a:solidFill>
                <a:srgbClr val="00A097"/>
              </a:solidFill>
            </c:spPr>
            <c:extLst>
              <c:ext xmlns:c16="http://schemas.microsoft.com/office/drawing/2014/chart" uri="{C3380CC4-5D6E-409C-BE32-E72D297353CC}">
                <c16:uniqueId val="{000001C7-61F5-407B-959D-D24239F5BB85}"/>
              </c:ext>
            </c:extLst>
          </c:dPt>
          <c:dPt>
            <c:idx val="227"/>
            <c:invertIfNegative val="1"/>
            <c:bubble3D val="0"/>
            <c:spPr>
              <a:solidFill>
                <a:srgbClr val="00A097"/>
              </a:solidFill>
            </c:spPr>
            <c:extLst>
              <c:ext xmlns:c16="http://schemas.microsoft.com/office/drawing/2014/chart" uri="{C3380CC4-5D6E-409C-BE32-E72D297353CC}">
                <c16:uniqueId val="{000001C9-61F5-407B-959D-D24239F5BB85}"/>
              </c:ext>
            </c:extLst>
          </c:dPt>
          <c:dPt>
            <c:idx val="228"/>
            <c:invertIfNegative val="1"/>
            <c:bubble3D val="0"/>
            <c:spPr>
              <a:solidFill>
                <a:srgbClr val="00A097"/>
              </a:solidFill>
            </c:spPr>
            <c:extLst>
              <c:ext xmlns:c16="http://schemas.microsoft.com/office/drawing/2014/chart" uri="{C3380CC4-5D6E-409C-BE32-E72D297353CC}">
                <c16:uniqueId val="{000001CB-61F5-407B-959D-D24239F5BB85}"/>
              </c:ext>
            </c:extLst>
          </c:dPt>
          <c:dPt>
            <c:idx val="229"/>
            <c:invertIfNegative val="1"/>
            <c:bubble3D val="0"/>
            <c:spPr>
              <a:solidFill>
                <a:srgbClr val="00A097"/>
              </a:solidFill>
            </c:spPr>
            <c:extLst>
              <c:ext xmlns:c16="http://schemas.microsoft.com/office/drawing/2014/chart" uri="{C3380CC4-5D6E-409C-BE32-E72D297353CC}">
                <c16:uniqueId val="{000001CD-61F5-407B-959D-D24239F5BB85}"/>
              </c:ext>
            </c:extLst>
          </c:dPt>
          <c:dPt>
            <c:idx val="230"/>
            <c:invertIfNegative val="1"/>
            <c:bubble3D val="0"/>
            <c:spPr>
              <a:solidFill>
                <a:srgbClr val="00A097"/>
              </a:solidFill>
            </c:spPr>
            <c:extLst>
              <c:ext xmlns:c16="http://schemas.microsoft.com/office/drawing/2014/chart" uri="{C3380CC4-5D6E-409C-BE32-E72D297353CC}">
                <c16:uniqueId val="{000001CF-61F5-407B-959D-D24239F5BB85}"/>
              </c:ext>
            </c:extLst>
          </c:dPt>
          <c:dPt>
            <c:idx val="231"/>
            <c:invertIfNegative val="1"/>
            <c:bubble3D val="0"/>
            <c:spPr>
              <a:solidFill>
                <a:srgbClr val="00A097"/>
              </a:solidFill>
            </c:spPr>
            <c:extLst>
              <c:ext xmlns:c16="http://schemas.microsoft.com/office/drawing/2014/chart" uri="{C3380CC4-5D6E-409C-BE32-E72D297353CC}">
                <c16:uniqueId val="{000001D1-61F5-407B-959D-D24239F5BB85}"/>
              </c:ext>
            </c:extLst>
          </c:dPt>
          <c:dPt>
            <c:idx val="232"/>
            <c:invertIfNegative val="1"/>
            <c:bubble3D val="0"/>
            <c:spPr>
              <a:solidFill>
                <a:srgbClr val="00A097"/>
              </a:solidFill>
            </c:spPr>
            <c:extLst>
              <c:ext xmlns:c16="http://schemas.microsoft.com/office/drawing/2014/chart" uri="{C3380CC4-5D6E-409C-BE32-E72D297353CC}">
                <c16:uniqueId val="{000001D3-61F5-407B-959D-D24239F5BB85}"/>
              </c:ext>
            </c:extLst>
          </c:dPt>
          <c:dPt>
            <c:idx val="233"/>
            <c:invertIfNegative val="1"/>
            <c:bubble3D val="0"/>
            <c:spPr>
              <a:solidFill>
                <a:srgbClr val="00A097"/>
              </a:solidFill>
            </c:spPr>
            <c:extLst>
              <c:ext xmlns:c16="http://schemas.microsoft.com/office/drawing/2014/chart" uri="{C3380CC4-5D6E-409C-BE32-E72D297353CC}">
                <c16:uniqueId val="{000001D5-61F5-407B-959D-D24239F5BB85}"/>
              </c:ext>
            </c:extLst>
          </c:dPt>
          <c:dPt>
            <c:idx val="234"/>
            <c:invertIfNegative val="1"/>
            <c:bubble3D val="0"/>
            <c:spPr>
              <a:solidFill>
                <a:srgbClr val="00A097"/>
              </a:solidFill>
            </c:spPr>
            <c:extLst>
              <c:ext xmlns:c16="http://schemas.microsoft.com/office/drawing/2014/chart" uri="{C3380CC4-5D6E-409C-BE32-E72D297353CC}">
                <c16:uniqueId val="{000001D7-61F5-407B-959D-D24239F5BB85}"/>
              </c:ext>
            </c:extLst>
          </c:dPt>
          <c:dPt>
            <c:idx val="235"/>
            <c:invertIfNegative val="1"/>
            <c:bubble3D val="0"/>
            <c:spPr>
              <a:solidFill>
                <a:srgbClr val="00A097"/>
              </a:solidFill>
            </c:spPr>
            <c:extLst>
              <c:ext xmlns:c16="http://schemas.microsoft.com/office/drawing/2014/chart" uri="{C3380CC4-5D6E-409C-BE32-E72D297353CC}">
                <c16:uniqueId val="{000001D9-61F5-407B-959D-D24239F5BB85}"/>
              </c:ext>
            </c:extLst>
          </c:dPt>
          <c:dPt>
            <c:idx val="236"/>
            <c:invertIfNegative val="1"/>
            <c:bubble3D val="0"/>
            <c:spPr>
              <a:solidFill>
                <a:srgbClr val="00A097"/>
              </a:solidFill>
            </c:spPr>
            <c:extLst>
              <c:ext xmlns:c16="http://schemas.microsoft.com/office/drawing/2014/chart" uri="{C3380CC4-5D6E-409C-BE32-E72D297353CC}">
                <c16:uniqueId val="{000001DB-61F5-407B-959D-D24239F5BB85}"/>
              </c:ext>
            </c:extLst>
          </c:dPt>
          <c:dPt>
            <c:idx val="237"/>
            <c:invertIfNegative val="1"/>
            <c:bubble3D val="0"/>
            <c:spPr>
              <a:solidFill>
                <a:srgbClr val="00A097"/>
              </a:solidFill>
            </c:spPr>
            <c:extLst>
              <c:ext xmlns:c16="http://schemas.microsoft.com/office/drawing/2014/chart" uri="{C3380CC4-5D6E-409C-BE32-E72D297353CC}">
                <c16:uniqueId val="{000001DD-61F5-407B-959D-D24239F5BB85}"/>
              </c:ext>
            </c:extLst>
          </c:dPt>
          <c:dPt>
            <c:idx val="238"/>
            <c:invertIfNegative val="1"/>
            <c:bubble3D val="0"/>
            <c:spPr>
              <a:solidFill>
                <a:srgbClr val="00A097"/>
              </a:solidFill>
            </c:spPr>
            <c:extLst>
              <c:ext xmlns:c16="http://schemas.microsoft.com/office/drawing/2014/chart" uri="{C3380CC4-5D6E-409C-BE32-E72D297353CC}">
                <c16:uniqueId val="{000001DF-61F5-407B-959D-D24239F5BB85}"/>
              </c:ext>
            </c:extLst>
          </c:dPt>
          <c:dPt>
            <c:idx val="239"/>
            <c:invertIfNegative val="1"/>
            <c:bubble3D val="0"/>
            <c:spPr>
              <a:solidFill>
                <a:srgbClr val="00A097"/>
              </a:solidFill>
            </c:spPr>
            <c:extLst>
              <c:ext xmlns:c16="http://schemas.microsoft.com/office/drawing/2014/chart" uri="{C3380CC4-5D6E-409C-BE32-E72D297353CC}">
                <c16:uniqueId val="{000001E1-61F5-407B-959D-D24239F5BB85}"/>
              </c:ext>
            </c:extLst>
          </c:dPt>
          <c:dPt>
            <c:idx val="240"/>
            <c:invertIfNegative val="1"/>
            <c:bubble3D val="0"/>
            <c:spPr>
              <a:solidFill>
                <a:srgbClr val="00A097"/>
              </a:solidFill>
            </c:spPr>
            <c:extLst>
              <c:ext xmlns:c16="http://schemas.microsoft.com/office/drawing/2014/chart" uri="{C3380CC4-5D6E-409C-BE32-E72D297353CC}">
                <c16:uniqueId val="{000001E3-61F5-407B-959D-D24239F5BB85}"/>
              </c:ext>
            </c:extLst>
          </c:dPt>
          <c:dPt>
            <c:idx val="241"/>
            <c:invertIfNegative val="1"/>
            <c:bubble3D val="0"/>
            <c:spPr>
              <a:solidFill>
                <a:srgbClr val="00A097"/>
              </a:solidFill>
            </c:spPr>
            <c:extLst>
              <c:ext xmlns:c16="http://schemas.microsoft.com/office/drawing/2014/chart" uri="{C3380CC4-5D6E-409C-BE32-E72D297353CC}">
                <c16:uniqueId val="{000001E5-61F5-407B-959D-D24239F5BB85}"/>
              </c:ext>
            </c:extLst>
          </c:dPt>
          <c:dPt>
            <c:idx val="242"/>
            <c:invertIfNegative val="1"/>
            <c:bubble3D val="0"/>
            <c:spPr>
              <a:solidFill>
                <a:srgbClr val="00A097"/>
              </a:solidFill>
            </c:spPr>
            <c:extLst>
              <c:ext xmlns:c16="http://schemas.microsoft.com/office/drawing/2014/chart" uri="{C3380CC4-5D6E-409C-BE32-E72D297353CC}">
                <c16:uniqueId val="{000001E7-61F5-407B-959D-D24239F5BB85}"/>
              </c:ext>
            </c:extLst>
          </c:dPt>
          <c:dPt>
            <c:idx val="243"/>
            <c:invertIfNegative val="1"/>
            <c:bubble3D val="0"/>
            <c:spPr>
              <a:solidFill>
                <a:srgbClr val="00A097"/>
              </a:solidFill>
            </c:spPr>
            <c:extLst>
              <c:ext xmlns:c16="http://schemas.microsoft.com/office/drawing/2014/chart" uri="{C3380CC4-5D6E-409C-BE32-E72D297353CC}">
                <c16:uniqueId val="{000001E9-61F5-407B-959D-D24239F5BB85}"/>
              </c:ext>
            </c:extLst>
          </c:dPt>
          <c:dPt>
            <c:idx val="244"/>
            <c:invertIfNegative val="1"/>
            <c:bubble3D val="0"/>
            <c:spPr>
              <a:solidFill>
                <a:srgbClr val="00A097"/>
              </a:solidFill>
            </c:spPr>
            <c:extLst>
              <c:ext xmlns:c16="http://schemas.microsoft.com/office/drawing/2014/chart" uri="{C3380CC4-5D6E-409C-BE32-E72D297353CC}">
                <c16:uniqueId val="{000001EB-61F5-407B-959D-D24239F5BB85}"/>
              </c:ext>
            </c:extLst>
          </c:dPt>
          <c:dPt>
            <c:idx val="245"/>
            <c:invertIfNegative val="1"/>
            <c:bubble3D val="0"/>
            <c:spPr>
              <a:solidFill>
                <a:srgbClr val="00A097"/>
              </a:solidFill>
            </c:spPr>
            <c:extLst>
              <c:ext xmlns:c16="http://schemas.microsoft.com/office/drawing/2014/chart" uri="{C3380CC4-5D6E-409C-BE32-E72D297353CC}">
                <c16:uniqueId val="{000001ED-61F5-407B-959D-D24239F5BB85}"/>
              </c:ext>
            </c:extLst>
          </c:dPt>
          <c:dPt>
            <c:idx val="246"/>
            <c:invertIfNegative val="1"/>
            <c:bubble3D val="0"/>
            <c:spPr>
              <a:solidFill>
                <a:srgbClr val="00A097"/>
              </a:solidFill>
            </c:spPr>
            <c:extLst>
              <c:ext xmlns:c16="http://schemas.microsoft.com/office/drawing/2014/chart" uri="{C3380CC4-5D6E-409C-BE32-E72D297353CC}">
                <c16:uniqueId val="{000001EF-61F5-407B-959D-D24239F5BB85}"/>
              </c:ext>
            </c:extLst>
          </c:dPt>
          <c:dPt>
            <c:idx val="247"/>
            <c:invertIfNegative val="1"/>
            <c:bubble3D val="0"/>
            <c:spPr>
              <a:solidFill>
                <a:srgbClr val="00A097"/>
              </a:solidFill>
            </c:spPr>
            <c:extLst>
              <c:ext xmlns:c16="http://schemas.microsoft.com/office/drawing/2014/chart" uri="{C3380CC4-5D6E-409C-BE32-E72D297353CC}">
                <c16:uniqueId val="{000001F1-61F5-407B-959D-D24239F5BB85}"/>
              </c:ext>
            </c:extLst>
          </c:dPt>
          <c:dPt>
            <c:idx val="248"/>
            <c:invertIfNegative val="1"/>
            <c:bubble3D val="0"/>
            <c:spPr>
              <a:solidFill>
                <a:srgbClr val="00A097"/>
              </a:solidFill>
            </c:spPr>
            <c:extLst>
              <c:ext xmlns:c16="http://schemas.microsoft.com/office/drawing/2014/chart" uri="{C3380CC4-5D6E-409C-BE32-E72D297353CC}">
                <c16:uniqueId val="{000001F3-61F5-407B-959D-D24239F5BB85}"/>
              </c:ext>
            </c:extLst>
          </c:dPt>
          <c:dPt>
            <c:idx val="249"/>
            <c:invertIfNegative val="1"/>
            <c:bubble3D val="0"/>
            <c:spPr>
              <a:solidFill>
                <a:srgbClr val="00A097"/>
              </a:solidFill>
            </c:spPr>
            <c:extLst>
              <c:ext xmlns:c16="http://schemas.microsoft.com/office/drawing/2014/chart" uri="{C3380CC4-5D6E-409C-BE32-E72D297353CC}">
                <c16:uniqueId val="{000001F5-61F5-407B-959D-D24239F5BB85}"/>
              </c:ext>
            </c:extLst>
          </c:dPt>
          <c:dPt>
            <c:idx val="250"/>
            <c:invertIfNegative val="1"/>
            <c:bubble3D val="0"/>
            <c:spPr>
              <a:solidFill>
                <a:srgbClr val="00A097"/>
              </a:solidFill>
            </c:spPr>
            <c:extLst>
              <c:ext xmlns:c16="http://schemas.microsoft.com/office/drawing/2014/chart" uri="{C3380CC4-5D6E-409C-BE32-E72D297353CC}">
                <c16:uniqueId val="{000001F7-61F5-407B-959D-D24239F5BB85}"/>
              </c:ext>
            </c:extLst>
          </c:dPt>
          <c:dPt>
            <c:idx val="251"/>
            <c:invertIfNegative val="1"/>
            <c:bubble3D val="0"/>
            <c:spPr>
              <a:solidFill>
                <a:srgbClr val="00A097"/>
              </a:solidFill>
            </c:spPr>
            <c:extLst>
              <c:ext xmlns:c16="http://schemas.microsoft.com/office/drawing/2014/chart" uri="{C3380CC4-5D6E-409C-BE32-E72D297353CC}">
                <c16:uniqueId val="{000001F9-61F5-407B-959D-D24239F5BB85}"/>
              </c:ext>
            </c:extLst>
          </c:dPt>
          <c:dPt>
            <c:idx val="252"/>
            <c:invertIfNegative val="1"/>
            <c:bubble3D val="0"/>
            <c:spPr>
              <a:solidFill>
                <a:srgbClr val="00A097"/>
              </a:solidFill>
            </c:spPr>
            <c:extLst>
              <c:ext xmlns:c16="http://schemas.microsoft.com/office/drawing/2014/chart" uri="{C3380CC4-5D6E-409C-BE32-E72D297353CC}">
                <c16:uniqueId val="{000001FB-61F5-407B-959D-D24239F5BB85}"/>
              </c:ext>
            </c:extLst>
          </c:dPt>
          <c:dPt>
            <c:idx val="253"/>
            <c:invertIfNegative val="1"/>
            <c:bubble3D val="0"/>
            <c:spPr>
              <a:solidFill>
                <a:srgbClr val="00A097"/>
              </a:solidFill>
            </c:spPr>
            <c:extLst>
              <c:ext xmlns:c16="http://schemas.microsoft.com/office/drawing/2014/chart" uri="{C3380CC4-5D6E-409C-BE32-E72D297353CC}">
                <c16:uniqueId val="{000001FD-61F5-407B-959D-D24239F5BB85}"/>
              </c:ext>
            </c:extLst>
          </c:dPt>
          <c:dPt>
            <c:idx val="254"/>
            <c:invertIfNegative val="1"/>
            <c:bubble3D val="0"/>
            <c:spPr>
              <a:solidFill>
                <a:srgbClr val="00A097"/>
              </a:solidFill>
            </c:spPr>
            <c:extLst>
              <c:ext xmlns:c16="http://schemas.microsoft.com/office/drawing/2014/chart" uri="{C3380CC4-5D6E-409C-BE32-E72D297353CC}">
                <c16:uniqueId val="{000001FF-61F5-407B-959D-D24239F5BB85}"/>
              </c:ext>
            </c:extLst>
          </c:dPt>
          <c:dPt>
            <c:idx val="255"/>
            <c:invertIfNegative val="1"/>
            <c:bubble3D val="0"/>
            <c:spPr>
              <a:solidFill>
                <a:srgbClr val="00A097"/>
              </a:solidFill>
            </c:spPr>
            <c:extLst>
              <c:ext xmlns:c16="http://schemas.microsoft.com/office/drawing/2014/chart" uri="{C3380CC4-5D6E-409C-BE32-E72D297353CC}">
                <c16:uniqueId val="{00000201-61F5-407B-959D-D24239F5BB85}"/>
              </c:ext>
            </c:extLst>
          </c:dPt>
          <c:dPt>
            <c:idx val="256"/>
            <c:invertIfNegative val="1"/>
            <c:bubble3D val="0"/>
            <c:spPr>
              <a:solidFill>
                <a:srgbClr val="00A097"/>
              </a:solidFill>
            </c:spPr>
            <c:extLst>
              <c:ext xmlns:c16="http://schemas.microsoft.com/office/drawing/2014/chart" uri="{C3380CC4-5D6E-409C-BE32-E72D297353CC}">
                <c16:uniqueId val="{00000203-61F5-407B-959D-D24239F5BB85}"/>
              </c:ext>
            </c:extLst>
          </c:dPt>
          <c:dPt>
            <c:idx val="257"/>
            <c:invertIfNegative val="1"/>
            <c:bubble3D val="0"/>
            <c:spPr>
              <a:solidFill>
                <a:srgbClr val="00A097"/>
              </a:solidFill>
            </c:spPr>
            <c:extLst>
              <c:ext xmlns:c16="http://schemas.microsoft.com/office/drawing/2014/chart" uri="{C3380CC4-5D6E-409C-BE32-E72D297353CC}">
                <c16:uniqueId val="{00000205-61F5-407B-959D-D24239F5BB85}"/>
              </c:ext>
            </c:extLst>
          </c:dPt>
          <c:dPt>
            <c:idx val="258"/>
            <c:invertIfNegative val="1"/>
            <c:bubble3D val="0"/>
            <c:spPr>
              <a:solidFill>
                <a:srgbClr val="00A097"/>
              </a:solidFill>
            </c:spPr>
            <c:extLst>
              <c:ext xmlns:c16="http://schemas.microsoft.com/office/drawing/2014/chart" uri="{C3380CC4-5D6E-409C-BE32-E72D297353CC}">
                <c16:uniqueId val="{00000207-61F5-407B-959D-D24239F5BB85}"/>
              </c:ext>
            </c:extLst>
          </c:dPt>
          <c:dPt>
            <c:idx val="259"/>
            <c:invertIfNegative val="1"/>
            <c:bubble3D val="0"/>
            <c:spPr>
              <a:solidFill>
                <a:srgbClr val="00A097"/>
              </a:solidFill>
            </c:spPr>
            <c:extLst>
              <c:ext xmlns:c16="http://schemas.microsoft.com/office/drawing/2014/chart" uri="{C3380CC4-5D6E-409C-BE32-E72D297353CC}">
                <c16:uniqueId val="{00000209-61F5-407B-959D-D24239F5BB85}"/>
              </c:ext>
            </c:extLst>
          </c:dPt>
          <c:dPt>
            <c:idx val="260"/>
            <c:invertIfNegative val="1"/>
            <c:bubble3D val="0"/>
            <c:spPr>
              <a:solidFill>
                <a:srgbClr val="00A097"/>
              </a:solidFill>
            </c:spPr>
            <c:extLst>
              <c:ext xmlns:c16="http://schemas.microsoft.com/office/drawing/2014/chart" uri="{C3380CC4-5D6E-409C-BE32-E72D297353CC}">
                <c16:uniqueId val="{0000020B-61F5-407B-959D-D24239F5BB85}"/>
              </c:ext>
            </c:extLst>
          </c:dPt>
          <c:dPt>
            <c:idx val="261"/>
            <c:invertIfNegative val="1"/>
            <c:bubble3D val="0"/>
            <c:spPr>
              <a:solidFill>
                <a:srgbClr val="00A097"/>
              </a:solidFill>
            </c:spPr>
            <c:extLst>
              <c:ext xmlns:c16="http://schemas.microsoft.com/office/drawing/2014/chart" uri="{C3380CC4-5D6E-409C-BE32-E72D297353CC}">
                <c16:uniqueId val="{0000020D-61F5-407B-959D-D24239F5BB85}"/>
              </c:ext>
            </c:extLst>
          </c:dPt>
          <c:dPt>
            <c:idx val="262"/>
            <c:invertIfNegative val="1"/>
            <c:bubble3D val="0"/>
            <c:spPr>
              <a:solidFill>
                <a:srgbClr val="00A097"/>
              </a:solidFill>
            </c:spPr>
            <c:extLst>
              <c:ext xmlns:c16="http://schemas.microsoft.com/office/drawing/2014/chart" uri="{C3380CC4-5D6E-409C-BE32-E72D297353CC}">
                <c16:uniqueId val="{0000020F-61F5-407B-959D-D24239F5BB85}"/>
              </c:ext>
            </c:extLst>
          </c:dPt>
          <c:dPt>
            <c:idx val="263"/>
            <c:invertIfNegative val="1"/>
            <c:bubble3D val="0"/>
            <c:spPr>
              <a:solidFill>
                <a:srgbClr val="00A097"/>
              </a:solidFill>
            </c:spPr>
            <c:extLst>
              <c:ext xmlns:c16="http://schemas.microsoft.com/office/drawing/2014/chart" uri="{C3380CC4-5D6E-409C-BE32-E72D297353CC}">
                <c16:uniqueId val="{00000211-61F5-407B-959D-D24239F5BB85}"/>
              </c:ext>
            </c:extLst>
          </c:dPt>
          <c:dPt>
            <c:idx val="264"/>
            <c:invertIfNegative val="1"/>
            <c:bubble3D val="0"/>
            <c:spPr>
              <a:solidFill>
                <a:srgbClr val="00A097"/>
              </a:solidFill>
            </c:spPr>
            <c:extLst>
              <c:ext xmlns:c16="http://schemas.microsoft.com/office/drawing/2014/chart" uri="{C3380CC4-5D6E-409C-BE32-E72D297353CC}">
                <c16:uniqueId val="{00000213-61F5-407B-959D-D24239F5BB85}"/>
              </c:ext>
            </c:extLst>
          </c:dPt>
          <c:dPt>
            <c:idx val="265"/>
            <c:invertIfNegative val="1"/>
            <c:bubble3D val="0"/>
            <c:spPr>
              <a:solidFill>
                <a:srgbClr val="00A097"/>
              </a:solidFill>
            </c:spPr>
            <c:extLst>
              <c:ext xmlns:c16="http://schemas.microsoft.com/office/drawing/2014/chart" uri="{C3380CC4-5D6E-409C-BE32-E72D297353CC}">
                <c16:uniqueId val="{00000215-61F5-407B-959D-D24239F5BB85}"/>
              </c:ext>
            </c:extLst>
          </c:dPt>
          <c:dPt>
            <c:idx val="266"/>
            <c:invertIfNegative val="1"/>
            <c:bubble3D val="0"/>
            <c:spPr>
              <a:solidFill>
                <a:srgbClr val="00A097"/>
              </a:solidFill>
            </c:spPr>
            <c:extLst>
              <c:ext xmlns:c16="http://schemas.microsoft.com/office/drawing/2014/chart" uri="{C3380CC4-5D6E-409C-BE32-E72D297353CC}">
                <c16:uniqueId val="{00000217-61F5-407B-959D-D24239F5BB85}"/>
              </c:ext>
            </c:extLst>
          </c:dPt>
          <c:dPt>
            <c:idx val="267"/>
            <c:invertIfNegative val="1"/>
            <c:bubble3D val="0"/>
            <c:spPr>
              <a:solidFill>
                <a:srgbClr val="00A097"/>
              </a:solidFill>
            </c:spPr>
            <c:extLst>
              <c:ext xmlns:c16="http://schemas.microsoft.com/office/drawing/2014/chart" uri="{C3380CC4-5D6E-409C-BE32-E72D297353CC}">
                <c16:uniqueId val="{00000219-61F5-407B-959D-D24239F5BB85}"/>
              </c:ext>
            </c:extLst>
          </c:dPt>
          <c:dPt>
            <c:idx val="268"/>
            <c:invertIfNegative val="1"/>
            <c:bubble3D val="0"/>
            <c:spPr>
              <a:solidFill>
                <a:srgbClr val="00A097"/>
              </a:solidFill>
            </c:spPr>
            <c:extLst>
              <c:ext xmlns:c16="http://schemas.microsoft.com/office/drawing/2014/chart" uri="{C3380CC4-5D6E-409C-BE32-E72D297353CC}">
                <c16:uniqueId val="{0000021B-61F5-407B-959D-D24239F5BB85}"/>
              </c:ext>
            </c:extLst>
          </c:dPt>
          <c:dPt>
            <c:idx val="269"/>
            <c:invertIfNegative val="1"/>
            <c:bubble3D val="0"/>
            <c:spPr>
              <a:solidFill>
                <a:srgbClr val="00A097"/>
              </a:solidFill>
            </c:spPr>
            <c:extLst>
              <c:ext xmlns:c16="http://schemas.microsoft.com/office/drawing/2014/chart" uri="{C3380CC4-5D6E-409C-BE32-E72D297353CC}">
                <c16:uniqueId val="{0000021D-61F5-407B-959D-D24239F5BB85}"/>
              </c:ext>
            </c:extLst>
          </c:dPt>
          <c:dPt>
            <c:idx val="270"/>
            <c:invertIfNegative val="1"/>
            <c:bubble3D val="0"/>
            <c:spPr>
              <a:solidFill>
                <a:srgbClr val="00A097"/>
              </a:solidFill>
            </c:spPr>
            <c:extLst>
              <c:ext xmlns:c16="http://schemas.microsoft.com/office/drawing/2014/chart" uri="{C3380CC4-5D6E-409C-BE32-E72D297353CC}">
                <c16:uniqueId val="{0000021F-61F5-407B-959D-D24239F5BB85}"/>
              </c:ext>
            </c:extLst>
          </c:dPt>
          <c:dPt>
            <c:idx val="271"/>
            <c:invertIfNegative val="1"/>
            <c:bubble3D val="0"/>
            <c:spPr>
              <a:solidFill>
                <a:srgbClr val="00A097"/>
              </a:solidFill>
            </c:spPr>
            <c:extLst>
              <c:ext xmlns:c16="http://schemas.microsoft.com/office/drawing/2014/chart" uri="{C3380CC4-5D6E-409C-BE32-E72D297353CC}">
                <c16:uniqueId val="{00000221-61F5-407B-959D-D24239F5BB85}"/>
              </c:ext>
            </c:extLst>
          </c:dPt>
          <c:dPt>
            <c:idx val="272"/>
            <c:invertIfNegative val="1"/>
            <c:bubble3D val="0"/>
            <c:spPr>
              <a:solidFill>
                <a:srgbClr val="00A097"/>
              </a:solidFill>
            </c:spPr>
            <c:extLst>
              <c:ext xmlns:c16="http://schemas.microsoft.com/office/drawing/2014/chart" uri="{C3380CC4-5D6E-409C-BE32-E72D297353CC}">
                <c16:uniqueId val="{00000223-61F5-407B-959D-D24239F5BB85}"/>
              </c:ext>
            </c:extLst>
          </c:dPt>
          <c:dPt>
            <c:idx val="273"/>
            <c:invertIfNegative val="1"/>
            <c:bubble3D val="0"/>
            <c:spPr>
              <a:solidFill>
                <a:srgbClr val="00A097"/>
              </a:solidFill>
            </c:spPr>
            <c:extLst>
              <c:ext xmlns:c16="http://schemas.microsoft.com/office/drawing/2014/chart" uri="{C3380CC4-5D6E-409C-BE32-E72D297353CC}">
                <c16:uniqueId val="{00000225-61F5-407B-959D-D24239F5BB85}"/>
              </c:ext>
            </c:extLst>
          </c:dPt>
          <c:dPt>
            <c:idx val="274"/>
            <c:invertIfNegative val="1"/>
            <c:bubble3D val="0"/>
            <c:spPr>
              <a:solidFill>
                <a:srgbClr val="00A097"/>
              </a:solidFill>
            </c:spPr>
            <c:extLst>
              <c:ext xmlns:c16="http://schemas.microsoft.com/office/drawing/2014/chart" uri="{C3380CC4-5D6E-409C-BE32-E72D297353CC}">
                <c16:uniqueId val="{00000227-61F5-407B-959D-D24239F5BB85}"/>
              </c:ext>
            </c:extLst>
          </c:dPt>
          <c:dPt>
            <c:idx val="275"/>
            <c:invertIfNegative val="1"/>
            <c:bubble3D val="0"/>
            <c:spPr>
              <a:solidFill>
                <a:srgbClr val="00A097"/>
              </a:solidFill>
            </c:spPr>
            <c:extLst>
              <c:ext xmlns:c16="http://schemas.microsoft.com/office/drawing/2014/chart" uri="{C3380CC4-5D6E-409C-BE32-E72D297353CC}">
                <c16:uniqueId val="{00000229-61F5-407B-959D-D24239F5BB85}"/>
              </c:ext>
            </c:extLst>
          </c:dPt>
          <c:dPt>
            <c:idx val="276"/>
            <c:invertIfNegative val="1"/>
            <c:bubble3D val="0"/>
            <c:spPr>
              <a:solidFill>
                <a:srgbClr val="00A097"/>
              </a:solidFill>
            </c:spPr>
            <c:extLst>
              <c:ext xmlns:c16="http://schemas.microsoft.com/office/drawing/2014/chart" uri="{C3380CC4-5D6E-409C-BE32-E72D297353CC}">
                <c16:uniqueId val="{0000022B-61F5-407B-959D-D24239F5BB85}"/>
              </c:ext>
            </c:extLst>
          </c:dPt>
          <c:dPt>
            <c:idx val="277"/>
            <c:invertIfNegative val="1"/>
            <c:bubble3D val="0"/>
            <c:spPr>
              <a:solidFill>
                <a:srgbClr val="00A097"/>
              </a:solidFill>
            </c:spPr>
            <c:extLst>
              <c:ext xmlns:c16="http://schemas.microsoft.com/office/drawing/2014/chart" uri="{C3380CC4-5D6E-409C-BE32-E72D297353CC}">
                <c16:uniqueId val="{0000022D-61F5-407B-959D-D24239F5BB85}"/>
              </c:ext>
            </c:extLst>
          </c:dPt>
          <c:dPt>
            <c:idx val="278"/>
            <c:invertIfNegative val="1"/>
            <c:bubble3D val="0"/>
            <c:spPr>
              <a:solidFill>
                <a:srgbClr val="00A097"/>
              </a:solidFill>
            </c:spPr>
            <c:extLst>
              <c:ext xmlns:c16="http://schemas.microsoft.com/office/drawing/2014/chart" uri="{C3380CC4-5D6E-409C-BE32-E72D297353CC}">
                <c16:uniqueId val="{0000022F-61F5-407B-959D-D24239F5BB85}"/>
              </c:ext>
            </c:extLst>
          </c:dPt>
          <c:dPt>
            <c:idx val="279"/>
            <c:invertIfNegative val="1"/>
            <c:bubble3D val="0"/>
            <c:spPr>
              <a:solidFill>
                <a:srgbClr val="00A097"/>
              </a:solidFill>
            </c:spPr>
            <c:extLst>
              <c:ext xmlns:c16="http://schemas.microsoft.com/office/drawing/2014/chart" uri="{C3380CC4-5D6E-409C-BE32-E72D297353CC}">
                <c16:uniqueId val="{00000231-61F5-407B-959D-D24239F5BB85}"/>
              </c:ext>
            </c:extLst>
          </c:dPt>
          <c:dPt>
            <c:idx val="280"/>
            <c:invertIfNegative val="1"/>
            <c:bubble3D val="0"/>
            <c:spPr>
              <a:solidFill>
                <a:srgbClr val="00A097"/>
              </a:solidFill>
            </c:spPr>
            <c:extLst>
              <c:ext xmlns:c16="http://schemas.microsoft.com/office/drawing/2014/chart" uri="{C3380CC4-5D6E-409C-BE32-E72D297353CC}">
                <c16:uniqueId val="{00000233-61F5-407B-959D-D24239F5BB85}"/>
              </c:ext>
            </c:extLst>
          </c:dPt>
          <c:dPt>
            <c:idx val="281"/>
            <c:invertIfNegative val="1"/>
            <c:bubble3D val="0"/>
            <c:spPr>
              <a:solidFill>
                <a:srgbClr val="00A097"/>
              </a:solidFill>
            </c:spPr>
            <c:extLst>
              <c:ext xmlns:c16="http://schemas.microsoft.com/office/drawing/2014/chart" uri="{C3380CC4-5D6E-409C-BE32-E72D297353CC}">
                <c16:uniqueId val="{00000235-61F5-407B-959D-D24239F5BB85}"/>
              </c:ext>
            </c:extLst>
          </c:dPt>
          <c:dPt>
            <c:idx val="282"/>
            <c:invertIfNegative val="1"/>
            <c:bubble3D val="0"/>
            <c:spPr>
              <a:solidFill>
                <a:srgbClr val="00A097"/>
              </a:solidFill>
            </c:spPr>
            <c:extLst>
              <c:ext xmlns:c16="http://schemas.microsoft.com/office/drawing/2014/chart" uri="{C3380CC4-5D6E-409C-BE32-E72D297353CC}">
                <c16:uniqueId val="{00000237-61F5-407B-959D-D24239F5BB85}"/>
              </c:ext>
            </c:extLst>
          </c:dPt>
          <c:dPt>
            <c:idx val="283"/>
            <c:invertIfNegative val="1"/>
            <c:bubble3D val="0"/>
            <c:spPr>
              <a:solidFill>
                <a:srgbClr val="00A097"/>
              </a:solidFill>
            </c:spPr>
            <c:extLst>
              <c:ext xmlns:c16="http://schemas.microsoft.com/office/drawing/2014/chart" uri="{C3380CC4-5D6E-409C-BE32-E72D297353CC}">
                <c16:uniqueId val="{00000239-61F5-407B-959D-D24239F5BB85}"/>
              </c:ext>
            </c:extLst>
          </c:dPt>
          <c:dPt>
            <c:idx val="284"/>
            <c:invertIfNegative val="1"/>
            <c:bubble3D val="0"/>
            <c:spPr>
              <a:solidFill>
                <a:srgbClr val="00A097"/>
              </a:solidFill>
            </c:spPr>
            <c:extLst>
              <c:ext xmlns:c16="http://schemas.microsoft.com/office/drawing/2014/chart" uri="{C3380CC4-5D6E-409C-BE32-E72D297353CC}">
                <c16:uniqueId val="{0000023B-61F5-407B-959D-D24239F5BB85}"/>
              </c:ext>
            </c:extLst>
          </c:dPt>
          <c:dPt>
            <c:idx val="285"/>
            <c:invertIfNegative val="1"/>
            <c:bubble3D val="0"/>
            <c:spPr>
              <a:solidFill>
                <a:srgbClr val="00A097"/>
              </a:solidFill>
            </c:spPr>
            <c:extLst>
              <c:ext xmlns:c16="http://schemas.microsoft.com/office/drawing/2014/chart" uri="{C3380CC4-5D6E-409C-BE32-E72D297353CC}">
                <c16:uniqueId val="{0000023D-61F5-407B-959D-D24239F5BB85}"/>
              </c:ext>
            </c:extLst>
          </c:dPt>
          <c:dPt>
            <c:idx val="286"/>
            <c:invertIfNegative val="1"/>
            <c:bubble3D val="0"/>
            <c:spPr>
              <a:solidFill>
                <a:srgbClr val="00A097"/>
              </a:solidFill>
            </c:spPr>
            <c:extLst>
              <c:ext xmlns:c16="http://schemas.microsoft.com/office/drawing/2014/chart" uri="{C3380CC4-5D6E-409C-BE32-E72D297353CC}">
                <c16:uniqueId val="{0000023F-61F5-407B-959D-D24239F5BB85}"/>
              </c:ext>
            </c:extLst>
          </c:dPt>
          <c:dPt>
            <c:idx val="287"/>
            <c:invertIfNegative val="1"/>
            <c:bubble3D val="0"/>
            <c:spPr>
              <a:solidFill>
                <a:srgbClr val="00A097"/>
              </a:solidFill>
            </c:spPr>
            <c:extLst>
              <c:ext xmlns:c16="http://schemas.microsoft.com/office/drawing/2014/chart" uri="{C3380CC4-5D6E-409C-BE32-E72D297353CC}">
                <c16:uniqueId val="{00000241-61F5-407B-959D-D24239F5BB85}"/>
              </c:ext>
            </c:extLst>
          </c:dPt>
          <c:dPt>
            <c:idx val="288"/>
            <c:invertIfNegative val="1"/>
            <c:bubble3D val="0"/>
            <c:spPr>
              <a:solidFill>
                <a:srgbClr val="00A097"/>
              </a:solidFill>
            </c:spPr>
            <c:extLst>
              <c:ext xmlns:c16="http://schemas.microsoft.com/office/drawing/2014/chart" uri="{C3380CC4-5D6E-409C-BE32-E72D297353CC}">
                <c16:uniqueId val="{00000243-61F5-407B-959D-D24239F5BB85}"/>
              </c:ext>
            </c:extLst>
          </c:dPt>
          <c:dPt>
            <c:idx val="289"/>
            <c:invertIfNegative val="1"/>
            <c:bubble3D val="0"/>
            <c:spPr>
              <a:solidFill>
                <a:srgbClr val="00A097"/>
              </a:solidFill>
            </c:spPr>
            <c:extLst>
              <c:ext xmlns:c16="http://schemas.microsoft.com/office/drawing/2014/chart" uri="{C3380CC4-5D6E-409C-BE32-E72D297353CC}">
                <c16:uniqueId val="{00000245-61F5-407B-959D-D24239F5BB85}"/>
              </c:ext>
            </c:extLst>
          </c:dPt>
          <c:dPt>
            <c:idx val="290"/>
            <c:invertIfNegative val="1"/>
            <c:bubble3D val="0"/>
            <c:spPr>
              <a:solidFill>
                <a:srgbClr val="00A097"/>
              </a:solidFill>
            </c:spPr>
            <c:extLst>
              <c:ext xmlns:c16="http://schemas.microsoft.com/office/drawing/2014/chart" uri="{C3380CC4-5D6E-409C-BE32-E72D297353CC}">
                <c16:uniqueId val="{00000247-61F5-407B-959D-D24239F5BB85}"/>
              </c:ext>
            </c:extLst>
          </c:dPt>
          <c:dPt>
            <c:idx val="291"/>
            <c:invertIfNegative val="1"/>
            <c:bubble3D val="0"/>
            <c:spPr>
              <a:solidFill>
                <a:srgbClr val="00A097"/>
              </a:solidFill>
            </c:spPr>
            <c:extLst>
              <c:ext xmlns:c16="http://schemas.microsoft.com/office/drawing/2014/chart" uri="{C3380CC4-5D6E-409C-BE32-E72D297353CC}">
                <c16:uniqueId val="{00000249-61F5-407B-959D-D24239F5BB85}"/>
              </c:ext>
            </c:extLst>
          </c:dPt>
          <c:dPt>
            <c:idx val="292"/>
            <c:invertIfNegative val="1"/>
            <c:bubble3D val="0"/>
            <c:spPr>
              <a:solidFill>
                <a:srgbClr val="00A097"/>
              </a:solidFill>
            </c:spPr>
            <c:extLst>
              <c:ext xmlns:c16="http://schemas.microsoft.com/office/drawing/2014/chart" uri="{C3380CC4-5D6E-409C-BE32-E72D297353CC}">
                <c16:uniqueId val="{0000024B-61F5-407B-959D-D24239F5BB85}"/>
              </c:ext>
            </c:extLst>
          </c:dPt>
          <c:dPt>
            <c:idx val="293"/>
            <c:invertIfNegative val="1"/>
            <c:bubble3D val="0"/>
            <c:spPr>
              <a:solidFill>
                <a:srgbClr val="00A097"/>
              </a:solidFill>
            </c:spPr>
            <c:extLst>
              <c:ext xmlns:c16="http://schemas.microsoft.com/office/drawing/2014/chart" uri="{C3380CC4-5D6E-409C-BE32-E72D297353CC}">
                <c16:uniqueId val="{0000024D-61F5-407B-959D-D24239F5BB85}"/>
              </c:ext>
            </c:extLst>
          </c:dPt>
          <c:dPt>
            <c:idx val="294"/>
            <c:invertIfNegative val="1"/>
            <c:bubble3D val="0"/>
            <c:spPr>
              <a:solidFill>
                <a:srgbClr val="00A097"/>
              </a:solidFill>
            </c:spPr>
            <c:extLst>
              <c:ext xmlns:c16="http://schemas.microsoft.com/office/drawing/2014/chart" uri="{C3380CC4-5D6E-409C-BE32-E72D297353CC}">
                <c16:uniqueId val="{0000024F-61F5-407B-959D-D24239F5BB85}"/>
              </c:ext>
            </c:extLst>
          </c:dPt>
          <c:dPt>
            <c:idx val="295"/>
            <c:invertIfNegative val="1"/>
            <c:bubble3D val="0"/>
            <c:spPr>
              <a:solidFill>
                <a:srgbClr val="00A097"/>
              </a:solidFill>
            </c:spPr>
            <c:extLst>
              <c:ext xmlns:c16="http://schemas.microsoft.com/office/drawing/2014/chart" uri="{C3380CC4-5D6E-409C-BE32-E72D297353CC}">
                <c16:uniqueId val="{00000251-61F5-407B-959D-D24239F5BB85}"/>
              </c:ext>
            </c:extLst>
          </c:dPt>
          <c:dPt>
            <c:idx val="296"/>
            <c:invertIfNegative val="1"/>
            <c:bubble3D val="0"/>
            <c:spPr>
              <a:solidFill>
                <a:srgbClr val="00A097"/>
              </a:solidFill>
            </c:spPr>
            <c:extLst>
              <c:ext xmlns:c16="http://schemas.microsoft.com/office/drawing/2014/chart" uri="{C3380CC4-5D6E-409C-BE32-E72D297353CC}">
                <c16:uniqueId val="{00000253-61F5-407B-959D-D24239F5BB85}"/>
              </c:ext>
            </c:extLst>
          </c:dPt>
          <c:dPt>
            <c:idx val="297"/>
            <c:invertIfNegative val="1"/>
            <c:bubble3D val="0"/>
            <c:spPr>
              <a:solidFill>
                <a:srgbClr val="00A097"/>
              </a:solidFill>
            </c:spPr>
            <c:extLst>
              <c:ext xmlns:c16="http://schemas.microsoft.com/office/drawing/2014/chart" uri="{C3380CC4-5D6E-409C-BE32-E72D297353CC}">
                <c16:uniqueId val="{00000255-61F5-407B-959D-D24239F5BB85}"/>
              </c:ext>
            </c:extLst>
          </c:dPt>
          <c:dPt>
            <c:idx val="298"/>
            <c:invertIfNegative val="1"/>
            <c:bubble3D val="0"/>
            <c:spPr>
              <a:solidFill>
                <a:srgbClr val="00A097"/>
              </a:solidFill>
            </c:spPr>
            <c:extLst>
              <c:ext xmlns:c16="http://schemas.microsoft.com/office/drawing/2014/chart" uri="{C3380CC4-5D6E-409C-BE32-E72D297353CC}">
                <c16:uniqueId val="{00000257-61F5-407B-959D-D24239F5BB85}"/>
              </c:ext>
            </c:extLst>
          </c:dPt>
          <c:dPt>
            <c:idx val="299"/>
            <c:invertIfNegative val="1"/>
            <c:bubble3D val="0"/>
            <c:spPr>
              <a:solidFill>
                <a:srgbClr val="00A097"/>
              </a:solidFill>
            </c:spPr>
            <c:extLst>
              <c:ext xmlns:c16="http://schemas.microsoft.com/office/drawing/2014/chart" uri="{C3380CC4-5D6E-409C-BE32-E72D297353CC}">
                <c16:uniqueId val="{00000259-61F5-407B-959D-D24239F5BB85}"/>
              </c:ext>
            </c:extLst>
          </c:dPt>
          <c:dPt>
            <c:idx val="300"/>
            <c:invertIfNegative val="1"/>
            <c:bubble3D val="0"/>
            <c:spPr>
              <a:solidFill>
                <a:srgbClr val="00A097"/>
              </a:solidFill>
            </c:spPr>
            <c:extLst>
              <c:ext xmlns:c16="http://schemas.microsoft.com/office/drawing/2014/chart" uri="{C3380CC4-5D6E-409C-BE32-E72D297353CC}">
                <c16:uniqueId val="{0000025B-61F5-407B-959D-D24239F5BB85}"/>
              </c:ext>
            </c:extLst>
          </c:dPt>
          <c:dPt>
            <c:idx val="301"/>
            <c:invertIfNegative val="1"/>
            <c:bubble3D val="0"/>
            <c:spPr>
              <a:solidFill>
                <a:srgbClr val="00A097"/>
              </a:solidFill>
            </c:spPr>
            <c:extLst>
              <c:ext xmlns:c16="http://schemas.microsoft.com/office/drawing/2014/chart" uri="{C3380CC4-5D6E-409C-BE32-E72D297353CC}">
                <c16:uniqueId val="{0000025D-61F5-407B-959D-D24239F5BB85}"/>
              </c:ext>
            </c:extLst>
          </c:dPt>
          <c:dPt>
            <c:idx val="302"/>
            <c:invertIfNegative val="1"/>
            <c:bubble3D val="0"/>
            <c:spPr>
              <a:solidFill>
                <a:srgbClr val="00A097"/>
              </a:solidFill>
            </c:spPr>
            <c:extLst>
              <c:ext xmlns:c16="http://schemas.microsoft.com/office/drawing/2014/chart" uri="{C3380CC4-5D6E-409C-BE32-E72D297353CC}">
                <c16:uniqueId val="{0000025F-61F5-407B-959D-D24239F5BB85}"/>
              </c:ext>
            </c:extLst>
          </c:dPt>
          <c:dPt>
            <c:idx val="303"/>
            <c:invertIfNegative val="1"/>
            <c:bubble3D val="0"/>
            <c:spPr>
              <a:solidFill>
                <a:srgbClr val="00A097"/>
              </a:solidFill>
            </c:spPr>
            <c:extLst>
              <c:ext xmlns:c16="http://schemas.microsoft.com/office/drawing/2014/chart" uri="{C3380CC4-5D6E-409C-BE32-E72D297353CC}">
                <c16:uniqueId val="{00000261-61F5-407B-959D-D24239F5BB85}"/>
              </c:ext>
            </c:extLst>
          </c:dPt>
          <c:dPt>
            <c:idx val="304"/>
            <c:invertIfNegative val="1"/>
            <c:bubble3D val="0"/>
            <c:spPr>
              <a:solidFill>
                <a:srgbClr val="00A097"/>
              </a:solidFill>
            </c:spPr>
            <c:extLst>
              <c:ext xmlns:c16="http://schemas.microsoft.com/office/drawing/2014/chart" uri="{C3380CC4-5D6E-409C-BE32-E72D297353CC}">
                <c16:uniqueId val="{00000263-61F5-407B-959D-D24239F5BB85}"/>
              </c:ext>
            </c:extLst>
          </c:dPt>
          <c:dPt>
            <c:idx val="305"/>
            <c:invertIfNegative val="1"/>
            <c:bubble3D val="0"/>
            <c:spPr>
              <a:solidFill>
                <a:srgbClr val="00A097"/>
              </a:solidFill>
            </c:spPr>
            <c:extLst>
              <c:ext xmlns:c16="http://schemas.microsoft.com/office/drawing/2014/chart" uri="{C3380CC4-5D6E-409C-BE32-E72D297353CC}">
                <c16:uniqueId val="{00000265-61F5-407B-959D-D24239F5BB85}"/>
              </c:ext>
            </c:extLst>
          </c:dPt>
          <c:dPt>
            <c:idx val="306"/>
            <c:invertIfNegative val="1"/>
            <c:bubble3D val="0"/>
            <c:spPr>
              <a:solidFill>
                <a:srgbClr val="00A097"/>
              </a:solidFill>
            </c:spPr>
            <c:extLst>
              <c:ext xmlns:c16="http://schemas.microsoft.com/office/drawing/2014/chart" uri="{C3380CC4-5D6E-409C-BE32-E72D297353CC}">
                <c16:uniqueId val="{00000267-61F5-407B-959D-D24239F5BB85}"/>
              </c:ext>
            </c:extLst>
          </c:dPt>
          <c:dPt>
            <c:idx val="307"/>
            <c:invertIfNegative val="1"/>
            <c:bubble3D val="0"/>
            <c:spPr>
              <a:solidFill>
                <a:srgbClr val="00A097"/>
              </a:solidFill>
            </c:spPr>
            <c:extLst>
              <c:ext xmlns:c16="http://schemas.microsoft.com/office/drawing/2014/chart" uri="{C3380CC4-5D6E-409C-BE32-E72D297353CC}">
                <c16:uniqueId val="{00000269-61F5-407B-959D-D24239F5BB85}"/>
              </c:ext>
            </c:extLst>
          </c:dPt>
          <c:dPt>
            <c:idx val="308"/>
            <c:invertIfNegative val="1"/>
            <c:bubble3D val="0"/>
            <c:spPr>
              <a:solidFill>
                <a:srgbClr val="00A097"/>
              </a:solidFill>
            </c:spPr>
            <c:extLst>
              <c:ext xmlns:c16="http://schemas.microsoft.com/office/drawing/2014/chart" uri="{C3380CC4-5D6E-409C-BE32-E72D297353CC}">
                <c16:uniqueId val="{0000026B-61F5-407B-959D-D24239F5BB85}"/>
              </c:ext>
            </c:extLst>
          </c:dPt>
          <c:dPt>
            <c:idx val="309"/>
            <c:invertIfNegative val="1"/>
            <c:bubble3D val="0"/>
            <c:spPr>
              <a:solidFill>
                <a:srgbClr val="00A097"/>
              </a:solidFill>
            </c:spPr>
            <c:extLst>
              <c:ext xmlns:c16="http://schemas.microsoft.com/office/drawing/2014/chart" uri="{C3380CC4-5D6E-409C-BE32-E72D297353CC}">
                <c16:uniqueId val="{0000026D-61F5-407B-959D-D24239F5BB85}"/>
              </c:ext>
            </c:extLst>
          </c:dPt>
          <c:dPt>
            <c:idx val="310"/>
            <c:invertIfNegative val="1"/>
            <c:bubble3D val="0"/>
            <c:spPr>
              <a:solidFill>
                <a:srgbClr val="00A097"/>
              </a:solidFill>
            </c:spPr>
            <c:extLst>
              <c:ext xmlns:c16="http://schemas.microsoft.com/office/drawing/2014/chart" uri="{C3380CC4-5D6E-409C-BE32-E72D297353CC}">
                <c16:uniqueId val="{0000026F-61F5-407B-959D-D24239F5BB85}"/>
              </c:ext>
            </c:extLst>
          </c:dPt>
          <c:dPt>
            <c:idx val="311"/>
            <c:invertIfNegative val="1"/>
            <c:bubble3D val="0"/>
            <c:spPr>
              <a:solidFill>
                <a:srgbClr val="00A097"/>
              </a:solidFill>
            </c:spPr>
            <c:extLst>
              <c:ext xmlns:c16="http://schemas.microsoft.com/office/drawing/2014/chart" uri="{C3380CC4-5D6E-409C-BE32-E72D297353CC}">
                <c16:uniqueId val="{00000271-61F5-407B-959D-D24239F5BB85}"/>
              </c:ext>
            </c:extLst>
          </c:dPt>
          <c:dPt>
            <c:idx val="312"/>
            <c:invertIfNegative val="1"/>
            <c:bubble3D val="0"/>
            <c:spPr>
              <a:solidFill>
                <a:srgbClr val="00A097"/>
              </a:solidFill>
            </c:spPr>
            <c:extLst>
              <c:ext xmlns:c16="http://schemas.microsoft.com/office/drawing/2014/chart" uri="{C3380CC4-5D6E-409C-BE32-E72D297353CC}">
                <c16:uniqueId val="{00000273-61F5-407B-959D-D24239F5BB85}"/>
              </c:ext>
            </c:extLst>
          </c:dPt>
          <c:dPt>
            <c:idx val="313"/>
            <c:invertIfNegative val="1"/>
            <c:bubble3D val="0"/>
            <c:spPr>
              <a:solidFill>
                <a:srgbClr val="00A097"/>
              </a:solidFill>
            </c:spPr>
            <c:extLst>
              <c:ext xmlns:c16="http://schemas.microsoft.com/office/drawing/2014/chart" uri="{C3380CC4-5D6E-409C-BE32-E72D297353CC}">
                <c16:uniqueId val="{00000275-61F5-407B-959D-D24239F5BB85}"/>
              </c:ext>
            </c:extLst>
          </c:dPt>
          <c:dPt>
            <c:idx val="314"/>
            <c:invertIfNegative val="1"/>
            <c:bubble3D val="0"/>
            <c:spPr>
              <a:solidFill>
                <a:srgbClr val="00A097"/>
              </a:solidFill>
            </c:spPr>
            <c:extLst>
              <c:ext xmlns:c16="http://schemas.microsoft.com/office/drawing/2014/chart" uri="{C3380CC4-5D6E-409C-BE32-E72D297353CC}">
                <c16:uniqueId val="{00000277-61F5-407B-959D-D24239F5BB85}"/>
              </c:ext>
            </c:extLst>
          </c:dPt>
          <c:dPt>
            <c:idx val="315"/>
            <c:invertIfNegative val="1"/>
            <c:bubble3D val="0"/>
            <c:spPr>
              <a:solidFill>
                <a:srgbClr val="00A097"/>
              </a:solidFill>
            </c:spPr>
            <c:extLst>
              <c:ext xmlns:c16="http://schemas.microsoft.com/office/drawing/2014/chart" uri="{C3380CC4-5D6E-409C-BE32-E72D297353CC}">
                <c16:uniqueId val="{00000279-61F5-407B-959D-D24239F5BB85}"/>
              </c:ext>
            </c:extLst>
          </c:dPt>
          <c:dPt>
            <c:idx val="316"/>
            <c:invertIfNegative val="1"/>
            <c:bubble3D val="0"/>
            <c:spPr>
              <a:solidFill>
                <a:srgbClr val="00A097"/>
              </a:solidFill>
            </c:spPr>
            <c:extLst>
              <c:ext xmlns:c16="http://schemas.microsoft.com/office/drawing/2014/chart" uri="{C3380CC4-5D6E-409C-BE32-E72D297353CC}">
                <c16:uniqueId val="{0000027B-61F5-407B-959D-D24239F5BB85}"/>
              </c:ext>
            </c:extLst>
          </c:dPt>
          <c:dPt>
            <c:idx val="317"/>
            <c:invertIfNegative val="1"/>
            <c:bubble3D val="0"/>
            <c:spPr>
              <a:solidFill>
                <a:srgbClr val="00A097"/>
              </a:solidFill>
            </c:spPr>
            <c:extLst>
              <c:ext xmlns:c16="http://schemas.microsoft.com/office/drawing/2014/chart" uri="{C3380CC4-5D6E-409C-BE32-E72D297353CC}">
                <c16:uniqueId val="{0000027D-61F5-407B-959D-D24239F5BB85}"/>
              </c:ext>
            </c:extLst>
          </c:dPt>
          <c:dPt>
            <c:idx val="318"/>
            <c:invertIfNegative val="1"/>
            <c:bubble3D val="0"/>
            <c:spPr>
              <a:solidFill>
                <a:srgbClr val="7ECAC4"/>
              </a:solidFill>
            </c:spPr>
            <c:extLst>
              <c:ext xmlns:c16="http://schemas.microsoft.com/office/drawing/2014/chart" uri="{C3380CC4-5D6E-409C-BE32-E72D297353CC}">
                <c16:uniqueId val="{0000027F-61F5-407B-959D-D24239F5BB85}"/>
              </c:ext>
            </c:extLst>
          </c:dPt>
          <c:dPt>
            <c:idx val="319"/>
            <c:invertIfNegative val="1"/>
            <c:bubble3D val="0"/>
            <c:spPr>
              <a:solidFill>
                <a:srgbClr val="7ECAC4"/>
              </a:solidFill>
            </c:spPr>
            <c:extLst>
              <c:ext xmlns:c16="http://schemas.microsoft.com/office/drawing/2014/chart" uri="{C3380CC4-5D6E-409C-BE32-E72D297353CC}">
                <c16:uniqueId val="{00000281-61F5-407B-959D-D24239F5BB85}"/>
              </c:ext>
            </c:extLst>
          </c:dPt>
          <c:dPt>
            <c:idx val="320"/>
            <c:invertIfNegative val="1"/>
            <c:bubble3D val="0"/>
            <c:spPr>
              <a:solidFill>
                <a:srgbClr val="7ECAC4"/>
              </a:solidFill>
            </c:spPr>
            <c:extLst>
              <c:ext xmlns:c16="http://schemas.microsoft.com/office/drawing/2014/chart" uri="{C3380CC4-5D6E-409C-BE32-E72D297353CC}">
                <c16:uniqueId val="{00000283-61F5-407B-959D-D24239F5BB85}"/>
              </c:ext>
            </c:extLst>
          </c:dPt>
          <c:dPt>
            <c:idx val="321"/>
            <c:invertIfNegative val="1"/>
            <c:bubble3D val="0"/>
            <c:spPr>
              <a:solidFill>
                <a:srgbClr val="7ECAC4"/>
              </a:solidFill>
            </c:spPr>
            <c:extLst>
              <c:ext xmlns:c16="http://schemas.microsoft.com/office/drawing/2014/chart" uri="{C3380CC4-5D6E-409C-BE32-E72D297353CC}">
                <c16:uniqueId val="{00000285-61F5-407B-959D-D24239F5BB85}"/>
              </c:ext>
            </c:extLst>
          </c:dPt>
          <c:dPt>
            <c:idx val="322"/>
            <c:invertIfNegative val="1"/>
            <c:bubble3D val="0"/>
            <c:spPr>
              <a:solidFill>
                <a:srgbClr val="7ECAC4"/>
              </a:solidFill>
            </c:spPr>
            <c:extLst>
              <c:ext xmlns:c16="http://schemas.microsoft.com/office/drawing/2014/chart" uri="{C3380CC4-5D6E-409C-BE32-E72D297353CC}">
                <c16:uniqueId val="{00000287-61F5-407B-959D-D24239F5BB85}"/>
              </c:ext>
            </c:extLst>
          </c:dPt>
          <c:dPt>
            <c:idx val="323"/>
            <c:invertIfNegative val="1"/>
            <c:bubble3D val="0"/>
            <c:spPr>
              <a:solidFill>
                <a:srgbClr val="7ECAC4"/>
              </a:solidFill>
            </c:spPr>
            <c:extLst>
              <c:ext xmlns:c16="http://schemas.microsoft.com/office/drawing/2014/chart" uri="{C3380CC4-5D6E-409C-BE32-E72D297353CC}">
                <c16:uniqueId val="{00000289-61F5-407B-959D-D24239F5BB85}"/>
              </c:ext>
            </c:extLst>
          </c:dPt>
          <c:dPt>
            <c:idx val="324"/>
            <c:invertIfNegative val="1"/>
            <c:bubble3D val="0"/>
            <c:spPr>
              <a:solidFill>
                <a:srgbClr val="7ECAC4"/>
              </a:solidFill>
            </c:spPr>
            <c:extLst>
              <c:ext xmlns:c16="http://schemas.microsoft.com/office/drawing/2014/chart" uri="{C3380CC4-5D6E-409C-BE32-E72D297353CC}">
                <c16:uniqueId val="{0000028B-61F5-407B-959D-D24239F5BB85}"/>
              </c:ext>
            </c:extLst>
          </c:dPt>
          <c:dPt>
            <c:idx val="325"/>
            <c:invertIfNegative val="1"/>
            <c:bubble3D val="0"/>
            <c:spPr>
              <a:solidFill>
                <a:srgbClr val="7ECAC4"/>
              </a:solidFill>
            </c:spPr>
            <c:extLst>
              <c:ext xmlns:c16="http://schemas.microsoft.com/office/drawing/2014/chart" uri="{C3380CC4-5D6E-409C-BE32-E72D297353CC}">
                <c16:uniqueId val="{0000028D-61F5-407B-959D-D24239F5BB85}"/>
              </c:ext>
            </c:extLst>
          </c:dPt>
          <c:dPt>
            <c:idx val="326"/>
            <c:invertIfNegative val="1"/>
            <c:bubble3D val="0"/>
            <c:spPr>
              <a:solidFill>
                <a:srgbClr val="7ECAC4"/>
              </a:solidFill>
            </c:spPr>
            <c:extLst>
              <c:ext xmlns:c16="http://schemas.microsoft.com/office/drawing/2014/chart" uri="{C3380CC4-5D6E-409C-BE32-E72D297353CC}">
                <c16:uniqueId val="{0000028F-61F5-407B-959D-D24239F5BB85}"/>
              </c:ext>
            </c:extLst>
          </c:dPt>
          <c:dPt>
            <c:idx val="327"/>
            <c:invertIfNegative val="1"/>
            <c:bubble3D val="0"/>
            <c:spPr>
              <a:solidFill>
                <a:srgbClr val="7ECAC4"/>
              </a:solidFill>
            </c:spPr>
            <c:extLst>
              <c:ext xmlns:c16="http://schemas.microsoft.com/office/drawing/2014/chart" uri="{C3380CC4-5D6E-409C-BE32-E72D297353CC}">
                <c16:uniqueId val="{00000291-61F5-407B-959D-D24239F5BB85}"/>
              </c:ext>
            </c:extLst>
          </c:dPt>
          <c:dPt>
            <c:idx val="328"/>
            <c:invertIfNegative val="1"/>
            <c:bubble3D val="0"/>
            <c:spPr>
              <a:solidFill>
                <a:srgbClr val="7ECAC4"/>
              </a:solidFill>
            </c:spPr>
            <c:extLst>
              <c:ext xmlns:c16="http://schemas.microsoft.com/office/drawing/2014/chart" uri="{C3380CC4-5D6E-409C-BE32-E72D297353CC}">
                <c16:uniqueId val="{00000293-61F5-407B-959D-D24239F5BB85}"/>
              </c:ext>
            </c:extLst>
          </c:dPt>
          <c:dPt>
            <c:idx val="329"/>
            <c:invertIfNegative val="1"/>
            <c:bubble3D val="0"/>
            <c:spPr>
              <a:solidFill>
                <a:srgbClr val="7ECAC4"/>
              </a:solidFill>
            </c:spPr>
            <c:extLst>
              <c:ext xmlns:c16="http://schemas.microsoft.com/office/drawing/2014/chart" uri="{C3380CC4-5D6E-409C-BE32-E72D297353CC}">
                <c16:uniqueId val="{00000295-61F5-407B-959D-D24239F5BB85}"/>
              </c:ext>
            </c:extLst>
          </c:dPt>
          <c:dPt>
            <c:idx val="330"/>
            <c:invertIfNegative val="1"/>
            <c:bubble3D val="0"/>
            <c:spPr>
              <a:solidFill>
                <a:srgbClr val="7ECAC4"/>
              </a:solidFill>
            </c:spPr>
            <c:extLst>
              <c:ext xmlns:c16="http://schemas.microsoft.com/office/drawing/2014/chart" uri="{C3380CC4-5D6E-409C-BE32-E72D297353CC}">
                <c16:uniqueId val="{00000297-61F5-407B-959D-D24239F5BB85}"/>
              </c:ext>
            </c:extLst>
          </c:dPt>
          <c:dPt>
            <c:idx val="331"/>
            <c:invertIfNegative val="1"/>
            <c:bubble3D val="0"/>
            <c:spPr>
              <a:solidFill>
                <a:srgbClr val="7ECAC4"/>
              </a:solidFill>
            </c:spPr>
            <c:extLst>
              <c:ext xmlns:c16="http://schemas.microsoft.com/office/drawing/2014/chart" uri="{C3380CC4-5D6E-409C-BE32-E72D297353CC}">
                <c16:uniqueId val="{00000299-61F5-407B-959D-D24239F5BB85}"/>
              </c:ext>
            </c:extLst>
          </c:dPt>
          <c:dPt>
            <c:idx val="332"/>
            <c:invertIfNegative val="1"/>
            <c:bubble3D val="0"/>
            <c:spPr>
              <a:solidFill>
                <a:srgbClr val="7ECAC4"/>
              </a:solidFill>
            </c:spPr>
            <c:extLst>
              <c:ext xmlns:c16="http://schemas.microsoft.com/office/drawing/2014/chart" uri="{C3380CC4-5D6E-409C-BE32-E72D297353CC}">
                <c16:uniqueId val="{0000029B-61F5-407B-959D-D24239F5BB85}"/>
              </c:ext>
            </c:extLst>
          </c:dPt>
          <c:dPt>
            <c:idx val="333"/>
            <c:invertIfNegative val="1"/>
            <c:bubble3D val="0"/>
            <c:spPr>
              <a:solidFill>
                <a:srgbClr val="7ECAC4"/>
              </a:solidFill>
            </c:spPr>
            <c:extLst>
              <c:ext xmlns:c16="http://schemas.microsoft.com/office/drawing/2014/chart" uri="{C3380CC4-5D6E-409C-BE32-E72D297353CC}">
                <c16:uniqueId val="{0000029D-61F5-407B-959D-D24239F5BB85}"/>
              </c:ext>
            </c:extLst>
          </c:dPt>
          <c:dPt>
            <c:idx val="334"/>
            <c:invertIfNegative val="1"/>
            <c:bubble3D val="0"/>
            <c:spPr>
              <a:solidFill>
                <a:srgbClr val="7ECAC4"/>
              </a:solidFill>
            </c:spPr>
            <c:extLst>
              <c:ext xmlns:c16="http://schemas.microsoft.com/office/drawing/2014/chart" uri="{C3380CC4-5D6E-409C-BE32-E72D297353CC}">
                <c16:uniqueId val="{0000029F-61F5-407B-959D-D24239F5BB85}"/>
              </c:ext>
            </c:extLst>
          </c:dPt>
          <c:dPt>
            <c:idx val="335"/>
            <c:invertIfNegative val="1"/>
            <c:bubble3D val="0"/>
            <c:spPr>
              <a:solidFill>
                <a:srgbClr val="7ECAC4"/>
              </a:solidFill>
            </c:spPr>
            <c:extLst>
              <c:ext xmlns:c16="http://schemas.microsoft.com/office/drawing/2014/chart" uri="{C3380CC4-5D6E-409C-BE32-E72D297353CC}">
                <c16:uniqueId val="{000002A1-61F5-407B-959D-D24239F5BB85}"/>
              </c:ext>
            </c:extLst>
          </c:dPt>
          <c:dPt>
            <c:idx val="336"/>
            <c:invertIfNegative val="1"/>
            <c:bubble3D val="0"/>
            <c:spPr>
              <a:solidFill>
                <a:srgbClr val="7ECAC4"/>
              </a:solidFill>
            </c:spPr>
            <c:extLst>
              <c:ext xmlns:c16="http://schemas.microsoft.com/office/drawing/2014/chart" uri="{C3380CC4-5D6E-409C-BE32-E72D297353CC}">
                <c16:uniqueId val="{000002A3-61F5-407B-959D-D24239F5BB85}"/>
              </c:ext>
            </c:extLst>
          </c:dPt>
          <c:dPt>
            <c:idx val="337"/>
            <c:invertIfNegative val="1"/>
            <c:bubble3D val="0"/>
            <c:spPr>
              <a:solidFill>
                <a:srgbClr val="7ECAC4"/>
              </a:solidFill>
            </c:spPr>
            <c:extLst>
              <c:ext xmlns:c16="http://schemas.microsoft.com/office/drawing/2014/chart" uri="{C3380CC4-5D6E-409C-BE32-E72D297353CC}">
                <c16:uniqueId val="{000002A5-61F5-407B-959D-D24239F5BB85}"/>
              </c:ext>
            </c:extLst>
          </c:dPt>
          <c:dPt>
            <c:idx val="338"/>
            <c:invertIfNegative val="1"/>
            <c:bubble3D val="0"/>
            <c:spPr>
              <a:solidFill>
                <a:srgbClr val="7ECAC4"/>
              </a:solidFill>
            </c:spPr>
            <c:extLst>
              <c:ext xmlns:c16="http://schemas.microsoft.com/office/drawing/2014/chart" uri="{C3380CC4-5D6E-409C-BE32-E72D297353CC}">
                <c16:uniqueId val="{000002A7-61F5-407B-959D-D24239F5BB85}"/>
              </c:ext>
            </c:extLst>
          </c:dPt>
          <c:dPt>
            <c:idx val="339"/>
            <c:invertIfNegative val="1"/>
            <c:bubble3D val="0"/>
            <c:spPr>
              <a:solidFill>
                <a:srgbClr val="7ECAC4"/>
              </a:solidFill>
            </c:spPr>
            <c:extLst>
              <c:ext xmlns:c16="http://schemas.microsoft.com/office/drawing/2014/chart" uri="{C3380CC4-5D6E-409C-BE32-E72D297353CC}">
                <c16:uniqueId val="{000002A9-61F5-407B-959D-D24239F5BB85}"/>
              </c:ext>
            </c:extLst>
          </c:dPt>
          <c:dPt>
            <c:idx val="340"/>
            <c:invertIfNegative val="1"/>
            <c:bubble3D val="0"/>
            <c:spPr>
              <a:solidFill>
                <a:srgbClr val="7ECAC4"/>
              </a:solidFill>
            </c:spPr>
            <c:extLst>
              <c:ext xmlns:c16="http://schemas.microsoft.com/office/drawing/2014/chart" uri="{C3380CC4-5D6E-409C-BE32-E72D297353CC}">
                <c16:uniqueId val="{000002AB-61F5-407B-959D-D24239F5BB85}"/>
              </c:ext>
            </c:extLst>
          </c:dPt>
          <c:dPt>
            <c:idx val="341"/>
            <c:invertIfNegative val="1"/>
            <c:bubble3D val="0"/>
            <c:spPr>
              <a:solidFill>
                <a:srgbClr val="7ECAC4"/>
              </a:solidFill>
            </c:spPr>
            <c:extLst>
              <c:ext xmlns:c16="http://schemas.microsoft.com/office/drawing/2014/chart" uri="{C3380CC4-5D6E-409C-BE32-E72D297353CC}">
                <c16:uniqueId val="{000002AD-61F5-407B-959D-D24239F5BB85}"/>
              </c:ext>
            </c:extLst>
          </c:dPt>
          <c:dPt>
            <c:idx val="342"/>
            <c:invertIfNegative val="1"/>
            <c:bubble3D val="0"/>
            <c:spPr>
              <a:solidFill>
                <a:srgbClr val="7ECAC4"/>
              </a:solidFill>
            </c:spPr>
            <c:extLst>
              <c:ext xmlns:c16="http://schemas.microsoft.com/office/drawing/2014/chart" uri="{C3380CC4-5D6E-409C-BE32-E72D297353CC}">
                <c16:uniqueId val="{000002AF-61F5-407B-959D-D24239F5BB85}"/>
              </c:ext>
            </c:extLst>
          </c:dPt>
          <c:dPt>
            <c:idx val="343"/>
            <c:invertIfNegative val="1"/>
            <c:bubble3D val="0"/>
            <c:spPr>
              <a:solidFill>
                <a:srgbClr val="7ECAC4"/>
              </a:solidFill>
            </c:spPr>
            <c:extLst>
              <c:ext xmlns:c16="http://schemas.microsoft.com/office/drawing/2014/chart" uri="{C3380CC4-5D6E-409C-BE32-E72D297353CC}">
                <c16:uniqueId val="{000002B1-61F5-407B-959D-D24239F5BB85}"/>
              </c:ext>
            </c:extLst>
          </c:dPt>
          <c:dPt>
            <c:idx val="344"/>
            <c:invertIfNegative val="1"/>
            <c:bubble3D val="0"/>
            <c:spPr>
              <a:solidFill>
                <a:srgbClr val="7ECAC4"/>
              </a:solidFill>
            </c:spPr>
            <c:extLst>
              <c:ext xmlns:c16="http://schemas.microsoft.com/office/drawing/2014/chart" uri="{C3380CC4-5D6E-409C-BE32-E72D297353CC}">
                <c16:uniqueId val="{000002B3-61F5-407B-959D-D24239F5BB85}"/>
              </c:ext>
            </c:extLst>
          </c:dPt>
          <c:dPt>
            <c:idx val="345"/>
            <c:invertIfNegative val="1"/>
            <c:bubble3D val="0"/>
            <c:spPr>
              <a:solidFill>
                <a:srgbClr val="7ECAC4"/>
              </a:solidFill>
            </c:spPr>
            <c:extLst>
              <c:ext xmlns:c16="http://schemas.microsoft.com/office/drawing/2014/chart" uri="{C3380CC4-5D6E-409C-BE32-E72D297353CC}">
                <c16:uniqueId val="{000002B5-61F5-407B-959D-D24239F5BB85}"/>
              </c:ext>
            </c:extLst>
          </c:dPt>
          <c:dPt>
            <c:idx val="346"/>
            <c:invertIfNegative val="1"/>
            <c:bubble3D val="0"/>
            <c:spPr>
              <a:solidFill>
                <a:srgbClr val="7ECAC4"/>
              </a:solidFill>
            </c:spPr>
            <c:extLst>
              <c:ext xmlns:c16="http://schemas.microsoft.com/office/drawing/2014/chart" uri="{C3380CC4-5D6E-409C-BE32-E72D297353CC}">
                <c16:uniqueId val="{000002B7-61F5-407B-959D-D24239F5BB85}"/>
              </c:ext>
            </c:extLst>
          </c:dPt>
          <c:dPt>
            <c:idx val="347"/>
            <c:invertIfNegative val="1"/>
            <c:bubble3D val="0"/>
            <c:spPr>
              <a:solidFill>
                <a:srgbClr val="7ECAC4"/>
              </a:solidFill>
            </c:spPr>
            <c:extLst>
              <c:ext xmlns:c16="http://schemas.microsoft.com/office/drawing/2014/chart" uri="{C3380CC4-5D6E-409C-BE32-E72D297353CC}">
                <c16:uniqueId val="{000002B9-61F5-407B-959D-D24239F5BB85}"/>
              </c:ext>
            </c:extLst>
          </c:dPt>
          <c:dPt>
            <c:idx val="348"/>
            <c:invertIfNegative val="1"/>
            <c:bubble3D val="0"/>
            <c:spPr>
              <a:solidFill>
                <a:srgbClr val="7ECAC4"/>
              </a:solidFill>
            </c:spPr>
            <c:extLst>
              <c:ext xmlns:c16="http://schemas.microsoft.com/office/drawing/2014/chart" uri="{C3380CC4-5D6E-409C-BE32-E72D297353CC}">
                <c16:uniqueId val="{000002BB-61F5-407B-959D-D24239F5BB85}"/>
              </c:ext>
            </c:extLst>
          </c:dPt>
          <c:dPt>
            <c:idx val="349"/>
            <c:invertIfNegative val="1"/>
            <c:bubble3D val="0"/>
            <c:spPr>
              <a:solidFill>
                <a:srgbClr val="7ECAC4"/>
              </a:solidFill>
            </c:spPr>
            <c:extLst>
              <c:ext xmlns:c16="http://schemas.microsoft.com/office/drawing/2014/chart" uri="{C3380CC4-5D6E-409C-BE32-E72D297353CC}">
                <c16:uniqueId val="{000002BD-61F5-407B-959D-D24239F5BB85}"/>
              </c:ext>
            </c:extLst>
          </c:dPt>
          <c:dPt>
            <c:idx val="350"/>
            <c:invertIfNegative val="1"/>
            <c:bubble3D val="0"/>
            <c:spPr>
              <a:solidFill>
                <a:srgbClr val="7ECAC4"/>
              </a:solidFill>
            </c:spPr>
            <c:extLst>
              <c:ext xmlns:c16="http://schemas.microsoft.com/office/drawing/2014/chart" uri="{C3380CC4-5D6E-409C-BE32-E72D297353CC}">
                <c16:uniqueId val="{000002BF-61F5-407B-959D-D24239F5BB85}"/>
              </c:ext>
            </c:extLst>
          </c:dPt>
          <c:dPt>
            <c:idx val="351"/>
            <c:invertIfNegative val="1"/>
            <c:bubble3D val="0"/>
            <c:spPr>
              <a:solidFill>
                <a:srgbClr val="7ECAC4"/>
              </a:solidFill>
            </c:spPr>
            <c:extLst>
              <c:ext xmlns:c16="http://schemas.microsoft.com/office/drawing/2014/chart" uri="{C3380CC4-5D6E-409C-BE32-E72D297353CC}">
                <c16:uniqueId val="{000002C1-61F5-407B-959D-D24239F5BB85}"/>
              </c:ext>
            </c:extLst>
          </c:dPt>
          <c:dPt>
            <c:idx val="352"/>
            <c:invertIfNegative val="1"/>
            <c:bubble3D val="0"/>
            <c:spPr>
              <a:solidFill>
                <a:srgbClr val="7ECAC4"/>
              </a:solidFill>
            </c:spPr>
            <c:extLst>
              <c:ext xmlns:c16="http://schemas.microsoft.com/office/drawing/2014/chart" uri="{C3380CC4-5D6E-409C-BE32-E72D297353CC}">
                <c16:uniqueId val="{000002C3-61F5-407B-959D-D24239F5BB85}"/>
              </c:ext>
            </c:extLst>
          </c:dPt>
          <c:dPt>
            <c:idx val="353"/>
            <c:invertIfNegative val="1"/>
            <c:bubble3D val="0"/>
            <c:spPr>
              <a:solidFill>
                <a:srgbClr val="7ECAC4"/>
              </a:solidFill>
            </c:spPr>
            <c:extLst>
              <c:ext xmlns:c16="http://schemas.microsoft.com/office/drawing/2014/chart" uri="{C3380CC4-5D6E-409C-BE32-E72D297353CC}">
                <c16:uniqueId val="{000002C5-61F5-407B-959D-D24239F5BB85}"/>
              </c:ext>
            </c:extLst>
          </c:dPt>
          <c:dPt>
            <c:idx val="354"/>
            <c:invertIfNegative val="1"/>
            <c:bubble3D val="0"/>
            <c:spPr>
              <a:solidFill>
                <a:srgbClr val="7ECAC4"/>
              </a:solidFill>
            </c:spPr>
            <c:extLst>
              <c:ext xmlns:c16="http://schemas.microsoft.com/office/drawing/2014/chart" uri="{C3380CC4-5D6E-409C-BE32-E72D297353CC}">
                <c16:uniqueId val="{000002C7-61F5-407B-959D-D24239F5BB85}"/>
              </c:ext>
            </c:extLst>
          </c:dPt>
          <c:dPt>
            <c:idx val="355"/>
            <c:invertIfNegative val="1"/>
            <c:bubble3D val="0"/>
            <c:spPr>
              <a:solidFill>
                <a:srgbClr val="7ECAC4"/>
              </a:solidFill>
            </c:spPr>
            <c:extLst>
              <c:ext xmlns:c16="http://schemas.microsoft.com/office/drawing/2014/chart" uri="{C3380CC4-5D6E-409C-BE32-E72D297353CC}">
                <c16:uniqueId val="{000002C9-61F5-407B-959D-D24239F5BB85}"/>
              </c:ext>
            </c:extLst>
          </c:dPt>
          <c:dPt>
            <c:idx val="356"/>
            <c:invertIfNegative val="1"/>
            <c:bubble3D val="0"/>
            <c:spPr>
              <a:solidFill>
                <a:srgbClr val="7ECAC4"/>
              </a:solidFill>
            </c:spPr>
            <c:extLst>
              <c:ext xmlns:c16="http://schemas.microsoft.com/office/drawing/2014/chart" uri="{C3380CC4-5D6E-409C-BE32-E72D297353CC}">
                <c16:uniqueId val="{000002CB-61F5-407B-959D-D24239F5BB85}"/>
              </c:ext>
            </c:extLst>
          </c:dPt>
          <c:dPt>
            <c:idx val="357"/>
            <c:invertIfNegative val="1"/>
            <c:bubble3D val="0"/>
            <c:spPr>
              <a:solidFill>
                <a:srgbClr val="7ECAC4"/>
              </a:solidFill>
            </c:spPr>
            <c:extLst>
              <c:ext xmlns:c16="http://schemas.microsoft.com/office/drawing/2014/chart" uri="{C3380CC4-5D6E-409C-BE32-E72D297353CC}">
                <c16:uniqueId val="{000002CD-61F5-407B-959D-D24239F5BB85}"/>
              </c:ext>
            </c:extLst>
          </c:dPt>
          <c:dPt>
            <c:idx val="358"/>
            <c:invertIfNegative val="1"/>
            <c:bubble3D val="0"/>
            <c:spPr>
              <a:solidFill>
                <a:srgbClr val="7ECAC4"/>
              </a:solidFill>
            </c:spPr>
            <c:extLst>
              <c:ext xmlns:c16="http://schemas.microsoft.com/office/drawing/2014/chart" uri="{C3380CC4-5D6E-409C-BE32-E72D297353CC}">
                <c16:uniqueId val="{000002CF-61F5-407B-959D-D24239F5BB85}"/>
              </c:ext>
            </c:extLst>
          </c:dPt>
          <c:dPt>
            <c:idx val="359"/>
            <c:invertIfNegative val="1"/>
            <c:bubble3D val="0"/>
            <c:spPr>
              <a:solidFill>
                <a:srgbClr val="7ECAC4"/>
              </a:solidFill>
            </c:spPr>
            <c:extLst>
              <c:ext xmlns:c16="http://schemas.microsoft.com/office/drawing/2014/chart" uri="{C3380CC4-5D6E-409C-BE32-E72D297353CC}">
                <c16:uniqueId val="{000002D1-61F5-407B-959D-D24239F5BB85}"/>
              </c:ext>
            </c:extLst>
          </c:dPt>
          <c:dPt>
            <c:idx val="360"/>
            <c:invertIfNegative val="1"/>
            <c:bubble3D val="0"/>
            <c:spPr>
              <a:solidFill>
                <a:srgbClr val="7ECAC4"/>
              </a:solidFill>
            </c:spPr>
            <c:extLst>
              <c:ext xmlns:c16="http://schemas.microsoft.com/office/drawing/2014/chart" uri="{C3380CC4-5D6E-409C-BE32-E72D297353CC}">
                <c16:uniqueId val="{000002D3-61F5-407B-959D-D24239F5BB85}"/>
              </c:ext>
            </c:extLst>
          </c:dPt>
          <c:dPt>
            <c:idx val="361"/>
            <c:invertIfNegative val="1"/>
            <c:bubble3D val="0"/>
            <c:spPr>
              <a:solidFill>
                <a:srgbClr val="7ECAC4"/>
              </a:solidFill>
            </c:spPr>
            <c:extLst>
              <c:ext xmlns:c16="http://schemas.microsoft.com/office/drawing/2014/chart" uri="{C3380CC4-5D6E-409C-BE32-E72D297353CC}">
                <c16:uniqueId val="{000002D5-61F5-407B-959D-D24239F5BB85}"/>
              </c:ext>
            </c:extLst>
          </c:dPt>
          <c:dPt>
            <c:idx val="362"/>
            <c:invertIfNegative val="1"/>
            <c:bubble3D val="0"/>
            <c:spPr>
              <a:solidFill>
                <a:srgbClr val="7ECAC4"/>
              </a:solidFill>
            </c:spPr>
            <c:extLst>
              <c:ext xmlns:c16="http://schemas.microsoft.com/office/drawing/2014/chart" uri="{C3380CC4-5D6E-409C-BE32-E72D297353CC}">
                <c16:uniqueId val="{000002D7-61F5-407B-959D-D24239F5BB85}"/>
              </c:ext>
            </c:extLst>
          </c:dPt>
          <c:dPt>
            <c:idx val="363"/>
            <c:invertIfNegative val="1"/>
            <c:bubble3D val="0"/>
            <c:spPr>
              <a:solidFill>
                <a:srgbClr val="7ECAC4"/>
              </a:solidFill>
            </c:spPr>
            <c:extLst>
              <c:ext xmlns:c16="http://schemas.microsoft.com/office/drawing/2014/chart" uri="{C3380CC4-5D6E-409C-BE32-E72D297353CC}">
                <c16:uniqueId val="{000002D9-61F5-407B-959D-D24239F5BB85}"/>
              </c:ext>
            </c:extLst>
          </c:dPt>
          <c:dPt>
            <c:idx val="364"/>
            <c:invertIfNegative val="1"/>
            <c:bubble3D val="0"/>
            <c:spPr>
              <a:solidFill>
                <a:srgbClr val="7ECAC4"/>
              </a:solidFill>
            </c:spPr>
            <c:extLst>
              <c:ext xmlns:c16="http://schemas.microsoft.com/office/drawing/2014/chart" uri="{C3380CC4-5D6E-409C-BE32-E72D297353CC}">
                <c16:uniqueId val="{000002DB-61F5-407B-959D-D24239F5BB85}"/>
              </c:ext>
            </c:extLst>
          </c:dPt>
          <c:dPt>
            <c:idx val="365"/>
            <c:invertIfNegative val="1"/>
            <c:bubble3D val="0"/>
            <c:spPr>
              <a:solidFill>
                <a:srgbClr val="7ECAC4"/>
              </a:solidFill>
            </c:spPr>
            <c:extLst>
              <c:ext xmlns:c16="http://schemas.microsoft.com/office/drawing/2014/chart" uri="{C3380CC4-5D6E-409C-BE32-E72D297353CC}">
                <c16:uniqueId val="{000002DD-61F5-407B-959D-D24239F5BB85}"/>
              </c:ext>
            </c:extLst>
          </c:dPt>
          <c:dPt>
            <c:idx val="366"/>
            <c:invertIfNegative val="1"/>
            <c:bubble3D val="0"/>
            <c:spPr>
              <a:solidFill>
                <a:srgbClr val="7ECAC4"/>
              </a:solidFill>
            </c:spPr>
            <c:extLst>
              <c:ext xmlns:c16="http://schemas.microsoft.com/office/drawing/2014/chart" uri="{C3380CC4-5D6E-409C-BE32-E72D297353CC}">
                <c16:uniqueId val="{000002DF-61F5-407B-959D-D24239F5BB85}"/>
              </c:ext>
            </c:extLst>
          </c:dPt>
          <c:dPt>
            <c:idx val="367"/>
            <c:invertIfNegative val="1"/>
            <c:bubble3D val="0"/>
            <c:spPr>
              <a:solidFill>
                <a:srgbClr val="7ECAC4"/>
              </a:solidFill>
            </c:spPr>
            <c:extLst>
              <c:ext xmlns:c16="http://schemas.microsoft.com/office/drawing/2014/chart" uri="{C3380CC4-5D6E-409C-BE32-E72D297353CC}">
                <c16:uniqueId val="{000002E1-61F5-407B-959D-D24239F5BB85}"/>
              </c:ext>
            </c:extLst>
          </c:dPt>
          <c:dPt>
            <c:idx val="368"/>
            <c:invertIfNegative val="1"/>
            <c:bubble3D val="0"/>
            <c:spPr>
              <a:solidFill>
                <a:srgbClr val="7ECAC4"/>
              </a:solidFill>
            </c:spPr>
            <c:extLst>
              <c:ext xmlns:c16="http://schemas.microsoft.com/office/drawing/2014/chart" uri="{C3380CC4-5D6E-409C-BE32-E72D297353CC}">
                <c16:uniqueId val="{000002E3-61F5-407B-959D-D24239F5BB85}"/>
              </c:ext>
            </c:extLst>
          </c:dPt>
          <c:dPt>
            <c:idx val="369"/>
            <c:invertIfNegative val="1"/>
            <c:bubble3D val="0"/>
            <c:spPr>
              <a:solidFill>
                <a:srgbClr val="7ECAC4"/>
              </a:solidFill>
            </c:spPr>
            <c:extLst>
              <c:ext xmlns:c16="http://schemas.microsoft.com/office/drawing/2014/chart" uri="{C3380CC4-5D6E-409C-BE32-E72D297353CC}">
                <c16:uniqueId val="{000002E5-61F5-407B-959D-D24239F5BB85}"/>
              </c:ext>
            </c:extLst>
          </c:dPt>
          <c:dPt>
            <c:idx val="370"/>
            <c:invertIfNegative val="1"/>
            <c:bubble3D val="0"/>
            <c:spPr>
              <a:solidFill>
                <a:srgbClr val="7ECAC4"/>
              </a:solidFill>
            </c:spPr>
            <c:extLst>
              <c:ext xmlns:c16="http://schemas.microsoft.com/office/drawing/2014/chart" uri="{C3380CC4-5D6E-409C-BE32-E72D297353CC}">
                <c16:uniqueId val="{000002E7-61F5-407B-959D-D24239F5BB85}"/>
              </c:ext>
            </c:extLst>
          </c:dPt>
          <c:dPt>
            <c:idx val="371"/>
            <c:invertIfNegative val="1"/>
            <c:bubble3D val="0"/>
            <c:spPr>
              <a:solidFill>
                <a:srgbClr val="7ECAC4"/>
              </a:solidFill>
            </c:spPr>
            <c:extLst>
              <c:ext xmlns:c16="http://schemas.microsoft.com/office/drawing/2014/chart" uri="{C3380CC4-5D6E-409C-BE32-E72D297353CC}">
                <c16:uniqueId val="{000002E9-61F5-407B-959D-D24239F5BB85}"/>
              </c:ext>
            </c:extLst>
          </c:dPt>
          <c:dPt>
            <c:idx val="372"/>
            <c:invertIfNegative val="1"/>
            <c:bubble3D val="0"/>
            <c:spPr>
              <a:solidFill>
                <a:srgbClr val="7ECAC4"/>
              </a:solidFill>
            </c:spPr>
            <c:extLst>
              <c:ext xmlns:c16="http://schemas.microsoft.com/office/drawing/2014/chart" uri="{C3380CC4-5D6E-409C-BE32-E72D297353CC}">
                <c16:uniqueId val="{000002EB-61F5-407B-959D-D24239F5BB85}"/>
              </c:ext>
            </c:extLst>
          </c:dPt>
          <c:dPt>
            <c:idx val="373"/>
            <c:invertIfNegative val="1"/>
            <c:bubble3D val="0"/>
            <c:spPr>
              <a:solidFill>
                <a:srgbClr val="7ECAC4"/>
              </a:solidFill>
            </c:spPr>
            <c:extLst>
              <c:ext xmlns:c16="http://schemas.microsoft.com/office/drawing/2014/chart" uri="{C3380CC4-5D6E-409C-BE32-E72D297353CC}">
                <c16:uniqueId val="{000002ED-61F5-407B-959D-D24239F5BB85}"/>
              </c:ext>
            </c:extLst>
          </c:dPt>
          <c:dPt>
            <c:idx val="374"/>
            <c:invertIfNegative val="1"/>
            <c:bubble3D val="0"/>
            <c:spPr>
              <a:solidFill>
                <a:srgbClr val="7ECAC4"/>
              </a:solidFill>
            </c:spPr>
            <c:extLst>
              <c:ext xmlns:c16="http://schemas.microsoft.com/office/drawing/2014/chart" uri="{C3380CC4-5D6E-409C-BE32-E72D297353CC}">
                <c16:uniqueId val="{000002EF-61F5-407B-959D-D24239F5BB85}"/>
              </c:ext>
            </c:extLst>
          </c:dPt>
          <c:dPt>
            <c:idx val="375"/>
            <c:invertIfNegative val="1"/>
            <c:bubble3D val="0"/>
            <c:spPr>
              <a:solidFill>
                <a:srgbClr val="7ECAC4"/>
              </a:solidFill>
            </c:spPr>
            <c:extLst>
              <c:ext xmlns:c16="http://schemas.microsoft.com/office/drawing/2014/chart" uri="{C3380CC4-5D6E-409C-BE32-E72D297353CC}">
                <c16:uniqueId val="{000002F1-61F5-407B-959D-D24239F5BB85}"/>
              </c:ext>
            </c:extLst>
          </c:dPt>
          <c:dPt>
            <c:idx val="376"/>
            <c:invertIfNegative val="1"/>
            <c:bubble3D val="0"/>
            <c:spPr>
              <a:solidFill>
                <a:srgbClr val="7ECAC4"/>
              </a:solidFill>
            </c:spPr>
            <c:extLst>
              <c:ext xmlns:c16="http://schemas.microsoft.com/office/drawing/2014/chart" uri="{C3380CC4-5D6E-409C-BE32-E72D297353CC}">
                <c16:uniqueId val="{000002F3-61F5-407B-959D-D24239F5BB85}"/>
              </c:ext>
            </c:extLst>
          </c:dPt>
          <c:dPt>
            <c:idx val="377"/>
            <c:invertIfNegative val="1"/>
            <c:bubble3D val="0"/>
            <c:spPr>
              <a:solidFill>
                <a:srgbClr val="7ECAC4"/>
              </a:solidFill>
            </c:spPr>
            <c:extLst>
              <c:ext xmlns:c16="http://schemas.microsoft.com/office/drawing/2014/chart" uri="{C3380CC4-5D6E-409C-BE32-E72D297353CC}">
                <c16:uniqueId val="{000002F5-61F5-407B-959D-D24239F5BB85}"/>
              </c:ext>
            </c:extLst>
          </c:dPt>
          <c:dPt>
            <c:idx val="378"/>
            <c:invertIfNegative val="1"/>
            <c:bubble3D val="0"/>
            <c:spPr>
              <a:solidFill>
                <a:srgbClr val="7ECAC4"/>
              </a:solidFill>
            </c:spPr>
            <c:extLst>
              <c:ext xmlns:c16="http://schemas.microsoft.com/office/drawing/2014/chart" uri="{C3380CC4-5D6E-409C-BE32-E72D297353CC}">
                <c16:uniqueId val="{000002F7-61F5-407B-959D-D24239F5BB85}"/>
              </c:ext>
            </c:extLst>
          </c:dPt>
          <c:dPt>
            <c:idx val="379"/>
            <c:invertIfNegative val="1"/>
            <c:bubble3D val="0"/>
            <c:spPr>
              <a:solidFill>
                <a:srgbClr val="7ECAC4"/>
              </a:solidFill>
            </c:spPr>
            <c:extLst>
              <c:ext xmlns:c16="http://schemas.microsoft.com/office/drawing/2014/chart" uri="{C3380CC4-5D6E-409C-BE32-E72D297353CC}">
                <c16:uniqueId val="{000002F9-61F5-407B-959D-D24239F5BB85}"/>
              </c:ext>
            </c:extLst>
          </c:dPt>
          <c:dPt>
            <c:idx val="380"/>
            <c:invertIfNegative val="1"/>
            <c:bubble3D val="0"/>
            <c:spPr>
              <a:solidFill>
                <a:srgbClr val="7ECAC4"/>
              </a:solidFill>
            </c:spPr>
            <c:extLst>
              <c:ext xmlns:c16="http://schemas.microsoft.com/office/drawing/2014/chart" uri="{C3380CC4-5D6E-409C-BE32-E72D297353CC}">
                <c16:uniqueId val="{000002FB-61F5-407B-959D-D24239F5BB85}"/>
              </c:ext>
            </c:extLst>
          </c:dPt>
          <c:dPt>
            <c:idx val="381"/>
            <c:invertIfNegative val="1"/>
            <c:bubble3D val="0"/>
            <c:spPr>
              <a:solidFill>
                <a:srgbClr val="7ECAC4"/>
              </a:solidFill>
            </c:spPr>
            <c:extLst>
              <c:ext xmlns:c16="http://schemas.microsoft.com/office/drawing/2014/chart" uri="{C3380CC4-5D6E-409C-BE32-E72D297353CC}">
                <c16:uniqueId val="{000002FD-61F5-407B-959D-D24239F5BB85}"/>
              </c:ext>
            </c:extLst>
          </c:dPt>
          <c:dPt>
            <c:idx val="382"/>
            <c:invertIfNegative val="1"/>
            <c:bubble3D val="0"/>
            <c:spPr>
              <a:solidFill>
                <a:srgbClr val="7ECAC4"/>
              </a:solidFill>
            </c:spPr>
            <c:extLst>
              <c:ext xmlns:c16="http://schemas.microsoft.com/office/drawing/2014/chart" uri="{C3380CC4-5D6E-409C-BE32-E72D297353CC}">
                <c16:uniqueId val="{000002FF-61F5-407B-959D-D24239F5BB85}"/>
              </c:ext>
            </c:extLst>
          </c:dPt>
          <c:dPt>
            <c:idx val="383"/>
            <c:invertIfNegative val="1"/>
            <c:bubble3D val="0"/>
            <c:spPr>
              <a:solidFill>
                <a:srgbClr val="7ECAC4"/>
              </a:solidFill>
            </c:spPr>
            <c:extLst>
              <c:ext xmlns:c16="http://schemas.microsoft.com/office/drawing/2014/chart" uri="{C3380CC4-5D6E-409C-BE32-E72D297353CC}">
                <c16:uniqueId val="{00000301-61F5-407B-959D-D24239F5BB85}"/>
              </c:ext>
            </c:extLst>
          </c:dPt>
          <c:dPt>
            <c:idx val="384"/>
            <c:invertIfNegative val="1"/>
            <c:bubble3D val="0"/>
            <c:spPr>
              <a:solidFill>
                <a:srgbClr val="7ECAC4"/>
              </a:solidFill>
            </c:spPr>
            <c:extLst>
              <c:ext xmlns:c16="http://schemas.microsoft.com/office/drawing/2014/chart" uri="{C3380CC4-5D6E-409C-BE32-E72D297353CC}">
                <c16:uniqueId val="{00000303-61F5-407B-959D-D24239F5BB85}"/>
              </c:ext>
            </c:extLst>
          </c:dPt>
          <c:dPt>
            <c:idx val="385"/>
            <c:invertIfNegative val="1"/>
            <c:bubble3D val="0"/>
            <c:spPr>
              <a:solidFill>
                <a:srgbClr val="7ECAC4"/>
              </a:solidFill>
            </c:spPr>
            <c:extLst>
              <c:ext xmlns:c16="http://schemas.microsoft.com/office/drawing/2014/chart" uri="{C3380CC4-5D6E-409C-BE32-E72D297353CC}">
                <c16:uniqueId val="{00000305-61F5-407B-959D-D24239F5BB85}"/>
              </c:ext>
            </c:extLst>
          </c:dPt>
          <c:dPt>
            <c:idx val="386"/>
            <c:invertIfNegative val="1"/>
            <c:bubble3D val="0"/>
            <c:spPr>
              <a:solidFill>
                <a:srgbClr val="7ECAC4"/>
              </a:solidFill>
            </c:spPr>
            <c:extLst>
              <c:ext xmlns:c16="http://schemas.microsoft.com/office/drawing/2014/chart" uri="{C3380CC4-5D6E-409C-BE32-E72D297353CC}">
                <c16:uniqueId val="{00000307-61F5-407B-959D-D24239F5BB85}"/>
              </c:ext>
            </c:extLst>
          </c:dPt>
          <c:dPt>
            <c:idx val="387"/>
            <c:invertIfNegative val="1"/>
            <c:bubble3D val="0"/>
            <c:spPr>
              <a:solidFill>
                <a:srgbClr val="7ECAC4"/>
              </a:solidFill>
            </c:spPr>
            <c:extLst>
              <c:ext xmlns:c16="http://schemas.microsoft.com/office/drawing/2014/chart" uri="{C3380CC4-5D6E-409C-BE32-E72D297353CC}">
                <c16:uniqueId val="{00000309-61F5-407B-959D-D24239F5BB85}"/>
              </c:ext>
            </c:extLst>
          </c:dPt>
          <c:dPt>
            <c:idx val="388"/>
            <c:invertIfNegative val="1"/>
            <c:bubble3D val="0"/>
            <c:spPr>
              <a:solidFill>
                <a:srgbClr val="7ECAC4"/>
              </a:solidFill>
            </c:spPr>
            <c:extLst>
              <c:ext xmlns:c16="http://schemas.microsoft.com/office/drawing/2014/chart" uri="{C3380CC4-5D6E-409C-BE32-E72D297353CC}">
                <c16:uniqueId val="{0000030B-61F5-407B-959D-D24239F5BB85}"/>
              </c:ext>
            </c:extLst>
          </c:dPt>
          <c:dPt>
            <c:idx val="389"/>
            <c:invertIfNegative val="1"/>
            <c:bubble3D val="0"/>
            <c:spPr>
              <a:solidFill>
                <a:srgbClr val="7ECAC4"/>
              </a:solidFill>
            </c:spPr>
            <c:extLst>
              <c:ext xmlns:c16="http://schemas.microsoft.com/office/drawing/2014/chart" uri="{C3380CC4-5D6E-409C-BE32-E72D297353CC}">
                <c16:uniqueId val="{0000030D-61F5-407B-959D-D24239F5BB85}"/>
              </c:ext>
            </c:extLst>
          </c:dPt>
          <c:dPt>
            <c:idx val="390"/>
            <c:invertIfNegative val="1"/>
            <c:bubble3D val="0"/>
            <c:spPr>
              <a:solidFill>
                <a:srgbClr val="7ECAC4"/>
              </a:solidFill>
            </c:spPr>
            <c:extLst>
              <c:ext xmlns:c16="http://schemas.microsoft.com/office/drawing/2014/chart" uri="{C3380CC4-5D6E-409C-BE32-E72D297353CC}">
                <c16:uniqueId val="{0000030F-61F5-407B-959D-D24239F5BB85}"/>
              </c:ext>
            </c:extLst>
          </c:dPt>
          <c:dPt>
            <c:idx val="391"/>
            <c:invertIfNegative val="1"/>
            <c:bubble3D val="0"/>
            <c:spPr>
              <a:solidFill>
                <a:srgbClr val="7ECAC4"/>
              </a:solidFill>
            </c:spPr>
            <c:extLst>
              <c:ext xmlns:c16="http://schemas.microsoft.com/office/drawing/2014/chart" uri="{C3380CC4-5D6E-409C-BE32-E72D297353CC}">
                <c16:uniqueId val="{00000311-61F5-407B-959D-D24239F5BB85}"/>
              </c:ext>
            </c:extLst>
          </c:dPt>
          <c:dPt>
            <c:idx val="392"/>
            <c:invertIfNegative val="1"/>
            <c:bubble3D val="0"/>
            <c:spPr>
              <a:solidFill>
                <a:srgbClr val="7ECAC4"/>
              </a:solidFill>
            </c:spPr>
            <c:extLst>
              <c:ext xmlns:c16="http://schemas.microsoft.com/office/drawing/2014/chart" uri="{C3380CC4-5D6E-409C-BE32-E72D297353CC}">
                <c16:uniqueId val="{00000313-61F5-407B-959D-D24239F5BB85}"/>
              </c:ext>
            </c:extLst>
          </c:dPt>
          <c:dPt>
            <c:idx val="393"/>
            <c:invertIfNegative val="1"/>
            <c:bubble3D val="0"/>
            <c:spPr>
              <a:solidFill>
                <a:srgbClr val="7ECAC4"/>
              </a:solidFill>
            </c:spPr>
            <c:extLst>
              <c:ext xmlns:c16="http://schemas.microsoft.com/office/drawing/2014/chart" uri="{C3380CC4-5D6E-409C-BE32-E72D297353CC}">
                <c16:uniqueId val="{00000315-61F5-407B-959D-D24239F5BB85}"/>
              </c:ext>
            </c:extLst>
          </c:dPt>
          <c:dPt>
            <c:idx val="394"/>
            <c:invertIfNegative val="1"/>
            <c:bubble3D val="0"/>
            <c:spPr>
              <a:solidFill>
                <a:srgbClr val="7ECAC4"/>
              </a:solidFill>
            </c:spPr>
            <c:extLst>
              <c:ext xmlns:c16="http://schemas.microsoft.com/office/drawing/2014/chart" uri="{C3380CC4-5D6E-409C-BE32-E72D297353CC}">
                <c16:uniqueId val="{00000317-61F5-407B-959D-D24239F5BB85}"/>
              </c:ext>
            </c:extLst>
          </c:dPt>
          <c:dPt>
            <c:idx val="395"/>
            <c:invertIfNegative val="1"/>
            <c:bubble3D val="0"/>
            <c:spPr>
              <a:solidFill>
                <a:srgbClr val="7ECAC4"/>
              </a:solidFill>
            </c:spPr>
            <c:extLst>
              <c:ext xmlns:c16="http://schemas.microsoft.com/office/drawing/2014/chart" uri="{C3380CC4-5D6E-409C-BE32-E72D297353CC}">
                <c16:uniqueId val="{00000319-61F5-407B-959D-D24239F5BB85}"/>
              </c:ext>
            </c:extLst>
          </c:dPt>
          <c:dPt>
            <c:idx val="396"/>
            <c:invertIfNegative val="1"/>
            <c:bubble3D val="0"/>
            <c:spPr>
              <a:solidFill>
                <a:srgbClr val="7ECAC4"/>
              </a:solidFill>
            </c:spPr>
            <c:extLst>
              <c:ext xmlns:c16="http://schemas.microsoft.com/office/drawing/2014/chart" uri="{C3380CC4-5D6E-409C-BE32-E72D297353CC}">
                <c16:uniqueId val="{0000031B-61F5-407B-959D-D24239F5BB85}"/>
              </c:ext>
            </c:extLst>
          </c:dPt>
          <c:dPt>
            <c:idx val="397"/>
            <c:invertIfNegative val="1"/>
            <c:bubble3D val="0"/>
            <c:spPr>
              <a:solidFill>
                <a:srgbClr val="7ECAC4"/>
              </a:solidFill>
            </c:spPr>
            <c:extLst>
              <c:ext xmlns:c16="http://schemas.microsoft.com/office/drawing/2014/chart" uri="{C3380CC4-5D6E-409C-BE32-E72D297353CC}">
                <c16:uniqueId val="{0000031D-61F5-407B-959D-D24239F5BB85}"/>
              </c:ext>
            </c:extLst>
          </c:dPt>
          <c:dPt>
            <c:idx val="398"/>
            <c:invertIfNegative val="1"/>
            <c:bubble3D val="0"/>
            <c:spPr>
              <a:solidFill>
                <a:srgbClr val="7ECAC4"/>
              </a:solidFill>
            </c:spPr>
            <c:extLst>
              <c:ext xmlns:c16="http://schemas.microsoft.com/office/drawing/2014/chart" uri="{C3380CC4-5D6E-409C-BE32-E72D297353CC}">
                <c16:uniqueId val="{0000031F-61F5-407B-959D-D24239F5BB85}"/>
              </c:ext>
            </c:extLst>
          </c:dPt>
          <c:dPt>
            <c:idx val="399"/>
            <c:invertIfNegative val="1"/>
            <c:bubble3D val="0"/>
            <c:spPr>
              <a:solidFill>
                <a:srgbClr val="7ECAC4"/>
              </a:solidFill>
            </c:spPr>
            <c:extLst>
              <c:ext xmlns:c16="http://schemas.microsoft.com/office/drawing/2014/chart" uri="{C3380CC4-5D6E-409C-BE32-E72D297353CC}">
                <c16:uniqueId val="{00000321-61F5-407B-959D-D24239F5BB85}"/>
              </c:ext>
            </c:extLst>
          </c:dPt>
          <c:dPt>
            <c:idx val="400"/>
            <c:invertIfNegative val="1"/>
            <c:bubble3D val="0"/>
            <c:spPr>
              <a:solidFill>
                <a:srgbClr val="7ECAC4"/>
              </a:solidFill>
            </c:spPr>
            <c:extLst>
              <c:ext xmlns:c16="http://schemas.microsoft.com/office/drawing/2014/chart" uri="{C3380CC4-5D6E-409C-BE32-E72D297353CC}">
                <c16:uniqueId val="{00000323-61F5-407B-959D-D24239F5BB85}"/>
              </c:ext>
            </c:extLst>
          </c:dPt>
          <c:dPt>
            <c:idx val="401"/>
            <c:invertIfNegative val="1"/>
            <c:bubble3D val="0"/>
            <c:spPr>
              <a:solidFill>
                <a:srgbClr val="7ECAC4"/>
              </a:solidFill>
            </c:spPr>
            <c:extLst>
              <c:ext xmlns:c16="http://schemas.microsoft.com/office/drawing/2014/chart" uri="{C3380CC4-5D6E-409C-BE32-E72D297353CC}">
                <c16:uniqueId val="{00000325-61F5-407B-959D-D24239F5BB85}"/>
              </c:ext>
            </c:extLst>
          </c:dPt>
          <c:dPt>
            <c:idx val="402"/>
            <c:invertIfNegative val="1"/>
            <c:bubble3D val="0"/>
            <c:spPr>
              <a:solidFill>
                <a:srgbClr val="7ECAC4"/>
              </a:solidFill>
            </c:spPr>
            <c:extLst>
              <c:ext xmlns:c16="http://schemas.microsoft.com/office/drawing/2014/chart" uri="{C3380CC4-5D6E-409C-BE32-E72D297353CC}">
                <c16:uniqueId val="{00000327-61F5-407B-959D-D24239F5BB85}"/>
              </c:ext>
            </c:extLst>
          </c:dPt>
          <c:dPt>
            <c:idx val="403"/>
            <c:invertIfNegative val="1"/>
            <c:bubble3D val="0"/>
            <c:spPr>
              <a:solidFill>
                <a:srgbClr val="7ECAC4"/>
              </a:solidFill>
            </c:spPr>
            <c:extLst>
              <c:ext xmlns:c16="http://schemas.microsoft.com/office/drawing/2014/chart" uri="{C3380CC4-5D6E-409C-BE32-E72D297353CC}">
                <c16:uniqueId val="{00000329-61F5-407B-959D-D24239F5BB85}"/>
              </c:ext>
            </c:extLst>
          </c:dPt>
          <c:dPt>
            <c:idx val="404"/>
            <c:invertIfNegative val="1"/>
            <c:bubble3D val="0"/>
            <c:spPr>
              <a:solidFill>
                <a:srgbClr val="7ECAC4"/>
              </a:solidFill>
            </c:spPr>
            <c:extLst>
              <c:ext xmlns:c16="http://schemas.microsoft.com/office/drawing/2014/chart" uri="{C3380CC4-5D6E-409C-BE32-E72D297353CC}">
                <c16:uniqueId val="{0000032B-61F5-407B-959D-D24239F5BB85}"/>
              </c:ext>
            </c:extLst>
          </c:dPt>
          <c:dPt>
            <c:idx val="405"/>
            <c:invertIfNegative val="1"/>
            <c:bubble3D val="0"/>
            <c:spPr>
              <a:solidFill>
                <a:srgbClr val="7ECAC4"/>
              </a:solidFill>
            </c:spPr>
            <c:extLst>
              <c:ext xmlns:c16="http://schemas.microsoft.com/office/drawing/2014/chart" uri="{C3380CC4-5D6E-409C-BE32-E72D297353CC}">
                <c16:uniqueId val="{0000032D-61F5-407B-959D-D24239F5BB85}"/>
              </c:ext>
            </c:extLst>
          </c:dPt>
          <c:dPt>
            <c:idx val="406"/>
            <c:invertIfNegative val="1"/>
            <c:bubble3D val="0"/>
            <c:spPr>
              <a:solidFill>
                <a:srgbClr val="7ECAC4"/>
              </a:solidFill>
            </c:spPr>
            <c:extLst>
              <c:ext xmlns:c16="http://schemas.microsoft.com/office/drawing/2014/chart" uri="{C3380CC4-5D6E-409C-BE32-E72D297353CC}">
                <c16:uniqueId val="{0000032F-61F5-407B-959D-D24239F5BB85}"/>
              </c:ext>
            </c:extLst>
          </c:dPt>
          <c:dPt>
            <c:idx val="407"/>
            <c:invertIfNegative val="1"/>
            <c:bubble3D val="0"/>
            <c:spPr>
              <a:solidFill>
                <a:srgbClr val="7ECAC4"/>
              </a:solidFill>
            </c:spPr>
            <c:extLst>
              <c:ext xmlns:c16="http://schemas.microsoft.com/office/drawing/2014/chart" uri="{C3380CC4-5D6E-409C-BE32-E72D297353CC}">
                <c16:uniqueId val="{00000331-61F5-407B-959D-D24239F5BB85}"/>
              </c:ext>
            </c:extLst>
          </c:dPt>
          <c:dPt>
            <c:idx val="408"/>
            <c:invertIfNegative val="1"/>
            <c:bubble3D val="0"/>
            <c:spPr>
              <a:solidFill>
                <a:srgbClr val="7ECAC4"/>
              </a:solidFill>
            </c:spPr>
            <c:extLst>
              <c:ext xmlns:c16="http://schemas.microsoft.com/office/drawing/2014/chart" uri="{C3380CC4-5D6E-409C-BE32-E72D297353CC}">
                <c16:uniqueId val="{00000333-61F5-407B-959D-D24239F5BB85}"/>
              </c:ext>
            </c:extLst>
          </c:dPt>
          <c:dPt>
            <c:idx val="409"/>
            <c:invertIfNegative val="1"/>
            <c:bubble3D val="0"/>
            <c:spPr>
              <a:solidFill>
                <a:srgbClr val="7ECAC4"/>
              </a:solidFill>
            </c:spPr>
            <c:extLst>
              <c:ext xmlns:c16="http://schemas.microsoft.com/office/drawing/2014/chart" uri="{C3380CC4-5D6E-409C-BE32-E72D297353CC}">
                <c16:uniqueId val="{00000335-61F5-407B-959D-D24239F5BB85}"/>
              </c:ext>
            </c:extLst>
          </c:dPt>
          <c:dPt>
            <c:idx val="410"/>
            <c:invertIfNegative val="1"/>
            <c:bubble3D val="0"/>
            <c:spPr>
              <a:solidFill>
                <a:srgbClr val="7ECAC4"/>
              </a:solidFill>
            </c:spPr>
            <c:extLst>
              <c:ext xmlns:c16="http://schemas.microsoft.com/office/drawing/2014/chart" uri="{C3380CC4-5D6E-409C-BE32-E72D297353CC}">
                <c16:uniqueId val="{00000337-61F5-407B-959D-D24239F5BB85}"/>
              </c:ext>
            </c:extLst>
          </c:dPt>
          <c:dPt>
            <c:idx val="411"/>
            <c:invertIfNegative val="1"/>
            <c:bubble3D val="0"/>
            <c:spPr>
              <a:solidFill>
                <a:srgbClr val="7ECAC4"/>
              </a:solidFill>
            </c:spPr>
            <c:extLst>
              <c:ext xmlns:c16="http://schemas.microsoft.com/office/drawing/2014/chart" uri="{C3380CC4-5D6E-409C-BE32-E72D297353CC}">
                <c16:uniqueId val="{00000339-61F5-407B-959D-D24239F5BB85}"/>
              </c:ext>
            </c:extLst>
          </c:dPt>
          <c:dPt>
            <c:idx val="412"/>
            <c:invertIfNegative val="1"/>
            <c:bubble3D val="0"/>
            <c:spPr>
              <a:solidFill>
                <a:srgbClr val="7ECAC4"/>
              </a:solidFill>
            </c:spPr>
            <c:extLst>
              <c:ext xmlns:c16="http://schemas.microsoft.com/office/drawing/2014/chart" uri="{C3380CC4-5D6E-409C-BE32-E72D297353CC}">
                <c16:uniqueId val="{0000033B-61F5-407B-959D-D24239F5BB85}"/>
              </c:ext>
            </c:extLst>
          </c:dPt>
          <c:dPt>
            <c:idx val="413"/>
            <c:invertIfNegative val="1"/>
            <c:bubble3D val="0"/>
            <c:spPr>
              <a:solidFill>
                <a:srgbClr val="7ECAC4"/>
              </a:solidFill>
            </c:spPr>
            <c:extLst>
              <c:ext xmlns:c16="http://schemas.microsoft.com/office/drawing/2014/chart" uri="{C3380CC4-5D6E-409C-BE32-E72D297353CC}">
                <c16:uniqueId val="{0000033D-61F5-407B-959D-D24239F5BB85}"/>
              </c:ext>
            </c:extLst>
          </c:dPt>
          <c:dPt>
            <c:idx val="414"/>
            <c:invertIfNegative val="1"/>
            <c:bubble3D val="0"/>
            <c:spPr>
              <a:solidFill>
                <a:srgbClr val="7ECAC4"/>
              </a:solidFill>
            </c:spPr>
            <c:extLst>
              <c:ext xmlns:c16="http://schemas.microsoft.com/office/drawing/2014/chart" uri="{C3380CC4-5D6E-409C-BE32-E72D297353CC}">
                <c16:uniqueId val="{0000033F-61F5-407B-959D-D24239F5BB85}"/>
              </c:ext>
            </c:extLst>
          </c:dPt>
          <c:dPt>
            <c:idx val="415"/>
            <c:invertIfNegative val="1"/>
            <c:bubble3D val="0"/>
            <c:spPr>
              <a:solidFill>
                <a:srgbClr val="7ECAC4"/>
              </a:solidFill>
            </c:spPr>
            <c:extLst>
              <c:ext xmlns:c16="http://schemas.microsoft.com/office/drawing/2014/chart" uri="{C3380CC4-5D6E-409C-BE32-E72D297353CC}">
                <c16:uniqueId val="{00000341-61F5-407B-959D-D24239F5BB85}"/>
              </c:ext>
            </c:extLst>
          </c:dPt>
          <c:dPt>
            <c:idx val="416"/>
            <c:invertIfNegative val="1"/>
            <c:bubble3D val="0"/>
            <c:spPr>
              <a:solidFill>
                <a:srgbClr val="7ECAC4"/>
              </a:solidFill>
            </c:spPr>
            <c:extLst>
              <c:ext xmlns:c16="http://schemas.microsoft.com/office/drawing/2014/chart" uri="{C3380CC4-5D6E-409C-BE32-E72D297353CC}">
                <c16:uniqueId val="{00000343-61F5-407B-959D-D24239F5BB85}"/>
              </c:ext>
            </c:extLst>
          </c:dPt>
          <c:dPt>
            <c:idx val="417"/>
            <c:invertIfNegative val="1"/>
            <c:bubble3D val="0"/>
            <c:spPr>
              <a:solidFill>
                <a:srgbClr val="7ECAC4"/>
              </a:solidFill>
            </c:spPr>
            <c:extLst>
              <c:ext xmlns:c16="http://schemas.microsoft.com/office/drawing/2014/chart" uri="{C3380CC4-5D6E-409C-BE32-E72D297353CC}">
                <c16:uniqueId val="{00000345-61F5-407B-959D-D24239F5BB85}"/>
              </c:ext>
            </c:extLst>
          </c:dPt>
          <c:dPt>
            <c:idx val="418"/>
            <c:invertIfNegative val="1"/>
            <c:bubble3D val="0"/>
            <c:spPr>
              <a:solidFill>
                <a:srgbClr val="7ECAC4"/>
              </a:solidFill>
            </c:spPr>
            <c:extLst>
              <c:ext xmlns:c16="http://schemas.microsoft.com/office/drawing/2014/chart" uri="{C3380CC4-5D6E-409C-BE32-E72D297353CC}">
                <c16:uniqueId val="{00000347-61F5-407B-959D-D24239F5BB85}"/>
              </c:ext>
            </c:extLst>
          </c:dPt>
          <c:dPt>
            <c:idx val="419"/>
            <c:invertIfNegative val="1"/>
            <c:bubble3D val="0"/>
            <c:spPr>
              <a:solidFill>
                <a:srgbClr val="7ECAC4"/>
              </a:solidFill>
            </c:spPr>
            <c:extLst>
              <c:ext xmlns:c16="http://schemas.microsoft.com/office/drawing/2014/chart" uri="{C3380CC4-5D6E-409C-BE32-E72D297353CC}">
                <c16:uniqueId val="{00000349-61F5-407B-959D-D24239F5BB85}"/>
              </c:ext>
            </c:extLst>
          </c:dPt>
          <c:dPt>
            <c:idx val="420"/>
            <c:invertIfNegative val="1"/>
            <c:bubble3D val="0"/>
            <c:spPr>
              <a:solidFill>
                <a:srgbClr val="7ECAC4"/>
              </a:solidFill>
            </c:spPr>
            <c:extLst>
              <c:ext xmlns:c16="http://schemas.microsoft.com/office/drawing/2014/chart" uri="{C3380CC4-5D6E-409C-BE32-E72D297353CC}">
                <c16:uniqueId val="{0000034B-61F5-407B-959D-D24239F5BB85}"/>
              </c:ext>
            </c:extLst>
          </c:dPt>
          <c:dPt>
            <c:idx val="421"/>
            <c:invertIfNegative val="1"/>
            <c:bubble3D val="0"/>
            <c:spPr>
              <a:solidFill>
                <a:srgbClr val="7ECAC4"/>
              </a:solidFill>
            </c:spPr>
            <c:extLst>
              <c:ext xmlns:c16="http://schemas.microsoft.com/office/drawing/2014/chart" uri="{C3380CC4-5D6E-409C-BE32-E72D297353CC}">
                <c16:uniqueId val="{0000034D-61F5-407B-959D-D24239F5BB85}"/>
              </c:ext>
            </c:extLst>
          </c:dPt>
          <c:dPt>
            <c:idx val="422"/>
            <c:invertIfNegative val="1"/>
            <c:bubble3D val="0"/>
            <c:spPr>
              <a:solidFill>
                <a:srgbClr val="7ECAC4"/>
              </a:solidFill>
            </c:spPr>
            <c:extLst>
              <c:ext xmlns:c16="http://schemas.microsoft.com/office/drawing/2014/chart" uri="{C3380CC4-5D6E-409C-BE32-E72D297353CC}">
                <c16:uniqueId val="{0000034F-61F5-407B-959D-D24239F5BB85}"/>
              </c:ext>
            </c:extLst>
          </c:dPt>
          <c:dPt>
            <c:idx val="423"/>
            <c:invertIfNegative val="1"/>
            <c:bubble3D val="0"/>
            <c:spPr>
              <a:solidFill>
                <a:srgbClr val="7ECAC4"/>
              </a:solidFill>
            </c:spPr>
            <c:extLst>
              <c:ext xmlns:c16="http://schemas.microsoft.com/office/drawing/2014/chart" uri="{C3380CC4-5D6E-409C-BE32-E72D297353CC}">
                <c16:uniqueId val="{00000351-61F5-407B-959D-D24239F5BB85}"/>
              </c:ext>
            </c:extLst>
          </c:dPt>
          <c:dPt>
            <c:idx val="424"/>
            <c:invertIfNegative val="1"/>
            <c:bubble3D val="0"/>
            <c:spPr>
              <a:solidFill>
                <a:srgbClr val="7ECAC4"/>
              </a:solidFill>
            </c:spPr>
            <c:extLst>
              <c:ext xmlns:c16="http://schemas.microsoft.com/office/drawing/2014/chart" uri="{C3380CC4-5D6E-409C-BE32-E72D297353CC}">
                <c16:uniqueId val="{00000353-61F5-407B-959D-D24239F5BB85}"/>
              </c:ext>
            </c:extLst>
          </c:dPt>
          <c:dPt>
            <c:idx val="425"/>
            <c:invertIfNegative val="1"/>
            <c:bubble3D val="0"/>
            <c:spPr>
              <a:solidFill>
                <a:srgbClr val="7ECAC4"/>
              </a:solidFill>
            </c:spPr>
            <c:extLst>
              <c:ext xmlns:c16="http://schemas.microsoft.com/office/drawing/2014/chart" uri="{C3380CC4-5D6E-409C-BE32-E72D297353CC}">
                <c16:uniqueId val="{00000355-61F5-407B-959D-D24239F5BB85}"/>
              </c:ext>
            </c:extLst>
          </c:dPt>
          <c:dPt>
            <c:idx val="426"/>
            <c:invertIfNegative val="1"/>
            <c:bubble3D val="0"/>
            <c:spPr>
              <a:solidFill>
                <a:srgbClr val="7ECAC4"/>
              </a:solidFill>
            </c:spPr>
            <c:extLst>
              <c:ext xmlns:c16="http://schemas.microsoft.com/office/drawing/2014/chart" uri="{C3380CC4-5D6E-409C-BE32-E72D297353CC}">
                <c16:uniqueId val="{00000357-61F5-407B-959D-D24239F5BB85}"/>
              </c:ext>
            </c:extLst>
          </c:dPt>
          <c:dPt>
            <c:idx val="427"/>
            <c:invertIfNegative val="1"/>
            <c:bubble3D val="0"/>
            <c:spPr>
              <a:solidFill>
                <a:srgbClr val="7ECAC4"/>
              </a:solidFill>
            </c:spPr>
            <c:extLst>
              <c:ext xmlns:c16="http://schemas.microsoft.com/office/drawing/2014/chart" uri="{C3380CC4-5D6E-409C-BE32-E72D297353CC}">
                <c16:uniqueId val="{00000359-61F5-407B-959D-D24239F5BB85}"/>
              </c:ext>
            </c:extLst>
          </c:dPt>
          <c:dPt>
            <c:idx val="428"/>
            <c:invertIfNegative val="1"/>
            <c:bubble3D val="0"/>
            <c:spPr>
              <a:solidFill>
                <a:srgbClr val="7ECAC4"/>
              </a:solidFill>
            </c:spPr>
            <c:extLst>
              <c:ext xmlns:c16="http://schemas.microsoft.com/office/drawing/2014/chart" uri="{C3380CC4-5D6E-409C-BE32-E72D297353CC}">
                <c16:uniqueId val="{0000035B-61F5-407B-959D-D24239F5BB85}"/>
              </c:ext>
            </c:extLst>
          </c:dPt>
          <c:dPt>
            <c:idx val="429"/>
            <c:invertIfNegative val="1"/>
            <c:bubble3D val="0"/>
            <c:spPr>
              <a:solidFill>
                <a:srgbClr val="7ECAC4"/>
              </a:solidFill>
            </c:spPr>
            <c:extLst>
              <c:ext xmlns:c16="http://schemas.microsoft.com/office/drawing/2014/chart" uri="{C3380CC4-5D6E-409C-BE32-E72D297353CC}">
                <c16:uniqueId val="{0000035D-61F5-407B-959D-D24239F5BB85}"/>
              </c:ext>
            </c:extLst>
          </c:dPt>
          <c:dPt>
            <c:idx val="430"/>
            <c:invertIfNegative val="1"/>
            <c:bubble3D val="0"/>
            <c:spPr>
              <a:solidFill>
                <a:srgbClr val="7ECAC4"/>
              </a:solidFill>
            </c:spPr>
            <c:extLst>
              <c:ext xmlns:c16="http://schemas.microsoft.com/office/drawing/2014/chart" uri="{C3380CC4-5D6E-409C-BE32-E72D297353CC}">
                <c16:uniqueId val="{0000035F-61F5-407B-959D-D24239F5BB85}"/>
              </c:ext>
            </c:extLst>
          </c:dPt>
          <c:dPt>
            <c:idx val="431"/>
            <c:invertIfNegative val="1"/>
            <c:bubble3D val="0"/>
            <c:spPr>
              <a:solidFill>
                <a:srgbClr val="7ECAC4"/>
              </a:solidFill>
            </c:spPr>
            <c:extLst>
              <c:ext xmlns:c16="http://schemas.microsoft.com/office/drawing/2014/chart" uri="{C3380CC4-5D6E-409C-BE32-E72D297353CC}">
                <c16:uniqueId val="{00000361-61F5-407B-959D-D24239F5BB85}"/>
              </c:ext>
            </c:extLst>
          </c:dPt>
          <c:dPt>
            <c:idx val="432"/>
            <c:invertIfNegative val="1"/>
            <c:bubble3D val="0"/>
            <c:spPr>
              <a:solidFill>
                <a:srgbClr val="7ECAC4"/>
              </a:solidFill>
            </c:spPr>
            <c:extLst>
              <c:ext xmlns:c16="http://schemas.microsoft.com/office/drawing/2014/chart" uri="{C3380CC4-5D6E-409C-BE32-E72D297353CC}">
                <c16:uniqueId val="{00000363-61F5-407B-959D-D24239F5BB85}"/>
              </c:ext>
            </c:extLst>
          </c:dPt>
          <c:dPt>
            <c:idx val="433"/>
            <c:invertIfNegative val="1"/>
            <c:bubble3D val="0"/>
            <c:spPr>
              <a:solidFill>
                <a:srgbClr val="7ECAC4"/>
              </a:solidFill>
            </c:spPr>
            <c:extLst>
              <c:ext xmlns:c16="http://schemas.microsoft.com/office/drawing/2014/chart" uri="{C3380CC4-5D6E-409C-BE32-E72D297353CC}">
                <c16:uniqueId val="{00000365-61F5-407B-959D-D24239F5BB85}"/>
              </c:ext>
            </c:extLst>
          </c:dPt>
          <c:dPt>
            <c:idx val="434"/>
            <c:invertIfNegative val="1"/>
            <c:bubble3D val="0"/>
            <c:spPr>
              <a:solidFill>
                <a:srgbClr val="7ECAC4"/>
              </a:solidFill>
            </c:spPr>
            <c:extLst>
              <c:ext xmlns:c16="http://schemas.microsoft.com/office/drawing/2014/chart" uri="{C3380CC4-5D6E-409C-BE32-E72D297353CC}">
                <c16:uniqueId val="{00000367-61F5-407B-959D-D24239F5BB85}"/>
              </c:ext>
            </c:extLst>
          </c:dPt>
          <c:dPt>
            <c:idx val="435"/>
            <c:invertIfNegative val="1"/>
            <c:bubble3D val="0"/>
            <c:spPr>
              <a:solidFill>
                <a:srgbClr val="7ECAC4"/>
              </a:solidFill>
            </c:spPr>
            <c:extLst>
              <c:ext xmlns:c16="http://schemas.microsoft.com/office/drawing/2014/chart" uri="{C3380CC4-5D6E-409C-BE32-E72D297353CC}">
                <c16:uniqueId val="{00000369-61F5-407B-959D-D24239F5BB85}"/>
              </c:ext>
            </c:extLst>
          </c:dPt>
          <c:dPt>
            <c:idx val="436"/>
            <c:invertIfNegative val="1"/>
            <c:bubble3D val="0"/>
            <c:spPr>
              <a:solidFill>
                <a:srgbClr val="7ECAC4"/>
              </a:solidFill>
            </c:spPr>
            <c:extLst>
              <c:ext xmlns:c16="http://schemas.microsoft.com/office/drawing/2014/chart" uri="{C3380CC4-5D6E-409C-BE32-E72D297353CC}">
                <c16:uniqueId val="{0000036B-61F5-407B-959D-D24239F5BB85}"/>
              </c:ext>
            </c:extLst>
          </c:dPt>
          <c:dPt>
            <c:idx val="437"/>
            <c:invertIfNegative val="1"/>
            <c:bubble3D val="0"/>
            <c:spPr>
              <a:solidFill>
                <a:srgbClr val="7ECAC4"/>
              </a:solidFill>
            </c:spPr>
            <c:extLst>
              <c:ext xmlns:c16="http://schemas.microsoft.com/office/drawing/2014/chart" uri="{C3380CC4-5D6E-409C-BE32-E72D297353CC}">
                <c16:uniqueId val="{0000036D-61F5-407B-959D-D24239F5BB85}"/>
              </c:ext>
            </c:extLst>
          </c:dPt>
          <c:dPt>
            <c:idx val="438"/>
            <c:invertIfNegative val="1"/>
            <c:bubble3D val="0"/>
            <c:spPr>
              <a:solidFill>
                <a:srgbClr val="7ECAC4"/>
              </a:solidFill>
            </c:spPr>
            <c:extLst>
              <c:ext xmlns:c16="http://schemas.microsoft.com/office/drawing/2014/chart" uri="{C3380CC4-5D6E-409C-BE32-E72D297353CC}">
                <c16:uniqueId val="{0000036F-61F5-407B-959D-D24239F5BB85}"/>
              </c:ext>
            </c:extLst>
          </c:dPt>
          <c:dPt>
            <c:idx val="439"/>
            <c:invertIfNegative val="1"/>
            <c:bubble3D val="0"/>
            <c:spPr>
              <a:solidFill>
                <a:srgbClr val="7ECAC4"/>
              </a:solidFill>
            </c:spPr>
            <c:extLst>
              <c:ext xmlns:c16="http://schemas.microsoft.com/office/drawing/2014/chart" uri="{C3380CC4-5D6E-409C-BE32-E72D297353CC}">
                <c16:uniqueId val="{00000371-61F5-407B-959D-D24239F5BB85}"/>
              </c:ext>
            </c:extLst>
          </c:dPt>
          <c:dPt>
            <c:idx val="440"/>
            <c:invertIfNegative val="1"/>
            <c:bubble3D val="0"/>
            <c:spPr>
              <a:solidFill>
                <a:srgbClr val="7ECAC4"/>
              </a:solidFill>
            </c:spPr>
            <c:extLst>
              <c:ext xmlns:c16="http://schemas.microsoft.com/office/drawing/2014/chart" uri="{C3380CC4-5D6E-409C-BE32-E72D297353CC}">
                <c16:uniqueId val="{00000373-61F5-407B-959D-D24239F5BB85}"/>
              </c:ext>
            </c:extLst>
          </c:dPt>
          <c:dPt>
            <c:idx val="441"/>
            <c:invertIfNegative val="1"/>
            <c:bubble3D val="0"/>
            <c:spPr>
              <a:solidFill>
                <a:srgbClr val="7ECAC4"/>
              </a:solidFill>
            </c:spPr>
            <c:extLst>
              <c:ext xmlns:c16="http://schemas.microsoft.com/office/drawing/2014/chart" uri="{C3380CC4-5D6E-409C-BE32-E72D297353CC}">
                <c16:uniqueId val="{00000375-61F5-407B-959D-D24239F5BB85}"/>
              </c:ext>
            </c:extLst>
          </c:dPt>
          <c:dPt>
            <c:idx val="442"/>
            <c:invertIfNegative val="1"/>
            <c:bubble3D val="0"/>
            <c:spPr>
              <a:solidFill>
                <a:srgbClr val="7ECAC4"/>
              </a:solidFill>
            </c:spPr>
            <c:extLst>
              <c:ext xmlns:c16="http://schemas.microsoft.com/office/drawing/2014/chart" uri="{C3380CC4-5D6E-409C-BE32-E72D297353CC}">
                <c16:uniqueId val="{00000377-61F5-407B-959D-D24239F5BB85}"/>
              </c:ext>
            </c:extLst>
          </c:dPt>
          <c:dPt>
            <c:idx val="443"/>
            <c:invertIfNegative val="1"/>
            <c:bubble3D val="0"/>
            <c:spPr>
              <a:solidFill>
                <a:srgbClr val="7ECAC4"/>
              </a:solidFill>
            </c:spPr>
            <c:extLst>
              <c:ext xmlns:c16="http://schemas.microsoft.com/office/drawing/2014/chart" uri="{C3380CC4-5D6E-409C-BE32-E72D297353CC}">
                <c16:uniqueId val="{00000379-61F5-407B-959D-D24239F5BB85}"/>
              </c:ext>
            </c:extLst>
          </c:dPt>
          <c:dPt>
            <c:idx val="444"/>
            <c:invertIfNegative val="1"/>
            <c:bubble3D val="0"/>
            <c:spPr>
              <a:solidFill>
                <a:srgbClr val="7ECAC4"/>
              </a:solidFill>
            </c:spPr>
            <c:extLst>
              <c:ext xmlns:c16="http://schemas.microsoft.com/office/drawing/2014/chart" uri="{C3380CC4-5D6E-409C-BE32-E72D297353CC}">
                <c16:uniqueId val="{0000037B-61F5-407B-959D-D24239F5BB85}"/>
              </c:ext>
            </c:extLst>
          </c:dPt>
          <c:dPt>
            <c:idx val="445"/>
            <c:invertIfNegative val="1"/>
            <c:bubble3D val="0"/>
            <c:spPr>
              <a:solidFill>
                <a:srgbClr val="7ECAC4"/>
              </a:solidFill>
            </c:spPr>
            <c:extLst>
              <c:ext xmlns:c16="http://schemas.microsoft.com/office/drawing/2014/chart" uri="{C3380CC4-5D6E-409C-BE32-E72D297353CC}">
                <c16:uniqueId val="{0000037D-61F5-407B-959D-D24239F5BB85}"/>
              </c:ext>
            </c:extLst>
          </c:dPt>
          <c:dPt>
            <c:idx val="446"/>
            <c:invertIfNegative val="1"/>
            <c:bubble3D val="0"/>
            <c:spPr>
              <a:solidFill>
                <a:srgbClr val="7ECAC4"/>
              </a:solidFill>
            </c:spPr>
            <c:extLst>
              <c:ext xmlns:c16="http://schemas.microsoft.com/office/drawing/2014/chart" uri="{C3380CC4-5D6E-409C-BE32-E72D297353CC}">
                <c16:uniqueId val="{0000037F-61F5-407B-959D-D24239F5BB85}"/>
              </c:ext>
            </c:extLst>
          </c:dPt>
          <c:dPt>
            <c:idx val="447"/>
            <c:invertIfNegative val="1"/>
            <c:bubble3D val="0"/>
            <c:spPr>
              <a:solidFill>
                <a:srgbClr val="7ECAC4"/>
              </a:solidFill>
            </c:spPr>
            <c:extLst>
              <c:ext xmlns:c16="http://schemas.microsoft.com/office/drawing/2014/chart" uri="{C3380CC4-5D6E-409C-BE32-E72D297353CC}">
                <c16:uniqueId val="{00000381-61F5-407B-959D-D24239F5BB85}"/>
              </c:ext>
            </c:extLst>
          </c:dPt>
          <c:dPt>
            <c:idx val="448"/>
            <c:invertIfNegative val="1"/>
            <c:bubble3D val="0"/>
            <c:spPr>
              <a:solidFill>
                <a:srgbClr val="7ECAC4"/>
              </a:solidFill>
            </c:spPr>
            <c:extLst>
              <c:ext xmlns:c16="http://schemas.microsoft.com/office/drawing/2014/chart" uri="{C3380CC4-5D6E-409C-BE32-E72D297353CC}">
                <c16:uniqueId val="{00000383-61F5-407B-959D-D24239F5BB85}"/>
              </c:ext>
            </c:extLst>
          </c:dPt>
          <c:dPt>
            <c:idx val="449"/>
            <c:invertIfNegative val="1"/>
            <c:bubble3D val="0"/>
            <c:spPr>
              <a:solidFill>
                <a:srgbClr val="7ECAC4"/>
              </a:solidFill>
            </c:spPr>
            <c:extLst>
              <c:ext xmlns:c16="http://schemas.microsoft.com/office/drawing/2014/chart" uri="{C3380CC4-5D6E-409C-BE32-E72D297353CC}">
                <c16:uniqueId val="{00000385-61F5-407B-959D-D24239F5BB85}"/>
              </c:ext>
            </c:extLst>
          </c:dPt>
          <c:dPt>
            <c:idx val="450"/>
            <c:invertIfNegative val="1"/>
            <c:bubble3D val="0"/>
            <c:spPr>
              <a:solidFill>
                <a:srgbClr val="7ECAC4"/>
              </a:solidFill>
            </c:spPr>
            <c:extLst>
              <c:ext xmlns:c16="http://schemas.microsoft.com/office/drawing/2014/chart" uri="{C3380CC4-5D6E-409C-BE32-E72D297353CC}">
                <c16:uniqueId val="{00000387-61F5-407B-959D-D24239F5BB85}"/>
              </c:ext>
            </c:extLst>
          </c:dPt>
          <c:dPt>
            <c:idx val="451"/>
            <c:invertIfNegative val="1"/>
            <c:bubble3D val="0"/>
            <c:spPr>
              <a:solidFill>
                <a:srgbClr val="7ECAC4"/>
              </a:solidFill>
            </c:spPr>
            <c:extLst>
              <c:ext xmlns:c16="http://schemas.microsoft.com/office/drawing/2014/chart" uri="{C3380CC4-5D6E-409C-BE32-E72D297353CC}">
                <c16:uniqueId val="{00000389-61F5-407B-959D-D24239F5BB85}"/>
              </c:ext>
            </c:extLst>
          </c:dPt>
          <c:dPt>
            <c:idx val="452"/>
            <c:invertIfNegative val="1"/>
            <c:bubble3D val="0"/>
            <c:spPr>
              <a:solidFill>
                <a:srgbClr val="7ECAC4"/>
              </a:solidFill>
            </c:spPr>
            <c:extLst>
              <c:ext xmlns:c16="http://schemas.microsoft.com/office/drawing/2014/chart" uri="{C3380CC4-5D6E-409C-BE32-E72D297353CC}">
                <c16:uniqueId val="{0000038B-61F5-407B-959D-D24239F5BB85}"/>
              </c:ext>
            </c:extLst>
          </c:dPt>
          <c:dPt>
            <c:idx val="453"/>
            <c:invertIfNegative val="1"/>
            <c:bubble3D val="0"/>
            <c:spPr>
              <a:solidFill>
                <a:srgbClr val="7ECAC4"/>
              </a:solidFill>
            </c:spPr>
            <c:extLst>
              <c:ext xmlns:c16="http://schemas.microsoft.com/office/drawing/2014/chart" uri="{C3380CC4-5D6E-409C-BE32-E72D297353CC}">
                <c16:uniqueId val="{0000038D-61F5-407B-959D-D24239F5BB85}"/>
              </c:ext>
            </c:extLst>
          </c:dPt>
          <c:dPt>
            <c:idx val="454"/>
            <c:invertIfNegative val="1"/>
            <c:bubble3D val="0"/>
            <c:spPr>
              <a:solidFill>
                <a:srgbClr val="7ECAC4"/>
              </a:solidFill>
            </c:spPr>
            <c:extLst>
              <c:ext xmlns:c16="http://schemas.microsoft.com/office/drawing/2014/chart" uri="{C3380CC4-5D6E-409C-BE32-E72D297353CC}">
                <c16:uniqueId val="{0000038F-61F5-407B-959D-D24239F5BB85}"/>
              </c:ext>
            </c:extLst>
          </c:dPt>
          <c:dPt>
            <c:idx val="455"/>
            <c:invertIfNegative val="1"/>
            <c:bubble3D val="0"/>
            <c:spPr>
              <a:solidFill>
                <a:srgbClr val="7ECAC4"/>
              </a:solidFill>
            </c:spPr>
            <c:extLst>
              <c:ext xmlns:c16="http://schemas.microsoft.com/office/drawing/2014/chart" uri="{C3380CC4-5D6E-409C-BE32-E72D297353CC}">
                <c16:uniqueId val="{00000391-61F5-407B-959D-D24239F5BB85}"/>
              </c:ext>
            </c:extLst>
          </c:dPt>
          <c:dPt>
            <c:idx val="456"/>
            <c:invertIfNegative val="1"/>
            <c:bubble3D val="0"/>
            <c:spPr>
              <a:solidFill>
                <a:srgbClr val="7ECAC4"/>
              </a:solidFill>
            </c:spPr>
            <c:extLst>
              <c:ext xmlns:c16="http://schemas.microsoft.com/office/drawing/2014/chart" uri="{C3380CC4-5D6E-409C-BE32-E72D297353CC}">
                <c16:uniqueId val="{00000393-61F5-407B-959D-D24239F5BB85}"/>
              </c:ext>
            </c:extLst>
          </c:dPt>
          <c:dPt>
            <c:idx val="457"/>
            <c:invertIfNegative val="1"/>
            <c:bubble3D val="0"/>
            <c:spPr>
              <a:solidFill>
                <a:srgbClr val="7ECAC4"/>
              </a:solidFill>
            </c:spPr>
            <c:extLst>
              <c:ext xmlns:c16="http://schemas.microsoft.com/office/drawing/2014/chart" uri="{C3380CC4-5D6E-409C-BE32-E72D297353CC}">
                <c16:uniqueId val="{00000395-61F5-407B-959D-D24239F5BB85}"/>
              </c:ext>
            </c:extLst>
          </c:dPt>
          <c:dPt>
            <c:idx val="458"/>
            <c:invertIfNegative val="1"/>
            <c:bubble3D val="0"/>
            <c:spPr>
              <a:solidFill>
                <a:srgbClr val="7ECAC4"/>
              </a:solidFill>
            </c:spPr>
            <c:extLst>
              <c:ext xmlns:c16="http://schemas.microsoft.com/office/drawing/2014/chart" uri="{C3380CC4-5D6E-409C-BE32-E72D297353CC}">
                <c16:uniqueId val="{00000397-61F5-407B-959D-D24239F5BB85}"/>
              </c:ext>
            </c:extLst>
          </c:dPt>
          <c:dPt>
            <c:idx val="459"/>
            <c:invertIfNegative val="1"/>
            <c:bubble3D val="0"/>
            <c:spPr>
              <a:solidFill>
                <a:srgbClr val="7ECAC4"/>
              </a:solidFill>
            </c:spPr>
            <c:extLst>
              <c:ext xmlns:c16="http://schemas.microsoft.com/office/drawing/2014/chart" uri="{C3380CC4-5D6E-409C-BE32-E72D297353CC}">
                <c16:uniqueId val="{00000399-61F5-407B-959D-D24239F5BB85}"/>
              </c:ext>
            </c:extLst>
          </c:dPt>
          <c:dPt>
            <c:idx val="460"/>
            <c:invertIfNegative val="1"/>
            <c:bubble3D val="0"/>
            <c:spPr>
              <a:solidFill>
                <a:srgbClr val="7ECAC4"/>
              </a:solidFill>
            </c:spPr>
            <c:extLst>
              <c:ext xmlns:c16="http://schemas.microsoft.com/office/drawing/2014/chart" uri="{C3380CC4-5D6E-409C-BE32-E72D297353CC}">
                <c16:uniqueId val="{0000039B-61F5-407B-959D-D24239F5BB85}"/>
              </c:ext>
            </c:extLst>
          </c:dPt>
          <c:dPt>
            <c:idx val="461"/>
            <c:invertIfNegative val="1"/>
            <c:bubble3D val="0"/>
            <c:spPr>
              <a:solidFill>
                <a:srgbClr val="7ECAC4"/>
              </a:solidFill>
            </c:spPr>
            <c:extLst>
              <c:ext xmlns:c16="http://schemas.microsoft.com/office/drawing/2014/chart" uri="{C3380CC4-5D6E-409C-BE32-E72D297353CC}">
                <c16:uniqueId val="{0000039D-61F5-407B-959D-D24239F5BB85}"/>
              </c:ext>
            </c:extLst>
          </c:dPt>
          <c:dPt>
            <c:idx val="462"/>
            <c:invertIfNegative val="1"/>
            <c:bubble3D val="0"/>
            <c:spPr>
              <a:solidFill>
                <a:srgbClr val="7ECAC4"/>
              </a:solidFill>
            </c:spPr>
            <c:extLst>
              <c:ext xmlns:c16="http://schemas.microsoft.com/office/drawing/2014/chart" uri="{C3380CC4-5D6E-409C-BE32-E72D297353CC}">
                <c16:uniqueId val="{0000039F-61F5-407B-959D-D24239F5BB85}"/>
              </c:ext>
            </c:extLst>
          </c:dPt>
          <c:dPt>
            <c:idx val="463"/>
            <c:invertIfNegative val="1"/>
            <c:bubble3D val="0"/>
            <c:spPr>
              <a:solidFill>
                <a:srgbClr val="7ECAC4"/>
              </a:solidFill>
            </c:spPr>
            <c:extLst>
              <c:ext xmlns:c16="http://schemas.microsoft.com/office/drawing/2014/chart" uri="{C3380CC4-5D6E-409C-BE32-E72D297353CC}">
                <c16:uniqueId val="{000003A1-61F5-407B-959D-D24239F5BB85}"/>
              </c:ext>
            </c:extLst>
          </c:dPt>
          <c:dPt>
            <c:idx val="464"/>
            <c:invertIfNegative val="1"/>
            <c:bubble3D val="0"/>
            <c:spPr>
              <a:solidFill>
                <a:srgbClr val="7ECAC4"/>
              </a:solidFill>
            </c:spPr>
            <c:extLst>
              <c:ext xmlns:c16="http://schemas.microsoft.com/office/drawing/2014/chart" uri="{C3380CC4-5D6E-409C-BE32-E72D297353CC}">
                <c16:uniqueId val="{000003A3-61F5-407B-959D-D24239F5BB85}"/>
              </c:ext>
            </c:extLst>
          </c:dPt>
          <c:dPt>
            <c:idx val="465"/>
            <c:invertIfNegative val="1"/>
            <c:bubble3D val="0"/>
            <c:spPr>
              <a:solidFill>
                <a:srgbClr val="7ECAC4"/>
              </a:solidFill>
            </c:spPr>
            <c:extLst>
              <c:ext xmlns:c16="http://schemas.microsoft.com/office/drawing/2014/chart" uri="{C3380CC4-5D6E-409C-BE32-E72D297353CC}">
                <c16:uniqueId val="{000003A5-61F5-407B-959D-D24239F5BB85}"/>
              </c:ext>
            </c:extLst>
          </c:dPt>
          <c:dPt>
            <c:idx val="466"/>
            <c:invertIfNegative val="1"/>
            <c:bubble3D val="0"/>
            <c:spPr>
              <a:solidFill>
                <a:srgbClr val="7ECAC4"/>
              </a:solidFill>
            </c:spPr>
            <c:extLst>
              <c:ext xmlns:c16="http://schemas.microsoft.com/office/drawing/2014/chart" uri="{C3380CC4-5D6E-409C-BE32-E72D297353CC}">
                <c16:uniqueId val="{000003A7-61F5-407B-959D-D24239F5BB85}"/>
              </c:ext>
            </c:extLst>
          </c:dPt>
          <c:dPt>
            <c:idx val="467"/>
            <c:invertIfNegative val="1"/>
            <c:bubble3D val="0"/>
            <c:spPr>
              <a:solidFill>
                <a:srgbClr val="7ECAC4"/>
              </a:solidFill>
            </c:spPr>
            <c:extLst>
              <c:ext xmlns:c16="http://schemas.microsoft.com/office/drawing/2014/chart" uri="{C3380CC4-5D6E-409C-BE32-E72D297353CC}">
                <c16:uniqueId val="{000003A9-61F5-407B-959D-D24239F5BB85}"/>
              </c:ext>
            </c:extLst>
          </c:dPt>
          <c:dPt>
            <c:idx val="468"/>
            <c:invertIfNegative val="1"/>
            <c:bubble3D val="0"/>
            <c:spPr>
              <a:solidFill>
                <a:srgbClr val="7ECAC4"/>
              </a:solidFill>
            </c:spPr>
            <c:extLst>
              <c:ext xmlns:c16="http://schemas.microsoft.com/office/drawing/2014/chart" uri="{C3380CC4-5D6E-409C-BE32-E72D297353CC}">
                <c16:uniqueId val="{000003AB-61F5-407B-959D-D24239F5BB85}"/>
              </c:ext>
            </c:extLst>
          </c:dPt>
          <c:dPt>
            <c:idx val="469"/>
            <c:invertIfNegative val="1"/>
            <c:bubble3D val="0"/>
            <c:spPr>
              <a:solidFill>
                <a:srgbClr val="7ECAC4"/>
              </a:solidFill>
            </c:spPr>
            <c:extLst>
              <c:ext xmlns:c16="http://schemas.microsoft.com/office/drawing/2014/chart" uri="{C3380CC4-5D6E-409C-BE32-E72D297353CC}">
                <c16:uniqueId val="{000003AD-61F5-407B-959D-D24239F5BB85}"/>
              </c:ext>
            </c:extLst>
          </c:dPt>
          <c:dPt>
            <c:idx val="470"/>
            <c:invertIfNegative val="1"/>
            <c:bubble3D val="0"/>
            <c:spPr>
              <a:solidFill>
                <a:srgbClr val="7ECAC4"/>
              </a:solidFill>
            </c:spPr>
            <c:extLst>
              <c:ext xmlns:c16="http://schemas.microsoft.com/office/drawing/2014/chart" uri="{C3380CC4-5D6E-409C-BE32-E72D297353CC}">
                <c16:uniqueId val="{000003AF-61F5-407B-959D-D24239F5BB85}"/>
              </c:ext>
            </c:extLst>
          </c:dPt>
          <c:dPt>
            <c:idx val="471"/>
            <c:invertIfNegative val="1"/>
            <c:bubble3D val="0"/>
            <c:spPr>
              <a:solidFill>
                <a:srgbClr val="7ECAC4"/>
              </a:solidFill>
            </c:spPr>
            <c:extLst>
              <c:ext xmlns:c16="http://schemas.microsoft.com/office/drawing/2014/chart" uri="{C3380CC4-5D6E-409C-BE32-E72D297353CC}">
                <c16:uniqueId val="{000003B1-61F5-407B-959D-D24239F5BB85}"/>
              </c:ext>
            </c:extLst>
          </c:dPt>
          <c:dPt>
            <c:idx val="472"/>
            <c:invertIfNegative val="1"/>
            <c:bubble3D val="0"/>
            <c:spPr>
              <a:solidFill>
                <a:srgbClr val="7ECAC4"/>
              </a:solidFill>
            </c:spPr>
            <c:extLst>
              <c:ext xmlns:c16="http://schemas.microsoft.com/office/drawing/2014/chart" uri="{C3380CC4-5D6E-409C-BE32-E72D297353CC}">
                <c16:uniqueId val="{000003B3-61F5-407B-959D-D24239F5BB85}"/>
              </c:ext>
            </c:extLst>
          </c:dPt>
          <c:dPt>
            <c:idx val="473"/>
            <c:invertIfNegative val="1"/>
            <c:bubble3D val="0"/>
            <c:spPr>
              <a:solidFill>
                <a:srgbClr val="7ECAC4"/>
              </a:solidFill>
            </c:spPr>
            <c:extLst>
              <c:ext xmlns:c16="http://schemas.microsoft.com/office/drawing/2014/chart" uri="{C3380CC4-5D6E-409C-BE32-E72D297353CC}">
                <c16:uniqueId val="{000003B5-61F5-407B-959D-D24239F5BB85}"/>
              </c:ext>
            </c:extLst>
          </c:dPt>
          <c:dPt>
            <c:idx val="474"/>
            <c:invertIfNegative val="1"/>
            <c:bubble3D val="0"/>
            <c:spPr>
              <a:solidFill>
                <a:srgbClr val="7ECAC4"/>
              </a:solidFill>
            </c:spPr>
            <c:extLst>
              <c:ext xmlns:c16="http://schemas.microsoft.com/office/drawing/2014/chart" uri="{C3380CC4-5D6E-409C-BE32-E72D297353CC}">
                <c16:uniqueId val="{000003B7-61F5-407B-959D-D24239F5BB85}"/>
              </c:ext>
            </c:extLst>
          </c:dPt>
          <c:dPt>
            <c:idx val="475"/>
            <c:invertIfNegative val="1"/>
            <c:bubble3D val="0"/>
            <c:spPr>
              <a:solidFill>
                <a:srgbClr val="7ECAC4"/>
              </a:solidFill>
            </c:spPr>
            <c:extLst>
              <c:ext xmlns:c16="http://schemas.microsoft.com/office/drawing/2014/chart" uri="{C3380CC4-5D6E-409C-BE32-E72D297353CC}">
                <c16:uniqueId val="{000003B9-61F5-407B-959D-D24239F5BB85}"/>
              </c:ext>
            </c:extLst>
          </c:dPt>
          <c:dPt>
            <c:idx val="476"/>
            <c:invertIfNegative val="1"/>
            <c:bubble3D val="0"/>
            <c:spPr>
              <a:solidFill>
                <a:srgbClr val="7ECAC4"/>
              </a:solidFill>
            </c:spPr>
            <c:extLst>
              <c:ext xmlns:c16="http://schemas.microsoft.com/office/drawing/2014/chart" uri="{C3380CC4-5D6E-409C-BE32-E72D297353CC}">
                <c16:uniqueId val="{000003BB-61F5-407B-959D-D24239F5BB85}"/>
              </c:ext>
            </c:extLst>
          </c:dPt>
          <c:dPt>
            <c:idx val="477"/>
            <c:invertIfNegative val="1"/>
            <c:bubble3D val="0"/>
            <c:spPr>
              <a:solidFill>
                <a:srgbClr val="7ECAC4"/>
              </a:solidFill>
            </c:spPr>
            <c:extLst>
              <c:ext xmlns:c16="http://schemas.microsoft.com/office/drawing/2014/chart" uri="{C3380CC4-5D6E-409C-BE32-E72D297353CC}">
                <c16:uniqueId val="{000003BD-61F5-407B-959D-D24239F5BB85}"/>
              </c:ext>
            </c:extLst>
          </c:dPt>
          <c:dPt>
            <c:idx val="478"/>
            <c:invertIfNegative val="1"/>
            <c:bubble3D val="0"/>
            <c:spPr>
              <a:solidFill>
                <a:srgbClr val="7ECAC4"/>
              </a:solidFill>
            </c:spPr>
            <c:extLst>
              <c:ext xmlns:c16="http://schemas.microsoft.com/office/drawing/2014/chart" uri="{C3380CC4-5D6E-409C-BE32-E72D297353CC}">
                <c16:uniqueId val="{000003BF-61F5-407B-959D-D24239F5BB85}"/>
              </c:ext>
            </c:extLst>
          </c:dPt>
          <c:dPt>
            <c:idx val="479"/>
            <c:invertIfNegative val="1"/>
            <c:bubble3D val="0"/>
            <c:spPr>
              <a:solidFill>
                <a:srgbClr val="7ECAC4"/>
              </a:solidFill>
            </c:spPr>
            <c:extLst>
              <c:ext xmlns:c16="http://schemas.microsoft.com/office/drawing/2014/chart" uri="{C3380CC4-5D6E-409C-BE32-E72D297353CC}">
                <c16:uniqueId val="{000003C1-61F5-407B-959D-D24239F5BB85}"/>
              </c:ext>
            </c:extLst>
          </c:dPt>
          <c:dPt>
            <c:idx val="480"/>
            <c:invertIfNegative val="1"/>
            <c:bubble3D val="0"/>
            <c:spPr>
              <a:solidFill>
                <a:srgbClr val="7ECAC4"/>
              </a:solidFill>
            </c:spPr>
            <c:extLst>
              <c:ext xmlns:c16="http://schemas.microsoft.com/office/drawing/2014/chart" uri="{C3380CC4-5D6E-409C-BE32-E72D297353CC}">
                <c16:uniqueId val="{000003C3-61F5-407B-959D-D24239F5BB85}"/>
              </c:ext>
            </c:extLst>
          </c:dPt>
          <c:dPt>
            <c:idx val="481"/>
            <c:invertIfNegative val="1"/>
            <c:bubble3D val="0"/>
            <c:spPr>
              <a:solidFill>
                <a:srgbClr val="7ECAC4"/>
              </a:solidFill>
            </c:spPr>
            <c:extLst>
              <c:ext xmlns:c16="http://schemas.microsoft.com/office/drawing/2014/chart" uri="{C3380CC4-5D6E-409C-BE32-E72D297353CC}">
                <c16:uniqueId val="{000003C5-61F5-407B-959D-D24239F5BB85}"/>
              </c:ext>
            </c:extLst>
          </c:dPt>
          <c:dPt>
            <c:idx val="482"/>
            <c:invertIfNegative val="1"/>
            <c:bubble3D val="0"/>
            <c:spPr>
              <a:solidFill>
                <a:srgbClr val="7ECAC4"/>
              </a:solidFill>
            </c:spPr>
            <c:extLst>
              <c:ext xmlns:c16="http://schemas.microsoft.com/office/drawing/2014/chart" uri="{C3380CC4-5D6E-409C-BE32-E72D297353CC}">
                <c16:uniqueId val="{000003C7-61F5-407B-959D-D24239F5BB85}"/>
              </c:ext>
            </c:extLst>
          </c:dPt>
          <c:dPt>
            <c:idx val="483"/>
            <c:invertIfNegative val="1"/>
            <c:bubble3D val="0"/>
            <c:spPr>
              <a:solidFill>
                <a:srgbClr val="7ECAC4"/>
              </a:solidFill>
            </c:spPr>
            <c:extLst>
              <c:ext xmlns:c16="http://schemas.microsoft.com/office/drawing/2014/chart" uri="{C3380CC4-5D6E-409C-BE32-E72D297353CC}">
                <c16:uniqueId val="{000003C9-61F5-407B-959D-D24239F5BB85}"/>
              </c:ext>
            </c:extLst>
          </c:dPt>
          <c:dPt>
            <c:idx val="484"/>
            <c:invertIfNegative val="1"/>
            <c:bubble3D val="0"/>
            <c:spPr>
              <a:solidFill>
                <a:srgbClr val="7ECAC4"/>
              </a:solidFill>
            </c:spPr>
            <c:extLst>
              <c:ext xmlns:c16="http://schemas.microsoft.com/office/drawing/2014/chart" uri="{C3380CC4-5D6E-409C-BE32-E72D297353CC}">
                <c16:uniqueId val="{000003CB-61F5-407B-959D-D24239F5BB85}"/>
              </c:ext>
            </c:extLst>
          </c:dPt>
          <c:dPt>
            <c:idx val="485"/>
            <c:invertIfNegative val="1"/>
            <c:bubble3D val="0"/>
            <c:spPr>
              <a:solidFill>
                <a:srgbClr val="7ECAC4"/>
              </a:solidFill>
            </c:spPr>
            <c:extLst>
              <c:ext xmlns:c16="http://schemas.microsoft.com/office/drawing/2014/chart" uri="{C3380CC4-5D6E-409C-BE32-E72D297353CC}">
                <c16:uniqueId val="{000003CD-61F5-407B-959D-D24239F5BB85}"/>
              </c:ext>
            </c:extLst>
          </c:dPt>
          <c:dPt>
            <c:idx val="486"/>
            <c:invertIfNegative val="1"/>
            <c:bubble3D val="0"/>
            <c:spPr>
              <a:solidFill>
                <a:srgbClr val="7ECAC4"/>
              </a:solidFill>
            </c:spPr>
            <c:extLst>
              <c:ext xmlns:c16="http://schemas.microsoft.com/office/drawing/2014/chart" uri="{C3380CC4-5D6E-409C-BE32-E72D297353CC}">
                <c16:uniqueId val="{000003CF-61F5-407B-959D-D24239F5BB85}"/>
              </c:ext>
            </c:extLst>
          </c:dPt>
          <c:dPt>
            <c:idx val="487"/>
            <c:invertIfNegative val="1"/>
            <c:bubble3D val="0"/>
            <c:spPr>
              <a:solidFill>
                <a:srgbClr val="7ECAC4"/>
              </a:solidFill>
            </c:spPr>
            <c:extLst>
              <c:ext xmlns:c16="http://schemas.microsoft.com/office/drawing/2014/chart" uri="{C3380CC4-5D6E-409C-BE32-E72D297353CC}">
                <c16:uniqueId val="{000003D1-61F5-407B-959D-D24239F5BB85}"/>
              </c:ext>
            </c:extLst>
          </c:dPt>
          <c:dPt>
            <c:idx val="488"/>
            <c:invertIfNegative val="1"/>
            <c:bubble3D val="0"/>
            <c:spPr>
              <a:solidFill>
                <a:srgbClr val="7ECAC4"/>
              </a:solidFill>
            </c:spPr>
            <c:extLst>
              <c:ext xmlns:c16="http://schemas.microsoft.com/office/drawing/2014/chart" uri="{C3380CC4-5D6E-409C-BE32-E72D297353CC}">
                <c16:uniqueId val="{000003D3-61F5-407B-959D-D24239F5BB85}"/>
              </c:ext>
            </c:extLst>
          </c:dPt>
          <c:dPt>
            <c:idx val="489"/>
            <c:invertIfNegative val="1"/>
            <c:bubble3D val="0"/>
            <c:spPr>
              <a:solidFill>
                <a:srgbClr val="7ECAC4"/>
              </a:solidFill>
            </c:spPr>
            <c:extLst>
              <c:ext xmlns:c16="http://schemas.microsoft.com/office/drawing/2014/chart" uri="{C3380CC4-5D6E-409C-BE32-E72D297353CC}">
                <c16:uniqueId val="{000003D5-61F5-407B-959D-D24239F5BB85}"/>
              </c:ext>
            </c:extLst>
          </c:dPt>
          <c:dPt>
            <c:idx val="490"/>
            <c:invertIfNegative val="1"/>
            <c:bubble3D val="0"/>
            <c:spPr>
              <a:solidFill>
                <a:srgbClr val="7ECAC4"/>
              </a:solidFill>
            </c:spPr>
            <c:extLst>
              <c:ext xmlns:c16="http://schemas.microsoft.com/office/drawing/2014/chart" uri="{C3380CC4-5D6E-409C-BE32-E72D297353CC}">
                <c16:uniqueId val="{000003D7-61F5-407B-959D-D24239F5BB85}"/>
              </c:ext>
            </c:extLst>
          </c:dPt>
          <c:dPt>
            <c:idx val="491"/>
            <c:invertIfNegative val="1"/>
            <c:bubble3D val="0"/>
            <c:spPr>
              <a:solidFill>
                <a:srgbClr val="7ECAC4"/>
              </a:solidFill>
            </c:spPr>
            <c:extLst>
              <c:ext xmlns:c16="http://schemas.microsoft.com/office/drawing/2014/chart" uri="{C3380CC4-5D6E-409C-BE32-E72D297353CC}">
                <c16:uniqueId val="{000003D9-61F5-407B-959D-D24239F5BB85}"/>
              </c:ext>
            </c:extLst>
          </c:dPt>
          <c:dPt>
            <c:idx val="492"/>
            <c:invertIfNegative val="1"/>
            <c:bubble3D val="0"/>
            <c:spPr>
              <a:solidFill>
                <a:srgbClr val="7ECAC4"/>
              </a:solidFill>
            </c:spPr>
            <c:extLst>
              <c:ext xmlns:c16="http://schemas.microsoft.com/office/drawing/2014/chart" uri="{C3380CC4-5D6E-409C-BE32-E72D297353CC}">
                <c16:uniqueId val="{000003DB-61F5-407B-959D-D24239F5BB85}"/>
              </c:ext>
            </c:extLst>
          </c:dPt>
          <c:dPt>
            <c:idx val="493"/>
            <c:invertIfNegative val="1"/>
            <c:bubble3D val="0"/>
            <c:spPr>
              <a:solidFill>
                <a:srgbClr val="7ECAC4"/>
              </a:solidFill>
            </c:spPr>
            <c:extLst>
              <c:ext xmlns:c16="http://schemas.microsoft.com/office/drawing/2014/chart" uri="{C3380CC4-5D6E-409C-BE32-E72D297353CC}">
                <c16:uniqueId val="{000003DD-61F5-407B-959D-D24239F5BB85}"/>
              </c:ext>
            </c:extLst>
          </c:dPt>
          <c:dPt>
            <c:idx val="494"/>
            <c:invertIfNegative val="1"/>
            <c:bubble3D val="0"/>
            <c:spPr>
              <a:solidFill>
                <a:srgbClr val="7ECAC4"/>
              </a:solidFill>
            </c:spPr>
            <c:extLst>
              <c:ext xmlns:c16="http://schemas.microsoft.com/office/drawing/2014/chart" uri="{C3380CC4-5D6E-409C-BE32-E72D297353CC}">
                <c16:uniqueId val="{000003DF-61F5-407B-959D-D24239F5BB85}"/>
              </c:ext>
            </c:extLst>
          </c:dPt>
          <c:dPt>
            <c:idx val="495"/>
            <c:invertIfNegative val="1"/>
            <c:bubble3D val="0"/>
            <c:spPr>
              <a:solidFill>
                <a:srgbClr val="7ECAC4"/>
              </a:solidFill>
            </c:spPr>
            <c:extLst>
              <c:ext xmlns:c16="http://schemas.microsoft.com/office/drawing/2014/chart" uri="{C3380CC4-5D6E-409C-BE32-E72D297353CC}">
                <c16:uniqueId val="{000003E1-61F5-407B-959D-D24239F5BB85}"/>
              </c:ext>
            </c:extLst>
          </c:dPt>
          <c:dPt>
            <c:idx val="496"/>
            <c:invertIfNegative val="1"/>
            <c:bubble3D val="0"/>
            <c:spPr>
              <a:solidFill>
                <a:srgbClr val="7ECAC4"/>
              </a:solidFill>
            </c:spPr>
            <c:extLst>
              <c:ext xmlns:c16="http://schemas.microsoft.com/office/drawing/2014/chart" uri="{C3380CC4-5D6E-409C-BE32-E72D297353CC}">
                <c16:uniqueId val="{000003E3-61F5-407B-959D-D24239F5BB85}"/>
              </c:ext>
            </c:extLst>
          </c:dPt>
          <c:dPt>
            <c:idx val="497"/>
            <c:invertIfNegative val="1"/>
            <c:bubble3D val="0"/>
            <c:spPr>
              <a:solidFill>
                <a:srgbClr val="7ECAC4"/>
              </a:solidFill>
            </c:spPr>
            <c:extLst>
              <c:ext xmlns:c16="http://schemas.microsoft.com/office/drawing/2014/chart" uri="{C3380CC4-5D6E-409C-BE32-E72D297353CC}">
                <c16:uniqueId val="{000003E5-61F5-407B-959D-D24239F5BB85}"/>
              </c:ext>
            </c:extLst>
          </c:dPt>
          <c:dPt>
            <c:idx val="498"/>
            <c:invertIfNegative val="1"/>
            <c:bubble3D val="0"/>
            <c:spPr>
              <a:solidFill>
                <a:srgbClr val="7ECAC4"/>
              </a:solidFill>
            </c:spPr>
            <c:extLst>
              <c:ext xmlns:c16="http://schemas.microsoft.com/office/drawing/2014/chart" uri="{C3380CC4-5D6E-409C-BE32-E72D297353CC}">
                <c16:uniqueId val="{000003E7-61F5-407B-959D-D24239F5BB85}"/>
              </c:ext>
            </c:extLst>
          </c:dPt>
          <c:dPt>
            <c:idx val="499"/>
            <c:invertIfNegative val="1"/>
            <c:bubble3D val="0"/>
            <c:spPr>
              <a:solidFill>
                <a:srgbClr val="7ECAC4"/>
              </a:solidFill>
            </c:spPr>
            <c:extLst>
              <c:ext xmlns:c16="http://schemas.microsoft.com/office/drawing/2014/chart" uri="{C3380CC4-5D6E-409C-BE32-E72D297353CC}">
                <c16:uniqueId val="{000003E9-61F5-407B-959D-D24239F5BB85}"/>
              </c:ext>
            </c:extLst>
          </c:dPt>
          <c:dPt>
            <c:idx val="500"/>
            <c:invertIfNegative val="1"/>
            <c:bubble3D val="0"/>
            <c:spPr>
              <a:solidFill>
                <a:srgbClr val="7ECAC4"/>
              </a:solidFill>
            </c:spPr>
            <c:extLst>
              <c:ext xmlns:c16="http://schemas.microsoft.com/office/drawing/2014/chart" uri="{C3380CC4-5D6E-409C-BE32-E72D297353CC}">
                <c16:uniqueId val="{000003EB-61F5-407B-959D-D24239F5BB85}"/>
              </c:ext>
            </c:extLst>
          </c:dPt>
          <c:dPt>
            <c:idx val="501"/>
            <c:invertIfNegative val="1"/>
            <c:bubble3D val="0"/>
            <c:spPr>
              <a:solidFill>
                <a:srgbClr val="7ECAC4"/>
              </a:solidFill>
            </c:spPr>
            <c:extLst>
              <c:ext xmlns:c16="http://schemas.microsoft.com/office/drawing/2014/chart" uri="{C3380CC4-5D6E-409C-BE32-E72D297353CC}">
                <c16:uniqueId val="{000003ED-61F5-407B-959D-D24239F5BB85}"/>
              </c:ext>
            </c:extLst>
          </c:dPt>
          <c:dPt>
            <c:idx val="502"/>
            <c:invertIfNegative val="1"/>
            <c:bubble3D val="0"/>
            <c:spPr>
              <a:solidFill>
                <a:srgbClr val="7ECAC4"/>
              </a:solidFill>
            </c:spPr>
            <c:extLst>
              <c:ext xmlns:c16="http://schemas.microsoft.com/office/drawing/2014/chart" uri="{C3380CC4-5D6E-409C-BE32-E72D297353CC}">
                <c16:uniqueId val="{000003EF-61F5-407B-959D-D24239F5BB85}"/>
              </c:ext>
            </c:extLst>
          </c:dPt>
          <c:dPt>
            <c:idx val="503"/>
            <c:invertIfNegative val="1"/>
            <c:bubble3D val="0"/>
            <c:spPr>
              <a:solidFill>
                <a:srgbClr val="7ECAC4"/>
              </a:solidFill>
            </c:spPr>
            <c:extLst>
              <c:ext xmlns:c16="http://schemas.microsoft.com/office/drawing/2014/chart" uri="{C3380CC4-5D6E-409C-BE32-E72D297353CC}">
                <c16:uniqueId val="{000003F1-61F5-407B-959D-D24239F5BB85}"/>
              </c:ext>
            </c:extLst>
          </c:dPt>
          <c:dPt>
            <c:idx val="504"/>
            <c:invertIfNegative val="1"/>
            <c:bubble3D val="0"/>
            <c:spPr>
              <a:solidFill>
                <a:srgbClr val="7ECAC4"/>
              </a:solidFill>
            </c:spPr>
            <c:extLst>
              <c:ext xmlns:c16="http://schemas.microsoft.com/office/drawing/2014/chart" uri="{C3380CC4-5D6E-409C-BE32-E72D297353CC}">
                <c16:uniqueId val="{000003F3-61F5-407B-959D-D24239F5BB85}"/>
              </c:ext>
            </c:extLst>
          </c:dPt>
          <c:dPt>
            <c:idx val="505"/>
            <c:invertIfNegative val="1"/>
            <c:bubble3D val="0"/>
            <c:spPr>
              <a:solidFill>
                <a:srgbClr val="7ECAC4"/>
              </a:solidFill>
            </c:spPr>
            <c:extLst>
              <c:ext xmlns:c16="http://schemas.microsoft.com/office/drawing/2014/chart" uri="{C3380CC4-5D6E-409C-BE32-E72D297353CC}">
                <c16:uniqueId val="{000003F5-61F5-407B-959D-D24239F5BB85}"/>
              </c:ext>
            </c:extLst>
          </c:dPt>
          <c:dPt>
            <c:idx val="506"/>
            <c:invertIfNegative val="1"/>
            <c:bubble3D val="0"/>
            <c:spPr>
              <a:solidFill>
                <a:srgbClr val="7ECAC4"/>
              </a:solidFill>
            </c:spPr>
            <c:extLst>
              <c:ext xmlns:c16="http://schemas.microsoft.com/office/drawing/2014/chart" uri="{C3380CC4-5D6E-409C-BE32-E72D297353CC}">
                <c16:uniqueId val="{000003F7-61F5-407B-959D-D24239F5BB85}"/>
              </c:ext>
            </c:extLst>
          </c:dPt>
          <c:dPt>
            <c:idx val="507"/>
            <c:invertIfNegative val="1"/>
            <c:bubble3D val="0"/>
            <c:spPr>
              <a:solidFill>
                <a:srgbClr val="7ECAC4"/>
              </a:solidFill>
            </c:spPr>
            <c:extLst>
              <c:ext xmlns:c16="http://schemas.microsoft.com/office/drawing/2014/chart" uri="{C3380CC4-5D6E-409C-BE32-E72D297353CC}">
                <c16:uniqueId val="{000003F9-61F5-407B-959D-D24239F5BB85}"/>
              </c:ext>
            </c:extLst>
          </c:dPt>
          <c:dPt>
            <c:idx val="508"/>
            <c:invertIfNegative val="1"/>
            <c:bubble3D val="0"/>
            <c:spPr>
              <a:solidFill>
                <a:srgbClr val="7ECAC4"/>
              </a:solidFill>
            </c:spPr>
            <c:extLst>
              <c:ext xmlns:c16="http://schemas.microsoft.com/office/drawing/2014/chart" uri="{C3380CC4-5D6E-409C-BE32-E72D297353CC}">
                <c16:uniqueId val="{000003FB-61F5-407B-959D-D24239F5BB85}"/>
              </c:ext>
            </c:extLst>
          </c:dPt>
          <c:dPt>
            <c:idx val="509"/>
            <c:invertIfNegative val="1"/>
            <c:bubble3D val="0"/>
            <c:spPr>
              <a:solidFill>
                <a:srgbClr val="7ECAC4"/>
              </a:solidFill>
            </c:spPr>
            <c:extLst>
              <c:ext xmlns:c16="http://schemas.microsoft.com/office/drawing/2014/chart" uri="{C3380CC4-5D6E-409C-BE32-E72D297353CC}">
                <c16:uniqueId val="{000003FD-61F5-407B-959D-D24239F5BB85}"/>
              </c:ext>
            </c:extLst>
          </c:dPt>
          <c:dPt>
            <c:idx val="510"/>
            <c:invertIfNegative val="1"/>
            <c:bubble3D val="0"/>
            <c:spPr>
              <a:solidFill>
                <a:srgbClr val="7ECAC4"/>
              </a:solidFill>
            </c:spPr>
            <c:extLst>
              <c:ext xmlns:c16="http://schemas.microsoft.com/office/drawing/2014/chart" uri="{C3380CC4-5D6E-409C-BE32-E72D297353CC}">
                <c16:uniqueId val="{000003FF-61F5-407B-959D-D24239F5BB85}"/>
              </c:ext>
            </c:extLst>
          </c:dPt>
          <c:dPt>
            <c:idx val="511"/>
            <c:invertIfNegative val="1"/>
            <c:bubble3D val="0"/>
            <c:spPr>
              <a:solidFill>
                <a:srgbClr val="7ECAC4"/>
              </a:solidFill>
            </c:spPr>
            <c:extLst>
              <c:ext xmlns:c16="http://schemas.microsoft.com/office/drawing/2014/chart" uri="{C3380CC4-5D6E-409C-BE32-E72D297353CC}">
                <c16:uniqueId val="{00000401-61F5-407B-959D-D24239F5BB85}"/>
              </c:ext>
            </c:extLst>
          </c:dPt>
          <c:dPt>
            <c:idx val="512"/>
            <c:invertIfNegative val="1"/>
            <c:bubble3D val="0"/>
            <c:spPr>
              <a:solidFill>
                <a:srgbClr val="7ECAC4"/>
              </a:solidFill>
            </c:spPr>
            <c:extLst>
              <c:ext xmlns:c16="http://schemas.microsoft.com/office/drawing/2014/chart" uri="{C3380CC4-5D6E-409C-BE32-E72D297353CC}">
                <c16:uniqueId val="{00000403-61F5-407B-959D-D24239F5BB85}"/>
              </c:ext>
            </c:extLst>
          </c:dPt>
          <c:dPt>
            <c:idx val="513"/>
            <c:invertIfNegative val="1"/>
            <c:bubble3D val="0"/>
            <c:spPr>
              <a:solidFill>
                <a:srgbClr val="7ECAC4"/>
              </a:solidFill>
            </c:spPr>
            <c:extLst>
              <c:ext xmlns:c16="http://schemas.microsoft.com/office/drawing/2014/chart" uri="{C3380CC4-5D6E-409C-BE32-E72D297353CC}">
                <c16:uniqueId val="{00000405-61F5-407B-959D-D24239F5BB85}"/>
              </c:ext>
            </c:extLst>
          </c:dPt>
          <c:dPt>
            <c:idx val="514"/>
            <c:invertIfNegative val="1"/>
            <c:bubble3D val="0"/>
            <c:spPr>
              <a:solidFill>
                <a:srgbClr val="7ECAC4"/>
              </a:solidFill>
            </c:spPr>
            <c:extLst>
              <c:ext xmlns:c16="http://schemas.microsoft.com/office/drawing/2014/chart" uri="{C3380CC4-5D6E-409C-BE32-E72D297353CC}">
                <c16:uniqueId val="{00000407-61F5-407B-959D-D24239F5BB85}"/>
              </c:ext>
            </c:extLst>
          </c:dPt>
          <c:dPt>
            <c:idx val="515"/>
            <c:invertIfNegative val="1"/>
            <c:bubble3D val="0"/>
            <c:spPr>
              <a:solidFill>
                <a:srgbClr val="7ECAC4"/>
              </a:solidFill>
            </c:spPr>
            <c:extLst>
              <c:ext xmlns:c16="http://schemas.microsoft.com/office/drawing/2014/chart" uri="{C3380CC4-5D6E-409C-BE32-E72D297353CC}">
                <c16:uniqueId val="{00000409-61F5-407B-959D-D24239F5BB85}"/>
              </c:ext>
            </c:extLst>
          </c:dPt>
          <c:dPt>
            <c:idx val="516"/>
            <c:invertIfNegative val="1"/>
            <c:bubble3D val="0"/>
            <c:spPr>
              <a:solidFill>
                <a:srgbClr val="7ECAC4"/>
              </a:solidFill>
            </c:spPr>
            <c:extLst>
              <c:ext xmlns:c16="http://schemas.microsoft.com/office/drawing/2014/chart" uri="{C3380CC4-5D6E-409C-BE32-E72D297353CC}">
                <c16:uniqueId val="{0000040B-61F5-407B-959D-D24239F5BB85}"/>
              </c:ext>
            </c:extLst>
          </c:dPt>
          <c:dPt>
            <c:idx val="517"/>
            <c:invertIfNegative val="1"/>
            <c:bubble3D val="0"/>
            <c:spPr>
              <a:solidFill>
                <a:srgbClr val="7ECAC4"/>
              </a:solidFill>
            </c:spPr>
            <c:extLst>
              <c:ext xmlns:c16="http://schemas.microsoft.com/office/drawing/2014/chart" uri="{C3380CC4-5D6E-409C-BE32-E72D297353CC}">
                <c16:uniqueId val="{0000040D-61F5-407B-959D-D24239F5BB85}"/>
              </c:ext>
            </c:extLst>
          </c:dPt>
          <c:dPt>
            <c:idx val="518"/>
            <c:invertIfNegative val="1"/>
            <c:bubble3D val="0"/>
            <c:spPr>
              <a:solidFill>
                <a:srgbClr val="7ECAC4"/>
              </a:solidFill>
            </c:spPr>
            <c:extLst>
              <c:ext xmlns:c16="http://schemas.microsoft.com/office/drawing/2014/chart" uri="{C3380CC4-5D6E-409C-BE32-E72D297353CC}">
                <c16:uniqueId val="{0000040F-61F5-407B-959D-D24239F5BB85}"/>
              </c:ext>
            </c:extLst>
          </c:dPt>
          <c:dPt>
            <c:idx val="519"/>
            <c:invertIfNegative val="1"/>
            <c:bubble3D val="0"/>
            <c:spPr>
              <a:solidFill>
                <a:srgbClr val="7ECAC4"/>
              </a:solidFill>
            </c:spPr>
            <c:extLst>
              <c:ext xmlns:c16="http://schemas.microsoft.com/office/drawing/2014/chart" uri="{C3380CC4-5D6E-409C-BE32-E72D297353CC}">
                <c16:uniqueId val="{00000411-61F5-407B-959D-D24239F5BB85}"/>
              </c:ext>
            </c:extLst>
          </c:dPt>
          <c:dPt>
            <c:idx val="520"/>
            <c:invertIfNegative val="1"/>
            <c:bubble3D val="0"/>
            <c:spPr>
              <a:solidFill>
                <a:srgbClr val="7ECAC4"/>
              </a:solidFill>
            </c:spPr>
            <c:extLst>
              <c:ext xmlns:c16="http://schemas.microsoft.com/office/drawing/2014/chart" uri="{C3380CC4-5D6E-409C-BE32-E72D297353CC}">
                <c16:uniqueId val="{00000413-61F5-407B-959D-D24239F5BB85}"/>
              </c:ext>
            </c:extLst>
          </c:dPt>
          <c:dPt>
            <c:idx val="521"/>
            <c:invertIfNegative val="1"/>
            <c:bubble3D val="0"/>
            <c:spPr>
              <a:solidFill>
                <a:srgbClr val="7ECAC4"/>
              </a:solidFill>
            </c:spPr>
            <c:extLst>
              <c:ext xmlns:c16="http://schemas.microsoft.com/office/drawing/2014/chart" uri="{C3380CC4-5D6E-409C-BE32-E72D297353CC}">
                <c16:uniqueId val="{00000415-61F5-407B-959D-D24239F5BB85}"/>
              </c:ext>
            </c:extLst>
          </c:dPt>
          <c:dPt>
            <c:idx val="522"/>
            <c:invertIfNegative val="1"/>
            <c:bubble3D val="0"/>
            <c:spPr>
              <a:solidFill>
                <a:srgbClr val="7ECAC4"/>
              </a:solidFill>
            </c:spPr>
            <c:extLst>
              <c:ext xmlns:c16="http://schemas.microsoft.com/office/drawing/2014/chart" uri="{C3380CC4-5D6E-409C-BE32-E72D297353CC}">
                <c16:uniqueId val="{00000417-61F5-407B-959D-D24239F5BB85}"/>
              </c:ext>
            </c:extLst>
          </c:dPt>
          <c:dPt>
            <c:idx val="523"/>
            <c:invertIfNegative val="1"/>
            <c:bubble3D val="0"/>
            <c:spPr>
              <a:solidFill>
                <a:srgbClr val="7ECAC4"/>
              </a:solidFill>
            </c:spPr>
            <c:extLst>
              <c:ext xmlns:c16="http://schemas.microsoft.com/office/drawing/2014/chart" uri="{C3380CC4-5D6E-409C-BE32-E72D297353CC}">
                <c16:uniqueId val="{00000419-61F5-407B-959D-D24239F5BB85}"/>
              </c:ext>
            </c:extLst>
          </c:dPt>
          <c:dPt>
            <c:idx val="524"/>
            <c:invertIfNegative val="1"/>
            <c:bubble3D val="0"/>
            <c:spPr>
              <a:solidFill>
                <a:srgbClr val="7ECAC4"/>
              </a:solidFill>
            </c:spPr>
            <c:extLst>
              <c:ext xmlns:c16="http://schemas.microsoft.com/office/drawing/2014/chart" uri="{C3380CC4-5D6E-409C-BE32-E72D297353CC}">
                <c16:uniqueId val="{0000041B-61F5-407B-959D-D24239F5BB85}"/>
              </c:ext>
            </c:extLst>
          </c:dPt>
          <c:dPt>
            <c:idx val="525"/>
            <c:invertIfNegative val="1"/>
            <c:bubble3D val="0"/>
            <c:spPr>
              <a:solidFill>
                <a:srgbClr val="7ECAC4"/>
              </a:solidFill>
            </c:spPr>
            <c:extLst>
              <c:ext xmlns:c16="http://schemas.microsoft.com/office/drawing/2014/chart" uri="{C3380CC4-5D6E-409C-BE32-E72D297353CC}">
                <c16:uniqueId val="{0000041D-61F5-407B-959D-D24239F5BB85}"/>
              </c:ext>
            </c:extLst>
          </c:dPt>
          <c:dPt>
            <c:idx val="526"/>
            <c:invertIfNegative val="1"/>
            <c:bubble3D val="0"/>
            <c:spPr>
              <a:solidFill>
                <a:srgbClr val="7ECAC4"/>
              </a:solidFill>
            </c:spPr>
            <c:extLst>
              <c:ext xmlns:c16="http://schemas.microsoft.com/office/drawing/2014/chart" uri="{C3380CC4-5D6E-409C-BE32-E72D297353CC}">
                <c16:uniqueId val="{0000041F-61F5-407B-959D-D24239F5BB85}"/>
              </c:ext>
            </c:extLst>
          </c:dPt>
          <c:dPt>
            <c:idx val="527"/>
            <c:invertIfNegative val="1"/>
            <c:bubble3D val="0"/>
            <c:spPr>
              <a:solidFill>
                <a:srgbClr val="7ECAC4"/>
              </a:solidFill>
            </c:spPr>
            <c:extLst>
              <c:ext xmlns:c16="http://schemas.microsoft.com/office/drawing/2014/chart" uri="{C3380CC4-5D6E-409C-BE32-E72D297353CC}">
                <c16:uniqueId val="{00000421-61F5-407B-959D-D24239F5BB85}"/>
              </c:ext>
            </c:extLst>
          </c:dPt>
          <c:dPt>
            <c:idx val="528"/>
            <c:invertIfNegative val="1"/>
            <c:bubble3D val="0"/>
            <c:spPr>
              <a:solidFill>
                <a:srgbClr val="7ECAC4"/>
              </a:solidFill>
            </c:spPr>
            <c:extLst>
              <c:ext xmlns:c16="http://schemas.microsoft.com/office/drawing/2014/chart" uri="{C3380CC4-5D6E-409C-BE32-E72D297353CC}">
                <c16:uniqueId val="{00000423-61F5-407B-959D-D24239F5BB85}"/>
              </c:ext>
            </c:extLst>
          </c:dPt>
          <c:dPt>
            <c:idx val="529"/>
            <c:invertIfNegative val="1"/>
            <c:bubble3D val="0"/>
            <c:spPr>
              <a:solidFill>
                <a:srgbClr val="7ECAC4"/>
              </a:solidFill>
            </c:spPr>
            <c:extLst>
              <c:ext xmlns:c16="http://schemas.microsoft.com/office/drawing/2014/chart" uri="{C3380CC4-5D6E-409C-BE32-E72D297353CC}">
                <c16:uniqueId val="{00000425-61F5-407B-959D-D24239F5BB85}"/>
              </c:ext>
            </c:extLst>
          </c:dPt>
          <c:dPt>
            <c:idx val="530"/>
            <c:invertIfNegative val="1"/>
            <c:bubble3D val="0"/>
            <c:spPr>
              <a:solidFill>
                <a:srgbClr val="7ECAC4"/>
              </a:solidFill>
            </c:spPr>
            <c:extLst>
              <c:ext xmlns:c16="http://schemas.microsoft.com/office/drawing/2014/chart" uri="{C3380CC4-5D6E-409C-BE32-E72D297353CC}">
                <c16:uniqueId val="{00000427-61F5-407B-959D-D24239F5BB85}"/>
              </c:ext>
            </c:extLst>
          </c:dPt>
          <c:dPt>
            <c:idx val="531"/>
            <c:invertIfNegative val="1"/>
            <c:bubble3D val="0"/>
            <c:spPr>
              <a:solidFill>
                <a:srgbClr val="7ECAC4"/>
              </a:solidFill>
            </c:spPr>
            <c:extLst>
              <c:ext xmlns:c16="http://schemas.microsoft.com/office/drawing/2014/chart" uri="{C3380CC4-5D6E-409C-BE32-E72D297353CC}">
                <c16:uniqueId val="{00000429-61F5-407B-959D-D24239F5BB85}"/>
              </c:ext>
            </c:extLst>
          </c:dPt>
          <c:dPt>
            <c:idx val="532"/>
            <c:invertIfNegative val="1"/>
            <c:bubble3D val="0"/>
            <c:spPr>
              <a:solidFill>
                <a:srgbClr val="7ECAC4"/>
              </a:solidFill>
            </c:spPr>
            <c:extLst>
              <c:ext xmlns:c16="http://schemas.microsoft.com/office/drawing/2014/chart" uri="{C3380CC4-5D6E-409C-BE32-E72D297353CC}">
                <c16:uniqueId val="{0000042B-61F5-407B-959D-D24239F5BB85}"/>
              </c:ext>
            </c:extLst>
          </c:dPt>
          <c:dPt>
            <c:idx val="533"/>
            <c:invertIfNegative val="1"/>
            <c:bubble3D val="0"/>
            <c:spPr>
              <a:solidFill>
                <a:srgbClr val="7ECAC4"/>
              </a:solidFill>
            </c:spPr>
            <c:extLst>
              <c:ext xmlns:c16="http://schemas.microsoft.com/office/drawing/2014/chart" uri="{C3380CC4-5D6E-409C-BE32-E72D297353CC}">
                <c16:uniqueId val="{0000042D-61F5-407B-959D-D24239F5BB85}"/>
              </c:ext>
            </c:extLst>
          </c:dPt>
          <c:dPt>
            <c:idx val="534"/>
            <c:invertIfNegative val="1"/>
            <c:bubble3D val="0"/>
            <c:spPr>
              <a:solidFill>
                <a:srgbClr val="7ECAC4"/>
              </a:solidFill>
            </c:spPr>
            <c:extLst>
              <c:ext xmlns:c16="http://schemas.microsoft.com/office/drawing/2014/chart" uri="{C3380CC4-5D6E-409C-BE32-E72D297353CC}">
                <c16:uniqueId val="{0000042F-61F5-407B-959D-D24239F5BB85}"/>
              </c:ext>
            </c:extLst>
          </c:dPt>
          <c:dPt>
            <c:idx val="535"/>
            <c:invertIfNegative val="1"/>
            <c:bubble3D val="0"/>
            <c:spPr>
              <a:solidFill>
                <a:srgbClr val="7ECAC4"/>
              </a:solidFill>
            </c:spPr>
            <c:extLst>
              <c:ext xmlns:c16="http://schemas.microsoft.com/office/drawing/2014/chart" uri="{C3380CC4-5D6E-409C-BE32-E72D297353CC}">
                <c16:uniqueId val="{00000431-61F5-407B-959D-D24239F5BB85}"/>
              </c:ext>
            </c:extLst>
          </c:dPt>
          <c:dPt>
            <c:idx val="536"/>
            <c:invertIfNegative val="1"/>
            <c:bubble3D val="0"/>
            <c:spPr>
              <a:solidFill>
                <a:srgbClr val="7ECAC4"/>
              </a:solidFill>
            </c:spPr>
            <c:extLst>
              <c:ext xmlns:c16="http://schemas.microsoft.com/office/drawing/2014/chart" uri="{C3380CC4-5D6E-409C-BE32-E72D297353CC}">
                <c16:uniqueId val="{00000433-61F5-407B-959D-D24239F5BB85}"/>
              </c:ext>
            </c:extLst>
          </c:dPt>
          <c:dPt>
            <c:idx val="537"/>
            <c:invertIfNegative val="1"/>
            <c:bubble3D val="0"/>
            <c:spPr>
              <a:solidFill>
                <a:srgbClr val="7ECAC4"/>
              </a:solidFill>
            </c:spPr>
            <c:extLst>
              <c:ext xmlns:c16="http://schemas.microsoft.com/office/drawing/2014/chart" uri="{C3380CC4-5D6E-409C-BE32-E72D297353CC}">
                <c16:uniqueId val="{00000435-61F5-407B-959D-D24239F5BB85}"/>
              </c:ext>
            </c:extLst>
          </c:dPt>
          <c:dPt>
            <c:idx val="538"/>
            <c:invertIfNegative val="1"/>
            <c:bubble3D val="0"/>
            <c:spPr>
              <a:solidFill>
                <a:srgbClr val="7ECAC4"/>
              </a:solidFill>
            </c:spPr>
            <c:extLst>
              <c:ext xmlns:c16="http://schemas.microsoft.com/office/drawing/2014/chart" uri="{C3380CC4-5D6E-409C-BE32-E72D297353CC}">
                <c16:uniqueId val="{00000437-61F5-407B-959D-D24239F5BB85}"/>
              </c:ext>
            </c:extLst>
          </c:dPt>
          <c:dPt>
            <c:idx val="539"/>
            <c:invertIfNegative val="1"/>
            <c:bubble3D val="0"/>
            <c:spPr>
              <a:solidFill>
                <a:srgbClr val="7ECAC4"/>
              </a:solidFill>
            </c:spPr>
            <c:extLst>
              <c:ext xmlns:c16="http://schemas.microsoft.com/office/drawing/2014/chart" uri="{C3380CC4-5D6E-409C-BE32-E72D297353CC}">
                <c16:uniqueId val="{00000439-61F5-407B-959D-D24239F5BB85}"/>
              </c:ext>
            </c:extLst>
          </c:dPt>
          <c:dPt>
            <c:idx val="540"/>
            <c:invertIfNegative val="1"/>
            <c:bubble3D val="0"/>
            <c:spPr>
              <a:solidFill>
                <a:srgbClr val="7ECAC4"/>
              </a:solidFill>
            </c:spPr>
            <c:extLst>
              <c:ext xmlns:c16="http://schemas.microsoft.com/office/drawing/2014/chart" uri="{C3380CC4-5D6E-409C-BE32-E72D297353CC}">
                <c16:uniqueId val="{0000043B-61F5-407B-959D-D24239F5BB85}"/>
              </c:ext>
            </c:extLst>
          </c:dPt>
          <c:dPt>
            <c:idx val="541"/>
            <c:invertIfNegative val="1"/>
            <c:bubble3D val="0"/>
            <c:spPr>
              <a:solidFill>
                <a:srgbClr val="7ECAC4"/>
              </a:solidFill>
            </c:spPr>
            <c:extLst>
              <c:ext xmlns:c16="http://schemas.microsoft.com/office/drawing/2014/chart" uri="{C3380CC4-5D6E-409C-BE32-E72D297353CC}">
                <c16:uniqueId val="{0000043D-61F5-407B-959D-D24239F5BB85}"/>
              </c:ext>
            </c:extLst>
          </c:dPt>
          <c:dPt>
            <c:idx val="542"/>
            <c:invertIfNegative val="1"/>
            <c:bubble3D val="0"/>
            <c:spPr>
              <a:solidFill>
                <a:srgbClr val="7ECAC4"/>
              </a:solidFill>
            </c:spPr>
            <c:extLst>
              <c:ext xmlns:c16="http://schemas.microsoft.com/office/drawing/2014/chart" uri="{C3380CC4-5D6E-409C-BE32-E72D297353CC}">
                <c16:uniqueId val="{0000043F-61F5-407B-959D-D24239F5BB85}"/>
              </c:ext>
            </c:extLst>
          </c:dPt>
          <c:dPt>
            <c:idx val="543"/>
            <c:invertIfNegative val="1"/>
            <c:bubble3D val="0"/>
            <c:spPr>
              <a:solidFill>
                <a:srgbClr val="7ECAC4"/>
              </a:solidFill>
            </c:spPr>
            <c:extLst>
              <c:ext xmlns:c16="http://schemas.microsoft.com/office/drawing/2014/chart" uri="{C3380CC4-5D6E-409C-BE32-E72D297353CC}">
                <c16:uniqueId val="{00000441-61F5-407B-959D-D24239F5BB85}"/>
              </c:ext>
            </c:extLst>
          </c:dPt>
          <c:dPt>
            <c:idx val="544"/>
            <c:invertIfNegative val="1"/>
            <c:bubble3D val="0"/>
            <c:spPr>
              <a:solidFill>
                <a:srgbClr val="7ECAC4"/>
              </a:solidFill>
            </c:spPr>
            <c:extLst>
              <c:ext xmlns:c16="http://schemas.microsoft.com/office/drawing/2014/chart" uri="{C3380CC4-5D6E-409C-BE32-E72D297353CC}">
                <c16:uniqueId val="{00000443-61F5-407B-959D-D24239F5BB85}"/>
              </c:ext>
            </c:extLst>
          </c:dPt>
          <c:dPt>
            <c:idx val="545"/>
            <c:invertIfNegative val="1"/>
            <c:bubble3D val="0"/>
            <c:spPr>
              <a:solidFill>
                <a:srgbClr val="7ECAC4"/>
              </a:solidFill>
            </c:spPr>
            <c:extLst>
              <c:ext xmlns:c16="http://schemas.microsoft.com/office/drawing/2014/chart" uri="{C3380CC4-5D6E-409C-BE32-E72D297353CC}">
                <c16:uniqueId val="{00000445-61F5-407B-959D-D24239F5BB85}"/>
              </c:ext>
            </c:extLst>
          </c:dPt>
          <c:dPt>
            <c:idx val="546"/>
            <c:invertIfNegative val="1"/>
            <c:bubble3D val="0"/>
            <c:spPr>
              <a:solidFill>
                <a:srgbClr val="7ECAC4"/>
              </a:solidFill>
            </c:spPr>
            <c:extLst>
              <c:ext xmlns:c16="http://schemas.microsoft.com/office/drawing/2014/chart" uri="{C3380CC4-5D6E-409C-BE32-E72D297353CC}">
                <c16:uniqueId val="{00000447-61F5-407B-959D-D24239F5BB85}"/>
              </c:ext>
            </c:extLst>
          </c:dPt>
          <c:dPt>
            <c:idx val="547"/>
            <c:invertIfNegative val="1"/>
            <c:bubble3D val="0"/>
            <c:spPr>
              <a:solidFill>
                <a:srgbClr val="7ECAC4"/>
              </a:solidFill>
            </c:spPr>
            <c:extLst>
              <c:ext xmlns:c16="http://schemas.microsoft.com/office/drawing/2014/chart" uri="{C3380CC4-5D6E-409C-BE32-E72D297353CC}">
                <c16:uniqueId val="{00000449-61F5-407B-959D-D24239F5BB85}"/>
              </c:ext>
            </c:extLst>
          </c:dPt>
          <c:dPt>
            <c:idx val="548"/>
            <c:invertIfNegative val="1"/>
            <c:bubble3D val="0"/>
            <c:spPr>
              <a:solidFill>
                <a:srgbClr val="7ECAC4"/>
              </a:solidFill>
            </c:spPr>
            <c:extLst>
              <c:ext xmlns:c16="http://schemas.microsoft.com/office/drawing/2014/chart" uri="{C3380CC4-5D6E-409C-BE32-E72D297353CC}">
                <c16:uniqueId val="{0000044B-61F5-407B-959D-D24239F5BB85}"/>
              </c:ext>
            </c:extLst>
          </c:dPt>
          <c:dPt>
            <c:idx val="549"/>
            <c:invertIfNegative val="1"/>
            <c:bubble3D val="0"/>
            <c:spPr>
              <a:solidFill>
                <a:srgbClr val="7ECAC4"/>
              </a:solidFill>
            </c:spPr>
            <c:extLst>
              <c:ext xmlns:c16="http://schemas.microsoft.com/office/drawing/2014/chart" uri="{C3380CC4-5D6E-409C-BE32-E72D297353CC}">
                <c16:uniqueId val="{0000044D-61F5-407B-959D-D24239F5BB85}"/>
              </c:ext>
            </c:extLst>
          </c:dPt>
          <c:dPt>
            <c:idx val="550"/>
            <c:invertIfNegative val="1"/>
            <c:bubble3D val="0"/>
            <c:spPr>
              <a:solidFill>
                <a:srgbClr val="7ECAC4"/>
              </a:solidFill>
            </c:spPr>
            <c:extLst>
              <c:ext xmlns:c16="http://schemas.microsoft.com/office/drawing/2014/chart" uri="{C3380CC4-5D6E-409C-BE32-E72D297353CC}">
                <c16:uniqueId val="{0000044F-61F5-407B-959D-D24239F5BB85}"/>
              </c:ext>
            </c:extLst>
          </c:dPt>
          <c:dPt>
            <c:idx val="551"/>
            <c:invertIfNegative val="1"/>
            <c:bubble3D val="0"/>
            <c:spPr>
              <a:solidFill>
                <a:srgbClr val="7ECAC4"/>
              </a:solidFill>
            </c:spPr>
            <c:extLst>
              <c:ext xmlns:c16="http://schemas.microsoft.com/office/drawing/2014/chart" uri="{C3380CC4-5D6E-409C-BE32-E72D297353CC}">
                <c16:uniqueId val="{00000451-61F5-407B-959D-D24239F5BB85}"/>
              </c:ext>
            </c:extLst>
          </c:dPt>
          <c:dPt>
            <c:idx val="552"/>
            <c:invertIfNegative val="1"/>
            <c:bubble3D val="0"/>
            <c:spPr>
              <a:solidFill>
                <a:srgbClr val="7ECAC4"/>
              </a:solidFill>
            </c:spPr>
            <c:extLst>
              <c:ext xmlns:c16="http://schemas.microsoft.com/office/drawing/2014/chart" uri="{C3380CC4-5D6E-409C-BE32-E72D297353CC}">
                <c16:uniqueId val="{00000453-61F5-407B-959D-D24239F5BB85}"/>
              </c:ext>
            </c:extLst>
          </c:dPt>
          <c:dPt>
            <c:idx val="553"/>
            <c:invertIfNegative val="1"/>
            <c:bubble3D val="0"/>
            <c:spPr>
              <a:solidFill>
                <a:srgbClr val="7ECAC4"/>
              </a:solidFill>
            </c:spPr>
            <c:extLst>
              <c:ext xmlns:c16="http://schemas.microsoft.com/office/drawing/2014/chart" uri="{C3380CC4-5D6E-409C-BE32-E72D297353CC}">
                <c16:uniqueId val="{00000455-61F5-407B-959D-D24239F5BB85}"/>
              </c:ext>
            </c:extLst>
          </c:dPt>
          <c:dPt>
            <c:idx val="554"/>
            <c:invertIfNegative val="1"/>
            <c:bubble3D val="0"/>
            <c:spPr>
              <a:solidFill>
                <a:srgbClr val="7ECAC4"/>
              </a:solidFill>
            </c:spPr>
            <c:extLst>
              <c:ext xmlns:c16="http://schemas.microsoft.com/office/drawing/2014/chart" uri="{C3380CC4-5D6E-409C-BE32-E72D297353CC}">
                <c16:uniqueId val="{00000457-61F5-407B-959D-D24239F5BB85}"/>
              </c:ext>
            </c:extLst>
          </c:dPt>
          <c:dPt>
            <c:idx val="555"/>
            <c:invertIfNegative val="1"/>
            <c:bubble3D val="0"/>
            <c:spPr>
              <a:solidFill>
                <a:srgbClr val="7ECAC4"/>
              </a:solidFill>
            </c:spPr>
            <c:extLst>
              <c:ext xmlns:c16="http://schemas.microsoft.com/office/drawing/2014/chart" uri="{C3380CC4-5D6E-409C-BE32-E72D297353CC}">
                <c16:uniqueId val="{00000459-61F5-407B-959D-D24239F5BB85}"/>
              </c:ext>
            </c:extLst>
          </c:dPt>
          <c:dPt>
            <c:idx val="556"/>
            <c:invertIfNegative val="1"/>
            <c:bubble3D val="0"/>
            <c:spPr>
              <a:solidFill>
                <a:srgbClr val="7ECAC4"/>
              </a:solidFill>
            </c:spPr>
            <c:extLst>
              <c:ext xmlns:c16="http://schemas.microsoft.com/office/drawing/2014/chart" uri="{C3380CC4-5D6E-409C-BE32-E72D297353CC}">
                <c16:uniqueId val="{0000045B-61F5-407B-959D-D24239F5BB85}"/>
              </c:ext>
            </c:extLst>
          </c:dPt>
          <c:dPt>
            <c:idx val="557"/>
            <c:invertIfNegative val="1"/>
            <c:bubble3D val="0"/>
            <c:spPr>
              <a:solidFill>
                <a:srgbClr val="7ECAC4"/>
              </a:solidFill>
            </c:spPr>
            <c:extLst>
              <c:ext xmlns:c16="http://schemas.microsoft.com/office/drawing/2014/chart" uri="{C3380CC4-5D6E-409C-BE32-E72D297353CC}">
                <c16:uniqueId val="{0000045D-61F5-407B-959D-D24239F5BB85}"/>
              </c:ext>
            </c:extLst>
          </c:dPt>
          <c:dPt>
            <c:idx val="558"/>
            <c:invertIfNegative val="1"/>
            <c:bubble3D val="0"/>
            <c:spPr>
              <a:solidFill>
                <a:srgbClr val="7ECAC4"/>
              </a:solidFill>
            </c:spPr>
            <c:extLst>
              <c:ext xmlns:c16="http://schemas.microsoft.com/office/drawing/2014/chart" uri="{C3380CC4-5D6E-409C-BE32-E72D297353CC}">
                <c16:uniqueId val="{0000045F-61F5-407B-959D-D24239F5BB85}"/>
              </c:ext>
            </c:extLst>
          </c:dPt>
          <c:dPt>
            <c:idx val="559"/>
            <c:invertIfNegative val="1"/>
            <c:bubble3D val="0"/>
            <c:spPr>
              <a:solidFill>
                <a:srgbClr val="7ECAC4"/>
              </a:solidFill>
            </c:spPr>
            <c:extLst>
              <c:ext xmlns:c16="http://schemas.microsoft.com/office/drawing/2014/chart" uri="{C3380CC4-5D6E-409C-BE32-E72D297353CC}">
                <c16:uniqueId val="{00000461-61F5-407B-959D-D24239F5BB85}"/>
              </c:ext>
            </c:extLst>
          </c:dPt>
          <c:dPt>
            <c:idx val="560"/>
            <c:invertIfNegative val="1"/>
            <c:bubble3D val="0"/>
            <c:spPr>
              <a:solidFill>
                <a:srgbClr val="7ECAC4"/>
              </a:solidFill>
            </c:spPr>
            <c:extLst>
              <c:ext xmlns:c16="http://schemas.microsoft.com/office/drawing/2014/chart" uri="{C3380CC4-5D6E-409C-BE32-E72D297353CC}">
                <c16:uniqueId val="{00000463-61F5-407B-959D-D24239F5BB85}"/>
              </c:ext>
            </c:extLst>
          </c:dPt>
          <c:dPt>
            <c:idx val="561"/>
            <c:invertIfNegative val="1"/>
            <c:bubble3D val="0"/>
            <c:spPr>
              <a:solidFill>
                <a:srgbClr val="7ECAC4"/>
              </a:solidFill>
            </c:spPr>
            <c:extLst>
              <c:ext xmlns:c16="http://schemas.microsoft.com/office/drawing/2014/chart" uri="{C3380CC4-5D6E-409C-BE32-E72D297353CC}">
                <c16:uniqueId val="{00000465-61F5-407B-959D-D24239F5BB85}"/>
              </c:ext>
            </c:extLst>
          </c:dPt>
          <c:dPt>
            <c:idx val="562"/>
            <c:invertIfNegative val="1"/>
            <c:bubble3D val="0"/>
            <c:spPr>
              <a:solidFill>
                <a:srgbClr val="7ECAC4"/>
              </a:solidFill>
            </c:spPr>
            <c:extLst>
              <c:ext xmlns:c16="http://schemas.microsoft.com/office/drawing/2014/chart" uri="{C3380CC4-5D6E-409C-BE32-E72D297353CC}">
                <c16:uniqueId val="{00000467-61F5-407B-959D-D24239F5BB85}"/>
              </c:ext>
            </c:extLst>
          </c:dPt>
          <c:dPt>
            <c:idx val="563"/>
            <c:invertIfNegative val="1"/>
            <c:bubble3D val="0"/>
            <c:spPr>
              <a:solidFill>
                <a:srgbClr val="7ECAC4"/>
              </a:solidFill>
            </c:spPr>
            <c:extLst>
              <c:ext xmlns:c16="http://schemas.microsoft.com/office/drawing/2014/chart" uri="{C3380CC4-5D6E-409C-BE32-E72D297353CC}">
                <c16:uniqueId val="{00000469-61F5-407B-959D-D24239F5BB85}"/>
              </c:ext>
            </c:extLst>
          </c:dPt>
          <c:dPt>
            <c:idx val="564"/>
            <c:invertIfNegative val="1"/>
            <c:bubble3D val="0"/>
            <c:spPr>
              <a:solidFill>
                <a:srgbClr val="7ECAC4"/>
              </a:solidFill>
            </c:spPr>
            <c:extLst>
              <c:ext xmlns:c16="http://schemas.microsoft.com/office/drawing/2014/chart" uri="{C3380CC4-5D6E-409C-BE32-E72D297353CC}">
                <c16:uniqueId val="{0000046B-61F5-407B-959D-D24239F5BB85}"/>
              </c:ext>
            </c:extLst>
          </c:dPt>
          <c:dPt>
            <c:idx val="565"/>
            <c:invertIfNegative val="1"/>
            <c:bubble3D val="0"/>
            <c:spPr>
              <a:solidFill>
                <a:srgbClr val="7ECAC4"/>
              </a:solidFill>
            </c:spPr>
            <c:extLst>
              <c:ext xmlns:c16="http://schemas.microsoft.com/office/drawing/2014/chart" uri="{C3380CC4-5D6E-409C-BE32-E72D297353CC}">
                <c16:uniqueId val="{0000046D-61F5-407B-959D-D24239F5BB85}"/>
              </c:ext>
            </c:extLst>
          </c:dPt>
          <c:dPt>
            <c:idx val="566"/>
            <c:invertIfNegative val="1"/>
            <c:bubble3D val="0"/>
            <c:spPr>
              <a:solidFill>
                <a:srgbClr val="7ECAC4"/>
              </a:solidFill>
            </c:spPr>
            <c:extLst>
              <c:ext xmlns:c16="http://schemas.microsoft.com/office/drawing/2014/chart" uri="{C3380CC4-5D6E-409C-BE32-E72D297353CC}">
                <c16:uniqueId val="{0000046F-61F5-407B-959D-D24239F5BB85}"/>
              </c:ext>
            </c:extLst>
          </c:dPt>
          <c:dPt>
            <c:idx val="567"/>
            <c:invertIfNegative val="1"/>
            <c:bubble3D val="0"/>
            <c:spPr>
              <a:solidFill>
                <a:srgbClr val="7ECAC4"/>
              </a:solidFill>
            </c:spPr>
            <c:extLst>
              <c:ext xmlns:c16="http://schemas.microsoft.com/office/drawing/2014/chart" uri="{C3380CC4-5D6E-409C-BE32-E72D297353CC}">
                <c16:uniqueId val="{00000471-61F5-407B-959D-D24239F5BB85}"/>
              </c:ext>
            </c:extLst>
          </c:dPt>
          <c:dPt>
            <c:idx val="568"/>
            <c:invertIfNegative val="1"/>
            <c:bubble3D val="0"/>
            <c:spPr>
              <a:solidFill>
                <a:srgbClr val="7ECAC4"/>
              </a:solidFill>
            </c:spPr>
            <c:extLst>
              <c:ext xmlns:c16="http://schemas.microsoft.com/office/drawing/2014/chart" uri="{C3380CC4-5D6E-409C-BE32-E72D297353CC}">
                <c16:uniqueId val="{00000473-61F5-407B-959D-D24239F5BB85}"/>
              </c:ext>
            </c:extLst>
          </c:dPt>
          <c:dPt>
            <c:idx val="569"/>
            <c:invertIfNegative val="1"/>
            <c:bubble3D val="0"/>
            <c:spPr>
              <a:solidFill>
                <a:srgbClr val="7ECAC4"/>
              </a:solidFill>
            </c:spPr>
            <c:extLst>
              <c:ext xmlns:c16="http://schemas.microsoft.com/office/drawing/2014/chart" uri="{C3380CC4-5D6E-409C-BE32-E72D297353CC}">
                <c16:uniqueId val="{00000475-61F5-407B-959D-D24239F5BB85}"/>
              </c:ext>
            </c:extLst>
          </c:dPt>
          <c:dPt>
            <c:idx val="570"/>
            <c:invertIfNegative val="1"/>
            <c:bubble3D val="0"/>
            <c:spPr>
              <a:solidFill>
                <a:srgbClr val="7ECAC4"/>
              </a:solidFill>
            </c:spPr>
            <c:extLst>
              <c:ext xmlns:c16="http://schemas.microsoft.com/office/drawing/2014/chart" uri="{C3380CC4-5D6E-409C-BE32-E72D297353CC}">
                <c16:uniqueId val="{00000477-61F5-407B-959D-D24239F5BB85}"/>
              </c:ext>
            </c:extLst>
          </c:dPt>
          <c:dPt>
            <c:idx val="571"/>
            <c:invertIfNegative val="1"/>
            <c:bubble3D val="0"/>
            <c:spPr>
              <a:solidFill>
                <a:srgbClr val="7ECAC4"/>
              </a:solidFill>
            </c:spPr>
            <c:extLst>
              <c:ext xmlns:c16="http://schemas.microsoft.com/office/drawing/2014/chart" uri="{C3380CC4-5D6E-409C-BE32-E72D297353CC}">
                <c16:uniqueId val="{00000479-61F5-407B-959D-D24239F5BB85}"/>
              </c:ext>
            </c:extLst>
          </c:dPt>
          <c:dPt>
            <c:idx val="572"/>
            <c:invertIfNegative val="1"/>
            <c:bubble3D val="0"/>
            <c:spPr>
              <a:solidFill>
                <a:srgbClr val="7ECAC4"/>
              </a:solidFill>
            </c:spPr>
            <c:extLst>
              <c:ext xmlns:c16="http://schemas.microsoft.com/office/drawing/2014/chart" uri="{C3380CC4-5D6E-409C-BE32-E72D297353CC}">
                <c16:uniqueId val="{0000047B-61F5-407B-959D-D24239F5BB85}"/>
              </c:ext>
            </c:extLst>
          </c:dPt>
          <c:dPt>
            <c:idx val="573"/>
            <c:invertIfNegative val="1"/>
            <c:bubble3D val="0"/>
            <c:spPr>
              <a:solidFill>
                <a:srgbClr val="7ECAC4"/>
              </a:solidFill>
            </c:spPr>
            <c:extLst>
              <c:ext xmlns:c16="http://schemas.microsoft.com/office/drawing/2014/chart" uri="{C3380CC4-5D6E-409C-BE32-E72D297353CC}">
                <c16:uniqueId val="{0000047D-61F5-407B-959D-D24239F5BB85}"/>
              </c:ext>
            </c:extLst>
          </c:dPt>
          <c:dPt>
            <c:idx val="574"/>
            <c:invertIfNegative val="1"/>
            <c:bubble3D val="0"/>
            <c:spPr>
              <a:solidFill>
                <a:srgbClr val="7ECAC4"/>
              </a:solidFill>
            </c:spPr>
            <c:extLst>
              <c:ext xmlns:c16="http://schemas.microsoft.com/office/drawing/2014/chart" uri="{C3380CC4-5D6E-409C-BE32-E72D297353CC}">
                <c16:uniqueId val="{0000047F-61F5-407B-959D-D24239F5BB85}"/>
              </c:ext>
            </c:extLst>
          </c:dPt>
          <c:dPt>
            <c:idx val="575"/>
            <c:invertIfNegative val="1"/>
            <c:bubble3D val="0"/>
            <c:spPr>
              <a:solidFill>
                <a:srgbClr val="7ECAC4"/>
              </a:solidFill>
            </c:spPr>
            <c:extLst>
              <c:ext xmlns:c16="http://schemas.microsoft.com/office/drawing/2014/chart" uri="{C3380CC4-5D6E-409C-BE32-E72D297353CC}">
                <c16:uniqueId val="{00000481-61F5-407B-959D-D24239F5BB85}"/>
              </c:ext>
            </c:extLst>
          </c:dPt>
          <c:dPt>
            <c:idx val="576"/>
            <c:invertIfNegative val="1"/>
            <c:bubble3D val="0"/>
            <c:spPr>
              <a:solidFill>
                <a:srgbClr val="7ECAC4"/>
              </a:solidFill>
            </c:spPr>
            <c:extLst>
              <c:ext xmlns:c16="http://schemas.microsoft.com/office/drawing/2014/chart" uri="{C3380CC4-5D6E-409C-BE32-E72D297353CC}">
                <c16:uniqueId val="{00000483-61F5-407B-959D-D24239F5BB85}"/>
              </c:ext>
            </c:extLst>
          </c:dPt>
          <c:dPt>
            <c:idx val="577"/>
            <c:invertIfNegative val="1"/>
            <c:bubble3D val="0"/>
            <c:spPr>
              <a:solidFill>
                <a:srgbClr val="7ECAC4"/>
              </a:solidFill>
            </c:spPr>
            <c:extLst>
              <c:ext xmlns:c16="http://schemas.microsoft.com/office/drawing/2014/chart" uri="{C3380CC4-5D6E-409C-BE32-E72D297353CC}">
                <c16:uniqueId val="{00000485-61F5-407B-959D-D24239F5BB85}"/>
              </c:ext>
            </c:extLst>
          </c:dPt>
          <c:dPt>
            <c:idx val="578"/>
            <c:invertIfNegative val="1"/>
            <c:bubble3D val="0"/>
            <c:spPr>
              <a:solidFill>
                <a:srgbClr val="7ECAC4"/>
              </a:solidFill>
            </c:spPr>
            <c:extLst>
              <c:ext xmlns:c16="http://schemas.microsoft.com/office/drawing/2014/chart" uri="{C3380CC4-5D6E-409C-BE32-E72D297353CC}">
                <c16:uniqueId val="{00000487-61F5-407B-959D-D24239F5BB85}"/>
              </c:ext>
            </c:extLst>
          </c:dPt>
          <c:dPt>
            <c:idx val="579"/>
            <c:invertIfNegative val="1"/>
            <c:bubble3D val="0"/>
            <c:spPr>
              <a:solidFill>
                <a:srgbClr val="7ECAC4"/>
              </a:solidFill>
            </c:spPr>
            <c:extLst>
              <c:ext xmlns:c16="http://schemas.microsoft.com/office/drawing/2014/chart" uri="{C3380CC4-5D6E-409C-BE32-E72D297353CC}">
                <c16:uniqueId val="{00000489-61F5-407B-959D-D24239F5BB85}"/>
              </c:ext>
            </c:extLst>
          </c:dPt>
          <c:dPt>
            <c:idx val="580"/>
            <c:invertIfNegative val="1"/>
            <c:bubble3D val="0"/>
            <c:spPr>
              <a:solidFill>
                <a:srgbClr val="7ECAC4"/>
              </a:solidFill>
            </c:spPr>
            <c:extLst>
              <c:ext xmlns:c16="http://schemas.microsoft.com/office/drawing/2014/chart" uri="{C3380CC4-5D6E-409C-BE32-E72D297353CC}">
                <c16:uniqueId val="{0000048B-61F5-407B-959D-D24239F5BB85}"/>
              </c:ext>
            </c:extLst>
          </c:dPt>
          <c:dPt>
            <c:idx val="581"/>
            <c:invertIfNegative val="1"/>
            <c:bubble3D val="0"/>
            <c:spPr>
              <a:solidFill>
                <a:srgbClr val="7ECAC4"/>
              </a:solidFill>
            </c:spPr>
            <c:extLst>
              <c:ext xmlns:c16="http://schemas.microsoft.com/office/drawing/2014/chart" uri="{C3380CC4-5D6E-409C-BE32-E72D297353CC}">
                <c16:uniqueId val="{0000048D-61F5-407B-959D-D24239F5BB85}"/>
              </c:ext>
            </c:extLst>
          </c:dPt>
          <c:dPt>
            <c:idx val="582"/>
            <c:invertIfNegative val="1"/>
            <c:bubble3D val="0"/>
            <c:spPr>
              <a:solidFill>
                <a:srgbClr val="7ECAC4"/>
              </a:solidFill>
            </c:spPr>
            <c:extLst>
              <c:ext xmlns:c16="http://schemas.microsoft.com/office/drawing/2014/chart" uri="{C3380CC4-5D6E-409C-BE32-E72D297353CC}">
                <c16:uniqueId val="{0000048F-61F5-407B-959D-D24239F5BB85}"/>
              </c:ext>
            </c:extLst>
          </c:dPt>
          <c:dPt>
            <c:idx val="583"/>
            <c:invertIfNegative val="1"/>
            <c:bubble3D val="0"/>
            <c:spPr>
              <a:solidFill>
                <a:srgbClr val="7ECAC4"/>
              </a:solidFill>
            </c:spPr>
            <c:extLst>
              <c:ext xmlns:c16="http://schemas.microsoft.com/office/drawing/2014/chart" uri="{C3380CC4-5D6E-409C-BE32-E72D297353CC}">
                <c16:uniqueId val="{00000491-61F5-407B-959D-D24239F5BB85}"/>
              </c:ext>
            </c:extLst>
          </c:dPt>
          <c:dPt>
            <c:idx val="584"/>
            <c:invertIfNegative val="1"/>
            <c:bubble3D val="0"/>
            <c:spPr>
              <a:solidFill>
                <a:srgbClr val="7ECAC4"/>
              </a:solidFill>
            </c:spPr>
            <c:extLst>
              <c:ext xmlns:c16="http://schemas.microsoft.com/office/drawing/2014/chart" uri="{C3380CC4-5D6E-409C-BE32-E72D297353CC}">
                <c16:uniqueId val="{00000493-61F5-407B-959D-D24239F5BB85}"/>
              </c:ext>
            </c:extLst>
          </c:dPt>
          <c:dPt>
            <c:idx val="585"/>
            <c:invertIfNegative val="1"/>
            <c:bubble3D val="0"/>
            <c:spPr>
              <a:solidFill>
                <a:srgbClr val="7ECAC4"/>
              </a:solidFill>
            </c:spPr>
            <c:extLst>
              <c:ext xmlns:c16="http://schemas.microsoft.com/office/drawing/2014/chart" uri="{C3380CC4-5D6E-409C-BE32-E72D297353CC}">
                <c16:uniqueId val="{00000495-61F5-407B-959D-D24239F5BB85}"/>
              </c:ext>
            </c:extLst>
          </c:dPt>
          <c:dPt>
            <c:idx val="586"/>
            <c:invertIfNegative val="1"/>
            <c:bubble3D val="0"/>
            <c:spPr>
              <a:solidFill>
                <a:srgbClr val="7ECAC4"/>
              </a:solidFill>
            </c:spPr>
            <c:extLst>
              <c:ext xmlns:c16="http://schemas.microsoft.com/office/drawing/2014/chart" uri="{C3380CC4-5D6E-409C-BE32-E72D297353CC}">
                <c16:uniqueId val="{00000497-61F5-407B-959D-D24239F5BB85}"/>
              </c:ext>
            </c:extLst>
          </c:dPt>
          <c:dPt>
            <c:idx val="587"/>
            <c:invertIfNegative val="1"/>
            <c:bubble3D val="0"/>
            <c:spPr>
              <a:solidFill>
                <a:srgbClr val="7ECAC4"/>
              </a:solidFill>
            </c:spPr>
            <c:extLst>
              <c:ext xmlns:c16="http://schemas.microsoft.com/office/drawing/2014/chart" uri="{C3380CC4-5D6E-409C-BE32-E72D297353CC}">
                <c16:uniqueId val="{00000499-61F5-407B-959D-D24239F5BB85}"/>
              </c:ext>
            </c:extLst>
          </c:dPt>
          <c:dPt>
            <c:idx val="588"/>
            <c:invertIfNegative val="1"/>
            <c:bubble3D val="0"/>
            <c:spPr>
              <a:solidFill>
                <a:srgbClr val="7ECAC4"/>
              </a:solidFill>
            </c:spPr>
            <c:extLst>
              <c:ext xmlns:c16="http://schemas.microsoft.com/office/drawing/2014/chart" uri="{C3380CC4-5D6E-409C-BE32-E72D297353CC}">
                <c16:uniqueId val="{0000049B-61F5-407B-959D-D24239F5BB85}"/>
              </c:ext>
            </c:extLst>
          </c:dPt>
          <c:dPt>
            <c:idx val="589"/>
            <c:invertIfNegative val="1"/>
            <c:bubble3D val="0"/>
            <c:spPr>
              <a:solidFill>
                <a:srgbClr val="7ECAC4"/>
              </a:solidFill>
            </c:spPr>
            <c:extLst>
              <c:ext xmlns:c16="http://schemas.microsoft.com/office/drawing/2014/chart" uri="{C3380CC4-5D6E-409C-BE32-E72D297353CC}">
                <c16:uniqueId val="{0000049D-61F5-407B-959D-D24239F5BB85}"/>
              </c:ext>
            </c:extLst>
          </c:dPt>
          <c:dPt>
            <c:idx val="590"/>
            <c:invertIfNegative val="1"/>
            <c:bubble3D val="0"/>
            <c:spPr>
              <a:solidFill>
                <a:srgbClr val="7ECAC4"/>
              </a:solidFill>
            </c:spPr>
            <c:extLst>
              <c:ext xmlns:c16="http://schemas.microsoft.com/office/drawing/2014/chart" uri="{C3380CC4-5D6E-409C-BE32-E72D297353CC}">
                <c16:uniqueId val="{0000049F-61F5-407B-959D-D24239F5BB85}"/>
              </c:ext>
            </c:extLst>
          </c:dPt>
          <c:dPt>
            <c:idx val="591"/>
            <c:invertIfNegative val="1"/>
            <c:bubble3D val="0"/>
            <c:spPr>
              <a:solidFill>
                <a:srgbClr val="7ECAC4"/>
              </a:solidFill>
            </c:spPr>
            <c:extLst>
              <c:ext xmlns:c16="http://schemas.microsoft.com/office/drawing/2014/chart" uri="{C3380CC4-5D6E-409C-BE32-E72D297353CC}">
                <c16:uniqueId val="{000004A1-61F5-407B-959D-D24239F5BB85}"/>
              </c:ext>
            </c:extLst>
          </c:dPt>
          <c:dPt>
            <c:idx val="592"/>
            <c:invertIfNegative val="1"/>
            <c:bubble3D val="0"/>
            <c:spPr>
              <a:solidFill>
                <a:srgbClr val="7ECAC4"/>
              </a:solidFill>
            </c:spPr>
            <c:extLst>
              <c:ext xmlns:c16="http://schemas.microsoft.com/office/drawing/2014/chart" uri="{C3380CC4-5D6E-409C-BE32-E72D297353CC}">
                <c16:uniqueId val="{000004A3-61F5-407B-959D-D24239F5BB85}"/>
              </c:ext>
            </c:extLst>
          </c:dPt>
          <c:dPt>
            <c:idx val="593"/>
            <c:invertIfNegative val="1"/>
            <c:bubble3D val="0"/>
            <c:spPr>
              <a:solidFill>
                <a:srgbClr val="7ECAC4"/>
              </a:solidFill>
            </c:spPr>
            <c:extLst>
              <c:ext xmlns:c16="http://schemas.microsoft.com/office/drawing/2014/chart" uri="{C3380CC4-5D6E-409C-BE32-E72D297353CC}">
                <c16:uniqueId val="{000004A5-61F5-407B-959D-D24239F5BB85}"/>
              </c:ext>
            </c:extLst>
          </c:dPt>
          <c:dPt>
            <c:idx val="594"/>
            <c:invertIfNegative val="1"/>
            <c:bubble3D val="0"/>
            <c:spPr>
              <a:solidFill>
                <a:srgbClr val="7ECAC4"/>
              </a:solidFill>
            </c:spPr>
            <c:extLst>
              <c:ext xmlns:c16="http://schemas.microsoft.com/office/drawing/2014/chart" uri="{C3380CC4-5D6E-409C-BE32-E72D297353CC}">
                <c16:uniqueId val="{000004A7-61F5-407B-959D-D24239F5BB85}"/>
              </c:ext>
            </c:extLst>
          </c:dPt>
          <c:dPt>
            <c:idx val="595"/>
            <c:invertIfNegative val="1"/>
            <c:bubble3D val="0"/>
            <c:spPr>
              <a:solidFill>
                <a:srgbClr val="7ECAC4"/>
              </a:solidFill>
            </c:spPr>
            <c:extLst>
              <c:ext xmlns:c16="http://schemas.microsoft.com/office/drawing/2014/chart" uri="{C3380CC4-5D6E-409C-BE32-E72D297353CC}">
                <c16:uniqueId val="{000004A9-61F5-407B-959D-D24239F5BB85}"/>
              </c:ext>
            </c:extLst>
          </c:dPt>
          <c:dPt>
            <c:idx val="596"/>
            <c:invertIfNegative val="1"/>
            <c:bubble3D val="0"/>
            <c:spPr>
              <a:solidFill>
                <a:srgbClr val="7ECAC4"/>
              </a:solidFill>
            </c:spPr>
            <c:extLst>
              <c:ext xmlns:c16="http://schemas.microsoft.com/office/drawing/2014/chart" uri="{C3380CC4-5D6E-409C-BE32-E72D297353CC}">
                <c16:uniqueId val="{000004AB-61F5-407B-959D-D24239F5BB85}"/>
              </c:ext>
            </c:extLst>
          </c:dPt>
          <c:dPt>
            <c:idx val="597"/>
            <c:invertIfNegative val="1"/>
            <c:bubble3D val="0"/>
            <c:spPr>
              <a:solidFill>
                <a:srgbClr val="7ECAC4"/>
              </a:solidFill>
            </c:spPr>
            <c:extLst>
              <c:ext xmlns:c16="http://schemas.microsoft.com/office/drawing/2014/chart" uri="{C3380CC4-5D6E-409C-BE32-E72D297353CC}">
                <c16:uniqueId val="{000004AD-61F5-407B-959D-D24239F5BB85}"/>
              </c:ext>
            </c:extLst>
          </c:dPt>
          <c:dPt>
            <c:idx val="598"/>
            <c:invertIfNegative val="1"/>
            <c:bubble3D val="0"/>
            <c:spPr>
              <a:solidFill>
                <a:srgbClr val="7ECAC4"/>
              </a:solidFill>
            </c:spPr>
            <c:extLst>
              <c:ext xmlns:c16="http://schemas.microsoft.com/office/drawing/2014/chart" uri="{C3380CC4-5D6E-409C-BE32-E72D297353CC}">
                <c16:uniqueId val="{000004AF-61F5-407B-959D-D24239F5BB85}"/>
              </c:ext>
            </c:extLst>
          </c:dPt>
          <c:dPt>
            <c:idx val="599"/>
            <c:invertIfNegative val="1"/>
            <c:bubble3D val="0"/>
            <c:spPr>
              <a:solidFill>
                <a:srgbClr val="7ECAC4"/>
              </a:solidFill>
            </c:spPr>
            <c:extLst>
              <c:ext xmlns:c16="http://schemas.microsoft.com/office/drawing/2014/chart" uri="{C3380CC4-5D6E-409C-BE32-E72D297353CC}">
                <c16:uniqueId val="{000004B1-61F5-407B-959D-D24239F5BB85}"/>
              </c:ext>
            </c:extLst>
          </c:dPt>
          <c:dPt>
            <c:idx val="600"/>
            <c:invertIfNegative val="1"/>
            <c:bubble3D val="0"/>
            <c:spPr>
              <a:solidFill>
                <a:srgbClr val="7ECAC4"/>
              </a:solidFill>
            </c:spPr>
            <c:extLst>
              <c:ext xmlns:c16="http://schemas.microsoft.com/office/drawing/2014/chart" uri="{C3380CC4-5D6E-409C-BE32-E72D297353CC}">
                <c16:uniqueId val="{000004B3-61F5-407B-959D-D24239F5BB85}"/>
              </c:ext>
            </c:extLst>
          </c:dPt>
          <c:dPt>
            <c:idx val="601"/>
            <c:invertIfNegative val="1"/>
            <c:bubble3D val="0"/>
            <c:spPr>
              <a:solidFill>
                <a:srgbClr val="7ECAC4"/>
              </a:solidFill>
            </c:spPr>
            <c:extLst>
              <c:ext xmlns:c16="http://schemas.microsoft.com/office/drawing/2014/chart" uri="{C3380CC4-5D6E-409C-BE32-E72D297353CC}">
                <c16:uniqueId val="{000004B5-61F5-407B-959D-D24239F5BB85}"/>
              </c:ext>
            </c:extLst>
          </c:dPt>
          <c:dPt>
            <c:idx val="602"/>
            <c:invertIfNegative val="1"/>
            <c:bubble3D val="0"/>
            <c:spPr>
              <a:solidFill>
                <a:srgbClr val="7ECAC4"/>
              </a:solidFill>
            </c:spPr>
            <c:extLst>
              <c:ext xmlns:c16="http://schemas.microsoft.com/office/drawing/2014/chart" uri="{C3380CC4-5D6E-409C-BE32-E72D297353CC}">
                <c16:uniqueId val="{000004B7-61F5-407B-959D-D24239F5BB85}"/>
              </c:ext>
            </c:extLst>
          </c:dPt>
          <c:dPt>
            <c:idx val="603"/>
            <c:invertIfNegative val="1"/>
            <c:bubble3D val="0"/>
            <c:spPr>
              <a:solidFill>
                <a:srgbClr val="7ECAC4"/>
              </a:solidFill>
            </c:spPr>
            <c:extLst>
              <c:ext xmlns:c16="http://schemas.microsoft.com/office/drawing/2014/chart" uri="{C3380CC4-5D6E-409C-BE32-E72D297353CC}">
                <c16:uniqueId val="{000004B9-61F5-407B-959D-D24239F5BB85}"/>
              </c:ext>
            </c:extLst>
          </c:dPt>
          <c:dPt>
            <c:idx val="604"/>
            <c:invertIfNegative val="1"/>
            <c:bubble3D val="0"/>
            <c:spPr>
              <a:solidFill>
                <a:srgbClr val="7ECAC4"/>
              </a:solidFill>
            </c:spPr>
            <c:extLst>
              <c:ext xmlns:c16="http://schemas.microsoft.com/office/drawing/2014/chart" uri="{C3380CC4-5D6E-409C-BE32-E72D297353CC}">
                <c16:uniqueId val="{000004BB-61F5-407B-959D-D24239F5BB85}"/>
              </c:ext>
            </c:extLst>
          </c:dPt>
          <c:dPt>
            <c:idx val="605"/>
            <c:invertIfNegative val="1"/>
            <c:bubble3D val="0"/>
            <c:spPr>
              <a:solidFill>
                <a:srgbClr val="7ECAC4"/>
              </a:solidFill>
            </c:spPr>
            <c:extLst>
              <c:ext xmlns:c16="http://schemas.microsoft.com/office/drawing/2014/chart" uri="{C3380CC4-5D6E-409C-BE32-E72D297353CC}">
                <c16:uniqueId val="{000004BD-61F5-407B-959D-D24239F5BB85}"/>
              </c:ext>
            </c:extLst>
          </c:dPt>
          <c:dPt>
            <c:idx val="606"/>
            <c:invertIfNegative val="1"/>
            <c:bubble3D val="0"/>
            <c:spPr>
              <a:solidFill>
                <a:srgbClr val="7ECAC4"/>
              </a:solidFill>
            </c:spPr>
            <c:extLst>
              <c:ext xmlns:c16="http://schemas.microsoft.com/office/drawing/2014/chart" uri="{C3380CC4-5D6E-409C-BE32-E72D297353CC}">
                <c16:uniqueId val="{000004BF-61F5-407B-959D-D24239F5BB85}"/>
              </c:ext>
            </c:extLst>
          </c:dPt>
          <c:dPt>
            <c:idx val="607"/>
            <c:invertIfNegative val="1"/>
            <c:bubble3D val="0"/>
            <c:spPr>
              <a:solidFill>
                <a:srgbClr val="7ECAC4"/>
              </a:solidFill>
            </c:spPr>
            <c:extLst>
              <c:ext xmlns:c16="http://schemas.microsoft.com/office/drawing/2014/chart" uri="{C3380CC4-5D6E-409C-BE32-E72D297353CC}">
                <c16:uniqueId val="{000004C1-61F5-407B-959D-D24239F5BB85}"/>
              </c:ext>
            </c:extLst>
          </c:dPt>
          <c:dPt>
            <c:idx val="608"/>
            <c:invertIfNegative val="1"/>
            <c:bubble3D val="0"/>
            <c:spPr>
              <a:solidFill>
                <a:srgbClr val="7ECAC4"/>
              </a:solidFill>
            </c:spPr>
            <c:extLst>
              <c:ext xmlns:c16="http://schemas.microsoft.com/office/drawing/2014/chart" uri="{C3380CC4-5D6E-409C-BE32-E72D297353CC}">
                <c16:uniqueId val="{000004C3-61F5-407B-959D-D24239F5BB85}"/>
              </c:ext>
            </c:extLst>
          </c:dPt>
          <c:dPt>
            <c:idx val="609"/>
            <c:invertIfNegative val="1"/>
            <c:bubble3D val="0"/>
            <c:spPr>
              <a:solidFill>
                <a:srgbClr val="7ECAC4"/>
              </a:solidFill>
            </c:spPr>
            <c:extLst>
              <c:ext xmlns:c16="http://schemas.microsoft.com/office/drawing/2014/chart" uri="{C3380CC4-5D6E-409C-BE32-E72D297353CC}">
                <c16:uniqueId val="{000004C5-61F5-407B-959D-D24239F5BB85}"/>
              </c:ext>
            </c:extLst>
          </c:dPt>
          <c:dPt>
            <c:idx val="610"/>
            <c:invertIfNegative val="1"/>
            <c:bubble3D val="0"/>
            <c:spPr>
              <a:solidFill>
                <a:srgbClr val="7ECAC4"/>
              </a:solidFill>
            </c:spPr>
            <c:extLst>
              <c:ext xmlns:c16="http://schemas.microsoft.com/office/drawing/2014/chart" uri="{C3380CC4-5D6E-409C-BE32-E72D297353CC}">
                <c16:uniqueId val="{000004C7-61F5-407B-959D-D24239F5BB85}"/>
              </c:ext>
            </c:extLst>
          </c:dPt>
          <c:dPt>
            <c:idx val="611"/>
            <c:invertIfNegative val="1"/>
            <c:bubble3D val="0"/>
            <c:spPr>
              <a:solidFill>
                <a:srgbClr val="7ECAC4"/>
              </a:solidFill>
            </c:spPr>
            <c:extLst>
              <c:ext xmlns:c16="http://schemas.microsoft.com/office/drawing/2014/chart" uri="{C3380CC4-5D6E-409C-BE32-E72D297353CC}">
                <c16:uniqueId val="{000004C9-61F5-407B-959D-D24239F5BB85}"/>
              </c:ext>
            </c:extLst>
          </c:dPt>
          <c:dPt>
            <c:idx val="612"/>
            <c:invertIfNegative val="1"/>
            <c:bubble3D val="0"/>
            <c:spPr>
              <a:solidFill>
                <a:srgbClr val="7ECAC4"/>
              </a:solidFill>
            </c:spPr>
            <c:extLst>
              <c:ext xmlns:c16="http://schemas.microsoft.com/office/drawing/2014/chart" uri="{C3380CC4-5D6E-409C-BE32-E72D297353CC}">
                <c16:uniqueId val="{000004CB-61F5-407B-959D-D24239F5BB85}"/>
              </c:ext>
            </c:extLst>
          </c:dPt>
          <c:dPt>
            <c:idx val="613"/>
            <c:invertIfNegative val="1"/>
            <c:bubble3D val="0"/>
            <c:spPr>
              <a:solidFill>
                <a:srgbClr val="7ECAC4"/>
              </a:solidFill>
            </c:spPr>
            <c:extLst>
              <c:ext xmlns:c16="http://schemas.microsoft.com/office/drawing/2014/chart" uri="{C3380CC4-5D6E-409C-BE32-E72D297353CC}">
                <c16:uniqueId val="{000004CD-61F5-407B-959D-D24239F5BB85}"/>
              </c:ext>
            </c:extLst>
          </c:dPt>
          <c:dPt>
            <c:idx val="614"/>
            <c:invertIfNegative val="1"/>
            <c:bubble3D val="0"/>
            <c:spPr>
              <a:solidFill>
                <a:srgbClr val="7ECAC4"/>
              </a:solidFill>
            </c:spPr>
            <c:extLst>
              <c:ext xmlns:c16="http://schemas.microsoft.com/office/drawing/2014/chart" uri="{C3380CC4-5D6E-409C-BE32-E72D297353CC}">
                <c16:uniqueId val="{000004CF-61F5-407B-959D-D24239F5BB85}"/>
              </c:ext>
            </c:extLst>
          </c:dPt>
          <c:dPt>
            <c:idx val="615"/>
            <c:invertIfNegative val="1"/>
            <c:bubble3D val="0"/>
            <c:spPr>
              <a:solidFill>
                <a:srgbClr val="7ECAC4"/>
              </a:solidFill>
            </c:spPr>
            <c:extLst>
              <c:ext xmlns:c16="http://schemas.microsoft.com/office/drawing/2014/chart" uri="{C3380CC4-5D6E-409C-BE32-E72D297353CC}">
                <c16:uniqueId val="{000004D1-61F5-407B-959D-D24239F5BB85}"/>
              </c:ext>
            </c:extLst>
          </c:dPt>
          <c:dPt>
            <c:idx val="616"/>
            <c:invertIfNegative val="1"/>
            <c:bubble3D val="0"/>
            <c:spPr>
              <a:solidFill>
                <a:srgbClr val="7ECAC4"/>
              </a:solidFill>
            </c:spPr>
            <c:extLst>
              <c:ext xmlns:c16="http://schemas.microsoft.com/office/drawing/2014/chart" uri="{C3380CC4-5D6E-409C-BE32-E72D297353CC}">
                <c16:uniqueId val="{000004D3-61F5-407B-959D-D24239F5BB85}"/>
              </c:ext>
            </c:extLst>
          </c:dPt>
          <c:dPt>
            <c:idx val="617"/>
            <c:invertIfNegative val="1"/>
            <c:bubble3D val="0"/>
            <c:spPr>
              <a:solidFill>
                <a:srgbClr val="7ECAC4"/>
              </a:solidFill>
            </c:spPr>
            <c:extLst>
              <c:ext xmlns:c16="http://schemas.microsoft.com/office/drawing/2014/chart" uri="{C3380CC4-5D6E-409C-BE32-E72D297353CC}">
                <c16:uniqueId val="{000004D5-61F5-407B-959D-D24239F5BB85}"/>
              </c:ext>
            </c:extLst>
          </c:dPt>
          <c:dPt>
            <c:idx val="618"/>
            <c:invertIfNegative val="1"/>
            <c:bubble3D val="0"/>
            <c:spPr>
              <a:solidFill>
                <a:srgbClr val="7ECAC4"/>
              </a:solidFill>
            </c:spPr>
            <c:extLst>
              <c:ext xmlns:c16="http://schemas.microsoft.com/office/drawing/2014/chart" uri="{C3380CC4-5D6E-409C-BE32-E72D297353CC}">
                <c16:uniqueId val="{000004D7-61F5-407B-959D-D24239F5BB85}"/>
              </c:ext>
            </c:extLst>
          </c:dPt>
          <c:dPt>
            <c:idx val="619"/>
            <c:invertIfNegative val="1"/>
            <c:bubble3D val="0"/>
            <c:spPr>
              <a:solidFill>
                <a:srgbClr val="7ECAC4"/>
              </a:solidFill>
            </c:spPr>
            <c:extLst>
              <c:ext xmlns:c16="http://schemas.microsoft.com/office/drawing/2014/chart" uri="{C3380CC4-5D6E-409C-BE32-E72D297353CC}">
                <c16:uniqueId val="{000004D9-61F5-407B-959D-D24239F5BB85}"/>
              </c:ext>
            </c:extLst>
          </c:dPt>
          <c:dPt>
            <c:idx val="620"/>
            <c:invertIfNegative val="1"/>
            <c:bubble3D val="0"/>
            <c:spPr>
              <a:solidFill>
                <a:srgbClr val="7ECAC4"/>
              </a:solidFill>
            </c:spPr>
            <c:extLst>
              <c:ext xmlns:c16="http://schemas.microsoft.com/office/drawing/2014/chart" uri="{C3380CC4-5D6E-409C-BE32-E72D297353CC}">
                <c16:uniqueId val="{000004DB-61F5-407B-959D-D24239F5BB85}"/>
              </c:ext>
            </c:extLst>
          </c:dPt>
          <c:dPt>
            <c:idx val="621"/>
            <c:invertIfNegative val="1"/>
            <c:bubble3D val="0"/>
            <c:spPr>
              <a:solidFill>
                <a:srgbClr val="7ECAC4"/>
              </a:solidFill>
            </c:spPr>
            <c:extLst>
              <c:ext xmlns:c16="http://schemas.microsoft.com/office/drawing/2014/chart" uri="{C3380CC4-5D6E-409C-BE32-E72D297353CC}">
                <c16:uniqueId val="{000004DD-61F5-407B-959D-D24239F5BB85}"/>
              </c:ext>
            </c:extLst>
          </c:dPt>
          <c:dPt>
            <c:idx val="622"/>
            <c:invertIfNegative val="1"/>
            <c:bubble3D val="0"/>
            <c:spPr>
              <a:solidFill>
                <a:srgbClr val="7ECAC4"/>
              </a:solidFill>
            </c:spPr>
            <c:extLst>
              <c:ext xmlns:c16="http://schemas.microsoft.com/office/drawing/2014/chart" uri="{C3380CC4-5D6E-409C-BE32-E72D297353CC}">
                <c16:uniqueId val="{000004DF-61F5-407B-959D-D24239F5BB85}"/>
              </c:ext>
            </c:extLst>
          </c:dPt>
          <c:dPt>
            <c:idx val="623"/>
            <c:invertIfNegative val="1"/>
            <c:bubble3D val="0"/>
            <c:spPr>
              <a:solidFill>
                <a:srgbClr val="7ECAC4"/>
              </a:solidFill>
            </c:spPr>
            <c:extLst>
              <c:ext xmlns:c16="http://schemas.microsoft.com/office/drawing/2014/chart" uri="{C3380CC4-5D6E-409C-BE32-E72D297353CC}">
                <c16:uniqueId val="{000004E1-61F5-407B-959D-D24239F5BB85}"/>
              </c:ext>
            </c:extLst>
          </c:dPt>
          <c:dPt>
            <c:idx val="624"/>
            <c:invertIfNegative val="1"/>
            <c:bubble3D val="0"/>
            <c:spPr>
              <a:solidFill>
                <a:srgbClr val="7ECAC4"/>
              </a:solidFill>
            </c:spPr>
            <c:extLst>
              <c:ext xmlns:c16="http://schemas.microsoft.com/office/drawing/2014/chart" uri="{C3380CC4-5D6E-409C-BE32-E72D297353CC}">
                <c16:uniqueId val="{000004E3-61F5-407B-959D-D24239F5BB85}"/>
              </c:ext>
            </c:extLst>
          </c:dPt>
          <c:dPt>
            <c:idx val="625"/>
            <c:invertIfNegative val="1"/>
            <c:bubble3D val="0"/>
            <c:spPr>
              <a:solidFill>
                <a:srgbClr val="7ECAC4"/>
              </a:solidFill>
            </c:spPr>
            <c:extLst>
              <c:ext xmlns:c16="http://schemas.microsoft.com/office/drawing/2014/chart" uri="{C3380CC4-5D6E-409C-BE32-E72D297353CC}">
                <c16:uniqueId val="{000004E5-61F5-407B-959D-D24239F5BB85}"/>
              </c:ext>
            </c:extLst>
          </c:dPt>
          <c:dPt>
            <c:idx val="626"/>
            <c:invertIfNegative val="1"/>
            <c:bubble3D val="0"/>
            <c:spPr>
              <a:solidFill>
                <a:srgbClr val="7ECAC4"/>
              </a:solidFill>
            </c:spPr>
            <c:extLst>
              <c:ext xmlns:c16="http://schemas.microsoft.com/office/drawing/2014/chart" uri="{C3380CC4-5D6E-409C-BE32-E72D297353CC}">
                <c16:uniqueId val="{000004E7-61F5-407B-959D-D24239F5BB85}"/>
              </c:ext>
            </c:extLst>
          </c:dPt>
          <c:dPt>
            <c:idx val="627"/>
            <c:invertIfNegative val="1"/>
            <c:bubble3D val="0"/>
            <c:spPr>
              <a:solidFill>
                <a:srgbClr val="7ECAC4"/>
              </a:solidFill>
            </c:spPr>
            <c:extLst>
              <c:ext xmlns:c16="http://schemas.microsoft.com/office/drawing/2014/chart" uri="{C3380CC4-5D6E-409C-BE32-E72D297353CC}">
                <c16:uniqueId val="{000004E9-61F5-407B-959D-D24239F5BB85}"/>
              </c:ext>
            </c:extLst>
          </c:dPt>
          <c:dPt>
            <c:idx val="628"/>
            <c:invertIfNegative val="1"/>
            <c:bubble3D val="0"/>
            <c:spPr>
              <a:solidFill>
                <a:srgbClr val="7ECAC4"/>
              </a:solidFill>
            </c:spPr>
            <c:extLst>
              <c:ext xmlns:c16="http://schemas.microsoft.com/office/drawing/2014/chart" uri="{C3380CC4-5D6E-409C-BE32-E72D297353CC}">
                <c16:uniqueId val="{000004EB-61F5-407B-959D-D24239F5BB85}"/>
              </c:ext>
            </c:extLst>
          </c:dPt>
          <c:dPt>
            <c:idx val="629"/>
            <c:invertIfNegative val="1"/>
            <c:bubble3D val="0"/>
            <c:spPr>
              <a:solidFill>
                <a:srgbClr val="7ECAC4"/>
              </a:solidFill>
            </c:spPr>
            <c:extLst>
              <c:ext xmlns:c16="http://schemas.microsoft.com/office/drawing/2014/chart" uri="{C3380CC4-5D6E-409C-BE32-E72D297353CC}">
                <c16:uniqueId val="{000004ED-61F5-407B-959D-D24239F5BB85}"/>
              </c:ext>
            </c:extLst>
          </c:dPt>
          <c:dPt>
            <c:idx val="630"/>
            <c:invertIfNegative val="1"/>
            <c:bubble3D val="0"/>
            <c:spPr>
              <a:solidFill>
                <a:srgbClr val="7ECAC4"/>
              </a:solidFill>
            </c:spPr>
            <c:extLst>
              <c:ext xmlns:c16="http://schemas.microsoft.com/office/drawing/2014/chart" uri="{C3380CC4-5D6E-409C-BE32-E72D297353CC}">
                <c16:uniqueId val="{000004EF-61F5-407B-959D-D24239F5BB85}"/>
              </c:ext>
            </c:extLst>
          </c:dPt>
          <c:dPt>
            <c:idx val="631"/>
            <c:invertIfNegative val="1"/>
            <c:bubble3D val="0"/>
            <c:spPr>
              <a:solidFill>
                <a:srgbClr val="7ECAC4"/>
              </a:solidFill>
            </c:spPr>
            <c:extLst>
              <c:ext xmlns:c16="http://schemas.microsoft.com/office/drawing/2014/chart" uri="{C3380CC4-5D6E-409C-BE32-E72D297353CC}">
                <c16:uniqueId val="{000004F1-61F5-407B-959D-D24239F5BB85}"/>
              </c:ext>
            </c:extLst>
          </c:dPt>
          <c:dPt>
            <c:idx val="632"/>
            <c:invertIfNegative val="1"/>
            <c:bubble3D val="0"/>
            <c:spPr>
              <a:solidFill>
                <a:srgbClr val="7ECAC4"/>
              </a:solidFill>
            </c:spPr>
            <c:extLst>
              <c:ext xmlns:c16="http://schemas.microsoft.com/office/drawing/2014/chart" uri="{C3380CC4-5D6E-409C-BE32-E72D297353CC}">
                <c16:uniqueId val="{000004F3-61F5-407B-959D-D24239F5BB85}"/>
              </c:ext>
            </c:extLst>
          </c:dPt>
          <c:dPt>
            <c:idx val="633"/>
            <c:invertIfNegative val="1"/>
            <c:bubble3D val="0"/>
            <c:spPr>
              <a:solidFill>
                <a:srgbClr val="7ECAC4"/>
              </a:solidFill>
            </c:spPr>
            <c:extLst>
              <c:ext xmlns:c16="http://schemas.microsoft.com/office/drawing/2014/chart" uri="{C3380CC4-5D6E-409C-BE32-E72D297353CC}">
                <c16:uniqueId val="{000004F5-61F5-407B-959D-D24239F5BB85}"/>
              </c:ext>
            </c:extLst>
          </c:dPt>
          <c:dPt>
            <c:idx val="634"/>
            <c:invertIfNegative val="1"/>
            <c:bubble3D val="0"/>
            <c:spPr>
              <a:solidFill>
                <a:srgbClr val="7ECAC4"/>
              </a:solidFill>
            </c:spPr>
            <c:extLst>
              <c:ext xmlns:c16="http://schemas.microsoft.com/office/drawing/2014/chart" uri="{C3380CC4-5D6E-409C-BE32-E72D297353CC}">
                <c16:uniqueId val="{000004F7-61F5-407B-959D-D24239F5BB85}"/>
              </c:ext>
            </c:extLst>
          </c:dPt>
          <c:dPt>
            <c:idx val="635"/>
            <c:invertIfNegative val="1"/>
            <c:bubble3D val="0"/>
            <c:spPr>
              <a:solidFill>
                <a:srgbClr val="7ECAC4"/>
              </a:solidFill>
            </c:spPr>
            <c:extLst>
              <c:ext xmlns:c16="http://schemas.microsoft.com/office/drawing/2014/chart" uri="{C3380CC4-5D6E-409C-BE32-E72D297353CC}">
                <c16:uniqueId val="{000004F9-61F5-407B-959D-D24239F5BB85}"/>
              </c:ext>
            </c:extLst>
          </c:dPt>
          <c:dPt>
            <c:idx val="636"/>
            <c:invertIfNegative val="1"/>
            <c:bubble3D val="0"/>
            <c:spPr>
              <a:solidFill>
                <a:srgbClr val="7ECAC4"/>
              </a:solidFill>
            </c:spPr>
            <c:extLst>
              <c:ext xmlns:c16="http://schemas.microsoft.com/office/drawing/2014/chart" uri="{C3380CC4-5D6E-409C-BE32-E72D297353CC}">
                <c16:uniqueId val="{000004FB-61F5-407B-959D-D24239F5BB85}"/>
              </c:ext>
            </c:extLst>
          </c:dPt>
          <c:dPt>
            <c:idx val="637"/>
            <c:invertIfNegative val="1"/>
            <c:bubble3D val="0"/>
            <c:spPr>
              <a:solidFill>
                <a:srgbClr val="7ECAC4"/>
              </a:solidFill>
            </c:spPr>
            <c:extLst>
              <c:ext xmlns:c16="http://schemas.microsoft.com/office/drawing/2014/chart" uri="{C3380CC4-5D6E-409C-BE32-E72D297353CC}">
                <c16:uniqueId val="{000004FD-61F5-407B-959D-D24239F5BB85}"/>
              </c:ext>
            </c:extLst>
          </c:dPt>
          <c:dPt>
            <c:idx val="638"/>
            <c:invertIfNegative val="1"/>
            <c:bubble3D val="0"/>
            <c:spPr>
              <a:solidFill>
                <a:srgbClr val="7ECAC4"/>
              </a:solidFill>
            </c:spPr>
            <c:extLst>
              <c:ext xmlns:c16="http://schemas.microsoft.com/office/drawing/2014/chart" uri="{C3380CC4-5D6E-409C-BE32-E72D297353CC}">
                <c16:uniqueId val="{000004FF-61F5-407B-959D-D24239F5BB85}"/>
              </c:ext>
            </c:extLst>
          </c:dPt>
          <c:dPt>
            <c:idx val="639"/>
            <c:invertIfNegative val="1"/>
            <c:bubble3D val="0"/>
            <c:spPr>
              <a:solidFill>
                <a:srgbClr val="7ECAC4"/>
              </a:solidFill>
            </c:spPr>
            <c:extLst>
              <c:ext xmlns:c16="http://schemas.microsoft.com/office/drawing/2014/chart" uri="{C3380CC4-5D6E-409C-BE32-E72D297353CC}">
                <c16:uniqueId val="{00000501-61F5-407B-959D-D24239F5BB85}"/>
              </c:ext>
            </c:extLst>
          </c:dPt>
          <c:dPt>
            <c:idx val="640"/>
            <c:invertIfNegative val="1"/>
            <c:bubble3D val="0"/>
            <c:spPr>
              <a:solidFill>
                <a:srgbClr val="7ECAC4"/>
              </a:solidFill>
            </c:spPr>
            <c:extLst>
              <c:ext xmlns:c16="http://schemas.microsoft.com/office/drawing/2014/chart" uri="{C3380CC4-5D6E-409C-BE32-E72D297353CC}">
                <c16:uniqueId val="{00000503-61F5-407B-959D-D24239F5BB85}"/>
              </c:ext>
            </c:extLst>
          </c:dPt>
          <c:dPt>
            <c:idx val="641"/>
            <c:invertIfNegative val="1"/>
            <c:bubble3D val="0"/>
            <c:spPr>
              <a:solidFill>
                <a:srgbClr val="7ECAC4"/>
              </a:solidFill>
            </c:spPr>
            <c:extLst>
              <c:ext xmlns:c16="http://schemas.microsoft.com/office/drawing/2014/chart" uri="{C3380CC4-5D6E-409C-BE32-E72D297353CC}">
                <c16:uniqueId val="{00000505-61F5-407B-959D-D24239F5BB85}"/>
              </c:ext>
            </c:extLst>
          </c:dPt>
          <c:dPt>
            <c:idx val="642"/>
            <c:invertIfNegative val="1"/>
            <c:bubble3D val="0"/>
            <c:spPr>
              <a:solidFill>
                <a:srgbClr val="7ECAC4"/>
              </a:solidFill>
            </c:spPr>
            <c:extLst>
              <c:ext xmlns:c16="http://schemas.microsoft.com/office/drawing/2014/chart" uri="{C3380CC4-5D6E-409C-BE32-E72D297353CC}">
                <c16:uniqueId val="{00000507-61F5-407B-959D-D24239F5BB85}"/>
              </c:ext>
            </c:extLst>
          </c:dPt>
          <c:dPt>
            <c:idx val="643"/>
            <c:invertIfNegative val="1"/>
            <c:bubble3D val="0"/>
            <c:spPr>
              <a:solidFill>
                <a:srgbClr val="7ECAC4"/>
              </a:solidFill>
            </c:spPr>
            <c:extLst>
              <c:ext xmlns:c16="http://schemas.microsoft.com/office/drawing/2014/chart" uri="{C3380CC4-5D6E-409C-BE32-E72D297353CC}">
                <c16:uniqueId val="{00000509-61F5-407B-959D-D24239F5BB85}"/>
              </c:ext>
            </c:extLst>
          </c:dPt>
          <c:dPt>
            <c:idx val="644"/>
            <c:invertIfNegative val="1"/>
            <c:bubble3D val="0"/>
            <c:spPr>
              <a:solidFill>
                <a:srgbClr val="7ECAC4"/>
              </a:solidFill>
            </c:spPr>
            <c:extLst>
              <c:ext xmlns:c16="http://schemas.microsoft.com/office/drawing/2014/chart" uri="{C3380CC4-5D6E-409C-BE32-E72D297353CC}">
                <c16:uniqueId val="{0000050B-61F5-407B-959D-D24239F5BB85}"/>
              </c:ext>
            </c:extLst>
          </c:dPt>
          <c:dPt>
            <c:idx val="645"/>
            <c:invertIfNegative val="1"/>
            <c:bubble3D val="0"/>
            <c:spPr>
              <a:solidFill>
                <a:srgbClr val="7ECAC4"/>
              </a:solidFill>
            </c:spPr>
            <c:extLst>
              <c:ext xmlns:c16="http://schemas.microsoft.com/office/drawing/2014/chart" uri="{C3380CC4-5D6E-409C-BE32-E72D297353CC}">
                <c16:uniqueId val="{0000050D-61F5-407B-959D-D24239F5BB85}"/>
              </c:ext>
            </c:extLst>
          </c:dPt>
          <c:dPt>
            <c:idx val="646"/>
            <c:invertIfNegative val="1"/>
            <c:bubble3D val="0"/>
            <c:spPr>
              <a:solidFill>
                <a:srgbClr val="7ECAC4"/>
              </a:solidFill>
            </c:spPr>
            <c:extLst>
              <c:ext xmlns:c16="http://schemas.microsoft.com/office/drawing/2014/chart" uri="{C3380CC4-5D6E-409C-BE32-E72D297353CC}">
                <c16:uniqueId val="{0000050F-61F5-407B-959D-D24239F5BB85}"/>
              </c:ext>
            </c:extLst>
          </c:dPt>
          <c:dPt>
            <c:idx val="647"/>
            <c:invertIfNegative val="1"/>
            <c:bubble3D val="0"/>
            <c:spPr>
              <a:solidFill>
                <a:srgbClr val="7ECAC4"/>
              </a:solidFill>
            </c:spPr>
            <c:extLst>
              <c:ext xmlns:c16="http://schemas.microsoft.com/office/drawing/2014/chart" uri="{C3380CC4-5D6E-409C-BE32-E72D297353CC}">
                <c16:uniqueId val="{00000511-61F5-407B-959D-D24239F5BB85}"/>
              </c:ext>
            </c:extLst>
          </c:dPt>
          <c:dPt>
            <c:idx val="648"/>
            <c:invertIfNegative val="1"/>
            <c:bubble3D val="0"/>
            <c:spPr>
              <a:solidFill>
                <a:srgbClr val="7ECAC4"/>
              </a:solidFill>
            </c:spPr>
            <c:extLst>
              <c:ext xmlns:c16="http://schemas.microsoft.com/office/drawing/2014/chart" uri="{C3380CC4-5D6E-409C-BE32-E72D297353CC}">
                <c16:uniqueId val="{00000513-61F5-407B-959D-D24239F5BB85}"/>
              </c:ext>
            </c:extLst>
          </c:dPt>
          <c:dPt>
            <c:idx val="649"/>
            <c:invertIfNegative val="1"/>
            <c:bubble3D val="0"/>
            <c:spPr>
              <a:solidFill>
                <a:srgbClr val="7ECAC4"/>
              </a:solidFill>
            </c:spPr>
            <c:extLst>
              <c:ext xmlns:c16="http://schemas.microsoft.com/office/drawing/2014/chart" uri="{C3380CC4-5D6E-409C-BE32-E72D297353CC}">
                <c16:uniqueId val="{00000515-61F5-407B-959D-D24239F5BB85}"/>
              </c:ext>
            </c:extLst>
          </c:dPt>
          <c:dPt>
            <c:idx val="650"/>
            <c:invertIfNegative val="1"/>
            <c:bubble3D val="0"/>
            <c:spPr>
              <a:solidFill>
                <a:srgbClr val="7ECAC4"/>
              </a:solidFill>
            </c:spPr>
            <c:extLst>
              <c:ext xmlns:c16="http://schemas.microsoft.com/office/drawing/2014/chart" uri="{C3380CC4-5D6E-409C-BE32-E72D297353CC}">
                <c16:uniqueId val="{00000517-61F5-407B-959D-D24239F5BB85}"/>
              </c:ext>
            </c:extLst>
          </c:dPt>
          <c:dPt>
            <c:idx val="651"/>
            <c:invertIfNegative val="1"/>
            <c:bubble3D val="0"/>
            <c:spPr>
              <a:solidFill>
                <a:srgbClr val="7ECAC4"/>
              </a:solidFill>
            </c:spPr>
            <c:extLst>
              <c:ext xmlns:c16="http://schemas.microsoft.com/office/drawing/2014/chart" uri="{C3380CC4-5D6E-409C-BE32-E72D297353CC}">
                <c16:uniqueId val="{00000519-61F5-407B-959D-D24239F5BB85}"/>
              </c:ext>
            </c:extLst>
          </c:dPt>
          <c:dPt>
            <c:idx val="652"/>
            <c:invertIfNegative val="1"/>
            <c:bubble3D val="0"/>
            <c:spPr>
              <a:solidFill>
                <a:srgbClr val="7ECAC4"/>
              </a:solidFill>
            </c:spPr>
            <c:extLst>
              <c:ext xmlns:c16="http://schemas.microsoft.com/office/drawing/2014/chart" uri="{C3380CC4-5D6E-409C-BE32-E72D297353CC}">
                <c16:uniqueId val="{0000051B-61F5-407B-959D-D24239F5BB85}"/>
              </c:ext>
            </c:extLst>
          </c:dPt>
          <c:dPt>
            <c:idx val="653"/>
            <c:invertIfNegative val="1"/>
            <c:bubble3D val="0"/>
            <c:spPr>
              <a:solidFill>
                <a:srgbClr val="7ECAC4"/>
              </a:solidFill>
            </c:spPr>
            <c:extLst>
              <c:ext xmlns:c16="http://schemas.microsoft.com/office/drawing/2014/chart" uri="{C3380CC4-5D6E-409C-BE32-E72D297353CC}">
                <c16:uniqueId val="{0000051D-61F5-407B-959D-D24239F5BB85}"/>
              </c:ext>
            </c:extLst>
          </c:dPt>
          <c:dPt>
            <c:idx val="654"/>
            <c:invertIfNegative val="1"/>
            <c:bubble3D val="0"/>
            <c:spPr>
              <a:solidFill>
                <a:srgbClr val="7ECAC4"/>
              </a:solidFill>
            </c:spPr>
            <c:extLst>
              <c:ext xmlns:c16="http://schemas.microsoft.com/office/drawing/2014/chart" uri="{C3380CC4-5D6E-409C-BE32-E72D297353CC}">
                <c16:uniqueId val="{0000051F-61F5-407B-959D-D24239F5BB85}"/>
              </c:ext>
            </c:extLst>
          </c:dPt>
          <c:dPt>
            <c:idx val="655"/>
            <c:invertIfNegative val="1"/>
            <c:bubble3D val="0"/>
            <c:spPr>
              <a:solidFill>
                <a:srgbClr val="7ECAC4"/>
              </a:solidFill>
            </c:spPr>
            <c:extLst>
              <c:ext xmlns:c16="http://schemas.microsoft.com/office/drawing/2014/chart" uri="{C3380CC4-5D6E-409C-BE32-E72D297353CC}">
                <c16:uniqueId val="{00000521-61F5-407B-959D-D24239F5BB85}"/>
              </c:ext>
            </c:extLst>
          </c:dPt>
          <c:dPt>
            <c:idx val="656"/>
            <c:invertIfNegative val="1"/>
            <c:bubble3D val="0"/>
            <c:spPr>
              <a:solidFill>
                <a:srgbClr val="7ECAC4"/>
              </a:solidFill>
            </c:spPr>
            <c:extLst>
              <c:ext xmlns:c16="http://schemas.microsoft.com/office/drawing/2014/chart" uri="{C3380CC4-5D6E-409C-BE32-E72D297353CC}">
                <c16:uniqueId val="{00000523-61F5-407B-959D-D24239F5BB85}"/>
              </c:ext>
            </c:extLst>
          </c:dPt>
          <c:dPt>
            <c:idx val="657"/>
            <c:invertIfNegative val="1"/>
            <c:bubble3D val="0"/>
            <c:spPr>
              <a:solidFill>
                <a:srgbClr val="7ECAC4"/>
              </a:solidFill>
            </c:spPr>
            <c:extLst>
              <c:ext xmlns:c16="http://schemas.microsoft.com/office/drawing/2014/chart" uri="{C3380CC4-5D6E-409C-BE32-E72D297353CC}">
                <c16:uniqueId val="{00000525-61F5-407B-959D-D24239F5BB85}"/>
              </c:ext>
            </c:extLst>
          </c:dPt>
          <c:dPt>
            <c:idx val="658"/>
            <c:invertIfNegative val="1"/>
            <c:bubble3D val="0"/>
            <c:spPr>
              <a:solidFill>
                <a:srgbClr val="7ECAC4"/>
              </a:solidFill>
            </c:spPr>
            <c:extLst>
              <c:ext xmlns:c16="http://schemas.microsoft.com/office/drawing/2014/chart" uri="{C3380CC4-5D6E-409C-BE32-E72D297353CC}">
                <c16:uniqueId val="{00000527-61F5-407B-959D-D24239F5BB85}"/>
              </c:ext>
            </c:extLst>
          </c:dPt>
          <c:dPt>
            <c:idx val="659"/>
            <c:invertIfNegative val="1"/>
            <c:bubble3D val="0"/>
            <c:spPr>
              <a:solidFill>
                <a:srgbClr val="7ECAC4"/>
              </a:solidFill>
            </c:spPr>
            <c:extLst>
              <c:ext xmlns:c16="http://schemas.microsoft.com/office/drawing/2014/chart" uri="{C3380CC4-5D6E-409C-BE32-E72D297353CC}">
                <c16:uniqueId val="{00000529-61F5-407B-959D-D24239F5BB85}"/>
              </c:ext>
            </c:extLst>
          </c:dPt>
          <c:dPt>
            <c:idx val="660"/>
            <c:invertIfNegative val="1"/>
            <c:bubble3D val="0"/>
            <c:spPr>
              <a:solidFill>
                <a:srgbClr val="7ECAC4"/>
              </a:solidFill>
            </c:spPr>
            <c:extLst>
              <c:ext xmlns:c16="http://schemas.microsoft.com/office/drawing/2014/chart" uri="{C3380CC4-5D6E-409C-BE32-E72D297353CC}">
                <c16:uniqueId val="{0000052B-61F5-407B-959D-D24239F5BB85}"/>
              </c:ext>
            </c:extLst>
          </c:dPt>
          <c:dPt>
            <c:idx val="661"/>
            <c:invertIfNegative val="1"/>
            <c:bubble3D val="0"/>
            <c:spPr>
              <a:solidFill>
                <a:srgbClr val="7ECAC4"/>
              </a:solidFill>
            </c:spPr>
            <c:extLst>
              <c:ext xmlns:c16="http://schemas.microsoft.com/office/drawing/2014/chart" uri="{C3380CC4-5D6E-409C-BE32-E72D297353CC}">
                <c16:uniqueId val="{0000052D-61F5-407B-959D-D24239F5BB85}"/>
              </c:ext>
            </c:extLst>
          </c:dPt>
          <c:dPt>
            <c:idx val="662"/>
            <c:invertIfNegative val="1"/>
            <c:bubble3D val="0"/>
            <c:spPr>
              <a:solidFill>
                <a:srgbClr val="7ECAC4"/>
              </a:solidFill>
            </c:spPr>
            <c:extLst>
              <c:ext xmlns:c16="http://schemas.microsoft.com/office/drawing/2014/chart" uri="{C3380CC4-5D6E-409C-BE32-E72D297353CC}">
                <c16:uniqueId val="{0000052F-61F5-407B-959D-D24239F5BB85}"/>
              </c:ext>
            </c:extLst>
          </c:dPt>
          <c:dPt>
            <c:idx val="663"/>
            <c:invertIfNegative val="1"/>
            <c:bubble3D val="0"/>
            <c:spPr>
              <a:solidFill>
                <a:srgbClr val="7ECAC4"/>
              </a:solidFill>
            </c:spPr>
            <c:extLst>
              <c:ext xmlns:c16="http://schemas.microsoft.com/office/drawing/2014/chart" uri="{C3380CC4-5D6E-409C-BE32-E72D297353CC}">
                <c16:uniqueId val="{00000531-61F5-407B-959D-D24239F5BB85}"/>
              </c:ext>
            </c:extLst>
          </c:dPt>
          <c:dPt>
            <c:idx val="664"/>
            <c:invertIfNegative val="1"/>
            <c:bubble3D val="0"/>
            <c:spPr>
              <a:solidFill>
                <a:srgbClr val="7ECAC4"/>
              </a:solidFill>
            </c:spPr>
            <c:extLst>
              <c:ext xmlns:c16="http://schemas.microsoft.com/office/drawing/2014/chart" uri="{C3380CC4-5D6E-409C-BE32-E72D297353CC}">
                <c16:uniqueId val="{00000533-61F5-407B-959D-D24239F5BB85}"/>
              </c:ext>
            </c:extLst>
          </c:dPt>
          <c:dPt>
            <c:idx val="665"/>
            <c:invertIfNegative val="1"/>
            <c:bubble3D val="0"/>
            <c:spPr>
              <a:solidFill>
                <a:srgbClr val="7ECAC4"/>
              </a:solidFill>
            </c:spPr>
            <c:extLst>
              <c:ext xmlns:c16="http://schemas.microsoft.com/office/drawing/2014/chart" uri="{C3380CC4-5D6E-409C-BE32-E72D297353CC}">
                <c16:uniqueId val="{00000535-61F5-407B-959D-D24239F5BB85}"/>
              </c:ext>
            </c:extLst>
          </c:dPt>
          <c:dPt>
            <c:idx val="666"/>
            <c:invertIfNegative val="1"/>
            <c:bubble3D val="0"/>
            <c:spPr>
              <a:solidFill>
                <a:srgbClr val="7ECAC4"/>
              </a:solidFill>
            </c:spPr>
            <c:extLst>
              <c:ext xmlns:c16="http://schemas.microsoft.com/office/drawing/2014/chart" uri="{C3380CC4-5D6E-409C-BE32-E72D297353CC}">
                <c16:uniqueId val="{00000537-61F5-407B-959D-D24239F5BB85}"/>
              </c:ext>
            </c:extLst>
          </c:dPt>
          <c:dPt>
            <c:idx val="667"/>
            <c:invertIfNegative val="1"/>
            <c:bubble3D val="0"/>
            <c:spPr>
              <a:solidFill>
                <a:srgbClr val="7ECAC4"/>
              </a:solidFill>
            </c:spPr>
            <c:extLst>
              <c:ext xmlns:c16="http://schemas.microsoft.com/office/drawing/2014/chart" uri="{C3380CC4-5D6E-409C-BE32-E72D297353CC}">
                <c16:uniqueId val="{00000539-61F5-407B-959D-D24239F5BB85}"/>
              </c:ext>
            </c:extLst>
          </c:dPt>
          <c:dPt>
            <c:idx val="668"/>
            <c:invertIfNegative val="1"/>
            <c:bubble3D val="0"/>
            <c:spPr>
              <a:solidFill>
                <a:srgbClr val="7ECAC4"/>
              </a:solidFill>
            </c:spPr>
            <c:extLst>
              <c:ext xmlns:c16="http://schemas.microsoft.com/office/drawing/2014/chart" uri="{C3380CC4-5D6E-409C-BE32-E72D297353CC}">
                <c16:uniqueId val="{0000053B-61F5-407B-959D-D24239F5BB85}"/>
              </c:ext>
            </c:extLst>
          </c:dPt>
          <c:dPt>
            <c:idx val="669"/>
            <c:invertIfNegative val="1"/>
            <c:bubble3D val="0"/>
            <c:spPr>
              <a:solidFill>
                <a:srgbClr val="7ECAC4"/>
              </a:solidFill>
            </c:spPr>
            <c:extLst>
              <c:ext xmlns:c16="http://schemas.microsoft.com/office/drawing/2014/chart" uri="{C3380CC4-5D6E-409C-BE32-E72D297353CC}">
                <c16:uniqueId val="{0000053D-61F5-407B-959D-D24239F5BB85}"/>
              </c:ext>
            </c:extLst>
          </c:dPt>
          <c:dPt>
            <c:idx val="670"/>
            <c:invertIfNegative val="1"/>
            <c:bubble3D val="0"/>
            <c:spPr>
              <a:solidFill>
                <a:srgbClr val="7ECAC4"/>
              </a:solidFill>
            </c:spPr>
            <c:extLst>
              <c:ext xmlns:c16="http://schemas.microsoft.com/office/drawing/2014/chart" uri="{C3380CC4-5D6E-409C-BE32-E72D297353CC}">
                <c16:uniqueId val="{0000053F-61F5-407B-959D-D24239F5BB85}"/>
              </c:ext>
            </c:extLst>
          </c:dPt>
          <c:dPt>
            <c:idx val="671"/>
            <c:invertIfNegative val="1"/>
            <c:bubble3D val="0"/>
            <c:spPr>
              <a:solidFill>
                <a:srgbClr val="7ECAC4"/>
              </a:solidFill>
            </c:spPr>
            <c:extLst>
              <c:ext xmlns:c16="http://schemas.microsoft.com/office/drawing/2014/chart" uri="{C3380CC4-5D6E-409C-BE32-E72D297353CC}">
                <c16:uniqueId val="{00000541-61F5-407B-959D-D24239F5BB85}"/>
              </c:ext>
            </c:extLst>
          </c:dPt>
          <c:dPt>
            <c:idx val="672"/>
            <c:invertIfNegative val="1"/>
            <c:bubble3D val="0"/>
            <c:spPr>
              <a:solidFill>
                <a:srgbClr val="7ECAC4"/>
              </a:solidFill>
            </c:spPr>
            <c:extLst>
              <c:ext xmlns:c16="http://schemas.microsoft.com/office/drawing/2014/chart" uri="{C3380CC4-5D6E-409C-BE32-E72D297353CC}">
                <c16:uniqueId val="{00000543-61F5-407B-959D-D24239F5BB85}"/>
              </c:ext>
            </c:extLst>
          </c:dPt>
          <c:dPt>
            <c:idx val="673"/>
            <c:invertIfNegative val="1"/>
            <c:bubble3D val="0"/>
            <c:spPr>
              <a:solidFill>
                <a:srgbClr val="7ECAC4"/>
              </a:solidFill>
            </c:spPr>
            <c:extLst>
              <c:ext xmlns:c16="http://schemas.microsoft.com/office/drawing/2014/chart" uri="{C3380CC4-5D6E-409C-BE32-E72D297353CC}">
                <c16:uniqueId val="{00000545-61F5-407B-959D-D24239F5BB85}"/>
              </c:ext>
            </c:extLst>
          </c:dPt>
          <c:dPt>
            <c:idx val="674"/>
            <c:invertIfNegative val="1"/>
            <c:bubble3D val="0"/>
            <c:spPr>
              <a:solidFill>
                <a:srgbClr val="7ECAC4"/>
              </a:solidFill>
            </c:spPr>
            <c:extLst>
              <c:ext xmlns:c16="http://schemas.microsoft.com/office/drawing/2014/chart" uri="{C3380CC4-5D6E-409C-BE32-E72D297353CC}">
                <c16:uniqueId val="{00000547-61F5-407B-959D-D24239F5BB85}"/>
              </c:ext>
            </c:extLst>
          </c:dPt>
          <c:dPt>
            <c:idx val="675"/>
            <c:invertIfNegative val="1"/>
            <c:bubble3D val="0"/>
            <c:spPr>
              <a:solidFill>
                <a:srgbClr val="7ECAC4"/>
              </a:solidFill>
            </c:spPr>
            <c:extLst>
              <c:ext xmlns:c16="http://schemas.microsoft.com/office/drawing/2014/chart" uri="{C3380CC4-5D6E-409C-BE32-E72D297353CC}">
                <c16:uniqueId val="{00000549-61F5-407B-959D-D24239F5BB85}"/>
              </c:ext>
            </c:extLst>
          </c:dPt>
          <c:dPt>
            <c:idx val="676"/>
            <c:invertIfNegative val="1"/>
            <c:bubble3D val="0"/>
            <c:spPr>
              <a:solidFill>
                <a:srgbClr val="7ECAC4"/>
              </a:solidFill>
            </c:spPr>
            <c:extLst>
              <c:ext xmlns:c16="http://schemas.microsoft.com/office/drawing/2014/chart" uri="{C3380CC4-5D6E-409C-BE32-E72D297353CC}">
                <c16:uniqueId val="{0000054B-61F5-407B-959D-D24239F5BB85}"/>
              </c:ext>
            </c:extLst>
          </c:dPt>
          <c:dPt>
            <c:idx val="677"/>
            <c:invertIfNegative val="1"/>
            <c:bubble3D val="0"/>
            <c:spPr>
              <a:solidFill>
                <a:srgbClr val="7ECAC4"/>
              </a:solidFill>
            </c:spPr>
            <c:extLst>
              <c:ext xmlns:c16="http://schemas.microsoft.com/office/drawing/2014/chart" uri="{C3380CC4-5D6E-409C-BE32-E72D297353CC}">
                <c16:uniqueId val="{0000054D-61F5-407B-959D-D24239F5BB85}"/>
              </c:ext>
            </c:extLst>
          </c:dPt>
          <c:dPt>
            <c:idx val="678"/>
            <c:invertIfNegative val="1"/>
            <c:bubble3D val="0"/>
            <c:spPr>
              <a:solidFill>
                <a:srgbClr val="7ECAC4"/>
              </a:solidFill>
            </c:spPr>
            <c:extLst>
              <c:ext xmlns:c16="http://schemas.microsoft.com/office/drawing/2014/chart" uri="{C3380CC4-5D6E-409C-BE32-E72D297353CC}">
                <c16:uniqueId val="{0000054F-61F5-407B-959D-D24239F5BB85}"/>
              </c:ext>
            </c:extLst>
          </c:dPt>
          <c:dPt>
            <c:idx val="679"/>
            <c:invertIfNegative val="1"/>
            <c:bubble3D val="0"/>
            <c:spPr>
              <a:solidFill>
                <a:srgbClr val="7ECAC4"/>
              </a:solidFill>
            </c:spPr>
            <c:extLst>
              <c:ext xmlns:c16="http://schemas.microsoft.com/office/drawing/2014/chart" uri="{C3380CC4-5D6E-409C-BE32-E72D297353CC}">
                <c16:uniqueId val="{00000551-61F5-407B-959D-D24239F5BB85}"/>
              </c:ext>
            </c:extLst>
          </c:dPt>
          <c:dPt>
            <c:idx val="680"/>
            <c:invertIfNegative val="1"/>
            <c:bubble3D val="0"/>
            <c:spPr>
              <a:solidFill>
                <a:srgbClr val="7ECAC4"/>
              </a:solidFill>
            </c:spPr>
            <c:extLst>
              <c:ext xmlns:c16="http://schemas.microsoft.com/office/drawing/2014/chart" uri="{C3380CC4-5D6E-409C-BE32-E72D297353CC}">
                <c16:uniqueId val="{00000553-61F5-407B-959D-D24239F5BB85}"/>
              </c:ext>
            </c:extLst>
          </c:dPt>
          <c:dPt>
            <c:idx val="681"/>
            <c:invertIfNegative val="1"/>
            <c:bubble3D val="0"/>
            <c:spPr>
              <a:solidFill>
                <a:srgbClr val="7ECAC4"/>
              </a:solidFill>
            </c:spPr>
            <c:extLst>
              <c:ext xmlns:c16="http://schemas.microsoft.com/office/drawing/2014/chart" uri="{C3380CC4-5D6E-409C-BE32-E72D297353CC}">
                <c16:uniqueId val="{00000555-61F5-407B-959D-D24239F5BB85}"/>
              </c:ext>
            </c:extLst>
          </c:dPt>
          <c:dPt>
            <c:idx val="682"/>
            <c:invertIfNegative val="1"/>
            <c:bubble3D val="0"/>
            <c:spPr>
              <a:solidFill>
                <a:srgbClr val="7ECAC4"/>
              </a:solidFill>
            </c:spPr>
            <c:extLst>
              <c:ext xmlns:c16="http://schemas.microsoft.com/office/drawing/2014/chart" uri="{C3380CC4-5D6E-409C-BE32-E72D297353CC}">
                <c16:uniqueId val="{00000557-61F5-407B-959D-D24239F5BB85}"/>
              </c:ext>
            </c:extLst>
          </c:dPt>
          <c:dPt>
            <c:idx val="683"/>
            <c:invertIfNegative val="1"/>
            <c:bubble3D val="0"/>
            <c:spPr>
              <a:solidFill>
                <a:srgbClr val="7ECAC4"/>
              </a:solidFill>
            </c:spPr>
            <c:extLst>
              <c:ext xmlns:c16="http://schemas.microsoft.com/office/drawing/2014/chart" uri="{C3380CC4-5D6E-409C-BE32-E72D297353CC}">
                <c16:uniqueId val="{00000559-61F5-407B-959D-D24239F5BB85}"/>
              </c:ext>
            </c:extLst>
          </c:dPt>
          <c:dPt>
            <c:idx val="684"/>
            <c:invertIfNegative val="1"/>
            <c:bubble3D val="0"/>
            <c:spPr>
              <a:solidFill>
                <a:srgbClr val="7ECAC4"/>
              </a:solidFill>
            </c:spPr>
            <c:extLst>
              <c:ext xmlns:c16="http://schemas.microsoft.com/office/drawing/2014/chart" uri="{C3380CC4-5D6E-409C-BE32-E72D297353CC}">
                <c16:uniqueId val="{0000055B-61F5-407B-959D-D24239F5BB85}"/>
              </c:ext>
            </c:extLst>
          </c:dPt>
          <c:dPt>
            <c:idx val="685"/>
            <c:invertIfNegative val="1"/>
            <c:bubble3D val="0"/>
            <c:spPr>
              <a:solidFill>
                <a:srgbClr val="7ECAC4"/>
              </a:solidFill>
            </c:spPr>
            <c:extLst>
              <c:ext xmlns:c16="http://schemas.microsoft.com/office/drawing/2014/chart" uri="{C3380CC4-5D6E-409C-BE32-E72D297353CC}">
                <c16:uniqueId val="{0000055D-61F5-407B-959D-D24239F5BB85}"/>
              </c:ext>
            </c:extLst>
          </c:dPt>
          <c:dPt>
            <c:idx val="686"/>
            <c:invertIfNegative val="1"/>
            <c:bubble3D val="0"/>
            <c:spPr>
              <a:solidFill>
                <a:srgbClr val="7ECAC4"/>
              </a:solidFill>
            </c:spPr>
            <c:extLst>
              <c:ext xmlns:c16="http://schemas.microsoft.com/office/drawing/2014/chart" uri="{C3380CC4-5D6E-409C-BE32-E72D297353CC}">
                <c16:uniqueId val="{0000055F-61F5-407B-959D-D24239F5BB85}"/>
              </c:ext>
            </c:extLst>
          </c:dPt>
          <c:dPt>
            <c:idx val="687"/>
            <c:invertIfNegative val="1"/>
            <c:bubble3D val="0"/>
            <c:spPr>
              <a:solidFill>
                <a:srgbClr val="7ECAC4"/>
              </a:solidFill>
            </c:spPr>
            <c:extLst>
              <c:ext xmlns:c16="http://schemas.microsoft.com/office/drawing/2014/chart" uri="{C3380CC4-5D6E-409C-BE32-E72D297353CC}">
                <c16:uniqueId val="{00000561-61F5-407B-959D-D24239F5BB85}"/>
              </c:ext>
            </c:extLst>
          </c:dPt>
          <c:dPt>
            <c:idx val="688"/>
            <c:invertIfNegative val="1"/>
            <c:bubble3D val="0"/>
            <c:spPr>
              <a:solidFill>
                <a:srgbClr val="7ECAC4"/>
              </a:solidFill>
            </c:spPr>
            <c:extLst>
              <c:ext xmlns:c16="http://schemas.microsoft.com/office/drawing/2014/chart" uri="{C3380CC4-5D6E-409C-BE32-E72D297353CC}">
                <c16:uniqueId val="{00000563-61F5-407B-959D-D24239F5BB85}"/>
              </c:ext>
            </c:extLst>
          </c:dPt>
          <c:dPt>
            <c:idx val="689"/>
            <c:invertIfNegative val="1"/>
            <c:bubble3D val="0"/>
            <c:spPr>
              <a:solidFill>
                <a:srgbClr val="7ECAC4"/>
              </a:solidFill>
            </c:spPr>
            <c:extLst>
              <c:ext xmlns:c16="http://schemas.microsoft.com/office/drawing/2014/chart" uri="{C3380CC4-5D6E-409C-BE32-E72D297353CC}">
                <c16:uniqueId val="{00000565-61F5-407B-959D-D24239F5BB85}"/>
              </c:ext>
            </c:extLst>
          </c:dPt>
          <c:dPt>
            <c:idx val="690"/>
            <c:invertIfNegative val="1"/>
            <c:bubble3D val="0"/>
            <c:spPr>
              <a:solidFill>
                <a:srgbClr val="7ECAC4"/>
              </a:solidFill>
            </c:spPr>
            <c:extLst>
              <c:ext xmlns:c16="http://schemas.microsoft.com/office/drawing/2014/chart" uri="{C3380CC4-5D6E-409C-BE32-E72D297353CC}">
                <c16:uniqueId val="{00000567-61F5-407B-959D-D24239F5BB85}"/>
              </c:ext>
            </c:extLst>
          </c:dPt>
          <c:dPt>
            <c:idx val="691"/>
            <c:invertIfNegative val="1"/>
            <c:bubble3D val="0"/>
            <c:spPr>
              <a:solidFill>
                <a:srgbClr val="7ECAC4"/>
              </a:solidFill>
            </c:spPr>
            <c:extLst>
              <c:ext xmlns:c16="http://schemas.microsoft.com/office/drawing/2014/chart" uri="{C3380CC4-5D6E-409C-BE32-E72D297353CC}">
                <c16:uniqueId val="{00000569-61F5-407B-959D-D24239F5BB85}"/>
              </c:ext>
            </c:extLst>
          </c:dPt>
          <c:dPt>
            <c:idx val="692"/>
            <c:invertIfNegative val="1"/>
            <c:bubble3D val="0"/>
            <c:spPr>
              <a:solidFill>
                <a:srgbClr val="7ECAC4"/>
              </a:solidFill>
            </c:spPr>
            <c:extLst>
              <c:ext xmlns:c16="http://schemas.microsoft.com/office/drawing/2014/chart" uri="{C3380CC4-5D6E-409C-BE32-E72D297353CC}">
                <c16:uniqueId val="{0000056B-61F5-407B-959D-D24239F5BB85}"/>
              </c:ext>
            </c:extLst>
          </c:dPt>
          <c:dPt>
            <c:idx val="693"/>
            <c:invertIfNegative val="1"/>
            <c:bubble3D val="0"/>
            <c:spPr>
              <a:solidFill>
                <a:srgbClr val="7ECAC4"/>
              </a:solidFill>
            </c:spPr>
            <c:extLst>
              <c:ext xmlns:c16="http://schemas.microsoft.com/office/drawing/2014/chart" uri="{C3380CC4-5D6E-409C-BE32-E72D297353CC}">
                <c16:uniqueId val="{0000056D-61F5-407B-959D-D24239F5BB85}"/>
              </c:ext>
            </c:extLst>
          </c:dPt>
          <c:dPt>
            <c:idx val="694"/>
            <c:invertIfNegative val="1"/>
            <c:bubble3D val="0"/>
            <c:spPr>
              <a:solidFill>
                <a:srgbClr val="7ECAC4"/>
              </a:solidFill>
            </c:spPr>
            <c:extLst>
              <c:ext xmlns:c16="http://schemas.microsoft.com/office/drawing/2014/chart" uri="{C3380CC4-5D6E-409C-BE32-E72D297353CC}">
                <c16:uniqueId val="{0000056F-61F5-407B-959D-D24239F5BB85}"/>
              </c:ext>
            </c:extLst>
          </c:dPt>
          <c:dPt>
            <c:idx val="695"/>
            <c:invertIfNegative val="1"/>
            <c:bubble3D val="0"/>
            <c:spPr>
              <a:solidFill>
                <a:srgbClr val="7ECAC4"/>
              </a:solidFill>
            </c:spPr>
            <c:extLst>
              <c:ext xmlns:c16="http://schemas.microsoft.com/office/drawing/2014/chart" uri="{C3380CC4-5D6E-409C-BE32-E72D297353CC}">
                <c16:uniqueId val="{00000571-61F5-407B-959D-D24239F5BB85}"/>
              </c:ext>
            </c:extLst>
          </c:dPt>
          <c:dPt>
            <c:idx val="696"/>
            <c:invertIfNegative val="1"/>
            <c:bubble3D val="0"/>
            <c:spPr>
              <a:solidFill>
                <a:srgbClr val="7ECAC4"/>
              </a:solidFill>
            </c:spPr>
            <c:extLst>
              <c:ext xmlns:c16="http://schemas.microsoft.com/office/drawing/2014/chart" uri="{C3380CC4-5D6E-409C-BE32-E72D297353CC}">
                <c16:uniqueId val="{00000573-61F5-407B-959D-D24239F5BB85}"/>
              </c:ext>
            </c:extLst>
          </c:dPt>
          <c:dPt>
            <c:idx val="697"/>
            <c:invertIfNegative val="1"/>
            <c:bubble3D val="0"/>
            <c:spPr>
              <a:solidFill>
                <a:srgbClr val="7ECAC4"/>
              </a:solidFill>
            </c:spPr>
            <c:extLst>
              <c:ext xmlns:c16="http://schemas.microsoft.com/office/drawing/2014/chart" uri="{C3380CC4-5D6E-409C-BE32-E72D297353CC}">
                <c16:uniqueId val="{00000575-61F5-407B-959D-D24239F5BB85}"/>
              </c:ext>
            </c:extLst>
          </c:dPt>
          <c:dPt>
            <c:idx val="698"/>
            <c:invertIfNegative val="1"/>
            <c:bubble3D val="0"/>
            <c:spPr>
              <a:solidFill>
                <a:srgbClr val="7ECAC4"/>
              </a:solidFill>
            </c:spPr>
            <c:extLst>
              <c:ext xmlns:c16="http://schemas.microsoft.com/office/drawing/2014/chart" uri="{C3380CC4-5D6E-409C-BE32-E72D297353CC}">
                <c16:uniqueId val="{00000577-61F5-407B-959D-D24239F5BB85}"/>
              </c:ext>
            </c:extLst>
          </c:dPt>
          <c:dPt>
            <c:idx val="699"/>
            <c:invertIfNegative val="1"/>
            <c:bubble3D val="0"/>
            <c:spPr>
              <a:solidFill>
                <a:srgbClr val="7ECAC4"/>
              </a:solidFill>
            </c:spPr>
            <c:extLst>
              <c:ext xmlns:c16="http://schemas.microsoft.com/office/drawing/2014/chart" uri="{C3380CC4-5D6E-409C-BE32-E72D297353CC}">
                <c16:uniqueId val="{00000579-61F5-407B-959D-D24239F5BB85}"/>
              </c:ext>
            </c:extLst>
          </c:dPt>
          <c:dPt>
            <c:idx val="700"/>
            <c:invertIfNegative val="1"/>
            <c:bubble3D val="0"/>
            <c:spPr>
              <a:solidFill>
                <a:srgbClr val="7ECAC4"/>
              </a:solidFill>
            </c:spPr>
            <c:extLst>
              <c:ext xmlns:c16="http://schemas.microsoft.com/office/drawing/2014/chart" uri="{C3380CC4-5D6E-409C-BE32-E72D297353CC}">
                <c16:uniqueId val="{0000057B-61F5-407B-959D-D24239F5BB85}"/>
              </c:ext>
            </c:extLst>
          </c:dPt>
          <c:dPt>
            <c:idx val="701"/>
            <c:invertIfNegative val="1"/>
            <c:bubble3D val="0"/>
            <c:spPr>
              <a:solidFill>
                <a:srgbClr val="7ECAC4"/>
              </a:solidFill>
            </c:spPr>
            <c:extLst>
              <c:ext xmlns:c16="http://schemas.microsoft.com/office/drawing/2014/chart" uri="{C3380CC4-5D6E-409C-BE32-E72D297353CC}">
                <c16:uniqueId val="{0000057D-61F5-407B-959D-D24239F5BB85}"/>
              </c:ext>
            </c:extLst>
          </c:dPt>
          <c:dPt>
            <c:idx val="702"/>
            <c:invertIfNegative val="1"/>
            <c:bubble3D val="0"/>
            <c:spPr>
              <a:solidFill>
                <a:srgbClr val="7ECAC4"/>
              </a:solidFill>
            </c:spPr>
            <c:extLst>
              <c:ext xmlns:c16="http://schemas.microsoft.com/office/drawing/2014/chart" uri="{C3380CC4-5D6E-409C-BE32-E72D297353CC}">
                <c16:uniqueId val="{0000057F-61F5-407B-959D-D24239F5BB85}"/>
              </c:ext>
            </c:extLst>
          </c:dPt>
          <c:dPt>
            <c:idx val="703"/>
            <c:invertIfNegative val="1"/>
            <c:bubble3D val="0"/>
            <c:spPr>
              <a:solidFill>
                <a:srgbClr val="7ECAC4"/>
              </a:solidFill>
            </c:spPr>
            <c:extLst>
              <c:ext xmlns:c16="http://schemas.microsoft.com/office/drawing/2014/chart" uri="{C3380CC4-5D6E-409C-BE32-E72D297353CC}">
                <c16:uniqueId val="{00000581-61F5-407B-959D-D24239F5BB85}"/>
              </c:ext>
            </c:extLst>
          </c:dPt>
          <c:dPt>
            <c:idx val="704"/>
            <c:invertIfNegative val="1"/>
            <c:bubble3D val="0"/>
            <c:spPr>
              <a:solidFill>
                <a:srgbClr val="7ECAC4"/>
              </a:solidFill>
            </c:spPr>
            <c:extLst>
              <c:ext xmlns:c16="http://schemas.microsoft.com/office/drawing/2014/chart" uri="{C3380CC4-5D6E-409C-BE32-E72D297353CC}">
                <c16:uniqueId val="{00000583-61F5-407B-959D-D24239F5BB85}"/>
              </c:ext>
            </c:extLst>
          </c:dPt>
          <c:dPt>
            <c:idx val="705"/>
            <c:invertIfNegative val="1"/>
            <c:bubble3D val="0"/>
            <c:spPr>
              <a:solidFill>
                <a:srgbClr val="7ECAC4"/>
              </a:solidFill>
            </c:spPr>
            <c:extLst>
              <c:ext xmlns:c16="http://schemas.microsoft.com/office/drawing/2014/chart" uri="{C3380CC4-5D6E-409C-BE32-E72D297353CC}">
                <c16:uniqueId val="{00000585-61F5-407B-959D-D24239F5BB85}"/>
              </c:ext>
            </c:extLst>
          </c:dPt>
          <c:dPt>
            <c:idx val="706"/>
            <c:invertIfNegative val="1"/>
            <c:bubble3D val="0"/>
            <c:spPr>
              <a:solidFill>
                <a:srgbClr val="7ECAC4"/>
              </a:solidFill>
            </c:spPr>
            <c:extLst>
              <c:ext xmlns:c16="http://schemas.microsoft.com/office/drawing/2014/chart" uri="{C3380CC4-5D6E-409C-BE32-E72D297353CC}">
                <c16:uniqueId val="{00000587-61F5-407B-959D-D24239F5BB85}"/>
              </c:ext>
            </c:extLst>
          </c:dPt>
          <c:dPt>
            <c:idx val="707"/>
            <c:invertIfNegative val="1"/>
            <c:bubble3D val="0"/>
            <c:spPr>
              <a:solidFill>
                <a:srgbClr val="7ECAC4"/>
              </a:solidFill>
            </c:spPr>
            <c:extLst>
              <c:ext xmlns:c16="http://schemas.microsoft.com/office/drawing/2014/chart" uri="{C3380CC4-5D6E-409C-BE32-E72D297353CC}">
                <c16:uniqueId val="{00000589-61F5-407B-959D-D24239F5BB85}"/>
              </c:ext>
            </c:extLst>
          </c:dPt>
          <c:dPt>
            <c:idx val="708"/>
            <c:invertIfNegative val="1"/>
            <c:bubble3D val="0"/>
            <c:spPr>
              <a:solidFill>
                <a:srgbClr val="7ECAC4"/>
              </a:solidFill>
            </c:spPr>
            <c:extLst>
              <c:ext xmlns:c16="http://schemas.microsoft.com/office/drawing/2014/chart" uri="{C3380CC4-5D6E-409C-BE32-E72D297353CC}">
                <c16:uniqueId val="{0000058B-61F5-407B-959D-D24239F5BB85}"/>
              </c:ext>
            </c:extLst>
          </c:dPt>
          <c:dPt>
            <c:idx val="709"/>
            <c:invertIfNegative val="1"/>
            <c:bubble3D val="0"/>
            <c:spPr>
              <a:solidFill>
                <a:srgbClr val="7ECAC4"/>
              </a:solidFill>
            </c:spPr>
            <c:extLst>
              <c:ext xmlns:c16="http://schemas.microsoft.com/office/drawing/2014/chart" uri="{C3380CC4-5D6E-409C-BE32-E72D297353CC}">
                <c16:uniqueId val="{0000058D-61F5-407B-959D-D24239F5BB85}"/>
              </c:ext>
            </c:extLst>
          </c:dPt>
          <c:dPt>
            <c:idx val="710"/>
            <c:invertIfNegative val="1"/>
            <c:bubble3D val="0"/>
            <c:spPr>
              <a:solidFill>
                <a:srgbClr val="7ECAC4"/>
              </a:solidFill>
            </c:spPr>
            <c:extLst>
              <c:ext xmlns:c16="http://schemas.microsoft.com/office/drawing/2014/chart" uri="{C3380CC4-5D6E-409C-BE32-E72D297353CC}">
                <c16:uniqueId val="{0000058F-61F5-407B-959D-D24239F5BB85}"/>
              </c:ext>
            </c:extLst>
          </c:dPt>
          <c:dPt>
            <c:idx val="711"/>
            <c:invertIfNegative val="1"/>
            <c:bubble3D val="0"/>
            <c:spPr>
              <a:solidFill>
                <a:srgbClr val="7ECAC4"/>
              </a:solidFill>
            </c:spPr>
            <c:extLst>
              <c:ext xmlns:c16="http://schemas.microsoft.com/office/drawing/2014/chart" uri="{C3380CC4-5D6E-409C-BE32-E72D297353CC}">
                <c16:uniqueId val="{00000591-61F5-407B-959D-D24239F5BB85}"/>
              </c:ext>
            </c:extLst>
          </c:dPt>
          <c:dPt>
            <c:idx val="712"/>
            <c:invertIfNegative val="1"/>
            <c:bubble3D val="0"/>
            <c:spPr>
              <a:solidFill>
                <a:srgbClr val="7ECAC4"/>
              </a:solidFill>
            </c:spPr>
            <c:extLst>
              <c:ext xmlns:c16="http://schemas.microsoft.com/office/drawing/2014/chart" uri="{C3380CC4-5D6E-409C-BE32-E72D297353CC}">
                <c16:uniqueId val="{00000593-61F5-407B-959D-D24239F5BB85}"/>
              </c:ext>
            </c:extLst>
          </c:dPt>
          <c:dPt>
            <c:idx val="713"/>
            <c:invertIfNegative val="1"/>
            <c:bubble3D val="0"/>
            <c:spPr>
              <a:solidFill>
                <a:srgbClr val="7ECAC4"/>
              </a:solidFill>
            </c:spPr>
            <c:extLst>
              <c:ext xmlns:c16="http://schemas.microsoft.com/office/drawing/2014/chart" uri="{C3380CC4-5D6E-409C-BE32-E72D297353CC}">
                <c16:uniqueId val="{00000595-61F5-407B-959D-D24239F5BB85}"/>
              </c:ext>
            </c:extLst>
          </c:dPt>
          <c:dPt>
            <c:idx val="714"/>
            <c:invertIfNegative val="1"/>
            <c:bubble3D val="0"/>
            <c:spPr>
              <a:solidFill>
                <a:srgbClr val="7ECAC4"/>
              </a:solidFill>
            </c:spPr>
            <c:extLst>
              <c:ext xmlns:c16="http://schemas.microsoft.com/office/drawing/2014/chart" uri="{C3380CC4-5D6E-409C-BE32-E72D297353CC}">
                <c16:uniqueId val="{00000597-61F5-407B-959D-D24239F5BB85}"/>
              </c:ext>
            </c:extLst>
          </c:dPt>
          <c:dPt>
            <c:idx val="715"/>
            <c:invertIfNegative val="1"/>
            <c:bubble3D val="0"/>
            <c:spPr>
              <a:solidFill>
                <a:srgbClr val="7ECAC4"/>
              </a:solidFill>
            </c:spPr>
            <c:extLst>
              <c:ext xmlns:c16="http://schemas.microsoft.com/office/drawing/2014/chart" uri="{C3380CC4-5D6E-409C-BE32-E72D297353CC}">
                <c16:uniqueId val="{00000599-61F5-407B-959D-D24239F5BB85}"/>
              </c:ext>
            </c:extLst>
          </c:dPt>
          <c:dPt>
            <c:idx val="716"/>
            <c:invertIfNegative val="1"/>
            <c:bubble3D val="0"/>
            <c:spPr>
              <a:solidFill>
                <a:srgbClr val="7ECAC4"/>
              </a:solidFill>
            </c:spPr>
            <c:extLst>
              <c:ext xmlns:c16="http://schemas.microsoft.com/office/drawing/2014/chart" uri="{C3380CC4-5D6E-409C-BE32-E72D297353CC}">
                <c16:uniqueId val="{0000059B-61F5-407B-959D-D24239F5BB85}"/>
              </c:ext>
            </c:extLst>
          </c:dPt>
          <c:dPt>
            <c:idx val="717"/>
            <c:invertIfNegative val="1"/>
            <c:bubble3D val="0"/>
            <c:spPr>
              <a:solidFill>
                <a:srgbClr val="7ECAC4"/>
              </a:solidFill>
            </c:spPr>
            <c:extLst>
              <c:ext xmlns:c16="http://schemas.microsoft.com/office/drawing/2014/chart" uri="{C3380CC4-5D6E-409C-BE32-E72D297353CC}">
                <c16:uniqueId val="{0000059D-61F5-407B-959D-D24239F5BB85}"/>
              </c:ext>
            </c:extLst>
          </c:dPt>
          <c:dPt>
            <c:idx val="718"/>
            <c:invertIfNegative val="1"/>
            <c:bubble3D val="0"/>
            <c:spPr>
              <a:solidFill>
                <a:srgbClr val="7ECAC4"/>
              </a:solidFill>
            </c:spPr>
            <c:extLst>
              <c:ext xmlns:c16="http://schemas.microsoft.com/office/drawing/2014/chart" uri="{C3380CC4-5D6E-409C-BE32-E72D297353CC}">
                <c16:uniqueId val="{0000059F-61F5-407B-959D-D24239F5BB85}"/>
              </c:ext>
            </c:extLst>
          </c:dPt>
          <c:dPt>
            <c:idx val="719"/>
            <c:invertIfNegative val="1"/>
            <c:bubble3D val="0"/>
            <c:spPr>
              <a:solidFill>
                <a:srgbClr val="7ECAC4"/>
              </a:solidFill>
            </c:spPr>
            <c:extLst>
              <c:ext xmlns:c16="http://schemas.microsoft.com/office/drawing/2014/chart" uri="{C3380CC4-5D6E-409C-BE32-E72D297353CC}">
                <c16:uniqueId val="{000005A1-61F5-407B-959D-D24239F5BB85}"/>
              </c:ext>
            </c:extLst>
          </c:dPt>
          <c:dPt>
            <c:idx val="720"/>
            <c:invertIfNegative val="1"/>
            <c:bubble3D val="0"/>
            <c:spPr>
              <a:solidFill>
                <a:srgbClr val="7ECAC4"/>
              </a:solidFill>
            </c:spPr>
            <c:extLst>
              <c:ext xmlns:c16="http://schemas.microsoft.com/office/drawing/2014/chart" uri="{C3380CC4-5D6E-409C-BE32-E72D297353CC}">
                <c16:uniqueId val="{000005A3-61F5-407B-959D-D24239F5BB85}"/>
              </c:ext>
            </c:extLst>
          </c:dPt>
          <c:dPt>
            <c:idx val="721"/>
            <c:invertIfNegative val="1"/>
            <c:bubble3D val="0"/>
            <c:spPr>
              <a:solidFill>
                <a:srgbClr val="7ECAC4"/>
              </a:solidFill>
            </c:spPr>
            <c:extLst>
              <c:ext xmlns:c16="http://schemas.microsoft.com/office/drawing/2014/chart" uri="{C3380CC4-5D6E-409C-BE32-E72D297353CC}">
                <c16:uniqueId val="{000005A5-61F5-407B-959D-D24239F5BB85}"/>
              </c:ext>
            </c:extLst>
          </c:dPt>
          <c:dPt>
            <c:idx val="722"/>
            <c:invertIfNegative val="1"/>
            <c:bubble3D val="0"/>
            <c:spPr>
              <a:solidFill>
                <a:srgbClr val="7ECAC4"/>
              </a:solidFill>
            </c:spPr>
            <c:extLst>
              <c:ext xmlns:c16="http://schemas.microsoft.com/office/drawing/2014/chart" uri="{C3380CC4-5D6E-409C-BE32-E72D297353CC}">
                <c16:uniqueId val="{000005A7-61F5-407B-959D-D24239F5BB85}"/>
              </c:ext>
            </c:extLst>
          </c:dPt>
          <c:dPt>
            <c:idx val="723"/>
            <c:invertIfNegative val="1"/>
            <c:bubble3D val="0"/>
            <c:spPr>
              <a:solidFill>
                <a:srgbClr val="7ECAC4"/>
              </a:solidFill>
            </c:spPr>
            <c:extLst>
              <c:ext xmlns:c16="http://schemas.microsoft.com/office/drawing/2014/chart" uri="{C3380CC4-5D6E-409C-BE32-E72D297353CC}">
                <c16:uniqueId val="{000005A9-61F5-407B-959D-D24239F5BB85}"/>
              </c:ext>
            </c:extLst>
          </c:dPt>
          <c:dPt>
            <c:idx val="724"/>
            <c:invertIfNegative val="1"/>
            <c:bubble3D val="0"/>
            <c:spPr>
              <a:solidFill>
                <a:srgbClr val="7ECAC4"/>
              </a:solidFill>
            </c:spPr>
            <c:extLst>
              <c:ext xmlns:c16="http://schemas.microsoft.com/office/drawing/2014/chart" uri="{C3380CC4-5D6E-409C-BE32-E72D297353CC}">
                <c16:uniqueId val="{000005AB-61F5-407B-959D-D24239F5BB85}"/>
              </c:ext>
            </c:extLst>
          </c:dPt>
          <c:dPt>
            <c:idx val="725"/>
            <c:invertIfNegative val="1"/>
            <c:bubble3D val="0"/>
            <c:spPr>
              <a:solidFill>
                <a:srgbClr val="7ECAC4"/>
              </a:solidFill>
            </c:spPr>
            <c:extLst>
              <c:ext xmlns:c16="http://schemas.microsoft.com/office/drawing/2014/chart" uri="{C3380CC4-5D6E-409C-BE32-E72D297353CC}">
                <c16:uniqueId val="{000005AD-61F5-407B-959D-D24239F5BB85}"/>
              </c:ext>
            </c:extLst>
          </c:dPt>
          <c:dPt>
            <c:idx val="726"/>
            <c:invertIfNegative val="1"/>
            <c:bubble3D val="0"/>
            <c:spPr>
              <a:solidFill>
                <a:srgbClr val="7ECAC4"/>
              </a:solidFill>
            </c:spPr>
            <c:extLst>
              <c:ext xmlns:c16="http://schemas.microsoft.com/office/drawing/2014/chart" uri="{C3380CC4-5D6E-409C-BE32-E72D297353CC}">
                <c16:uniqueId val="{000005AF-61F5-407B-959D-D24239F5BB85}"/>
              </c:ext>
            </c:extLst>
          </c:dPt>
          <c:dPt>
            <c:idx val="727"/>
            <c:invertIfNegative val="1"/>
            <c:bubble3D val="0"/>
            <c:spPr>
              <a:solidFill>
                <a:srgbClr val="7ECAC4"/>
              </a:solidFill>
            </c:spPr>
            <c:extLst>
              <c:ext xmlns:c16="http://schemas.microsoft.com/office/drawing/2014/chart" uri="{C3380CC4-5D6E-409C-BE32-E72D297353CC}">
                <c16:uniqueId val="{000005B1-61F5-407B-959D-D24239F5BB85}"/>
              </c:ext>
            </c:extLst>
          </c:dPt>
          <c:dPt>
            <c:idx val="728"/>
            <c:invertIfNegative val="1"/>
            <c:bubble3D val="0"/>
            <c:spPr>
              <a:solidFill>
                <a:srgbClr val="7ECAC4"/>
              </a:solidFill>
            </c:spPr>
            <c:extLst>
              <c:ext xmlns:c16="http://schemas.microsoft.com/office/drawing/2014/chart" uri="{C3380CC4-5D6E-409C-BE32-E72D297353CC}">
                <c16:uniqueId val="{000005B3-61F5-407B-959D-D24239F5BB85}"/>
              </c:ext>
            </c:extLst>
          </c:dPt>
          <c:dPt>
            <c:idx val="729"/>
            <c:invertIfNegative val="1"/>
            <c:bubble3D val="0"/>
            <c:spPr>
              <a:solidFill>
                <a:srgbClr val="7ECAC4"/>
              </a:solidFill>
            </c:spPr>
            <c:extLst>
              <c:ext xmlns:c16="http://schemas.microsoft.com/office/drawing/2014/chart" uri="{C3380CC4-5D6E-409C-BE32-E72D297353CC}">
                <c16:uniqueId val="{000005B5-61F5-407B-959D-D24239F5BB85}"/>
              </c:ext>
            </c:extLst>
          </c:dPt>
          <c:dPt>
            <c:idx val="730"/>
            <c:invertIfNegative val="1"/>
            <c:bubble3D val="0"/>
            <c:spPr>
              <a:solidFill>
                <a:srgbClr val="7ECAC4"/>
              </a:solidFill>
            </c:spPr>
            <c:extLst>
              <c:ext xmlns:c16="http://schemas.microsoft.com/office/drawing/2014/chart" uri="{C3380CC4-5D6E-409C-BE32-E72D297353CC}">
                <c16:uniqueId val="{000005B7-61F5-407B-959D-D24239F5BB85}"/>
              </c:ext>
            </c:extLst>
          </c:dPt>
          <c:dPt>
            <c:idx val="731"/>
            <c:invertIfNegative val="1"/>
            <c:bubble3D val="0"/>
            <c:spPr>
              <a:solidFill>
                <a:srgbClr val="7ECAC4"/>
              </a:solidFill>
            </c:spPr>
            <c:extLst>
              <c:ext xmlns:c16="http://schemas.microsoft.com/office/drawing/2014/chart" uri="{C3380CC4-5D6E-409C-BE32-E72D297353CC}">
                <c16:uniqueId val="{000005B9-61F5-407B-959D-D24239F5BB85}"/>
              </c:ext>
            </c:extLst>
          </c:dPt>
          <c:dPt>
            <c:idx val="732"/>
            <c:invertIfNegative val="1"/>
            <c:bubble3D val="0"/>
            <c:spPr>
              <a:solidFill>
                <a:srgbClr val="7ECAC4"/>
              </a:solidFill>
            </c:spPr>
            <c:extLst>
              <c:ext xmlns:c16="http://schemas.microsoft.com/office/drawing/2014/chart" uri="{C3380CC4-5D6E-409C-BE32-E72D297353CC}">
                <c16:uniqueId val="{000005BB-61F5-407B-959D-D24239F5BB85}"/>
              </c:ext>
            </c:extLst>
          </c:dPt>
          <c:dPt>
            <c:idx val="733"/>
            <c:invertIfNegative val="1"/>
            <c:bubble3D val="0"/>
            <c:spPr>
              <a:solidFill>
                <a:srgbClr val="7ECAC4"/>
              </a:solidFill>
            </c:spPr>
            <c:extLst>
              <c:ext xmlns:c16="http://schemas.microsoft.com/office/drawing/2014/chart" uri="{C3380CC4-5D6E-409C-BE32-E72D297353CC}">
                <c16:uniqueId val="{000005BD-61F5-407B-959D-D24239F5BB85}"/>
              </c:ext>
            </c:extLst>
          </c:dPt>
          <c:dPt>
            <c:idx val="734"/>
            <c:invertIfNegative val="1"/>
            <c:bubble3D val="0"/>
            <c:spPr>
              <a:solidFill>
                <a:srgbClr val="7ECAC4"/>
              </a:solidFill>
            </c:spPr>
            <c:extLst>
              <c:ext xmlns:c16="http://schemas.microsoft.com/office/drawing/2014/chart" uri="{C3380CC4-5D6E-409C-BE32-E72D297353CC}">
                <c16:uniqueId val="{000005BF-61F5-407B-959D-D24239F5BB85}"/>
              </c:ext>
            </c:extLst>
          </c:dPt>
          <c:dPt>
            <c:idx val="735"/>
            <c:invertIfNegative val="1"/>
            <c:bubble3D val="0"/>
            <c:spPr>
              <a:solidFill>
                <a:srgbClr val="7ECAC4"/>
              </a:solidFill>
            </c:spPr>
            <c:extLst>
              <c:ext xmlns:c16="http://schemas.microsoft.com/office/drawing/2014/chart" uri="{C3380CC4-5D6E-409C-BE32-E72D297353CC}">
                <c16:uniqueId val="{000005C1-61F5-407B-959D-D24239F5BB85}"/>
              </c:ext>
            </c:extLst>
          </c:dPt>
          <c:dPt>
            <c:idx val="736"/>
            <c:invertIfNegative val="1"/>
            <c:bubble3D val="0"/>
            <c:spPr>
              <a:solidFill>
                <a:srgbClr val="7ECAC4"/>
              </a:solidFill>
            </c:spPr>
            <c:extLst>
              <c:ext xmlns:c16="http://schemas.microsoft.com/office/drawing/2014/chart" uri="{C3380CC4-5D6E-409C-BE32-E72D297353CC}">
                <c16:uniqueId val="{000005C3-61F5-407B-959D-D24239F5BB85}"/>
              </c:ext>
            </c:extLst>
          </c:dPt>
          <c:dPt>
            <c:idx val="737"/>
            <c:invertIfNegative val="1"/>
            <c:bubble3D val="0"/>
            <c:spPr>
              <a:solidFill>
                <a:srgbClr val="7ECAC4"/>
              </a:solidFill>
            </c:spPr>
            <c:extLst>
              <c:ext xmlns:c16="http://schemas.microsoft.com/office/drawing/2014/chart" uri="{C3380CC4-5D6E-409C-BE32-E72D297353CC}">
                <c16:uniqueId val="{000005C5-61F5-407B-959D-D24239F5BB85}"/>
              </c:ext>
            </c:extLst>
          </c:dPt>
          <c:dPt>
            <c:idx val="738"/>
            <c:invertIfNegative val="1"/>
            <c:bubble3D val="0"/>
            <c:spPr>
              <a:solidFill>
                <a:srgbClr val="7ECAC4"/>
              </a:solidFill>
            </c:spPr>
            <c:extLst>
              <c:ext xmlns:c16="http://schemas.microsoft.com/office/drawing/2014/chart" uri="{C3380CC4-5D6E-409C-BE32-E72D297353CC}">
                <c16:uniqueId val="{000005C7-61F5-407B-959D-D24239F5BB85}"/>
              </c:ext>
            </c:extLst>
          </c:dPt>
          <c:dPt>
            <c:idx val="739"/>
            <c:invertIfNegative val="1"/>
            <c:bubble3D val="0"/>
            <c:spPr>
              <a:solidFill>
                <a:srgbClr val="7ECAC4"/>
              </a:solidFill>
            </c:spPr>
            <c:extLst>
              <c:ext xmlns:c16="http://schemas.microsoft.com/office/drawing/2014/chart" uri="{C3380CC4-5D6E-409C-BE32-E72D297353CC}">
                <c16:uniqueId val="{000005C9-61F5-407B-959D-D24239F5BB85}"/>
              </c:ext>
            </c:extLst>
          </c:dPt>
          <c:dPt>
            <c:idx val="740"/>
            <c:invertIfNegative val="1"/>
            <c:bubble3D val="0"/>
            <c:spPr>
              <a:solidFill>
                <a:srgbClr val="7ECAC4"/>
              </a:solidFill>
            </c:spPr>
            <c:extLst>
              <c:ext xmlns:c16="http://schemas.microsoft.com/office/drawing/2014/chart" uri="{C3380CC4-5D6E-409C-BE32-E72D297353CC}">
                <c16:uniqueId val="{000005CB-61F5-407B-959D-D24239F5BB85}"/>
              </c:ext>
            </c:extLst>
          </c:dPt>
          <c:dPt>
            <c:idx val="741"/>
            <c:invertIfNegative val="1"/>
            <c:bubble3D val="0"/>
            <c:spPr>
              <a:solidFill>
                <a:srgbClr val="7ECAC4"/>
              </a:solidFill>
            </c:spPr>
            <c:extLst>
              <c:ext xmlns:c16="http://schemas.microsoft.com/office/drawing/2014/chart" uri="{C3380CC4-5D6E-409C-BE32-E72D297353CC}">
                <c16:uniqueId val="{000005CD-61F5-407B-959D-D24239F5BB85}"/>
              </c:ext>
            </c:extLst>
          </c:dPt>
          <c:dPt>
            <c:idx val="742"/>
            <c:invertIfNegative val="1"/>
            <c:bubble3D val="0"/>
            <c:spPr>
              <a:solidFill>
                <a:srgbClr val="7ECAC4"/>
              </a:solidFill>
            </c:spPr>
            <c:extLst>
              <c:ext xmlns:c16="http://schemas.microsoft.com/office/drawing/2014/chart" uri="{C3380CC4-5D6E-409C-BE32-E72D297353CC}">
                <c16:uniqueId val="{000005CF-61F5-407B-959D-D24239F5BB85}"/>
              </c:ext>
            </c:extLst>
          </c:dPt>
          <c:dPt>
            <c:idx val="743"/>
            <c:invertIfNegative val="1"/>
            <c:bubble3D val="0"/>
            <c:spPr>
              <a:solidFill>
                <a:srgbClr val="7ECAC4"/>
              </a:solidFill>
            </c:spPr>
            <c:extLst>
              <c:ext xmlns:c16="http://schemas.microsoft.com/office/drawing/2014/chart" uri="{C3380CC4-5D6E-409C-BE32-E72D297353CC}">
                <c16:uniqueId val="{000005D1-61F5-407B-959D-D24239F5BB85}"/>
              </c:ext>
            </c:extLst>
          </c:dPt>
          <c:dPt>
            <c:idx val="744"/>
            <c:invertIfNegative val="1"/>
            <c:bubble3D val="0"/>
            <c:spPr>
              <a:solidFill>
                <a:srgbClr val="7ECAC4"/>
              </a:solidFill>
            </c:spPr>
            <c:extLst>
              <c:ext xmlns:c16="http://schemas.microsoft.com/office/drawing/2014/chart" uri="{C3380CC4-5D6E-409C-BE32-E72D297353CC}">
                <c16:uniqueId val="{000005D3-61F5-407B-959D-D24239F5BB85}"/>
              </c:ext>
            </c:extLst>
          </c:dPt>
          <c:dPt>
            <c:idx val="745"/>
            <c:invertIfNegative val="1"/>
            <c:bubble3D val="0"/>
            <c:spPr>
              <a:solidFill>
                <a:srgbClr val="7ECAC4"/>
              </a:solidFill>
            </c:spPr>
            <c:extLst>
              <c:ext xmlns:c16="http://schemas.microsoft.com/office/drawing/2014/chart" uri="{C3380CC4-5D6E-409C-BE32-E72D297353CC}">
                <c16:uniqueId val="{000005D5-61F5-407B-959D-D24239F5BB85}"/>
              </c:ext>
            </c:extLst>
          </c:dPt>
          <c:dPt>
            <c:idx val="746"/>
            <c:invertIfNegative val="1"/>
            <c:bubble3D val="0"/>
            <c:spPr>
              <a:solidFill>
                <a:srgbClr val="7ECAC4"/>
              </a:solidFill>
            </c:spPr>
            <c:extLst>
              <c:ext xmlns:c16="http://schemas.microsoft.com/office/drawing/2014/chart" uri="{C3380CC4-5D6E-409C-BE32-E72D297353CC}">
                <c16:uniqueId val="{000005D7-61F5-407B-959D-D24239F5BB85}"/>
              </c:ext>
            </c:extLst>
          </c:dPt>
          <c:dPt>
            <c:idx val="747"/>
            <c:invertIfNegative val="1"/>
            <c:bubble3D val="0"/>
            <c:spPr>
              <a:solidFill>
                <a:srgbClr val="7ECAC4"/>
              </a:solidFill>
            </c:spPr>
            <c:extLst>
              <c:ext xmlns:c16="http://schemas.microsoft.com/office/drawing/2014/chart" uri="{C3380CC4-5D6E-409C-BE32-E72D297353CC}">
                <c16:uniqueId val="{000005D9-61F5-407B-959D-D24239F5BB85}"/>
              </c:ext>
            </c:extLst>
          </c:dPt>
          <c:dPt>
            <c:idx val="748"/>
            <c:invertIfNegative val="1"/>
            <c:bubble3D val="0"/>
            <c:spPr>
              <a:solidFill>
                <a:srgbClr val="7ECAC4"/>
              </a:solidFill>
            </c:spPr>
            <c:extLst>
              <c:ext xmlns:c16="http://schemas.microsoft.com/office/drawing/2014/chart" uri="{C3380CC4-5D6E-409C-BE32-E72D297353CC}">
                <c16:uniqueId val="{000005DB-61F5-407B-959D-D24239F5BB85}"/>
              </c:ext>
            </c:extLst>
          </c:dPt>
          <c:dPt>
            <c:idx val="749"/>
            <c:invertIfNegative val="1"/>
            <c:bubble3D val="0"/>
            <c:spPr>
              <a:solidFill>
                <a:srgbClr val="7ECAC4"/>
              </a:solidFill>
            </c:spPr>
            <c:extLst>
              <c:ext xmlns:c16="http://schemas.microsoft.com/office/drawing/2014/chart" uri="{C3380CC4-5D6E-409C-BE32-E72D297353CC}">
                <c16:uniqueId val="{000005DD-61F5-407B-959D-D24239F5BB85}"/>
              </c:ext>
            </c:extLst>
          </c:dPt>
          <c:dPt>
            <c:idx val="750"/>
            <c:invertIfNegative val="1"/>
            <c:bubble3D val="0"/>
            <c:spPr>
              <a:solidFill>
                <a:srgbClr val="7ECAC4"/>
              </a:solidFill>
            </c:spPr>
            <c:extLst>
              <c:ext xmlns:c16="http://schemas.microsoft.com/office/drawing/2014/chart" uri="{C3380CC4-5D6E-409C-BE32-E72D297353CC}">
                <c16:uniqueId val="{000005DF-61F5-407B-959D-D24239F5BB85}"/>
              </c:ext>
            </c:extLst>
          </c:dPt>
          <c:dPt>
            <c:idx val="751"/>
            <c:invertIfNegative val="1"/>
            <c:bubble3D val="0"/>
            <c:spPr>
              <a:solidFill>
                <a:srgbClr val="7ECAC4"/>
              </a:solidFill>
            </c:spPr>
            <c:extLst>
              <c:ext xmlns:c16="http://schemas.microsoft.com/office/drawing/2014/chart" uri="{C3380CC4-5D6E-409C-BE32-E72D297353CC}">
                <c16:uniqueId val="{000005E1-61F5-407B-959D-D24239F5BB85}"/>
              </c:ext>
            </c:extLst>
          </c:dPt>
          <c:dPt>
            <c:idx val="752"/>
            <c:invertIfNegative val="1"/>
            <c:bubble3D val="0"/>
            <c:spPr>
              <a:solidFill>
                <a:srgbClr val="7ECAC4"/>
              </a:solidFill>
            </c:spPr>
            <c:extLst>
              <c:ext xmlns:c16="http://schemas.microsoft.com/office/drawing/2014/chart" uri="{C3380CC4-5D6E-409C-BE32-E72D297353CC}">
                <c16:uniqueId val="{000005E3-61F5-407B-959D-D24239F5BB85}"/>
              </c:ext>
            </c:extLst>
          </c:dPt>
          <c:dPt>
            <c:idx val="753"/>
            <c:invertIfNegative val="1"/>
            <c:bubble3D val="0"/>
            <c:spPr>
              <a:solidFill>
                <a:srgbClr val="7ECAC4"/>
              </a:solidFill>
            </c:spPr>
            <c:extLst>
              <c:ext xmlns:c16="http://schemas.microsoft.com/office/drawing/2014/chart" uri="{C3380CC4-5D6E-409C-BE32-E72D297353CC}">
                <c16:uniqueId val="{000005E5-61F5-407B-959D-D24239F5BB85}"/>
              </c:ext>
            </c:extLst>
          </c:dPt>
          <c:dPt>
            <c:idx val="754"/>
            <c:invertIfNegative val="1"/>
            <c:bubble3D val="0"/>
            <c:spPr>
              <a:solidFill>
                <a:srgbClr val="7ECAC4"/>
              </a:solidFill>
            </c:spPr>
            <c:extLst>
              <c:ext xmlns:c16="http://schemas.microsoft.com/office/drawing/2014/chart" uri="{C3380CC4-5D6E-409C-BE32-E72D297353CC}">
                <c16:uniqueId val="{000005E7-61F5-407B-959D-D24239F5BB85}"/>
              </c:ext>
            </c:extLst>
          </c:dPt>
          <c:dPt>
            <c:idx val="755"/>
            <c:invertIfNegative val="1"/>
            <c:bubble3D val="0"/>
            <c:spPr>
              <a:solidFill>
                <a:srgbClr val="7ECAC4"/>
              </a:solidFill>
            </c:spPr>
            <c:extLst>
              <c:ext xmlns:c16="http://schemas.microsoft.com/office/drawing/2014/chart" uri="{C3380CC4-5D6E-409C-BE32-E72D297353CC}">
                <c16:uniqueId val="{000005E9-61F5-407B-959D-D24239F5BB85}"/>
              </c:ext>
            </c:extLst>
          </c:dPt>
          <c:dPt>
            <c:idx val="756"/>
            <c:invertIfNegative val="1"/>
            <c:bubble3D val="0"/>
            <c:spPr>
              <a:solidFill>
                <a:srgbClr val="7ECAC4"/>
              </a:solidFill>
            </c:spPr>
            <c:extLst>
              <c:ext xmlns:c16="http://schemas.microsoft.com/office/drawing/2014/chart" uri="{C3380CC4-5D6E-409C-BE32-E72D297353CC}">
                <c16:uniqueId val="{000005EB-61F5-407B-959D-D24239F5BB85}"/>
              </c:ext>
            </c:extLst>
          </c:dPt>
          <c:dPt>
            <c:idx val="757"/>
            <c:invertIfNegative val="1"/>
            <c:bubble3D val="0"/>
            <c:spPr>
              <a:solidFill>
                <a:srgbClr val="7ECAC4"/>
              </a:solidFill>
            </c:spPr>
            <c:extLst>
              <c:ext xmlns:c16="http://schemas.microsoft.com/office/drawing/2014/chart" uri="{C3380CC4-5D6E-409C-BE32-E72D297353CC}">
                <c16:uniqueId val="{000005ED-61F5-407B-959D-D24239F5BB85}"/>
              </c:ext>
            </c:extLst>
          </c:dPt>
          <c:dPt>
            <c:idx val="758"/>
            <c:invertIfNegative val="1"/>
            <c:bubble3D val="0"/>
            <c:spPr>
              <a:solidFill>
                <a:srgbClr val="7ECAC4"/>
              </a:solidFill>
            </c:spPr>
            <c:extLst>
              <c:ext xmlns:c16="http://schemas.microsoft.com/office/drawing/2014/chart" uri="{C3380CC4-5D6E-409C-BE32-E72D297353CC}">
                <c16:uniqueId val="{000005EF-61F5-407B-959D-D24239F5BB85}"/>
              </c:ext>
            </c:extLst>
          </c:dPt>
          <c:dPt>
            <c:idx val="759"/>
            <c:invertIfNegative val="1"/>
            <c:bubble3D val="0"/>
            <c:spPr>
              <a:solidFill>
                <a:srgbClr val="7ECAC4"/>
              </a:solidFill>
            </c:spPr>
            <c:extLst>
              <c:ext xmlns:c16="http://schemas.microsoft.com/office/drawing/2014/chart" uri="{C3380CC4-5D6E-409C-BE32-E72D297353CC}">
                <c16:uniqueId val="{000005F1-61F5-407B-959D-D24239F5BB85}"/>
              </c:ext>
            </c:extLst>
          </c:dPt>
          <c:dPt>
            <c:idx val="760"/>
            <c:invertIfNegative val="1"/>
            <c:bubble3D val="0"/>
            <c:spPr>
              <a:solidFill>
                <a:srgbClr val="7ECAC4"/>
              </a:solidFill>
            </c:spPr>
            <c:extLst>
              <c:ext xmlns:c16="http://schemas.microsoft.com/office/drawing/2014/chart" uri="{C3380CC4-5D6E-409C-BE32-E72D297353CC}">
                <c16:uniqueId val="{000005F3-61F5-407B-959D-D24239F5BB85}"/>
              </c:ext>
            </c:extLst>
          </c:dPt>
          <c:dPt>
            <c:idx val="761"/>
            <c:invertIfNegative val="1"/>
            <c:bubble3D val="0"/>
            <c:spPr>
              <a:solidFill>
                <a:srgbClr val="7ECAC4"/>
              </a:solidFill>
            </c:spPr>
            <c:extLst>
              <c:ext xmlns:c16="http://schemas.microsoft.com/office/drawing/2014/chart" uri="{C3380CC4-5D6E-409C-BE32-E72D297353CC}">
                <c16:uniqueId val="{000005F5-61F5-407B-959D-D24239F5BB85}"/>
              </c:ext>
            </c:extLst>
          </c:dPt>
          <c:dPt>
            <c:idx val="762"/>
            <c:invertIfNegative val="1"/>
            <c:bubble3D val="0"/>
            <c:spPr>
              <a:solidFill>
                <a:srgbClr val="7ECAC4"/>
              </a:solidFill>
            </c:spPr>
            <c:extLst>
              <c:ext xmlns:c16="http://schemas.microsoft.com/office/drawing/2014/chart" uri="{C3380CC4-5D6E-409C-BE32-E72D297353CC}">
                <c16:uniqueId val="{000005F7-61F5-407B-959D-D24239F5BB85}"/>
              </c:ext>
            </c:extLst>
          </c:dPt>
          <c:dPt>
            <c:idx val="763"/>
            <c:invertIfNegative val="1"/>
            <c:bubble3D val="0"/>
            <c:spPr>
              <a:solidFill>
                <a:srgbClr val="7ECAC4"/>
              </a:solidFill>
            </c:spPr>
            <c:extLst>
              <c:ext xmlns:c16="http://schemas.microsoft.com/office/drawing/2014/chart" uri="{C3380CC4-5D6E-409C-BE32-E72D297353CC}">
                <c16:uniqueId val="{000005F9-61F5-407B-959D-D24239F5BB85}"/>
              </c:ext>
            </c:extLst>
          </c:dPt>
          <c:dPt>
            <c:idx val="764"/>
            <c:invertIfNegative val="1"/>
            <c:bubble3D val="0"/>
            <c:spPr>
              <a:solidFill>
                <a:srgbClr val="7ECAC4"/>
              </a:solidFill>
            </c:spPr>
            <c:extLst>
              <c:ext xmlns:c16="http://schemas.microsoft.com/office/drawing/2014/chart" uri="{C3380CC4-5D6E-409C-BE32-E72D297353CC}">
                <c16:uniqueId val="{000005FB-61F5-407B-959D-D24239F5BB85}"/>
              </c:ext>
            </c:extLst>
          </c:dPt>
          <c:dPt>
            <c:idx val="765"/>
            <c:invertIfNegative val="1"/>
            <c:bubble3D val="0"/>
            <c:spPr>
              <a:solidFill>
                <a:srgbClr val="7ECAC4"/>
              </a:solidFill>
            </c:spPr>
            <c:extLst>
              <c:ext xmlns:c16="http://schemas.microsoft.com/office/drawing/2014/chart" uri="{C3380CC4-5D6E-409C-BE32-E72D297353CC}">
                <c16:uniqueId val="{000005FD-61F5-407B-959D-D24239F5BB85}"/>
              </c:ext>
            </c:extLst>
          </c:dPt>
          <c:dPt>
            <c:idx val="766"/>
            <c:invertIfNegative val="1"/>
            <c:bubble3D val="0"/>
            <c:spPr>
              <a:solidFill>
                <a:srgbClr val="7ECAC4"/>
              </a:solidFill>
            </c:spPr>
            <c:extLst>
              <c:ext xmlns:c16="http://schemas.microsoft.com/office/drawing/2014/chart" uri="{C3380CC4-5D6E-409C-BE32-E72D297353CC}">
                <c16:uniqueId val="{000005FF-61F5-407B-959D-D24239F5BB85}"/>
              </c:ext>
            </c:extLst>
          </c:dPt>
          <c:dPt>
            <c:idx val="767"/>
            <c:invertIfNegative val="1"/>
            <c:bubble3D val="0"/>
            <c:spPr>
              <a:solidFill>
                <a:srgbClr val="7ECAC4"/>
              </a:solidFill>
            </c:spPr>
            <c:extLst>
              <c:ext xmlns:c16="http://schemas.microsoft.com/office/drawing/2014/chart" uri="{C3380CC4-5D6E-409C-BE32-E72D297353CC}">
                <c16:uniqueId val="{00000601-61F5-407B-959D-D24239F5BB85}"/>
              </c:ext>
            </c:extLst>
          </c:dPt>
          <c:dPt>
            <c:idx val="768"/>
            <c:invertIfNegative val="1"/>
            <c:bubble3D val="0"/>
            <c:spPr>
              <a:solidFill>
                <a:srgbClr val="7ECAC4"/>
              </a:solidFill>
            </c:spPr>
            <c:extLst>
              <c:ext xmlns:c16="http://schemas.microsoft.com/office/drawing/2014/chart" uri="{C3380CC4-5D6E-409C-BE32-E72D297353CC}">
                <c16:uniqueId val="{00000603-61F5-407B-959D-D24239F5BB85}"/>
              </c:ext>
            </c:extLst>
          </c:dPt>
          <c:dPt>
            <c:idx val="769"/>
            <c:invertIfNegative val="1"/>
            <c:bubble3D val="0"/>
            <c:spPr>
              <a:solidFill>
                <a:srgbClr val="7ECAC4"/>
              </a:solidFill>
            </c:spPr>
            <c:extLst>
              <c:ext xmlns:c16="http://schemas.microsoft.com/office/drawing/2014/chart" uri="{C3380CC4-5D6E-409C-BE32-E72D297353CC}">
                <c16:uniqueId val="{00000605-61F5-407B-959D-D24239F5BB85}"/>
              </c:ext>
            </c:extLst>
          </c:dPt>
          <c:dPt>
            <c:idx val="770"/>
            <c:invertIfNegative val="1"/>
            <c:bubble3D val="0"/>
            <c:spPr>
              <a:solidFill>
                <a:srgbClr val="7ECAC4"/>
              </a:solidFill>
            </c:spPr>
            <c:extLst>
              <c:ext xmlns:c16="http://schemas.microsoft.com/office/drawing/2014/chart" uri="{C3380CC4-5D6E-409C-BE32-E72D297353CC}">
                <c16:uniqueId val="{00000607-61F5-407B-959D-D24239F5BB85}"/>
              </c:ext>
            </c:extLst>
          </c:dPt>
          <c:dPt>
            <c:idx val="771"/>
            <c:invertIfNegative val="1"/>
            <c:bubble3D val="0"/>
            <c:spPr>
              <a:solidFill>
                <a:srgbClr val="7ECAC4"/>
              </a:solidFill>
            </c:spPr>
            <c:extLst>
              <c:ext xmlns:c16="http://schemas.microsoft.com/office/drawing/2014/chart" uri="{C3380CC4-5D6E-409C-BE32-E72D297353CC}">
                <c16:uniqueId val="{00000609-61F5-407B-959D-D24239F5BB85}"/>
              </c:ext>
            </c:extLst>
          </c:dPt>
          <c:dPt>
            <c:idx val="772"/>
            <c:invertIfNegative val="1"/>
            <c:bubble3D val="0"/>
            <c:spPr>
              <a:solidFill>
                <a:srgbClr val="7ECAC4"/>
              </a:solidFill>
            </c:spPr>
            <c:extLst>
              <c:ext xmlns:c16="http://schemas.microsoft.com/office/drawing/2014/chart" uri="{C3380CC4-5D6E-409C-BE32-E72D297353CC}">
                <c16:uniqueId val="{0000060B-61F5-407B-959D-D24239F5BB85}"/>
              </c:ext>
            </c:extLst>
          </c:dPt>
          <c:dPt>
            <c:idx val="773"/>
            <c:invertIfNegative val="1"/>
            <c:bubble3D val="0"/>
            <c:spPr>
              <a:solidFill>
                <a:srgbClr val="7ECAC4"/>
              </a:solidFill>
            </c:spPr>
            <c:extLst>
              <c:ext xmlns:c16="http://schemas.microsoft.com/office/drawing/2014/chart" uri="{C3380CC4-5D6E-409C-BE32-E72D297353CC}">
                <c16:uniqueId val="{0000060D-61F5-407B-959D-D24239F5BB85}"/>
              </c:ext>
            </c:extLst>
          </c:dPt>
          <c:dPt>
            <c:idx val="774"/>
            <c:invertIfNegative val="1"/>
            <c:bubble3D val="0"/>
            <c:spPr>
              <a:solidFill>
                <a:srgbClr val="7ECAC4"/>
              </a:solidFill>
            </c:spPr>
            <c:extLst>
              <c:ext xmlns:c16="http://schemas.microsoft.com/office/drawing/2014/chart" uri="{C3380CC4-5D6E-409C-BE32-E72D297353CC}">
                <c16:uniqueId val="{0000060F-61F5-407B-959D-D24239F5BB85}"/>
              </c:ext>
            </c:extLst>
          </c:dPt>
          <c:dPt>
            <c:idx val="775"/>
            <c:invertIfNegative val="1"/>
            <c:bubble3D val="0"/>
            <c:spPr>
              <a:solidFill>
                <a:srgbClr val="7ECAC4"/>
              </a:solidFill>
            </c:spPr>
            <c:extLst>
              <c:ext xmlns:c16="http://schemas.microsoft.com/office/drawing/2014/chart" uri="{C3380CC4-5D6E-409C-BE32-E72D297353CC}">
                <c16:uniqueId val="{00000611-61F5-407B-959D-D24239F5BB85}"/>
              </c:ext>
            </c:extLst>
          </c:dPt>
          <c:dPt>
            <c:idx val="776"/>
            <c:invertIfNegative val="1"/>
            <c:bubble3D val="0"/>
            <c:spPr>
              <a:solidFill>
                <a:srgbClr val="7ECAC4"/>
              </a:solidFill>
            </c:spPr>
            <c:extLst>
              <c:ext xmlns:c16="http://schemas.microsoft.com/office/drawing/2014/chart" uri="{C3380CC4-5D6E-409C-BE32-E72D297353CC}">
                <c16:uniqueId val="{00000613-61F5-407B-959D-D24239F5BB85}"/>
              </c:ext>
            </c:extLst>
          </c:dPt>
          <c:dPt>
            <c:idx val="777"/>
            <c:invertIfNegative val="1"/>
            <c:bubble3D val="0"/>
            <c:spPr>
              <a:solidFill>
                <a:srgbClr val="7ECAC4"/>
              </a:solidFill>
            </c:spPr>
            <c:extLst>
              <c:ext xmlns:c16="http://schemas.microsoft.com/office/drawing/2014/chart" uri="{C3380CC4-5D6E-409C-BE32-E72D297353CC}">
                <c16:uniqueId val="{00000615-61F5-407B-959D-D24239F5BB85}"/>
              </c:ext>
            </c:extLst>
          </c:dPt>
          <c:dPt>
            <c:idx val="778"/>
            <c:invertIfNegative val="1"/>
            <c:bubble3D val="0"/>
            <c:spPr>
              <a:solidFill>
                <a:srgbClr val="7ECAC4"/>
              </a:solidFill>
            </c:spPr>
            <c:extLst>
              <c:ext xmlns:c16="http://schemas.microsoft.com/office/drawing/2014/chart" uri="{C3380CC4-5D6E-409C-BE32-E72D297353CC}">
                <c16:uniqueId val="{00000617-61F5-407B-959D-D24239F5BB85}"/>
              </c:ext>
            </c:extLst>
          </c:dPt>
          <c:dPt>
            <c:idx val="779"/>
            <c:invertIfNegative val="1"/>
            <c:bubble3D val="0"/>
            <c:spPr>
              <a:solidFill>
                <a:srgbClr val="7ECAC4"/>
              </a:solidFill>
            </c:spPr>
            <c:extLst>
              <c:ext xmlns:c16="http://schemas.microsoft.com/office/drawing/2014/chart" uri="{C3380CC4-5D6E-409C-BE32-E72D297353CC}">
                <c16:uniqueId val="{00000619-61F5-407B-959D-D24239F5BB85}"/>
              </c:ext>
            </c:extLst>
          </c:dPt>
          <c:dPt>
            <c:idx val="780"/>
            <c:invertIfNegative val="1"/>
            <c:bubble3D val="0"/>
            <c:spPr>
              <a:solidFill>
                <a:srgbClr val="7ECAC4"/>
              </a:solidFill>
            </c:spPr>
            <c:extLst>
              <c:ext xmlns:c16="http://schemas.microsoft.com/office/drawing/2014/chart" uri="{C3380CC4-5D6E-409C-BE32-E72D297353CC}">
                <c16:uniqueId val="{0000061B-61F5-407B-959D-D24239F5BB85}"/>
              </c:ext>
            </c:extLst>
          </c:dPt>
          <c:dPt>
            <c:idx val="781"/>
            <c:invertIfNegative val="1"/>
            <c:bubble3D val="0"/>
            <c:spPr>
              <a:solidFill>
                <a:srgbClr val="7ECAC4"/>
              </a:solidFill>
            </c:spPr>
            <c:extLst>
              <c:ext xmlns:c16="http://schemas.microsoft.com/office/drawing/2014/chart" uri="{C3380CC4-5D6E-409C-BE32-E72D297353CC}">
                <c16:uniqueId val="{0000061D-61F5-407B-959D-D24239F5BB85}"/>
              </c:ext>
            </c:extLst>
          </c:dPt>
          <c:dPt>
            <c:idx val="782"/>
            <c:invertIfNegative val="1"/>
            <c:bubble3D val="0"/>
            <c:spPr>
              <a:solidFill>
                <a:srgbClr val="7ECAC4"/>
              </a:solidFill>
            </c:spPr>
            <c:extLst>
              <c:ext xmlns:c16="http://schemas.microsoft.com/office/drawing/2014/chart" uri="{C3380CC4-5D6E-409C-BE32-E72D297353CC}">
                <c16:uniqueId val="{0000061F-61F5-407B-959D-D24239F5BB85}"/>
              </c:ext>
            </c:extLst>
          </c:dPt>
          <c:dPt>
            <c:idx val="783"/>
            <c:invertIfNegative val="1"/>
            <c:bubble3D val="0"/>
            <c:spPr>
              <a:solidFill>
                <a:srgbClr val="7ECAC4"/>
              </a:solidFill>
            </c:spPr>
            <c:extLst>
              <c:ext xmlns:c16="http://schemas.microsoft.com/office/drawing/2014/chart" uri="{C3380CC4-5D6E-409C-BE32-E72D297353CC}">
                <c16:uniqueId val="{00000621-61F5-407B-959D-D24239F5BB85}"/>
              </c:ext>
            </c:extLst>
          </c:dPt>
          <c:dPt>
            <c:idx val="784"/>
            <c:invertIfNegative val="1"/>
            <c:bubble3D val="0"/>
            <c:spPr>
              <a:solidFill>
                <a:srgbClr val="7ECAC4"/>
              </a:solidFill>
            </c:spPr>
            <c:extLst>
              <c:ext xmlns:c16="http://schemas.microsoft.com/office/drawing/2014/chart" uri="{C3380CC4-5D6E-409C-BE32-E72D297353CC}">
                <c16:uniqueId val="{00000623-61F5-407B-959D-D24239F5BB85}"/>
              </c:ext>
            </c:extLst>
          </c:dPt>
          <c:dPt>
            <c:idx val="785"/>
            <c:invertIfNegative val="1"/>
            <c:bubble3D val="0"/>
            <c:spPr>
              <a:solidFill>
                <a:srgbClr val="7ECAC4"/>
              </a:solidFill>
            </c:spPr>
            <c:extLst>
              <c:ext xmlns:c16="http://schemas.microsoft.com/office/drawing/2014/chart" uri="{C3380CC4-5D6E-409C-BE32-E72D297353CC}">
                <c16:uniqueId val="{00000625-61F5-407B-959D-D24239F5BB85}"/>
              </c:ext>
            </c:extLst>
          </c:dPt>
          <c:dPt>
            <c:idx val="786"/>
            <c:invertIfNegative val="1"/>
            <c:bubble3D val="0"/>
            <c:spPr>
              <a:solidFill>
                <a:srgbClr val="7ECAC4"/>
              </a:solidFill>
            </c:spPr>
            <c:extLst>
              <c:ext xmlns:c16="http://schemas.microsoft.com/office/drawing/2014/chart" uri="{C3380CC4-5D6E-409C-BE32-E72D297353CC}">
                <c16:uniqueId val="{00000627-61F5-407B-959D-D24239F5BB85}"/>
              </c:ext>
            </c:extLst>
          </c:dPt>
          <c:dPt>
            <c:idx val="787"/>
            <c:invertIfNegative val="1"/>
            <c:bubble3D val="0"/>
            <c:spPr>
              <a:solidFill>
                <a:srgbClr val="7ECAC4"/>
              </a:solidFill>
            </c:spPr>
            <c:extLst>
              <c:ext xmlns:c16="http://schemas.microsoft.com/office/drawing/2014/chart" uri="{C3380CC4-5D6E-409C-BE32-E72D297353CC}">
                <c16:uniqueId val="{00000629-61F5-407B-959D-D24239F5BB85}"/>
              </c:ext>
            </c:extLst>
          </c:dPt>
          <c:dPt>
            <c:idx val="788"/>
            <c:invertIfNegative val="1"/>
            <c:bubble3D val="0"/>
            <c:spPr>
              <a:solidFill>
                <a:srgbClr val="7ECAC4"/>
              </a:solidFill>
            </c:spPr>
            <c:extLst>
              <c:ext xmlns:c16="http://schemas.microsoft.com/office/drawing/2014/chart" uri="{C3380CC4-5D6E-409C-BE32-E72D297353CC}">
                <c16:uniqueId val="{0000062B-61F5-407B-959D-D24239F5BB85}"/>
              </c:ext>
            </c:extLst>
          </c:dPt>
          <c:dPt>
            <c:idx val="789"/>
            <c:invertIfNegative val="1"/>
            <c:bubble3D val="0"/>
            <c:spPr>
              <a:solidFill>
                <a:srgbClr val="AEABAB"/>
              </a:solidFill>
            </c:spPr>
            <c:extLst>
              <c:ext xmlns:c16="http://schemas.microsoft.com/office/drawing/2014/chart" uri="{C3380CC4-5D6E-409C-BE32-E72D297353CC}">
                <c16:uniqueId val="{0000062D-61F5-407B-959D-D24239F5BB85}"/>
              </c:ext>
            </c:extLst>
          </c:dPt>
          <c:dPt>
            <c:idx val="790"/>
            <c:invertIfNegative val="1"/>
            <c:bubble3D val="0"/>
            <c:spPr>
              <a:solidFill>
                <a:srgbClr val="AEABAB"/>
              </a:solidFill>
            </c:spPr>
            <c:extLst>
              <c:ext xmlns:c16="http://schemas.microsoft.com/office/drawing/2014/chart" uri="{C3380CC4-5D6E-409C-BE32-E72D297353CC}">
                <c16:uniqueId val="{0000062F-61F5-407B-959D-D24239F5BB85}"/>
              </c:ext>
            </c:extLst>
          </c:dPt>
          <c:dPt>
            <c:idx val="791"/>
            <c:invertIfNegative val="1"/>
            <c:bubble3D val="0"/>
            <c:spPr>
              <a:solidFill>
                <a:srgbClr val="AEABAB"/>
              </a:solidFill>
            </c:spPr>
            <c:extLst>
              <c:ext xmlns:c16="http://schemas.microsoft.com/office/drawing/2014/chart" uri="{C3380CC4-5D6E-409C-BE32-E72D297353CC}">
                <c16:uniqueId val="{00000631-61F5-407B-959D-D24239F5BB85}"/>
              </c:ext>
            </c:extLst>
          </c:dPt>
          <c:dPt>
            <c:idx val="792"/>
            <c:invertIfNegative val="1"/>
            <c:bubble3D val="0"/>
            <c:spPr>
              <a:solidFill>
                <a:srgbClr val="AEABAB"/>
              </a:solidFill>
            </c:spPr>
            <c:extLst>
              <c:ext xmlns:c16="http://schemas.microsoft.com/office/drawing/2014/chart" uri="{C3380CC4-5D6E-409C-BE32-E72D297353CC}">
                <c16:uniqueId val="{00000633-61F5-407B-959D-D24239F5BB85}"/>
              </c:ext>
            </c:extLst>
          </c:dPt>
          <c:dPt>
            <c:idx val="793"/>
            <c:invertIfNegative val="1"/>
            <c:bubble3D val="0"/>
            <c:spPr>
              <a:solidFill>
                <a:srgbClr val="AEABAB"/>
              </a:solidFill>
            </c:spPr>
            <c:extLst>
              <c:ext xmlns:c16="http://schemas.microsoft.com/office/drawing/2014/chart" uri="{C3380CC4-5D6E-409C-BE32-E72D297353CC}">
                <c16:uniqueId val="{00000635-61F5-407B-959D-D24239F5BB85}"/>
              </c:ext>
            </c:extLst>
          </c:dPt>
          <c:dPt>
            <c:idx val="794"/>
            <c:invertIfNegative val="1"/>
            <c:bubble3D val="0"/>
            <c:spPr>
              <a:solidFill>
                <a:srgbClr val="AEABAB"/>
              </a:solidFill>
            </c:spPr>
            <c:extLst>
              <c:ext xmlns:c16="http://schemas.microsoft.com/office/drawing/2014/chart" uri="{C3380CC4-5D6E-409C-BE32-E72D297353CC}">
                <c16:uniqueId val="{00000637-61F5-407B-959D-D24239F5BB85}"/>
              </c:ext>
            </c:extLst>
          </c:dPt>
          <c:dPt>
            <c:idx val="795"/>
            <c:invertIfNegative val="1"/>
            <c:bubble3D val="0"/>
            <c:spPr>
              <a:solidFill>
                <a:srgbClr val="AEABAB"/>
              </a:solidFill>
            </c:spPr>
            <c:extLst>
              <c:ext xmlns:c16="http://schemas.microsoft.com/office/drawing/2014/chart" uri="{C3380CC4-5D6E-409C-BE32-E72D297353CC}">
                <c16:uniqueId val="{00000639-61F5-407B-959D-D24239F5BB85}"/>
              </c:ext>
            </c:extLst>
          </c:dPt>
          <c:dPt>
            <c:idx val="796"/>
            <c:invertIfNegative val="1"/>
            <c:bubble3D val="0"/>
            <c:spPr>
              <a:solidFill>
                <a:srgbClr val="AEABAB"/>
              </a:solidFill>
            </c:spPr>
            <c:extLst>
              <c:ext xmlns:c16="http://schemas.microsoft.com/office/drawing/2014/chart" uri="{C3380CC4-5D6E-409C-BE32-E72D297353CC}">
                <c16:uniqueId val="{0000063B-61F5-407B-959D-D24239F5BB85}"/>
              </c:ext>
            </c:extLst>
          </c:dPt>
          <c:dPt>
            <c:idx val="797"/>
            <c:invertIfNegative val="1"/>
            <c:bubble3D val="0"/>
            <c:spPr>
              <a:solidFill>
                <a:srgbClr val="AEABAB"/>
              </a:solidFill>
            </c:spPr>
            <c:extLst>
              <c:ext xmlns:c16="http://schemas.microsoft.com/office/drawing/2014/chart" uri="{C3380CC4-5D6E-409C-BE32-E72D297353CC}">
                <c16:uniqueId val="{0000063D-61F5-407B-959D-D24239F5BB85}"/>
              </c:ext>
            </c:extLst>
          </c:dPt>
          <c:dPt>
            <c:idx val="798"/>
            <c:invertIfNegative val="1"/>
            <c:bubble3D val="0"/>
            <c:spPr>
              <a:solidFill>
                <a:srgbClr val="AEABAB"/>
              </a:solidFill>
            </c:spPr>
            <c:extLst>
              <c:ext xmlns:c16="http://schemas.microsoft.com/office/drawing/2014/chart" uri="{C3380CC4-5D6E-409C-BE32-E72D297353CC}">
                <c16:uniqueId val="{0000063F-61F5-407B-959D-D24239F5BB85}"/>
              </c:ext>
            </c:extLst>
          </c:dPt>
          <c:dPt>
            <c:idx val="799"/>
            <c:invertIfNegative val="1"/>
            <c:bubble3D val="0"/>
            <c:spPr>
              <a:solidFill>
                <a:srgbClr val="AEABAB"/>
              </a:solidFill>
            </c:spPr>
            <c:extLst>
              <c:ext xmlns:c16="http://schemas.microsoft.com/office/drawing/2014/chart" uri="{C3380CC4-5D6E-409C-BE32-E72D297353CC}">
                <c16:uniqueId val="{00000641-61F5-407B-959D-D24239F5BB85}"/>
              </c:ext>
            </c:extLst>
          </c:dPt>
          <c:dPt>
            <c:idx val="800"/>
            <c:invertIfNegative val="1"/>
            <c:bubble3D val="0"/>
            <c:spPr>
              <a:solidFill>
                <a:srgbClr val="AEABAB"/>
              </a:solidFill>
            </c:spPr>
            <c:extLst>
              <c:ext xmlns:c16="http://schemas.microsoft.com/office/drawing/2014/chart" uri="{C3380CC4-5D6E-409C-BE32-E72D297353CC}">
                <c16:uniqueId val="{00000643-61F5-407B-959D-D24239F5BB85}"/>
              </c:ext>
            </c:extLst>
          </c:dPt>
          <c:dPt>
            <c:idx val="801"/>
            <c:invertIfNegative val="1"/>
            <c:bubble3D val="0"/>
            <c:spPr>
              <a:solidFill>
                <a:srgbClr val="AEABAB"/>
              </a:solidFill>
            </c:spPr>
            <c:extLst>
              <c:ext xmlns:c16="http://schemas.microsoft.com/office/drawing/2014/chart" uri="{C3380CC4-5D6E-409C-BE32-E72D297353CC}">
                <c16:uniqueId val="{00000645-61F5-407B-959D-D24239F5BB85}"/>
              </c:ext>
            </c:extLst>
          </c:dPt>
          <c:dPt>
            <c:idx val="802"/>
            <c:invertIfNegative val="1"/>
            <c:bubble3D val="0"/>
            <c:spPr>
              <a:solidFill>
                <a:srgbClr val="AEABAB"/>
              </a:solidFill>
            </c:spPr>
            <c:extLst>
              <c:ext xmlns:c16="http://schemas.microsoft.com/office/drawing/2014/chart" uri="{C3380CC4-5D6E-409C-BE32-E72D297353CC}">
                <c16:uniqueId val="{00000647-61F5-407B-959D-D24239F5BB85}"/>
              </c:ext>
            </c:extLst>
          </c:dPt>
          <c:dPt>
            <c:idx val="803"/>
            <c:invertIfNegative val="1"/>
            <c:bubble3D val="0"/>
            <c:spPr>
              <a:solidFill>
                <a:srgbClr val="AEABAB"/>
              </a:solidFill>
            </c:spPr>
            <c:extLst>
              <c:ext xmlns:c16="http://schemas.microsoft.com/office/drawing/2014/chart" uri="{C3380CC4-5D6E-409C-BE32-E72D297353CC}">
                <c16:uniqueId val="{00000649-61F5-407B-959D-D24239F5BB85}"/>
              </c:ext>
            </c:extLst>
          </c:dPt>
          <c:dPt>
            <c:idx val="804"/>
            <c:invertIfNegative val="1"/>
            <c:bubble3D val="0"/>
            <c:spPr>
              <a:solidFill>
                <a:srgbClr val="AEABAB"/>
              </a:solidFill>
            </c:spPr>
            <c:extLst>
              <c:ext xmlns:c16="http://schemas.microsoft.com/office/drawing/2014/chart" uri="{C3380CC4-5D6E-409C-BE32-E72D297353CC}">
                <c16:uniqueId val="{0000064B-61F5-407B-959D-D24239F5BB85}"/>
              </c:ext>
            </c:extLst>
          </c:dPt>
          <c:dPt>
            <c:idx val="805"/>
            <c:invertIfNegative val="1"/>
            <c:bubble3D val="0"/>
            <c:spPr>
              <a:solidFill>
                <a:srgbClr val="AEABAB"/>
              </a:solidFill>
            </c:spPr>
            <c:extLst>
              <c:ext xmlns:c16="http://schemas.microsoft.com/office/drawing/2014/chart" uri="{C3380CC4-5D6E-409C-BE32-E72D297353CC}">
                <c16:uniqueId val="{0000064D-61F5-407B-959D-D24239F5BB85}"/>
              </c:ext>
            </c:extLst>
          </c:dPt>
          <c:dPt>
            <c:idx val="806"/>
            <c:invertIfNegative val="1"/>
            <c:bubble3D val="0"/>
            <c:spPr>
              <a:solidFill>
                <a:srgbClr val="AEABAB"/>
              </a:solidFill>
            </c:spPr>
            <c:extLst>
              <c:ext xmlns:c16="http://schemas.microsoft.com/office/drawing/2014/chart" uri="{C3380CC4-5D6E-409C-BE32-E72D297353CC}">
                <c16:uniqueId val="{0000064F-61F5-407B-959D-D24239F5BB85}"/>
              </c:ext>
            </c:extLst>
          </c:dPt>
          <c:dPt>
            <c:idx val="807"/>
            <c:invertIfNegative val="1"/>
            <c:bubble3D val="0"/>
            <c:spPr>
              <a:solidFill>
                <a:srgbClr val="AEABAB"/>
              </a:solidFill>
            </c:spPr>
            <c:extLst>
              <c:ext xmlns:c16="http://schemas.microsoft.com/office/drawing/2014/chart" uri="{C3380CC4-5D6E-409C-BE32-E72D297353CC}">
                <c16:uniqueId val="{00000651-61F5-407B-959D-D24239F5BB85}"/>
              </c:ext>
            </c:extLst>
          </c:dPt>
          <c:dPt>
            <c:idx val="808"/>
            <c:invertIfNegative val="1"/>
            <c:bubble3D val="0"/>
            <c:spPr>
              <a:solidFill>
                <a:srgbClr val="AEABAB"/>
              </a:solidFill>
            </c:spPr>
            <c:extLst>
              <c:ext xmlns:c16="http://schemas.microsoft.com/office/drawing/2014/chart" uri="{C3380CC4-5D6E-409C-BE32-E72D297353CC}">
                <c16:uniqueId val="{00000653-61F5-407B-959D-D24239F5BB85}"/>
              </c:ext>
            </c:extLst>
          </c:dPt>
          <c:dPt>
            <c:idx val="809"/>
            <c:invertIfNegative val="1"/>
            <c:bubble3D val="0"/>
            <c:spPr>
              <a:solidFill>
                <a:srgbClr val="AEABAB"/>
              </a:solidFill>
            </c:spPr>
            <c:extLst>
              <c:ext xmlns:c16="http://schemas.microsoft.com/office/drawing/2014/chart" uri="{C3380CC4-5D6E-409C-BE32-E72D297353CC}">
                <c16:uniqueId val="{00000655-61F5-407B-959D-D24239F5BB85}"/>
              </c:ext>
            </c:extLst>
          </c:dPt>
          <c:dPt>
            <c:idx val="810"/>
            <c:invertIfNegative val="1"/>
            <c:bubble3D val="0"/>
            <c:spPr>
              <a:solidFill>
                <a:srgbClr val="AEABAB"/>
              </a:solidFill>
            </c:spPr>
            <c:extLst>
              <c:ext xmlns:c16="http://schemas.microsoft.com/office/drawing/2014/chart" uri="{C3380CC4-5D6E-409C-BE32-E72D297353CC}">
                <c16:uniqueId val="{00000657-61F5-407B-959D-D24239F5BB85}"/>
              </c:ext>
            </c:extLst>
          </c:dPt>
          <c:dPt>
            <c:idx val="811"/>
            <c:invertIfNegative val="1"/>
            <c:bubble3D val="0"/>
            <c:spPr>
              <a:solidFill>
                <a:srgbClr val="AEABAB"/>
              </a:solidFill>
            </c:spPr>
            <c:extLst>
              <c:ext xmlns:c16="http://schemas.microsoft.com/office/drawing/2014/chart" uri="{C3380CC4-5D6E-409C-BE32-E72D297353CC}">
                <c16:uniqueId val="{00000659-61F5-407B-959D-D24239F5BB85}"/>
              </c:ext>
            </c:extLst>
          </c:dPt>
          <c:dPt>
            <c:idx val="812"/>
            <c:invertIfNegative val="1"/>
            <c:bubble3D val="0"/>
            <c:spPr>
              <a:solidFill>
                <a:srgbClr val="AEABAB"/>
              </a:solidFill>
            </c:spPr>
            <c:extLst>
              <c:ext xmlns:c16="http://schemas.microsoft.com/office/drawing/2014/chart" uri="{C3380CC4-5D6E-409C-BE32-E72D297353CC}">
                <c16:uniqueId val="{0000065B-61F5-407B-959D-D24239F5BB85}"/>
              </c:ext>
            </c:extLst>
          </c:dPt>
          <c:dPt>
            <c:idx val="813"/>
            <c:invertIfNegative val="1"/>
            <c:bubble3D val="0"/>
            <c:spPr>
              <a:solidFill>
                <a:srgbClr val="AEABAB"/>
              </a:solidFill>
            </c:spPr>
            <c:extLst>
              <c:ext xmlns:c16="http://schemas.microsoft.com/office/drawing/2014/chart" uri="{C3380CC4-5D6E-409C-BE32-E72D297353CC}">
                <c16:uniqueId val="{0000065D-61F5-407B-959D-D24239F5BB85}"/>
              </c:ext>
            </c:extLst>
          </c:dPt>
          <c:dPt>
            <c:idx val="814"/>
            <c:invertIfNegative val="1"/>
            <c:bubble3D val="0"/>
            <c:spPr>
              <a:solidFill>
                <a:srgbClr val="AEABAB"/>
              </a:solidFill>
            </c:spPr>
            <c:extLst>
              <c:ext xmlns:c16="http://schemas.microsoft.com/office/drawing/2014/chart" uri="{C3380CC4-5D6E-409C-BE32-E72D297353CC}">
                <c16:uniqueId val="{0000065F-61F5-407B-959D-D24239F5BB85}"/>
              </c:ext>
            </c:extLst>
          </c:dPt>
          <c:dPt>
            <c:idx val="815"/>
            <c:invertIfNegative val="1"/>
            <c:bubble3D val="0"/>
            <c:spPr>
              <a:solidFill>
                <a:srgbClr val="AEABAB"/>
              </a:solidFill>
            </c:spPr>
            <c:extLst>
              <c:ext xmlns:c16="http://schemas.microsoft.com/office/drawing/2014/chart" uri="{C3380CC4-5D6E-409C-BE32-E72D297353CC}">
                <c16:uniqueId val="{00000661-61F5-407B-959D-D24239F5BB85}"/>
              </c:ext>
            </c:extLst>
          </c:dPt>
          <c:dPt>
            <c:idx val="816"/>
            <c:invertIfNegative val="1"/>
            <c:bubble3D val="0"/>
            <c:spPr>
              <a:solidFill>
                <a:srgbClr val="AEABAB"/>
              </a:solidFill>
            </c:spPr>
            <c:extLst>
              <c:ext xmlns:c16="http://schemas.microsoft.com/office/drawing/2014/chart" uri="{C3380CC4-5D6E-409C-BE32-E72D297353CC}">
                <c16:uniqueId val="{00000663-61F5-407B-959D-D24239F5BB85}"/>
              </c:ext>
            </c:extLst>
          </c:dPt>
          <c:dPt>
            <c:idx val="817"/>
            <c:invertIfNegative val="1"/>
            <c:bubble3D val="0"/>
            <c:spPr>
              <a:solidFill>
                <a:srgbClr val="AEABAB"/>
              </a:solidFill>
            </c:spPr>
            <c:extLst>
              <c:ext xmlns:c16="http://schemas.microsoft.com/office/drawing/2014/chart" uri="{C3380CC4-5D6E-409C-BE32-E72D297353CC}">
                <c16:uniqueId val="{00000665-61F5-407B-959D-D24239F5BB85}"/>
              </c:ext>
            </c:extLst>
          </c:dPt>
          <c:dPt>
            <c:idx val="818"/>
            <c:invertIfNegative val="1"/>
            <c:bubble3D val="0"/>
            <c:spPr>
              <a:solidFill>
                <a:srgbClr val="AEABAB"/>
              </a:solidFill>
            </c:spPr>
            <c:extLst>
              <c:ext xmlns:c16="http://schemas.microsoft.com/office/drawing/2014/chart" uri="{C3380CC4-5D6E-409C-BE32-E72D297353CC}">
                <c16:uniqueId val="{00000667-61F5-407B-959D-D24239F5BB85}"/>
              </c:ext>
            </c:extLst>
          </c:dPt>
          <c:dPt>
            <c:idx val="819"/>
            <c:invertIfNegative val="1"/>
            <c:bubble3D val="0"/>
            <c:spPr>
              <a:solidFill>
                <a:srgbClr val="AEABAB"/>
              </a:solidFill>
            </c:spPr>
            <c:extLst>
              <c:ext xmlns:c16="http://schemas.microsoft.com/office/drawing/2014/chart" uri="{C3380CC4-5D6E-409C-BE32-E72D297353CC}">
                <c16:uniqueId val="{00000669-61F5-407B-959D-D24239F5BB85}"/>
              </c:ext>
            </c:extLst>
          </c:dPt>
          <c:dPt>
            <c:idx val="820"/>
            <c:invertIfNegative val="1"/>
            <c:bubble3D val="0"/>
            <c:spPr>
              <a:solidFill>
                <a:srgbClr val="AEABAB"/>
              </a:solidFill>
            </c:spPr>
            <c:extLst>
              <c:ext xmlns:c16="http://schemas.microsoft.com/office/drawing/2014/chart" uri="{C3380CC4-5D6E-409C-BE32-E72D297353CC}">
                <c16:uniqueId val="{0000066B-61F5-407B-959D-D24239F5BB85}"/>
              </c:ext>
            </c:extLst>
          </c:dPt>
          <c:dPt>
            <c:idx val="821"/>
            <c:invertIfNegative val="1"/>
            <c:bubble3D val="0"/>
            <c:spPr>
              <a:solidFill>
                <a:srgbClr val="AEABAB"/>
              </a:solidFill>
            </c:spPr>
            <c:extLst>
              <c:ext xmlns:c16="http://schemas.microsoft.com/office/drawing/2014/chart" uri="{C3380CC4-5D6E-409C-BE32-E72D297353CC}">
                <c16:uniqueId val="{0000066D-61F5-407B-959D-D24239F5BB85}"/>
              </c:ext>
            </c:extLst>
          </c:dPt>
          <c:dPt>
            <c:idx val="822"/>
            <c:invertIfNegative val="1"/>
            <c:bubble3D val="0"/>
            <c:spPr>
              <a:solidFill>
                <a:srgbClr val="AEABAB"/>
              </a:solidFill>
            </c:spPr>
            <c:extLst>
              <c:ext xmlns:c16="http://schemas.microsoft.com/office/drawing/2014/chart" uri="{C3380CC4-5D6E-409C-BE32-E72D297353CC}">
                <c16:uniqueId val="{0000066F-61F5-407B-959D-D24239F5BB85}"/>
              </c:ext>
            </c:extLst>
          </c:dPt>
          <c:dPt>
            <c:idx val="823"/>
            <c:invertIfNegative val="1"/>
            <c:bubble3D val="0"/>
            <c:spPr>
              <a:solidFill>
                <a:srgbClr val="AEABAB"/>
              </a:solidFill>
            </c:spPr>
            <c:extLst>
              <c:ext xmlns:c16="http://schemas.microsoft.com/office/drawing/2014/chart" uri="{C3380CC4-5D6E-409C-BE32-E72D297353CC}">
                <c16:uniqueId val="{00000671-61F5-407B-959D-D24239F5BB85}"/>
              </c:ext>
            </c:extLst>
          </c:dPt>
          <c:dPt>
            <c:idx val="824"/>
            <c:invertIfNegative val="1"/>
            <c:bubble3D val="0"/>
            <c:spPr>
              <a:solidFill>
                <a:srgbClr val="AEABAB"/>
              </a:solidFill>
            </c:spPr>
            <c:extLst>
              <c:ext xmlns:c16="http://schemas.microsoft.com/office/drawing/2014/chart" uri="{C3380CC4-5D6E-409C-BE32-E72D297353CC}">
                <c16:uniqueId val="{00000673-61F5-407B-959D-D24239F5BB85}"/>
              </c:ext>
            </c:extLst>
          </c:dPt>
          <c:dPt>
            <c:idx val="825"/>
            <c:invertIfNegative val="1"/>
            <c:bubble3D val="0"/>
            <c:spPr>
              <a:solidFill>
                <a:srgbClr val="AEABAB"/>
              </a:solidFill>
            </c:spPr>
            <c:extLst>
              <c:ext xmlns:c16="http://schemas.microsoft.com/office/drawing/2014/chart" uri="{C3380CC4-5D6E-409C-BE32-E72D297353CC}">
                <c16:uniqueId val="{00000675-61F5-407B-959D-D24239F5BB85}"/>
              </c:ext>
            </c:extLst>
          </c:dPt>
          <c:dPt>
            <c:idx val="826"/>
            <c:invertIfNegative val="1"/>
            <c:bubble3D val="0"/>
            <c:spPr>
              <a:solidFill>
                <a:srgbClr val="AEABAB"/>
              </a:solidFill>
            </c:spPr>
            <c:extLst>
              <c:ext xmlns:c16="http://schemas.microsoft.com/office/drawing/2014/chart" uri="{C3380CC4-5D6E-409C-BE32-E72D297353CC}">
                <c16:uniqueId val="{00000677-61F5-407B-959D-D24239F5BB85}"/>
              </c:ext>
            </c:extLst>
          </c:dPt>
          <c:dPt>
            <c:idx val="827"/>
            <c:invertIfNegative val="1"/>
            <c:bubble3D val="0"/>
            <c:spPr>
              <a:solidFill>
                <a:srgbClr val="AEABAB"/>
              </a:solidFill>
            </c:spPr>
            <c:extLst>
              <c:ext xmlns:c16="http://schemas.microsoft.com/office/drawing/2014/chart" uri="{C3380CC4-5D6E-409C-BE32-E72D297353CC}">
                <c16:uniqueId val="{00000679-61F5-407B-959D-D24239F5BB85}"/>
              </c:ext>
            </c:extLst>
          </c:dPt>
          <c:dPt>
            <c:idx val="828"/>
            <c:invertIfNegative val="1"/>
            <c:bubble3D val="0"/>
            <c:spPr>
              <a:solidFill>
                <a:srgbClr val="AEABAB"/>
              </a:solidFill>
            </c:spPr>
            <c:extLst>
              <c:ext xmlns:c16="http://schemas.microsoft.com/office/drawing/2014/chart" uri="{C3380CC4-5D6E-409C-BE32-E72D297353CC}">
                <c16:uniqueId val="{0000067B-61F5-407B-959D-D24239F5BB85}"/>
              </c:ext>
            </c:extLst>
          </c:dPt>
          <c:dPt>
            <c:idx val="829"/>
            <c:invertIfNegative val="1"/>
            <c:bubble3D val="0"/>
            <c:spPr>
              <a:solidFill>
                <a:srgbClr val="AEABAB"/>
              </a:solidFill>
            </c:spPr>
            <c:extLst>
              <c:ext xmlns:c16="http://schemas.microsoft.com/office/drawing/2014/chart" uri="{C3380CC4-5D6E-409C-BE32-E72D297353CC}">
                <c16:uniqueId val="{0000067D-61F5-407B-959D-D24239F5BB85}"/>
              </c:ext>
            </c:extLst>
          </c:dPt>
          <c:dPt>
            <c:idx val="830"/>
            <c:invertIfNegative val="1"/>
            <c:bubble3D val="0"/>
            <c:spPr>
              <a:solidFill>
                <a:srgbClr val="AEABAB"/>
              </a:solidFill>
            </c:spPr>
            <c:extLst>
              <c:ext xmlns:c16="http://schemas.microsoft.com/office/drawing/2014/chart" uri="{C3380CC4-5D6E-409C-BE32-E72D297353CC}">
                <c16:uniqueId val="{0000067F-61F5-407B-959D-D24239F5BB85}"/>
              </c:ext>
            </c:extLst>
          </c:dPt>
          <c:dPt>
            <c:idx val="831"/>
            <c:invertIfNegative val="1"/>
            <c:bubble3D val="0"/>
            <c:spPr>
              <a:solidFill>
                <a:srgbClr val="AEABAB"/>
              </a:solidFill>
            </c:spPr>
            <c:extLst>
              <c:ext xmlns:c16="http://schemas.microsoft.com/office/drawing/2014/chart" uri="{C3380CC4-5D6E-409C-BE32-E72D297353CC}">
                <c16:uniqueId val="{00000681-61F5-407B-959D-D24239F5BB85}"/>
              </c:ext>
            </c:extLst>
          </c:dPt>
          <c:dPt>
            <c:idx val="832"/>
            <c:invertIfNegative val="1"/>
            <c:bubble3D val="0"/>
            <c:spPr>
              <a:solidFill>
                <a:srgbClr val="AEABAB"/>
              </a:solidFill>
            </c:spPr>
            <c:extLst>
              <c:ext xmlns:c16="http://schemas.microsoft.com/office/drawing/2014/chart" uri="{C3380CC4-5D6E-409C-BE32-E72D297353CC}">
                <c16:uniqueId val="{00000683-61F5-407B-959D-D24239F5BB85}"/>
              </c:ext>
            </c:extLst>
          </c:dPt>
          <c:dPt>
            <c:idx val="833"/>
            <c:invertIfNegative val="1"/>
            <c:bubble3D val="0"/>
            <c:spPr>
              <a:solidFill>
                <a:srgbClr val="AEABAB"/>
              </a:solidFill>
            </c:spPr>
            <c:extLst>
              <c:ext xmlns:c16="http://schemas.microsoft.com/office/drawing/2014/chart" uri="{C3380CC4-5D6E-409C-BE32-E72D297353CC}">
                <c16:uniqueId val="{00000685-61F5-407B-959D-D24239F5BB85}"/>
              </c:ext>
            </c:extLst>
          </c:dPt>
          <c:dPt>
            <c:idx val="834"/>
            <c:invertIfNegative val="1"/>
            <c:bubble3D val="0"/>
            <c:spPr>
              <a:solidFill>
                <a:srgbClr val="AEABAB"/>
              </a:solidFill>
            </c:spPr>
            <c:extLst>
              <c:ext xmlns:c16="http://schemas.microsoft.com/office/drawing/2014/chart" uri="{C3380CC4-5D6E-409C-BE32-E72D297353CC}">
                <c16:uniqueId val="{00000687-61F5-407B-959D-D24239F5BB85}"/>
              </c:ext>
            </c:extLst>
          </c:dPt>
          <c:dPt>
            <c:idx val="835"/>
            <c:invertIfNegative val="1"/>
            <c:bubble3D val="0"/>
            <c:spPr>
              <a:solidFill>
                <a:srgbClr val="AEABAB"/>
              </a:solidFill>
            </c:spPr>
            <c:extLst>
              <c:ext xmlns:c16="http://schemas.microsoft.com/office/drawing/2014/chart" uri="{C3380CC4-5D6E-409C-BE32-E72D297353CC}">
                <c16:uniqueId val="{00000689-61F5-407B-959D-D24239F5BB85}"/>
              </c:ext>
            </c:extLst>
          </c:dPt>
          <c:dPt>
            <c:idx val="836"/>
            <c:invertIfNegative val="1"/>
            <c:bubble3D val="0"/>
            <c:spPr>
              <a:solidFill>
                <a:srgbClr val="AEABAB"/>
              </a:solidFill>
            </c:spPr>
            <c:extLst>
              <c:ext xmlns:c16="http://schemas.microsoft.com/office/drawing/2014/chart" uri="{C3380CC4-5D6E-409C-BE32-E72D297353CC}">
                <c16:uniqueId val="{0000068B-61F5-407B-959D-D24239F5BB85}"/>
              </c:ext>
            </c:extLst>
          </c:dPt>
          <c:dPt>
            <c:idx val="837"/>
            <c:invertIfNegative val="1"/>
            <c:bubble3D val="0"/>
            <c:spPr>
              <a:solidFill>
                <a:srgbClr val="AEABAB"/>
              </a:solidFill>
            </c:spPr>
            <c:extLst>
              <c:ext xmlns:c16="http://schemas.microsoft.com/office/drawing/2014/chart" uri="{C3380CC4-5D6E-409C-BE32-E72D297353CC}">
                <c16:uniqueId val="{0000068D-61F5-407B-959D-D24239F5BB85}"/>
              </c:ext>
            </c:extLst>
          </c:dPt>
          <c:dPt>
            <c:idx val="838"/>
            <c:invertIfNegative val="1"/>
            <c:bubble3D val="0"/>
            <c:spPr>
              <a:solidFill>
                <a:srgbClr val="AEABAB"/>
              </a:solidFill>
            </c:spPr>
            <c:extLst>
              <c:ext xmlns:c16="http://schemas.microsoft.com/office/drawing/2014/chart" uri="{C3380CC4-5D6E-409C-BE32-E72D297353CC}">
                <c16:uniqueId val="{0000068F-61F5-407B-959D-D24239F5BB85}"/>
              </c:ext>
            </c:extLst>
          </c:dPt>
          <c:dPt>
            <c:idx val="839"/>
            <c:invertIfNegative val="1"/>
            <c:bubble3D val="0"/>
            <c:spPr>
              <a:solidFill>
                <a:srgbClr val="AEABAB"/>
              </a:solidFill>
            </c:spPr>
            <c:extLst>
              <c:ext xmlns:c16="http://schemas.microsoft.com/office/drawing/2014/chart" uri="{C3380CC4-5D6E-409C-BE32-E72D297353CC}">
                <c16:uniqueId val="{00000691-61F5-407B-959D-D24239F5BB85}"/>
              </c:ext>
            </c:extLst>
          </c:dPt>
          <c:dPt>
            <c:idx val="840"/>
            <c:invertIfNegative val="1"/>
            <c:bubble3D val="0"/>
            <c:spPr>
              <a:solidFill>
                <a:srgbClr val="AEABAB"/>
              </a:solidFill>
            </c:spPr>
            <c:extLst>
              <c:ext xmlns:c16="http://schemas.microsoft.com/office/drawing/2014/chart" uri="{C3380CC4-5D6E-409C-BE32-E72D297353CC}">
                <c16:uniqueId val="{00000693-61F5-407B-959D-D24239F5BB85}"/>
              </c:ext>
            </c:extLst>
          </c:dPt>
          <c:dPt>
            <c:idx val="841"/>
            <c:invertIfNegative val="1"/>
            <c:bubble3D val="0"/>
            <c:spPr>
              <a:solidFill>
                <a:srgbClr val="AEABAB"/>
              </a:solidFill>
            </c:spPr>
            <c:extLst>
              <c:ext xmlns:c16="http://schemas.microsoft.com/office/drawing/2014/chart" uri="{C3380CC4-5D6E-409C-BE32-E72D297353CC}">
                <c16:uniqueId val="{00000695-61F5-407B-959D-D24239F5BB85}"/>
              </c:ext>
            </c:extLst>
          </c:dPt>
          <c:dPt>
            <c:idx val="842"/>
            <c:invertIfNegative val="1"/>
            <c:bubble3D val="0"/>
            <c:spPr>
              <a:solidFill>
                <a:srgbClr val="AEABAB"/>
              </a:solidFill>
            </c:spPr>
            <c:extLst>
              <c:ext xmlns:c16="http://schemas.microsoft.com/office/drawing/2014/chart" uri="{C3380CC4-5D6E-409C-BE32-E72D297353CC}">
                <c16:uniqueId val="{00000697-61F5-407B-959D-D24239F5BB85}"/>
              </c:ext>
            </c:extLst>
          </c:dPt>
          <c:dPt>
            <c:idx val="843"/>
            <c:invertIfNegative val="1"/>
            <c:bubble3D val="0"/>
            <c:spPr>
              <a:solidFill>
                <a:srgbClr val="AEABAB"/>
              </a:solidFill>
            </c:spPr>
            <c:extLst>
              <c:ext xmlns:c16="http://schemas.microsoft.com/office/drawing/2014/chart" uri="{C3380CC4-5D6E-409C-BE32-E72D297353CC}">
                <c16:uniqueId val="{00000699-61F5-407B-959D-D24239F5BB85}"/>
              </c:ext>
            </c:extLst>
          </c:dPt>
          <c:dPt>
            <c:idx val="844"/>
            <c:invertIfNegative val="1"/>
            <c:bubble3D val="0"/>
            <c:spPr>
              <a:solidFill>
                <a:srgbClr val="AEABAB"/>
              </a:solidFill>
            </c:spPr>
            <c:extLst>
              <c:ext xmlns:c16="http://schemas.microsoft.com/office/drawing/2014/chart" uri="{C3380CC4-5D6E-409C-BE32-E72D297353CC}">
                <c16:uniqueId val="{0000069B-61F5-407B-959D-D24239F5BB85}"/>
              </c:ext>
            </c:extLst>
          </c:dPt>
          <c:dPt>
            <c:idx val="845"/>
            <c:invertIfNegative val="1"/>
            <c:bubble3D val="0"/>
            <c:spPr>
              <a:solidFill>
                <a:srgbClr val="AEABAB"/>
              </a:solidFill>
            </c:spPr>
            <c:extLst>
              <c:ext xmlns:c16="http://schemas.microsoft.com/office/drawing/2014/chart" uri="{C3380CC4-5D6E-409C-BE32-E72D297353CC}">
                <c16:uniqueId val="{0000069D-61F5-407B-959D-D24239F5BB85}"/>
              </c:ext>
            </c:extLst>
          </c:dPt>
          <c:dPt>
            <c:idx val="846"/>
            <c:invertIfNegative val="1"/>
            <c:bubble3D val="0"/>
            <c:spPr>
              <a:solidFill>
                <a:srgbClr val="AEABAB"/>
              </a:solidFill>
            </c:spPr>
            <c:extLst>
              <c:ext xmlns:c16="http://schemas.microsoft.com/office/drawing/2014/chart" uri="{C3380CC4-5D6E-409C-BE32-E72D297353CC}">
                <c16:uniqueId val="{0000069F-61F5-407B-959D-D24239F5BB85}"/>
              </c:ext>
            </c:extLst>
          </c:dPt>
          <c:dPt>
            <c:idx val="847"/>
            <c:invertIfNegative val="1"/>
            <c:bubble3D val="0"/>
            <c:spPr>
              <a:solidFill>
                <a:srgbClr val="AEABAB"/>
              </a:solidFill>
            </c:spPr>
            <c:extLst>
              <c:ext xmlns:c16="http://schemas.microsoft.com/office/drawing/2014/chart" uri="{C3380CC4-5D6E-409C-BE32-E72D297353CC}">
                <c16:uniqueId val="{000006A1-61F5-407B-959D-D24239F5BB85}"/>
              </c:ext>
            </c:extLst>
          </c:dPt>
          <c:dPt>
            <c:idx val="848"/>
            <c:invertIfNegative val="1"/>
            <c:bubble3D val="0"/>
            <c:spPr>
              <a:solidFill>
                <a:srgbClr val="AEABAB"/>
              </a:solidFill>
            </c:spPr>
            <c:extLst>
              <c:ext xmlns:c16="http://schemas.microsoft.com/office/drawing/2014/chart" uri="{C3380CC4-5D6E-409C-BE32-E72D297353CC}">
                <c16:uniqueId val="{000006A3-61F5-407B-959D-D24239F5BB85}"/>
              </c:ext>
            </c:extLst>
          </c:dPt>
          <c:dPt>
            <c:idx val="849"/>
            <c:invertIfNegative val="1"/>
            <c:bubble3D val="0"/>
            <c:spPr>
              <a:solidFill>
                <a:srgbClr val="AEABAB"/>
              </a:solidFill>
            </c:spPr>
            <c:extLst>
              <c:ext xmlns:c16="http://schemas.microsoft.com/office/drawing/2014/chart" uri="{C3380CC4-5D6E-409C-BE32-E72D297353CC}">
                <c16:uniqueId val="{000006A5-61F5-407B-959D-D24239F5BB85}"/>
              </c:ext>
            </c:extLst>
          </c:dPt>
          <c:dPt>
            <c:idx val="850"/>
            <c:invertIfNegative val="1"/>
            <c:bubble3D val="0"/>
            <c:spPr>
              <a:solidFill>
                <a:srgbClr val="AEABAB"/>
              </a:solidFill>
            </c:spPr>
            <c:extLst>
              <c:ext xmlns:c16="http://schemas.microsoft.com/office/drawing/2014/chart" uri="{C3380CC4-5D6E-409C-BE32-E72D297353CC}">
                <c16:uniqueId val="{000006A7-61F5-407B-959D-D24239F5BB85}"/>
              </c:ext>
            </c:extLst>
          </c:dPt>
          <c:dPt>
            <c:idx val="851"/>
            <c:invertIfNegative val="1"/>
            <c:bubble3D val="0"/>
            <c:spPr>
              <a:solidFill>
                <a:srgbClr val="AEABAB"/>
              </a:solidFill>
            </c:spPr>
            <c:extLst>
              <c:ext xmlns:c16="http://schemas.microsoft.com/office/drawing/2014/chart" uri="{C3380CC4-5D6E-409C-BE32-E72D297353CC}">
                <c16:uniqueId val="{000006A9-61F5-407B-959D-D24239F5BB85}"/>
              </c:ext>
            </c:extLst>
          </c:dPt>
          <c:dPt>
            <c:idx val="852"/>
            <c:invertIfNegative val="1"/>
            <c:bubble3D val="0"/>
            <c:spPr>
              <a:solidFill>
                <a:srgbClr val="AEABAB"/>
              </a:solidFill>
            </c:spPr>
            <c:extLst>
              <c:ext xmlns:c16="http://schemas.microsoft.com/office/drawing/2014/chart" uri="{C3380CC4-5D6E-409C-BE32-E72D297353CC}">
                <c16:uniqueId val="{000006AB-61F5-407B-959D-D24239F5BB85}"/>
              </c:ext>
            </c:extLst>
          </c:dPt>
          <c:dPt>
            <c:idx val="853"/>
            <c:invertIfNegative val="1"/>
            <c:bubble3D val="0"/>
            <c:spPr>
              <a:solidFill>
                <a:srgbClr val="AEABAB"/>
              </a:solidFill>
            </c:spPr>
            <c:extLst>
              <c:ext xmlns:c16="http://schemas.microsoft.com/office/drawing/2014/chart" uri="{C3380CC4-5D6E-409C-BE32-E72D297353CC}">
                <c16:uniqueId val="{000006AD-61F5-407B-959D-D24239F5BB85}"/>
              </c:ext>
            </c:extLst>
          </c:dPt>
          <c:dPt>
            <c:idx val="854"/>
            <c:invertIfNegative val="1"/>
            <c:bubble3D val="0"/>
            <c:spPr>
              <a:solidFill>
                <a:srgbClr val="AEABAB"/>
              </a:solidFill>
            </c:spPr>
            <c:extLst>
              <c:ext xmlns:c16="http://schemas.microsoft.com/office/drawing/2014/chart" uri="{C3380CC4-5D6E-409C-BE32-E72D297353CC}">
                <c16:uniqueId val="{000006AF-61F5-407B-959D-D24239F5BB85}"/>
              </c:ext>
            </c:extLst>
          </c:dPt>
          <c:dPt>
            <c:idx val="855"/>
            <c:invertIfNegative val="1"/>
            <c:bubble3D val="0"/>
            <c:spPr>
              <a:solidFill>
                <a:srgbClr val="AEABAB"/>
              </a:solidFill>
            </c:spPr>
            <c:extLst>
              <c:ext xmlns:c16="http://schemas.microsoft.com/office/drawing/2014/chart" uri="{C3380CC4-5D6E-409C-BE32-E72D297353CC}">
                <c16:uniqueId val="{000006B1-61F5-407B-959D-D24239F5BB85}"/>
              </c:ext>
            </c:extLst>
          </c:dPt>
          <c:dPt>
            <c:idx val="856"/>
            <c:invertIfNegative val="1"/>
            <c:bubble3D val="0"/>
            <c:spPr>
              <a:solidFill>
                <a:srgbClr val="AEABAB"/>
              </a:solidFill>
            </c:spPr>
            <c:extLst>
              <c:ext xmlns:c16="http://schemas.microsoft.com/office/drawing/2014/chart" uri="{C3380CC4-5D6E-409C-BE32-E72D297353CC}">
                <c16:uniqueId val="{000006B3-61F5-407B-959D-D24239F5BB85}"/>
              </c:ext>
            </c:extLst>
          </c:dPt>
          <c:dPt>
            <c:idx val="857"/>
            <c:invertIfNegative val="1"/>
            <c:bubble3D val="0"/>
            <c:spPr>
              <a:solidFill>
                <a:srgbClr val="AEABAB"/>
              </a:solidFill>
            </c:spPr>
            <c:extLst>
              <c:ext xmlns:c16="http://schemas.microsoft.com/office/drawing/2014/chart" uri="{C3380CC4-5D6E-409C-BE32-E72D297353CC}">
                <c16:uniqueId val="{000006B5-61F5-407B-959D-D24239F5BB85}"/>
              </c:ext>
            </c:extLst>
          </c:dPt>
          <c:dPt>
            <c:idx val="858"/>
            <c:invertIfNegative val="1"/>
            <c:bubble3D val="0"/>
            <c:spPr>
              <a:solidFill>
                <a:srgbClr val="AEABAB"/>
              </a:solidFill>
            </c:spPr>
            <c:extLst>
              <c:ext xmlns:c16="http://schemas.microsoft.com/office/drawing/2014/chart" uri="{C3380CC4-5D6E-409C-BE32-E72D297353CC}">
                <c16:uniqueId val="{000006B7-61F5-407B-959D-D24239F5BB85}"/>
              </c:ext>
            </c:extLst>
          </c:dPt>
          <c:dPt>
            <c:idx val="859"/>
            <c:invertIfNegative val="1"/>
            <c:bubble3D val="0"/>
            <c:spPr>
              <a:solidFill>
                <a:srgbClr val="AEABAB"/>
              </a:solidFill>
            </c:spPr>
            <c:extLst>
              <c:ext xmlns:c16="http://schemas.microsoft.com/office/drawing/2014/chart" uri="{C3380CC4-5D6E-409C-BE32-E72D297353CC}">
                <c16:uniqueId val="{000006B9-61F5-407B-959D-D24239F5BB85}"/>
              </c:ext>
            </c:extLst>
          </c:dPt>
          <c:dPt>
            <c:idx val="860"/>
            <c:invertIfNegative val="1"/>
            <c:bubble3D val="0"/>
            <c:spPr>
              <a:solidFill>
                <a:srgbClr val="AEABAB"/>
              </a:solidFill>
            </c:spPr>
            <c:extLst>
              <c:ext xmlns:c16="http://schemas.microsoft.com/office/drawing/2014/chart" uri="{C3380CC4-5D6E-409C-BE32-E72D297353CC}">
                <c16:uniqueId val="{000006BB-61F5-407B-959D-D24239F5BB85}"/>
              </c:ext>
            </c:extLst>
          </c:dPt>
          <c:dPt>
            <c:idx val="861"/>
            <c:invertIfNegative val="1"/>
            <c:bubble3D val="0"/>
            <c:spPr>
              <a:solidFill>
                <a:srgbClr val="AEABAB"/>
              </a:solidFill>
            </c:spPr>
            <c:extLst>
              <c:ext xmlns:c16="http://schemas.microsoft.com/office/drawing/2014/chart" uri="{C3380CC4-5D6E-409C-BE32-E72D297353CC}">
                <c16:uniqueId val="{000006BD-61F5-407B-959D-D24239F5BB85}"/>
              </c:ext>
            </c:extLst>
          </c:dPt>
          <c:dPt>
            <c:idx val="862"/>
            <c:invertIfNegative val="1"/>
            <c:bubble3D val="0"/>
            <c:spPr>
              <a:solidFill>
                <a:srgbClr val="AEABAB"/>
              </a:solidFill>
            </c:spPr>
            <c:extLst>
              <c:ext xmlns:c16="http://schemas.microsoft.com/office/drawing/2014/chart" uri="{C3380CC4-5D6E-409C-BE32-E72D297353CC}">
                <c16:uniqueId val="{000006BF-61F5-407B-959D-D24239F5BB85}"/>
              </c:ext>
            </c:extLst>
          </c:dPt>
          <c:dPt>
            <c:idx val="863"/>
            <c:invertIfNegative val="1"/>
            <c:bubble3D val="0"/>
            <c:spPr>
              <a:solidFill>
                <a:srgbClr val="AEABAB"/>
              </a:solidFill>
            </c:spPr>
            <c:extLst>
              <c:ext xmlns:c16="http://schemas.microsoft.com/office/drawing/2014/chart" uri="{C3380CC4-5D6E-409C-BE32-E72D297353CC}">
                <c16:uniqueId val="{000006C1-61F5-407B-959D-D24239F5BB85}"/>
              </c:ext>
            </c:extLst>
          </c:dPt>
          <c:dPt>
            <c:idx val="864"/>
            <c:invertIfNegative val="1"/>
            <c:bubble3D val="0"/>
            <c:spPr>
              <a:solidFill>
                <a:srgbClr val="AEABAB"/>
              </a:solidFill>
            </c:spPr>
            <c:extLst>
              <c:ext xmlns:c16="http://schemas.microsoft.com/office/drawing/2014/chart" uri="{C3380CC4-5D6E-409C-BE32-E72D297353CC}">
                <c16:uniqueId val="{000006C3-61F5-407B-959D-D24239F5BB85}"/>
              </c:ext>
            </c:extLst>
          </c:dPt>
          <c:dPt>
            <c:idx val="865"/>
            <c:invertIfNegative val="1"/>
            <c:bubble3D val="0"/>
            <c:spPr>
              <a:solidFill>
                <a:srgbClr val="AEABAB"/>
              </a:solidFill>
            </c:spPr>
            <c:extLst>
              <c:ext xmlns:c16="http://schemas.microsoft.com/office/drawing/2014/chart" uri="{C3380CC4-5D6E-409C-BE32-E72D297353CC}">
                <c16:uniqueId val="{000006C5-61F5-407B-959D-D24239F5BB85}"/>
              </c:ext>
            </c:extLst>
          </c:dPt>
          <c:dPt>
            <c:idx val="866"/>
            <c:invertIfNegative val="1"/>
            <c:bubble3D val="0"/>
            <c:spPr>
              <a:solidFill>
                <a:srgbClr val="AEABAB"/>
              </a:solidFill>
            </c:spPr>
            <c:extLst>
              <c:ext xmlns:c16="http://schemas.microsoft.com/office/drawing/2014/chart" uri="{C3380CC4-5D6E-409C-BE32-E72D297353CC}">
                <c16:uniqueId val="{000006C7-61F5-407B-959D-D24239F5BB85}"/>
              </c:ext>
            </c:extLst>
          </c:dPt>
          <c:dPt>
            <c:idx val="867"/>
            <c:invertIfNegative val="1"/>
            <c:bubble3D val="0"/>
            <c:spPr>
              <a:solidFill>
                <a:srgbClr val="AEABAB"/>
              </a:solidFill>
            </c:spPr>
            <c:extLst>
              <c:ext xmlns:c16="http://schemas.microsoft.com/office/drawing/2014/chart" uri="{C3380CC4-5D6E-409C-BE32-E72D297353CC}">
                <c16:uniqueId val="{000006C9-61F5-407B-959D-D24239F5BB85}"/>
              </c:ext>
            </c:extLst>
          </c:dPt>
          <c:dPt>
            <c:idx val="868"/>
            <c:invertIfNegative val="1"/>
            <c:bubble3D val="0"/>
            <c:spPr>
              <a:solidFill>
                <a:srgbClr val="AEABAB"/>
              </a:solidFill>
            </c:spPr>
            <c:extLst>
              <c:ext xmlns:c16="http://schemas.microsoft.com/office/drawing/2014/chart" uri="{C3380CC4-5D6E-409C-BE32-E72D297353CC}">
                <c16:uniqueId val="{000006CB-61F5-407B-959D-D24239F5BB85}"/>
              </c:ext>
            </c:extLst>
          </c:dPt>
          <c:dPt>
            <c:idx val="869"/>
            <c:invertIfNegative val="1"/>
            <c:bubble3D val="0"/>
            <c:spPr>
              <a:solidFill>
                <a:srgbClr val="AEABAB"/>
              </a:solidFill>
            </c:spPr>
            <c:extLst>
              <c:ext xmlns:c16="http://schemas.microsoft.com/office/drawing/2014/chart" uri="{C3380CC4-5D6E-409C-BE32-E72D297353CC}">
                <c16:uniqueId val="{000006CD-61F5-407B-959D-D24239F5BB85}"/>
              </c:ext>
            </c:extLst>
          </c:dPt>
          <c:dPt>
            <c:idx val="870"/>
            <c:invertIfNegative val="1"/>
            <c:bubble3D val="0"/>
            <c:spPr>
              <a:solidFill>
                <a:srgbClr val="AEABAB"/>
              </a:solidFill>
            </c:spPr>
            <c:extLst>
              <c:ext xmlns:c16="http://schemas.microsoft.com/office/drawing/2014/chart" uri="{C3380CC4-5D6E-409C-BE32-E72D297353CC}">
                <c16:uniqueId val="{000006CF-61F5-407B-959D-D24239F5BB85}"/>
              </c:ext>
            </c:extLst>
          </c:dPt>
          <c:dPt>
            <c:idx val="871"/>
            <c:invertIfNegative val="1"/>
            <c:bubble3D val="0"/>
            <c:spPr>
              <a:solidFill>
                <a:srgbClr val="AEABAB"/>
              </a:solidFill>
            </c:spPr>
            <c:extLst>
              <c:ext xmlns:c16="http://schemas.microsoft.com/office/drawing/2014/chart" uri="{C3380CC4-5D6E-409C-BE32-E72D297353CC}">
                <c16:uniqueId val="{000006D1-61F5-407B-959D-D24239F5BB85}"/>
              </c:ext>
            </c:extLst>
          </c:dPt>
          <c:dPt>
            <c:idx val="872"/>
            <c:invertIfNegative val="1"/>
            <c:bubble3D val="0"/>
            <c:spPr>
              <a:solidFill>
                <a:srgbClr val="AEABAB"/>
              </a:solidFill>
            </c:spPr>
            <c:extLst>
              <c:ext xmlns:c16="http://schemas.microsoft.com/office/drawing/2014/chart" uri="{C3380CC4-5D6E-409C-BE32-E72D297353CC}">
                <c16:uniqueId val="{000006D3-61F5-407B-959D-D24239F5BB85}"/>
              </c:ext>
            </c:extLst>
          </c:dPt>
          <c:dPt>
            <c:idx val="873"/>
            <c:invertIfNegative val="1"/>
            <c:bubble3D val="0"/>
            <c:spPr>
              <a:solidFill>
                <a:srgbClr val="AEABAB"/>
              </a:solidFill>
            </c:spPr>
            <c:extLst>
              <c:ext xmlns:c16="http://schemas.microsoft.com/office/drawing/2014/chart" uri="{C3380CC4-5D6E-409C-BE32-E72D297353CC}">
                <c16:uniqueId val="{000006D5-61F5-407B-959D-D24239F5BB85}"/>
              </c:ext>
            </c:extLst>
          </c:dPt>
          <c:dPt>
            <c:idx val="874"/>
            <c:invertIfNegative val="1"/>
            <c:bubble3D val="0"/>
            <c:spPr>
              <a:solidFill>
                <a:srgbClr val="AEABAB"/>
              </a:solidFill>
            </c:spPr>
            <c:extLst>
              <c:ext xmlns:c16="http://schemas.microsoft.com/office/drawing/2014/chart" uri="{C3380CC4-5D6E-409C-BE32-E72D297353CC}">
                <c16:uniqueId val="{000006D7-61F5-407B-959D-D24239F5BB85}"/>
              </c:ext>
            </c:extLst>
          </c:dPt>
          <c:dPt>
            <c:idx val="875"/>
            <c:invertIfNegative val="1"/>
            <c:bubble3D val="0"/>
            <c:spPr>
              <a:solidFill>
                <a:srgbClr val="AEABAB"/>
              </a:solidFill>
            </c:spPr>
            <c:extLst>
              <c:ext xmlns:c16="http://schemas.microsoft.com/office/drawing/2014/chart" uri="{C3380CC4-5D6E-409C-BE32-E72D297353CC}">
                <c16:uniqueId val="{000006D9-61F5-407B-959D-D24239F5BB85}"/>
              </c:ext>
            </c:extLst>
          </c:dPt>
          <c:dPt>
            <c:idx val="876"/>
            <c:invertIfNegative val="1"/>
            <c:bubble3D val="0"/>
            <c:spPr>
              <a:solidFill>
                <a:srgbClr val="AEABAB"/>
              </a:solidFill>
            </c:spPr>
            <c:extLst>
              <c:ext xmlns:c16="http://schemas.microsoft.com/office/drawing/2014/chart" uri="{C3380CC4-5D6E-409C-BE32-E72D297353CC}">
                <c16:uniqueId val="{000006DB-61F5-407B-959D-D24239F5BB85}"/>
              </c:ext>
            </c:extLst>
          </c:dPt>
          <c:dPt>
            <c:idx val="877"/>
            <c:invertIfNegative val="1"/>
            <c:bubble3D val="0"/>
            <c:spPr>
              <a:solidFill>
                <a:srgbClr val="AEABAB"/>
              </a:solidFill>
            </c:spPr>
            <c:extLst>
              <c:ext xmlns:c16="http://schemas.microsoft.com/office/drawing/2014/chart" uri="{C3380CC4-5D6E-409C-BE32-E72D297353CC}">
                <c16:uniqueId val="{000006DD-61F5-407B-959D-D24239F5BB85}"/>
              </c:ext>
            </c:extLst>
          </c:dPt>
          <c:dPt>
            <c:idx val="878"/>
            <c:invertIfNegative val="1"/>
            <c:bubble3D val="0"/>
            <c:spPr>
              <a:solidFill>
                <a:srgbClr val="AEABAB"/>
              </a:solidFill>
            </c:spPr>
            <c:extLst>
              <c:ext xmlns:c16="http://schemas.microsoft.com/office/drawing/2014/chart" uri="{C3380CC4-5D6E-409C-BE32-E72D297353CC}">
                <c16:uniqueId val="{000006DF-61F5-407B-959D-D24239F5BB85}"/>
              </c:ext>
            </c:extLst>
          </c:dPt>
          <c:dPt>
            <c:idx val="879"/>
            <c:invertIfNegative val="1"/>
            <c:bubble3D val="0"/>
            <c:spPr>
              <a:solidFill>
                <a:srgbClr val="AEABAB"/>
              </a:solidFill>
            </c:spPr>
            <c:extLst>
              <c:ext xmlns:c16="http://schemas.microsoft.com/office/drawing/2014/chart" uri="{C3380CC4-5D6E-409C-BE32-E72D297353CC}">
                <c16:uniqueId val="{000006E1-61F5-407B-959D-D24239F5BB85}"/>
              </c:ext>
            </c:extLst>
          </c:dPt>
          <c:dPt>
            <c:idx val="880"/>
            <c:invertIfNegative val="1"/>
            <c:bubble3D val="0"/>
            <c:spPr>
              <a:solidFill>
                <a:srgbClr val="AEABAB"/>
              </a:solidFill>
            </c:spPr>
            <c:extLst>
              <c:ext xmlns:c16="http://schemas.microsoft.com/office/drawing/2014/chart" uri="{C3380CC4-5D6E-409C-BE32-E72D297353CC}">
                <c16:uniqueId val="{000006E3-61F5-407B-959D-D24239F5BB85}"/>
              </c:ext>
            </c:extLst>
          </c:dPt>
          <c:dPt>
            <c:idx val="881"/>
            <c:invertIfNegative val="1"/>
            <c:bubble3D val="0"/>
            <c:spPr>
              <a:solidFill>
                <a:srgbClr val="AEABAB"/>
              </a:solidFill>
            </c:spPr>
            <c:extLst>
              <c:ext xmlns:c16="http://schemas.microsoft.com/office/drawing/2014/chart" uri="{C3380CC4-5D6E-409C-BE32-E72D297353CC}">
                <c16:uniqueId val="{000006E5-61F5-407B-959D-D24239F5BB85}"/>
              </c:ext>
            </c:extLst>
          </c:dPt>
          <c:dPt>
            <c:idx val="882"/>
            <c:invertIfNegative val="1"/>
            <c:bubble3D val="0"/>
            <c:spPr>
              <a:solidFill>
                <a:srgbClr val="AEABAB"/>
              </a:solidFill>
            </c:spPr>
            <c:extLst>
              <c:ext xmlns:c16="http://schemas.microsoft.com/office/drawing/2014/chart" uri="{C3380CC4-5D6E-409C-BE32-E72D297353CC}">
                <c16:uniqueId val="{000006E7-61F5-407B-959D-D24239F5BB85}"/>
              </c:ext>
            </c:extLst>
          </c:dPt>
          <c:dPt>
            <c:idx val="883"/>
            <c:invertIfNegative val="1"/>
            <c:bubble3D val="0"/>
            <c:spPr>
              <a:solidFill>
                <a:srgbClr val="AEABAB"/>
              </a:solidFill>
            </c:spPr>
            <c:extLst>
              <c:ext xmlns:c16="http://schemas.microsoft.com/office/drawing/2014/chart" uri="{C3380CC4-5D6E-409C-BE32-E72D297353CC}">
                <c16:uniqueId val="{000006E9-61F5-407B-959D-D24239F5BB85}"/>
              </c:ext>
            </c:extLst>
          </c:dPt>
          <c:dPt>
            <c:idx val="884"/>
            <c:invertIfNegative val="1"/>
            <c:bubble3D val="0"/>
            <c:spPr>
              <a:solidFill>
                <a:srgbClr val="AEABAB"/>
              </a:solidFill>
            </c:spPr>
            <c:extLst>
              <c:ext xmlns:c16="http://schemas.microsoft.com/office/drawing/2014/chart" uri="{C3380CC4-5D6E-409C-BE32-E72D297353CC}">
                <c16:uniqueId val="{000006EB-61F5-407B-959D-D24239F5BB85}"/>
              </c:ext>
            </c:extLst>
          </c:dPt>
          <c:dPt>
            <c:idx val="885"/>
            <c:invertIfNegative val="1"/>
            <c:bubble3D val="0"/>
            <c:spPr>
              <a:solidFill>
                <a:srgbClr val="AEABAB"/>
              </a:solidFill>
            </c:spPr>
            <c:extLst>
              <c:ext xmlns:c16="http://schemas.microsoft.com/office/drawing/2014/chart" uri="{C3380CC4-5D6E-409C-BE32-E72D297353CC}">
                <c16:uniqueId val="{000006ED-61F5-407B-959D-D24239F5BB85}"/>
              </c:ext>
            </c:extLst>
          </c:dPt>
          <c:dPt>
            <c:idx val="886"/>
            <c:invertIfNegative val="1"/>
            <c:bubble3D val="0"/>
            <c:spPr>
              <a:solidFill>
                <a:srgbClr val="AEABAB"/>
              </a:solidFill>
            </c:spPr>
            <c:extLst>
              <c:ext xmlns:c16="http://schemas.microsoft.com/office/drawing/2014/chart" uri="{C3380CC4-5D6E-409C-BE32-E72D297353CC}">
                <c16:uniqueId val="{000006EF-61F5-407B-959D-D24239F5BB85}"/>
              </c:ext>
            </c:extLst>
          </c:dPt>
          <c:dPt>
            <c:idx val="887"/>
            <c:invertIfNegative val="1"/>
            <c:bubble3D val="0"/>
            <c:spPr>
              <a:solidFill>
                <a:srgbClr val="AEABAB"/>
              </a:solidFill>
            </c:spPr>
            <c:extLst>
              <c:ext xmlns:c16="http://schemas.microsoft.com/office/drawing/2014/chart" uri="{C3380CC4-5D6E-409C-BE32-E72D297353CC}">
                <c16:uniqueId val="{000006F1-61F5-407B-959D-D24239F5BB85}"/>
              </c:ext>
            </c:extLst>
          </c:dPt>
          <c:dPt>
            <c:idx val="888"/>
            <c:invertIfNegative val="1"/>
            <c:bubble3D val="0"/>
            <c:spPr>
              <a:solidFill>
                <a:srgbClr val="AEABAB"/>
              </a:solidFill>
            </c:spPr>
            <c:extLst>
              <c:ext xmlns:c16="http://schemas.microsoft.com/office/drawing/2014/chart" uri="{C3380CC4-5D6E-409C-BE32-E72D297353CC}">
                <c16:uniqueId val="{000006F3-61F5-407B-959D-D24239F5BB85}"/>
              </c:ext>
            </c:extLst>
          </c:dPt>
          <c:dPt>
            <c:idx val="889"/>
            <c:invertIfNegative val="1"/>
            <c:bubble3D val="0"/>
            <c:spPr>
              <a:solidFill>
                <a:srgbClr val="AEABAB"/>
              </a:solidFill>
            </c:spPr>
            <c:extLst>
              <c:ext xmlns:c16="http://schemas.microsoft.com/office/drawing/2014/chart" uri="{C3380CC4-5D6E-409C-BE32-E72D297353CC}">
                <c16:uniqueId val="{000006F5-61F5-407B-959D-D24239F5BB85}"/>
              </c:ext>
            </c:extLst>
          </c:dPt>
          <c:dPt>
            <c:idx val="890"/>
            <c:invertIfNegative val="1"/>
            <c:bubble3D val="0"/>
            <c:spPr>
              <a:solidFill>
                <a:srgbClr val="AEABAB"/>
              </a:solidFill>
            </c:spPr>
            <c:extLst>
              <c:ext xmlns:c16="http://schemas.microsoft.com/office/drawing/2014/chart" uri="{C3380CC4-5D6E-409C-BE32-E72D297353CC}">
                <c16:uniqueId val="{000006F7-61F5-407B-959D-D24239F5BB85}"/>
              </c:ext>
            </c:extLst>
          </c:dPt>
          <c:dPt>
            <c:idx val="891"/>
            <c:invertIfNegative val="1"/>
            <c:bubble3D val="0"/>
            <c:spPr>
              <a:solidFill>
                <a:srgbClr val="AEABAB"/>
              </a:solidFill>
            </c:spPr>
            <c:extLst>
              <c:ext xmlns:c16="http://schemas.microsoft.com/office/drawing/2014/chart" uri="{C3380CC4-5D6E-409C-BE32-E72D297353CC}">
                <c16:uniqueId val="{000006F9-61F5-407B-959D-D24239F5BB85}"/>
              </c:ext>
            </c:extLst>
          </c:dPt>
          <c:dPt>
            <c:idx val="892"/>
            <c:invertIfNegative val="1"/>
            <c:bubble3D val="0"/>
            <c:spPr>
              <a:solidFill>
                <a:srgbClr val="AEABAB"/>
              </a:solidFill>
            </c:spPr>
            <c:extLst>
              <c:ext xmlns:c16="http://schemas.microsoft.com/office/drawing/2014/chart" uri="{C3380CC4-5D6E-409C-BE32-E72D297353CC}">
                <c16:uniqueId val="{000006FB-61F5-407B-959D-D24239F5BB85}"/>
              </c:ext>
            </c:extLst>
          </c:dPt>
          <c:dPt>
            <c:idx val="893"/>
            <c:invertIfNegative val="1"/>
            <c:bubble3D val="0"/>
            <c:spPr>
              <a:solidFill>
                <a:srgbClr val="AEABAB"/>
              </a:solidFill>
            </c:spPr>
            <c:extLst>
              <c:ext xmlns:c16="http://schemas.microsoft.com/office/drawing/2014/chart" uri="{C3380CC4-5D6E-409C-BE32-E72D297353CC}">
                <c16:uniqueId val="{000006FD-61F5-407B-959D-D24239F5BB85}"/>
              </c:ext>
            </c:extLst>
          </c:dPt>
          <c:dPt>
            <c:idx val="894"/>
            <c:invertIfNegative val="1"/>
            <c:bubble3D val="0"/>
            <c:spPr>
              <a:solidFill>
                <a:srgbClr val="AEABAB"/>
              </a:solidFill>
            </c:spPr>
            <c:extLst>
              <c:ext xmlns:c16="http://schemas.microsoft.com/office/drawing/2014/chart" uri="{C3380CC4-5D6E-409C-BE32-E72D297353CC}">
                <c16:uniqueId val="{000006FF-61F5-407B-959D-D24239F5BB85}"/>
              </c:ext>
            </c:extLst>
          </c:dPt>
          <c:dPt>
            <c:idx val="895"/>
            <c:invertIfNegative val="1"/>
            <c:bubble3D val="0"/>
            <c:spPr>
              <a:solidFill>
                <a:srgbClr val="AEABAB"/>
              </a:solidFill>
            </c:spPr>
            <c:extLst>
              <c:ext xmlns:c16="http://schemas.microsoft.com/office/drawing/2014/chart" uri="{C3380CC4-5D6E-409C-BE32-E72D297353CC}">
                <c16:uniqueId val="{00000701-61F5-407B-959D-D24239F5BB85}"/>
              </c:ext>
            </c:extLst>
          </c:dPt>
          <c:dPt>
            <c:idx val="896"/>
            <c:invertIfNegative val="1"/>
            <c:bubble3D val="0"/>
            <c:spPr>
              <a:solidFill>
                <a:srgbClr val="AEABAB"/>
              </a:solidFill>
            </c:spPr>
            <c:extLst>
              <c:ext xmlns:c16="http://schemas.microsoft.com/office/drawing/2014/chart" uri="{C3380CC4-5D6E-409C-BE32-E72D297353CC}">
                <c16:uniqueId val="{00000703-61F5-407B-959D-D24239F5BB85}"/>
              </c:ext>
            </c:extLst>
          </c:dPt>
          <c:dPt>
            <c:idx val="897"/>
            <c:invertIfNegative val="1"/>
            <c:bubble3D val="0"/>
            <c:spPr>
              <a:solidFill>
                <a:srgbClr val="AEABAB"/>
              </a:solidFill>
            </c:spPr>
            <c:extLst>
              <c:ext xmlns:c16="http://schemas.microsoft.com/office/drawing/2014/chart" uri="{C3380CC4-5D6E-409C-BE32-E72D297353CC}">
                <c16:uniqueId val="{00000705-61F5-407B-959D-D24239F5BB85}"/>
              </c:ext>
            </c:extLst>
          </c:dPt>
          <c:dPt>
            <c:idx val="898"/>
            <c:invertIfNegative val="1"/>
            <c:bubble3D val="0"/>
            <c:spPr>
              <a:solidFill>
                <a:srgbClr val="AEABAB"/>
              </a:solidFill>
            </c:spPr>
            <c:extLst>
              <c:ext xmlns:c16="http://schemas.microsoft.com/office/drawing/2014/chart" uri="{C3380CC4-5D6E-409C-BE32-E72D297353CC}">
                <c16:uniqueId val="{00000707-61F5-407B-959D-D24239F5BB85}"/>
              </c:ext>
            </c:extLst>
          </c:dPt>
          <c:dPt>
            <c:idx val="899"/>
            <c:invertIfNegative val="1"/>
            <c:bubble3D val="0"/>
            <c:spPr>
              <a:solidFill>
                <a:srgbClr val="AEABAB"/>
              </a:solidFill>
            </c:spPr>
            <c:extLst>
              <c:ext xmlns:c16="http://schemas.microsoft.com/office/drawing/2014/chart" uri="{C3380CC4-5D6E-409C-BE32-E72D297353CC}">
                <c16:uniqueId val="{00000709-61F5-407B-959D-D24239F5BB85}"/>
              </c:ext>
            </c:extLst>
          </c:dPt>
          <c:dPt>
            <c:idx val="900"/>
            <c:invertIfNegative val="1"/>
            <c:bubble3D val="0"/>
            <c:spPr>
              <a:solidFill>
                <a:srgbClr val="AEABAB"/>
              </a:solidFill>
            </c:spPr>
            <c:extLst>
              <c:ext xmlns:c16="http://schemas.microsoft.com/office/drawing/2014/chart" uri="{C3380CC4-5D6E-409C-BE32-E72D297353CC}">
                <c16:uniqueId val="{0000070B-61F5-407B-959D-D24239F5BB85}"/>
              </c:ext>
            </c:extLst>
          </c:dPt>
          <c:dPt>
            <c:idx val="901"/>
            <c:invertIfNegative val="1"/>
            <c:bubble3D val="0"/>
            <c:spPr>
              <a:solidFill>
                <a:srgbClr val="AEABAB"/>
              </a:solidFill>
            </c:spPr>
            <c:extLst>
              <c:ext xmlns:c16="http://schemas.microsoft.com/office/drawing/2014/chart" uri="{C3380CC4-5D6E-409C-BE32-E72D297353CC}">
                <c16:uniqueId val="{0000070D-61F5-407B-959D-D24239F5BB85}"/>
              </c:ext>
            </c:extLst>
          </c:dPt>
          <c:dPt>
            <c:idx val="902"/>
            <c:invertIfNegative val="1"/>
            <c:bubble3D val="0"/>
            <c:spPr>
              <a:solidFill>
                <a:srgbClr val="AEABAB"/>
              </a:solidFill>
            </c:spPr>
            <c:extLst>
              <c:ext xmlns:c16="http://schemas.microsoft.com/office/drawing/2014/chart" uri="{C3380CC4-5D6E-409C-BE32-E72D297353CC}">
                <c16:uniqueId val="{0000070F-61F5-407B-959D-D24239F5BB85}"/>
              </c:ext>
            </c:extLst>
          </c:dPt>
          <c:dPt>
            <c:idx val="903"/>
            <c:invertIfNegative val="1"/>
            <c:bubble3D val="0"/>
            <c:spPr>
              <a:solidFill>
                <a:srgbClr val="AEABAB"/>
              </a:solidFill>
            </c:spPr>
            <c:extLst>
              <c:ext xmlns:c16="http://schemas.microsoft.com/office/drawing/2014/chart" uri="{C3380CC4-5D6E-409C-BE32-E72D297353CC}">
                <c16:uniqueId val="{00000711-61F5-407B-959D-D24239F5BB85}"/>
              </c:ext>
            </c:extLst>
          </c:dPt>
          <c:dPt>
            <c:idx val="904"/>
            <c:invertIfNegative val="1"/>
            <c:bubble3D val="0"/>
            <c:spPr>
              <a:solidFill>
                <a:srgbClr val="AEABAB"/>
              </a:solidFill>
            </c:spPr>
            <c:extLst>
              <c:ext xmlns:c16="http://schemas.microsoft.com/office/drawing/2014/chart" uri="{C3380CC4-5D6E-409C-BE32-E72D297353CC}">
                <c16:uniqueId val="{00000713-61F5-407B-959D-D24239F5BB85}"/>
              </c:ext>
            </c:extLst>
          </c:dPt>
          <c:dPt>
            <c:idx val="905"/>
            <c:invertIfNegative val="1"/>
            <c:bubble3D val="0"/>
            <c:spPr>
              <a:solidFill>
                <a:srgbClr val="AEABAB"/>
              </a:solidFill>
            </c:spPr>
            <c:extLst>
              <c:ext xmlns:c16="http://schemas.microsoft.com/office/drawing/2014/chart" uri="{C3380CC4-5D6E-409C-BE32-E72D297353CC}">
                <c16:uniqueId val="{00000715-61F5-407B-959D-D24239F5BB85}"/>
              </c:ext>
            </c:extLst>
          </c:dPt>
          <c:dPt>
            <c:idx val="906"/>
            <c:invertIfNegative val="1"/>
            <c:bubble3D val="0"/>
            <c:spPr>
              <a:solidFill>
                <a:srgbClr val="AEABAB"/>
              </a:solidFill>
            </c:spPr>
            <c:extLst>
              <c:ext xmlns:c16="http://schemas.microsoft.com/office/drawing/2014/chart" uri="{C3380CC4-5D6E-409C-BE32-E72D297353CC}">
                <c16:uniqueId val="{00000717-61F5-407B-959D-D24239F5BB85}"/>
              </c:ext>
            </c:extLst>
          </c:dPt>
          <c:dPt>
            <c:idx val="907"/>
            <c:invertIfNegative val="1"/>
            <c:bubble3D val="0"/>
            <c:spPr>
              <a:solidFill>
                <a:srgbClr val="AEABAB"/>
              </a:solidFill>
            </c:spPr>
            <c:extLst>
              <c:ext xmlns:c16="http://schemas.microsoft.com/office/drawing/2014/chart" uri="{C3380CC4-5D6E-409C-BE32-E72D297353CC}">
                <c16:uniqueId val="{00000719-61F5-407B-959D-D24239F5BB85}"/>
              </c:ext>
            </c:extLst>
          </c:dPt>
          <c:dPt>
            <c:idx val="908"/>
            <c:invertIfNegative val="1"/>
            <c:bubble3D val="0"/>
            <c:spPr>
              <a:solidFill>
                <a:srgbClr val="AEABAB"/>
              </a:solidFill>
            </c:spPr>
            <c:extLst>
              <c:ext xmlns:c16="http://schemas.microsoft.com/office/drawing/2014/chart" uri="{C3380CC4-5D6E-409C-BE32-E72D297353CC}">
                <c16:uniqueId val="{0000071B-61F5-407B-959D-D24239F5BB85}"/>
              </c:ext>
            </c:extLst>
          </c:dPt>
          <c:dPt>
            <c:idx val="909"/>
            <c:invertIfNegative val="1"/>
            <c:bubble3D val="0"/>
            <c:spPr>
              <a:solidFill>
                <a:srgbClr val="AEABAB"/>
              </a:solidFill>
            </c:spPr>
            <c:extLst>
              <c:ext xmlns:c16="http://schemas.microsoft.com/office/drawing/2014/chart" uri="{C3380CC4-5D6E-409C-BE32-E72D297353CC}">
                <c16:uniqueId val="{0000071D-61F5-407B-959D-D24239F5BB85}"/>
              </c:ext>
            </c:extLst>
          </c:dPt>
          <c:dPt>
            <c:idx val="910"/>
            <c:invertIfNegative val="1"/>
            <c:bubble3D val="0"/>
            <c:spPr>
              <a:solidFill>
                <a:srgbClr val="AEABAB"/>
              </a:solidFill>
            </c:spPr>
            <c:extLst>
              <c:ext xmlns:c16="http://schemas.microsoft.com/office/drawing/2014/chart" uri="{C3380CC4-5D6E-409C-BE32-E72D297353CC}">
                <c16:uniqueId val="{0000071F-61F5-407B-959D-D24239F5BB85}"/>
              </c:ext>
            </c:extLst>
          </c:dPt>
          <c:dPt>
            <c:idx val="911"/>
            <c:invertIfNegative val="1"/>
            <c:bubble3D val="0"/>
            <c:spPr>
              <a:solidFill>
                <a:srgbClr val="AEABAB"/>
              </a:solidFill>
            </c:spPr>
            <c:extLst>
              <c:ext xmlns:c16="http://schemas.microsoft.com/office/drawing/2014/chart" uri="{C3380CC4-5D6E-409C-BE32-E72D297353CC}">
                <c16:uniqueId val="{00000721-61F5-407B-959D-D24239F5BB85}"/>
              </c:ext>
            </c:extLst>
          </c:dPt>
          <c:dPt>
            <c:idx val="912"/>
            <c:invertIfNegative val="1"/>
            <c:bubble3D val="0"/>
            <c:spPr>
              <a:solidFill>
                <a:srgbClr val="AEABAB"/>
              </a:solidFill>
            </c:spPr>
            <c:extLst>
              <c:ext xmlns:c16="http://schemas.microsoft.com/office/drawing/2014/chart" uri="{C3380CC4-5D6E-409C-BE32-E72D297353CC}">
                <c16:uniqueId val="{00000723-61F5-407B-959D-D24239F5BB85}"/>
              </c:ext>
            </c:extLst>
          </c:dPt>
          <c:dPt>
            <c:idx val="913"/>
            <c:invertIfNegative val="1"/>
            <c:bubble3D val="0"/>
            <c:spPr>
              <a:solidFill>
                <a:srgbClr val="AEABAB"/>
              </a:solidFill>
            </c:spPr>
            <c:extLst>
              <c:ext xmlns:c16="http://schemas.microsoft.com/office/drawing/2014/chart" uri="{C3380CC4-5D6E-409C-BE32-E72D297353CC}">
                <c16:uniqueId val="{00000725-61F5-407B-959D-D24239F5BB85}"/>
              </c:ext>
            </c:extLst>
          </c:dPt>
          <c:dPt>
            <c:idx val="914"/>
            <c:invertIfNegative val="1"/>
            <c:bubble3D val="0"/>
            <c:spPr>
              <a:solidFill>
                <a:srgbClr val="AEABAB"/>
              </a:solidFill>
            </c:spPr>
            <c:extLst>
              <c:ext xmlns:c16="http://schemas.microsoft.com/office/drawing/2014/chart" uri="{C3380CC4-5D6E-409C-BE32-E72D297353CC}">
                <c16:uniqueId val="{00000727-61F5-407B-959D-D24239F5BB85}"/>
              </c:ext>
            </c:extLst>
          </c:dPt>
          <c:dPt>
            <c:idx val="915"/>
            <c:invertIfNegative val="1"/>
            <c:bubble3D val="0"/>
            <c:spPr>
              <a:solidFill>
                <a:srgbClr val="AEABAB"/>
              </a:solidFill>
            </c:spPr>
            <c:extLst>
              <c:ext xmlns:c16="http://schemas.microsoft.com/office/drawing/2014/chart" uri="{C3380CC4-5D6E-409C-BE32-E72D297353CC}">
                <c16:uniqueId val="{00000729-61F5-407B-959D-D24239F5BB85}"/>
              </c:ext>
            </c:extLst>
          </c:dPt>
          <c:dPt>
            <c:idx val="916"/>
            <c:invertIfNegative val="1"/>
            <c:bubble3D val="0"/>
            <c:spPr>
              <a:solidFill>
                <a:srgbClr val="AEABAB"/>
              </a:solidFill>
            </c:spPr>
            <c:extLst>
              <c:ext xmlns:c16="http://schemas.microsoft.com/office/drawing/2014/chart" uri="{C3380CC4-5D6E-409C-BE32-E72D297353CC}">
                <c16:uniqueId val="{0000072B-61F5-407B-959D-D24239F5BB85}"/>
              </c:ext>
            </c:extLst>
          </c:dPt>
          <c:dPt>
            <c:idx val="917"/>
            <c:invertIfNegative val="1"/>
            <c:bubble3D val="0"/>
            <c:spPr>
              <a:solidFill>
                <a:srgbClr val="AEABAB"/>
              </a:solidFill>
            </c:spPr>
            <c:extLst>
              <c:ext xmlns:c16="http://schemas.microsoft.com/office/drawing/2014/chart" uri="{C3380CC4-5D6E-409C-BE32-E72D297353CC}">
                <c16:uniqueId val="{0000072D-61F5-407B-959D-D24239F5BB85}"/>
              </c:ext>
            </c:extLst>
          </c:dPt>
          <c:dPt>
            <c:idx val="918"/>
            <c:invertIfNegative val="1"/>
            <c:bubble3D val="0"/>
            <c:spPr>
              <a:solidFill>
                <a:srgbClr val="AEABAB"/>
              </a:solidFill>
            </c:spPr>
            <c:extLst>
              <c:ext xmlns:c16="http://schemas.microsoft.com/office/drawing/2014/chart" uri="{C3380CC4-5D6E-409C-BE32-E72D297353CC}">
                <c16:uniqueId val="{0000072F-61F5-407B-959D-D24239F5BB85}"/>
              </c:ext>
            </c:extLst>
          </c:dPt>
          <c:dPt>
            <c:idx val="919"/>
            <c:invertIfNegative val="1"/>
            <c:bubble3D val="0"/>
            <c:spPr>
              <a:solidFill>
                <a:srgbClr val="AEABAB"/>
              </a:solidFill>
            </c:spPr>
            <c:extLst>
              <c:ext xmlns:c16="http://schemas.microsoft.com/office/drawing/2014/chart" uri="{C3380CC4-5D6E-409C-BE32-E72D297353CC}">
                <c16:uniqueId val="{00000731-61F5-407B-959D-D24239F5BB85}"/>
              </c:ext>
            </c:extLst>
          </c:dPt>
          <c:dPt>
            <c:idx val="920"/>
            <c:invertIfNegative val="1"/>
            <c:bubble3D val="0"/>
            <c:spPr>
              <a:solidFill>
                <a:srgbClr val="AEABAB"/>
              </a:solidFill>
            </c:spPr>
            <c:extLst>
              <c:ext xmlns:c16="http://schemas.microsoft.com/office/drawing/2014/chart" uri="{C3380CC4-5D6E-409C-BE32-E72D297353CC}">
                <c16:uniqueId val="{00000733-61F5-407B-959D-D24239F5BB85}"/>
              </c:ext>
            </c:extLst>
          </c:dPt>
          <c:dPt>
            <c:idx val="921"/>
            <c:invertIfNegative val="1"/>
            <c:bubble3D val="0"/>
            <c:spPr>
              <a:solidFill>
                <a:srgbClr val="AEABAB"/>
              </a:solidFill>
            </c:spPr>
            <c:extLst>
              <c:ext xmlns:c16="http://schemas.microsoft.com/office/drawing/2014/chart" uri="{C3380CC4-5D6E-409C-BE32-E72D297353CC}">
                <c16:uniqueId val="{00000735-61F5-407B-959D-D24239F5BB85}"/>
              </c:ext>
            </c:extLst>
          </c:dPt>
          <c:dPt>
            <c:idx val="922"/>
            <c:invertIfNegative val="1"/>
            <c:bubble3D val="0"/>
            <c:spPr>
              <a:solidFill>
                <a:srgbClr val="AEABAB"/>
              </a:solidFill>
            </c:spPr>
            <c:extLst>
              <c:ext xmlns:c16="http://schemas.microsoft.com/office/drawing/2014/chart" uri="{C3380CC4-5D6E-409C-BE32-E72D297353CC}">
                <c16:uniqueId val="{00000737-61F5-407B-959D-D24239F5BB85}"/>
              </c:ext>
            </c:extLst>
          </c:dPt>
          <c:dPt>
            <c:idx val="923"/>
            <c:invertIfNegative val="1"/>
            <c:bubble3D val="0"/>
            <c:spPr>
              <a:solidFill>
                <a:srgbClr val="AEABAB"/>
              </a:solidFill>
            </c:spPr>
            <c:extLst>
              <c:ext xmlns:c16="http://schemas.microsoft.com/office/drawing/2014/chart" uri="{C3380CC4-5D6E-409C-BE32-E72D297353CC}">
                <c16:uniqueId val="{00000739-61F5-407B-959D-D24239F5BB85}"/>
              </c:ext>
            </c:extLst>
          </c:dPt>
          <c:dPt>
            <c:idx val="924"/>
            <c:invertIfNegative val="1"/>
            <c:bubble3D val="0"/>
            <c:spPr>
              <a:solidFill>
                <a:srgbClr val="AEABAB"/>
              </a:solidFill>
            </c:spPr>
            <c:extLst>
              <c:ext xmlns:c16="http://schemas.microsoft.com/office/drawing/2014/chart" uri="{C3380CC4-5D6E-409C-BE32-E72D297353CC}">
                <c16:uniqueId val="{0000073B-61F5-407B-959D-D24239F5BB85}"/>
              </c:ext>
            </c:extLst>
          </c:dPt>
          <c:dPt>
            <c:idx val="925"/>
            <c:invertIfNegative val="1"/>
            <c:bubble3D val="0"/>
            <c:spPr>
              <a:solidFill>
                <a:srgbClr val="AEABAB"/>
              </a:solidFill>
            </c:spPr>
            <c:extLst>
              <c:ext xmlns:c16="http://schemas.microsoft.com/office/drawing/2014/chart" uri="{C3380CC4-5D6E-409C-BE32-E72D297353CC}">
                <c16:uniqueId val="{0000073D-61F5-407B-959D-D24239F5BB85}"/>
              </c:ext>
            </c:extLst>
          </c:dPt>
          <c:dPt>
            <c:idx val="926"/>
            <c:invertIfNegative val="1"/>
            <c:bubble3D val="0"/>
            <c:spPr>
              <a:solidFill>
                <a:srgbClr val="AEABAB"/>
              </a:solidFill>
            </c:spPr>
            <c:extLst>
              <c:ext xmlns:c16="http://schemas.microsoft.com/office/drawing/2014/chart" uri="{C3380CC4-5D6E-409C-BE32-E72D297353CC}">
                <c16:uniqueId val="{0000073F-61F5-407B-959D-D24239F5BB85}"/>
              </c:ext>
            </c:extLst>
          </c:dPt>
          <c:dPt>
            <c:idx val="927"/>
            <c:invertIfNegative val="1"/>
            <c:bubble3D val="0"/>
            <c:spPr>
              <a:solidFill>
                <a:srgbClr val="AEABAB"/>
              </a:solidFill>
            </c:spPr>
            <c:extLst>
              <c:ext xmlns:c16="http://schemas.microsoft.com/office/drawing/2014/chart" uri="{C3380CC4-5D6E-409C-BE32-E72D297353CC}">
                <c16:uniqueId val="{00000741-61F5-407B-959D-D24239F5BB85}"/>
              </c:ext>
            </c:extLst>
          </c:dPt>
          <c:dPt>
            <c:idx val="928"/>
            <c:invertIfNegative val="1"/>
            <c:bubble3D val="0"/>
            <c:spPr>
              <a:solidFill>
                <a:srgbClr val="AEABAB"/>
              </a:solidFill>
            </c:spPr>
            <c:extLst>
              <c:ext xmlns:c16="http://schemas.microsoft.com/office/drawing/2014/chart" uri="{C3380CC4-5D6E-409C-BE32-E72D297353CC}">
                <c16:uniqueId val="{00000743-61F5-407B-959D-D24239F5BB85}"/>
              </c:ext>
            </c:extLst>
          </c:dPt>
          <c:dPt>
            <c:idx val="929"/>
            <c:invertIfNegative val="1"/>
            <c:bubble3D val="0"/>
            <c:spPr>
              <a:solidFill>
                <a:srgbClr val="AEABAB"/>
              </a:solidFill>
            </c:spPr>
            <c:extLst>
              <c:ext xmlns:c16="http://schemas.microsoft.com/office/drawing/2014/chart" uri="{C3380CC4-5D6E-409C-BE32-E72D297353CC}">
                <c16:uniqueId val="{00000745-61F5-407B-959D-D24239F5BB85}"/>
              </c:ext>
            </c:extLst>
          </c:dPt>
          <c:dPt>
            <c:idx val="930"/>
            <c:invertIfNegative val="1"/>
            <c:bubble3D val="0"/>
            <c:spPr>
              <a:solidFill>
                <a:srgbClr val="AEABAB"/>
              </a:solidFill>
            </c:spPr>
            <c:extLst>
              <c:ext xmlns:c16="http://schemas.microsoft.com/office/drawing/2014/chart" uri="{C3380CC4-5D6E-409C-BE32-E72D297353CC}">
                <c16:uniqueId val="{00000747-61F5-407B-959D-D24239F5BB85}"/>
              </c:ext>
            </c:extLst>
          </c:dPt>
          <c:dPt>
            <c:idx val="931"/>
            <c:invertIfNegative val="1"/>
            <c:bubble3D val="0"/>
            <c:spPr>
              <a:solidFill>
                <a:srgbClr val="AEABAB"/>
              </a:solidFill>
            </c:spPr>
            <c:extLst>
              <c:ext xmlns:c16="http://schemas.microsoft.com/office/drawing/2014/chart" uri="{C3380CC4-5D6E-409C-BE32-E72D297353CC}">
                <c16:uniqueId val="{00000749-61F5-407B-959D-D24239F5BB85}"/>
              </c:ext>
            </c:extLst>
          </c:dPt>
          <c:dPt>
            <c:idx val="932"/>
            <c:invertIfNegative val="1"/>
            <c:bubble3D val="0"/>
            <c:spPr>
              <a:solidFill>
                <a:srgbClr val="AEABAB"/>
              </a:solidFill>
            </c:spPr>
            <c:extLst>
              <c:ext xmlns:c16="http://schemas.microsoft.com/office/drawing/2014/chart" uri="{C3380CC4-5D6E-409C-BE32-E72D297353CC}">
                <c16:uniqueId val="{0000074B-61F5-407B-959D-D24239F5BB85}"/>
              </c:ext>
            </c:extLst>
          </c:dPt>
          <c:dPt>
            <c:idx val="933"/>
            <c:invertIfNegative val="1"/>
            <c:bubble3D val="0"/>
            <c:spPr>
              <a:solidFill>
                <a:srgbClr val="AEABAB"/>
              </a:solidFill>
            </c:spPr>
            <c:extLst>
              <c:ext xmlns:c16="http://schemas.microsoft.com/office/drawing/2014/chart" uri="{C3380CC4-5D6E-409C-BE32-E72D297353CC}">
                <c16:uniqueId val="{0000074D-61F5-407B-959D-D24239F5BB85}"/>
              </c:ext>
            </c:extLst>
          </c:dPt>
          <c:dPt>
            <c:idx val="934"/>
            <c:invertIfNegative val="1"/>
            <c:bubble3D val="0"/>
            <c:spPr>
              <a:solidFill>
                <a:srgbClr val="AEABAB"/>
              </a:solidFill>
            </c:spPr>
            <c:extLst>
              <c:ext xmlns:c16="http://schemas.microsoft.com/office/drawing/2014/chart" uri="{C3380CC4-5D6E-409C-BE32-E72D297353CC}">
                <c16:uniqueId val="{0000074F-61F5-407B-959D-D24239F5BB85}"/>
              </c:ext>
            </c:extLst>
          </c:dPt>
          <c:dPt>
            <c:idx val="935"/>
            <c:invertIfNegative val="1"/>
            <c:bubble3D val="0"/>
            <c:spPr>
              <a:solidFill>
                <a:srgbClr val="AEABAB"/>
              </a:solidFill>
            </c:spPr>
            <c:extLst>
              <c:ext xmlns:c16="http://schemas.microsoft.com/office/drawing/2014/chart" uri="{C3380CC4-5D6E-409C-BE32-E72D297353CC}">
                <c16:uniqueId val="{00000751-61F5-407B-959D-D24239F5BB85}"/>
              </c:ext>
            </c:extLst>
          </c:dPt>
          <c:dPt>
            <c:idx val="936"/>
            <c:invertIfNegative val="1"/>
            <c:bubble3D val="0"/>
            <c:spPr>
              <a:solidFill>
                <a:srgbClr val="AEABAB"/>
              </a:solidFill>
            </c:spPr>
            <c:extLst>
              <c:ext xmlns:c16="http://schemas.microsoft.com/office/drawing/2014/chart" uri="{C3380CC4-5D6E-409C-BE32-E72D297353CC}">
                <c16:uniqueId val="{00000753-61F5-407B-959D-D24239F5BB85}"/>
              </c:ext>
            </c:extLst>
          </c:dPt>
          <c:dPt>
            <c:idx val="937"/>
            <c:invertIfNegative val="1"/>
            <c:bubble3D val="0"/>
            <c:spPr>
              <a:solidFill>
                <a:srgbClr val="AEABAB"/>
              </a:solidFill>
            </c:spPr>
            <c:extLst>
              <c:ext xmlns:c16="http://schemas.microsoft.com/office/drawing/2014/chart" uri="{C3380CC4-5D6E-409C-BE32-E72D297353CC}">
                <c16:uniqueId val="{00000755-61F5-407B-959D-D24239F5BB85}"/>
              </c:ext>
            </c:extLst>
          </c:dPt>
          <c:dPt>
            <c:idx val="938"/>
            <c:invertIfNegative val="1"/>
            <c:bubble3D val="0"/>
            <c:spPr>
              <a:solidFill>
                <a:srgbClr val="AEABAB"/>
              </a:solidFill>
            </c:spPr>
            <c:extLst>
              <c:ext xmlns:c16="http://schemas.microsoft.com/office/drawing/2014/chart" uri="{C3380CC4-5D6E-409C-BE32-E72D297353CC}">
                <c16:uniqueId val="{00000757-61F5-407B-959D-D24239F5BB85}"/>
              </c:ext>
            </c:extLst>
          </c:dPt>
          <c:dPt>
            <c:idx val="939"/>
            <c:invertIfNegative val="1"/>
            <c:bubble3D val="0"/>
            <c:spPr>
              <a:solidFill>
                <a:srgbClr val="AEABAB"/>
              </a:solidFill>
            </c:spPr>
            <c:extLst>
              <c:ext xmlns:c16="http://schemas.microsoft.com/office/drawing/2014/chart" uri="{C3380CC4-5D6E-409C-BE32-E72D297353CC}">
                <c16:uniqueId val="{00000759-61F5-407B-959D-D24239F5BB85}"/>
              </c:ext>
            </c:extLst>
          </c:dPt>
          <c:dPt>
            <c:idx val="940"/>
            <c:invertIfNegative val="1"/>
            <c:bubble3D val="0"/>
            <c:spPr>
              <a:solidFill>
                <a:srgbClr val="AEABAB"/>
              </a:solidFill>
            </c:spPr>
            <c:extLst>
              <c:ext xmlns:c16="http://schemas.microsoft.com/office/drawing/2014/chart" uri="{C3380CC4-5D6E-409C-BE32-E72D297353CC}">
                <c16:uniqueId val="{0000075B-61F5-407B-959D-D24239F5BB85}"/>
              </c:ext>
            </c:extLst>
          </c:dPt>
          <c:dPt>
            <c:idx val="941"/>
            <c:invertIfNegative val="1"/>
            <c:bubble3D val="0"/>
            <c:spPr>
              <a:solidFill>
                <a:srgbClr val="AEABAB"/>
              </a:solidFill>
            </c:spPr>
            <c:extLst>
              <c:ext xmlns:c16="http://schemas.microsoft.com/office/drawing/2014/chart" uri="{C3380CC4-5D6E-409C-BE32-E72D297353CC}">
                <c16:uniqueId val="{0000075D-61F5-407B-959D-D24239F5BB85}"/>
              </c:ext>
            </c:extLst>
          </c:dPt>
          <c:dPt>
            <c:idx val="942"/>
            <c:invertIfNegative val="1"/>
            <c:bubble3D val="0"/>
            <c:spPr>
              <a:solidFill>
                <a:srgbClr val="AEABAB"/>
              </a:solidFill>
            </c:spPr>
            <c:extLst>
              <c:ext xmlns:c16="http://schemas.microsoft.com/office/drawing/2014/chart" uri="{C3380CC4-5D6E-409C-BE32-E72D297353CC}">
                <c16:uniqueId val="{0000075F-61F5-407B-959D-D24239F5BB85}"/>
              </c:ext>
            </c:extLst>
          </c:dPt>
          <c:dPt>
            <c:idx val="943"/>
            <c:invertIfNegative val="1"/>
            <c:bubble3D val="0"/>
            <c:spPr>
              <a:solidFill>
                <a:srgbClr val="AEABAB"/>
              </a:solidFill>
            </c:spPr>
            <c:extLst>
              <c:ext xmlns:c16="http://schemas.microsoft.com/office/drawing/2014/chart" uri="{C3380CC4-5D6E-409C-BE32-E72D297353CC}">
                <c16:uniqueId val="{00000761-61F5-407B-959D-D24239F5BB85}"/>
              </c:ext>
            </c:extLst>
          </c:dPt>
          <c:dPt>
            <c:idx val="944"/>
            <c:invertIfNegative val="1"/>
            <c:bubble3D val="0"/>
            <c:spPr>
              <a:solidFill>
                <a:srgbClr val="AEABAB"/>
              </a:solidFill>
            </c:spPr>
            <c:extLst>
              <c:ext xmlns:c16="http://schemas.microsoft.com/office/drawing/2014/chart" uri="{C3380CC4-5D6E-409C-BE32-E72D297353CC}">
                <c16:uniqueId val="{00000763-61F5-407B-959D-D24239F5BB85}"/>
              </c:ext>
            </c:extLst>
          </c:dPt>
          <c:dPt>
            <c:idx val="945"/>
            <c:invertIfNegative val="1"/>
            <c:bubble3D val="0"/>
            <c:spPr>
              <a:solidFill>
                <a:srgbClr val="AEABAB"/>
              </a:solidFill>
            </c:spPr>
            <c:extLst>
              <c:ext xmlns:c16="http://schemas.microsoft.com/office/drawing/2014/chart" uri="{C3380CC4-5D6E-409C-BE32-E72D297353CC}">
                <c16:uniqueId val="{00000765-61F5-407B-959D-D24239F5BB85}"/>
              </c:ext>
            </c:extLst>
          </c:dPt>
          <c:dPt>
            <c:idx val="946"/>
            <c:invertIfNegative val="1"/>
            <c:bubble3D val="0"/>
            <c:spPr>
              <a:solidFill>
                <a:srgbClr val="AEABAB"/>
              </a:solidFill>
            </c:spPr>
            <c:extLst>
              <c:ext xmlns:c16="http://schemas.microsoft.com/office/drawing/2014/chart" uri="{C3380CC4-5D6E-409C-BE32-E72D297353CC}">
                <c16:uniqueId val="{00000767-61F5-407B-959D-D24239F5BB85}"/>
              </c:ext>
            </c:extLst>
          </c:dPt>
          <c:dPt>
            <c:idx val="947"/>
            <c:invertIfNegative val="1"/>
            <c:bubble3D val="0"/>
            <c:spPr>
              <a:solidFill>
                <a:srgbClr val="AEABAB"/>
              </a:solidFill>
            </c:spPr>
            <c:extLst>
              <c:ext xmlns:c16="http://schemas.microsoft.com/office/drawing/2014/chart" uri="{C3380CC4-5D6E-409C-BE32-E72D297353CC}">
                <c16:uniqueId val="{00000769-61F5-407B-959D-D24239F5BB85}"/>
              </c:ext>
            </c:extLst>
          </c:dPt>
          <c:dPt>
            <c:idx val="948"/>
            <c:invertIfNegative val="1"/>
            <c:bubble3D val="0"/>
            <c:spPr>
              <a:solidFill>
                <a:srgbClr val="AEABAB"/>
              </a:solidFill>
            </c:spPr>
            <c:extLst>
              <c:ext xmlns:c16="http://schemas.microsoft.com/office/drawing/2014/chart" uri="{C3380CC4-5D6E-409C-BE32-E72D297353CC}">
                <c16:uniqueId val="{0000076B-61F5-407B-959D-D24239F5BB85}"/>
              </c:ext>
            </c:extLst>
          </c:dPt>
          <c:dPt>
            <c:idx val="949"/>
            <c:invertIfNegative val="1"/>
            <c:bubble3D val="0"/>
            <c:spPr>
              <a:solidFill>
                <a:srgbClr val="AEABAB"/>
              </a:solidFill>
            </c:spPr>
            <c:extLst>
              <c:ext xmlns:c16="http://schemas.microsoft.com/office/drawing/2014/chart" uri="{C3380CC4-5D6E-409C-BE32-E72D297353CC}">
                <c16:uniqueId val="{0000076D-61F5-407B-959D-D24239F5BB85}"/>
              </c:ext>
            </c:extLst>
          </c:dPt>
          <c:dPt>
            <c:idx val="950"/>
            <c:invertIfNegative val="1"/>
            <c:bubble3D val="0"/>
            <c:spPr>
              <a:solidFill>
                <a:srgbClr val="AEABAB"/>
              </a:solidFill>
            </c:spPr>
            <c:extLst>
              <c:ext xmlns:c16="http://schemas.microsoft.com/office/drawing/2014/chart" uri="{C3380CC4-5D6E-409C-BE32-E72D297353CC}">
                <c16:uniqueId val="{0000076F-61F5-407B-959D-D24239F5BB85}"/>
              </c:ext>
            </c:extLst>
          </c:dPt>
          <c:dPt>
            <c:idx val="951"/>
            <c:invertIfNegative val="1"/>
            <c:bubble3D val="0"/>
            <c:spPr>
              <a:solidFill>
                <a:srgbClr val="AEABAB"/>
              </a:solidFill>
            </c:spPr>
            <c:extLst>
              <c:ext xmlns:c16="http://schemas.microsoft.com/office/drawing/2014/chart" uri="{C3380CC4-5D6E-409C-BE32-E72D297353CC}">
                <c16:uniqueId val="{00000771-61F5-407B-959D-D24239F5BB85}"/>
              </c:ext>
            </c:extLst>
          </c:dPt>
          <c:dPt>
            <c:idx val="952"/>
            <c:invertIfNegative val="1"/>
            <c:bubble3D val="0"/>
            <c:spPr>
              <a:solidFill>
                <a:srgbClr val="AEABAB"/>
              </a:solidFill>
            </c:spPr>
            <c:extLst>
              <c:ext xmlns:c16="http://schemas.microsoft.com/office/drawing/2014/chart" uri="{C3380CC4-5D6E-409C-BE32-E72D297353CC}">
                <c16:uniqueId val="{00000773-61F5-407B-959D-D24239F5BB85}"/>
              </c:ext>
            </c:extLst>
          </c:dPt>
          <c:dPt>
            <c:idx val="953"/>
            <c:invertIfNegative val="1"/>
            <c:bubble3D val="0"/>
            <c:spPr>
              <a:solidFill>
                <a:srgbClr val="AEABAB"/>
              </a:solidFill>
            </c:spPr>
            <c:extLst>
              <c:ext xmlns:c16="http://schemas.microsoft.com/office/drawing/2014/chart" uri="{C3380CC4-5D6E-409C-BE32-E72D297353CC}">
                <c16:uniqueId val="{00000775-61F5-407B-959D-D24239F5BB85}"/>
              </c:ext>
            </c:extLst>
          </c:dPt>
          <c:dPt>
            <c:idx val="954"/>
            <c:invertIfNegative val="1"/>
            <c:bubble3D val="0"/>
            <c:spPr>
              <a:solidFill>
                <a:srgbClr val="AEABAB"/>
              </a:solidFill>
            </c:spPr>
            <c:extLst>
              <c:ext xmlns:c16="http://schemas.microsoft.com/office/drawing/2014/chart" uri="{C3380CC4-5D6E-409C-BE32-E72D297353CC}">
                <c16:uniqueId val="{00000777-61F5-407B-959D-D24239F5BB85}"/>
              </c:ext>
            </c:extLst>
          </c:dPt>
          <c:dPt>
            <c:idx val="955"/>
            <c:invertIfNegative val="1"/>
            <c:bubble3D val="0"/>
            <c:spPr>
              <a:solidFill>
                <a:srgbClr val="AEABAB"/>
              </a:solidFill>
            </c:spPr>
            <c:extLst>
              <c:ext xmlns:c16="http://schemas.microsoft.com/office/drawing/2014/chart" uri="{C3380CC4-5D6E-409C-BE32-E72D297353CC}">
                <c16:uniqueId val="{00000779-61F5-407B-959D-D24239F5BB85}"/>
              </c:ext>
            </c:extLst>
          </c:dPt>
          <c:dPt>
            <c:idx val="956"/>
            <c:invertIfNegative val="1"/>
            <c:bubble3D val="0"/>
            <c:spPr>
              <a:solidFill>
                <a:srgbClr val="AEABAB"/>
              </a:solidFill>
            </c:spPr>
            <c:extLst>
              <c:ext xmlns:c16="http://schemas.microsoft.com/office/drawing/2014/chart" uri="{C3380CC4-5D6E-409C-BE32-E72D297353CC}">
                <c16:uniqueId val="{0000077B-61F5-407B-959D-D24239F5BB85}"/>
              </c:ext>
            </c:extLst>
          </c:dPt>
          <c:dPt>
            <c:idx val="957"/>
            <c:invertIfNegative val="1"/>
            <c:bubble3D val="0"/>
            <c:spPr>
              <a:solidFill>
                <a:srgbClr val="AEABAB"/>
              </a:solidFill>
            </c:spPr>
            <c:extLst>
              <c:ext xmlns:c16="http://schemas.microsoft.com/office/drawing/2014/chart" uri="{C3380CC4-5D6E-409C-BE32-E72D297353CC}">
                <c16:uniqueId val="{0000077D-61F5-407B-959D-D24239F5BB85}"/>
              </c:ext>
            </c:extLst>
          </c:dPt>
          <c:dPt>
            <c:idx val="958"/>
            <c:invertIfNegative val="1"/>
            <c:bubble3D val="0"/>
            <c:spPr>
              <a:solidFill>
                <a:srgbClr val="AEABAB"/>
              </a:solidFill>
            </c:spPr>
            <c:extLst>
              <c:ext xmlns:c16="http://schemas.microsoft.com/office/drawing/2014/chart" uri="{C3380CC4-5D6E-409C-BE32-E72D297353CC}">
                <c16:uniqueId val="{0000077F-61F5-407B-959D-D24239F5BB85}"/>
              </c:ext>
            </c:extLst>
          </c:dPt>
          <c:dPt>
            <c:idx val="959"/>
            <c:invertIfNegative val="1"/>
            <c:bubble3D val="0"/>
            <c:spPr>
              <a:solidFill>
                <a:srgbClr val="AEABAB"/>
              </a:solidFill>
            </c:spPr>
            <c:extLst>
              <c:ext xmlns:c16="http://schemas.microsoft.com/office/drawing/2014/chart" uri="{C3380CC4-5D6E-409C-BE32-E72D297353CC}">
                <c16:uniqueId val="{00000781-61F5-407B-959D-D24239F5BB85}"/>
              </c:ext>
            </c:extLst>
          </c:dPt>
          <c:dPt>
            <c:idx val="960"/>
            <c:invertIfNegative val="1"/>
            <c:bubble3D val="0"/>
            <c:spPr>
              <a:solidFill>
                <a:srgbClr val="AEABAB"/>
              </a:solidFill>
            </c:spPr>
            <c:extLst>
              <c:ext xmlns:c16="http://schemas.microsoft.com/office/drawing/2014/chart" uri="{C3380CC4-5D6E-409C-BE32-E72D297353CC}">
                <c16:uniqueId val="{00000783-61F5-407B-959D-D24239F5BB85}"/>
              </c:ext>
            </c:extLst>
          </c:dPt>
          <c:dPt>
            <c:idx val="961"/>
            <c:invertIfNegative val="1"/>
            <c:bubble3D val="0"/>
            <c:spPr>
              <a:solidFill>
                <a:srgbClr val="AEABAB"/>
              </a:solidFill>
            </c:spPr>
            <c:extLst>
              <c:ext xmlns:c16="http://schemas.microsoft.com/office/drawing/2014/chart" uri="{C3380CC4-5D6E-409C-BE32-E72D297353CC}">
                <c16:uniqueId val="{00000785-61F5-407B-959D-D24239F5BB85}"/>
              </c:ext>
            </c:extLst>
          </c:dPt>
          <c:dPt>
            <c:idx val="962"/>
            <c:invertIfNegative val="1"/>
            <c:bubble3D val="0"/>
            <c:spPr>
              <a:solidFill>
                <a:srgbClr val="AEABAB"/>
              </a:solidFill>
            </c:spPr>
            <c:extLst>
              <c:ext xmlns:c16="http://schemas.microsoft.com/office/drawing/2014/chart" uri="{C3380CC4-5D6E-409C-BE32-E72D297353CC}">
                <c16:uniqueId val="{00000787-61F5-407B-959D-D24239F5BB85}"/>
              </c:ext>
            </c:extLst>
          </c:dPt>
          <c:dPt>
            <c:idx val="963"/>
            <c:invertIfNegative val="1"/>
            <c:bubble3D val="0"/>
            <c:spPr>
              <a:solidFill>
                <a:srgbClr val="AEABAB"/>
              </a:solidFill>
            </c:spPr>
            <c:extLst>
              <c:ext xmlns:c16="http://schemas.microsoft.com/office/drawing/2014/chart" uri="{C3380CC4-5D6E-409C-BE32-E72D297353CC}">
                <c16:uniqueId val="{00000789-61F5-407B-959D-D24239F5BB85}"/>
              </c:ext>
            </c:extLst>
          </c:dPt>
          <c:dPt>
            <c:idx val="964"/>
            <c:invertIfNegative val="1"/>
            <c:bubble3D val="0"/>
            <c:spPr>
              <a:solidFill>
                <a:srgbClr val="AEABAB"/>
              </a:solidFill>
            </c:spPr>
            <c:extLst>
              <c:ext xmlns:c16="http://schemas.microsoft.com/office/drawing/2014/chart" uri="{C3380CC4-5D6E-409C-BE32-E72D297353CC}">
                <c16:uniqueId val="{0000078B-61F5-407B-959D-D24239F5BB85}"/>
              </c:ext>
            </c:extLst>
          </c:dPt>
          <c:dPt>
            <c:idx val="965"/>
            <c:invertIfNegative val="1"/>
            <c:bubble3D val="0"/>
            <c:spPr>
              <a:solidFill>
                <a:srgbClr val="AEABAB"/>
              </a:solidFill>
            </c:spPr>
            <c:extLst>
              <c:ext xmlns:c16="http://schemas.microsoft.com/office/drawing/2014/chart" uri="{C3380CC4-5D6E-409C-BE32-E72D297353CC}">
                <c16:uniqueId val="{0000078D-61F5-407B-959D-D24239F5BB85}"/>
              </c:ext>
            </c:extLst>
          </c:dPt>
          <c:dPt>
            <c:idx val="966"/>
            <c:invertIfNegative val="1"/>
            <c:bubble3D val="0"/>
            <c:spPr>
              <a:solidFill>
                <a:srgbClr val="AEABAB"/>
              </a:solidFill>
            </c:spPr>
            <c:extLst>
              <c:ext xmlns:c16="http://schemas.microsoft.com/office/drawing/2014/chart" uri="{C3380CC4-5D6E-409C-BE32-E72D297353CC}">
                <c16:uniqueId val="{0000078F-61F5-407B-959D-D24239F5BB85}"/>
              </c:ext>
            </c:extLst>
          </c:dPt>
          <c:dPt>
            <c:idx val="967"/>
            <c:invertIfNegative val="1"/>
            <c:bubble3D val="0"/>
            <c:spPr>
              <a:solidFill>
                <a:srgbClr val="AEABAB"/>
              </a:solidFill>
            </c:spPr>
            <c:extLst>
              <c:ext xmlns:c16="http://schemas.microsoft.com/office/drawing/2014/chart" uri="{C3380CC4-5D6E-409C-BE32-E72D297353CC}">
                <c16:uniqueId val="{00000791-61F5-407B-959D-D24239F5BB85}"/>
              </c:ext>
            </c:extLst>
          </c:dPt>
          <c:dPt>
            <c:idx val="968"/>
            <c:invertIfNegative val="1"/>
            <c:bubble3D val="0"/>
            <c:spPr>
              <a:solidFill>
                <a:srgbClr val="AEABAB"/>
              </a:solidFill>
            </c:spPr>
            <c:extLst>
              <c:ext xmlns:c16="http://schemas.microsoft.com/office/drawing/2014/chart" uri="{C3380CC4-5D6E-409C-BE32-E72D297353CC}">
                <c16:uniqueId val="{00000793-61F5-407B-959D-D24239F5BB85}"/>
              </c:ext>
            </c:extLst>
          </c:dPt>
          <c:dPt>
            <c:idx val="969"/>
            <c:invertIfNegative val="1"/>
            <c:bubble3D val="0"/>
            <c:spPr>
              <a:solidFill>
                <a:srgbClr val="AEABAB"/>
              </a:solidFill>
            </c:spPr>
            <c:extLst>
              <c:ext xmlns:c16="http://schemas.microsoft.com/office/drawing/2014/chart" uri="{C3380CC4-5D6E-409C-BE32-E72D297353CC}">
                <c16:uniqueId val="{00000795-61F5-407B-959D-D24239F5BB85}"/>
              </c:ext>
            </c:extLst>
          </c:dPt>
          <c:dPt>
            <c:idx val="970"/>
            <c:invertIfNegative val="1"/>
            <c:bubble3D val="0"/>
            <c:spPr>
              <a:solidFill>
                <a:srgbClr val="AEABAB"/>
              </a:solidFill>
            </c:spPr>
            <c:extLst>
              <c:ext xmlns:c16="http://schemas.microsoft.com/office/drawing/2014/chart" uri="{C3380CC4-5D6E-409C-BE32-E72D297353CC}">
                <c16:uniqueId val="{00000797-61F5-407B-959D-D24239F5BB85}"/>
              </c:ext>
            </c:extLst>
          </c:dPt>
          <c:dPt>
            <c:idx val="971"/>
            <c:invertIfNegative val="1"/>
            <c:bubble3D val="0"/>
            <c:spPr>
              <a:solidFill>
                <a:srgbClr val="AEABAB"/>
              </a:solidFill>
            </c:spPr>
            <c:extLst>
              <c:ext xmlns:c16="http://schemas.microsoft.com/office/drawing/2014/chart" uri="{C3380CC4-5D6E-409C-BE32-E72D297353CC}">
                <c16:uniqueId val="{00000799-61F5-407B-959D-D24239F5BB85}"/>
              </c:ext>
            </c:extLst>
          </c:dPt>
          <c:dPt>
            <c:idx val="972"/>
            <c:invertIfNegative val="1"/>
            <c:bubble3D val="0"/>
            <c:spPr>
              <a:solidFill>
                <a:srgbClr val="AEABAB"/>
              </a:solidFill>
            </c:spPr>
            <c:extLst>
              <c:ext xmlns:c16="http://schemas.microsoft.com/office/drawing/2014/chart" uri="{C3380CC4-5D6E-409C-BE32-E72D297353CC}">
                <c16:uniqueId val="{0000079B-61F5-407B-959D-D24239F5BB85}"/>
              </c:ext>
            </c:extLst>
          </c:dPt>
          <c:dPt>
            <c:idx val="973"/>
            <c:invertIfNegative val="1"/>
            <c:bubble3D val="0"/>
            <c:spPr>
              <a:solidFill>
                <a:srgbClr val="AEABAB"/>
              </a:solidFill>
            </c:spPr>
            <c:extLst>
              <c:ext xmlns:c16="http://schemas.microsoft.com/office/drawing/2014/chart" uri="{C3380CC4-5D6E-409C-BE32-E72D297353CC}">
                <c16:uniqueId val="{0000079D-61F5-407B-959D-D24239F5BB85}"/>
              </c:ext>
            </c:extLst>
          </c:dPt>
          <c:dPt>
            <c:idx val="974"/>
            <c:invertIfNegative val="1"/>
            <c:bubble3D val="0"/>
            <c:spPr>
              <a:solidFill>
                <a:srgbClr val="AEABAB"/>
              </a:solidFill>
            </c:spPr>
            <c:extLst>
              <c:ext xmlns:c16="http://schemas.microsoft.com/office/drawing/2014/chart" uri="{C3380CC4-5D6E-409C-BE32-E72D297353CC}">
                <c16:uniqueId val="{0000079F-61F5-407B-959D-D24239F5BB85}"/>
              </c:ext>
            </c:extLst>
          </c:dPt>
          <c:dPt>
            <c:idx val="975"/>
            <c:invertIfNegative val="1"/>
            <c:bubble3D val="0"/>
            <c:spPr>
              <a:solidFill>
                <a:srgbClr val="AEABAB"/>
              </a:solidFill>
            </c:spPr>
            <c:extLst>
              <c:ext xmlns:c16="http://schemas.microsoft.com/office/drawing/2014/chart" uri="{C3380CC4-5D6E-409C-BE32-E72D297353CC}">
                <c16:uniqueId val="{000007A1-61F5-407B-959D-D24239F5BB85}"/>
              </c:ext>
            </c:extLst>
          </c:dPt>
          <c:dPt>
            <c:idx val="976"/>
            <c:invertIfNegative val="1"/>
            <c:bubble3D val="0"/>
            <c:spPr>
              <a:solidFill>
                <a:srgbClr val="AEABAB"/>
              </a:solidFill>
            </c:spPr>
            <c:extLst>
              <c:ext xmlns:c16="http://schemas.microsoft.com/office/drawing/2014/chart" uri="{C3380CC4-5D6E-409C-BE32-E72D297353CC}">
                <c16:uniqueId val="{000007A3-61F5-407B-959D-D24239F5BB85}"/>
              </c:ext>
            </c:extLst>
          </c:dPt>
          <c:dPt>
            <c:idx val="977"/>
            <c:invertIfNegative val="1"/>
            <c:bubble3D val="0"/>
            <c:spPr>
              <a:solidFill>
                <a:srgbClr val="AEABAB"/>
              </a:solidFill>
            </c:spPr>
            <c:extLst>
              <c:ext xmlns:c16="http://schemas.microsoft.com/office/drawing/2014/chart" uri="{C3380CC4-5D6E-409C-BE32-E72D297353CC}">
                <c16:uniqueId val="{000007A5-61F5-407B-959D-D24239F5BB85}"/>
              </c:ext>
            </c:extLst>
          </c:dPt>
          <c:dPt>
            <c:idx val="978"/>
            <c:invertIfNegative val="1"/>
            <c:bubble3D val="0"/>
            <c:spPr>
              <a:solidFill>
                <a:srgbClr val="AEABAB"/>
              </a:solidFill>
            </c:spPr>
            <c:extLst>
              <c:ext xmlns:c16="http://schemas.microsoft.com/office/drawing/2014/chart" uri="{C3380CC4-5D6E-409C-BE32-E72D297353CC}">
                <c16:uniqueId val="{000007A7-61F5-407B-959D-D24239F5BB85}"/>
              </c:ext>
            </c:extLst>
          </c:dPt>
          <c:dPt>
            <c:idx val="979"/>
            <c:invertIfNegative val="1"/>
            <c:bubble3D val="0"/>
            <c:spPr>
              <a:solidFill>
                <a:srgbClr val="AEABAB"/>
              </a:solidFill>
            </c:spPr>
            <c:extLst>
              <c:ext xmlns:c16="http://schemas.microsoft.com/office/drawing/2014/chart" uri="{C3380CC4-5D6E-409C-BE32-E72D297353CC}">
                <c16:uniqueId val="{000007A9-61F5-407B-959D-D24239F5BB85}"/>
              </c:ext>
            </c:extLst>
          </c:dPt>
          <c:dPt>
            <c:idx val="980"/>
            <c:invertIfNegative val="1"/>
            <c:bubble3D val="0"/>
            <c:spPr>
              <a:solidFill>
                <a:srgbClr val="AEABAB"/>
              </a:solidFill>
            </c:spPr>
            <c:extLst>
              <c:ext xmlns:c16="http://schemas.microsoft.com/office/drawing/2014/chart" uri="{C3380CC4-5D6E-409C-BE32-E72D297353CC}">
                <c16:uniqueId val="{000007AB-61F5-407B-959D-D24239F5BB85}"/>
              </c:ext>
            </c:extLst>
          </c:dPt>
          <c:dPt>
            <c:idx val="981"/>
            <c:invertIfNegative val="1"/>
            <c:bubble3D val="0"/>
            <c:spPr>
              <a:solidFill>
                <a:srgbClr val="AEABAB"/>
              </a:solidFill>
            </c:spPr>
            <c:extLst>
              <c:ext xmlns:c16="http://schemas.microsoft.com/office/drawing/2014/chart" uri="{C3380CC4-5D6E-409C-BE32-E72D297353CC}">
                <c16:uniqueId val="{000007AD-61F5-407B-959D-D24239F5BB85}"/>
              </c:ext>
            </c:extLst>
          </c:dPt>
          <c:dPt>
            <c:idx val="982"/>
            <c:invertIfNegative val="1"/>
            <c:bubble3D val="0"/>
            <c:spPr>
              <a:solidFill>
                <a:srgbClr val="AEABAB"/>
              </a:solidFill>
            </c:spPr>
            <c:extLst>
              <c:ext xmlns:c16="http://schemas.microsoft.com/office/drawing/2014/chart" uri="{C3380CC4-5D6E-409C-BE32-E72D297353CC}">
                <c16:uniqueId val="{000007AF-61F5-407B-959D-D24239F5BB85}"/>
              </c:ext>
            </c:extLst>
          </c:dPt>
          <c:dPt>
            <c:idx val="983"/>
            <c:invertIfNegative val="1"/>
            <c:bubble3D val="0"/>
            <c:spPr>
              <a:solidFill>
                <a:srgbClr val="AEABAB"/>
              </a:solidFill>
            </c:spPr>
            <c:extLst>
              <c:ext xmlns:c16="http://schemas.microsoft.com/office/drawing/2014/chart" uri="{C3380CC4-5D6E-409C-BE32-E72D297353CC}">
                <c16:uniqueId val="{000007B1-61F5-407B-959D-D24239F5BB85}"/>
              </c:ext>
            </c:extLst>
          </c:dPt>
          <c:dPt>
            <c:idx val="984"/>
            <c:invertIfNegative val="1"/>
            <c:bubble3D val="0"/>
            <c:spPr>
              <a:solidFill>
                <a:srgbClr val="AEABAB"/>
              </a:solidFill>
            </c:spPr>
            <c:extLst>
              <c:ext xmlns:c16="http://schemas.microsoft.com/office/drawing/2014/chart" uri="{C3380CC4-5D6E-409C-BE32-E72D297353CC}">
                <c16:uniqueId val="{000007B3-61F5-407B-959D-D24239F5BB85}"/>
              </c:ext>
            </c:extLst>
          </c:dPt>
          <c:dPt>
            <c:idx val="985"/>
            <c:invertIfNegative val="1"/>
            <c:bubble3D val="0"/>
            <c:spPr>
              <a:solidFill>
                <a:srgbClr val="AEABAB"/>
              </a:solidFill>
            </c:spPr>
            <c:extLst>
              <c:ext xmlns:c16="http://schemas.microsoft.com/office/drawing/2014/chart" uri="{C3380CC4-5D6E-409C-BE32-E72D297353CC}">
                <c16:uniqueId val="{000007B5-61F5-407B-959D-D24239F5BB85}"/>
              </c:ext>
            </c:extLst>
          </c:dPt>
          <c:dPt>
            <c:idx val="986"/>
            <c:invertIfNegative val="1"/>
            <c:bubble3D val="0"/>
            <c:spPr>
              <a:solidFill>
                <a:srgbClr val="AEABAB"/>
              </a:solidFill>
            </c:spPr>
            <c:extLst>
              <c:ext xmlns:c16="http://schemas.microsoft.com/office/drawing/2014/chart" uri="{C3380CC4-5D6E-409C-BE32-E72D297353CC}">
                <c16:uniqueId val="{000007B7-61F5-407B-959D-D24239F5BB85}"/>
              </c:ext>
            </c:extLst>
          </c:dPt>
          <c:dPt>
            <c:idx val="987"/>
            <c:invertIfNegative val="1"/>
            <c:bubble3D val="0"/>
            <c:spPr>
              <a:solidFill>
                <a:srgbClr val="AEABAB"/>
              </a:solidFill>
            </c:spPr>
            <c:extLst>
              <c:ext xmlns:c16="http://schemas.microsoft.com/office/drawing/2014/chart" uri="{C3380CC4-5D6E-409C-BE32-E72D297353CC}">
                <c16:uniqueId val="{000007B9-61F5-407B-959D-D24239F5BB85}"/>
              </c:ext>
            </c:extLst>
          </c:dPt>
          <c:dPt>
            <c:idx val="988"/>
            <c:invertIfNegative val="1"/>
            <c:bubble3D val="0"/>
            <c:spPr>
              <a:solidFill>
                <a:srgbClr val="AEABAB"/>
              </a:solidFill>
            </c:spPr>
            <c:extLst>
              <c:ext xmlns:c16="http://schemas.microsoft.com/office/drawing/2014/chart" uri="{C3380CC4-5D6E-409C-BE32-E72D297353CC}">
                <c16:uniqueId val="{000007BB-61F5-407B-959D-D24239F5BB85}"/>
              </c:ext>
            </c:extLst>
          </c:dPt>
          <c:dPt>
            <c:idx val="989"/>
            <c:invertIfNegative val="1"/>
            <c:bubble3D val="0"/>
            <c:spPr>
              <a:solidFill>
                <a:srgbClr val="AEABAB"/>
              </a:solidFill>
            </c:spPr>
            <c:extLst>
              <c:ext xmlns:c16="http://schemas.microsoft.com/office/drawing/2014/chart" uri="{C3380CC4-5D6E-409C-BE32-E72D297353CC}">
                <c16:uniqueId val="{000007BD-61F5-407B-959D-D24239F5BB85}"/>
              </c:ext>
            </c:extLst>
          </c:dPt>
          <c:dPt>
            <c:idx val="990"/>
            <c:invertIfNegative val="1"/>
            <c:bubble3D val="0"/>
            <c:spPr>
              <a:solidFill>
                <a:srgbClr val="AEABAB"/>
              </a:solidFill>
            </c:spPr>
            <c:extLst>
              <c:ext xmlns:c16="http://schemas.microsoft.com/office/drawing/2014/chart" uri="{C3380CC4-5D6E-409C-BE32-E72D297353CC}">
                <c16:uniqueId val="{000007BF-61F5-407B-959D-D24239F5BB85}"/>
              </c:ext>
            </c:extLst>
          </c:dPt>
          <c:dPt>
            <c:idx val="991"/>
            <c:invertIfNegative val="1"/>
            <c:bubble3D val="0"/>
            <c:spPr>
              <a:solidFill>
                <a:srgbClr val="AEABAB"/>
              </a:solidFill>
            </c:spPr>
            <c:extLst>
              <c:ext xmlns:c16="http://schemas.microsoft.com/office/drawing/2014/chart" uri="{C3380CC4-5D6E-409C-BE32-E72D297353CC}">
                <c16:uniqueId val="{000007C1-61F5-407B-959D-D24239F5BB85}"/>
              </c:ext>
            </c:extLst>
          </c:dPt>
          <c:dPt>
            <c:idx val="992"/>
            <c:invertIfNegative val="1"/>
            <c:bubble3D val="0"/>
            <c:spPr>
              <a:solidFill>
                <a:srgbClr val="AEABAB"/>
              </a:solidFill>
            </c:spPr>
            <c:extLst>
              <c:ext xmlns:c16="http://schemas.microsoft.com/office/drawing/2014/chart" uri="{C3380CC4-5D6E-409C-BE32-E72D297353CC}">
                <c16:uniqueId val="{000007C3-61F5-407B-959D-D24239F5BB85}"/>
              </c:ext>
            </c:extLst>
          </c:dPt>
          <c:dPt>
            <c:idx val="993"/>
            <c:invertIfNegative val="1"/>
            <c:bubble3D val="0"/>
            <c:spPr>
              <a:solidFill>
                <a:srgbClr val="AEABAB"/>
              </a:solidFill>
            </c:spPr>
            <c:extLst>
              <c:ext xmlns:c16="http://schemas.microsoft.com/office/drawing/2014/chart" uri="{C3380CC4-5D6E-409C-BE32-E72D297353CC}">
                <c16:uniqueId val="{000007C5-61F5-407B-959D-D24239F5BB85}"/>
              </c:ext>
            </c:extLst>
          </c:dPt>
          <c:dPt>
            <c:idx val="994"/>
            <c:invertIfNegative val="1"/>
            <c:bubble3D val="0"/>
            <c:spPr>
              <a:solidFill>
                <a:srgbClr val="AEABAB"/>
              </a:solidFill>
            </c:spPr>
            <c:extLst>
              <c:ext xmlns:c16="http://schemas.microsoft.com/office/drawing/2014/chart" uri="{C3380CC4-5D6E-409C-BE32-E72D297353CC}">
                <c16:uniqueId val="{000007C7-61F5-407B-959D-D24239F5BB85}"/>
              </c:ext>
            </c:extLst>
          </c:dPt>
          <c:dPt>
            <c:idx val="995"/>
            <c:invertIfNegative val="1"/>
            <c:bubble3D val="0"/>
            <c:spPr>
              <a:solidFill>
                <a:srgbClr val="AEABAB"/>
              </a:solidFill>
            </c:spPr>
            <c:extLst>
              <c:ext xmlns:c16="http://schemas.microsoft.com/office/drawing/2014/chart" uri="{C3380CC4-5D6E-409C-BE32-E72D297353CC}">
                <c16:uniqueId val="{000007C9-61F5-407B-959D-D24239F5BB85}"/>
              </c:ext>
            </c:extLst>
          </c:dPt>
          <c:dPt>
            <c:idx val="996"/>
            <c:invertIfNegative val="1"/>
            <c:bubble3D val="0"/>
            <c:spPr>
              <a:solidFill>
                <a:srgbClr val="AEABAB"/>
              </a:solidFill>
            </c:spPr>
            <c:extLst>
              <c:ext xmlns:c16="http://schemas.microsoft.com/office/drawing/2014/chart" uri="{C3380CC4-5D6E-409C-BE32-E72D297353CC}">
                <c16:uniqueId val="{000007CB-61F5-407B-959D-D24239F5BB85}"/>
              </c:ext>
            </c:extLst>
          </c:dPt>
          <c:dPt>
            <c:idx val="997"/>
            <c:invertIfNegative val="1"/>
            <c:bubble3D val="0"/>
            <c:spPr>
              <a:solidFill>
                <a:srgbClr val="AEABAB"/>
              </a:solidFill>
            </c:spPr>
            <c:extLst>
              <c:ext xmlns:c16="http://schemas.microsoft.com/office/drawing/2014/chart" uri="{C3380CC4-5D6E-409C-BE32-E72D297353CC}">
                <c16:uniqueId val="{000007CD-61F5-407B-959D-D24239F5BB85}"/>
              </c:ext>
            </c:extLst>
          </c:dPt>
          <c:dPt>
            <c:idx val="998"/>
            <c:invertIfNegative val="1"/>
            <c:bubble3D val="0"/>
            <c:spPr>
              <a:solidFill>
                <a:srgbClr val="AEABAB"/>
              </a:solidFill>
            </c:spPr>
            <c:extLst>
              <c:ext xmlns:c16="http://schemas.microsoft.com/office/drawing/2014/chart" uri="{C3380CC4-5D6E-409C-BE32-E72D297353CC}">
                <c16:uniqueId val="{000007CF-61F5-407B-959D-D24239F5BB85}"/>
              </c:ext>
            </c:extLst>
          </c:dPt>
          <c:dPt>
            <c:idx val="999"/>
            <c:invertIfNegative val="1"/>
            <c:bubble3D val="0"/>
            <c:spPr>
              <a:solidFill>
                <a:srgbClr val="AEABAB"/>
              </a:solidFill>
            </c:spPr>
            <c:extLst>
              <c:ext xmlns:c16="http://schemas.microsoft.com/office/drawing/2014/chart" uri="{C3380CC4-5D6E-409C-BE32-E72D297353CC}">
                <c16:uniqueId val="{000007D1-61F5-407B-959D-D24239F5BB85}"/>
              </c:ext>
            </c:extLst>
          </c:dPt>
          <c:dPt>
            <c:idx val="1000"/>
            <c:invertIfNegative val="1"/>
            <c:bubble3D val="0"/>
            <c:spPr>
              <a:solidFill>
                <a:srgbClr val="AEABAB"/>
              </a:solidFill>
            </c:spPr>
            <c:extLst>
              <c:ext xmlns:c16="http://schemas.microsoft.com/office/drawing/2014/chart" uri="{C3380CC4-5D6E-409C-BE32-E72D297353CC}">
                <c16:uniqueId val="{000007D3-61F5-407B-959D-D24239F5BB85}"/>
              </c:ext>
            </c:extLst>
          </c:dPt>
          <c:dPt>
            <c:idx val="1001"/>
            <c:invertIfNegative val="1"/>
            <c:bubble3D val="0"/>
            <c:spPr>
              <a:solidFill>
                <a:srgbClr val="AEABAB"/>
              </a:solidFill>
            </c:spPr>
            <c:extLst>
              <c:ext xmlns:c16="http://schemas.microsoft.com/office/drawing/2014/chart" uri="{C3380CC4-5D6E-409C-BE32-E72D297353CC}">
                <c16:uniqueId val="{000007D5-61F5-407B-959D-D24239F5BB85}"/>
              </c:ext>
            </c:extLst>
          </c:dPt>
          <c:dPt>
            <c:idx val="1002"/>
            <c:invertIfNegative val="1"/>
            <c:bubble3D val="0"/>
            <c:spPr>
              <a:solidFill>
                <a:srgbClr val="AEABAB"/>
              </a:solidFill>
            </c:spPr>
            <c:extLst>
              <c:ext xmlns:c16="http://schemas.microsoft.com/office/drawing/2014/chart" uri="{C3380CC4-5D6E-409C-BE32-E72D297353CC}">
                <c16:uniqueId val="{000007D7-61F5-407B-959D-D24239F5BB85}"/>
              </c:ext>
            </c:extLst>
          </c:dPt>
          <c:dPt>
            <c:idx val="1003"/>
            <c:invertIfNegative val="1"/>
            <c:bubble3D val="0"/>
            <c:spPr>
              <a:solidFill>
                <a:srgbClr val="AEABAB"/>
              </a:solidFill>
            </c:spPr>
            <c:extLst>
              <c:ext xmlns:c16="http://schemas.microsoft.com/office/drawing/2014/chart" uri="{C3380CC4-5D6E-409C-BE32-E72D297353CC}">
                <c16:uniqueId val="{000007D9-61F5-407B-959D-D24239F5BB85}"/>
              </c:ext>
            </c:extLst>
          </c:dPt>
          <c:dPt>
            <c:idx val="1004"/>
            <c:invertIfNegative val="1"/>
            <c:bubble3D val="0"/>
            <c:spPr>
              <a:solidFill>
                <a:srgbClr val="AEABAB"/>
              </a:solidFill>
            </c:spPr>
            <c:extLst>
              <c:ext xmlns:c16="http://schemas.microsoft.com/office/drawing/2014/chart" uri="{C3380CC4-5D6E-409C-BE32-E72D297353CC}">
                <c16:uniqueId val="{000007DB-61F5-407B-959D-D24239F5BB85}"/>
              </c:ext>
            </c:extLst>
          </c:dPt>
          <c:dPt>
            <c:idx val="1005"/>
            <c:invertIfNegative val="1"/>
            <c:bubble3D val="0"/>
            <c:spPr>
              <a:solidFill>
                <a:srgbClr val="AEABAB"/>
              </a:solidFill>
            </c:spPr>
            <c:extLst>
              <c:ext xmlns:c16="http://schemas.microsoft.com/office/drawing/2014/chart" uri="{C3380CC4-5D6E-409C-BE32-E72D297353CC}">
                <c16:uniqueId val="{000007DD-61F5-407B-959D-D24239F5BB85}"/>
              </c:ext>
            </c:extLst>
          </c:dPt>
          <c:dPt>
            <c:idx val="1006"/>
            <c:invertIfNegative val="1"/>
            <c:bubble3D val="0"/>
            <c:spPr>
              <a:solidFill>
                <a:srgbClr val="AEABAB"/>
              </a:solidFill>
            </c:spPr>
            <c:extLst>
              <c:ext xmlns:c16="http://schemas.microsoft.com/office/drawing/2014/chart" uri="{C3380CC4-5D6E-409C-BE32-E72D297353CC}">
                <c16:uniqueId val="{000007DF-61F5-407B-959D-D24239F5BB85}"/>
              </c:ext>
            </c:extLst>
          </c:dPt>
          <c:dPt>
            <c:idx val="1007"/>
            <c:invertIfNegative val="1"/>
            <c:bubble3D val="0"/>
            <c:spPr>
              <a:solidFill>
                <a:srgbClr val="AEABAB"/>
              </a:solidFill>
            </c:spPr>
            <c:extLst>
              <c:ext xmlns:c16="http://schemas.microsoft.com/office/drawing/2014/chart" uri="{C3380CC4-5D6E-409C-BE32-E72D297353CC}">
                <c16:uniqueId val="{000007E1-61F5-407B-959D-D24239F5BB85}"/>
              </c:ext>
            </c:extLst>
          </c:dPt>
          <c:dPt>
            <c:idx val="1008"/>
            <c:invertIfNegative val="1"/>
            <c:bubble3D val="0"/>
            <c:spPr>
              <a:solidFill>
                <a:srgbClr val="AEABAB"/>
              </a:solidFill>
            </c:spPr>
            <c:extLst>
              <c:ext xmlns:c16="http://schemas.microsoft.com/office/drawing/2014/chart" uri="{C3380CC4-5D6E-409C-BE32-E72D297353CC}">
                <c16:uniqueId val="{000007E3-61F5-407B-959D-D24239F5BB85}"/>
              </c:ext>
            </c:extLst>
          </c:dPt>
          <c:dPt>
            <c:idx val="1009"/>
            <c:invertIfNegative val="1"/>
            <c:bubble3D val="0"/>
            <c:spPr>
              <a:solidFill>
                <a:srgbClr val="AEABAB"/>
              </a:solidFill>
            </c:spPr>
            <c:extLst>
              <c:ext xmlns:c16="http://schemas.microsoft.com/office/drawing/2014/chart" uri="{C3380CC4-5D6E-409C-BE32-E72D297353CC}">
                <c16:uniqueId val="{000007E5-61F5-407B-959D-D24239F5BB85}"/>
              </c:ext>
            </c:extLst>
          </c:dPt>
          <c:dPt>
            <c:idx val="1010"/>
            <c:invertIfNegative val="1"/>
            <c:bubble3D val="0"/>
            <c:spPr>
              <a:solidFill>
                <a:srgbClr val="AEABAB"/>
              </a:solidFill>
            </c:spPr>
            <c:extLst>
              <c:ext xmlns:c16="http://schemas.microsoft.com/office/drawing/2014/chart" uri="{C3380CC4-5D6E-409C-BE32-E72D297353CC}">
                <c16:uniqueId val="{000007E7-61F5-407B-959D-D24239F5BB85}"/>
              </c:ext>
            </c:extLst>
          </c:dPt>
          <c:dPt>
            <c:idx val="1011"/>
            <c:invertIfNegative val="1"/>
            <c:bubble3D val="0"/>
            <c:spPr>
              <a:solidFill>
                <a:srgbClr val="AEABAB"/>
              </a:solidFill>
            </c:spPr>
            <c:extLst>
              <c:ext xmlns:c16="http://schemas.microsoft.com/office/drawing/2014/chart" uri="{C3380CC4-5D6E-409C-BE32-E72D297353CC}">
                <c16:uniqueId val="{000007E9-61F5-407B-959D-D24239F5BB85}"/>
              </c:ext>
            </c:extLst>
          </c:dPt>
          <c:dPt>
            <c:idx val="1012"/>
            <c:invertIfNegative val="1"/>
            <c:bubble3D val="0"/>
            <c:spPr>
              <a:solidFill>
                <a:srgbClr val="AEABAB"/>
              </a:solidFill>
            </c:spPr>
            <c:extLst>
              <c:ext xmlns:c16="http://schemas.microsoft.com/office/drawing/2014/chart" uri="{C3380CC4-5D6E-409C-BE32-E72D297353CC}">
                <c16:uniqueId val="{000007EB-61F5-407B-959D-D24239F5BB85}"/>
              </c:ext>
            </c:extLst>
          </c:dPt>
          <c:dPt>
            <c:idx val="1013"/>
            <c:invertIfNegative val="1"/>
            <c:bubble3D val="0"/>
            <c:spPr>
              <a:solidFill>
                <a:srgbClr val="AEABAB"/>
              </a:solidFill>
            </c:spPr>
            <c:extLst>
              <c:ext xmlns:c16="http://schemas.microsoft.com/office/drawing/2014/chart" uri="{C3380CC4-5D6E-409C-BE32-E72D297353CC}">
                <c16:uniqueId val="{000007ED-61F5-407B-959D-D24239F5BB85}"/>
              </c:ext>
            </c:extLst>
          </c:dPt>
          <c:dPt>
            <c:idx val="1014"/>
            <c:invertIfNegative val="1"/>
            <c:bubble3D val="0"/>
            <c:spPr>
              <a:solidFill>
                <a:srgbClr val="AEABAB"/>
              </a:solidFill>
            </c:spPr>
            <c:extLst>
              <c:ext xmlns:c16="http://schemas.microsoft.com/office/drawing/2014/chart" uri="{C3380CC4-5D6E-409C-BE32-E72D297353CC}">
                <c16:uniqueId val="{000007EF-61F5-407B-959D-D24239F5BB85}"/>
              </c:ext>
            </c:extLst>
          </c:dPt>
          <c:dPt>
            <c:idx val="1015"/>
            <c:invertIfNegative val="1"/>
            <c:bubble3D val="0"/>
            <c:spPr>
              <a:solidFill>
                <a:srgbClr val="AEABAB"/>
              </a:solidFill>
            </c:spPr>
            <c:extLst>
              <c:ext xmlns:c16="http://schemas.microsoft.com/office/drawing/2014/chart" uri="{C3380CC4-5D6E-409C-BE32-E72D297353CC}">
                <c16:uniqueId val="{000007F1-61F5-407B-959D-D24239F5BB85}"/>
              </c:ext>
            </c:extLst>
          </c:dPt>
          <c:dPt>
            <c:idx val="1016"/>
            <c:invertIfNegative val="1"/>
            <c:bubble3D val="0"/>
            <c:spPr>
              <a:solidFill>
                <a:srgbClr val="AEABAB"/>
              </a:solidFill>
            </c:spPr>
            <c:extLst>
              <c:ext xmlns:c16="http://schemas.microsoft.com/office/drawing/2014/chart" uri="{C3380CC4-5D6E-409C-BE32-E72D297353CC}">
                <c16:uniqueId val="{000007F3-61F5-407B-959D-D24239F5BB85}"/>
              </c:ext>
            </c:extLst>
          </c:dPt>
          <c:dPt>
            <c:idx val="1017"/>
            <c:invertIfNegative val="1"/>
            <c:bubble3D val="0"/>
            <c:spPr>
              <a:solidFill>
                <a:srgbClr val="AEABAB"/>
              </a:solidFill>
            </c:spPr>
            <c:extLst>
              <c:ext xmlns:c16="http://schemas.microsoft.com/office/drawing/2014/chart" uri="{C3380CC4-5D6E-409C-BE32-E72D297353CC}">
                <c16:uniqueId val="{000007F5-61F5-407B-959D-D24239F5BB85}"/>
              </c:ext>
            </c:extLst>
          </c:dPt>
          <c:dPt>
            <c:idx val="1018"/>
            <c:invertIfNegative val="1"/>
            <c:bubble3D val="0"/>
            <c:spPr>
              <a:solidFill>
                <a:srgbClr val="AEABAB"/>
              </a:solidFill>
            </c:spPr>
            <c:extLst>
              <c:ext xmlns:c16="http://schemas.microsoft.com/office/drawing/2014/chart" uri="{C3380CC4-5D6E-409C-BE32-E72D297353CC}">
                <c16:uniqueId val="{000007F7-61F5-407B-959D-D24239F5BB85}"/>
              </c:ext>
            </c:extLst>
          </c:dPt>
          <c:dPt>
            <c:idx val="1019"/>
            <c:invertIfNegative val="1"/>
            <c:bubble3D val="0"/>
            <c:spPr>
              <a:solidFill>
                <a:srgbClr val="AEABAB"/>
              </a:solidFill>
            </c:spPr>
            <c:extLst>
              <c:ext xmlns:c16="http://schemas.microsoft.com/office/drawing/2014/chart" uri="{C3380CC4-5D6E-409C-BE32-E72D297353CC}">
                <c16:uniqueId val="{000007F9-61F5-407B-959D-D24239F5BB85}"/>
              </c:ext>
            </c:extLst>
          </c:dPt>
          <c:dPt>
            <c:idx val="1020"/>
            <c:invertIfNegative val="1"/>
            <c:bubble3D val="0"/>
            <c:spPr>
              <a:solidFill>
                <a:srgbClr val="AEABAB"/>
              </a:solidFill>
            </c:spPr>
            <c:extLst>
              <c:ext xmlns:c16="http://schemas.microsoft.com/office/drawing/2014/chart" uri="{C3380CC4-5D6E-409C-BE32-E72D297353CC}">
                <c16:uniqueId val="{000007FB-61F5-407B-959D-D24239F5BB85}"/>
              </c:ext>
            </c:extLst>
          </c:dPt>
          <c:dPt>
            <c:idx val="1021"/>
            <c:invertIfNegative val="1"/>
            <c:bubble3D val="0"/>
            <c:spPr>
              <a:solidFill>
                <a:srgbClr val="AEABAB"/>
              </a:solidFill>
            </c:spPr>
            <c:extLst>
              <c:ext xmlns:c16="http://schemas.microsoft.com/office/drawing/2014/chart" uri="{C3380CC4-5D6E-409C-BE32-E72D297353CC}">
                <c16:uniqueId val="{000007FD-61F5-407B-959D-D24239F5BB85}"/>
              </c:ext>
            </c:extLst>
          </c:dPt>
          <c:dPt>
            <c:idx val="1022"/>
            <c:invertIfNegative val="1"/>
            <c:bubble3D val="0"/>
            <c:spPr>
              <a:solidFill>
                <a:srgbClr val="AEABAB"/>
              </a:solidFill>
            </c:spPr>
            <c:extLst>
              <c:ext xmlns:c16="http://schemas.microsoft.com/office/drawing/2014/chart" uri="{C3380CC4-5D6E-409C-BE32-E72D297353CC}">
                <c16:uniqueId val="{000007FF-61F5-407B-959D-D24239F5BB85}"/>
              </c:ext>
            </c:extLst>
          </c:dPt>
          <c:dPt>
            <c:idx val="1023"/>
            <c:invertIfNegative val="1"/>
            <c:bubble3D val="0"/>
            <c:spPr>
              <a:solidFill>
                <a:srgbClr val="AEABAB"/>
              </a:solidFill>
            </c:spPr>
            <c:extLst>
              <c:ext xmlns:c16="http://schemas.microsoft.com/office/drawing/2014/chart" uri="{C3380CC4-5D6E-409C-BE32-E72D297353CC}">
                <c16:uniqueId val="{00000801-61F5-407B-959D-D24239F5BB85}"/>
              </c:ext>
            </c:extLst>
          </c:dPt>
          <c:dPt>
            <c:idx val="1024"/>
            <c:invertIfNegative val="1"/>
            <c:bubble3D val="0"/>
            <c:spPr>
              <a:solidFill>
                <a:srgbClr val="AEABAB"/>
              </a:solidFill>
            </c:spPr>
            <c:extLst>
              <c:ext xmlns:c16="http://schemas.microsoft.com/office/drawing/2014/chart" uri="{C3380CC4-5D6E-409C-BE32-E72D297353CC}">
                <c16:uniqueId val="{00000803-61F5-407B-959D-D24239F5BB85}"/>
              </c:ext>
            </c:extLst>
          </c:dPt>
          <c:dPt>
            <c:idx val="1025"/>
            <c:invertIfNegative val="1"/>
            <c:bubble3D val="0"/>
            <c:spPr>
              <a:solidFill>
                <a:srgbClr val="AEABAB"/>
              </a:solidFill>
            </c:spPr>
            <c:extLst>
              <c:ext xmlns:c16="http://schemas.microsoft.com/office/drawing/2014/chart" uri="{C3380CC4-5D6E-409C-BE32-E72D297353CC}">
                <c16:uniqueId val="{00000805-61F5-407B-959D-D24239F5BB85}"/>
              </c:ext>
            </c:extLst>
          </c:dPt>
          <c:dPt>
            <c:idx val="1026"/>
            <c:invertIfNegative val="1"/>
            <c:bubble3D val="0"/>
            <c:spPr>
              <a:solidFill>
                <a:srgbClr val="AEABAB"/>
              </a:solidFill>
            </c:spPr>
            <c:extLst>
              <c:ext xmlns:c16="http://schemas.microsoft.com/office/drawing/2014/chart" uri="{C3380CC4-5D6E-409C-BE32-E72D297353CC}">
                <c16:uniqueId val="{00000807-61F5-407B-959D-D24239F5BB85}"/>
              </c:ext>
            </c:extLst>
          </c:dPt>
          <c:dPt>
            <c:idx val="1027"/>
            <c:invertIfNegative val="1"/>
            <c:bubble3D val="0"/>
            <c:spPr>
              <a:solidFill>
                <a:srgbClr val="AEABAB"/>
              </a:solidFill>
            </c:spPr>
            <c:extLst>
              <c:ext xmlns:c16="http://schemas.microsoft.com/office/drawing/2014/chart" uri="{C3380CC4-5D6E-409C-BE32-E72D297353CC}">
                <c16:uniqueId val="{00000809-61F5-407B-959D-D24239F5BB85}"/>
              </c:ext>
            </c:extLst>
          </c:dPt>
          <c:dPt>
            <c:idx val="1028"/>
            <c:invertIfNegative val="1"/>
            <c:bubble3D val="0"/>
            <c:spPr>
              <a:solidFill>
                <a:srgbClr val="AEABAB"/>
              </a:solidFill>
            </c:spPr>
            <c:extLst>
              <c:ext xmlns:c16="http://schemas.microsoft.com/office/drawing/2014/chart" uri="{C3380CC4-5D6E-409C-BE32-E72D297353CC}">
                <c16:uniqueId val="{0000080B-61F5-407B-959D-D24239F5BB85}"/>
              </c:ext>
            </c:extLst>
          </c:dPt>
          <c:dPt>
            <c:idx val="1029"/>
            <c:invertIfNegative val="1"/>
            <c:bubble3D val="0"/>
            <c:spPr>
              <a:solidFill>
                <a:srgbClr val="AEABAB"/>
              </a:solidFill>
            </c:spPr>
            <c:extLst>
              <c:ext xmlns:c16="http://schemas.microsoft.com/office/drawing/2014/chart" uri="{C3380CC4-5D6E-409C-BE32-E72D297353CC}">
                <c16:uniqueId val="{0000080D-61F5-407B-959D-D24239F5BB85}"/>
              </c:ext>
            </c:extLst>
          </c:dPt>
          <c:dPt>
            <c:idx val="1030"/>
            <c:invertIfNegative val="1"/>
            <c:bubble3D val="0"/>
            <c:spPr>
              <a:solidFill>
                <a:srgbClr val="AEABAB"/>
              </a:solidFill>
            </c:spPr>
            <c:extLst>
              <c:ext xmlns:c16="http://schemas.microsoft.com/office/drawing/2014/chart" uri="{C3380CC4-5D6E-409C-BE32-E72D297353CC}">
                <c16:uniqueId val="{0000080F-61F5-407B-959D-D24239F5BB85}"/>
              </c:ext>
            </c:extLst>
          </c:dPt>
          <c:dPt>
            <c:idx val="1031"/>
            <c:invertIfNegative val="1"/>
            <c:bubble3D val="0"/>
            <c:spPr>
              <a:solidFill>
                <a:srgbClr val="AEABAB"/>
              </a:solidFill>
            </c:spPr>
            <c:extLst>
              <c:ext xmlns:c16="http://schemas.microsoft.com/office/drawing/2014/chart" uri="{C3380CC4-5D6E-409C-BE32-E72D297353CC}">
                <c16:uniqueId val="{00000811-61F5-407B-959D-D24239F5BB85}"/>
              </c:ext>
            </c:extLst>
          </c:dPt>
          <c:dPt>
            <c:idx val="1032"/>
            <c:invertIfNegative val="1"/>
            <c:bubble3D val="0"/>
            <c:spPr>
              <a:solidFill>
                <a:srgbClr val="AEABAB"/>
              </a:solidFill>
            </c:spPr>
            <c:extLst>
              <c:ext xmlns:c16="http://schemas.microsoft.com/office/drawing/2014/chart" uri="{C3380CC4-5D6E-409C-BE32-E72D297353CC}">
                <c16:uniqueId val="{00000813-61F5-407B-959D-D24239F5BB85}"/>
              </c:ext>
            </c:extLst>
          </c:dPt>
          <c:dPt>
            <c:idx val="1033"/>
            <c:invertIfNegative val="1"/>
            <c:bubble3D val="0"/>
            <c:spPr>
              <a:solidFill>
                <a:srgbClr val="AEABAB"/>
              </a:solidFill>
            </c:spPr>
            <c:extLst>
              <c:ext xmlns:c16="http://schemas.microsoft.com/office/drawing/2014/chart" uri="{C3380CC4-5D6E-409C-BE32-E72D297353CC}">
                <c16:uniqueId val="{00000815-61F5-407B-959D-D24239F5BB85}"/>
              </c:ext>
            </c:extLst>
          </c:dPt>
          <c:dPt>
            <c:idx val="1034"/>
            <c:invertIfNegative val="1"/>
            <c:bubble3D val="0"/>
            <c:spPr>
              <a:solidFill>
                <a:srgbClr val="AEABAB"/>
              </a:solidFill>
            </c:spPr>
            <c:extLst>
              <c:ext xmlns:c16="http://schemas.microsoft.com/office/drawing/2014/chart" uri="{C3380CC4-5D6E-409C-BE32-E72D297353CC}">
                <c16:uniqueId val="{00000817-61F5-407B-959D-D24239F5BB85}"/>
              </c:ext>
            </c:extLst>
          </c:dPt>
          <c:dPt>
            <c:idx val="1035"/>
            <c:invertIfNegative val="1"/>
            <c:bubble3D val="0"/>
            <c:spPr>
              <a:solidFill>
                <a:srgbClr val="AEABAB"/>
              </a:solidFill>
            </c:spPr>
            <c:extLst>
              <c:ext xmlns:c16="http://schemas.microsoft.com/office/drawing/2014/chart" uri="{C3380CC4-5D6E-409C-BE32-E72D297353CC}">
                <c16:uniqueId val="{00000819-61F5-407B-959D-D24239F5BB85}"/>
              </c:ext>
            </c:extLst>
          </c:dPt>
          <c:dPt>
            <c:idx val="1036"/>
            <c:invertIfNegative val="1"/>
            <c:bubble3D val="0"/>
            <c:spPr>
              <a:solidFill>
                <a:srgbClr val="AEABAB"/>
              </a:solidFill>
            </c:spPr>
            <c:extLst>
              <c:ext xmlns:c16="http://schemas.microsoft.com/office/drawing/2014/chart" uri="{C3380CC4-5D6E-409C-BE32-E72D297353CC}">
                <c16:uniqueId val="{0000081B-61F5-407B-959D-D24239F5BB85}"/>
              </c:ext>
            </c:extLst>
          </c:dPt>
          <c:dPt>
            <c:idx val="1037"/>
            <c:invertIfNegative val="1"/>
            <c:bubble3D val="0"/>
            <c:spPr>
              <a:solidFill>
                <a:srgbClr val="AEABAB"/>
              </a:solidFill>
            </c:spPr>
            <c:extLst>
              <c:ext xmlns:c16="http://schemas.microsoft.com/office/drawing/2014/chart" uri="{C3380CC4-5D6E-409C-BE32-E72D297353CC}">
                <c16:uniqueId val="{0000081D-61F5-407B-959D-D24239F5BB85}"/>
              </c:ext>
            </c:extLst>
          </c:dPt>
          <c:dPt>
            <c:idx val="1038"/>
            <c:invertIfNegative val="1"/>
            <c:bubble3D val="0"/>
            <c:spPr>
              <a:solidFill>
                <a:srgbClr val="AEABAB"/>
              </a:solidFill>
            </c:spPr>
            <c:extLst>
              <c:ext xmlns:c16="http://schemas.microsoft.com/office/drawing/2014/chart" uri="{C3380CC4-5D6E-409C-BE32-E72D297353CC}">
                <c16:uniqueId val="{0000081F-61F5-407B-959D-D24239F5BB85}"/>
              </c:ext>
            </c:extLst>
          </c:dPt>
          <c:dPt>
            <c:idx val="1039"/>
            <c:invertIfNegative val="1"/>
            <c:bubble3D val="0"/>
            <c:spPr>
              <a:solidFill>
                <a:srgbClr val="AEABAB"/>
              </a:solidFill>
            </c:spPr>
            <c:extLst>
              <c:ext xmlns:c16="http://schemas.microsoft.com/office/drawing/2014/chart" uri="{C3380CC4-5D6E-409C-BE32-E72D297353CC}">
                <c16:uniqueId val="{00000821-61F5-407B-959D-D24239F5BB85}"/>
              </c:ext>
            </c:extLst>
          </c:dPt>
          <c:dPt>
            <c:idx val="1040"/>
            <c:invertIfNegative val="1"/>
            <c:bubble3D val="0"/>
            <c:spPr>
              <a:solidFill>
                <a:srgbClr val="AEABAB"/>
              </a:solidFill>
            </c:spPr>
            <c:extLst>
              <c:ext xmlns:c16="http://schemas.microsoft.com/office/drawing/2014/chart" uri="{C3380CC4-5D6E-409C-BE32-E72D297353CC}">
                <c16:uniqueId val="{00000823-61F5-407B-959D-D24239F5BB85}"/>
              </c:ext>
            </c:extLst>
          </c:dPt>
          <c:dPt>
            <c:idx val="1041"/>
            <c:invertIfNegative val="1"/>
            <c:bubble3D val="0"/>
            <c:spPr>
              <a:solidFill>
                <a:srgbClr val="AEABAB"/>
              </a:solidFill>
            </c:spPr>
            <c:extLst>
              <c:ext xmlns:c16="http://schemas.microsoft.com/office/drawing/2014/chart" uri="{C3380CC4-5D6E-409C-BE32-E72D297353CC}">
                <c16:uniqueId val="{00000825-61F5-407B-959D-D24239F5BB85}"/>
              </c:ext>
            </c:extLst>
          </c:dPt>
          <c:dPt>
            <c:idx val="1042"/>
            <c:invertIfNegative val="1"/>
            <c:bubble3D val="0"/>
            <c:spPr>
              <a:solidFill>
                <a:srgbClr val="AEABAB"/>
              </a:solidFill>
            </c:spPr>
            <c:extLst>
              <c:ext xmlns:c16="http://schemas.microsoft.com/office/drawing/2014/chart" uri="{C3380CC4-5D6E-409C-BE32-E72D297353CC}">
                <c16:uniqueId val="{00000827-61F5-407B-959D-D24239F5BB85}"/>
              </c:ext>
            </c:extLst>
          </c:dPt>
          <c:dPt>
            <c:idx val="1043"/>
            <c:invertIfNegative val="1"/>
            <c:bubble3D val="0"/>
            <c:spPr>
              <a:solidFill>
                <a:srgbClr val="AEABAB"/>
              </a:solidFill>
            </c:spPr>
            <c:extLst>
              <c:ext xmlns:c16="http://schemas.microsoft.com/office/drawing/2014/chart" uri="{C3380CC4-5D6E-409C-BE32-E72D297353CC}">
                <c16:uniqueId val="{00000829-61F5-407B-959D-D24239F5BB85}"/>
              </c:ext>
            </c:extLst>
          </c:dPt>
          <c:dPt>
            <c:idx val="1044"/>
            <c:invertIfNegative val="1"/>
            <c:bubble3D val="0"/>
            <c:spPr>
              <a:solidFill>
                <a:srgbClr val="AEABAB"/>
              </a:solidFill>
            </c:spPr>
            <c:extLst>
              <c:ext xmlns:c16="http://schemas.microsoft.com/office/drawing/2014/chart" uri="{C3380CC4-5D6E-409C-BE32-E72D297353CC}">
                <c16:uniqueId val="{0000082B-61F5-407B-959D-D24239F5BB85}"/>
              </c:ext>
            </c:extLst>
          </c:dPt>
          <c:dPt>
            <c:idx val="1045"/>
            <c:invertIfNegative val="1"/>
            <c:bubble3D val="0"/>
            <c:spPr>
              <a:solidFill>
                <a:srgbClr val="AEABAB"/>
              </a:solidFill>
            </c:spPr>
            <c:extLst>
              <c:ext xmlns:c16="http://schemas.microsoft.com/office/drawing/2014/chart" uri="{C3380CC4-5D6E-409C-BE32-E72D297353CC}">
                <c16:uniqueId val="{0000082D-61F5-407B-959D-D24239F5BB85}"/>
              </c:ext>
            </c:extLst>
          </c:dPt>
          <c:dPt>
            <c:idx val="1046"/>
            <c:invertIfNegative val="1"/>
            <c:bubble3D val="0"/>
            <c:spPr>
              <a:solidFill>
                <a:srgbClr val="AEABAB"/>
              </a:solidFill>
            </c:spPr>
            <c:extLst>
              <c:ext xmlns:c16="http://schemas.microsoft.com/office/drawing/2014/chart" uri="{C3380CC4-5D6E-409C-BE32-E72D297353CC}">
                <c16:uniqueId val="{0000082F-61F5-407B-959D-D24239F5BB85}"/>
              </c:ext>
            </c:extLst>
          </c:dPt>
          <c:dPt>
            <c:idx val="1047"/>
            <c:invertIfNegative val="1"/>
            <c:bubble3D val="0"/>
            <c:spPr>
              <a:solidFill>
                <a:srgbClr val="AEABAB"/>
              </a:solidFill>
            </c:spPr>
            <c:extLst>
              <c:ext xmlns:c16="http://schemas.microsoft.com/office/drawing/2014/chart" uri="{C3380CC4-5D6E-409C-BE32-E72D297353CC}">
                <c16:uniqueId val="{00000831-61F5-407B-959D-D24239F5BB85}"/>
              </c:ext>
            </c:extLst>
          </c:dPt>
          <c:dPt>
            <c:idx val="1048"/>
            <c:invertIfNegative val="1"/>
            <c:bubble3D val="0"/>
            <c:spPr>
              <a:solidFill>
                <a:srgbClr val="AEABAB"/>
              </a:solidFill>
            </c:spPr>
            <c:extLst>
              <c:ext xmlns:c16="http://schemas.microsoft.com/office/drawing/2014/chart" uri="{C3380CC4-5D6E-409C-BE32-E72D297353CC}">
                <c16:uniqueId val="{00000833-61F5-407B-959D-D24239F5BB85}"/>
              </c:ext>
            </c:extLst>
          </c:dPt>
          <c:dPt>
            <c:idx val="1049"/>
            <c:invertIfNegative val="1"/>
            <c:bubble3D val="0"/>
            <c:spPr>
              <a:solidFill>
                <a:srgbClr val="AEABAB"/>
              </a:solidFill>
            </c:spPr>
            <c:extLst>
              <c:ext xmlns:c16="http://schemas.microsoft.com/office/drawing/2014/chart" uri="{C3380CC4-5D6E-409C-BE32-E72D297353CC}">
                <c16:uniqueId val="{00000835-61F5-407B-959D-D24239F5BB85}"/>
              </c:ext>
            </c:extLst>
          </c:dPt>
          <c:dPt>
            <c:idx val="1050"/>
            <c:invertIfNegative val="1"/>
            <c:bubble3D val="0"/>
            <c:spPr>
              <a:solidFill>
                <a:srgbClr val="AEABAB"/>
              </a:solidFill>
            </c:spPr>
            <c:extLst>
              <c:ext xmlns:c16="http://schemas.microsoft.com/office/drawing/2014/chart" uri="{C3380CC4-5D6E-409C-BE32-E72D297353CC}">
                <c16:uniqueId val="{00000837-61F5-407B-959D-D24239F5BB85}"/>
              </c:ext>
            </c:extLst>
          </c:dPt>
          <c:dPt>
            <c:idx val="1051"/>
            <c:invertIfNegative val="1"/>
            <c:bubble3D val="0"/>
            <c:spPr>
              <a:solidFill>
                <a:srgbClr val="AEABAB"/>
              </a:solidFill>
            </c:spPr>
            <c:extLst>
              <c:ext xmlns:c16="http://schemas.microsoft.com/office/drawing/2014/chart" uri="{C3380CC4-5D6E-409C-BE32-E72D297353CC}">
                <c16:uniqueId val="{00000839-61F5-407B-959D-D24239F5BB85}"/>
              </c:ext>
            </c:extLst>
          </c:dPt>
          <c:dPt>
            <c:idx val="1052"/>
            <c:invertIfNegative val="1"/>
            <c:bubble3D val="0"/>
            <c:spPr>
              <a:solidFill>
                <a:srgbClr val="AEABAB"/>
              </a:solidFill>
            </c:spPr>
            <c:extLst>
              <c:ext xmlns:c16="http://schemas.microsoft.com/office/drawing/2014/chart" uri="{C3380CC4-5D6E-409C-BE32-E72D297353CC}">
                <c16:uniqueId val="{0000083B-61F5-407B-959D-D24239F5BB85}"/>
              </c:ext>
            </c:extLst>
          </c:dPt>
          <c:dPt>
            <c:idx val="1053"/>
            <c:invertIfNegative val="1"/>
            <c:bubble3D val="0"/>
            <c:spPr>
              <a:solidFill>
                <a:srgbClr val="AEABAB"/>
              </a:solidFill>
            </c:spPr>
            <c:extLst>
              <c:ext xmlns:c16="http://schemas.microsoft.com/office/drawing/2014/chart" uri="{C3380CC4-5D6E-409C-BE32-E72D297353CC}">
                <c16:uniqueId val="{0000083D-61F5-407B-959D-D24239F5BB85}"/>
              </c:ext>
            </c:extLst>
          </c:dPt>
          <c:dPt>
            <c:idx val="1054"/>
            <c:invertIfNegative val="1"/>
            <c:bubble3D val="0"/>
            <c:spPr>
              <a:solidFill>
                <a:srgbClr val="AEABAB"/>
              </a:solidFill>
            </c:spPr>
            <c:extLst>
              <c:ext xmlns:c16="http://schemas.microsoft.com/office/drawing/2014/chart" uri="{C3380CC4-5D6E-409C-BE32-E72D297353CC}">
                <c16:uniqueId val="{0000083F-61F5-407B-959D-D24239F5BB85}"/>
              </c:ext>
            </c:extLst>
          </c:dPt>
          <c:dPt>
            <c:idx val="1055"/>
            <c:invertIfNegative val="1"/>
            <c:bubble3D val="0"/>
            <c:spPr>
              <a:solidFill>
                <a:srgbClr val="AEABAB"/>
              </a:solidFill>
            </c:spPr>
            <c:extLst>
              <c:ext xmlns:c16="http://schemas.microsoft.com/office/drawing/2014/chart" uri="{C3380CC4-5D6E-409C-BE32-E72D297353CC}">
                <c16:uniqueId val="{00000841-61F5-407B-959D-D24239F5BB85}"/>
              </c:ext>
            </c:extLst>
          </c:dPt>
          <c:dPt>
            <c:idx val="1056"/>
            <c:invertIfNegative val="1"/>
            <c:bubble3D val="0"/>
            <c:spPr>
              <a:solidFill>
                <a:srgbClr val="AEABAB"/>
              </a:solidFill>
            </c:spPr>
            <c:extLst>
              <c:ext xmlns:c16="http://schemas.microsoft.com/office/drawing/2014/chart" uri="{C3380CC4-5D6E-409C-BE32-E72D297353CC}">
                <c16:uniqueId val="{00000843-61F5-407B-959D-D24239F5BB85}"/>
              </c:ext>
            </c:extLst>
          </c:dPt>
          <c:dPt>
            <c:idx val="1057"/>
            <c:invertIfNegative val="1"/>
            <c:bubble3D val="0"/>
            <c:spPr>
              <a:solidFill>
                <a:srgbClr val="AEABAB"/>
              </a:solidFill>
            </c:spPr>
            <c:extLst>
              <c:ext xmlns:c16="http://schemas.microsoft.com/office/drawing/2014/chart" uri="{C3380CC4-5D6E-409C-BE32-E72D297353CC}">
                <c16:uniqueId val="{00000845-61F5-407B-959D-D24239F5BB85}"/>
              </c:ext>
            </c:extLst>
          </c:dPt>
          <c:dPt>
            <c:idx val="1058"/>
            <c:invertIfNegative val="1"/>
            <c:bubble3D val="0"/>
            <c:spPr>
              <a:solidFill>
                <a:srgbClr val="AEABAB"/>
              </a:solidFill>
            </c:spPr>
            <c:extLst>
              <c:ext xmlns:c16="http://schemas.microsoft.com/office/drawing/2014/chart" uri="{C3380CC4-5D6E-409C-BE32-E72D297353CC}">
                <c16:uniqueId val="{00000847-61F5-407B-959D-D24239F5BB85}"/>
              </c:ext>
            </c:extLst>
          </c:dPt>
          <c:dPt>
            <c:idx val="1059"/>
            <c:invertIfNegative val="1"/>
            <c:bubble3D val="0"/>
            <c:spPr>
              <a:solidFill>
                <a:srgbClr val="AEABAB"/>
              </a:solidFill>
            </c:spPr>
            <c:extLst>
              <c:ext xmlns:c16="http://schemas.microsoft.com/office/drawing/2014/chart" uri="{C3380CC4-5D6E-409C-BE32-E72D297353CC}">
                <c16:uniqueId val="{00000849-61F5-407B-959D-D24239F5BB85}"/>
              </c:ext>
            </c:extLst>
          </c:dPt>
          <c:dPt>
            <c:idx val="1060"/>
            <c:invertIfNegative val="1"/>
            <c:bubble3D val="0"/>
            <c:spPr>
              <a:solidFill>
                <a:srgbClr val="AEABAB"/>
              </a:solidFill>
            </c:spPr>
            <c:extLst>
              <c:ext xmlns:c16="http://schemas.microsoft.com/office/drawing/2014/chart" uri="{C3380CC4-5D6E-409C-BE32-E72D297353CC}">
                <c16:uniqueId val="{0000084B-61F5-407B-959D-D24239F5BB85}"/>
              </c:ext>
            </c:extLst>
          </c:dPt>
          <c:dPt>
            <c:idx val="1061"/>
            <c:invertIfNegative val="1"/>
            <c:bubble3D val="0"/>
            <c:spPr>
              <a:solidFill>
                <a:srgbClr val="AEABAB"/>
              </a:solidFill>
            </c:spPr>
            <c:extLst>
              <c:ext xmlns:c16="http://schemas.microsoft.com/office/drawing/2014/chart" uri="{C3380CC4-5D6E-409C-BE32-E72D297353CC}">
                <c16:uniqueId val="{0000084D-61F5-407B-959D-D24239F5BB85}"/>
              </c:ext>
            </c:extLst>
          </c:dPt>
          <c:dPt>
            <c:idx val="1062"/>
            <c:invertIfNegative val="1"/>
            <c:bubble3D val="0"/>
            <c:spPr>
              <a:solidFill>
                <a:srgbClr val="AEABAB"/>
              </a:solidFill>
            </c:spPr>
            <c:extLst>
              <c:ext xmlns:c16="http://schemas.microsoft.com/office/drawing/2014/chart" uri="{C3380CC4-5D6E-409C-BE32-E72D297353CC}">
                <c16:uniqueId val="{0000084F-61F5-407B-959D-D24239F5BB85}"/>
              </c:ext>
            </c:extLst>
          </c:dPt>
          <c:dPt>
            <c:idx val="1063"/>
            <c:invertIfNegative val="1"/>
            <c:bubble3D val="0"/>
            <c:spPr>
              <a:solidFill>
                <a:srgbClr val="AEABAB"/>
              </a:solidFill>
            </c:spPr>
            <c:extLst>
              <c:ext xmlns:c16="http://schemas.microsoft.com/office/drawing/2014/chart" uri="{C3380CC4-5D6E-409C-BE32-E72D297353CC}">
                <c16:uniqueId val="{00000851-61F5-407B-959D-D24239F5BB85}"/>
              </c:ext>
            </c:extLst>
          </c:dPt>
          <c:dPt>
            <c:idx val="1064"/>
            <c:invertIfNegative val="1"/>
            <c:bubble3D val="0"/>
            <c:spPr>
              <a:solidFill>
                <a:srgbClr val="AEABAB"/>
              </a:solidFill>
            </c:spPr>
            <c:extLst>
              <c:ext xmlns:c16="http://schemas.microsoft.com/office/drawing/2014/chart" uri="{C3380CC4-5D6E-409C-BE32-E72D297353CC}">
                <c16:uniqueId val="{00000853-61F5-407B-959D-D24239F5BB85}"/>
              </c:ext>
            </c:extLst>
          </c:dPt>
          <c:dPt>
            <c:idx val="1065"/>
            <c:invertIfNegative val="1"/>
            <c:bubble3D val="0"/>
            <c:spPr>
              <a:solidFill>
                <a:srgbClr val="AEABAB"/>
              </a:solidFill>
            </c:spPr>
            <c:extLst>
              <c:ext xmlns:c16="http://schemas.microsoft.com/office/drawing/2014/chart" uri="{C3380CC4-5D6E-409C-BE32-E72D297353CC}">
                <c16:uniqueId val="{00000855-61F5-407B-959D-D24239F5BB85}"/>
              </c:ext>
            </c:extLst>
          </c:dPt>
          <c:dPt>
            <c:idx val="1066"/>
            <c:invertIfNegative val="1"/>
            <c:bubble3D val="0"/>
            <c:spPr>
              <a:solidFill>
                <a:srgbClr val="AEABAB"/>
              </a:solidFill>
            </c:spPr>
            <c:extLst>
              <c:ext xmlns:c16="http://schemas.microsoft.com/office/drawing/2014/chart" uri="{C3380CC4-5D6E-409C-BE32-E72D297353CC}">
                <c16:uniqueId val="{00000857-61F5-407B-959D-D24239F5BB85}"/>
              </c:ext>
            </c:extLst>
          </c:dPt>
          <c:dPt>
            <c:idx val="1067"/>
            <c:invertIfNegative val="1"/>
            <c:bubble3D val="0"/>
            <c:spPr>
              <a:solidFill>
                <a:srgbClr val="AEABAB"/>
              </a:solidFill>
            </c:spPr>
            <c:extLst>
              <c:ext xmlns:c16="http://schemas.microsoft.com/office/drawing/2014/chart" uri="{C3380CC4-5D6E-409C-BE32-E72D297353CC}">
                <c16:uniqueId val="{00000859-61F5-407B-959D-D24239F5BB85}"/>
              </c:ext>
            </c:extLst>
          </c:dPt>
          <c:dPt>
            <c:idx val="1068"/>
            <c:invertIfNegative val="1"/>
            <c:bubble3D val="0"/>
            <c:spPr>
              <a:solidFill>
                <a:srgbClr val="AEABAB"/>
              </a:solidFill>
            </c:spPr>
            <c:extLst>
              <c:ext xmlns:c16="http://schemas.microsoft.com/office/drawing/2014/chart" uri="{C3380CC4-5D6E-409C-BE32-E72D297353CC}">
                <c16:uniqueId val="{0000085B-61F5-407B-959D-D24239F5BB85}"/>
              </c:ext>
            </c:extLst>
          </c:dPt>
          <c:dPt>
            <c:idx val="1069"/>
            <c:invertIfNegative val="1"/>
            <c:bubble3D val="0"/>
            <c:spPr>
              <a:solidFill>
                <a:srgbClr val="AEABAB"/>
              </a:solidFill>
            </c:spPr>
            <c:extLst>
              <c:ext xmlns:c16="http://schemas.microsoft.com/office/drawing/2014/chart" uri="{C3380CC4-5D6E-409C-BE32-E72D297353CC}">
                <c16:uniqueId val="{0000085D-61F5-407B-959D-D24239F5BB85}"/>
              </c:ext>
            </c:extLst>
          </c:dPt>
          <c:dPt>
            <c:idx val="1070"/>
            <c:invertIfNegative val="1"/>
            <c:bubble3D val="0"/>
            <c:spPr>
              <a:solidFill>
                <a:srgbClr val="AEABAB"/>
              </a:solidFill>
            </c:spPr>
            <c:extLst>
              <c:ext xmlns:c16="http://schemas.microsoft.com/office/drawing/2014/chart" uri="{C3380CC4-5D6E-409C-BE32-E72D297353CC}">
                <c16:uniqueId val="{0000085F-61F5-407B-959D-D24239F5BB85}"/>
              </c:ext>
            </c:extLst>
          </c:dPt>
          <c:dPt>
            <c:idx val="1071"/>
            <c:invertIfNegative val="1"/>
            <c:bubble3D val="0"/>
            <c:spPr>
              <a:solidFill>
                <a:srgbClr val="AEABAB"/>
              </a:solidFill>
            </c:spPr>
            <c:extLst>
              <c:ext xmlns:c16="http://schemas.microsoft.com/office/drawing/2014/chart" uri="{C3380CC4-5D6E-409C-BE32-E72D297353CC}">
                <c16:uniqueId val="{00000861-61F5-407B-959D-D24239F5BB85}"/>
              </c:ext>
            </c:extLst>
          </c:dPt>
          <c:dPt>
            <c:idx val="1072"/>
            <c:invertIfNegative val="1"/>
            <c:bubble3D val="0"/>
            <c:spPr>
              <a:solidFill>
                <a:srgbClr val="AEABAB"/>
              </a:solidFill>
            </c:spPr>
            <c:extLst>
              <c:ext xmlns:c16="http://schemas.microsoft.com/office/drawing/2014/chart" uri="{C3380CC4-5D6E-409C-BE32-E72D297353CC}">
                <c16:uniqueId val="{00000863-61F5-407B-959D-D24239F5BB85}"/>
              </c:ext>
            </c:extLst>
          </c:dPt>
          <c:dPt>
            <c:idx val="1073"/>
            <c:invertIfNegative val="1"/>
            <c:bubble3D val="0"/>
            <c:spPr>
              <a:solidFill>
                <a:srgbClr val="AEABAB"/>
              </a:solidFill>
            </c:spPr>
            <c:extLst>
              <c:ext xmlns:c16="http://schemas.microsoft.com/office/drawing/2014/chart" uri="{C3380CC4-5D6E-409C-BE32-E72D297353CC}">
                <c16:uniqueId val="{00000865-61F5-407B-959D-D24239F5BB85}"/>
              </c:ext>
            </c:extLst>
          </c:dPt>
          <c:dPt>
            <c:idx val="1074"/>
            <c:invertIfNegative val="1"/>
            <c:bubble3D val="0"/>
            <c:spPr>
              <a:solidFill>
                <a:srgbClr val="AEABAB"/>
              </a:solidFill>
            </c:spPr>
            <c:extLst>
              <c:ext xmlns:c16="http://schemas.microsoft.com/office/drawing/2014/chart" uri="{C3380CC4-5D6E-409C-BE32-E72D297353CC}">
                <c16:uniqueId val="{00000867-61F5-407B-959D-D24239F5BB85}"/>
              </c:ext>
            </c:extLst>
          </c:dPt>
          <c:dPt>
            <c:idx val="1075"/>
            <c:invertIfNegative val="1"/>
            <c:bubble3D val="0"/>
            <c:spPr>
              <a:solidFill>
                <a:srgbClr val="AEABAB"/>
              </a:solidFill>
            </c:spPr>
            <c:extLst>
              <c:ext xmlns:c16="http://schemas.microsoft.com/office/drawing/2014/chart" uri="{C3380CC4-5D6E-409C-BE32-E72D297353CC}">
                <c16:uniqueId val="{00000869-61F5-407B-959D-D24239F5BB85}"/>
              </c:ext>
            </c:extLst>
          </c:dPt>
          <c:dPt>
            <c:idx val="1076"/>
            <c:invertIfNegative val="1"/>
            <c:bubble3D val="0"/>
            <c:spPr>
              <a:solidFill>
                <a:srgbClr val="AEABAB"/>
              </a:solidFill>
            </c:spPr>
            <c:extLst>
              <c:ext xmlns:c16="http://schemas.microsoft.com/office/drawing/2014/chart" uri="{C3380CC4-5D6E-409C-BE32-E72D297353CC}">
                <c16:uniqueId val="{0000086B-61F5-407B-959D-D24239F5BB85}"/>
              </c:ext>
            </c:extLst>
          </c:dPt>
          <c:dPt>
            <c:idx val="1077"/>
            <c:invertIfNegative val="1"/>
            <c:bubble3D val="0"/>
            <c:spPr>
              <a:solidFill>
                <a:srgbClr val="AEABAB"/>
              </a:solidFill>
            </c:spPr>
            <c:extLst>
              <c:ext xmlns:c16="http://schemas.microsoft.com/office/drawing/2014/chart" uri="{C3380CC4-5D6E-409C-BE32-E72D297353CC}">
                <c16:uniqueId val="{0000086D-61F5-407B-959D-D24239F5BB85}"/>
              </c:ext>
            </c:extLst>
          </c:dPt>
          <c:dPt>
            <c:idx val="1078"/>
            <c:invertIfNegative val="1"/>
            <c:bubble3D val="0"/>
            <c:spPr>
              <a:solidFill>
                <a:srgbClr val="AEABAB"/>
              </a:solidFill>
            </c:spPr>
            <c:extLst>
              <c:ext xmlns:c16="http://schemas.microsoft.com/office/drawing/2014/chart" uri="{C3380CC4-5D6E-409C-BE32-E72D297353CC}">
                <c16:uniqueId val="{0000086F-61F5-407B-959D-D24239F5BB85}"/>
              </c:ext>
            </c:extLst>
          </c:dPt>
          <c:dPt>
            <c:idx val="1079"/>
            <c:invertIfNegative val="1"/>
            <c:bubble3D val="0"/>
            <c:spPr>
              <a:solidFill>
                <a:srgbClr val="AEABAB"/>
              </a:solidFill>
            </c:spPr>
            <c:extLst>
              <c:ext xmlns:c16="http://schemas.microsoft.com/office/drawing/2014/chart" uri="{C3380CC4-5D6E-409C-BE32-E72D297353CC}">
                <c16:uniqueId val="{00000871-61F5-407B-959D-D24239F5BB85}"/>
              </c:ext>
            </c:extLst>
          </c:dPt>
          <c:dPt>
            <c:idx val="1080"/>
            <c:invertIfNegative val="1"/>
            <c:bubble3D val="0"/>
            <c:spPr>
              <a:solidFill>
                <a:srgbClr val="AEABAB"/>
              </a:solidFill>
            </c:spPr>
            <c:extLst>
              <c:ext xmlns:c16="http://schemas.microsoft.com/office/drawing/2014/chart" uri="{C3380CC4-5D6E-409C-BE32-E72D297353CC}">
                <c16:uniqueId val="{00000873-61F5-407B-959D-D24239F5BB85}"/>
              </c:ext>
            </c:extLst>
          </c:dPt>
          <c:dPt>
            <c:idx val="1081"/>
            <c:invertIfNegative val="1"/>
            <c:bubble3D val="0"/>
            <c:spPr>
              <a:solidFill>
                <a:srgbClr val="AEABAB"/>
              </a:solidFill>
            </c:spPr>
            <c:extLst>
              <c:ext xmlns:c16="http://schemas.microsoft.com/office/drawing/2014/chart" uri="{C3380CC4-5D6E-409C-BE32-E72D297353CC}">
                <c16:uniqueId val="{00000875-61F5-407B-959D-D24239F5BB85}"/>
              </c:ext>
            </c:extLst>
          </c:dPt>
          <c:dPt>
            <c:idx val="1082"/>
            <c:invertIfNegative val="1"/>
            <c:bubble3D val="0"/>
            <c:spPr>
              <a:solidFill>
                <a:srgbClr val="AEABAB"/>
              </a:solidFill>
            </c:spPr>
            <c:extLst>
              <c:ext xmlns:c16="http://schemas.microsoft.com/office/drawing/2014/chart" uri="{C3380CC4-5D6E-409C-BE32-E72D297353CC}">
                <c16:uniqueId val="{00000877-61F5-407B-959D-D24239F5BB85}"/>
              </c:ext>
            </c:extLst>
          </c:dPt>
          <c:dPt>
            <c:idx val="1083"/>
            <c:invertIfNegative val="1"/>
            <c:bubble3D val="0"/>
            <c:spPr>
              <a:solidFill>
                <a:srgbClr val="AEABAB"/>
              </a:solidFill>
            </c:spPr>
            <c:extLst>
              <c:ext xmlns:c16="http://schemas.microsoft.com/office/drawing/2014/chart" uri="{C3380CC4-5D6E-409C-BE32-E72D297353CC}">
                <c16:uniqueId val="{00000879-61F5-407B-959D-D24239F5BB85}"/>
              </c:ext>
            </c:extLst>
          </c:dPt>
          <c:dPt>
            <c:idx val="1084"/>
            <c:invertIfNegative val="1"/>
            <c:bubble3D val="0"/>
            <c:spPr>
              <a:solidFill>
                <a:srgbClr val="AEABAB"/>
              </a:solidFill>
            </c:spPr>
            <c:extLst>
              <c:ext xmlns:c16="http://schemas.microsoft.com/office/drawing/2014/chart" uri="{C3380CC4-5D6E-409C-BE32-E72D297353CC}">
                <c16:uniqueId val="{0000087B-61F5-407B-959D-D24239F5BB85}"/>
              </c:ext>
            </c:extLst>
          </c:dPt>
          <c:dPt>
            <c:idx val="1085"/>
            <c:invertIfNegative val="1"/>
            <c:bubble3D val="0"/>
            <c:spPr>
              <a:solidFill>
                <a:srgbClr val="AEABAB"/>
              </a:solidFill>
            </c:spPr>
            <c:extLst>
              <c:ext xmlns:c16="http://schemas.microsoft.com/office/drawing/2014/chart" uri="{C3380CC4-5D6E-409C-BE32-E72D297353CC}">
                <c16:uniqueId val="{0000087D-61F5-407B-959D-D24239F5BB85}"/>
              </c:ext>
            </c:extLst>
          </c:dPt>
          <c:dPt>
            <c:idx val="1086"/>
            <c:invertIfNegative val="1"/>
            <c:bubble3D val="0"/>
            <c:spPr>
              <a:solidFill>
                <a:srgbClr val="AEABAB"/>
              </a:solidFill>
            </c:spPr>
            <c:extLst>
              <c:ext xmlns:c16="http://schemas.microsoft.com/office/drawing/2014/chart" uri="{C3380CC4-5D6E-409C-BE32-E72D297353CC}">
                <c16:uniqueId val="{0000087F-61F5-407B-959D-D24239F5BB85}"/>
              </c:ext>
            </c:extLst>
          </c:dPt>
          <c:dPt>
            <c:idx val="1087"/>
            <c:invertIfNegative val="1"/>
            <c:bubble3D val="0"/>
            <c:spPr>
              <a:solidFill>
                <a:srgbClr val="AEABAB"/>
              </a:solidFill>
            </c:spPr>
            <c:extLst>
              <c:ext xmlns:c16="http://schemas.microsoft.com/office/drawing/2014/chart" uri="{C3380CC4-5D6E-409C-BE32-E72D297353CC}">
                <c16:uniqueId val="{00000881-61F5-407B-959D-D24239F5BB85}"/>
              </c:ext>
            </c:extLst>
          </c:dPt>
          <c:dPt>
            <c:idx val="1088"/>
            <c:invertIfNegative val="1"/>
            <c:bubble3D val="0"/>
            <c:spPr>
              <a:solidFill>
                <a:srgbClr val="AEABAB"/>
              </a:solidFill>
            </c:spPr>
            <c:extLst>
              <c:ext xmlns:c16="http://schemas.microsoft.com/office/drawing/2014/chart" uri="{C3380CC4-5D6E-409C-BE32-E72D297353CC}">
                <c16:uniqueId val="{00000883-61F5-407B-959D-D24239F5BB85}"/>
              </c:ext>
            </c:extLst>
          </c:dPt>
          <c:dPt>
            <c:idx val="1089"/>
            <c:invertIfNegative val="1"/>
            <c:bubble3D val="0"/>
            <c:spPr>
              <a:solidFill>
                <a:srgbClr val="AEABAB"/>
              </a:solidFill>
            </c:spPr>
            <c:extLst>
              <c:ext xmlns:c16="http://schemas.microsoft.com/office/drawing/2014/chart" uri="{C3380CC4-5D6E-409C-BE32-E72D297353CC}">
                <c16:uniqueId val="{00000885-61F5-407B-959D-D24239F5BB85}"/>
              </c:ext>
            </c:extLst>
          </c:dPt>
          <c:dPt>
            <c:idx val="1090"/>
            <c:invertIfNegative val="1"/>
            <c:bubble3D val="0"/>
            <c:spPr>
              <a:solidFill>
                <a:srgbClr val="AEABAB"/>
              </a:solidFill>
            </c:spPr>
            <c:extLst>
              <c:ext xmlns:c16="http://schemas.microsoft.com/office/drawing/2014/chart" uri="{C3380CC4-5D6E-409C-BE32-E72D297353CC}">
                <c16:uniqueId val="{00000887-61F5-407B-959D-D24239F5BB85}"/>
              </c:ext>
            </c:extLst>
          </c:dPt>
          <c:dPt>
            <c:idx val="1091"/>
            <c:invertIfNegative val="1"/>
            <c:bubble3D val="0"/>
            <c:spPr>
              <a:solidFill>
                <a:srgbClr val="AEABAB"/>
              </a:solidFill>
            </c:spPr>
            <c:extLst>
              <c:ext xmlns:c16="http://schemas.microsoft.com/office/drawing/2014/chart" uri="{C3380CC4-5D6E-409C-BE32-E72D297353CC}">
                <c16:uniqueId val="{00000889-61F5-407B-959D-D24239F5BB85}"/>
              </c:ext>
            </c:extLst>
          </c:dPt>
          <c:dPt>
            <c:idx val="1092"/>
            <c:invertIfNegative val="1"/>
            <c:bubble3D val="0"/>
            <c:spPr>
              <a:solidFill>
                <a:srgbClr val="AEABAB"/>
              </a:solidFill>
            </c:spPr>
            <c:extLst>
              <c:ext xmlns:c16="http://schemas.microsoft.com/office/drawing/2014/chart" uri="{C3380CC4-5D6E-409C-BE32-E72D297353CC}">
                <c16:uniqueId val="{0000088B-61F5-407B-959D-D24239F5BB85}"/>
              </c:ext>
            </c:extLst>
          </c:dPt>
          <c:dPt>
            <c:idx val="1093"/>
            <c:invertIfNegative val="1"/>
            <c:bubble3D val="0"/>
            <c:spPr>
              <a:solidFill>
                <a:srgbClr val="AEABAB"/>
              </a:solidFill>
            </c:spPr>
            <c:extLst>
              <c:ext xmlns:c16="http://schemas.microsoft.com/office/drawing/2014/chart" uri="{C3380CC4-5D6E-409C-BE32-E72D297353CC}">
                <c16:uniqueId val="{0000088D-61F5-407B-959D-D24239F5BB85}"/>
              </c:ext>
            </c:extLst>
          </c:dPt>
          <c:dPt>
            <c:idx val="1094"/>
            <c:invertIfNegative val="1"/>
            <c:bubble3D val="0"/>
            <c:spPr>
              <a:solidFill>
                <a:srgbClr val="AEABAB"/>
              </a:solidFill>
            </c:spPr>
            <c:extLst>
              <c:ext xmlns:c16="http://schemas.microsoft.com/office/drawing/2014/chart" uri="{C3380CC4-5D6E-409C-BE32-E72D297353CC}">
                <c16:uniqueId val="{0000088F-61F5-407B-959D-D24239F5BB85}"/>
              </c:ext>
            </c:extLst>
          </c:dPt>
          <c:dPt>
            <c:idx val="1095"/>
            <c:invertIfNegative val="1"/>
            <c:bubble3D val="0"/>
            <c:spPr>
              <a:solidFill>
                <a:srgbClr val="AEABAB"/>
              </a:solidFill>
            </c:spPr>
            <c:extLst>
              <c:ext xmlns:c16="http://schemas.microsoft.com/office/drawing/2014/chart" uri="{C3380CC4-5D6E-409C-BE32-E72D297353CC}">
                <c16:uniqueId val="{00000891-61F5-407B-959D-D24239F5BB85}"/>
              </c:ext>
            </c:extLst>
          </c:dPt>
          <c:dPt>
            <c:idx val="1096"/>
            <c:invertIfNegative val="1"/>
            <c:bubble3D val="0"/>
            <c:spPr>
              <a:solidFill>
                <a:srgbClr val="AEABAB"/>
              </a:solidFill>
            </c:spPr>
            <c:extLst>
              <c:ext xmlns:c16="http://schemas.microsoft.com/office/drawing/2014/chart" uri="{C3380CC4-5D6E-409C-BE32-E72D297353CC}">
                <c16:uniqueId val="{00000893-61F5-407B-959D-D24239F5BB85}"/>
              </c:ext>
            </c:extLst>
          </c:dPt>
          <c:dPt>
            <c:idx val="1097"/>
            <c:invertIfNegative val="1"/>
            <c:bubble3D val="0"/>
            <c:spPr>
              <a:solidFill>
                <a:srgbClr val="AEABAB"/>
              </a:solidFill>
            </c:spPr>
            <c:extLst>
              <c:ext xmlns:c16="http://schemas.microsoft.com/office/drawing/2014/chart" uri="{C3380CC4-5D6E-409C-BE32-E72D297353CC}">
                <c16:uniqueId val="{00000895-61F5-407B-959D-D24239F5BB85}"/>
              </c:ext>
            </c:extLst>
          </c:dPt>
          <c:dPt>
            <c:idx val="1098"/>
            <c:invertIfNegative val="1"/>
            <c:bubble3D val="0"/>
            <c:spPr>
              <a:solidFill>
                <a:srgbClr val="AEABAB"/>
              </a:solidFill>
            </c:spPr>
            <c:extLst>
              <c:ext xmlns:c16="http://schemas.microsoft.com/office/drawing/2014/chart" uri="{C3380CC4-5D6E-409C-BE32-E72D297353CC}">
                <c16:uniqueId val="{00000897-61F5-407B-959D-D24239F5BB85}"/>
              </c:ext>
            </c:extLst>
          </c:dPt>
          <c:dPt>
            <c:idx val="1099"/>
            <c:invertIfNegative val="1"/>
            <c:bubble3D val="0"/>
            <c:spPr>
              <a:solidFill>
                <a:srgbClr val="AEABAB"/>
              </a:solidFill>
            </c:spPr>
            <c:extLst>
              <c:ext xmlns:c16="http://schemas.microsoft.com/office/drawing/2014/chart" uri="{C3380CC4-5D6E-409C-BE32-E72D297353CC}">
                <c16:uniqueId val="{00000899-61F5-407B-959D-D24239F5BB85}"/>
              </c:ext>
            </c:extLst>
          </c:dPt>
          <c:dPt>
            <c:idx val="1100"/>
            <c:invertIfNegative val="1"/>
            <c:bubble3D val="0"/>
            <c:spPr>
              <a:solidFill>
                <a:srgbClr val="AEABAB"/>
              </a:solidFill>
            </c:spPr>
            <c:extLst>
              <c:ext xmlns:c16="http://schemas.microsoft.com/office/drawing/2014/chart" uri="{C3380CC4-5D6E-409C-BE32-E72D297353CC}">
                <c16:uniqueId val="{0000089B-61F5-407B-959D-D24239F5BB85}"/>
              </c:ext>
            </c:extLst>
          </c:dPt>
          <c:dPt>
            <c:idx val="1101"/>
            <c:invertIfNegative val="1"/>
            <c:bubble3D val="0"/>
            <c:spPr>
              <a:solidFill>
                <a:srgbClr val="AEABAB"/>
              </a:solidFill>
            </c:spPr>
            <c:extLst>
              <c:ext xmlns:c16="http://schemas.microsoft.com/office/drawing/2014/chart" uri="{C3380CC4-5D6E-409C-BE32-E72D297353CC}">
                <c16:uniqueId val="{0000089D-61F5-407B-959D-D24239F5BB85}"/>
              </c:ext>
            </c:extLst>
          </c:dPt>
          <c:dPt>
            <c:idx val="1102"/>
            <c:invertIfNegative val="1"/>
            <c:bubble3D val="0"/>
            <c:spPr>
              <a:solidFill>
                <a:srgbClr val="AEABAB"/>
              </a:solidFill>
            </c:spPr>
            <c:extLst>
              <c:ext xmlns:c16="http://schemas.microsoft.com/office/drawing/2014/chart" uri="{C3380CC4-5D6E-409C-BE32-E72D297353CC}">
                <c16:uniqueId val="{0000089F-61F5-407B-959D-D24239F5BB85}"/>
              </c:ext>
            </c:extLst>
          </c:dPt>
          <c:dPt>
            <c:idx val="1103"/>
            <c:invertIfNegative val="1"/>
            <c:bubble3D val="0"/>
            <c:spPr>
              <a:solidFill>
                <a:srgbClr val="AEABAB"/>
              </a:solidFill>
            </c:spPr>
            <c:extLst>
              <c:ext xmlns:c16="http://schemas.microsoft.com/office/drawing/2014/chart" uri="{C3380CC4-5D6E-409C-BE32-E72D297353CC}">
                <c16:uniqueId val="{000008A1-61F5-407B-959D-D24239F5BB85}"/>
              </c:ext>
            </c:extLst>
          </c:dPt>
          <c:dPt>
            <c:idx val="1104"/>
            <c:invertIfNegative val="1"/>
            <c:bubble3D val="0"/>
            <c:spPr>
              <a:solidFill>
                <a:srgbClr val="AEABAB"/>
              </a:solidFill>
            </c:spPr>
            <c:extLst>
              <c:ext xmlns:c16="http://schemas.microsoft.com/office/drawing/2014/chart" uri="{C3380CC4-5D6E-409C-BE32-E72D297353CC}">
                <c16:uniqueId val="{000008A3-61F5-407B-959D-D24239F5BB85}"/>
              </c:ext>
            </c:extLst>
          </c:dPt>
          <c:dPt>
            <c:idx val="1105"/>
            <c:invertIfNegative val="1"/>
            <c:bubble3D val="0"/>
            <c:spPr>
              <a:solidFill>
                <a:srgbClr val="AEABAB"/>
              </a:solidFill>
            </c:spPr>
            <c:extLst>
              <c:ext xmlns:c16="http://schemas.microsoft.com/office/drawing/2014/chart" uri="{C3380CC4-5D6E-409C-BE32-E72D297353CC}">
                <c16:uniqueId val="{000008A5-61F5-407B-959D-D24239F5BB85}"/>
              </c:ext>
            </c:extLst>
          </c:dPt>
          <c:dPt>
            <c:idx val="1106"/>
            <c:invertIfNegative val="1"/>
            <c:bubble3D val="0"/>
            <c:spPr>
              <a:solidFill>
                <a:srgbClr val="AEABAB"/>
              </a:solidFill>
            </c:spPr>
            <c:extLst>
              <c:ext xmlns:c16="http://schemas.microsoft.com/office/drawing/2014/chart" uri="{C3380CC4-5D6E-409C-BE32-E72D297353CC}">
                <c16:uniqueId val="{000008A7-61F5-407B-959D-D24239F5BB85}"/>
              </c:ext>
            </c:extLst>
          </c:dPt>
          <c:dPt>
            <c:idx val="1107"/>
            <c:invertIfNegative val="1"/>
            <c:bubble3D val="0"/>
            <c:spPr>
              <a:solidFill>
                <a:srgbClr val="AEABAB"/>
              </a:solidFill>
            </c:spPr>
            <c:extLst>
              <c:ext xmlns:c16="http://schemas.microsoft.com/office/drawing/2014/chart" uri="{C3380CC4-5D6E-409C-BE32-E72D297353CC}">
                <c16:uniqueId val="{000008A9-61F5-407B-959D-D24239F5BB85}"/>
              </c:ext>
            </c:extLst>
          </c:dPt>
          <c:dPt>
            <c:idx val="1108"/>
            <c:invertIfNegative val="1"/>
            <c:bubble3D val="0"/>
            <c:spPr>
              <a:solidFill>
                <a:srgbClr val="AEABAB"/>
              </a:solidFill>
            </c:spPr>
            <c:extLst>
              <c:ext xmlns:c16="http://schemas.microsoft.com/office/drawing/2014/chart" uri="{C3380CC4-5D6E-409C-BE32-E72D297353CC}">
                <c16:uniqueId val="{000008AB-61F5-407B-959D-D24239F5BB85}"/>
              </c:ext>
            </c:extLst>
          </c:dPt>
          <c:dPt>
            <c:idx val="1109"/>
            <c:invertIfNegative val="1"/>
            <c:bubble3D val="0"/>
            <c:spPr>
              <a:solidFill>
                <a:srgbClr val="AEABAB"/>
              </a:solidFill>
            </c:spPr>
            <c:extLst>
              <c:ext xmlns:c16="http://schemas.microsoft.com/office/drawing/2014/chart" uri="{C3380CC4-5D6E-409C-BE32-E72D297353CC}">
                <c16:uniqueId val="{000008AD-61F5-407B-959D-D24239F5BB85}"/>
              </c:ext>
            </c:extLst>
          </c:dPt>
          <c:dPt>
            <c:idx val="1110"/>
            <c:invertIfNegative val="1"/>
            <c:bubble3D val="0"/>
            <c:spPr>
              <a:solidFill>
                <a:srgbClr val="AEABAB"/>
              </a:solidFill>
            </c:spPr>
            <c:extLst>
              <c:ext xmlns:c16="http://schemas.microsoft.com/office/drawing/2014/chart" uri="{C3380CC4-5D6E-409C-BE32-E72D297353CC}">
                <c16:uniqueId val="{000008AF-61F5-407B-959D-D24239F5BB85}"/>
              </c:ext>
            </c:extLst>
          </c:dPt>
          <c:dPt>
            <c:idx val="1111"/>
            <c:invertIfNegative val="1"/>
            <c:bubble3D val="0"/>
            <c:spPr>
              <a:solidFill>
                <a:srgbClr val="AEABAB"/>
              </a:solidFill>
            </c:spPr>
            <c:extLst>
              <c:ext xmlns:c16="http://schemas.microsoft.com/office/drawing/2014/chart" uri="{C3380CC4-5D6E-409C-BE32-E72D297353CC}">
                <c16:uniqueId val="{000008B1-61F5-407B-959D-D24239F5BB85}"/>
              </c:ext>
            </c:extLst>
          </c:dPt>
          <c:dPt>
            <c:idx val="1112"/>
            <c:invertIfNegative val="1"/>
            <c:bubble3D val="0"/>
            <c:spPr>
              <a:solidFill>
                <a:srgbClr val="AEABAB"/>
              </a:solidFill>
            </c:spPr>
            <c:extLst>
              <c:ext xmlns:c16="http://schemas.microsoft.com/office/drawing/2014/chart" uri="{C3380CC4-5D6E-409C-BE32-E72D297353CC}">
                <c16:uniqueId val="{000008B3-61F5-407B-959D-D24239F5BB85}"/>
              </c:ext>
            </c:extLst>
          </c:dPt>
          <c:dPt>
            <c:idx val="1113"/>
            <c:invertIfNegative val="1"/>
            <c:bubble3D val="0"/>
            <c:spPr>
              <a:solidFill>
                <a:srgbClr val="AEABAB"/>
              </a:solidFill>
            </c:spPr>
            <c:extLst>
              <c:ext xmlns:c16="http://schemas.microsoft.com/office/drawing/2014/chart" uri="{C3380CC4-5D6E-409C-BE32-E72D297353CC}">
                <c16:uniqueId val="{000008B5-61F5-407B-959D-D24239F5BB85}"/>
              </c:ext>
            </c:extLst>
          </c:dPt>
          <c:dPt>
            <c:idx val="1114"/>
            <c:invertIfNegative val="1"/>
            <c:bubble3D val="0"/>
            <c:spPr>
              <a:solidFill>
                <a:srgbClr val="AEABAB"/>
              </a:solidFill>
            </c:spPr>
            <c:extLst>
              <c:ext xmlns:c16="http://schemas.microsoft.com/office/drawing/2014/chart" uri="{C3380CC4-5D6E-409C-BE32-E72D297353CC}">
                <c16:uniqueId val="{000008B7-61F5-407B-959D-D24239F5BB85}"/>
              </c:ext>
            </c:extLst>
          </c:dPt>
          <c:dPt>
            <c:idx val="1115"/>
            <c:invertIfNegative val="1"/>
            <c:bubble3D val="0"/>
            <c:spPr>
              <a:solidFill>
                <a:srgbClr val="AEABAB"/>
              </a:solidFill>
            </c:spPr>
            <c:extLst>
              <c:ext xmlns:c16="http://schemas.microsoft.com/office/drawing/2014/chart" uri="{C3380CC4-5D6E-409C-BE32-E72D297353CC}">
                <c16:uniqueId val="{000008B9-61F5-407B-959D-D24239F5BB85}"/>
              </c:ext>
            </c:extLst>
          </c:dPt>
          <c:dPt>
            <c:idx val="1116"/>
            <c:invertIfNegative val="1"/>
            <c:bubble3D val="0"/>
            <c:spPr>
              <a:solidFill>
                <a:srgbClr val="AEABAB"/>
              </a:solidFill>
            </c:spPr>
            <c:extLst>
              <c:ext xmlns:c16="http://schemas.microsoft.com/office/drawing/2014/chart" uri="{C3380CC4-5D6E-409C-BE32-E72D297353CC}">
                <c16:uniqueId val="{000008BB-61F5-407B-959D-D24239F5BB85}"/>
              </c:ext>
            </c:extLst>
          </c:dPt>
          <c:dPt>
            <c:idx val="1117"/>
            <c:invertIfNegative val="1"/>
            <c:bubble3D val="0"/>
            <c:spPr>
              <a:solidFill>
                <a:srgbClr val="AEABAB"/>
              </a:solidFill>
            </c:spPr>
            <c:extLst>
              <c:ext xmlns:c16="http://schemas.microsoft.com/office/drawing/2014/chart" uri="{C3380CC4-5D6E-409C-BE32-E72D297353CC}">
                <c16:uniqueId val="{000008BD-61F5-407B-959D-D24239F5BB85}"/>
              </c:ext>
            </c:extLst>
          </c:dPt>
          <c:dPt>
            <c:idx val="1118"/>
            <c:invertIfNegative val="1"/>
            <c:bubble3D val="0"/>
            <c:spPr>
              <a:solidFill>
                <a:srgbClr val="AEABAB"/>
              </a:solidFill>
            </c:spPr>
            <c:extLst>
              <c:ext xmlns:c16="http://schemas.microsoft.com/office/drawing/2014/chart" uri="{C3380CC4-5D6E-409C-BE32-E72D297353CC}">
                <c16:uniqueId val="{000008BF-61F5-407B-959D-D24239F5BB85}"/>
              </c:ext>
            </c:extLst>
          </c:dPt>
          <c:dPt>
            <c:idx val="1119"/>
            <c:invertIfNegative val="1"/>
            <c:bubble3D val="0"/>
            <c:spPr>
              <a:solidFill>
                <a:srgbClr val="AEABAB"/>
              </a:solidFill>
            </c:spPr>
            <c:extLst>
              <c:ext xmlns:c16="http://schemas.microsoft.com/office/drawing/2014/chart" uri="{C3380CC4-5D6E-409C-BE32-E72D297353CC}">
                <c16:uniqueId val="{000008C1-61F5-407B-959D-D24239F5BB85}"/>
              </c:ext>
            </c:extLst>
          </c:dPt>
          <c:dPt>
            <c:idx val="1120"/>
            <c:invertIfNegative val="1"/>
            <c:bubble3D val="0"/>
            <c:spPr>
              <a:solidFill>
                <a:srgbClr val="AEABAB"/>
              </a:solidFill>
            </c:spPr>
            <c:extLst>
              <c:ext xmlns:c16="http://schemas.microsoft.com/office/drawing/2014/chart" uri="{C3380CC4-5D6E-409C-BE32-E72D297353CC}">
                <c16:uniqueId val="{000008C3-61F5-407B-959D-D24239F5BB85}"/>
              </c:ext>
            </c:extLst>
          </c:dPt>
          <c:dPt>
            <c:idx val="1121"/>
            <c:invertIfNegative val="1"/>
            <c:bubble3D val="0"/>
            <c:spPr>
              <a:solidFill>
                <a:srgbClr val="AEABAB"/>
              </a:solidFill>
            </c:spPr>
            <c:extLst>
              <c:ext xmlns:c16="http://schemas.microsoft.com/office/drawing/2014/chart" uri="{C3380CC4-5D6E-409C-BE32-E72D297353CC}">
                <c16:uniqueId val="{000008C5-61F5-407B-959D-D24239F5BB85}"/>
              </c:ext>
            </c:extLst>
          </c:dPt>
          <c:dPt>
            <c:idx val="1122"/>
            <c:invertIfNegative val="1"/>
            <c:bubble3D val="0"/>
            <c:spPr>
              <a:solidFill>
                <a:srgbClr val="AEABAB"/>
              </a:solidFill>
            </c:spPr>
            <c:extLst>
              <c:ext xmlns:c16="http://schemas.microsoft.com/office/drawing/2014/chart" uri="{C3380CC4-5D6E-409C-BE32-E72D297353CC}">
                <c16:uniqueId val="{000008C7-61F5-407B-959D-D24239F5BB85}"/>
              </c:ext>
            </c:extLst>
          </c:dPt>
          <c:dPt>
            <c:idx val="1123"/>
            <c:invertIfNegative val="1"/>
            <c:bubble3D val="0"/>
            <c:spPr>
              <a:solidFill>
                <a:srgbClr val="AEABAB"/>
              </a:solidFill>
            </c:spPr>
            <c:extLst>
              <c:ext xmlns:c16="http://schemas.microsoft.com/office/drawing/2014/chart" uri="{C3380CC4-5D6E-409C-BE32-E72D297353CC}">
                <c16:uniqueId val="{000008C9-61F5-407B-959D-D24239F5BB85}"/>
              </c:ext>
            </c:extLst>
          </c:dPt>
          <c:dPt>
            <c:idx val="1124"/>
            <c:invertIfNegative val="1"/>
            <c:bubble3D val="0"/>
            <c:spPr>
              <a:solidFill>
                <a:srgbClr val="AEABAB"/>
              </a:solidFill>
            </c:spPr>
            <c:extLst>
              <c:ext xmlns:c16="http://schemas.microsoft.com/office/drawing/2014/chart" uri="{C3380CC4-5D6E-409C-BE32-E72D297353CC}">
                <c16:uniqueId val="{000008CB-61F5-407B-959D-D24239F5BB85}"/>
              </c:ext>
            </c:extLst>
          </c:dPt>
          <c:dPt>
            <c:idx val="1125"/>
            <c:invertIfNegative val="1"/>
            <c:bubble3D val="0"/>
            <c:spPr>
              <a:solidFill>
                <a:srgbClr val="AEABAB"/>
              </a:solidFill>
            </c:spPr>
            <c:extLst>
              <c:ext xmlns:c16="http://schemas.microsoft.com/office/drawing/2014/chart" uri="{C3380CC4-5D6E-409C-BE32-E72D297353CC}">
                <c16:uniqueId val="{000008CD-61F5-407B-959D-D24239F5BB85}"/>
              </c:ext>
            </c:extLst>
          </c:dPt>
          <c:dPt>
            <c:idx val="1126"/>
            <c:invertIfNegative val="1"/>
            <c:bubble3D val="0"/>
            <c:spPr>
              <a:solidFill>
                <a:srgbClr val="AEABAB"/>
              </a:solidFill>
            </c:spPr>
            <c:extLst>
              <c:ext xmlns:c16="http://schemas.microsoft.com/office/drawing/2014/chart" uri="{C3380CC4-5D6E-409C-BE32-E72D297353CC}">
                <c16:uniqueId val="{000008CF-61F5-407B-959D-D24239F5BB85}"/>
              </c:ext>
            </c:extLst>
          </c:dPt>
          <c:dPt>
            <c:idx val="1127"/>
            <c:invertIfNegative val="1"/>
            <c:bubble3D val="0"/>
            <c:spPr>
              <a:solidFill>
                <a:srgbClr val="AEABAB"/>
              </a:solidFill>
            </c:spPr>
            <c:extLst>
              <c:ext xmlns:c16="http://schemas.microsoft.com/office/drawing/2014/chart" uri="{C3380CC4-5D6E-409C-BE32-E72D297353CC}">
                <c16:uniqueId val="{000008D1-61F5-407B-959D-D24239F5BB85}"/>
              </c:ext>
            </c:extLst>
          </c:dPt>
          <c:dPt>
            <c:idx val="1128"/>
            <c:invertIfNegative val="1"/>
            <c:bubble3D val="0"/>
            <c:spPr>
              <a:solidFill>
                <a:srgbClr val="AEABAB"/>
              </a:solidFill>
            </c:spPr>
            <c:extLst>
              <c:ext xmlns:c16="http://schemas.microsoft.com/office/drawing/2014/chart" uri="{C3380CC4-5D6E-409C-BE32-E72D297353CC}">
                <c16:uniqueId val="{000008D3-61F5-407B-959D-D24239F5BB85}"/>
              </c:ext>
            </c:extLst>
          </c:dPt>
          <c:dPt>
            <c:idx val="1129"/>
            <c:invertIfNegative val="1"/>
            <c:bubble3D val="0"/>
            <c:spPr>
              <a:solidFill>
                <a:srgbClr val="AEABAB"/>
              </a:solidFill>
            </c:spPr>
            <c:extLst>
              <c:ext xmlns:c16="http://schemas.microsoft.com/office/drawing/2014/chart" uri="{C3380CC4-5D6E-409C-BE32-E72D297353CC}">
                <c16:uniqueId val="{000008D5-61F5-407B-959D-D24239F5BB85}"/>
              </c:ext>
            </c:extLst>
          </c:dPt>
          <c:dPt>
            <c:idx val="1130"/>
            <c:invertIfNegative val="1"/>
            <c:bubble3D val="0"/>
            <c:spPr>
              <a:solidFill>
                <a:srgbClr val="AEABAB"/>
              </a:solidFill>
            </c:spPr>
            <c:extLst>
              <c:ext xmlns:c16="http://schemas.microsoft.com/office/drawing/2014/chart" uri="{C3380CC4-5D6E-409C-BE32-E72D297353CC}">
                <c16:uniqueId val="{000008D7-61F5-407B-959D-D24239F5BB85}"/>
              </c:ext>
            </c:extLst>
          </c:dPt>
          <c:dPt>
            <c:idx val="1131"/>
            <c:invertIfNegative val="1"/>
            <c:bubble3D val="0"/>
            <c:spPr>
              <a:solidFill>
                <a:srgbClr val="AEABAB"/>
              </a:solidFill>
            </c:spPr>
            <c:extLst>
              <c:ext xmlns:c16="http://schemas.microsoft.com/office/drawing/2014/chart" uri="{C3380CC4-5D6E-409C-BE32-E72D297353CC}">
                <c16:uniqueId val="{000008D9-61F5-407B-959D-D24239F5BB85}"/>
              </c:ext>
            </c:extLst>
          </c:dPt>
          <c:dPt>
            <c:idx val="1132"/>
            <c:invertIfNegative val="1"/>
            <c:bubble3D val="0"/>
            <c:spPr>
              <a:solidFill>
                <a:srgbClr val="AEABAB"/>
              </a:solidFill>
            </c:spPr>
            <c:extLst>
              <c:ext xmlns:c16="http://schemas.microsoft.com/office/drawing/2014/chart" uri="{C3380CC4-5D6E-409C-BE32-E72D297353CC}">
                <c16:uniqueId val="{000008DB-61F5-407B-959D-D24239F5BB85}"/>
              </c:ext>
            </c:extLst>
          </c:dPt>
          <c:dPt>
            <c:idx val="1133"/>
            <c:invertIfNegative val="1"/>
            <c:bubble3D val="0"/>
            <c:spPr>
              <a:solidFill>
                <a:srgbClr val="AEABAB"/>
              </a:solidFill>
            </c:spPr>
            <c:extLst>
              <c:ext xmlns:c16="http://schemas.microsoft.com/office/drawing/2014/chart" uri="{C3380CC4-5D6E-409C-BE32-E72D297353CC}">
                <c16:uniqueId val="{000008DD-61F5-407B-959D-D24239F5BB85}"/>
              </c:ext>
            </c:extLst>
          </c:dPt>
          <c:dPt>
            <c:idx val="1134"/>
            <c:invertIfNegative val="1"/>
            <c:bubble3D val="0"/>
            <c:spPr>
              <a:solidFill>
                <a:srgbClr val="AEABAB"/>
              </a:solidFill>
            </c:spPr>
            <c:extLst>
              <c:ext xmlns:c16="http://schemas.microsoft.com/office/drawing/2014/chart" uri="{C3380CC4-5D6E-409C-BE32-E72D297353CC}">
                <c16:uniqueId val="{000008DF-61F5-407B-959D-D24239F5BB85}"/>
              </c:ext>
            </c:extLst>
          </c:dPt>
          <c:dPt>
            <c:idx val="1135"/>
            <c:invertIfNegative val="1"/>
            <c:bubble3D val="0"/>
            <c:spPr>
              <a:solidFill>
                <a:srgbClr val="AEABAB"/>
              </a:solidFill>
            </c:spPr>
            <c:extLst>
              <c:ext xmlns:c16="http://schemas.microsoft.com/office/drawing/2014/chart" uri="{C3380CC4-5D6E-409C-BE32-E72D297353CC}">
                <c16:uniqueId val="{000008E1-61F5-407B-959D-D24239F5BB85}"/>
              </c:ext>
            </c:extLst>
          </c:dPt>
          <c:dPt>
            <c:idx val="1136"/>
            <c:invertIfNegative val="1"/>
            <c:bubble3D val="0"/>
            <c:spPr>
              <a:solidFill>
                <a:srgbClr val="AEABAB"/>
              </a:solidFill>
            </c:spPr>
            <c:extLst>
              <c:ext xmlns:c16="http://schemas.microsoft.com/office/drawing/2014/chart" uri="{C3380CC4-5D6E-409C-BE32-E72D297353CC}">
                <c16:uniqueId val="{000008E3-61F5-407B-959D-D24239F5BB85}"/>
              </c:ext>
            </c:extLst>
          </c:dPt>
          <c:dPt>
            <c:idx val="1137"/>
            <c:invertIfNegative val="1"/>
            <c:bubble3D val="0"/>
            <c:spPr>
              <a:solidFill>
                <a:srgbClr val="AEABAB"/>
              </a:solidFill>
            </c:spPr>
            <c:extLst>
              <c:ext xmlns:c16="http://schemas.microsoft.com/office/drawing/2014/chart" uri="{C3380CC4-5D6E-409C-BE32-E72D297353CC}">
                <c16:uniqueId val="{000008E5-61F5-407B-959D-D24239F5BB85}"/>
              </c:ext>
            </c:extLst>
          </c:dPt>
          <c:dPt>
            <c:idx val="1138"/>
            <c:invertIfNegative val="1"/>
            <c:bubble3D val="0"/>
            <c:spPr>
              <a:solidFill>
                <a:srgbClr val="AEABAB"/>
              </a:solidFill>
            </c:spPr>
            <c:extLst>
              <c:ext xmlns:c16="http://schemas.microsoft.com/office/drawing/2014/chart" uri="{C3380CC4-5D6E-409C-BE32-E72D297353CC}">
                <c16:uniqueId val="{000008E7-61F5-407B-959D-D24239F5BB85}"/>
              </c:ext>
            </c:extLst>
          </c:dPt>
          <c:dPt>
            <c:idx val="1139"/>
            <c:invertIfNegative val="1"/>
            <c:bubble3D val="0"/>
            <c:spPr>
              <a:solidFill>
                <a:srgbClr val="AEABAB"/>
              </a:solidFill>
            </c:spPr>
            <c:extLst>
              <c:ext xmlns:c16="http://schemas.microsoft.com/office/drawing/2014/chart" uri="{C3380CC4-5D6E-409C-BE32-E72D297353CC}">
                <c16:uniqueId val="{000008E9-61F5-407B-959D-D24239F5BB85}"/>
              </c:ext>
            </c:extLst>
          </c:dPt>
          <c:dPt>
            <c:idx val="1140"/>
            <c:invertIfNegative val="1"/>
            <c:bubble3D val="0"/>
            <c:spPr>
              <a:solidFill>
                <a:srgbClr val="AEABAB"/>
              </a:solidFill>
            </c:spPr>
            <c:extLst>
              <c:ext xmlns:c16="http://schemas.microsoft.com/office/drawing/2014/chart" uri="{C3380CC4-5D6E-409C-BE32-E72D297353CC}">
                <c16:uniqueId val="{000008EB-61F5-407B-959D-D24239F5BB85}"/>
              </c:ext>
            </c:extLst>
          </c:dPt>
          <c:dPt>
            <c:idx val="1141"/>
            <c:invertIfNegative val="1"/>
            <c:bubble3D val="0"/>
            <c:spPr>
              <a:solidFill>
                <a:srgbClr val="AEABAB"/>
              </a:solidFill>
            </c:spPr>
            <c:extLst>
              <c:ext xmlns:c16="http://schemas.microsoft.com/office/drawing/2014/chart" uri="{C3380CC4-5D6E-409C-BE32-E72D297353CC}">
                <c16:uniqueId val="{000008ED-61F5-407B-959D-D24239F5BB85}"/>
              </c:ext>
            </c:extLst>
          </c:dPt>
          <c:dPt>
            <c:idx val="1142"/>
            <c:invertIfNegative val="1"/>
            <c:bubble3D val="0"/>
            <c:spPr>
              <a:solidFill>
                <a:srgbClr val="AEABAB"/>
              </a:solidFill>
            </c:spPr>
            <c:extLst>
              <c:ext xmlns:c16="http://schemas.microsoft.com/office/drawing/2014/chart" uri="{C3380CC4-5D6E-409C-BE32-E72D297353CC}">
                <c16:uniqueId val="{000008EF-61F5-407B-959D-D24239F5BB85}"/>
              </c:ext>
            </c:extLst>
          </c:dPt>
          <c:dPt>
            <c:idx val="1143"/>
            <c:invertIfNegative val="1"/>
            <c:bubble3D val="0"/>
            <c:spPr>
              <a:solidFill>
                <a:srgbClr val="AEABAB"/>
              </a:solidFill>
            </c:spPr>
            <c:extLst>
              <c:ext xmlns:c16="http://schemas.microsoft.com/office/drawing/2014/chart" uri="{C3380CC4-5D6E-409C-BE32-E72D297353CC}">
                <c16:uniqueId val="{000008F1-61F5-407B-959D-D24239F5BB85}"/>
              </c:ext>
            </c:extLst>
          </c:dPt>
          <c:dPt>
            <c:idx val="1144"/>
            <c:invertIfNegative val="1"/>
            <c:bubble3D val="0"/>
            <c:spPr>
              <a:solidFill>
                <a:srgbClr val="AEABAB"/>
              </a:solidFill>
            </c:spPr>
            <c:extLst>
              <c:ext xmlns:c16="http://schemas.microsoft.com/office/drawing/2014/chart" uri="{C3380CC4-5D6E-409C-BE32-E72D297353CC}">
                <c16:uniqueId val="{000008F3-61F5-407B-959D-D24239F5BB85}"/>
              </c:ext>
            </c:extLst>
          </c:dPt>
          <c:dPt>
            <c:idx val="1145"/>
            <c:invertIfNegative val="1"/>
            <c:bubble3D val="0"/>
            <c:spPr>
              <a:solidFill>
                <a:srgbClr val="AEABAB"/>
              </a:solidFill>
            </c:spPr>
            <c:extLst>
              <c:ext xmlns:c16="http://schemas.microsoft.com/office/drawing/2014/chart" uri="{C3380CC4-5D6E-409C-BE32-E72D297353CC}">
                <c16:uniqueId val="{000008F5-61F5-407B-959D-D24239F5BB85}"/>
              </c:ext>
            </c:extLst>
          </c:dPt>
          <c:dPt>
            <c:idx val="1146"/>
            <c:invertIfNegative val="1"/>
            <c:bubble3D val="0"/>
            <c:spPr>
              <a:solidFill>
                <a:srgbClr val="AEABAB"/>
              </a:solidFill>
            </c:spPr>
            <c:extLst>
              <c:ext xmlns:c16="http://schemas.microsoft.com/office/drawing/2014/chart" uri="{C3380CC4-5D6E-409C-BE32-E72D297353CC}">
                <c16:uniqueId val="{000008F7-61F5-407B-959D-D24239F5BB85}"/>
              </c:ext>
            </c:extLst>
          </c:dPt>
          <c:dPt>
            <c:idx val="1147"/>
            <c:invertIfNegative val="1"/>
            <c:bubble3D val="0"/>
            <c:spPr>
              <a:solidFill>
                <a:srgbClr val="AEABAB"/>
              </a:solidFill>
            </c:spPr>
            <c:extLst>
              <c:ext xmlns:c16="http://schemas.microsoft.com/office/drawing/2014/chart" uri="{C3380CC4-5D6E-409C-BE32-E72D297353CC}">
                <c16:uniqueId val="{000008F9-61F5-407B-959D-D24239F5BB85}"/>
              </c:ext>
            </c:extLst>
          </c:dPt>
          <c:dPt>
            <c:idx val="1148"/>
            <c:invertIfNegative val="1"/>
            <c:bubble3D val="0"/>
            <c:spPr>
              <a:solidFill>
                <a:srgbClr val="AEABAB"/>
              </a:solidFill>
            </c:spPr>
            <c:extLst>
              <c:ext xmlns:c16="http://schemas.microsoft.com/office/drawing/2014/chart" uri="{C3380CC4-5D6E-409C-BE32-E72D297353CC}">
                <c16:uniqueId val="{000008FB-61F5-407B-959D-D24239F5BB85}"/>
              </c:ext>
            </c:extLst>
          </c:dPt>
          <c:dPt>
            <c:idx val="1149"/>
            <c:invertIfNegative val="1"/>
            <c:bubble3D val="0"/>
            <c:spPr>
              <a:solidFill>
                <a:srgbClr val="AEABAB"/>
              </a:solidFill>
            </c:spPr>
            <c:extLst>
              <c:ext xmlns:c16="http://schemas.microsoft.com/office/drawing/2014/chart" uri="{C3380CC4-5D6E-409C-BE32-E72D297353CC}">
                <c16:uniqueId val="{000008FD-61F5-407B-959D-D24239F5BB85}"/>
              </c:ext>
            </c:extLst>
          </c:dPt>
          <c:dPt>
            <c:idx val="1150"/>
            <c:invertIfNegative val="1"/>
            <c:bubble3D val="0"/>
            <c:spPr>
              <a:solidFill>
                <a:srgbClr val="AEABAB"/>
              </a:solidFill>
            </c:spPr>
            <c:extLst>
              <c:ext xmlns:c16="http://schemas.microsoft.com/office/drawing/2014/chart" uri="{C3380CC4-5D6E-409C-BE32-E72D297353CC}">
                <c16:uniqueId val="{000008FF-61F5-407B-959D-D24239F5BB85}"/>
              </c:ext>
            </c:extLst>
          </c:dPt>
          <c:dPt>
            <c:idx val="1151"/>
            <c:invertIfNegative val="1"/>
            <c:bubble3D val="0"/>
            <c:spPr>
              <a:solidFill>
                <a:srgbClr val="AEABAB"/>
              </a:solidFill>
            </c:spPr>
            <c:extLst>
              <c:ext xmlns:c16="http://schemas.microsoft.com/office/drawing/2014/chart" uri="{C3380CC4-5D6E-409C-BE32-E72D297353CC}">
                <c16:uniqueId val="{00000901-61F5-407B-959D-D24239F5BB85}"/>
              </c:ext>
            </c:extLst>
          </c:dPt>
          <c:dPt>
            <c:idx val="1152"/>
            <c:invertIfNegative val="1"/>
            <c:bubble3D val="0"/>
            <c:spPr>
              <a:solidFill>
                <a:srgbClr val="AEABAB"/>
              </a:solidFill>
            </c:spPr>
            <c:extLst>
              <c:ext xmlns:c16="http://schemas.microsoft.com/office/drawing/2014/chart" uri="{C3380CC4-5D6E-409C-BE32-E72D297353CC}">
                <c16:uniqueId val="{00000903-61F5-407B-959D-D24239F5BB85}"/>
              </c:ext>
            </c:extLst>
          </c:dPt>
          <c:dPt>
            <c:idx val="1153"/>
            <c:invertIfNegative val="1"/>
            <c:bubble3D val="0"/>
            <c:spPr>
              <a:solidFill>
                <a:srgbClr val="AEABAB"/>
              </a:solidFill>
            </c:spPr>
            <c:extLst>
              <c:ext xmlns:c16="http://schemas.microsoft.com/office/drawing/2014/chart" uri="{C3380CC4-5D6E-409C-BE32-E72D297353CC}">
                <c16:uniqueId val="{00000905-61F5-407B-959D-D24239F5BB85}"/>
              </c:ext>
            </c:extLst>
          </c:dPt>
          <c:dPt>
            <c:idx val="1154"/>
            <c:invertIfNegative val="1"/>
            <c:bubble3D val="0"/>
            <c:spPr>
              <a:solidFill>
                <a:srgbClr val="AEABAB"/>
              </a:solidFill>
            </c:spPr>
            <c:extLst>
              <c:ext xmlns:c16="http://schemas.microsoft.com/office/drawing/2014/chart" uri="{C3380CC4-5D6E-409C-BE32-E72D297353CC}">
                <c16:uniqueId val="{00000907-61F5-407B-959D-D24239F5BB85}"/>
              </c:ext>
            </c:extLst>
          </c:dPt>
          <c:dPt>
            <c:idx val="1155"/>
            <c:invertIfNegative val="1"/>
            <c:bubble3D val="0"/>
            <c:spPr>
              <a:solidFill>
                <a:srgbClr val="AEABAB"/>
              </a:solidFill>
            </c:spPr>
            <c:extLst>
              <c:ext xmlns:c16="http://schemas.microsoft.com/office/drawing/2014/chart" uri="{C3380CC4-5D6E-409C-BE32-E72D297353CC}">
                <c16:uniqueId val="{00000909-61F5-407B-959D-D24239F5BB85}"/>
              </c:ext>
            </c:extLst>
          </c:dPt>
          <c:dPt>
            <c:idx val="1156"/>
            <c:invertIfNegative val="1"/>
            <c:bubble3D val="0"/>
            <c:spPr>
              <a:solidFill>
                <a:srgbClr val="AEABAB"/>
              </a:solidFill>
            </c:spPr>
            <c:extLst>
              <c:ext xmlns:c16="http://schemas.microsoft.com/office/drawing/2014/chart" uri="{C3380CC4-5D6E-409C-BE32-E72D297353CC}">
                <c16:uniqueId val="{0000090B-61F5-407B-959D-D24239F5BB85}"/>
              </c:ext>
            </c:extLst>
          </c:dPt>
          <c:dPt>
            <c:idx val="1157"/>
            <c:invertIfNegative val="1"/>
            <c:bubble3D val="0"/>
            <c:spPr>
              <a:solidFill>
                <a:srgbClr val="AEABAB"/>
              </a:solidFill>
            </c:spPr>
            <c:extLst>
              <c:ext xmlns:c16="http://schemas.microsoft.com/office/drawing/2014/chart" uri="{C3380CC4-5D6E-409C-BE32-E72D297353CC}">
                <c16:uniqueId val="{0000090D-61F5-407B-959D-D24239F5BB85}"/>
              </c:ext>
            </c:extLst>
          </c:dPt>
          <c:dPt>
            <c:idx val="1158"/>
            <c:invertIfNegative val="1"/>
            <c:bubble3D val="0"/>
            <c:spPr>
              <a:solidFill>
                <a:srgbClr val="AEABAB"/>
              </a:solidFill>
            </c:spPr>
            <c:extLst>
              <c:ext xmlns:c16="http://schemas.microsoft.com/office/drawing/2014/chart" uri="{C3380CC4-5D6E-409C-BE32-E72D297353CC}">
                <c16:uniqueId val="{0000090F-61F5-407B-959D-D24239F5BB85}"/>
              </c:ext>
            </c:extLst>
          </c:dPt>
          <c:dPt>
            <c:idx val="1159"/>
            <c:invertIfNegative val="1"/>
            <c:bubble3D val="0"/>
            <c:spPr>
              <a:solidFill>
                <a:srgbClr val="AEABAB"/>
              </a:solidFill>
            </c:spPr>
            <c:extLst>
              <c:ext xmlns:c16="http://schemas.microsoft.com/office/drawing/2014/chart" uri="{C3380CC4-5D6E-409C-BE32-E72D297353CC}">
                <c16:uniqueId val="{00000911-61F5-407B-959D-D24239F5BB85}"/>
              </c:ext>
            </c:extLst>
          </c:dPt>
          <c:dPt>
            <c:idx val="1160"/>
            <c:invertIfNegative val="1"/>
            <c:bubble3D val="0"/>
            <c:spPr>
              <a:solidFill>
                <a:srgbClr val="AEABAB"/>
              </a:solidFill>
            </c:spPr>
            <c:extLst>
              <c:ext xmlns:c16="http://schemas.microsoft.com/office/drawing/2014/chart" uri="{C3380CC4-5D6E-409C-BE32-E72D297353CC}">
                <c16:uniqueId val="{00000913-61F5-407B-959D-D24239F5BB85}"/>
              </c:ext>
            </c:extLst>
          </c:dPt>
          <c:dPt>
            <c:idx val="1161"/>
            <c:invertIfNegative val="1"/>
            <c:bubble3D val="0"/>
            <c:spPr>
              <a:solidFill>
                <a:srgbClr val="AEABAB"/>
              </a:solidFill>
            </c:spPr>
            <c:extLst>
              <c:ext xmlns:c16="http://schemas.microsoft.com/office/drawing/2014/chart" uri="{C3380CC4-5D6E-409C-BE32-E72D297353CC}">
                <c16:uniqueId val="{00000915-61F5-407B-959D-D24239F5BB85}"/>
              </c:ext>
            </c:extLst>
          </c:dPt>
          <c:dPt>
            <c:idx val="1162"/>
            <c:invertIfNegative val="1"/>
            <c:bubble3D val="0"/>
            <c:spPr>
              <a:solidFill>
                <a:srgbClr val="AEABAB"/>
              </a:solidFill>
            </c:spPr>
            <c:extLst>
              <c:ext xmlns:c16="http://schemas.microsoft.com/office/drawing/2014/chart" uri="{C3380CC4-5D6E-409C-BE32-E72D297353CC}">
                <c16:uniqueId val="{00000917-61F5-407B-959D-D24239F5BB85}"/>
              </c:ext>
            </c:extLst>
          </c:dPt>
          <c:dPt>
            <c:idx val="1163"/>
            <c:invertIfNegative val="1"/>
            <c:bubble3D val="0"/>
            <c:spPr>
              <a:solidFill>
                <a:srgbClr val="AEABAB"/>
              </a:solidFill>
            </c:spPr>
            <c:extLst>
              <c:ext xmlns:c16="http://schemas.microsoft.com/office/drawing/2014/chart" uri="{C3380CC4-5D6E-409C-BE32-E72D297353CC}">
                <c16:uniqueId val="{00000919-61F5-407B-959D-D24239F5BB85}"/>
              </c:ext>
            </c:extLst>
          </c:dPt>
          <c:dPt>
            <c:idx val="1164"/>
            <c:invertIfNegative val="1"/>
            <c:bubble3D val="0"/>
            <c:spPr>
              <a:solidFill>
                <a:srgbClr val="AEABAB"/>
              </a:solidFill>
            </c:spPr>
            <c:extLst>
              <c:ext xmlns:c16="http://schemas.microsoft.com/office/drawing/2014/chart" uri="{C3380CC4-5D6E-409C-BE32-E72D297353CC}">
                <c16:uniqueId val="{0000091B-61F5-407B-959D-D24239F5BB85}"/>
              </c:ext>
            </c:extLst>
          </c:dPt>
          <c:dPt>
            <c:idx val="1165"/>
            <c:invertIfNegative val="1"/>
            <c:bubble3D val="0"/>
            <c:spPr>
              <a:solidFill>
                <a:srgbClr val="AEABAB"/>
              </a:solidFill>
            </c:spPr>
            <c:extLst>
              <c:ext xmlns:c16="http://schemas.microsoft.com/office/drawing/2014/chart" uri="{C3380CC4-5D6E-409C-BE32-E72D297353CC}">
                <c16:uniqueId val="{0000091D-61F5-407B-959D-D24239F5BB85}"/>
              </c:ext>
            </c:extLst>
          </c:dPt>
          <c:dPt>
            <c:idx val="1166"/>
            <c:invertIfNegative val="1"/>
            <c:bubble3D val="0"/>
            <c:spPr>
              <a:solidFill>
                <a:srgbClr val="AEABAB"/>
              </a:solidFill>
            </c:spPr>
            <c:extLst>
              <c:ext xmlns:c16="http://schemas.microsoft.com/office/drawing/2014/chart" uri="{C3380CC4-5D6E-409C-BE32-E72D297353CC}">
                <c16:uniqueId val="{0000091F-61F5-407B-959D-D24239F5BB85}"/>
              </c:ext>
            </c:extLst>
          </c:dPt>
          <c:dPt>
            <c:idx val="1167"/>
            <c:invertIfNegative val="1"/>
            <c:bubble3D val="0"/>
            <c:spPr>
              <a:solidFill>
                <a:srgbClr val="AEABAB"/>
              </a:solidFill>
            </c:spPr>
            <c:extLst>
              <c:ext xmlns:c16="http://schemas.microsoft.com/office/drawing/2014/chart" uri="{C3380CC4-5D6E-409C-BE32-E72D297353CC}">
                <c16:uniqueId val="{00000921-61F5-407B-959D-D24239F5BB85}"/>
              </c:ext>
            </c:extLst>
          </c:dPt>
          <c:dPt>
            <c:idx val="1168"/>
            <c:invertIfNegative val="1"/>
            <c:bubble3D val="0"/>
            <c:spPr>
              <a:solidFill>
                <a:srgbClr val="AEABAB"/>
              </a:solidFill>
            </c:spPr>
            <c:extLst>
              <c:ext xmlns:c16="http://schemas.microsoft.com/office/drawing/2014/chart" uri="{C3380CC4-5D6E-409C-BE32-E72D297353CC}">
                <c16:uniqueId val="{00000923-61F5-407B-959D-D24239F5BB85}"/>
              </c:ext>
            </c:extLst>
          </c:dPt>
          <c:dPt>
            <c:idx val="1169"/>
            <c:invertIfNegative val="1"/>
            <c:bubble3D val="0"/>
            <c:spPr>
              <a:solidFill>
                <a:srgbClr val="AEABAB"/>
              </a:solidFill>
            </c:spPr>
            <c:extLst>
              <c:ext xmlns:c16="http://schemas.microsoft.com/office/drawing/2014/chart" uri="{C3380CC4-5D6E-409C-BE32-E72D297353CC}">
                <c16:uniqueId val="{00000925-61F5-407B-959D-D24239F5BB85}"/>
              </c:ext>
            </c:extLst>
          </c:dPt>
          <c:dPt>
            <c:idx val="1170"/>
            <c:invertIfNegative val="1"/>
            <c:bubble3D val="0"/>
            <c:spPr>
              <a:solidFill>
                <a:srgbClr val="AEABAB"/>
              </a:solidFill>
            </c:spPr>
            <c:extLst>
              <c:ext xmlns:c16="http://schemas.microsoft.com/office/drawing/2014/chart" uri="{C3380CC4-5D6E-409C-BE32-E72D297353CC}">
                <c16:uniqueId val="{00000927-61F5-407B-959D-D24239F5BB85}"/>
              </c:ext>
            </c:extLst>
          </c:dPt>
          <c:dPt>
            <c:idx val="1171"/>
            <c:invertIfNegative val="1"/>
            <c:bubble3D val="0"/>
            <c:spPr>
              <a:solidFill>
                <a:srgbClr val="AEABAB"/>
              </a:solidFill>
            </c:spPr>
            <c:extLst>
              <c:ext xmlns:c16="http://schemas.microsoft.com/office/drawing/2014/chart" uri="{C3380CC4-5D6E-409C-BE32-E72D297353CC}">
                <c16:uniqueId val="{00000929-61F5-407B-959D-D24239F5BB85}"/>
              </c:ext>
            </c:extLst>
          </c:dPt>
          <c:dPt>
            <c:idx val="1172"/>
            <c:invertIfNegative val="1"/>
            <c:bubble3D val="0"/>
            <c:spPr>
              <a:solidFill>
                <a:srgbClr val="AEABAB"/>
              </a:solidFill>
            </c:spPr>
            <c:extLst>
              <c:ext xmlns:c16="http://schemas.microsoft.com/office/drawing/2014/chart" uri="{C3380CC4-5D6E-409C-BE32-E72D297353CC}">
                <c16:uniqueId val="{0000092B-61F5-407B-959D-D24239F5BB85}"/>
              </c:ext>
            </c:extLst>
          </c:dPt>
          <c:dPt>
            <c:idx val="1173"/>
            <c:invertIfNegative val="1"/>
            <c:bubble3D val="0"/>
            <c:spPr>
              <a:solidFill>
                <a:srgbClr val="AEABAB"/>
              </a:solidFill>
            </c:spPr>
            <c:extLst>
              <c:ext xmlns:c16="http://schemas.microsoft.com/office/drawing/2014/chart" uri="{C3380CC4-5D6E-409C-BE32-E72D297353CC}">
                <c16:uniqueId val="{0000092D-61F5-407B-959D-D24239F5BB85}"/>
              </c:ext>
            </c:extLst>
          </c:dPt>
          <c:dPt>
            <c:idx val="1174"/>
            <c:invertIfNegative val="1"/>
            <c:bubble3D val="0"/>
            <c:spPr>
              <a:solidFill>
                <a:srgbClr val="AEABAB"/>
              </a:solidFill>
            </c:spPr>
            <c:extLst>
              <c:ext xmlns:c16="http://schemas.microsoft.com/office/drawing/2014/chart" uri="{C3380CC4-5D6E-409C-BE32-E72D297353CC}">
                <c16:uniqueId val="{0000092F-61F5-407B-959D-D24239F5BB85}"/>
              </c:ext>
            </c:extLst>
          </c:dPt>
          <c:dPt>
            <c:idx val="1175"/>
            <c:invertIfNegative val="1"/>
            <c:bubble3D val="0"/>
            <c:spPr>
              <a:solidFill>
                <a:srgbClr val="AEABAB"/>
              </a:solidFill>
            </c:spPr>
            <c:extLst>
              <c:ext xmlns:c16="http://schemas.microsoft.com/office/drawing/2014/chart" uri="{C3380CC4-5D6E-409C-BE32-E72D297353CC}">
                <c16:uniqueId val="{00000931-61F5-407B-959D-D24239F5BB85}"/>
              </c:ext>
            </c:extLst>
          </c:dPt>
          <c:dPt>
            <c:idx val="1176"/>
            <c:invertIfNegative val="1"/>
            <c:bubble3D val="0"/>
            <c:spPr>
              <a:solidFill>
                <a:srgbClr val="AEABAB"/>
              </a:solidFill>
            </c:spPr>
            <c:extLst>
              <c:ext xmlns:c16="http://schemas.microsoft.com/office/drawing/2014/chart" uri="{C3380CC4-5D6E-409C-BE32-E72D297353CC}">
                <c16:uniqueId val="{00000933-61F5-407B-959D-D24239F5BB85}"/>
              </c:ext>
            </c:extLst>
          </c:dPt>
          <c:dPt>
            <c:idx val="1177"/>
            <c:invertIfNegative val="1"/>
            <c:bubble3D val="0"/>
            <c:spPr>
              <a:solidFill>
                <a:srgbClr val="AEABAB"/>
              </a:solidFill>
            </c:spPr>
            <c:extLst>
              <c:ext xmlns:c16="http://schemas.microsoft.com/office/drawing/2014/chart" uri="{C3380CC4-5D6E-409C-BE32-E72D297353CC}">
                <c16:uniqueId val="{00000935-61F5-407B-959D-D24239F5BB85}"/>
              </c:ext>
            </c:extLst>
          </c:dPt>
          <c:dPt>
            <c:idx val="1178"/>
            <c:invertIfNegative val="1"/>
            <c:bubble3D val="0"/>
            <c:spPr>
              <a:solidFill>
                <a:srgbClr val="AEABAB"/>
              </a:solidFill>
            </c:spPr>
            <c:extLst>
              <c:ext xmlns:c16="http://schemas.microsoft.com/office/drawing/2014/chart" uri="{C3380CC4-5D6E-409C-BE32-E72D297353CC}">
                <c16:uniqueId val="{00000937-61F5-407B-959D-D24239F5BB85}"/>
              </c:ext>
            </c:extLst>
          </c:dPt>
          <c:dPt>
            <c:idx val="1179"/>
            <c:invertIfNegative val="1"/>
            <c:bubble3D val="0"/>
            <c:spPr>
              <a:solidFill>
                <a:srgbClr val="AEABAB"/>
              </a:solidFill>
            </c:spPr>
            <c:extLst>
              <c:ext xmlns:c16="http://schemas.microsoft.com/office/drawing/2014/chart" uri="{C3380CC4-5D6E-409C-BE32-E72D297353CC}">
                <c16:uniqueId val="{00000939-61F5-407B-959D-D24239F5BB85}"/>
              </c:ext>
            </c:extLst>
          </c:dPt>
          <c:dPt>
            <c:idx val="1180"/>
            <c:invertIfNegative val="1"/>
            <c:bubble3D val="0"/>
            <c:spPr>
              <a:solidFill>
                <a:srgbClr val="AEABAB"/>
              </a:solidFill>
            </c:spPr>
            <c:extLst>
              <c:ext xmlns:c16="http://schemas.microsoft.com/office/drawing/2014/chart" uri="{C3380CC4-5D6E-409C-BE32-E72D297353CC}">
                <c16:uniqueId val="{0000093B-61F5-407B-959D-D24239F5BB85}"/>
              </c:ext>
            </c:extLst>
          </c:dPt>
          <c:dPt>
            <c:idx val="1181"/>
            <c:invertIfNegative val="1"/>
            <c:bubble3D val="0"/>
            <c:spPr>
              <a:solidFill>
                <a:srgbClr val="AEABAB"/>
              </a:solidFill>
            </c:spPr>
            <c:extLst>
              <c:ext xmlns:c16="http://schemas.microsoft.com/office/drawing/2014/chart" uri="{C3380CC4-5D6E-409C-BE32-E72D297353CC}">
                <c16:uniqueId val="{0000093D-61F5-407B-959D-D24239F5BB85}"/>
              </c:ext>
            </c:extLst>
          </c:dPt>
          <c:dPt>
            <c:idx val="1182"/>
            <c:invertIfNegative val="1"/>
            <c:bubble3D val="0"/>
            <c:spPr>
              <a:solidFill>
                <a:srgbClr val="AEABAB"/>
              </a:solidFill>
            </c:spPr>
            <c:extLst>
              <c:ext xmlns:c16="http://schemas.microsoft.com/office/drawing/2014/chart" uri="{C3380CC4-5D6E-409C-BE32-E72D297353CC}">
                <c16:uniqueId val="{0000093F-61F5-407B-959D-D24239F5BB85}"/>
              </c:ext>
            </c:extLst>
          </c:dPt>
          <c:dPt>
            <c:idx val="1183"/>
            <c:invertIfNegative val="1"/>
            <c:bubble3D val="0"/>
            <c:spPr>
              <a:solidFill>
                <a:srgbClr val="AEABAB"/>
              </a:solidFill>
            </c:spPr>
            <c:extLst>
              <c:ext xmlns:c16="http://schemas.microsoft.com/office/drawing/2014/chart" uri="{C3380CC4-5D6E-409C-BE32-E72D297353CC}">
                <c16:uniqueId val="{00000941-61F5-407B-959D-D24239F5BB85}"/>
              </c:ext>
            </c:extLst>
          </c:dPt>
          <c:dPt>
            <c:idx val="1184"/>
            <c:invertIfNegative val="1"/>
            <c:bubble3D val="0"/>
            <c:spPr>
              <a:solidFill>
                <a:srgbClr val="AEABAB"/>
              </a:solidFill>
            </c:spPr>
            <c:extLst>
              <c:ext xmlns:c16="http://schemas.microsoft.com/office/drawing/2014/chart" uri="{C3380CC4-5D6E-409C-BE32-E72D297353CC}">
                <c16:uniqueId val="{00000943-61F5-407B-959D-D24239F5BB85}"/>
              </c:ext>
            </c:extLst>
          </c:dPt>
          <c:dPt>
            <c:idx val="1185"/>
            <c:invertIfNegative val="1"/>
            <c:bubble3D val="0"/>
            <c:spPr>
              <a:solidFill>
                <a:srgbClr val="AEABAB"/>
              </a:solidFill>
            </c:spPr>
            <c:extLst>
              <c:ext xmlns:c16="http://schemas.microsoft.com/office/drawing/2014/chart" uri="{C3380CC4-5D6E-409C-BE32-E72D297353CC}">
                <c16:uniqueId val="{00000945-61F5-407B-959D-D24239F5BB85}"/>
              </c:ext>
            </c:extLst>
          </c:dPt>
          <c:dPt>
            <c:idx val="1186"/>
            <c:invertIfNegative val="1"/>
            <c:bubble3D val="0"/>
            <c:spPr>
              <a:solidFill>
                <a:srgbClr val="AEABAB"/>
              </a:solidFill>
            </c:spPr>
            <c:extLst>
              <c:ext xmlns:c16="http://schemas.microsoft.com/office/drawing/2014/chart" uri="{C3380CC4-5D6E-409C-BE32-E72D297353CC}">
                <c16:uniqueId val="{00000947-61F5-407B-959D-D24239F5BB85}"/>
              </c:ext>
            </c:extLst>
          </c:dPt>
          <c:dPt>
            <c:idx val="1187"/>
            <c:invertIfNegative val="1"/>
            <c:bubble3D val="0"/>
            <c:spPr>
              <a:solidFill>
                <a:srgbClr val="AEABAB"/>
              </a:solidFill>
            </c:spPr>
            <c:extLst>
              <c:ext xmlns:c16="http://schemas.microsoft.com/office/drawing/2014/chart" uri="{C3380CC4-5D6E-409C-BE32-E72D297353CC}">
                <c16:uniqueId val="{00000949-61F5-407B-959D-D24239F5BB85}"/>
              </c:ext>
            </c:extLst>
          </c:dPt>
          <c:dPt>
            <c:idx val="1188"/>
            <c:invertIfNegative val="1"/>
            <c:bubble3D val="0"/>
            <c:spPr>
              <a:solidFill>
                <a:srgbClr val="AEABAB"/>
              </a:solidFill>
            </c:spPr>
            <c:extLst>
              <c:ext xmlns:c16="http://schemas.microsoft.com/office/drawing/2014/chart" uri="{C3380CC4-5D6E-409C-BE32-E72D297353CC}">
                <c16:uniqueId val="{0000094B-61F5-407B-959D-D24239F5BB85}"/>
              </c:ext>
            </c:extLst>
          </c:dPt>
          <c:dPt>
            <c:idx val="1189"/>
            <c:invertIfNegative val="1"/>
            <c:bubble3D val="0"/>
            <c:spPr>
              <a:solidFill>
                <a:srgbClr val="AEABAB"/>
              </a:solidFill>
            </c:spPr>
            <c:extLst>
              <c:ext xmlns:c16="http://schemas.microsoft.com/office/drawing/2014/chart" uri="{C3380CC4-5D6E-409C-BE32-E72D297353CC}">
                <c16:uniqueId val="{0000094D-61F5-407B-959D-D24239F5BB85}"/>
              </c:ext>
            </c:extLst>
          </c:dPt>
          <c:dPt>
            <c:idx val="1190"/>
            <c:invertIfNegative val="1"/>
            <c:bubble3D val="0"/>
            <c:spPr>
              <a:solidFill>
                <a:srgbClr val="AEABAB"/>
              </a:solidFill>
            </c:spPr>
            <c:extLst>
              <c:ext xmlns:c16="http://schemas.microsoft.com/office/drawing/2014/chart" uri="{C3380CC4-5D6E-409C-BE32-E72D297353CC}">
                <c16:uniqueId val="{0000094F-61F5-407B-959D-D24239F5BB85}"/>
              </c:ext>
            </c:extLst>
          </c:dPt>
          <c:dPt>
            <c:idx val="1191"/>
            <c:invertIfNegative val="1"/>
            <c:bubble3D val="0"/>
            <c:spPr>
              <a:solidFill>
                <a:srgbClr val="AEABAB"/>
              </a:solidFill>
            </c:spPr>
            <c:extLst>
              <c:ext xmlns:c16="http://schemas.microsoft.com/office/drawing/2014/chart" uri="{C3380CC4-5D6E-409C-BE32-E72D297353CC}">
                <c16:uniqueId val="{00000951-61F5-407B-959D-D24239F5BB85}"/>
              </c:ext>
            </c:extLst>
          </c:dPt>
          <c:dPt>
            <c:idx val="1192"/>
            <c:invertIfNegative val="1"/>
            <c:bubble3D val="0"/>
            <c:spPr>
              <a:solidFill>
                <a:srgbClr val="AEABAB"/>
              </a:solidFill>
            </c:spPr>
            <c:extLst>
              <c:ext xmlns:c16="http://schemas.microsoft.com/office/drawing/2014/chart" uri="{C3380CC4-5D6E-409C-BE32-E72D297353CC}">
                <c16:uniqueId val="{00000953-61F5-407B-959D-D24239F5BB85}"/>
              </c:ext>
            </c:extLst>
          </c:dPt>
          <c:dPt>
            <c:idx val="1193"/>
            <c:invertIfNegative val="1"/>
            <c:bubble3D val="0"/>
            <c:spPr>
              <a:solidFill>
                <a:srgbClr val="AEABAB"/>
              </a:solidFill>
            </c:spPr>
            <c:extLst>
              <c:ext xmlns:c16="http://schemas.microsoft.com/office/drawing/2014/chart" uri="{C3380CC4-5D6E-409C-BE32-E72D297353CC}">
                <c16:uniqueId val="{00000955-61F5-407B-959D-D24239F5BB85}"/>
              </c:ext>
            </c:extLst>
          </c:dPt>
          <c:dPt>
            <c:idx val="1194"/>
            <c:invertIfNegative val="1"/>
            <c:bubble3D val="0"/>
            <c:spPr>
              <a:solidFill>
                <a:srgbClr val="AEABAB"/>
              </a:solidFill>
            </c:spPr>
            <c:extLst>
              <c:ext xmlns:c16="http://schemas.microsoft.com/office/drawing/2014/chart" uri="{C3380CC4-5D6E-409C-BE32-E72D297353CC}">
                <c16:uniqueId val="{00000957-61F5-407B-959D-D24239F5BB85}"/>
              </c:ext>
            </c:extLst>
          </c:dPt>
          <c:dPt>
            <c:idx val="1195"/>
            <c:invertIfNegative val="1"/>
            <c:bubble3D val="0"/>
            <c:spPr>
              <a:solidFill>
                <a:srgbClr val="AEABAB"/>
              </a:solidFill>
            </c:spPr>
            <c:extLst>
              <c:ext xmlns:c16="http://schemas.microsoft.com/office/drawing/2014/chart" uri="{C3380CC4-5D6E-409C-BE32-E72D297353CC}">
                <c16:uniqueId val="{00000959-61F5-407B-959D-D24239F5BB85}"/>
              </c:ext>
            </c:extLst>
          </c:dPt>
          <c:dPt>
            <c:idx val="1196"/>
            <c:invertIfNegative val="1"/>
            <c:bubble3D val="0"/>
            <c:spPr>
              <a:solidFill>
                <a:srgbClr val="AEABAB"/>
              </a:solidFill>
            </c:spPr>
            <c:extLst>
              <c:ext xmlns:c16="http://schemas.microsoft.com/office/drawing/2014/chart" uri="{C3380CC4-5D6E-409C-BE32-E72D297353CC}">
                <c16:uniqueId val="{0000095B-61F5-407B-959D-D24239F5BB85}"/>
              </c:ext>
            </c:extLst>
          </c:dPt>
          <c:dPt>
            <c:idx val="1197"/>
            <c:invertIfNegative val="1"/>
            <c:bubble3D val="0"/>
            <c:spPr>
              <a:solidFill>
                <a:srgbClr val="AEABAB"/>
              </a:solidFill>
            </c:spPr>
            <c:extLst>
              <c:ext xmlns:c16="http://schemas.microsoft.com/office/drawing/2014/chart" uri="{C3380CC4-5D6E-409C-BE32-E72D297353CC}">
                <c16:uniqueId val="{0000095D-61F5-407B-959D-D24239F5BB85}"/>
              </c:ext>
            </c:extLst>
          </c:dPt>
          <c:dPt>
            <c:idx val="1198"/>
            <c:invertIfNegative val="1"/>
            <c:bubble3D val="0"/>
            <c:spPr>
              <a:solidFill>
                <a:srgbClr val="AEABAB"/>
              </a:solidFill>
            </c:spPr>
            <c:extLst>
              <c:ext xmlns:c16="http://schemas.microsoft.com/office/drawing/2014/chart" uri="{C3380CC4-5D6E-409C-BE32-E72D297353CC}">
                <c16:uniqueId val="{0000095F-61F5-407B-959D-D24239F5BB85}"/>
              </c:ext>
            </c:extLst>
          </c:dPt>
          <c:dPt>
            <c:idx val="1199"/>
            <c:invertIfNegative val="1"/>
            <c:bubble3D val="0"/>
            <c:spPr>
              <a:solidFill>
                <a:srgbClr val="AEABAB"/>
              </a:solidFill>
            </c:spPr>
            <c:extLst>
              <c:ext xmlns:c16="http://schemas.microsoft.com/office/drawing/2014/chart" uri="{C3380CC4-5D6E-409C-BE32-E72D297353CC}">
                <c16:uniqueId val="{00000961-61F5-407B-959D-D24239F5BB85}"/>
              </c:ext>
            </c:extLst>
          </c:dPt>
          <c:dPt>
            <c:idx val="1200"/>
            <c:invertIfNegative val="1"/>
            <c:bubble3D val="0"/>
            <c:spPr>
              <a:solidFill>
                <a:srgbClr val="AEABAB"/>
              </a:solidFill>
            </c:spPr>
            <c:extLst>
              <c:ext xmlns:c16="http://schemas.microsoft.com/office/drawing/2014/chart" uri="{C3380CC4-5D6E-409C-BE32-E72D297353CC}">
                <c16:uniqueId val="{00000963-61F5-407B-959D-D24239F5BB85}"/>
              </c:ext>
            </c:extLst>
          </c:dPt>
          <c:dPt>
            <c:idx val="1201"/>
            <c:invertIfNegative val="1"/>
            <c:bubble3D val="0"/>
            <c:spPr>
              <a:solidFill>
                <a:srgbClr val="AEABAB"/>
              </a:solidFill>
            </c:spPr>
            <c:extLst>
              <c:ext xmlns:c16="http://schemas.microsoft.com/office/drawing/2014/chart" uri="{C3380CC4-5D6E-409C-BE32-E72D297353CC}">
                <c16:uniqueId val="{00000965-61F5-407B-959D-D24239F5BB85}"/>
              </c:ext>
            </c:extLst>
          </c:dPt>
          <c:dPt>
            <c:idx val="1202"/>
            <c:invertIfNegative val="1"/>
            <c:bubble3D val="0"/>
            <c:spPr>
              <a:solidFill>
                <a:srgbClr val="AEABAB"/>
              </a:solidFill>
            </c:spPr>
            <c:extLst>
              <c:ext xmlns:c16="http://schemas.microsoft.com/office/drawing/2014/chart" uri="{C3380CC4-5D6E-409C-BE32-E72D297353CC}">
                <c16:uniqueId val="{00000967-61F5-407B-959D-D24239F5BB85}"/>
              </c:ext>
            </c:extLst>
          </c:dPt>
          <c:dPt>
            <c:idx val="1203"/>
            <c:invertIfNegative val="1"/>
            <c:bubble3D val="0"/>
            <c:spPr>
              <a:solidFill>
                <a:srgbClr val="AEABAB"/>
              </a:solidFill>
            </c:spPr>
            <c:extLst>
              <c:ext xmlns:c16="http://schemas.microsoft.com/office/drawing/2014/chart" uri="{C3380CC4-5D6E-409C-BE32-E72D297353CC}">
                <c16:uniqueId val="{00000969-61F5-407B-959D-D24239F5BB85}"/>
              </c:ext>
            </c:extLst>
          </c:dPt>
          <c:dPt>
            <c:idx val="1204"/>
            <c:invertIfNegative val="1"/>
            <c:bubble3D val="0"/>
            <c:spPr>
              <a:solidFill>
                <a:srgbClr val="AEABAB"/>
              </a:solidFill>
            </c:spPr>
            <c:extLst>
              <c:ext xmlns:c16="http://schemas.microsoft.com/office/drawing/2014/chart" uri="{C3380CC4-5D6E-409C-BE32-E72D297353CC}">
                <c16:uniqueId val="{0000096B-61F5-407B-959D-D24239F5BB85}"/>
              </c:ext>
            </c:extLst>
          </c:dPt>
          <c:dPt>
            <c:idx val="1205"/>
            <c:invertIfNegative val="1"/>
            <c:bubble3D val="0"/>
            <c:spPr>
              <a:solidFill>
                <a:srgbClr val="AEABAB"/>
              </a:solidFill>
            </c:spPr>
            <c:extLst>
              <c:ext xmlns:c16="http://schemas.microsoft.com/office/drawing/2014/chart" uri="{C3380CC4-5D6E-409C-BE32-E72D297353CC}">
                <c16:uniqueId val="{0000096D-61F5-407B-959D-D24239F5BB85}"/>
              </c:ext>
            </c:extLst>
          </c:dPt>
          <c:dPt>
            <c:idx val="1206"/>
            <c:invertIfNegative val="1"/>
            <c:bubble3D val="0"/>
            <c:spPr>
              <a:solidFill>
                <a:srgbClr val="AEABAB"/>
              </a:solidFill>
            </c:spPr>
            <c:extLst>
              <c:ext xmlns:c16="http://schemas.microsoft.com/office/drawing/2014/chart" uri="{C3380CC4-5D6E-409C-BE32-E72D297353CC}">
                <c16:uniqueId val="{0000096F-61F5-407B-959D-D24239F5BB85}"/>
              </c:ext>
            </c:extLst>
          </c:dPt>
          <c:dPt>
            <c:idx val="1207"/>
            <c:invertIfNegative val="1"/>
            <c:bubble3D val="0"/>
            <c:spPr>
              <a:solidFill>
                <a:srgbClr val="AEABAB"/>
              </a:solidFill>
            </c:spPr>
            <c:extLst>
              <c:ext xmlns:c16="http://schemas.microsoft.com/office/drawing/2014/chart" uri="{C3380CC4-5D6E-409C-BE32-E72D297353CC}">
                <c16:uniqueId val="{00000971-61F5-407B-959D-D24239F5BB85}"/>
              </c:ext>
            </c:extLst>
          </c:dPt>
          <c:dPt>
            <c:idx val="1208"/>
            <c:invertIfNegative val="1"/>
            <c:bubble3D val="0"/>
            <c:spPr>
              <a:solidFill>
                <a:srgbClr val="AEABAB"/>
              </a:solidFill>
            </c:spPr>
            <c:extLst>
              <c:ext xmlns:c16="http://schemas.microsoft.com/office/drawing/2014/chart" uri="{C3380CC4-5D6E-409C-BE32-E72D297353CC}">
                <c16:uniqueId val="{00000973-61F5-407B-959D-D24239F5BB85}"/>
              </c:ext>
            </c:extLst>
          </c:dPt>
          <c:dPt>
            <c:idx val="1209"/>
            <c:invertIfNegative val="1"/>
            <c:bubble3D val="0"/>
            <c:spPr>
              <a:solidFill>
                <a:srgbClr val="AEABAB"/>
              </a:solidFill>
            </c:spPr>
            <c:extLst>
              <c:ext xmlns:c16="http://schemas.microsoft.com/office/drawing/2014/chart" uri="{C3380CC4-5D6E-409C-BE32-E72D297353CC}">
                <c16:uniqueId val="{00000975-61F5-407B-959D-D24239F5BB85}"/>
              </c:ext>
            </c:extLst>
          </c:dPt>
          <c:dPt>
            <c:idx val="1210"/>
            <c:invertIfNegative val="1"/>
            <c:bubble3D val="0"/>
            <c:spPr>
              <a:solidFill>
                <a:srgbClr val="AEABAB"/>
              </a:solidFill>
            </c:spPr>
            <c:extLst>
              <c:ext xmlns:c16="http://schemas.microsoft.com/office/drawing/2014/chart" uri="{C3380CC4-5D6E-409C-BE32-E72D297353CC}">
                <c16:uniqueId val="{00000977-61F5-407B-959D-D24239F5BB85}"/>
              </c:ext>
            </c:extLst>
          </c:dPt>
          <c:dPt>
            <c:idx val="1211"/>
            <c:invertIfNegative val="1"/>
            <c:bubble3D val="0"/>
            <c:spPr>
              <a:solidFill>
                <a:srgbClr val="AEABAB"/>
              </a:solidFill>
            </c:spPr>
            <c:extLst>
              <c:ext xmlns:c16="http://schemas.microsoft.com/office/drawing/2014/chart" uri="{C3380CC4-5D6E-409C-BE32-E72D297353CC}">
                <c16:uniqueId val="{00000979-61F5-407B-959D-D24239F5BB85}"/>
              </c:ext>
            </c:extLst>
          </c:dPt>
          <c:dPt>
            <c:idx val="1212"/>
            <c:invertIfNegative val="1"/>
            <c:bubble3D val="0"/>
            <c:spPr>
              <a:solidFill>
                <a:srgbClr val="AEABAB"/>
              </a:solidFill>
            </c:spPr>
            <c:extLst>
              <c:ext xmlns:c16="http://schemas.microsoft.com/office/drawing/2014/chart" uri="{C3380CC4-5D6E-409C-BE32-E72D297353CC}">
                <c16:uniqueId val="{0000097B-61F5-407B-959D-D24239F5BB85}"/>
              </c:ext>
            </c:extLst>
          </c:dPt>
          <c:dPt>
            <c:idx val="1213"/>
            <c:invertIfNegative val="1"/>
            <c:bubble3D val="0"/>
            <c:spPr>
              <a:solidFill>
                <a:srgbClr val="AEABAB"/>
              </a:solidFill>
            </c:spPr>
            <c:extLst>
              <c:ext xmlns:c16="http://schemas.microsoft.com/office/drawing/2014/chart" uri="{C3380CC4-5D6E-409C-BE32-E72D297353CC}">
                <c16:uniqueId val="{0000097D-61F5-407B-959D-D24239F5BB85}"/>
              </c:ext>
            </c:extLst>
          </c:dPt>
          <c:dPt>
            <c:idx val="1214"/>
            <c:invertIfNegative val="1"/>
            <c:bubble3D val="0"/>
            <c:spPr>
              <a:solidFill>
                <a:srgbClr val="AEABAB"/>
              </a:solidFill>
            </c:spPr>
            <c:extLst>
              <c:ext xmlns:c16="http://schemas.microsoft.com/office/drawing/2014/chart" uri="{C3380CC4-5D6E-409C-BE32-E72D297353CC}">
                <c16:uniqueId val="{0000097F-61F5-407B-959D-D24239F5BB85}"/>
              </c:ext>
            </c:extLst>
          </c:dPt>
          <c:dPt>
            <c:idx val="1215"/>
            <c:invertIfNegative val="1"/>
            <c:bubble3D val="0"/>
            <c:spPr>
              <a:solidFill>
                <a:srgbClr val="AEABAB"/>
              </a:solidFill>
            </c:spPr>
            <c:extLst>
              <c:ext xmlns:c16="http://schemas.microsoft.com/office/drawing/2014/chart" uri="{C3380CC4-5D6E-409C-BE32-E72D297353CC}">
                <c16:uniqueId val="{00000981-61F5-407B-959D-D24239F5BB85}"/>
              </c:ext>
            </c:extLst>
          </c:dPt>
          <c:dPt>
            <c:idx val="1216"/>
            <c:invertIfNegative val="1"/>
            <c:bubble3D val="0"/>
            <c:spPr>
              <a:solidFill>
                <a:srgbClr val="AEABAB"/>
              </a:solidFill>
            </c:spPr>
            <c:extLst>
              <c:ext xmlns:c16="http://schemas.microsoft.com/office/drawing/2014/chart" uri="{C3380CC4-5D6E-409C-BE32-E72D297353CC}">
                <c16:uniqueId val="{00000983-61F5-407B-959D-D24239F5BB85}"/>
              </c:ext>
            </c:extLst>
          </c:dPt>
          <c:dPt>
            <c:idx val="1217"/>
            <c:invertIfNegative val="1"/>
            <c:bubble3D val="0"/>
            <c:spPr>
              <a:solidFill>
                <a:srgbClr val="AEABAB"/>
              </a:solidFill>
            </c:spPr>
            <c:extLst>
              <c:ext xmlns:c16="http://schemas.microsoft.com/office/drawing/2014/chart" uri="{C3380CC4-5D6E-409C-BE32-E72D297353CC}">
                <c16:uniqueId val="{00000985-61F5-407B-959D-D24239F5BB85}"/>
              </c:ext>
            </c:extLst>
          </c:dPt>
          <c:dPt>
            <c:idx val="1218"/>
            <c:invertIfNegative val="1"/>
            <c:bubble3D val="0"/>
            <c:spPr>
              <a:solidFill>
                <a:srgbClr val="AEABAB"/>
              </a:solidFill>
            </c:spPr>
            <c:extLst>
              <c:ext xmlns:c16="http://schemas.microsoft.com/office/drawing/2014/chart" uri="{C3380CC4-5D6E-409C-BE32-E72D297353CC}">
                <c16:uniqueId val="{00000987-61F5-407B-959D-D24239F5BB85}"/>
              </c:ext>
            </c:extLst>
          </c:dPt>
          <c:dPt>
            <c:idx val="1219"/>
            <c:invertIfNegative val="1"/>
            <c:bubble3D val="0"/>
            <c:spPr>
              <a:solidFill>
                <a:srgbClr val="AEABAB"/>
              </a:solidFill>
            </c:spPr>
            <c:extLst>
              <c:ext xmlns:c16="http://schemas.microsoft.com/office/drawing/2014/chart" uri="{C3380CC4-5D6E-409C-BE32-E72D297353CC}">
                <c16:uniqueId val="{00000989-61F5-407B-959D-D24239F5BB85}"/>
              </c:ext>
            </c:extLst>
          </c:dPt>
          <c:dPt>
            <c:idx val="1220"/>
            <c:invertIfNegative val="1"/>
            <c:bubble3D val="0"/>
            <c:spPr>
              <a:solidFill>
                <a:srgbClr val="AEABAB"/>
              </a:solidFill>
            </c:spPr>
            <c:extLst>
              <c:ext xmlns:c16="http://schemas.microsoft.com/office/drawing/2014/chart" uri="{C3380CC4-5D6E-409C-BE32-E72D297353CC}">
                <c16:uniqueId val="{0000098B-61F5-407B-959D-D24239F5BB85}"/>
              </c:ext>
            </c:extLst>
          </c:dPt>
          <c:dPt>
            <c:idx val="1221"/>
            <c:invertIfNegative val="1"/>
            <c:bubble3D val="0"/>
            <c:spPr>
              <a:solidFill>
                <a:srgbClr val="AEABAB"/>
              </a:solidFill>
            </c:spPr>
            <c:extLst>
              <c:ext xmlns:c16="http://schemas.microsoft.com/office/drawing/2014/chart" uri="{C3380CC4-5D6E-409C-BE32-E72D297353CC}">
                <c16:uniqueId val="{0000098D-61F5-407B-959D-D24239F5BB85}"/>
              </c:ext>
            </c:extLst>
          </c:dPt>
          <c:dPt>
            <c:idx val="1222"/>
            <c:invertIfNegative val="1"/>
            <c:bubble3D val="0"/>
            <c:spPr>
              <a:solidFill>
                <a:srgbClr val="AEABAB"/>
              </a:solidFill>
            </c:spPr>
            <c:extLst>
              <c:ext xmlns:c16="http://schemas.microsoft.com/office/drawing/2014/chart" uri="{C3380CC4-5D6E-409C-BE32-E72D297353CC}">
                <c16:uniqueId val="{0000098F-61F5-407B-959D-D24239F5BB85}"/>
              </c:ext>
            </c:extLst>
          </c:dPt>
          <c:dPt>
            <c:idx val="1223"/>
            <c:invertIfNegative val="1"/>
            <c:bubble3D val="0"/>
            <c:spPr>
              <a:solidFill>
                <a:srgbClr val="AEABAB"/>
              </a:solidFill>
            </c:spPr>
            <c:extLst>
              <c:ext xmlns:c16="http://schemas.microsoft.com/office/drawing/2014/chart" uri="{C3380CC4-5D6E-409C-BE32-E72D297353CC}">
                <c16:uniqueId val="{00000991-61F5-407B-959D-D24239F5BB85}"/>
              </c:ext>
            </c:extLst>
          </c:dPt>
          <c:dPt>
            <c:idx val="1224"/>
            <c:invertIfNegative val="1"/>
            <c:bubble3D val="0"/>
            <c:spPr>
              <a:solidFill>
                <a:srgbClr val="AEABAB"/>
              </a:solidFill>
            </c:spPr>
            <c:extLst>
              <c:ext xmlns:c16="http://schemas.microsoft.com/office/drawing/2014/chart" uri="{C3380CC4-5D6E-409C-BE32-E72D297353CC}">
                <c16:uniqueId val="{00000993-61F5-407B-959D-D24239F5BB85}"/>
              </c:ext>
            </c:extLst>
          </c:dPt>
          <c:dPt>
            <c:idx val="1225"/>
            <c:invertIfNegative val="1"/>
            <c:bubble3D val="0"/>
            <c:spPr>
              <a:solidFill>
                <a:srgbClr val="AEABAB"/>
              </a:solidFill>
            </c:spPr>
            <c:extLst>
              <c:ext xmlns:c16="http://schemas.microsoft.com/office/drawing/2014/chart" uri="{C3380CC4-5D6E-409C-BE32-E72D297353CC}">
                <c16:uniqueId val="{00000995-61F5-407B-959D-D24239F5BB85}"/>
              </c:ext>
            </c:extLst>
          </c:dPt>
          <c:dPt>
            <c:idx val="1226"/>
            <c:invertIfNegative val="1"/>
            <c:bubble3D val="0"/>
            <c:spPr>
              <a:solidFill>
                <a:srgbClr val="AEABAB"/>
              </a:solidFill>
            </c:spPr>
            <c:extLst>
              <c:ext xmlns:c16="http://schemas.microsoft.com/office/drawing/2014/chart" uri="{C3380CC4-5D6E-409C-BE32-E72D297353CC}">
                <c16:uniqueId val="{00000997-61F5-407B-959D-D24239F5BB85}"/>
              </c:ext>
            </c:extLst>
          </c:dPt>
          <c:dPt>
            <c:idx val="1227"/>
            <c:invertIfNegative val="1"/>
            <c:bubble3D val="0"/>
            <c:spPr>
              <a:solidFill>
                <a:srgbClr val="AEABAB"/>
              </a:solidFill>
            </c:spPr>
            <c:extLst>
              <c:ext xmlns:c16="http://schemas.microsoft.com/office/drawing/2014/chart" uri="{C3380CC4-5D6E-409C-BE32-E72D297353CC}">
                <c16:uniqueId val="{00000999-61F5-407B-959D-D24239F5BB85}"/>
              </c:ext>
            </c:extLst>
          </c:dPt>
          <c:dPt>
            <c:idx val="1228"/>
            <c:invertIfNegative val="1"/>
            <c:bubble3D val="0"/>
            <c:spPr>
              <a:solidFill>
                <a:srgbClr val="AEABAB"/>
              </a:solidFill>
            </c:spPr>
            <c:extLst>
              <c:ext xmlns:c16="http://schemas.microsoft.com/office/drawing/2014/chart" uri="{C3380CC4-5D6E-409C-BE32-E72D297353CC}">
                <c16:uniqueId val="{0000099B-61F5-407B-959D-D24239F5BB85}"/>
              </c:ext>
            </c:extLst>
          </c:dPt>
          <c:dPt>
            <c:idx val="1229"/>
            <c:invertIfNegative val="1"/>
            <c:bubble3D val="0"/>
            <c:spPr>
              <a:solidFill>
                <a:srgbClr val="AEABAB"/>
              </a:solidFill>
            </c:spPr>
            <c:extLst>
              <c:ext xmlns:c16="http://schemas.microsoft.com/office/drawing/2014/chart" uri="{C3380CC4-5D6E-409C-BE32-E72D297353CC}">
                <c16:uniqueId val="{0000099D-61F5-407B-959D-D24239F5BB85}"/>
              </c:ext>
            </c:extLst>
          </c:dPt>
          <c:dPt>
            <c:idx val="1230"/>
            <c:invertIfNegative val="1"/>
            <c:bubble3D val="0"/>
            <c:spPr>
              <a:solidFill>
                <a:srgbClr val="AEABAB"/>
              </a:solidFill>
            </c:spPr>
            <c:extLst>
              <c:ext xmlns:c16="http://schemas.microsoft.com/office/drawing/2014/chart" uri="{C3380CC4-5D6E-409C-BE32-E72D297353CC}">
                <c16:uniqueId val="{0000099F-61F5-407B-959D-D24239F5BB85}"/>
              </c:ext>
            </c:extLst>
          </c:dPt>
          <c:dPt>
            <c:idx val="1231"/>
            <c:invertIfNegative val="1"/>
            <c:bubble3D val="0"/>
            <c:spPr>
              <a:solidFill>
                <a:srgbClr val="AEABAB"/>
              </a:solidFill>
            </c:spPr>
            <c:extLst>
              <c:ext xmlns:c16="http://schemas.microsoft.com/office/drawing/2014/chart" uri="{C3380CC4-5D6E-409C-BE32-E72D297353CC}">
                <c16:uniqueId val="{000009A1-61F5-407B-959D-D24239F5BB85}"/>
              </c:ext>
            </c:extLst>
          </c:dPt>
          <c:dPt>
            <c:idx val="1232"/>
            <c:invertIfNegative val="1"/>
            <c:bubble3D val="0"/>
            <c:spPr>
              <a:solidFill>
                <a:srgbClr val="AEABAB"/>
              </a:solidFill>
            </c:spPr>
            <c:extLst>
              <c:ext xmlns:c16="http://schemas.microsoft.com/office/drawing/2014/chart" uri="{C3380CC4-5D6E-409C-BE32-E72D297353CC}">
                <c16:uniqueId val="{000009A3-61F5-407B-959D-D24239F5BB85}"/>
              </c:ext>
            </c:extLst>
          </c:dPt>
          <c:dPt>
            <c:idx val="1233"/>
            <c:invertIfNegative val="1"/>
            <c:bubble3D val="0"/>
            <c:spPr>
              <a:solidFill>
                <a:srgbClr val="AEABAB"/>
              </a:solidFill>
            </c:spPr>
            <c:extLst>
              <c:ext xmlns:c16="http://schemas.microsoft.com/office/drawing/2014/chart" uri="{C3380CC4-5D6E-409C-BE32-E72D297353CC}">
                <c16:uniqueId val="{000009A5-61F5-407B-959D-D24239F5BB85}"/>
              </c:ext>
            </c:extLst>
          </c:dPt>
          <c:dPt>
            <c:idx val="1234"/>
            <c:invertIfNegative val="1"/>
            <c:bubble3D val="0"/>
            <c:spPr>
              <a:solidFill>
                <a:srgbClr val="AEABAB"/>
              </a:solidFill>
            </c:spPr>
            <c:extLst>
              <c:ext xmlns:c16="http://schemas.microsoft.com/office/drawing/2014/chart" uri="{C3380CC4-5D6E-409C-BE32-E72D297353CC}">
                <c16:uniqueId val="{000009A7-61F5-407B-959D-D24239F5BB85}"/>
              </c:ext>
            </c:extLst>
          </c:dPt>
          <c:dPt>
            <c:idx val="1235"/>
            <c:invertIfNegative val="1"/>
            <c:bubble3D val="0"/>
            <c:spPr>
              <a:solidFill>
                <a:srgbClr val="AEABAB"/>
              </a:solidFill>
            </c:spPr>
            <c:extLst>
              <c:ext xmlns:c16="http://schemas.microsoft.com/office/drawing/2014/chart" uri="{C3380CC4-5D6E-409C-BE32-E72D297353CC}">
                <c16:uniqueId val="{000009A9-61F5-407B-959D-D24239F5BB85}"/>
              </c:ext>
            </c:extLst>
          </c:dPt>
          <c:dPt>
            <c:idx val="1236"/>
            <c:invertIfNegative val="1"/>
            <c:bubble3D val="0"/>
            <c:spPr>
              <a:solidFill>
                <a:srgbClr val="AEABAB"/>
              </a:solidFill>
            </c:spPr>
            <c:extLst>
              <c:ext xmlns:c16="http://schemas.microsoft.com/office/drawing/2014/chart" uri="{C3380CC4-5D6E-409C-BE32-E72D297353CC}">
                <c16:uniqueId val="{000009AB-61F5-407B-959D-D24239F5BB85}"/>
              </c:ext>
            </c:extLst>
          </c:dPt>
          <c:dPt>
            <c:idx val="1237"/>
            <c:invertIfNegative val="1"/>
            <c:bubble3D val="0"/>
            <c:spPr>
              <a:solidFill>
                <a:srgbClr val="AEABAB"/>
              </a:solidFill>
            </c:spPr>
            <c:extLst>
              <c:ext xmlns:c16="http://schemas.microsoft.com/office/drawing/2014/chart" uri="{C3380CC4-5D6E-409C-BE32-E72D297353CC}">
                <c16:uniqueId val="{000009AD-61F5-407B-959D-D24239F5BB85}"/>
              </c:ext>
            </c:extLst>
          </c:dPt>
          <c:dPt>
            <c:idx val="1238"/>
            <c:invertIfNegative val="1"/>
            <c:bubble3D val="0"/>
            <c:spPr>
              <a:solidFill>
                <a:srgbClr val="AEABAB"/>
              </a:solidFill>
            </c:spPr>
            <c:extLst>
              <c:ext xmlns:c16="http://schemas.microsoft.com/office/drawing/2014/chart" uri="{C3380CC4-5D6E-409C-BE32-E72D297353CC}">
                <c16:uniqueId val="{000009AF-61F5-407B-959D-D24239F5BB85}"/>
              </c:ext>
            </c:extLst>
          </c:dPt>
          <c:dPt>
            <c:idx val="1239"/>
            <c:invertIfNegative val="1"/>
            <c:bubble3D val="0"/>
            <c:spPr>
              <a:solidFill>
                <a:srgbClr val="AEABAB"/>
              </a:solidFill>
            </c:spPr>
            <c:extLst>
              <c:ext xmlns:c16="http://schemas.microsoft.com/office/drawing/2014/chart" uri="{C3380CC4-5D6E-409C-BE32-E72D297353CC}">
                <c16:uniqueId val="{000009B1-61F5-407B-959D-D24239F5BB85}"/>
              </c:ext>
            </c:extLst>
          </c:dPt>
          <c:dPt>
            <c:idx val="1240"/>
            <c:invertIfNegative val="1"/>
            <c:bubble3D val="0"/>
            <c:spPr>
              <a:solidFill>
                <a:srgbClr val="AEABAB"/>
              </a:solidFill>
            </c:spPr>
            <c:extLst>
              <c:ext xmlns:c16="http://schemas.microsoft.com/office/drawing/2014/chart" uri="{C3380CC4-5D6E-409C-BE32-E72D297353CC}">
                <c16:uniqueId val="{000009B3-61F5-407B-959D-D24239F5BB85}"/>
              </c:ext>
            </c:extLst>
          </c:dPt>
          <c:dPt>
            <c:idx val="1241"/>
            <c:invertIfNegative val="1"/>
            <c:bubble3D val="0"/>
            <c:spPr>
              <a:solidFill>
                <a:srgbClr val="AEABAB"/>
              </a:solidFill>
            </c:spPr>
            <c:extLst>
              <c:ext xmlns:c16="http://schemas.microsoft.com/office/drawing/2014/chart" uri="{C3380CC4-5D6E-409C-BE32-E72D297353CC}">
                <c16:uniqueId val="{000009B5-61F5-407B-959D-D24239F5BB85}"/>
              </c:ext>
            </c:extLst>
          </c:dPt>
          <c:dPt>
            <c:idx val="1242"/>
            <c:invertIfNegative val="1"/>
            <c:bubble3D val="0"/>
            <c:spPr>
              <a:solidFill>
                <a:srgbClr val="AEABAB"/>
              </a:solidFill>
            </c:spPr>
            <c:extLst>
              <c:ext xmlns:c16="http://schemas.microsoft.com/office/drawing/2014/chart" uri="{C3380CC4-5D6E-409C-BE32-E72D297353CC}">
                <c16:uniqueId val="{000009B7-61F5-407B-959D-D24239F5BB85}"/>
              </c:ext>
            </c:extLst>
          </c:dPt>
          <c:dPt>
            <c:idx val="1243"/>
            <c:invertIfNegative val="1"/>
            <c:bubble3D val="0"/>
            <c:spPr>
              <a:solidFill>
                <a:srgbClr val="AEABAB"/>
              </a:solidFill>
            </c:spPr>
            <c:extLst>
              <c:ext xmlns:c16="http://schemas.microsoft.com/office/drawing/2014/chart" uri="{C3380CC4-5D6E-409C-BE32-E72D297353CC}">
                <c16:uniqueId val="{000009B9-61F5-407B-959D-D24239F5BB85}"/>
              </c:ext>
            </c:extLst>
          </c:dPt>
          <c:dPt>
            <c:idx val="1244"/>
            <c:invertIfNegative val="1"/>
            <c:bubble3D val="0"/>
            <c:spPr>
              <a:solidFill>
                <a:srgbClr val="AEABAB"/>
              </a:solidFill>
            </c:spPr>
            <c:extLst>
              <c:ext xmlns:c16="http://schemas.microsoft.com/office/drawing/2014/chart" uri="{C3380CC4-5D6E-409C-BE32-E72D297353CC}">
                <c16:uniqueId val="{000009BB-61F5-407B-959D-D24239F5BB85}"/>
              </c:ext>
            </c:extLst>
          </c:dPt>
          <c:dPt>
            <c:idx val="1245"/>
            <c:invertIfNegative val="1"/>
            <c:bubble3D val="0"/>
            <c:spPr>
              <a:solidFill>
                <a:srgbClr val="AEABAB"/>
              </a:solidFill>
            </c:spPr>
            <c:extLst>
              <c:ext xmlns:c16="http://schemas.microsoft.com/office/drawing/2014/chart" uri="{C3380CC4-5D6E-409C-BE32-E72D297353CC}">
                <c16:uniqueId val="{000009BD-61F5-407B-959D-D24239F5BB85}"/>
              </c:ext>
            </c:extLst>
          </c:dPt>
          <c:dPt>
            <c:idx val="1246"/>
            <c:invertIfNegative val="1"/>
            <c:bubble3D val="0"/>
            <c:spPr>
              <a:solidFill>
                <a:srgbClr val="AEABAB"/>
              </a:solidFill>
            </c:spPr>
            <c:extLst>
              <c:ext xmlns:c16="http://schemas.microsoft.com/office/drawing/2014/chart" uri="{C3380CC4-5D6E-409C-BE32-E72D297353CC}">
                <c16:uniqueId val="{000009BF-61F5-407B-959D-D24239F5BB85}"/>
              </c:ext>
            </c:extLst>
          </c:dPt>
          <c:dPt>
            <c:idx val="1247"/>
            <c:invertIfNegative val="1"/>
            <c:bubble3D val="0"/>
            <c:spPr>
              <a:solidFill>
                <a:srgbClr val="AEABAB"/>
              </a:solidFill>
            </c:spPr>
            <c:extLst>
              <c:ext xmlns:c16="http://schemas.microsoft.com/office/drawing/2014/chart" uri="{C3380CC4-5D6E-409C-BE32-E72D297353CC}">
                <c16:uniqueId val="{000009C1-61F5-407B-959D-D24239F5BB85}"/>
              </c:ext>
            </c:extLst>
          </c:dPt>
          <c:dPt>
            <c:idx val="1248"/>
            <c:invertIfNegative val="1"/>
            <c:bubble3D val="0"/>
            <c:spPr>
              <a:solidFill>
                <a:srgbClr val="AEABAB"/>
              </a:solidFill>
            </c:spPr>
            <c:extLst>
              <c:ext xmlns:c16="http://schemas.microsoft.com/office/drawing/2014/chart" uri="{C3380CC4-5D6E-409C-BE32-E72D297353CC}">
                <c16:uniqueId val="{000009C3-61F5-407B-959D-D24239F5BB85}"/>
              </c:ext>
            </c:extLst>
          </c:dPt>
          <c:dPt>
            <c:idx val="1249"/>
            <c:invertIfNegative val="1"/>
            <c:bubble3D val="0"/>
            <c:spPr>
              <a:solidFill>
                <a:srgbClr val="AEABAB"/>
              </a:solidFill>
            </c:spPr>
            <c:extLst>
              <c:ext xmlns:c16="http://schemas.microsoft.com/office/drawing/2014/chart" uri="{C3380CC4-5D6E-409C-BE32-E72D297353CC}">
                <c16:uniqueId val="{000009C5-61F5-407B-959D-D24239F5BB85}"/>
              </c:ext>
            </c:extLst>
          </c:dPt>
          <c:dPt>
            <c:idx val="1250"/>
            <c:invertIfNegative val="1"/>
            <c:bubble3D val="0"/>
            <c:spPr>
              <a:solidFill>
                <a:srgbClr val="AEABAB"/>
              </a:solidFill>
            </c:spPr>
            <c:extLst>
              <c:ext xmlns:c16="http://schemas.microsoft.com/office/drawing/2014/chart" uri="{C3380CC4-5D6E-409C-BE32-E72D297353CC}">
                <c16:uniqueId val="{000009C7-61F5-407B-959D-D24239F5BB85}"/>
              </c:ext>
            </c:extLst>
          </c:dPt>
          <c:dPt>
            <c:idx val="1251"/>
            <c:invertIfNegative val="1"/>
            <c:bubble3D val="0"/>
            <c:spPr>
              <a:solidFill>
                <a:srgbClr val="AEABAB"/>
              </a:solidFill>
            </c:spPr>
            <c:extLst>
              <c:ext xmlns:c16="http://schemas.microsoft.com/office/drawing/2014/chart" uri="{C3380CC4-5D6E-409C-BE32-E72D297353CC}">
                <c16:uniqueId val="{000009C9-61F5-407B-959D-D24239F5BB85}"/>
              </c:ext>
            </c:extLst>
          </c:dPt>
          <c:dPt>
            <c:idx val="1252"/>
            <c:invertIfNegative val="1"/>
            <c:bubble3D val="0"/>
            <c:spPr>
              <a:solidFill>
                <a:srgbClr val="AEABAB"/>
              </a:solidFill>
            </c:spPr>
            <c:extLst>
              <c:ext xmlns:c16="http://schemas.microsoft.com/office/drawing/2014/chart" uri="{C3380CC4-5D6E-409C-BE32-E72D297353CC}">
                <c16:uniqueId val="{000009CB-61F5-407B-959D-D24239F5BB85}"/>
              </c:ext>
            </c:extLst>
          </c:dPt>
          <c:dPt>
            <c:idx val="1253"/>
            <c:invertIfNegative val="1"/>
            <c:bubble3D val="0"/>
            <c:spPr>
              <a:solidFill>
                <a:srgbClr val="AEABAB"/>
              </a:solidFill>
            </c:spPr>
            <c:extLst>
              <c:ext xmlns:c16="http://schemas.microsoft.com/office/drawing/2014/chart" uri="{C3380CC4-5D6E-409C-BE32-E72D297353CC}">
                <c16:uniqueId val="{000009CD-61F5-407B-959D-D24239F5BB85}"/>
              </c:ext>
            </c:extLst>
          </c:dPt>
          <c:dPt>
            <c:idx val="1254"/>
            <c:invertIfNegative val="1"/>
            <c:bubble3D val="0"/>
            <c:spPr>
              <a:solidFill>
                <a:srgbClr val="AEABAB"/>
              </a:solidFill>
            </c:spPr>
            <c:extLst>
              <c:ext xmlns:c16="http://schemas.microsoft.com/office/drawing/2014/chart" uri="{C3380CC4-5D6E-409C-BE32-E72D297353CC}">
                <c16:uniqueId val="{000009CF-61F5-407B-959D-D24239F5BB85}"/>
              </c:ext>
            </c:extLst>
          </c:dPt>
          <c:dPt>
            <c:idx val="1255"/>
            <c:invertIfNegative val="1"/>
            <c:bubble3D val="0"/>
            <c:spPr>
              <a:solidFill>
                <a:srgbClr val="AEABAB"/>
              </a:solidFill>
            </c:spPr>
            <c:extLst>
              <c:ext xmlns:c16="http://schemas.microsoft.com/office/drawing/2014/chart" uri="{C3380CC4-5D6E-409C-BE32-E72D297353CC}">
                <c16:uniqueId val="{000009D1-61F5-407B-959D-D24239F5BB85}"/>
              </c:ext>
            </c:extLst>
          </c:dPt>
          <c:dPt>
            <c:idx val="1256"/>
            <c:invertIfNegative val="1"/>
            <c:bubble3D val="0"/>
            <c:spPr>
              <a:solidFill>
                <a:srgbClr val="AEABAB"/>
              </a:solidFill>
            </c:spPr>
            <c:extLst>
              <c:ext xmlns:c16="http://schemas.microsoft.com/office/drawing/2014/chart" uri="{C3380CC4-5D6E-409C-BE32-E72D297353CC}">
                <c16:uniqueId val="{000009D3-61F5-407B-959D-D24239F5BB85}"/>
              </c:ext>
            </c:extLst>
          </c:dPt>
          <c:dPt>
            <c:idx val="1257"/>
            <c:invertIfNegative val="1"/>
            <c:bubble3D val="0"/>
            <c:spPr>
              <a:solidFill>
                <a:srgbClr val="AEABAB"/>
              </a:solidFill>
            </c:spPr>
            <c:extLst>
              <c:ext xmlns:c16="http://schemas.microsoft.com/office/drawing/2014/chart" uri="{C3380CC4-5D6E-409C-BE32-E72D297353CC}">
                <c16:uniqueId val="{000009D5-61F5-407B-959D-D24239F5BB85}"/>
              </c:ext>
            </c:extLst>
          </c:dPt>
          <c:dPt>
            <c:idx val="1258"/>
            <c:invertIfNegative val="1"/>
            <c:bubble3D val="0"/>
            <c:spPr>
              <a:solidFill>
                <a:srgbClr val="AEABAB"/>
              </a:solidFill>
            </c:spPr>
            <c:extLst>
              <c:ext xmlns:c16="http://schemas.microsoft.com/office/drawing/2014/chart" uri="{C3380CC4-5D6E-409C-BE32-E72D297353CC}">
                <c16:uniqueId val="{000009D7-61F5-407B-959D-D24239F5BB85}"/>
              </c:ext>
            </c:extLst>
          </c:dPt>
          <c:dPt>
            <c:idx val="1259"/>
            <c:invertIfNegative val="1"/>
            <c:bubble3D val="0"/>
            <c:spPr>
              <a:solidFill>
                <a:srgbClr val="AEABAB"/>
              </a:solidFill>
            </c:spPr>
            <c:extLst>
              <c:ext xmlns:c16="http://schemas.microsoft.com/office/drawing/2014/chart" uri="{C3380CC4-5D6E-409C-BE32-E72D297353CC}">
                <c16:uniqueId val="{000009D9-61F5-407B-959D-D24239F5BB85}"/>
              </c:ext>
            </c:extLst>
          </c:dPt>
          <c:dPt>
            <c:idx val="1260"/>
            <c:invertIfNegative val="1"/>
            <c:bubble3D val="0"/>
            <c:spPr>
              <a:solidFill>
                <a:srgbClr val="AEABAB"/>
              </a:solidFill>
            </c:spPr>
            <c:extLst>
              <c:ext xmlns:c16="http://schemas.microsoft.com/office/drawing/2014/chart" uri="{C3380CC4-5D6E-409C-BE32-E72D297353CC}">
                <c16:uniqueId val="{000009DB-61F5-407B-959D-D24239F5BB85}"/>
              </c:ext>
            </c:extLst>
          </c:dPt>
          <c:dPt>
            <c:idx val="1261"/>
            <c:invertIfNegative val="1"/>
            <c:bubble3D val="0"/>
            <c:spPr>
              <a:solidFill>
                <a:srgbClr val="AEABAB"/>
              </a:solidFill>
            </c:spPr>
            <c:extLst>
              <c:ext xmlns:c16="http://schemas.microsoft.com/office/drawing/2014/chart" uri="{C3380CC4-5D6E-409C-BE32-E72D297353CC}">
                <c16:uniqueId val="{000009DD-61F5-407B-959D-D24239F5BB85}"/>
              </c:ext>
            </c:extLst>
          </c:dPt>
          <c:dPt>
            <c:idx val="1262"/>
            <c:invertIfNegative val="1"/>
            <c:bubble3D val="0"/>
            <c:spPr>
              <a:solidFill>
                <a:srgbClr val="AEABAB"/>
              </a:solidFill>
            </c:spPr>
            <c:extLst>
              <c:ext xmlns:c16="http://schemas.microsoft.com/office/drawing/2014/chart" uri="{C3380CC4-5D6E-409C-BE32-E72D297353CC}">
                <c16:uniqueId val="{000009DF-61F5-407B-959D-D24239F5BB85}"/>
              </c:ext>
            </c:extLst>
          </c:dPt>
          <c:dPt>
            <c:idx val="1263"/>
            <c:invertIfNegative val="1"/>
            <c:bubble3D val="0"/>
            <c:spPr>
              <a:solidFill>
                <a:srgbClr val="AEABAB"/>
              </a:solidFill>
            </c:spPr>
            <c:extLst>
              <c:ext xmlns:c16="http://schemas.microsoft.com/office/drawing/2014/chart" uri="{C3380CC4-5D6E-409C-BE32-E72D297353CC}">
                <c16:uniqueId val="{000009E1-61F5-407B-959D-D24239F5BB85}"/>
              </c:ext>
            </c:extLst>
          </c:dPt>
          <c:dPt>
            <c:idx val="1264"/>
            <c:invertIfNegative val="1"/>
            <c:bubble3D val="0"/>
            <c:spPr>
              <a:solidFill>
                <a:srgbClr val="AEABAB"/>
              </a:solidFill>
            </c:spPr>
            <c:extLst>
              <c:ext xmlns:c16="http://schemas.microsoft.com/office/drawing/2014/chart" uri="{C3380CC4-5D6E-409C-BE32-E72D297353CC}">
                <c16:uniqueId val="{000009E3-61F5-407B-959D-D24239F5BB85}"/>
              </c:ext>
            </c:extLst>
          </c:dPt>
          <c:dPt>
            <c:idx val="1265"/>
            <c:invertIfNegative val="1"/>
            <c:bubble3D val="0"/>
            <c:spPr>
              <a:solidFill>
                <a:srgbClr val="AEABAB"/>
              </a:solidFill>
            </c:spPr>
            <c:extLst>
              <c:ext xmlns:c16="http://schemas.microsoft.com/office/drawing/2014/chart" uri="{C3380CC4-5D6E-409C-BE32-E72D297353CC}">
                <c16:uniqueId val="{000009E5-61F5-407B-959D-D24239F5BB85}"/>
              </c:ext>
            </c:extLst>
          </c:dPt>
          <c:dPt>
            <c:idx val="1266"/>
            <c:invertIfNegative val="1"/>
            <c:bubble3D val="0"/>
            <c:spPr>
              <a:solidFill>
                <a:srgbClr val="AEABAB"/>
              </a:solidFill>
            </c:spPr>
            <c:extLst>
              <c:ext xmlns:c16="http://schemas.microsoft.com/office/drawing/2014/chart" uri="{C3380CC4-5D6E-409C-BE32-E72D297353CC}">
                <c16:uniqueId val="{000009E7-61F5-407B-959D-D24239F5BB85}"/>
              </c:ext>
            </c:extLst>
          </c:dPt>
          <c:dPt>
            <c:idx val="1267"/>
            <c:invertIfNegative val="1"/>
            <c:bubble3D val="0"/>
            <c:spPr>
              <a:solidFill>
                <a:srgbClr val="AEABAB"/>
              </a:solidFill>
            </c:spPr>
            <c:extLst>
              <c:ext xmlns:c16="http://schemas.microsoft.com/office/drawing/2014/chart" uri="{C3380CC4-5D6E-409C-BE32-E72D297353CC}">
                <c16:uniqueId val="{000009E9-61F5-407B-959D-D24239F5BB85}"/>
              </c:ext>
            </c:extLst>
          </c:dPt>
          <c:dPt>
            <c:idx val="1268"/>
            <c:invertIfNegative val="1"/>
            <c:bubble3D val="0"/>
            <c:spPr>
              <a:solidFill>
                <a:srgbClr val="AEABAB"/>
              </a:solidFill>
            </c:spPr>
            <c:extLst>
              <c:ext xmlns:c16="http://schemas.microsoft.com/office/drawing/2014/chart" uri="{C3380CC4-5D6E-409C-BE32-E72D297353CC}">
                <c16:uniqueId val="{000009EB-61F5-407B-959D-D24239F5BB85}"/>
              </c:ext>
            </c:extLst>
          </c:dPt>
          <c:dPt>
            <c:idx val="1269"/>
            <c:invertIfNegative val="1"/>
            <c:bubble3D val="0"/>
            <c:spPr>
              <a:solidFill>
                <a:srgbClr val="AEABAB"/>
              </a:solidFill>
            </c:spPr>
            <c:extLst>
              <c:ext xmlns:c16="http://schemas.microsoft.com/office/drawing/2014/chart" uri="{C3380CC4-5D6E-409C-BE32-E72D297353CC}">
                <c16:uniqueId val="{000009ED-61F5-407B-959D-D24239F5BB85}"/>
              </c:ext>
            </c:extLst>
          </c:dPt>
          <c:dPt>
            <c:idx val="1270"/>
            <c:invertIfNegative val="1"/>
            <c:bubble3D val="0"/>
            <c:spPr>
              <a:solidFill>
                <a:srgbClr val="AEABAB"/>
              </a:solidFill>
            </c:spPr>
            <c:extLst>
              <c:ext xmlns:c16="http://schemas.microsoft.com/office/drawing/2014/chart" uri="{C3380CC4-5D6E-409C-BE32-E72D297353CC}">
                <c16:uniqueId val="{000009EF-61F5-407B-959D-D24239F5BB85}"/>
              </c:ext>
            </c:extLst>
          </c:dPt>
          <c:dPt>
            <c:idx val="1271"/>
            <c:invertIfNegative val="1"/>
            <c:bubble3D val="0"/>
            <c:spPr>
              <a:solidFill>
                <a:srgbClr val="AEABAB"/>
              </a:solidFill>
            </c:spPr>
            <c:extLst>
              <c:ext xmlns:c16="http://schemas.microsoft.com/office/drawing/2014/chart" uri="{C3380CC4-5D6E-409C-BE32-E72D297353CC}">
                <c16:uniqueId val="{000009F1-61F5-407B-959D-D24239F5BB85}"/>
              </c:ext>
            </c:extLst>
          </c:dPt>
          <c:dPt>
            <c:idx val="1272"/>
            <c:invertIfNegative val="1"/>
            <c:bubble3D val="0"/>
            <c:spPr>
              <a:solidFill>
                <a:srgbClr val="AEABAB"/>
              </a:solidFill>
            </c:spPr>
            <c:extLst>
              <c:ext xmlns:c16="http://schemas.microsoft.com/office/drawing/2014/chart" uri="{C3380CC4-5D6E-409C-BE32-E72D297353CC}">
                <c16:uniqueId val="{000009F3-61F5-407B-959D-D24239F5BB85}"/>
              </c:ext>
            </c:extLst>
          </c:dPt>
          <c:dPt>
            <c:idx val="1273"/>
            <c:invertIfNegative val="1"/>
            <c:bubble3D val="0"/>
            <c:spPr>
              <a:solidFill>
                <a:srgbClr val="AEABAB"/>
              </a:solidFill>
            </c:spPr>
            <c:extLst>
              <c:ext xmlns:c16="http://schemas.microsoft.com/office/drawing/2014/chart" uri="{C3380CC4-5D6E-409C-BE32-E72D297353CC}">
                <c16:uniqueId val="{000009F5-61F5-407B-959D-D24239F5BB85}"/>
              </c:ext>
            </c:extLst>
          </c:dPt>
          <c:dPt>
            <c:idx val="1274"/>
            <c:invertIfNegative val="1"/>
            <c:bubble3D val="0"/>
            <c:spPr>
              <a:solidFill>
                <a:srgbClr val="AEABAB"/>
              </a:solidFill>
            </c:spPr>
            <c:extLst>
              <c:ext xmlns:c16="http://schemas.microsoft.com/office/drawing/2014/chart" uri="{C3380CC4-5D6E-409C-BE32-E72D297353CC}">
                <c16:uniqueId val="{000009F7-61F5-407B-959D-D24239F5BB85}"/>
              </c:ext>
            </c:extLst>
          </c:dPt>
          <c:dPt>
            <c:idx val="1275"/>
            <c:invertIfNegative val="1"/>
            <c:bubble3D val="0"/>
            <c:spPr>
              <a:solidFill>
                <a:srgbClr val="AEABAB"/>
              </a:solidFill>
            </c:spPr>
            <c:extLst>
              <c:ext xmlns:c16="http://schemas.microsoft.com/office/drawing/2014/chart" uri="{C3380CC4-5D6E-409C-BE32-E72D297353CC}">
                <c16:uniqueId val="{000009F9-61F5-407B-959D-D24239F5BB85}"/>
              </c:ext>
            </c:extLst>
          </c:dPt>
          <c:dPt>
            <c:idx val="1276"/>
            <c:invertIfNegative val="1"/>
            <c:bubble3D val="0"/>
            <c:spPr>
              <a:solidFill>
                <a:srgbClr val="AEABAB"/>
              </a:solidFill>
            </c:spPr>
            <c:extLst>
              <c:ext xmlns:c16="http://schemas.microsoft.com/office/drawing/2014/chart" uri="{C3380CC4-5D6E-409C-BE32-E72D297353CC}">
                <c16:uniqueId val="{000009FB-61F5-407B-959D-D24239F5BB85}"/>
              </c:ext>
            </c:extLst>
          </c:dPt>
          <c:dPt>
            <c:idx val="1277"/>
            <c:invertIfNegative val="1"/>
            <c:bubble3D val="0"/>
            <c:spPr>
              <a:solidFill>
                <a:srgbClr val="AEABAB"/>
              </a:solidFill>
            </c:spPr>
            <c:extLst>
              <c:ext xmlns:c16="http://schemas.microsoft.com/office/drawing/2014/chart" uri="{C3380CC4-5D6E-409C-BE32-E72D297353CC}">
                <c16:uniqueId val="{000009FD-61F5-407B-959D-D24239F5BB85}"/>
              </c:ext>
            </c:extLst>
          </c:dPt>
          <c:dPt>
            <c:idx val="1278"/>
            <c:invertIfNegative val="1"/>
            <c:bubble3D val="0"/>
            <c:spPr>
              <a:solidFill>
                <a:srgbClr val="AEABAB"/>
              </a:solidFill>
            </c:spPr>
            <c:extLst>
              <c:ext xmlns:c16="http://schemas.microsoft.com/office/drawing/2014/chart" uri="{C3380CC4-5D6E-409C-BE32-E72D297353CC}">
                <c16:uniqueId val="{000009FF-61F5-407B-959D-D24239F5BB85}"/>
              </c:ext>
            </c:extLst>
          </c:dPt>
          <c:dPt>
            <c:idx val="1279"/>
            <c:invertIfNegative val="1"/>
            <c:bubble3D val="0"/>
            <c:spPr>
              <a:solidFill>
                <a:srgbClr val="AEABAB"/>
              </a:solidFill>
            </c:spPr>
            <c:extLst>
              <c:ext xmlns:c16="http://schemas.microsoft.com/office/drawing/2014/chart" uri="{C3380CC4-5D6E-409C-BE32-E72D297353CC}">
                <c16:uniqueId val="{00000A01-61F5-407B-959D-D24239F5BB85}"/>
              </c:ext>
            </c:extLst>
          </c:dPt>
          <c:dPt>
            <c:idx val="1280"/>
            <c:invertIfNegative val="1"/>
            <c:bubble3D val="0"/>
            <c:spPr>
              <a:solidFill>
                <a:srgbClr val="AEABAB"/>
              </a:solidFill>
            </c:spPr>
            <c:extLst>
              <c:ext xmlns:c16="http://schemas.microsoft.com/office/drawing/2014/chart" uri="{C3380CC4-5D6E-409C-BE32-E72D297353CC}">
                <c16:uniqueId val="{00000A03-61F5-407B-959D-D24239F5BB85}"/>
              </c:ext>
            </c:extLst>
          </c:dPt>
          <c:dPt>
            <c:idx val="1281"/>
            <c:invertIfNegative val="1"/>
            <c:bubble3D val="0"/>
            <c:spPr>
              <a:solidFill>
                <a:srgbClr val="AEABAB"/>
              </a:solidFill>
            </c:spPr>
            <c:extLst>
              <c:ext xmlns:c16="http://schemas.microsoft.com/office/drawing/2014/chart" uri="{C3380CC4-5D6E-409C-BE32-E72D297353CC}">
                <c16:uniqueId val="{00000A05-61F5-407B-959D-D24239F5BB85}"/>
              </c:ext>
            </c:extLst>
          </c:dPt>
          <c:dPt>
            <c:idx val="1282"/>
            <c:invertIfNegative val="1"/>
            <c:bubble3D val="0"/>
            <c:spPr>
              <a:solidFill>
                <a:srgbClr val="AEABAB"/>
              </a:solidFill>
            </c:spPr>
            <c:extLst>
              <c:ext xmlns:c16="http://schemas.microsoft.com/office/drawing/2014/chart" uri="{C3380CC4-5D6E-409C-BE32-E72D297353CC}">
                <c16:uniqueId val="{00000A07-61F5-407B-959D-D24239F5BB85}"/>
              </c:ext>
            </c:extLst>
          </c:dPt>
          <c:dPt>
            <c:idx val="1283"/>
            <c:invertIfNegative val="1"/>
            <c:bubble3D val="0"/>
            <c:spPr>
              <a:solidFill>
                <a:srgbClr val="AEABAB"/>
              </a:solidFill>
            </c:spPr>
            <c:extLst>
              <c:ext xmlns:c16="http://schemas.microsoft.com/office/drawing/2014/chart" uri="{C3380CC4-5D6E-409C-BE32-E72D297353CC}">
                <c16:uniqueId val="{00000A09-61F5-407B-959D-D24239F5BB85}"/>
              </c:ext>
            </c:extLst>
          </c:dPt>
          <c:dPt>
            <c:idx val="1284"/>
            <c:invertIfNegative val="1"/>
            <c:bubble3D val="0"/>
            <c:spPr>
              <a:solidFill>
                <a:srgbClr val="AEABAB"/>
              </a:solidFill>
            </c:spPr>
            <c:extLst>
              <c:ext xmlns:c16="http://schemas.microsoft.com/office/drawing/2014/chart" uri="{C3380CC4-5D6E-409C-BE32-E72D297353CC}">
                <c16:uniqueId val="{00000A0B-61F5-407B-959D-D24239F5BB85}"/>
              </c:ext>
            </c:extLst>
          </c:dPt>
          <c:dPt>
            <c:idx val="1285"/>
            <c:invertIfNegative val="1"/>
            <c:bubble3D val="0"/>
            <c:spPr>
              <a:solidFill>
                <a:srgbClr val="AEABAB"/>
              </a:solidFill>
            </c:spPr>
            <c:extLst>
              <c:ext xmlns:c16="http://schemas.microsoft.com/office/drawing/2014/chart" uri="{C3380CC4-5D6E-409C-BE32-E72D297353CC}">
                <c16:uniqueId val="{00000A0D-61F5-407B-959D-D24239F5BB85}"/>
              </c:ext>
            </c:extLst>
          </c:dPt>
          <c:dPt>
            <c:idx val="1286"/>
            <c:invertIfNegative val="1"/>
            <c:bubble3D val="0"/>
            <c:spPr>
              <a:solidFill>
                <a:srgbClr val="AEABAB"/>
              </a:solidFill>
            </c:spPr>
            <c:extLst>
              <c:ext xmlns:c16="http://schemas.microsoft.com/office/drawing/2014/chart" uri="{C3380CC4-5D6E-409C-BE32-E72D297353CC}">
                <c16:uniqueId val="{00000A0F-61F5-407B-959D-D24239F5BB85}"/>
              </c:ext>
            </c:extLst>
          </c:dPt>
          <c:dPt>
            <c:idx val="1287"/>
            <c:invertIfNegative val="1"/>
            <c:bubble3D val="0"/>
            <c:spPr>
              <a:solidFill>
                <a:srgbClr val="AEABAB"/>
              </a:solidFill>
            </c:spPr>
            <c:extLst>
              <c:ext xmlns:c16="http://schemas.microsoft.com/office/drawing/2014/chart" uri="{C3380CC4-5D6E-409C-BE32-E72D297353CC}">
                <c16:uniqueId val="{00000A11-61F5-407B-959D-D24239F5BB85}"/>
              </c:ext>
            </c:extLst>
          </c:dPt>
          <c:dPt>
            <c:idx val="1288"/>
            <c:invertIfNegative val="1"/>
            <c:bubble3D val="0"/>
            <c:spPr>
              <a:solidFill>
                <a:srgbClr val="AEABAB"/>
              </a:solidFill>
            </c:spPr>
            <c:extLst>
              <c:ext xmlns:c16="http://schemas.microsoft.com/office/drawing/2014/chart" uri="{C3380CC4-5D6E-409C-BE32-E72D297353CC}">
                <c16:uniqueId val="{00000A13-61F5-407B-959D-D24239F5BB85}"/>
              </c:ext>
            </c:extLst>
          </c:dPt>
          <c:dPt>
            <c:idx val="1289"/>
            <c:invertIfNegative val="1"/>
            <c:bubble3D val="0"/>
            <c:spPr>
              <a:solidFill>
                <a:srgbClr val="AEABAB"/>
              </a:solidFill>
            </c:spPr>
            <c:extLst>
              <c:ext xmlns:c16="http://schemas.microsoft.com/office/drawing/2014/chart" uri="{C3380CC4-5D6E-409C-BE32-E72D297353CC}">
                <c16:uniqueId val="{00000A15-61F5-407B-959D-D24239F5BB85}"/>
              </c:ext>
            </c:extLst>
          </c:dPt>
          <c:dPt>
            <c:idx val="1290"/>
            <c:invertIfNegative val="1"/>
            <c:bubble3D val="0"/>
            <c:spPr>
              <a:solidFill>
                <a:srgbClr val="AEABAB"/>
              </a:solidFill>
            </c:spPr>
            <c:extLst>
              <c:ext xmlns:c16="http://schemas.microsoft.com/office/drawing/2014/chart" uri="{C3380CC4-5D6E-409C-BE32-E72D297353CC}">
                <c16:uniqueId val="{00000A17-61F5-407B-959D-D24239F5BB85}"/>
              </c:ext>
            </c:extLst>
          </c:dPt>
          <c:dPt>
            <c:idx val="1291"/>
            <c:invertIfNegative val="1"/>
            <c:bubble3D val="0"/>
            <c:spPr>
              <a:solidFill>
                <a:srgbClr val="AEABAB"/>
              </a:solidFill>
            </c:spPr>
            <c:extLst>
              <c:ext xmlns:c16="http://schemas.microsoft.com/office/drawing/2014/chart" uri="{C3380CC4-5D6E-409C-BE32-E72D297353CC}">
                <c16:uniqueId val="{00000A19-61F5-407B-959D-D24239F5BB85}"/>
              </c:ext>
            </c:extLst>
          </c:dPt>
          <c:dPt>
            <c:idx val="1292"/>
            <c:invertIfNegative val="1"/>
            <c:bubble3D val="0"/>
            <c:spPr>
              <a:solidFill>
                <a:srgbClr val="AEABAB"/>
              </a:solidFill>
            </c:spPr>
            <c:extLst>
              <c:ext xmlns:c16="http://schemas.microsoft.com/office/drawing/2014/chart" uri="{C3380CC4-5D6E-409C-BE32-E72D297353CC}">
                <c16:uniqueId val="{00000A1B-61F5-407B-959D-D24239F5BB85}"/>
              </c:ext>
            </c:extLst>
          </c:dPt>
          <c:dPt>
            <c:idx val="1293"/>
            <c:invertIfNegative val="1"/>
            <c:bubble3D val="0"/>
            <c:spPr>
              <a:solidFill>
                <a:srgbClr val="AEABAB"/>
              </a:solidFill>
            </c:spPr>
            <c:extLst>
              <c:ext xmlns:c16="http://schemas.microsoft.com/office/drawing/2014/chart" uri="{C3380CC4-5D6E-409C-BE32-E72D297353CC}">
                <c16:uniqueId val="{00000A1D-61F5-407B-959D-D24239F5BB85}"/>
              </c:ext>
            </c:extLst>
          </c:dPt>
          <c:dPt>
            <c:idx val="1294"/>
            <c:invertIfNegative val="1"/>
            <c:bubble3D val="0"/>
            <c:spPr>
              <a:solidFill>
                <a:srgbClr val="AEABAB"/>
              </a:solidFill>
            </c:spPr>
            <c:extLst>
              <c:ext xmlns:c16="http://schemas.microsoft.com/office/drawing/2014/chart" uri="{C3380CC4-5D6E-409C-BE32-E72D297353CC}">
                <c16:uniqueId val="{00000A1F-61F5-407B-959D-D24239F5BB85}"/>
              </c:ext>
            </c:extLst>
          </c:dPt>
          <c:dPt>
            <c:idx val="1295"/>
            <c:invertIfNegative val="1"/>
            <c:bubble3D val="0"/>
            <c:spPr>
              <a:solidFill>
                <a:srgbClr val="AEABAB"/>
              </a:solidFill>
            </c:spPr>
            <c:extLst>
              <c:ext xmlns:c16="http://schemas.microsoft.com/office/drawing/2014/chart" uri="{C3380CC4-5D6E-409C-BE32-E72D297353CC}">
                <c16:uniqueId val="{00000A21-61F5-407B-959D-D24239F5BB85}"/>
              </c:ext>
            </c:extLst>
          </c:dPt>
          <c:dPt>
            <c:idx val="1296"/>
            <c:invertIfNegative val="1"/>
            <c:bubble3D val="0"/>
            <c:spPr>
              <a:solidFill>
                <a:srgbClr val="AEABAB"/>
              </a:solidFill>
            </c:spPr>
            <c:extLst>
              <c:ext xmlns:c16="http://schemas.microsoft.com/office/drawing/2014/chart" uri="{C3380CC4-5D6E-409C-BE32-E72D297353CC}">
                <c16:uniqueId val="{00000A23-61F5-407B-959D-D24239F5BB85}"/>
              </c:ext>
            </c:extLst>
          </c:dPt>
          <c:dPt>
            <c:idx val="1297"/>
            <c:invertIfNegative val="1"/>
            <c:bubble3D val="0"/>
            <c:spPr>
              <a:solidFill>
                <a:srgbClr val="AEABAB"/>
              </a:solidFill>
            </c:spPr>
            <c:extLst>
              <c:ext xmlns:c16="http://schemas.microsoft.com/office/drawing/2014/chart" uri="{C3380CC4-5D6E-409C-BE32-E72D297353CC}">
                <c16:uniqueId val="{00000A25-61F5-407B-959D-D24239F5BB85}"/>
              </c:ext>
            </c:extLst>
          </c:dPt>
          <c:dPt>
            <c:idx val="1298"/>
            <c:invertIfNegative val="1"/>
            <c:bubble3D val="0"/>
            <c:spPr>
              <a:solidFill>
                <a:srgbClr val="AEABAB"/>
              </a:solidFill>
            </c:spPr>
            <c:extLst>
              <c:ext xmlns:c16="http://schemas.microsoft.com/office/drawing/2014/chart" uri="{C3380CC4-5D6E-409C-BE32-E72D297353CC}">
                <c16:uniqueId val="{00000A27-61F5-407B-959D-D24239F5BB85}"/>
              </c:ext>
            </c:extLst>
          </c:dPt>
          <c:dPt>
            <c:idx val="1299"/>
            <c:invertIfNegative val="1"/>
            <c:bubble3D val="0"/>
            <c:spPr>
              <a:solidFill>
                <a:srgbClr val="AEABAB"/>
              </a:solidFill>
            </c:spPr>
            <c:extLst>
              <c:ext xmlns:c16="http://schemas.microsoft.com/office/drawing/2014/chart" uri="{C3380CC4-5D6E-409C-BE32-E72D297353CC}">
                <c16:uniqueId val="{00000A29-61F5-407B-959D-D24239F5BB85}"/>
              </c:ext>
            </c:extLst>
          </c:dPt>
          <c:dPt>
            <c:idx val="1300"/>
            <c:invertIfNegative val="1"/>
            <c:bubble3D val="0"/>
            <c:spPr>
              <a:solidFill>
                <a:srgbClr val="AEABAB"/>
              </a:solidFill>
            </c:spPr>
            <c:extLst>
              <c:ext xmlns:c16="http://schemas.microsoft.com/office/drawing/2014/chart" uri="{C3380CC4-5D6E-409C-BE32-E72D297353CC}">
                <c16:uniqueId val="{00000A2B-61F5-407B-959D-D24239F5BB85}"/>
              </c:ext>
            </c:extLst>
          </c:dPt>
          <c:dPt>
            <c:idx val="1301"/>
            <c:invertIfNegative val="1"/>
            <c:bubble3D val="0"/>
            <c:spPr>
              <a:solidFill>
                <a:srgbClr val="AEABAB"/>
              </a:solidFill>
            </c:spPr>
            <c:extLst>
              <c:ext xmlns:c16="http://schemas.microsoft.com/office/drawing/2014/chart" uri="{C3380CC4-5D6E-409C-BE32-E72D297353CC}">
                <c16:uniqueId val="{00000A2D-61F5-407B-959D-D24239F5BB85}"/>
              </c:ext>
            </c:extLst>
          </c:dPt>
          <c:dPt>
            <c:idx val="1302"/>
            <c:invertIfNegative val="1"/>
            <c:bubble3D val="0"/>
            <c:spPr>
              <a:solidFill>
                <a:srgbClr val="AEABAB"/>
              </a:solidFill>
            </c:spPr>
            <c:extLst>
              <c:ext xmlns:c16="http://schemas.microsoft.com/office/drawing/2014/chart" uri="{C3380CC4-5D6E-409C-BE32-E72D297353CC}">
                <c16:uniqueId val="{00000A2F-61F5-407B-959D-D24239F5BB85}"/>
              </c:ext>
            </c:extLst>
          </c:dPt>
          <c:dPt>
            <c:idx val="1303"/>
            <c:invertIfNegative val="1"/>
            <c:bubble3D val="0"/>
            <c:spPr>
              <a:solidFill>
                <a:srgbClr val="AEABAB"/>
              </a:solidFill>
            </c:spPr>
            <c:extLst>
              <c:ext xmlns:c16="http://schemas.microsoft.com/office/drawing/2014/chart" uri="{C3380CC4-5D6E-409C-BE32-E72D297353CC}">
                <c16:uniqueId val="{00000A31-61F5-407B-959D-D24239F5BB85}"/>
              </c:ext>
            </c:extLst>
          </c:dPt>
          <c:dPt>
            <c:idx val="1304"/>
            <c:invertIfNegative val="1"/>
            <c:bubble3D val="0"/>
            <c:spPr>
              <a:solidFill>
                <a:srgbClr val="AEABAB"/>
              </a:solidFill>
            </c:spPr>
            <c:extLst>
              <c:ext xmlns:c16="http://schemas.microsoft.com/office/drawing/2014/chart" uri="{C3380CC4-5D6E-409C-BE32-E72D297353CC}">
                <c16:uniqueId val="{00000A33-61F5-407B-959D-D24239F5BB85}"/>
              </c:ext>
            </c:extLst>
          </c:dPt>
          <c:dPt>
            <c:idx val="1305"/>
            <c:invertIfNegative val="1"/>
            <c:bubble3D val="0"/>
            <c:spPr>
              <a:solidFill>
                <a:srgbClr val="AEABAB"/>
              </a:solidFill>
            </c:spPr>
            <c:extLst>
              <c:ext xmlns:c16="http://schemas.microsoft.com/office/drawing/2014/chart" uri="{C3380CC4-5D6E-409C-BE32-E72D297353CC}">
                <c16:uniqueId val="{00000A35-61F5-407B-959D-D24239F5BB85}"/>
              </c:ext>
            </c:extLst>
          </c:dPt>
          <c:dPt>
            <c:idx val="1306"/>
            <c:invertIfNegative val="1"/>
            <c:bubble3D val="0"/>
            <c:spPr>
              <a:solidFill>
                <a:srgbClr val="AEABAB"/>
              </a:solidFill>
            </c:spPr>
            <c:extLst>
              <c:ext xmlns:c16="http://schemas.microsoft.com/office/drawing/2014/chart" uri="{C3380CC4-5D6E-409C-BE32-E72D297353CC}">
                <c16:uniqueId val="{00000A37-61F5-407B-959D-D24239F5BB85}"/>
              </c:ext>
            </c:extLst>
          </c:dPt>
          <c:dPt>
            <c:idx val="1307"/>
            <c:invertIfNegative val="1"/>
            <c:bubble3D val="0"/>
            <c:spPr>
              <a:solidFill>
                <a:srgbClr val="AEABAB"/>
              </a:solidFill>
            </c:spPr>
            <c:extLst>
              <c:ext xmlns:c16="http://schemas.microsoft.com/office/drawing/2014/chart" uri="{C3380CC4-5D6E-409C-BE32-E72D297353CC}">
                <c16:uniqueId val="{00000A39-61F5-407B-959D-D24239F5BB85}"/>
              </c:ext>
            </c:extLst>
          </c:dPt>
          <c:dPt>
            <c:idx val="1308"/>
            <c:invertIfNegative val="1"/>
            <c:bubble3D val="0"/>
            <c:spPr>
              <a:solidFill>
                <a:srgbClr val="AEABAB"/>
              </a:solidFill>
            </c:spPr>
            <c:extLst>
              <c:ext xmlns:c16="http://schemas.microsoft.com/office/drawing/2014/chart" uri="{C3380CC4-5D6E-409C-BE32-E72D297353CC}">
                <c16:uniqueId val="{00000A3B-61F5-407B-959D-D24239F5BB85}"/>
              </c:ext>
            </c:extLst>
          </c:dPt>
          <c:dPt>
            <c:idx val="1309"/>
            <c:invertIfNegative val="1"/>
            <c:bubble3D val="0"/>
            <c:spPr>
              <a:solidFill>
                <a:srgbClr val="AEABAB"/>
              </a:solidFill>
            </c:spPr>
            <c:extLst>
              <c:ext xmlns:c16="http://schemas.microsoft.com/office/drawing/2014/chart" uri="{C3380CC4-5D6E-409C-BE32-E72D297353CC}">
                <c16:uniqueId val="{00000A3D-61F5-407B-959D-D24239F5BB85}"/>
              </c:ext>
            </c:extLst>
          </c:dPt>
          <c:dPt>
            <c:idx val="1310"/>
            <c:invertIfNegative val="1"/>
            <c:bubble3D val="0"/>
            <c:spPr>
              <a:solidFill>
                <a:srgbClr val="AEABAB"/>
              </a:solidFill>
            </c:spPr>
            <c:extLst>
              <c:ext xmlns:c16="http://schemas.microsoft.com/office/drawing/2014/chart" uri="{C3380CC4-5D6E-409C-BE32-E72D297353CC}">
                <c16:uniqueId val="{00000A3F-61F5-407B-959D-D24239F5BB85}"/>
              </c:ext>
            </c:extLst>
          </c:dPt>
          <c:dPt>
            <c:idx val="1311"/>
            <c:invertIfNegative val="1"/>
            <c:bubble3D val="0"/>
            <c:spPr>
              <a:solidFill>
                <a:srgbClr val="AEABAB"/>
              </a:solidFill>
            </c:spPr>
            <c:extLst>
              <c:ext xmlns:c16="http://schemas.microsoft.com/office/drawing/2014/chart" uri="{C3380CC4-5D6E-409C-BE32-E72D297353CC}">
                <c16:uniqueId val="{00000A41-61F5-407B-959D-D24239F5BB85}"/>
              </c:ext>
            </c:extLst>
          </c:dPt>
          <c:dPt>
            <c:idx val="1312"/>
            <c:invertIfNegative val="1"/>
            <c:bubble3D val="0"/>
            <c:spPr>
              <a:solidFill>
                <a:srgbClr val="AEABAB"/>
              </a:solidFill>
            </c:spPr>
            <c:extLst>
              <c:ext xmlns:c16="http://schemas.microsoft.com/office/drawing/2014/chart" uri="{C3380CC4-5D6E-409C-BE32-E72D297353CC}">
                <c16:uniqueId val="{00000A43-61F5-407B-959D-D24239F5BB85}"/>
              </c:ext>
            </c:extLst>
          </c:dPt>
          <c:dPt>
            <c:idx val="1313"/>
            <c:invertIfNegative val="1"/>
            <c:bubble3D val="0"/>
            <c:spPr>
              <a:solidFill>
                <a:srgbClr val="AEABAB"/>
              </a:solidFill>
            </c:spPr>
            <c:extLst>
              <c:ext xmlns:c16="http://schemas.microsoft.com/office/drawing/2014/chart" uri="{C3380CC4-5D6E-409C-BE32-E72D297353CC}">
                <c16:uniqueId val="{00000A45-61F5-407B-959D-D24239F5BB85}"/>
              </c:ext>
            </c:extLst>
          </c:dPt>
          <c:dPt>
            <c:idx val="1314"/>
            <c:invertIfNegative val="1"/>
            <c:bubble3D val="0"/>
            <c:spPr>
              <a:solidFill>
                <a:srgbClr val="AEABAB"/>
              </a:solidFill>
            </c:spPr>
            <c:extLst>
              <c:ext xmlns:c16="http://schemas.microsoft.com/office/drawing/2014/chart" uri="{C3380CC4-5D6E-409C-BE32-E72D297353CC}">
                <c16:uniqueId val="{00000A47-61F5-407B-959D-D24239F5BB85}"/>
              </c:ext>
            </c:extLst>
          </c:dPt>
          <c:dPt>
            <c:idx val="1315"/>
            <c:invertIfNegative val="1"/>
            <c:bubble3D val="0"/>
            <c:spPr>
              <a:solidFill>
                <a:srgbClr val="AEABAB"/>
              </a:solidFill>
            </c:spPr>
            <c:extLst>
              <c:ext xmlns:c16="http://schemas.microsoft.com/office/drawing/2014/chart" uri="{C3380CC4-5D6E-409C-BE32-E72D297353CC}">
                <c16:uniqueId val="{00000A49-61F5-407B-959D-D24239F5BB85}"/>
              </c:ext>
            </c:extLst>
          </c:dPt>
          <c:dPt>
            <c:idx val="1316"/>
            <c:invertIfNegative val="1"/>
            <c:bubble3D val="0"/>
            <c:spPr>
              <a:solidFill>
                <a:srgbClr val="AEABAB"/>
              </a:solidFill>
            </c:spPr>
            <c:extLst>
              <c:ext xmlns:c16="http://schemas.microsoft.com/office/drawing/2014/chart" uri="{C3380CC4-5D6E-409C-BE32-E72D297353CC}">
                <c16:uniqueId val="{00000A4B-61F5-407B-959D-D24239F5BB85}"/>
              </c:ext>
            </c:extLst>
          </c:dPt>
          <c:dPt>
            <c:idx val="1317"/>
            <c:invertIfNegative val="1"/>
            <c:bubble3D val="0"/>
            <c:spPr>
              <a:solidFill>
                <a:srgbClr val="AEABAB"/>
              </a:solidFill>
            </c:spPr>
            <c:extLst>
              <c:ext xmlns:c16="http://schemas.microsoft.com/office/drawing/2014/chart" uri="{C3380CC4-5D6E-409C-BE32-E72D297353CC}">
                <c16:uniqueId val="{00000A4D-61F5-407B-959D-D24239F5BB85}"/>
              </c:ext>
            </c:extLst>
          </c:dPt>
          <c:dPt>
            <c:idx val="1318"/>
            <c:invertIfNegative val="1"/>
            <c:bubble3D val="0"/>
            <c:spPr>
              <a:solidFill>
                <a:srgbClr val="AEABAB"/>
              </a:solidFill>
            </c:spPr>
            <c:extLst>
              <c:ext xmlns:c16="http://schemas.microsoft.com/office/drawing/2014/chart" uri="{C3380CC4-5D6E-409C-BE32-E72D297353CC}">
                <c16:uniqueId val="{00000A4F-61F5-407B-959D-D24239F5BB85}"/>
              </c:ext>
            </c:extLst>
          </c:dPt>
          <c:dPt>
            <c:idx val="1319"/>
            <c:invertIfNegative val="1"/>
            <c:bubble3D val="0"/>
            <c:spPr>
              <a:solidFill>
                <a:srgbClr val="AEABAB"/>
              </a:solidFill>
            </c:spPr>
            <c:extLst>
              <c:ext xmlns:c16="http://schemas.microsoft.com/office/drawing/2014/chart" uri="{C3380CC4-5D6E-409C-BE32-E72D297353CC}">
                <c16:uniqueId val="{00000A51-61F5-407B-959D-D24239F5BB85}"/>
              </c:ext>
            </c:extLst>
          </c:dPt>
          <c:dPt>
            <c:idx val="1320"/>
            <c:invertIfNegative val="1"/>
            <c:bubble3D val="0"/>
            <c:spPr>
              <a:solidFill>
                <a:srgbClr val="AEABAB"/>
              </a:solidFill>
            </c:spPr>
            <c:extLst>
              <c:ext xmlns:c16="http://schemas.microsoft.com/office/drawing/2014/chart" uri="{C3380CC4-5D6E-409C-BE32-E72D297353CC}">
                <c16:uniqueId val="{00000A53-61F5-407B-959D-D24239F5BB85}"/>
              </c:ext>
            </c:extLst>
          </c:dPt>
          <c:dPt>
            <c:idx val="1321"/>
            <c:invertIfNegative val="1"/>
            <c:bubble3D val="0"/>
            <c:spPr>
              <a:solidFill>
                <a:srgbClr val="AEABAB"/>
              </a:solidFill>
            </c:spPr>
            <c:extLst>
              <c:ext xmlns:c16="http://schemas.microsoft.com/office/drawing/2014/chart" uri="{C3380CC4-5D6E-409C-BE32-E72D297353CC}">
                <c16:uniqueId val="{00000A55-61F5-407B-959D-D24239F5BB85}"/>
              </c:ext>
            </c:extLst>
          </c:dPt>
          <c:dPt>
            <c:idx val="1322"/>
            <c:invertIfNegative val="1"/>
            <c:bubble3D val="0"/>
            <c:spPr>
              <a:solidFill>
                <a:srgbClr val="AEABAB"/>
              </a:solidFill>
            </c:spPr>
            <c:extLst>
              <c:ext xmlns:c16="http://schemas.microsoft.com/office/drawing/2014/chart" uri="{C3380CC4-5D6E-409C-BE32-E72D297353CC}">
                <c16:uniqueId val="{00000A57-61F5-407B-959D-D24239F5BB85}"/>
              </c:ext>
            </c:extLst>
          </c:dPt>
          <c:dPt>
            <c:idx val="1323"/>
            <c:invertIfNegative val="1"/>
            <c:bubble3D val="0"/>
            <c:spPr>
              <a:solidFill>
                <a:srgbClr val="AEABAB"/>
              </a:solidFill>
            </c:spPr>
            <c:extLst>
              <c:ext xmlns:c16="http://schemas.microsoft.com/office/drawing/2014/chart" uri="{C3380CC4-5D6E-409C-BE32-E72D297353CC}">
                <c16:uniqueId val="{00000A59-61F5-407B-959D-D24239F5BB85}"/>
              </c:ext>
            </c:extLst>
          </c:dPt>
          <c:dPt>
            <c:idx val="1324"/>
            <c:invertIfNegative val="1"/>
            <c:bubble3D val="0"/>
            <c:spPr>
              <a:solidFill>
                <a:srgbClr val="AEABAB"/>
              </a:solidFill>
            </c:spPr>
            <c:extLst>
              <c:ext xmlns:c16="http://schemas.microsoft.com/office/drawing/2014/chart" uri="{C3380CC4-5D6E-409C-BE32-E72D297353CC}">
                <c16:uniqueId val="{00000A5B-61F5-407B-959D-D24239F5BB85}"/>
              </c:ext>
            </c:extLst>
          </c:dPt>
          <c:dPt>
            <c:idx val="1325"/>
            <c:invertIfNegative val="1"/>
            <c:bubble3D val="0"/>
            <c:spPr>
              <a:solidFill>
                <a:srgbClr val="AEABAB"/>
              </a:solidFill>
            </c:spPr>
            <c:extLst>
              <c:ext xmlns:c16="http://schemas.microsoft.com/office/drawing/2014/chart" uri="{C3380CC4-5D6E-409C-BE32-E72D297353CC}">
                <c16:uniqueId val="{00000A5D-61F5-407B-959D-D24239F5BB85}"/>
              </c:ext>
            </c:extLst>
          </c:dPt>
          <c:dPt>
            <c:idx val="1326"/>
            <c:invertIfNegative val="1"/>
            <c:bubble3D val="0"/>
            <c:spPr>
              <a:solidFill>
                <a:srgbClr val="AEABAB"/>
              </a:solidFill>
            </c:spPr>
            <c:extLst>
              <c:ext xmlns:c16="http://schemas.microsoft.com/office/drawing/2014/chart" uri="{C3380CC4-5D6E-409C-BE32-E72D297353CC}">
                <c16:uniqueId val="{00000A5F-61F5-407B-959D-D24239F5BB85}"/>
              </c:ext>
            </c:extLst>
          </c:dPt>
          <c:dPt>
            <c:idx val="1327"/>
            <c:invertIfNegative val="1"/>
            <c:bubble3D val="0"/>
            <c:spPr>
              <a:solidFill>
                <a:srgbClr val="AEABAB"/>
              </a:solidFill>
            </c:spPr>
            <c:extLst>
              <c:ext xmlns:c16="http://schemas.microsoft.com/office/drawing/2014/chart" uri="{C3380CC4-5D6E-409C-BE32-E72D297353CC}">
                <c16:uniqueId val="{00000A61-61F5-407B-959D-D24239F5BB85}"/>
              </c:ext>
            </c:extLst>
          </c:dPt>
          <c:dPt>
            <c:idx val="1328"/>
            <c:invertIfNegative val="1"/>
            <c:bubble3D val="0"/>
            <c:spPr>
              <a:solidFill>
                <a:srgbClr val="AEABAB"/>
              </a:solidFill>
            </c:spPr>
            <c:extLst>
              <c:ext xmlns:c16="http://schemas.microsoft.com/office/drawing/2014/chart" uri="{C3380CC4-5D6E-409C-BE32-E72D297353CC}">
                <c16:uniqueId val="{00000A63-61F5-407B-959D-D24239F5BB85}"/>
              </c:ext>
            </c:extLst>
          </c:dPt>
          <c:dPt>
            <c:idx val="1329"/>
            <c:invertIfNegative val="1"/>
            <c:bubble3D val="0"/>
            <c:spPr>
              <a:solidFill>
                <a:srgbClr val="AEABAB"/>
              </a:solidFill>
            </c:spPr>
            <c:extLst>
              <c:ext xmlns:c16="http://schemas.microsoft.com/office/drawing/2014/chart" uri="{C3380CC4-5D6E-409C-BE32-E72D297353CC}">
                <c16:uniqueId val="{00000A65-61F5-407B-959D-D24239F5BB85}"/>
              </c:ext>
            </c:extLst>
          </c:dPt>
          <c:dPt>
            <c:idx val="1330"/>
            <c:invertIfNegative val="1"/>
            <c:bubble3D val="0"/>
            <c:spPr>
              <a:solidFill>
                <a:srgbClr val="AEABAB"/>
              </a:solidFill>
            </c:spPr>
            <c:extLst>
              <c:ext xmlns:c16="http://schemas.microsoft.com/office/drawing/2014/chart" uri="{C3380CC4-5D6E-409C-BE32-E72D297353CC}">
                <c16:uniqueId val="{00000A67-61F5-407B-959D-D24239F5BB85}"/>
              </c:ext>
            </c:extLst>
          </c:dPt>
          <c:dPt>
            <c:idx val="1331"/>
            <c:invertIfNegative val="1"/>
            <c:bubble3D val="0"/>
            <c:spPr>
              <a:solidFill>
                <a:srgbClr val="AEABAB"/>
              </a:solidFill>
            </c:spPr>
            <c:extLst>
              <c:ext xmlns:c16="http://schemas.microsoft.com/office/drawing/2014/chart" uri="{C3380CC4-5D6E-409C-BE32-E72D297353CC}">
                <c16:uniqueId val="{00000A69-61F5-407B-959D-D24239F5BB85}"/>
              </c:ext>
            </c:extLst>
          </c:dPt>
          <c:dPt>
            <c:idx val="1332"/>
            <c:invertIfNegative val="1"/>
            <c:bubble3D val="0"/>
            <c:spPr>
              <a:solidFill>
                <a:srgbClr val="AEABAB"/>
              </a:solidFill>
            </c:spPr>
            <c:extLst>
              <c:ext xmlns:c16="http://schemas.microsoft.com/office/drawing/2014/chart" uri="{C3380CC4-5D6E-409C-BE32-E72D297353CC}">
                <c16:uniqueId val="{00000A6B-61F5-407B-959D-D24239F5BB85}"/>
              </c:ext>
            </c:extLst>
          </c:dPt>
          <c:dPt>
            <c:idx val="1333"/>
            <c:invertIfNegative val="1"/>
            <c:bubble3D val="0"/>
            <c:spPr>
              <a:solidFill>
                <a:srgbClr val="AEABAB"/>
              </a:solidFill>
            </c:spPr>
            <c:extLst>
              <c:ext xmlns:c16="http://schemas.microsoft.com/office/drawing/2014/chart" uri="{C3380CC4-5D6E-409C-BE32-E72D297353CC}">
                <c16:uniqueId val="{00000A6D-61F5-407B-959D-D24239F5BB85}"/>
              </c:ext>
            </c:extLst>
          </c:dPt>
          <c:dPt>
            <c:idx val="1334"/>
            <c:invertIfNegative val="1"/>
            <c:bubble3D val="0"/>
            <c:spPr>
              <a:solidFill>
                <a:srgbClr val="AEABAB"/>
              </a:solidFill>
            </c:spPr>
            <c:extLst>
              <c:ext xmlns:c16="http://schemas.microsoft.com/office/drawing/2014/chart" uri="{C3380CC4-5D6E-409C-BE32-E72D297353CC}">
                <c16:uniqueId val="{00000A6F-61F5-407B-959D-D24239F5BB85}"/>
              </c:ext>
            </c:extLst>
          </c:dPt>
          <c:dPt>
            <c:idx val="1335"/>
            <c:invertIfNegative val="1"/>
            <c:bubble3D val="0"/>
            <c:spPr>
              <a:solidFill>
                <a:srgbClr val="AEABAB"/>
              </a:solidFill>
            </c:spPr>
            <c:extLst>
              <c:ext xmlns:c16="http://schemas.microsoft.com/office/drawing/2014/chart" uri="{C3380CC4-5D6E-409C-BE32-E72D297353CC}">
                <c16:uniqueId val="{00000A71-61F5-407B-959D-D24239F5BB85}"/>
              </c:ext>
            </c:extLst>
          </c:dPt>
          <c:dPt>
            <c:idx val="1336"/>
            <c:invertIfNegative val="1"/>
            <c:bubble3D val="0"/>
            <c:spPr>
              <a:solidFill>
                <a:srgbClr val="AEABAB"/>
              </a:solidFill>
            </c:spPr>
            <c:extLst>
              <c:ext xmlns:c16="http://schemas.microsoft.com/office/drawing/2014/chart" uri="{C3380CC4-5D6E-409C-BE32-E72D297353CC}">
                <c16:uniqueId val="{00000A73-61F5-407B-959D-D24239F5BB85}"/>
              </c:ext>
            </c:extLst>
          </c:dPt>
          <c:dPt>
            <c:idx val="1337"/>
            <c:invertIfNegative val="1"/>
            <c:bubble3D val="0"/>
            <c:spPr>
              <a:solidFill>
                <a:srgbClr val="AEABAB"/>
              </a:solidFill>
            </c:spPr>
            <c:extLst>
              <c:ext xmlns:c16="http://schemas.microsoft.com/office/drawing/2014/chart" uri="{C3380CC4-5D6E-409C-BE32-E72D297353CC}">
                <c16:uniqueId val="{00000A75-61F5-407B-959D-D24239F5BB85}"/>
              </c:ext>
            </c:extLst>
          </c:dPt>
          <c:dPt>
            <c:idx val="1338"/>
            <c:invertIfNegative val="1"/>
            <c:bubble3D val="0"/>
            <c:spPr>
              <a:solidFill>
                <a:srgbClr val="AEABAB"/>
              </a:solidFill>
            </c:spPr>
            <c:extLst>
              <c:ext xmlns:c16="http://schemas.microsoft.com/office/drawing/2014/chart" uri="{C3380CC4-5D6E-409C-BE32-E72D297353CC}">
                <c16:uniqueId val="{00000A77-61F5-407B-959D-D24239F5BB85}"/>
              </c:ext>
            </c:extLst>
          </c:dPt>
          <c:dPt>
            <c:idx val="1339"/>
            <c:invertIfNegative val="1"/>
            <c:bubble3D val="0"/>
            <c:spPr>
              <a:solidFill>
                <a:srgbClr val="AEABAB"/>
              </a:solidFill>
            </c:spPr>
            <c:extLst>
              <c:ext xmlns:c16="http://schemas.microsoft.com/office/drawing/2014/chart" uri="{C3380CC4-5D6E-409C-BE32-E72D297353CC}">
                <c16:uniqueId val="{00000A79-61F5-407B-959D-D24239F5BB85}"/>
              </c:ext>
            </c:extLst>
          </c:dPt>
          <c:dPt>
            <c:idx val="1340"/>
            <c:invertIfNegative val="1"/>
            <c:bubble3D val="0"/>
            <c:spPr>
              <a:solidFill>
                <a:srgbClr val="AEABAB"/>
              </a:solidFill>
            </c:spPr>
            <c:extLst>
              <c:ext xmlns:c16="http://schemas.microsoft.com/office/drawing/2014/chart" uri="{C3380CC4-5D6E-409C-BE32-E72D297353CC}">
                <c16:uniqueId val="{00000A7B-61F5-407B-959D-D24239F5BB85}"/>
              </c:ext>
            </c:extLst>
          </c:dPt>
          <c:dPt>
            <c:idx val="1341"/>
            <c:invertIfNegative val="1"/>
            <c:bubble3D val="0"/>
            <c:spPr>
              <a:solidFill>
                <a:srgbClr val="AEABAB"/>
              </a:solidFill>
            </c:spPr>
            <c:extLst>
              <c:ext xmlns:c16="http://schemas.microsoft.com/office/drawing/2014/chart" uri="{C3380CC4-5D6E-409C-BE32-E72D297353CC}">
                <c16:uniqueId val="{00000A7D-61F5-407B-959D-D24239F5BB85}"/>
              </c:ext>
            </c:extLst>
          </c:dPt>
          <c:dPt>
            <c:idx val="1342"/>
            <c:invertIfNegative val="1"/>
            <c:bubble3D val="0"/>
            <c:spPr>
              <a:solidFill>
                <a:srgbClr val="AEABAB"/>
              </a:solidFill>
            </c:spPr>
            <c:extLst>
              <c:ext xmlns:c16="http://schemas.microsoft.com/office/drawing/2014/chart" uri="{C3380CC4-5D6E-409C-BE32-E72D297353CC}">
                <c16:uniqueId val="{00000A7F-61F5-407B-959D-D24239F5BB85}"/>
              </c:ext>
            </c:extLst>
          </c:dPt>
          <c:dPt>
            <c:idx val="1343"/>
            <c:invertIfNegative val="1"/>
            <c:bubble3D val="0"/>
            <c:spPr>
              <a:solidFill>
                <a:srgbClr val="AEABAB"/>
              </a:solidFill>
            </c:spPr>
            <c:extLst>
              <c:ext xmlns:c16="http://schemas.microsoft.com/office/drawing/2014/chart" uri="{C3380CC4-5D6E-409C-BE32-E72D297353CC}">
                <c16:uniqueId val="{00000A81-61F5-407B-959D-D24239F5BB85}"/>
              </c:ext>
            </c:extLst>
          </c:dPt>
          <c:dPt>
            <c:idx val="1344"/>
            <c:invertIfNegative val="1"/>
            <c:bubble3D val="0"/>
            <c:spPr>
              <a:solidFill>
                <a:srgbClr val="AEABAB"/>
              </a:solidFill>
            </c:spPr>
            <c:extLst>
              <c:ext xmlns:c16="http://schemas.microsoft.com/office/drawing/2014/chart" uri="{C3380CC4-5D6E-409C-BE32-E72D297353CC}">
                <c16:uniqueId val="{00000A83-61F5-407B-959D-D24239F5BB85}"/>
              </c:ext>
            </c:extLst>
          </c:dPt>
          <c:dPt>
            <c:idx val="1345"/>
            <c:invertIfNegative val="1"/>
            <c:bubble3D val="0"/>
            <c:spPr>
              <a:solidFill>
                <a:srgbClr val="AEABAB"/>
              </a:solidFill>
            </c:spPr>
            <c:extLst>
              <c:ext xmlns:c16="http://schemas.microsoft.com/office/drawing/2014/chart" uri="{C3380CC4-5D6E-409C-BE32-E72D297353CC}">
                <c16:uniqueId val="{00000A85-61F5-407B-959D-D24239F5BB85}"/>
              </c:ext>
            </c:extLst>
          </c:dPt>
          <c:dPt>
            <c:idx val="1346"/>
            <c:invertIfNegative val="1"/>
            <c:bubble3D val="0"/>
            <c:spPr>
              <a:solidFill>
                <a:srgbClr val="AEABAB"/>
              </a:solidFill>
            </c:spPr>
            <c:extLst>
              <c:ext xmlns:c16="http://schemas.microsoft.com/office/drawing/2014/chart" uri="{C3380CC4-5D6E-409C-BE32-E72D297353CC}">
                <c16:uniqueId val="{00000A87-61F5-407B-959D-D24239F5BB85}"/>
              </c:ext>
            </c:extLst>
          </c:dPt>
          <c:dPt>
            <c:idx val="1347"/>
            <c:invertIfNegative val="1"/>
            <c:bubble3D val="0"/>
            <c:spPr>
              <a:solidFill>
                <a:srgbClr val="AEABAB"/>
              </a:solidFill>
            </c:spPr>
            <c:extLst>
              <c:ext xmlns:c16="http://schemas.microsoft.com/office/drawing/2014/chart" uri="{C3380CC4-5D6E-409C-BE32-E72D297353CC}">
                <c16:uniqueId val="{00000A89-61F5-407B-959D-D24239F5BB85}"/>
              </c:ext>
            </c:extLst>
          </c:dPt>
          <c:dPt>
            <c:idx val="1348"/>
            <c:invertIfNegative val="1"/>
            <c:bubble3D val="0"/>
            <c:spPr>
              <a:solidFill>
                <a:srgbClr val="AEABAB"/>
              </a:solidFill>
            </c:spPr>
            <c:extLst>
              <c:ext xmlns:c16="http://schemas.microsoft.com/office/drawing/2014/chart" uri="{C3380CC4-5D6E-409C-BE32-E72D297353CC}">
                <c16:uniqueId val="{00000A8B-61F5-407B-959D-D24239F5BB85}"/>
              </c:ext>
            </c:extLst>
          </c:dPt>
          <c:dPt>
            <c:idx val="1349"/>
            <c:invertIfNegative val="1"/>
            <c:bubble3D val="0"/>
            <c:spPr>
              <a:solidFill>
                <a:srgbClr val="AEABAB"/>
              </a:solidFill>
            </c:spPr>
            <c:extLst>
              <c:ext xmlns:c16="http://schemas.microsoft.com/office/drawing/2014/chart" uri="{C3380CC4-5D6E-409C-BE32-E72D297353CC}">
                <c16:uniqueId val="{00000A8D-61F5-407B-959D-D24239F5BB85}"/>
              </c:ext>
            </c:extLst>
          </c:dPt>
          <c:dPt>
            <c:idx val="1350"/>
            <c:invertIfNegative val="1"/>
            <c:bubble3D val="0"/>
            <c:spPr>
              <a:solidFill>
                <a:srgbClr val="AEABAB"/>
              </a:solidFill>
            </c:spPr>
            <c:extLst>
              <c:ext xmlns:c16="http://schemas.microsoft.com/office/drawing/2014/chart" uri="{C3380CC4-5D6E-409C-BE32-E72D297353CC}">
                <c16:uniqueId val="{00000A8F-61F5-407B-959D-D24239F5BB85}"/>
              </c:ext>
            </c:extLst>
          </c:dPt>
          <c:dPt>
            <c:idx val="1351"/>
            <c:invertIfNegative val="1"/>
            <c:bubble3D val="0"/>
            <c:spPr>
              <a:solidFill>
                <a:srgbClr val="AEABAB"/>
              </a:solidFill>
            </c:spPr>
            <c:extLst>
              <c:ext xmlns:c16="http://schemas.microsoft.com/office/drawing/2014/chart" uri="{C3380CC4-5D6E-409C-BE32-E72D297353CC}">
                <c16:uniqueId val="{00000A91-61F5-407B-959D-D24239F5BB85}"/>
              </c:ext>
            </c:extLst>
          </c:dPt>
          <c:dPt>
            <c:idx val="1352"/>
            <c:invertIfNegative val="1"/>
            <c:bubble3D val="0"/>
            <c:spPr>
              <a:solidFill>
                <a:srgbClr val="AEABAB"/>
              </a:solidFill>
            </c:spPr>
            <c:extLst>
              <c:ext xmlns:c16="http://schemas.microsoft.com/office/drawing/2014/chart" uri="{C3380CC4-5D6E-409C-BE32-E72D297353CC}">
                <c16:uniqueId val="{00000A93-61F5-407B-959D-D24239F5BB85}"/>
              </c:ext>
            </c:extLst>
          </c:dPt>
          <c:dPt>
            <c:idx val="1353"/>
            <c:invertIfNegative val="1"/>
            <c:bubble3D val="0"/>
            <c:spPr>
              <a:solidFill>
                <a:srgbClr val="AEABAB"/>
              </a:solidFill>
            </c:spPr>
            <c:extLst>
              <c:ext xmlns:c16="http://schemas.microsoft.com/office/drawing/2014/chart" uri="{C3380CC4-5D6E-409C-BE32-E72D297353CC}">
                <c16:uniqueId val="{00000A95-61F5-407B-959D-D24239F5BB85}"/>
              </c:ext>
            </c:extLst>
          </c:dPt>
          <c:dPt>
            <c:idx val="1354"/>
            <c:invertIfNegative val="1"/>
            <c:bubble3D val="0"/>
            <c:spPr>
              <a:solidFill>
                <a:srgbClr val="AEABAB"/>
              </a:solidFill>
            </c:spPr>
            <c:extLst>
              <c:ext xmlns:c16="http://schemas.microsoft.com/office/drawing/2014/chart" uri="{C3380CC4-5D6E-409C-BE32-E72D297353CC}">
                <c16:uniqueId val="{00000A97-61F5-407B-959D-D24239F5BB85}"/>
              </c:ext>
            </c:extLst>
          </c:dPt>
          <c:dPt>
            <c:idx val="1355"/>
            <c:invertIfNegative val="1"/>
            <c:bubble3D val="0"/>
            <c:spPr>
              <a:solidFill>
                <a:srgbClr val="AEABAB"/>
              </a:solidFill>
            </c:spPr>
            <c:extLst>
              <c:ext xmlns:c16="http://schemas.microsoft.com/office/drawing/2014/chart" uri="{C3380CC4-5D6E-409C-BE32-E72D297353CC}">
                <c16:uniqueId val="{00000A99-61F5-407B-959D-D24239F5BB85}"/>
              </c:ext>
            </c:extLst>
          </c:dPt>
          <c:dPt>
            <c:idx val="1356"/>
            <c:invertIfNegative val="1"/>
            <c:bubble3D val="0"/>
            <c:spPr>
              <a:solidFill>
                <a:srgbClr val="AEABAB"/>
              </a:solidFill>
            </c:spPr>
            <c:extLst>
              <c:ext xmlns:c16="http://schemas.microsoft.com/office/drawing/2014/chart" uri="{C3380CC4-5D6E-409C-BE32-E72D297353CC}">
                <c16:uniqueId val="{00000A9B-61F5-407B-959D-D24239F5BB85}"/>
              </c:ext>
            </c:extLst>
          </c:dPt>
          <c:dPt>
            <c:idx val="1357"/>
            <c:invertIfNegative val="1"/>
            <c:bubble3D val="0"/>
            <c:spPr>
              <a:solidFill>
                <a:srgbClr val="AEABAB"/>
              </a:solidFill>
            </c:spPr>
            <c:extLst>
              <c:ext xmlns:c16="http://schemas.microsoft.com/office/drawing/2014/chart" uri="{C3380CC4-5D6E-409C-BE32-E72D297353CC}">
                <c16:uniqueId val="{00000A9D-61F5-407B-959D-D24239F5BB85}"/>
              </c:ext>
            </c:extLst>
          </c:dPt>
          <c:dPt>
            <c:idx val="1358"/>
            <c:invertIfNegative val="1"/>
            <c:bubble3D val="0"/>
            <c:spPr>
              <a:solidFill>
                <a:srgbClr val="AEABAB"/>
              </a:solidFill>
            </c:spPr>
            <c:extLst>
              <c:ext xmlns:c16="http://schemas.microsoft.com/office/drawing/2014/chart" uri="{C3380CC4-5D6E-409C-BE32-E72D297353CC}">
                <c16:uniqueId val="{00000A9F-61F5-407B-959D-D24239F5BB85}"/>
              </c:ext>
            </c:extLst>
          </c:dPt>
          <c:dPt>
            <c:idx val="1359"/>
            <c:invertIfNegative val="1"/>
            <c:bubble3D val="0"/>
            <c:spPr>
              <a:solidFill>
                <a:srgbClr val="AEABAB"/>
              </a:solidFill>
            </c:spPr>
            <c:extLst>
              <c:ext xmlns:c16="http://schemas.microsoft.com/office/drawing/2014/chart" uri="{C3380CC4-5D6E-409C-BE32-E72D297353CC}">
                <c16:uniqueId val="{00000AA1-61F5-407B-959D-D24239F5BB85}"/>
              </c:ext>
            </c:extLst>
          </c:dPt>
          <c:dPt>
            <c:idx val="1360"/>
            <c:invertIfNegative val="1"/>
            <c:bubble3D val="0"/>
            <c:spPr>
              <a:solidFill>
                <a:srgbClr val="AEABAB"/>
              </a:solidFill>
            </c:spPr>
            <c:extLst>
              <c:ext xmlns:c16="http://schemas.microsoft.com/office/drawing/2014/chart" uri="{C3380CC4-5D6E-409C-BE32-E72D297353CC}">
                <c16:uniqueId val="{00000AA3-61F5-407B-959D-D24239F5BB85}"/>
              </c:ext>
            </c:extLst>
          </c:dPt>
          <c:dPt>
            <c:idx val="1361"/>
            <c:invertIfNegative val="1"/>
            <c:bubble3D val="0"/>
            <c:spPr>
              <a:solidFill>
                <a:srgbClr val="AEABAB"/>
              </a:solidFill>
            </c:spPr>
            <c:extLst>
              <c:ext xmlns:c16="http://schemas.microsoft.com/office/drawing/2014/chart" uri="{C3380CC4-5D6E-409C-BE32-E72D297353CC}">
                <c16:uniqueId val="{00000AA5-61F5-407B-959D-D24239F5BB85}"/>
              </c:ext>
            </c:extLst>
          </c:dPt>
          <c:dPt>
            <c:idx val="1362"/>
            <c:invertIfNegative val="1"/>
            <c:bubble3D val="0"/>
            <c:spPr>
              <a:solidFill>
                <a:srgbClr val="AEABAB"/>
              </a:solidFill>
            </c:spPr>
            <c:extLst>
              <c:ext xmlns:c16="http://schemas.microsoft.com/office/drawing/2014/chart" uri="{C3380CC4-5D6E-409C-BE32-E72D297353CC}">
                <c16:uniqueId val="{00000AA7-61F5-407B-959D-D24239F5BB85}"/>
              </c:ext>
            </c:extLst>
          </c:dPt>
          <c:dPt>
            <c:idx val="1363"/>
            <c:invertIfNegative val="1"/>
            <c:bubble3D val="0"/>
            <c:spPr>
              <a:solidFill>
                <a:srgbClr val="AEABAB"/>
              </a:solidFill>
            </c:spPr>
            <c:extLst>
              <c:ext xmlns:c16="http://schemas.microsoft.com/office/drawing/2014/chart" uri="{C3380CC4-5D6E-409C-BE32-E72D297353CC}">
                <c16:uniqueId val="{00000AA9-61F5-407B-959D-D24239F5BB85}"/>
              </c:ext>
            </c:extLst>
          </c:dPt>
          <c:dPt>
            <c:idx val="1364"/>
            <c:invertIfNegative val="1"/>
            <c:bubble3D val="0"/>
            <c:spPr>
              <a:solidFill>
                <a:srgbClr val="AEABAB"/>
              </a:solidFill>
            </c:spPr>
            <c:extLst>
              <c:ext xmlns:c16="http://schemas.microsoft.com/office/drawing/2014/chart" uri="{C3380CC4-5D6E-409C-BE32-E72D297353CC}">
                <c16:uniqueId val="{00000AAB-61F5-407B-959D-D24239F5BB85}"/>
              </c:ext>
            </c:extLst>
          </c:dPt>
          <c:dPt>
            <c:idx val="1365"/>
            <c:invertIfNegative val="1"/>
            <c:bubble3D val="0"/>
            <c:spPr>
              <a:solidFill>
                <a:srgbClr val="AEABAB"/>
              </a:solidFill>
            </c:spPr>
            <c:extLst>
              <c:ext xmlns:c16="http://schemas.microsoft.com/office/drawing/2014/chart" uri="{C3380CC4-5D6E-409C-BE32-E72D297353CC}">
                <c16:uniqueId val="{00000AAD-61F5-407B-959D-D24239F5BB85}"/>
              </c:ext>
            </c:extLst>
          </c:dPt>
          <c:dPt>
            <c:idx val="1366"/>
            <c:invertIfNegative val="1"/>
            <c:bubble3D val="0"/>
            <c:spPr>
              <a:solidFill>
                <a:srgbClr val="AEABAB"/>
              </a:solidFill>
            </c:spPr>
            <c:extLst>
              <c:ext xmlns:c16="http://schemas.microsoft.com/office/drawing/2014/chart" uri="{C3380CC4-5D6E-409C-BE32-E72D297353CC}">
                <c16:uniqueId val="{00000AAF-61F5-407B-959D-D24239F5BB85}"/>
              </c:ext>
            </c:extLst>
          </c:dPt>
          <c:dPt>
            <c:idx val="1367"/>
            <c:invertIfNegative val="1"/>
            <c:bubble3D val="0"/>
            <c:spPr>
              <a:solidFill>
                <a:srgbClr val="AEABAB"/>
              </a:solidFill>
            </c:spPr>
            <c:extLst>
              <c:ext xmlns:c16="http://schemas.microsoft.com/office/drawing/2014/chart" uri="{C3380CC4-5D6E-409C-BE32-E72D297353CC}">
                <c16:uniqueId val="{00000AB1-61F5-407B-959D-D24239F5BB85}"/>
              </c:ext>
            </c:extLst>
          </c:dPt>
          <c:dPt>
            <c:idx val="1368"/>
            <c:invertIfNegative val="1"/>
            <c:bubble3D val="0"/>
            <c:spPr>
              <a:solidFill>
                <a:srgbClr val="AEABAB"/>
              </a:solidFill>
            </c:spPr>
            <c:extLst>
              <c:ext xmlns:c16="http://schemas.microsoft.com/office/drawing/2014/chart" uri="{C3380CC4-5D6E-409C-BE32-E72D297353CC}">
                <c16:uniqueId val="{00000AB3-61F5-407B-959D-D24239F5BB85}"/>
              </c:ext>
            </c:extLst>
          </c:dPt>
          <c:dPt>
            <c:idx val="1369"/>
            <c:invertIfNegative val="1"/>
            <c:bubble3D val="0"/>
            <c:spPr>
              <a:solidFill>
                <a:srgbClr val="AEABAB"/>
              </a:solidFill>
            </c:spPr>
            <c:extLst>
              <c:ext xmlns:c16="http://schemas.microsoft.com/office/drawing/2014/chart" uri="{C3380CC4-5D6E-409C-BE32-E72D297353CC}">
                <c16:uniqueId val="{00000AB5-61F5-407B-959D-D24239F5BB85}"/>
              </c:ext>
            </c:extLst>
          </c:dPt>
          <c:dPt>
            <c:idx val="1370"/>
            <c:invertIfNegative val="1"/>
            <c:bubble3D val="0"/>
            <c:spPr>
              <a:solidFill>
                <a:srgbClr val="AEABAB"/>
              </a:solidFill>
            </c:spPr>
            <c:extLst>
              <c:ext xmlns:c16="http://schemas.microsoft.com/office/drawing/2014/chart" uri="{C3380CC4-5D6E-409C-BE32-E72D297353CC}">
                <c16:uniqueId val="{00000AB7-61F5-407B-959D-D24239F5BB85}"/>
              </c:ext>
            </c:extLst>
          </c:dPt>
          <c:dPt>
            <c:idx val="1371"/>
            <c:invertIfNegative val="1"/>
            <c:bubble3D val="0"/>
            <c:spPr>
              <a:solidFill>
                <a:srgbClr val="AEABAB"/>
              </a:solidFill>
            </c:spPr>
            <c:extLst>
              <c:ext xmlns:c16="http://schemas.microsoft.com/office/drawing/2014/chart" uri="{C3380CC4-5D6E-409C-BE32-E72D297353CC}">
                <c16:uniqueId val="{00000AB9-61F5-407B-959D-D24239F5BB85}"/>
              </c:ext>
            </c:extLst>
          </c:dPt>
          <c:dPt>
            <c:idx val="1372"/>
            <c:invertIfNegative val="1"/>
            <c:bubble3D val="0"/>
            <c:spPr>
              <a:solidFill>
                <a:srgbClr val="AEABAB"/>
              </a:solidFill>
            </c:spPr>
            <c:extLst>
              <c:ext xmlns:c16="http://schemas.microsoft.com/office/drawing/2014/chart" uri="{C3380CC4-5D6E-409C-BE32-E72D297353CC}">
                <c16:uniqueId val="{00000ABB-61F5-407B-959D-D24239F5BB85}"/>
              </c:ext>
            </c:extLst>
          </c:dPt>
          <c:dPt>
            <c:idx val="1373"/>
            <c:invertIfNegative val="1"/>
            <c:bubble3D val="0"/>
            <c:spPr>
              <a:solidFill>
                <a:srgbClr val="AEABAB"/>
              </a:solidFill>
            </c:spPr>
            <c:extLst>
              <c:ext xmlns:c16="http://schemas.microsoft.com/office/drawing/2014/chart" uri="{C3380CC4-5D6E-409C-BE32-E72D297353CC}">
                <c16:uniqueId val="{00000ABD-61F5-407B-959D-D24239F5BB85}"/>
              </c:ext>
            </c:extLst>
          </c:dPt>
          <c:dPt>
            <c:idx val="1374"/>
            <c:invertIfNegative val="1"/>
            <c:bubble3D val="0"/>
            <c:spPr>
              <a:solidFill>
                <a:srgbClr val="AEABAB"/>
              </a:solidFill>
            </c:spPr>
            <c:extLst>
              <c:ext xmlns:c16="http://schemas.microsoft.com/office/drawing/2014/chart" uri="{C3380CC4-5D6E-409C-BE32-E72D297353CC}">
                <c16:uniqueId val="{00000ABF-61F5-407B-959D-D24239F5BB85}"/>
              </c:ext>
            </c:extLst>
          </c:dPt>
          <c:dPt>
            <c:idx val="1375"/>
            <c:invertIfNegative val="1"/>
            <c:bubble3D val="0"/>
            <c:spPr>
              <a:solidFill>
                <a:srgbClr val="AEABAB"/>
              </a:solidFill>
            </c:spPr>
            <c:extLst>
              <c:ext xmlns:c16="http://schemas.microsoft.com/office/drawing/2014/chart" uri="{C3380CC4-5D6E-409C-BE32-E72D297353CC}">
                <c16:uniqueId val="{00000AC1-61F5-407B-959D-D24239F5BB85}"/>
              </c:ext>
            </c:extLst>
          </c:dPt>
          <c:dPt>
            <c:idx val="1376"/>
            <c:invertIfNegative val="1"/>
            <c:bubble3D val="0"/>
            <c:spPr>
              <a:solidFill>
                <a:srgbClr val="AEABAB"/>
              </a:solidFill>
            </c:spPr>
            <c:extLst>
              <c:ext xmlns:c16="http://schemas.microsoft.com/office/drawing/2014/chart" uri="{C3380CC4-5D6E-409C-BE32-E72D297353CC}">
                <c16:uniqueId val="{00000AC3-61F5-407B-959D-D24239F5BB85}"/>
              </c:ext>
            </c:extLst>
          </c:dPt>
          <c:dPt>
            <c:idx val="1377"/>
            <c:invertIfNegative val="1"/>
            <c:bubble3D val="0"/>
            <c:spPr>
              <a:solidFill>
                <a:srgbClr val="AEABAB"/>
              </a:solidFill>
            </c:spPr>
            <c:extLst>
              <c:ext xmlns:c16="http://schemas.microsoft.com/office/drawing/2014/chart" uri="{C3380CC4-5D6E-409C-BE32-E72D297353CC}">
                <c16:uniqueId val="{00000AC5-61F5-407B-959D-D24239F5BB85}"/>
              </c:ext>
            </c:extLst>
          </c:dPt>
          <c:dPt>
            <c:idx val="1378"/>
            <c:invertIfNegative val="1"/>
            <c:bubble3D val="0"/>
            <c:spPr>
              <a:solidFill>
                <a:srgbClr val="AEABAB"/>
              </a:solidFill>
            </c:spPr>
            <c:extLst>
              <c:ext xmlns:c16="http://schemas.microsoft.com/office/drawing/2014/chart" uri="{C3380CC4-5D6E-409C-BE32-E72D297353CC}">
                <c16:uniqueId val="{00000AC7-61F5-407B-959D-D24239F5BB85}"/>
              </c:ext>
            </c:extLst>
          </c:dPt>
          <c:dPt>
            <c:idx val="1379"/>
            <c:invertIfNegative val="1"/>
            <c:bubble3D val="0"/>
            <c:spPr>
              <a:solidFill>
                <a:srgbClr val="AEABAB"/>
              </a:solidFill>
            </c:spPr>
            <c:extLst>
              <c:ext xmlns:c16="http://schemas.microsoft.com/office/drawing/2014/chart" uri="{C3380CC4-5D6E-409C-BE32-E72D297353CC}">
                <c16:uniqueId val="{00000AC9-61F5-407B-959D-D24239F5BB85}"/>
              </c:ext>
            </c:extLst>
          </c:dPt>
          <c:dPt>
            <c:idx val="1380"/>
            <c:invertIfNegative val="1"/>
            <c:bubble3D val="0"/>
            <c:spPr>
              <a:solidFill>
                <a:srgbClr val="AEABAB"/>
              </a:solidFill>
            </c:spPr>
            <c:extLst>
              <c:ext xmlns:c16="http://schemas.microsoft.com/office/drawing/2014/chart" uri="{C3380CC4-5D6E-409C-BE32-E72D297353CC}">
                <c16:uniqueId val="{00000ACB-61F5-407B-959D-D24239F5BB85}"/>
              </c:ext>
            </c:extLst>
          </c:dPt>
          <c:dPt>
            <c:idx val="1381"/>
            <c:invertIfNegative val="1"/>
            <c:bubble3D val="0"/>
            <c:spPr>
              <a:solidFill>
                <a:srgbClr val="AEABAB"/>
              </a:solidFill>
            </c:spPr>
            <c:extLst>
              <c:ext xmlns:c16="http://schemas.microsoft.com/office/drawing/2014/chart" uri="{C3380CC4-5D6E-409C-BE32-E72D297353CC}">
                <c16:uniqueId val="{00000ACD-61F5-407B-959D-D24239F5BB85}"/>
              </c:ext>
            </c:extLst>
          </c:dPt>
          <c:dPt>
            <c:idx val="1382"/>
            <c:invertIfNegative val="1"/>
            <c:bubble3D val="0"/>
            <c:spPr>
              <a:solidFill>
                <a:srgbClr val="AEABAB"/>
              </a:solidFill>
            </c:spPr>
            <c:extLst>
              <c:ext xmlns:c16="http://schemas.microsoft.com/office/drawing/2014/chart" uri="{C3380CC4-5D6E-409C-BE32-E72D297353CC}">
                <c16:uniqueId val="{00000ACF-61F5-407B-959D-D24239F5BB85}"/>
              </c:ext>
            </c:extLst>
          </c:dPt>
          <c:dPt>
            <c:idx val="1383"/>
            <c:invertIfNegative val="1"/>
            <c:bubble3D val="0"/>
            <c:spPr>
              <a:solidFill>
                <a:srgbClr val="AEABAB"/>
              </a:solidFill>
            </c:spPr>
            <c:extLst>
              <c:ext xmlns:c16="http://schemas.microsoft.com/office/drawing/2014/chart" uri="{C3380CC4-5D6E-409C-BE32-E72D297353CC}">
                <c16:uniqueId val="{00000AD1-61F5-407B-959D-D24239F5BB85}"/>
              </c:ext>
            </c:extLst>
          </c:dPt>
          <c:dPt>
            <c:idx val="1384"/>
            <c:invertIfNegative val="1"/>
            <c:bubble3D val="0"/>
            <c:spPr>
              <a:solidFill>
                <a:srgbClr val="AEABAB"/>
              </a:solidFill>
            </c:spPr>
            <c:extLst>
              <c:ext xmlns:c16="http://schemas.microsoft.com/office/drawing/2014/chart" uri="{C3380CC4-5D6E-409C-BE32-E72D297353CC}">
                <c16:uniqueId val="{00000AD3-61F5-407B-959D-D24239F5BB85}"/>
              </c:ext>
            </c:extLst>
          </c:dPt>
          <c:dPt>
            <c:idx val="1385"/>
            <c:invertIfNegative val="1"/>
            <c:bubble3D val="0"/>
            <c:spPr>
              <a:solidFill>
                <a:srgbClr val="AEABAB"/>
              </a:solidFill>
            </c:spPr>
            <c:extLst>
              <c:ext xmlns:c16="http://schemas.microsoft.com/office/drawing/2014/chart" uri="{C3380CC4-5D6E-409C-BE32-E72D297353CC}">
                <c16:uniqueId val="{00000AD5-61F5-407B-959D-D24239F5BB85}"/>
              </c:ext>
            </c:extLst>
          </c:dPt>
          <c:dPt>
            <c:idx val="1386"/>
            <c:invertIfNegative val="1"/>
            <c:bubble3D val="0"/>
            <c:spPr>
              <a:solidFill>
                <a:srgbClr val="AEABAB"/>
              </a:solidFill>
            </c:spPr>
            <c:extLst>
              <c:ext xmlns:c16="http://schemas.microsoft.com/office/drawing/2014/chart" uri="{C3380CC4-5D6E-409C-BE32-E72D297353CC}">
                <c16:uniqueId val="{00000AD7-61F5-407B-959D-D24239F5BB85}"/>
              </c:ext>
            </c:extLst>
          </c:dPt>
          <c:dPt>
            <c:idx val="1387"/>
            <c:invertIfNegative val="1"/>
            <c:bubble3D val="0"/>
            <c:spPr>
              <a:solidFill>
                <a:srgbClr val="AEABAB"/>
              </a:solidFill>
            </c:spPr>
            <c:extLst>
              <c:ext xmlns:c16="http://schemas.microsoft.com/office/drawing/2014/chart" uri="{C3380CC4-5D6E-409C-BE32-E72D297353CC}">
                <c16:uniqueId val="{00000AD9-61F5-407B-959D-D24239F5BB85}"/>
              </c:ext>
            </c:extLst>
          </c:dPt>
          <c:dPt>
            <c:idx val="1388"/>
            <c:invertIfNegative val="1"/>
            <c:bubble3D val="0"/>
            <c:spPr>
              <a:solidFill>
                <a:srgbClr val="AEABAB"/>
              </a:solidFill>
            </c:spPr>
            <c:extLst>
              <c:ext xmlns:c16="http://schemas.microsoft.com/office/drawing/2014/chart" uri="{C3380CC4-5D6E-409C-BE32-E72D297353CC}">
                <c16:uniqueId val="{00000ADB-61F5-407B-959D-D24239F5BB85}"/>
              </c:ext>
            </c:extLst>
          </c:dPt>
          <c:dPt>
            <c:idx val="1389"/>
            <c:invertIfNegative val="1"/>
            <c:bubble3D val="0"/>
            <c:spPr>
              <a:solidFill>
                <a:srgbClr val="AEABAB"/>
              </a:solidFill>
            </c:spPr>
            <c:extLst>
              <c:ext xmlns:c16="http://schemas.microsoft.com/office/drawing/2014/chart" uri="{C3380CC4-5D6E-409C-BE32-E72D297353CC}">
                <c16:uniqueId val="{00000ADD-61F5-407B-959D-D24239F5BB85}"/>
              </c:ext>
            </c:extLst>
          </c:dPt>
          <c:dPt>
            <c:idx val="1390"/>
            <c:invertIfNegative val="1"/>
            <c:bubble3D val="0"/>
            <c:spPr>
              <a:solidFill>
                <a:srgbClr val="AEABAB"/>
              </a:solidFill>
            </c:spPr>
            <c:extLst>
              <c:ext xmlns:c16="http://schemas.microsoft.com/office/drawing/2014/chart" uri="{C3380CC4-5D6E-409C-BE32-E72D297353CC}">
                <c16:uniqueId val="{00000ADF-61F5-407B-959D-D24239F5BB85}"/>
              </c:ext>
            </c:extLst>
          </c:dPt>
          <c:dPt>
            <c:idx val="1391"/>
            <c:invertIfNegative val="1"/>
            <c:bubble3D val="0"/>
            <c:spPr>
              <a:solidFill>
                <a:srgbClr val="AEABAB"/>
              </a:solidFill>
            </c:spPr>
            <c:extLst>
              <c:ext xmlns:c16="http://schemas.microsoft.com/office/drawing/2014/chart" uri="{C3380CC4-5D6E-409C-BE32-E72D297353CC}">
                <c16:uniqueId val="{00000AE1-61F5-407B-959D-D24239F5BB85}"/>
              </c:ext>
            </c:extLst>
          </c:dPt>
          <c:dPt>
            <c:idx val="1392"/>
            <c:invertIfNegative val="1"/>
            <c:bubble3D val="0"/>
            <c:spPr>
              <a:solidFill>
                <a:srgbClr val="AEABAB"/>
              </a:solidFill>
            </c:spPr>
            <c:extLst>
              <c:ext xmlns:c16="http://schemas.microsoft.com/office/drawing/2014/chart" uri="{C3380CC4-5D6E-409C-BE32-E72D297353CC}">
                <c16:uniqueId val="{00000AE3-61F5-407B-959D-D24239F5BB85}"/>
              </c:ext>
            </c:extLst>
          </c:dPt>
          <c:dPt>
            <c:idx val="1393"/>
            <c:invertIfNegative val="1"/>
            <c:bubble3D val="0"/>
            <c:spPr>
              <a:solidFill>
                <a:srgbClr val="AEABAB"/>
              </a:solidFill>
            </c:spPr>
            <c:extLst>
              <c:ext xmlns:c16="http://schemas.microsoft.com/office/drawing/2014/chart" uri="{C3380CC4-5D6E-409C-BE32-E72D297353CC}">
                <c16:uniqueId val="{00000AE5-61F5-407B-959D-D24239F5BB85}"/>
              </c:ext>
            </c:extLst>
          </c:dPt>
          <c:dPt>
            <c:idx val="1394"/>
            <c:invertIfNegative val="1"/>
            <c:bubble3D val="0"/>
            <c:spPr>
              <a:solidFill>
                <a:srgbClr val="AEABAB"/>
              </a:solidFill>
            </c:spPr>
            <c:extLst>
              <c:ext xmlns:c16="http://schemas.microsoft.com/office/drawing/2014/chart" uri="{C3380CC4-5D6E-409C-BE32-E72D297353CC}">
                <c16:uniqueId val="{00000AE7-61F5-407B-959D-D24239F5BB85}"/>
              </c:ext>
            </c:extLst>
          </c:dPt>
          <c:dPt>
            <c:idx val="1395"/>
            <c:invertIfNegative val="1"/>
            <c:bubble3D val="0"/>
            <c:spPr>
              <a:solidFill>
                <a:srgbClr val="AEABAB"/>
              </a:solidFill>
            </c:spPr>
            <c:extLst>
              <c:ext xmlns:c16="http://schemas.microsoft.com/office/drawing/2014/chart" uri="{C3380CC4-5D6E-409C-BE32-E72D297353CC}">
                <c16:uniqueId val="{00000AE9-61F5-407B-959D-D24239F5BB85}"/>
              </c:ext>
            </c:extLst>
          </c:dPt>
          <c:dPt>
            <c:idx val="1396"/>
            <c:invertIfNegative val="1"/>
            <c:bubble3D val="0"/>
            <c:spPr>
              <a:solidFill>
                <a:srgbClr val="AEABAB"/>
              </a:solidFill>
            </c:spPr>
            <c:extLst>
              <c:ext xmlns:c16="http://schemas.microsoft.com/office/drawing/2014/chart" uri="{C3380CC4-5D6E-409C-BE32-E72D297353CC}">
                <c16:uniqueId val="{00000AEB-61F5-407B-959D-D24239F5BB85}"/>
              </c:ext>
            </c:extLst>
          </c:dPt>
          <c:dPt>
            <c:idx val="1397"/>
            <c:invertIfNegative val="1"/>
            <c:bubble3D val="0"/>
            <c:spPr>
              <a:solidFill>
                <a:srgbClr val="AEABAB"/>
              </a:solidFill>
            </c:spPr>
            <c:extLst>
              <c:ext xmlns:c16="http://schemas.microsoft.com/office/drawing/2014/chart" uri="{C3380CC4-5D6E-409C-BE32-E72D297353CC}">
                <c16:uniqueId val="{00000AED-61F5-407B-959D-D24239F5BB85}"/>
              </c:ext>
            </c:extLst>
          </c:dPt>
          <c:dPt>
            <c:idx val="1398"/>
            <c:invertIfNegative val="1"/>
            <c:bubble3D val="0"/>
            <c:spPr>
              <a:solidFill>
                <a:srgbClr val="AEABAB"/>
              </a:solidFill>
            </c:spPr>
            <c:extLst>
              <c:ext xmlns:c16="http://schemas.microsoft.com/office/drawing/2014/chart" uri="{C3380CC4-5D6E-409C-BE32-E72D297353CC}">
                <c16:uniqueId val="{00000AEF-61F5-407B-959D-D24239F5BB85}"/>
              </c:ext>
            </c:extLst>
          </c:dPt>
          <c:dPt>
            <c:idx val="1399"/>
            <c:invertIfNegative val="1"/>
            <c:bubble3D val="0"/>
            <c:spPr>
              <a:solidFill>
                <a:srgbClr val="AEABAB"/>
              </a:solidFill>
            </c:spPr>
            <c:extLst>
              <c:ext xmlns:c16="http://schemas.microsoft.com/office/drawing/2014/chart" uri="{C3380CC4-5D6E-409C-BE32-E72D297353CC}">
                <c16:uniqueId val="{00000AF1-61F5-407B-959D-D24239F5BB85}"/>
              </c:ext>
            </c:extLst>
          </c:dPt>
          <c:dPt>
            <c:idx val="1400"/>
            <c:invertIfNegative val="1"/>
            <c:bubble3D val="0"/>
            <c:spPr>
              <a:solidFill>
                <a:srgbClr val="AEABAB"/>
              </a:solidFill>
            </c:spPr>
            <c:extLst>
              <c:ext xmlns:c16="http://schemas.microsoft.com/office/drawing/2014/chart" uri="{C3380CC4-5D6E-409C-BE32-E72D297353CC}">
                <c16:uniqueId val="{00000AF3-61F5-407B-959D-D24239F5BB85}"/>
              </c:ext>
            </c:extLst>
          </c:dPt>
          <c:dPt>
            <c:idx val="1401"/>
            <c:invertIfNegative val="1"/>
            <c:bubble3D val="0"/>
            <c:spPr>
              <a:solidFill>
                <a:srgbClr val="AEABAB"/>
              </a:solidFill>
            </c:spPr>
            <c:extLst>
              <c:ext xmlns:c16="http://schemas.microsoft.com/office/drawing/2014/chart" uri="{C3380CC4-5D6E-409C-BE32-E72D297353CC}">
                <c16:uniqueId val="{00000AF5-61F5-407B-959D-D24239F5BB85}"/>
              </c:ext>
            </c:extLst>
          </c:dPt>
          <c:dPt>
            <c:idx val="1402"/>
            <c:invertIfNegative val="1"/>
            <c:bubble3D val="0"/>
            <c:spPr>
              <a:solidFill>
                <a:srgbClr val="AEABAB"/>
              </a:solidFill>
            </c:spPr>
            <c:extLst>
              <c:ext xmlns:c16="http://schemas.microsoft.com/office/drawing/2014/chart" uri="{C3380CC4-5D6E-409C-BE32-E72D297353CC}">
                <c16:uniqueId val="{00000AF7-61F5-407B-959D-D24239F5BB85}"/>
              </c:ext>
            </c:extLst>
          </c:dPt>
          <c:dPt>
            <c:idx val="1403"/>
            <c:invertIfNegative val="1"/>
            <c:bubble3D val="0"/>
            <c:spPr>
              <a:solidFill>
                <a:srgbClr val="AEABAB"/>
              </a:solidFill>
            </c:spPr>
            <c:extLst>
              <c:ext xmlns:c16="http://schemas.microsoft.com/office/drawing/2014/chart" uri="{C3380CC4-5D6E-409C-BE32-E72D297353CC}">
                <c16:uniqueId val="{00000AF9-61F5-407B-959D-D24239F5BB85}"/>
              </c:ext>
            </c:extLst>
          </c:dPt>
          <c:dPt>
            <c:idx val="1404"/>
            <c:invertIfNegative val="1"/>
            <c:bubble3D val="0"/>
            <c:spPr>
              <a:solidFill>
                <a:srgbClr val="AEABAB"/>
              </a:solidFill>
            </c:spPr>
            <c:extLst>
              <c:ext xmlns:c16="http://schemas.microsoft.com/office/drawing/2014/chart" uri="{C3380CC4-5D6E-409C-BE32-E72D297353CC}">
                <c16:uniqueId val="{00000AFB-61F5-407B-959D-D24239F5BB85}"/>
              </c:ext>
            </c:extLst>
          </c:dPt>
          <c:dPt>
            <c:idx val="1405"/>
            <c:invertIfNegative val="1"/>
            <c:bubble3D val="0"/>
            <c:spPr>
              <a:solidFill>
                <a:srgbClr val="AEABAB"/>
              </a:solidFill>
            </c:spPr>
            <c:extLst>
              <c:ext xmlns:c16="http://schemas.microsoft.com/office/drawing/2014/chart" uri="{C3380CC4-5D6E-409C-BE32-E72D297353CC}">
                <c16:uniqueId val="{00000AFD-61F5-407B-959D-D24239F5BB85}"/>
              </c:ext>
            </c:extLst>
          </c:dPt>
          <c:dPt>
            <c:idx val="1406"/>
            <c:invertIfNegative val="1"/>
            <c:bubble3D val="0"/>
            <c:spPr>
              <a:solidFill>
                <a:srgbClr val="AEABAB"/>
              </a:solidFill>
            </c:spPr>
            <c:extLst>
              <c:ext xmlns:c16="http://schemas.microsoft.com/office/drawing/2014/chart" uri="{C3380CC4-5D6E-409C-BE32-E72D297353CC}">
                <c16:uniqueId val="{00000AFF-61F5-407B-959D-D24239F5BB85}"/>
              </c:ext>
            </c:extLst>
          </c:dPt>
          <c:dPt>
            <c:idx val="1407"/>
            <c:invertIfNegative val="1"/>
            <c:bubble3D val="0"/>
            <c:spPr>
              <a:solidFill>
                <a:srgbClr val="AEABAB"/>
              </a:solidFill>
            </c:spPr>
            <c:extLst>
              <c:ext xmlns:c16="http://schemas.microsoft.com/office/drawing/2014/chart" uri="{C3380CC4-5D6E-409C-BE32-E72D297353CC}">
                <c16:uniqueId val="{00000B01-61F5-407B-959D-D24239F5BB85}"/>
              </c:ext>
            </c:extLst>
          </c:dPt>
          <c:dPt>
            <c:idx val="1408"/>
            <c:invertIfNegative val="1"/>
            <c:bubble3D val="0"/>
            <c:spPr>
              <a:solidFill>
                <a:srgbClr val="AEABAB"/>
              </a:solidFill>
            </c:spPr>
            <c:extLst>
              <c:ext xmlns:c16="http://schemas.microsoft.com/office/drawing/2014/chart" uri="{C3380CC4-5D6E-409C-BE32-E72D297353CC}">
                <c16:uniqueId val="{00000B03-61F5-407B-959D-D24239F5BB85}"/>
              </c:ext>
            </c:extLst>
          </c:dPt>
          <c:dPt>
            <c:idx val="1409"/>
            <c:invertIfNegative val="1"/>
            <c:bubble3D val="0"/>
            <c:spPr>
              <a:solidFill>
                <a:srgbClr val="AEABAB"/>
              </a:solidFill>
            </c:spPr>
            <c:extLst>
              <c:ext xmlns:c16="http://schemas.microsoft.com/office/drawing/2014/chart" uri="{C3380CC4-5D6E-409C-BE32-E72D297353CC}">
                <c16:uniqueId val="{00000B05-61F5-407B-959D-D24239F5BB85}"/>
              </c:ext>
            </c:extLst>
          </c:dPt>
          <c:dPt>
            <c:idx val="1410"/>
            <c:invertIfNegative val="1"/>
            <c:bubble3D val="0"/>
            <c:spPr>
              <a:solidFill>
                <a:srgbClr val="AEABAB"/>
              </a:solidFill>
            </c:spPr>
            <c:extLst>
              <c:ext xmlns:c16="http://schemas.microsoft.com/office/drawing/2014/chart" uri="{C3380CC4-5D6E-409C-BE32-E72D297353CC}">
                <c16:uniqueId val="{00000B07-61F5-407B-959D-D24239F5BB85}"/>
              </c:ext>
            </c:extLst>
          </c:dPt>
          <c:dPt>
            <c:idx val="1411"/>
            <c:invertIfNegative val="1"/>
            <c:bubble3D val="0"/>
            <c:spPr>
              <a:solidFill>
                <a:srgbClr val="AEABAB"/>
              </a:solidFill>
            </c:spPr>
            <c:extLst>
              <c:ext xmlns:c16="http://schemas.microsoft.com/office/drawing/2014/chart" uri="{C3380CC4-5D6E-409C-BE32-E72D297353CC}">
                <c16:uniqueId val="{00000B09-61F5-407B-959D-D24239F5BB85}"/>
              </c:ext>
            </c:extLst>
          </c:dPt>
          <c:dPt>
            <c:idx val="1412"/>
            <c:invertIfNegative val="1"/>
            <c:bubble3D val="0"/>
            <c:spPr>
              <a:solidFill>
                <a:srgbClr val="AEABAB"/>
              </a:solidFill>
            </c:spPr>
            <c:extLst>
              <c:ext xmlns:c16="http://schemas.microsoft.com/office/drawing/2014/chart" uri="{C3380CC4-5D6E-409C-BE32-E72D297353CC}">
                <c16:uniqueId val="{00000B0B-61F5-407B-959D-D24239F5BB85}"/>
              </c:ext>
            </c:extLst>
          </c:dPt>
          <c:dPt>
            <c:idx val="1413"/>
            <c:invertIfNegative val="1"/>
            <c:bubble3D val="0"/>
            <c:spPr>
              <a:solidFill>
                <a:srgbClr val="AEABAB"/>
              </a:solidFill>
            </c:spPr>
            <c:extLst>
              <c:ext xmlns:c16="http://schemas.microsoft.com/office/drawing/2014/chart" uri="{C3380CC4-5D6E-409C-BE32-E72D297353CC}">
                <c16:uniqueId val="{00000B0D-61F5-407B-959D-D24239F5BB85}"/>
              </c:ext>
            </c:extLst>
          </c:dPt>
          <c:dPt>
            <c:idx val="1414"/>
            <c:invertIfNegative val="1"/>
            <c:bubble3D val="0"/>
            <c:spPr>
              <a:solidFill>
                <a:srgbClr val="AEABAB"/>
              </a:solidFill>
            </c:spPr>
            <c:extLst>
              <c:ext xmlns:c16="http://schemas.microsoft.com/office/drawing/2014/chart" uri="{C3380CC4-5D6E-409C-BE32-E72D297353CC}">
                <c16:uniqueId val="{00000B0F-61F5-407B-959D-D24239F5BB85}"/>
              </c:ext>
            </c:extLst>
          </c:dPt>
          <c:dPt>
            <c:idx val="1415"/>
            <c:invertIfNegative val="1"/>
            <c:bubble3D val="0"/>
            <c:spPr>
              <a:solidFill>
                <a:srgbClr val="AEABAB"/>
              </a:solidFill>
            </c:spPr>
            <c:extLst>
              <c:ext xmlns:c16="http://schemas.microsoft.com/office/drawing/2014/chart" uri="{C3380CC4-5D6E-409C-BE32-E72D297353CC}">
                <c16:uniqueId val="{00000B11-61F5-407B-959D-D24239F5BB85}"/>
              </c:ext>
            </c:extLst>
          </c:dPt>
          <c:dPt>
            <c:idx val="1416"/>
            <c:invertIfNegative val="1"/>
            <c:bubble3D val="0"/>
            <c:spPr>
              <a:solidFill>
                <a:srgbClr val="AEABAB"/>
              </a:solidFill>
            </c:spPr>
            <c:extLst>
              <c:ext xmlns:c16="http://schemas.microsoft.com/office/drawing/2014/chart" uri="{C3380CC4-5D6E-409C-BE32-E72D297353CC}">
                <c16:uniqueId val="{00000B13-61F5-407B-959D-D24239F5BB85}"/>
              </c:ext>
            </c:extLst>
          </c:dPt>
          <c:dPt>
            <c:idx val="1417"/>
            <c:invertIfNegative val="1"/>
            <c:bubble3D val="0"/>
            <c:spPr>
              <a:solidFill>
                <a:srgbClr val="AEABAB"/>
              </a:solidFill>
            </c:spPr>
            <c:extLst>
              <c:ext xmlns:c16="http://schemas.microsoft.com/office/drawing/2014/chart" uri="{C3380CC4-5D6E-409C-BE32-E72D297353CC}">
                <c16:uniqueId val="{00000B15-61F5-407B-959D-D24239F5BB85}"/>
              </c:ext>
            </c:extLst>
          </c:dPt>
          <c:dPt>
            <c:idx val="1418"/>
            <c:invertIfNegative val="1"/>
            <c:bubble3D val="0"/>
            <c:spPr>
              <a:solidFill>
                <a:srgbClr val="AEABAB"/>
              </a:solidFill>
            </c:spPr>
            <c:extLst>
              <c:ext xmlns:c16="http://schemas.microsoft.com/office/drawing/2014/chart" uri="{C3380CC4-5D6E-409C-BE32-E72D297353CC}">
                <c16:uniqueId val="{00000B17-61F5-407B-959D-D24239F5BB85}"/>
              </c:ext>
            </c:extLst>
          </c:dPt>
          <c:dPt>
            <c:idx val="1419"/>
            <c:invertIfNegative val="1"/>
            <c:bubble3D val="0"/>
            <c:spPr>
              <a:solidFill>
                <a:srgbClr val="AEABAB"/>
              </a:solidFill>
            </c:spPr>
            <c:extLst>
              <c:ext xmlns:c16="http://schemas.microsoft.com/office/drawing/2014/chart" uri="{C3380CC4-5D6E-409C-BE32-E72D297353CC}">
                <c16:uniqueId val="{00000B19-61F5-407B-959D-D24239F5BB85}"/>
              </c:ext>
            </c:extLst>
          </c:dPt>
          <c:dPt>
            <c:idx val="1420"/>
            <c:invertIfNegative val="1"/>
            <c:bubble3D val="0"/>
            <c:spPr>
              <a:solidFill>
                <a:srgbClr val="AEABAB"/>
              </a:solidFill>
            </c:spPr>
            <c:extLst>
              <c:ext xmlns:c16="http://schemas.microsoft.com/office/drawing/2014/chart" uri="{C3380CC4-5D6E-409C-BE32-E72D297353CC}">
                <c16:uniqueId val="{00000B1B-61F5-407B-959D-D24239F5BB85}"/>
              </c:ext>
            </c:extLst>
          </c:dPt>
          <c:dPt>
            <c:idx val="1421"/>
            <c:invertIfNegative val="1"/>
            <c:bubble3D val="0"/>
            <c:spPr>
              <a:solidFill>
                <a:srgbClr val="AEABAB"/>
              </a:solidFill>
            </c:spPr>
            <c:extLst>
              <c:ext xmlns:c16="http://schemas.microsoft.com/office/drawing/2014/chart" uri="{C3380CC4-5D6E-409C-BE32-E72D297353CC}">
                <c16:uniqueId val="{00000B1D-61F5-407B-959D-D24239F5BB85}"/>
              </c:ext>
            </c:extLst>
          </c:dPt>
          <c:dPt>
            <c:idx val="1422"/>
            <c:invertIfNegative val="1"/>
            <c:bubble3D val="0"/>
            <c:spPr>
              <a:solidFill>
                <a:srgbClr val="AEABAB"/>
              </a:solidFill>
            </c:spPr>
            <c:extLst>
              <c:ext xmlns:c16="http://schemas.microsoft.com/office/drawing/2014/chart" uri="{C3380CC4-5D6E-409C-BE32-E72D297353CC}">
                <c16:uniqueId val="{00000B1F-61F5-407B-959D-D24239F5BB85}"/>
              </c:ext>
            </c:extLst>
          </c:dPt>
          <c:dPt>
            <c:idx val="1423"/>
            <c:invertIfNegative val="1"/>
            <c:bubble3D val="0"/>
            <c:spPr>
              <a:solidFill>
                <a:srgbClr val="AEABAB"/>
              </a:solidFill>
            </c:spPr>
            <c:extLst>
              <c:ext xmlns:c16="http://schemas.microsoft.com/office/drawing/2014/chart" uri="{C3380CC4-5D6E-409C-BE32-E72D297353CC}">
                <c16:uniqueId val="{00000B21-61F5-407B-959D-D24239F5BB85}"/>
              </c:ext>
            </c:extLst>
          </c:dPt>
          <c:dPt>
            <c:idx val="1424"/>
            <c:invertIfNegative val="1"/>
            <c:bubble3D val="0"/>
            <c:spPr>
              <a:solidFill>
                <a:srgbClr val="AEABAB"/>
              </a:solidFill>
            </c:spPr>
            <c:extLst>
              <c:ext xmlns:c16="http://schemas.microsoft.com/office/drawing/2014/chart" uri="{C3380CC4-5D6E-409C-BE32-E72D297353CC}">
                <c16:uniqueId val="{00000B23-61F5-407B-959D-D24239F5BB85}"/>
              </c:ext>
            </c:extLst>
          </c:dPt>
          <c:dPt>
            <c:idx val="1425"/>
            <c:invertIfNegative val="1"/>
            <c:bubble3D val="0"/>
            <c:spPr>
              <a:solidFill>
                <a:srgbClr val="AEABAB"/>
              </a:solidFill>
            </c:spPr>
            <c:extLst>
              <c:ext xmlns:c16="http://schemas.microsoft.com/office/drawing/2014/chart" uri="{C3380CC4-5D6E-409C-BE32-E72D297353CC}">
                <c16:uniqueId val="{00000B25-61F5-407B-959D-D24239F5BB85}"/>
              </c:ext>
            </c:extLst>
          </c:dPt>
          <c:dPt>
            <c:idx val="1426"/>
            <c:invertIfNegative val="1"/>
            <c:bubble3D val="0"/>
            <c:spPr>
              <a:solidFill>
                <a:srgbClr val="AEABAB"/>
              </a:solidFill>
            </c:spPr>
            <c:extLst>
              <c:ext xmlns:c16="http://schemas.microsoft.com/office/drawing/2014/chart" uri="{C3380CC4-5D6E-409C-BE32-E72D297353CC}">
                <c16:uniqueId val="{00000B27-61F5-407B-959D-D24239F5BB85}"/>
              </c:ext>
            </c:extLst>
          </c:dPt>
          <c:dPt>
            <c:idx val="1427"/>
            <c:invertIfNegative val="1"/>
            <c:bubble3D val="0"/>
            <c:spPr>
              <a:solidFill>
                <a:srgbClr val="AEABAB"/>
              </a:solidFill>
            </c:spPr>
            <c:extLst>
              <c:ext xmlns:c16="http://schemas.microsoft.com/office/drawing/2014/chart" uri="{C3380CC4-5D6E-409C-BE32-E72D297353CC}">
                <c16:uniqueId val="{00000B29-61F5-407B-959D-D24239F5BB85}"/>
              </c:ext>
            </c:extLst>
          </c:dPt>
          <c:dPt>
            <c:idx val="1428"/>
            <c:invertIfNegative val="1"/>
            <c:bubble3D val="0"/>
            <c:spPr>
              <a:solidFill>
                <a:srgbClr val="AEABAB"/>
              </a:solidFill>
            </c:spPr>
            <c:extLst>
              <c:ext xmlns:c16="http://schemas.microsoft.com/office/drawing/2014/chart" uri="{C3380CC4-5D6E-409C-BE32-E72D297353CC}">
                <c16:uniqueId val="{00000B2B-61F5-407B-959D-D24239F5BB85}"/>
              </c:ext>
            </c:extLst>
          </c:dPt>
          <c:dPt>
            <c:idx val="1429"/>
            <c:invertIfNegative val="1"/>
            <c:bubble3D val="0"/>
            <c:spPr>
              <a:solidFill>
                <a:srgbClr val="AEABAB"/>
              </a:solidFill>
            </c:spPr>
            <c:extLst>
              <c:ext xmlns:c16="http://schemas.microsoft.com/office/drawing/2014/chart" uri="{C3380CC4-5D6E-409C-BE32-E72D297353CC}">
                <c16:uniqueId val="{00000B2D-61F5-407B-959D-D24239F5BB85}"/>
              </c:ext>
            </c:extLst>
          </c:dPt>
          <c:dPt>
            <c:idx val="1430"/>
            <c:invertIfNegative val="1"/>
            <c:bubble3D val="0"/>
            <c:spPr>
              <a:solidFill>
                <a:srgbClr val="AEABAB"/>
              </a:solidFill>
            </c:spPr>
            <c:extLst>
              <c:ext xmlns:c16="http://schemas.microsoft.com/office/drawing/2014/chart" uri="{C3380CC4-5D6E-409C-BE32-E72D297353CC}">
                <c16:uniqueId val="{00000B2F-61F5-407B-959D-D24239F5BB85}"/>
              </c:ext>
            </c:extLst>
          </c:dPt>
          <c:dPt>
            <c:idx val="1431"/>
            <c:invertIfNegative val="1"/>
            <c:bubble3D val="0"/>
            <c:spPr>
              <a:solidFill>
                <a:srgbClr val="AEABAB"/>
              </a:solidFill>
            </c:spPr>
            <c:extLst>
              <c:ext xmlns:c16="http://schemas.microsoft.com/office/drawing/2014/chart" uri="{C3380CC4-5D6E-409C-BE32-E72D297353CC}">
                <c16:uniqueId val="{00000B31-61F5-407B-959D-D24239F5BB85}"/>
              </c:ext>
            </c:extLst>
          </c:dPt>
          <c:dPt>
            <c:idx val="1432"/>
            <c:invertIfNegative val="1"/>
            <c:bubble3D val="0"/>
            <c:spPr>
              <a:solidFill>
                <a:srgbClr val="AEABAB"/>
              </a:solidFill>
            </c:spPr>
            <c:extLst>
              <c:ext xmlns:c16="http://schemas.microsoft.com/office/drawing/2014/chart" uri="{C3380CC4-5D6E-409C-BE32-E72D297353CC}">
                <c16:uniqueId val="{00000B33-61F5-407B-959D-D24239F5BB85}"/>
              </c:ext>
            </c:extLst>
          </c:dPt>
          <c:dPt>
            <c:idx val="1433"/>
            <c:invertIfNegative val="1"/>
            <c:bubble3D val="0"/>
            <c:spPr>
              <a:solidFill>
                <a:srgbClr val="AEABAB"/>
              </a:solidFill>
            </c:spPr>
            <c:extLst>
              <c:ext xmlns:c16="http://schemas.microsoft.com/office/drawing/2014/chart" uri="{C3380CC4-5D6E-409C-BE32-E72D297353CC}">
                <c16:uniqueId val="{00000B35-61F5-407B-959D-D24239F5BB85}"/>
              </c:ext>
            </c:extLst>
          </c:dPt>
          <c:dPt>
            <c:idx val="1434"/>
            <c:invertIfNegative val="1"/>
            <c:bubble3D val="0"/>
            <c:spPr>
              <a:solidFill>
                <a:srgbClr val="AEABAB"/>
              </a:solidFill>
            </c:spPr>
            <c:extLst>
              <c:ext xmlns:c16="http://schemas.microsoft.com/office/drawing/2014/chart" uri="{C3380CC4-5D6E-409C-BE32-E72D297353CC}">
                <c16:uniqueId val="{00000B37-61F5-407B-959D-D24239F5BB85}"/>
              </c:ext>
            </c:extLst>
          </c:dPt>
          <c:dPt>
            <c:idx val="1435"/>
            <c:invertIfNegative val="1"/>
            <c:bubble3D val="0"/>
            <c:spPr>
              <a:solidFill>
                <a:srgbClr val="AEABAB"/>
              </a:solidFill>
            </c:spPr>
            <c:extLst>
              <c:ext xmlns:c16="http://schemas.microsoft.com/office/drawing/2014/chart" uri="{C3380CC4-5D6E-409C-BE32-E72D297353CC}">
                <c16:uniqueId val="{00000B39-61F5-407B-959D-D24239F5BB85}"/>
              </c:ext>
            </c:extLst>
          </c:dPt>
          <c:dPt>
            <c:idx val="1436"/>
            <c:invertIfNegative val="1"/>
            <c:bubble3D val="0"/>
            <c:spPr>
              <a:solidFill>
                <a:srgbClr val="AEABAB"/>
              </a:solidFill>
            </c:spPr>
            <c:extLst>
              <c:ext xmlns:c16="http://schemas.microsoft.com/office/drawing/2014/chart" uri="{C3380CC4-5D6E-409C-BE32-E72D297353CC}">
                <c16:uniqueId val="{00000B3B-61F5-407B-959D-D24239F5BB85}"/>
              </c:ext>
            </c:extLst>
          </c:dPt>
          <c:dPt>
            <c:idx val="1437"/>
            <c:invertIfNegative val="1"/>
            <c:bubble3D val="0"/>
            <c:spPr>
              <a:solidFill>
                <a:srgbClr val="AEABAB"/>
              </a:solidFill>
            </c:spPr>
            <c:extLst>
              <c:ext xmlns:c16="http://schemas.microsoft.com/office/drawing/2014/chart" uri="{C3380CC4-5D6E-409C-BE32-E72D297353CC}">
                <c16:uniqueId val="{00000B3D-61F5-407B-959D-D24239F5BB85}"/>
              </c:ext>
            </c:extLst>
          </c:dPt>
          <c:dPt>
            <c:idx val="1438"/>
            <c:invertIfNegative val="1"/>
            <c:bubble3D val="0"/>
            <c:spPr>
              <a:solidFill>
                <a:srgbClr val="AEABAB"/>
              </a:solidFill>
            </c:spPr>
            <c:extLst>
              <c:ext xmlns:c16="http://schemas.microsoft.com/office/drawing/2014/chart" uri="{C3380CC4-5D6E-409C-BE32-E72D297353CC}">
                <c16:uniqueId val="{00000B3F-61F5-407B-959D-D24239F5BB85}"/>
              </c:ext>
            </c:extLst>
          </c:dPt>
          <c:dPt>
            <c:idx val="1439"/>
            <c:invertIfNegative val="1"/>
            <c:bubble3D val="0"/>
            <c:spPr>
              <a:solidFill>
                <a:srgbClr val="AEABAB"/>
              </a:solidFill>
            </c:spPr>
            <c:extLst>
              <c:ext xmlns:c16="http://schemas.microsoft.com/office/drawing/2014/chart" uri="{C3380CC4-5D6E-409C-BE32-E72D297353CC}">
                <c16:uniqueId val="{00000B41-61F5-407B-959D-D24239F5BB85}"/>
              </c:ext>
            </c:extLst>
          </c:dPt>
          <c:dPt>
            <c:idx val="1440"/>
            <c:invertIfNegative val="1"/>
            <c:bubble3D val="0"/>
            <c:spPr>
              <a:solidFill>
                <a:srgbClr val="AEABAB"/>
              </a:solidFill>
            </c:spPr>
            <c:extLst>
              <c:ext xmlns:c16="http://schemas.microsoft.com/office/drawing/2014/chart" uri="{C3380CC4-5D6E-409C-BE32-E72D297353CC}">
                <c16:uniqueId val="{00000B43-61F5-407B-959D-D24239F5BB85}"/>
              </c:ext>
            </c:extLst>
          </c:dPt>
          <c:dPt>
            <c:idx val="1441"/>
            <c:invertIfNegative val="1"/>
            <c:bubble3D val="0"/>
            <c:spPr>
              <a:solidFill>
                <a:srgbClr val="AEABAB"/>
              </a:solidFill>
            </c:spPr>
            <c:extLst>
              <c:ext xmlns:c16="http://schemas.microsoft.com/office/drawing/2014/chart" uri="{C3380CC4-5D6E-409C-BE32-E72D297353CC}">
                <c16:uniqueId val="{00000B45-61F5-407B-959D-D24239F5BB85}"/>
              </c:ext>
            </c:extLst>
          </c:dPt>
          <c:dPt>
            <c:idx val="1442"/>
            <c:invertIfNegative val="1"/>
            <c:bubble3D val="0"/>
            <c:spPr>
              <a:solidFill>
                <a:srgbClr val="AEABAB"/>
              </a:solidFill>
            </c:spPr>
            <c:extLst>
              <c:ext xmlns:c16="http://schemas.microsoft.com/office/drawing/2014/chart" uri="{C3380CC4-5D6E-409C-BE32-E72D297353CC}">
                <c16:uniqueId val="{00000B47-61F5-407B-959D-D24239F5BB85}"/>
              </c:ext>
            </c:extLst>
          </c:dPt>
          <c:dPt>
            <c:idx val="1443"/>
            <c:invertIfNegative val="1"/>
            <c:bubble3D val="0"/>
            <c:spPr>
              <a:solidFill>
                <a:srgbClr val="AEABAB"/>
              </a:solidFill>
            </c:spPr>
            <c:extLst>
              <c:ext xmlns:c16="http://schemas.microsoft.com/office/drawing/2014/chart" uri="{C3380CC4-5D6E-409C-BE32-E72D297353CC}">
                <c16:uniqueId val="{00000B49-61F5-407B-959D-D24239F5BB85}"/>
              </c:ext>
            </c:extLst>
          </c:dPt>
          <c:dPt>
            <c:idx val="1444"/>
            <c:invertIfNegative val="1"/>
            <c:bubble3D val="0"/>
            <c:spPr>
              <a:solidFill>
                <a:srgbClr val="AEABAB"/>
              </a:solidFill>
            </c:spPr>
            <c:extLst>
              <c:ext xmlns:c16="http://schemas.microsoft.com/office/drawing/2014/chart" uri="{C3380CC4-5D6E-409C-BE32-E72D297353CC}">
                <c16:uniqueId val="{00000B4B-61F5-407B-959D-D24239F5BB85}"/>
              </c:ext>
            </c:extLst>
          </c:dPt>
          <c:dPt>
            <c:idx val="1445"/>
            <c:invertIfNegative val="1"/>
            <c:bubble3D val="0"/>
            <c:spPr>
              <a:solidFill>
                <a:srgbClr val="AEABAB"/>
              </a:solidFill>
            </c:spPr>
            <c:extLst>
              <c:ext xmlns:c16="http://schemas.microsoft.com/office/drawing/2014/chart" uri="{C3380CC4-5D6E-409C-BE32-E72D297353CC}">
                <c16:uniqueId val="{00000B4D-61F5-407B-959D-D24239F5BB85}"/>
              </c:ext>
            </c:extLst>
          </c:dPt>
          <c:dPt>
            <c:idx val="1446"/>
            <c:invertIfNegative val="1"/>
            <c:bubble3D val="0"/>
            <c:spPr>
              <a:solidFill>
                <a:srgbClr val="AEABAB"/>
              </a:solidFill>
            </c:spPr>
            <c:extLst>
              <c:ext xmlns:c16="http://schemas.microsoft.com/office/drawing/2014/chart" uri="{C3380CC4-5D6E-409C-BE32-E72D297353CC}">
                <c16:uniqueId val="{00000B4F-61F5-407B-959D-D24239F5BB85}"/>
              </c:ext>
            </c:extLst>
          </c:dPt>
          <c:dPt>
            <c:idx val="1447"/>
            <c:invertIfNegative val="1"/>
            <c:bubble3D val="0"/>
            <c:spPr>
              <a:solidFill>
                <a:srgbClr val="AEABAB"/>
              </a:solidFill>
            </c:spPr>
            <c:extLst>
              <c:ext xmlns:c16="http://schemas.microsoft.com/office/drawing/2014/chart" uri="{C3380CC4-5D6E-409C-BE32-E72D297353CC}">
                <c16:uniqueId val="{00000B51-61F5-407B-959D-D24239F5BB85}"/>
              </c:ext>
            </c:extLst>
          </c:dPt>
          <c:dPt>
            <c:idx val="1448"/>
            <c:invertIfNegative val="1"/>
            <c:bubble3D val="0"/>
            <c:spPr>
              <a:solidFill>
                <a:srgbClr val="AEABAB"/>
              </a:solidFill>
            </c:spPr>
            <c:extLst>
              <c:ext xmlns:c16="http://schemas.microsoft.com/office/drawing/2014/chart" uri="{C3380CC4-5D6E-409C-BE32-E72D297353CC}">
                <c16:uniqueId val="{00000B53-61F5-407B-959D-D24239F5BB85}"/>
              </c:ext>
            </c:extLst>
          </c:dPt>
          <c:dPt>
            <c:idx val="1449"/>
            <c:invertIfNegative val="1"/>
            <c:bubble3D val="0"/>
            <c:spPr>
              <a:solidFill>
                <a:srgbClr val="AEABAB"/>
              </a:solidFill>
            </c:spPr>
            <c:extLst>
              <c:ext xmlns:c16="http://schemas.microsoft.com/office/drawing/2014/chart" uri="{C3380CC4-5D6E-409C-BE32-E72D297353CC}">
                <c16:uniqueId val="{00000B55-61F5-407B-959D-D24239F5BB85}"/>
              </c:ext>
            </c:extLst>
          </c:dPt>
          <c:dPt>
            <c:idx val="1450"/>
            <c:invertIfNegative val="1"/>
            <c:bubble3D val="0"/>
            <c:spPr>
              <a:solidFill>
                <a:srgbClr val="AEABAB"/>
              </a:solidFill>
            </c:spPr>
            <c:extLst>
              <c:ext xmlns:c16="http://schemas.microsoft.com/office/drawing/2014/chart" uri="{C3380CC4-5D6E-409C-BE32-E72D297353CC}">
                <c16:uniqueId val="{00000B57-61F5-407B-959D-D24239F5BB85}"/>
              </c:ext>
            </c:extLst>
          </c:dPt>
          <c:dPt>
            <c:idx val="1451"/>
            <c:invertIfNegative val="1"/>
            <c:bubble3D val="0"/>
            <c:spPr>
              <a:solidFill>
                <a:srgbClr val="AEABAB"/>
              </a:solidFill>
            </c:spPr>
            <c:extLst>
              <c:ext xmlns:c16="http://schemas.microsoft.com/office/drawing/2014/chart" uri="{C3380CC4-5D6E-409C-BE32-E72D297353CC}">
                <c16:uniqueId val="{00000B59-61F5-407B-959D-D24239F5BB85}"/>
              </c:ext>
            </c:extLst>
          </c:dPt>
          <c:dPt>
            <c:idx val="1452"/>
            <c:invertIfNegative val="1"/>
            <c:bubble3D val="0"/>
            <c:spPr>
              <a:solidFill>
                <a:srgbClr val="AEABAB"/>
              </a:solidFill>
            </c:spPr>
            <c:extLst>
              <c:ext xmlns:c16="http://schemas.microsoft.com/office/drawing/2014/chart" uri="{C3380CC4-5D6E-409C-BE32-E72D297353CC}">
                <c16:uniqueId val="{00000B5B-61F5-407B-959D-D24239F5BB85}"/>
              </c:ext>
            </c:extLst>
          </c:dPt>
          <c:dPt>
            <c:idx val="1453"/>
            <c:invertIfNegative val="1"/>
            <c:bubble3D val="0"/>
            <c:spPr>
              <a:solidFill>
                <a:srgbClr val="AEABAB"/>
              </a:solidFill>
            </c:spPr>
            <c:extLst>
              <c:ext xmlns:c16="http://schemas.microsoft.com/office/drawing/2014/chart" uri="{C3380CC4-5D6E-409C-BE32-E72D297353CC}">
                <c16:uniqueId val="{00000B5D-61F5-407B-959D-D24239F5BB85}"/>
              </c:ext>
            </c:extLst>
          </c:dPt>
          <c:dPt>
            <c:idx val="1454"/>
            <c:invertIfNegative val="1"/>
            <c:bubble3D val="0"/>
            <c:spPr>
              <a:solidFill>
                <a:srgbClr val="AEABAB"/>
              </a:solidFill>
            </c:spPr>
            <c:extLst>
              <c:ext xmlns:c16="http://schemas.microsoft.com/office/drawing/2014/chart" uri="{C3380CC4-5D6E-409C-BE32-E72D297353CC}">
                <c16:uniqueId val="{00000B5F-61F5-407B-959D-D24239F5BB85}"/>
              </c:ext>
            </c:extLst>
          </c:dPt>
          <c:dPt>
            <c:idx val="1455"/>
            <c:invertIfNegative val="1"/>
            <c:bubble3D val="0"/>
            <c:spPr>
              <a:solidFill>
                <a:srgbClr val="AEABAB"/>
              </a:solidFill>
            </c:spPr>
            <c:extLst>
              <c:ext xmlns:c16="http://schemas.microsoft.com/office/drawing/2014/chart" uri="{C3380CC4-5D6E-409C-BE32-E72D297353CC}">
                <c16:uniqueId val="{00000B61-61F5-407B-959D-D24239F5BB85}"/>
              </c:ext>
            </c:extLst>
          </c:dPt>
          <c:dPt>
            <c:idx val="1456"/>
            <c:invertIfNegative val="1"/>
            <c:bubble3D val="0"/>
            <c:spPr>
              <a:solidFill>
                <a:srgbClr val="AEABAB"/>
              </a:solidFill>
            </c:spPr>
            <c:extLst>
              <c:ext xmlns:c16="http://schemas.microsoft.com/office/drawing/2014/chart" uri="{C3380CC4-5D6E-409C-BE32-E72D297353CC}">
                <c16:uniqueId val="{00000B63-61F5-407B-959D-D24239F5BB85}"/>
              </c:ext>
            </c:extLst>
          </c:dPt>
          <c:dPt>
            <c:idx val="1457"/>
            <c:invertIfNegative val="1"/>
            <c:bubble3D val="0"/>
            <c:spPr>
              <a:solidFill>
                <a:srgbClr val="AEABAB"/>
              </a:solidFill>
            </c:spPr>
            <c:extLst>
              <c:ext xmlns:c16="http://schemas.microsoft.com/office/drawing/2014/chart" uri="{C3380CC4-5D6E-409C-BE32-E72D297353CC}">
                <c16:uniqueId val="{00000B65-61F5-407B-959D-D24239F5BB85}"/>
              </c:ext>
            </c:extLst>
          </c:dPt>
          <c:dPt>
            <c:idx val="1458"/>
            <c:invertIfNegative val="1"/>
            <c:bubble3D val="0"/>
            <c:spPr>
              <a:solidFill>
                <a:srgbClr val="AEABAB"/>
              </a:solidFill>
            </c:spPr>
            <c:extLst>
              <c:ext xmlns:c16="http://schemas.microsoft.com/office/drawing/2014/chart" uri="{C3380CC4-5D6E-409C-BE32-E72D297353CC}">
                <c16:uniqueId val="{00000B67-61F5-407B-959D-D24239F5BB85}"/>
              </c:ext>
            </c:extLst>
          </c:dPt>
          <c:dPt>
            <c:idx val="1459"/>
            <c:invertIfNegative val="1"/>
            <c:bubble3D val="0"/>
            <c:spPr>
              <a:solidFill>
                <a:srgbClr val="AEABAB"/>
              </a:solidFill>
            </c:spPr>
            <c:extLst>
              <c:ext xmlns:c16="http://schemas.microsoft.com/office/drawing/2014/chart" uri="{C3380CC4-5D6E-409C-BE32-E72D297353CC}">
                <c16:uniqueId val="{00000B69-61F5-407B-959D-D24239F5BB85}"/>
              </c:ext>
            </c:extLst>
          </c:dPt>
          <c:dPt>
            <c:idx val="1460"/>
            <c:invertIfNegative val="1"/>
            <c:bubble3D val="0"/>
            <c:spPr>
              <a:solidFill>
                <a:srgbClr val="AEABAB"/>
              </a:solidFill>
            </c:spPr>
            <c:extLst>
              <c:ext xmlns:c16="http://schemas.microsoft.com/office/drawing/2014/chart" uri="{C3380CC4-5D6E-409C-BE32-E72D297353CC}">
                <c16:uniqueId val="{00000B6B-61F5-407B-959D-D24239F5BB85}"/>
              </c:ext>
            </c:extLst>
          </c:dPt>
          <c:dPt>
            <c:idx val="1461"/>
            <c:invertIfNegative val="1"/>
            <c:bubble3D val="0"/>
            <c:spPr>
              <a:solidFill>
                <a:srgbClr val="AEABAB"/>
              </a:solidFill>
            </c:spPr>
            <c:extLst>
              <c:ext xmlns:c16="http://schemas.microsoft.com/office/drawing/2014/chart" uri="{C3380CC4-5D6E-409C-BE32-E72D297353CC}">
                <c16:uniqueId val="{00000B6D-61F5-407B-959D-D24239F5BB85}"/>
              </c:ext>
            </c:extLst>
          </c:dPt>
          <c:dPt>
            <c:idx val="1462"/>
            <c:invertIfNegative val="1"/>
            <c:bubble3D val="0"/>
            <c:spPr>
              <a:solidFill>
                <a:srgbClr val="AEABAB"/>
              </a:solidFill>
            </c:spPr>
            <c:extLst>
              <c:ext xmlns:c16="http://schemas.microsoft.com/office/drawing/2014/chart" uri="{C3380CC4-5D6E-409C-BE32-E72D297353CC}">
                <c16:uniqueId val="{00000B6F-61F5-407B-959D-D24239F5BB85}"/>
              </c:ext>
            </c:extLst>
          </c:dPt>
          <c:dPt>
            <c:idx val="1463"/>
            <c:invertIfNegative val="1"/>
            <c:bubble3D val="0"/>
            <c:spPr>
              <a:solidFill>
                <a:srgbClr val="AEABAB"/>
              </a:solidFill>
            </c:spPr>
            <c:extLst>
              <c:ext xmlns:c16="http://schemas.microsoft.com/office/drawing/2014/chart" uri="{C3380CC4-5D6E-409C-BE32-E72D297353CC}">
                <c16:uniqueId val="{00000B71-61F5-407B-959D-D24239F5BB85}"/>
              </c:ext>
            </c:extLst>
          </c:dPt>
          <c:dPt>
            <c:idx val="1464"/>
            <c:invertIfNegative val="1"/>
            <c:bubble3D val="0"/>
            <c:spPr>
              <a:solidFill>
                <a:srgbClr val="AEABAB"/>
              </a:solidFill>
            </c:spPr>
            <c:extLst>
              <c:ext xmlns:c16="http://schemas.microsoft.com/office/drawing/2014/chart" uri="{C3380CC4-5D6E-409C-BE32-E72D297353CC}">
                <c16:uniqueId val="{00000B73-61F5-407B-959D-D24239F5BB85}"/>
              </c:ext>
            </c:extLst>
          </c:dPt>
          <c:dPt>
            <c:idx val="1465"/>
            <c:invertIfNegative val="1"/>
            <c:bubble3D val="0"/>
            <c:spPr>
              <a:solidFill>
                <a:srgbClr val="AEABAB"/>
              </a:solidFill>
            </c:spPr>
            <c:extLst>
              <c:ext xmlns:c16="http://schemas.microsoft.com/office/drawing/2014/chart" uri="{C3380CC4-5D6E-409C-BE32-E72D297353CC}">
                <c16:uniqueId val="{00000B75-61F5-407B-959D-D24239F5BB85}"/>
              </c:ext>
            </c:extLst>
          </c:dPt>
          <c:dPt>
            <c:idx val="1466"/>
            <c:invertIfNegative val="1"/>
            <c:bubble3D val="0"/>
            <c:spPr>
              <a:solidFill>
                <a:srgbClr val="AEABAB"/>
              </a:solidFill>
            </c:spPr>
            <c:extLst>
              <c:ext xmlns:c16="http://schemas.microsoft.com/office/drawing/2014/chart" uri="{C3380CC4-5D6E-409C-BE32-E72D297353CC}">
                <c16:uniqueId val="{00000B77-61F5-407B-959D-D24239F5BB85}"/>
              </c:ext>
            </c:extLst>
          </c:dPt>
          <c:dPt>
            <c:idx val="1467"/>
            <c:invertIfNegative val="1"/>
            <c:bubble3D val="0"/>
            <c:spPr>
              <a:solidFill>
                <a:srgbClr val="AEABAB"/>
              </a:solidFill>
            </c:spPr>
            <c:extLst>
              <c:ext xmlns:c16="http://schemas.microsoft.com/office/drawing/2014/chart" uri="{C3380CC4-5D6E-409C-BE32-E72D297353CC}">
                <c16:uniqueId val="{00000B79-61F5-407B-959D-D24239F5BB85}"/>
              </c:ext>
            </c:extLst>
          </c:dPt>
          <c:dPt>
            <c:idx val="1468"/>
            <c:invertIfNegative val="1"/>
            <c:bubble3D val="0"/>
            <c:spPr>
              <a:solidFill>
                <a:srgbClr val="AEABAB"/>
              </a:solidFill>
            </c:spPr>
            <c:extLst>
              <c:ext xmlns:c16="http://schemas.microsoft.com/office/drawing/2014/chart" uri="{C3380CC4-5D6E-409C-BE32-E72D297353CC}">
                <c16:uniqueId val="{00000B7B-61F5-407B-959D-D24239F5BB85}"/>
              </c:ext>
            </c:extLst>
          </c:dPt>
          <c:dPt>
            <c:idx val="1469"/>
            <c:invertIfNegative val="1"/>
            <c:bubble3D val="0"/>
            <c:spPr>
              <a:solidFill>
                <a:srgbClr val="AEABAB"/>
              </a:solidFill>
            </c:spPr>
            <c:extLst>
              <c:ext xmlns:c16="http://schemas.microsoft.com/office/drawing/2014/chart" uri="{C3380CC4-5D6E-409C-BE32-E72D297353CC}">
                <c16:uniqueId val="{00000B7D-61F5-407B-959D-D24239F5BB85}"/>
              </c:ext>
            </c:extLst>
          </c:dPt>
          <c:dPt>
            <c:idx val="1470"/>
            <c:invertIfNegative val="1"/>
            <c:bubble3D val="0"/>
            <c:spPr>
              <a:solidFill>
                <a:srgbClr val="AEABAB"/>
              </a:solidFill>
            </c:spPr>
            <c:extLst>
              <c:ext xmlns:c16="http://schemas.microsoft.com/office/drawing/2014/chart" uri="{C3380CC4-5D6E-409C-BE32-E72D297353CC}">
                <c16:uniqueId val="{00000B7F-61F5-407B-959D-D24239F5BB85}"/>
              </c:ext>
            </c:extLst>
          </c:dPt>
          <c:dPt>
            <c:idx val="1471"/>
            <c:invertIfNegative val="1"/>
            <c:bubble3D val="0"/>
            <c:spPr>
              <a:solidFill>
                <a:srgbClr val="AEABAB"/>
              </a:solidFill>
            </c:spPr>
            <c:extLst>
              <c:ext xmlns:c16="http://schemas.microsoft.com/office/drawing/2014/chart" uri="{C3380CC4-5D6E-409C-BE32-E72D297353CC}">
                <c16:uniqueId val="{00000B81-61F5-407B-959D-D24239F5BB85}"/>
              </c:ext>
            </c:extLst>
          </c:dPt>
          <c:dPt>
            <c:idx val="1472"/>
            <c:invertIfNegative val="1"/>
            <c:bubble3D val="0"/>
            <c:spPr>
              <a:solidFill>
                <a:srgbClr val="AEABAB"/>
              </a:solidFill>
            </c:spPr>
            <c:extLst>
              <c:ext xmlns:c16="http://schemas.microsoft.com/office/drawing/2014/chart" uri="{C3380CC4-5D6E-409C-BE32-E72D297353CC}">
                <c16:uniqueId val="{00000B83-61F5-407B-959D-D24239F5BB85}"/>
              </c:ext>
            </c:extLst>
          </c:dPt>
          <c:dPt>
            <c:idx val="1473"/>
            <c:invertIfNegative val="1"/>
            <c:bubble3D val="0"/>
            <c:spPr>
              <a:solidFill>
                <a:srgbClr val="AEABAB"/>
              </a:solidFill>
            </c:spPr>
            <c:extLst>
              <c:ext xmlns:c16="http://schemas.microsoft.com/office/drawing/2014/chart" uri="{C3380CC4-5D6E-409C-BE32-E72D297353CC}">
                <c16:uniqueId val="{00000B85-61F5-407B-959D-D24239F5BB85}"/>
              </c:ext>
            </c:extLst>
          </c:dPt>
          <c:dPt>
            <c:idx val="1474"/>
            <c:invertIfNegative val="1"/>
            <c:bubble3D val="0"/>
            <c:spPr>
              <a:solidFill>
                <a:srgbClr val="AEABAB"/>
              </a:solidFill>
            </c:spPr>
            <c:extLst>
              <c:ext xmlns:c16="http://schemas.microsoft.com/office/drawing/2014/chart" uri="{C3380CC4-5D6E-409C-BE32-E72D297353CC}">
                <c16:uniqueId val="{00000B87-61F5-407B-959D-D24239F5BB85}"/>
              </c:ext>
            </c:extLst>
          </c:dPt>
          <c:dPt>
            <c:idx val="1475"/>
            <c:invertIfNegative val="1"/>
            <c:bubble3D val="0"/>
            <c:spPr>
              <a:solidFill>
                <a:srgbClr val="AEABAB"/>
              </a:solidFill>
            </c:spPr>
            <c:extLst>
              <c:ext xmlns:c16="http://schemas.microsoft.com/office/drawing/2014/chart" uri="{C3380CC4-5D6E-409C-BE32-E72D297353CC}">
                <c16:uniqueId val="{00000B89-61F5-407B-959D-D24239F5BB85}"/>
              </c:ext>
            </c:extLst>
          </c:dPt>
          <c:dPt>
            <c:idx val="1476"/>
            <c:invertIfNegative val="1"/>
            <c:bubble3D val="0"/>
            <c:spPr>
              <a:solidFill>
                <a:srgbClr val="AEABAB"/>
              </a:solidFill>
            </c:spPr>
            <c:extLst>
              <c:ext xmlns:c16="http://schemas.microsoft.com/office/drawing/2014/chart" uri="{C3380CC4-5D6E-409C-BE32-E72D297353CC}">
                <c16:uniqueId val="{00000B8B-61F5-407B-959D-D24239F5BB85}"/>
              </c:ext>
            </c:extLst>
          </c:dPt>
          <c:dPt>
            <c:idx val="1477"/>
            <c:invertIfNegative val="1"/>
            <c:bubble3D val="0"/>
            <c:spPr>
              <a:solidFill>
                <a:srgbClr val="AEABAB"/>
              </a:solidFill>
            </c:spPr>
            <c:extLst>
              <c:ext xmlns:c16="http://schemas.microsoft.com/office/drawing/2014/chart" uri="{C3380CC4-5D6E-409C-BE32-E72D297353CC}">
                <c16:uniqueId val="{00000B8D-61F5-407B-959D-D24239F5BB85}"/>
              </c:ext>
            </c:extLst>
          </c:dPt>
          <c:dPt>
            <c:idx val="1478"/>
            <c:invertIfNegative val="1"/>
            <c:bubble3D val="0"/>
            <c:spPr>
              <a:solidFill>
                <a:srgbClr val="AEABAB"/>
              </a:solidFill>
            </c:spPr>
            <c:extLst>
              <c:ext xmlns:c16="http://schemas.microsoft.com/office/drawing/2014/chart" uri="{C3380CC4-5D6E-409C-BE32-E72D297353CC}">
                <c16:uniqueId val="{00000B8F-61F5-407B-959D-D24239F5BB85}"/>
              </c:ext>
            </c:extLst>
          </c:dPt>
          <c:dPt>
            <c:idx val="1479"/>
            <c:invertIfNegative val="1"/>
            <c:bubble3D val="0"/>
            <c:spPr>
              <a:solidFill>
                <a:srgbClr val="AEABAB"/>
              </a:solidFill>
            </c:spPr>
            <c:extLst>
              <c:ext xmlns:c16="http://schemas.microsoft.com/office/drawing/2014/chart" uri="{C3380CC4-5D6E-409C-BE32-E72D297353CC}">
                <c16:uniqueId val="{00000B91-61F5-407B-959D-D24239F5BB85}"/>
              </c:ext>
            </c:extLst>
          </c:dPt>
          <c:dPt>
            <c:idx val="1480"/>
            <c:invertIfNegative val="1"/>
            <c:bubble3D val="0"/>
            <c:spPr>
              <a:solidFill>
                <a:srgbClr val="AEABAB"/>
              </a:solidFill>
            </c:spPr>
            <c:extLst>
              <c:ext xmlns:c16="http://schemas.microsoft.com/office/drawing/2014/chart" uri="{C3380CC4-5D6E-409C-BE32-E72D297353CC}">
                <c16:uniqueId val="{00000B93-61F5-407B-959D-D24239F5BB85}"/>
              </c:ext>
            </c:extLst>
          </c:dPt>
          <c:dPt>
            <c:idx val="1481"/>
            <c:invertIfNegative val="1"/>
            <c:bubble3D val="0"/>
            <c:spPr>
              <a:solidFill>
                <a:srgbClr val="AEABAB"/>
              </a:solidFill>
            </c:spPr>
            <c:extLst>
              <c:ext xmlns:c16="http://schemas.microsoft.com/office/drawing/2014/chart" uri="{C3380CC4-5D6E-409C-BE32-E72D297353CC}">
                <c16:uniqueId val="{00000B95-61F5-407B-959D-D24239F5BB85}"/>
              </c:ext>
            </c:extLst>
          </c:dPt>
          <c:dPt>
            <c:idx val="1482"/>
            <c:invertIfNegative val="1"/>
            <c:bubble3D val="0"/>
            <c:spPr>
              <a:solidFill>
                <a:srgbClr val="AEABAB"/>
              </a:solidFill>
            </c:spPr>
            <c:extLst>
              <c:ext xmlns:c16="http://schemas.microsoft.com/office/drawing/2014/chart" uri="{C3380CC4-5D6E-409C-BE32-E72D297353CC}">
                <c16:uniqueId val="{00000B97-61F5-407B-959D-D24239F5BB85}"/>
              </c:ext>
            </c:extLst>
          </c:dPt>
          <c:dPt>
            <c:idx val="1483"/>
            <c:invertIfNegative val="1"/>
            <c:bubble3D val="0"/>
            <c:spPr>
              <a:solidFill>
                <a:srgbClr val="AEABAB"/>
              </a:solidFill>
            </c:spPr>
            <c:extLst>
              <c:ext xmlns:c16="http://schemas.microsoft.com/office/drawing/2014/chart" uri="{C3380CC4-5D6E-409C-BE32-E72D297353CC}">
                <c16:uniqueId val="{00000B99-61F5-407B-959D-D24239F5BB85}"/>
              </c:ext>
            </c:extLst>
          </c:dPt>
          <c:dPt>
            <c:idx val="1484"/>
            <c:invertIfNegative val="1"/>
            <c:bubble3D val="0"/>
            <c:spPr>
              <a:solidFill>
                <a:srgbClr val="AEABAB"/>
              </a:solidFill>
            </c:spPr>
            <c:extLst>
              <c:ext xmlns:c16="http://schemas.microsoft.com/office/drawing/2014/chart" uri="{C3380CC4-5D6E-409C-BE32-E72D297353CC}">
                <c16:uniqueId val="{00000B9B-61F5-407B-959D-D24239F5BB85}"/>
              </c:ext>
            </c:extLst>
          </c:dPt>
          <c:dPt>
            <c:idx val="1485"/>
            <c:invertIfNegative val="1"/>
            <c:bubble3D val="0"/>
            <c:spPr>
              <a:solidFill>
                <a:srgbClr val="AEABAB"/>
              </a:solidFill>
            </c:spPr>
            <c:extLst>
              <c:ext xmlns:c16="http://schemas.microsoft.com/office/drawing/2014/chart" uri="{C3380CC4-5D6E-409C-BE32-E72D297353CC}">
                <c16:uniqueId val="{00000B9D-61F5-407B-959D-D24239F5BB85}"/>
              </c:ext>
            </c:extLst>
          </c:dPt>
          <c:dPt>
            <c:idx val="1486"/>
            <c:invertIfNegative val="1"/>
            <c:bubble3D val="0"/>
            <c:spPr>
              <a:solidFill>
                <a:srgbClr val="AEABAB"/>
              </a:solidFill>
            </c:spPr>
            <c:extLst>
              <c:ext xmlns:c16="http://schemas.microsoft.com/office/drawing/2014/chart" uri="{C3380CC4-5D6E-409C-BE32-E72D297353CC}">
                <c16:uniqueId val="{00000B9F-61F5-407B-959D-D24239F5BB85}"/>
              </c:ext>
            </c:extLst>
          </c:dPt>
          <c:dPt>
            <c:idx val="1487"/>
            <c:invertIfNegative val="1"/>
            <c:bubble3D val="0"/>
            <c:spPr>
              <a:solidFill>
                <a:srgbClr val="AEABAB"/>
              </a:solidFill>
            </c:spPr>
            <c:extLst>
              <c:ext xmlns:c16="http://schemas.microsoft.com/office/drawing/2014/chart" uri="{C3380CC4-5D6E-409C-BE32-E72D297353CC}">
                <c16:uniqueId val="{00000BA1-61F5-407B-959D-D24239F5BB85}"/>
              </c:ext>
            </c:extLst>
          </c:dPt>
          <c:dPt>
            <c:idx val="1488"/>
            <c:invertIfNegative val="1"/>
            <c:bubble3D val="0"/>
            <c:spPr>
              <a:solidFill>
                <a:srgbClr val="AEABAB"/>
              </a:solidFill>
            </c:spPr>
            <c:extLst>
              <c:ext xmlns:c16="http://schemas.microsoft.com/office/drawing/2014/chart" uri="{C3380CC4-5D6E-409C-BE32-E72D297353CC}">
                <c16:uniqueId val="{00000BA3-61F5-407B-959D-D24239F5BB85}"/>
              </c:ext>
            </c:extLst>
          </c:dPt>
          <c:dPt>
            <c:idx val="1489"/>
            <c:invertIfNegative val="1"/>
            <c:bubble3D val="0"/>
            <c:spPr>
              <a:solidFill>
                <a:srgbClr val="AEABAB"/>
              </a:solidFill>
            </c:spPr>
            <c:extLst>
              <c:ext xmlns:c16="http://schemas.microsoft.com/office/drawing/2014/chart" uri="{C3380CC4-5D6E-409C-BE32-E72D297353CC}">
                <c16:uniqueId val="{00000BA5-61F5-407B-959D-D24239F5BB85}"/>
              </c:ext>
            </c:extLst>
          </c:dPt>
          <c:dPt>
            <c:idx val="1490"/>
            <c:invertIfNegative val="1"/>
            <c:bubble3D val="0"/>
            <c:spPr>
              <a:solidFill>
                <a:srgbClr val="AEABAB"/>
              </a:solidFill>
            </c:spPr>
            <c:extLst>
              <c:ext xmlns:c16="http://schemas.microsoft.com/office/drawing/2014/chart" uri="{C3380CC4-5D6E-409C-BE32-E72D297353CC}">
                <c16:uniqueId val="{00000BA7-61F5-407B-959D-D24239F5BB85}"/>
              </c:ext>
            </c:extLst>
          </c:dPt>
          <c:dPt>
            <c:idx val="1491"/>
            <c:invertIfNegative val="1"/>
            <c:bubble3D val="0"/>
            <c:spPr>
              <a:solidFill>
                <a:srgbClr val="AEABAB"/>
              </a:solidFill>
            </c:spPr>
            <c:extLst>
              <c:ext xmlns:c16="http://schemas.microsoft.com/office/drawing/2014/chart" uri="{C3380CC4-5D6E-409C-BE32-E72D297353CC}">
                <c16:uniqueId val="{00000BA9-61F5-407B-959D-D24239F5BB85}"/>
              </c:ext>
            </c:extLst>
          </c:dPt>
          <c:dPt>
            <c:idx val="1492"/>
            <c:invertIfNegative val="1"/>
            <c:bubble3D val="0"/>
            <c:spPr>
              <a:solidFill>
                <a:srgbClr val="AEABAB"/>
              </a:solidFill>
            </c:spPr>
            <c:extLst>
              <c:ext xmlns:c16="http://schemas.microsoft.com/office/drawing/2014/chart" uri="{C3380CC4-5D6E-409C-BE32-E72D297353CC}">
                <c16:uniqueId val="{00000BAB-61F5-407B-959D-D24239F5BB85}"/>
              </c:ext>
            </c:extLst>
          </c:dPt>
          <c:dPt>
            <c:idx val="1493"/>
            <c:invertIfNegative val="1"/>
            <c:bubble3D val="0"/>
            <c:spPr>
              <a:solidFill>
                <a:srgbClr val="AEABAB"/>
              </a:solidFill>
            </c:spPr>
            <c:extLst>
              <c:ext xmlns:c16="http://schemas.microsoft.com/office/drawing/2014/chart" uri="{C3380CC4-5D6E-409C-BE32-E72D297353CC}">
                <c16:uniqueId val="{00000BAD-61F5-407B-959D-D24239F5BB85}"/>
              </c:ext>
            </c:extLst>
          </c:dPt>
          <c:dPt>
            <c:idx val="1494"/>
            <c:invertIfNegative val="1"/>
            <c:bubble3D val="0"/>
            <c:spPr>
              <a:solidFill>
                <a:srgbClr val="AEABAB"/>
              </a:solidFill>
            </c:spPr>
            <c:extLst>
              <c:ext xmlns:c16="http://schemas.microsoft.com/office/drawing/2014/chart" uri="{C3380CC4-5D6E-409C-BE32-E72D297353CC}">
                <c16:uniqueId val="{00000BAF-61F5-407B-959D-D24239F5BB85}"/>
              </c:ext>
            </c:extLst>
          </c:dPt>
          <c:dPt>
            <c:idx val="1495"/>
            <c:invertIfNegative val="1"/>
            <c:bubble3D val="0"/>
            <c:spPr>
              <a:solidFill>
                <a:srgbClr val="AEABAB"/>
              </a:solidFill>
            </c:spPr>
            <c:extLst>
              <c:ext xmlns:c16="http://schemas.microsoft.com/office/drawing/2014/chart" uri="{C3380CC4-5D6E-409C-BE32-E72D297353CC}">
                <c16:uniqueId val="{00000BB1-61F5-407B-959D-D24239F5BB85}"/>
              </c:ext>
            </c:extLst>
          </c:dPt>
          <c:dPt>
            <c:idx val="1496"/>
            <c:invertIfNegative val="1"/>
            <c:bubble3D val="0"/>
            <c:spPr>
              <a:solidFill>
                <a:srgbClr val="AEABAB"/>
              </a:solidFill>
            </c:spPr>
            <c:extLst>
              <c:ext xmlns:c16="http://schemas.microsoft.com/office/drawing/2014/chart" uri="{C3380CC4-5D6E-409C-BE32-E72D297353CC}">
                <c16:uniqueId val="{00000BB3-61F5-407B-959D-D24239F5BB85}"/>
              </c:ext>
            </c:extLst>
          </c:dPt>
          <c:dPt>
            <c:idx val="1497"/>
            <c:invertIfNegative val="1"/>
            <c:bubble3D val="0"/>
            <c:spPr>
              <a:solidFill>
                <a:srgbClr val="AEABAB"/>
              </a:solidFill>
            </c:spPr>
            <c:extLst>
              <c:ext xmlns:c16="http://schemas.microsoft.com/office/drawing/2014/chart" uri="{C3380CC4-5D6E-409C-BE32-E72D297353CC}">
                <c16:uniqueId val="{00000BB5-61F5-407B-959D-D24239F5BB85}"/>
              </c:ext>
            </c:extLst>
          </c:dPt>
          <c:dPt>
            <c:idx val="1498"/>
            <c:invertIfNegative val="1"/>
            <c:bubble3D val="0"/>
            <c:spPr>
              <a:solidFill>
                <a:srgbClr val="AEABAB"/>
              </a:solidFill>
            </c:spPr>
            <c:extLst>
              <c:ext xmlns:c16="http://schemas.microsoft.com/office/drawing/2014/chart" uri="{C3380CC4-5D6E-409C-BE32-E72D297353CC}">
                <c16:uniqueId val="{00000BB7-61F5-407B-959D-D24239F5BB85}"/>
              </c:ext>
            </c:extLst>
          </c:dPt>
          <c:dPt>
            <c:idx val="1499"/>
            <c:invertIfNegative val="1"/>
            <c:bubble3D val="0"/>
            <c:spPr>
              <a:solidFill>
                <a:srgbClr val="AEABAB"/>
              </a:solidFill>
            </c:spPr>
            <c:extLst>
              <c:ext xmlns:c16="http://schemas.microsoft.com/office/drawing/2014/chart" uri="{C3380CC4-5D6E-409C-BE32-E72D297353CC}">
                <c16:uniqueId val="{00000BB9-61F5-407B-959D-D24239F5BB85}"/>
              </c:ext>
            </c:extLst>
          </c:dPt>
          <c:dPt>
            <c:idx val="1500"/>
            <c:invertIfNegative val="1"/>
            <c:bubble3D val="0"/>
            <c:spPr>
              <a:solidFill>
                <a:srgbClr val="AEABAB"/>
              </a:solidFill>
            </c:spPr>
            <c:extLst>
              <c:ext xmlns:c16="http://schemas.microsoft.com/office/drawing/2014/chart" uri="{C3380CC4-5D6E-409C-BE32-E72D297353CC}">
                <c16:uniqueId val="{00000BBB-61F5-407B-959D-D24239F5BB85}"/>
              </c:ext>
            </c:extLst>
          </c:dPt>
          <c:dPt>
            <c:idx val="1501"/>
            <c:invertIfNegative val="1"/>
            <c:bubble3D val="0"/>
            <c:spPr>
              <a:solidFill>
                <a:srgbClr val="AEABAB"/>
              </a:solidFill>
            </c:spPr>
            <c:extLst>
              <c:ext xmlns:c16="http://schemas.microsoft.com/office/drawing/2014/chart" uri="{C3380CC4-5D6E-409C-BE32-E72D297353CC}">
                <c16:uniqueId val="{00000BBD-61F5-407B-959D-D24239F5BB85}"/>
              </c:ext>
            </c:extLst>
          </c:dPt>
          <c:dPt>
            <c:idx val="1502"/>
            <c:invertIfNegative val="1"/>
            <c:bubble3D val="0"/>
            <c:spPr>
              <a:solidFill>
                <a:srgbClr val="AEABAB"/>
              </a:solidFill>
            </c:spPr>
            <c:extLst>
              <c:ext xmlns:c16="http://schemas.microsoft.com/office/drawing/2014/chart" uri="{C3380CC4-5D6E-409C-BE32-E72D297353CC}">
                <c16:uniqueId val="{00000BBF-61F5-407B-959D-D24239F5BB85}"/>
              </c:ext>
            </c:extLst>
          </c:dPt>
          <c:dPt>
            <c:idx val="1503"/>
            <c:invertIfNegative val="1"/>
            <c:bubble3D val="0"/>
            <c:spPr>
              <a:solidFill>
                <a:srgbClr val="AEABAB"/>
              </a:solidFill>
            </c:spPr>
            <c:extLst>
              <c:ext xmlns:c16="http://schemas.microsoft.com/office/drawing/2014/chart" uri="{C3380CC4-5D6E-409C-BE32-E72D297353CC}">
                <c16:uniqueId val="{00000BC1-61F5-407B-959D-D24239F5BB85}"/>
              </c:ext>
            </c:extLst>
          </c:dPt>
          <c:dPt>
            <c:idx val="1504"/>
            <c:invertIfNegative val="1"/>
            <c:bubble3D val="0"/>
            <c:spPr>
              <a:solidFill>
                <a:srgbClr val="AEABAB"/>
              </a:solidFill>
            </c:spPr>
            <c:extLst>
              <c:ext xmlns:c16="http://schemas.microsoft.com/office/drawing/2014/chart" uri="{C3380CC4-5D6E-409C-BE32-E72D297353CC}">
                <c16:uniqueId val="{00000BC3-61F5-407B-959D-D24239F5BB85}"/>
              </c:ext>
            </c:extLst>
          </c:dPt>
          <c:dPt>
            <c:idx val="1505"/>
            <c:invertIfNegative val="1"/>
            <c:bubble3D val="0"/>
            <c:spPr>
              <a:solidFill>
                <a:srgbClr val="AEABAB"/>
              </a:solidFill>
            </c:spPr>
            <c:extLst>
              <c:ext xmlns:c16="http://schemas.microsoft.com/office/drawing/2014/chart" uri="{C3380CC4-5D6E-409C-BE32-E72D297353CC}">
                <c16:uniqueId val="{00000BC5-61F5-407B-959D-D24239F5BB85}"/>
              </c:ext>
            </c:extLst>
          </c:dPt>
          <c:dPt>
            <c:idx val="1506"/>
            <c:invertIfNegative val="1"/>
            <c:bubble3D val="0"/>
            <c:spPr>
              <a:solidFill>
                <a:srgbClr val="AEABAB"/>
              </a:solidFill>
            </c:spPr>
            <c:extLst>
              <c:ext xmlns:c16="http://schemas.microsoft.com/office/drawing/2014/chart" uri="{C3380CC4-5D6E-409C-BE32-E72D297353CC}">
                <c16:uniqueId val="{00000BC7-61F5-407B-959D-D24239F5BB85}"/>
              </c:ext>
            </c:extLst>
          </c:dPt>
          <c:dPt>
            <c:idx val="1507"/>
            <c:invertIfNegative val="1"/>
            <c:bubble3D val="0"/>
            <c:spPr>
              <a:solidFill>
                <a:srgbClr val="AEABAB"/>
              </a:solidFill>
            </c:spPr>
            <c:extLst>
              <c:ext xmlns:c16="http://schemas.microsoft.com/office/drawing/2014/chart" uri="{C3380CC4-5D6E-409C-BE32-E72D297353CC}">
                <c16:uniqueId val="{00000BC9-61F5-407B-959D-D24239F5BB85}"/>
              </c:ext>
            </c:extLst>
          </c:dPt>
          <c:dPt>
            <c:idx val="1508"/>
            <c:invertIfNegative val="1"/>
            <c:bubble3D val="0"/>
            <c:spPr>
              <a:solidFill>
                <a:srgbClr val="AEABAB"/>
              </a:solidFill>
            </c:spPr>
            <c:extLst>
              <c:ext xmlns:c16="http://schemas.microsoft.com/office/drawing/2014/chart" uri="{C3380CC4-5D6E-409C-BE32-E72D297353CC}">
                <c16:uniqueId val="{00000BCB-61F5-407B-959D-D24239F5BB85}"/>
              </c:ext>
            </c:extLst>
          </c:dPt>
          <c:dPt>
            <c:idx val="1509"/>
            <c:invertIfNegative val="1"/>
            <c:bubble3D val="0"/>
            <c:spPr>
              <a:solidFill>
                <a:srgbClr val="AEABAB"/>
              </a:solidFill>
            </c:spPr>
            <c:extLst>
              <c:ext xmlns:c16="http://schemas.microsoft.com/office/drawing/2014/chart" uri="{C3380CC4-5D6E-409C-BE32-E72D297353CC}">
                <c16:uniqueId val="{00000BCD-61F5-407B-959D-D24239F5BB85}"/>
              </c:ext>
            </c:extLst>
          </c:dPt>
          <c:dPt>
            <c:idx val="1510"/>
            <c:invertIfNegative val="1"/>
            <c:bubble3D val="0"/>
            <c:spPr>
              <a:solidFill>
                <a:srgbClr val="AEABAB"/>
              </a:solidFill>
            </c:spPr>
            <c:extLst>
              <c:ext xmlns:c16="http://schemas.microsoft.com/office/drawing/2014/chart" uri="{C3380CC4-5D6E-409C-BE32-E72D297353CC}">
                <c16:uniqueId val="{00000BCF-61F5-407B-959D-D24239F5BB85}"/>
              </c:ext>
            </c:extLst>
          </c:dPt>
          <c:dPt>
            <c:idx val="1511"/>
            <c:invertIfNegative val="1"/>
            <c:bubble3D val="0"/>
            <c:spPr>
              <a:solidFill>
                <a:srgbClr val="AEABAB"/>
              </a:solidFill>
            </c:spPr>
            <c:extLst>
              <c:ext xmlns:c16="http://schemas.microsoft.com/office/drawing/2014/chart" uri="{C3380CC4-5D6E-409C-BE32-E72D297353CC}">
                <c16:uniqueId val="{00000BD1-61F5-407B-959D-D24239F5BB85}"/>
              </c:ext>
            </c:extLst>
          </c:dPt>
          <c:dPt>
            <c:idx val="1512"/>
            <c:invertIfNegative val="1"/>
            <c:bubble3D val="0"/>
            <c:spPr>
              <a:solidFill>
                <a:srgbClr val="AEABAB"/>
              </a:solidFill>
            </c:spPr>
            <c:extLst>
              <c:ext xmlns:c16="http://schemas.microsoft.com/office/drawing/2014/chart" uri="{C3380CC4-5D6E-409C-BE32-E72D297353CC}">
                <c16:uniqueId val="{00000BD3-61F5-407B-959D-D24239F5BB85}"/>
              </c:ext>
            </c:extLst>
          </c:dPt>
          <c:dPt>
            <c:idx val="1513"/>
            <c:invertIfNegative val="1"/>
            <c:bubble3D val="0"/>
            <c:spPr>
              <a:solidFill>
                <a:srgbClr val="AEABAB"/>
              </a:solidFill>
            </c:spPr>
            <c:extLst>
              <c:ext xmlns:c16="http://schemas.microsoft.com/office/drawing/2014/chart" uri="{C3380CC4-5D6E-409C-BE32-E72D297353CC}">
                <c16:uniqueId val="{00000BD5-61F5-407B-959D-D24239F5BB85}"/>
              </c:ext>
            </c:extLst>
          </c:dPt>
          <c:dPt>
            <c:idx val="1514"/>
            <c:invertIfNegative val="1"/>
            <c:bubble3D val="0"/>
            <c:spPr>
              <a:solidFill>
                <a:srgbClr val="AEABAB"/>
              </a:solidFill>
            </c:spPr>
            <c:extLst>
              <c:ext xmlns:c16="http://schemas.microsoft.com/office/drawing/2014/chart" uri="{C3380CC4-5D6E-409C-BE32-E72D297353CC}">
                <c16:uniqueId val="{00000BD7-61F5-407B-959D-D24239F5BB85}"/>
              </c:ext>
            </c:extLst>
          </c:dPt>
          <c:dPt>
            <c:idx val="1515"/>
            <c:invertIfNegative val="1"/>
            <c:bubble3D val="0"/>
            <c:spPr>
              <a:solidFill>
                <a:srgbClr val="AEABAB"/>
              </a:solidFill>
            </c:spPr>
            <c:extLst>
              <c:ext xmlns:c16="http://schemas.microsoft.com/office/drawing/2014/chart" uri="{C3380CC4-5D6E-409C-BE32-E72D297353CC}">
                <c16:uniqueId val="{00000BD9-61F5-407B-959D-D24239F5BB85}"/>
              </c:ext>
            </c:extLst>
          </c:dPt>
          <c:dPt>
            <c:idx val="1516"/>
            <c:invertIfNegative val="1"/>
            <c:bubble3D val="0"/>
            <c:spPr>
              <a:solidFill>
                <a:srgbClr val="AEABAB"/>
              </a:solidFill>
            </c:spPr>
            <c:extLst>
              <c:ext xmlns:c16="http://schemas.microsoft.com/office/drawing/2014/chart" uri="{C3380CC4-5D6E-409C-BE32-E72D297353CC}">
                <c16:uniqueId val="{00000BDB-61F5-407B-959D-D24239F5BB85}"/>
              </c:ext>
            </c:extLst>
          </c:dPt>
          <c:dPt>
            <c:idx val="1517"/>
            <c:invertIfNegative val="1"/>
            <c:bubble3D val="0"/>
            <c:spPr>
              <a:solidFill>
                <a:srgbClr val="AEABAB"/>
              </a:solidFill>
            </c:spPr>
            <c:extLst>
              <c:ext xmlns:c16="http://schemas.microsoft.com/office/drawing/2014/chart" uri="{C3380CC4-5D6E-409C-BE32-E72D297353CC}">
                <c16:uniqueId val="{00000BDD-61F5-407B-959D-D24239F5BB85}"/>
              </c:ext>
            </c:extLst>
          </c:dPt>
          <c:dPt>
            <c:idx val="1518"/>
            <c:invertIfNegative val="1"/>
            <c:bubble3D val="0"/>
            <c:spPr>
              <a:solidFill>
                <a:srgbClr val="AEABAB"/>
              </a:solidFill>
            </c:spPr>
            <c:extLst>
              <c:ext xmlns:c16="http://schemas.microsoft.com/office/drawing/2014/chart" uri="{C3380CC4-5D6E-409C-BE32-E72D297353CC}">
                <c16:uniqueId val="{00000BDF-61F5-407B-959D-D24239F5BB85}"/>
              </c:ext>
            </c:extLst>
          </c:dPt>
          <c:dPt>
            <c:idx val="1519"/>
            <c:invertIfNegative val="1"/>
            <c:bubble3D val="0"/>
            <c:spPr>
              <a:solidFill>
                <a:srgbClr val="AEABAB"/>
              </a:solidFill>
            </c:spPr>
            <c:extLst>
              <c:ext xmlns:c16="http://schemas.microsoft.com/office/drawing/2014/chart" uri="{C3380CC4-5D6E-409C-BE32-E72D297353CC}">
                <c16:uniqueId val="{00000BE1-61F5-407B-959D-D24239F5BB85}"/>
              </c:ext>
            </c:extLst>
          </c:dPt>
          <c:dPt>
            <c:idx val="1520"/>
            <c:invertIfNegative val="1"/>
            <c:bubble3D val="0"/>
            <c:spPr>
              <a:solidFill>
                <a:srgbClr val="AEABAB"/>
              </a:solidFill>
            </c:spPr>
            <c:extLst>
              <c:ext xmlns:c16="http://schemas.microsoft.com/office/drawing/2014/chart" uri="{C3380CC4-5D6E-409C-BE32-E72D297353CC}">
                <c16:uniqueId val="{00000BE3-61F5-407B-959D-D24239F5BB85}"/>
              </c:ext>
            </c:extLst>
          </c:dPt>
          <c:dPt>
            <c:idx val="1521"/>
            <c:invertIfNegative val="1"/>
            <c:bubble3D val="0"/>
            <c:spPr>
              <a:solidFill>
                <a:srgbClr val="AEABAB"/>
              </a:solidFill>
            </c:spPr>
            <c:extLst>
              <c:ext xmlns:c16="http://schemas.microsoft.com/office/drawing/2014/chart" uri="{C3380CC4-5D6E-409C-BE32-E72D297353CC}">
                <c16:uniqueId val="{00000BE5-61F5-407B-959D-D24239F5BB85}"/>
              </c:ext>
            </c:extLst>
          </c:dPt>
          <c:dPt>
            <c:idx val="1522"/>
            <c:invertIfNegative val="1"/>
            <c:bubble3D val="0"/>
            <c:spPr>
              <a:solidFill>
                <a:srgbClr val="AEABAB"/>
              </a:solidFill>
            </c:spPr>
            <c:extLst>
              <c:ext xmlns:c16="http://schemas.microsoft.com/office/drawing/2014/chart" uri="{C3380CC4-5D6E-409C-BE32-E72D297353CC}">
                <c16:uniqueId val="{00000BE7-61F5-407B-959D-D24239F5BB85}"/>
              </c:ext>
            </c:extLst>
          </c:dPt>
          <c:dPt>
            <c:idx val="1523"/>
            <c:invertIfNegative val="1"/>
            <c:bubble3D val="0"/>
            <c:spPr>
              <a:solidFill>
                <a:srgbClr val="AEABAB"/>
              </a:solidFill>
            </c:spPr>
            <c:extLst>
              <c:ext xmlns:c16="http://schemas.microsoft.com/office/drawing/2014/chart" uri="{C3380CC4-5D6E-409C-BE32-E72D297353CC}">
                <c16:uniqueId val="{00000BE9-61F5-407B-959D-D24239F5BB85}"/>
              </c:ext>
            </c:extLst>
          </c:dPt>
          <c:dPt>
            <c:idx val="1524"/>
            <c:invertIfNegative val="1"/>
            <c:bubble3D val="0"/>
            <c:spPr>
              <a:solidFill>
                <a:srgbClr val="AEABAB"/>
              </a:solidFill>
            </c:spPr>
            <c:extLst>
              <c:ext xmlns:c16="http://schemas.microsoft.com/office/drawing/2014/chart" uri="{C3380CC4-5D6E-409C-BE32-E72D297353CC}">
                <c16:uniqueId val="{00000BEB-61F5-407B-959D-D24239F5BB85}"/>
              </c:ext>
            </c:extLst>
          </c:dPt>
          <c:dPt>
            <c:idx val="1525"/>
            <c:invertIfNegative val="1"/>
            <c:bubble3D val="0"/>
            <c:spPr>
              <a:solidFill>
                <a:srgbClr val="AEABAB"/>
              </a:solidFill>
            </c:spPr>
            <c:extLst>
              <c:ext xmlns:c16="http://schemas.microsoft.com/office/drawing/2014/chart" uri="{C3380CC4-5D6E-409C-BE32-E72D297353CC}">
                <c16:uniqueId val="{00000BED-61F5-407B-959D-D24239F5BB85}"/>
              </c:ext>
            </c:extLst>
          </c:dPt>
          <c:dPt>
            <c:idx val="1526"/>
            <c:invertIfNegative val="1"/>
            <c:bubble3D val="0"/>
            <c:spPr>
              <a:solidFill>
                <a:srgbClr val="AEABAB"/>
              </a:solidFill>
            </c:spPr>
            <c:extLst>
              <c:ext xmlns:c16="http://schemas.microsoft.com/office/drawing/2014/chart" uri="{C3380CC4-5D6E-409C-BE32-E72D297353CC}">
                <c16:uniqueId val="{00000BEF-61F5-407B-959D-D24239F5BB85}"/>
              </c:ext>
            </c:extLst>
          </c:dPt>
          <c:dPt>
            <c:idx val="1527"/>
            <c:invertIfNegative val="1"/>
            <c:bubble3D val="0"/>
            <c:spPr>
              <a:solidFill>
                <a:srgbClr val="AEABAB"/>
              </a:solidFill>
            </c:spPr>
            <c:extLst>
              <c:ext xmlns:c16="http://schemas.microsoft.com/office/drawing/2014/chart" uri="{C3380CC4-5D6E-409C-BE32-E72D297353CC}">
                <c16:uniqueId val="{00000BF1-61F5-407B-959D-D24239F5BB85}"/>
              </c:ext>
            </c:extLst>
          </c:dPt>
          <c:dPt>
            <c:idx val="1528"/>
            <c:invertIfNegative val="1"/>
            <c:bubble3D val="0"/>
            <c:spPr>
              <a:solidFill>
                <a:srgbClr val="AEABAB"/>
              </a:solidFill>
            </c:spPr>
            <c:extLst>
              <c:ext xmlns:c16="http://schemas.microsoft.com/office/drawing/2014/chart" uri="{C3380CC4-5D6E-409C-BE32-E72D297353CC}">
                <c16:uniqueId val="{00000BF3-61F5-407B-959D-D24239F5BB85}"/>
              </c:ext>
            </c:extLst>
          </c:dPt>
          <c:dPt>
            <c:idx val="1529"/>
            <c:invertIfNegative val="1"/>
            <c:bubble3D val="0"/>
            <c:spPr>
              <a:solidFill>
                <a:srgbClr val="AEABAB"/>
              </a:solidFill>
            </c:spPr>
            <c:extLst>
              <c:ext xmlns:c16="http://schemas.microsoft.com/office/drawing/2014/chart" uri="{C3380CC4-5D6E-409C-BE32-E72D297353CC}">
                <c16:uniqueId val="{00000BF5-61F5-407B-959D-D24239F5BB85}"/>
              </c:ext>
            </c:extLst>
          </c:dPt>
          <c:dPt>
            <c:idx val="1530"/>
            <c:invertIfNegative val="1"/>
            <c:bubble3D val="0"/>
            <c:spPr>
              <a:solidFill>
                <a:srgbClr val="AEABAB"/>
              </a:solidFill>
            </c:spPr>
            <c:extLst>
              <c:ext xmlns:c16="http://schemas.microsoft.com/office/drawing/2014/chart" uri="{C3380CC4-5D6E-409C-BE32-E72D297353CC}">
                <c16:uniqueId val="{00000BF7-61F5-407B-959D-D24239F5BB85}"/>
              </c:ext>
            </c:extLst>
          </c:dPt>
          <c:dPt>
            <c:idx val="1531"/>
            <c:invertIfNegative val="1"/>
            <c:bubble3D val="0"/>
            <c:spPr>
              <a:solidFill>
                <a:srgbClr val="AEABAB"/>
              </a:solidFill>
            </c:spPr>
            <c:extLst>
              <c:ext xmlns:c16="http://schemas.microsoft.com/office/drawing/2014/chart" uri="{C3380CC4-5D6E-409C-BE32-E72D297353CC}">
                <c16:uniqueId val="{00000BF9-61F5-407B-959D-D24239F5BB85}"/>
              </c:ext>
            </c:extLst>
          </c:dPt>
          <c:dPt>
            <c:idx val="1532"/>
            <c:invertIfNegative val="1"/>
            <c:bubble3D val="0"/>
            <c:spPr>
              <a:solidFill>
                <a:srgbClr val="AEABAB"/>
              </a:solidFill>
            </c:spPr>
            <c:extLst>
              <c:ext xmlns:c16="http://schemas.microsoft.com/office/drawing/2014/chart" uri="{C3380CC4-5D6E-409C-BE32-E72D297353CC}">
                <c16:uniqueId val="{00000BFB-61F5-407B-959D-D24239F5BB85}"/>
              </c:ext>
            </c:extLst>
          </c:dPt>
          <c:dPt>
            <c:idx val="1533"/>
            <c:invertIfNegative val="1"/>
            <c:bubble3D val="0"/>
            <c:spPr>
              <a:solidFill>
                <a:srgbClr val="AEABAB"/>
              </a:solidFill>
            </c:spPr>
            <c:extLst>
              <c:ext xmlns:c16="http://schemas.microsoft.com/office/drawing/2014/chart" uri="{C3380CC4-5D6E-409C-BE32-E72D297353CC}">
                <c16:uniqueId val="{00000BFD-61F5-407B-959D-D24239F5BB85}"/>
              </c:ext>
            </c:extLst>
          </c:dPt>
          <c:dPt>
            <c:idx val="1534"/>
            <c:invertIfNegative val="1"/>
            <c:bubble3D val="0"/>
            <c:spPr>
              <a:solidFill>
                <a:srgbClr val="AEABAB"/>
              </a:solidFill>
            </c:spPr>
            <c:extLst>
              <c:ext xmlns:c16="http://schemas.microsoft.com/office/drawing/2014/chart" uri="{C3380CC4-5D6E-409C-BE32-E72D297353CC}">
                <c16:uniqueId val="{00000BFF-61F5-407B-959D-D24239F5BB85}"/>
              </c:ext>
            </c:extLst>
          </c:dPt>
          <c:dPt>
            <c:idx val="1535"/>
            <c:invertIfNegative val="1"/>
            <c:bubble3D val="0"/>
            <c:spPr>
              <a:solidFill>
                <a:srgbClr val="AEABAB"/>
              </a:solidFill>
            </c:spPr>
            <c:extLst>
              <c:ext xmlns:c16="http://schemas.microsoft.com/office/drawing/2014/chart" uri="{C3380CC4-5D6E-409C-BE32-E72D297353CC}">
                <c16:uniqueId val="{00000C01-61F5-407B-959D-D24239F5BB85}"/>
              </c:ext>
            </c:extLst>
          </c:dPt>
          <c:dPt>
            <c:idx val="1536"/>
            <c:invertIfNegative val="1"/>
            <c:bubble3D val="0"/>
            <c:spPr>
              <a:solidFill>
                <a:srgbClr val="AEABAB"/>
              </a:solidFill>
            </c:spPr>
            <c:extLst>
              <c:ext xmlns:c16="http://schemas.microsoft.com/office/drawing/2014/chart" uri="{C3380CC4-5D6E-409C-BE32-E72D297353CC}">
                <c16:uniqueId val="{00000C03-61F5-407B-959D-D24239F5BB85}"/>
              </c:ext>
            </c:extLst>
          </c:dPt>
          <c:dPt>
            <c:idx val="1537"/>
            <c:invertIfNegative val="1"/>
            <c:bubble3D val="0"/>
            <c:spPr>
              <a:solidFill>
                <a:srgbClr val="AEABAB"/>
              </a:solidFill>
            </c:spPr>
            <c:extLst>
              <c:ext xmlns:c16="http://schemas.microsoft.com/office/drawing/2014/chart" uri="{C3380CC4-5D6E-409C-BE32-E72D297353CC}">
                <c16:uniqueId val="{00000C05-61F5-407B-959D-D24239F5BB85}"/>
              </c:ext>
            </c:extLst>
          </c:dPt>
          <c:dPt>
            <c:idx val="1538"/>
            <c:invertIfNegative val="1"/>
            <c:bubble3D val="0"/>
            <c:spPr>
              <a:solidFill>
                <a:srgbClr val="AEABAB"/>
              </a:solidFill>
            </c:spPr>
            <c:extLst>
              <c:ext xmlns:c16="http://schemas.microsoft.com/office/drawing/2014/chart" uri="{C3380CC4-5D6E-409C-BE32-E72D297353CC}">
                <c16:uniqueId val="{00000C07-61F5-407B-959D-D24239F5BB85}"/>
              </c:ext>
            </c:extLst>
          </c:dPt>
          <c:dPt>
            <c:idx val="1539"/>
            <c:invertIfNegative val="1"/>
            <c:bubble3D val="0"/>
            <c:spPr>
              <a:solidFill>
                <a:srgbClr val="AEABAB"/>
              </a:solidFill>
            </c:spPr>
            <c:extLst>
              <c:ext xmlns:c16="http://schemas.microsoft.com/office/drawing/2014/chart" uri="{C3380CC4-5D6E-409C-BE32-E72D297353CC}">
                <c16:uniqueId val="{00000C09-61F5-407B-959D-D24239F5BB85}"/>
              </c:ext>
            </c:extLst>
          </c:dPt>
          <c:dPt>
            <c:idx val="1540"/>
            <c:invertIfNegative val="1"/>
            <c:bubble3D val="0"/>
            <c:spPr>
              <a:solidFill>
                <a:srgbClr val="AEABAB"/>
              </a:solidFill>
            </c:spPr>
            <c:extLst>
              <c:ext xmlns:c16="http://schemas.microsoft.com/office/drawing/2014/chart" uri="{C3380CC4-5D6E-409C-BE32-E72D297353CC}">
                <c16:uniqueId val="{00000C0B-61F5-407B-959D-D24239F5BB85}"/>
              </c:ext>
            </c:extLst>
          </c:dPt>
          <c:dPt>
            <c:idx val="1541"/>
            <c:invertIfNegative val="1"/>
            <c:bubble3D val="0"/>
            <c:spPr>
              <a:solidFill>
                <a:srgbClr val="AEABAB"/>
              </a:solidFill>
            </c:spPr>
            <c:extLst>
              <c:ext xmlns:c16="http://schemas.microsoft.com/office/drawing/2014/chart" uri="{C3380CC4-5D6E-409C-BE32-E72D297353CC}">
                <c16:uniqueId val="{00000C0D-61F5-407B-959D-D24239F5BB85}"/>
              </c:ext>
            </c:extLst>
          </c:dPt>
          <c:dPt>
            <c:idx val="1542"/>
            <c:invertIfNegative val="1"/>
            <c:bubble3D val="0"/>
            <c:spPr>
              <a:solidFill>
                <a:srgbClr val="AEABAB"/>
              </a:solidFill>
            </c:spPr>
            <c:extLst>
              <c:ext xmlns:c16="http://schemas.microsoft.com/office/drawing/2014/chart" uri="{C3380CC4-5D6E-409C-BE32-E72D297353CC}">
                <c16:uniqueId val="{00000C0F-61F5-407B-959D-D24239F5BB85}"/>
              </c:ext>
            </c:extLst>
          </c:dPt>
          <c:dPt>
            <c:idx val="1543"/>
            <c:invertIfNegative val="1"/>
            <c:bubble3D val="0"/>
            <c:spPr>
              <a:solidFill>
                <a:srgbClr val="AEABAB"/>
              </a:solidFill>
            </c:spPr>
            <c:extLst>
              <c:ext xmlns:c16="http://schemas.microsoft.com/office/drawing/2014/chart" uri="{C3380CC4-5D6E-409C-BE32-E72D297353CC}">
                <c16:uniqueId val="{00000C11-61F5-407B-959D-D24239F5BB85}"/>
              </c:ext>
            </c:extLst>
          </c:dPt>
          <c:dPt>
            <c:idx val="1544"/>
            <c:invertIfNegative val="1"/>
            <c:bubble3D val="0"/>
            <c:spPr>
              <a:solidFill>
                <a:srgbClr val="AEABAB"/>
              </a:solidFill>
            </c:spPr>
            <c:extLst>
              <c:ext xmlns:c16="http://schemas.microsoft.com/office/drawing/2014/chart" uri="{C3380CC4-5D6E-409C-BE32-E72D297353CC}">
                <c16:uniqueId val="{00000C13-61F5-407B-959D-D24239F5BB85}"/>
              </c:ext>
            </c:extLst>
          </c:dPt>
          <c:dPt>
            <c:idx val="1545"/>
            <c:invertIfNegative val="1"/>
            <c:bubble3D val="0"/>
            <c:spPr>
              <a:solidFill>
                <a:srgbClr val="AEABAB"/>
              </a:solidFill>
            </c:spPr>
            <c:extLst>
              <c:ext xmlns:c16="http://schemas.microsoft.com/office/drawing/2014/chart" uri="{C3380CC4-5D6E-409C-BE32-E72D297353CC}">
                <c16:uniqueId val="{00000C15-61F5-407B-959D-D24239F5BB85}"/>
              </c:ext>
            </c:extLst>
          </c:dPt>
          <c:dPt>
            <c:idx val="1546"/>
            <c:invertIfNegative val="1"/>
            <c:bubble3D val="0"/>
            <c:spPr>
              <a:solidFill>
                <a:srgbClr val="AEABAB"/>
              </a:solidFill>
            </c:spPr>
            <c:extLst>
              <c:ext xmlns:c16="http://schemas.microsoft.com/office/drawing/2014/chart" uri="{C3380CC4-5D6E-409C-BE32-E72D297353CC}">
                <c16:uniqueId val="{00000C17-61F5-407B-959D-D24239F5BB85}"/>
              </c:ext>
            </c:extLst>
          </c:dPt>
          <c:dPt>
            <c:idx val="1547"/>
            <c:invertIfNegative val="1"/>
            <c:bubble3D val="0"/>
            <c:spPr>
              <a:solidFill>
                <a:srgbClr val="AEABAB"/>
              </a:solidFill>
            </c:spPr>
            <c:extLst>
              <c:ext xmlns:c16="http://schemas.microsoft.com/office/drawing/2014/chart" uri="{C3380CC4-5D6E-409C-BE32-E72D297353CC}">
                <c16:uniqueId val="{00000C19-61F5-407B-959D-D24239F5BB85}"/>
              </c:ext>
            </c:extLst>
          </c:dPt>
          <c:dPt>
            <c:idx val="1548"/>
            <c:invertIfNegative val="1"/>
            <c:bubble3D val="0"/>
            <c:spPr>
              <a:solidFill>
                <a:srgbClr val="AEABAB"/>
              </a:solidFill>
            </c:spPr>
            <c:extLst>
              <c:ext xmlns:c16="http://schemas.microsoft.com/office/drawing/2014/chart" uri="{C3380CC4-5D6E-409C-BE32-E72D297353CC}">
                <c16:uniqueId val="{00000C1B-61F5-407B-959D-D24239F5BB85}"/>
              </c:ext>
            </c:extLst>
          </c:dPt>
          <c:dPt>
            <c:idx val="1549"/>
            <c:invertIfNegative val="1"/>
            <c:bubble3D val="0"/>
            <c:spPr>
              <a:solidFill>
                <a:srgbClr val="AEABAB"/>
              </a:solidFill>
            </c:spPr>
            <c:extLst>
              <c:ext xmlns:c16="http://schemas.microsoft.com/office/drawing/2014/chart" uri="{C3380CC4-5D6E-409C-BE32-E72D297353CC}">
                <c16:uniqueId val="{00000C1D-61F5-407B-959D-D24239F5BB85}"/>
              </c:ext>
            </c:extLst>
          </c:dPt>
          <c:dPt>
            <c:idx val="1550"/>
            <c:invertIfNegative val="1"/>
            <c:bubble3D val="0"/>
            <c:spPr>
              <a:solidFill>
                <a:srgbClr val="AEABAB"/>
              </a:solidFill>
            </c:spPr>
            <c:extLst>
              <c:ext xmlns:c16="http://schemas.microsoft.com/office/drawing/2014/chart" uri="{C3380CC4-5D6E-409C-BE32-E72D297353CC}">
                <c16:uniqueId val="{00000C1F-61F5-407B-959D-D24239F5BB85}"/>
              </c:ext>
            </c:extLst>
          </c:dPt>
          <c:dPt>
            <c:idx val="1551"/>
            <c:invertIfNegative val="1"/>
            <c:bubble3D val="0"/>
            <c:spPr>
              <a:solidFill>
                <a:srgbClr val="AEABAB"/>
              </a:solidFill>
            </c:spPr>
            <c:extLst>
              <c:ext xmlns:c16="http://schemas.microsoft.com/office/drawing/2014/chart" uri="{C3380CC4-5D6E-409C-BE32-E72D297353CC}">
                <c16:uniqueId val="{00000C21-61F5-407B-959D-D24239F5BB85}"/>
              </c:ext>
            </c:extLst>
          </c:dPt>
          <c:dPt>
            <c:idx val="1552"/>
            <c:invertIfNegative val="1"/>
            <c:bubble3D val="0"/>
            <c:spPr>
              <a:solidFill>
                <a:srgbClr val="AEABAB"/>
              </a:solidFill>
            </c:spPr>
            <c:extLst>
              <c:ext xmlns:c16="http://schemas.microsoft.com/office/drawing/2014/chart" uri="{C3380CC4-5D6E-409C-BE32-E72D297353CC}">
                <c16:uniqueId val="{00000C23-61F5-407B-959D-D24239F5BB85}"/>
              </c:ext>
            </c:extLst>
          </c:dPt>
          <c:dPt>
            <c:idx val="1553"/>
            <c:invertIfNegative val="1"/>
            <c:bubble3D val="0"/>
            <c:spPr>
              <a:solidFill>
                <a:srgbClr val="AEABAB"/>
              </a:solidFill>
            </c:spPr>
            <c:extLst>
              <c:ext xmlns:c16="http://schemas.microsoft.com/office/drawing/2014/chart" uri="{C3380CC4-5D6E-409C-BE32-E72D297353CC}">
                <c16:uniqueId val="{00000C25-61F5-407B-959D-D24239F5BB85}"/>
              </c:ext>
            </c:extLst>
          </c:dPt>
          <c:dPt>
            <c:idx val="1554"/>
            <c:invertIfNegative val="1"/>
            <c:bubble3D val="0"/>
            <c:spPr>
              <a:solidFill>
                <a:srgbClr val="AEABAB"/>
              </a:solidFill>
            </c:spPr>
            <c:extLst>
              <c:ext xmlns:c16="http://schemas.microsoft.com/office/drawing/2014/chart" uri="{C3380CC4-5D6E-409C-BE32-E72D297353CC}">
                <c16:uniqueId val="{00000C27-61F5-407B-959D-D24239F5BB85}"/>
              </c:ext>
            </c:extLst>
          </c:dPt>
          <c:dPt>
            <c:idx val="1555"/>
            <c:invertIfNegative val="1"/>
            <c:bubble3D val="0"/>
            <c:spPr>
              <a:solidFill>
                <a:srgbClr val="AEABAB"/>
              </a:solidFill>
            </c:spPr>
            <c:extLst>
              <c:ext xmlns:c16="http://schemas.microsoft.com/office/drawing/2014/chart" uri="{C3380CC4-5D6E-409C-BE32-E72D297353CC}">
                <c16:uniqueId val="{00000C29-61F5-407B-959D-D24239F5BB85}"/>
              </c:ext>
            </c:extLst>
          </c:dPt>
          <c:dPt>
            <c:idx val="1556"/>
            <c:invertIfNegative val="1"/>
            <c:bubble3D val="0"/>
            <c:spPr>
              <a:solidFill>
                <a:srgbClr val="AEABAB"/>
              </a:solidFill>
            </c:spPr>
            <c:extLst>
              <c:ext xmlns:c16="http://schemas.microsoft.com/office/drawing/2014/chart" uri="{C3380CC4-5D6E-409C-BE32-E72D297353CC}">
                <c16:uniqueId val="{00000C2B-61F5-407B-959D-D24239F5BB85}"/>
              </c:ext>
            </c:extLst>
          </c:dPt>
          <c:dPt>
            <c:idx val="1557"/>
            <c:invertIfNegative val="1"/>
            <c:bubble3D val="0"/>
            <c:spPr>
              <a:solidFill>
                <a:srgbClr val="AEABAB"/>
              </a:solidFill>
            </c:spPr>
            <c:extLst>
              <c:ext xmlns:c16="http://schemas.microsoft.com/office/drawing/2014/chart" uri="{C3380CC4-5D6E-409C-BE32-E72D297353CC}">
                <c16:uniqueId val="{00000C2D-61F5-407B-959D-D24239F5BB85}"/>
              </c:ext>
            </c:extLst>
          </c:dPt>
          <c:dPt>
            <c:idx val="1558"/>
            <c:invertIfNegative val="1"/>
            <c:bubble3D val="0"/>
            <c:spPr>
              <a:solidFill>
                <a:srgbClr val="AEABAB"/>
              </a:solidFill>
            </c:spPr>
            <c:extLst>
              <c:ext xmlns:c16="http://schemas.microsoft.com/office/drawing/2014/chart" uri="{C3380CC4-5D6E-409C-BE32-E72D297353CC}">
                <c16:uniqueId val="{00000C2F-61F5-407B-959D-D24239F5BB85}"/>
              </c:ext>
            </c:extLst>
          </c:dPt>
          <c:dPt>
            <c:idx val="1559"/>
            <c:invertIfNegative val="1"/>
            <c:bubble3D val="0"/>
            <c:spPr>
              <a:solidFill>
                <a:srgbClr val="AEABAB"/>
              </a:solidFill>
            </c:spPr>
            <c:extLst>
              <c:ext xmlns:c16="http://schemas.microsoft.com/office/drawing/2014/chart" uri="{C3380CC4-5D6E-409C-BE32-E72D297353CC}">
                <c16:uniqueId val="{00000C31-61F5-407B-959D-D24239F5BB85}"/>
              </c:ext>
            </c:extLst>
          </c:dPt>
          <c:dPt>
            <c:idx val="1560"/>
            <c:invertIfNegative val="1"/>
            <c:bubble3D val="0"/>
            <c:spPr>
              <a:solidFill>
                <a:srgbClr val="AEABAB"/>
              </a:solidFill>
            </c:spPr>
            <c:extLst>
              <c:ext xmlns:c16="http://schemas.microsoft.com/office/drawing/2014/chart" uri="{C3380CC4-5D6E-409C-BE32-E72D297353CC}">
                <c16:uniqueId val="{00000C33-61F5-407B-959D-D24239F5BB85}"/>
              </c:ext>
            </c:extLst>
          </c:dPt>
          <c:dPt>
            <c:idx val="1561"/>
            <c:invertIfNegative val="1"/>
            <c:bubble3D val="0"/>
            <c:spPr>
              <a:solidFill>
                <a:srgbClr val="AEABAB"/>
              </a:solidFill>
            </c:spPr>
            <c:extLst>
              <c:ext xmlns:c16="http://schemas.microsoft.com/office/drawing/2014/chart" uri="{C3380CC4-5D6E-409C-BE32-E72D297353CC}">
                <c16:uniqueId val="{00000C35-61F5-407B-959D-D24239F5BB85}"/>
              </c:ext>
            </c:extLst>
          </c:dPt>
          <c:dPt>
            <c:idx val="1562"/>
            <c:invertIfNegative val="1"/>
            <c:bubble3D val="0"/>
            <c:spPr>
              <a:solidFill>
                <a:srgbClr val="AEABAB"/>
              </a:solidFill>
            </c:spPr>
            <c:extLst>
              <c:ext xmlns:c16="http://schemas.microsoft.com/office/drawing/2014/chart" uri="{C3380CC4-5D6E-409C-BE32-E72D297353CC}">
                <c16:uniqueId val="{00000C37-61F5-407B-959D-D24239F5BB85}"/>
              </c:ext>
            </c:extLst>
          </c:dPt>
          <c:dPt>
            <c:idx val="1563"/>
            <c:invertIfNegative val="1"/>
            <c:bubble3D val="0"/>
            <c:spPr>
              <a:solidFill>
                <a:srgbClr val="AEABAB"/>
              </a:solidFill>
            </c:spPr>
            <c:extLst>
              <c:ext xmlns:c16="http://schemas.microsoft.com/office/drawing/2014/chart" uri="{C3380CC4-5D6E-409C-BE32-E72D297353CC}">
                <c16:uniqueId val="{00000C39-61F5-407B-959D-D24239F5BB85}"/>
              </c:ext>
            </c:extLst>
          </c:dPt>
          <c:dPt>
            <c:idx val="1564"/>
            <c:invertIfNegative val="1"/>
            <c:bubble3D val="0"/>
            <c:spPr>
              <a:solidFill>
                <a:srgbClr val="AEABAB"/>
              </a:solidFill>
            </c:spPr>
            <c:extLst>
              <c:ext xmlns:c16="http://schemas.microsoft.com/office/drawing/2014/chart" uri="{C3380CC4-5D6E-409C-BE32-E72D297353CC}">
                <c16:uniqueId val="{00000C3B-61F5-407B-959D-D24239F5BB85}"/>
              </c:ext>
            </c:extLst>
          </c:dPt>
          <c:dPt>
            <c:idx val="1565"/>
            <c:invertIfNegative val="1"/>
            <c:bubble3D val="0"/>
            <c:spPr>
              <a:solidFill>
                <a:srgbClr val="AEABAB"/>
              </a:solidFill>
            </c:spPr>
            <c:extLst>
              <c:ext xmlns:c16="http://schemas.microsoft.com/office/drawing/2014/chart" uri="{C3380CC4-5D6E-409C-BE32-E72D297353CC}">
                <c16:uniqueId val="{00000C3D-61F5-407B-959D-D24239F5BB85}"/>
              </c:ext>
            </c:extLst>
          </c:dPt>
          <c:dPt>
            <c:idx val="1566"/>
            <c:invertIfNegative val="1"/>
            <c:bubble3D val="0"/>
            <c:spPr>
              <a:solidFill>
                <a:srgbClr val="AEABAB"/>
              </a:solidFill>
            </c:spPr>
            <c:extLst>
              <c:ext xmlns:c16="http://schemas.microsoft.com/office/drawing/2014/chart" uri="{C3380CC4-5D6E-409C-BE32-E72D297353CC}">
                <c16:uniqueId val="{00000C3F-61F5-407B-959D-D24239F5BB85}"/>
              </c:ext>
            </c:extLst>
          </c:dPt>
          <c:dPt>
            <c:idx val="1567"/>
            <c:invertIfNegative val="1"/>
            <c:bubble3D val="0"/>
            <c:spPr>
              <a:solidFill>
                <a:srgbClr val="AEABAB"/>
              </a:solidFill>
            </c:spPr>
            <c:extLst>
              <c:ext xmlns:c16="http://schemas.microsoft.com/office/drawing/2014/chart" uri="{C3380CC4-5D6E-409C-BE32-E72D297353CC}">
                <c16:uniqueId val="{00000C41-61F5-407B-959D-D24239F5BB85}"/>
              </c:ext>
            </c:extLst>
          </c:dPt>
          <c:dPt>
            <c:idx val="1568"/>
            <c:invertIfNegative val="1"/>
            <c:bubble3D val="0"/>
            <c:spPr>
              <a:solidFill>
                <a:srgbClr val="AEABAB"/>
              </a:solidFill>
            </c:spPr>
            <c:extLst>
              <c:ext xmlns:c16="http://schemas.microsoft.com/office/drawing/2014/chart" uri="{C3380CC4-5D6E-409C-BE32-E72D297353CC}">
                <c16:uniqueId val="{00000C43-61F5-407B-959D-D24239F5BB85}"/>
              </c:ext>
            </c:extLst>
          </c:dPt>
          <c:dPt>
            <c:idx val="1569"/>
            <c:invertIfNegative val="1"/>
            <c:bubble3D val="0"/>
            <c:spPr>
              <a:solidFill>
                <a:srgbClr val="AEABAB"/>
              </a:solidFill>
            </c:spPr>
            <c:extLst>
              <c:ext xmlns:c16="http://schemas.microsoft.com/office/drawing/2014/chart" uri="{C3380CC4-5D6E-409C-BE32-E72D297353CC}">
                <c16:uniqueId val="{00000C45-61F5-407B-959D-D24239F5BB85}"/>
              </c:ext>
            </c:extLst>
          </c:dPt>
          <c:dPt>
            <c:idx val="1570"/>
            <c:invertIfNegative val="1"/>
            <c:bubble3D val="0"/>
            <c:spPr>
              <a:solidFill>
                <a:srgbClr val="AEABAB"/>
              </a:solidFill>
            </c:spPr>
            <c:extLst>
              <c:ext xmlns:c16="http://schemas.microsoft.com/office/drawing/2014/chart" uri="{C3380CC4-5D6E-409C-BE32-E72D297353CC}">
                <c16:uniqueId val="{00000C47-61F5-407B-959D-D24239F5BB85}"/>
              </c:ext>
            </c:extLst>
          </c:dPt>
          <c:dPt>
            <c:idx val="1571"/>
            <c:invertIfNegative val="1"/>
            <c:bubble3D val="0"/>
            <c:spPr>
              <a:solidFill>
                <a:srgbClr val="AEABAB"/>
              </a:solidFill>
            </c:spPr>
            <c:extLst>
              <c:ext xmlns:c16="http://schemas.microsoft.com/office/drawing/2014/chart" uri="{C3380CC4-5D6E-409C-BE32-E72D297353CC}">
                <c16:uniqueId val="{00000C49-61F5-407B-959D-D24239F5BB85}"/>
              </c:ext>
            </c:extLst>
          </c:dPt>
          <c:dPt>
            <c:idx val="1572"/>
            <c:invertIfNegative val="1"/>
            <c:bubble3D val="0"/>
            <c:spPr>
              <a:solidFill>
                <a:srgbClr val="AEABAB"/>
              </a:solidFill>
            </c:spPr>
            <c:extLst>
              <c:ext xmlns:c16="http://schemas.microsoft.com/office/drawing/2014/chart" uri="{C3380CC4-5D6E-409C-BE32-E72D297353CC}">
                <c16:uniqueId val="{00000C4B-61F5-407B-959D-D24239F5BB85}"/>
              </c:ext>
            </c:extLst>
          </c:dPt>
          <c:dPt>
            <c:idx val="1573"/>
            <c:invertIfNegative val="1"/>
            <c:bubble3D val="0"/>
            <c:spPr>
              <a:solidFill>
                <a:srgbClr val="AEABAB"/>
              </a:solidFill>
            </c:spPr>
            <c:extLst>
              <c:ext xmlns:c16="http://schemas.microsoft.com/office/drawing/2014/chart" uri="{C3380CC4-5D6E-409C-BE32-E72D297353CC}">
                <c16:uniqueId val="{00000C4D-61F5-407B-959D-D24239F5BB85}"/>
              </c:ext>
            </c:extLst>
          </c:dPt>
          <c:dPt>
            <c:idx val="1574"/>
            <c:invertIfNegative val="1"/>
            <c:bubble3D val="0"/>
            <c:spPr>
              <a:solidFill>
                <a:srgbClr val="AEABAB"/>
              </a:solidFill>
            </c:spPr>
            <c:extLst>
              <c:ext xmlns:c16="http://schemas.microsoft.com/office/drawing/2014/chart" uri="{C3380CC4-5D6E-409C-BE32-E72D297353CC}">
                <c16:uniqueId val="{00000C4F-61F5-407B-959D-D24239F5BB85}"/>
              </c:ext>
            </c:extLst>
          </c:dPt>
          <c:dPt>
            <c:idx val="1575"/>
            <c:invertIfNegative val="1"/>
            <c:bubble3D val="0"/>
            <c:spPr>
              <a:solidFill>
                <a:srgbClr val="AEABAB"/>
              </a:solidFill>
            </c:spPr>
            <c:extLst>
              <c:ext xmlns:c16="http://schemas.microsoft.com/office/drawing/2014/chart" uri="{C3380CC4-5D6E-409C-BE32-E72D297353CC}">
                <c16:uniqueId val="{00000C51-61F5-407B-959D-D24239F5BB85}"/>
              </c:ext>
            </c:extLst>
          </c:dPt>
          <c:dPt>
            <c:idx val="1576"/>
            <c:invertIfNegative val="1"/>
            <c:bubble3D val="0"/>
            <c:spPr>
              <a:solidFill>
                <a:srgbClr val="AEABAB"/>
              </a:solidFill>
            </c:spPr>
            <c:extLst>
              <c:ext xmlns:c16="http://schemas.microsoft.com/office/drawing/2014/chart" uri="{C3380CC4-5D6E-409C-BE32-E72D297353CC}">
                <c16:uniqueId val="{00000C53-61F5-407B-959D-D24239F5BB85}"/>
              </c:ext>
            </c:extLst>
          </c:dPt>
          <c:dPt>
            <c:idx val="1577"/>
            <c:invertIfNegative val="1"/>
            <c:bubble3D val="0"/>
            <c:spPr>
              <a:solidFill>
                <a:srgbClr val="AEABAB"/>
              </a:solidFill>
            </c:spPr>
            <c:extLst>
              <c:ext xmlns:c16="http://schemas.microsoft.com/office/drawing/2014/chart" uri="{C3380CC4-5D6E-409C-BE32-E72D297353CC}">
                <c16:uniqueId val="{00000C55-61F5-407B-959D-D24239F5BB85}"/>
              </c:ext>
            </c:extLst>
          </c:dPt>
          <c:dPt>
            <c:idx val="1578"/>
            <c:invertIfNegative val="1"/>
            <c:bubble3D val="0"/>
            <c:spPr>
              <a:solidFill>
                <a:srgbClr val="AEABAB"/>
              </a:solidFill>
            </c:spPr>
            <c:extLst>
              <c:ext xmlns:c16="http://schemas.microsoft.com/office/drawing/2014/chart" uri="{C3380CC4-5D6E-409C-BE32-E72D297353CC}">
                <c16:uniqueId val="{00000C57-61F5-407B-959D-D24239F5BB85}"/>
              </c:ext>
            </c:extLst>
          </c:dPt>
          <c:dPt>
            <c:idx val="1579"/>
            <c:invertIfNegative val="1"/>
            <c:bubble3D val="0"/>
            <c:spPr>
              <a:solidFill>
                <a:srgbClr val="AEABAB"/>
              </a:solidFill>
            </c:spPr>
            <c:extLst>
              <c:ext xmlns:c16="http://schemas.microsoft.com/office/drawing/2014/chart" uri="{C3380CC4-5D6E-409C-BE32-E72D297353CC}">
                <c16:uniqueId val="{00000C59-61F5-407B-959D-D24239F5BB85}"/>
              </c:ext>
            </c:extLst>
          </c:dPt>
          <c:dPt>
            <c:idx val="1580"/>
            <c:invertIfNegative val="1"/>
            <c:bubble3D val="0"/>
            <c:spPr>
              <a:solidFill>
                <a:srgbClr val="AEABAB"/>
              </a:solidFill>
            </c:spPr>
            <c:extLst>
              <c:ext xmlns:c16="http://schemas.microsoft.com/office/drawing/2014/chart" uri="{C3380CC4-5D6E-409C-BE32-E72D297353CC}">
                <c16:uniqueId val="{00000C5B-61F5-407B-959D-D24239F5BB85}"/>
              </c:ext>
            </c:extLst>
          </c:dPt>
          <c:dPt>
            <c:idx val="1581"/>
            <c:invertIfNegative val="1"/>
            <c:bubble3D val="0"/>
            <c:spPr>
              <a:solidFill>
                <a:srgbClr val="AEABAB"/>
              </a:solidFill>
            </c:spPr>
            <c:extLst>
              <c:ext xmlns:c16="http://schemas.microsoft.com/office/drawing/2014/chart" uri="{C3380CC4-5D6E-409C-BE32-E72D297353CC}">
                <c16:uniqueId val="{00000C5D-61F5-407B-959D-D24239F5BB85}"/>
              </c:ext>
            </c:extLst>
          </c:dPt>
          <c:dPt>
            <c:idx val="1582"/>
            <c:invertIfNegative val="1"/>
            <c:bubble3D val="0"/>
            <c:spPr>
              <a:solidFill>
                <a:srgbClr val="AEABAB"/>
              </a:solidFill>
            </c:spPr>
            <c:extLst>
              <c:ext xmlns:c16="http://schemas.microsoft.com/office/drawing/2014/chart" uri="{C3380CC4-5D6E-409C-BE32-E72D297353CC}">
                <c16:uniqueId val="{00000C5F-61F5-407B-959D-D24239F5BB85}"/>
              </c:ext>
            </c:extLst>
          </c:dPt>
          <c:dPt>
            <c:idx val="1583"/>
            <c:invertIfNegative val="1"/>
            <c:bubble3D val="0"/>
            <c:spPr>
              <a:solidFill>
                <a:srgbClr val="AEABAB"/>
              </a:solidFill>
            </c:spPr>
            <c:extLst>
              <c:ext xmlns:c16="http://schemas.microsoft.com/office/drawing/2014/chart" uri="{C3380CC4-5D6E-409C-BE32-E72D297353CC}">
                <c16:uniqueId val="{00000C61-61F5-407B-959D-D24239F5BB85}"/>
              </c:ext>
            </c:extLst>
          </c:dPt>
          <c:dPt>
            <c:idx val="1584"/>
            <c:invertIfNegative val="1"/>
            <c:bubble3D val="0"/>
            <c:spPr>
              <a:solidFill>
                <a:srgbClr val="AEABAB"/>
              </a:solidFill>
            </c:spPr>
            <c:extLst>
              <c:ext xmlns:c16="http://schemas.microsoft.com/office/drawing/2014/chart" uri="{C3380CC4-5D6E-409C-BE32-E72D297353CC}">
                <c16:uniqueId val="{00000C63-61F5-407B-959D-D24239F5BB85}"/>
              </c:ext>
            </c:extLst>
          </c:dPt>
          <c:dPt>
            <c:idx val="1585"/>
            <c:invertIfNegative val="1"/>
            <c:bubble3D val="0"/>
            <c:spPr>
              <a:solidFill>
                <a:srgbClr val="AEABAB"/>
              </a:solidFill>
            </c:spPr>
            <c:extLst>
              <c:ext xmlns:c16="http://schemas.microsoft.com/office/drawing/2014/chart" uri="{C3380CC4-5D6E-409C-BE32-E72D297353CC}">
                <c16:uniqueId val="{00000C65-61F5-407B-959D-D24239F5BB85}"/>
              </c:ext>
            </c:extLst>
          </c:dPt>
          <c:dPt>
            <c:idx val="1586"/>
            <c:invertIfNegative val="1"/>
            <c:bubble3D val="0"/>
            <c:spPr>
              <a:solidFill>
                <a:srgbClr val="AEABAB"/>
              </a:solidFill>
            </c:spPr>
            <c:extLst>
              <c:ext xmlns:c16="http://schemas.microsoft.com/office/drawing/2014/chart" uri="{C3380CC4-5D6E-409C-BE32-E72D297353CC}">
                <c16:uniqueId val="{00000C67-61F5-407B-959D-D24239F5BB85}"/>
              </c:ext>
            </c:extLst>
          </c:dPt>
          <c:dPt>
            <c:idx val="1587"/>
            <c:invertIfNegative val="1"/>
            <c:bubble3D val="0"/>
            <c:spPr>
              <a:solidFill>
                <a:srgbClr val="AEABAB"/>
              </a:solidFill>
            </c:spPr>
            <c:extLst>
              <c:ext xmlns:c16="http://schemas.microsoft.com/office/drawing/2014/chart" uri="{C3380CC4-5D6E-409C-BE32-E72D297353CC}">
                <c16:uniqueId val="{00000C69-61F5-407B-959D-D24239F5BB85}"/>
              </c:ext>
            </c:extLst>
          </c:dPt>
          <c:dPt>
            <c:idx val="1588"/>
            <c:invertIfNegative val="1"/>
            <c:bubble3D val="0"/>
            <c:spPr>
              <a:solidFill>
                <a:srgbClr val="AEABAB"/>
              </a:solidFill>
            </c:spPr>
            <c:extLst>
              <c:ext xmlns:c16="http://schemas.microsoft.com/office/drawing/2014/chart" uri="{C3380CC4-5D6E-409C-BE32-E72D297353CC}">
                <c16:uniqueId val="{00000C6B-61F5-407B-959D-D24239F5BB85}"/>
              </c:ext>
            </c:extLst>
          </c:dPt>
          <c:dPt>
            <c:idx val="1589"/>
            <c:invertIfNegative val="1"/>
            <c:bubble3D val="0"/>
            <c:spPr>
              <a:solidFill>
                <a:srgbClr val="AEABAB"/>
              </a:solidFill>
            </c:spPr>
            <c:extLst>
              <c:ext xmlns:c16="http://schemas.microsoft.com/office/drawing/2014/chart" uri="{C3380CC4-5D6E-409C-BE32-E72D297353CC}">
                <c16:uniqueId val="{00000C6D-61F5-407B-959D-D24239F5BB85}"/>
              </c:ext>
            </c:extLst>
          </c:dPt>
          <c:dPt>
            <c:idx val="1590"/>
            <c:invertIfNegative val="1"/>
            <c:bubble3D val="0"/>
            <c:spPr>
              <a:solidFill>
                <a:srgbClr val="AEABAB"/>
              </a:solidFill>
            </c:spPr>
            <c:extLst>
              <c:ext xmlns:c16="http://schemas.microsoft.com/office/drawing/2014/chart" uri="{C3380CC4-5D6E-409C-BE32-E72D297353CC}">
                <c16:uniqueId val="{00000C6F-61F5-407B-959D-D24239F5BB85}"/>
              </c:ext>
            </c:extLst>
          </c:dPt>
          <c:dPt>
            <c:idx val="1591"/>
            <c:invertIfNegative val="1"/>
            <c:bubble3D val="0"/>
            <c:spPr>
              <a:solidFill>
                <a:srgbClr val="AEABAB"/>
              </a:solidFill>
            </c:spPr>
            <c:extLst>
              <c:ext xmlns:c16="http://schemas.microsoft.com/office/drawing/2014/chart" uri="{C3380CC4-5D6E-409C-BE32-E72D297353CC}">
                <c16:uniqueId val="{00000C71-61F5-407B-959D-D24239F5BB85}"/>
              </c:ext>
            </c:extLst>
          </c:dPt>
          <c:dPt>
            <c:idx val="1592"/>
            <c:invertIfNegative val="1"/>
            <c:bubble3D val="0"/>
            <c:spPr>
              <a:solidFill>
                <a:srgbClr val="AEABAB"/>
              </a:solidFill>
            </c:spPr>
            <c:extLst>
              <c:ext xmlns:c16="http://schemas.microsoft.com/office/drawing/2014/chart" uri="{C3380CC4-5D6E-409C-BE32-E72D297353CC}">
                <c16:uniqueId val="{00000C73-61F5-407B-959D-D24239F5BB85}"/>
              </c:ext>
            </c:extLst>
          </c:dPt>
          <c:dPt>
            <c:idx val="1593"/>
            <c:invertIfNegative val="1"/>
            <c:bubble3D val="0"/>
            <c:spPr>
              <a:solidFill>
                <a:srgbClr val="AEABAB"/>
              </a:solidFill>
            </c:spPr>
            <c:extLst>
              <c:ext xmlns:c16="http://schemas.microsoft.com/office/drawing/2014/chart" uri="{C3380CC4-5D6E-409C-BE32-E72D297353CC}">
                <c16:uniqueId val="{00000C75-61F5-407B-959D-D24239F5BB85}"/>
              </c:ext>
            </c:extLst>
          </c:dPt>
          <c:dPt>
            <c:idx val="1594"/>
            <c:invertIfNegative val="1"/>
            <c:bubble3D val="0"/>
            <c:spPr>
              <a:solidFill>
                <a:srgbClr val="AEABAB"/>
              </a:solidFill>
            </c:spPr>
            <c:extLst>
              <c:ext xmlns:c16="http://schemas.microsoft.com/office/drawing/2014/chart" uri="{C3380CC4-5D6E-409C-BE32-E72D297353CC}">
                <c16:uniqueId val="{00000C77-61F5-407B-959D-D24239F5BB85}"/>
              </c:ext>
            </c:extLst>
          </c:dPt>
          <c:dPt>
            <c:idx val="1595"/>
            <c:invertIfNegative val="1"/>
            <c:bubble3D val="0"/>
            <c:spPr>
              <a:solidFill>
                <a:srgbClr val="AEABAB"/>
              </a:solidFill>
            </c:spPr>
            <c:extLst>
              <c:ext xmlns:c16="http://schemas.microsoft.com/office/drawing/2014/chart" uri="{C3380CC4-5D6E-409C-BE32-E72D297353CC}">
                <c16:uniqueId val="{00000C79-61F5-407B-959D-D24239F5BB85}"/>
              </c:ext>
            </c:extLst>
          </c:dPt>
          <c:dPt>
            <c:idx val="1596"/>
            <c:invertIfNegative val="1"/>
            <c:bubble3D val="0"/>
            <c:spPr>
              <a:solidFill>
                <a:srgbClr val="AEABAB"/>
              </a:solidFill>
            </c:spPr>
            <c:extLst>
              <c:ext xmlns:c16="http://schemas.microsoft.com/office/drawing/2014/chart" uri="{C3380CC4-5D6E-409C-BE32-E72D297353CC}">
                <c16:uniqueId val="{00000C7B-61F5-407B-959D-D24239F5BB85}"/>
              </c:ext>
            </c:extLst>
          </c:dPt>
          <c:dPt>
            <c:idx val="1597"/>
            <c:invertIfNegative val="1"/>
            <c:bubble3D val="0"/>
            <c:spPr>
              <a:solidFill>
                <a:srgbClr val="AEABAB"/>
              </a:solidFill>
            </c:spPr>
            <c:extLst>
              <c:ext xmlns:c16="http://schemas.microsoft.com/office/drawing/2014/chart" uri="{C3380CC4-5D6E-409C-BE32-E72D297353CC}">
                <c16:uniqueId val="{00000C7D-61F5-407B-959D-D24239F5BB85}"/>
              </c:ext>
            </c:extLst>
          </c:dPt>
          <c:dPt>
            <c:idx val="1598"/>
            <c:invertIfNegative val="1"/>
            <c:bubble3D val="0"/>
            <c:spPr>
              <a:solidFill>
                <a:srgbClr val="AEABAB"/>
              </a:solidFill>
            </c:spPr>
            <c:extLst>
              <c:ext xmlns:c16="http://schemas.microsoft.com/office/drawing/2014/chart" uri="{C3380CC4-5D6E-409C-BE32-E72D297353CC}">
                <c16:uniqueId val="{00000C7F-61F5-407B-959D-D24239F5BB85}"/>
              </c:ext>
            </c:extLst>
          </c:dPt>
          <c:dPt>
            <c:idx val="1599"/>
            <c:invertIfNegative val="1"/>
            <c:bubble3D val="0"/>
            <c:spPr>
              <a:solidFill>
                <a:srgbClr val="AEABAB"/>
              </a:solidFill>
            </c:spPr>
            <c:extLst>
              <c:ext xmlns:c16="http://schemas.microsoft.com/office/drawing/2014/chart" uri="{C3380CC4-5D6E-409C-BE32-E72D297353CC}">
                <c16:uniqueId val="{00000C81-61F5-407B-959D-D24239F5BB85}"/>
              </c:ext>
            </c:extLst>
          </c:dPt>
          <c:dPt>
            <c:idx val="1600"/>
            <c:invertIfNegative val="1"/>
            <c:bubble3D val="0"/>
            <c:spPr>
              <a:solidFill>
                <a:srgbClr val="AEABAB"/>
              </a:solidFill>
            </c:spPr>
            <c:extLst>
              <c:ext xmlns:c16="http://schemas.microsoft.com/office/drawing/2014/chart" uri="{C3380CC4-5D6E-409C-BE32-E72D297353CC}">
                <c16:uniqueId val="{00000C83-61F5-407B-959D-D24239F5BB85}"/>
              </c:ext>
            </c:extLst>
          </c:dPt>
          <c:dPt>
            <c:idx val="1601"/>
            <c:invertIfNegative val="1"/>
            <c:bubble3D val="0"/>
            <c:spPr>
              <a:solidFill>
                <a:srgbClr val="AEABAB"/>
              </a:solidFill>
            </c:spPr>
            <c:extLst>
              <c:ext xmlns:c16="http://schemas.microsoft.com/office/drawing/2014/chart" uri="{C3380CC4-5D6E-409C-BE32-E72D297353CC}">
                <c16:uniqueId val="{00000C85-61F5-407B-959D-D24239F5BB85}"/>
              </c:ext>
            </c:extLst>
          </c:dPt>
          <c:dPt>
            <c:idx val="1602"/>
            <c:invertIfNegative val="1"/>
            <c:bubble3D val="0"/>
            <c:spPr>
              <a:solidFill>
                <a:srgbClr val="AEABAB"/>
              </a:solidFill>
            </c:spPr>
            <c:extLst>
              <c:ext xmlns:c16="http://schemas.microsoft.com/office/drawing/2014/chart" uri="{C3380CC4-5D6E-409C-BE32-E72D297353CC}">
                <c16:uniqueId val="{00000C87-61F5-407B-959D-D24239F5BB85}"/>
              </c:ext>
            </c:extLst>
          </c:dPt>
          <c:dPt>
            <c:idx val="1603"/>
            <c:invertIfNegative val="1"/>
            <c:bubble3D val="0"/>
            <c:spPr>
              <a:solidFill>
                <a:srgbClr val="AEABAB"/>
              </a:solidFill>
            </c:spPr>
            <c:extLst>
              <c:ext xmlns:c16="http://schemas.microsoft.com/office/drawing/2014/chart" uri="{C3380CC4-5D6E-409C-BE32-E72D297353CC}">
                <c16:uniqueId val="{00000C89-61F5-407B-959D-D24239F5BB85}"/>
              </c:ext>
            </c:extLst>
          </c:dPt>
          <c:dPt>
            <c:idx val="1604"/>
            <c:invertIfNegative val="1"/>
            <c:bubble3D val="0"/>
            <c:spPr>
              <a:solidFill>
                <a:srgbClr val="AEABAB"/>
              </a:solidFill>
            </c:spPr>
            <c:extLst>
              <c:ext xmlns:c16="http://schemas.microsoft.com/office/drawing/2014/chart" uri="{C3380CC4-5D6E-409C-BE32-E72D297353CC}">
                <c16:uniqueId val="{00000C8B-61F5-407B-959D-D24239F5BB85}"/>
              </c:ext>
            </c:extLst>
          </c:dPt>
          <c:dPt>
            <c:idx val="1605"/>
            <c:invertIfNegative val="1"/>
            <c:bubble3D val="0"/>
            <c:spPr>
              <a:solidFill>
                <a:srgbClr val="AEABAB"/>
              </a:solidFill>
            </c:spPr>
            <c:extLst>
              <c:ext xmlns:c16="http://schemas.microsoft.com/office/drawing/2014/chart" uri="{C3380CC4-5D6E-409C-BE32-E72D297353CC}">
                <c16:uniqueId val="{00000C8D-61F5-407B-959D-D24239F5BB85}"/>
              </c:ext>
            </c:extLst>
          </c:dPt>
          <c:dPt>
            <c:idx val="1606"/>
            <c:invertIfNegative val="1"/>
            <c:bubble3D val="0"/>
            <c:spPr>
              <a:solidFill>
                <a:srgbClr val="AEABAB"/>
              </a:solidFill>
            </c:spPr>
            <c:extLst>
              <c:ext xmlns:c16="http://schemas.microsoft.com/office/drawing/2014/chart" uri="{C3380CC4-5D6E-409C-BE32-E72D297353CC}">
                <c16:uniqueId val="{00000C8F-61F5-407B-959D-D24239F5BB85}"/>
              </c:ext>
            </c:extLst>
          </c:dPt>
          <c:dPt>
            <c:idx val="1607"/>
            <c:invertIfNegative val="1"/>
            <c:bubble3D val="0"/>
            <c:spPr>
              <a:solidFill>
                <a:srgbClr val="AEABAB"/>
              </a:solidFill>
            </c:spPr>
            <c:extLst>
              <c:ext xmlns:c16="http://schemas.microsoft.com/office/drawing/2014/chart" uri="{C3380CC4-5D6E-409C-BE32-E72D297353CC}">
                <c16:uniqueId val="{00000C91-61F5-407B-959D-D24239F5BB85}"/>
              </c:ext>
            </c:extLst>
          </c:dPt>
          <c:dPt>
            <c:idx val="1608"/>
            <c:invertIfNegative val="1"/>
            <c:bubble3D val="0"/>
            <c:spPr>
              <a:solidFill>
                <a:srgbClr val="AEABAB"/>
              </a:solidFill>
            </c:spPr>
            <c:extLst>
              <c:ext xmlns:c16="http://schemas.microsoft.com/office/drawing/2014/chart" uri="{C3380CC4-5D6E-409C-BE32-E72D297353CC}">
                <c16:uniqueId val="{00000C93-61F5-407B-959D-D24239F5BB85}"/>
              </c:ext>
            </c:extLst>
          </c:dPt>
          <c:dPt>
            <c:idx val="1609"/>
            <c:invertIfNegative val="1"/>
            <c:bubble3D val="0"/>
            <c:spPr>
              <a:solidFill>
                <a:srgbClr val="AEABAB"/>
              </a:solidFill>
            </c:spPr>
            <c:extLst>
              <c:ext xmlns:c16="http://schemas.microsoft.com/office/drawing/2014/chart" uri="{C3380CC4-5D6E-409C-BE32-E72D297353CC}">
                <c16:uniqueId val="{00000C95-61F5-407B-959D-D24239F5BB85}"/>
              </c:ext>
            </c:extLst>
          </c:dPt>
          <c:dPt>
            <c:idx val="1610"/>
            <c:invertIfNegative val="1"/>
            <c:bubble3D val="0"/>
            <c:spPr>
              <a:solidFill>
                <a:srgbClr val="AEABAB"/>
              </a:solidFill>
            </c:spPr>
            <c:extLst>
              <c:ext xmlns:c16="http://schemas.microsoft.com/office/drawing/2014/chart" uri="{C3380CC4-5D6E-409C-BE32-E72D297353CC}">
                <c16:uniqueId val="{00000C97-61F5-407B-959D-D24239F5BB85}"/>
              </c:ext>
            </c:extLst>
          </c:dPt>
          <c:dPt>
            <c:idx val="1611"/>
            <c:invertIfNegative val="1"/>
            <c:bubble3D val="0"/>
            <c:spPr>
              <a:solidFill>
                <a:srgbClr val="AEABAB"/>
              </a:solidFill>
            </c:spPr>
            <c:extLst>
              <c:ext xmlns:c16="http://schemas.microsoft.com/office/drawing/2014/chart" uri="{C3380CC4-5D6E-409C-BE32-E72D297353CC}">
                <c16:uniqueId val="{00000C99-61F5-407B-959D-D24239F5BB85}"/>
              </c:ext>
            </c:extLst>
          </c:dPt>
          <c:dPt>
            <c:idx val="1612"/>
            <c:invertIfNegative val="1"/>
            <c:bubble3D val="0"/>
            <c:spPr>
              <a:solidFill>
                <a:srgbClr val="AEABAB"/>
              </a:solidFill>
            </c:spPr>
            <c:extLst>
              <c:ext xmlns:c16="http://schemas.microsoft.com/office/drawing/2014/chart" uri="{C3380CC4-5D6E-409C-BE32-E72D297353CC}">
                <c16:uniqueId val="{00000C9B-61F5-407B-959D-D24239F5BB85}"/>
              </c:ext>
            </c:extLst>
          </c:dPt>
          <c:dPt>
            <c:idx val="1613"/>
            <c:invertIfNegative val="1"/>
            <c:bubble3D val="0"/>
            <c:spPr>
              <a:solidFill>
                <a:srgbClr val="AEABAB"/>
              </a:solidFill>
            </c:spPr>
            <c:extLst>
              <c:ext xmlns:c16="http://schemas.microsoft.com/office/drawing/2014/chart" uri="{C3380CC4-5D6E-409C-BE32-E72D297353CC}">
                <c16:uniqueId val="{00000C9D-61F5-407B-959D-D24239F5BB85}"/>
              </c:ext>
            </c:extLst>
          </c:dPt>
          <c:dPt>
            <c:idx val="1614"/>
            <c:invertIfNegative val="1"/>
            <c:bubble3D val="0"/>
            <c:spPr>
              <a:solidFill>
                <a:srgbClr val="AEABAB"/>
              </a:solidFill>
            </c:spPr>
            <c:extLst>
              <c:ext xmlns:c16="http://schemas.microsoft.com/office/drawing/2014/chart" uri="{C3380CC4-5D6E-409C-BE32-E72D297353CC}">
                <c16:uniqueId val="{00000C9F-61F5-407B-959D-D24239F5BB85}"/>
              </c:ext>
            </c:extLst>
          </c:dPt>
          <c:dPt>
            <c:idx val="1615"/>
            <c:invertIfNegative val="1"/>
            <c:bubble3D val="0"/>
            <c:spPr>
              <a:solidFill>
                <a:srgbClr val="AEABAB"/>
              </a:solidFill>
            </c:spPr>
            <c:extLst>
              <c:ext xmlns:c16="http://schemas.microsoft.com/office/drawing/2014/chart" uri="{C3380CC4-5D6E-409C-BE32-E72D297353CC}">
                <c16:uniqueId val="{00000CA1-61F5-407B-959D-D24239F5BB85}"/>
              </c:ext>
            </c:extLst>
          </c:dPt>
          <c:dPt>
            <c:idx val="1616"/>
            <c:invertIfNegative val="1"/>
            <c:bubble3D val="0"/>
            <c:spPr>
              <a:solidFill>
                <a:srgbClr val="AEABAB"/>
              </a:solidFill>
            </c:spPr>
            <c:extLst>
              <c:ext xmlns:c16="http://schemas.microsoft.com/office/drawing/2014/chart" uri="{C3380CC4-5D6E-409C-BE32-E72D297353CC}">
                <c16:uniqueId val="{00000CA3-61F5-407B-959D-D24239F5BB85}"/>
              </c:ext>
            </c:extLst>
          </c:dPt>
          <c:dPt>
            <c:idx val="1617"/>
            <c:invertIfNegative val="1"/>
            <c:bubble3D val="0"/>
            <c:spPr>
              <a:solidFill>
                <a:srgbClr val="AEABAB"/>
              </a:solidFill>
            </c:spPr>
            <c:extLst>
              <c:ext xmlns:c16="http://schemas.microsoft.com/office/drawing/2014/chart" uri="{C3380CC4-5D6E-409C-BE32-E72D297353CC}">
                <c16:uniqueId val="{00000CA5-61F5-407B-959D-D24239F5BB85}"/>
              </c:ext>
            </c:extLst>
          </c:dPt>
          <c:dPt>
            <c:idx val="1618"/>
            <c:invertIfNegative val="1"/>
            <c:bubble3D val="0"/>
            <c:spPr>
              <a:solidFill>
                <a:srgbClr val="AEABAB"/>
              </a:solidFill>
            </c:spPr>
            <c:extLst>
              <c:ext xmlns:c16="http://schemas.microsoft.com/office/drawing/2014/chart" uri="{C3380CC4-5D6E-409C-BE32-E72D297353CC}">
                <c16:uniqueId val="{00000CA7-61F5-407B-959D-D24239F5BB85}"/>
              </c:ext>
            </c:extLst>
          </c:dPt>
          <c:dPt>
            <c:idx val="1619"/>
            <c:invertIfNegative val="1"/>
            <c:bubble3D val="0"/>
            <c:spPr>
              <a:solidFill>
                <a:srgbClr val="AEABAB"/>
              </a:solidFill>
            </c:spPr>
            <c:extLst>
              <c:ext xmlns:c16="http://schemas.microsoft.com/office/drawing/2014/chart" uri="{C3380CC4-5D6E-409C-BE32-E72D297353CC}">
                <c16:uniqueId val="{00000CA9-61F5-407B-959D-D24239F5BB85}"/>
              </c:ext>
            </c:extLst>
          </c:dPt>
          <c:dPt>
            <c:idx val="1620"/>
            <c:invertIfNegative val="1"/>
            <c:bubble3D val="0"/>
            <c:spPr>
              <a:solidFill>
                <a:srgbClr val="AEABAB"/>
              </a:solidFill>
            </c:spPr>
            <c:extLst>
              <c:ext xmlns:c16="http://schemas.microsoft.com/office/drawing/2014/chart" uri="{C3380CC4-5D6E-409C-BE32-E72D297353CC}">
                <c16:uniqueId val="{00000CAB-61F5-407B-959D-D24239F5BB85}"/>
              </c:ext>
            </c:extLst>
          </c:dPt>
          <c:dPt>
            <c:idx val="1621"/>
            <c:invertIfNegative val="1"/>
            <c:bubble3D val="0"/>
            <c:spPr>
              <a:solidFill>
                <a:srgbClr val="AEABAB"/>
              </a:solidFill>
            </c:spPr>
            <c:extLst>
              <c:ext xmlns:c16="http://schemas.microsoft.com/office/drawing/2014/chart" uri="{C3380CC4-5D6E-409C-BE32-E72D297353CC}">
                <c16:uniqueId val="{00000CAD-61F5-407B-959D-D24239F5BB85}"/>
              </c:ext>
            </c:extLst>
          </c:dPt>
          <c:dPt>
            <c:idx val="1622"/>
            <c:invertIfNegative val="1"/>
            <c:bubble3D val="0"/>
            <c:spPr>
              <a:solidFill>
                <a:srgbClr val="AEABAB"/>
              </a:solidFill>
            </c:spPr>
            <c:extLst>
              <c:ext xmlns:c16="http://schemas.microsoft.com/office/drawing/2014/chart" uri="{C3380CC4-5D6E-409C-BE32-E72D297353CC}">
                <c16:uniqueId val="{00000CAF-61F5-407B-959D-D24239F5BB85}"/>
              </c:ext>
            </c:extLst>
          </c:dPt>
          <c:dPt>
            <c:idx val="1623"/>
            <c:invertIfNegative val="1"/>
            <c:bubble3D val="0"/>
            <c:spPr>
              <a:solidFill>
                <a:srgbClr val="AEABAB"/>
              </a:solidFill>
            </c:spPr>
            <c:extLst>
              <c:ext xmlns:c16="http://schemas.microsoft.com/office/drawing/2014/chart" uri="{C3380CC4-5D6E-409C-BE32-E72D297353CC}">
                <c16:uniqueId val="{00000CB1-61F5-407B-959D-D24239F5BB85}"/>
              </c:ext>
            </c:extLst>
          </c:dPt>
          <c:dPt>
            <c:idx val="1624"/>
            <c:invertIfNegative val="1"/>
            <c:bubble3D val="0"/>
            <c:spPr>
              <a:solidFill>
                <a:srgbClr val="AEABAB"/>
              </a:solidFill>
            </c:spPr>
            <c:extLst>
              <c:ext xmlns:c16="http://schemas.microsoft.com/office/drawing/2014/chart" uri="{C3380CC4-5D6E-409C-BE32-E72D297353CC}">
                <c16:uniqueId val="{00000CB3-61F5-407B-959D-D24239F5BB85}"/>
              </c:ext>
            </c:extLst>
          </c:dPt>
          <c:dPt>
            <c:idx val="1625"/>
            <c:invertIfNegative val="1"/>
            <c:bubble3D val="0"/>
            <c:spPr>
              <a:solidFill>
                <a:srgbClr val="AEABAB"/>
              </a:solidFill>
            </c:spPr>
            <c:extLst>
              <c:ext xmlns:c16="http://schemas.microsoft.com/office/drawing/2014/chart" uri="{C3380CC4-5D6E-409C-BE32-E72D297353CC}">
                <c16:uniqueId val="{00000CB5-61F5-407B-959D-D24239F5BB85}"/>
              </c:ext>
            </c:extLst>
          </c:dPt>
          <c:dPt>
            <c:idx val="1626"/>
            <c:invertIfNegative val="1"/>
            <c:bubble3D val="0"/>
            <c:spPr>
              <a:solidFill>
                <a:srgbClr val="AEABAB"/>
              </a:solidFill>
            </c:spPr>
            <c:extLst>
              <c:ext xmlns:c16="http://schemas.microsoft.com/office/drawing/2014/chart" uri="{C3380CC4-5D6E-409C-BE32-E72D297353CC}">
                <c16:uniqueId val="{00000CB7-61F5-407B-959D-D24239F5BB85}"/>
              </c:ext>
            </c:extLst>
          </c:dPt>
          <c:dPt>
            <c:idx val="1627"/>
            <c:invertIfNegative val="1"/>
            <c:bubble3D val="0"/>
            <c:spPr>
              <a:solidFill>
                <a:srgbClr val="AEABAB"/>
              </a:solidFill>
            </c:spPr>
            <c:extLst>
              <c:ext xmlns:c16="http://schemas.microsoft.com/office/drawing/2014/chart" uri="{C3380CC4-5D6E-409C-BE32-E72D297353CC}">
                <c16:uniqueId val="{00000CB9-61F5-407B-959D-D24239F5BB85}"/>
              </c:ext>
            </c:extLst>
          </c:dPt>
          <c:dPt>
            <c:idx val="1628"/>
            <c:invertIfNegative val="1"/>
            <c:bubble3D val="0"/>
            <c:spPr>
              <a:solidFill>
                <a:srgbClr val="AEABAB"/>
              </a:solidFill>
            </c:spPr>
            <c:extLst>
              <c:ext xmlns:c16="http://schemas.microsoft.com/office/drawing/2014/chart" uri="{C3380CC4-5D6E-409C-BE32-E72D297353CC}">
                <c16:uniqueId val="{00000CBB-61F5-407B-959D-D24239F5BB85}"/>
              </c:ext>
            </c:extLst>
          </c:dPt>
          <c:dPt>
            <c:idx val="1629"/>
            <c:invertIfNegative val="1"/>
            <c:bubble3D val="0"/>
            <c:spPr>
              <a:solidFill>
                <a:srgbClr val="AEABAB"/>
              </a:solidFill>
            </c:spPr>
            <c:extLst>
              <c:ext xmlns:c16="http://schemas.microsoft.com/office/drawing/2014/chart" uri="{C3380CC4-5D6E-409C-BE32-E72D297353CC}">
                <c16:uniqueId val="{00000CBD-61F5-407B-959D-D24239F5BB85}"/>
              </c:ext>
            </c:extLst>
          </c:dPt>
          <c:dPt>
            <c:idx val="1630"/>
            <c:invertIfNegative val="1"/>
            <c:bubble3D val="0"/>
            <c:spPr>
              <a:solidFill>
                <a:srgbClr val="AEABAB"/>
              </a:solidFill>
            </c:spPr>
            <c:extLst>
              <c:ext xmlns:c16="http://schemas.microsoft.com/office/drawing/2014/chart" uri="{C3380CC4-5D6E-409C-BE32-E72D297353CC}">
                <c16:uniqueId val="{00000CBF-61F5-407B-959D-D24239F5BB85}"/>
              </c:ext>
            </c:extLst>
          </c:dPt>
          <c:dPt>
            <c:idx val="1631"/>
            <c:invertIfNegative val="1"/>
            <c:bubble3D val="0"/>
            <c:spPr>
              <a:solidFill>
                <a:srgbClr val="AEABAB"/>
              </a:solidFill>
            </c:spPr>
            <c:extLst>
              <c:ext xmlns:c16="http://schemas.microsoft.com/office/drawing/2014/chart" uri="{C3380CC4-5D6E-409C-BE32-E72D297353CC}">
                <c16:uniqueId val="{00000CC1-61F5-407B-959D-D24239F5BB85}"/>
              </c:ext>
            </c:extLst>
          </c:dPt>
          <c:dPt>
            <c:idx val="1632"/>
            <c:invertIfNegative val="1"/>
            <c:bubble3D val="0"/>
            <c:spPr>
              <a:solidFill>
                <a:srgbClr val="AEABAB"/>
              </a:solidFill>
            </c:spPr>
            <c:extLst>
              <c:ext xmlns:c16="http://schemas.microsoft.com/office/drawing/2014/chart" uri="{C3380CC4-5D6E-409C-BE32-E72D297353CC}">
                <c16:uniqueId val="{00000CC3-61F5-407B-959D-D24239F5BB85}"/>
              </c:ext>
            </c:extLst>
          </c:dPt>
          <c:dPt>
            <c:idx val="1633"/>
            <c:invertIfNegative val="1"/>
            <c:bubble3D val="0"/>
            <c:spPr>
              <a:solidFill>
                <a:srgbClr val="AEABAB"/>
              </a:solidFill>
            </c:spPr>
            <c:extLst>
              <c:ext xmlns:c16="http://schemas.microsoft.com/office/drawing/2014/chart" uri="{C3380CC4-5D6E-409C-BE32-E72D297353CC}">
                <c16:uniqueId val="{00000CC5-61F5-407B-959D-D24239F5BB85}"/>
              </c:ext>
            </c:extLst>
          </c:dPt>
          <c:dPt>
            <c:idx val="1634"/>
            <c:invertIfNegative val="1"/>
            <c:bubble3D val="0"/>
            <c:spPr>
              <a:solidFill>
                <a:srgbClr val="AEABAB"/>
              </a:solidFill>
            </c:spPr>
            <c:extLst>
              <c:ext xmlns:c16="http://schemas.microsoft.com/office/drawing/2014/chart" uri="{C3380CC4-5D6E-409C-BE32-E72D297353CC}">
                <c16:uniqueId val="{00000CC7-61F5-407B-959D-D24239F5BB85}"/>
              </c:ext>
            </c:extLst>
          </c:dPt>
          <c:dPt>
            <c:idx val="1635"/>
            <c:invertIfNegative val="1"/>
            <c:bubble3D val="0"/>
            <c:spPr>
              <a:solidFill>
                <a:srgbClr val="AEABAB"/>
              </a:solidFill>
            </c:spPr>
            <c:extLst>
              <c:ext xmlns:c16="http://schemas.microsoft.com/office/drawing/2014/chart" uri="{C3380CC4-5D6E-409C-BE32-E72D297353CC}">
                <c16:uniqueId val="{00000CC9-61F5-407B-959D-D24239F5BB85}"/>
              </c:ext>
            </c:extLst>
          </c:dPt>
          <c:dPt>
            <c:idx val="1636"/>
            <c:invertIfNegative val="1"/>
            <c:bubble3D val="0"/>
            <c:spPr>
              <a:solidFill>
                <a:srgbClr val="AEABAB"/>
              </a:solidFill>
            </c:spPr>
            <c:extLst>
              <c:ext xmlns:c16="http://schemas.microsoft.com/office/drawing/2014/chart" uri="{C3380CC4-5D6E-409C-BE32-E72D297353CC}">
                <c16:uniqueId val="{00000CCB-61F5-407B-959D-D24239F5BB85}"/>
              </c:ext>
            </c:extLst>
          </c:dPt>
          <c:dPt>
            <c:idx val="1637"/>
            <c:invertIfNegative val="1"/>
            <c:bubble3D val="0"/>
            <c:spPr>
              <a:solidFill>
                <a:srgbClr val="AEABAB"/>
              </a:solidFill>
            </c:spPr>
            <c:extLst>
              <c:ext xmlns:c16="http://schemas.microsoft.com/office/drawing/2014/chart" uri="{C3380CC4-5D6E-409C-BE32-E72D297353CC}">
                <c16:uniqueId val="{00000CCD-61F5-407B-959D-D24239F5BB85}"/>
              </c:ext>
            </c:extLst>
          </c:dPt>
          <c:dPt>
            <c:idx val="1638"/>
            <c:invertIfNegative val="1"/>
            <c:bubble3D val="0"/>
            <c:spPr>
              <a:solidFill>
                <a:srgbClr val="AEABAB"/>
              </a:solidFill>
            </c:spPr>
            <c:extLst>
              <c:ext xmlns:c16="http://schemas.microsoft.com/office/drawing/2014/chart" uri="{C3380CC4-5D6E-409C-BE32-E72D297353CC}">
                <c16:uniqueId val="{00000CCF-61F5-407B-959D-D24239F5BB85}"/>
              </c:ext>
            </c:extLst>
          </c:dPt>
          <c:dPt>
            <c:idx val="1639"/>
            <c:invertIfNegative val="1"/>
            <c:bubble3D val="0"/>
            <c:spPr>
              <a:solidFill>
                <a:srgbClr val="AEABAB"/>
              </a:solidFill>
            </c:spPr>
            <c:extLst>
              <c:ext xmlns:c16="http://schemas.microsoft.com/office/drawing/2014/chart" uri="{C3380CC4-5D6E-409C-BE32-E72D297353CC}">
                <c16:uniqueId val="{00000CD1-61F5-407B-959D-D24239F5BB85}"/>
              </c:ext>
            </c:extLst>
          </c:dPt>
          <c:dPt>
            <c:idx val="1640"/>
            <c:invertIfNegative val="1"/>
            <c:bubble3D val="0"/>
            <c:spPr>
              <a:solidFill>
                <a:srgbClr val="AEABAB"/>
              </a:solidFill>
            </c:spPr>
            <c:extLst>
              <c:ext xmlns:c16="http://schemas.microsoft.com/office/drawing/2014/chart" uri="{C3380CC4-5D6E-409C-BE32-E72D297353CC}">
                <c16:uniqueId val="{00000CD3-61F5-407B-959D-D24239F5BB85}"/>
              </c:ext>
            </c:extLst>
          </c:dPt>
          <c:dPt>
            <c:idx val="1641"/>
            <c:invertIfNegative val="1"/>
            <c:bubble3D val="0"/>
            <c:spPr>
              <a:solidFill>
                <a:srgbClr val="AEABAB"/>
              </a:solidFill>
            </c:spPr>
            <c:extLst>
              <c:ext xmlns:c16="http://schemas.microsoft.com/office/drawing/2014/chart" uri="{C3380CC4-5D6E-409C-BE32-E72D297353CC}">
                <c16:uniqueId val="{00000CD5-61F5-407B-959D-D24239F5BB85}"/>
              </c:ext>
            </c:extLst>
          </c:dPt>
          <c:dPt>
            <c:idx val="1642"/>
            <c:invertIfNegative val="1"/>
            <c:bubble3D val="0"/>
            <c:spPr>
              <a:solidFill>
                <a:srgbClr val="AEABAB"/>
              </a:solidFill>
            </c:spPr>
            <c:extLst>
              <c:ext xmlns:c16="http://schemas.microsoft.com/office/drawing/2014/chart" uri="{C3380CC4-5D6E-409C-BE32-E72D297353CC}">
                <c16:uniqueId val="{00000CD7-61F5-407B-959D-D24239F5BB85}"/>
              </c:ext>
            </c:extLst>
          </c:dPt>
          <c:dPt>
            <c:idx val="1643"/>
            <c:invertIfNegative val="1"/>
            <c:bubble3D val="0"/>
            <c:spPr>
              <a:solidFill>
                <a:srgbClr val="AEABAB"/>
              </a:solidFill>
            </c:spPr>
            <c:extLst>
              <c:ext xmlns:c16="http://schemas.microsoft.com/office/drawing/2014/chart" uri="{C3380CC4-5D6E-409C-BE32-E72D297353CC}">
                <c16:uniqueId val="{00000CD9-61F5-407B-959D-D24239F5BB85}"/>
              </c:ext>
            </c:extLst>
          </c:dPt>
          <c:dPt>
            <c:idx val="1644"/>
            <c:invertIfNegative val="1"/>
            <c:bubble3D val="0"/>
            <c:spPr>
              <a:solidFill>
                <a:srgbClr val="AEABAB"/>
              </a:solidFill>
            </c:spPr>
            <c:extLst>
              <c:ext xmlns:c16="http://schemas.microsoft.com/office/drawing/2014/chart" uri="{C3380CC4-5D6E-409C-BE32-E72D297353CC}">
                <c16:uniqueId val="{00000CDB-61F5-407B-959D-D24239F5BB85}"/>
              </c:ext>
            </c:extLst>
          </c:dPt>
          <c:dPt>
            <c:idx val="1645"/>
            <c:invertIfNegative val="1"/>
            <c:bubble3D val="0"/>
            <c:spPr>
              <a:solidFill>
                <a:srgbClr val="AEABAB"/>
              </a:solidFill>
            </c:spPr>
            <c:extLst>
              <c:ext xmlns:c16="http://schemas.microsoft.com/office/drawing/2014/chart" uri="{C3380CC4-5D6E-409C-BE32-E72D297353CC}">
                <c16:uniqueId val="{00000CDD-61F5-407B-959D-D24239F5BB85}"/>
              </c:ext>
            </c:extLst>
          </c:dPt>
          <c:dPt>
            <c:idx val="1646"/>
            <c:invertIfNegative val="1"/>
            <c:bubble3D val="0"/>
            <c:spPr>
              <a:solidFill>
                <a:srgbClr val="AEABAB"/>
              </a:solidFill>
            </c:spPr>
            <c:extLst>
              <c:ext xmlns:c16="http://schemas.microsoft.com/office/drawing/2014/chart" uri="{C3380CC4-5D6E-409C-BE32-E72D297353CC}">
                <c16:uniqueId val="{00000CDF-61F5-407B-959D-D24239F5BB85}"/>
              </c:ext>
            </c:extLst>
          </c:dPt>
          <c:dPt>
            <c:idx val="1647"/>
            <c:invertIfNegative val="1"/>
            <c:bubble3D val="0"/>
            <c:spPr>
              <a:solidFill>
                <a:srgbClr val="AEABAB"/>
              </a:solidFill>
            </c:spPr>
            <c:extLst>
              <c:ext xmlns:c16="http://schemas.microsoft.com/office/drawing/2014/chart" uri="{C3380CC4-5D6E-409C-BE32-E72D297353CC}">
                <c16:uniqueId val="{00000CE1-61F5-407B-959D-D24239F5BB85}"/>
              </c:ext>
            </c:extLst>
          </c:dPt>
          <c:dPt>
            <c:idx val="1648"/>
            <c:invertIfNegative val="1"/>
            <c:bubble3D val="0"/>
            <c:spPr>
              <a:solidFill>
                <a:srgbClr val="AEABAB"/>
              </a:solidFill>
            </c:spPr>
            <c:extLst>
              <c:ext xmlns:c16="http://schemas.microsoft.com/office/drawing/2014/chart" uri="{C3380CC4-5D6E-409C-BE32-E72D297353CC}">
                <c16:uniqueId val="{00000CE3-61F5-407B-959D-D24239F5BB85}"/>
              </c:ext>
            </c:extLst>
          </c:dPt>
          <c:dPt>
            <c:idx val="1649"/>
            <c:invertIfNegative val="1"/>
            <c:bubble3D val="0"/>
            <c:spPr>
              <a:solidFill>
                <a:srgbClr val="AEABAB"/>
              </a:solidFill>
            </c:spPr>
            <c:extLst>
              <c:ext xmlns:c16="http://schemas.microsoft.com/office/drawing/2014/chart" uri="{C3380CC4-5D6E-409C-BE32-E72D297353CC}">
                <c16:uniqueId val="{00000CE5-61F5-407B-959D-D24239F5BB85}"/>
              </c:ext>
            </c:extLst>
          </c:dPt>
          <c:dPt>
            <c:idx val="1650"/>
            <c:invertIfNegative val="1"/>
            <c:bubble3D val="0"/>
            <c:spPr>
              <a:solidFill>
                <a:srgbClr val="AEABAB"/>
              </a:solidFill>
            </c:spPr>
            <c:extLst>
              <c:ext xmlns:c16="http://schemas.microsoft.com/office/drawing/2014/chart" uri="{C3380CC4-5D6E-409C-BE32-E72D297353CC}">
                <c16:uniqueId val="{00000CE7-61F5-407B-959D-D24239F5BB85}"/>
              </c:ext>
            </c:extLst>
          </c:dPt>
          <c:dPt>
            <c:idx val="1651"/>
            <c:invertIfNegative val="1"/>
            <c:bubble3D val="0"/>
            <c:spPr>
              <a:solidFill>
                <a:srgbClr val="AEABAB"/>
              </a:solidFill>
            </c:spPr>
            <c:extLst>
              <c:ext xmlns:c16="http://schemas.microsoft.com/office/drawing/2014/chart" uri="{C3380CC4-5D6E-409C-BE32-E72D297353CC}">
                <c16:uniqueId val="{00000CE9-61F5-407B-959D-D24239F5BB85}"/>
              </c:ext>
            </c:extLst>
          </c:dPt>
          <c:dPt>
            <c:idx val="1652"/>
            <c:invertIfNegative val="1"/>
            <c:bubble3D val="0"/>
            <c:spPr>
              <a:solidFill>
                <a:srgbClr val="AEABAB"/>
              </a:solidFill>
            </c:spPr>
            <c:extLst>
              <c:ext xmlns:c16="http://schemas.microsoft.com/office/drawing/2014/chart" uri="{C3380CC4-5D6E-409C-BE32-E72D297353CC}">
                <c16:uniqueId val="{00000CEB-61F5-407B-959D-D24239F5BB85}"/>
              </c:ext>
            </c:extLst>
          </c:dPt>
          <c:dPt>
            <c:idx val="1653"/>
            <c:invertIfNegative val="1"/>
            <c:bubble3D val="0"/>
            <c:spPr>
              <a:solidFill>
                <a:srgbClr val="AEABAB"/>
              </a:solidFill>
            </c:spPr>
            <c:extLst>
              <c:ext xmlns:c16="http://schemas.microsoft.com/office/drawing/2014/chart" uri="{C3380CC4-5D6E-409C-BE32-E72D297353CC}">
                <c16:uniqueId val="{00000CED-61F5-407B-959D-D24239F5BB85}"/>
              </c:ext>
            </c:extLst>
          </c:dPt>
          <c:dPt>
            <c:idx val="1654"/>
            <c:invertIfNegative val="1"/>
            <c:bubble3D val="0"/>
            <c:spPr>
              <a:solidFill>
                <a:srgbClr val="AEABAB"/>
              </a:solidFill>
            </c:spPr>
            <c:extLst>
              <c:ext xmlns:c16="http://schemas.microsoft.com/office/drawing/2014/chart" uri="{C3380CC4-5D6E-409C-BE32-E72D297353CC}">
                <c16:uniqueId val="{00000CEF-61F5-407B-959D-D24239F5BB85}"/>
              </c:ext>
            </c:extLst>
          </c:dPt>
          <c:dPt>
            <c:idx val="1655"/>
            <c:invertIfNegative val="1"/>
            <c:bubble3D val="0"/>
            <c:spPr>
              <a:solidFill>
                <a:srgbClr val="AEABAB"/>
              </a:solidFill>
            </c:spPr>
            <c:extLst>
              <c:ext xmlns:c16="http://schemas.microsoft.com/office/drawing/2014/chart" uri="{C3380CC4-5D6E-409C-BE32-E72D297353CC}">
                <c16:uniqueId val="{00000CF1-61F5-407B-959D-D24239F5BB85}"/>
              </c:ext>
            </c:extLst>
          </c:dPt>
          <c:dPt>
            <c:idx val="1656"/>
            <c:invertIfNegative val="1"/>
            <c:bubble3D val="0"/>
            <c:spPr>
              <a:solidFill>
                <a:srgbClr val="AEABAB"/>
              </a:solidFill>
            </c:spPr>
            <c:extLst>
              <c:ext xmlns:c16="http://schemas.microsoft.com/office/drawing/2014/chart" uri="{C3380CC4-5D6E-409C-BE32-E72D297353CC}">
                <c16:uniqueId val="{00000CF3-61F5-407B-959D-D24239F5BB85}"/>
              </c:ext>
            </c:extLst>
          </c:dPt>
          <c:dPt>
            <c:idx val="1657"/>
            <c:invertIfNegative val="1"/>
            <c:bubble3D val="0"/>
            <c:spPr>
              <a:solidFill>
                <a:srgbClr val="AEABAB"/>
              </a:solidFill>
            </c:spPr>
            <c:extLst>
              <c:ext xmlns:c16="http://schemas.microsoft.com/office/drawing/2014/chart" uri="{C3380CC4-5D6E-409C-BE32-E72D297353CC}">
                <c16:uniqueId val="{00000CF5-61F5-407B-959D-D24239F5BB85}"/>
              </c:ext>
            </c:extLst>
          </c:dPt>
          <c:dPt>
            <c:idx val="1658"/>
            <c:invertIfNegative val="1"/>
            <c:bubble3D val="0"/>
            <c:spPr>
              <a:solidFill>
                <a:srgbClr val="AEABAB"/>
              </a:solidFill>
            </c:spPr>
            <c:extLst>
              <c:ext xmlns:c16="http://schemas.microsoft.com/office/drawing/2014/chart" uri="{C3380CC4-5D6E-409C-BE32-E72D297353CC}">
                <c16:uniqueId val="{00000CF7-61F5-407B-959D-D24239F5BB85}"/>
              </c:ext>
            </c:extLst>
          </c:dPt>
          <c:dPt>
            <c:idx val="1659"/>
            <c:invertIfNegative val="1"/>
            <c:bubble3D val="0"/>
            <c:spPr>
              <a:solidFill>
                <a:srgbClr val="AEABAB"/>
              </a:solidFill>
            </c:spPr>
            <c:extLst>
              <c:ext xmlns:c16="http://schemas.microsoft.com/office/drawing/2014/chart" uri="{C3380CC4-5D6E-409C-BE32-E72D297353CC}">
                <c16:uniqueId val="{00000CF9-61F5-407B-959D-D24239F5BB85}"/>
              </c:ext>
            </c:extLst>
          </c:dPt>
          <c:dPt>
            <c:idx val="1660"/>
            <c:invertIfNegative val="1"/>
            <c:bubble3D val="0"/>
            <c:spPr>
              <a:solidFill>
                <a:srgbClr val="AEABAB"/>
              </a:solidFill>
            </c:spPr>
            <c:extLst>
              <c:ext xmlns:c16="http://schemas.microsoft.com/office/drawing/2014/chart" uri="{C3380CC4-5D6E-409C-BE32-E72D297353CC}">
                <c16:uniqueId val="{00000CFB-61F5-407B-959D-D24239F5BB85}"/>
              </c:ext>
            </c:extLst>
          </c:dPt>
          <c:dPt>
            <c:idx val="1661"/>
            <c:invertIfNegative val="1"/>
            <c:bubble3D val="0"/>
            <c:spPr>
              <a:solidFill>
                <a:srgbClr val="AEABAB"/>
              </a:solidFill>
            </c:spPr>
            <c:extLst>
              <c:ext xmlns:c16="http://schemas.microsoft.com/office/drawing/2014/chart" uri="{C3380CC4-5D6E-409C-BE32-E72D297353CC}">
                <c16:uniqueId val="{00000CFD-61F5-407B-959D-D24239F5BB85}"/>
              </c:ext>
            </c:extLst>
          </c:dPt>
          <c:dPt>
            <c:idx val="1662"/>
            <c:invertIfNegative val="1"/>
            <c:bubble3D val="0"/>
            <c:spPr>
              <a:solidFill>
                <a:srgbClr val="AEABAB"/>
              </a:solidFill>
            </c:spPr>
            <c:extLst>
              <c:ext xmlns:c16="http://schemas.microsoft.com/office/drawing/2014/chart" uri="{C3380CC4-5D6E-409C-BE32-E72D297353CC}">
                <c16:uniqueId val="{00000CFF-61F5-407B-959D-D24239F5BB85}"/>
              </c:ext>
            </c:extLst>
          </c:dPt>
          <c:dPt>
            <c:idx val="1663"/>
            <c:invertIfNegative val="1"/>
            <c:bubble3D val="0"/>
            <c:spPr>
              <a:solidFill>
                <a:srgbClr val="AEABAB"/>
              </a:solidFill>
            </c:spPr>
            <c:extLst>
              <c:ext xmlns:c16="http://schemas.microsoft.com/office/drawing/2014/chart" uri="{C3380CC4-5D6E-409C-BE32-E72D297353CC}">
                <c16:uniqueId val="{00000D01-61F5-407B-959D-D24239F5BB85}"/>
              </c:ext>
            </c:extLst>
          </c:dPt>
          <c:dPt>
            <c:idx val="1664"/>
            <c:invertIfNegative val="1"/>
            <c:bubble3D val="0"/>
            <c:spPr>
              <a:solidFill>
                <a:srgbClr val="AEABAB"/>
              </a:solidFill>
            </c:spPr>
            <c:extLst>
              <c:ext xmlns:c16="http://schemas.microsoft.com/office/drawing/2014/chart" uri="{C3380CC4-5D6E-409C-BE32-E72D297353CC}">
                <c16:uniqueId val="{00000D03-61F5-407B-959D-D24239F5BB85}"/>
              </c:ext>
            </c:extLst>
          </c:dPt>
          <c:dPt>
            <c:idx val="1665"/>
            <c:invertIfNegative val="1"/>
            <c:bubble3D val="0"/>
            <c:spPr>
              <a:solidFill>
                <a:srgbClr val="AEABAB"/>
              </a:solidFill>
            </c:spPr>
            <c:extLst>
              <c:ext xmlns:c16="http://schemas.microsoft.com/office/drawing/2014/chart" uri="{C3380CC4-5D6E-409C-BE32-E72D297353CC}">
                <c16:uniqueId val="{00000D05-61F5-407B-959D-D24239F5BB85}"/>
              </c:ext>
            </c:extLst>
          </c:dPt>
          <c:dPt>
            <c:idx val="1666"/>
            <c:invertIfNegative val="1"/>
            <c:bubble3D val="0"/>
            <c:spPr>
              <a:solidFill>
                <a:srgbClr val="AEABAB"/>
              </a:solidFill>
            </c:spPr>
            <c:extLst>
              <c:ext xmlns:c16="http://schemas.microsoft.com/office/drawing/2014/chart" uri="{C3380CC4-5D6E-409C-BE32-E72D297353CC}">
                <c16:uniqueId val="{00000D07-61F5-407B-959D-D24239F5BB85}"/>
              </c:ext>
            </c:extLst>
          </c:dPt>
          <c:dPt>
            <c:idx val="1667"/>
            <c:invertIfNegative val="1"/>
            <c:bubble3D val="0"/>
            <c:spPr>
              <a:solidFill>
                <a:srgbClr val="AEABAB"/>
              </a:solidFill>
            </c:spPr>
            <c:extLst>
              <c:ext xmlns:c16="http://schemas.microsoft.com/office/drawing/2014/chart" uri="{C3380CC4-5D6E-409C-BE32-E72D297353CC}">
                <c16:uniqueId val="{00000D09-61F5-407B-959D-D24239F5BB85}"/>
              </c:ext>
            </c:extLst>
          </c:dPt>
          <c:dPt>
            <c:idx val="1668"/>
            <c:invertIfNegative val="1"/>
            <c:bubble3D val="0"/>
            <c:spPr>
              <a:solidFill>
                <a:srgbClr val="AEABAB"/>
              </a:solidFill>
            </c:spPr>
            <c:extLst>
              <c:ext xmlns:c16="http://schemas.microsoft.com/office/drawing/2014/chart" uri="{C3380CC4-5D6E-409C-BE32-E72D297353CC}">
                <c16:uniqueId val="{00000D0B-61F5-407B-959D-D24239F5BB85}"/>
              </c:ext>
            </c:extLst>
          </c:dPt>
          <c:dPt>
            <c:idx val="1669"/>
            <c:invertIfNegative val="1"/>
            <c:bubble3D val="0"/>
            <c:spPr>
              <a:solidFill>
                <a:srgbClr val="AEABAB"/>
              </a:solidFill>
            </c:spPr>
            <c:extLst>
              <c:ext xmlns:c16="http://schemas.microsoft.com/office/drawing/2014/chart" uri="{C3380CC4-5D6E-409C-BE32-E72D297353CC}">
                <c16:uniqueId val="{00000D0D-61F5-407B-959D-D24239F5BB85}"/>
              </c:ext>
            </c:extLst>
          </c:dPt>
          <c:dPt>
            <c:idx val="1670"/>
            <c:invertIfNegative val="1"/>
            <c:bubble3D val="0"/>
            <c:spPr>
              <a:solidFill>
                <a:srgbClr val="AEABAB"/>
              </a:solidFill>
            </c:spPr>
            <c:extLst>
              <c:ext xmlns:c16="http://schemas.microsoft.com/office/drawing/2014/chart" uri="{C3380CC4-5D6E-409C-BE32-E72D297353CC}">
                <c16:uniqueId val="{00000D0F-61F5-407B-959D-D24239F5BB85}"/>
              </c:ext>
            </c:extLst>
          </c:dPt>
          <c:dPt>
            <c:idx val="1671"/>
            <c:invertIfNegative val="1"/>
            <c:bubble3D val="0"/>
            <c:spPr>
              <a:solidFill>
                <a:srgbClr val="AEABAB"/>
              </a:solidFill>
            </c:spPr>
            <c:extLst>
              <c:ext xmlns:c16="http://schemas.microsoft.com/office/drawing/2014/chart" uri="{C3380CC4-5D6E-409C-BE32-E72D297353CC}">
                <c16:uniqueId val="{00000D11-61F5-407B-959D-D24239F5BB85}"/>
              </c:ext>
            </c:extLst>
          </c:dPt>
          <c:dPt>
            <c:idx val="1672"/>
            <c:invertIfNegative val="1"/>
            <c:bubble3D val="0"/>
            <c:spPr>
              <a:solidFill>
                <a:srgbClr val="AEABAB"/>
              </a:solidFill>
            </c:spPr>
            <c:extLst>
              <c:ext xmlns:c16="http://schemas.microsoft.com/office/drawing/2014/chart" uri="{C3380CC4-5D6E-409C-BE32-E72D297353CC}">
                <c16:uniqueId val="{00000D13-61F5-407B-959D-D24239F5BB85}"/>
              </c:ext>
            </c:extLst>
          </c:dPt>
          <c:dPt>
            <c:idx val="1673"/>
            <c:invertIfNegative val="1"/>
            <c:bubble3D val="0"/>
            <c:spPr>
              <a:solidFill>
                <a:srgbClr val="AEABAB"/>
              </a:solidFill>
            </c:spPr>
            <c:extLst>
              <c:ext xmlns:c16="http://schemas.microsoft.com/office/drawing/2014/chart" uri="{C3380CC4-5D6E-409C-BE32-E72D297353CC}">
                <c16:uniqueId val="{00000D15-61F5-407B-959D-D24239F5BB85}"/>
              </c:ext>
            </c:extLst>
          </c:dPt>
          <c:dPt>
            <c:idx val="1674"/>
            <c:invertIfNegative val="1"/>
            <c:bubble3D val="0"/>
            <c:spPr>
              <a:solidFill>
                <a:srgbClr val="AEABAB"/>
              </a:solidFill>
            </c:spPr>
            <c:extLst>
              <c:ext xmlns:c16="http://schemas.microsoft.com/office/drawing/2014/chart" uri="{C3380CC4-5D6E-409C-BE32-E72D297353CC}">
                <c16:uniqueId val="{00000D17-61F5-407B-959D-D24239F5BB85}"/>
              </c:ext>
            </c:extLst>
          </c:dPt>
          <c:dPt>
            <c:idx val="1675"/>
            <c:invertIfNegative val="1"/>
            <c:bubble3D val="0"/>
            <c:spPr>
              <a:solidFill>
                <a:srgbClr val="AEABAB"/>
              </a:solidFill>
            </c:spPr>
            <c:extLst>
              <c:ext xmlns:c16="http://schemas.microsoft.com/office/drawing/2014/chart" uri="{C3380CC4-5D6E-409C-BE32-E72D297353CC}">
                <c16:uniqueId val="{00000D19-61F5-407B-959D-D24239F5BB85}"/>
              </c:ext>
            </c:extLst>
          </c:dPt>
          <c:dPt>
            <c:idx val="1676"/>
            <c:invertIfNegative val="1"/>
            <c:bubble3D val="0"/>
            <c:spPr>
              <a:solidFill>
                <a:srgbClr val="AEABAB"/>
              </a:solidFill>
            </c:spPr>
            <c:extLst>
              <c:ext xmlns:c16="http://schemas.microsoft.com/office/drawing/2014/chart" uri="{C3380CC4-5D6E-409C-BE32-E72D297353CC}">
                <c16:uniqueId val="{00000D1B-61F5-407B-959D-D24239F5BB85}"/>
              </c:ext>
            </c:extLst>
          </c:dPt>
          <c:dPt>
            <c:idx val="1677"/>
            <c:invertIfNegative val="1"/>
            <c:bubble3D val="0"/>
            <c:spPr>
              <a:solidFill>
                <a:srgbClr val="AEABAB"/>
              </a:solidFill>
            </c:spPr>
            <c:extLst>
              <c:ext xmlns:c16="http://schemas.microsoft.com/office/drawing/2014/chart" uri="{C3380CC4-5D6E-409C-BE32-E72D297353CC}">
                <c16:uniqueId val="{00000D1D-61F5-407B-959D-D24239F5BB85}"/>
              </c:ext>
            </c:extLst>
          </c:dPt>
          <c:dPt>
            <c:idx val="1678"/>
            <c:invertIfNegative val="1"/>
            <c:bubble3D val="0"/>
            <c:spPr>
              <a:solidFill>
                <a:srgbClr val="AEABAB"/>
              </a:solidFill>
            </c:spPr>
            <c:extLst>
              <c:ext xmlns:c16="http://schemas.microsoft.com/office/drawing/2014/chart" uri="{C3380CC4-5D6E-409C-BE32-E72D297353CC}">
                <c16:uniqueId val="{00000D1F-61F5-407B-959D-D24239F5BB85}"/>
              </c:ext>
            </c:extLst>
          </c:dPt>
          <c:dPt>
            <c:idx val="1679"/>
            <c:invertIfNegative val="1"/>
            <c:bubble3D val="0"/>
            <c:spPr>
              <a:solidFill>
                <a:srgbClr val="AEABAB"/>
              </a:solidFill>
            </c:spPr>
            <c:extLst>
              <c:ext xmlns:c16="http://schemas.microsoft.com/office/drawing/2014/chart" uri="{C3380CC4-5D6E-409C-BE32-E72D297353CC}">
                <c16:uniqueId val="{00000D21-61F5-407B-959D-D24239F5BB85}"/>
              </c:ext>
            </c:extLst>
          </c:dPt>
          <c:dPt>
            <c:idx val="1680"/>
            <c:invertIfNegative val="1"/>
            <c:bubble3D val="0"/>
            <c:spPr>
              <a:solidFill>
                <a:srgbClr val="AEABAB"/>
              </a:solidFill>
            </c:spPr>
            <c:extLst>
              <c:ext xmlns:c16="http://schemas.microsoft.com/office/drawing/2014/chart" uri="{C3380CC4-5D6E-409C-BE32-E72D297353CC}">
                <c16:uniqueId val="{00000D23-61F5-407B-959D-D24239F5BB85}"/>
              </c:ext>
            </c:extLst>
          </c:dPt>
          <c:dPt>
            <c:idx val="1681"/>
            <c:invertIfNegative val="1"/>
            <c:bubble3D val="0"/>
            <c:spPr>
              <a:solidFill>
                <a:srgbClr val="AEABAB"/>
              </a:solidFill>
            </c:spPr>
            <c:extLst>
              <c:ext xmlns:c16="http://schemas.microsoft.com/office/drawing/2014/chart" uri="{C3380CC4-5D6E-409C-BE32-E72D297353CC}">
                <c16:uniqueId val="{00000D25-61F5-407B-959D-D24239F5BB85}"/>
              </c:ext>
            </c:extLst>
          </c:dPt>
          <c:dPt>
            <c:idx val="1682"/>
            <c:invertIfNegative val="1"/>
            <c:bubble3D val="0"/>
            <c:spPr>
              <a:solidFill>
                <a:srgbClr val="AEABAB"/>
              </a:solidFill>
            </c:spPr>
            <c:extLst>
              <c:ext xmlns:c16="http://schemas.microsoft.com/office/drawing/2014/chart" uri="{C3380CC4-5D6E-409C-BE32-E72D297353CC}">
                <c16:uniqueId val="{00000D27-61F5-407B-959D-D24239F5BB85}"/>
              </c:ext>
            </c:extLst>
          </c:dPt>
          <c:dPt>
            <c:idx val="1683"/>
            <c:invertIfNegative val="1"/>
            <c:bubble3D val="0"/>
            <c:spPr>
              <a:solidFill>
                <a:srgbClr val="AEABAB"/>
              </a:solidFill>
            </c:spPr>
            <c:extLst>
              <c:ext xmlns:c16="http://schemas.microsoft.com/office/drawing/2014/chart" uri="{C3380CC4-5D6E-409C-BE32-E72D297353CC}">
                <c16:uniqueId val="{00000D29-61F5-407B-959D-D24239F5BB85}"/>
              </c:ext>
            </c:extLst>
          </c:dPt>
          <c:dPt>
            <c:idx val="1684"/>
            <c:invertIfNegative val="1"/>
            <c:bubble3D val="0"/>
            <c:spPr>
              <a:solidFill>
                <a:srgbClr val="AEABAB"/>
              </a:solidFill>
            </c:spPr>
            <c:extLst>
              <c:ext xmlns:c16="http://schemas.microsoft.com/office/drawing/2014/chart" uri="{C3380CC4-5D6E-409C-BE32-E72D297353CC}">
                <c16:uniqueId val="{00000D2B-61F5-407B-959D-D24239F5BB85}"/>
              </c:ext>
            </c:extLst>
          </c:dPt>
          <c:dPt>
            <c:idx val="1685"/>
            <c:invertIfNegative val="1"/>
            <c:bubble3D val="0"/>
            <c:spPr>
              <a:solidFill>
                <a:srgbClr val="AEABAB"/>
              </a:solidFill>
            </c:spPr>
            <c:extLst>
              <c:ext xmlns:c16="http://schemas.microsoft.com/office/drawing/2014/chart" uri="{C3380CC4-5D6E-409C-BE32-E72D297353CC}">
                <c16:uniqueId val="{00000D2D-61F5-407B-959D-D24239F5BB85}"/>
              </c:ext>
            </c:extLst>
          </c:dPt>
          <c:dPt>
            <c:idx val="1686"/>
            <c:invertIfNegative val="1"/>
            <c:bubble3D val="0"/>
            <c:spPr>
              <a:solidFill>
                <a:srgbClr val="AEABAB"/>
              </a:solidFill>
            </c:spPr>
            <c:extLst>
              <c:ext xmlns:c16="http://schemas.microsoft.com/office/drawing/2014/chart" uri="{C3380CC4-5D6E-409C-BE32-E72D297353CC}">
                <c16:uniqueId val="{00000D2F-61F5-407B-959D-D24239F5BB85}"/>
              </c:ext>
            </c:extLst>
          </c:dPt>
          <c:dPt>
            <c:idx val="1687"/>
            <c:invertIfNegative val="1"/>
            <c:bubble3D val="0"/>
            <c:spPr>
              <a:solidFill>
                <a:srgbClr val="AEABAB"/>
              </a:solidFill>
            </c:spPr>
            <c:extLst>
              <c:ext xmlns:c16="http://schemas.microsoft.com/office/drawing/2014/chart" uri="{C3380CC4-5D6E-409C-BE32-E72D297353CC}">
                <c16:uniqueId val="{00000D31-61F5-407B-959D-D24239F5BB85}"/>
              </c:ext>
            </c:extLst>
          </c:dPt>
          <c:dPt>
            <c:idx val="1688"/>
            <c:invertIfNegative val="1"/>
            <c:bubble3D val="0"/>
            <c:spPr>
              <a:solidFill>
                <a:srgbClr val="AEABAB"/>
              </a:solidFill>
            </c:spPr>
            <c:extLst>
              <c:ext xmlns:c16="http://schemas.microsoft.com/office/drawing/2014/chart" uri="{C3380CC4-5D6E-409C-BE32-E72D297353CC}">
                <c16:uniqueId val="{00000D33-61F5-407B-959D-D24239F5BB85}"/>
              </c:ext>
            </c:extLst>
          </c:dPt>
          <c:dPt>
            <c:idx val="1689"/>
            <c:invertIfNegative val="1"/>
            <c:bubble3D val="0"/>
            <c:spPr>
              <a:solidFill>
                <a:srgbClr val="AEABAB"/>
              </a:solidFill>
            </c:spPr>
            <c:extLst>
              <c:ext xmlns:c16="http://schemas.microsoft.com/office/drawing/2014/chart" uri="{C3380CC4-5D6E-409C-BE32-E72D297353CC}">
                <c16:uniqueId val="{00000D35-61F5-407B-959D-D24239F5BB85}"/>
              </c:ext>
            </c:extLst>
          </c:dPt>
          <c:dPt>
            <c:idx val="1690"/>
            <c:invertIfNegative val="1"/>
            <c:bubble3D val="0"/>
            <c:spPr>
              <a:solidFill>
                <a:srgbClr val="AEABAB"/>
              </a:solidFill>
            </c:spPr>
            <c:extLst>
              <c:ext xmlns:c16="http://schemas.microsoft.com/office/drawing/2014/chart" uri="{C3380CC4-5D6E-409C-BE32-E72D297353CC}">
                <c16:uniqueId val="{00000D37-61F5-407B-959D-D24239F5BB85}"/>
              </c:ext>
            </c:extLst>
          </c:dPt>
          <c:dPt>
            <c:idx val="1691"/>
            <c:invertIfNegative val="1"/>
            <c:bubble3D val="0"/>
            <c:spPr>
              <a:solidFill>
                <a:srgbClr val="AEABAB"/>
              </a:solidFill>
            </c:spPr>
            <c:extLst>
              <c:ext xmlns:c16="http://schemas.microsoft.com/office/drawing/2014/chart" uri="{C3380CC4-5D6E-409C-BE32-E72D297353CC}">
                <c16:uniqueId val="{00000D39-61F5-407B-959D-D24239F5BB85}"/>
              </c:ext>
            </c:extLst>
          </c:dPt>
          <c:dPt>
            <c:idx val="1692"/>
            <c:invertIfNegative val="1"/>
            <c:bubble3D val="0"/>
            <c:spPr>
              <a:solidFill>
                <a:srgbClr val="AEABAB"/>
              </a:solidFill>
            </c:spPr>
            <c:extLst>
              <c:ext xmlns:c16="http://schemas.microsoft.com/office/drawing/2014/chart" uri="{C3380CC4-5D6E-409C-BE32-E72D297353CC}">
                <c16:uniqueId val="{00000D3B-61F5-407B-959D-D24239F5BB85}"/>
              </c:ext>
            </c:extLst>
          </c:dPt>
          <c:dPt>
            <c:idx val="1693"/>
            <c:invertIfNegative val="1"/>
            <c:bubble3D val="0"/>
            <c:spPr>
              <a:solidFill>
                <a:srgbClr val="AEABAB"/>
              </a:solidFill>
            </c:spPr>
            <c:extLst>
              <c:ext xmlns:c16="http://schemas.microsoft.com/office/drawing/2014/chart" uri="{C3380CC4-5D6E-409C-BE32-E72D297353CC}">
                <c16:uniqueId val="{00000D3D-61F5-407B-959D-D24239F5BB85}"/>
              </c:ext>
            </c:extLst>
          </c:dPt>
          <c:dPt>
            <c:idx val="1694"/>
            <c:invertIfNegative val="1"/>
            <c:bubble3D val="0"/>
            <c:spPr>
              <a:solidFill>
                <a:srgbClr val="AEABAB"/>
              </a:solidFill>
            </c:spPr>
            <c:extLst>
              <c:ext xmlns:c16="http://schemas.microsoft.com/office/drawing/2014/chart" uri="{C3380CC4-5D6E-409C-BE32-E72D297353CC}">
                <c16:uniqueId val="{00000D3F-61F5-407B-959D-D24239F5BB85}"/>
              </c:ext>
            </c:extLst>
          </c:dPt>
          <c:dPt>
            <c:idx val="1695"/>
            <c:invertIfNegative val="1"/>
            <c:bubble3D val="0"/>
            <c:spPr>
              <a:solidFill>
                <a:srgbClr val="AEABAB"/>
              </a:solidFill>
            </c:spPr>
            <c:extLst>
              <c:ext xmlns:c16="http://schemas.microsoft.com/office/drawing/2014/chart" uri="{C3380CC4-5D6E-409C-BE32-E72D297353CC}">
                <c16:uniqueId val="{00000D41-61F5-407B-959D-D24239F5BB85}"/>
              </c:ext>
            </c:extLst>
          </c:dPt>
          <c:dPt>
            <c:idx val="1696"/>
            <c:invertIfNegative val="1"/>
            <c:bubble3D val="0"/>
            <c:spPr>
              <a:solidFill>
                <a:srgbClr val="AEABAB"/>
              </a:solidFill>
            </c:spPr>
            <c:extLst>
              <c:ext xmlns:c16="http://schemas.microsoft.com/office/drawing/2014/chart" uri="{C3380CC4-5D6E-409C-BE32-E72D297353CC}">
                <c16:uniqueId val="{00000D43-61F5-407B-959D-D24239F5BB85}"/>
              </c:ext>
            </c:extLst>
          </c:dPt>
          <c:dPt>
            <c:idx val="1697"/>
            <c:invertIfNegative val="1"/>
            <c:bubble3D val="0"/>
            <c:spPr>
              <a:solidFill>
                <a:srgbClr val="AEABAB"/>
              </a:solidFill>
            </c:spPr>
            <c:extLst>
              <c:ext xmlns:c16="http://schemas.microsoft.com/office/drawing/2014/chart" uri="{C3380CC4-5D6E-409C-BE32-E72D297353CC}">
                <c16:uniqueId val="{00000D45-61F5-407B-959D-D24239F5BB85}"/>
              </c:ext>
            </c:extLst>
          </c:dPt>
          <c:dPt>
            <c:idx val="1698"/>
            <c:invertIfNegative val="1"/>
            <c:bubble3D val="0"/>
            <c:spPr>
              <a:solidFill>
                <a:srgbClr val="AEABAB"/>
              </a:solidFill>
            </c:spPr>
            <c:extLst>
              <c:ext xmlns:c16="http://schemas.microsoft.com/office/drawing/2014/chart" uri="{C3380CC4-5D6E-409C-BE32-E72D297353CC}">
                <c16:uniqueId val="{00000D47-61F5-407B-959D-D24239F5BB85}"/>
              </c:ext>
            </c:extLst>
          </c:dPt>
          <c:dPt>
            <c:idx val="1699"/>
            <c:invertIfNegative val="1"/>
            <c:bubble3D val="0"/>
            <c:spPr>
              <a:solidFill>
                <a:srgbClr val="AEABAB"/>
              </a:solidFill>
            </c:spPr>
            <c:extLst>
              <c:ext xmlns:c16="http://schemas.microsoft.com/office/drawing/2014/chart" uri="{C3380CC4-5D6E-409C-BE32-E72D297353CC}">
                <c16:uniqueId val="{00000D49-61F5-407B-959D-D24239F5BB85}"/>
              </c:ext>
            </c:extLst>
          </c:dPt>
          <c:dPt>
            <c:idx val="1700"/>
            <c:invertIfNegative val="1"/>
            <c:bubble3D val="0"/>
            <c:spPr>
              <a:solidFill>
                <a:srgbClr val="AEABAB"/>
              </a:solidFill>
            </c:spPr>
            <c:extLst>
              <c:ext xmlns:c16="http://schemas.microsoft.com/office/drawing/2014/chart" uri="{C3380CC4-5D6E-409C-BE32-E72D297353CC}">
                <c16:uniqueId val="{00000D4B-61F5-407B-959D-D24239F5BB85}"/>
              </c:ext>
            </c:extLst>
          </c:dPt>
          <c:dPt>
            <c:idx val="1701"/>
            <c:invertIfNegative val="1"/>
            <c:bubble3D val="0"/>
            <c:spPr>
              <a:solidFill>
                <a:srgbClr val="AEABAB"/>
              </a:solidFill>
            </c:spPr>
            <c:extLst>
              <c:ext xmlns:c16="http://schemas.microsoft.com/office/drawing/2014/chart" uri="{C3380CC4-5D6E-409C-BE32-E72D297353CC}">
                <c16:uniqueId val="{00000D4D-61F5-407B-959D-D24239F5BB85}"/>
              </c:ext>
            </c:extLst>
          </c:dPt>
          <c:dPt>
            <c:idx val="1702"/>
            <c:invertIfNegative val="1"/>
            <c:bubble3D val="0"/>
            <c:spPr>
              <a:solidFill>
                <a:srgbClr val="AEABAB"/>
              </a:solidFill>
            </c:spPr>
            <c:extLst>
              <c:ext xmlns:c16="http://schemas.microsoft.com/office/drawing/2014/chart" uri="{C3380CC4-5D6E-409C-BE32-E72D297353CC}">
                <c16:uniqueId val="{00000D4F-61F5-407B-959D-D24239F5BB85}"/>
              </c:ext>
            </c:extLst>
          </c:dPt>
          <c:dPt>
            <c:idx val="1703"/>
            <c:invertIfNegative val="1"/>
            <c:bubble3D val="0"/>
            <c:spPr>
              <a:solidFill>
                <a:srgbClr val="AEABAB"/>
              </a:solidFill>
            </c:spPr>
            <c:extLst>
              <c:ext xmlns:c16="http://schemas.microsoft.com/office/drawing/2014/chart" uri="{C3380CC4-5D6E-409C-BE32-E72D297353CC}">
                <c16:uniqueId val="{00000D51-61F5-407B-959D-D24239F5BB85}"/>
              </c:ext>
            </c:extLst>
          </c:dPt>
          <c:dPt>
            <c:idx val="1704"/>
            <c:invertIfNegative val="1"/>
            <c:bubble3D val="0"/>
            <c:spPr>
              <a:solidFill>
                <a:srgbClr val="AEABAB"/>
              </a:solidFill>
            </c:spPr>
            <c:extLst>
              <c:ext xmlns:c16="http://schemas.microsoft.com/office/drawing/2014/chart" uri="{C3380CC4-5D6E-409C-BE32-E72D297353CC}">
                <c16:uniqueId val="{00000D53-61F5-407B-959D-D24239F5BB85}"/>
              </c:ext>
            </c:extLst>
          </c:dPt>
          <c:dPt>
            <c:idx val="1705"/>
            <c:invertIfNegative val="1"/>
            <c:bubble3D val="0"/>
            <c:spPr>
              <a:solidFill>
                <a:srgbClr val="AEABAB"/>
              </a:solidFill>
            </c:spPr>
            <c:extLst>
              <c:ext xmlns:c16="http://schemas.microsoft.com/office/drawing/2014/chart" uri="{C3380CC4-5D6E-409C-BE32-E72D297353CC}">
                <c16:uniqueId val="{00000D55-61F5-407B-959D-D24239F5BB85}"/>
              </c:ext>
            </c:extLst>
          </c:dPt>
          <c:dPt>
            <c:idx val="1706"/>
            <c:invertIfNegative val="1"/>
            <c:bubble3D val="0"/>
            <c:spPr>
              <a:solidFill>
                <a:srgbClr val="AEABAB"/>
              </a:solidFill>
            </c:spPr>
            <c:extLst>
              <c:ext xmlns:c16="http://schemas.microsoft.com/office/drawing/2014/chart" uri="{C3380CC4-5D6E-409C-BE32-E72D297353CC}">
                <c16:uniqueId val="{00000D57-61F5-407B-959D-D24239F5BB85}"/>
              </c:ext>
            </c:extLst>
          </c:dPt>
          <c:dPt>
            <c:idx val="1707"/>
            <c:invertIfNegative val="1"/>
            <c:bubble3D val="0"/>
            <c:spPr>
              <a:solidFill>
                <a:srgbClr val="AEABAB"/>
              </a:solidFill>
            </c:spPr>
            <c:extLst>
              <c:ext xmlns:c16="http://schemas.microsoft.com/office/drawing/2014/chart" uri="{C3380CC4-5D6E-409C-BE32-E72D297353CC}">
                <c16:uniqueId val="{00000D59-61F5-407B-959D-D24239F5BB85}"/>
              </c:ext>
            </c:extLst>
          </c:dPt>
          <c:dPt>
            <c:idx val="1708"/>
            <c:invertIfNegative val="1"/>
            <c:bubble3D val="0"/>
            <c:spPr>
              <a:solidFill>
                <a:srgbClr val="AEABAB"/>
              </a:solidFill>
            </c:spPr>
            <c:extLst>
              <c:ext xmlns:c16="http://schemas.microsoft.com/office/drawing/2014/chart" uri="{C3380CC4-5D6E-409C-BE32-E72D297353CC}">
                <c16:uniqueId val="{00000D5B-61F5-407B-959D-D24239F5BB85}"/>
              </c:ext>
            </c:extLst>
          </c:dPt>
          <c:dPt>
            <c:idx val="1709"/>
            <c:invertIfNegative val="1"/>
            <c:bubble3D val="0"/>
            <c:spPr>
              <a:solidFill>
                <a:srgbClr val="AEABAB"/>
              </a:solidFill>
            </c:spPr>
            <c:extLst>
              <c:ext xmlns:c16="http://schemas.microsoft.com/office/drawing/2014/chart" uri="{C3380CC4-5D6E-409C-BE32-E72D297353CC}">
                <c16:uniqueId val="{00000D5D-61F5-407B-959D-D24239F5BB85}"/>
              </c:ext>
            </c:extLst>
          </c:dPt>
          <c:dPt>
            <c:idx val="1710"/>
            <c:invertIfNegative val="1"/>
            <c:bubble3D val="0"/>
            <c:spPr>
              <a:solidFill>
                <a:srgbClr val="AEABAB"/>
              </a:solidFill>
            </c:spPr>
            <c:extLst>
              <c:ext xmlns:c16="http://schemas.microsoft.com/office/drawing/2014/chart" uri="{C3380CC4-5D6E-409C-BE32-E72D297353CC}">
                <c16:uniqueId val="{00000D5F-61F5-407B-959D-D24239F5BB85}"/>
              </c:ext>
            </c:extLst>
          </c:dPt>
          <c:dPt>
            <c:idx val="1711"/>
            <c:invertIfNegative val="1"/>
            <c:bubble3D val="0"/>
            <c:spPr>
              <a:solidFill>
                <a:srgbClr val="AEABAB"/>
              </a:solidFill>
            </c:spPr>
            <c:extLst>
              <c:ext xmlns:c16="http://schemas.microsoft.com/office/drawing/2014/chart" uri="{C3380CC4-5D6E-409C-BE32-E72D297353CC}">
                <c16:uniqueId val="{00000D61-61F5-407B-959D-D24239F5BB85}"/>
              </c:ext>
            </c:extLst>
          </c:dPt>
          <c:dPt>
            <c:idx val="1712"/>
            <c:invertIfNegative val="1"/>
            <c:bubble3D val="0"/>
            <c:spPr>
              <a:solidFill>
                <a:srgbClr val="AEABAB"/>
              </a:solidFill>
            </c:spPr>
            <c:extLst>
              <c:ext xmlns:c16="http://schemas.microsoft.com/office/drawing/2014/chart" uri="{C3380CC4-5D6E-409C-BE32-E72D297353CC}">
                <c16:uniqueId val="{00000D63-61F5-407B-959D-D24239F5BB85}"/>
              </c:ext>
            </c:extLst>
          </c:dPt>
          <c:dPt>
            <c:idx val="1713"/>
            <c:invertIfNegative val="1"/>
            <c:bubble3D val="0"/>
            <c:spPr>
              <a:solidFill>
                <a:srgbClr val="AEABAB"/>
              </a:solidFill>
            </c:spPr>
            <c:extLst>
              <c:ext xmlns:c16="http://schemas.microsoft.com/office/drawing/2014/chart" uri="{C3380CC4-5D6E-409C-BE32-E72D297353CC}">
                <c16:uniqueId val="{00000D65-61F5-407B-959D-D24239F5BB85}"/>
              </c:ext>
            </c:extLst>
          </c:dPt>
          <c:dPt>
            <c:idx val="1714"/>
            <c:invertIfNegative val="1"/>
            <c:bubble3D val="0"/>
            <c:spPr>
              <a:solidFill>
                <a:srgbClr val="AEABAB"/>
              </a:solidFill>
            </c:spPr>
            <c:extLst>
              <c:ext xmlns:c16="http://schemas.microsoft.com/office/drawing/2014/chart" uri="{C3380CC4-5D6E-409C-BE32-E72D297353CC}">
                <c16:uniqueId val="{00000D67-61F5-407B-959D-D24239F5BB85}"/>
              </c:ext>
            </c:extLst>
          </c:dPt>
          <c:dPt>
            <c:idx val="1715"/>
            <c:invertIfNegative val="1"/>
            <c:bubble3D val="0"/>
            <c:spPr>
              <a:solidFill>
                <a:srgbClr val="AEABAB"/>
              </a:solidFill>
            </c:spPr>
            <c:extLst>
              <c:ext xmlns:c16="http://schemas.microsoft.com/office/drawing/2014/chart" uri="{C3380CC4-5D6E-409C-BE32-E72D297353CC}">
                <c16:uniqueId val="{00000D69-61F5-407B-959D-D24239F5BB85}"/>
              </c:ext>
            </c:extLst>
          </c:dPt>
          <c:dPt>
            <c:idx val="1716"/>
            <c:invertIfNegative val="1"/>
            <c:bubble3D val="0"/>
            <c:spPr>
              <a:solidFill>
                <a:srgbClr val="AEABAB"/>
              </a:solidFill>
            </c:spPr>
            <c:extLst>
              <c:ext xmlns:c16="http://schemas.microsoft.com/office/drawing/2014/chart" uri="{C3380CC4-5D6E-409C-BE32-E72D297353CC}">
                <c16:uniqueId val="{00000D6B-61F5-407B-959D-D24239F5BB85}"/>
              </c:ext>
            </c:extLst>
          </c:dPt>
          <c:dPt>
            <c:idx val="1717"/>
            <c:invertIfNegative val="1"/>
            <c:bubble3D val="0"/>
            <c:spPr>
              <a:solidFill>
                <a:srgbClr val="AEABAB"/>
              </a:solidFill>
            </c:spPr>
            <c:extLst>
              <c:ext xmlns:c16="http://schemas.microsoft.com/office/drawing/2014/chart" uri="{C3380CC4-5D6E-409C-BE32-E72D297353CC}">
                <c16:uniqueId val="{00000D6D-61F5-407B-959D-D24239F5BB85}"/>
              </c:ext>
            </c:extLst>
          </c:dPt>
          <c:dPt>
            <c:idx val="1718"/>
            <c:invertIfNegative val="1"/>
            <c:bubble3D val="0"/>
            <c:spPr>
              <a:solidFill>
                <a:srgbClr val="AEABAB"/>
              </a:solidFill>
            </c:spPr>
            <c:extLst>
              <c:ext xmlns:c16="http://schemas.microsoft.com/office/drawing/2014/chart" uri="{C3380CC4-5D6E-409C-BE32-E72D297353CC}">
                <c16:uniqueId val="{00000D6F-61F5-407B-959D-D24239F5BB85}"/>
              </c:ext>
            </c:extLst>
          </c:dPt>
          <c:dPt>
            <c:idx val="1719"/>
            <c:invertIfNegative val="1"/>
            <c:bubble3D val="0"/>
            <c:spPr>
              <a:solidFill>
                <a:srgbClr val="AEABAB"/>
              </a:solidFill>
            </c:spPr>
            <c:extLst>
              <c:ext xmlns:c16="http://schemas.microsoft.com/office/drawing/2014/chart" uri="{C3380CC4-5D6E-409C-BE32-E72D297353CC}">
                <c16:uniqueId val="{00000D71-61F5-407B-959D-D24239F5BB85}"/>
              </c:ext>
            </c:extLst>
          </c:dPt>
          <c:dPt>
            <c:idx val="1720"/>
            <c:invertIfNegative val="1"/>
            <c:bubble3D val="0"/>
            <c:spPr>
              <a:solidFill>
                <a:srgbClr val="AEABAB"/>
              </a:solidFill>
            </c:spPr>
            <c:extLst>
              <c:ext xmlns:c16="http://schemas.microsoft.com/office/drawing/2014/chart" uri="{C3380CC4-5D6E-409C-BE32-E72D297353CC}">
                <c16:uniqueId val="{00000D73-61F5-407B-959D-D24239F5BB85}"/>
              </c:ext>
            </c:extLst>
          </c:dPt>
          <c:dPt>
            <c:idx val="1721"/>
            <c:invertIfNegative val="1"/>
            <c:bubble3D val="0"/>
            <c:spPr>
              <a:solidFill>
                <a:srgbClr val="AEABAB"/>
              </a:solidFill>
            </c:spPr>
            <c:extLst>
              <c:ext xmlns:c16="http://schemas.microsoft.com/office/drawing/2014/chart" uri="{C3380CC4-5D6E-409C-BE32-E72D297353CC}">
                <c16:uniqueId val="{00000D75-61F5-407B-959D-D24239F5BB85}"/>
              </c:ext>
            </c:extLst>
          </c:dPt>
          <c:dPt>
            <c:idx val="1722"/>
            <c:invertIfNegative val="1"/>
            <c:bubble3D val="0"/>
            <c:spPr>
              <a:solidFill>
                <a:srgbClr val="AEABAB"/>
              </a:solidFill>
            </c:spPr>
            <c:extLst>
              <c:ext xmlns:c16="http://schemas.microsoft.com/office/drawing/2014/chart" uri="{C3380CC4-5D6E-409C-BE32-E72D297353CC}">
                <c16:uniqueId val="{00000D77-61F5-407B-959D-D24239F5BB85}"/>
              </c:ext>
            </c:extLst>
          </c:dPt>
          <c:dPt>
            <c:idx val="1723"/>
            <c:invertIfNegative val="1"/>
            <c:bubble3D val="0"/>
            <c:spPr>
              <a:solidFill>
                <a:srgbClr val="AEABAB"/>
              </a:solidFill>
            </c:spPr>
            <c:extLst>
              <c:ext xmlns:c16="http://schemas.microsoft.com/office/drawing/2014/chart" uri="{C3380CC4-5D6E-409C-BE32-E72D297353CC}">
                <c16:uniqueId val="{00000D79-61F5-407B-959D-D24239F5BB85}"/>
              </c:ext>
            </c:extLst>
          </c:dPt>
          <c:dPt>
            <c:idx val="1724"/>
            <c:invertIfNegative val="1"/>
            <c:bubble3D val="0"/>
            <c:spPr>
              <a:solidFill>
                <a:srgbClr val="AEABAB"/>
              </a:solidFill>
            </c:spPr>
            <c:extLst>
              <c:ext xmlns:c16="http://schemas.microsoft.com/office/drawing/2014/chart" uri="{C3380CC4-5D6E-409C-BE32-E72D297353CC}">
                <c16:uniqueId val="{00000D7B-61F5-407B-959D-D24239F5BB85}"/>
              </c:ext>
            </c:extLst>
          </c:dPt>
          <c:dPt>
            <c:idx val="1725"/>
            <c:invertIfNegative val="1"/>
            <c:bubble3D val="0"/>
            <c:spPr>
              <a:solidFill>
                <a:srgbClr val="AEABAB"/>
              </a:solidFill>
            </c:spPr>
            <c:extLst>
              <c:ext xmlns:c16="http://schemas.microsoft.com/office/drawing/2014/chart" uri="{C3380CC4-5D6E-409C-BE32-E72D297353CC}">
                <c16:uniqueId val="{00000D7D-61F5-407B-959D-D24239F5BB85}"/>
              </c:ext>
            </c:extLst>
          </c:dPt>
          <c:dPt>
            <c:idx val="1726"/>
            <c:invertIfNegative val="1"/>
            <c:bubble3D val="0"/>
            <c:spPr>
              <a:solidFill>
                <a:srgbClr val="AEABAB"/>
              </a:solidFill>
            </c:spPr>
            <c:extLst>
              <c:ext xmlns:c16="http://schemas.microsoft.com/office/drawing/2014/chart" uri="{C3380CC4-5D6E-409C-BE32-E72D297353CC}">
                <c16:uniqueId val="{00000D7F-61F5-407B-959D-D24239F5BB85}"/>
              </c:ext>
            </c:extLst>
          </c:dPt>
          <c:dPt>
            <c:idx val="1727"/>
            <c:invertIfNegative val="1"/>
            <c:bubble3D val="0"/>
            <c:spPr>
              <a:solidFill>
                <a:srgbClr val="AEABAB"/>
              </a:solidFill>
            </c:spPr>
            <c:extLst>
              <c:ext xmlns:c16="http://schemas.microsoft.com/office/drawing/2014/chart" uri="{C3380CC4-5D6E-409C-BE32-E72D297353CC}">
                <c16:uniqueId val="{00000D81-61F5-407B-959D-D24239F5BB85}"/>
              </c:ext>
            </c:extLst>
          </c:dPt>
          <c:dPt>
            <c:idx val="1728"/>
            <c:invertIfNegative val="1"/>
            <c:bubble3D val="0"/>
            <c:spPr>
              <a:solidFill>
                <a:srgbClr val="AEABAB"/>
              </a:solidFill>
            </c:spPr>
            <c:extLst>
              <c:ext xmlns:c16="http://schemas.microsoft.com/office/drawing/2014/chart" uri="{C3380CC4-5D6E-409C-BE32-E72D297353CC}">
                <c16:uniqueId val="{00000D83-61F5-407B-959D-D24239F5BB85}"/>
              </c:ext>
            </c:extLst>
          </c:dPt>
          <c:dPt>
            <c:idx val="1729"/>
            <c:invertIfNegative val="1"/>
            <c:bubble3D val="0"/>
            <c:spPr>
              <a:solidFill>
                <a:srgbClr val="AEABAB"/>
              </a:solidFill>
            </c:spPr>
            <c:extLst>
              <c:ext xmlns:c16="http://schemas.microsoft.com/office/drawing/2014/chart" uri="{C3380CC4-5D6E-409C-BE32-E72D297353CC}">
                <c16:uniqueId val="{00000D85-61F5-407B-959D-D24239F5BB85}"/>
              </c:ext>
            </c:extLst>
          </c:dPt>
          <c:dPt>
            <c:idx val="1730"/>
            <c:invertIfNegative val="1"/>
            <c:bubble3D val="0"/>
            <c:spPr>
              <a:solidFill>
                <a:srgbClr val="AEABAB"/>
              </a:solidFill>
            </c:spPr>
            <c:extLst>
              <c:ext xmlns:c16="http://schemas.microsoft.com/office/drawing/2014/chart" uri="{C3380CC4-5D6E-409C-BE32-E72D297353CC}">
                <c16:uniqueId val="{00000D87-61F5-407B-959D-D24239F5BB85}"/>
              </c:ext>
            </c:extLst>
          </c:dPt>
          <c:dPt>
            <c:idx val="1731"/>
            <c:invertIfNegative val="1"/>
            <c:bubble3D val="0"/>
            <c:spPr>
              <a:solidFill>
                <a:srgbClr val="AEABAB"/>
              </a:solidFill>
            </c:spPr>
            <c:extLst>
              <c:ext xmlns:c16="http://schemas.microsoft.com/office/drawing/2014/chart" uri="{C3380CC4-5D6E-409C-BE32-E72D297353CC}">
                <c16:uniqueId val="{00000D89-61F5-407B-959D-D24239F5BB85}"/>
              </c:ext>
            </c:extLst>
          </c:dPt>
          <c:dPt>
            <c:idx val="1732"/>
            <c:invertIfNegative val="1"/>
            <c:bubble3D val="0"/>
            <c:spPr>
              <a:solidFill>
                <a:srgbClr val="AEABAB"/>
              </a:solidFill>
            </c:spPr>
            <c:extLst>
              <c:ext xmlns:c16="http://schemas.microsoft.com/office/drawing/2014/chart" uri="{C3380CC4-5D6E-409C-BE32-E72D297353CC}">
                <c16:uniqueId val="{00000D8B-61F5-407B-959D-D24239F5BB85}"/>
              </c:ext>
            </c:extLst>
          </c:dPt>
          <c:dPt>
            <c:idx val="1733"/>
            <c:invertIfNegative val="1"/>
            <c:bubble3D val="0"/>
            <c:spPr>
              <a:solidFill>
                <a:srgbClr val="AEABAB"/>
              </a:solidFill>
            </c:spPr>
            <c:extLst>
              <c:ext xmlns:c16="http://schemas.microsoft.com/office/drawing/2014/chart" uri="{C3380CC4-5D6E-409C-BE32-E72D297353CC}">
                <c16:uniqueId val="{00000D8D-61F5-407B-959D-D24239F5BB85}"/>
              </c:ext>
            </c:extLst>
          </c:dPt>
          <c:dPt>
            <c:idx val="1734"/>
            <c:invertIfNegative val="1"/>
            <c:bubble3D val="0"/>
            <c:spPr>
              <a:solidFill>
                <a:srgbClr val="AEABAB"/>
              </a:solidFill>
            </c:spPr>
            <c:extLst>
              <c:ext xmlns:c16="http://schemas.microsoft.com/office/drawing/2014/chart" uri="{C3380CC4-5D6E-409C-BE32-E72D297353CC}">
                <c16:uniqueId val="{00000D8F-61F5-407B-959D-D24239F5BB85}"/>
              </c:ext>
            </c:extLst>
          </c:dPt>
          <c:dPt>
            <c:idx val="1735"/>
            <c:invertIfNegative val="1"/>
            <c:bubble3D val="0"/>
            <c:spPr>
              <a:solidFill>
                <a:srgbClr val="AEABAB"/>
              </a:solidFill>
            </c:spPr>
            <c:extLst>
              <c:ext xmlns:c16="http://schemas.microsoft.com/office/drawing/2014/chart" uri="{C3380CC4-5D6E-409C-BE32-E72D297353CC}">
                <c16:uniqueId val="{00000D91-61F5-407B-959D-D24239F5BB85}"/>
              </c:ext>
            </c:extLst>
          </c:dPt>
          <c:dPt>
            <c:idx val="1736"/>
            <c:invertIfNegative val="1"/>
            <c:bubble3D val="0"/>
            <c:spPr>
              <a:solidFill>
                <a:srgbClr val="AEABAB"/>
              </a:solidFill>
            </c:spPr>
            <c:extLst>
              <c:ext xmlns:c16="http://schemas.microsoft.com/office/drawing/2014/chart" uri="{C3380CC4-5D6E-409C-BE32-E72D297353CC}">
                <c16:uniqueId val="{00000D93-61F5-407B-959D-D24239F5BB85}"/>
              </c:ext>
            </c:extLst>
          </c:dPt>
          <c:dPt>
            <c:idx val="1737"/>
            <c:invertIfNegative val="1"/>
            <c:bubble3D val="0"/>
            <c:spPr>
              <a:solidFill>
                <a:srgbClr val="AEABAB"/>
              </a:solidFill>
            </c:spPr>
            <c:extLst>
              <c:ext xmlns:c16="http://schemas.microsoft.com/office/drawing/2014/chart" uri="{C3380CC4-5D6E-409C-BE32-E72D297353CC}">
                <c16:uniqueId val="{00000D95-61F5-407B-959D-D24239F5BB85}"/>
              </c:ext>
            </c:extLst>
          </c:dPt>
          <c:dPt>
            <c:idx val="1738"/>
            <c:invertIfNegative val="1"/>
            <c:bubble3D val="0"/>
            <c:spPr>
              <a:solidFill>
                <a:srgbClr val="AEABAB"/>
              </a:solidFill>
            </c:spPr>
            <c:extLst>
              <c:ext xmlns:c16="http://schemas.microsoft.com/office/drawing/2014/chart" uri="{C3380CC4-5D6E-409C-BE32-E72D297353CC}">
                <c16:uniqueId val="{00000D97-61F5-407B-959D-D24239F5BB85}"/>
              </c:ext>
            </c:extLst>
          </c:dPt>
          <c:dPt>
            <c:idx val="1739"/>
            <c:invertIfNegative val="1"/>
            <c:bubble3D val="0"/>
            <c:spPr>
              <a:solidFill>
                <a:srgbClr val="AEABAB"/>
              </a:solidFill>
            </c:spPr>
            <c:extLst>
              <c:ext xmlns:c16="http://schemas.microsoft.com/office/drawing/2014/chart" uri="{C3380CC4-5D6E-409C-BE32-E72D297353CC}">
                <c16:uniqueId val="{00000D99-61F5-407B-959D-D24239F5BB85}"/>
              </c:ext>
            </c:extLst>
          </c:dPt>
          <c:dPt>
            <c:idx val="1740"/>
            <c:invertIfNegative val="1"/>
            <c:bubble3D val="0"/>
            <c:spPr>
              <a:solidFill>
                <a:srgbClr val="AEABAB"/>
              </a:solidFill>
            </c:spPr>
            <c:extLst>
              <c:ext xmlns:c16="http://schemas.microsoft.com/office/drawing/2014/chart" uri="{C3380CC4-5D6E-409C-BE32-E72D297353CC}">
                <c16:uniqueId val="{00000D9B-61F5-407B-959D-D24239F5BB85}"/>
              </c:ext>
            </c:extLst>
          </c:dPt>
          <c:dPt>
            <c:idx val="1741"/>
            <c:invertIfNegative val="1"/>
            <c:bubble3D val="0"/>
            <c:spPr>
              <a:solidFill>
                <a:srgbClr val="AEABAB"/>
              </a:solidFill>
            </c:spPr>
            <c:extLst>
              <c:ext xmlns:c16="http://schemas.microsoft.com/office/drawing/2014/chart" uri="{C3380CC4-5D6E-409C-BE32-E72D297353CC}">
                <c16:uniqueId val="{00000D9D-61F5-407B-959D-D24239F5BB85}"/>
              </c:ext>
            </c:extLst>
          </c:dPt>
          <c:dPt>
            <c:idx val="1742"/>
            <c:invertIfNegative val="1"/>
            <c:bubble3D val="0"/>
            <c:spPr>
              <a:solidFill>
                <a:srgbClr val="AEABAB"/>
              </a:solidFill>
            </c:spPr>
            <c:extLst>
              <c:ext xmlns:c16="http://schemas.microsoft.com/office/drawing/2014/chart" uri="{C3380CC4-5D6E-409C-BE32-E72D297353CC}">
                <c16:uniqueId val="{00000D9F-61F5-407B-959D-D24239F5BB85}"/>
              </c:ext>
            </c:extLst>
          </c:dPt>
          <c:dPt>
            <c:idx val="1743"/>
            <c:invertIfNegative val="1"/>
            <c:bubble3D val="0"/>
            <c:spPr>
              <a:solidFill>
                <a:srgbClr val="AEABAB"/>
              </a:solidFill>
            </c:spPr>
            <c:extLst>
              <c:ext xmlns:c16="http://schemas.microsoft.com/office/drawing/2014/chart" uri="{C3380CC4-5D6E-409C-BE32-E72D297353CC}">
                <c16:uniqueId val="{00000DA1-61F5-407B-959D-D24239F5BB85}"/>
              </c:ext>
            </c:extLst>
          </c:dPt>
          <c:dPt>
            <c:idx val="1744"/>
            <c:invertIfNegative val="1"/>
            <c:bubble3D val="0"/>
            <c:spPr>
              <a:solidFill>
                <a:srgbClr val="AEABAB"/>
              </a:solidFill>
            </c:spPr>
            <c:extLst>
              <c:ext xmlns:c16="http://schemas.microsoft.com/office/drawing/2014/chart" uri="{C3380CC4-5D6E-409C-BE32-E72D297353CC}">
                <c16:uniqueId val="{00000DA3-61F5-407B-959D-D24239F5BB85}"/>
              </c:ext>
            </c:extLst>
          </c:dPt>
          <c:dPt>
            <c:idx val="1745"/>
            <c:invertIfNegative val="1"/>
            <c:bubble3D val="0"/>
            <c:spPr>
              <a:solidFill>
                <a:srgbClr val="AEABAB"/>
              </a:solidFill>
            </c:spPr>
            <c:extLst>
              <c:ext xmlns:c16="http://schemas.microsoft.com/office/drawing/2014/chart" uri="{C3380CC4-5D6E-409C-BE32-E72D297353CC}">
                <c16:uniqueId val="{00000DA5-61F5-407B-959D-D24239F5BB85}"/>
              </c:ext>
            </c:extLst>
          </c:dPt>
          <c:dPt>
            <c:idx val="1746"/>
            <c:invertIfNegative val="1"/>
            <c:bubble3D val="0"/>
            <c:spPr>
              <a:solidFill>
                <a:srgbClr val="AEABAB"/>
              </a:solidFill>
            </c:spPr>
            <c:extLst>
              <c:ext xmlns:c16="http://schemas.microsoft.com/office/drawing/2014/chart" uri="{C3380CC4-5D6E-409C-BE32-E72D297353CC}">
                <c16:uniqueId val="{00000DA7-61F5-407B-959D-D24239F5BB85}"/>
              </c:ext>
            </c:extLst>
          </c:dPt>
          <c:dPt>
            <c:idx val="1747"/>
            <c:invertIfNegative val="1"/>
            <c:bubble3D val="0"/>
            <c:spPr>
              <a:solidFill>
                <a:srgbClr val="AEABAB"/>
              </a:solidFill>
            </c:spPr>
            <c:extLst>
              <c:ext xmlns:c16="http://schemas.microsoft.com/office/drawing/2014/chart" uri="{C3380CC4-5D6E-409C-BE32-E72D297353CC}">
                <c16:uniqueId val="{00000DA9-61F5-407B-959D-D24239F5BB85}"/>
              </c:ext>
            </c:extLst>
          </c:dPt>
          <c:dPt>
            <c:idx val="1748"/>
            <c:invertIfNegative val="1"/>
            <c:bubble3D val="0"/>
            <c:spPr>
              <a:solidFill>
                <a:srgbClr val="AEABAB"/>
              </a:solidFill>
            </c:spPr>
            <c:extLst>
              <c:ext xmlns:c16="http://schemas.microsoft.com/office/drawing/2014/chart" uri="{C3380CC4-5D6E-409C-BE32-E72D297353CC}">
                <c16:uniqueId val="{00000DAB-61F5-407B-959D-D24239F5BB85}"/>
              </c:ext>
            </c:extLst>
          </c:dPt>
          <c:dPt>
            <c:idx val="1749"/>
            <c:invertIfNegative val="1"/>
            <c:bubble3D val="0"/>
            <c:spPr>
              <a:solidFill>
                <a:srgbClr val="AEABAB"/>
              </a:solidFill>
            </c:spPr>
            <c:extLst>
              <c:ext xmlns:c16="http://schemas.microsoft.com/office/drawing/2014/chart" uri="{C3380CC4-5D6E-409C-BE32-E72D297353CC}">
                <c16:uniqueId val="{00000DAD-61F5-407B-959D-D24239F5BB85}"/>
              </c:ext>
            </c:extLst>
          </c:dPt>
          <c:dPt>
            <c:idx val="1750"/>
            <c:invertIfNegative val="1"/>
            <c:bubble3D val="0"/>
            <c:spPr>
              <a:solidFill>
                <a:srgbClr val="AEABAB"/>
              </a:solidFill>
            </c:spPr>
            <c:extLst>
              <c:ext xmlns:c16="http://schemas.microsoft.com/office/drawing/2014/chart" uri="{C3380CC4-5D6E-409C-BE32-E72D297353CC}">
                <c16:uniqueId val="{00000DAF-61F5-407B-959D-D24239F5BB85}"/>
              </c:ext>
            </c:extLst>
          </c:dPt>
          <c:dPt>
            <c:idx val="1751"/>
            <c:invertIfNegative val="1"/>
            <c:bubble3D val="0"/>
            <c:spPr>
              <a:solidFill>
                <a:srgbClr val="AEABAB"/>
              </a:solidFill>
            </c:spPr>
            <c:extLst>
              <c:ext xmlns:c16="http://schemas.microsoft.com/office/drawing/2014/chart" uri="{C3380CC4-5D6E-409C-BE32-E72D297353CC}">
                <c16:uniqueId val="{00000DB1-61F5-407B-959D-D24239F5BB85}"/>
              </c:ext>
            </c:extLst>
          </c:dPt>
          <c:dPt>
            <c:idx val="1752"/>
            <c:invertIfNegative val="1"/>
            <c:bubble3D val="0"/>
            <c:spPr>
              <a:solidFill>
                <a:srgbClr val="AEABAB"/>
              </a:solidFill>
            </c:spPr>
            <c:extLst>
              <c:ext xmlns:c16="http://schemas.microsoft.com/office/drawing/2014/chart" uri="{C3380CC4-5D6E-409C-BE32-E72D297353CC}">
                <c16:uniqueId val="{00000DB3-61F5-407B-959D-D24239F5BB85}"/>
              </c:ext>
            </c:extLst>
          </c:dPt>
          <c:dPt>
            <c:idx val="1753"/>
            <c:invertIfNegative val="1"/>
            <c:bubble3D val="0"/>
            <c:spPr>
              <a:solidFill>
                <a:srgbClr val="AEABAB"/>
              </a:solidFill>
            </c:spPr>
            <c:extLst>
              <c:ext xmlns:c16="http://schemas.microsoft.com/office/drawing/2014/chart" uri="{C3380CC4-5D6E-409C-BE32-E72D297353CC}">
                <c16:uniqueId val="{00000DB5-61F5-407B-959D-D24239F5BB85}"/>
              </c:ext>
            </c:extLst>
          </c:dPt>
          <c:dPt>
            <c:idx val="1754"/>
            <c:invertIfNegative val="1"/>
            <c:bubble3D val="0"/>
            <c:spPr>
              <a:solidFill>
                <a:srgbClr val="AEABAB"/>
              </a:solidFill>
            </c:spPr>
            <c:extLst>
              <c:ext xmlns:c16="http://schemas.microsoft.com/office/drawing/2014/chart" uri="{C3380CC4-5D6E-409C-BE32-E72D297353CC}">
                <c16:uniqueId val="{00000DB7-61F5-407B-959D-D24239F5BB85}"/>
              </c:ext>
            </c:extLst>
          </c:dPt>
          <c:dPt>
            <c:idx val="1755"/>
            <c:invertIfNegative val="1"/>
            <c:bubble3D val="0"/>
            <c:spPr>
              <a:solidFill>
                <a:srgbClr val="AEABAB"/>
              </a:solidFill>
            </c:spPr>
            <c:extLst>
              <c:ext xmlns:c16="http://schemas.microsoft.com/office/drawing/2014/chart" uri="{C3380CC4-5D6E-409C-BE32-E72D297353CC}">
                <c16:uniqueId val="{00000DB9-61F5-407B-959D-D24239F5BB85}"/>
              </c:ext>
            </c:extLst>
          </c:dPt>
          <c:dPt>
            <c:idx val="1756"/>
            <c:invertIfNegative val="1"/>
            <c:bubble3D val="0"/>
            <c:spPr>
              <a:solidFill>
                <a:srgbClr val="AEABAB"/>
              </a:solidFill>
            </c:spPr>
            <c:extLst>
              <c:ext xmlns:c16="http://schemas.microsoft.com/office/drawing/2014/chart" uri="{C3380CC4-5D6E-409C-BE32-E72D297353CC}">
                <c16:uniqueId val="{00000DBB-61F5-407B-959D-D24239F5BB85}"/>
              </c:ext>
            </c:extLst>
          </c:dPt>
          <c:dPt>
            <c:idx val="1757"/>
            <c:invertIfNegative val="1"/>
            <c:bubble3D val="0"/>
            <c:spPr>
              <a:solidFill>
                <a:srgbClr val="AEABAB"/>
              </a:solidFill>
            </c:spPr>
            <c:extLst>
              <c:ext xmlns:c16="http://schemas.microsoft.com/office/drawing/2014/chart" uri="{C3380CC4-5D6E-409C-BE32-E72D297353CC}">
                <c16:uniqueId val="{00000DBD-61F5-407B-959D-D24239F5BB85}"/>
              </c:ext>
            </c:extLst>
          </c:dPt>
          <c:dPt>
            <c:idx val="1758"/>
            <c:invertIfNegative val="1"/>
            <c:bubble3D val="0"/>
            <c:spPr>
              <a:solidFill>
                <a:srgbClr val="AEABAB"/>
              </a:solidFill>
            </c:spPr>
            <c:extLst>
              <c:ext xmlns:c16="http://schemas.microsoft.com/office/drawing/2014/chart" uri="{C3380CC4-5D6E-409C-BE32-E72D297353CC}">
                <c16:uniqueId val="{00000DBF-61F5-407B-959D-D24239F5BB85}"/>
              </c:ext>
            </c:extLst>
          </c:dPt>
          <c:dPt>
            <c:idx val="1759"/>
            <c:invertIfNegative val="1"/>
            <c:bubble3D val="0"/>
            <c:spPr>
              <a:solidFill>
                <a:srgbClr val="AEABAB"/>
              </a:solidFill>
            </c:spPr>
            <c:extLst>
              <c:ext xmlns:c16="http://schemas.microsoft.com/office/drawing/2014/chart" uri="{C3380CC4-5D6E-409C-BE32-E72D297353CC}">
                <c16:uniqueId val="{00000DC1-61F5-407B-959D-D24239F5BB85}"/>
              </c:ext>
            </c:extLst>
          </c:dPt>
          <c:dPt>
            <c:idx val="1760"/>
            <c:invertIfNegative val="1"/>
            <c:bubble3D val="0"/>
            <c:spPr>
              <a:solidFill>
                <a:srgbClr val="AEABAB"/>
              </a:solidFill>
            </c:spPr>
            <c:extLst>
              <c:ext xmlns:c16="http://schemas.microsoft.com/office/drawing/2014/chart" uri="{C3380CC4-5D6E-409C-BE32-E72D297353CC}">
                <c16:uniqueId val="{00000DC3-61F5-407B-959D-D24239F5BB85}"/>
              </c:ext>
            </c:extLst>
          </c:dPt>
          <c:dPt>
            <c:idx val="1761"/>
            <c:invertIfNegative val="1"/>
            <c:bubble3D val="0"/>
            <c:spPr>
              <a:solidFill>
                <a:srgbClr val="AEABAB"/>
              </a:solidFill>
            </c:spPr>
            <c:extLst>
              <c:ext xmlns:c16="http://schemas.microsoft.com/office/drawing/2014/chart" uri="{C3380CC4-5D6E-409C-BE32-E72D297353CC}">
                <c16:uniqueId val="{00000DC5-61F5-407B-959D-D24239F5BB85}"/>
              </c:ext>
            </c:extLst>
          </c:dPt>
          <c:dPt>
            <c:idx val="1762"/>
            <c:invertIfNegative val="1"/>
            <c:bubble3D val="0"/>
            <c:spPr>
              <a:solidFill>
                <a:srgbClr val="AEABAB"/>
              </a:solidFill>
            </c:spPr>
            <c:extLst>
              <c:ext xmlns:c16="http://schemas.microsoft.com/office/drawing/2014/chart" uri="{C3380CC4-5D6E-409C-BE32-E72D297353CC}">
                <c16:uniqueId val="{00000DC7-61F5-407B-959D-D24239F5BB85}"/>
              </c:ext>
            </c:extLst>
          </c:dPt>
          <c:dPt>
            <c:idx val="1763"/>
            <c:invertIfNegative val="1"/>
            <c:bubble3D val="0"/>
            <c:spPr>
              <a:solidFill>
                <a:srgbClr val="AEABAB"/>
              </a:solidFill>
            </c:spPr>
            <c:extLst>
              <c:ext xmlns:c16="http://schemas.microsoft.com/office/drawing/2014/chart" uri="{C3380CC4-5D6E-409C-BE32-E72D297353CC}">
                <c16:uniqueId val="{00000DC9-61F5-407B-959D-D24239F5BB85}"/>
              </c:ext>
            </c:extLst>
          </c:dPt>
          <c:dPt>
            <c:idx val="1764"/>
            <c:invertIfNegative val="1"/>
            <c:bubble3D val="0"/>
            <c:spPr>
              <a:solidFill>
                <a:srgbClr val="AEABAB"/>
              </a:solidFill>
            </c:spPr>
            <c:extLst>
              <c:ext xmlns:c16="http://schemas.microsoft.com/office/drawing/2014/chart" uri="{C3380CC4-5D6E-409C-BE32-E72D297353CC}">
                <c16:uniqueId val="{00000DCB-61F5-407B-959D-D24239F5BB85}"/>
              </c:ext>
            </c:extLst>
          </c:dPt>
          <c:dPt>
            <c:idx val="1765"/>
            <c:invertIfNegative val="1"/>
            <c:bubble3D val="0"/>
            <c:spPr>
              <a:solidFill>
                <a:srgbClr val="AEABAB"/>
              </a:solidFill>
            </c:spPr>
            <c:extLst>
              <c:ext xmlns:c16="http://schemas.microsoft.com/office/drawing/2014/chart" uri="{C3380CC4-5D6E-409C-BE32-E72D297353CC}">
                <c16:uniqueId val="{00000DCD-61F5-407B-959D-D24239F5BB85}"/>
              </c:ext>
            </c:extLst>
          </c:dPt>
          <c:dPt>
            <c:idx val="1766"/>
            <c:invertIfNegative val="1"/>
            <c:bubble3D val="0"/>
            <c:spPr>
              <a:solidFill>
                <a:srgbClr val="AEABAB"/>
              </a:solidFill>
            </c:spPr>
            <c:extLst>
              <c:ext xmlns:c16="http://schemas.microsoft.com/office/drawing/2014/chart" uri="{C3380CC4-5D6E-409C-BE32-E72D297353CC}">
                <c16:uniqueId val="{00000DCF-61F5-407B-959D-D24239F5BB85}"/>
              </c:ext>
            </c:extLst>
          </c:dPt>
          <c:dPt>
            <c:idx val="1767"/>
            <c:invertIfNegative val="1"/>
            <c:bubble3D val="0"/>
            <c:spPr>
              <a:solidFill>
                <a:srgbClr val="AEABAB"/>
              </a:solidFill>
            </c:spPr>
            <c:extLst>
              <c:ext xmlns:c16="http://schemas.microsoft.com/office/drawing/2014/chart" uri="{C3380CC4-5D6E-409C-BE32-E72D297353CC}">
                <c16:uniqueId val="{00000DD1-61F5-407B-959D-D24239F5BB85}"/>
              </c:ext>
            </c:extLst>
          </c:dPt>
          <c:dPt>
            <c:idx val="1768"/>
            <c:invertIfNegative val="1"/>
            <c:bubble3D val="0"/>
            <c:spPr>
              <a:solidFill>
                <a:srgbClr val="AEABAB"/>
              </a:solidFill>
            </c:spPr>
            <c:extLst>
              <c:ext xmlns:c16="http://schemas.microsoft.com/office/drawing/2014/chart" uri="{C3380CC4-5D6E-409C-BE32-E72D297353CC}">
                <c16:uniqueId val="{00000DD3-61F5-407B-959D-D24239F5BB85}"/>
              </c:ext>
            </c:extLst>
          </c:dPt>
          <c:dPt>
            <c:idx val="1769"/>
            <c:invertIfNegative val="1"/>
            <c:bubble3D val="0"/>
            <c:spPr>
              <a:solidFill>
                <a:srgbClr val="AEABAB"/>
              </a:solidFill>
            </c:spPr>
            <c:extLst>
              <c:ext xmlns:c16="http://schemas.microsoft.com/office/drawing/2014/chart" uri="{C3380CC4-5D6E-409C-BE32-E72D297353CC}">
                <c16:uniqueId val="{00000DD5-61F5-407B-959D-D24239F5BB85}"/>
              </c:ext>
            </c:extLst>
          </c:dPt>
          <c:dPt>
            <c:idx val="1770"/>
            <c:invertIfNegative val="1"/>
            <c:bubble3D val="0"/>
            <c:spPr>
              <a:solidFill>
                <a:srgbClr val="AEABAB"/>
              </a:solidFill>
            </c:spPr>
            <c:extLst>
              <c:ext xmlns:c16="http://schemas.microsoft.com/office/drawing/2014/chart" uri="{C3380CC4-5D6E-409C-BE32-E72D297353CC}">
                <c16:uniqueId val="{00000DD7-61F5-407B-959D-D24239F5BB85}"/>
              </c:ext>
            </c:extLst>
          </c:dPt>
          <c:dPt>
            <c:idx val="1771"/>
            <c:invertIfNegative val="1"/>
            <c:bubble3D val="0"/>
            <c:spPr>
              <a:solidFill>
                <a:srgbClr val="AEABAB"/>
              </a:solidFill>
            </c:spPr>
            <c:extLst>
              <c:ext xmlns:c16="http://schemas.microsoft.com/office/drawing/2014/chart" uri="{C3380CC4-5D6E-409C-BE32-E72D297353CC}">
                <c16:uniqueId val="{00000DD9-61F5-407B-959D-D24239F5BB85}"/>
              </c:ext>
            </c:extLst>
          </c:dPt>
          <c:dPt>
            <c:idx val="1772"/>
            <c:invertIfNegative val="1"/>
            <c:bubble3D val="0"/>
            <c:spPr>
              <a:solidFill>
                <a:srgbClr val="AEABAB"/>
              </a:solidFill>
            </c:spPr>
            <c:extLst>
              <c:ext xmlns:c16="http://schemas.microsoft.com/office/drawing/2014/chart" uri="{C3380CC4-5D6E-409C-BE32-E72D297353CC}">
                <c16:uniqueId val="{00000DDB-61F5-407B-959D-D24239F5BB85}"/>
              </c:ext>
            </c:extLst>
          </c:dPt>
          <c:dPt>
            <c:idx val="1773"/>
            <c:invertIfNegative val="1"/>
            <c:bubble3D val="0"/>
            <c:spPr>
              <a:solidFill>
                <a:srgbClr val="AEABAB"/>
              </a:solidFill>
            </c:spPr>
            <c:extLst>
              <c:ext xmlns:c16="http://schemas.microsoft.com/office/drawing/2014/chart" uri="{C3380CC4-5D6E-409C-BE32-E72D297353CC}">
                <c16:uniqueId val="{00000DDD-61F5-407B-959D-D24239F5BB85}"/>
              </c:ext>
            </c:extLst>
          </c:dPt>
          <c:dPt>
            <c:idx val="1774"/>
            <c:invertIfNegative val="1"/>
            <c:bubble3D val="0"/>
            <c:spPr>
              <a:solidFill>
                <a:srgbClr val="AEABAB"/>
              </a:solidFill>
            </c:spPr>
            <c:extLst>
              <c:ext xmlns:c16="http://schemas.microsoft.com/office/drawing/2014/chart" uri="{C3380CC4-5D6E-409C-BE32-E72D297353CC}">
                <c16:uniqueId val="{00000DDF-61F5-407B-959D-D24239F5BB85}"/>
              </c:ext>
            </c:extLst>
          </c:dPt>
          <c:dPt>
            <c:idx val="1775"/>
            <c:invertIfNegative val="1"/>
            <c:bubble3D val="0"/>
            <c:spPr>
              <a:solidFill>
                <a:srgbClr val="AEABAB"/>
              </a:solidFill>
            </c:spPr>
            <c:extLst>
              <c:ext xmlns:c16="http://schemas.microsoft.com/office/drawing/2014/chart" uri="{C3380CC4-5D6E-409C-BE32-E72D297353CC}">
                <c16:uniqueId val="{00000DE1-61F5-407B-959D-D24239F5BB85}"/>
              </c:ext>
            </c:extLst>
          </c:dPt>
          <c:dPt>
            <c:idx val="1776"/>
            <c:invertIfNegative val="1"/>
            <c:bubble3D val="0"/>
            <c:spPr>
              <a:solidFill>
                <a:srgbClr val="AEABAB"/>
              </a:solidFill>
            </c:spPr>
            <c:extLst>
              <c:ext xmlns:c16="http://schemas.microsoft.com/office/drawing/2014/chart" uri="{C3380CC4-5D6E-409C-BE32-E72D297353CC}">
                <c16:uniqueId val="{00000DE3-61F5-407B-959D-D24239F5BB85}"/>
              </c:ext>
            </c:extLst>
          </c:dPt>
          <c:dPt>
            <c:idx val="1777"/>
            <c:invertIfNegative val="1"/>
            <c:bubble3D val="0"/>
            <c:spPr>
              <a:solidFill>
                <a:srgbClr val="AEABAB"/>
              </a:solidFill>
            </c:spPr>
            <c:extLst>
              <c:ext xmlns:c16="http://schemas.microsoft.com/office/drawing/2014/chart" uri="{C3380CC4-5D6E-409C-BE32-E72D297353CC}">
                <c16:uniqueId val="{00000DE5-61F5-407B-959D-D24239F5BB85}"/>
              </c:ext>
            </c:extLst>
          </c:dPt>
          <c:dPt>
            <c:idx val="1778"/>
            <c:invertIfNegative val="1"/>
            <c:bubble3D val="0"/>
            <c:spPr>
              <a:solidFill>
                <a:srgbClr val="AEABAB"/>
              </a:solidFill>
            </c:spPr>
            <c:extLst>
              <c:ext xmlns:c16="http://schemas.microsoft.com/office/drawing/2014/chart" uri="{C3380CC4-5D6E-409C-BE32-E72D297353CC}">
                <c16:uniqueId val="{00000DE7-61F5-407B-959D-D24239F5BB85}"/>
              </c:ext>
            </c:extLst>
          </c:dPt>
          <c:dPt>
            <c:idx val="1779"/>
            <c:invertIfNegative val="1"/>
            <c:bubble3D val="0"/>
            <c:spPr>
              <a:solidFill>
                <a:srgbClr val="AEABAB"/>
              </a:solidFill>
            </c:spPr>
            <c:extLst>
              <c:ext xmlns:c16="http://schemas.microsoft.com/office/drawing/2014/chart" uri="{C3380CC4-5D6E-409C-BE32-E72D297353CC}">
                <c16:uniqueId val="{00000DE9-61F5-407B-959D-D24239F5BB85}"/>
              </c:ext>
            </c:extLst>
          </c:dPt>
          <c:dPt>
            <c:idx val="1780"/>
            <c:invertIfNegative val="1"/>
            <c:bubble3D val="0"/>
            <c:spPr>
              <a:solidFill>
                <a:srgbClr val="AEABAB"/>
              </a:solidFill>
            </c:spPr>
            <c:extLst>
              <c:ext xmlns:c16="http://schemas.microsoft.com/office/drawing/2014/chart" uri="{C3380CC4-5D6E-409C-BE32-E72D297353CC}">
                <c16:uniqueId val="{00000DEB-61F5-407B-959D-D24239F5BB85}"/>
              </c:ext>
            </c:extLst>
          </c:dPt>
          <c:dPt>
            <c:idx val="1781"/>
            <c:invertIfNegative val="1"/>
            <c:bubble3D val="0"/>
            <c:spPr>
              <a:solidFill>
                <a:srgbClr val="AEABAB"/>
              </a:solidFill>
            </c:spPr>
            <c:extLst>
              <c:ext xmlns:c16="http://schemas.microsoft.com/office/drawing/2014/chart" uri="{C3380CC4-5D6E-409C-BE32-E72D297353CC}">
                <c16:uniqueId val="{00000DED-61F5-407B-959D-D24239F5BB85}"/>
              </c:ext>
            </c:extLst>
          </c:dPt>
          <c:dPt>
            <c:idx val="1782"/>
            <c:invertIfNegative val="1"/>
            <c:bubble3D val="0"/>
            <c:spPr>
              <a:solidFill>
                <a:srgbClr val="AEABAB"/>
              </a:solidFill>
            </c:spPr>
            <c:extLst>
              <c:ext xmlns:c16="http://schemas.microsoft.com/office/drawing/2014/chart" uri="{C3380CC4-5D6E-409C-BE32-E72D297353CC}">
                <c16:uniqueId val="{00000DEF-61F5-407B-959D-D24239F5BB85}"/>
              </c:ext>
            </c:extLst>
          </c:dPt>
          <c:dPt>
            <c:idx val="1783"/>
            <c:invertIfNegative val="1"/>
            <c:bubble3D val="0"/>
            <c:spPr>
              <a:solidFill>
                <a:srgbClr val="AEABAB"/>
              </a:solidFill>
            </c:spPr>
            <c:extLst>
              <c:ext xmlns:c16="http://schemas.microsoft.com/office/drawing/2014/chart" uri="{C3380CC4-5D6E-409C-BE32-E72D297353CC}">
                <c16:uniqueId val="{00000DF1-61F5-407B-959D-D24239F5BB85}"/>
              </c:ext>
            </c:extLst>
          </c:dPt>
          <c:dPt>
            <c:idx val="1784"/>
            <c:invertIfNegative val="1"/>
            <c:bubble3D val="0"/>
            <c:spPr>
              <a:solidFill>
                <a:srgbClr val="AEABAB"/>
              </a:solidFill>
            </c:spPr>
            <c:extLst>
              <c:ext xmlns:c16="http://schemas.microsoft.com/office/drawing/2014/chart" uri="{C3380CC4-5D6E-409C-BE32-E72D297353CC}">
                <c16:uniqueId val="{00000DF3-61F5-407B-959D-D24239F5BB85}"/>
              </c:ext>
            </c:extLst>
          </c:dPt>
          <c:dPt>
            <c:idx val="1785"/>
            <c:invertIfNegative val="1"/>
            <c:bubble3D val="0"/>
            <c:spPr>
              <a:solidFill>
                <a:srgbClr val="AEABAB"/>
              </a:solidFill>
            </c:spPr>
            <c:extLst>
              <c:ext xmlns:c16="http://schemas.microsoft.com/office/drawing/2014/chart" uri="{C3380CC4-5D6E-409C-BE32-E72D297353CC}">
                <c16:uniqueId val="{00000DF5-61F5-407B-959D-D24239F5BB85}"/>
              </c:ext>
            </c:extLst>
          </c:dPt>
          <c:dPt>
            <c:idx val="1786"/>
            <c:invertIfNegative val="1"/>
            <c:bubble3D val="0"/>
            <c:spPr>
              <a:solidFill>
                <a:srgbClr val="AEABAB"/>
              </a:solidFill>
            </c:spPr>
            <c:extLst>
              <c:ext xmlns:c16="http://schemas.microsoft.com/office/drawing/2014/chart" uri="{C3380CC4-5D6E-409C-BE32-E72D297353CC}">
                <c16:uniqueId val="{00000DF7-61F5-407B-959D-D24239F5BB85}"/>
              </c:ext>
            </c:extLst>
          </c:dPt>
          <c:dPt>
            <c:idx val="1787"/>
            <c:invertIfNegative val="1"/>
            <c:bubble3D val="0"/>
            <c:spPr>
              <a:solidFill>
                <a:srgbClr val="AEABAB"/>
              </a:solidFill>
            </c:spPr>
            <c:extLst>
              <c:ext xmlns:c16="http://schemas.microsoft.com/office/drawing/2014/chart" uri="{C3380CC4-5D6E-409C-BE32-E72D297353CC}">
                <c16:uniqueId val="{00000DF9-61F5-407B-959D-D24239F5BB85}"/>
              </c:ext>
            </c:extLst>
          </c:dPt>
          <c:dPt>
            <c:idx val="1788"/>
            <c:invertIfNegative val="1"/>
            <c:bubble3D val="0"/>
            <c:spPr>
              <a:solidFill>
                <a:srgbClr val="AEABAB"/>
              </a:solidFill>
            </c:spPr>
            <c:extLst>
              <c:ext xmlns:c16="http://schemas.microsoft.com/office/drawing/2014/chart" uri="{C3380CC4-5D6E-409C-BE32-E72D297353CC}">
                <c16:uniqueId val="{00000DFB-61F5-407B-959D-D24239F5BB85}"/>
              </c:ext>
            </c:extLst>
          </c:dPt>
          <c:dPt>
            <c:idx val="1789"/>
            <c:invertIfNegative val="1"/>
            <c:bubble3D val="0"/>
            <c:spPr>
              <a:solidFill>
                <a:srgbClr val="AEABAB"/>
              </a:solidFill>
            </c:spPr>
            <c:extLst>
              <c:ext xmlns:c16="http://schemas.microsoft.com/office/drawing/2014/chart" uri="{C3380CC4-5D6E-409C-BE32-E72D297353CC}">
                <c16:uniqueId val="{00000DFD-61F5-407B-959D-D24239F5BB85}"/>
              </c:ext>
            </c:extLst>
          </c:dPt>
          <c:dPt>
            <c:idx val="1790"/>
            <c:invertIfNegative val="1"/>
            <c:bubble3D val="0"/>
            <c:spPr>
              <a:solidFill>
                <a:srgbClr val="AEABAB"/>
              </a:solidFill>
            </c:spPr>
            <c:extLst>
              <c:ext xmlns:c16="http://schemas.microsoft.com/office/drawing/2014/chart" uri="{C3380CC4-5D6E-409C-BE32-E72D297353CC}">
                <c16:uniqueId val="{00000DFF-61F5-407B-959D-D24239F5BB85}"/>
              </c:ext>
            </c:extLst>
          </c:dPt>
          <c:dPt>
            <c:idx val="1791"/>
            <c:invertIfNegative val="1"/>
            <c:bubble3D val="0"/>
            <c:spPr>
              <a:solidFill>
                <a:srgbClr val="AEABAB"/>
              </a:solidFill>
            </c:spPr>
            <c:extLst>
              <c:ext xmlns:c16="http://schemas.microsoft.com/office/drawing/2014/chart" uri="{C3380CC4-5D6E-409C-BE32-E72D297353CC}">
                <c16:uniqueId val="{00000E01-61F5-407B-959D-D24239F5BB85}"/>
              </c:ext>
            </c:extLst>
          </c:dPt>
          <c:dPt>
            <c:idx val="1792"/>
            <c:invertIfNegative val="1"/>
            <c:bubble3D val="0"/>
            <c:spPr>
              <a:solidFill>
                <a:srgbClr val="AEABAB"/>
              </a:solidFill>
            </c:spPr>
            <c:extLst>
              <c:ext xmlns:c16="http://schemas.microsoft.com/office/drawing/2014/chart" uri="{C3380CC4-5D6E-409C-BE32-E72D297353CC}">
                <c16:uniqueId val="{00000E03-61F5-407B-959D-D24239F5BB85}"/>
              </c:ext>
            </c:extLst>
          </c:dPt>
          <c:dPt>
            <c:idx val="1793"/>
            <c:invertIfNegative val="1"/>
            <c:bubble3D val="0"/>
            <c:spPr>
              <a:solidFill>
                <a:srgbClr val="AEABAB"/>
              </a:solidFill>
            </c:spPr>
            <c:extLst>
              <c:ext xmlns:c16="http://schemas.microsoft.com/office/drawing/2014/chart" uri="{C3380CC4-5D6E-409C-BE32-E72D297353CC}">
                <c16:uniqueId val="{00000E05-61F5-407B-959D-D24239F5BB85}"/>
              </c:ext>
            </c:extLst>
          </c:dPt>
          <c:dPt>
            <c:idx val="1794"/>
            <c:invertIfNegative val="1"/>
            <c:bubble3D val="0"/>
            <c:spPr>
              <a:solidFill>
                <a:srgbClr val="AEABAB"/>
              </a:solidFill>
            </c:spPr>
            <c:extLst>
              <c:ext xmlns:c16="http://schemas.microsoft.com/office/drawing/2014/chart" uri="{C3380CC4-5D6E-409C-BE32-E72D297353CC}">
                <c16:uniqueId val="{00000E07-61F5-407B-959D-D24239F5BB85}"/>
              </c:ext>
            </c:extLst>
          </c:dPt>
          <c:dPt>
            <c:idx val="1795"/>
            <c:invertIfNegative val="1"/>
            <c:bubble3D val="0"/>
            <c:spPr>
              <a:solidFill>
                <a:srgbClr val="AEABAB"/>
              </a:solidFill>
            </c:spPr>
            <c:extLst>
              <c:ext xmlns:c16="http://schemas.microsoft.com/office/drawing/2014/chart" uri="{C3380CC4-5D6E-409C-BE32-E72D297353CC}">
                <c16:uniqueId val="{00000E09-61F5-407B-959D-D24239F5BB85}"/>
              </c:ext>
            </c:extLst>
          </c:dPt>
          <c:dPt>
            <c:idx val="1796"/>
            <c:invertIfNegative val="1"/>
            <c:bubble3D val="0"/>
            <c:spPr>
              <a:solidFill>
                <a:srgbClr val="AEABAB"/>
              </a:solidFill>
            </c:spPr>
            <c:extLst>
              <c:ext xmlns:c16="http://schemas.microsoft.com/office/drawing/2014/chart" uri="{C3380CC4-5D6E-409C-BE32-E72D297353CC}">
                <c16:uniqueId val="{00000E0B-61F5-407B-959D-D24239F5BB85}"/>
              </c:ext>
            </c:extLst>
          </c:dPt>
          <c:dPt>
            <c:idx val="1797"/>
            <c:invertIfNegative val="1"/>
            <c:bubble3D val="0"/>
            <c:spPr>
              <a:solidFill>
                <a:srgbClr val="AEABAB"/>
              </a:solidFill>
            </c:spPr>
            <c:extLst>
              <c:ext xmlns:c16="http://schemas.microsoft.com/office/drawing/2014/chart" uri="{C3380CC4-5D6E-409C-BE32-E72D297353CC}">
                <c16:uniqueId val="{00000E0D-61F5-407B-959D-D24239F5BB85}"/>
              </c:ext>
            </c:extLst>
          </c:dPt>
          <c:dPt>
            <c:idx val="1798"/>
            <c:invertIfNegative val="1"/>
            <c:bubble3D val="0"/>
            <c:spPr>
              <a:solidFill>
                <a:srgbClr val="AEABAB"/>
              </a:solidFill>
            </c:spPr>
            <c:extLst>
              <c:ext xmlns:c16="http://schemas.microsoft.com/office/drawing/2014/chart" uri="{C3380CC4-5D6E-409C-BE32-E72D297353CC}">
                <c16:uniqueId val="{00000E0F-61F5-407B-959D-D24239F5BB85}"/>
              </c:ext>
            </c:extLst>
          </c:dPt>
          <c:dPt>
            <c:idx val="1799"/>
            <c:invertIfNegative val="1"/>
            <c:bubble3D val="0"/>
            <c:spPr>
              <a:solidFill>
                <a:srgbClr val="AEABAB"/>
              </a:solidFill>
            </c:spPr>
            <c:extLst>
              <c:ext xmlns:c16="http://schemas.microsoft.com/office/drawing/2014/chart" uri="{C3380CC4-5D6E-409C-BE32-E72D297353CC}">
                <c16:uniqueId val="{00000E11-61F5-407B-959D-D24239F5BB85}"/>
              </c:ext>
            </c:extLst>
          </c:dPt>
          <c:dPt>
            <c:idx val="1800"/>
            <c:invertIfNegative val="1"/>
            <c:bubble3D val="0"/>
            <c:spPr>
              <a:solidFill>
                <a:srgbClr val="AEABAB"/>
              </a:solidFill>
            </c:spPr>
            <c:extLst>
              <c:ext xmlns:c16="http://schemas.microsoft.com/office/drawing/2014/chart" uri="{C3380CC4-5D6E-409C-BE32-E72D297353CC}">
                <c16:uniqueId val="{00000E13-61F5-407B-959D-D24239F5BB85}"/>
              </c:ext>
            </c:extLst>
          </c:dPt>
          <c:dPt>
            <c:idx val="1801"/>
            <c:invertIfNegative val="1"/>
            <c:bubble3D val="0"/>
            <c:spPr>
              <a:solidFill>
                <a:srgbClr val="AEABAB"/>
              </a:solidFill>
            </c:spPr>
            <c:extLst>
              <c:ext xmlns:c16="http://schemas.microsoft.com/office/drawing/2014/chart" uri="{C3380CC4-5D6E-409C-BE32-E72D297353CC}">
                <c16:uniqueId val="{00000E15-61F5-407B-959D-D24239F5BB85}"/>
              </c:ext>
            </c:extLst>
          </c:dPt>
          <c:dPt>
            <c:idx val="1802"/>
            <c:invertIfNegative val="1"/>
            <c:bubble3D val="0"/>
            <c:spPr>
              <a:solidFill>
                <a:srgbClr val="AEABAB"/>
              </a:solidFill>
            </c:spPr>
            <c:extLst>
              <c:ext xmlns:c16="http://schemas.microsoft.com/office/drawing/2014/chart" uri="{C3380CC4-5D6E-409C-BE32-E72D297353CC}">
                <c16:uniqueId val="{00000E17-61F5-407B-959D-D24239F5BB85}"/>
              </c:ext>
            </c:extLst>
          </c:dPt>
          <c:dPt>
            <c:idx val="1803"/>
            <c:invertIfNegative val="1"/>
            <c:bubble3D val="0"/>
            <c:spPr>
              <a:solidFill>
                <a:srgbClr val="AEABAB"/>
              </a:solidFill>
            </c:spPr>
            <c:extLst>
              <c:ext xmlns:c16="http://schemas.microsoft.com/office/drawing/2014/chart" uri="{C3380CC4-5D6E-409C-BE32-E72D297353CC}">
                <c16:uniqueId val="{00000E19-61F5-407B-959D-D24239F5BB85}"/>
              </c:ext>
            </c:extLst>
          </c:dPt>
          <c:dPt>
            <c:idx val="1804"/>
            <c:invertIfNegative val="1"/>
            <c:bubble3D val="0"/>
            <c:spPr>
              <a:solidFill>
                <a:srgbClr val="AEABAB"/>
              </a:solidFill>
            </c:spPr>
            <c:extLst>
              <c:ext xmlns:c16="http://schemas.microsoft.com/office/drawing/2014/chart" uri="{C3380CC4-5D6E-409C-BE32-E72D297353CC}">
                <c16:uniqueId val="{00000E1B-61F5-407B-959D-D24239F5BB85}"/>
              </c:ext>
            </c:extLst>
          </c:dPt>
          <c:dPt>
            <c:idx val="1805"/>
            <c:invertIfNegative val="1"/>
            <c:bubble3D val="0"/>
            <c:spPr>
              <a:solidFill>
                <a:srgbClr val="AEABAB"/>
              </a:solidFill>
            </c:spPr>
            <c:extLst>
              <c:ext xmlns:c16="http://schemas.microsoft.com/office/drawing/2014/chart" uri="{C3380CC4-5D6E-409C-BE32-E72D297353CC}">
                <c16:uniqueId val="{00000E1D-61F5-407B-959D-D24239F5BB85}"/>
              </c:ext>
            </c:extLst>
          </c:dPt>
          <c:dPt>
            <c:idx val="1806"/>
            <c:invertIfNegative val="1"/>
            <c:bubble3D val="0"/>
            <c:spPr>
              <a:solidFill>
                <a:srgbClr val="AEABAB"/>
              </a:solidFill>
            </c:spPr>
            <c:extLst>
              <c:ext xmlns:c16="http://schemas.microsoft.com/office/drawing/2014/chart" uri="{C3380CC4-5D6E-409C-BE32-E72D297353CC}">
                <c16:uniqueId val="{00000E1F-61F5-407B-959D-D24239F5BB85}"/>
              </c:ext>
            </c:extLst>
          </c:dPt>
          <c:dPt>
            <c:idx val="1807"/>
            <c:invertIfNegative val="1"/>
            <c:bubble3D val="0"/>
            <c:spPr>
              <a:solidFill>
                <a:srgbClr val="AEABAB"/>
              </a:solidFill>
            </c:spPr>
            <c:extLst>
              <c:ext xmlns:c16="http://schemas.microsoft.com/office/drawing/2014/chart" uri="{C3380CC4-5D6E-409C-BE32-E72D297353CC}">
                <c16:uniqueId val="{00000E21-61F5-407B-959D-D24239F5BB85}"/>
              </c:ext>
            </c:extLst>
          </c:dPt>
          <c:dPt>
            <c:idx val="1808"/>
            <c:invertIfNegative val="1"/>
            <c:bubble3D val="0"/>
            <c:spPr>
              <a:solidFill>
                <a:srgbClr val="AEABAB"/>
              </a:solidFill>
            </c:spPr>
            <c:extLst>
              <c:ext xmlns:c16="http://schemas.microsoft.com/office/drawing/2014/chart" uri="{C3380CC4-5D6E-409C-BE32-E72D297353CC}">
                <c16:uniqueId val="{00000E23-61F5-407B-959D-D24239F5BB85}"/>
              </c:ext>
            </c:extLst>
          </c:dPt>
          <c:dPt>
            <c:idx val="1809"/>
            <c:invertIfNegative val="1"/>
            <c:bubble3D val="0"/>
            <c:spPr>
              <a:solidFill>
                <a:srgbClr val="AEABAB"/>
              </a:solidFill>
            </c:spPr>
            <c:extLst>
              <c:ext xmlns:c16="http://schemas.microsoft.com/office/drawing/2014/chart" uri="{C3380CC4-5D6E-409C-BE32-E72D297353CC}">
                <c16:uniqueId val="{00000E25-61F5-407B-959D-D24239F5BB85}"/>
              </c:ext>
            </c:extLst>
          </c:dPt>
          <c:dPt>
            <c:idx val="1810"/>
            <c:invertIfNegative val="1"/>
            <c:bubble3D val="0"/>
            <c:spPr>
              <a:solidFill>
                <a:srgbClr val="AEABAB"/>
              </a:solidFill>
            </c:spPr>
            <c:extLst>
              <c:ext xmlns:c16="http://schemas.microsoft.com/office/drawing/2014/chart" uri="{C3380CC4-5D6E-409C-BE32-E72D297353CC}">
                <c16:uniqueId val="{00000E27-61F5-407B-959D-D24239F5BB85}"/>
              </c:ext>
            </c:extLst>
          </c:dPt>
          <c:dPt>
            <c:idx val="1811"/>
            <c:invertIfNegative val="1"/>
            <c:bubble3D val="0"/>
            <c:spPr>
              <a:solidFill>
                <a:srgbClr val="AEABAB"/>
              </a:solidFill>
            </c:spPr>
            <c:extLst>
              <c:ext xmlns:c16="http://schemas.microsoft.com/office/drawing/2014/chart" uri="{C3380CC4-5D6E-409C-BE32-E72D297353CC}">
                <c16:uniqueId val="{00000E29-61F5-407B-959D-D24239F5BB85}"/>
              </c:ext>
            </c:extLst>
          </c:dPt>
          <c:dPt>
            <c:idx val="1812"/>
            <c:invertIfNegative val="1"/>
            <c:bubble3D val="0"/>
            <c:spPr>
              <a:solidFill>
                <a:srgbClr val="AEABAB"/>
              </a:solidFill>
            </c:spPr>
            <c:extLst>
              <c:ext xmlns:c16="http://schemas.microsoft.com/office/drawing/2014/chart" uri="{C3380CC4-5D6E-409C-BE32-E72D297353CC}">
                <c16:uniqueId val="{00000E2B-61F5-407B-959D-D24239F5BB85}"/>
              </c:ext>
            </c:extLst>
          </c:dPt>
          <c:dPt>
            <c:idx val="1813"/>
            <c:invertIfNegative val="1"/>
            <c:bubble3D val="0"/>
            <c:spPr>
              <a:solidFill>
                <a:srgbClr val="AEABAB"/>
              </a:solidFill>
            </c:spPr>
            <c:extLst>
              <c:ext xmlns:c16="http://schemas.microsoft.com/office/drawing/2014/chart" uri="{C3380CC4-5D6E-409C-BE32-E72D297353CC}">
                <c16:uniqueId val="{00000E2D-61F5-407B-959D-D24239F5BB85}"/>
              </c:ext>
            </c:extLst>
          </c:dPt>
          <c:dPt>
            <c:idx val="1814"/>
            <c:invertIfNegative val="1"/>
            <c:bubble3D val="0"/>
            <c:spPr>
              <a:solidFill>
                <a:srgbClr val="AEABAB"/>
              </a:solidFill>
            </c:spPr>
            <c:extLst>
              <c:ext xmlns:c16="http://schemas.microsoft.com/office/drawing/2014/chart" uri="{C3380CC4-5D6E-409C-BE32-E72D297353CC}">
                <c16:uniqueId val="{00000E2F-61F5-407B-959D-D24239F5BB85}"/>
              </c:ext>
            </c:extLst>
          </c:dPt>
          <c:dPt>
            <c:idx val="1815"/>
            <c:invertIfNegative val="1"/>
            <c:bubble3D val="0"/>
            <c:spPr>
              <a:solidFill>
                <a:srgbClr val="AEABAB"/>
              </a:solidFill>
            </c:spPr>
            <c:extLst>
              <c:ext xmlns:c16="http://schemas.microsoft.com/office/drawing/2014/chart" uri="{C3380CC4-5D6E-409C-BE32-E72D297353CC}">
                <c16:uniqueId val="{00000E31-61F5-407B-959D-D24239F5BB85}"/>
              </c:ext>
            </c:extLst>
          </c:dPt>
          <c:dPt>
            <c:idx val="1816"/>
            <c:invertIfNegative val="1"/>
            <c:bubble3D val="0"/>
            <c:spPr>
              <a:solidFill>
                <a:srgbClr val="AEABAB"/>
              </a:solidFill>
            </c:spPr>
            <c:extLst>
              <c:ext xmlns:c16="http://schemas.microsoft.com/office/drawing/2014/chart" uri="{C3380CC4-5D6E-409C-BE32-E72D297353CC}">
                <c16:uniqueId val="{00000E33-61F5-407B-959D-D24239F5BB85}"/>
              </c:ext>
            </c:extLst>
          </c:dPt>
          <c:dPt>
            <c:idx val="1817"/>
            <c:invertIfNegative val="1"/>
            <c:bubble3D val="0"/>
            <c:spPr>
              <a:solidFill>
                <a:srgbClr val="AEABAB"/>
              </a:solidFill>
            </c:spPr>
            <c:extLst>
              <c:ext xmlns:c16="http://schemas.microsoft.com/office/drawing/2014/chart" uri="{C3380CC4-5D6E-409C-BE32-E72D297353CC}">
                <c16:uniqueId val="{00000E35-61F5-407B-959D-D24239F5BB85}"/>
              </c:ext>
            </c:extLst>
          </c:dPt>
          <c:dPt>
            <c:idx val="1818"/>
            <c:invertIfNegative val="1"/>
            <c:bubble3D val="0"/>
            <c:spPr>
              <a:solidFill>
                <a:srgbClr val="AEABAB"/>
              </a:solidFill>
            </c:spPr>
            <c:extLst>
              <c:ext xmlns:c16="http://schemas.microsoft.com/office/drawing/2014/chart" uri="{C3380CC4-5D6E-409C-BE32-E72D297353CC}">
                <c16:uniqueId val="{00000E37-61F5-407B-959D-D24239F5BB85}"/>
              </c:ext>
            </c:extLst>
          </c:dPt>
          <c:dPt>
            <c:idx val="1819"/>
            <c:invertIfNegative val="1"/>
            <c:bubble3D val="0"/>
            <c:spPr>
              <a:solidFill>
                <a:srgbClr val="AEABAB"/>
              </a:solidFill>
            </c:spPr>
            <c:extLst>
              <c:ext xmlns:c16="http://schemas.microsoft.com/office/drawing/2014/chart" uri="{C3380CC4-5D6E-409C-BE32-E72D297353CC}">
                <c16:uniqueId val="{00000E39-61F5-407B-959D-D24239F5BB85}"/>
              </c:ext>
            </c:extLst>
          </c:dPt>
          <c:dPt>
            <c:idx val="1820"/>
            <c:invertIfNegative val="1"/>
            <c:bubble3D val="0"/>
            <c:spPr>
              <a:solidFill>
                <a:srgbClr val="AEABAB"/>
              </a:solidFill>
            </c:spPr>
            <c:extLst>
              <c:ext xmlns:c16="http://schemas.microsoft.com/office/drawing/2014/chart" uri="{C3380CC4-5D6E-409C-BE32-E72D297353CC}">
                <c16:uniqueId val="{00000E3B-61F5-407B-959D-D24239F5BB85}"/>
              </c:ext>
            </c:extLst>
          </c:dPt>
          <c:dPt>
            <c:idx val="1821"/>
            <c:invertIfNegative val="1"/>
            <c:bubble3D val="0"/>
            <c:spPr>
              <a:solidFill>
                <a:srgbClr val="AEABAB"/>
              </a:solidFill>
            </c:spPr>
            <c:extLst>
              <c:ext xmlns:c16="http://schemas.microsoft.com/office/drawing/2014/chart" uri="{C3380CC4-5D6E-409C-BE32-E72D297353CC}">
                <c16:uniqueId val="{00000E3D-61F5-407B-959D-D24239F5BB85}"/>
              </c:ext>
            </c:extLst>
          </c:dPt>
          <c:dPt>
            <c:idx val="1822"/>
            <c:invertIfNegative val="1"/>
            <c:bubble3D val="0"/>
            <c:spPr>
              <a:solidFill>
                <a:srgbClr val="AEABAB"/>
              </a:solidFill>
            </c:spPr>
            <c:extLst>
              <c:ext xmlns:c16="http://schemas.microsoft.com/office/drawing/2014/chart" uri="{C3380CC4-5D6E-409C-BE32-E72D297353CC}">
                <c16:uniqueId val="{00000E3F-61F5-407B-959D-D24239F5BB85}"/>
              </c:ext>
            </c:extLst>
          </c:dPt>
          <c:dPt>
            <c:idx val="1823"/>
            <c:invertIfNegative val="1"/>
            <c:bubble3D val="0"/>
            <c:spPr>
              <a:solidFill>
                <a:srgbClr val="AEABAB"/>
              </a:solidFill>
            </c:spPr>
            <c:extLst>
              <c:ext xmlns:c16="http://schemas.microsoft.com/office/drawing/2014/chart" uri="{C3380CC4-5D6E-409C-BE32-E72D297353CC}">
                <c16:uniqueId val="{00000E41-61F5-407B-959D-D24239F5BB85}"/>
              </c:ext>
            </c:extLst>
          </c:dPt>
          <c:dPt>
            <c:idx val="1824"/>
            <c:invertIfNegative val="1"/>
            <c:bubble3D val="0"/>
            <c:spPr>
              <a:solidFill>
                <a:srgbClr val="AEABAB"/>
              </a:solidFill>
            </c:spPr>
            <c:extLst>
              <c:ext xmlns:c16="http://schemas.microsoft.com/office/drawing/2014/chart" uri="{C3380CC4-5D6E-409C-BE32-E72D297353CC}">
                <c16:uniqueId val="{00000E43-61F5-407B-959D-D24239F5BB85}"/>
              </c:ext>
            </c:extLst>
          </c:dPt>
          <c:dPt>
            <c:idx val="1825"/>
            <c:invertIfNegative val="1"/>
            <c:bubble3D val="0"/>
            <c:spPr>
              <a:solidFill>
                <a:srgbClr val="AEABAB"/>
              </a:solidFill>
            </c:spPr>
            <c:extLst>
              <c:ext xmlns:c16="http://schemas.microsoft.com/office/drawing/2014/chart" uri="{C3380CC4-5D6E-409C-BE32-E72D297353CC}">
                <c16:uniqueId val="{00000E45-61F5-407B-959D-D24239F5BB85}"/>
              </c:ext>
            </c:extLst>
          </c:dPt>
          <c:dPt>
            <c:idx val="1826"/>
            <c:invertIfNegative val="1"/>
            <c:bubble3D val="0"/>
            <c:spPr>
              <a:solidFill>
                <a:srgbClr val="AEABAB"/>
              </a:solidFill>
            </c:spPr>
            <c:extLst>
              <c:ext xmlns:c16="http://schemas.microsoft.com/office/drawing/2014/chart" uri="{C3380CC4-5D6E-409C-BE32-E72D297353CC}">
                <c16:uniqueId val="{00000E47-61F5-407B-959D-D24239F5BB85}"/>
              </c:ext>
            </c:extLst>
          </c:dPt>
          <c:dPt>
            <c:idx val="1827"/>
            <c:invertIfNegative val="1"/>
            <c:bubble3D val="0"/>
            <c:spPr>
              <a:solidFill>
                <a:srgbClr val="AEABAB"/>
              </a:solidFill>
            </c:spPr>
            <c:extLst>
              <c:ext xmlns:c16="http://schemas.microsoft.com/office/drawing/2014/chart" uri="{C3380CC4-5D6E-409C-BE32-E72D297353CC}">
                <c16:uniqueId val="{00000E49-61F5-407B-959D-D24239F5BB85}"/>
              </c:ext>
            </c:extLst>
          </c:dPt>
          <c:dPt>
            <c:idx val="1828"/>
            <c:invertIfNegative val="1"/>
            <c:bubble3D val="0"/>
            <c:spPr>
              <a:solidFill>
                <a:srgbClr val="AEABAB"/>
              </a:solidFill>
            </c:spPr>
            <c:extLst>
              <c:ext xmlns:c16="http://schemas.microsoft.com/office/drawing/2014/chart" uri="{C3380CC4-5D6E-409C-BE32-E72D297353CC}">
                <c16:uniqueId val="{00000E4B-61F5-407B-959D-D24239F5BB85}"/>
              </c:ext>
            </c:extLst>
          </c:dPt>
          <c:dPt>
            <c:idx val="1829"/>
            <c:invertIfNegative val="1"/>
            <c:bubble3D val="0"/>
            <c:spPr>
              <a:solidFill>
                <a:srgbClr val="AEABAB"/>
              </a:solidFill>
            </c:spPr>
            <c:extLst>
              <c:ext xmlns:c16="http://schemas.microsoft.com/office/drawing/2014/chart" uri="{C3380CC4-5D6E-409C-BE32-E72D297353CC}">
                <c16:uniqueId val="{00000E4D-61F5-407B-959D-D24239F5BB85}"/>
              </c:ext>
            </c:extLst>
          </c:dPt>
          <c:dPt>
            <c:idx val="1830"/>
            <c:invertIfNegative val="1"/>
            <c:bubble3D val="0"/>
            <c:spPr>
              <a:solidFill>
                <a:srgbClr val="AEABAB"/>
              </a:solidFill>
            </c:spPr>
            <c:extLst>
              <c:ext xmlns:c16="http://schemas.microsoft.com/office/drawing/2014/chart" uri="{C3380CC4-5D6E-409C-BE32-E72D297353CC}">
                <c16:uniqueId val="{00000E4F-61F5-407B-959D-D24239F5BB85}"/>
              </c:ext>
            </c:extLst>
          </c:dPt>
          <c:dPt>
            <c:idx val="1831"/>
            <c:invertIfNegative val="1"/>
            <c:bubble3D val="0"/>
            <c:spPr>
              <a:solidFill>
                <a:srgbClr val="AEABAB"/>
              </a:solidFill>
            </c:spPr>
            <c:extLst>
              <c:ext xmlns:c16="http://schemas.microsoft.com/office/drawing/2014/chart" uri="{C3380CC4-5D6E-409C-BE32-E72D297353CC}">
                <c16:uniqueId val="{00000E51-61F5-407B-959D-D24239F5BB85}"/>
              </c:ext>
            </c:extLst>
          </c:dPt>
          <c:dPt>
            <c:idx val="1832"/>
            <c:invertIfNegative val="1"/>
            <c:bubble3D val="0"/>
            <c:spPr>
              <a:solidFill>
                <a:srgbClr val="AEABAB"/>
              </a:solidFill>
            </c:spPr>
            <c:extLst>
              <c:ext xmlns:c16="http://schemas.microsoft.com/office/drawing/2014/chart" uri="{C3380CC4-5D6E-409C-BE32-E72D297353CC}">
                <c16:uniqueId val="{00000E53-61F5-407B-959D-D24239F5BB85}"/>
              </c:ext>
            </c:extLst>
          </c:dPt>
          <c:dPt>
            <c:idx val="1833"/>
            <c:invertIfNegative val="1"/>
            <c:bubble3D val="0"/>
            <c:spPr>
              <a:solidFill>
                <a:srgbClr val="AEABAB"/>
              </a:solidFill>
            </c:spPr>
            <c:extLst>
              <c:ext xmlns:c16="http://schemas.microsoft.com/office/drawing/2014/chart" uri="{C3380CC4-5D6E-409C-BE32-E72D297353CC}">
                <c16:uniqueId val="{00000E55-61F5-407B-959D-D24239F5BB85}"/>
              </c:ext>
            </c:extLst>
          </c:dPt>
          <c:dPt>
            <c:idx val="1834"/>
            <c:invertIfNegative val="1"/>
            <c:bubble3D val="0"/>
            <c:spPr>
              <a:solidFill>
                <a:srgbClr val="AEABAB"/>
              </a:solidFill>
            </c:spPr>
            <c:extLst>
              <c:ext xmlns:c16="http://schemas.microsoft.com/office/drawing/2014/chart" uri="{C3380CC4-5D6E-409C-BE32-E72D297353CC}">
                <c16:uniqueId val="{00000E57-61F5-407B-959D-D24239F5BB85}"/>
              </c:ext>
            </c:extLst>
          </c:dPt>
          <c:dPt>
            <c:idx val="1835"/>
            <c:invertIfNegative val="1"/>
            <c:bubble3D val="0"/>
            <c:spPr>
              <a:solidFill>
                <a:srgbClr val="AEABAB"/>
              </a:solidFill>
            </c:spPr>
            <c:extLst>
              <c:ext xmlns:c16="http://schemas.microsoft.com/office/drawing/2014/chart" uri="{C3380CC4-5D6E-409C-BE32-E72D297353CC}">
                <c16:uniqueId val="{00000E59-61F5-407B-959D-D24239F5BB85}"/>
              </c:ext>
            </c:extLst>
          </c:dPt>
          <c:dPt>
            <c:idx val="1836"/>
            <c:invertIfNegative val="1"/>
            <c:bubble3D val="0"/>
            <c:spPr>
              <a:solidFill>
                <a:srgbClr val="AEABAB"/>
              </a:solidFill>
            </c:spPr>
            <c:extLst>
              <c:ext xmlns:c16="http://schemas.microsoft.com/office/drawing/2014/chart" uri="{C3380CC4-5D6E-409C-BE32-E72D297353CC}">
                <c16:uniqueId val="{00000E5B-61F5-407B-959D-D24239F5BB85}"/>
              </c:ext>
            </c:extLst>
          </c:dPt>
          <c:dPt>
            <c:idx val="1837"/>
            <c:invertIfNegative val="1"/>
            <c:bubble3D val="0"/>
            <c:spPr>
              <a:solidFill>
                <a:srgbClr val="AEABAB"/>
              </a:solidFill>
            </c:spPr>
            <c:extLst>
              <c:ext xmlns:c16="http://schemas.microsoft.com/office/drawing/2014/chart" uri="{C3380CC4-5D6E-409C-BE32-E72D297353CC}">
                <c16:uniqueId val="{00000E5D-61F5-407B-959D-D24239F5BB85}"/>
              </c:ext>
            </c:extLst>
          </c:dPt>
          <c:dPt>
            <c:idx val="1838"/>
            <c:invertIfNegative val="1"/>
            <c:bubble3D val="0"/>
            <c:spPr>
              <a:solidFill>
                <a:srgbClr val="AEABAB"/>
              </a:solidFill>
            </c:spPr>
            <c:extLst>
              <c:ext xmlns:c16="http://schemas.microsoft.com/office/drawing/2014/chart" uri="{C3380CC4-5D6E-409C-BE32-E72D297353CC}">
                <c16:uniqueId val="{00000E5F-61F5-407B-959D-D24239F5BB85}"/>
              </c:ext>
            </c:extLst>
          </c:dPt>
          <c:dPt>
            <c:idx val="1839"/>
            <c:invertIfNegative val="1"/>
            <c:bubble3D val="0"/>
            <c:spPr>
              <a:solidFill>
                <a:srgbClr val="AEABAB"/>
              </a:solidFill>
            </c:spPr>
            <c:extLst>
              <c:ext xmlns:c16="http://schemas.microsoft.com/office/drawing/2014/chart" uri="{C3380CC4-5D6E-409C-BE32-E72D297353CC}">
                <c16:uniqueId val="{00000E61-61F5-407B-959D-D24239F5BB85}"/>
              </c:ext>
            </c:extLst>
          </c:dPt>
          <c:dPt>
            <c:idx val="1840"/>
            <c:invertIfNegative val="1"/>
            <c:bubble3D val="0"/>
            <c:spPr>
              <a:solidFill>
                <a:srgbClr val="AEABAB"/>
              </a:solidFill>
            </c:spPr>
            <c:extLst>
              <c:ext xmlns:c16="http://schemas.microsoft.com/office/drawing/2014/chart" uri="{C3380CC4-5D6E-409C-BE32-E72D297353CC}">
                <c16:uniqueId val="{00000E63-61F5-407B-959D-D24239F5BB85}"/>
              </c:ext>
            </c:extLst>
          </c:dPt>
          <c:dPt>
            <c:idx val="1841"/>
            <c:invertIfNegative val="1"/>
            <c:bubble3D val="0"/>
            <c:spPr>
              <a:solidFill>
                <a:srgbClr val="AEABAB"/>
              </a:solidFill>
            </c:spPr>
            <c:extLst>
              <c:ext xmlns:c16="http://schemas.microsoft.com/office/drawing/2014/chart" uri="{C3380CC4-5D6E-409C-BE32-E72D297353CC}">
                <c16:uniqueId val="{00000E65-61F5-407B-959D-D24239F5BB85}"/>
              </c:ext>
            </c:extLst>
          </c:dPt>
          <c:dPt>
            <c:idx val="1842"/>
            <c:invertIfNegative val="1"/>
            <c:bubble3D val="0"/>
            <c:spPr>
              <a:solidFill>
                <a:srgbClr val="AEABAB"/>
              </a:solidFill>
            </c:spPr>
            <c:extLst>
              <c:ext xmlns:c16="http://schemas.microsoft.com/office/drawing/2014/chart" uri="{C3380CC4-5D6E-409C-BE32-E72D297353CC}">
                <c16:uniqueId val="{00000E67-61F5-407B-959D-D24239F5BB85}"/>
              </c:ext>
            </c:extLst>
          </c:dPt>
          <c:dPt>
            <c:idx val="1843"/>
            <c:invertIfNegative val="1"/>
            <c:bubble3D val="0"/>
            <c:spPr>
              <a:solidFill>
                <a:srgbClr val="AEABAB"/>
              </a:solidFill>
            </c:spPr>
            <c:extLst>
              <c:ext xmlns:c16="http://schemas.microsoft.com/office/drawing/2014/chart" uri="{C3380CC4-5D6E-409C-BE32-E72D297353CC}">
                <c16:uniqueId val="{00000E69-61F5-407B-959D-D24239F5BB85}"/>
              </c:ext>
            </c:extLst>
          </c:dPt>
          <c:dPt>
            <c:idx val="1844"/>
            <c:invertIfNegative val="1"/>
            <c:bubble3D val="0"/>
            <c:spPr>
              <a:solidFill>
                <a:srgbClr val="AEABAB"/>
              </a:solidFill>
            </c:spPr>
            <c:extLst>
              <c:ext xmlns:c16="http://schemas.microsoft.com/office/drawing/2014/chart" uri="{C3380CC4-5D6E-409C-BE32-E72D297353CC}">
                <c16:uniqueId val="{00000E6B-61F5-407B-959D-D24239F5BB85}"/>
              </c:ext>
            </c:extLst>
          </c:dPt>
          <c:dPt>
            <c:idx val="1845"/>
            <c:invertIfNegative val="1"/>
            <c:bubble3D val="0"/>
            <c:spPr>
              <a:solidFill>
                <a:srgbClr val="AEABAB"/>
              </a:solidFill>
            </c:spPr>
            <c:extLst>
              <c:ext xmlns:c16="http://schemas.microsoft.com/office/drawing/2014/chart" uri="{C3380CC4-5D6E-409C-BE32-E72D297353CC}">
                <c16:uniqueId val="{00000E6D-61F5-407B-959D-D24239F5BB85}"/>
              </c:ext>
            </c:extLst>
          </c:dPt>
          <c:dPt>
            <c:idx val="1846"/>
            <c:invertIfNegative val="1"/>
            <c:bubble3D val="0"/>
            <c:spPr>
              <a:solidFill>
                <a:srgbClr val="AEABAB"/>
              </a:solidFill>
            </c:spPr>
            <c:extLst>
              <c:ext xmlns:c16="http://schemas.microsoft.com/office/drawing/2014/chart" uri="{C3380CC4-5D6E-409C-BE32-E72D297353CC}">
                <c16:uniqueId val="{00000E6F-61F5-407B-959D-D24239F5BB85}"/>
              </c:ext>
            </c:extLst>
          </c:dPt>
          <c:dPt>
            <c:idx val="1847"/>
            <c:invertIfNegative val="1"/>
            <c:bubble3D val="0"/>
            <c:spPr>
              <a:solidFill>
                <a:srgbClr val="AEABAB"/>
              </a:solidFill>
            </c:spPr>
            <c:extLst>
              <c:ext xmlns:c16="http://schemas.microsoft.com/office/drawing/2014/chart" uri="{C3380CC4-5D6E-409C-BE32-E72D297353CC}">
                <c16:uniqueId val="{00000E71-61F5-407B-959D-D24239F5BB85}"/>
              </c:ext>
            </c:extLst>
          </c:dPt>
          <c:dPt>
            <c:idx val="1848"/>
            <c:invertIfNegative val="1"/>
            <c:bubble3D val="0"/>
            <c:spPr>
              <a:solidFill>
                <a:srgbClr val="AEABAB"/>
              </a:solidFill>
            </c:spPr>
            <c:extLst>
              <c:ext xmlns:c16="http://schemas.microsoft.com/office/drawing/2014/chart" uri="{C3380CC4-5D6E-409C-BE32-E72D297353CC}">
                <c16:uniqueId val="{00000E73-61F5-407B-959D-D24239F5BB85}"/>
              </c:ext>
            </c:extLst>
          </c:dPt>
          <c:dPt>
            <c:idx val="1849"/>
            <c:invertIfNegative val="1"/>
            <c:bubble3D val="0"/>
            <c:spPr>
              <a:solidFill>
                <a:srgbClr val="AEABAB"/>
              </a:solidFill>
            </c:spPr>
            <c:extLst>
              <c:ext xmlns:c16="http://schemas.microsoft.com/office/drawing/2014/chart" uri="{C3380CC4-5D6E-409C-BE32-E72D297353CC}">
                <c16:uniqueId val="{00000E75-61F5-407B-959D-D24239F5BB85}"/>
              </c:ext>
            </c:extLst>
          </c:dPt>
          <c:dPt>
            <c:idx val="1850"/>
            <c:invertIfNegative val="1"/>
            <c:bubble3D val="0"/>
            <c:spPr>
              <a:solidFill>
                <a:srgbClr val="AEABAB"/>
              </a:solidFill>
            </c:spPr>
            <c:extLst>
              <c:ext xmlns:c16="http://schemas.microsoft.com/office/drawing/2014/chart" uri="{C3380CC4-5D6E-409C-BE32-E72D297353CC}">
                <c16:uniqueId val="{00000E77-61F5-407B-959D-D24239F5BB85}"/>
              </c:ext>
            </c:extLst>
          </c:dPt>
          <c:dPt>
            <c:idx val="1851"/>
            <c:invertIfNegative val="1"/>
            <c:bubble3D val="0"/>
            <c:spPr>
              <a:solidFill>
                <a:srgbClr val="AEABAB"/>
              </a:solidFill>
            </c:spPr>
            <c:extLst>
              <c:ext xmlns:c16="http://schemas.microsoft.com/office/drawing/2014/chart" uri="{C3380CC4-5D6E-409C-BE32-E72D297353CC}">
                <c16:uniqueId val="{00000E79-61F5-407B-959D-D24239F5BB85}"/>
              </c:ext>
            </c:extLst>
          </c:dPt>
          <c:dPt>
            <c:idx val="1852"/>
            <c:invertIfNegative val="1"/>
            <c:bubble3D val="0"/>
            <c:spPr>
              <a:solidFill>
                <a:srgbClr val="AEABAB"/>
              </a:solidFill>
            </c:spPr>
            <c:extLst>
              <c:ext xmlns:c16="http://schemas.microsoft.com/office/drawing/2014/chart" uri="{C3380CC4-5D6E-409C-BE32-E72D297353CC}">
                <c16:uniqueId val="{00000E7B-61F5-407B-959D-D24239F5BB85}"/>
              </c:ext>
            </c:extLst>
          </c:dPt>
          <c:dPt>
            <c:idx val="1853"/>
            <c:invertIfNegative val="1"/>
            <c:bubble3D val="0"/>
            <c:spPr>
              <a:solidFill>
                <a:srgbClr val="AEABAB"/>
              </a:solidFill>
            </c:spPr>
            <c:extLst>
              <c:ext xmlns:c16="http://schemas.microsoft.com/office/drawing/2014/chart" uri="{C3380CC4-5D6E-409C-BE32-E72D297353CC}">
                <c16:uniqueId val="{00000E7D-61F5-407B-959D-D24239F5BB85}"/>
              </c:ext>
            </c:extLst>
          </c:dPt>
          <c:dPt>
            <c:idx val="1854"/>
            <c:invertIfNegative val="1"/>
            <c:bubble3D val="0"/>
            <c:spPr>
              <a:solidFill>
                <a:srgbClr val="AEABAB"/>
              </a:solidFill>
            </c:spPr>
            <c:extLst>
              <c:ext xmlns:c16="http://schemas.microsoft.com/office/drawing/2014/chart" uri="{C3380CC4-5D6E-409C-BE32-E72D297353CC}">
                <c16:uniqueId val="{00000E7F-61F5-407B-959D-D24239F5BB85}"/>
              </c:ext>
            </c:extLst>
          </c:dPt>
          <c:dPt>
            <c:idx val="1855"/>
            <c:invertIfNegative val="1"/>
            <c:bubble3D val="0"/>
            <c:spPr>
              <a:solidFill>
                <a:srgbClr val="AEABAB"/>
              </a:solidFill>
            </c:spPr>
            <c:extLst>
              <c:ext xmlns:c16="http://schemas.microsoft.com/office/drawing/2014/chart" uri="{C3380CC4-5D6E-409C-BE32-E72D297353CC}">
                <c16:uniqueId val="{00000E81-61F5-407B-959D-D24239F5BB85}"/>
              </c:ext>
            </c:extLst>
          </c:dPt>
          <c:dPt>
            <c:idx val="1856"/>
            <c:invertIfNegative val="1"/>
            <c:bubble3D val="0"/>
            <c:spPr>
              <a:solidFill>
                <a:srgbClr val="AEABAB"/>
              </a:solidFill>
            </c:spPr>
            <c:extLst>
              <c:ext xmlns:c16="http://schemas.microsoft.com/office/drawing/2014/chart" uri="{C3380CC4-5D6E-409C-BE32-E72D297353CC}">
                <c16:uniqueId val="{00000E83-61F5-407B-959D-D24239F5BB85}"/>
              </c:ext>
            </c:extLst>
          </c:dPt>
          <c:dPt>
            <c:idx val="1857"/>
            <c:invertIfNegative val="1"/>
            <c:bubble3D val="0"/>
            <c:spPr>
              <a:solidFill>
                <a:srgbClr val="AEABAB"/>
              </a:solidFill>
            </c:spPr>
            <c:extLst>
              <c:ext xmlns:c16="http://schemas.microsoft.com/office/drawing/2014/chart" uri="{C3380CC4-5D6E-409C-BE32-E72D297353CC}">
                <c16:uniqueId val="{00000E85-61F5-407B-959D-D24239F5BB85}"/>
              </c:ext>
            </c:extLst>
          </c:dPt>
          <c:dPt>
            <c:idx val="1858"/>
            <c:invertIfNegative val="1"/>
            <c:bubble3D val="0"/>
            <c:spPr>
              <a:solidFill>
                <a:srgbClr val="AEABAB"/>
              </a:solidFill>
            </c:spPr>
            <c:extLst>
              <c:ext xmlns:c16="http://schemas.microsoft.com/office/drawing/2014/chart" uri="{C3380CC4-5D6E-409C-BE32-E72D297353CC}">
                <c16:uniqueId val="{00000E87-61F5-407B-959D-D24239F5BB85}"/>
              </c:ext>
            </c:extLst>
          </c:dPt>
          <c:dPt>
            <c:idx val="1859"/>
            <c:invertIfNegative val="1"/>
            <c:bubble3D val="0"/>
            <c:spPr>
              <a:solidFill>
                <a:srgbClr val="AEABAB"/>
              </a:solidFill>
            </c:spPr>
            <c:extLst>
              <c:ext xmlns:c16="http://schemas.microsoft.com/office/drawing/2014/chart" uri="{C3380CC4-5D6E-409C-BE32-E72D297353CC}">
                <c16:uniqueId val="{00000E89-61F5-407B-959D-D24239F5BB85}"/>
              </c:ext>
            </c:extLst>
          </c:dPt>
          <c:dPt>
            <c:idx val="1860"/>
            <c:invertIfNegative val="1"/>
            <c:bubble3D val="0"/>
            <c:spPr>
              <a:solidFill>
                <a:srgbClr val="AEABAB"/>
              </a:solidFill>
            </c:spPr>
            <c:extLst>
              <c:ext xmlns:c16="http://schemas.microsoft.com/office/drawing/2014/chart" uri="{C3380CC4-5D6E-409C-BE32-E72D297353CC}">
                <c16:uniqueId val="{00000E8B-61F5-407B-959D-D24239F5BB85}"/>
              </c:ext>
            </c:extLst>
          </c:dPt>
          <c:dPt>
            <c:idx val="1861"/>
            <c:invertIfNegative val="1"/>
            <c:bubble3D val="0"/>
            <c:spPr>
              <a:solidFill>
                <a:srgbClr val="AEABAB"/>
              </a:solidFill>
            </c:spPr>
            <c:extLst>
              <c:ext xmlns:c16="http://schemas.microsoft.com/office/drawing/2014/chart" uri="{C3380CC4-5D6E-409C-BE32-E72D297353CC}">
                <c16:uniqueId val="{00000E8D-61F5-407B-959D-D24239F5BB85}"/>
              </c:ext>
            </c:extLst>
          </c:dPt>
          <c:dPt>
            <c:idx val="1862"/>
            <c:invertIfNegative val="1"/>
            <c:bubble3D val="0"/>
            <c:spPr>
              <a:solidFill>
                <a:srgbClr val="AEABAB"/>
              </a:solidFill>
            </c:spPr>
            <c:extLst>
              <c:ext xmlns:c16="http://schemas.microsoft.com/office/drawing/2014/chart" uri="{C3380CC4-5D6E-409C-BE32-E72D297353CC}">
                <c16:uniqueId val="{00000E8F-61F5-407B-959D-D24239F5BB85}"/>
              </c:ext>
            </c:extLst>
          </c:dPt>
          <c:dPt>
            <c:idx val="1863"/>
            <c:invertIfNegative val="1"/>
            <c:bubble3D val="0"/>
            <c:spPr>
              <a:solidFill>
                <a:srgbClr val="AEABAB"/>
              </a:solidFill>
            </c:spPr>
            <c:extLst>
              <c:ext xmlns:c16="http://schemas.microsoft.com/office/drawing/2014/chart" uri="{C3380CC4-5D6E-409C-BE32-E72D297353CC}">
                <c16:uniqueId val="{00000E91-61F5-407B-959D-D24239F5BB85}"/>
              </c:ext>
            </c:extLst>
          </c:dPt>
          <c:dPt>
            <c:idx val="1864"/>
            <c:invertIfNegative val="1"/>
            <c:bubble3D val="0"/>
            <c:spPr>
              <a:solidFill>
                <a:srgbClr val="AEABAB"/>
              </a:solidFill>
            </c:spPr>
            <c:extLst>
              <c:ext xmlns:c16="http://schemas.microsoft.com/office/drawing/2014/chart" uri="{C3380CC4-5D6E-409C-BE32-E72D297353CC}">
                <c16:uniqueId val="{00000E93-61F5-407B-959D-D24239F5BB85}"/>
              </c:ext>
            </c:extLst>
          </c:dPt>
          <c:dPt>
            <c:idx val="1865"/>
            <c:invertIfNegative val="1"/>
            <c:bubble3D val="0"/>
            <c:spPr>
              <a:solidFill>
                <a:srgbClr val="AEABAB"/>
              </a:solidFill>
            </c:spPr>
            <c:extLst>
              <c:ext xmlns:c16="http://schemas.microsoft.com/office/drawing/2014/chart" uri="{C3380CC4-5D6E-409C-BE32-E72D297353CC}">
                <c16:uniqueId val="{00000E95-61F5-407B-959D-D24239F5BB85}"/>
              </c:ext>
            </c:extLst>
          </c:dPt>
          <c:dPt>
            <c:idx val="1866"/>
            <c:invertIfNegative val="1"/>
            <c:bubble3D val="0"/>
            <c:spPr>
              <a:solidFill>
                <a:srgbClr val="AEABAB"/>
              </a:solidFill>
            </c:spPr>
            <c:extLst>
              <c:ext xmlns:c16="http://schemas.microsoft.com/office/drawing/2014/chart" uri="{C3380CC4-5D6E-409C-BE32-E72D297353CC}">
                <c16:uniqueId val="{00000E97-61F5-407B-959D-D24239F5BB85}"/>
              </c:ext>
            </c:extLst>
          </c:dPt>
          <c:dPt>
            <c:idx val="1867"/>
            <c:invertIfNegative val="1"/>
            <c:bubble3D val="0"/>
            <c:spPr>
              <a:solidFill>
                <a:srgbClr val="AEABAB"/>
              </a:solidFill>
            </c:spPr>
            <c:extLst>
              <c:ext xmlns:c16="http://schemas.microsoft.com/office/drawing/2014/chart" uri="{C3380CC4-5D6E-409C-BE32-E72D297353CC}">
                <c16:uniqueId val="{00000E99-61F5-407B-959D-D24239F5BB85}"/>
              </c:ext>
            </c:extLst>
          </c:dPt>
          <c:dPt>
            <c:idx val="1868"/>
            <c:invertIfNegative val="1"/>
            <c:bubble3D val="0"/>
            <c:spPr>
              <a:solidFill>
                <a:srgbClr val="AEABAB"/>
              </a:solidFill>
            </c:spPr>
            <c:extLst>
              <c:ext xmlns:c16="http://schemas.microsoft.com/office/drawing/2014/chart" uri="{C3380CC4-5D6E-409C-BE32-E72D297353CC}">
                <c16:uniqueId val="{00000E9B-61F5-407B-959D-D24239F5BB85}"/>
              </c:ext>
            </c:extLst>
          </c:dPt>
          <c:dPt>
            <c:idx val="1869"/>
            <c:invertIfNegative val="1"/>
            <c:bubble3D val="0"/>
            <c:spPr>
              <a:solidFill>
                <a:srgbClr val="AEABAB"/>
              </a:solidFill>
            </c:spPr>
            <c:extLst>
              <c:ext xmlns:c16="http://schemas.microsoft.com/office/drawing/2014/chart" uri="{C3380CC4-5D6E-409C-BE32-E72D297353CC}">
                <c16:uniqueId val="{00000E9D-61F5-407B-959D-D24239F5BB85}"/>
              </c:ext>
            </c:extLst>
          </c:dPt>
          <c:dPt>
            <c:idx val="1870"/>
            <c:invertIfNegative val="1"/>
            <c:bubble3D val="0"/>
            <c:spPr>
              <a:solidFill>
                <a:srgbClr val="AEABAB"/>
              </a:solidFill>
            </c:spPr>
            <c:extLst>
              <c:ext xmlns:c16="http://schemas.microsoft.com/office/drawing/2014/chart" uri="{C3380CC4-5D6E-409C-BE32-E72D297353CC}">
                <c16:uniqueId val="{00000E9F-61F5-407B-959D-D24239F5BB85}"/>
              </c:ext>
            </c:extLst>
          </c:dPt>
          <c:dPt>
            <c:idx val="1871"/>
            <c:invertIfNegative val="1"/>
            <c:bubble3D val="0"/>
            <c:spPr>
              <a:solidFill>
                <a:srgbClr val="AEABAB"/>
              </a:solidFill>
            </c:spPr>
            <c:extLst>
              <c:ext xmlns:c16="http://schemas.microsoft.com/office/drawing/2014/chart" uri="{C3380CC4-5D6E-409C-BE32-E72D297353CC}">
                <c16:uniqueId val="{00000EA1-61F5-407B-959D-D24239F5BB85}"/>
              </c:ext>
            </c:extLst>
          </c:dPt>
          <c:dPt>
            <c:idx val="1872"/>
            <c:invertIfNegative val="1"/>
            <c:bubble3D val="0"/>
            <c:spPr>
              <a:solidFill>
                <a:srgbClr val="AEABAB"/>
              </a:solidFill>
            </c:spPr>
            <c:extLst>
              <c:ext xmlns:c16="http://schemas.microsoft.com/office/drawing/2014/chart" uri="{C3380CC4-5D6E-409C-BE32-E72D297353CC}">
                <c16:uniqueId val="{00000EA3-61F5-407B-959D-D24239F5BB85}"/>
              </c:ext>
            </c:extLst>
          </c:dPt>
          <c:dPt>
            <c:idx val="1873"/>
            <c:invertIfNegative val="1"/>
            <c:bubble3D val="0"/>
            <c:spPr>
              <a:solidFill>
                <a:srgbClr val="AEABAB"/>
              </a:solidFill>
            </c:spPr>
            <c:extLst>
              <c:ext xmlns:c16="http://schemas.microsoft.com/office/drawing/2014/chart" uri="{C3380CC4-5D6E-409C-BE32-E72D297353CC}">
                <c16:uniqueId val="{00000EA5-61F5-407B-959D-D24239F5BB85}"/>
              </c:ext>
            </c:extLst>
          </c:dPt>
          <c:dPt>
            <c:idx val="1874"/>
            <c:invertIfNegative val="1"/>
            <c:bubble3D val="0"/>
            <c:spPr>
              <a:solidFill>
                <a:srgbClr val="AEABAB"/>
              </a:solidFill>
            </c:spPr>
            <c:extLst>
              <c:ext xmlns:c16="http://schemas.microsoft.com/office/drawing/2014/chart" uri="{C3380CC4-5D6E-409C-BE32-E72D297353CC}">
                <c16:uniqueId val="{00000EA7-61F5-407B-959D-D24239F5BB85}"/>
              </c:ext>
            </c:extLst>
          </c:dPt>
          <c:dPt>
            <c:idx val="1875"/>
            <c:invertIfNegative val="1"/>
            <c:bubble3D val="0"/>
            <c:spPr>
              <a:solidFill>
                <a:srgbClr val="AEABAB"/>
              </a:solidFill>
            </c:spPr>
            <c:extLst>
              <c:ext xmlns:c16="http://schemas.microsoft.com/office/drawing/2014/chart" uri="{C3380CC4-5D6E-409C-BE32-E72D297353CC}">
                <c16:uniqueId val="{00000EA9-61F5-407B-959D-D24239F5BB85}"/>
              </c:ext>
            </c:extLst>
          </c:dPt>
          <c:dPt>
            <c:idx val="1876"/>
            <c:invertIfNegative val="1"/>
            <c:bubble3D val="0"/>
            <c:spPr>
              <a:solidFill>
                <a:srgbClr val="AEABAB"/>
              </a:solidFill>
            </c:spPr>
            <c:extLst>
              <c:ext xmlns:c16="http://schemas.microsoft.com/office/drawing/2014/chart" uri="{C3380CC4-5D6E-409C-BE32-E72D297353CC}">
                <c16:uniqueId val="{00000EAB-61F5-407B-959D-D24239F5BB85}"/>
              </c:ext>
            </c:extLst>
          </c:dPt>
          <c:dPt>
            <c:idx val="1877"/>
            <c:invertIfNegative val="1"/>
            <c:bubble3D val="0"/>
            <c:spPr>
              <a:solidFill>
                <a:srgbClr val="AEABAB"/>
              </a:solidFill>
            </c:spPr>
            <c:extLst>
              <c:ext xmlns:c16="http://schemas.microsoft.com/office/drawing/2014/chart" uri="{C3380CC4-5D6E-409C-BE32-E72D297353CC}">
                <c16:uniqueId val="{00000EAD-61F5-407B-959D-D24239F5BB85}"/>
              </c:ext>
            </c:extLst>
          </c:dPt>
          <c:dPt>
            <c:idx val="1878"/>
            <c:invertIfNegative val="1"/>
            <c:bubble3D val="0"/>
            <c:spPr>
              <a:solidFill>
                <a:srgbClr val="AEABAB"/>
              </a:solidFill>
            </c:spPr>
            <c:extLst>
              <c:ext xmlns:c16="http://schemas.microsoft.com/office/drawing/2014/chart" uri="{C3380CC4-5D6E-409C-BE32-E72D297353CC}">
                <c16:uniqueId val="{00000EAF-61F5-407B-959D-D24239F5BB85}"/>
              </c:ext>
            </c:extLst>
          </c:dPt>
          <c:dPt>
            <c:idx val="1879"/>
            <c:invertIfNegative val="1"/>
            <c:bubble3D val="0"/>
            <c:spPr>
              <a:solidFill>
                <a:srgbClr val="AEABAB"/>
              </a:solidFill>
            </c:spPr>
            <c:extLst>
              <c:ext xmlns:c16="http://schemas.microsoft.com/office/drawing/2014/chart" uri="{C3380CC4-5D6E-409C-BE32-E72D297353CC}">
                <c16:uniqueId val="{00000EB1-61F5-407B-959D-D24239F5BB85}"/>
              </c:ext>
            </c:extLst>
          </c:dPt>
          <c:dPt>
            <c:idx val="1880"/>
            <c:invertIfNegative val="1"/>
            <c:bubble3D val="0"/>
            <c:spPr>
              <a:solidFill>
                <a:srgbClr val="AEABAB"/>
              </a:solidFill>
            </c:spPr>
            <c:extLst>
              <c:ext xmlns:c16="http://schemas.microsoft.com/office/drawing/2014/chart" uri="{C3380CC4-5D6E-409C-BE32-E72D297353CC}">
                <c16:uniqueId val="{00000EB3-61F5-407B-959D-D24239F5BB85}"/>
              </c:ext>
            </c:extLst>
          </c:dPt>
          <c:dPt>
            <c:idx val="1881"/>
            <c:invertIfNegative val="1"/>
            <c:bubble3D val="0"/>
            <c:spPr>
              <a:solidFill>
                <a:srgbClr val="AEABAB"/>
              </a:solidFill>
            </c:spPr>
            <c:extLst>
              <c:ext xmlns:c16="http://schemas.microsoft.com/office/drawing/2014/chart" uri="{C3380CC4-5D6E-409C-BE32-E72D297353CC}">
                <c16:uniqueId val="{00000EB5-61F5-407B-959D-D24239F5BB85}"/>
              </c:ext>
            </c:extLst>
          </c:dPt>
          <c:dPt>
            <c:idx val="1882"/>
            <c:invertIfNegative val="1"/>
            <c:bubble3D val="0"/>
            <c:spPr>
              <a:solidFill>
                <a:srgbClr val="AEABAB"/>
              </a:solidFill>
            </c:spPr>
            <c:extLst>
              <c:ext xmlns:c16="http://schemas.microsoft.com/office/drawing/2014/chart" uri="{C3380CC4-5D6E-409C-BE32-E72D297353CC}">
                <c16:uniqueId val="{00000EB7-61F5-407B-959D-D24239F5BB85}"/>
              </c:ext>
            </c:extLst>
          </c:dPt>
          <c:dPt>
            <c:idx val="1883"/>
            <c:invertIfNegative val="1"/>
            <c:bubble3D val="0"/>
            <c:spPr>
              <a:solidFill>
                <a:srgbClr val="AEABAB"/>
              </a:solidFill>
            </c:spPr>
            <c:extLst>
              <c:ext xmlns:c16="http://schemas.microsoft.com/office/drawing/2014/chart" uri="{C3380CC4-5D6E-409C-BE32-E72D297353CC}">
                <c16:uniqueId val="{00000EB9-61F5-407B-959D-D24239F5BB85}"/>
              </c:ext>
            </c:extLst>
          </c:dPt>
          <c:dPt>
            <c:idx val="1884"/>
            <c:invertIfNegative val="1"/>
            <c:bubble3D val="0"/>
            <c:spPr>
              <a:solidFill>
                <a:srgbClr val="AEABAB"/>
              </a:solidFill>
            </c:spPr>
            <c:extLst>
              <c:ext xmlns:c16="http://schemas.microsoft.com/office/drawing/2014/chart" uri="{C3380CC4-5D6E-409C-BE32-E72D297353CC}">
                <c16:uniqueId val="{00000EBB-61F5-407B-959D-D24239F5BB85}"/>
              </c:ext>
            </c:extLst>
          </c:dPt>
          <c:dPt>
            <c:idx val="1885"/>
            <c:invertIfNegative val="1"/>
            <c:bubble3D val="0"/>
            <c:spPr>
              <a:solidFill>
                <a:srgbClr val="AEABAB"/>
              </a:solidFill>
            </c:spPr>
            <c:extLst>
              <c:ext xmlns:c16="http://schemas.microsoft.com/office/drawing/2014/chart" uri="{C3380CC4-5D6E-409C-BE32-E72D297353CC}">
                <c16:uniqueId val="{00000EBD-61F5-407B-959D-D24239F5BB85}"/>
              </c:ext>
            </c:extLst>
          </c:dPt>
          <c:dPt>
            <c:idx val="1886"/>
            <c:invertIfNegative val="1"/>
            <c:bubble3D val="0"/>
            <c:spPr>
              <a:solidFill>
                <a:srgbClr val="AEABAB"/>
              </a:solidFill>
            </c:spPr>
            <c:extLst>
              <c:ext xmlns:c16="http://schemas.microsoft.com/office/drawing/2014/chart" uri="{C3380CC4-5D6E-409C-BE32-E72D297353CC}">
                <c16:uniqueId val="{00000EBF-61F5-407B-959D-D24239F5BB85}"/>
              </c:ext>
            </c:extLst>
          </c:dPt>
          <c:dPt>
            <c:idx val="1887"/>
            <c:invertIfNegative val="1"/>
            <c:bubble3D val="0"/>
            <c:spPr>
              <a:solidFill>
                <a:srgbClr val="AEABAB"/>
              </a:solidFill>
            </c:spPr>
            <c:extLst>
              <c:ext xmlns:c16="http://schemas.microsoft.com/office/drawing/2014/chart" uri="{C3380CC4-5D6E-409C-BE32-E72D297353CC}">
                <c16:uniqueId val="{00000EC1-61F5-407B-959D-D24239F5BB85}"/>
              </c:ext>
            </c:extLst>
          </c:dPt>
          <c:dPt>
            <c:idx val="1888"/>
            <c:invertIfNegative val="1"/>
            <c:bubble3D val="0"/>
            <c:spPr>
              <a:solidFill>
                <a:srgbClr val="AEABAB"/>
              </a:solidFill>
            </c:spPr>
            <c:extLst>
              <c:ext xmlns:c16="http://schemas.microsoft.com/office/drawing/2014/chart" uri="{C3380CC4-5D6E-409C-BE32-E72D297353CC}">
                <c16:uniqueId val="{00000EC3-61F5-407B-959D-D24239F5BB85}"/>
              </c:ext>
            </c:extLst>
          </c:dPt>
          <c:dPt>
            <c:idx val="1889"/>
            <c:invertIfNegative val="1"/>
            <c:bubble3D val="0"/>
            <c:spPr>
              <a:solidFill>
                <a:srgbClr val="AEABAB"/>
              </a:solidFill>
            </c:spPr>
            <c:extLst>
              <c:ext xmlns:c16="http://schemas.microsoft.com/office/drawing/2014/chart" uri="{C3380CC4-5D6E-409C-BE32-E72D297353CC}">
                <c16:uniqueId val="{00000EC5-61F5-407B-959D-D24239F5BB85}"/>
              </c:ext>
            </c:extLst>
          </c:dPt>
          <c:dPt>
            <c:idx val="1890"/>
            <c:invertIfNegative val="1"/>
            <c:bubble3D val="0"/>
            <c:spPr>
              <a:solidFill>
                <a:srgbClr val="AEABAB"/>
              </a:solidFill>
            </c:spPr>
            <c:extLst>
              <c:ext xmlns:c16="http://schemas.microsoft.com/office/drawing/2014/chart" uri="{C3380CC4-5D6E-409C-BE32-E72D297353CC}">
                <c16:uniqueId val="{00000EC7-61F5-407B-959D-D24239F5BB85}"/>
              </c:ext>
            </c:extLst>
          </c:dPt>
          <c:dPt>
            <c:idx val="1891"/>
            <c:invertIfNegative val="1"/>
            <c:bubble3D val="0"/>
            <c:spPr>
              <a:solidFill>
                <a:srgbClr val="AEABAB"/>
              </a:solidFill>
            </c:spPr>
            <c:extLst>
              <c:ext xmlns:c16="http://schemas.microsoft.com/office/drawing/2014/chart" uri="{C3380CC4-5D6E-409C-BE32-E72D297353CC}">
                <c16:uniqueId val="{00000EC9-61F5-407B-959D-D24239F5BB85}"/>
              </c:ext>
            </c:extLst>
          </c:dPt>
          <c:dPt>
            <c:idx val="1892"/>
            <c:invertIfNegative val="1"/>
            <c:bubble3D val="0"/>
            <c:spPr>
              <a:solidFill>
                <a:srgbClr val="AEABAB"/>
              </a:solidFill>
            </c:spPr>
            <c:extLst>
              <c:ext xmlns:c16="http://schemas.microsoft.com/office/drawing/2014/chart" uri="{C3380CC4-5D6E-409C-BE32-E72D297353CC}">
                <c16:uniqueId val="{00000ECB-61F5-407B-959D-D24239F5BB85}"/>
              </c:ext>
            </c:extLst>
          </c:dPt>
          <c:dPt>
            <c:idx val="1893"/>
            <c:invertIfNegative val="1"/>
            <c:bubble3D val="0"/>
            <c:spPr>
              <a:solidFill>
                <a:srgbClr val="AEABAB"/>
              </a:solidFill>
            </c:spPr>
            <c:extLst>
              <c:ext xmlns:c16="http://schemas.microsoft.com/office/drawing/2014/chart" uri="{C3380CC4-5D6E-409C-BE32-E72D297353CC}">
                <c16:uniqueId val="{00000ECD-61F5-407B-959D-D24239F5BB85}"/>
              </c:ext>
            </c:extLst>
          </c:dPt>
          <c:dPt>
            <c:idx val="1894"/>
            <c:invertIfNegative val="1"/>
            <c:bubble3D val="0"/>
            <c:spPr>
              <a:solidFill>
                <a:srgbClr val="AEABAB"/>
              </a:solidFill>
            </c:spPr>
            <c:extLst>
              <c:ext xmlns:c16="http://schemas.microsoft.com/office/drawing/2014/chart" uri="{C3380CC4-5D6E-409C-BE32-E72D297353CC}">
                <c16:uniqueId val="{00000ECF-61F5-407B-959D-D24239F5BB85}"/>
              </c:ext>
            </c:extLst>
          </c:dPt>
          <c:dPt>
            <c:idx val="1895"/>
            <c:invertIfNegative val="1"/>
            <c:bubble3D val="0"/>
            <c:spPr>
              <a:solidFill>
                <a:srgbClr val="AEABAB"/>
              </a:solidFill>
            </c:spPr>
            <c:extLst>
              <c:ext xmlns:c16="http://schemas.microsoft.com/office/drawing/2014/chart" uri="{C3380CC4-5D6E-409C-BE32-E72D297353CC}">
                <c16:uniqueId val="{00000ED1-61F5-407B-959D-D24239F5BB85}"/>
              </c:ext>
            </c:extLst>
          </c:dPt>
          <c:dPt>
            <c:idx val="1896"/>
            <c:invertIfNegative val="1"/>
            <c:bubble3D val="0"/>
            <c:spPr>
              <a:solidFill>
                <a:srgbClr val="AEABAB"/>
              </a:solidFill>
            </c:spPr>
            <c:extLst>
              <c:ext xmlns:c16="http://schemas.microsoft.com/office/drawing/2014/chart" uri="{C3380CC4-5D6E-409C-BE32-E72D297353CC}">
                <c16:uniqueId val="{00000ED3-61F5-407B-959D-D24239F5BB85}"/>
              </c:ext>
            </c:extLst>
          </c:dPt>
          <c:dPt>
            <c:idx val="1897"/>
            <c:invertIfNegative val="1"/>
            <c:bubble3D val="0"/>
            <c:spPr>
              <a:solidFill>
                <a:srgbClr val="AEABAB"/>
              </a:solidFill>
            </c:spPr>
            <c:extLst>
              <c:ext xmlns:c16="http://schemas.microsoft.com/office/drawing/2014/chart" uri="{C3380CC4-5D6E-409C-BE32-E72D297353CC}">
                <c16:uniqueId val="{00000ED5-61F5-407B-959D-D24239F5BB85}"/>
              </c:ext>
            </c:extLst>
          </c:dPt>
          <c:dPt>
            <c:idx val="1898"/>
            <c:invertIfNegative val="1"/>
            <c:bubble3D val="0"/>
            <c:spPr>
              <a:solidFill>
                <a:srgbClr val="AEABAB"/>
              </a:solidFill>
            </c:spPr>
            <c:extLst>
              <c:ext xmlns:c16="http://schemas.microsoft.com/office/drawing/2014/chart" uri="{C3380CC4-5D6E-409C-BE32-E72D297353CC}">
                <c16:uniqueId val="{00000ED7-61F5-407B-959D-D24239F5BB85}"/>
              </c:ext>
            </c:extLst>
          </c:dPt>
          <c:dPt>
            <c:idx val="1899"/>
            <c:invertIfNegative val="1"/>
            <c:bubble3D val="0"/>
            <c:spPr>
              <a:solidFill>
                <a:srgbClr val="AEABAB"/>
              </a:solidFill>
            </c:spPr>
            <c:extLst>
              <c:ext xmlns:c16="http://schemas.microsoft.com/office/drawing/2014/chart" uri="{C3380CC4-5D6E-409C-BE32-E72D297353CC}">
                <c16:uniqueId val="{00000ED9-61F5-407B-959D-D24239F5BB85}"/>
              </c:ext>
            </c:extLst>
          </c:dPt>
          <c:dPt>
            <c:idx val="1900"/>
            <c:invertIfNegative val="1"/>
            <c:bubble3D val="0"/>
            <c:spPr>
              <a:solidFill>
                <a:srgbClr val="AEABAB"/>
              </a:solidFill>
            </c:spPr>
            <c:extLst>
              <c:ext xmlns:c16="http://schemas.microsoft.com/office/drawing/2014/chart" uri="{C3380CC4-5D6E-409C-BE32-E72D297353CC}">
                <c16:uniqueId val="{00000EDB-61F5-407B-959D-D24239F5BB85}"/>
              </c:ext>
            </c:extLst>
          </c:dPt>
          <c:dPt>
            <c:idx val="1901"/>
            <c:invertIfNegative val="1"/>
            <c:bubble3D val="0"/>
            <c:spPr>
              <a:solidFill>
                <a:srgbClr val="AEABAB"/>
              </a:solidFill>
            </c:spPr>
            <c:extLst>
              <c:ext xmlns:c16="http://schemas.microsoft.com/office/drawing/2014/chart" uri="{C3380CC4-5D6E-409C-BE32-E72D297353CC}">
                <c16:uniqueId val="{00000EDD-61F5-407B-959D-D24239F5BB85}"/>
              </c:ext>
            </c:extLst>
          </c:dPt>
          <c:dPt>
            <c:idx val="1902"/>
            <c:invertIfNegative val="1"/>
            <c:bubble3D val="0"/>
            <c:spPr>
              <a:solidFill>
                <a:srgbClr val="AEABAB"/>
              </a:solidFill>
            </c:spPr>
            <c:extLst>
              <c:ext xmlns:c16="http://schemas.microsoft.com/office/drawing/2014/chart" uri="{C3380CC4-5D6E-409C-BE32-E72D297353CC}">
                <c16:uniqueId val="{00000EDF-61F5-407B-959D-D24239F5BB85}"/>
              </c:ext>
            </c:extLst>
          </c:dPt>
          <c:dPt>
            <c:idx val="1903"/>
            <c:invertIfNegative val="1"/>
            <c:bubble3D val="0"/>
            <c:spPr>
              <a:solidFill>
                <a:srgbClr val="AEABAB"/>
              </a:solidFill>
            </c:spPr>
            <c:extLst>
              <c:ext xmlns:c16="http://schemas.microsoft.com/office/drawing/2014/chart" uri="{C3380CC4-5D6E-409C-BE32-E72D297353CC}">
                <c16:uniqueId val="{00000EE1-61F5-407B-959D-D24239F5BB85}"/>
              </c:ext>
            </c:extLst>
          </c:dPt>
          <c:dPt>
            <c:idx val="1904"/>
            <c:invertIfNegative val="1"/>
            <c:bubble3D val="0"/>
            <c:spPr>
              <a:solidFill>
                <a:srgbClr val="AEABAB"/>
              </a:solidFill>
            </c:spPr>
            <c:extLst>
              <c:ext xmlns:c16="http://schemas.microsoft.com/office/drawing/2014/chart" uri="{C3380CC4-5D6E-409C-BE32-E72D297353CC}">
                <c16:uniqueId val="{00000EE3-61F5-407B-959D-D24239F5BB85}"/>
              </c:ext>
            </c:extLst>
          </c:dPt>
          <c:dPt>
            <c:idx val="1905"/>
            <c:invertIfNegative val="1"/>
            <c:bubble3D val="0"/>
            <c:spPr>
              <a:solidFill>
                <a:srgbClr val="AEABAB"/>
              </a:solidFill>
            </c:spPr>
            <c:extLst>
              <c:ext xmlns:c16="http://schemas.microsoft.com/office/drawing/2014/chart" uri="{C3380CC4-5D6E-409C-BE32-E72D297353CC}">
                <c16:uniqueId val="{00000EE5-61F5-407B-959D-D24239F5BB85}"/>
              </c:ext>
            </c:extLst>
          </c:dPt>
          <c:dPt>
            <c:idx val="1906"/>
            <c:invertIfNegative val="1"/>
            <c:bubble3D val="0"/>
            <c:spPr>
              <a:solidFill>
                <a:srgbClr val="AEABAB"/>
              </a:solidFill>
            </c:spPr>
            <c:extLst>
              <c:ext xmlns:c16="http://schemas.microsoft.com/office/drawing/2014/chart" uri="{C3380CC4-5D6E-409C-BE32-E72D297353CC}">
                <c16:uniqueId val="{00000EE7-61F5-407B-959D-D24239F5BB85}"/>
              </c:ext>
            </c:extLst>
          </c:dPt>
          <c:dPt>
            <c:idx val="1907"/>
            <c:invertIfNegative val="1"/>
            <c:bubble3D val="0"/>
            <c:spPr>
              <a:solidFill>
                <a:srgbClr val="AEABAB"/>
              </a:solidFill>
            </c:spPr>
            <c:extLst>
              <c:ext xmlns:c16="http://schemas.microsoft.com/office/drawing/2014/chart" uri="{C3380CC4-5D6E-409C-BE32-E72D297353CC}">
                <c16:uniqueId val="{00000EE9-61F5-407B-959D-D24239F5BB85}"/>
              </c:ext>
            </c:extLst>
          </c:dPt>
          <c:dPt>
            <c:idx val="1908"/>
            <c:invertIfNegative val="1"/>
            <c:bubble3D val="0"/>
            <c:spPr>
              <a:solidFill>
                <a:srgbClr val="AEABAB"/>
              </a:solidFill>
            </c:spPr>
            <c:extLst>
              <c:ext xmlns:c16="http://schemas.microsoft.com/office/drawing/2014/chart" uri="{C3380CC4-5D6E-409C-BE32-E72D297353CC}">
                <c16:uniqueId val="{00000EEB-61F5-407B-959D-D24239F5BB85}"/>
              </c:ext>
            </c:extLst>
          </c:dPt>
          <c:dPt>
            <c:idx val="1909"/>
            <c:invertIfNegative val="1"/>
            <c:bubble3D val="0"/>
            <c:spPr>
              <a:solidFill>
                <a:srgbClr val="AEABAB"/>
              </a:solidFill>
            </c:spPr>
            <c:extLst>
              <c:ext xmlns:c16="http://schemas.microsoft.com/office/drawing/2014/chart" uri="{C3380CC4-5D6E-409C-BE32-E72D297353CC}">
                <c16:uniqueId val="{00000EED-61F5-407B-959D-D24239F5BB85}"/>
              </c:ext>
            </c:extLst>
          </c:dPt>
          <c:dPt>
            <c:idx val="1910"/>
            <c:invertIfNegative val="1"/>
            <c:bubble3D val="0"/>
            <c:spPr>
              <a:solidFill>
                <a:srgbClr val="AEABAB"/>
              </a:solidFill>
            </c:spPr>
            <c:extLst>
              <c:ext xmlns:c16="http://schemas.microsoft.com/office/drawing/2014/chart" uri="{C3380CC4-5D6E-409C-BE32-E72D297353CC}">
                <c16:uniqueId val="{00000EEF-61F5-407B-959D-D24239F5BB85}"/>
              </c:ext>
            </c:extLst>
          </c:dPt>
          <c:dPt>
            <c:idx val="1911"/>
            <c:invertIfNegative val="1"/>
            <c:bubble3D val="0"/>
            <c:spPr>
              <a:solidFill>
                <a:srgbClr val="AEABAB"/>
              </a:solidFill>
            </c:spPr>
            <c:extLst>
              <c:ext xmlns:c16="http://schemas.microsoft.com/office/drawing/2014/chart" uri="{C3380CC4-5D6E-409C-BE32-E72D297353CC}">
                <c16:uniqueId val="{00000EF1-61F5-407B-959D-D24239F5BB85}"/>
              </c:ext>
            </c:extLst>
          </c:dPt>
          <c:dPt>
            <c:idx val="1912"/>
            <c:invertIfNegative val="1"/>
            <c:bubble3D val="0"/>
            <c:spPr>
              <a:solidFill>
                <a:srgbClr val="AEABAB"/>
              </a:solidFill>
            </c:spPr>
            <c:extLst>
              <c:ext xmlns:c16="http://schemas.microsoft.com/office/drawing/2014/chart" uri="{C3380CC4-5D6E-409C-BE32-E72D297353CC}">
                <c16:uniqueId val="{00000EF3-61F5-407B-959D-D24239F5BB85}"/>
              </c:ext>
            </c:extLst>
          </c:dPt>
          <c:dPt>
            <c:idx val="1913"/>
            <c:invertIfNegative val="1"/>
            <c:bubble3D val="0"/>
            <c:spPr>
              <a:solidFill>
                <a:srgbClr val="AEABAB"/>
              </a:solidFill>
            </c:spPr>
            <c:extLst>
              <c:ext xmlns:c16="http://schemas.microsoft.com/office/drawing/2014/chart" uri="{C3380CC4-5D6E-409C-BE32-E72D297353CC}">
                <c16:uniqueId val="{00000EF5-61F5-407B-959D-D24239F5BB85}"/>
              </c:ext>
            </c:extLst>
          </c:dPt>
          <c:dPt>
            <c:idx val="1914"/>
            <c:invertIfNegative val="1"/>
            <c:bubble3D val="0"/>
            <c:spPr>
              <a:solidFill>
                <a:srgbClr val="AEABAB"/>
              </a:solidFill>
            </c:spPr>
            <c:extLst>
              <c:ext xmlns:c16="http://schemas.microsoft.com/office/drawing/2014/chart" uri="{C3380CC4-5D6E-409C-BE32-E72D297353CC}">
                <c16:uniqueId val="{00000EF7-61F5-407B-959D-D24239F5BB85}"/>
              </c:ext>
            </c:extLst>
          </c:dPt>
          <c:dPt>
            <c:idx val="1915"/>
            <c:invertIfNegative val="1"/>
            <c:bubble3D val="0"/>
            <c:spPr>
              <a:solidFill>
                <a:srgbClr val="AEABAB"/>
              </a:solidFill>
            </c:spPr>
            <c:extLst>
              <c:ext xmlns:c16="http://schemas.microsoft.com/office/drawing/2014/chart" uri="{C3380CC4-5D6E-409C-BE32-E72D297353CC}">
                <c16:uniqueId val="{00000EF9-61F5-407B-959D-D24239F5BB85}"/>
              </c:ext>
            </c:extLst>
          </c:dPt>
          <c:dPt>
            <c:idx val="1916"/>
            <c:invertIfNegative val="1"/>
            <c:bubble3D val="0"/>
            <c:spPr>
              <a:solidFill>
                <a:srgbClr val="AEABAB"/>
              </a:solidFill>
            </c:spPr>
            <c:extLst>
              <c:ext xmlns:c16="http://schemas.microsoft.com/office/drawing/2014/chart" uri="{C3380CC4-5D6E-409C-BE32-E72D297353CC}">
                <c16:uniqueId val="{00000EFB-61F5-407B-959D-D24239F5BB85}"/>
              </c:ext>
            </c:extLst>
          </c:dPt>
          <c:dPt>
            <c:idx val="1917"/>
            <c:invertIfNegative val="1"/>
            <c:bubble3D val="0"/>
            <c:spPr>
              <a:solidFill>
                <a:srgbClr val="AEABAB"/>
              </a:solidFill>
            </c:spPr>
            <c:extLst>
              <c:ext xmlns:c16="http://schemas.microsoft.com/office/drawing/2014/chart" uri="{C3380CC4-5D6E-409C-BE32-E72D297353CC}">
                <c16:uniqueId val="{00000EFD-61F5-407B-959D-D24239F5BB85}"/>
              </c:ext>
            </c:extLst>
          </c:dPt>
          <c:dPt>
            <c:idx val="1918"/>
            <c:invertIfNegative val="1"/>
            <c:bubble3D val="0"/>
            <c:spPr>
              <a:solidFill>
                <a:srgbClr val="AEABAB"/>
              </a:solidFill>
            </c:spPr>
            <c:extLst>
              <c:ext xmlns:c16="http://schemas.microsoft.com/office/drawing/2014/chart" uri="{C3380CC4-5D6E-409C-BE32-E72D297353CC}">
                <c16:uniqueId val="{00000EFF-61F5-407B-959D-D24239F5BB85}"/>
              </c:ext>
            </c:extLst>
          </c:dPt>
          <c:dPt>
            <c:idx val="1919"/>
            <c:invertIfNegative val="1"/>
            <c:bubble3D val="0"/>
            <c:spPr>
              <a:solidFill>
                <a:srgbClr val="AEABAB"/>
              </a:solidFill>
            </c:spPr>
            <c:extLst>
              <c:ext xmlns:c16="http://schemas.microsoft.com/office/drawing/2014/chart" uri="{C3380CC4-5D6E-409C-BE32-E72D297353CC}">
                <c16:uniqueId val="{00000F01-61F5-407B-959D-D24239F5BB85}"/>
              </c:ext>
            </c:extLst>
          </c:dPt>
          <c:dPt>
            <c:idx val="1920"/>
            <c:invertIfNegative val="1"/>
            <c:bubble3D val="0"/>
            <c:spPr>
              <a:solidFill>
                <a:srgbClr val="AEABAB"/>
              </a:solidFill>
            </c:spPr>
            <c:extLst>
              <c:ext xmlns:c16="http://schemas.microsoft.com/office/drawing/2014/chart" uri="{C3380CC4-5D6E-409C-BE32-E72D297353CC}">
                <c16:uniqueId val="{00000F03-61F5-407B-959D-D24239F5BB85}"/>
              </c:ext>
            </c:extLst>
          </c:dPt>
          <c:dPt>
            <c:idx val="1921"/>
            <c:invertIfNegative val="1"/>
            <c:bubble3D val="0"/>
            <c:spPr>
              <a:solidFill>
                <a:srgbClr val="AEABAB"/>
              </a:solidFill>
            </c:spPr>
            <c:extLst>
              <c:ext xmlns:c16="http://schemas.microsoft.com/office/drawing/2014/chart" uri="{C3380CC4-5D6E-409C-BE32-E72D297353CC}">
                <c16:uniqueId val="{00000F05-61F5-407B-959D-D24239F5BB85}"/>
              </c:ext>
            </c:extLst>
          </c:dPt>
          <c:dPt>
            <c:idx val="1922"/>
            <c:invertIfNegative val="1"/>
            <c:bubble3D val="0"/>
            <c:spPr>
              <a:solidFill>
                <a:srgbClr val="AEABAB"/>
              </a:solidFill>
            </c:spPr>
            <c:extLst>
              <c:ext xmlns:c16="http://schemas.microsoft.com/office/drawing/2014/chart" uri="{C3380CC4-5D6E-409C-BE32-E72D297353CC}">
                <c16:uniqueId val="{00000F07-61F5-407B-959D-D24239F5BB85}"/>
              </c:ext>
            </c:extLst>
          </c:dPt>
          <c:dPt>
            <c:idx val="1923"/>
            <c:invertIfNegative val="1"/>
            <c:bubble3D val="0"/>
            <c:spPr>
              <a:solidFill>
                <a:srgbClr val="AEABAB"/>
              </a:solidFill>
            </c:spPr>
            <c:extLst>
              <c:ext xmlns:c16="http://schemas.microsoft.com/office/drawing/2014/chart" uri="{C3380CC4-5D6E-409C-BE32-E72D297353CC}">
                <c16:uniqueId val="{00000F09-61F5-407B-959D-D24239F5BB85}"/>
              </c:ext>
            </c:extLst>
          </c:dPt>
          <c:dPt>
            <c:idx val="1924"/>
            <c:invertIfNegative val="1"/>
            <c:bubble3D val="0"/>
            <c:spPr>
              <a:solidFill>
                <a:srgbClr val="AEABAB"/>
              </a:solidFill>
            </c:spPr>
            <c:extLst>
              <c:ext xmlns:c16="http://schemas.microsoft.com/office/drawing/2014/chart" uri="{C3380CC4-5D6E-409C-BE32-E72D297353CC}">
                <c16:uniqueId val="{00000F0B-61F5-407B-959D-D24239F5BB85}"/>
              </c:ext>
            </c:extLst>
          </c:dPt>
          <c:dPt>
            <c:idx val="1925"/>
            <c:invertIfNegative val="1"/>
            <c:bubble3D val="0"/>
            <c:spPr>
              <a:solidFill>
                <a:srgbClr val="AEABAB"/>
              </a:solidFill>
            </c:spPr>
            <c:extLst>
              <c:ext xmlns:c16="http://schemas.microsoft.com/office/drawing/2014/chart" uri="{C3380CC4-5D6E-409C-BE32-E72D297353CC}">
                <c16:uniqueId val="{00000F0D-61F5-407B-959D-D24239F5BB85}"/>
              </c:ext>
            </c:extLst>
          </c:dPt>
          <c:dPt>
            <c:idx val="1926"/>
            <c:invertIfNegative val="1"/>
            <c:bubble3D val="0"/>
            <c:spPr>
              <a:solidFill>
                <a:srgbClr val="AEABAB"/>
              </a:solidFill>
            </c:spPr>
            <c:extLst>
              <c:ext xmlns:c16="http://schemas.microsoft.com/office/drawing/2014/chart" uri="{C3380CC4-5D6E-409C-BE32-E72D297353CC}">
                <c16:uniqueId val="{00000F0F-61F5-407B-959D-D24239F5BB85}"/>
              </c:ext>
            </c:extLst>
          </c:dPt>
          <c:dPt>
            <c:idx val="1927"/>
            <c:invertIfNegative val="1"/>
            <c:bubble3D val="0"/>
            <c:spPr>
              <a:solidFill>
                <a:srgbClr val="AEABAB"/>
              </a:solidFill>
            </c:spPr>
            <c:extLst>
              <c:ext xmlns:c16="http://schemas.microsoft.com/office/drawing/2014/chart" uri="{C3380CC4-5D6E-409C-BE32-E72D297353CC}">
                <c16:uniqueId val="{00000F11-61F5-407B-959D-D24239F5BB85}"/>
              </c:ext>
            </c:extLst>
          </c:dPt>
          <c:dPt>
            <c:idx val="1928"/>
            <c:invertIfNegative val="1"/>
            <c:bubble3D val="0"/>
            <c:spPr>
              <a:solidFill>
                <a:srgbClr val="AEABAB"/>
              </a:solidFill>
            </c:spPr>
            <c:extLst>
              <c:ext xmlns:c16="http://schemas.microsoft.com/office/drawing/2014/chart" uri="{C3380CC4-5D6E-409C-BE32-E72D297353CC}">
                <c16:uniqueId val="{00000F13-61F5-407B-959D-D24239F5BB85}"/>
              </c:ext>
            </c:extLst>
          </c:dPt>
          <c:dPt>
            <c:idx val="1929"/>
            <c:invertIfNegative val="1"/>
            <c:bubble3D val="0"/>
            <c:spPr>
              <a:solidFill>
                <a:srgbClr val="AEABAB"/>
              </a:solidFill>
            </c:spPr>
            <c:extLst>
              <c:ext xmlns:c16="http://schemas.microsoft.com/office/drawing/2014/chart" uri="{C3380CC4-5D6E-409C-BE32-E72D297353CC}">
                <c16:uniqueId val="{00000F15-61F5-407B-959D-D24239F5BB85}"/>
              </c:ext>
            </c:extLst>
          </c:dPt>
          <c:dPt>
            <c:idx val="1930"/>
            <c:invertIfNegative val="1"/>
            <c:bubble3D val="0"/>
            <c:spPr>
              <a:solidFill>
                <a:srgbClr val="AEABAB"/>
              </a:solidFill>
            </c:spPr>
            <c:extLst>
              <c:ext xmlns:c16="http://schemas.microsoft.com/office/drawing/2014/chart" uri="{C3380CC4-5D6E-409C-BE32-E72D297353CC}">
                <c16:uniqueId val="{00000F17-61F5-407B-959D-D24239F5BB85}"/>
              </c:ext>
            </c:extLst>
          </c:dPt>
          <c:dPt>
            <c:idx val="1931"/>
            <c:invertIfNegative val="1"/>
            <c:bubble3D val="0"/>
            <c:spPr>
              <a:solidFill>
                <a:srgbClr val="AEABAB"/>
              </a:solidFill>
            </c:spPr>
            <c:extLst>
              <c:ext xmlns:c16="http://schemas.microsoft.com/office/drawing/2014/chart" uri="{C3380CC4-5D6E-409C-BE32-E72D297353CC}">
                <c16:uniqueId val="{00000F19-61F5-407B-959D-D24239F5BB85}"/>
              </c:ext>
            </c:extLst>
          </c:dPt>
          <c:dPt>
            <c:idx val="1932"/>
            <c:invertIfNegative val="1"/>
            <c:bubble3D val="0"/>
            <c:spPr>
              <a:solidFill>
                <a:srgbClr val="AEABAB"/>
              </a:solidFill>
            </c:spPr>
            <c:extLst>
              <c:ext xmlns:c16="http://schemas.microsoft.com/office/drawing/2014/chart" uri="{C3380CC4-5D6E-409C-BE32-E72D297353CC}">
                <c16:uniqueId val="{00000F1B-61F5-407B-959D-D24239F5BB85}"/>
              </c:ext>
            </c:extLst>
          </c:dPt>
          <c:dPt>
            <c:idx val="1933"/>
            <c:invertIfNegative val="1"/>
            <c:bubble3D val="0"/>
            <c:spPr>
              <a:solidFill>
                <a:srgbClr val="AEABAB"/>
              </a:solidFill>
            </c:spPr>
            <c:extLst>
              <c:ext xmlns:c16="http://schemas.microsoft.com/office/drawing/2014/chart" uri="{C3380CC4-5D6E-409C-BE32-E72D297353CC}">
                <c16:uniqueId val="{00000F1D-61F5-407B-959D-D24239F5BB85}"/>
              </c:ext>
            </c:extLst>
          </c:dPt>
          <c:dPt>
            <c:idx val="1934"/>
            <c:invertIfNegative val="1"/>
            <c:bubble3D val="0"/>
            <c:spPr>
              <a:solidFill>
                <a:srgbClr val="AEABAB"/>
              </a:solidFill>
            </c:spPr>
            <c:extLst>
              <c:ext xmlns:c16="http://schemas.microsoft.com/office/drawing/2014/chart" uri="{C3380CC4-5D6E-409C-BE32-E72D297353CC}">
                <c16:uniqueId val="{00000F1F-61F5-407B-959D-D24239F5BB85}"/>
              </c:ext>
            </c:extLst>
          </c:dPt>
          <c:dPt>
            <c:idx val="1935"/>
            <c:invertIfNegative val="1"/>
            <c:bubble3D val="0"/>
            <c:spPr>
              <a:solidFill>
                <a:srgbClr val="AEABAB"/>
              </a:solidFill>
            </c:spPr>
            <c:extLst>
              <c:ext xmlns:c16="http://schemas.microsoft.com/office/drawing/2014/chart" uri="{C3380CC4-5D6E-409C-BE32-E72D297353CC}">
                <c16:uniqueId val="{00000F21-61F5-407B-959D-D24239F5BB85}"/>
              </c:ext>
            </c:extLst>
          </c:dPt>
          <c:dPt>
            <c:idx val="1936"/>
            <c:invertIfNegative val="1"/>
            <c:bubble3D val="0"/>
            <c:spPr>
              <a:solidFill>
                <a:srgbClr val="AEABAB"/>
              </a:solidFill>
            </c:spPr>
            <c:extLst>
              <c:ext xmlns:c16="http://schemas.microsoft.com/office/drawing/2014/chart" uri="{C3380CC4-5D6E-409C-BE32-E72D297353CC}">
                <c16:uniqueId val="{00000F23-61F5-407B-959D-D24239F5BB85}"/>
              </c:ext>
            </c:extLst>
          </c:dPt>
          <c:dPt>
            <c:idx val="1937"/>
            <c:invertIfNegative val="1"/>
            <c:bubble3D val="0"/>
            <c:spPr>
              <a:solidFill>
                <a:srgbClr val="AEABAB"/>
              </a:solidFill>
            </c:spPr>
            <c:extLst>
              <c:ext xmlns:c16="http://schemas.microsoft.com/office/drawing/2014/chart" uri="{C3380CC4-5D6E-409C-BE32-E72D297353CC}">
                <c16:uniqueId val="{00000F25-61F5-407B-959D-D24239F5BB85}"/>
              </c:ext>
            </c:extLst>
          </c:dPt>
          <c:dPt>
            <c:idx val="1938"/>
            <c:invertIfNegative val="1"/>
            <c:bubble3D val="0"/>
            <c:spPr>
              <a:solidFill>
                <a:srgbClr val="AEABAB"/>
              </a:solidFill>
            </c:spPr>
            <c:extLst>
              <c:ext xmlns:c16="http://schemas.microsoft.com/office/drawing/2014/chart" uri="{C3380CC4-5D6E-409C-BE32-E72D297353CC}">
                <c16:uniqueId val="{00000F27-61F5-407B-959D-D24239F5BB85}"/>
              </c:ext>
            </c:extLst>
          </c:dPt>
          <c:dPt>
            <c:idx val="1939"/>
            <c:invertIfNegative val="1"/>
            <c:bubble3D val="0"/>
            <c:spPr>
              <a:solidFill>
                <a:srgbClr val="AEABAB"/>
              </a:solidFill>
            </c:spPr>
            <c:extLst>
              <c:ext xmlns:c16="http://schemas.microsoft.com/office/drawing/2014/chart" uri="{C3380CC4-5D6E-409C-BE32-E72D297353CC}">
                <c16:uniqueId val="{00000F29-61F5-407B-959D-D24239F5BB85}"/>
              </c:ext>
            </c:extLst>
          </c:dPt>
          <c:dPt>
            <c:idx val="1940"/>
            <c:invertIfNegative val="1"/>
            <c:bubble3D val="0"/>
            <c:spPr>
              <a:solidFill>
                <a:srgbClr val="AEABAB"/>
              </a:solidFill>
            </c:spPr>
            <c:extLst>
              <c:ext xmlns:c16="http://schemas.microsoft.com/office/drawing/2014/chart" uri="{C3380CC4-5D6E-409C-BE32-E72D297353CC}">
                <c16:uniqueId val="{00000F2B-61F5-407B-959D-D24239F5BB85}"/>
              </c:ext>
            </c:extLst>
          </c:dPt>
          <c:dPt>
            <c:idx val="1941"/>
            <c:invertIfNegative val="1"/>
            <c:bubble3D val="0"/>
            <c:spPr>
              <a:solidFill>
                <a:srgbClr val="AEABAB"/>
              </a:solidFill>
            </c:spPr>
            <c:extLst>
              <c:ext xmlns:c16="http://schemas.microsoft.com/office/drawing/2014/chart" uri="{C3380CC4-5D6E-409C-BE32-E72D297353CC}">
                <c16:uniqueId val="{00000F2D-61F5-407B-959D-D24239F5BB85}"/>
              </c:ext>
            </c:extLst>
          </c:dPt>
          <c:dPt>
            <c:idx val="1942"/>
            <c:invertIfNegative val="1"/>
            <c:bubble3D val="0"/>
            <c:spPr>
              <a:solidFill>
                <a:srgbClr val="AEABAB"/>
              </a:solidFill>
            </c:spPr>
            <c:extLst>
              <c:ext xmlns:c16="http://schemas.microsoft.com/office/drawing/2014/chart" uri="{C3380CC4-5D6E-409C-BE32-E72D297353CC}">
                <c16:uniqueId val="{00000F2F-61F5-407B-959D-D24239F5BB85}"/>
              </c:ext>
            </c:extLst>
          </c:dPt>
          <c:dPt>
            <c:idx val="1943"/>
            <c:invertIfNegative val="1"/>
            <c:bubble3D val="0"/>
            <c:spPr>
              <a:solidFill>
                <a:srgbClr val="AEABAB"/>
              </a:solidFill>
            </c:spPr>
            <c:extLst>
              <c:ext xmlns:c16="http://schemas.microsoft.com/office/drawing/2014/chart" uri="{C3380CC4-5D6E-409C-BE32-E72D297353CC}">
                <c16:uniqueId val="{00000F31-61F5-407B-959D-D24239F5BB85}"/>
              </c:ext>
            </c:extLst>
          </c:dPt>
          <c:dPt>
            <c:idx val="1944"/>
            <c:invertIfNegative val="1"/>
            <c:bubble3D val="0"/>
            <c:spPr>
              <a:solidFill>
                <a:srgbClr val="AEABAB"/>
              </a:solidFill>
            </c:spPr>
            <c:extLst>
              <c:ext xmlns:c16="http://schemas.microsoft.com/office/drawing/2014/chart" uri="{C3380CC4-5D6E-409C-BE32-E72D297353CC}">
                <c16:uniqueId val="{00000F33-61F5-407B-959D-D24239F5BB85}"/>
              </c:ext>
            </c:extLst>
          </c:dPt>
          <c:dPt>
            <c:idx val="1945"/>
            <c:invertIfNegative val="1"/>
            <c:bubble3D val="0"/>
            <c:spPr>
              <a:solidFill>
                <a:srgbClr val="AEABAB"/>
              </a:solidFill>
            </c:spPr>
            <c:extLst>
              <c:ext xmlns:c16="http://schemas.microsoft.com/office/drawing/2014/chart" uri="{C3380CC4-5D6E-409C-BE32-E72D297353CC}">
                <c16:uniqueId val="{00000F35-61F5-407B-959D-D24239F5BB85}"/>
              </c:ext>
            </c:extLst>
          </c:dPt>
          <c:dPt>
            <c:idx val="1946"/>
            <c:invertIfNegative val="1"/>
            <c:bubble3D val="0"/>
            <c:spPr>
              <a:solidFill>
                <a:srgbClr val="AEABAB"/>
              </a:solidFill>
            </c:spPr>
            <c:extLst>
              <c:ext xmlns:c16="http://schemas.microsoft.com/office/drawing/2014/chart" uri="{C3380CC4-5D6E-409C-BE32-E72D297353CC}">
                <c16:uniqueId val="{00000F37-61F5-407B-959D-D24239F5BB85}"/>
              </c:ext>
            </c:extLst>
          </c:dPt>
          <c:dPt>
            <c:idx val="1947"/>
            <c:invertIfNegative val="1"/>
            <c:bubble3D val="0"/>
            <c:spPr>
              <a:solidFill>
                <a:srgbClr val="AEABAB"/>
              </a:solidFill>
            </c:spPr>
            <c:extLst>
              <c:ext xmlns:c16="http://schemas.microsoft.com/office/drawing/2014/chart" uri="{C3380CC4-5D6E-409C-BE32-E72D297353CC}">
                <c16:uniqueId val="{00000F39-61F5-407B-959D-D24239F5BB85}"/>
              </c:ext>
            </c:extLst>
          </c:dPt>
          <c:dPt>
            <c:idx val="1948"/>
            <c:invertIfNegative val="1"/>
            <c:bubble3D val="0"/>
            <c:spPr>
              <a:solidFill>
                <a:srgbClr val="AEABAB"/>
              </a:solidFill>
            </c:spPr>
            <c:extLst>
              <c:ext xmlns:c16="http://schemas.microsoft.com/office/drawing/2014/chart" uri="{C3380CC4-5D6E-409C-BE32-E72D297353CC}">
                <c16:uniqueId val="{00000F3B-61F5-407B-959D-D24239F5BB85}"/>
              </c:ext>
            </c:extLst>
          </c:dPt>
          <c:dPt>
            <c:idx val="1949"/>
            <c:invertIfNegative val="1"/>
            <c:bubble3D val="0"/>
            <c:spPr>
              <a:solidFill>
                <a:srgbClr val="AEABAB"/>
              </a:solidFill>
            </c:spPr>
            <c:extLst>
              <c:ext xmlns:c16="http://schemas.microsoft.com/office/drawing/2014/chart" uri="{C3380CC4-5D6E-409C-BE32-E72D297353CC}">
                <c16:uniqueId val="{00000F3D-61F5-407B-959D-D24239F5BB85}"/>
              </c:ext>
            </c:extLst>
          </c:dPt>
          <c:dPt>
            <c:idx val="1950"/>
            <c:invertIfNegative val="1"/>
            <c:bubble3D val="0"/>
            <c:spPr>
              <a:solidFill>
                <a:srgbClr val="AEABAB"/>
              </a:solidFill>
            </c:spPr>
            <c:extLst>
              <c:ext xmlns:c16="http://schemas.microsoft.com/office/drawing/2014/chart" uri="{C3380CC4-5D6E-409C-BE32-E72D297353CC}">
                <c16:uniqueId val="{00000F3F-61F5-407B-959D-D24239F5BB85}"/>
              </c:ext>
            </c:extLst>
          </c:dPt>
          <c:dPt>
            <c:idx val="1951"/>
            <c:invertIfNegative val="1"/>
            <c:bubble3D val="0"/>
            <c:spPr>
              <a:solidFill>
                <a:srgbClr val="AEABAB"/>
              </a:solidFill>
            </c:spPr>
            <c:extLst>
              <c:ext xmlns:c16="http://schemas.microsoft.com/office/drawing/2014/chart" uri="{C3380CC4-5D6E-409C-BE32-E72D297353CC}">
                <c16:uniqueId val="{00000F41-61F5-407B-959D-D24239F5BB85}"/>
              </c:ext>
            </c:extLst>
          </c:dPt>
          <c:dPt>
            <c:idx val="1952"/>
            <c:invertIfNegative val="1"/>
            <c:bubble3D val="0"/>
            <c:spPr>
              <a:solidFill>
                <a:srgbClr val="AEABAB"/>
              </a:solidFill>
            </c:spPr>
            <c:extLst>
              <c:ext xmlns:c16="http://schemas.microsoft.com/office/drawing/2014/chart" uri="{C3380CC4-5D6E-409C-BE32-E72D297353CC}">
                <c16:uniqueId val="{00000F43-61F5-407B-959D-D24239F5BB85}"/>
              </c:ext>
            </c:extLst>
          </c:dPt>
          <c:dPt>
            <c:idx val="1953"/>
            <c:invertIfNegative val="1"/>
            <c:bubble3D val="0"/>
            <c:spPr>
              <a:solidFill>
                <a:srgbClr val="AEABAB"/>
              </a:solidFill>
            </c:spPr>
            <c:extLst>
              <c:ext xmlns:c16="http://schemas.microsoft.com/office/drawing/2014/chart" uri="{C3380CC4-5D6E-409C-BE32-E72D297353CC}">
                <c16:uniqueId val="{00000F45-61F5-407B-959D-D24239F5BB85}"/>
              </c:ext>
            </c:extLst>
          </c:dPt>
          <c:dPt>
            <c:idx val="1954"/>
            <c:invertIfNegative val="1"/>
            <c:bubble3D val="0"/>
            <c:spPr>
              <a:solidFill>
                <a:srgbClr val="AEABAB"/>
              </a:solidFill>
            </c:spPr>
            <c:extLst>
              <c:ext xmlns:c16="http://schemas.microsoft.com/office/drawing/2014/chart" uri="{C3380CC4-5D6E-409C-BE32-E72D297353CC}">
                <c16:uniqueId val="{00000F47-61F5-407B-959D-D24239F5BB85}"/>
              </c:ext>
            </c:extLst>
          </c:dPt>
          <c:dPt>
            <c:idx val="1955"/>
            <c:invertIfNegative val="1"/>
            <c:bubble3D val="0"/>
            <c:spPr>
              <a:solidFill>
                <a:srgbClr val="AEABAB"/>
              </a:solidFill>
            </c:spPr>
            <c:extLst>
              <c:ext xmlns:c16="http://schemas.microsoft.com/office/drawing/2014/chart" uri="{C3380CC4-5D6E-409C-BE32-E72D297353CC}">
                <c16:uniqueId val="{00000F49-61F5-407B-959D-D24239F5BB85}"/>
              </c:ext>
            </c:extLst>
          </c:dPt>
          <c:dPt>
            <c:idx val="1956"/>
            <c:invertIfNegative val="1"/>
            <c:bubble3D val="0"/>
            <c:spPr>
              <a:solidFill>
                <a:srgbClr val="AEABAB"/>
              </a:solidFill>
            </c:spPr>
            <c:extLst>
              <c:ext xmlns:c16="http://schemas.microsoft.com/office/drawing/2014/chart" uri="{C3380CC4-5D6E-409C-BE32-E72D297353CC}">
                <c16:uniqueId val="{00000F4B-61F5-407B-959D-D24239F5BB85}"/>
              </c:ext>
            </c:extLst>
          </c:dPt>
          <c:dPt>
            <c:idx val="1957"/>
            <c:invertIfNegative val="1"/>
            <c:bubble3D val="0"/>
            <c:spPr>
              <a:solidFill>
                <a:srgbClr val="AEABAB"/>
              </a:solidFill>
            </c:spPr>
            <c:extLst>
              <c:ext xmlns:c16="http://schemas.microsoft.com/office/drawing/2014/chart" uri="{C3380CC4-5D6E-409C-BE32-E72D297353CC}">
                <c16:uniqueId val="{00000F4D-61F5-407B-959D-D24239F5BB85}"/>
              </c:ext>
            </c:extLst>
          </c:dPt>
          <c:dPt>
            <c:idx val="1958"/>
            <c:invertIfNegative val="1"/>
            <c:bubble3D val="0"/>
            <c:spPr>
              <a:solidFill>
                <a:srgbClr val="AEABAB"/>
              </a:solidFill>
            </c:spPr>
            <c:extLst>
              <c:ext xmlns:c16="http://schemas.microsoft.com/office/drawing/2014/chart" uri="{C3380CC4-5D6E-409C-BE32-E72D297353CC}">
                <c16:uniqueId val="{00000F4F-61F5-407B-959D-D24239F5BB85}"/>
              </c:ext>
            </c:extLst>
          </c:dPt>
          <c:dPt>
            <c:idx val="1959"/>
            <c:invertIfNegative val="1"/>
            <c:bubble3D val="0"/>
            <c:spPr>
              <a:solidFill>
                <a:srgbClr val="AEABAB"/>
              </a:solidFill>
            </c:spPr>
            <c:extLst>
              <c:ext xmlns:c16="http://schemas.microsoft.com/office/drawing/2014/chart" uri="{C3380CC4-5D6E-409C-BE32-E72D297353CC}">
                <c16:uniqueId val="{00000F51-61F5-407B-959D-D24239F5BB85}"/>
              </c:ext>
            </c:extLst>
          </c:dPt>
          <c:dPt>
            <c:idx val="1960"/>
            <c:invertIfNegative val="1"/>
            <c:bubble3D val="0"/>
            <c:spPr>
              <a:solidFill>
                <a:srgbClr val="AEABAB"/>
              </a:solidFill>
            </c:spPr>
            <c:extLst>
              <c:ext xmlns:c16="http://schemas.microsoft.com/office/drawing/2014/chart" uri="{C3380CC4-5D6E-409C-BE32-E72D297353CC}">
                <c16:uniqueId val="{00000F53-61F5-407B-959D-D24239F5BB85}"/>
              </c:ext>
            </c:extLst>
          </c:dPt>
          <c:dPt>
            <c:idx val="1961"/>
            <c:invertIfNegative val="1"/>
            <c:bubble3D val="0"/>
            <c:spPr>
              <a:solidFill>
                <a:srgbClr val="AEABAB"/>
              </a:solidFill>
            </c:spPr>
            <c:extLst>
              <c:ext xmlns:c16="http://schemas.microsoft.com/office/drawing/2014/chart" uri="{C3380CC4-5D6E-409C-BE32-E72D297353CC}">
                <c16:uniqueId val="{00000F55-61F5-407B-959D-D24239F5BB85}"/>
              </c:ext>
            </c:extLst>
          </c:dPt>
          <c:dPt>
            <c:idx val="1962"/>
            <c:invertIfNegative val="1"/>
            <c:bubble3D val="0"/>
            <c:spPr>
              <a:solidFill>
                <a:srgbClr val="AEABAB"/>
              </a:solidFill>
            </c:spPr>
            <c:extLst>
              <c:ext xmlns:c16="http://schemas.microsoft.com/office/drawing/2014/chart" uri="{C3380CC4-5D6E-409C-BE32-E72D297353CC}">
                <c16:uniqueId val="{00000F57-61F5-407B-959D-D24239F5BB85}"/>
              </c:ext>
            </c:extLst>
          </c:dPt>
          <c:dPt>
            <c:idx val="1963"/>
            <c:invertIfNegative val="1"/>
            <c:bubble3D val="0"/>
            <c:spPr>
              <a:solidFill>
                <a:srgbClr val="AEABAB"/>
              </a:solidFill>
            </c:spPr>
            <c:extLst>
              <c:ext xmlns:c16="http://schemas.microsoft.com/office/drawing/2014/chart" uri="{C3380CC4-5D6E-409C-BE32-E72D297353CC}">
                <c16:uniqueId val="{00000F59-61F5-407B-959D-D24239F5BB85}"/>
              </c:ext>
            </c:extLst>
          </c:dPt>
          <c:dPt>
            <c:idx val="1964"/>
            <c:invertIfNegative val="1"/>
            <c:bubble3D val="0"/>
            <c:spPr>
              <a:solidFill>
                <a:srgbClr val="AEABAB"/>
              </a:solidFill>
            </c:spPr>
            <c:extLst>
              <c:ext xmlns:c16="http://schemas.microsoft.com/office/drawing/2014/chart" uri="{C3380CC4-5D6E-409C-BE32-E72D297353CC}">
                <c16:uniqueId val="{00000F5B-61F5-407B-959D-D24239F5BB85}"/>
              </c:ext>
            </c:extLst>
          </c:dPt>
          <c:dPt>
            <c:idx val="1965"/>
            <c:invertIfNegative val="1"/>
            <c:bubble3D val="0"/>
            <c:spPr>
              <a:solidFill>
                <a:srgbClr val="AEABAB"/>
              </a:solidFill>
            </c:spPr>
            <c:extLst>
              <c:ext xmlns:c16="http://schemas.microsoft.com/office/drawing/2014/chart" uri="{C3380CC4-5D6E-409C-BE32-E72D297353CC}">
                <c16:uniqueId val="{00000F5D-61F5-407B-959D-D24239F5BB85}"/>
              </c:ext>
            </c:extLst>
          </c:dPt>
          <c:dPt>
            <c:idx val="1966"/>
            <c:invertIfNegative val="1"/>
            <c:bubble3D val="0"/>
            <c:spPr>
              <a:solidFill>
                <a:srgbClr val="AEABAB"/>
              </a:solidFill>
            </c:spPr>
            <c:extLst>
              <c:ext xmlns:c16="http://schemas.microsoft.com/office/drawing/2014/chart" uri="{C3380CC4-5D6E-409C-BE32-E72D297353CC}">
                <c16:uniqueId val="{00000F5F-61F5-407B-959D-D24239F5BB85}"/>
              </c:ext>
            </c:extLst>
          </c:dPt>
          <c:dPt>
            <c:idx val="1967"/>
            <c:invertIfNegative val="1"/>
            <c:bubble3D val="0"/>
            <c:spPr>
              <a:solidFill>
                <a:srgbClr val="AEABAB"/>
              </a:solidFill>
            </c:spPr>
            <c:extLst>
              <c:ext xmlns:c16="http://schemas.microsoft.com/office/drawing/2014/chart" uri="{C3380CC4-5D6E-409C-BE32-E72D297353CC}">
                <c16:uniqueId val="{00000F61-61F5-407B-959D-D24239F5BB85}"/>
              </c:ext>
            </c:extLst>
          </c:dPt>
          <c:dPt>
            <c:idx val="1968"/>
            <c:invertIfNegative val="1"/>
            <c:bubble3D val="0"/>
            <c:spPr>
              <a:solidFill>
                <a:srgbClr val="AEABAB"/>
              </a:solidFill>
            </c:spPr>
            <c:extLst>
              <c:ext xmlns:c16="http://schemas.microsoft.com/office/drawing/2014/chart" uri="{C3380CC4-5D6E-409C-BE32-E72D297353CC}">
                <c16:uniqueId val="{00000F63-61F5-407B-959D-D24239F5BB85}"/>
              </c:ext>
            </c:extLst>
          </c:dPt>
          <c:dPt>
            <c:idx val="1969"/>
            <c:invertIfNegative val="1"/>
            <c:bubble3D val="0"/>
            <c:spPr>
              <a:solidFill>
                <a:srgbClr val="AEABAB"/>
              </a:solidFill>
            </c:spPr>
            <c:extLst>
              <c:ext xmlns:c16="http://schemas.microsoft.com/office/drawing/2014/chart" uri="{C3380CC4-5D6E-409C-BE32-E72D297353CC}">
                <c16:uniqueId val="{00000F65-61F5-407B-959D-D24239F5BB85}"/>
              </c:ext>
            </c:extLst>
          </c:dPt>
          <c:dPt>
            <c:idx val="1970"/>
            <c:invertIfNegative val="1"/>
            <c:bubble3D val="0"/>
            <c:spPr>
              <a:solidFill>
                <a:srgbClr val="AEABAB"/>
              </a:solidFill>
            </c:spPr>
            <c:extLst>
              <c:ext xmlns:c16="http://schemas.microsoft.com/office/drawing/2014/chart" uri="{C3380CC4-5D6E-409C-BE32-E72D297353CC}">
                <c16:uniqueId val="{00000F67-61F5-407B-959D-D24239F5BB85}"/>
              </c:ext>
            </c:extLst>
          </c:dPt>
          <c:dPt>
            <c:idx val="1971"/>
            <c:invertIfNegative val="1"/>
            <c:bubble3D val="0"/>
            <c:spPr>
              <a:solidFill>
                <a:srgbClr val="AEABAB"/>
              </a:solidFill>
            </c:spPr>
            <c:extLst>
              <c:ext xmlns:c16="http://schemas.microsoft.com/office/drawing/2014/chart" uri="{C3380CC4-5D6E-409C-BE32-E72D297353CC}">
                <c16:uniqueId val="{00000F69-61F5-407B-959D-D24239F5BB85}"/>
              </c:ext>
            </c:extLst>
          </c:dPt>
          <c:dPt>
            <c:idx val="1972"/>
            <c:invertIfNegative val="1"/>
            <c:bubble3D val="0"/>
            <c:spPr>
              <a:solidFill>
                <a:srgbClr val="AEABAB"/>
              </a:solidFill>
            </c:spPr>
            <c:extLst>
              <c:ext xmlns:c16="http://schemas.microsoft.com/office/drawing/2014/chart" uri="{C3380CC4-5D6E-409C-BE32-E72D297353CC}">
                <c16:uniqueId val="{00000F6B-61F5-407B-959D-D24239F5BB85}"/>
              </c:ext>
            </c:extLst>
          </c:dPt>
          <c:dPt>
            <c:idx val="1973"/>
            <c:invertIfNegative val="1"/>
            <c:bubble3D val="0"/>
            <c:spPr>
              <a:solidFill>
                <a:srgbClr val="AEABAB"/>
              </a:solidFill>
            </c:spPr>
            <c:extLst>
              <c:ext xmlns:c16="http://schemas.microsoft.com/office/drawing/2014/chart" uri="{C3380CC4-5D6E-409C-BE32-E72D297353CC}">
                <c16:uniqueId val="{00000F6D-61F5-407B-959D-D24239F5BB85}"/>
              </c:ext>
            </c:extLst>
          </c:dPt>
          <c:dPt>
            <c:idx val="1974"/>
            <c:invertIfNegative val="1"/>
            <c:bubble3D val="0"/>
            <c:spPr>
              <a:solidFill>
                <a:srgbClr val="AEABAB"/>
              </a:solidFill>
            </c:spPr>
            <c:extLst>
              <c:ext xmlns:c16="http://schemas.microsoft.com/office/drawing/2014/chart" uri="{C3380CC4-5D6E-409C-BE32-E72D297353CC}">
                <c16:uniqueId val="{00000F6F-61F5-407B-959D-D24239F5BB85}"/>
              </c:ext>
            </c:extLst>
          </c:dPt>
          <c:dPt>
            <c:idx val="1975"/>
            <c:invertIfNegative val="1"/>
            <c:bubble3D val="0"/>
            <c:spPr>
              <a:solidFill>
                <a:srgbClr val="AEABAB"/>
              </a:solidFill>
            </c:spPr>
            <c:extLst>
              <c:ext xmlns:c16="http://schemas.microsoft.com/office/drawing/2014/chart" uri="{C3380CC4-5D6E-409C-BE32-E72D297353CC}">
                <c16:uniqueId val="{00000F71-61F5-407B-959D-D24239F5BB85}"/>
              </c:ext>
            </c:extLst>
          </c:dPt>
          <c:dPt>
            <c:idx val="1976"/>
            <c:invertIfNegative val="1"/>
            <c:bubble3D val="0"/>
            <c:spPr>
              <a:solidFill>
                <a:srgbClr val="AEABAB"/>
              </a:solidFill>
            </c:spPr>
            <c:extLst>
              <c:ext xmlns:c16="http://schemas.microsoft.com/office/drawing/2014/chart" uri="{C3380CC4-5D6E-409C-BE32-E72D297353CC}">
                <c16:uniqueId val="{00000F73-61F5-407B-959D-D24239F5BB85}"/>
              </c:ext>
            </c:extLst>
          </c:dPt>
          <c:dPt>
            <c:idx val="1977"/>
            <c:invertIfNegative val="1"/>
            <c:bubble3D val="0"/>
            <c:spPr>
              <a:solidFill>
                <a:srgbClr val="AEABAB"/>
              </a:solidFill>
            </c:spPr>
            <c:extLst>
              <c:ext xmlns:c16="http://schemas.microsoft.com/office/drawing/2014/chart" uri="{C3380CC4-5D6E-409C-BE32-E72D297353CC}">
                <c16:uniqueId val="{00000F75-61F5-407B-959D-D24239F5BB85}"/>
              </c:ext>
            </c:extLst>
          </c:dPt>
          <c:dPt>
            <c:idx val="1978"/>
            <c:invertIfNegative val="1"/>
            <c:bubble3D val="0"/>
            <c:spPr>
              <a:solidFill>
                <a:srgbClr val="AEABAB"/>
              </a:solidFill>
            </c:spPr>
            <c:extLst>
              <c:ext xmlns:c16="http://schemas.microsoft.com/office/drawing/2014/chart" uri="{C3380CC4-5D6E-409C-BE32-E72D297353CC}">
                <c16:uniqueId val="{00000F77-61F5-407B-959D-D24239F5BB85}"/>
              </c:ext>
            </c:extLst>
          </c:dPt>
          <c:dPt>
            <c:idx val="1979"/>
            <c:invertIfNegative val="1"/>
            <c:bubble3D val="0"/>
            <c:spPr>
              <a:solidFill>
                <a:srgbClr val="AEABAB"/>
              </a:solidFill>
            </c:spPr>
            <c:extLst>
              <c:ext xmlns:c16="http://schemas.microsoft.com/office/drawing/2014/chart" uri="{C3380CC4-5D6E-409C-BE32-E72D297353CC}">
                <c16:uniqueId val="{00000F79-61F5-407B-959D-D24239F5BB85}"/>
              </c:ext>
            </c:extLst>
          </c:dPt>
          <c:dPt>
            <c:idx val="1980"/>
            <c:invertIfNegative val="1"/>
            <c:bubble3D val="0"/>
            <c:spPr>
              <a:solidFill>
                <a:srgbClr val="AEABAB"/>
              </a:solidFill>
            </c:spPr>
            <c:extLst>
              <c:ext xmlns:c16="http://schemas.microsoft.com/office/drawing/2014/chart" uri="{C3380CC4-5D6E-409C-BE32-E72D297353CC}">
                <c16:uniqueId val="{00000F7B-61F5-407B-959D-D24239F5BB85}"/>
              </c:ext>
            </c:extLst>
          </c:dPt>
          <c:dPt>
            <c:idx val="1981"/>
            <c:invertIfNegative val="1"/>
            <c:bubble3D val="0"/>
            <c:spPr>
              <a:solidFill>
                <a:srgbClr val="AEABAB"/>
              </a:solidFill>
            </c:spPr>
            <c:extLst>
              <c:ext xmlns:c16="http://schemas.microsoft.com/office/drawing/2014/chart" uri="{C3380CC4-5D6E-409C-BE32-E72D297353CC}">
                <c16:uniqueId val="{00000F7D-61F5-407B-959D-D24239F5BB85}"/>
              </c:ext>
            </c:extLst>
          </c:dPt>
          <c:dPt>
            <c:idx val="1982"/>
            <c:invertIfNegative val="1"/>
            <c:bubble3D val="0"/>
            <c:spPr>
              <a:solidFill>
                <a:srgbClr val="AEABAB"/>
              </a:solidFill>
            </c:spPr>
            <c:extLst>
              <c:ext xmlns:c16="http://schemas.microsoft.com/office/drawing/2014/chart" uri="{C3380CC4-5D6E-409C-BE32-E72D297353CC}">
                <c16:uniqueId val="{00000F7F-61F5-407B-959D-D24239F5BB85}"/>
              </c:ext>
            </c:extLst>
          </c:dPt>
          <c:dPt>
            <c:idx val="1983"/>
            <c:invertIfNegative val="1"/>
            <c:bubble3D val="0"/>
            <c:spPr>
              <a:solidFill>
                <a:srgbClr val="AEABAB"/>
              </a:solidFill>
            </c:spPr>
            <c:extLst>
              <c:ext xmlns:c16="http://schemas.microsoft.com/office/drawing/2014/chart" uri="{C3380CC4-5D6E-409C-BE32-E72D297353CC}">
                <c16:uniqueId val="{00000F81-61F5-407B-959D-D24239F5BB85}"/>
              </c:ext>
            </c:extLst>
          </c:dPt>
          <c:dPt>
            <c:idx val="1984"/>
            <c:invertIfNegative val="1"/>
            <c:bubble3D val="0"/>
            <c:spPr>
              <a:solidFill>
                <a:srgbClr val="AEABAB"/>
              </a:solidFill>
            </c:spPr>
            <c:extLst>
              <c:ext xmlns:c16="http://schemas.microsoft.com/office/drawing/2014/chart" uri="{C3380CC4-5D6E-409C-BE32-E72D297353CC}">
                <c16:uniqueId val="{00000F83-61F5-407B-959D-D24239F5BB85}"/>
              </c:ext>
            </c:extLst>
          </c:dPt>
          <c:dPt>
            <c:idx val="1985"/>
            <c:invertIfNegative val="1"/>
            <c:bubble3D val="0"/>
            <c:spPr>
              <a:solidFill>
                <a:srgbClr val="AEABAB"/>
              </a:solidFill>
            </c:spPr>
            <c:extLst>
              <c:ext xmlns:c16="http://schemas.microsoft.com/office/drawing/2014/chart" uri="{C3380CC4-5D6E-409C-BE32-E72D297353CC}">
                <c16:uniqueId val="{00000F85-61F5-407B-959D-D24239F5BB85}"/>
              </c:ext>
            </c:extLst>
          </c:dPt>
          <c:dPt>
            <c:idx val="1986"/>
            <c:invertIfNegative val="1"/>
            <c:bubble3D val="0"/>
            <c:spPr>
              <a:solidFill>
                <a:srgbClr val="AEABAB"/>
              </a:solidFill>
            </c:spPr>
            <c:extLst>
              <c:ext xmlns:c16="http://schemas.microsoft.com/office/drawing/2014/chart" uri="{C3380CC4-5D6E-409C-BE32-E72D297353CC}">
                <c16:uniqueId val="{00000F87-61F5-407B-959D-D24239F5BB85}"/>
              </c:ext>
            </c:extLst>
          </c:dPt>
          <c:dPt>
            <c:idx val="1987"/>
            <c:invertIfNegative val="1"/>
            <c:bubble3D val="0"/>
            <c:spPr>
              <a:solidFill>
                <a:srgbClr val="AEABAB"/>
              </a:solidFill>
            </c:spPr>
            <c:extLst>
              <c:ext xmlns:c16="http://schemas.microsoft.com/office/drawing/2014/chart" uri="{C3380CC4-5D6E-409C-BE32-E72D297353CC}">
                <c16:uniqueId val="{00000F89-61F5-407B-959D-D24239F5BB85}"/>
              </c:ext>
            </c:extLst>
          </c:dPt>
          <c:dPt>
            <c:idx val="1988"/>
            <c:invertIfNegative val="1"/>
            <c:bubble3D val="0"/>
            <c:spPr>
              <a:solidFill>
                <a:srgbClr val="AEABAB"/>
              </a:solidFill>
            </c:spPr>
            <c:extLst>
              <c:ext xmlns:c16="http://schemas.microsoft.com/office/drawing/2014/chart" uri="{C3380CC4-5D6E-409C-BE32-E72D297353CC}">
                <c16:uniqueId val="{00000F8B-61F5-407B-959D-D24239F5BB85}"/>
              </c:ext>
            </c:extLst>
          </c:dPt>
          <c:dPt>
            <c:idx val="1989"/>
            <c:invertIfNegative val="1"/>
            <c:bubble3D val="0"/>
            <c:spPr>
              <a:solidFill>
                <a:srgbClr val="AEABAB"/>
              </a:solidFill>
            </c:spPr>
            <c:extLst>
              <c:ext xmlns:c16="http://schemas.microsoft.com/office/drawing/2014/chart" uri="{C3380CC4-5D6E-409C-BE32-E72D297353CC}">
                <c16:uniqueId val="{00000F8D-61F5-407B-959D-D24239F5BB85}"/>
              </c:ext>
            </c:extLst>
          </c:dPt>
          <c:dPt>
            <c:idx val="1990"/>
            <c:invertIfNegative val="1"/>
            <c:bubble3D val="0"/>
            <c:spPr>
              <a:solidFill>
                <a:srgbClr val="AEABAB"/>
              </a:solidFill>
            </c:spPr>
            <c:extLst>
              <c:ext xmlns:c16="http://schemas.microsoft.com/office/drawing/2014/chart" uri="{C3380CC4-5D6E-409C-BE32-E72D297353CC}">
                <c16:uniqueId val="{00000F8F-61F5-407B-959D-D24239F5BB85}"/>
              </c:ext>
            </c:extLst>
          </c:dPt>
          <c:dPt>
            <c:idx val="1991"/>
            <c:invertIfNegative val="1"/>
            <c:bubble3D val="0"/>
            <c:spPr>
              <a:solidFill>
                <a:srgbClr val="AEABAB"/>
              </a:solidFill>
            </c:spPr>
            <c:extLst>
              <c:ext xmlns:c16="http://schemas.microsoft.com/office/drawing/2014/chart" uri="{C3380CC4-5D6E-409C-BE32-E72D297353CC}">
                <c16:uniqueId val="{00000F91-61F5-407B-959D-D24239F5BB85}"/>
              </c:ext>
            </c:extLst>
          </c:dPt>
          <c:dPt>
            <c:idx val="1992"/>
            <c:invertIfNegative val="1"/>
            <c:bubble3D val="0"/>
            <c:spPr>
              <a:solidFill>
                <a:srgbClr val="AEABAB"/>
              </a:solidFill>
            </c:spPr>
            <c:extLst>
              <c:ext xmlns:c16="http://schemas.microsoft.com/office/drawing/2014/chart" uri="{C3380CC4-5D6E-409C-BE32-E72D297353CC}">
                <c16:uniqueId val="{00000F93-61F5-407B-959D-D24239F5BB85}"/>
              </c:ext>
            </c:extLst>
          </c:dPt>
          <c:dPt>
            <c:idx val="1993"/>
            <c:invertIfNegative val="1"/>
            <c:bubble3D val="0"/>
            <c:spPr>
              <a:solidFill>
                <a:srgbClr val="AEABAB"/>
              </a:solidFill>
            </c:spPr>
            <c:extLst>
              <c:ext xmlns:c16="http://schemas.microsoft.com/office/drawing/2014/chart" uri="{C3380CC4-5D6E-409C-BE32-E72D297353CC}">
                <c16:uniqueId val="{00000F95-61F5-407B-959D-D24239F5BB85}"/>
              </c:ext>
            </c:extLst>
          </c:dPt>
          <c:dPt>
            <c:idx val="1994"/>
            <c:invertIfNegative val="1"/>
            <c:bubble3D val="0"/>
            <c:spPr>
              <a:solidFill>
                <a:srgbClr val="AEABAB"/>
              </a:solidFill>
            </c:spPr>
            <c:extLst>
              <c:ext xmlns:c16="http://schemas.microsoft.com/office/drawing/2014/chart" uri="{C3380CC4-5D6E-409C-BE32-E72D297353CC}">
                <c16:uniqueId val="{00000F97-61F5-407B-959D-D24239F5BB85}"/>
              </c:ext>
            </c:extLst>
          </c:dPt>
          <c:dPt>
            <c:idx val="1995"/>
            <c:invertIfNegative val="1"/>
            <c:bubble3D val="0"/>
            <c:spPr>
              <a:solidFill>
                <a:srgbClr val="AEABAB"/>
              </a:solidFill>
            </c:spPr>
            <c:extLst>
              <c:ext xmlns:c16="http://schemas.microsoft.com/office/drawing/2014/chart" uri="{C3380CC4-5D6E-409C-BE32-E72D297353CC}">
                <c16:uniqueId val="{00000F99-61F5-407B-959D-D24239F5BB85}"/>
              </c:ext>
            </c:extLst>
          </c:dPt>
          <c:dPt>
            <c:idx val="1996"/>
            <c:invertIfNegative val="1"/>
            <c:bubble3D val="0"/>
            <c:spPr>
              <a:solidFill>
                <a:srgbClr val="AEABAB"/>
              </a:solidFill>
            </c:spPr>
            <c:extLst>
              <c:ext xmlns:c16="http://schemas.microsoft.com/office/drawing/2014/chart" uri="{C3380CC4-5D6E-409C-BE32-E72D297353CC}">
                <c16:uniqueId val="{00000F9B-61F5-407B-959D-D24239F5BB85}"/>
              </c:ext>
            </c:extLst>
          </c:dPt>
          <c:dPt>
            <c:idx val="1997"/>
            <c:invertIfNegative val="1"/>
            <c:bubble3D val="0"/>
            <c:spPr>
              <a:solidFill>
                <a:srgbClr val="AEABAB"/>
              </a:solidFill>
            </c:spPr>
            <c:extLst>
              <c:ext xmlns:c16="http://schemas.microsoft.com/office/drawing/2014/chart" uri="{C3380CC4-5D6E-409C-BE32-E72D297353CC}">
                <c16:uniqueId val="{00000F9D-61F5-407B-959D-D24239F5BB85}"/>
              </c:ext>
            </c:extLst>
          </c:dPt>
          <c:dPt>
            <c:idx val="1998"/>
            <c:invertIfNegative val="1"/>
            <c:bubble3D val="0"/>
            <c:spPr>
              <a:solidFill>
                <a:srgbClr val="AEABAB"/>
              </a:solidFill>
            </c:spPr>
            <c:extLst>
              <c:ext xmlns:c16="http://schemas.microsoft.com/office/drawing/2014/chart" uri="{C3380CC4-5D6E-409C-BE32-E72D297353CC}">
                <c16:uniqueId val="{00000F9F-61F5-407B-959D-D24239F5BB85}"/>
              </c:ext>
            </c:extLst>
          </c:dPt>
          <c:dPt>
            <c:idx val="1999"/>
            <c:invertIfNegative val="1"/>
            <c:bubble3D val="0"/>
            <c:spPr>
              <a:solidFill>
                <a:srgbClr val="AEABAB"/>
              </a:solidFill>
            </c:spPr>
            <c:extLst>
              <c:ext xmlns:c16="http://schemas.microsoft.com/office/drawing/2014/chart" uri="{C3380CC4-5D6E-409C-BE32-E72D297353CC}">
                <c16:uniqueId val="{00000FA1-61F5-407B-959D-D24239F5BB85}"/>
              </c:ext>
            </c:extLst>
          </c:dPt>
          <c:dPt>
            <c:idx val="2000"/>
            <c:invertIfNegative val="1"/>
            <c:bubble3D val="0"/>
            <c:spPr>
              <a:solidFill>
                <a:srgbClr val="AEABAB"/>
              </a:solidFill>
            </c:spPr>
            <c:extLst>
              <c:ext xmlns:c16="http://schemas.microsoft.com/office/drawing/2014/chart" uri="{C3380CC4-5D6E-409C-BE32-E72D297353CC}">
                <c16:uniqueId val="{00000FA3-61F5-407B-959D-D24239F5BB85}"/>
              </c:ext>
            </c:extLst>
          </c:dPt>
          <c:dPt>
            <c:idx val="2001"/>
            <c:invertIfNegative val="1"/>
            <c:bubble3D val="0"/>
            <c:spPr>
              <a:solidFill>
                <a:srgbClr val="AEABAB"/>
              </a:solidFill>
            </c:spPr>
            <c:extLst>
              <c:ext xmlns:c16="http://schemas.microsoft.com/office/drawing/2014/chart" uri="{C3380CC4-5D6E-409C-BE32-E72D297353CC}">
                <c16:uniqueId val="{00000FA5-61F5-407B-959D-D24239F5BB85}"/>
              </c:ext>
            </c:extLst>
          </c:dPt>
          <c:dPt>
            <c:idx val="2002"/>
            <c:invertIfNegative val="1"/>
            <c:bubble3D val="0"/>
            <c:spPr>
              <a:solidFill>
                <a:srgbClr val="AEABAB"/>
              </a:solidFill>
            </c:spPr>
            <c:extLst>
              <c:ext xmlns:c16="http://schemas.microsoft.com/office/drawing/2014/chart" uri="{C3380CC4-5D6E-409C-BE32-E72D297353CC}">
                <c16:uniqueId val="{00000FA7-61F5-407B-959D-D24239F5BB85}"/>
              </c:ext>
            </c:extLst>
          </c:dPt>
          <c:dPt>
            <c:idx val="2003"/>
            <c:invertIfNegative val="1"/>
            <c:bubble3D val="0"/>
            <c:spPr>
              <a:solidFill>
                <a:srgbClr val="AEABAB"/>
              </a:solidFill>
            </c:spPr>
            <c:extLst>
              <c:ext xmlns:c16="http://schemas.microsoft.com/office/drawing/2014/chart" uri="{C3380CC4-5D6E-409C-BE32-E72D297353CC}">
                <c16:uniqueId val="{00000FA9-61F5-407B-959D-D24239F5BB85}"/>
              </c:ext>
            </c:extLst>
          </c:dPt>
          <c:dPt>
            <c:idx val="2004"/>
            <c:invertIfNegative val="1"/>
            <c:bubble3D val="0"/>
            <c:spPr>
              <a:solidFill>
                <a:srgbClr val="AEABAB"/>
              </a:solidFill>
            </c:spPr>
            <c:extLst>
              <c:ext xmlns:c16="http://schemas.microsoft.com/office/drawing/2014/chart" uri="{C3380CC4-5D6E-409C-BE32-E72D297353CC}">
                <c16:uniqueId val="{00000FAB-61F5-407B-959D-D24239F5BB85}"/>
              </c:ext>
            </c:extLst>
          </c:dPt>
          <c:dPt>
            <c:idx val="2005"/>
            <c:invertIfNegative val="1"/>
            <c:bubble3D val="0"/>
            <c:spPr>
              <a:solidFill>
                <a:srgbClr val="AEABAB"/>
              </a:solidFill>
            </c:spPr>
            <c:extLst>
              <c:ext xmlns:c16="http://schemas.microsoft.com/office/drawing/2014/chart" uri="{C3380CC4-5D6E-409C-BE32-E72D297353CC}">
                <c16:uniqueId val="{00000FAD-61F5-407B-959D-D24239F5BB85}"/>
              </c:ext>
            </c:extLst>
          </c:dPt>
          <c:dPt>
            <c:idx val="2006"/>
            <c:invertIfNegative val="1"/>
            <c:bubble3D val="0"/>
            <c:spPr>
              <a:solidFill>
                <a:srgbClr val="AEABAB"/>
              </a:solidFill>
            </c:spPr>
            <c:extLst>
              <c:ext xmlns:c16="http://schemas.microsoft.com/office/drawing/2014/chart" uri="{C3380CC4-5D6E-409C-BE32-E72D297353CC}">
                <c16:uniqueId val="{00000FAF-61F5-407B-959D-D24239F5BB85}"/>
              </c:ext>
            </c:extLst>
          </c:dPt>
          <c:dPt>
            <c:idx val="2007"/>
            <c:invertIfNegative val="1"/>
            <c:bubble3D val="0"/>
            <c:spPr>
              <a:solidFill>
                <a:srgbClr val="AEABAB"/>
              </a:solidFill>
            </c:spPr>
            <c:extLst>
              <c:ext xmlns:c16="http://schemas.microsoft.com/office/drawing/2014/chart" uri="{C3380CC4-5D6E-409C-BE32-E72D297353CC}">
                <c16:uniqueId val="{00000FB1-61F5-407B-959D-D24239F5BB85}"/>
              </c:ext>
            </c:extLst>
          </c:dPt>
          <c:dPt>
            <c:idx val="2008"/>
            <c:invertIfNegative val="1"/>
            <c:bubble3D val="0"/>
            <c:spPr>
              <a:solidFill>
                <a:srgbClr val="AEABAB"/>
              </a:solidFill>
            </c:spPr>
            <c:extLst>
              <c:ext xmlns:c16="http://schemas.microsoft.com/office/drawing/2014/chart" uri="{C3380CC4-5D6E-409C-BE32-E72D297353CC}">
                <c16:uniqueId val="{00000FB3-61F5-407B-959D-D24239F5BB85}"/>
              </c:ext>
            </c:extLst>
          </c:dPt>
          <c:dPt>
            <c:idx val="2009"/>
            <c:invertIfNegative val="1"/>
            <c:bubble3D val="0"/>
            <c:spPr>
              <a:solidFill>
                <a:srgbClr val="AEABAB"/>
              </a:solidFill>
            </c:spPr>
            <c:extLst>
              <c:ext xmlns:c16="http://schemas.microsoft.com/office/drawing/2014/chart" uri="{C3380CC4-5D6E-409C-BE32-E72D297353CC}">
                <c16:uniqueId val="{00000FB5-61F5-407B-959D-D24239F5BB85}"/>
              </c:ext>
            </c:extLst>
          </c:dPt>
          <c:dPt>
            <c:idx val="2010"/>
            <c:invertIfNegative val="1"/>
            <c:bubble3D val="0"/>
            <c:spPr>
              <a:solidFill>
                <a:srgbClr val="AEABAB"/>
              </a:solidFill>
            </c:spPr>
            <c:extLst>
              <c:ext xmlns:c16="http://schemas.microsoft.com/office/drawing/2014/chart" uri="{C3380CC4-5D6E-409C-BE32-E72D297353CC}">
                <c16:uniqueId val="{00000FB7-61F5-407B-959D-D24239F5BB85}"/>
              </c:ext>
            </c:extLst>
          </c:dPt>
          <c:dPt>
            <c:idx val="2011"/>
            <c:invertIfNegative val="1"/>
            <c:bubble3D val="0"/>
            <c:spPr>
              <a:solidFill>
                <a:srgbClr val="AEABAB"/>
              </a:solidFill>
            </c:spPr>
            <c:extLst>
              <c:ext xmlns:c16="http://schemas.microsoft.com/office/drawing/2014/chart" uri="{C3380CC4-5D6E-409C-BE32-E72D297353CC}">
                <c16:uniqueId val="{00000FB9-61F5-407B-959D-D24239F5BB85}"/>
              </c:ext>
            </c:extLst>
          </c:dPt>
          <c:dPt>
            <c:idx val="2012"/>
            <c:invertIfNegative val="1"/>
            <c:bubble3D val="0"/>
            <c:spPr>
              <a:solidFill>
                <a:srgbClr val="AEABAB"/>
              </a:solidFill>
            </c:spPr>
            <c:extLst>
              <c:ext xmlns:c16="http://schemas.microsoft.com/office/drawing/2014/chart" uri="{C3380CC4-5D6E-409C-BE32-E72D297353CC}">
                <c16:uniqueId val="{00000FBB-61F5-407B-959D-D24239F5BB85}"/>
              </c:ext>
            </c:extLst>
          </c:dPt>
          <c:dPt>
            <c:idx val="2013"/>
            <c:invertIfNegative val="1"/>
            <c:bubble3D val="0"/>
            <c:spPr>
              <a:solidFill>
                <a:srgbClr val="AEABAB"/>
              </a:solidFill>
            </c:spPr>
            <c:extLst>
              <c:ext xmlns:c16="http://schemas.microsoft.com/office/drawing/2014/chart" uri="{C3380CC4-5D6E-409C-BE32-E72D297353CC}">
                <c16:uniqueId val="{00000FBD-61F5-407B-959D-D24239F5BB85}"/>
              </c:ext>
            </c:extLst>
          </c:dPt>
          <c:dPt>
            <c:idx val="2014"/>
            <c:invertIfNegative val="1"/>
            <c:bubble3D val="0"/>
            <c:spPr>
              <a:solidFill>
                <a:srgbClr val="AEABAB"/>
              </a:solidFill>
            </c:spPr>
            <c:extLst>
              <c:ext xmlns:c16="http://schemas.microsoft.com/office/drawing/2014/chart" uri="{C3380CC4-5D6E-409C-BE32-E72D297353CC}">
                <c16:uniqueId val="{00000FBF-61F5-407B-959D-D24239F5BB85}"/>
              </c:ext>
            </c:extLst>
          </c:dPt>
          <c:dPt>
            <c:idx val="2015"/>
            <c:invertIfNegative val="1"/>
            <c:bubble3D val="0"/>
            <c:spPr>
              <a:solidFill>
                <a:srgbClr val="AEABAB"/>
              </a:solidFill>
            </c:spPr>
            <c:extLst>
              <c:ext xmlns:c16="http://schemas.microsoft.com/office/drawing/2014/chart" uri="{C3380CC4-5D6E-409C-BE32-E72D297353CC}">
                <c16:uniqueId val="{00000FC1-61F5-407B-959D-D24239F5BB85}"/>
              </c:ext>
            </c:extLst>
          </c:dPt>
          <c:dPt>
            <c:idx val="2016"/>
            <c:invertIfNegative val="1"/>
            <c:bubble3D val="0"/>
            <c:spPr>
              <a:solidFill>
                <a:srgbClr val="AEABAB"/>
              </a:solidFill>
            </c:spPr>
            <c:extLst>
              <c:ext xmlns:c16="http://schemas.microsoft.com/office/drawing/2014/chart" uri="{C3380CC4-5D6E-409C-BE32-E72D297353CC}">
                <c16:uniqueId val="{00000FC3-61F5-407B-959D-D24239F5BB85}"/>
              </c:ext>
            </c:extLst>
          </c:dPt>
          <c:dPt>
            <c:idx val="2017"/>
            <c:invertIfNegative val="1"/>
            <c:bubble3D val="0"/>
            <c:spPr>
              <a:solidFill>
                <a:srgbClr val="AEABAB"/>
              </a:solidFill>
            </c:spPr>
            <c:extLst>
              <c:ext xmlns:c16="http://schemas.microsoft.com/office/drawing/2014/chart" uri="{C3380CC4-5D6E-409C-BE32-E72D297353CC}">
                <c16:uniqueId val="{00000FC5-61F5-407B-959D-D24239F5BB85}"/>
              </c:ext>
            </c:extLst>
          </c:dPt>
          <c:dPt>
            <c:idx val="2018"/>
            <c:invertIfNegative val="1"/>
            <c:bubble3D val="0"/>
            <c:spPr>
              <a:solidFill>
                <a:srgbClr val="AEABAB"/>
              </a:solidFill>
            </c:spPr>
            <c:extLst>
              <c:ext xmlns:c16="http://schemas.microsoft.com/office/drawing/2014/chart" uri="{C3380CC4-5D6E-409C-BE32-E72D297353CC}">
                <c16:uniqueId val="{00000FC7-61F5-407B-959D-D24239F5BB85}"/>
              </c:ext>
            </c:extLst>
          </c:dPt>
          <c:dPt>
            <c:idx val="2019"/>
            <c:invertIfNegative val="1"/>
            <c:bubble3D val="0"/>
            <c:spPr>
              <a:solidFill>
                <a:srgbClr val="AEABAB"/>
              </a:solidFill>
            </c:spPr>
            <c:extLst>
              <c:ext xmlns:c16="http://schemas.microsoft.com/office/drawing/2014/chart" uri="{C3380CC4-5D6E-409C-BE32-E72D297353CC}">
                <c16:uniqueId val="{00000FC9-61F5-407B-959D-D24239F5BB85}"/>
              </c:ext>
            </c:extLst>
          </c:dPt>
          <c:dPt>
            <c:idx val="2020"/>
            <c:invertIfNegative val="1"/>
            <c:bubble3D val="0"/>
            <c:spPr>
              <a:solidFill>
                <a:srgbClr val="AEABAB"/>
              </a:solidFill>
            </c:spPr>
            <c:extLst>
              <c:ext xmlns:c16="http://schemas.microsoft.com/office/drawing/2014/chart" uri="{C3380CC4-5D6E-409C-BE32-E72D297353CC}">
                <c16:uniqueId val="{00000FCB-61F5-407B-959D-D24239F5BB85}"/>
              </c:ext>
            </c:extLst>
          </c:dPt>
          <c:dPt>
            <c:idx val="2021"/>
            <c:invertIfNegative val="1"/>
            <c:bubble3D val="0"/>
            <c:spPr>
              <a:solidFill>
                <a:srgbClr val="AEABAB"/>
              </a:solidFill>
            </c:spPr>
            <c:extLst>
              <c:ext xmlns:c16="http://schemas.microsoft.com/office/drawing/2014/chart" uri="{C3380CC4-5D6E-409C-BE32-E72D297353CC}">
                <c16:uniqueId val="{00000FCD-61F5-407B-959D-D24239F5BB85}"/>
              </c:ext>
            </c:extLst>
          </c:dPt>
          <c:dPt>
            <c:idx val="2022"/>
            <c:invertIfNegative val="1"/>
            <c:bubble3D val="0"/>
            <c:spPr>
              <a:solidFill>
                <a:srgbClr val="AEABAB"/>
              </a:solidFill>
            </c:spPr>
            <c:extLst>
              <c:ext xmlns:c16="http://schemas.microsoft.com/office/drawing/2014/chart" uri="{C3380CC4-5D6E-409C-BE32-E72D297353CC}">
                <c16:uniqueId val="{00000FCF-61F5-407B-959D-D24239F5BB85}"/>
              </c:ext>
            </c:extLst>
          </c:dPt>
          <c:dPt>
            <c:idx val="2023"/>
            <c:invertIfNegative val="1"/>
            <c:bubble3D val="0"/>
            <c:spPr>
              <a:solidFill>
                <a:srgbClr val="AEABAB"/>
              </a:solidFill>
            </c:spPr>
            <c:extLst>
              <c:ext xmlns:c16="http://schemas.microsoft.com/office/drawing/2014/chart" uri="{C3380CC4-5D6E-409C-BE32-E72D297353CC}">
                <c16:uniqueId val="{00000FD1-61F5-407B-959D-D24239F5BB85}"/>
              </c:ext>
            </c:extLst>
          </c:dPt>
          <c:dPt>
            <c:idx val="2024"/>
            <c:invertIfNegative val="1"/>
            <c:bubble3D val="0"/>
            <c:spPr>
              <a:solidFill>
                <a:srgbClr val="AEABAB"/>
              </a:solidFill>
            </c:spPr>
            <c:extLst>
              <c:ext xmlns:c16="http://schemas.microsoft.com/office/drawing/2014/chart" uri="{C3380CC4-5D6E-409C-BE32-E72D297353CC}">
                <c16:uniqueId val="{00000FD3-61F5-407B-959D-D24239F5BB85}"/>
              </c:ext>
            </c:extLst>
          </c:dPt>
          <c:dPt>
            <c:idx val="2025"/>
            <c:invertIfNegative val="1"/>
            <c:bubble3D val="0"/>
            <c:spPr>
              <a:solidFill>
                <a:srgbClr val="AEABAB"/>
              </a:solidFill>
            </c:spPr>
            <c:extLst>
              <c:ext xmlns:c16="http://schemas.microsoft.com/office/drawing/2014/chart" uri="{C3380CC4-5D6E-409C-BE32-E72D297353CC}">
                <c16:uniqueId val="{00000FD5-61F5-407B-959D-D24239F5BB85}"/>
              </c:ext>
            </c:extLst>
          </c:dPt>
          <c:dPt>
            <c:idx val="2026"/>
            <c:invertIfNegative val="1"/>
            <c:bubble3D val="0"/>
            <c:spPr>
              <a:solidFill>
                <a:srgbClr val="AEABAB"/>
              </a:solidFill>
            </c:spPr>
            <c:extLst>
              <c:ext xmlns:c16="http://schemas.microsoft.com/office/drawing/2014/chart" uri="{C3380CC4-5D6E-409C-BE32-E72D297353CC}">
                <c16:uniqueId val="{00000FD7-61F5-407B-959D-D24239F5BB85}"/>
              </c:ext>
            </c:extLst>
          </c:dPt>
          <c:dPt>
            <c:idx val="2027"/>
            <c:invertIfNegative val="1"/>
            <c:bubble3D val="0"/>
            <c:spPr>
              <a:solidFill>
                <a:srgbClr val="AEABAB"/>
              </a:solidFill>
            </c:spPr>
            <c:extLst>
              <c:ext xmlns:c16="http://schemas.microsoft.com/office/drawing/2014/chart" uri="{C3380CC4-5D6E-409C-BE32-E72D297353CC}">
                <c16:uniqueId val="{00000FD9-61F5-407B-959D-D24239F5BB85}"/>
              </c:ext>
            </c:extLst>
          </c:dPt>
          <c:dPt>
            <c:idx val="2028"/>
            <c:invertIfNegative val="1"/>
            <c:bubble3D val="0"/>
            <c:spPr>
              <a:solidFill>
                <a:srgbClr val="AEABAB"/>
              </a:solidFill>
            </c:spPr>
            <c:extLst>
              <c:ext xmlns:c16="http://schemas.microsoft.com/office/drawing/2014/chart" uri="{C3380CC4-5D6E-409C-BE32-E72D297353CC}">
                <c16:uniqueId val="{00000FDB-61F5-407B-959D-D24239F5BB85}"/>
              </c:ext>
            </c:extLst>
          </c:dPt>
          <c:dPt>
            <c:idx val="2029"/>
            <c:invertIfNegative val="1"/>
            <c:bubble3D val="0"/>
            <c:spPr>
              <a:solidFill>
                <a:srgbClr val="AEABAB"/>
              </a:solidFill>
            </c:spPr>
            <c:extLst>
              <c:ext xmlns:c16="http://schemas.microsoft.com/office/drawing/2014/chart" uri="{C3380CC4-5D6E-409C-BE32-E72D297353CC}">
                <c16:uniqueId val="{00000FDD-61F5-407B-959D-D24239F5BB85}"/>
              </c:ext>
            </c:extLst>
          </c:dPt>
          <c:dPt>
            <c:idx val="2030"/>
            <c:invertIfNegative val="1"/>
            <c:bubble3D val="0"/>
            <c:spPr>
              <a:solidFill>
                <a:srgbClr val="AEABAB"/>
              </a:solidFill>
            </c:spPr>
            <c:extLst>
              <c:ext xmlns:c16="http://schemas.microsoft.com/office/drawing/2014/chart" uri="{C3380CC4-5D6E-409C-BE32-E72D297353CC}">
                <c16:uniqueId val="{00000FDF-61F5-407B-959D-D24239F5BB85}"/>
              </c:ext>
            </c:extLst>
          </c:dPt>
          <c:dPt>
            <c:idx val="2031"/>
            <c:invertIfNegative val="1"/>
            <c:bubble3D val="0"/>
            <c:spPr>
              <a:solidFill>
                <a:srgbClr val="AEABAB"/>
              </a:solidFill>
            </c:spPr>
            <c:extLst>
              <c:ext xmlns:c16="http://schemas.microsoft.com/office/drawing/2014/chart" uri="{C3380CC4-5D6E-409C-BE32-E72D297353CC}">
                <c16:uniqueId val="{00000FE1-61F5-407B-959D-D24239F5BB85}"/>
              </c:ext>
            </c:extLst>
          </c:dPt>
          <c:dPt>
            <c:idx val="2032"/>
            <c:invertIfNegative val="1"/>
            <c:bubble3D val="0"/>
            <c:spPr>
              <a:solidFill>
                <a:srgbClr val="AEABAB"/>
              </a:solidFill>
            </c:spPr>
            <c:extLst>
              <c:ext xmlns:c16="http://schemas.microsoft.com/office/drawing/2014/chart" uri="{C3380CC4-5D6E-409C-BE32-E72D297353CC}">
                <c16:uniqueId val="{00000FE3-61F5-407B-959D-D24239F5BB85}"/>
              </c:ext>
            </c:extLst>
          </c:dPt>
          <c:dPt>
            <c:idx val="2033"/>
            <c:invertIfNegative val="1"/>
            <c:bubble3D val="0"/>
            <c:spPr>
              <a:solidFill>
                <a:srgbClr val="AEABAB"/>
              </a:solidFill>
            </c:spPr>
            <c:extLst>
              <c:ext xmlns:c16="http://schemas.microsoft.com/office/drawing/2014/chart" uri="{C3380CC4-5D6E-409C-BE32-E72D297353CC}">
                <c16:uniqueId val="{00000FE5-61F5-407B-959D-D24239F5BB85}"/>
              </c:ext>
            </c:extLst>
          </c:dPt>
          <c:dPt>
            <c:idx val="2034"/>
            <c:invertIfNegative val="1"/>
            <c:bubble3D val="0"/>
            <c:spPr>
              <a:solidFill>
                <a:srgbClr val="AEABAB"/>
              </a:solidFill>
            </c:spPr>
            <c:extLst>
              <c:ext xmlns:c16="http://schemas.microsoft.com/office/drawing/2014/chart" uri="{C3380CC4-5D6E-409C-BE32-E72D297353CC}">
                <c16:uniqueId val="{00000FE7-61F5-407B-959D-D24239F5BB85}"/>
              </c:ext>
            </c:extLst>
          </c:dPt>
          <c:dPt>
            <c:idx val="2035"/>
            <c:invertIfNegative val="1"/>
            <c:bubble3D val="0"/>
            <c:spPr>
              <a:solidFill>
                <a:srgbClr val="AEABAB"/>
              </a:solidFill>
            </c:spPr>
            <c:extLst>
              <c:ext xmlns:c16="http://schemas.microsoft.com/office/drawing/2014/chart" uri="{C3380CC4-5D6E-409C-BE32-E72D297353CC}">
                <c16:uniqueId val="{00000FE9-61F5-407B-959D-D24239F5BB85}"/>
              </c:ext>
            </c:extLst>
          </c:dPt>
          <c:dPt>
            <c:idx val="2036"/>
            <c:invertIfNegative val="1"/>
            <c:bubble3D val="0"/>
            <c:spPr>
              <a:solidFill>
                <a:srgbClr val="AEABAB"/>
              </a:solidFill>
            </c:spPr>
            <c:extLst>
              <c:ext xmlns:c16="http://schemas.microsoft.com/office/drawing/2014/chart" uri="{C3380CC4-5D6E-409C-BE32-E72D297353CC}">
                <c16:uniqueId val="{00000FEB-61F5-407B-959D-D24239F5BB85}"/>
              </c:ext>
            </c:extLst>
          </c:dPt>
          <c:dPt>
            <c:idx val="2037"/>
            <c:invertIfNegative val="1"/>
            <c:bubble3D val="0"/>
            <c:spPr>
              <a:solidFill>
                <a:srgbClr val="AEABAB"/>
              </a:solidFill>
            </c:spPr>
            <c:extLst>
              <c:ext xmlns:c16="http://schemas.microsoft.com/office/drawing/2014/chart" uri="{C3380CC4-5D6E-409C-BE32-E72D297353CC}">
                <c16:uniqueId val="{00000FED-61F5-407B-959D-D24239F5BB85}"/>
              </c:ext>
            </c:extLst>
          </c:dPt>
          <c:dPt>
            <c:idx val="2038"/>
            <c:invertIfNegative val="1"/>
            <c:bubble3D val="0"/>
            <c:spPr>
              <a:solidFill>
                <a:srgbClr val="AEABAB"/>
              </a:solidFill>
            </c:spPr>
            <c:extLst>
              <c:ext xmlns:c16="http://schemas.microsoft.com/office/drawing/2014/chart" uri="{C3380CC4-5D6E-409C-BE32-E72D297353CC}">
                <c16:uniqueId val="{00000FEF-61F5-407B-959D-D24239F5BB85}"/>
              </c:ext>
            </c:extLst>
          </c:dPt>
          <c:dPt>
            <c:idx val="2039"/>
            <c:invertIfNegative val="1"/>
            <c:bubble3D val="0"/>
            <c:spPr>
              <a:solidFill>
                <a:srgbClr val="AEABAB"/>
              </a:solidFill>
            </c:spPr>
            <c:extLst>
              <c:ext xmlns:c16="http://schemas.microsoft.com/office/drawing/2014/chart" uri="{C3380CC4-5D6E-409C-BE32-E72D297353CC}">
                <c16:uniqueId val="{00000FF1-61F5-407B-959D-D24239F5BB85}"/>
              </c:ext>
            </c:extLst>
          </c:dPt>
          <c:dPt>
            <c:idx val="2040"/>
            <c:invertIfNegative val="1"/>
            <c:bubble3D val="0"/>
            <c:spPr>
              <a:solidFill>
                <a:srgbClr val="AEABAB"/>
              </a:solidFill>
            </c:spPr>
            <c:extLst>
              <c:ext xmlns:c16="http://schemas.microsoft.com/office/drawing/2014/chart" uri="{C3380CC4-5D6E-409C-BE32-E72D297353CC}">
                <c16:uniqueId val="{00000FF3-61F5-407B-959D-D24239F5BB85}"/>
              </c:ext>
            </c:extLst>
          </c:dPt>
          <c:dPt>
            <c:idx val="2041"/>
            <c:invertIfNegative val="1"/>
            <c:bubble3D val="0"/>
            <c:spPr>
              <a:solidFill>
                <a:srgbClr val="AEABAB"/>
              </a:solidFill>
            </c:spPr>
            <c:extLst>
              <c:ext xmlns:c16="http://schemas.microsoft.com/office/drawing/2014/chart" uri="{C3380CC4-5D6E-409C-BE32-E72D297353CC}">
                <c16:uniqueId val="{00000FF5-61F5-407B-959D-D24239F5BB85}"/>
              </c:ext>
            </c:extLst>
          </c:dPt>
          <c:dPt>
            <c:idx val="2042"/>
            <c:invertIfNegative val="1"/>
            <c:bubble3D val="0"/>
            <c:spPr>
              <a:solidFill>
                <a:srgbClr val="AEABAB"/>
              </a:solidFill>
            </c:spPr>
            <c:extLst>
              <c:ext xmlns:c16="http://schemas.microsoft.com/office/drawing/2014/chart" uri="{C3380CC4-5D6E-409C-BE32-E72D297353CC}">
                <c16:uniqueId val="{00000FF7-61F5-407B-959D-D24239F5BB85}"/>
              </c:ext>
            </c:extLst>
          </c:dPt>
          <c:dPt>
            <c:idx val="2043"/>
            <c:invertIfNegative val="1"/>
            <c:bubble3D val="0"/>
            <c:spPr>
              <a:solidFill>
                <a:srgbClr val="AEABAB"/>
              </a:solidFill>
            </c:spPr>
            <c:extLst>
              <c:ext xmlns:c16="http://schemas.microsoft.com/office/drawing/2014/chart" uri="{C3380CC4-5D6E-409C-BE32-E72D297353CC}">
                <c16:uniqueId val="{00000FF9-61F5-407B-959D-D24239F5BB85}"/>
              </c:ext>
            </c:extLst>
          </c:dPt>
          <c:dPt>
            <c:idx val="2044"/>
            <c:invertIfNegative val="1"/>
            <c:bubble3D val="0"/>
            <c:spPr>
              <a:solidFill>
                <a:srgbClr val="AEABAB"/>
              </a:solidFill>
            </c:spPr>
            <c:extLst>
              <c:ext xmlns:c16="http://schemas.microsoft.com/office/drawing/2014/chart" uri="{C3380CC4-5D6E-409C-BE32-E72D297353CC}">
                <c16:uniqueId val="{00000FFB-61F5-407B-959D-D24239F5BB85}"/>
              </c:ext>
            </c:extLst>
          </c:dPt>
          <c:dPt>
            <c:idx val="2045"/>
            <c:invertIfNegative val="1"/>
            <c:bubble3D val="0"/>
            <c:spPr>
              <a:solidFill>
                <a:srgbClr val="AEABAB"/>
              </a:solidFill>
            </c:spPr>
            <c:extLst>
              <c:ext xmlns:c16="http://schemas.microsoft.com/office/drawing/2014/chart" uri="{C3380CC4-5D6E-409C-BE32-E72D297353CC}">
                <c16:uniqueId val="{00000FFD-61F5-407B-959D-D24239F5BB85}"/>
              </c:ext>
            </c:extLst>
          </c:dPt>
          <c:dPt>
            <c:idx val="2046"/>
            <c:invertIfNegative val="1"/>
            <c:bubble3D val="0"/>
            <c:spPr>
              <a:solidFill>
                <a:srgbClr val="AEABAB"/>
              </a:solidFill>
            </c:spPr>
            <c:extLst>
              <c:ext xmlns:c16="http://schemas.microsoft.com/office/drawing/2014/chart" uri="{C3380CC4-5D6E-409C-BE32-E72D297353CC}">
                <c16:uniqueId val="{00000FFF-61F5-407B-959D-D24239F5BB85}"/>
              </c:ext>
            </c:extLst>
          </c:dPt>
          <c:dPt>
            <c:idx val="2047"/>
            <c:invertIfNegative val="1"/>
            <c:bubble3D val="0"/>
            <c:spPr>
              <a:solidFill>
                <a:srgbClr val="AEABAB"/>
              </a:solidFill>
            </c:spPr>
            <c:extLst>
              <c:ext xmlns:c16="http://schemas.microsoft.com/office/drawing/2014/chart" uri="{C3380CC4-5D6E-409C-BE32-E72D297353CC}">
                <c16:uniqueId val="{00001001-61F5-407B-959D-D24239F5BB85}"/>
              </c:ext>
            </c:extLst>
          </c:dPt>
          <c:dPt>
            <c:idx val="2048"/>
            <c:invertIfNegative val="1"/>
            <c:bubble3D val="0"/>
            <c:spPr>
              <a:solidFill>
                <a:srgbClr val="AEABAB"/>
              </a:solidFill>
            </c:spPr>
            <c:extLst>
              <c:ext xmlns:c16="http://schemas.microsoft.com/office/drawing/2014/chart" uri="{C3380CC4-5D6E-409C-BE32-E72D297353CC}">
                <c16:uniqueId val="{00001003-61F5-407B-959D-D24239F5BB85}"/>
              </c:ext>
            </c:extLst>
          </c:dPt>
          <c:dPt>
            <c:idx val="2049"/>
            <c:invertIfNegative val="1"/>
            <c:bubble3D val="0"/>
            <c:spPr>
              <a:solidFill>
                <a:srgbClr val="AEABAB"/>
              </a:solidFill>
            </c:spPr>
            <c:extLst>
              <c:ext xmlns:c16="http://schemas.microsoft.com/office/drawing/2014/chart" uri="{C3380CC4-5D6E-409C-BE32-E72D297353CC}">
                <c16:uniqueId val="{00001005-61F5-407B-959D-D24239F5BB85}"/>
              </c:ext>
            </c:extLst>
          </c:dPt>
          <c:dPt>
            <c:idx val="2050"/>
            <c:invertIfNegative val="1"/>
            <c:bubble3D val="0"/>
            <c:spPr>
              <a:solidFill>
                <a:srgbClr val="AEABAB"/>
              </a:solidFill>
            </c:spPr>
            <c:extLst>
              <c:ext xmlns:c16="http://schemas.microsoft.com/office/drawing/2014/chart" uri="{C3380CC4-5D6E-409C-BE32-E72D297353CC}">
                <c16:uniqueId val="{00001007-61F5-407B-959D-D24239F5BB85}"/>
              </c:ext>
            </c:extLst>
          </c:dPt>
          <c:dPt>
            <c:idx val="2051"/>
            <c:invertIfNegative val="1"/>
            <c:bubble3D val="0"/>
            <c:spPr>
              <a:solidFill>
                <a:srgbClr val="AEABAB"/>
              </a:solidFill>
            </c:spPr>
            <c:extLst>
              <c:ext xmlns:c16="http://schemas.microsoft.com/office/drawing/2014/chart" uri="{C3380CC4-5D6E-409C-BE32-E72D297353CC}">
                <c16:uniqueId val="{00001009-61F5-407B-959D-D24239F5BB85}"/>
              </c:ext>
            </c:extLst>
          </c:dPt>
          <c:dPt>
            <c:idx val="2052"/>
            <c:invertIfNegative val="1"/>
            <c:bubble3D val="0"/>
            <c:spPr>
              <a:solidFill>
                <a:srgbClr val="AEABAB"/>
              </a:solidFill>
            </c:spPr>
            <c:extLst>
              <c:ext xmlns:c16="http://schemas.microsoft.com/office/drawing/2014/chart" uri="{C3380CC4-5D6E-409C-BE32-E72D297353CC}">
                <c16:uniqueId val="{0000100B-61F5-407B-959D-D24239F5BB85}"/>
              </c:ext>
            </c:extLst>
          </c:dPt>
          <c:dPt>
            <c:idx val="2053"/>
            <c:invertIfNegative val="1"/>
            <c:bubble3D val="0"/>
            <c:spPr>
              <a:solidFill>
                <a:srgbClr val="AEABAB"/>
              </a:solidFill>
            </c:spPr>
            <c:extLst>
              <c:ext xmlns:c16="http://schemas.microsoft.com/office/drawing/2014/chart" uri="{C3380CC4-5D6E-409C-BE32-E72D297353CC}">
                <c16:uniqueId val="{0000100D-61F5-407B-959D-D24239F5BB85}"/>
              </c:ext>
            </c:extLst>
          </c:dPt>
          <c:dPt>
            <c:idx val="2054"/>
            <c:invertIfNegative val="1"/>
            <c:bubble3D val="0"/>
            <c:spPr>
              <a:solidFill>
                <a:srgbClr val="AEABAB"/>
              </a:solidFill>
            </c:spPr>
            <c:extLst>
              <c:ext xmlns:c16="http://schemas.microsoft.com/office/drawing/2014/chart" uri="{C3380CC4-5D6E-409C-BE32-E72D297353CC}">
                <c16:uniqueId val="{0000100F-61F5-407B-959D-D24239F5BB85}"/>
              </c:ext>
            </c:extLst>
          </c:dPt>
          <c:dPt>
            <c:idx val="2055"/>
            <c:invertIfNegative val="1"/>
            <c:bubble3D val="0"/>
            <c:spPr>
              <a:solidFill>
                <a:srgbClr val="AEABAB"/>
              </a:solidFill>
            </c:spPr>
            <c:extLst>
              <c:ext xmlns:c16="http://schemas.microsoft.com/office/drawing/2014/chart" uri="{C3380CC4-5D6E-409C-BE32-E72D297353CC}">
                <c16:uniqueId val="{00001011-61F5-407B-959D-D24239F5BB85}"/>
              </c:ext>
            </c:extLst>
          </c:dPt>
          <c:dPt>
            <c:idx val="2056"/>
            <c:invertIfNegative val="1"/>
            <c:bubble3D val="0"/>
            <c:spPr>
              <a:solidFill>
                <a:srgbClr val="AEABAB"/>
              </a:solidFill>
            </c:spPr>
            <c:extLst>
              <c:ext xmlns:c16="http://schemas.microsoft.com/office/drawing/2014/chart" uri="{C3380CC4-5D6E-409C-BE32-E72D297353CC}">
                <c16:uniqueId val="{00001013-61F5-407B-959D-D24239F5BB85}"/>
              </c:ext>
            </c:extLst>
          </c:dPt>
          <c:dPt>
            <c:idx val="2057"/>
            <c:invertIfNegative val="1"/>
            <c:bubble3D val="0"/>
            <c:spPr>
              <a:solidFill>
                <a:srgbClr val="AEABAB"/>
              </a:solidFill>
            </c:spPr>
            <c:extLst>
              <c:ext xmlns:c16="http://schemas.microsoft.com/office/drawing/2014/chart" uri="{C3380CC4-5D6E-409C-BE32-E72D297353CC}">
                <c16:uniqueId val="{00001015-61F5-407B-959D-D24239F5BB85}"/>
              </c:ext>
            </c:extLst>
          </c:dPt>
          <c:dPt>
            <c:idx val="2058"/>
            <c:invertIfNegative val="1"/>
            <c:bubble3D val="0"/>
            <c:spPr>
              <a:solidFill>
                <a:srgbClr val="AEABAB"/>
              </a:solidFill>
            </c:spPr>
            <c:extLst>
              <c:ext xmlns:c16="http://schemas.microsoft.com/office/drawing/2014/chart" uri="{C3380CC4-5D6E-409C-BE32-E72D297353CC}">
                <c16:uniqueId val="{00001017-61F5-407B-959D-D24239F5BB85}"/>
              </c:ext>
            </c:extLst>
          </c:dPt>
          <c:dPt>
            <c:idx val="2059"/>
            <c:invertIfNegative val="1"/>
            <c:bubble3D val="0"/>
            <c:spPr>
              <a:solidFill>
                <a:srgbClr val="AEABAB"/>
              </a:solidFill>
            </c:spPr>
            <c:extLst>
              <c:ext xmlns:c16="http://schemas.microsoft.com/office/drawing/2014/chart" uri="{C3380CC4-5D6E-409C-BE32-E72D297353CC}">
                <c16:uniqueId val="{00001019-61F5-407B-959D-D24239F5BB85}"/>
              </c:ext>
            </c:extLst>
          </c:dPt>
          <c:dPt>
            <c:idx val="2060"/>
            <c:invertIfNegative val="1"/>
            <c:bubble3D val="0"/>
            <c:spPr>
              <a:solidFill>
                <a:srgbClr val="AEABAB"/>
              </a:solidFill>
            </c:spPr>
            <c:extLst>
              <c:ext xmlns:c16="http://schemas.microsoft.com/office/drawing/2014/chart" uri="{C3380CC4-5D6E-409C-BE32-E72D297353CC}">
                <c16:uniqueId val="{0000101B-61F5-407B-959D-D24239F5BB85}"/>
              </c:ext>
            </c:extLst>
          </c:dPt>
          <c:dPt>
            <c:idx val="2061"/>
            <c:invertIfNegative val="1"/>
            <c:bubble3D val="0"/>
            <c:spPr>
              <a:solidFill>
                <a:srgbClr val="AEABAB"/>
              </a:solidFill>
            </c:spPr>
            <c:extLst>
              <c:ext xmlns:c16="http://schemas.microsoft.com/office/drawing/2014/chart" uri="{C3380CC4-5D6E-409C-BE32-E72D297353CC}">
                <c16:uniqueId val="{0000101D-61F5-407B-959D-D24239F5BB85}"/>
              </c:ext>
            </c:extLst>
          </c:dPt>
          <c:dPt>
            <c:idx val="2062"/>
            <c:invertIfNegative val="1"/>
            <c:bubble3D val="0"/>
            <c:spPr>
              <a:solidFill>
                <a:srgbClr val="AEABAB"/>
              </a:solidFill>
            </c:spPr>
            <c:extLst>
              <c:ext xmlns:c16="http://schemas.microsoft.com/office/drawing/2014/chart" uri="{C3380CC4-5D6E-409C-BE32-E72D297353CC}">
                <c16:uniqueId val="{0000101F-61F5-407B-959D-D24239F5BB85}"/>
              </c:ext>
            </c:extLst>
          </c:dPt>
          <c:dPt>
            <c:idx val="2063"/>
            <c:invertIfNegative val="1"/>
            <c:bubble3D val="0"/>
            <c:spPr>
              <a:solidFill>
                <a:srgbClr val="AEABAB"/>
              </a:solidFill>
            </c:spPr>
            <c:extLst>
              <c:ext xmlns:c16="http://schemas.microsoft.com/office/drawing/2014/chart" uri="{C3380CC4-5D6E-409C-BE32-E72D297353CC}">
                <c16:uniqueId val="{00001021-61F5-407B-959D-D24239F5BB85}"/>
              </c:ext>
            </c:extLst>
          </c:dPt>
          <c:dPt>
            <c:idx val="2064"/>
            <c:invertIfNegative val="1"/>
            <c:bubble3D val="0"/>
            <c:spPr>
              <a:solidFill>
                <a:srgbClr val="AEABAB"/>
              </a:solidFill>
            </c:spPr>
            <c:extLst>
              <c:ext xmlns:c16="http://schemas.microsoft.com/office/drawing/2014/chart" uri="{C3380CC4-5D6E-409C-BE32-E72D297353CC}">
                <c16:uniqueId val="{00001023-61F5-407B-959D-D24239F5BB85}"/>
              </c:ext>
            </c:extLst>
          </c:dPt>
          <c:dPt>
            <c:idx val="2065"/>
            <c:invertIfNegative val="1"/>
            <c:bubble3D val="0"/>
            <c:spPr>
              <a:solidFill>
                <a:srgbClr val="AEABAB"/>
              </a:solidFill>
            </c:spPr>
            <c:extLst>
              <c:ext xmlns:c16="http://schemas.microsoft.com/office/drawing/2014/chart" uri="{C3380CC4-5D6E-409C-BE32-E72D297353CC}">
                <c16:uniqueId val="{00001025-61F5-407B-959D-D24239F5BB85}"/>
              </c:ext>
            </c:extLst>
          </c:dPt>
          <c:dPt>
            <c:idx val="2066"/>
            <c:invertIfNegative val="1"/>
            <c:bubble3D val="0"/>
            <c:spPr>
              <a:solidFill>
                <a:srgbClr val="AEABAB"/>
              </a:solidFill>
            </c:spPr>
            <c:extLst>
              <c:ext xmlns:c16="http://schemas.microsoft.com/office/drawing/2014/chart" uri="{C3380CC4-5D6E-409C-BE32-E72D297353CC}">
                <c16:uniqueId val="{00001027-61F5-407B-959D-D24239F5BB85}"/>
              </c:ext>
            </c:extLst>
          </c:dPt>
          <c:dPt>
            <c:idx val="2067"/>
            <c:invertIfNegative val="1"/>
            <c:bubble3D val="0"/>
            <c:spPr>
              <a:solidFill>
                <a:srgbClr val="AEABAB"/>
              </a:solidFill>
            </c:spPr>
            <c:extLst>
              <c:ext xmlns:c16="http://schemas.microsoft.com/office/drawing/2014/chart" uri="{C3380CC4-5D6E-409C-BE32-E72D297353CC}">
                <c16:uniqueId val="{00001029-61F5-407B-959D-D24239F5BB85}"/>
              </c:ext>
            </c:extLst>
          </c:dPt>
          <c:dPt>
            <c:idx val="2068"/>
            <c:invertIfNegative val="1"/>
            <c:bubble3D val="0"/>
            <c:spPr>
              <a:solidFill>
                <a:srgbClr val="AEABAB"/>
              </a:solidFill>
            </c:spPr>
            <c:extLst>
              <c:ext xmlns:c16="http://schemas.microsoft.com/office/drawing/2014/chart" uri="{C3380CC4-5D6E-409C-BE32-E72D297353CC}">
                <c16:uniqueId val="{0000102B-61F5-407B-959D-D24239F5BB85}"/>
              </c:ext>
            </c:extLst>
          </c:dPt>
          <c:dPt>
            <c:idx val="2069"/>
            <c:invertIfNegative val="1"/>
            <c:bubble3D val="0"/>
            <c:spPr>
              <a:solidFill>
                <a:srgbClr val="AEABAB"/>
              </a:solidFill>
            </c:spPr>
            <c:extLst>
              <c:ext xmlns:c16="http://schemas.microsoft.com/office/drawing/2014/chart" uri="{C3380CC4-5D6E-409C-BE32-E72D297353CC}">
                <c16:uniqueId val="{0000102D-61F5-407B-959D-D24239F5BB85}"/>
              </c:ext>
            </c:extLst>
          </c:dPt>
          <c:dPt>
            <c:idx val="2070"/>
            <c:invertIfNegative val="1"/>
            <c:bubble3D val="0"/>
            <c:spPr>
              <a:solidFill>
                <a:srgbClr val="AEABAB"/>
              </a:solidFill>
            </c:spPr>
            <c:extLst>
              <c:ext xmlns:c16="http://schemas.microsoft.com/office/drawing/2014/chart" uri="{C3380CC4-5D6E-409C-BE32-E72D297353CC}">
                <c16:uniqueId val="{0000102F-61F5-407B-959D-D24239F5BB85}"/>
              </c:ext>
            </c:extLst>
          </c:dPt>
          <c:dPt>
            <c:idx val="2071"/>
            <c:invertIfNegative val="1"/>
            <c:bubble3D val="0"/>
            <c:spPr>
              <a:solidFill>
                <a:srgbClr val="AEABAB"/>
              </a:solidFill>
            </c:spPr>
            <c:extLst>
              <c:ext xmlns:c16="http://schemas.microsoft.com/office/drawing/2014/chart" uri="{C3380CC4-5D6E-409C-BE32-E72D297353CC}">
                <c16:uniqueId val="{00001031-61F5-407B-959D-D24239F5BB85}"/>
              </c:ext>
            </c:extLst>
          </c:dPt>
          <c:dPt>
            <c:idx val="2072"/>
            <c:invertIfNegative val="1"/>
            <c:bubble3D val="0"/>
            <c:spPr>
              <a:solidFill>
                <a:srgbClr val="AEABAB"/>
              </a:solidFill>
            </c:spPr>
            <c:extLst>
              <c:ext xmlns:c16="http://schemas.microsoft.com/office/drawing/2014/chart" uri="{C3380CC4-5D6E-409C-BE32-E72D297353CC}">
                <c16:uniqueId val="{00001033-61F5-407B-959D-D24239F5BB85}"/>
              </c:ext>
            </c:extLst>
          </c:dPt>
          <c:dPt>
            <c:idx val="2073"/>
            <c:invertIfNegative val="1"/>
            <c:bubble3D val="0"/>
            <c:spPr>
              <a:solidFill>
                <a:srgbClr val="AEABAB"/>
              </a:solidFill>
            </c:spPr>
            <c:extLst>
              <c:ext xmlns:c16="http://schemas.microsoft.com/office/drawing/2014/chart" uri="{C3380CC4-5D6E-409C-BE32-E72D297353CC}">
                <c16:uniqueId val="{00001035-61F5-407B-959D-D24239F5BB85}"/>
              </c:ext>
            </c:extLst>
          </c:dPt>
          <c:dPt>
            <c:idx val="2074"/>
            <c:invertIfNegative val="1"/>
            <c:bubble3D val="0"/>
            <c:spPr>
              <a:solidFill>
                <a:srgbClr val="AEABAB"/>
              </a:solidFill>
            </c:spPr>
            <c:extLst>
              <c:ext xmlns:c16="http://schemas.microsoft.com/office/drawing/2014/chart" uri="{C3380CC4-5D6E-409C-BE32-E72D297353CC}">
                <c16:uniqueId val="{00001037-61F5-407B-959D-D24239F5BB85}"/>
              </c:ext>
            </c:extLst>
          </c:dPt>
          <c:dPt>
            <c:idx val="2075"/>
            <c:invertIfNegative val="1"/>
            <c:bubble3D val="0"/>
            <c:spPr>
              <a:solidFill>
                <a:srgbClr val="AEABAB"/>
              </a:solidFill>
            </c:spPr>
            <c:extLst>
              <c:ext xmlns:c16="http://schemas.microsoft.com/office/drawing/2014/chart" uri="{C3380CC4-5D6E-409C-BE32-E72D297353CC}">
                <c16:uniqueId val="{00001039-61F5-407B-959D-D24239F5BB85}"/>
              </c:ext>
            </c:extLst>
          </c:dPt>
          <c:dPt>
            <c:idx val="2076"/>
            <c:invertIfNegative val="1"/>
            <c:bubble3D val="0"/>
            <c:spPr>
              <a:solidFill>
                <a:srgbClr val="AEABAB"/>
              </a:solidFill>
            </c:spPr>
            <c:extLst>
              <c:ext xmlns:c16="http://schemas.microsoft.com/office/drawing/2014/chart" uri="{C3380CC4-5D6E-409C-BE32-E72D297353CC}">
                <c16:uniqueId val="{0000103B-61F5-407B-959D-D24239F5BB85}"/>
              </c:ext>
            </c:extLst>
          </c:dPt>
          <c:dPt>
            <c:idx val="2077"/>
            <c:invertIfNegative val="1"/>
            <c:bubble3D val="0"/>
            <c:spPr>
              <a:solidFill>
                <a:srgbClr val="AEABAB"/>
              </a:solidFill>
            </c:spPr>
            <c:extLst>
              <c:ext xmlns:c16="http://schemas.microsoft.com/office/drawing/2014/chart" uri="{C3380CC4-5D6E-409C-BE32-E72D297353CC}">
                <c16:uniqueId val="{0000103D-61F5-407B-959D-D24239F5BB85}"/>
              </c:ext>
            </c:extLst>
          </c:dPt>
          <c:dPt>
            <c:idx val="2078"/>
            <c:invertIfNegative val="1"/>
            <c:bubble3D val="0"/>
            <c:spPr>
              <a:solidFill>
                <a:srgbClr val="AEABAB"/>
              </a:solidFill>
            </c:spPr>
            <c:extLst>
              <c:ext xmlns:c16="http://schemas.microsoft.com/office/drawing/2014/chart" uri="{C3380CC4-5D6E-409C-BE32-E72D297353CC}">
                <c16:uniqueId val="{0000103F-61F5-407B-959D-D24239F5BB85}"/>
              </c:ext>
            </c:extLst>
          </c:dPt>
          <c:dPt>
            <c:idx val="2079"/>
            <c:invertIfNegative val="1"/>
            <c:bubble3D val="0"/>
            <c:spPr>
              <a:solidFill>
                <a:srgbClr val="AEABAB"/>
              </a:solidFill>
            </c:spPr>
            <c:extLst>
              <c:ext xmlns:c16="http://schemas.microsoft.com/office/drawing/2014/chart" uri="{C3380CC4-5D6E-409C-BE32-E72D297353CC}">
                <c16:uniqueId val="{00001041-61F5-407B-959D-D24239F5BB85}"/>
              </c:ext>
            </c:extLst>
          </c:dPt>
          <c:dPt>
            <c:idx val="2080"/>
            <c:invertIfNegative val="1"/>
            <c:bubble3D val="0"/>
            <c:spPr>
              <a:solidFill>
                <a:srgbClr val="AEABAB"/>
              </a:solidFill>
            </c:spPr>
            <c:extLst>
              <c:ext xmlns:c16="http://schemas.microsoft.com/office/drawing/2014/chart" uri="{C3380CC4-5D6E-409C-BE32-E72D297353CC}">
                <c16:uniqueId val="{00001043-61F5-407B-959D-D24239F5BB85}"/>
              </c:ext>
            </c:extLst>
          </c:dPt>
          <c:dPt>
            <c:idx val="2081"/>
            <c:invertIfNegative val="1"/>
            <c:bubble3D val="0"/>
            <c:spPr>
              <a:solidFill>
                <a:srgbClr val="AEABAB"/>
              </a:solidFill>
            </c:spPr>
            <c:extLst>
              <c:ext xmlns:c16="http://schemas.microsoft.com/office/drawing/2014/chart" uri="{C3380CC4-5D6E-409C-BE32-E72D297353CC}">
                <c16:uniqueId val="{00001045-61F5-407B-959D-D24239F5BB85}"/>
              </c:ext>
            </c:extLst>
          </c:dPt>
          <c:dPt>
            <c:idx val="2082"/>
            <c:invertIfNegative val="1"/>
            <c:bubble3D val="0"/>
            <c:spPr>
              <a:solidFill>
                <a:srgbClr val="AEABAB"/>
              </a:solidFill>
            </c:spPr>
            <c:extLst>
              <c:ext xmlns:c16="http://schemas.microsoft.com/office/drawing/2014/chart" uri="{C3380CC4-5D6E-409C-BE32-E72D297353CC}">
                <c16:uniqueId val="{00001047-61F5-407B-959D-D24239F5BB85}"/>
              </c:ext>
            </c:extLst>
          </c:dPt>
          <c:dPt>
            <c:idx val="2083"/>
            <c:invertIfNegative val="1"/>
            <c:bubble3D val="0"/>
            <c:spPr>
              <a:solidFill>
                <a:srgbClr val="AEABAB"/>
              </a:solidFill>
            </c:spPr>
            <c:extLst>
              <c:ext xmlns:c16="http://schemas.microsoft.com/office/drawing/2014/chart" uri="{C3380CC4-5D6E-409C-BE32-E72D297353CC}">
                <c16:uniqueId val="{00001049-61F5-407B-959D-D24239F5BB85}"/>
              </c:ext>
            </c:extLst>
          </c:dPt>
          <c:dPt>
            <c:idx val="2084"/>
            <c:invertIfNegative val="1"/>
            <c:bubble3D val="0"/>
            <c:spPr>
              <a:solidFill>
                <a:srgbClr val="AEABAB"/>
              </a:solidFill>
            </c:spPr>
            <c:extLst>
              <c:ext xmlns:c16="http://schemas.microsoft.com/office/drawing/2014/chart" uri="{C3380CC4-5D6E-409C-BE32-E72D297353CC}">
                <c16:uniqueId val="{0000104B-61F5-407B-959D-D24239F5BB85}"/>
              </c:ext>
            </c:extLst>
          </c:dPt>
          <c:dPt>
            <c:idx val="2085"/>
            <c:invertIfNegative val="1"/>
            <c:bubble3D val="0"/>
            <c:spPr>
              <a:solidFill>
                <a:srgbClr val="AEABAB"/>
              </a:solidFill>
            </c:spPr>
            <c:extLst>
              <c:ext xmlns:c16="http://schemas.microsoft.com/office/drawing/2014/chart" uri="{C3380CC4-5D6E-409C-BE32-E72D297353CC}">
                <c16:uniqueId val="{0000104D-61F5-407B-959D-D24239F5BB85}"/>
              </c:ext>
            </c:extLst>
          </c:dPt>
          <c:dPt>
            <c:idx val="2086"/>
            <c:invertIfNegative val="1"/>
            <c:bubble3D val="0"/>
            <c:spPr>
              <a:solidFill>
                <a:srgbClr val="AEABAB"/>
              </a:solidFill>
            </c:spPr>
            <c:extLst>
              <c:ext xmlns:c16="http://schemas.microsoft.com/office/drawing/2014/chart" uri="{C3380CC4-5D6E-409C-BE32-E72D297353CC}">
                <c16:uniqueId val="{0000104F-61F5-407B-959D-D24239F5BB85}"/>
              </c:ext>
            </c:extLst>
          </c:dPt>
          <c:dPt>
            <c:idx val="2087"/>
            <c:invertIfNegative val="1"/>
            <c:bubble3D val="0"/>
            <c:spPr>
              <a:solidFill>
                <a:srgbClr val="AEABAB"/>
              </a:solidFill>
            </c:spPr>
            <c:extLst>
              <c:ext xmlns:c16="http://schemas.microsoft.com/office/drawing/2014/chart" uri="{C3380CC4-5D6E-409C-BE32-E72D297353CC}">
                <c16:uniqueId val="{00001051-61F5-407B-959D-D24239F5BB85}"/>
              </c:ext>
            </c:extLst>
          </c:dPt>
          <c:dPt>
            <c:idx val="2088"/>
            <c:invertIfNegative val="1"/>
            <c:bubble3D val="0"/>
            <c:spPr>
              <a:solidFill>
                <a:srgbClr val="AEABAB"/>
              </a:solidFill>
            </c:spPr>
            <c:extLst>
              <c:ext xmlns:c16="http://schemas.microsoft.com/office/drawing/2014/chart" uri="{C3380CC4-5D6E-409C-BE32-E72D297353CC}">
                <c16:uniqueId val="{00001053-61F5-407B-959D-D24239F5BB85}"/>
              </c:ext>
            </c:extLst>
          </c:dPt>
          <c:dPt>
            <c:idx val="2089"/>
            <c:invertIfNegative val="1"/>
            <c:bubble3D val="0"/>
            <c:spPr>
              <a:solidFill>
                <a:srgbClr val="AEABAB"/>
              </a:solidFill>
            </c:spPr>
            <c:extLst>
              <c:ext xmlns:c16="http://schemas.microsoft.com/office/drawing/2014/chart" uri="{C3380CC4-5D6E-409C-BE32-E72D297353CC}">
                <c16:uniqueId val="{00001055-61F5-407B-959D-D24239F5BB85}"/>
              </c:ext>
            </c:extLst>
          </c:dPt>
          <c:dPt>
            <c:idx val="2090"/>
            <c:invertIfNegative val="1"/>
            <c:bubble3D val="0"/>
            <c:spPr>
              <a:solidFill>
                <a:srgbClr val="AEABAB"/>
              </a:solidFill>
            </c:spPr>
            <c:extLst>
              <c:ext xmlns:c16="http://schemas.microsoft.com/office/drawing/2014/chart" uri="{C3380CC4-5D6E-409C-BE32-E72D297353CC}">
                <c16:uniqueId val="{00001057-61F5-407B-959D-D24239F5BB85}"/>
              </c:ext>
            </c:extLst>
          </c:dPt>
          <c:dPt>
            <c:idx val="2091"/>
            <c:invertIfNegative val="1"/>
            <c:bubble3D val="0"/>
            <c:spPr>
              <a:solidFill>
                <a:srgbClr val="AEABAB"/>
              </a:solidFill>
            </c:spPr>
            <c:extLst>
              <c:ext xmlns:c16="http://schemas.microsoft.com/office/drawing/2014/chart" uri="{C3380CC4-5D6E-409C-BE32-E72D297353CC}">
                <c16:uniqueId val="{00001059-61F5-407B-959D-D24239F5BB85}"/>
              </c:ext>
            </c:extLst>
          </c:dPt>
          <c:dPt>
            <c:idx val="2092"/>
            <c:invertIfNegative val="1"/>
            <c:bubble3D val="0"/>
            <c:spPr>
              <a:solidFill>
                <a:srgbClr val="AEABAB"/>
              </a:solidFill>
            </c:spPr>
            <c:extLst>
              <c:ext xmlns:c16="http://schemas.microsoft.com/office/drawing/2014/chart" uri="{C3380CC4-5D6E-409C-BE32-E72D297353CC}">
                <c16:uniqueId val="{0000105B-61F5-407B-959D-D24239F5BB85}"/>
              </c:ext>
            </c:extLst>
          </c:dPt>
          <c:dPt>
            <c:idx val="2093"/>
            <c:invertIfNegative val="1"/>
            <c:bubble3D val="0"/>
            <c:spPr>
              <a:solidFill>
                <a:srgbClr val="AEABAB"/>
              </a:solidFill>
            </c:spPr>
            <c:extLst>
              <c:ext xmlns:c16="http://schemas.microsoft.com/office/drawing/2014/chart" uri="{C3380CC4-5D6E-409C-BE32-E72D297353CC}">
                <c16:uniqueId val="{0000105D-61F5-407B-959D-D24239F5BB85}"/>
              </c:ext>
            </c:extLst>
          </c:dPt>
          <c:dPt>
            <c:idx val="2094"/>
            <c:invertIfNegative val="1"/>
            <c:bubble3D val="0"/>
            <c:spPr>
              <a:solidFill>
                <a:srgbClr val="AEABAB"/>
              </a:solidFill>
            </c:spPr>
            <c:extLst>
              <c:ext xmlns:c16="http://schemas.microsoft.com/office/drawing/2014/chart" uri="{C3380CC4-5D6E-409C-BE32-E72D297353CC}">
                <c16:uniqueId val="{0000105F-61F5-407B-959D-D24239F5BB85}"/>
              </c:ext>
            </c:extLst>
          </c:dPt>
          <c:dPt>
            <c:idx val="2095"/>
            <c:invertIfNegative val="1"/>
            <c:bubble3D val="0"/>
            <c:spPr>
              <a:solidFill>
                <a:srgbClr val="AEABAB"/>
              </a:solidFill>
            </c:spPr>
            <c:extLst>
              <c:ext xmlns:c16="http://schemas.microsoft.com/office/drawing/2014/chart" uri="{C3380CC4-5D6E-409C-BE32-E72D297353CC}">
                <c16:uniqueId val="{00001061-61F5-407B-959D-D24239F5BB85}"/>
              </c:ext>
            </c:extLst>
          </c:dPt>
          <c:dPt>
            <c:idx val="2096"/>
            <c:invertIfNegative val="1"/>
            <c:bubble3D val="0"/>
            <c:spPr>
              <a:solidFill>
                <a:srgbClr val="AEABAB"/>
              </a:solidFill>
            </c:spPr>
            <c:extLst>
              <c:ext xmlns:c16="http://schemas.microsoft.com/office/drawing/2014/chart" uri="{C3380CC4-5D6E-409C-BE32-E72D297353CC}">
                <c16:uniqueId val="{00001063-61F5-407B-959D-D24239F5BB85}"/>
              </c:ext>
            </c:extLst>
          </c:dPt>
          <c:dPt>
            <c:idx val="2097"/>
            <c:invertIfNegative val="1"/>
            <c:bubble3D val="0"/>
            <c:spPr>
              <a:solidFill>
                <a:srgbClr val="AEABAB"/>
              </a:solidFill>
            </c:spPr>
            <c:extLst>
              <c:ext xmlns:c16="http://schemas.microsoft.com/office/drawing/2014/chart" uri="{C3380CC4-5D6E-409C-BE32-E72D297353CC}">
                <c16:uniqueId val="{00001065-61F5-407B-959D-D24239F5BB85}"/>
              </c:ext>
            </c:extLst>
          </c:dPt>
          <c:dPt>
            <c:idx val="2098"/>
            <c:invertIfNegative val="1"/>
            <c:bubble3D val="0"/>
            <c:spPr>
              <a:solidFill>
                <a:srgbClr val="AEABAB"/>
              </a:solidFill>
            </c:spPr>
            <c:extLst>
              <c:ext xmlns:c16="http://schemas.microsoft.com/office/drawing/2014/chart" uri="{C3380CC4-5D6E-409C-BE32-E72D297353CC}">
                <c16:uniqueId val="{00001067-61F5-407B-959D-D24239F5BB85}"/>
              </c:ext>
            </c:extLst>
          </c:dPt>
          <c:dPt>
            <c:idx val="2099"/>
            <c:invertIfNegative val="1"/>
            <c:bubble3D val="0"/>
            <c:spPr>
              <a:solidFill>
                <a:srgbClr val="AEABAB"/>
              </a:solidFill>
            </c:spPr>
            <c:extLst>
              <c:ext xmlns:c16="http://schemas.microsoft.com/office/drawing/2014/chart" uri="{C3380CC4-5D6E-409C-BE32-E72D297353CC}">
                <c16:uniqueId val="{00001069-61F5-407B-959D-D24239F5BB85}"/>
              </c:ext>
            </c:extLst>
          </c:dPt>
          <c:dPt>
            <c:idx val="2100"/>
            <c:invertIfNegative val="1"/>
            <c:bubble3D val="0"/>
            <c:spPr>
              <a:solidFill>
                <a:srgbClr val="AEABAB"/>
              </a:solidFill>
            </c:spPr>
            <c:extLst>
              <c:ext xmlns:c16="http://schemas.microsoft.com/office/drawing/2014/chart" uri="{C3380CC4-5D6E-409C-BE32-E72D297353CC}">
                <c16:uniqueId val="{0000106B-61F5-407B-959D-D24239F5BB85}"/>
              </c:ext>
            </c:extLst>
          </c:dPt>
          <c:dPt>
            <c:idx val="2101"/>
            <c:invertIfNegative val="1"/>
            <c:bubble3D val="0"/>
            <c:spPr>
              <a:solidFill>
                <a:srgbClr val="AEABAB"/>
              </a:solidFill>
            </c:spPr>
            <c:extLst>
              <c:ext xmlns:c16="http://schemas.microsoft.com/office/drawing/2014/chart" uri="{C3380CC4-5D6E-409C-BE32-E72D297353CC}">
                <c16:uniqueId val="{0000106D-61F5-407B-959D-D24239F5BB85}"/>
              </c:ext>
            </c:extLst>
          </c:dPt>
          <c:dPt>
            <c:idx val="2102"/>
            <c:invertIfNegative val="1"/>
            <c:bubble3D val="0"/>
            <c:spPr>
              <a:solidFill>
                <a:srgbClr val="AEABAB"/>
              </a:solidFill>
            </c:spPr>
            <c:extLst>
              <c:ext xmlns:c16="http://schemas.microsoft.com/office/drawing/2014/chart" uri="{C3380CC4-5D6E-409C-BE32-E72D297353CC}">
                <c16:uniqueId val="{0000106F-61F5-407B-959D-D24239F5BB85}"/>
              </c:ext>
            </c:extLst>
          </c:dPt>
          <c:dPt>
            <c:idx val="2103"/>
            <c:invertIfNegative val="1"/>
            <c:bubble3D val="0"/>
            <c:spPr>
              <a:solidFill>
                <a:srgbClr val="AEABAB"/>
              </a:solidFill>
            </c:spPr>
            <c:extLst>
              <c:ext xmlns:c16="http://schemas.microsoft.com/office/drawing/2014/chart" uri="{C3380CC4-5D6E-409C-BE32-E72D297353CC}">
                <c16:uniqueId val="{00001071-61F5-407B-959D-D24239F5BB85}"/>
              </c:ext>
            </c:extLst>
          </c:dPt>
          <c:dPt>
            <c:idx val="2104"/>
            <c:invertIfNegative val="1"/>
            <c:bubble3D val="0"/>
            <c:spPr>
              <a:solidFill>
                <a:srgbClr val="AEABAB"/>
              </a:solidFill>
            </c:spPr>
            <c:extLst>
              <c:ext xmlns:c16="http://schemas.microsoft.com/office/drawing/2014/chart" uri="{C3380CC4-5D6E-409C-BE32-E72D297353CC}">
                <c16:uniqueId val="{00001073-61F5-407B-959D-D24239F5BB85}"/>
              </c:ext>
            </c:extLst>
          </c:dPt>
          <c:dPt>
            <c:idx val="2105"/>
            <c:invertIfNegative val="1"/>
            <c:bubble3D val="0"/>
            <c:spPr>
              <a:solidFill>
                <a:srgbClr val="AEABAB"/>
              </a:solidFill>
            </c:spPr>
            <c:extLst>
              <c:ext xmlns:c16="http://schemas.microsoft.com/office/drawing/2014/chart" uri="{C3380CC4-5D6E-409C-BE32-E72D297353CC}">
                <c16:uniqueId val="{00001075-61F5-407B-959D-D24239F5BB85}"/>
              </c:ext>
            </c:extLst>
          </c:dPt>
          <c:dPt>
            <c:idx val="2106"/>
            <c:invertIfNegative val="1"/>
            <c:bubble3D val="0"/>
            <c:spPr>
              <a:solidFill>
                <a:srgbClr val="AEABAB"/>
              </a:solidFill>
            </c:spPr>
            <c:extLst>
              <c:ext xmlns:c16="http://schemas.microsoft.com/office/drawing/2014/chart" uri="{C3380CC4-5D6E-409C-BE32-E72D297353CC}">
                <c16:uniqueId val="{00001077-61F5-407B-959D-D24239F5BB85}"/>
              </c:ext>
            </c:extLst>
          </c:dPt>
          <c:dPt>
            <c:idx val="2107"/>
            <c:invertIfNegative val="1"/>
            <c:bubble3D val="0"/>
            <c:spPr>
              <a:solidFill>
                <a:srgbClr val="AEABAB"/>
              </a:solidFill>
            </c:spPr>
            <c:extLst>
              <c:ext xmlns:c16="http://schemas.microsoft.com/office/drawing/2014/chart" uri="{C3380CC4-5D6E-409C-BE32-E72D297353CC}">
                <c16:uniqueId val="{00001079-61F5-407B-959D-D24239F5BB85}"/>
              </c:ext>
            </c:extLst>
          </c:dPt>
          <c:dPt>
            <c:idx val="2108"/>
            <c:invertIfNegative val="1"/>
            <c:bubble3D val="0"/>
            <c:spPr>
              <a:solidFill>
                <a:srgbClr val="AEABAB"/>
              </a:solidFill>
            </c:spPr>
            <c:extLst>
              <c:ext xmlns:c16="http://schemas.microsoft.com/office/drawing/2014/chart" uri="{C3380CC4-5D6E-409C-BE32-E72D297353CC}">
                <c16:uniqueId val="{0000107B-61F5-407B-959D-D24239F5BB85}"/>
              </c:ext>
            </c:extLst>
          </c:dPt>
          <c:dPt>
            <c:idx val="2109"/>
            <c:invertIfNegative val="1"/>
            <c:bubble3D val="0"/>
            <c:spPr>
              <a:solidFill>
                <a:srgbClr val="AEABAB"/>
              </a:solidFill>
            </c:spPr>
            <c:extLst>
              <c:ext xmlns:c16="http://schemas.microsoft.com/office/drawing/2014/chart" uri="{C3380CC4-5D6E-409C-BE32-E72D297353CC}">
                <c16:uniqueId val="{0000107D-61F5-407B-959D-D24239F5BB85}"/>
              </c:ext>
            </c:extLst>
          </c:dPt>
          <c:dPt>
            <c:idx val="2110"/>
            <c:invertIfNegative val="1"/>
            <c:bubble3D val="0"/>
            <c:spPr>
              <a:solidFill>
                <a:srgbClr val="AEABAB"/>
              </a:solidFill>
            </c:spPr>
            <c:extLst>
              <c:ext xmlns:c16="http://schemas.microsoft.com/office/drawing/2014/chart" uri="{C3380CC4-5D6E-409C-BE32-E72D297353CC}">
                <c16:uniqueId val="{0000107F-61F5-407B-959D-D24239F5BB85}"/>
              </c:ext>
            </c:extLst>
          </c:dPt>
          <c:dPt>
            <c:idx val="2111"/>
            <c:invertIfNegative val="1"/>
            <c:bubble3D val="0"/>
            <c:spPr>
              <a:solidFill>
                <a:srgbClr val="AEABAB"/>
              </a:solidFill>
            </c:spPr>
            <c:extLst>
              <c:ext xmlns:c16="http://schemas.microsoft.com/office/drawing/2014/chart" uri="{C3380CC4-5D6E-409C-BE32-E72D297353CC}">
                <c16:uniqueId val="{00001081-61F5-407B-959D-D24239F5BB85}"/>
              </c:ext>
            </c:extLst>
          </c:dPt>
          <c:dPt>
            <c:idx val="2112"/>
            <c:invertIfNegative val="1"/>
            <c:bubble3D val="0"/>
            <c:spPr>
              <a:solidFill>
                <a:srgbClr val="AEABAB"/>
              </a:solidFill>
            </c:spPr>
            <c:extLst>
              <c:ext xmlns:c16="http://schemas.microsoft.com/office/drawing/2014/chart" uri="{C3380CC4-5D6E-409C-BE32-E72D297353CC}">
                <c16:uniqueId val="{00001083-61F5-407B-959D-D24239F5BB85}"/>
              </c:ext>
            </c:extLst>
          </c:dPt>
          <c:dPt>
            <c:idx val="2113"/>
            <c:invertIfNegative val="1"/>
            <c:bubble3D val="0"/>
            <c:spPr>
              <a:solidFill>
                <a:srgbClr val="AEABAB"/>
              </a:solidFill>
            </c:spPr>
            <c:extLst>
              <c:ext xmlns:c16="http://schemas.microsoft.com/office/drawing/2014/chart" uri="{C3380CC4-5D6E-409C-BE32-E72D297353CC}">
                <c16:uniqueId val="{00001085-61F5-407B-959D-D24239F5BB85}"/>
              </c:ext>
            </c:extLst>
          </c:dPt>
          <c:dPt>
            <c:idx val="2114"/>
            <c:invertIfNegative val="1"/>
            <c:bubble3D val="0"/>
            <c:spPr>
              <a:solidFill>
                <a:srgbClr val="AEABAB"/>
              </a:solidFill>
            </c:spPr>
            <c:extLst>
              <c:ext xmlns:c16="http://schemas.microsoft.com/office/drawing/2014/chart" uri="{C3380CC4-5D6E-409C-BE32-E72D297353CC}">
                <c16:uniqueId val="{00001087-61F5-407B-959D-D24239F5BB85}"/>
              </c:ext>
            </c:extLst>
          </c:dPt>
          <c:dPt>
            <c:idx val="2115"/>
            <c:invertIfNegative val="1"/>
            <c:bubble3D val="0"/>
            <c:spPr>
              <a:solidFill>
                <a:srgbClr val="AEABAB"/>
              </a:solidFill>
            </c:spPr>
            <c:extLst>
              <c:ext xmlns:c16="http://schemas.microsoft.com/office/drawing/2014/chart" uri="{C3380CC4-5D6E-409C-BE32-E72D297353CC}">
                <c16:uniqueId val="{00001089-61F5-407B-959D-D24239F5BB85}"/>
              </c:ext>
            </c:extLst>
          </c:dPt>
          <c:dPt>
            <c:idx val="2116"/>
            <c:invertIfNegative val="1"/>
            <c:bubble3D val="0"/>
            <c:spPr>
              <a:solidFill>
                <a:srgbClr val="AEABAB"/>
              </a:solidFill>
            </c:spPr>
            <c:extLst>
              <c:ext xmlns:c16="http://schemas.microsoft.com/office/drawing/2014/chart" uri="{C3380CC4-5D6E-409C-BE32-E72D297353CC}">
                <c16:uniqueId val="{0000108B-61F5-407B-959D-D24239F5BB85}"/>
              </c:ext>
            </c:extLst>
          </c:dPt>
          <c:dPt>
            <c:idx val="2117"/>
            <c:invertIfNegative val="1"/>
            <c:bubble3D val="0"/>
            <c:spPr>
              <a:solidFill>
                <a:srgbClr val="AEABAB"/>
              </a:solidFill>
            </c:spPr>
            <c:extLst>
              <c:ext xmlns:c16="http://schemas.microsoft.com/office/drawing/2014/chart" uri="{C3380CC4-5D6E-409C-BE32-E72D297353CC}">
                <c16:uniqueId val="{0000108D-61F5-407B-959D-D24239F5BB85}"/>
              </c:ext>
            </c:extLst>
          </c:dPt>
          <c:dPt>
            <c:idx val="2118"/>
            <c:invertIfNegative val="1"/>
            <c:bubble3D val="0"/>
            <c:spPr>
              <a:solidFill>
                <a:srgbClr val="AEABAB"/>
              </a:solidFill>
            </c:spPr>
            <c:extLst>
              <c:ext xmlns:c16="http://schemas.microsoft.com/office/drawing/2014/chart" uri="{C3380CC4-5D6E-409C-BE32-E72D297353CC}">
                <c16:uniqueId val="{0000108F-61F5-407B-959D-D24239F5BB85}"/>
              </c:ext>
            </c:extLst>
          </c:dPt>
          <c:dPt>
            <c:idx val="2119"/>
            <c:invertIfNegative val="1"/>
            <c:bubble3D val="0"/>
            <c:spPr>
              <a:solidFill>
                <a:srgbClr val="AEABAB"/>
              </a:solidFill>
            </c:spPr>
            <c:extLst>
              <c:ext xmlns:c16="http://schemas.microsoft.com/office/drawing/2014/chart" uri="{C3380CC4-5D6E-409C-BE32-E72D297353CC}">
                <c16:uniqueId val="{00001091-61F5-407B-959D-D24239F5BB85}"/>
              </c:ext>
            </c:extLst>
          </c:dPt>
          <c:dPt>
            <c:idx val="2120"/>
            <c:invertIfNegative val="1"/>
            <c:bubble3D val="0"/>
            <c:spPr>
              <a:solidFill>
                <a:srgbClr val="AEABAB"/>
              </a:solidFill>
            </c:spPr>
            <c:extLst>
              <c:ext xmlns:c16="http://schemas.microsoft.com/office/drawing/2014/chart" uri="{C3380CC4-5D6E-409C-BE32-E72D297353CC}">
                <c16:uniqueId val="{00001093-61F5-407B-959D-D24239F5BB85}"/>
              </c:ext>
            </c:extLst>
          </c:dPt>
          <c:dPt>
            <c:idx val="2121"/>
            <c:invertIfNegative val="1"/>
            <c:bubble3D val="0"/>
            <c:spPr>
              <a:solidFill>
                <a:srgbClr val="AEABAB"/>
              </a:solidFill>
            </c:spPr>
            <c:extLst>
              <c:ext xmlns:c16="http://schemas.microsoft.com/office/drawing/2014/chart" uri="{C3380CC4-5D6E-409C-BE32-E72D297353CC}">
                <c16:uniqueId val="{00001095-61F5-407B-959D-D24239F5BB85}"/>
              </c:ext>
            </c:extLst>
          </c:dPt>
          <c:dPt>
            <c:idx val="2122"/>
            <c:invertIfNegative val="1"/>
            <c:bubble3D val="0"/>
            <c:spPr>
              <a:solidFill>
                <a:srgbClr val="AEABAB"/>
              </a:solidFill>
            </c:spPr>
            <c:extLst>
              <c:ext xmlns:c16="http://schemas.microsoft.com/office/drawing/2014/chart" uri="{C3380CC4-5D6E-409C-BE32-E72D297353CC}">
                <c16:uniqueId val="{00001097-61F5-407B-959D-D24239F5BB85}"/>
              </c:ext>
            </c:extLst>
          </c:dPt>
          <c:dPt>
            <c:idx val="2123"/>
            <c:invertIfNegative val="1"/>
            <c:bubble3D val="0"/>
            <c:spPr>
              <a:solidFill>
                <a:srgbClr val="AEABAB"/>
              </a:solidFill>
            </c:spPr>
            <c:extLst>
              <c:ext xmlns:c16="http://schemas.microsoft.com/office/drawing/2014/chart" uri="{C3380CC4-5D6E-409C-BE32-E72D297353CC}">
                <c16:uniqueId val="{00001099-61F5-407B-959D-D24239F5BB85}"/>
              </c:ext>
            </c:extLst>
          </c:dPt>
          <c:dPt>
            <c:idx val="2124"/>
            <c:invertIfNegative val="1"/>
            <c:bubble3D val="0"/>
            <c:spPr>
              <a:solidFill>
                <a:srgbClr val="AEABAB"/>
              </a:solidFill>
            </c:spPr>
            <c:extLst>
              <c:ext xmlns:c16="http://schemas.microsoft.com/office/drawing/2014/chart" uri="{C3380CC4-5D6E-409C-BE32-E72D297353CC}">
                <c16:uniqueId val="{0000109B-61F5-407B-959D-D24239F5BB85}"/>
              </c:ext>
            </c:extLst>
          </c:dPt>
          <c:dPt>
            <c:idx val="2125"/>
            <c:invertIfNegative val="1"/>
            <c:bubble3D val="0"/>
            <c:spPr>
              <a:solidFill>
                <a:srgbClr val="AEABAB"/>
              </a:solidFill>
            </c:spPr>
            <c:extLst>
              <c:ext xmlns:c16="http://schemas.microsoft.com/office/drawing/2014/chart" uri="{C3380CC4-5D6E-409C-BE32-E72D297353CC}">
                <c16:uniqueId val="{0000109D-61F5-407B-959D-D24239F5BB85}"/>
              </c:ext>
            </c:extLst>
          </c:dPt>
          <c:dPt>
            <c:idx val="2126"/>
            <c:invertIfNegative val="1"/>
            <c:bubble3D val="0"/>
            <c:spPr>
              <a:solidFill>
                <a:srgbClr val="AEABAB"/>
              </a:solidFill>
            </c:spPr>
            <c:extLst>
              <c:ext xmlns:c16="http://schemas.microsoft.com/office/drawing/2014/chart" uri="{C3380CC4-5D6E-409C-BE32-E72D297353CC}">
                <c16:uniqueId val="{0000109F-61F5-407B-959D-D24239F5BB85}"/>
              </c:ext>
            </c:extLst>
          </c:dPt>
          <c:dPt>
            <c:idx val="2127"/>
            <c:invertIfNegative val="1"/>
            <c:bubble3D val="0"/>
            <c:spPr>
              <a:solidFill>
                <a:srgbClr val="AEABAB"/>
              </a:solidFill>
            </c:spPr>
            <c:extLst>
              <c:ext xmlns:c16="http://schemas.microsoft.com/office/drawing/2014/chart" uri="{C3380CC4-5D6E-409C-BE32-E72D297353CC}">
                <c16:uniqueId val="{000010A1-61F5-407B-959D-D24239F5BB85}"/>
              </c:ext>
            </c:extLst>
          </c:dPt>
          <c:dPt>
            <c:idx val="2128"/>
            <c:invertIfNegative val="1"/>
            <c:bubble3D val="0"/>
            <c:spPr>
              <a:solidFill>
                <a:srgbClr val="AEABAB"/>
              </a:solidFill>
            </c:spPr>
            <c:extLst>
              <c:ext xmlns:c16="http://schemas.microsoft.com/office/drawing/2014/chart" uri="{C3380CC4-5D6E-409C-BE32-E72D297353CC}">
                <c16:uniqueId val="{000010A3-61F5-407B-959D-D24239F5BB85}"/>
              </c:ext>
            </c:extLst>
          </c:dPt>
          <c:dPt>
            <c:idx val="2129"/>
            <c:invertIfNegative val="1"/>
            <c:bubble3D val="0"/>
            <c:spPr>
              <a:solidFill>
                <a:srgbClr val="AEABAB"/>
              </a:solidFill>
            </c:spPr>
            <c:extLst>
              <c:ext xmlns:c16="http://schemas.microsoft.com/office/drawing/2014/chart" uri="{C3380CC4-5D6E-409C-BE32-E72D297353CC}">
                <c16:uniqueId val="{000010A5-61F5-407B-959D-D24239F5BB85}"/>
              </c:ext>
            </c:extLst>
          </c:dPt>
          <c:dPt>
            <c:idx val="2130"/>
            <c:invertIfNegative val="1"/>
            <c:bubble3D val="0"/>
            <c:spPr>
              <a:solidFill>
                <a:srgbClr val="AEABAB"/>
              </a:solidFill>
            </c:spPr>
            <c:extLst>
              <c:ext xmlns:c16="http://schemas.microsoft.com/office/drawing/2014/chart" uri="{C3380CC4-5D6E-409C-BE32-E72D297353CC}">
                <c16:uniqueId val="{000010A7-61F5-407B-959D-D24239F5BB85}"/>
              </c:ext>
            </c:extLst>
          </c:dPt>
          <c:dPt>
            <c:idx val="2131"/>
            <c:invertIfNegative val="1"/>
            <c:bubble3D val="0"/>
            <c:spPr>
              <a:solidFill>
                <a:srgbClr val="AEABAB"/>
              </a:solidFill>
            </c:spPr>
            <c:extLst>
              <c:ext xmlns:c16="http://schemas.microsoft.com/office/drawing/2014/chart" uri="{C3380CC4-5D6E-409C-BE32-E72D297353CC}">
                <c16:uniqueId val="{000010A9-61F5-407B-959D-D24239F5BB85}"/>
              </c:ext>
            </c:extLst>
          </c:dPt>
          <c:dPt>
            <c:idx val="2132"/>
            <c:invertIfNegative val="1"/>
            <c:bubble3D val="0"/>
            <c:spPr>
              <a:solidFill>
                <a:srgbClr val="AEABAB"/>
              </a:solidFill>
            </c:spPr>
            <c:extLst>
              <c:ext xmlns:c16="http://schemas.microsoft.com/office/drawing/2014/chart" uri="{C3380CC4-5D6E-409C-BE32-E72D297353CC}">
                <c16:uniqueId val="{000010AB-61F5-407B-959D-D24239F5BB85}"/>
              </c:ext>
            </c:extLst>
          </c:dPt>
          <c:dPt>
            <c:idx val="2133"/>
            <c:invertIfNegative val="1"/>
            <c:bubble3D val="0"/>
            <c:spPr>
              <a:solidFill>
                <a:srgbClr val="AEABAB"/>
              </a:solidFill>
            </c:spPr>
            <c:extLst>
              <c:ext xmlns:c16="http://schemas.microsoft.com/office/drawing/2014/chart" uri="{C3380CC4-5D6E-409C-BE32-E72D297353CC}">
                <c16:uniqueId val="{000010AD-61F5-407B-959D-D24239F5BB85}"/>
              </c:ext>
            </c:extLst>
          </c:dPt>
          <c:dPt>
            <c:idx val="2134"/>
            <c:invertIfNegative val="1"/>
            <c:bubble3D val="0"/>
            <c:spPr>
              <a:solidFill>
                <a:srgbClr val="AEABAB"/>
              </a:solidFill>
            </c:spPr>
            <c:extLst>
              <c:ext xmlns:c16="http://schemas.microsoft.com/office/drawing/2014/chart" uri="{C3380CC4-5D6E-409C-BE32-E72D297353CC}">
                <c16:uniqueId val="{000010AF-61F5-407B-959D-D24239F5BB85}"/>
              </c:ext>
            </c:extLst>
          </c:dPt>
          <c:dPt>
            <c:idx val="2135"/>
            <c:invertIfNegative val="1"/>
            <c:bubble3D val="0"/>
            <c:spPr>
              <a:solidFill>
                <a:srgbClr val="AEABAB"/>
              </a:solidFill>
            </c:spPr>
            <c:extLst>
              <c:ext xmlns:c16="http://schemas.microsoft.com/office/drawing/2014/chart" uri="{C3380CC4-5D6E-409C-BE32-E72D297353CC}">
                <c16:uniqueId val="{000010B1-61F5-407B-959D-D24239F5BB85}"/>
              </c:ext>
            </c:extLst>
          </c:dPt>
          <c:dPt>
            <c:idx val="2136"/>
            <c:invertIfNegative val="1"/>
            <c:bubble3D val="0"/>
            <c:spPr>
              <a:solidFill>
                <a:srgbClr val="AEABAB"/>
              </a:solidFill>
            </c:spPr>
            <c:extLst>
              <c:ext xmlns:c16="http://schemas.microsoft.com/office/drawing/2014/chart" uri="{C3380CC4-5D6E-409C-BE32-E72D297353CC}">
                <c16:uniqueId val="{000010B3-61F5-407B-959D-D24239F5BB85}"/>
              </c:ext>
            </c:extLst>
          </c:dPt>
          <c:dPt>
            <c:idx val="2137"/>
            <c:invertIfNegative val="1"/>
            <c:bubble3D val="0"/>
            <c:spPr>
              <a:solidFill>
                <a:srgbClr val="AEABAB"/>
              </a:solidFill>
            </c:spPr>
            <c:extLst>
              <c:ext xmlns:c16="http://schemas.microsoft.com/office/drawing/2014/chart" uri="{C3380CC4-5D6E-409C-BE32-E72D297353CC}">
                <c16:uniqueId val="{000010B5-61F5-407B-959D-D24239F5BB85}"/>
              </c:ext>
            </c:extLst>
          </c:dPt>
          <c:dPt>
            <c:idx val="2138"/>
            <c:invertIfNegative val="1"/>
            <c:bubble3D val="0"/>
            <c:spPr>
              <a:solidFill>
                <a:srgbClr val="AEABAB"/>
              </a:solidFill>
            </c:spPr>
            <c:extLst>
              <c:ext xmlns:c16="http://schemas.microsoft.com/office/drawing/2014/chart" uri="{C3380CC4-5D6E-409C-BE32-E72D297353CC}">
                <c16:uniqueId val="{000010B7-61F5-407B-959D-D24239F5BB85}"/>
              </c:ext>
            </c:extLst>
          </c:dPt>
          <c:dPt>
            <c:idx val="2139"/>
            <c:invertIfNegative val="1"/>
            <c:bubble3D val="0"/>
            <c:spPr>
              <a:solidFill>
                <a:srgbClr val="AEABAB"/>
              </a:solidFill>
            </c:spPr>
            <c:extLst>
              <c:ext xmlns:c16="http://schemas.microsoft.com/office/drawing/2014/chart" uri="{C3380CC4-5D6E-409C-BE32-E72D297353CC}">
                <c16:uniqueId val="{000010B9-61F5-407B-959D-D24239F5BB85}"/>
              </c:ext>
            </c:extLst>
          </c:dPt>
          <c:dPt>
            <c:idx val="2140"/>
            <c:invertIfNegative val="1"/>
            <c:bubble3D val="0"/>
            <c:spPr>
              <a:solidFill>
                <a:srgbClr val="AEABAB"/>
              </a:solidFill>
            </c:spPr>
            <c:extLst>
              <c:ext xmlns:c16="http://schemas.microsoft.com/office/drawing/2014/chart" uri="{C3380CC4-5D6E-409C-BE32-E72D297353CC}">
                <c16:uniqueId val="{000010BB-61F5-407B-959D-D24239F5BB85}"/>
              </c:ext>
            </c:extLst>
          </c:dPt>
          <c:dPt>
            <c:idx val="2141"/>
            <c:invertIfNegative val="1"/>
            <c:bubble3D val="0"/>
            <c:spPr>
              <a:solidFill>
                <a:srgbClr val="AEABAB"/>
              </a:solidFill>
            </c:spPr>
            <c:extLst>
              <c:ext xmlns:c16="http://schemas.microsoft.com/office/drawing/2014/chart" uri="{C3380CC4-5D6E-409C-BE32-E72D297353CC}">
                <c16:uniqueId val="{000010BD-61F5-407B-959D-D24239F5BB85}"/>
              </c:ext>
            </c:extLst>
          </c:dPt>
          <c:dPt>
            <c:idx val="2142"/>
            <c:invertIfNegative val="1"/>
            <c:bubble3D val="0"/>
            <c:spPr>
              <a:solidFill>
                <a:srgbClr val="AEABAB"/>
              </a:solidFill>
            </c:spPr>
            <c:extLst>
              <c:ext xmlns:c16="http://schemas.microsoft.com/office/drawing/2014/chart" uri="{C3380CC4-5D6E-409C-BE32-E72D297353CC}">
                <c16:uniqueId val="{000010BF-61F5-407B-959D-D24239F5BB85}"/>
              </c:ext>
            </c:extLst>
          </c:dPt>
          <c:dPt>
            <c:idx val="2143"/>
            <c:invertIfNegative val="1"/>
            <c:bubble3D val="0"/>
            <c:spPr>
              <a:solidFill>
                <a:srgbClr val="AEABAB"/>
              </a:solidFill>
            </c:spPr>
            <c:extLst>
              <c:ext xmlns:c16="http://schemas.microsoft.com/office/drawing/2014/chart" uri="{C3380CC4-5D6E-409C-BE32-E72D297353CC}">
                <c16:uniqueId val="{000010C1-61F5-407B-959D-D24239F5BB85}"/>
              </c:ext>
            </c:extLst>
          </c:dPt>
          <c:dPt>
            <c:idx val="2144"/>
            <c:invertIfNegative val="1"/>
            <c:bubble3D val="0"/>
            <c:spPr>
              <a:solidFill>
                <a:srgbClr val="AEABAB"/>
              </a:solidFill>
            </c:spPr>
            <c:extLst>
              <c:ext xmlns:c16="http://schemas.microsoft.com/office/drawing/2014/chart" uri="{C3380CC4-5D6E-409C-BE32-E72D297353CC}">
                <c16:uniqueId val="{000010C3-61F5-407B-959D-D24239F5BB85}"/>
              </c:ext>
            </c:extLst>
          </c:dPt>
          <c:dPt>
            <c:idx val="2145"/>
            <c:invertIfNegative val="1"/>
            <c:bubble3D val="0"/>
            <c:spPr>
              <a:solidFill>
                <a:srgbClr val="AEABAB"/>
              </a:solidFill>
            </c:spPr>
            <c:extLst>
              <c:ext xmlns:c16="http://schemas.microsoft.com/office/drawing/2014/chart" uri="{C3380CC4-5D6E-409C-BE32-E72D297353CC}">
                <c16:uniqueId val="{000010C5-61F5-407B-959D-D24239F5BB85}"/>
              </c:ext>
            </c:extLst>
          </c:dPt>
          <c:dPt>
            <c:idx val="2146"/>
            <c:invertIfNegative val="1"/>
            <c:bubble3D val="0"/>
            <c:spPr>
              <a:solidFill>
                <a:srgbClr val="AEABAB"/>
              </a:solidFill>
            </c:spPr>
            <c:extLst>
              <c:ext xmlns:c16="http://schemas.microsoft.com/office/drawing/2014/chart" uri="{C3380CC4-5D6E-409C-BE32-E72D297353CC}">
                <c16:uniqueId val="{000010C7-61F5-407B-959D-D24239F5BB85}"/>
              </c:ext>
            </c:extLst>
          </c:dPt>
          <c:dPt>
            <c:idx val="2147"/>
            <c:invertIfNegative val="1"/>
            <c:bubble3D val="0"/>
            <c:spPr>
              <a:solidFill>
                <a:srgbClr val="AEABAB"/>
              </a:solidFill>
            </c:spPr>
            <c:extLst>
              <c:ext xmlns:c16="http://schemas.microsoft.com/office/drawing/2014/chart" uri="{C3380CC4-5D6E-409C-BE32-E72D297353CC}">
                <c16:uniqueId val="{000010C9-61F5-407B-959D-D24239F5BB85}"/>
              </c:ext>
            </c:extLst>
          </c:dPt>
          <c:dPt>
            <c:idx val="2148"/>
            <c:invertIfNegative val="1"/>
            <c:bubble3D val="0"/>
            <c:spPr>
              <a:solidFill>
                <a:srgbClr val="AEABAB"/>
              </a:solidFill>
            </c:spPr>
            <c:extLst>
              <c:ext xmlns:c16="http://schemas.microsoft.com/office/drawing/2014/chart" uri="{C3380CC4-5D6E-409C-BE32-E72D297353CC}">
                <c16:uniqueId val="{000010CB-61F5-407B-959D-D24239F5BB85}"/>
              </c:ext>
            </c:extLst>
          </c:dPt>
          <c:dPt>
            <c:idx val="2149"/>
            <c:invertIfNegative val="1"/>
            <c:bubble3D val="0"/>
            <c:spPr>
              <a:solidFill>
                <a:srgbClr val="AEABAB"/>
              </a:solidFill>
            </c:spPr>
            <c:extLst>
              <c:ext xmlns:c16="http://schemas.microsoft.com/office/drawing/2014/chart" uri="{C3380CC4-5D6E-409C-BE32-E72D297353CC}">
                <c16:uniqueId val="{000010CD-61F5-407B-959D-D24239F5BB85}"/>
              </c:ext>
            </c:extLst>
          </c:dPt>
          <c:dPt>
            <c:idx val="2150"/>
            <c:invertIfNegative val="1"/>
            <c:bubble3D val="0"/>
            <c:spPr>
              <a:solidFill>
                <a:srgbClr val="AEABAB"/>
              </a:solidFill>
            </c:spPr>
            <c:extLst>
              <c:ext xmlns:c16="http://schemas.microsoft.com/office/drawing/2014/chart" uri="{C3380CC4-5D6E-409C-BE32-E72D297353CC}">
                <c16:uniqueId val="{000010CF-61F5-407B-959D-D24239F5BB85}"/>
              </c:ext>
            </c:extLst>
          </c:dPt>
          <c:dPt>
            <c:idx val="2151"/>
            <c:invertIfNegative val="1"/>
            <c:bubble3D val="0"/>
            <c:spPr>
              <a:solidFill>
                <a:srgbClr val="AEABAB"/>
              </a:solidFill>
            </c:spPr>
            <c:extLst>
              <c:ext xmlns:c16="http://schemas.microsoft.com/office/drawing/2014/chart" uri="{C3380CC4-5D6E-409C-BE32-E72D297353CC}">
                <c16:uniqueId val="{000010D1-61F5-407B-959D-D24239F5BB85}"/>
              </c:ext>
            </c:extLst>
          </c:dPt>
          <c:dPt>
            <c:idx val="2152"/>
            <c:invertIfNegative val="1"/>
            <c:bubble3D val="0"/>
            <c:spPr>
              <a:solidFill>
                <a:srgbClr val="AEABAB"/>
              </a:solidFill>
            </c:spPr>
            <c:extLst>
              <c:ext xmlns:c16="http://schemas.microsoft.com/office/drawing/2014/chart" uri="{C3380CC4-5D6E-409C-BE32-E72D297353CC}">
                <c16:uniqueId val="{000010D3-61F5-407B-959D-D24239F5BB85}"/>
              </c:ext>
            </c:extLst>
          </c:dPt>
          <c:dPt>
            <c:idx val="2153"/>
            <c:invertIfNegative val="1"/>
            <c:bubble3D val="0"/>
            <c:spPr>
              <a:solidFill>
                <a:srgbClr val="AEABAB"/>
              </a:solidFill>
            </c:spPr>
            <c:extLst>
              <c:ext xmlns:c16="http://schemas.microsoft.com/office/drawing/2014/chart" uri="{C3380CC4-5D6E-409C-BE32-E72D297353CC}">
                <c16:uniqueId val="{000010D5-61F5-407B-959D-D24239F5BB85}"/>
              </c:ext>
            </c:extLst>
          </c:dPt>
          <c:dPt>
            <c:idx val="2154"/>
            <c:invertIfNegative val="1"/>
            <c:bubble3D val="0"/>
            <c:spPr>
              <a:solidFill>
                <a:srgbClr val="AEABAB"/>
              </a:solidFill>
            </c:spPr>
            <c:extLst>
              <c:ext xmlns:c16="http://schemas.microsoft.com/office/drawing/2014/chart" uri="{C3380CC4-5D6E-409C-BE32-E72D297353CC}">
                <c16:uniqueId val="{000010D7-61F5-407B-959D-D24239F5BB85}"/>
              </c:ext>
            </c:extLst>
          </c:dPt>
          <c:dPt>
            <c:idx val="2155"/>
            <c:invertIfNegative val="1"/>
            <c:bubble3D val="0"/>
            <c:spPr>
              <a:solidFill>
                <a:srgbClr val="AEABAB"/>
              </a:solidFill>
            </c:spPr>
            <c:extLst>
              <c:ext xmlns:c16="http://schemas.microsoft.com/office/drawing/2014/chart" uri="{C3380CC4-5D6E-409C-BE32-E72D297353CC}">
                <c16:uniqueId val="{000010D9-61F5-407B-959D-D24239F5BB85}"/>
              </c:ext>
            </c:extLst>
          </c:dPt>
          <c:dPt>
            <c:idx val="2156"/>
            <c:invertIfNegative val="1"/>
            <c:bubble3D val="0"/>
            <c:spPr>
              <a:solidFill>
                <a:srgbClr val="AEABAB"/>
              </a:solidFill>
            </c:spPr>
            <c:extLst>
              <c:ext xmlns:c16="http://schemas.microsoft.com/office/drawing/2014/chart" uri="{C3380CC4-5D6E-409C-BE32-E72D297353CC}">
                <c16:uniqueId val="{000010DB-61F5-407B-959D-D24239F5BB85}"/>
              </c:ext>
            </c:extLst>
          </c:dPt>
          <c:dPt>
            <c:idx val="2157"/>
            <c:invertIfNegative val="1"/>
            <c:bubble3D val="0"/>
            <c:spPr>
              <a:solidFill>
                <a:srgbClr val="AEABAB"/>
              </a:solidFill>
            </c:spPr>
            <c:extLst>
              <c:ext xmlns:c16="http://schemas.microsoft.com/office/drawing/2014/chart" uri="{C3380CC4-5D6E-409C-BE32-E72D297353CC}">
                <c16:uniqueId val="{000010DD-61F5-407B-959D-D24239F5BB85}"/>
              </c:ext>
            </c:extLst>
          </c:dPt>
          <c:dPt>
            <c:idx val="2158"/>
            <c:invertIfNegative val="1"/>
            <c:bubble3D val="0"/>
            <c:spPr>
              <a:solidFill>
                <a:srgbClr val="AEABAB"/>
              </a:solidFill>
            </c:spPr>
            <c:extLst>
              <c:ext xmlns:c16="http://schemas.microsoft.com/office/drawing/2014/chart" uri="{C3380CC4-5D6E-409C-BE32-E72D297353CC}">
                <c16:uniqueId val="{000010DF-61F5-407B-959D-D24239F5BB85}"/>
              </c:ext>
            </c:extLst>
          </c:dPt>
          <c:dPt>
            <c:idx val="2159"/>
            <c:invertIfNegative val="1"/>
            <c:bubble3D val="0"/>
            <c:spPr>
              <a:solidFill>
                <a:srgbClr val="AEABAB"/>
              </a:solidFill>
            </c:spPr>
            <c:extLst>
              <c:ext xmlns:c16="http://schemas.microsoft.com/office/drawing/2014/chart" uri="{C3380CC4-5D6E-409C-BE32-E72D297353CC}">
                <c16:uniqueId val="{000010E1-61F5-407B-959D-D24239F5BB85}"/>
              </c:ext>
            </c:extLst>
          </c:dPt>
          <c:dPt>
            <c:idx val="2160"/>
            <c:invertIfNegative val="1"/>
            <c:bubble3D val="0"/>
            <c:spPr>
              <a:solidFill>
                <a:srgbClr val="AEABAB"/>
              </a:solidFill>
            </c:spPr>
            <c:extLst>
              <c:ext xmlns:c16="http://schemas.microsoft.com/office/drawing/2014/chart" uri="{C3380CC4-5D6E-409C-BE32-E72D297353CC}">
                <c16:uniqueId val="{000010E3-61F5-407B-959D-D24239F5BB85}"/>
              </c:ext>
            </c:extLst>
          </c:dPt>
          <c:dPt>
            <c:idx val="2161"/>
            <c:invertIfNegative val="1"/>
            <c:bubble3D val="0"/>
            <c:spPr>
              <a:solidFill>
                <a:srgbClr val="AEABAB"/>
              </a:solidFill>
            </c:spPr>
            <c:extLst>
              <c:ext xmlns:c16="http://schemas.microsoft.com/office/drawing/2014/chart" uri="{C3380CC4-5D6E-409C-BE32-E72D297353CC}">
                <c16:uniqueId val="{000010E5-61F5-407B-959D-D24239F5BB85}"/>
              </c:ext>
            </c:extLst>
          </c:dPt>
          <c:dPt>
            <c:idx val="2162"/>
            <c:invertIfNegative val="1"/>
            <c:bubble3D val="0"/>
            <c:spPr>
              <a:solidFill>
                <a:srgbClr val="AEABAB"/>
              </a:solidFill>
            </c:spPr>
            <c:extLst>
              <c:ext xmlns:c16="http://schemas.microsoft.com/office/drawing/2014/chart" uri="{C3380CC4-5D6E-409C-BE32-E72D297353CC}">
                <c16:uniqueId val="{000010E7-61F5-407B-959D-D24239F5BB85}"/>
              </c:ext>
            </c:extLst>
          </c:dPt>
          <c:dPt>
            <c:idx val="2163"/>
            <c:invertIfNegative val="1"/>
            <c:bubble3D val="0"/>
            <c:spPr>
              <a:solidFill>
                <a:srgbClr val="AEABAB"/>
              </a:solidFill>
            </c:spPr>
            <c:extLst>
              <c:ext xmlns:c16="http://schemas.microsoft.com/office/drawing/2014/chart" uri="{C3380CC4-5D6E-409C-BE32-E72D297353CC}">
                <c16:uniqueId val="{000010E9-61F5-407B-959D-D24239F5BB85}"/>
              </c:ext>
            </c:extLst>
          </c:dPt>
          <c:dPt>
            <c:idx val="2164"/>
            <c:invertIfNegative val="1"/>
            <c:bubble3D val="0"/>
            <c:spPr>
              <a:solidFill>
                <a:srgbClr val="AEABAB"/>
              </a:solidFill>
            </c:spPr>
            <c:extLst>
              <c:ext xmlns:c16="http://schemas.microsoft.com/office/drawing/2014/chart" uri="{C3380CC4-5D6E-409C-BE32-E72D297353CC}">
                <c16:uniqueId val="{000010EB-61F5-407B-959D-D24239F5BB85}"/>
              </c:ext>
            </c:extLst>
          </c:dPt>
          <c:dPt>
            <c:idx val="2165"/>
            <c:invertIfNegative val="1"/>
            <c:bubble3D val="0"/>
            <c:spPr>
              <a:solidFill>
                <a:srgbClr val="AEABAB"/>
              </a:solidFill>
            </c:spPr>
            <c:extLst>
              <c:ext xmlns:c16="http://schemas.microsoft.com/office/drawing/2014/chart" uri="{C3380CC4-5D6E-409C-BE32-E72D297353CC}">
                <c16:uniqueId val="{000010ED-61F5-407B-959D-D24239F5BB85}"/>
              </c:ext>
            </c:extLst>
          </c:dPt>
          <c:dPt>
            <c:idx val="2166"/>
            <c:invertIfNegative val="1"/>
            <c:bubble3D val="0"/>
            <c:spPr>
              <a:solidFill>
                <a:srgbClr val="AEABAB"/>
              </a:solidFill>
            </c:spPr>
            <c:extLst>
              <c:ext xmlns:c16="http://schemas.microsoft.com/office/drawing/2014/chart" uri="{C3380CC4-5D6E-409C-BE32-E72D297353CC}">
                <c16:uniqueId val="{000010EF-61F5-407B-959D-D24239F5BB85}"/>
              </c:ext>
            </c:extLst>
          </c:dPt>
          <c:dPt>
            <c:idx val="2167"/>
            <c:invertIfNegative val="1"/>
            <c:bubble3D val="0"/>
            <c:spPr>
              <a:solidFill>
                <a:srgbClr val="AEABAB"/>
              </a:solidFill>
            </c:spPr>
            <c:extLst>
              <c:ext xmlns:c16="http://schemas.microsoft.com/office/drawing/2014/chart" uri="{C3380CC4-5D6E-409C-BE32-E72D297353CC}">
                <c16:uniqueId val="{000010F1-61F5-407B-959D-D24239F5BB85}"/>
              </c:ext>
            </c:extLst>
          </c:dPt>
          <c:dPt>
            <c:idx val="2168"/>
            <c:invertIfNegative val="1"/>
            <c:bubble3D val="0"/>
            <c:spPr>
              <a:solidFill>
                <a:srgbClr val="AEABAB"/>
              </a:solidFill>
            </c:spPr>
            <c:extLst>
              <c:ext xmlns:c16="http://schemas.microsoft.com/office/drawing/2014/chart" uri="{C3380CC4-5D6E-409C-BE32-E72D297353CC}">
                <c16:uniqueId val="{000010F3-61F5-407B-959D-D24239F5BB85}"/>
              </c:ext>
            </c:extLst>
          </c:dPt>
          <c:dPt>
            <c:idx val="2169"/>
            <c:invertIfNegative val="1"/>
            <c:bubble3D val="0"/>
            <c:spPr>
              <a:solidFill>
                <a:srgbClr val="AEABAB"/>
              </a:solidFill>
            </c:spPr>
            <c:extLst>
              <c:ext xmlns:c16="http://schemas.microsoft.com/office/drawing/2014/chart" uri="{C3380CC4-5D6E-409C-BE32-E72D297353CC}">
                <c16:uniqueId val="{000010F5-61F5-407B-959D-D24239F5BB85}"/>
              </c:ext>
            </c:extLst>
          </c:dPt>
          <c:dPt>
            <c:idx val="2170"/>
            <c:invertIfNegative val="1"/>
            <c:bubble3D val="0"/>
            <c:spPr>
              <a:solidFill>
                <a:srgbClr val="AEABAB"/>
              </a:solidFill>
            </c:spPr>
            <c:extLst>
              <c:ext xmlns:c16="http://schemas.microsoft.com/office/drawing/2014/chart" uri="{C3380CC4-5D6E-409C-BE32-E72D297353CC}">
                <c16:uniqueId val="{000010F7-61F5-407B-959D-D24239F5BB85}"/>
              </c:ext>
            </c:extLst>
          </c:dPt>
          <c:dPt>
            <c:idx val="2171"/>
            <c:invertIfNegative val="1"/>
            <c:bubble3D val="0"/>
            <c:spPr>
              <a:solidFill>
                <a:srgbClr val="AEABAB"/>
              </a:solidFill>
            </c:spPr>
            <c:extLst>
              <c:ext xmlns:c16="http://schemas.microsoft.com/office/drawing/2014/chart" uri="{C3380CC4-5D6E-409C-BE32-E72D297353CC}">
                <c16:uniqueId val="{000010F9-61F5-407B-959D-D24239F5BB85}"/>
              </c:ext>
            </c:extLst>
          </c:dPt>
          <c:dPt>
            <c:idx val="2172"/>
            <c:invertIfNegative val="1"/>
            <c:bubble3D val="0"/>
            <c:spPr>
              <a:solidFill>
                <a:srgbClr val="AEABAB"/>
              </a:solidFill>
            </c:spPr>
            <c:extLst>
              <c:ext xmlns:c16="http://schemas.microsoft.com/office/drawing/2014/chart" uri="{C3380CC4-5D6E-409C-BE32-E72D297353CC}">
                <c16:uniqueId val="{000010FB-61F5-407B-959D-D24239F5BB85}"/>
              </c:ext>
            </c:extLst>
          </c:dPt>
          <c:dPt>
            <c:idx val="2173"/>
            <c:invertIfNegative val="1"/>
            <c:bubble3D val="0"/>
            <c:spPr>
              <a:solidFill>
                <a:srgbClr val="AEABAB"/>
              </a:solidFill>
            </c:spPr>
            <c:extLst>
              <c:ext xmlns:c16="http://schemas.microsoft.com/office/drawing/2014/chart" uri="{C3380CC4-5D6E-409C-BE32-E72D297353CC}">
                <c16:uniqueId val="{000010FD-61F5-407B-959D-D24239F5BB85}"/>
              </c:ext>
            </c:extLst>
          </c:dPt>
          <c:dPt>
            <c:idx val="2174"/>
            <c:invertIfNegative val="1"/>
            <c:bubble3D val="0"/>
            <c:spPr>
              <a:solidFill>
                <a:srgbClr val="AEABAB"/>
              </a:solidFill>
            </c:spPr>
            <c:extLst>
              <c:ext xmlns:c16="http://schemas.microsoft.com/office/drawing/2014/chart" uri="{C3380CC4-5D6E-409C-BE32-E72D297353CC}">
                <c16:uniqueId val="{000010FF-61F5-407B-959D-D24239F5BB85}"/>
              </c:ext>
            </c:extLst>
          </c:dPt>
          <c:dPt>
            <c:idx val="2175"/>
            <c:invertIfNegative val="1"/>
            <c:bubble3D val="0"/>
            <c:spPr>
              <a:solidFill>
                <a:srgbClr val="AEABAB"/>
              </a:solidFill>
            </c:spPr>
            <c:extLst>
              <c:ext xmlns:c16="http://schemas.microsoft.com/office/drawing/2014/chart" uri="{C3380CC4-5D6E-409C-BE32-E72D297353CC}">
                <c16:uniqueId val="{00001101-61F5-407B-959D-D24239F5BB85}"/>
              </c:ext>
            </c:extLst>
          </c:dPt>
          <c:dPt>
            <c:idx val="2176"/>
            <c:invertIfNegative val="1"/>
            <c:bubble3D val="0"/>
            <c:spPr>
              <a:solidFill>
                <a:srgbClr val="AEABAB"/>
              </a:solidFill>
            </c:spPr>
            <c:extLst>
              <c:ext xmlns:c16="http://schemas.microsoft.com/office/drawing/2014/chart" uri="{C3380CC4-5D6E-409C-BE32-E72D297353CC}">
                <c16:uniqueId val="{00001103-61F5-407B-959D-D24239F5BB85}"/>
              </c:ext>
            </c:extLst>
          </c:dPt>
          <c:dPt>
            <c:idx val="2177"/>
            <c:invertIfNegative val="1"/>
            <c:bubble3D val="0"/>
            <c:spPr>
              <a:solidFill>
                <a:srgbClr val="AEABAB"/>
              </a:solidFill>
            </c:spPr>
            <c:extLst>
              <c:ext xmlns:c16="http://schemas.microsoft.com/office/drawing/2014/chart" uri="{C3380CC4-5D6E-409C-BE32-E72D297353CC}">
                <c16:uniqueId val="{00001105-61F5-407B-959D-D24239F5BB85}"/>
              </c:ext>
            </c:extLst>
          </c:dPt>
          <c:dPt>
            <c:idx val="2178"/>
            <c:invertIfNegative val="1"/>
            <c:bubble3D val="0"/>
            <c:spPr>
              <a:solidFill>
                <a:srgbClr val="AEABAB"/>
              </a:solidFill>
            </c:spPr>
            <c:extLst>
              <c:ext xmlns:c16="http://schemas.microsoft.com/office/drawing/2014/chart" uri="{C3380CC4-5D6E-409C-BE32-E72D297353CC}">
                <c16:uniqueId val="{00001107-61F5-407B-959D-D24239F5BB85}"/>
              </c:ext>
            </c:extLst>
          </c:dPt>
          <c:dPt>
            <c:idx val="2179"/>
            <c:invertIfNegative val="1"/>
            <c:bubble3D val="0"/>
            <c:spPr>
              <a:solidFill>
                <a:srgbClr val="AEABAB"/>
              </a:solidFill>
            </c:spPr>
            <c:extLst>
              <c:ext xmlns:c16="http://schemas.microsoft.com/office/drawing/2014/chart" uri="{C3380CC4-5D6E-409C-BE32-E72D297353CC}">
                <c16:uniqueId val="{00001109-61F5-407B-959D-D24239F5BB85}"/>
              </c:ext>
            </c:extLst>
          </c:dPt>
          <c:dPt>
            <c:idx val="2180"/>
            <c:invertIfNegative val="1"/>
            <c:bubble3D val="0"/>
            <c:spPr>
              <a:solidFill>
                <a:srgbClr val="AEABAB"/>
              </a:solidFill>
            </c:spPr>
            <c:extLst>
              <c:ext xmlns:c16="http://schemas.microsoft.com/office/drawing/2014/chart" uri="{C3380CC4-5D6E-409C-BE32-E72D297353CC}">
                <c16:uniqueId val="{0000110B-61F5-407B-959D-D24239F5BB85}"/>
              </c:ext>
            </c:extLst>
          </c:dPt>
          <c:dPt>
            <c:idx val="2181"/>
            <c:invertIfNegative val="1"/>
            <c:bubble3D val="0"/>
            <c:spPr>
              <a:solidFill>
                <a:srgbClr val="AEABAB"/>
              </a:solidFill>
            </c:spPr>
            <c:extLst>
              <c:ext xmlns:c16="http://schemas.microsoft.com/office/drawing/2014/chart" uri="{C3380CC4-5D6E-409C-BE32-E72D297353CC}">
                <c16:uniqueId val="{0000110D-61F5-407B-959D-D24239F5BB85}"/>
              </c:ext>
            </c:extLst>
          </c:dPt>
          <c:dPt>
            <c:idx val="2182"/>
            <c:invertIfNegative val="1"/>
            <c:bubble3D val="0"/>
            <c:spPr>
              <a:solidFill>
                <a:srgbClr val="AEABAB"/>
              </a:solidFill>
            </c:spPr>
            <c:extLst>
              <c:ext xmlns:c16="http://schemas.microsoft.com/office/drawing/2014/chart" uri="{C3380CC4-5D6E-409C-BE32-E72D297353CC}">
                <c16:uniqueId val="{0000110F-61F5-407B-959D-D24239F5BB85}"/>
              </c:ext>
            </c:extLst>
          </c:dPt>
          <c:dPt>
            <c:idx val="2183"/>
            <c:invertIfNegative val="1"/>
            <c:bubble3D val="0"/>
            <c:spPr>
              <a:solidFill>
                <a:srgbClr val="AEABAB"/>
              </a:solidFill>
            </c:spPr>
            <c:extLst>
              <c:ext xmlns:c16="http://schemas.microsoft.com/office/drawing/2014/chart" uri="{C3380CC4-5D6E-409C-BE32-E72D297353CC}">
                <c16:uniqueId val="{00001111-61F5-407B-959D-D24239F5BB85}"/>
              </c:ext>
            </c:extLst>
          </c:dPt>
          <c:dPt>
            <c:idx val="2184"/>
            <c:invertIfNegative val="1"/>
            <c:bubble3D val="0"/>
            <c:spPr>
              <a:solidFill>
                <a:srgbClr val="AEABAB"/>
              </a:solidFill>
            </c:spPr>
            <c:extLst>
              <c:ext xmlns:c16="http://schemas.microsoft.com/office/drawing/2014/chart" uri="{C3380CC4-5D6E-409C-BE32-E72D297353CC}">
                <c16:uniqueId val="{00001113-61F5-407B-959D-D24239F5BB85}"/>
              </c:ext>
            </c:extLst>
          </c:dPt>
          <c:dPt>
            <c:idx val="2185"/>
            <c:invertIfNegative val="1"/>
            <c:bubble3D val="0"/>
            <c:spPr>
              <a:solidFill>
                <a:srgbClr val="AEABAB"/>
              </a:solidFill>
            </c:spPr>
            <c:extLst>
              <c:ext xmlns:c16="http://schemas.microsoft.com/office/drawing/2014/chart" uri="{C3380CC4-5D6E-409C-BE32-E72D297353CC}">
                <c16:uniqueId val="{00001115-61F5-407B-959D-D24239F5BB85}"/>
              </c:ext>
            </c:extLst>
          </c:dPt>
          <c:dPt>
            <c:idx val="2186"/>
            <c:invertIfNegative val="1"/>
            <c:bubble3D val="0"/>
            <c:spPr>
              <a:solidFill>
                <a:srgbClr val="AEABAB"/>
              </a:solidFill>
            </c:spPr>
            <c:extLst>
              <c:ext xmlns:c16="http://schemas.microsoft.com/office/drawing/2014/chart" uri="{C3380CC4-5D6E-409C-BE32-E72D297353CC}">
                <c16:uniqueId val="{00001117-61F5-407B-959D-D24239F5BB85}"/>
              </c:ext>
            </c:extLst>
          </c:dPt>
          <c:dPt>
            <c:idx val="2187"/>
            <c:invertIfNegative val="1"/>
            <c:bubble3D val="0"/>
            <c:spPr>
              <a:solidFill>
                <a:srgbClr val="AEABAB"/>
              </a:solidFill>
            </c:spPr>
            <c:extLst>
              <c:ext xmlns:c16="http://schemas.microsoft.com/office/drawing/2014/chart" uri="{C3380CC4-5D6E-409C-BE32-E72D297353CC}">
                <c16:uniqueId val="{00001119-61F5-407B-959D-D24239F5BB85}"/>
              </c:ext>
            </c:extLst>
          </c:dPt>
          <c:dPt>
            <c:idx val="2188"/>
            <c:invertIfNegative val="1"/>
            <c:bubble3D val="0"/>
            <c:spPr>
              <a:solidFill>
                <a:srgbClr val="AEABAB"/>
              </a:solidFill>
            </c:spPr>
            <c:extLst>
              <c:ext xmlns:c16="http://schemas.microsoft.com/office/drawing/2014/chart" uri="{C3380CC4-5D6E-409C-BE32-E72D297353CC}">
                <c16:uniqueId val="{0000111B-61F5-407B-959D-D24239F5BB85}"/>
              </c:ext>
            </c:extLst>
          </c:dPt>
          <c:dPt>
            <c:idx val="2189"/>
            <c:invertIfNegative val="1"/>
            <c:bubble3D val="0"/>
            <c:spPr>
              <a:solidFill>
                <a:srgbClr val="AEABAB"/>
              </a:solidFill>
            </c:spPr>
            <c:extLst>
              <c:ext xmlns:c16="http://schemas.microsoft.com/office/drawing/2014/chart" uri="{C3380CC4-5D6E-409C-BE32-E72D297353CC}">
                <c16:uniqueId val="{0000111D-61F5-407B-959D-D24239F5BB85}"/>
              </c:ext>
            </c:extLst>
          </c:dPt>
          <c:dPt>
            <c:idx val="2190"/>
            <c:invertIfNegative val="1"/>
            <c:bubble3D val="0"/>
            <c:spPr>
              <a:solidFill>
                <a:srgbClr val="AEABAB"/>
              </a:solidFill>
            </c:spPr>
            <c:extLst>
              <c:ext xmlns:c16="http://schemas.microsoft.com/office/drawing/2014/chart" uri="{C3380CC4-5D6E-409C-BE32-E72D297353CC}">
                <c16:uniqueId val="{0000111F-61F5-407B-959D-D24239F5BB85}"/>
              </c:ext>
            </c:extLst>
          </c:dPt>
          <c:dPt>
            <c:idx val="2191"/>
            <c:invertIfNegative val="1"/>
            <c:bubble3D val="0"/>
            <c:spPr>
              <a:solidFill>
                <a:srgbClr val="AEABAB"/>
              </a:solidFill>
            </c:spPr>
            <c:extLst>
              <c:ext xmlns:c16="http://schemas.microsoft.com/office/drawing/2014/chart" uri="{C3380CC4-5D6E-409C-BE32-E72D297353CC}">
                <c16:uniqueId val="{00001121-61F5-407B-959D-D24239F5BB85}"/>
              </c:ext>
            </c:extLst>
          </c:dPt>
          <c:dPt>
            <c:idx val="2192"/>
            <c:invertIfNegative val="1"/>
            <c:bubble3D val="0"/>
            <c:spPr>
              <a:solidFill>
                <a:srgbClr val="AEABAB"/>
              </a:solidFill>
            </c:spPr>
            <c:extLst>
              <c:ext xmlns:c16="http://schemas.microsoft.com/office/drawing/2014/chart" uri="{C3380CC4-5D6E-409C-BE32-E72D297353CC}">
                <c16:uniqueId val="{00001123-61F5-407B-959D-D24239F5BB85}"/>
              </c:ext>
            </c:extLst>
          </c:dPt>
          <c:dPt>
            <c:idx val="2193"/>
            <c:invertIfNegative val="1"/>
            <c:bubble3D val="0"/>
            <c:spPr>
              <a:solidFill>
                <a:srgbClr val="AEABAB"/>
              </a:solidFill>
            </c:spPr>
            <c:extLst>
              <c:ext xmlns:c16="http://schemas.microsoft.com/office/drawing/2014/chart" uri="{C3380CC4-5D6E-409C-BE32-E72D297353CC}">
                <c16:uniqueId val="{00001125-61F5-407B-959D-D24239F5BB85}"/>
              </c:ext>
            </c:extLst>
          </c:dPt>
          <c:dPt>
            <c:idx val="2194"/>
            <c:invertIfNegative val="1"/>
            <c:bubble3D val="0"/>
            <c:spPr>
              <a:solidFill>
                <a:srgbClr val="AEABAB"/>
              </a:solidFill>
            </c:spPr>
            <c:extLst>
              <c:ext xmlns:c16="http://schemas.microsoft.com/office/drawing/2014/chart" uri="{C3380CC4-5D6E-409C-BE32-E72D297353CC}">
                <c16:uniqueId val="{00001127-61F5-407B-959D-D24239F5BB85}"/>
              </c:ext>
            </c:extLst>
          </c:dPt>
          <c:dPt>
            <c:idx val="2195"/>
            <c:invertIfNegative val="1"/>
            <c:bubble3D val="0"/>
            <c:spPr>
              <a:solidFill>
                <a:srgbClr val="AEABAB"/>
              </a:solidFill>
            </c:spPr>
            <c:extLst>
              <c:ext xmlns:c16="http://schemas.microsoft.com/office/drawing/2014/chart" uri="{C3380CC4-5D6E-409C-BE32-E72D297353CC}">
                <c16:uniqueId val="{00001129-61F5-407B-959D-D24239F5BB85}"/>
              </c:ext>
            </c:extLst>
          </c:dPt>
          <c:dPt>
            <c:idx val="2196"/>
            <c:invertIfNegative val="1"/>
            <c:bubble3D val="0"/>
            <c:spPr>
              <a:solidFill>
                <a:srgbClr val="AEABAB"/>
              </a:solidFill>
            </c:spPr>
            <c:extLst>
              <c:ext xmlns:c16="http://schemas.microsoft.com/office/drawing/2014/chart" uri="{C3380CC4-5D6E-409C-BE32-E72D297353CC}">
                <c16:uniqueId val="{0000112B-61F5-407B-959D-D24239F5BB85}"/>
              </c:ext>
            </c:extLst>
          </c:dPt>
          <c:dPt>
            <c:idx val="2197"/>
            <c:invertIfNegative val="1"/>
            <c:bubble3D val="0"/>
            <c:spPr>
              <a:solidFill>
                <a:srgbClr val="AEABAB"/>
              </a:solidFill>
            </c:spPr>
            <c:extLst>
              <c:ext xmlns:c16="http://schemas.microsoft.com/office/drawing/2014/chart" uri="{C3380CC4-5D6E-409C-BE32-E72D297353CC}">
                <c16:uniqueId val="{0000112D-61F5-407B-959D-D24239F5BB85}"/>
              </c:ext>
            </c:extLst>
          </c:dPt>
          <c:dPt>
            <c:idx val="2198"/>
            <c:invertIfNegative val="1"/>
            <c:bubble3D val="0"/>
            <c:spPr>
              <a:solidFill>
                <a:srgbClr val="AEABAB"/>
              </a:solidFill>
            </c:spPr>
            <c:extLst>
              <c:ext xmlns:c16="http://schemas.microsoft.com/office/drawing/2014/chart" uri="{C3380CC4-5D6E-409C-BE32-E72D297353CC}">
                <c16:uniqueId val="{0000112F-61F5-407B-959D-D24239F5BB85}"/>
              </c:ext>
            </c:extLst>
          </c:dPt>
          <c:dPt>
            <c:idx val="2199"/>
            <c:invertIfNegative val="1"/>
            <c:bubble3D val="0"/>
            <c:spPr>
              <a:solidFill>
                <a:srgbClr val="AEABAB"/>
              </a:solidFill>
            </c:spPr>
            <c:extLst>
              <c:ext xmlns:c16="http://schemas.microsoft.com/office/drawing/2014/chart" uri="{C3380CC4-5D6E-409C-BE32-E72D297353CC}">
                <c16:uniqueId val="{00001131-61F5-407B-959D-D24239F5BB85}"/>
              </c:ext>
            </c:extLst>
          </c:dPt>
          <c:dPt>
            <c:idx val="2200"/>
            <c:invertIfNegative val="1"/>
            <c:bubble3D val="0"/>
            <c:spPr>
              <a:solidFill>
                <a:srgbClr val="AEABAB"/>
              </a:solidFill>
            </c:spPr>
            <c:extLst>
              <c:ext xmlns:c16="http://schemas.microsoft.com/office/drawing/2014/chart" uri="{C3380CC4-5D6E-409C-BE32-E72D297353CC}">
                <c16:uniqueId val="{00001133-61F5-407B-959D-D24239F5BB85}"/>
              </c:ext>
            </c:extLst>
          </c:dPt>
          <c:dPt>
            <c:idx val="2201"/>
            <c:invertIfNegative val="1"/>
            <c:bubble3D val="0"/>
            <c:spPr>
              <a:solidFill>
                <a:srgbClr val="AEABAB"/>
              </a:solidFill>
            </c:spPr>
            <c:extLst>
              <c:ext xmlns:c16="http://schemas.microsoft.com/office/drawing/2014/chart" uri="{C3380CC4-5D6E-409C-BE32-E72D297353CC}">
                <c16:uniqueId val="{00001135-61F5-407B-959D-D24239F5BB85}"/>
              </c:ext>
            </c:extLst>
          </c:dPt>
          <c:dPt>
            <c:idx val="2202"/>
            <c:invertIfNegative val="1"/>
            <c:bubble3D val="0"/>
            <c:spPr>
              <a:solidFill>
                <a:srgbClr val="AEABAB"/>
              </a:solidFill>
            </c:spPr>
            <c:extLst>
              <c:ext xmlns:c16="http://schemas.microsoft.com/office/drawing/2014/chart" uri="{C3380CC4-5D6E-409C-BE32-E72D297353CC}">
                <c16:uniqueId val="{00001137-61F5-407B-959D-D24239F5BB85}"/>
              </c:ext>
            </c:extLst>
          </c:dPt>
          <c:dPt>
            <c:idx val="2203"/>
            <c:invertIfNegative val="1"/>
            <c:bubble3D val="0"/>
            <c:spPr>
              <a:solidFill>
                <a:srgbClr val="AEABAB"/>
              </a:solidFill>
            </c:spPr>
            <c:extLst>
              <c:ext xmlns:c16="http://schemas.microsoft.com/office/drawing/2014/chart" uri="{C3380CC4-5D6E-409C-BE32-E72D297353CC}">
                <c16:uniqueId val="{00001139-61F5-407B-959D-D24239F5BB85}"/>
              </c:ext>
            </c:extLst>
          </c:dPt>
          <c:dPt>
            <c:idx val="2204"/>
            <c:invertIfNegative val="1"/>
            <c:bubble3D val="0"/>
            <c:spPr>
              <a:solidFill>
                <a:srgbClr val="AEABAB"/>
              </a:solidFill>
            </c:spPr>
            <c:extLst>
              <c:ext xmlns:c16="http://schemas.microsoft.com/office/drawing/2014/chart" uri="{C3380CC4-5D6E-409C-BE32-E72D297353CC}">
                <c16:uniqueId val="{0000113B-61F5-407B-959D-D24239F5BB85}"/>
              </c:ext>
            </c:extLst>
          </c:dPt>
          <c:dPt>
            <c:idx val="2205"/>
            <c:invertIfNegative val="1"/>
            <c:bubble3D val="0"/>
            <c:spPr>
              <a:solidFill>
                <a:srgbClr val="AEABAB"/>
              </a:solidFill>
            </c:spPr>
            <c:extLst>
              <c:ext xmlns:c16="http://schemas.microsoft.com/office/drawing/2014/chart" uri="{C3380CC4-5D6E-409C-BE32-E72D297353CC}">
                <c16:uniqueId val="{0000113D-61F5-407B-959D-D24239F5BB85}"/>
              </c:ext>
            </c:extLst>
          </c:dPt>
          <c:dPt>
            <c:idx val="2206"/>
            <c:invertIfNegative val="1"/>
            <c:bubble3D val="0"/>
            <c:spPr>
              <a:solidFill>
                <a:srgbClr val="AEABAB"/>
              </a:solidFill>
            </c:spPr>
            <c:extLst>
              <c:ext xmlns:c16="http://schemas.microsoft.com/office/drawing/2014/chart" uri="{C3380CC4-5D6E-409C-BE32-E72D297353CC}">
                <c16:uniqueId val="{0000113F-61F5-407B-959D-D24239F5BB85}"/>
              </c:ext>
            </c:extLst>
          </c:dPt>
          <c:dPt>
            <c:idx val="2207"/>
            <c:invertIfNegative val="1"/>
            <c:bubble3D val="0"/>
            <c:spPr>
              <a:solidFill>
                <a:srgbClr val="AEABAB"/>
              </a:solidFill>
            </c:spPr>
            <c:extLst>
              <c:ext xmlns:c16="http://schemas.microsoft.com/office/drawing/2014/chart" uri="{C3380CC4-5D6E-409C-BE32-E72D297353CC}">
                <c16:uniqueId val="{00001141-61F5-407B-959D-D24239F5BB85}"/>
              </c:ext>
            </c:extLst>
          </c:dPt>
          <c:dPt>
            <c:idx val="2208"/>
            <c:invertIfNegative val="1"/>
            <c:bubble3D val="0"/>
            <c:spPr>
              <a:solidFill>
                <a:srgbClr val="AEABAB"/>
              </a:solidFill>
            </c:spPr>
            <c:extLst>
              <c:ext xmlns:c16="http://schemas.microsoft.com/office/drawing/2014/chart" uri="{C3380CC4-5D6E-409C-BE32-E72D297353CC}">
                <c16:uniqueId val="{00001143-61F5-407B-959D-D24239F5BB85}"/>
              </c:ext>
            </c:extLst>
          </c:dPt>
          <c:dPt>
            <c:idx val="2209"/>
            <c:invertIfNegative val="1"/>
            <c:bubble3D val="0"/>
            <c:spPr>
              <a:solidFill>
                <a:srgbClr val="AEABAB"/>
              </a:solidFill>
            </c:spPr>
            <c:extLst>
              <c:ext xmlns:c16="http://schemas.microsoft.com/office/drawing/2014/chart" uri="{C3380CC4-5D6E-409C-BE32-E72D297353CC}">
                <c16:uniqueId val="{00001145-61F5-407B-959D-D24239F5BB85}"/>
              </c:ext>
            </c:extLst>
          </c:dPt>
          <c:dPt>
            <c:idx val="2210"/>
            <c:invertIfNegative val="1"/>
            <c:bubble3D val="0"/>
            <c:spPr>
              <a:solidFill>
                <a:srgbClr val="AEABAB"/>
              </a:solidFill>
            </c:spPr>
            <c:extLst>
              <c:ext xmlns:c16="http://schemas.microsoft.com/office/drawing/2014/chart" uri="{C3380CC4-5D6E-409C-BE32-E72D297353CC}">
                <c16:uniqueId val="{00001147-61F5-407B-959D-D24239F5BB85}"/>
              </c:ext>
            </c:extLst>
          </c:dPt>
          <c:dPt>
            <c:idx val="2211"/>
            <c:invertIfNegative val="1"/>
            <c:bubble3D val="0"/>
            <c:spPr>
              <a:solidFill>
                <a:srgbClr val="AEABAB"/>
              </a:solidFill>
            </c:spPr>
            <c:extLst>
              <c:ext xmlns:c16="http://schemas.microsoft.com/office/drawing/2014/chart" uri="{C3380CC4-5D6E-409C-BE32-E72D297353CC}">
                <c16:uniqueId val="{00001149-61F5-407B-959D-D24239F5BB85}"/>
              </c:ext>
            </c:extLst>
          </c:dPt>
          <c:dPt>
            <c:idx val="2212"/>
            <c:invertIfNegative val="1"/>
            <c:bubble3D val="0"/>
            <c:spPr>
              <a:solidFill>
                <a:srgbClr val="AEABAB"/>
              </a:solidFill>
            </c:spPr>
            <c:extLst>
              <c:ext xmlns:c16="http://schemas.microsoft.com/office/drawing/2014/chart" uri="{C3380CC4-5D6E-409C-BE32-E72D297353CC}">
                <c16:uniqueId val="{0000114B-61F5-407B-959D-D24239F5BB85}"/>
              </c:ext>
            </c:extLst>
          </c:dPt>
          <c:dPt>
            <c:idx val="2213"/>
            <c:invertIfNegative val="1"/>
            <c:bubble3D val="0"/>
            <c:spPr>
              <a:solidFill>
                <a:srgbClr val="AEABAB"/>
              </a:solidFill>
            </c:spPr>
            <c:extLst>
              <c:ext xmlns:c16="http://schemas.microsoft.com/office/drawing/2014/chart" uri="{C3380CC4-5D6E-409C-BE32-E72D297353CC}">
                <c16:uniqueId val="{0000114D-61F5-407B-959D-D24239F5BB85}"/>
              </c:ext>
            </c:extLst>
          </c:dPt>
          <c:dPt>
            <c:idx val="2214"/>
            <c:invertIfNegative val="1"/>
            <c:bubble3D val="0"/>
            <c:spPr>
              <a:solidFill>
                <a:srgbClr val="AEABAB"/>
              </a:solidFill>
            </c:spPr>
            <c:extLst>
              <c:ext xmlns:c16="http://schemas.microsoft.com/office/drawing/2014/chart" uri="{C3380CC4-5D6E-409C-BE32-E72D297353CC}">
                <c16:uniqueId val="{0000114F-61F5-407B-959D-D24239F5BB85}"/>
              </c:ext>
            </c:extLst>
          </c:dPt>
          <c:dPt>
            <c:idx val="2215"/>
            <c:invertIfNegative val="1"/>
            <c:bubble3D val="0"/>
            <c:spPr>
              <a:solidFill>
                <a:srgbClr val="AEABAB"/>
              </a:solidFill>
            </c:spPr>
            <c:extLst>
              <c:ext xmlns:c16="http://schemas.microsoft.com/office/drawing/2014/chart" uri="{C3380CC4-5D6E-409C-BE32-E72D297353CC}">
                <c16:uniqueId val="{00001151-61F5-407B-959D-D24239F5BB85}"/>
              </c:ext>
            </c:extLst>
          </c:dPt>
          <c:dPt>
            <c:idx val="2216"/>
            <c:invertIfNegative val="1"/>
            <c:bubble3D val="0"/>
            <c:spPr>
              <a:solidFill>
                <a:srgbClr val="AEABAB"/>
              </a:solidFill>
            </c:spPr>
            <c:extLst>
              <c:ext xmlns:c16="http://schemas.microsoft.com/office/drawing/2014/chart" uri="{C3380CC4-5D6E-409C-BE32-E72D297353CC}">
                <c16:uniqueId val="{00001153-61F5-407B-959D-D24239F5BB85}"/>
              </c:ext>
            </c:extLst>
          </c:dPt>
          <c:dPt>
            <c:idx val="2217"/>
            <c:invertIfNegative val="1"/>
            <c:bubble3D val="0"/>
            <c:spPr>
              <a:solidFill>
                <a:srgbClr val="AEABAB"/>
              </a:solidFill>
            </c:spPr>
            <c:extLst>
              <c:ext xmlns:c16="http://schemas.microsoft.com/office/drawing/2014/chart" uri="{C3380CC4-5D6E-409C-BE32-E72D297353CC}">
                <c16:uniqueId val="{00001155-61F5-407B-959D-D24239F5BB85}"/>
              </c:ext>
            </c:extLst>
          </c:dPt>
          <c:dPt>
            <c:idx val="2218"/>
            <c:invertIfNegative val="1"/>
            <c:bubble3D val="0"/>
            <c:spPr>
              <a:solidFill>
                <a:srgbClr val="AEABAB"/>
              </a:solidFill>
            </c:spPr>
            <c:extLst>
              <c:ext xmlns:c16="http://schemas.microsoft.com/office/drawing/2014/chart" uri="{C3380CC4-5D6E-409C-BE32-E72D297353CC}">
                <c16:uniqueId val="{00001157-61F5-407B-959D-D24239F5BB85}"/>
              </c:ext>
            </c:extLst>
          </c:dPt>
          <c:dPt>
            <c:idx val="2219"/>
            <c:invertIfNegative val="1"/>
            <c:bubble3D val="0"/>
            <c:spPr>
              <a:solidFill>
                <a:srgbClr val="AEABAB"/>
              </a:solidFill>
            </c:spPr>
            <c:extLst>
              <c:ext xmlns:c16="http://schemas.microsoft.com/office/drawing/2014/chart" uri="{C3380CC4-5D6E-409C-BE32-E72D297353CC}">
                <c16:uniqueId val="{00001159-61F5-407B-959D-D24239F5BB85}"/>
              </c:ext>
            </c:extLst>
          </c:dPt>
          <c:dPt>
            <c:idx val="2220"/>
            <c:invertIfNegative val="1"/>
            <c:bubble3D val="0"/>
            <c:spPr>
              <a:solidFill>
                <a:srgbClr val="AEABAB"/>
              </a:solidFill>
            </c:spPr>
            <c:extLst>
              <c:ext xmlns:c16="http://schemas.microsoft.com/office/drawing/2014/chart" uri="{C3380CC4-5D6E-409C-BE32-E72D297353CC}">
                <c16:uniqueId val="{0000115B-61F5-407B-959D-D24239F5BB85}"/>
              </c:ext>
            </c:extLst>
          </c:dPt>
          <c:dPt>
            <c:idx val="2221"/>
            <c:invertIfNegative val="1"/>
            <c:bubble3D val="0"/>
            <c:spPr>
              <a:solidFill>
                <a:srgbClr val="AEABAB"/>
              </a:solidFill>
            </c:spPr>
            <c:extLst>
              <c:ext xmlns:c16="http://schemas.microsoft.com/office/drawing/2014/chart" uri="{C3380CC4-5D6E-409C-BE32-E72D297353CC}">
                <c16:uniqueId val="{0000115D-61F5-407B-959D-D24239F5BB85}"/>
              </c:ext>
            </c:extLst>
          </c:dPt>
          <c:dPt>
            <c:idx val="2222"/>
            <c:invertIfNegative val="1"/>
            <c:bubble3D val="0"/>
            <c:spPr>
              <a:solidFill>
                <a:srgbClr val="AEABAB"/>
              </a:solidFill>
            </c:spPr>
            <c:extLst>
              <c:ext xmlns:c16="http://schemas.microsoft.com/office/drawing/2014/chart" uri="{C3380CC4-5D6E-409C-BE32-E72D297353CC}">
                <c16:uniqueId val="{0000115F-61F5-407B-959D-D24239F5BB85}"/>
              </c:ext>
            </c:extLst>
          </c:dPt>
          <c:dPt>
            <c:idx val="2223"/>
            <c:invertIfNegative val="1"/>
            <c:bubble3D val="0"/>
            <c:spPr>
              <a:solidFill>
                <a:srgbClr val="AEABAB"/>
              </a:solidFill>
            </c:spPr>
            <c:extLst>
              <c:ext xmlns:c16="http://schemas.microsoft.com/office/drawing/2014/chart" uri="{C3380CC4-5D6E-409C-BE32-E72D297353CC}">
                <c16:uniqueId val="{00001161-61F5-407B-959D-D24239F5BB85}"/>
              </c:ext>
            </c:extLst>
          </c:dPt>
          <c:dPt>
            <c:idx val="2224"/>
            <c:invertIfNegative val="1"/>
            <c:bubble3D val="0"/>
            <c:spPr>
              <a:solidFill>
                <a:srgbClr val="AEABAB"/>
              </a:solidFill>
            </c:spPr>
            <c:extLst>
              <c:ext xmlns:c16="http://schemas.microsoft.com/office/drawing/2014/chart" uri="{C3380CC4-5D6E-409C-BE32-E72D297353CC}">
                <c16:uniqueId val="{00001163-61F5-407B-959D-D24239F5BB85}"/>
              </c:ext>
            </c:extLst>
          </c:dPt>
          <c:dPt>
            <c:idx val="2225"/>
            <c:invertIfNegative val="1"/>
            <c:bubble3D val="0"/>
            <c:spPr>
              <a:solidFill>
                <a:srgbClr val="AEABAB"/>
              </a:solidFill>
            </c:spPr>
            <c:extLst>
              <c:ext xmlns:c16="http://schemas.microsoft.com/office/drawing/2014/chart" uri="{C3380CC4-5D6E-409C-BE32-E72D297353CC}">
                <c16:uniqueId val="{00001165-61F5-407B-959D-D24239F5BB85}"/>
              </c:ext>
            </c:extLst>
          </c:dPt>
          <c:dPt>
            <c:idx val="2226"/>
            <c:invertIfNegative val="1"/>
            <c:bubble3D val="0"/>
            <c:spPr>
              <a:solidFill>
                <a:srgbClr val="AEABAB"/>
              </a:solidFill>
            </c:spPr>
            <c:extLst>
              <c:ext xmlns:c16="http://schemas.microsoft.com/office/drawing/2014/chart" uri="{C3380CC4-5D6E-409C-BE32-E72D297353CC}">
                <c16:uniqueId val="{00001167-61F5-407B-959D-D24239F5BB85}"/>
              </c:ext>
            </c:extLst>
          </c:dPt>
          <c:dPt>
            <c:idx val="2227"/>
            <c:invertIfNegative val="1"/>
            <c:bubble3D val="0"/>
            <c:spPr>
              <a:solidFill>
                <a:srgbClr val="AEABAB"/>
              </a:solidFill>
            </c:spPr>
            <c:extLst>
              <c:ext xmlns:c16="http://schemas.microsoft.com/office/drawing/2014/chart" uri="{C3380CC4-5D6E-409C-BE32-E72D297353CC}">
                <c16:uniqueId val="{00001169-61F5-407B-959D-D24239F5BB85}"/>
              </c:ext>
            </c:extLst>
          </c:dPt>
          <c:dPt>
            <c:idx val="2228"/>
            <c:invertIfNegative val="1"/>
            <c:bubble3D val="0"/>
            <c:spPr>
              <a:solidFill>
                <a:srgbClr val="AEABAB"/>
              </a:solidFill>
            </c:spPr>
            <c:extLst>
              <c:ext xmlns:c16="http://schemas.microsoft.com/office/drawing/2014/chart" uri="{C3380CC4-5D6E-409C-BE32-E72D297353CC}">
                <c16:uniqueId val="{0000116B-61F5-407B-959D-D24239F5BB85}"/>
              </c:ext>
            </c:extLst>
          </c:dPt>
          <c:dPt>
            <c:idx val="2229"/>
            <c:invertIfNegative val="1"/>
            <c:bubble3D val="0"/>
            <c:spPr>
              <a:solidFill>
                <a:srgbClr val="AEABAB"/>
              </a:solidFill>
            </c:spPr>
            <c:extLst>
              <c:ext xmlns:c16="http://schemas.microsoft.com/office/drawing/2014/chart" uri="{C3380CC4-5D6E-409C-BE32-E72D297353CC}">
                <c16:uniqueId val="{0000116D-61F5-407B-959D-D24239F5BB85}"/>
              </c:ext>
            </c:extLst>
          </c:dPt>
          <c:dPt>
            <c:idx val="2230"/>
            <c:invertIfNegative val="1"/>
            <c:bubble3D val="0"/>
            <c:spPr>
              <a:solidFill>
                <a:srgbClr val="AEABAB"/>
              </a:solidFill>
            </c:spPr>
            <c:extLst>
              <c:ext xmlns:c16="http://schemas.microsoft.com/office/drawing/2014/chart" uri="{C3380CC4-5D6E-409C-BE32-E72D297353CC}">
                <c16:uniqueId val="{0000116F-61F5-407B-959D-D24239F5BB85}"/>
              </c:ext>
            </c:extLst>
          </c:dPt>
          <c:dPt>
            <c:idx val="2231"/>
            <c:invertIfNegative val="1"/>
            <c:bubble3D val="0"/>
            <c:spPr>
              <a:solidFill>
                <a:srgbClr val="AEABAB"/>
              </a:solidFill>
            </c:spPr>
            <c:extLst>
              <c:ext xmlns:c16="http://schemas.microsoft.com/office/drawing/2014/chart" uri="{C3380CC4-5D6E-409C-BE32-E72D297353CC}">
                <c16:uniqueId val="{00001171-61F5-407B-959D-D24239F5BB85}"/>
              </c:ext>
            </c:extLst>
          </c:dPt>
          <c:dPt>
            <c:idx val="2232"/>
            <c:invertIfNegative val="1"/>
            <c:bubble3D val="0"/>
            <c:spPr>
              <a:solidFill>
                <a:srgbClr val="AEABAB"/>
              </a:solidFill>
            </c:spPr>
            <c:extLst>
              <c:ext xmlns:c16="http://schemas.microsoft.com/office/drawing/2014/chart" uri="{C3380CC4-5D6E-409C-BE32-E72D297353CC}">
                <c16:uniqueId val="{00001173-61F5-407B-959D-D24239F5BB85}"/>
              </c:ext>
            </c:extLst>
          </c:dPt>
          <c:dPt>
            <c:idx val="2233"/>
            <c:invertIfNegative val="1"/>
            <c:bubble3D val="0"/>
            <c:spPr>
              <a:solidFill>
                <a:srgbClr val="AEABAB"/>
              </a:solidFill>
            </c:spPr>
            <c:extLst>
              <c:ext xmlns:c16="http://schemas.microsoft.com/office/drawing/2014/chart" uri="{C3380CC4-5D6E-409C-BE32-E72D297353CC}">
                <c16:uniqueId val="{00001175-61F5-407B-959D-D24239F5BB85}"/>
              </c:ext>
            </c:extLst>
          </c:dPt>
          <c:dPt>
            <c:idx val="2234"/>
            <c:invertIfNegative val="1"/>
            <c:bubble3D val="0"/>
            <c:spPr>
              <a:solidFill>
                <a:srgbClr val="AEABAB"/>
              </a:solidFill>
            </c:spPr>
            <c:extLst>
              <c:ext xmlns:c16="http://schemas.microsoft.com/office/drawing/2014/chart" uri="{C3380CC4-5D6E-409C-BE32-E72D297353CC}">
                <c16:uniqueId val="{00001177-61F5-407B-959D-D24239F5BB85}"/>
              </c:ext>
            </c:extLst>
          </c:dPt>
          <c:dPt>
            <c:idx val="2235"/>
            <c:invertIfNegative val="1"/>
            <c:bubble3D val="0"/>
            <c:spPr>
              <a:solidFill>
                <a:srgbClr val="AEABAB"/>
              </a:solidFill>
            </c:spPr>
            <c:extLst>
              <c:ext xmlns:c16="http://schemas.microsoft.com/office/drawing/2014/chart" uri="{C3380CC4-5D6E-409C-BE32-E72D297353CC}">
                <c16:uniqueId val="{00001179-61F5-407B-959D-D24239F5BB85}"/>
              </c:ext>
            </c:extLst>
          </c:dPt>
          <c:dPt>
            <c:idx val="2236"/>
            <c:invertIfNegative val="1"/>
            <c:bubble3D val="0"/>
            <c:spPr>
              <a:solidFill>
                <a:srgbClr val="AEABAB"/>
              </a:solidFill>
            </c:spPr>
            <c:extLst>
              <c:ext xmlns:c16="http://schemas.microsoft.com/office/drawing/2014/chart" uri="{C3380CC4-5D6E-409C-BE32-E72D297353CC}">
                <c16:uniqueId val="{0000117B-61F5-407B-959D-D24239F5BB85}"/>
              </c:ext>
            </c:extLst>
          </c:dPt>
          <c:dPt>
            <c:idx val="2237"/>
            <c:invertIfNegative val="1"/>
            <c:bubble3D val="0"/>
            <c:spPr>
              <a:solidFill>
                <a:srgbClr val="AEABAB"/>
              </a:solidFill>
            </c:spPr>
            <c:extLst>
              <c:ext xmlns:c16="http://schemas.microsoft.com/office/drawing/2014/chart" uri="{C3380CC4-5D6E-409C-BE32-E72D297353CC}">
                <c16:uniqueId val="{0000117D-61F5-407B-959D-D24239F5BB85}"/>
              </c:ext>
            </c:extLst>
          </c:dPt>
          <c:dPt>
            <c:idx val="2238"/>
            <c:invertIfNegative val="1"/>
            <c:bubble3D val="0"/>
            <c:spPr>
              <a:solidFill>
                <a:srgbClr val="AEABAB"/>
              </a:solidFill>
            </c:spPr>
            <c:extLst>
              <c:ext xmlns:c16="http://schemas.microsoft.com/office/drawing/2014/chart" uri="{C3380CC4-5D6E-409C-BE32-E72D297353CC}">
                <c16:uniqueId val="{0000117F-61F5-407B-959D-D24239F5BB85}"/>
              </c:ext>
            </c:extLst>
          </c:dPt>
          <c:dPt>
            <c:idx val="2239"/>
            <c:invertIfNegative val="1"/>
            <c:bubble3D val="0"/>
            <c:spPr>
              <a:solidFill>
                <a:srgbClr val="AEABAB"/>
              </a:solidFill>
            </c:spPr>
            <c:extLst>
              <c:ext xmlns:c16="http://schemas.microsoft.com/office/drawing/2014/chart" uri="{C3380CC4-5D6E-409C-BE32-E72D297353CC}">
                <c16:uniqueId val="{00001181-61F5-407B-959D-D24239F5BB85}"/>
              </c:ext>
            </c:extLst>
          </c:dPt>
          <c:dPt>
            <c:idx val="2240"/>
            <c:invertIfNegative val="1"/>
            <c:bubble3D val="0"/>
            <c:spPr>
              <a:solidFill>
                <a:srgbClr val="AEABAB"/>
              </a:solidFill>
            </c:spPr>
            <c:extLst>
              <c:ext xmlns:c16="http://schemas.microsoft.com/office/drawing/2014/chart" uri="{C3380CC4-5D6E-409C-BE32-E72D297353CC}">
                <c16:uniqueId val="{00001183-61F5-407B-959D-D24239F5BB85}"/>
              </c:ext>
            </c:extLst>
          </c:dPt>
          <c:dPt>
            <c:idx val="2241"/>
            <c:invertIfNegative val="1"/>
            <c:bubble3D val="0"/>
            <c:spPr>
              <a:solidFill>
                <a:srgbClr val="AEABAB"/>
              </a:solidFill>
            </c:spPr>
            <c:extLst>
              <c:ext xmlns:c16="http://schemas.microsoft.com/office/drawing/2014/chart" uri="{C3380CC4-5D6E-409C-BE32-E72D297353CC}">
                <c16:uniqueId val="{00001185-61F5-407B-959D-D24239F5BB85}"/>
              </c:ext>
            </c:extLst>
          </c:dPt>
          <c:dPt>
            <c:idx val="2242"/>
            <c:invertIfNegative val="1"/>
            <c:bubble3D val="0"/>
            <c:spPr>
              <a:solidFill>
                <a:srgbClr val="AEABAB"/>
              </a:solidFill>
            </c:spPr>
            <c:extLst>
              <c:ext xmlns:c16="http://schemas.microsoft.com/office/drawing/2014/chart" uri="{C3380CC4-5D6E-409C-BE32-E72D297353CC}">
                <c16:uniqueId val="{00001187-61F5-407B-959D-D24239F5BB85}"/>
              </c:ext>
            </c:extLst>
          </c:dPt>
          <c:dPt>
            <c:idx val="2243"/>
            <c:invertIfNegative val="1"/>
            <c:bubble3D val="0"/>
            <c:spPr>
              <a:solidFill>
                <a:srgbClr val="AEABAB"/>
              </a:solidFill>
            </c:spPr>
            <c:extLst>
              <c:ext xmlns:c16="http://schemas.microsoft.com/office/drawing/2014/chart" uri="{C3380CC4-5D6E-409C-BE32-E72D297353CC}">
                <c16:uniqueId val="{00001189-61F5-407B-959D-D24239F5BB85}"/>
              </c:ext>
            </c:extLst>
          </c:dPt>
          <c:dPt>
            <c:idx val="2244"/>
            <c:invertIfNegative val="1"/>
            <c:bubble3D val="0"/>
            <c:spPr>
              <a:solidFill>
                <a:srgbClr val="AEABAB"/>
              </a:solidFill>
            </c:spPr>
            <c:extLst>
              <c:ext xmlns:c16="http://schemas.microsoft.com/office/drawing/2014/chart" uri="{C3380CC4-5D6E-409C-BE32-E72D297353CC}">
                <c16:uniqueId val="{0000118B-61F5-407B-959D-D24239F5BB85}"/>
              </c:ext>
            </c:extLst>
          </c:dPt>
          <c:dPt>
            <c:idx val="2245"/>
            <c:invertIfNegative val="1"/>
            <c:bubble3D val="0"/>
            <c:spPr>
              <a:solidFill>
                <a:srgbClr val="AEABAB"/>
              </a:solidFill>
            </c:spPr>
            <c:extLst>
              <c:ext xmlns:c16="http://schemas.microsoft.com/office/drawing/2014/chart" uri="{C3380CC4-5D6E-409C-BE32-E72D297353CC}">
                <c16:uniqueId val="{0000118D-61F5-407B-959D-D24239F5BB85}"/>
              </c:ext>
            </c:extLst>
          </c:dPt>
          <c:dPt>
            <c:idx val="2246"/>
            <c:invertIfNegative val="1"/>
            <c:bubble3D val="0"/>
            <c:spPr>
              <a:solidFill>
                <a:srgbClr val="AEABAB"/>
              </a:solidFill>
            </c:spPr>
            <c:extLst>
              <c:ext xmlns:c16="http://schemas.microsoft.com/office/drawing/2014/chart" uri="{C3380CC4-5D6E-409C-BE32-E72D297353CC}">
                <c16:uniqueId val="{0000118F-61F5-407B-959D-D24239F5BB85}"/>
              </c:ext>
            </c:extLst>
          </c:dPt>
          <c:dPt>
            <c:idx val="2247"/>
            <c:invertIfNegative val="1"/>
            <c:bubble3D val="0"/>
            <c:spPr>
              <a:solidFill>
                <a:srgbClr val="AEABAB"/>
              </a:solidFill>
            </c:spPr>
            <c:extLst>
              <c:ext xmlns:c16="http://schemas.microsoft.com/office/drawing/2014/chart" uri="{C3380CC4-5D6E-409C-BE32-E72D297353CC}">
                <c16:uniqueId val="{00001191-61F5-407B-959D-D24239F5BB85}"/>
              </c:ext>
            </c:extLst>
          </c:dPt>
          <c:dPt>
            <c:idx val="2248"/>
            <c:invertIfNegative val="1"/>
            <c:bubble3D val="0"/>
            <c:spPr>
              <a:solidFill>
                <a:srgbClr val="AEABAB"/>
              </a:solidFill>
            </c:spPr>
            <c:extLst>
              <c:ext xmlns:c16="http://schemas.microsoft.com/office/drawing/2014/chart" uri="{C3380CC4-5D6E-409C-BE32-E72D297353CC}">
                <c16:uniqueId val="{00001193-61F5-407B-959D-D24239F5BB85}"/>
              </c:ext>
            </c:extLst>
          </c:dPt>
          <c:dPt>
            <c:idx val="2249"/>
            <c:invertIfNegative val="1"/>
            <c:bubble3D val="0"/>
            <c:spPr>
              <a:solidFill>
                <a:srgbClr val="AEABAB"/>
              </a:solidFill>
            </c:spPr>
            <c:extLst>
              <c:ext xmlns:c16="http://schemas.microsoft.com/office/drawing/2014/chart" uri="{C3380CC4-5D6E-409C-BE32-E72D297353CC}">
                <c16:uniqueId val="{00001195-61F5-407B-959D-D24239F5BB85}"/>
              </c:ext>
            </c:extLst>
          </c:dPt>
          <c:dPt>
            <c:idx val="2250"/>
            <c:invertIfNegative val="1"/>
            <c:bubble3D val="0"/>
            <c:spPr>
              <a:solidFill>
                <a:srgbClr val="AEABAB"/>
              </a:solidFill>
            </c:spPr>
            <c:extLst>
              <c:ext xmlns:c16="http://schemas.microsoft.com/office/drawing/2014/chart" uri="{C3380CC4-5D6E-409C-BE32-E72D297353CC}">
                <c16:uniqueId val="{00001197-61F5-407B-959D-D24239F5BB85}"/>
              </c:ext>
            </c:extLst>
          </c:dPt>
          <c:dPt>
            <c:idx val="2251"/>
            <c:invertIfNegative val="1"/>
            <c:bubble3D val="0"/>
            <c:spPr>
              <a:solidFill>
                <a:srgbClr val="AEABAB"/>
              </a:solidFill>
            </c:spPr>
            <c:extLst>
              <c:ext xmlns:c16="http://schemas.microsoft.com/office/drawing/2014/chart" uri="{C3380CC4-5D6E-409C-BE32-E72D297353CC}">
                <c16:uniqueId val="{00001199-61F5-407B-959D-D24239F5BB85}"/>
              </c:ext>
            </c:extLst>
          </c:dPt>
          <c:dPt>
            <c:idx val="2252"/>
            <c:invertIfNegative val="1"/>
            <c:bubble3D val="0"/>
            <c:spPr>
              <a:solidFill>
                <a:srgbClr val="AEABAB"/>
              </a:solidFill>
            </c:spPr>
            <c:extLst>
              <c:ext xmlns:c16="http://schemas.microsoft.com/office/drawing/2014/chart" uri="{C3380CC4-5D6E-409C-BE32-E72D297353CC}">
                <c16:uniqueId val="{0000119B-61F5-407B-959D-D24239F5BB85}"/>
              </c:ext>
            </c:extLst>
          </c:dPt>
          <c:dPt>
            <c:idx val="2253"/>
            <c:invertIfNegative val="1"/>
            <c:bubble3D val="0"/>
            <c:spPr>
              <a:solidFill>
                <a:srgbClr val="AEABAB"/>
              </a:solidFill>
            </c:spPr>
            <c:extLst>
              <c:ext xmlns:c16="http://schemas.microsoft.com/office/drawing/2014/chart" uri="{C3380CC4-5D6E-409C-BE32-E72D297353CC}">
                <c16:uniqueId val="{0000119D-61F5-407B-959D-D24239F5BB85}"/>
              </c:ext>
            </c:extLst>
          </c:dPt>
          <c:dPt>
            <c:idx val="2254"/>
            <c:invertIfNegative val="1"/>
            <c:bubble3D val="0"/>
            <c:spPr>
              <a:solidFill>
                <a:srgbClr val="AEABAB"/>
              </a:solidFill>
            </c:spPr>
            <c:extLst>
              <c:ext xmlns:c16="http://schemas.microsoft.com/office/drawing/2014/chart" uri="{C3380CC4-5D6E-409C-BE32-E72D297353CC}">
                <c16:uniqueId val="{0000119F-61F5-407B-959D-D24239F5BB85}"/>
              </c:ext>
            </c:extLst>
          </c:dPt>
          <c:dPt>
            <c:idx val="2255"/>
            <c:invertIfNegative val="1"/>
            <c:bubble3D val="0"/>
            <c:spPr>
              <a:solidFill>
                <a:srgbClr val="AEABAB"/>
              </a:solidFill>
            </c:spPr>
            <c:extLst>
              <c:ext xmlns:c16="http://schemas.microsoft.com/office/drawing/2014/chart" uri="{C3380CC4-5D6E-409C-BE32-E72D297353CC}">
                <c16:uniqueId val="{000011A1-61F5-407B-959D-D24239F5BB85}"/>
              </c:ext>
            </c:extLst>
          </c:dPt>
          <c:dPt>
            <c:idx val="2256"/>
            <c:invertIfNegative val="1"/>
            <c:bubble3D val="0"/>
            <c:spPr>
              <a:solidFill>
                <a:srgbClr val="AEABAB"/>
              </a:solidFill>
            </c:spPr>
            <c:extLst>
              <c:ext xmlns:c16="http://schemas.microsoft.com/office/drawing/2014/chart" uri="{C3380CC4-5D6E-409C-BE32-E72D297353CC}">
                <c16:uniqueId val="{000011A3-61F5-407B-959D-D24239F5BB85}"/>
              </c:ext>
            </c:extLst>
          </c:dPt>
          <c:dPt>
            <c:idx val="2257"/>
            <c:invertIfNegative val="1"/>
            <c:bubble3D val="0"/>
            <c:spPr>
              <a:solidFill>
                <a:srgbClr val="AEABAB"/>
              </a:solidFill>
            </c:spPr>
            <c:extLst>
              <c:ext xmlns:c16="http://schemas.microsoft.com/office/drawing/2014/chart" uri="{C3380CC4-5D6E-409C-BE32-E72D297353CC}">
                <c16:uniqueId val="{000011A5-61F5-407B-959D-D24239F5BB85}"/>
              </c:ext>
            </c:extLst>
          </c:dPt>
          <c:dPt>
            <c:idx val="2258"/>
            <c:invertIfNegative val="1"/>
            <c:bubble3D val="0"/>
            <c:spPr>
              <a:solidFill>
                <a:srgbClr val="AEABAB"/>
              </a:solidFill>
            </c:spPr>
            <c:extLst>
              <c:ext xmlns:c16="http://schemas.microsoft.com/office/drawing/2014/chart" uri="{C3380CC4-5D6E-409C-BE32-E72D297353CC}">
                <c16:uniqueId val="{000011A7-61F5-407B-959D-D24239F5BB85}"/>
              </c:ext>
            </c:extLst>
          </c:dPt>
          <c:dPt>
            <c:idx val="2259"/>
            <c:invertIfNegative val="1"/>
            <c:bubble3D val="0"/>
            <c:spPr>
              <a:solidFill>
                <a:srgbClr val="AEABAB"/>
              </a:solidFill>
            </c:spPr>
            <c:extLst>
              <c:ext xmlns:c16="http://schemas.microsoft.com/office/drawing/2014/chart" uri="{C3380CC4-5D6E-409C-BE32-E72D297353CC}">
                <c16:uniqueId val="{000011A9-61F5-407B-959D-D24239F5BB85}"/>
              </c:ext>
            </c:extLst>
          </c:dPt>
          <c:dPt>
            <c:idx val="2260"/>
            <c:invertIfNegative val="1"/>
            <c:bubble3D val="0"/>
            <c:spPr>
              <a:solidFill>
                <a:srgbClr val="AEABAB"/>
              </a:solidFill>
            </c:spPr>
            <c:extLst>
              <c:ext xmlns:c16="http://schemas.microsoft.com/office/drawing/2014/chart" uri="{C3380CC4-5D6E-409C-BE32-E72D297353CC}">
                <c16:uniqueId val="{000011AB-61F5-407B-959D-D24239F5BB85}"/>
              </c:ext>
            </c:extLst>
          </c:dPt>
          <c:dPt>
            <c:idx val="2261"/>
            <c:invertIfNegative val="1"/>
            <c:bubble3D val="0"/>
            <c:spPr>
              <a:solidFill>
                <a:srgbClr val="AEABAB"/>
              </a:solidFill>
            </c:spPr>
            <c:extLst>
              <c:ext xmlns:c16="http://schemas.microsoft.com/office/drawing/2014/chart" uri="{C3380CC4-5D6E-409C-BE32-E72D297353CC}">
                <c16:uniqueId val="{000011AD-61F5-407B-959D-D24239F5BB85}"/>
              </c:ext>
            </c:extLst>
          </c:dPt>
          <c:dPt>
            <c:idx val="2262"/>
            <c:invertIfNegative val="1"/>
            <c:bubble3D val="0"/>
            <c:spPr>
              <a:solidFill>
                <a:srgbClr val="AEABAB"/>
              </a:solidFill>
            </c:spPr>
            <c:extLst>
              <c:ext xmlns:c16="http://schemas.microsoft.com/office/drawing/2014/chart" uri="{C3380CC4-5D6E-409C-BE32-E72D297353CC}">
                <c16:uniqueId val="{000011AF-61F5-407B-959D-D24239F5BB85}"/>
              </c:ext>
            </c:extLst>
          </c:dPt>
          <c:dPt>
            <c:idx val="2263"/>
            <c:invertIfNegative val="1"/>
            <c:bubble3D val="0"/>
            <c:spPr>
              <a:solidFill>
                <a:srgbClr val="AEABAB"/>
              </a:solidFill>
            </c:spPr>
            <c:extLst>
              <c:ext xmlns:c16="http://schemas.microsoft.com/office/drawing/2014/chart" uri="{C3380CC4-5D6E-409C-BE32-E72D297353CC}">
                <c16:uniqueId val="{000011B1-61F5-407B-959D-D24239F5BB85}"/>
              </c:ext>
            </c:extLst>
          </c:dPt>
          <c:dPt>
            <c:idx val="2264"/>
            <c:invertIfNegative val="1"/>
            <c:bubble3D val="0"/>
            <c:spPr>
              <a:solidFill>
                <a:srgbClr val="AEABAB"/>
              </a:solidFill>
            </c:spPr>
            <c:extLst>
              <c:ext xmlns:c16="http://schemas.microsoft.com/office/drawing/2014/chart" uri="{C3380CC4-5D6E-409C-BE32-E72D297353CC}">
                <c16:uniqueId val="{000011B3-61F5-407B-959D-D24239F5BB85}"/>
              </c:ext>
            </c:extLst>
          </c:dPt>
          <c:dPt>
            <c:idx val="2265"/>
            <c:invertIfNegative val="1"/>
            <c:bubble3D val="0"/>
            <c:spPr>
              <a:solidFill>
                <a:srgbClr val="AEABAB"/>
              </a:solidFill>
            </c:spPr>
            <c:extLst>
              <c:ext xmlns:c16="http://schemas.microsoft.com/office/drawing/2014/chart" uri="{C3380CC4-5D6E-409C-BE32-E72D297353CC}">
                <c16:uniqueId val="{000011B5-61F5-407B-959D-D24239F5BB85}"/>
              </c:ext>
            </c:extLst>
          </c:dPt>
          <c:dPt>
            <c:idx val="2266"/>
            <c:invertIfNegative val="1"/>
            <c:bubble3D val="0"/>
            <c:spPr>
              <a:solidFill>
                <a:srgbClr val="AEABAB"/>
              </a:solidFill>
            </c:spPr>
            <c:extLst>
              <c:ext xmlns:c16="http://schemas.microsoft.com/office/drawing/2014/chart" uri="{C3380CC4-5D6E-409C-BE32-E72D297353CC}">
                <c16:uniqueId val="{000011B7-61F5-407B-959D-D24239F5BB85}"/>
              </c:ext>
            </c:extLst>
          </c:dPt>
          <c:dPt>
            <c:idx val="2267"/>
            <c:invertIfNegative val="1"/>
            <c:bubble3D val="0"/>
            <c:spPr>
              <a:solidFill>
                <a:srgbClr val="AEABAB"/>
              </a:solidFill>
            </c:spPr>
            <c:extLst>
              <c:ext xmlns:c16="http://schemas.microsoft.com/office/drawing/2014/chart" uri="{C3380CC4-5D6E-409C-BE32-E72D297353CC}">
                <c16:uniqueId val="{000011B9-61F5-407B-959D-D24239F5BB85}"/>
              </c:ext>
            </c:extLst>
          </c:dPt>
          <c:dPt>
            <c:idx val="2268"/>
            <c:invertIfNegative val="1"/>
            <c:bubble3D val="0"/>
            <c:spPr>
              <a:solidFill>
                <a:srgbClr val="AEABAB"/>
              </a:solidFill>
            </c:spPr>
            <c:extLst>
              <c:ext xmlns:c16="http://schemas.microsoft.com/office/drawing/2014/chart" uri="{C3380CC4-5D6E-409C-BE32-E72D297353CC}">
                <c16:uniqueId val="{000011BB-61F5-407B-959D-D24239F5BB85}"/>
              </c:ext>
            </c:extLst>
          </c:dPt>
          <c:dPt>
            <c:idx val="2269"/>
            <c:invertIfNegative val="1"/>
            <c:bubble3D val="0"/>
            <c:spPr>
              <a:solidFill>
                <a:srgbClr val="AEABAB"/>
              </a:solidFill>
            </c:spPr>
            <c:extLst>
              <c:ext xmlns:c16="http://schemas.microsoft.com/office/drawing/2014/chart" uri="{C3380CC4-5D6E-409C-BE32-E72D297353CC}">
                <c16:uniqueId val="{000011BD-61F5-407B-959D-D24239F5BB85}"/>
              </c:ext>
            </c:extLst>
          </c:dPt>
          <c:dPt>
            <c:idx val="2270"/>
            <c:invertIfNegative val="1"/>
            <c:bubble3D val="0"/>
            <c:spPr>
              <a:solidFill>
                <a:srgbClr val="AEABAB"/>
              </a:solidFill>
            </c:spPr>
            <c:extLst>
              <c:ext xmlns:c16="http://schemas.microsoft.com/office/drawing/2014/chart" uri="{C3380CC4-5D6E-409C-BE32-E72D297353CC}">
                <c16:uniqueId val="{000011BF-61F5-407B-959D-D24239F5BB85}"/>
              </c:ext>
            </c:extLst>
          </c:dPt>
          <c:dPt>
            <c:idx val="2271"/>
            <c:invertIfNegative val="1"/>
            <c:bubble3D val="0"/>
            <c:spPr>
              <a:solidFill>
                <a:srgbClr val="AEABAB"/>
              </a:solidFill>
            </c:spPr>
            <c:extLst>
              <c:ext xmlns:c16="http://schemas.microsoft.com/office/drawing/2014/chart" uri="{C3380CC4-5D6E-409C-BE32-E72D297353CC}">
                <c16:uniqueId val="{000011C1-61F5-407B-959D-D24239F5BB85}"/>
              </c:ext>
            </c:extLst>
          </c:dPt>
          <c:dPt>
            <c:idx val="2272"/>
            <c:invertIfNegative val="1"/>
            <c:bubble3D val="0"/>
            <c:spPr>
              <a:solidFill>
                <a:srgbClr val="AEABAB"/>
              </a:solidFill>
            </c:spPr>
            <c:extLst>
              <c:ext xmlns:c16="http://schemas.microsoft.com/office/drawing/2014/chart" uri="{C3380CC4-5D6E-409C-BE32-E72D297353CC}">
                <c16:uniqueId val="{000011C3-61F5-407B-959D-D24239F5BB85}"/>
              </c:ext>
            </c:extLst>
          </c:dPt>
          <c:dPt>
            <c:idx val="2273"/>
            <c:invertIfNegative val="1"/>
            <c:bubble3D val="0"/>
            <c:spPr>
              <a:solidFill>
                <a:srgbClr val="AEABAB"/>
              </a:solidFill>
            </c:spPr>
            <c:extLst>
              <c:ext xmlns:c16="http://schemas.microsoft.com/office/drawing/2014/chart" uri="{C3380CC4-5D6E-409C-BE32-E72D297353CC}">
                <c16:uniqueId val="{000011C5-61F5-407B-959D-D24239F5BB85}"/>
              </c:ext>
            </c:extLst>
          </c:dPt>
          <c:dPt>
            <c:idx val="2274"/>
            <c:invertIfNegative val="1"/>
            <c:bubble3D val="0"/>
            <c:spPr>
              <a:solidFill>
                <a:srgbClr val="AEABAB"/>
              </a:solidFill>
            </c:spPr>
            <c:extLst>
              <c:ext xmlns:c16="http://schemas.microsoft.com/office/drawing/2014/chart" uri="{C3380CC4-5D6E-409C-BE32-E72D297353CC}">
                <c16:uniqueId val="{000011C7-61F5-407B-959D-D24239F5BB85}"/>
              </c:ext>
            </c:extLst>
          </c:dPt>
          <c:dPt>
            <c:idx val="2275"/>
            <c:invertIfNegative val="1"/>
            <c:bubble3D val="0"/>
            <c:spPr>
              <a:solidFill>
                <a:srgbClr val="AEABAB"/>
              </a:solidFill>
            </c:spPr>
            <c:extLst>
              <c:ext xmlns:c16="http://schemas.microsoft.com/office/drawing/2014/chart" uri="{C3380CC4-5D6E-409C-BE32-E72D297353CC}">
                <c16:uniqueId val="{000011C9-61F5-407B-959D-D24239F5BB85}"/>
              </c:ext>
            </c:extLst>
          </c:dPt>
          <c:dPt>
            <c:idx val="2276"/>
            <c:invertIfNegative val="1"/>
            <c:bubble3D val="0"/>
            <c:spPr>
              <a:solidFill>
                <a:srgbClr val="AEABAB"/>
              </a:solidFill>
            </c:spPr>
            <c:extLst>
              <c:ext xmlns:c16="http://schemas.microsoft.com/office/drawing/2014/chart" uri="{C3380CC4-5D6E-409C-BE32-E72D297353CC}">
                <c16:uniqueId val="{000011CB-61F5-407B-959D-D24239F5BB85}"/>
              </c:ext>
            </c:extLst>
          </c:dPt>
          <c:dPt>
            <c:idx val="2277"/>
            <c:invertIfNegative val="1"/>
            <c:bubble3D val="0"/>
            <c:spPr>
              <a:solidFill>
                <a:srgbClr val="AEABAB"/>
              </a:solidFill>
            </c:spPr>
            <c:extLst>
              <c:ext xmlns:c16="http://schemas.microsoft.com/office/drawing/2014/chart" uri="{C3380CC4-5D6E-409C-BE32-E72D297353CC}">
                <c16:uniqueId val="{000011CD-61F5-407B-959D-D24239F5BB85}"/>
              </c:ext>
            </c:extLst>
          </c:dPt>
          <c:dPt>
            <c:idx val="2278"/>
            <c:invertIfNegative val="1"/>
            <c:bubble3D val="0"/>
            <c:spPr>
              <a:solidFill>
                <a:srgbClr val="AEABAB"/>
              </a:solidFill>
            </c:spPr>
            <c:extLst>
              <c:ext xmlns:c16="http://schemas.microsoft.com/office/drawing/2014/chart" uri="{C3380CC4-5D6E-409C-BE32-E72D297353CC}">
                <c16:uniqueId val="{000011CF-61F5-407B-959D-D24239F5BB85}"/>
              </c:ext>
            </c:extLst>
          </c:dPt>
          <c:dPt>
            <c:idx val="2279"/>
            <c:invertIfNegative val="1"/>
            <c:bubble3D val="0"/>
            <c:spPr>
              <a:solidFill>
                <a:srgbClr val="AEABAB"/>
              </a:solidFill>
            </c:spPr>
            <c:extLst>
              <c:ext xmlns:c16="http://schemas.microsoft.com/office/drawing/2014/chart" uri="{C3380CC4-5D6E-409C-BE32-E72D297353CC}">
                <c16:uniqueId val="{000011D1-61F5-407B-959D-D24239F5BB85}"/>
              </c:ext>
            </c:extLst>
          </c:dPt>
          <c:dPt>
            <c:idx val="2280"/>
            <c:invertIfNegative val="1"/>
            <c:bubble3D val="0"/>
            <c:spPr>
              <a:solidFill>
                <a:srgbClr val="AEABAB"/>
              </a:solidFill>
            </c:spPr>
            <c:extLst>
              <c:ext xmlns:c16="http://schemas.microsoft.com/office/drawing/2014/chart" uri="{C3380CC4-5D6E-409C-BE32-E72D297353CC}">
                <c16:uniqueId val="{000011D3-61F5-407B-959D-D24239F5BB85}"/>
              </c:ext>
            </c:extLst>
          </c:dPt>
          <c:dPt>
            <c:idx val="2281"/>
            <c:invertIfNegative val="1"/>
            <c:bubble3D val="0"/>
            <c:spPr>
              <a:solidFill>
                <a:srgbClr val="AEABAB"/>
              </a:solidFill>
            </c:spPr>
            <c:extLst>
              <c:ext xmlns:c16="http://schemas.microsoft.com/office/drawing/2014/chart" uri="{C3380CC4-5D6E-409C-BE32-E72D297353CC}">
                <c16:uniqueId val="{000011D5-61F5-407B-959D-D24239F5BB85}"/>
              </c:ext>
            </c:extLst>
          </c:dPt>
          <c:dPt>
            <c:idx val="2282"/>
            <c:invertIfNegative val="1"/>
            <c:bubble3D val="0"/>
            <c:spPr>
              <a:solidFill>
                <a:srgbClr val="AEABAB"/>
              </a:solidFill>
            </c:spPr>
            <c:extLst>
              <c:ext xmlns:c16="http://schemas.microsoft.com/office/drawing/2014/chart" uri="{C3380CC4-5D6E-409C-BE32-E72D297353CC}">
                <c16:uniqueId val="{000011D7-61F5-407B-959D-D24239F5BB85}"/>
              </c:ext>
            </c:extLst>
          </c:dPt>
          <c:dPt>
            <c:idx val="2283"/>
            <c:invertIfNegative val="1"/>
            <c:bubble3D val="0"/>
            <c:spPr>
              <a:solidFill>
                <a:srgbClr val="AEABAB"/>
              </a:solidFill>
            </c:spPr>
            <c:extLst>
              <c:ext xmlns:c16="http://schemas.microsoft.com/office/drawing/2014/chart" uri="{C3380CC4-5D6E-409C-BE32-E72D297353CC}">
                <c16:uniqueId val="{000011D9-61F5-407B-959D-D24239F5BB85}"/>
              </c:ext>
            </c:extLst>
          </c:dPt>
          <c:dPt>
            <c:idx val="2284"/>
            <c:invertIfNegative val="1"/>
            <c:bubble3D val="0"/>
            <c:spPr>
              <a:solidFill>
                <a:srgbClr val="AEABAB"/>
              </a:solidFill>
            </c:spPr>
            <c:extLst>
              <c:ext xmlns:c16="http://schemas.microsoft.com/office/drawing/2014/chart" uri="{C3380CC4-5D6E-409C-BE32-E72D297353CC}">
                <c16:uniqueId val="{000011DB-61F5-407B-959D-D24239F5BB85}"/>
              </c:ext>
            </c:extLst>
          </c:dPt>
          <c:dPt>
            <c:idx val="2285"/>
            <c:invertIfNegative val="1"/>
            <c:bubble3D val="0"/>
            <c:spPr>
              <a:solidFill>
                <a:srgbClr val="AEABAB"/>
              </a:solidFill>
            </c:spPr>
            <c:extLst>
              <c:ext xmlns:c16="http://schemas.microsoft.com/office/drawing/2014/chart" uri="{C3380CC4-5D6E-409C-BE32-E72D297353CC}">
                <c16:uniqueId val="{000011DD-61F5-407B-959D-D24239F5BB85}"/>
              </c:ext>
            </c:extLst>
          </c:dPt>
          <c:dPt>
            <c:idx val="2286"/>
            <c:invertIfNegative val="1"/>
            <c:bubble3D val="0"/>
            <c:spPr>
              <a:solidFill>
                <a:srgbClr val="AEABAB"/>
              </a:solidFill>
            </c:spPr>
            <c:extLst>
              <c:ext xmlns:c16="http://schemas.microsoft.com/office/drawing/2014/chart" uri="{C3380CC4-5D6E-409C-BE32-E72D297353CC}">
                <c16:uniqueId val="{000011DF-61F5-407B-959D-D24239F5BB85}"/>
              </c:ext>
            </c:extLst>
          </c:dPt>
          <c:dPt>
            <c:idx val="2287"/>
            <c:invertIfNegative val="1"/>
            <c:bubble3D val="0"/>
            <c:spPr>
              <a:solidFill>
                <a:srgbClr val="AEABAB"/>
              </a:solidFill>
            </c:spPr>
            <c:extLst>
              <c:ext xmlns:c16="http://schemas.microsoft.com/office/drawing/2014/chart" uri="{C3380CC4-5D6E-409C-BE32-E72D297353CC}">
                <c16:uniqueId val="{000011E1-61F5-407B-959D-D24239F5BB85}"/>
              </c:ext>
            </c:extLst>
          </c:dPt>
          <c:dPt>
            <c:idx val="2288"/>
            <c:invertIfNegative val="1"/>
            <c:bubble3D val="0"/>
            <c:spPr>
              <a:solidFill>
                <a:srgbClr val="AEABAB"/>
              </a:solidFill>
            </c:spPr>
            <c:extLst>
              <c:ext xmlns:c16="http://schemas.microsoft.com/office/drawing/2014/chart" uri="{C3380CC4-5D6E-409C-BE32-E72D297353CC}">
                <c16:uniqueId val="{000011E3-61F5-407B-959D-D24239F5BB85}"/>
              </c:ext>
            </c:extLst>
          </c:dPt>
          <c:dPt>
            <c:idx val="2289"/>
            <c:invertIfNegative val="1"/>
            <c:bubble3D val="0"/>
            <c:spPr>
              <a:solidFill>
                <a:srgbClr val="AEABAB"/>
              </a:solidFill>
            </c:spPr>
            <c:extLst>
              <c:ext xmlns:c16="http://schemas.microsoft.com/office/drawing/2014/chart" uri="{C3380CC4-5D6E-409C-BE32-E72D297353CC}">
                <c16:uniqueId val="{000011E5-61F5-407B-959D-D24239F5BB85}"/>
              </c:ext>
            </c:extLst>
          </c:dPt>
          <c:dPt>
            <c:idx val="2290"/>
            <c:invertIfNegative val="1"/>
            <c:bubble3D val="0"/>
            <c:spPr>
              <a:solidFill>
                <a:srgbClr val="AEABAB"/>
              </a:solidFill>
            </c:spPr>
            <c:extLst>
              <c:ext xmlns:c16="http://schemas.microsoft.com/office/drawing/2014/chart" uri="{C3380CC4-5D6E-409C-BE32-E72D297353CC}">
                <c16:uniqueId val="{000011E7-61F5-407B-959D-D24239F5BB85}"/>
              </c:ext>
            </c:extLst>
          </c:dPt>
          <c:dPt>
            <c:idx val="2291"/>
            <c:invertIfNegative val="1"/>
            <c:bubble3D val="0"/>
            <c:spPr>
              <a:solidFill>
                <a:srgbClr val="AEABAB"/>
              </a:solidFill>
            </c:spPr>
            <c:extLst>
              <c:ext xmlns:c16="http://schemas.microsoft.com/office/drawing/2014/chart" uri="{C3380CC4-5D6E-409C-BE32-E72D297353CC}">
                <c16:uniqueId val="{000011E9-61F5-407B-959D-D24239F5BB85}"/>
              </c:ext>
            </c:extLst>
          </c:dPt>
          <c:dPt>
            <c:idx val="2292"/>
            <c:invertIfNegative val="1"/>
            <c:bubble3D val="0"/>
            <c:spPr>
              <a:solidFill>
                <a:srgbClr val="AEABAB"/>
              </a:solidFill>
            </c:spPr>
            <c:extLst>
              <c:ext xmlns:c16="http://schemas.microsoft.com/office/drawing/2014/chart" uri="{C3380CC4-5D6E-409C-BE32-E72D297353CC}">
                <c16:uniqueId val="{000011EB-61F5-407B-959D-D24239F5BB85}"/>
              </c:ext>
            </c:extLst>
          </c:dPt>
          <c:dPt>
            <c:idx val="2293"/>
            <c:invertIfNegative val="1"/>
            <c:bubble3D val="0"/>
            <c:spPr>
              <a:solidFill>
                <a:srgbClr val="AEABAB"/>
              </a:solidFill>
            </c:spPr>
            <c:extLst>
              <c:ext xmlns:c16="http://schemas.microsoft.com/office/drawing/2014/chart" uri="{C3380CC4-5D6E-409C-BE32-E72D297353CC}">
                <c16:uniqueId val="{000011ED-61F5-407B-959D-D24239F5BB85}"/>
              </c:ext>
            </c:extLst>
          </c:dPt>
          <c:dPt>
            <c:idx val="2294"/>
            <c:invertIfNegative val="1"/>
            <c:bubble3D val="0"/>
            <c:spPr>
              <a:solidFill>
                <a:srgbClr val="AEABAB"/>
              </a:solidFill>
            </c:spPr>
            <c:extLst>
              <c:ext xmlns:c16="http://schemas.microsoft.com/office/drawing/2014/chart" uri="{C3380CC4-5D6E-409C-BE32-E72D297353CC}">
                <c16:uniqueId val="{000011EF-61F5-407B-959D-D24239F5BB85}"/>
              </c:ext>
            </c:extLst>
          </c:dPt>
          <c:dPt>
            <c:idx val="2295"/>
            <c:invertIfNegative val="1"/>
            <c:bubble3D val="0"/>
            <c:spPr>
              <a:solidFill>
                <a:srgbClr val="AEABAB"/>
              </a:solidFill>
            </c:spPr>
            <c:extLst>
              <c:ext xmlns:c16="http://schemas.microsoft.com/office/drawing/2014/chart" uri="{C3380CC4-5D6E-409C-BE32-E72D297353CC}">
                <c16:uniqueId val="{000011F1-61F5-407B-959D-D24239F5BB85}"/>
              </c:ext>
            </c:extLst>
          </c:dPt>
          <c:dPt>
            <c:idx val="2296"/>
            <c:invertIfNegative val="1"/>
            <c:bubble3D val="0"/>
            <c:spPr>
              <a:solidFill>
                <a:srgbClr val="AEABAB"/>
              </a:solidFill>
            </c:spPr>
            <c:extLst>
              <c:ext xmlns:c16="http://schemas.microsoft.com/office/drawing/2014/chart" uri="{C3380CC4-5D6E-409C-BE32-E72D297353CC}">
                <c16:uniqueId val="{000011F3-61F5-407B-959D-D24239F5BB85}"/>
              </c:ext>
            </c:extLst>
          </c:dPt>
          <c:dPt>
            <c:idx val="2297"/>
            <c:invertIfNegative val="1"/>
            <c:bubble3D val="0"/>
            <c:spPr>
              <a:solidFill>
                <a:srgbClr val="AEABAB"/>
              </a:solidFill>
            </c:spPr>
            <c:extLst>
              <c:ext xmlns:c16="http://schemas.microsoft.com/office/drawing/2014/chart" uri="{C3380CC4-5D6E-409C-BE32-E72D297353CC}">
                <c16:uniqueId val="{000011F5-61F5-407B-959D-D24239F5BB85}"/>
              </c:ext>
            </c:extLst>
          </c:dPt>
          <c:dPt>
            <c:idx val="2298"/>
            <c:invertIfNegative val="1"/>
            <c:bubble3D val="0"/>
            <c:spPr>
              <a:solidFill>
                <a:srgbClr val="AEABAB"/>
              </a:solidFill>
            </c:spPr>
            <c:extLst>
              <c:ext xmlns:c16="http://schemas.microsoft.com/office/drawing/2014/chart" uri="{C3380CC4-5D6E-409C-BE32-E72D297353CC}">
                <c16:uniqueId val="{000011F7-61F5-407B-959D-D24239F5BB85}"/>
              </c:ext>
            </c:extLst>
          </c:dPt>
          <c:dPt>
            <c:idx val="2299"/>
            <c:invertIfNegative val="1"/>
            <c:bubble3D val="0"/>
            <c:spPr>
              <a:solidFill>
                <a:srgbClr val="AEABAB"/>
              </a:solidFill>
            </c:spPr>
            <c:extLst>
              <c:ext xmlns:c16="http://schemas.microsoft.com/office/drawing/2014/chart" uri="{C3380CC4-5D6E-409C-BE32-E72D297353CC}">
                <c16:uniqueId val="{000011F9-61F5-407B-959D-D24239F5BB85}"/>
              </c:ext>
            </c:extLst>
          </c:dPt>
          <c:dPt>
            <c:idx val="2300"/>
            <c:invertIfNegative val="1"/>
            <c:bubble3D val="0"/>
            <c:spPr>
              <a:solidFill>
                <a:srgbClr val="AEABAB"/>
              </a:solidFill>
            </c:spPr>
            <c:extLst>
              <c:ext xmlns:c16="http://schemas.microsoft.com/office/drawing/2014/chart" uri="{C3380CC4-5D6E-409C-BE32-E72D297353CC}">
                <c16:uniqueId val="{000011FB-61F5-407B-959D-D24239F5BB85}"/>
              </c:ext>
            </c:extLst>
          </c:dPt>
          <c:dPt>
            <c:idx val="2301"/>
            <c:invertIfNegative val="1"/>
            <c:bubble3D val="0"/>
            <c:spPr>
              <a:solidFill>
                <a:srgbClr val="AEABAB"/>
              </a:solidFill>
            </c:spPr>
            <c:extLst>
              <c:ext xmlns:c16="http://schemas.microsoft.com/office/drawing/2014/chart" uri="{C3380CC4-5D6E-409C-BE32-E72D297353CC}">
                <c16:uniqueId val="{000011FD-61F5-407B-959D-D24239F5BB85}"/>
              </c:ext>
            </c:extLst>
          </c:dPt>
          <c:dPt>
            <c:idx val="2302"/>
            <c:invertIfNegative val="1"/>
            <c:bubble3D val="0"/>
            <c:spPr>
              <a:solidFill>
                <a:srgbClr val="AEABAB"/>
              </a:solidFill>
            </c:spPr>
            <c:extLst>
              <c:ext xmlns:c16="http://schemas.microsoft.com/office/drawing/2014/chart" uri="{C3380CC4-5D6E-409C-BE32-E72D297353CC}">
                <c16:uniqueId val="{000011FF-61F5-407B-959D-D24239F5BB85}"/>
              </c:ext>
            </c:extLst>
          </c:dPt>
          <c:dPt>
            <c:idx val="2303"/>
            <c:invertIfNegative val="1"/>
            <c:bubble3D val="0"/>
            <c:spPr>
              <a:solidFill>
                <a:srgbClr val="AEABAB"/>
              </a:solidFill>
            </c:spPr>
            <c:extLst>
              <c:ext xmlns:c16="http://schemas.microsoft.com/office/drawing/2014/chart" uri="{C3380CC4-5D6E-409C-BE32-E72D297353CC}">
                <c16:uniqueId val="{00001201-61F5-407B-959D-D24239F5BB85}"/>
              </c:ext>
            </c:extLst>
          </c:dPt>
          <c:dPt>
            <c:idx val="2304"/>
            <c:invertIfNegative val="1"/>
            <c:bubble3D val="0"/>
            <c:spPr>
              <a:solidFill>
                <a:srgbClr val="AEABAB"/>
              </a:solidFill>
            </c:spPr>
            <c:extLst>
              <c:ext xmlns:c16="http://schemas.microsoft.com/office/drawing/2014/chart" uri="{C3380CC4-5D6E-409C-BE32-E72D297353CC}">
                <c16:uniqueId val="{00001203-61F5-407B-959D-D24239F5BB85}"/>
              </c:ext>
            </c:extLst>
          </c:dPt>
          <c:dPt>
            <c:idx val="2305"/>
            <c:invertIfNegative val="1"/>
            <c:bubble3D val="0"/>
            <c:spPr>
              <a:solidFill>
                <a:srgbClr val="AEABAB"/>
              </a:solidFill>
            </c:spPr>
            <c:extLst>
              <c:ext xmlns:c16="http://schemas.microsoft.com/office/drawing/2014/chart" uri="{C3380CC4-5D6E-409C-BE32-E72D297353CC}">
                <c16:uniqueId val="{00001205-61F5-407B-959D-D24239F5BB85}"/>
              </c:ext>
            </c:extLst>
          </c:dPt>
          <c:dPt>
            <c:idx val="2306"/>
            <c:invertIfNegative val="1"/>
            <c:bubble3D val="0"/>
            <c:spPr>
              <a:solidFill>
                <a:srgbClr val="AEABAB"/>
              </a:solidFill>
            </c:spPr>
            <c:extLst>
              <c:ext xmlns:c16="http://schemas.microsoft.com/office/drawing/2014/chart" uri="{C3380CC4-5D6E-409C-BE32-E72D297353CC}">
                <c16:uniqueId val="{00001207-61F5-407B-959D-D24239F5BB85}"/>
              </c:ext>
            </c:extLst>
          </c:dPt>
          <c:dPt>
            <c:idx val="2307"/>
            <c:invertIfNegative val="1"/>
            <c:bubble3D val="0"/>
            <c:spPr>
              <a:solidFill>
                <a:srgbClr val="AEABAB"/>
              </a:solidFill>
            </c:spPr>
            <c:extLst>
              <c:ext xmlns:c16="http://schemas.microsoft.com/office/drawing/2014/chart" uri="{C3380CC4-5D6E-409C-BE32-E72D297353CC}">
                <c16:uniqueId val="{00001209-61F5-407B-959D-D24239F5BB85}"/>
              </c:ext>
            </c:extLst>
          </c:dPt>
          <c:dPt>
            <c:idx val="2308"/>
            <c:invertIfNegative val="1"/>
            <c:bubble3D val="0"/>
            <c:spPr>
              <a:solidFill>
                <a:srgbClr val="AEABAB"/>
              </a:solidFill>
            </c:spPr>
            <c:extLst>
              <c:ext xmlns:c16="http://schemas.microsoft.com/office/drawing/2014/chart" uri="{C3380CC4-5D6E-409C-BE32-E72D297353CC}">
                <c16:uniqueId val="{0000120B-61F5-407B-959D-D24239F5BB85}"/>
              </c:ext>
            </c:extLst>
          </c:dPt>
          <c:dPt>
            <c:idx val="2309"/>
            <c:invertIfNegative val="1"/>
            <c:bubble3D val="0"/>
            <c:spPr>
              <a:solidFill>
                <a:srgbClr val="AEABAB"/>
              </a:solidFill>
            </c:spPr>
            <c:extLst>
              <c:ext xmlns:c16="http://schemas.microsoft.com/office/drawing/2014/chart" uri="{C3380CC4-5D6E-409C-BE32-E72D297353CC}">
                <c16:uniqueId val="{0000120D-61F5-407B-959D-D24239F5BB85}"/>
              </c:ext>
            </c:extLst>
          </c:dPt>
          <c:dPt>
            <c:idx val="2310"/>
            <c:invertIfNegative val="1"/>
            <c:bubble3D val="0"/>
            <c:spPr>
              <a:solidFill>
                <a:srgbClr val="AEABAB"/>
              </a:solidFill>
            </c:spPr>
            <c:extLst>
              <c:ext xmlns:c16="http://schemas.microsoft.com/office/drawing/2014/chart" uri="{C3380CC4-5D6E-409C-BE32-E72D297353CC}">
                <c16:uniqueId val="{0000120F-61F5-407B-959D-D24239F5BB85}"/>
              </c:ext>
            </c:extLst>
          </c:dPt>
          <c:dPt>
            <c:idx val="2311"/>
            <c:invertIfNegative val="1"/>
            <c:bubble3D val="0"/>
            <c:spPr>
              <a:solidFill>
                <a:srgbClr val="AEABAB"/>
              </a:solidFill>
            </c:spPr>
            <c:extLst>
              <c:ext xmlns:c16="http://schemas.microsoft.com/office/drawing/2014/chart" uri="{C3380CC4-5D6E-409C-BE32-E72D297353CC}">
                <c16:uniqueId val="{00001211-61F5-407B-959D-D24239F5BB85}"/>
              </c:ext>
            </c:extLst>
          </c:dPt>
          <c:dPt>
            <c:idx val="2312"/>
            <c:invertIfNegative val="1"/>
            <c:bubble3D val="0"/>
            <c:spPr>
              <a:solidFill>
                <a:srgbClr val="AEABAB"/>
              </a:solidFill>
            </c:spPr>
            <c:extLst>
              <c:ext xmlns:c16="http://schemas.microsoft.com/office/drawing/2014/chart" uri="{C3380CC4-5D6E-409C-BE32-E72D297353CC}">
                <c16:uniqueId val="{00001213-61F5-407B-959D-D24239F5BB85}"/>
              </c:ext>
            </c:extLst>
          </c:dPt>
          <c:dPt>
            <c:idx val="2313"/>
            <c:invertIfNegative val="1"/>
            <c:bubble3D val="0"/>
            <c:spPr>
              <a:solidFill>
                <a:srgbClr val="AEABAB"/>
              </a:solidFill>
            </c:spPr>
            <c:extLst>
              <c:ext xmlns:c16="http://schemas.microsoft.com/office/drawing/2014/chart" uri="{C3380CC4-5D6E-409C-BE32-E72D297353CC}">
                <c16:uniqueId val="{00001215-61F5-407B-959D-D24239F5BB85}"/>
              </c:ext>
            </c:extLst>
          </c:dPt>
          <c:dPt>
            <c:idx val="2314"/>
            <c:invertIfNegative val="1"/>
            <c:bubble3D val="0"/>
            <c:spPr>
              <a:solidFill>
                <a:srgbClr val="AEABAB"/>
              </a:solidFill>
            </c:spPr>
            <c:extLst>
              <c:ext xmlns:c16="http://schemas.microsoft.com/office/drawing/2014/chart" uri="{C3380CC4-5D6E-409C-BE32-E72D297353CC}">
                <c16:uniqueId val="{00001217-61F5-407B-959D-D24239F5BB85}"/>
              </c:ext>
            </c:extLst>
          </c:dPt>
          <c:dPt>
            <c:idx val="2315"/>
            <c:invertIfNegative val="1"/>
            <c:bubble3D val="0"/>
            <c:spPr>
              <a:solidFill>
                <a:srgbClr val="AEABAB"/>
              </a:solidFill>
            </c:spPr>
            <c:extLst>
              <c:ext xmlns:c16="http://schemas.microsoft.com/office/drawing/2014/chart" uri="{C3380CC4-5D6E-409C-BE32-E72D297353CC}">
                <c16:uniqueId val="{00001219-61F5-407B-959D-D24239F5BB85}"/>
              </c:ext>
            </c:extLst>
          </c:dPt>
          <c:dPt>
            <c:idx val="2316"/>
            <c:invertIfNegative val="1"/>
            <c:bubble3D val="0"/>
            <c:spPr>
              <a:solidFill>
                <a:srgbClr val="AEABAB"/>
              </a:solidFill>
            </c:spPr>
            <c:extLst>
              <c:ext xmlns:c16="http://schemas.microsoft.com/office/drawing/2014/chart" uri="{C3380CC4-5D6E-409C-BE32-E72D297353CC}">
                <c16:uniqueId val="{0000121B-61F5-407B-959D-D24239F5BB85}"/>
              </c:ext>
            </c:extLst>
          </c:dPt>
          <c:dPt>
            <c:idx val="2317"/>
            <c:invertIfNegative val="1"/>
            <c:bubble3D val="0"/>
            <c:spPr>
              <a:solidFill>
                <a:srgbClr val="AEABAB"/>
              </a:solidFill>
            </c:spPr>
            <c:extLst>
              <c:ext xmlns:c16="http://schemas.microsoft.com/office/drawing/2014/chart" uri="{C3380CC4-5D6E-409C-BE32-E72D297353CC}">
                <c16:uniqueId val="{0000121D-61F5-407B-959D-D24239F5BB85}"/>
              </c:ext>
            </c:extLst>
          </c:dPt>
          <c:dPt>
            <c:idx val="2318"/>
            <c:invertIfNegative val="1"/>
            <c:bubble3D val="0"/>
            <c:spPr>
              <a:solidFill>
                <a:srgbClr val="AEABAB"/>
              </a:solidFill>
            </c:spPr>
            <c:extLst>
              <c:ext xmlns:c16="http://schemas.microsoft.com/office/drawing/2014/chart" uri="{C3380CC4-5D6E-409C-BE32-E72D297353CC}">
                <c16:uniqueId val="{0000121F-61F5-407B-959D-D24239F5BB85}"/>
              </c:ext>
            </c:extLst>
          </c:dPt>
          <c:dPt>
            <c:idx val="2319"/>
            <c:invertIfNegative val="1"/>
            <c:bubble3D val="0"/>
            <c:spPr>
              <a:solidFill>
                <a:srgbClr val="AEABAB"/>
              </a:solidFill>
            </c:spPr>
            <c:extLst>
              <c:ext xmlns:c16="http://schemas.microsoft.com/office/drawing/2014/chart" uri="{C3380CC4-5D6E-409C-BE32-E72D297353CC}">
                <c16:uniqueId val="{00001221-61F5-407B-959D-D24239F5BB85}"/>
              </c:ext>
            </c:extLst>
          </c:dPt>
          <c:dPt>
            <c:idx val="2320"/>
            <c:invertIfNegative val="1"/>
            <c:bubble3D val="0"/>
            <c:spPr>
              <a:solidFill>
                <a:srgbClr val="AEABAB"/>
              </a:solidFill>
            </c:spPr>
            <c:extLst>
              <c:ext xmlns:c16="http://schemas.microsoft.com/office/drawing/2014/chart" uri="{C3380CC4-5D6E-409C-BE32-E72D297353CC}">
                <c16:uniqueId val="{00001223-61F5-407B-959D-D24239F5BB85}"/>
              </c:ext>
            </c:extLst>
          </c:dPt>
          <c:dPt>
            <c:idx val="2321"/>
            <c:invertIfNegative val="1"/>
            <c:bubble3D val="0"/>
            <c:spPr>
              <a:solidFill>
                <a:srgbClr val="AEABAB"/>
              </a:solidFill>
            </c:spPr>
            <c:extLst>
              <c:ext xmlns:c16="http://schemas.microsoft.com/office/drawing/2014/chart" uri="{C3380CC4-5D6E-409C-BE32-E72D297353CC}">
                <c16:uniqueId val="{00001225-61F5-407B-959D-D24239F5BB85}"/>
              </c:ext>
            </c:extLst>
          </c:dPt>
          <c:dPt>
            <c:idx val="2322"/>
            <c:invertIfNegative val="1"/>
            <c:bubble3D val="0"/>
            <c:spPr>
              <a:solidFill>
                <a:srgbClr val="AEABAB"/>
              </a:solidFill>
            </c:spPr>
            <c:extLst>
              <c:ext xmlns:c16="http://schemas.microsoft.com/office/drawing/2014/chart" uri="{C3380CC4-5D6E-409C-BE32-E72D297353CC}">
                <c16:uniqueId val="{00001227-61F5-407B-959D-D24239F5BB85}"/>
              </c:ext>
            </c:extLst>
          </c:dPt>
          <c:dPt>
            <c:idx val="2323"/>
            <c:invertIfNegative val="1"/>
            <c:bubble3D val="0"/>
            <c:spPr>
              <a:solidFill>
                <a:srgbClr val="AEABAB"/>
              </a:solidFill>
            </c:spPr>
            <c:extLst>
              <c:ext xmlns:c16="http://schemas.microsoft.com/office/drawing/2014/chart" uri="{C3380CC4-5D6E-409C-BE32-E72D297353CC}">
                <c16:uniqueId val="{00001229-61F5-407B-959D-D24239F5BB85}"/>
              </c:ext>
            </c:extLst>
          </c:dPt>
          <c:dPt>
            <c:idx val="2324"/>
            <c:invertIfNegative val="1"/>
            <c:bubble3D val="0"/>
            <c:spPr>
              <a:solidFill>
                <a:srgbClr val="AEABAB"/>
              </a:solidFill>
            </c:spPr>
            <c:extLst>
              <c:ext xmlns:c16="http://schemas.microsoft.com/office/drawing/2014/chart" uri="{C3380CC4-5D6E-409C-BE32-E72D297353CC}">
                <c16:uniqueId val="{0000122B-61F5-407B-959D-D24239F5BB85}"/>
              </c:ext>
            </c:extLst>
          </c:dPt>
          <c:dPt>
            <c:idx val="2325"/>
            <c:invertIfNegative val="1"/>
            <c:bubble3D val="0"/>
            <c:spPr>
              <a:solidFill>
                <a:srgbClr val="AEABAB"/>
              </a:solidFill>
            </c:spPr>
            <c:extLst>
              <c:ext xmlns:c16="http://schemas.microsoft.com/office/drawing/2014/chart" uri="{C3380CC4-5D6E-409C-BE32-E72D297353CC}">
                <c16:uniqueId val="{0000122D-61F5-407B-959D-D24239F5BB85}"/>
              </c:ext>
            </c:extLst>
          </c:dPt>
          <c:dPt>
            <c:idx val="2326"/>
            <c:invertIfNegative val="1"/>
            <c:bubble3D val="0"/>
            <c:spPr>
              <a:solidFill>
                <a:srgbClr val="AEABAB"/>
              </a:solidFill>
            </c:spPr>
            <c:extLst>
              <c:ext xmlns:c16="http://schemas.microsoft.com/office/drawing/2014/chart" uri="{C3380CC4-5D6E-409C-BE32-E72D297353CC}">
                <c16:uniqueId val="{0000122F-61F5-407B-959D-D24239F5BB85}"/>
              </c:ext>
            </c:extLst>
          </c:dPt>
          <c:dPt>
            <c:idx val="2327"/>
            <c:invertIfNegative val="1"/>
            <c:bubble3D val="0"/>
            <c:spPr>
              <a:solidFill>
                <a:srgbClr val="AEABAB"/>
              </a:solidFill>
            </c:spPr>
            <c:extLst>
              <c:ext xmlns:c16="http://schemas.microsoft.com/office/drawing/2014/chart" uri="{C3380CC4-5D6E-409C-BE32-E72D297353CC}">
                <c16:uniqueId val="{00001231-61F5-407B-959D-D24239F5BB85}"/>
              </c:ext>
            </c:extLst>
          </c:dPt>
          <c:dPt>
            <c:idx val="2328"/>
            <c:invertIfNegative val="1"/>
            <c:bubble3D val="0"/>
            <c:spPr>
              <a:solidFill>
                <a:srgbClr val="AEABAB"/>
              </a:solidFill>
            </c:spPr>
            <c:extLst>
              <c:ext xmlns:c16="http://schemas.microsoft.com/office/drawing/2014/chart" uri="{C3380CC4-5D6E-409C-BE32-E72D297353CC}">
                <c16:uniqueId val="{00001233-61F5-407B-959D-D24239F5BB85}"/>
              </c:ext>
            </c:extLst>
          </c:dPt>
          <c:dPt>
            <c:idx val="2329"/>
            <c:invertIfNegative val="1"/>
            <c:bubble3D val="0"/>
            <c:spPr>
              <a:solidFill>
                <a:srgbClr val="AEABAB"/>
              </a:solidFill>
            </c:spPr>
            <c:extLst>
              <c:ext xmlns:c16="http://schemas.microsoft.com/office/drawing/2014/chart" uri="{C3380CC4-5D6E-409C-BE32-E72D297353CC}">
                <c16:uniqueId val="{00001235-61F5-407B-959D-D24239F5BB85}"/>
              </c:ext>
            </c:extLst>
          </c:dPt>
          <c:dPt>
            <c:idx val="2330"/>
            <c:invertIfNegative val="1"/>
            <c:bubble3D val="0"/>
            <c:spPr>
              <a:solidFill>
                <a:srgbClr val="AEABAB"/>
              </a:solidFill>
            </c:spPr>
            <c:extLst>
              <c:ext xmlns:c16="http://schemas.microsoft.com/office/drawing/2014/chart" uri="{C3380CC4-5D6E-409C-BE32-E72D297353CC}">
                <c16:uniqueId val="{00001237-61F5-407B-959D-D24239F5BB85}"/>
              </c:ext>
            </c:extLst>
          </c:dPt>
          <c:dPt>
            <c:idx val="2331"/>
            <c:invertIfNegative val="1"/>
            <c:bubble3D val="0"/>
            <c:spPr>
              <a:solidFill>
                <a:srgbClr val="AEABAB"/>
              </a:solidFill>
            </c:spPr>
            <c:extLst>
              <c:ext xmlns:c16="http://schemas.microsoft.com/office/drawing/2014/chart" uri="{C3380CC4-5D6E-409C-BE32-E72D297353CC}">
                <c16:uniqueId val="{00001239-61F5-407B-959D-D24239F5BB85}"/>
              </c:ext>
            </c:extLst>
          </c:dPt>
          <c:dPt>
            <c:idx val="2332"/>
            <c:invertIfNegative val="1"/>
            <c:bubble3D val="0"/>
            <c:spPr>
              <a:solidFill>
                <a:srgbClr val="AEABAB"/>
              </a:solidFill>
            </c:spPr>
            <c:extLst>
              <c:ext xmlns:c16="http://schemas.microsoft.com/office/drawing/2014/chart" uri="{C3380CC4-5D6E-409C-BE32-E72D297353CC}">
                <c16:uniqueId val="{0000123B-61F5-407B-959D-D24239F5BB85}"/>
              </c:ext>
            </c:extLst>
          </c:dPt>
          <c:dPt>
            <c:idx val="2333"/>
            <c:invertIfNegative val="1"/>
            <c:bubble3D val="0"/>
            <c:spPr>
              <a:solidFill>
                <a:srgbClr val="AEABAB"/>
              </a:solidFill>
            </c:spPr>
            <c:extLst>
              <c:ext xmlns:c16="http://schemas.microsoft.com/office/drawing/2014/chart" uri="{C3380CC4-5D6E-409C-BE32-E72D297353CC}">
                <c16:uniqueId val="{0000123D-61F5-407B-959D-D24239F5BB85}"/>
              </c:ext>
            </c:extLst>
          </c:dPt>
          <c:dPt>
            <c:idx val="2334"/>
            <c:invertIfNegative val="1"/>
            <c:bubble3D val="0"/>
            <c:spPr>
              <a:solidFill>
                <a:srgbClr val="AEABAB"/>
              </a:solidFill>
            </c:spPr>
            <c:extLst>
              <c:ext xmlns:c16="http://schemas.microsoft.com/office/drawing/2014/chart" uri="{C3380CC4-5D6E-409C-BE32-E72D297353CC}">
                <c16:uniqueId val="{0000123F-61F5-407B-959D-D24239F5BB85}"/>
              </c:ext>
            </c:extLst>
          </c:dPt>
          <c:dPt>
            <c:idx val="2335"/>
            <c:invertIfNegative val="1"/>
            <c:bubble3D val="0"/>
            <c:spPr>
              <a:solidFill>
                <a:srgbClr val="AEABAB"/>
              </a:solidFill>
            </c:spPr>
            <c:extLst>
              <c:ext xmlns:c16="http://schemas.microsoft.com/office/drawing/2014/chart" uri="{C3380CC4-5D6E-409C-BE32-E72D297353CC}">
                <c16:uniqueId val="{00001241-61F5-407B-959D-D24239F5BB85}"/>
              </c:ext>
            </c:extLst>
          </c:dPt>
          <c:dPt>
            <c:idx val="2336"/>
            <c:invertIfNegative val="1"/>
            <c:bubble3D val="0"/>
            <c:spPr>
              <a:solidFill>
                <a:srgbClr val="AEABAB"/>
              </a:solidFill>
            </c:spPr>
            <c:extLst>
              <c:ext xmlns:c16="http://schemas.microsoft.com/office/drawing/2014/chart" uri="{C3380CC4-5D6E-409C-BE32-E72D297353CC}">
                <c16:uniqueId val="{00001243-61F5-407B-959D-D24239F5BB85}"/>
              </c:ext>
            </c:extLst>
          </c:dPt>
          <c:dPt>
            <c:idx val="2337"/>
            <c:invertIfNegative val="1"/>
            <c:bubble3D val="0"/>
            <c:spPr>
              <a:solidFill>
                <a:srgbClr val="AEABAB"/>
              </a:solidFill>
            </c:spPr>
            <c:extLst>
              <c:ext xmlns:c16="http://schemas.microsoft.com/office/drawing/2014/chart" uri="{C3380CC4-5D6E-409C-BE32-E72D297353CC}">
                <c16:uniqueId val="{00001245-61F5-407B-959D-D24239F5BB85}"/>
              </c:ext>
            </c:extLst>
          </c:dPt>
          <c:dPt>
            <c:idx val="2338"/>
            <c:invertIfNegative val="1"/>
            <c:bubble3D val="0"/>
            <c:spPr>
              <a:solidFill>
                <a:srgbClr val="AEABAB"/>
              </a:solidFill>
            </c:spPr>
            <c:extLst>
              <c:ext xmlns:c16="http://schemas.microsoft.com/office/drawing/2014/chart" uri="{C3380CC4-5D6E-409C-BE32-E72D297353CC}">
                <c16:uniqueId val="{00001247-61F5-407B-959D-D24239F5BB85}"/>
              </c:ext>
            </c:extLst>
          </c:dPt>
          <c:dPt>
            <c:idx val="2339"/>
            <c:invertIfNegative val="1"/>
            <c:bubble3D val="0"/>
            <c:spPr>
              <a:solidFill>
                <a:srgbClr val="AEABAB"/>
              </a:solidFill>
            </c:spPr>
            <c:extLst>
              <c:ext xmlns:c16="http://schemas.microsoft.com/office/drawing/2014/chart" uri="{C3380CC4-5D6E-409C-BE32-E72D297353CC}">
                <c16:uniqueId val="{00001249-61F5-407B-959D-D24239F5BB85}"/>
              </c:ext>
            </c:extLst>
          </c:dPt>
          <c:dPt>
            <c:idx val="2340"/>
            <c:invertIfNegative val="1"/>
            <c:bubble3D val="0"/>
            <c:spPr>
              <a:solidFill>
                <a:srgbClr val="AEABAB"/>
              </a:solidFill>
            </c:spPr>
            <c:extLst>
              <c:ext xmlns:c16="http://schemas.microsoft.com/office/drawing/2014/chart" uri="{C3380CC4-5D6E-409C-BE32-E72D297353CC}">
                <c16:uniqueId val="{0000124B-61F5-407B-959D-D24239F5BB85}"/>
              </c:ext>
            </c:extLst>
          </c:dPt>
          <c:dPt>
            <c:idx val="2341"/>
            <c:invertIfNegative val="1"/>
            <c:bubble3D val="0"/>
            <c:spPr>
              <a:solidFill>
                <a:srgbClr val="AEABAB"/>
              </a:solidFill>
            </c:spPr>
            <c:extLst>
              <c:ext xmlns:c16="http://schemas.microsoft.com/office/drawing/2014/chart" uri="{C3380CC4-5D6E-409C-BE32-E72D297353CC}">
                <c16:uniqueId val="{0000124D-61F5-407B-959D-D24239F5BB85}"/>
              </c:ext>
            </c:extLst>
          </c:dPt>
          <c:dPt>
            <c:idx val="2342"/>
            <c:invertIfNegative val="1"/>
            <c:bubble3D val="0"/>
            <c:spPr>
              <a:solidFill>
                <a:srgbClr val="AEABAB"/>
              </a:solidFill>
            </c:spPr>
            <c:extLst>
              <c:ext xmlns:c16="http://schemas.microsoft.com/office/drawing/2014/chart" uri="{C3380CC4-5D6E-409C-BE32-E72D297353CC}">
                <c16:uniqueId val="{0000124F-61F5-407B-959D-D24239F5BB85}"/>
              </c:ext>
            </c:extLst>
          </c:dPt>
          <c:dPt>
            <c:idx val="2343"/>
            <c:invertIfNegative val="1"/>
            <c:bubble3D val="0"/>
            <c:spPr>
              <a:solidFill>
                <a:srgbClr val="AEABAB"/>
              </a:solidFill>
            </c:spPr>
            <c:extLst>
              <c:ext xmlns:c16="http://schemas.microsoft.com/office/drawing/2014/chart" uri="{C3380CC4-5D6E-409C-BE32-E72D297353CC}">
                <c16:uniqueId val="{00001251-61F5-407B-959D-D24239F5BB85}"/>
              </c:ext>
            </c:extLst>
          </c:dPt>
          <c:dPt>
            <c:idx val="2344"/>
            <c:invertIfNegative val="1"/>
            <c:bubble3D val="0"/>
            <c:spPr>
              <a:solidFill>
                <a:srgbClr val="AEABAB"/>
              </a:solidFill>
            </c:spPr>
            <c:extLst>
              <c:ext xmlns:c16="http://schemas.microsoft.com/office/drawing/2014/chart" uri="{C3380CC4-5D6E-409C-BE32-E72D297353CC}">
                <c16:uniqueId val="{00001253-61F5-407B-959D-D24239F5BB85}"/>
              </c:ext>
            </c:extLst>
          </c:dPt>
          <c:dPt>
            <c:idx val="2345"/>
            <c:invertIfNegative val="1"/>
            <c:bubble3D val="0"/>
            <c:spPr>
              <a:solidFill>
                <a:srgbClr val="AEABAB"/>
              </a:solidFill>
            </c:spPr>
            <c:extLst>
              <c:ext xmlns:c16="http://schemas.microsoft.com/office/drawing/2014/chart" uri="{C3380CC4-5D6E-409C-BE32-E72D297353CC}">
                <c16:uniqueId val="{00001255-61F5-407B-959D-D24239F5BB85}"/>
              </c:ext>
            </c:extLst>
          </c:dPt>
          <c:dPt>
            <c:idx val="2346"/>
            <c:invertIfNegative val="1"/>
            <c:bubble3D val="0"/>
            <c:spPr>
              <a:solidFill>
                <a:srgbClr val="AEABAB"/>
              </a:solidFill>
            </c:spPr>
            <c:extLst>
              <c:ext xmlns:c16="http://schemas.microsoft.com/office/drawing/2014/chart" uri="{C3380CC4-5D6E-409C-BE32-E72D297353CC}">
                <c16:uniqueId val="{00001257-61F5-407B-959D-D24239F5BB85}"/>
              </c:ext>
            </c:extLst>
          </c:dPt>
          <c:dPt>
            <c:idx val="2347"/>
            <c:invertIfNegative val="1"/>
            <c:bubble3D val="0"/>
            <c:spPr>
              <a:solidFill>
                <a:srgbClr val="AEABAB"/>
              </a:solidFill>
            </c:spPr>
            <c:extLst>
              <c:ext xmlns:c16="http://schemas.microsoft.com/office/drawing/2014/chart" uri="{C3380CC4-5D6E-409C-BE32-E72D297353CC}">
                <c16:uniqueId val="{00001259-61F5-407B-959D-D24239F5BB85}"/>
              </c:ext>
            </c:extLst>
          </c:dPt>
          <c:dPt>
            <c:idx val="2348"/>
            <c:invertIfNegative val="1"/>
            <c:bubble3D val="0"/>
            <c:spPr>
              <a:solidFill>
                <a:srgbClr val="AEABAB"/>
              </a:solidFill>
            </c:spPr>
            <c:extLst>
              <c:ext xmlns:c16="http://schemas.microsoft.com/office/drawing/2014/chart" uri="{C3380CC4-5D6E-409C-BE32-E72D297353CC}">
                <c16:uniqueId val="{0000125B-61F5-407B-959D-D24239F5BB85}"/>
              </c:ext>
            </c:extLst>
          </c:dPt>
          <c:dPt>
            <c:idx val="2349"/>
            <c:invertIfNegative val="1"/>
            <c:bubble3D val="0"/>
            <c:spPr>
              <a:solidFill>
                <a:srgbClr val="AEABAB"/>
              </a:solidFill>
            </c:spPr>
            <c:extLst>
              <c:ext xmlns:c16="http://schemas.microsoft.com/office/drawing/2014/chart" uri="{C3380CC4-5D6E-409C-BE32-E72D297353CC}">
                <c16:uniqueId val="{0000125D-61F5-407B-959D-D24239F5BB85}"/>
              </c:ext>
            </c:extLst>
          </c:dPt>
          <c:dPt>
            <c:idx val="2350"/>
            <c:invertIfNegative val="1"/>
            <c:bubble3D val="0"/>
            <c:spPr>
              <a:solidFill>
                <a:srgbClr val="AEABAB"/>
              </a:solidFill>
            </c:spPr>
            <c:extLst>
              <c:ext xmlns:c16="http://schemas.microsoft.com/office/drawing/2014/chart" uri="{C3380CC4-5D6E-409C-BE32-E72D297353CC}">
                <c16:uniqueId val="{0000125F-61F5-407B-959D-D24239F5BB85}"/>
              </c:ext>
            </c:extLst>
          </c:dPt>
          <c:dPt>
            <c:idx val="2351"/>
            <c:invertIfNegative val="1"/>
            <c:bubble3D val="0"/>
            <c:spPr>
              <a:solidFill>
                <a:srgbClr val="AEABAB"/>
              </a:solidFill>
            </c:spPr>
            <c:extLst>
              <c:ext xmlns:c16="http://schemas.microsoft.com/office/drawing/2014/chart" uri="{C3380CC4-5D6E-409C-BE32-E72D297353CC}">
                <c16:uniqueId val="{00001261-61F5-407B-959D-D24239F5BB85}"/>
              </c:ext>
            </c:extLst>
          </c:dPt>
          <c:dPt>
            <c:idx val="2352"/>
            <c:invertIfNegative val="1"/>
            <c:bubble3D val="0"/>
            <c:spPr>
              <a:solidFill>
                <a:srgbClr val="AEABAB"/>
              </a:solidFill>
            </c:spPr>
            <c:extLst>
              <c:ext xmlns:c16="http://schemas.microsoft.com/office/drawing/2014/chart" uri="{C3380CC4-5D6E-409C-BE32-E72D297353CC}">
                <c16:uniqueId val="{00001263-61F5-407B-959D-D24239F5BB85}"/>
              </c:ext>
            </c:extLst>
          </c:dPt>
          <c:dPt>
            <c:idx val="2353"/>
            <c:invertIfNegative val="1"/>
            <c:bubble3D val="0"/>
            <c:spPr>
              <a:solidFill>
                <a:srgbClr val="AEABAB"/>
              </a:solidFill>
            </c:spPr>
            <c:extLst>
              <c:ext xmlns:c16="http://schemas.microsoft.com/office/drawing/2014/chart" uri="{C3380CC4-5D6E-409C-BE32-E72D297353CC}">
                <c16:uniqueId val="{00001265-61F5-407B-959D-D24239F5BB85}"/>
              </c:ext>
            </c:extLst>
          </c:dPt>
          <c:dPt>
            <c:idx val="2354"/>
            <c:invertIfNegative val="1"/>
            <c:bubble3D val="0"/>
            <c:spPr>
              <a:solidFill>
                <a:srgbClr val="AEABAB"/>
              </a:solidFill>
            </c:spPr>
            <c:extLst>
              <c:ext xmlns:c16="http://schemas.microsoft.com/office/drawing/2014/chart" uri="{C3380CC4-5D6E-409C-BE32-E72D297353CC}">
                <c16:uniqueId val="{00001267-61F5-407B-959D-D24239F5BB85}"/>
              </c:ext>
            </c:extLst>
          </c:dPt>
          <c:dPt>
            <c:idx val="2355"/>
            <c:invertIfNegative val="1"/>
            <c:bubble3D val="0"/>
            <c:spPr>
              <a:solidFill>
                <a:srgbClr val="AEABAB"/>
              </a:solidFill>
            </c:spPr>
            <c:extLst>
              <c:ext xmlns:c16="http://schemas.microsoft.com/office/drawing/2014/chart" uri="{C3380CC4-5D6E-409C-BE32-E72D297353CC}">
                <c16:uniqueId val="{00001269-61F5-407B-959D-D24239F5BB85}"/>
              </c:ext>
            </c:extLst>
          </c:dPt>
          <c:dPt>
            <c:idx val="2356"/>
            <c:invertIfNegative val="1"/>
            <c:bubble3D val="0"/>
            <c:spPr>
              <a:solidFill>
                <a:srgbClr val="AEABAB"/>
              </a:solidFill>
            </c:spPr>
            <c:extLst>
              <c:ext xmlns:c16="http://schemas.microsoft.com/office/drawing/2014/chart" uri="{C3380CC4-5D6E-409C-BE32-E72D297353CC}">
                <c16:uniqueId val="{0000126B-61F5-407B-959D-D24239F5BB85}"/>
              </c:ext>
            </c:extLst>
          </c:dPt>
          <c:dPt>
            <c:idx val="2357"/>
            <c:invertIfNegative val="1"/>
            <c:bubble3D val="0"/>
            <c:spPr>
              <a:solidFill>
                <a:srgbClr val="AEABAB"/>
              </a:solidFill>
            </c:spPr>
            <c:extLst>
              <c:ext xmlns:c16="http://schemas.microsoft.com/office/drawing/2014/chart" uri="{C3380CC4-5D6E-409C-BE32-E72D297353CC}">
                <c16:uniqueId val="{0000126D-61F5-407B-959D-D24239F5BB85}"/>
              </c:ext>
            </c:extLst>
          </c:dPt>
          <c:dPt>
            <c:idx val="2358"/>
            <c:invertIfNegative val="1"/>
            <c:bubble3D val="0"/>
            <c:spPr>
              <a:solidFill>
                <a:srgbClr val="AEABAB"/>
              </a:solidFill>
            </c:spPr>
            <c:extLst>
              <c:ext xmlns:c16="http://schemas.microsoft.com/office/drawing/2014/chart" uri="{C3380CC4-5D6E-409C-BE32-E72D297353CC}">
                <c16:uniqueId val="{0000126F-61F5-407B-959D-D24239F5BB85}"/>
              </c:ext>
            </c:extLst>
          </c:dPt>
          <c:dPt>
            <c:idx val="2359"/>
            <c:invertIfNegative val="1"/>
            <c:bubble3D val="0"/>
            <c:spPr>
              <a:solidFill>
                <a:srgbClr val="AEABAB"/>
              </a:solidFill>
            </c:spPr>
            <c:extLst>
              <c:ext xmlns:c16="http://schemas.microsoft.com/office/drawing/2014/chart" uri="{C3380CC4-5D6E-409C-BE32-E72D297353CC}">
                <c16:uniqueId val="{00001271-61F5-407B-959D-D24239F5BB85}"/>
              </c:ext>
            </c:extLst>
          </c:dPt>
          <c:dPt>
            <c:idx val="2360"/>
            <c:invertIfNegative val="1"/>
            <c:bubble3D val="0"/>
            <c:spPr>
              <a:solidFill>
                <a:srgbClr val="AEABAB"/>
              </a:solidFill>
            </c:spPr>
            <c:extLst>
              <c:ext xmlns:c16="http://schemas.microsoft.com/office/drawing/2014/chart" uri="{C3380CC4-5D6E-409C-BE32-E72D297353CC}">
                <c16:uniqueId val="{00001273-61F5-407B-959D-D24239F5BB85}"/>
              </c:ext>
            </c:extLst>
          </c:dPt>
          <c:dPt>
            <c:idx val="2361"/>
            <c:invertIfNegative val="1"/>
            <c:bubble3D val="0"/>
            <c:spPr>
              <a:solidFill>
                <a:srgbClr val="AEABAB"/>
              </a:solidFill>
            </c:spPr>
            <c:extLst>
              <c:ext xmlns:c16="http://schemas.microsoft.com/office/drawing/2014/chart" uri="{C3380CC4-5D6E-409C-BE32-E72D297353CC}">
                <c16:uniqueId val="{00001275-61F5-407B-959D-D24239F5BB85}"/>
              </c:ext>
            </c:extLst>
          </c:dPt>
          <c:dPt>
            <c:idx val="2362"/>
            <c:invertIfNegative val="1"/>
            <c:bubble3D val="0"/>
            <c:spPr>
              <a:solidFill>
                <a:srgbClr val="AEABAB"/>
              </a:solidFill>
            </c:spPr>
            <c:extLst>
              <c:ext xmlns:c16="http://schemas.microsoft.com/office/drawing/2014/chart" uri="{C3380CC4-5D6E-409C-BE32-E72D297353CC}">
                <c16:uniqueId val="{00001277-61F5-407B-959D-D24239F5BB85}"/>
              </c:ext>
            </c:extLst>
          </c:dPt>
          <c:dPt>
            <c:idx val="2363"/>
            <c:invertIfNegative val="1"/>
            <c:bubble3D val="0"/>
            <c:spPr>
              <a:solidFill>
                <a:srgbClr val="AEABAB"/>
              </a:solidFill>
            </c:spPr>
            <c:extLst>
              <c:ext xmlns:c16="http://schemas.microsoft.com/office/drawing/2014/chart" uri="{C3380CC4-5D6E-409C-BE32-E72D297353CC}">
                <c16:uniqueId val="{00001279-61F5-407B-959D-D24239F5BB85}"/>
              </c:ext>
            </c:extLst>
          </c:dPt>
          <c:dPt>
            <c:idx val="2364"/>
            <c:invertIfNegative val="1"/>
            <c:bubble3D val="0"/>
            <c:spPr>
              <a:solidFill>
                <a:srgbClr val="AEABAB"/>
              </a:solidFill>
            </c:spPr>
            <c:extLst>
              <c:ext xmlns:c16="http://schemas.microsoft.com/office/drawing/2014/chart" uri="{C3380CC4-5D6E-409C-BE32-E72D297353CC}">
                <c16:uniqueId val="{0000127B-61F5-407B-959D-D24239F5BB85}"/>
              </c:ext>
            </c:extLst>
          </c:dPt>
          <c:dPt>
            <c:idx val="2365"/>
            <c:invertIfNegative val="1"/>
            <c:bubble3D val="0"/>
            <c:spPr>
              <a:solidFill>
                <a:srgbClr val="AEABAB"/>
              </a:solidFill>
            </c:spPr>
            <c:extLst>
              <c:ext xmlns:c16="http://schemas.microsoft.com/office/drawing/2014/chart" uri="{C3380CC4-5D6E-409C-BE32-E72D297353CC}">
                <c16:uniqueId val="{0000127D-61F5-407B-959D-D24239F5BB85}"/>
              </c:ext>
            </c:extLst>
          </c:dPt>
          <c:dPt>
            <c:idx val="2366"/>
            <c:invertIfNegative val="1"/>
            <c:bubble3D val="0"/>
            <c:spPr>
              <a:solidFill>
                <a:srgbClr val="AEABAB"/>
              </a:solidFill>
            </c:spPr>
            <c:extLst>
              <c:ext xmlns:c16="http://schemas.microsoft.com/office/drawing/2014/chart" uri="{C3380CC4-5D6E-409C-BE32-E72D297353CC}">
                <c16:uniqueId val="{0000127F-61F5-407B-959D-D24239F5BB85}"/>
              </c:ext>
            </c:extLst>
          </c:dPt>
          <c:dPt>
            <c:idx val="2367"/>
            <c:invertIfNegative val="1"/>
            <c:bubble3D val="0"/>
            <c:spPr>
              <a:solidFill>
                <a:srgbClr val="AEABAB"/>
              </a:solidFill>
            </c:spPr>
            <c:extLst>
              <c:ext xmlns:c16="http://schemas.microsoft.com/office/drawing/2014/chart" uri="{C3380CC4-5D6E-409C-BE32-E72D297353CC}">
                <c16:uniqueId val="{00001281-61F5-407B-959D-D24239F5BB85}"/>
              </c:ext>
            </c:extLst>
          </c:dPt>
          <c:dPt>
            <c:idx val="2368"/>
            <c:invertIfNegative val="1"/>
            <c:bubble3D val="0"/>
            <c:spPr>
              <a:solidFill>
                <a:srgbClr val="AEABAB"/>
              </a:solidFill>
            </c:spPr>
            <c:extLst>
              <c:ext xmlns:c16="http://schemas.microsoft.com/office/drawing/2014/chart" uri="{C3380CC4-5D6E-409C-BE32-E72D297353CC}">
                <c16:uniqueId val="{00001283-61F5-407B-959D-D24239F5BB85}"/>
              </c:ext>
            </c:extLst>
          </c:dPt>
          <c:dPt>
            <c:idx val="2369"/>
            <c:invertIfNegative val="1"/>
            <c:bubble3D val="0"/>
            <c:spPr>
              <a:solidFill>
                <a:srgbClr val="AEABAB"/>
              </a:solidFill>
            </c:spPr>
            <c:extLst>
              <c:ext xmlns:c16="http://schemas.microsoft.com/office/drawing/2014/chart" uri="{C3380CC4-5D6E-409C-BE32-E72D297353CC}">
                <c16:uniqueId val="{00001285-61F5-407B-959D-D24239F5BB85}"/>
              </c:ext>
            </c:extLst>
          </c:dPt>
          <c:dPt>
            <c:idx val="2370"/>
            <c:invertIfNegative val="1"/>
            <c:bubble3D val="0"/>
            <c:spPr>
              <a:solidFill>
                <a:srgbClr val="AEABAB"/>
              </a:solidFill>
            </c:spPr>
            <c:extLst>
              <c:ext xmlns:c16="http://schemas.microsoft.com/office/drawing/2014/chart" uri="{C3380CC4-5D6E-409C-BE32-E72D297353CC}">
                <c16:uniqueId val="{00001287-61F5-407B-959D-D24239F5BB85}"/>
              </c:ext>
            </c:extLst>
          </c:dPt>
          <c:dPt>
            <c:idx val="2371"/>
            <c:invertIfNegative val="1"/>
            <c:bubble3D val="0"/>
            <c:spPr>
              <a:solidFill>
                <a:srgbClr val="AEABAB"/>
              </a:solidFill>
            </c:spPr>
            <c:extLst>
              <c:ext xmlns:c16="http://schemas.microsoft.com/office/drawing/2014/chart" uri="{C3380CC4-5D6E-409C-BE32-E72D297353CC}">
                <c16:uniqueId val="{00001289-61F5-407B-959D-D24239F5BB85}"/>
              </c:ext>
            </c:extLst>
          </c:dPt>
          <c:dPt>
            <c:idx val="2372"/>
            <c:invertIfNegative val="1"/>
            <c:bubble3D val="0"/>
            <c:spPr>
              <a:solidFill>
                <a:srgbClr val="AEABAB"/>
              </a:solidFill>
            </c:spPr>
            <c:extLst>
              <c:ext xmlns:c16="http://schemas.microsoft.com/office/drawing/2014/chart" uri="{C3380CC4-5D6E-409C-BE32-E72D297353CC}">
                <c16:uniqueId val="{0000128B-61F5-407B-959D-D24239F5BB85}"/>
              </c:ext>
            </c:extLst>
          </c:dPt>
          <c:dPt>
            <c:idx val="2373"/>
            <c:invertIfNegative val="1"/>
            <c:bubble3D val="0"/>
            <c:spPr>
              <a:solidFill>
                <a:srgbClr val="AEABAB"/>
              </a:solidFill>
            </c:spPr>
            <c:extLst>
              <c:ext xmlns:c16="http://schemas.microsoft.com/office/drawing/2014/chart" uri="{C3380CC4-5D6E-409C-BE32-E72D297353CC}">
                <c16:uniqueId val="{0000128D-61F5-407B-959D-D24239F5BB85}"/>
              </c:ext>
            </c:extLst>
          </c:dPt>
          <c:dPt>
            <c:idx val="2374"/>
            <c:invertIfNegative val="1"/>
            <c:bubble3D val="0"/>
            <c:spPr>
              <a:solidFill>
                <a:srgbClr val="AEABAB"/>
              </a:solidFill>
            </c:spPr>
            <c:extLst>
              <c:ext xmlns:c16="http://schemas.microsoft.com/office/drawing/2014/chart" uri="{C3380CC4-5D6E-409C-BE32-E72D297353CC}">
                <c16:uniqueId val="{0000128F-61F5-407B-959D-D24239F5BB85}"/>
              </c:ext>
            </c:extLst>
          </c:dPt>
          <c:dPt>
            <c:idx val="2375"/>
            <c:invertIfNegative val="1"/>
            <c:bubble3D val="0"/>
            <c:spPr>
              <a:solidFill>
                <a:srgbClr val="AEABAB"/>
              </a:solidFill>
            </c:spPr>
            <c:extLst>
              <c:ext xmlns:c16="http://schemas.microsoft.com/office/drawing/2014/chart" uri="{C3380CC4-5D6E-409C-BE32-E72D297353CC}">
                <c16:uniqueId val="{00001291-61F5-407B-959D-D24239F5BB85}"/>
              </c:ext>
            </c:extLst>
          </c:dPt>
          <c:dPt>
            <c:idx val="2376"/>
            <c:invertIfNegative val="1"/>
            <c:bubble3D val="0"/>
            <c:spPr>
              <a:solidFill>
                <a:srgbClr val="AEABAB"/>
              </a:solidFill>
            </c:spPr>
            <c:extLst>
              <c:ext xmlns:c16="http://schemas.microsoft.com/office/drawing/2014/chart" uri="{C3380CC4-5D6E-409C-BE32-E72D297353CC}">
                <c16:uniqueId val="{00001293-61F5-407B-959D-D24239F5BB85}"/>
              </c:ext>
            </c:extLst>
          </c:dPt>
          <c:dPt>
            <c:idx val="2377"/>
            <c:invertIfNegative val="1"/>
            <c:bubble3D val="0"/>
            <c:spPr>
              <a:solidFill>
                <a:srgbClr val="AEABAB"/>
              </a:solidFill>
            </c:spPr>
            <c:extLst>
              <c:ext xmlns:c16="http://schemas.microsoft.com/office/drawing/2014/chart" uri="{C3380CC4-5D6E-409C-BE32-E72D297353CC}">
                <c16:uniqueId val="{00001295-61F5-407B-959D-D24239F5BB85}"/>
              </c:ext>
            </c:extLst>
          </c:dPt>
          <c:dPt>
            <c:idx val="2378"/>
            <c:invertIfNegative val="1"/>
            <c:bubble3D val="0"/>
            <c:spPr>
              <a:solidFill>
                <a:srgbClr val="AEABAB"/>
              </a:solidFill>
            </c:spPr>
            <c:extLst>
              <c:ext xmlns:c16="http://schemas.microsoft.com/office/drawing/2014/chart" uri="{C3380CC4-5D6E-409C-BE32-E72D297353CC}">
                <c16:uniqueId val="{00001297-61F5-407B-959D-D24239F5BB85}"/>
              </c:ext>
            </c:extLst>
          </c:dPt>
          <c:dPt>
            <c:idx val="2379"/>
            <c:invertIfNegative val="1"/>
            <c:bubble3D val="0"/>
            <c:spPr>
              <a:solidFill>
                <a:srgbClr val="AEABAB"/>
              </a:solidFill>
            </c:spPr>
            <c:extLst>
              <c:ext xmlns:c16="http://schemas.microsoft.com/office/drawing/2014/chart" uri="{C3380CC4-5D6E-409C-BE32-E72D297353CC}">
                <c16:uniqueId val="{00001299-61F5-407B-959D-D24239F5BB85}"/>
              </c:ext>
            </c:extLst>
          </c:dPt>
          <c:dPt>
            <c:idx val="2380"/>
            <c:invertIfNegative val="1"/>
            <c:bubble3D val="0"/>
            <c:spPr>
              <a:solidFill>
                <a:srgbClr val="AEABAB"/>
              </a:solidFill>
            </c:spPr>
            <c:extLst>
              <c:ext xmlns:c16="http://schemas.microsoft.com/office/drawing/2014/chart" uri="{C3380CC4-5D6E-409C-BE32-E72D297353CC}">
                <c16:uniqueId val="{0000129B-61F5-407B-959D-D24239F5BB85}"/>
              </c:ext>
            </c:extLst>
          </c:dPt>
          <c:dPt>
            <c:idx val="2381"/>
            <c:invertIfNegative val="1"/>
            <c:bubble3D val="0"/>
            <c:spPr>
              <a:solidFill>
                <a:srgbClr val="AEABAB"/>
              </a:solidFill>
            </c:spPr>
            <c:extLst>
              <c:ext xmlns:c16="http://schemas.microsoft.com/office/drawing/2014/chart" uri="{C3380CC4-5D6E-409C-BE32-E72D297353CC}">
                <c16:uniqueId val="{0000129D-61F5-407B-959D-D24239F5BB85}"/>
              </c:ext>
            </c:extLst>
          </c:dPt>
          <c:dPt>
            <c:idx val="2382"/>
            <c:invertIfNegative val="1"/>
            <c:bubble3D val="0"/>
            <c:spPr>
              <a:solidFill>
                <a:srgbClr val="AEABAB"/>
              </a:solidFill>
            </c:spPr>
            <c:extLst>
              <c:ext xmlns:c16="http://schemas.microsoft.com/office/drawing/2014/chart" uri="{C3380CC4-5D6E-409C-BE32-E72D297353CC}">
                <c16:uniqueId val="{0000129F-61F5-407B-959D-D24239F5BB85}"/>
              </c:ext>
            </c:extLst>
          </c:dPt>
          <c:dPt>
            <c:idx val="2383"/>
            <c:invertIfNegative val="1"/>
            <c:bubble3D val="0"/>
            <c:spPr>
              <a:solidFill>
                <a:srgbClr val="AEABAB"/>
              </a:solidFill>
            </c:spPr>
            <c:extLst>
              <c:ext xmlns:c16="http://schemas.microsoft.com/office/drawing/2014/chart" uri="{C3380CC4-5D6E-409C-BE32-E72D297353CC}">
                <c16:uniqueId val="{000012A1-61F5-407B-959D-D24239F5BB85}"/>
              </c:ext>
            </c:extLst>
          </c:dPt>
          <c:dPt>
            <c:idx val="2384"/>
            <c:invertIfNegative val="1"/>
            <c:bubble3D val="0"/>
            <c:spPr>
              <a:solidFill>
                <a:srgbClr val="AEABAB"/>
              </a:solidFill>
            </c:spPr>
            <c:extLst>
              <c:ext xmlns:c16="http://schemas.microsoft.com/office/drawing/2014/chart" uri="{C3380CC4-5D6E-409C-BE32-E72D297353CC}">
                <c16:uniqueId val="{000012A3-61F5-407B-959D-D24239F5BB85}"/>
              </c:ext>
            </c:extLst>
          </c:dPt>
          <c:dPt>
            <c:idx val="2385"/>
            <c:invertIfNegative val="1"/>
            <c:bubble3D val="0"/>
            <c:spPr>
              <a:solidFill>
                <a:srgbClr val="AEABAB"/>
              </a:solidFill>
            </c:spPr>
            <c:extLst>
              <c:ext xmlns:c16="http://schemas.microsoft.com/office/drawing/2014/chart" uri="{C3380CC4-5D6E-409C-BE32-E72D297353CC}">
                <c16:uniqueId val="{000012A5-61F5-407B-959D-D24239F5BB85}"/>
              </c:ext>
            </c:extLst>
          </c:dPt>
          <c:dPt>
            <c:idx val="2386"/>
            <c:invertIfNegative val="1"/>
            <c:bubble3D val="0"/>
            <c:spPr>
              <a:solidFill>
                <a:srgbClr val="AEABAB"/>
              </a:solidFill>
            </c:spPr>
            <c:extLst>
              <c:ext xmlns:c16="http://schemas.microsoft.com/office/drawing/2014/chart" uri="{C3380CC4-5D6E-409C-BE32-E72D297353CC}">
                <c16:uniqueId val="{000012A7-61F5-407B-959D-D24239F5BB85}"/>
              </c:ext>
            </c:extLst>
          </c:dPt>
          <c:dPt>
            <c:idx val="2387"/>
            <c:invertIfNegative val="1"/>
            <c:bubble3D val="0"/>
            <c:spPr>
              <a:solidFill>
                <a:srgbClr val="AEABAB"/>
              </a:solidFill>
            </c:spPr>
            <c:extLst>
              <c:ext xmlns:c16="http://schemas.microsoft.com/office/drawing/2014/chart" uri="{C3380CC4-5D6E-409C-BE32-E72D297353CC}">
                <c16:uniqueId val="{000012A9-61F5-407B-959D-D24239F5BB85}"/>
              </c:ext>
            </c:extLst>
          </c:dPt>
          <c:dPt>
            <c:idx val="2388"/>
            <c:invertIfNegative val="1"/>
            <c:bubble3D val="0"/>
            <c:spPr>
              <a:solidFill>
                <a:srgbClr val="AEABAB"/>
              </a:solidFill>
            </c:spPr>
            <c:extLst>
              <c:ext xmlns:c16="http://schemas.microsoft.com/office/drawing/2014/chart" uri="{C3380CC4-5D6E-409C-BE32-E72D297353CC}">
                <c16:uniqueId val="{000012AB-61F5-407B-959D-D24239F5BB85}"/>
              </c:ext>
            </c:extLst>
          </c:dPt>
          <c:dPt>
            <c:idx val="2389"/>
            <c:invertIfNegative val="1"/>
            <c:bubble3D val="0"/>
            <c:spPr>
              <a:solidFill>
                <a:srgbClr val="AEABAB"/>
              </a:solidFill>
            </c:spPr>
            <c:extLst>
              <c:ext xmlns:c16="http://schemas.microsoft.com/office/drawing/2014/chart" uri="{C3380CC4-5D6E-409C-BE32-E72D297353CC}">
                <c16:uniqueId val="{000012AD-61F5-407B-959D-D24239F5BB85}"/>
              </c:ext>
            </c:extLst>
          </c:dPt>
          <c:dPt>
            <c:idx val="2390"/>
            <c:invertIfNegative val="1"/>
            <c:bubble3D val="0"/>
            <c:spPr>
              <a:solidFill>
                <a:srgbClr val="AEABAB"/>
              </a:solidFill>
            </c:spPr>
            <c:extLst>
              <c:ext xmlns:c16="http://schemas.microsoft.com/office/drawing/2014/chart" uri="{C3380CC4-5D6E-409C-BE32-E72D297353CC}">
                <c16:uniqueId val="{000012AF-61F5-407B-959D-D24239F5BB85}"/>
              </c:ext>
            </c:extLst>
          </c:dPt>
          <c:dPt>
            <c:idx val="2391"/>
            <c:invertIfNegative val="1"/>
            <c:bubble3D val="0"/>
            <c:spPr>
              <a:solidFill>
                <a:srgbClr val="AEABAB"/>
              </a:solidFill>
            </c:spPr>
            <c:extLst>
              <c:ext xmlns:c16="http://schemas.microsoft.com/office/drawing/2014/chart" uri="{C3380CC4-5D6E-409C-BE32-E72D297353CC}">
                <c16:uniqueId val="{000012B1-61F5-407B-959D-D24239F5BB85}"/>
              </c:ext>
            </c:extLst>
          </c:dPt>
          <c:dPt>
            <c:idx val="2392"/>
            <c:invertIfNegative val="1"/>
            <c:bubble3D val="0"/>
            <c:spPr>
              <a:solidFill>
                <a:srgbClr val="AEABAB"/>
              </a:solidFill>
            </c:spPr>
            <c:extLst>
              <c:ext xmlns:c16="http://schemas.microsoft.com/office/drawing/2014/chart" uri="{C3380CC4-5D6E-409C-BE32-E72D297353CC}">
                <c16:uniqueId val="{000012B3-61F5-407B-959D-D24239F5BB85}"/>
              </c:ext>
            </c:extLst>
          </c:dPt>
          <c:dPt>
            <c:idx val="2393"/>
            <c:invertIfNegative val="1"/>
            <c:bubble3D val="0"/>
            <c:spPr>
              <a:solidFill>
                <a:srgbClr val="AEABAB"/>
              </a:solidFill>
            </c:spPr>
            <c:extLst>
              <c:ext xmlns:c16="http://schemas.microsoft.com/office/drawing/2014/chart" uri="{C3380CC4-5D6E-409C-BE32-E72D297353CC}">
                <c16:uniqueId val="{000012B5-61F5-407B-959D-D24239F5BB85}"/>
              </c:ext>
            </c:extLst>
          </c:dPt>
          <c:dPt>
            <c:idx val="2394"/>
            <c:invertIfNegative val="1"/>
            <c:bubble3D val="0"/>
            <c:spPr>
              <a:solidFill>
                <a:srgbClr val="AEABAB"/>
              </a:solidFill>
            </c:spPr>
            <c:extLst>
              <c:ext xmlns:c16="http://schemas.microsoft.com/office/drawing/2014/chart" uri="{C3380CC4-5D6E-409C-BE32-E72D297353CC}">
                <c16:uniqueId val="{000012B7-61F5-407B-959D-D24239F5BB85}"/>
              </c:ext>
            </c:extLst>
          </c:dPt>
          <c:dPt>
            <c:idx val="2395"/>
            <c:invertIfNegative val="1"/>
            <c:bubble3D val="0"/>
            <c:spPr>
              <a:solidFill>
                <a:srgbClr val="AEABAB"/>
              </a:solidFill>
            </c:spPr>
            <c:extLst>
              <c:ext xmlns:c16="http://schemas.microsoft.com/office/drawing/2014/chart" uri="{C3380CC4-5D6E-409C-BE32-E72D297353CC}">
                <c16:uniqueId val="{000012B9-61F5-407B-959D-D24239F5BB85}"/>
              </c:ext>
            </c:extLst>
          </c:dPt>
          <c:dPt>
            <c:idx val="2396"/>
            <c:invertIfNegative val="1"/>
            <c:bubble3D val="0"/>
            <c:spPr>
              <a:solidFill>
                <a:srgbClr val="AEABAB"/>
              </a:solidFill>
            </c:spPr>
            <c:extLst>
              <c:ext xmlns:c16="http://schemas.microsoft.com/office/drawing/2014/chart" uri="{C3380CC4-5D6E-409C-BE32-E72D297353CC}">
                <c16:uniqueId val="{000012BB-61F5-407B-959D-D24239F5BB85}"/>
              </c:ext>
            </c:extLst>
          </c:dPt>
          <c:dPt>
            <c:idx val="2397"/>
            <c:invertIfNegative val="1"/>
            <c:bubble3D val="0"/>
            <c:spPr>
              <a:solidFill>
                <a:srgbClr val="AEABAB"/>
              </a:solidFill>
            </c:spPr>
            <c:extLst>
              <c:ext xmlns:c16="http://schemas.microsoft.com/office/drawing/2014/chart" uri="{C3380CC4-5D6E-409C-BE32-E72D297353CC}">
                <c16:uniqueId val="{000012BD-61F5-407B-959D-D24239F5BB85}"/>
              </c:ext>
            </c:extLst>
          </c:dPt>
          <c:dPt>
            <c:idx val="2398"/>
            <c:invertIfNegative val="1"/>
            <c:bubble3D val="0"/>
            <c:spPr>
              <a:solidFill>
                <a:srgbClr val="AEABAB"/>
              </a:solidFill>
            </c:spPr>
            <c:extLst>
              <c:ext xmlns:c16="http://schemas.microsoft.com/office/drawing/2014/chart" uri="{C3380CC4-5D6E-409C-BE32-E72D297353CC}">
                <c16:uniqueId val="{000012BF-61F5-407B-959D-D24239F5BB85}"/>
              </c:ext>
            </c:extLst>
          </c:dPt>
          <c:dPt>
            <c:idx val="2399"/>
            <c:invertIfNegative val="1"/>
            <c:bubble3D val="0"/>
            <c:spPr>
              <a:solidFill>
                <a:srgbClr val="AEABAB"/>
              </a:solidFill>
            </c:spPr>
            <c:extLst>
              <c:ext xmlns:c16="http://schemas.microsoft.com/office/drawing/2014/chart" uri="{C3380CC4-5D6E-409C-BE32-E72D297353CC}">
                <c16:uniqueId val="{000012C1-61F5-407B-959D-D24239F5BB85}"/>
              </c:ext>
            </c:extLst>
          </c:dPt>
          <c:dPt>
            <c:idx val="2400"/>
            <c:invertIfNegative val="1"/>
            <c:bubble3D val="0"/>
            <c:spPr>
              <a:solidFill>
                <a:srgbClr val="AEABAB"/>
              </a:solidFill>
            </c:spPr>
            <c:extLst>
              <c:ext xmlns:c16="http://schemas.microsoft.com/office/drawing/2014/chart" uri="{C3380CC4-5D6E-409C-BE32-E72D297353CC}">
                <c16:uniqueId val="{000012C3-61F5-407B-959D-D24239F5BB85}"/>
              </c:ext>
            </c:extLst>
          </c:dPt>
          <c:dPt>
            <c:idx val="2401"/>
            <c:invertIfNegative val="1"/>
            <c:bubble3D val="0"/>
            <c:spPr>
              <a:solidFill>
                <a:srgbClr val="AEABAB"/>
              </a:solidFill>
            </c:spPr>
            <c:extLst>
              <c:ext xmlns:c16="http://schemas.microsoft.com/office/drawing/2014/chart" uri="{C3380CC4-5D6E-409C-BE32-E72D297353CC}">
                <c16:uniqueId val="{000012C5-61F5-407B-959D-D24239F5BB85}"/>
              </c:ext>
            </c:extLst>
          </c:dPt>
          <c:dPt>
            <c:idx val="2402"/>
            <c:invertIfNegative val="1"/>
            <c:bubble3D val="0"/>
            <c:spPr>
              <a:solidFill>
                <a:srgbClr val="AEABAB"/>
              </a:solidFill>
            </c:spPr>
            <c:extLst>
              <c:ext xmlns:c16="http://schemas.microsoft.com/office/drawing/2014/chart" uri="{C3380CC4-5D6E-409C-BE32-E72D297353CC}">
                <c16:uniqueId val="{000012C7-61F5-407B-959D-D24239F5BB85}"/>
              </c:ext>
            </c:extLst>
          </c:dPt>
          <c:dPt>
            <c:idx val="2403"/>
            <c:invertIfNegative val="1"/>
            <c:bubble3D val="0"/>
            <c:spPr>
              <a:solidFill>
                <a:srgbClr val="AEABAB"/>
              </a:solidFill>
            </c:spPr>
            <c:extLst>
              <c:ext xmlns:c16="http://schemas.microsoft.com/office/drawing/2014/chart" uri="{C3380CC4-5D6E-409C-BE32-E72D297353CC}">
                <c16:uniqueId val="{000012C9-61F5-407B-959D-D24239F5BB85}"/>
              </c:ext>
            </c:extLst>
          </c:dPt>
          <c:dPt>
            <c:idx val="2404"/>
            <c:invertIfNegative val="1"/>
            <c:bubble3D val="0"/>
            <c:spPr>
              <a:solidFill>
                <a:srgbClr val="AEABAB"/>
              </a:solidFill>
            </c:spPr>
            <c:extLst>
              <c:ext xmlns:c16="http://schemas.microsoft.com/office/drawing/2014/chart" uri="{C3380CC4-5D6E-409C-BE32-E72D297353CC}">
                <c16:uniqueId val="{000012CB-61F5-407B-959D-D24239F5BB85}"/>
              </c:ext>
            </c:extLst>
          </c:dPt>
          <c:dPt>
            <c:idx val="2405"/>
            <c:invertIfNegative val="1"/>
            <c:bubble3D val="0"/>
            <c:spPr>
              <a:solidFill>
                <a:srgbClr val="AEABAB"/>
              </a:solidFill>
            </c:spPr>
            <c:extLst>
              <c:ext xmlns:c16="http://schemas.microsoft.com/office/drawing/2014/chart" uri="{C3380CC4-5D6E-409C-BE32-E72D297353CC}">
                <c16:uniqueId val="{000012CD-61F5-407B-959D-D24239F5BB85}"/>
              </c:ext>
            </c:extLst>
          </c:dPt>
          <c:dPt>
            <c:idx val="2406"/>
            <c:invertIfNegative val="1"/>
            <c:bubble3D val="0"/>
            <c:spPr>
              <a:solidFill>
                <a:srgbClr val="AEABAB"/>
              </a:solidFill>
            </c:spPr>
            <c:extLst>
              <c:ext xmlns:c16="http://schemas.microsoft.com/office/drawing/2014/chart" uri="{C3380CC4-5D6E-409C-BE32-E72D297353CC}">
                <c16:uniqueId val="{000012CF-61F5-407B-959D-D24239F5BB85}"/>
              </c:ext>
            </c:extLst>
          </c:dPt>
          <c:dPt>
            <c:idx val="2407"/>
            <c:invertIfNegative val="1"/>
            <c:bubble3D val="0"/>
            <c:spPr>
              <a:solidFill>
                <a:srgbClr val="AEABAB"/>
              </a:solidFill>
            </c:spPr>
            <c:extLst>
              <c:ext xmlns:c16="http://schemas.microsoft.com/office/drawing/2014/chart" uri="{C3380CC4-5D6E-409C-BE32-E72D297353CC}">
                <c16:uniqueId val="{000012D1-61F5-407B-959D-D24239F5BB85}"/>
              </c:ext>
            </c:extLst>
          </c:dPt>
          <c:dPt>
            <c:idx val="2408"/>
            <c:invertIfNegative val="1"/>
            <c:bubble3D val="0"/>
            <c:spPr>
              <a:solidFill>
                <a:srgbClr val="AEABAB"/>
              </a:solidFill>
            </c:spPr>
            <c:extLst>
              <c:ext xmlns:c16="http://schemas.microsoft.com/office/drawing/2014/chart" uri="{C3380CC4-5D6E-409C-BE32-E72D297353CC}">
                <c16:uniqueId val="{000012D3-61F5-407B-959D-D24239F5BB85}"/>
              </c:ext>
            </c:extLst>
          </c:dPt>
          <c:dPt>
            <c:idx val="2409"/>
            <c:invertIfNegative val="1"/>
            <c:bubble3D val="0"/>
            <c:spPr>
              <a:solidFill>
                <a:srgbClr val="AEABAB"/>
              </a:solidFill>
            </c:spPr>
            <c:extLst>
              <c:ext xmlns:c16="http://schemas.microsoft.com/office/drawing/2014/chart" uri="{C3380CC4-5D6E-409C-BE32-E72D297353CC}">
                <c16:uniqueId val="{000012D5-61F5-407B-959D-D24239F5BB85}"/>
              </c:ext>
            </c:extLst>
          </c:dPt>
          <c:dPt>
            <c:idx val="2410"/>
            <c:invertIfNegative val="1"/>
            <c:bubble3D val="0"/>
            <c:spPr>
              <a:solidFill>
                <a:srgbClr val="AEABAB"/>
              </a:solidFill>
            </c:spPr>
            <c:extLst>
              <c:ext xmlns:c16="http://schemas.microsoft.com/office/drawing/2014/chart" uri="{C3380CC4-5D6E-409C-BE32-E72D297353CC}">
                <c16:uniqueId val="{000012D7-61F5-407B-959D-D24239F5BB85}"/>
              </c:ext>
            </c:extLst>
          </c:dPt>
          <c:dPt>
            <c:idx val="2411"/>
            <c:invertIfNegative val="1"/>
            <c:bubble3D val="0"/>
            <c:spPr>
              <a:solidFill>
                <a:srgbClr val="AEABAB"/>
              </a:solidFill>
            </c:spPr>
            <c:extLst>
              <c:ext xmlns:c16="http://schemas.microsoft.com/office/drawing/2014/chart" uri="{C3380CC4-5D6E-409C-BE32-E72D297353CC}">
                <c16:uniqueId val="{000012D9-61F5-407B-959D-D24239F5BB85}"/>
              </c:ext>
            </c:extLst>
          </c:dPt>
          <c:dPt>
            <c:idx val="2412"/>
            <c:invertIfNegative val="1"/>
            <c:bubble3D val="0"/>
            <c:spPr>
              <a:solidFill>
                <a:srgbClr val="AEABAB"/>
              </a:solidFill>
            </c:spPr>
            <c:extLst>
              <c:ext xmlns:c16="http://schemas.microsoft.com/office/drawing/2014/chart" uri="{C3380CC4-5D6E-409C-BE32-E72D297353CC}">
                <c16:uniqueId val="{000012DB-61F5-407B-959D-D24239F5BB85}"/>
              </c:ext>
            </c:extLst>
          </c:dPt>
          <c:dPt>
            <c:idx val="2413"/>
            <c:invertIfNegative val="1"/>
            <c:bubble3D val="0"/>
            <c:spPr>
              <a:solidFill>
                <a:srgbClr val="AEABAB"/>
              </a:solidFill>
            </c:spPr>
            <c:extLst>
              <c:ext xmlns:c16="http://schemas.microsoft.com/office/drawing/2014/chart" uri="{C3380CC4-5D6E-409C-BE32-E72D297353CC}">
                <c16:uniqueId val="{000012DD-61F5-407B-959D-D24239F5BB85}"/>
              </c:ext>
            </c:extLst>
          </c:dPt>
          <c:dPt>
            <c:idx val="2414"/>
            <c:invertIfNegative val="1"/>
            <c:bubble3D val="0"/>
            <c:spPr>
              <a:solidFill>
                <a:srgbClr val="AEABAB"/>
              </a:solidFill>
            </c:spPr>
            <c:extLst>
              <c:ext xmlns:c16="http://schemas.microsoft.com/office/drawing/2014/chart" uri="{C3380CC4-5D6E-409C-BE32-E72D297353CC}">
                <c16:uniqueId val="{000012DF-61F5-407B-959D-D24239F5BB85}"/>
              </c:ext>
            </c:extLst>
          </c:dPt>
          <c:dPt>
            <c:idx val="2415"/>
            <c:invertIfNegative val="1"/>
            <c:bubble3D val="0"/>
            <c:spPr>
              <a:solidFill>
                <a:srgbClr val="AEABAB"/>
              </a:solidFill>
            </c:spPr>
            <c:extLst>
              <c:ext xmlns:c16="http://schemas.microsoft.com/office/drawing/2014/chart" uri="{C3380CC4-5D6E-409C-BE32-E72D297353CC}">
                <c16:uniqueId val="{000012E1-61F5-407B-959D-D24239F5BB85}"/>
              </c:ext>
            </c:extLst>
          </c:dPt>
          <c:dPt>
            <c:idx val="2416"/>
            <c:invertIfNegative val="1"/>
            <c:bubble3D val="0"/>
            <c:spPr>
              <a:solidFill>
                <a:srgbClr val="AEABAB"/>
              </a:solidFill>
            </c:spPr>
            <c:extLst>
              <c:ext xmlns:c16="http://schemas.microsoft.com/office/drawing/2014/chart" uri="{C3380CC4-5D6E-409C-BE32-E72D297353CC}">
                <c16:uniqueId val="{000012E3-61F5-407B-959D-D24239F5BB85}"/>
              </c:ext>
            </c:extLst>
          </c:dPt>
          <c:dPt>
            <c:idx val="2417"/>
            <c:invertIfNegative val="1"/>
            <c:bubble3D val="0"/>
            <c:spPr>
              <a:solidFill>
                <a:srgbClr val="AEABAB"/>
              </a:solidFill>
            </c:spPr>
            <c:extLst>
              <c:ext xmlns:c16="http://schemas.microsoft.com/office/drawing/2014/chart" uri="{C3380CC4-5D6E-409C-BE32-E72D297353CC}">
                <c16:uniqueId val="{000012E5-61F5-407B-959D-D24239F5BB85}"/>
              </c:ext>
            </c:extLst>
          </c:dPt>
          <c:dPt>
            <c:idx val="2418"/>
            <c:invertIfNegative val="1"/>
            <c:bubble3D val="0"/>
            <c:spPr>
              <a:solidFill>
                <a:srgbClr val="AEABAB"/>
              </a:solidFill>
            </c:spPr>
            <c:extLst>
              <c:ext xmlns:c16="http://schemas.microsoft.com/office/drawing/2014/chart" uri="{C3380CC4-5D6E-409C-BE32-E72D297353CC}">
                <c16:uniqueId val="{000012E7-61F5-407B-959D-D24239F5BB85}"/>
              </c:ext>
            </c:extLst>
          </c:dPt>
          <c:dPt>
            <c:idx val="2419"/>
            <c:invertIfNegative val="1"/>
            <c:bubble3D val="0"/>
            <c:spPr>
              <a:solidFill>
                <a:srgbClr val="AEABAB"/>
              </a:solidFill>
            </c:spPr>
            <c:extLst>
              <c:ext xmlns:c16="http://schemas.microsoft.com/office/drawing/2014/chart" uri="{C3380CC4-5D6E-409C-BE32-E72D297353CC}">
                <c16:uniqueId val="{000012E9-61F5-407B-959D-D24239F5BB85}"/>
              </c:ext>
            </c:extLst>
          </c:dPt>
          <c:dPt>
            <c:idx val="2420"/>
            <c:invertIfNegative val="1"/>
            <c:bubble3D val="0"/>
            <c:spPr>
              <a:solidFill>
                <a:srgbClr val="AEABAB"/>
              </a:solidFill>
            </c:spPr>
            <c:extLst>
              <c:ext xmlns:c16="http://schemas.microsoft.com/office/drawing/2014/chart" uri="{C3380CC4-5D6E-409C-BE32-E72D297353CC}">
                <c16:uniqueId val="{000012EB-61F5-407B-959D-D24239F5BB85}"/>
              </c:ext>
            </c:extLst>
          </c:dPt>
          <c:dPt>
            <c:idx val="2421"/>
            <c:invertIfNegative val="1"/>
            <c:bubble3D val="0"/>
            <c:spPr>
              <a:solidFill>
                <a:srgbClr val="AEABAB"/>
              </a:solidFill>
            </c:spPr>
            <c:extLst>
              <c:ext xmlns:c16="http://schemas.microsoft.com/office/drawing/2014/chart" uri="{C3380CC4-5D6E-409C-BE32-E72D297353CC}">
                <c16:uniqueId val="{000012ED-61F5-407B-959D-D24239F5BB85}"/>
              </c:ext>
            </c:extLst>
          </c:dPt>
          <c:dPt>
            <c:idx val="2422"/>
            <c:invertIfNegative val="1"/>
            <c:bubble3D val="0"/>
            <c:spPr>
              <a:solidFill>
                <a:srgbClr val="AEABAB"/>
              </a:solidFill>
            </c:spPr>
            <c:extLst>
              <c:ext xmlns:c16="http://schemas.microsoft.com/office/drawing/2014/chart" uri="{C3380CC4-5D6E-409C-BE32-E72D297353CC}">
                <c16:uniqueId val="{000012EF-61F5-407B-959D-D24239F5BB85}"/>
              </c:ext>
            </c:extLst>
          </c:dPt>
          <c:dPt>
            <c:idx val="2423"/>
            <c:invertIfNegative val="1"/>
            <c:bubble3D val="0"/>
            <c:spPr>
              <a:solidFill>
                <a:srgbClr val="AEABAB"/>
              </a:solidFill>
            </c:spPr>
            <c:extLst>
              <c:ext xmlns:c16="http://schemas.microsoft.com/office/drawing/2014/chart" uri="{C3380CC4-5D6E-409C-BE32-E72D297353CC}">
                <c16:uniqueId val="{000012F1-61F5-407B-959D-D24239F5BB85}"/>
              </c:ext>
            </c:extLst>
          </c:dPt>
          <c:dPt>
            <c:idx val="2424"/>
            <c:invertIfNegative val="1"/>
            <c:bubble3D val="0"/>
            <c:spPr>
              <a:solidFill>
                <a:srgbClr val="AEABAB"/>
              </a:solidFill>
            </c:spPr>
            <c:extLst>
              <c:ext xmlns:c16="http://schemas.microsoft.com/office/drawing/2014/chart" uri="{C3380CC4-5D6E-409C-BE32-E72D297353CC}">
                <c16:uniqueId val="{000012F3-61F5-407B-959D-D24239F5BB85}"/>
              </c:ext>
            </c:extLst>
          </c:dPt>
          <c:dPt>
            <c:idx val="2425"/>
            <c:invertIfNegative val="1"/>
            <c:bubble3D val="0"/>
            <c:spPr>
              <a:solidFill>
                <a:srgbClr val="AEABAB"/>
              </a:solidFill>
            </c:spPr>
            <c:extLst>
              <c:ext xmlns:c16="http://schemas.microsoft.com/office/drawing/2014/chart" uri="{C3380CC4-5D6E-409C-BE32-E72D297353CC}">
                <c16:uniqueId val="{000012F5-61F5-407B-959D-D24239F5BB85}"/>
              </c:ext>
            </c:extLst>
          </c:dPt>
          <c:dPt>
            <c:idx val="2426"/>
            <c:invertIfNegative val="1"/>
            <c:bubble3D val="0"/>
            <c:spPr>
              <a:solidFill>
                <a:srgbClr val="AEABAB"/>
              </a:solidFill>
            </c:spPr>
            <c:extLst>
              <c:ext xmlns:c16="http://schemas.microsoft.com/office/drawing/2014/chart" uri="{C3380CC4-5D6E-409C-BE32-E72D297353CC}">
                <c16:uniqueId val="{000012F7-61F5-407B-959D-D24239F5BB85}"/>
              </c:ext>
            </c:extLst>
          </c:dPt>
          <c:dPt>
            <c:idx val="2427"/>
            <c:invertIfNegative val="1"/>
            <c:bubble3D val="0"/>
            <c:spPr>
              <a:solidFill>
                <a:srgbClr val="AEABAB"/>
              </a:solidFill>
            </c:spPr>
            <c:extLst>
              <c:ext xmlns:c16="http://schemas.microsoft.com/office/drawing/2014/chart" uri="{C3380CC4-5D6E-409C-BE32-E72D297353CC}">
                <c16:uniqueId val="{000012F9-61F5-407B-959D-D24239F5BB85}"/>
              </c:ext>
            </c:extLst>
          </c:dPt>
          <c:dPt>
            <c:idx val="2428"/>
            <c:invertIfNegative val="1"/>
            <c:bubble3D val="0"/>
            <c:spPr>
              <a:solidFill>
                <a:srgbClr val="AEABAB"/>
              </a:solidFill>
            </c:spPr>
            <c:extLst>
              <c:ext xmlns:c16="http://schemas.microsoft.com/office/drawing/2014/chart" uri="{C3380CC4-5D6E-409C-BE32-E72D297353CC}">
                <c16:uniqueId val="{000012FB-61F5-407B-959D-D24239F5BB85}"/>
              </c:ext>
            </c:extLst>
          </c:dPt>
          <c:dPt>
            <c:idx val="2429"/>
            <c:invertIfNegative val="1"/>
            <c:bubble3D val="0"/>
            <c:spPr>
              <a:solidFill>
                <a:srgbClr val="AEABAB"/>
              </a:solidFill>
            </c:spPr>
            <c:extLst>
              <c:ext xmlns:c16="http://schemas.microsoft.com/office/drawing/2014/chart" uri="{C3380CC4-5D6E-409C-BE32-E72D297353CC}">
                <c16:uniqueId val="{000012FD-61F5-407B-959D-D24239F5BB85}"/>
              </c:ext>
            </c:extLst>
          </c:dPt>
          <c:dPt>
            <c:idx val="2430"/>
            <c:invertIfNegative val="1"/>
            <c:bubble3D val="0"/>
            <c:spPr>
              <a:solidFill>
                <a:srgbClr val="AEABAB"/>
              </a:solidFill>
            </c:spPr>
            <c:extLst>
              <c:ext xmlns:c16="http://schemas.microsoft.com/office/drawing/2014/chart" uri="{C3380CC4-5D6E-409C-BE32-E72D297353CC}">
                <c16:uniqueId val="{000012FF-61F5-407B-959D-D24239F5BB85}"/>
              </c:ext>
            </c:extLst>
          </c:dPt>
          <c:dPt>
            <c:idx val="2431"/>
            <c:invertIfNegative val="1"/>
            <c:bubble3D val="0"/>
            <c:spPr>
              <a:solidFill>
                <a:srgbClr val="AEABAB"/>
              </a:solidFill>
            </c:spPr>
            <c:extLst>
              <c:ext xmlns:c16="http://schemas.microsoft.com/office/drawing/2014/chart" uri="{C3380CC4-5D6E-409C-BE32-E72D297353CC}">
                <c16:uniqueId val="{00001301-61F5-407B-959D-D24239F5BB85}"/>
              </c:ext>
            </c:extLst>
          </c:dPt>
          <c:dPt>
            <c:idx val="2432"/>
            <c:invertIfNegative val="1"/>
            <c:bubble3D val="0"/>
            <c:spPr>
              <a:solidFill>
                <a:srgbClr val="AEABAB"/>
              </a:solidFill>
            </c:spPr>
            <c:extLst>
              <c:ext xmlns:c16="http://schemas.microsoft.com/office/drawing/2014/chart" uri="{C3380CC4-5D6E-409C-BE32-E72D297353CC}">
                <c16:uniqueId val="{00001303-61F5-407B-959D-D24239F5BB85}"/>
              </c:ext>
            </c:extLst>
          </c:dPt>
          <c:dPt>
            <c:idx val="2433"/>
            <c:invertIfNegative val="1"/>
            <c:bubble3D val="0"/>
            <c:spPr>
              <a:solidFill>
                <a:srgbClr val="AEABAB"/>
              </a:solidFill>
            </c:spPr>
            <c:extLst>
              <c:ext xmlns:c16="http://schemas.microsoft.com/office/drawing/2014/chart" uri="{C3380CC4-5D6E-409C-BE32-E72D297353CC}">
                <c16:uniqueId val="{00001305-61F5-407B-959D-D24239F5BB85}"/>
              </c:ext>
            </c:extLst>
          </c:dPt>
          <c:dPt>
            <c:idx val="2434"/>
            <c:invertIfNegative val="1"/>
            <c:bubble3D val="0"/>
            <c:spPr>
              <a:solidFill>
                <a:srgbClr val="AEABAB"/>
              </a:solidFill>
            </c:spPr>
            <c:extLst>
              <c:ext xmlns:c16="http://schemas.microsoft.com/office/drawing/2014/chart" uri="{C3380CC4-5D6E-409C-BE32-E72D297353CC}">
                <c16:uniqueId val="{00001307-61F5-407B-959D-D24239F5BB85}"/>
              </c:ext>
            </c:extLst>
          </c:dPt>
          <c:dPt>
            <c:idx val="2435"/>
            <c:invertIfNegative val="1"/>
            <c:bubble3D val="0"/>
            <c:spPr>
              <a:solidFill>
                <a:srgbClr val="AEABAB"/>
              </a:solidFill>
            </c:spPr>
            <c:extLst>
              <c:ext xmlns:c16="http://schemas.microsoft.com/office/drawing/2014/chart" uri="{C3380CC4-5D6E-409C-BE32-E72D297353CC}">
                <c16:uniqueId val="{00001309-61F5-407B-959D-D24239F5BB85}"/>
              </c:ext>
            </c:extLst>
          </c:dPt>
          <c:dPt>
            <c:idx val="2436"/>
            <c:invertIfNegative val="1"/>
            <c:bubble3D val="0"/>
            <c:spPr>
              <a:solidFill>
                <a:srgbClr val="AEABAB"/>
              </a:solidFill>
            </c:spPr>
            <c:extLst>
              <c:ext xmlns:c16="http://schemas.microsoft.com/office/drawing/2014/chart" uri="{C3380CC4-5D6E-409C-BE32-E72D297353CC}">
                <c16:uniqueId val="{0000130B-61F5-407B-959D-D24239F5BB85}"/>
              </c:ext>
            </c:extLst>
          </c:dPt>
          <c:dPt>
            <c:idx val="2437"/>
            <c:invertIfNegative val="1"/>
            <c:bubble3D val="0"/>
            <c:spPr>
              <a:solidFill>
                <a:srgbClr val="AEABAB"/>
              </a:solidFill>
            </c:spPr>
            <c:extLst>
              <c:ext xmlns:c16="http://schemas.microsoft.com/office/drawing/2014/chart" uri="{C3380CC4-5D6E-409C-BE32-E72D297353CC}">
                <c16:uniqueId val="{0000130D-61F5-407B-959D-D24239F5BB85}"/>
              </c:ext>
            </c:extLst>
          </c:dPt>
          <c:dPt>
            <c:idx val="2438"/>
            <c:invertIfNegative val="1"/>
            <c:bubble3D val="0"/>
            <c:spPr>
              <a:solidFill>
                <a:srgbClr val="AEABAB"/>
              </a:solidFill>
            </c:spPr>
            <c:extLst>
              <c:ext xmlns:c16="http://schemas.microsoft.com/office/drawing/2014/chart" uri="{C3380CC4-5D6E-409C-BE32-E72D297353CC}">
                <c16:uniqueId val="{0000130F-61F5-407B-959D-D24239F5BB85}"/>
              </c:ext>
            </c:extLst>
          </c:dPt>
          <c:dPt>
            <c:idx val="2439"/>
            <c:invertIfNegative val="1"/>
            <c:bubble3D val="0"/>
            <c:spPr>
              <a:solidFill>
                <a:srgbClr val="AEABAB"/>
              </a:solidFill>
            </c:spPr>
            <c:extLst>
              <c:ext xmlns:c16="http://schemas.microsoft.com/office/drawing/2014/chart" uri="{C3380CC4-5D6E-409C-BE32-E72D297353CC}">
                <c16:uniqueId val="{00001311-61F5-407B-959D-D24239F5BB85}"/>
              </c:ext>
            </c:extLst>
          </c:dPt>
          <c:dPt>
            <c:idx val="2440"/>
            <c:invertIfNegative val="1"/>
            <c:bubble3D val="0"/>
            <c:spPr>
              <a:solidFill>
                <a:srgbClr val="AEABAB"/>
              </a:solidFill>
            </c:spPr>
            <c:extLst>
              <c:ext xmlns:c16="http://schemas.microsoft.com/office/drawing/2014/chart" uri="{C3380CC4-5D6E-409C-BE32-E72D297353CC}">
                <c16:uniqueId val="{00001313-61F5-407B-959D-D24239F5BB85}"/>
              </c:ext>
            </c:extLst>
          </c:dPt>
          <c:dPt>
            <c:idx val="2441"/>
            <c:invertIfNegative val="1"/>
            <c:bubble3D val="0"/>
            <c:spPr>
              <a:solidFill>
                <a:srgbClr val="AEABAB"/>
              </a:solidFill>
            </c:spPr>
            <c:extLst>
              <c:ext xmlns:c16="http://schemas.microsoft.com/office/drawing/2014/chart" uri="{C3380CC4-5D6E-409C-BE32-E72D297353CC}">
                <c16:uniqueId val="{00001315-61F5-407B-959D-D24239F5BB85}"/>
              </c:ext>
            </c:extLst>
          </c:dPt>
          <c:dPt>
            <c:idx val="2442"/>
            <c:invertIfNegative val="1"/>
            <c:bubble3D val="0"/>
            <c:spPr>
              <a:solidFill>
                <a:srgbClr val="AEABAB"/>
              </a:solidFill>
            </c:spPr>
            <c:extLst>
              <c:ext xmlns:c16="http://schemas.microsoft.com/office/drawing/2014/chart" uri="{C3380CC4-5D6E-409C-BE32-E72D297353CC}">
                <c16:uniqueId val="{00001317-61F5-407B-959D-D24239F5BB85}"/>
              </c:ext>
            </c:extLst>
          </c:dPt>
          <c:dPt>
            <c:idx val="2443"/>
            <c:invertIfNegative val="1"/>
            <c:bubble3D val="0"/>
            <c:spPr>
              <a:solidFill>
                <a:srgbClr val="AEABAB"/>
              </a:solidFill>
            </c:spPr>
            <c:extLst>
              <c:ext xmlns:c16="http://schemas.microsoft.com/office/drawing/2014/chart" uri="{C3380CC4-5D6E-409C-BE32-E72D297353CC}">
                <c16:uniqueId val="{00001319-61F5-407B-959D-D24239F5BB85}"/>
              </c:ext>
            </c:extLst>
          </c:dPt>
          <c:dPt>
            <c:idx val="2444"/>
            <c:invertIfNegative val="1"/>
            <c:bubble3D val="0"/>
            <c:spPr>
              <a:solidFill>
                <a:srgbClr val="AEABAB"/>
              </a:solidFill>
            </c:spPr>
            <c:extLst>
              <c:ext xmlns:c16="http://schemas.microsoft.com/office/drawing/2014/chart" uri="{C3380CC4-5D6E-409C-BE32-E72D297353CC}">
                <c16:uniqueId val="{0000131B-61F5-407B-959D-D24239F5BB85}"/>
              </c:ext>
            </c:extLst>
          </c:dPt>
          <c:dPt>
            <c:idx val="2445"/>
            <c:invertIfNegative val="1"/>
            <c:bubble3D val="0"/>
            <c:spPr>
              <a:solidFill>
                <a:srgbClr val="AEABAB"/>
              </a:solidFill>
            </c:spPr>
            <c:extLst>
              <c:ext xmlns:c16="http://schemas.microsoft.com/office/drawing/2014/chart" uri="{C3380CC4-5D6E-409C-BE32-E72D297353CC}">
                <c16:uniqueId val="{0000131D-61F5-407B-959D-D24239F5BB85}"/>
              </c:ext>
            </c:extLst>
          </c:dPt>
          <c:dPt>
            <c:idx val="2446"/>
            <c:invertIfNegative val="1"/>
            <c:bubble3D val="0"/>
            <c:spPr>
              <a:solidFill>
                <a:srgbClr val="AEABAB"/>
              </a:solidFill>
            </c:spPr>
            <c:extLst>
              <c:ext xmlns:c16="http://schemas.microsoft.com/office/drawing/2014/chart" uri="{C3380CC4-5D6E-409C-BE32-E72D297353CC}">
                <c16:uniqueId val="{0000131F-61F5-407B-959D-D24239F5BB85}"/>
              </c:ext>
            </c:extLst>
          </c:dPt>
          <c:dPt>
            <c:idx val="2447"/>
            <c:invertIfNegative val="1"/>
            <c:bubble3D val="0"/>
            <c:spPr>
              <a:solidFill>
                <a:srgbClr val="AEABAB"/>
              </a:solidFill>
            </c:spPr>
            <c:extLst>
              <c:ext xmlns:c16="http://schemas.microsoft.com/office/drawing/2014/chart" uri="{C3380CC4-5D6E-409C-BE32-E72D297353CC}">
                <c16:uniqueId val="{00001321-61F5-407B-959D-D24239F5BB85}"/>
              </c:ext>
            </c:extLst>
          </c:dPt>
          <c:dPt>
            <c:idx val="2448"/>
            <c:invertIfNegative val="1"/>
            <c:bubble3D val="0"/>
            <c:spPr>
              <a:solidFill>
                <a:srgbClr val="AEABAB"/>
              </a:solidFill>
            </c:spPr>
            <c:extLst>
              <c:ext xmlns:c16="http://schemas.microsoft.com/office/drawing/2014/chart" uri="{C3380CC4-5D6E-409C-BE32-E72D297353CC}">
                <c16:uniqueId val="{00001323-61F5-407B-959D-D24239F5BB85}"/>
              </c:ext>
            </c:extLst>
          </c:dPt>
          <c:dPt>
            <c:idx val="2449"/>
            <c:invertIfNegative val="1"/>
            <c:bubble3D val="0"/>
            <c:spPr>
              <a:solidFill>
                <a:srgbClr val="AEABAB"/>
              </a:solidFill>
            </c:spPr>
            <c:extLst>
              <c:ext xmlns:c16="http://schemas.microsoft.com/office/drawing/2014/chart" uri="{C3380CC4-5D6E-409C-BE32-E72D297353CC}">
                <c16:uniqueId val="{00001325-61F5-407B-959D-D24239F5BB85}"/>
              </c:ext>
            </c:extLst>
          </c:dPt>
          <c:dPt>
            <c:idx val="2450"/>
            <c:invertIfNegative val="1"/>
            <c:bubble3D val="0"/>
            <c:spPr>
              <a:solidFill>
                <a:srgbClr val="AEABAB"/>
              </a:solidFill>
            </c:spPr>
            <c:extLst>
              <c:ext xmlns:c16="http://schemas.microsoft.com/office/drawing/2014/chart" uri="{C3380CC4-5D6E-409C-BE32-E72D297353CC}">
                <c16:uniqueId val="{00001327-61F5-407B-959D-D24239F5BB85}"/>
              </c:ext>
            </c:extLst>
          </c:dPt>
          <c:dPt>
            <c:idx val="2451"/>
            <c:invertIfNegative val="1"/>
            <c:bubble3D val="0"/>
            <c:spPr>
              <a:solidFill>
                <a:srgbClr val="AEABAB"/>
              </a:solidFill>
            </c:spPr>
            <c:extLst>
              <c:ext xmlns:c16="http://schemas.microsoft.com/office/drawing/2014/chart" uri="{C3380CC4-5D6E-409C-BE32-E72D297353CC}">
                <c16:uniqueId val="{00001329-61F5-407B-959D-D24239F5BB85}"/>
              </c:ext>
            </c:extLst>
          </c:dPt>
          <c:dPt>
            <c:idx val="2452"/>
            <c:invertIfNegative val="1"/>
            <c:bubble3D val="0"/>
            <c:spPr>
              <a:solidFill>
                <a:srgbClr val="AEABAB"/>
              </a:solidFill>
            </c:spPr>
            <c:extLst>
              <c:ext xmlns:c16="http://schemas.microsoft.com/office/drawing/2014/chart" uri="{C3380CC4-5D6E-409C-BE32-E72D297353CC}">
                <c16:uniqueId val="{0000132B-61F5-407B-959D-D24239F5BB85}"/>
              </c:ext>
            </c:extLst>
          </c:dPt>
          <c:dPt>
            <c:idx val="2453"/>
            <c:invertIfNegative val="1"/>
            <c:bubble3D val="0"/>
            <c:spPr>
              <a:solidFill>
                <a:srgbClr val="AEABAB"/>
              </a:solidFill>
            </c:spPr>
            <c:extLst>
              <c:ext xmlns:c16="http://schemas.microsoft.com/office/drawing/2014/chart" uri="{C3380CC4-5D6E-409C-BE32-E72D297353CC}">
                <c16:uniqueId val="{0000132D-61F5-407B-959D-D24239F5BB85}"/>
              </c:ext>
            </c:extLst>
          </c:dPt>
          <c:dPt>
            <c:idx val="2454"/>
            <c:invertIfNegative val="1"/>
            <c:bubble3D val="0"/>
            <c:spPr>
              <a:solidFill>
                <a:srgbClr val="AEABAB"/>
              </a:solidFill>
            </c:spPr>
            <c:extLst>
              <c:ext xmlns:c16="http://schemas.microsoft.com/office/drawing/2014/chart" uri="{C3380CC4-5D6E-409C-BE32-E72D297353CC}">
                <c16:uniqueId val="{0000132F-61F5-407B-959D-D24239F5BB85}"/>
              </c:ext>
            </c:extLst>
          </c:dPt>
          <c:dPt>
            <c:idx val="2455"/>
            <c:invertIfNegative val="1"/>
            <c:bubble3D val="0"/>
            <c:spPr>
              <a:solidFill>
                <a:srgbClr val="AEABAB"/>
              </a:solidFill>
            </c:spPr>
            <c:extLst>
              <c:ext xmlns:c16="http://schemas.microsoft.com/office/drawing/2014/chart" uri="{C3380CC4-5D6E-409C-BE32-E72D297353CC}">
                <c16:uniqueId val="{00001331-61F5-407B-959D-D24239F5BB85}"/>
              </c:ext>
            </c:extLst>
          </c:dPt>
          <c:dPt>
            <c:idx val="2456"/>
            <c:invertIfNegative val="1"/>
            <c:bubble3D val="0"/>
            <c:spPr>
              <a:solidFill>
                <a:srgbClr val="AEABAB"/>
              </a:solidFill>
            </c:spPr>
            <c:extLst>
              <c:ext xmlns:c16="http://schemas.microsoft.com/office/drawing/2014/chart" uri="{C3380CC4-5D6E-409C-BE32-E72D297353CC}">
                <c16:uniqueId val="{00001333-61F5-407B-959D-D24239F5BB85}"/>
              </c:ext>
            </c:extLst>
          </c:dPt>
          <c:dPt>
            <c:idx val="2457"/>
            <c:invertIfNegative val="1"/>
            <c:bubble3D val="0"/>
            <c:spPr>
              <a:solidFill>
                <a:srgbClr val="AEABAB"/>
              </a:solidFill>
            </c:spPr>
            <c:extLst>
              <c:ext xmlns:c16="http://schemas.microsoft.com/office/drawing/2014/chart" uri="{C3380CC4-5D6E-409C-BE32-E72D297353CC}">
                <c16:uniqueId val="{00001335-61F5-407B-959D-D24239F5BB85}"/>
              </c:ext>
            </c:extLst>
          </c:dPt>
          <c:dPt>
            <c:idx val="2458"/>
            <c:invertIfNegative val="1"/>
            <c:bubble3D val="0"/>
            <c:spPr>
              <a:solidFill>
                <a:srgbClr val="AEABAB"/>
              </a:solidFill>
            </c:spPr>
            <c:extLst>
              <c:ext xmlns:c16="http://schemas.microsoft.com/office/drawing/2014/chart" uri="{C3380CC4-5D6E-409C-BE32-E72D297353CC}">
                <c16:uniqueId val="{00001337-61F5-407B-959D-D24239F5BB85}"/>
              </c:ext>
            </c:extLst>
          </c:dPt>
          <c:dPt>
            <c:idx val="2459"/>
            <c:invertIfNegative val="1"/>
            <c:bubble3D val="0"/>
            <c:spPr>
              <a:solidFill>
                <a:srgbClr val="AEABAB"/>
              </a:solidFill>
            </c:spPr>
            <c:extLst>
              <c:ext xmlns:c16="http://schemas.microsoft.com/office/drawing/2014/chart" uri="{C3380CC4-5D6E-409C-BE32-E72D297353CC}">
                <c16:uniqueId val="{00001339-61F5-407B-959D-D24239F5BB85}"/>
              </c:ext>
            </c:extLst>
          </c:dPt>
          <c:dPt>
            <c:idx val="2460"/>
            <c:invertIfNegative val="1"/>
            <c:bubble3D val="0"/>
            <c:spPr>
              <a:solidFill>
                <a:srgbClr val="AEABAB"/>
              </a:solidFill>
            </c:spPr>
            <c:extLst>
              <c:ext xmlns:c16="http://schemas.microsoft.com/office/drawing/2014/chart" uri="{C3380CC4-5D6E-409C-BE32-E72D297353CC}">
                <c16:uniqueId val="{0000133B-61F5-407B-959D-D24239F5BB85}"/>
              </c:ext>
            </c:extLst>
          </c:dPt>
          <c:dPt>
            <c:idx val="2461"/>
            <c:invertIfNegative val="1"/>
            <c:bubble3D val="0"/>
            <c:spPr>
              <a:solidFill>
                <a:srgbClr val="AEABAB"/>
              </a:solidFill>
            </c:spPr>
            <c:extLst>
              <c:ext xmlns:c16="http://schemas.microsoft.com/office/drawing/2014/chart" uri="{C3380CC4-5D6E-409C-BE32-E72D297353CC}">
                <c16:uniqueId val="{0000133D-61F5-407B-959D-D24239F5BB85}"/>
              </c:ext>
            </c:extLst>
          </c:dPt>
          <c:dPt>
            <c:idx val="2462"/>
            <c:invertIfNegative val="1"/>
            <c:bubble3D val="0"/>
            <c:spPr>
              <a:solidFill>
                <a:srgbClr val="AEABAB"/>
              </a:solidFill>
            </c:spPr>
            <c:extLst>
              <c:ext xmlns:c16="http://schemas.microsoft.com/office/drawing/2014/chart" uri="{C3380CC4-5D6E-409C-BE32-E72D297353CC}">
                <c16:uniqueId val="{0000133F-61F5-407B-959D-D24239F5BB85}"/>
              </c:ext>
            </c:extLst>
          </c:dPt>
          <c:dPt>
            <c:idx val="2463"/>
            <c:invertIfNegative val="1"/>
            <c:bubble3D val="0"/>
            <c:spPr>
              <a:solidFill>
                <a:srgbClr val="AEABAB"/>
              </a:solidFill>
            </c:spPr>
            <c:extLst>
              <c:ext xmlns:c16="http://schemas.microsoft.com/office/drawing/2014/chart" uri="{C3380CC4-5D6E-409C-BE32-E72D297353CC}">
                <c16:uniqueId val="{00001341-61F5-407B-959D-D24239F5BB85}"/>
              </c:ext>
            </c:extLst>
          </c:dPt>
          <c:dPt>
            <c:idx val="2464"/>
            <c:invertIfNegative val="1"/>
            <c:bubble3D val="0"/>
            <c:spPr>
              <a:solidFill>
                <a:srgbClr val="AEABAB"/>
              </a:solidFill>
            </c:spPr>
            <c:extLst>
              <c:ext xmlns:c16="http://schemas.microsoft.com/office/drawing/2014/chart" uri="{C3380CC4-5D6E-409C-BE32-E72D297353CC}">
                <c16:uniqueId val="{00001343-61F5-407B-959D-D24239F5BB85}"/>
              </c:ext>
            </c:extLst>
          </c:dPt>
          <c:dPt>
            <c:idx val="2465"/>
            <c:invertIfNegative val="1"/>
            <c:bubble3D val="0"/>
            <c:spPr>
              <a:solidFill>
                <a:srgbClr val="AEABAB"/>
              </a:solidFill>
            </c:spPr>
            <c:extLst>
              <c:ext xmlns:c16="http://schemas.microsoft.com/office/drawing/2014/chart" uri="{C3380CC4-5D6E-409C-BE32-E72D297353CC}">
                <c16:uniqueId val="{00001345-61F5-407B-959D-D24239F5BB85}"/>
              </c:ext>
            </c:extLst>
          </c:dPt>
          <c:dPt>
            <c:idx val="2466"/>
            <c:invertIfNegative val="1"/>
            <c:bubble3D val="0"/>
            <c:spPr>
              <a:solidFill>
                <a:srgbClr val="AEABAB"/>
              </a:solidFill>
            </c:spPr>
            <c:extLst>
              <c:ext xmlns:c16="http://schemas.microsoft.com/office/drawing/2014/chart" uri="{C3380CC4-5D6E-409C-BE32-E72D297353CC}">
                <c16:uniqueId val="{00001347-61F5-407B-959D-D24239F5BB85}"/>
              </c:ext>
            </c:extLst>
          </c:dPt>
          <c:dPt>
            <c:idx val="2467"/>
            <c:invertIfNegative val="1"/>
            <c:bubble3D val="0"/>
            <c:spPr>
              <a:solidFill>
                <a:srgbClr val="AEABAB"/>
              </a:solidFill>
            </c:spPr>
            <c:extLst>
              <c:ext xmlns:c16="http://schemas.microsoft.com/office/drawing/2014/chart" uri="{C3380CC4-5D6E-409C-BE32-E72D297353CC}">
                <c16:uniqueId val="{00001349-61F5-407B-959D-D24239F5BB85}"/>
              </c:ext>
            </c:extLst>
          </c:dPt>
          <c:dPt>
            <c:idx val="2468"/>
            <c:invertIfNegative val="1"/>
            <c:bubble3D val="0"/>
            <c:spPr>
              <a:solidFill>
                <a:srgbClr val="AEABAB"/>
              </a:solidFill>
            </c:spPr>
            <c:extLst>
              <c:ext xmlns:c16="http://schemas.microsoft.com/office/drawing/2014/chart" uri="{C3380CC4-5D6E-409C-BE32-E72D297353CC}">
                <c16:uniqueId val="{0000134B-61F5-407B-959D-D24239F5BB85}"/>
              </c:ext>
            </c:extLst>
          </c:dPt>
          <c:dPt>
            <c:idx val="2469"/>
            <c:invertIfNegative val="1"/>
            <c:bubble3D val="0"/>
            <c:spPr>
              <a:solidFill>
                <a:srgbClr val="AEABAB"/>
              </a:solidFill>
            </c:spPr>
            <c:extLst>
              <c:ext xmlns:c16="http://schemas.microsoft.com/office/drawing/2014/chart" uri="{C3380CC4-5D6E-409C-BE32-E72D297353CC}">
                <c16:uniqueId val="{0000134D-61F5-407B-959D-D24239F5BB85}"/>
              </c:ext>
            </c:extLst>
          </c:dPt>
          <c:dPt>
            <c:idx val="2470"/>
            <c:invertIfNegative val="1"/>
            <c:bubble3D val="0"/>
            <c:spPr>
              <a:solidFill>
                <a:srgbClr val="AEABAB"/>
              </a:solidFill>
            </c:spPr>
            <c:extLst>
              <c:ext xmlns:c16="http://schemas.microsoft.com/office/drawing/2014/chart" uri="{C3380CC4-5D6E-409C-BE32-E72D297353CC}">
                <c16:uniqueId val="{0000134F-61F5-407B-959D-D24239F5BB85}"/>
              </c:ext>
            </c:extLst>
          </c:dPt>
          <c:dPt>
            <c:idx val="2471"/>
            <c:invertIfNegative val="1"/>
            <c:bubble3D val="0"/>
            <c:spPr>
              <a:solidFill>
                <a:srgbClr val="AEABAB"/>
              </a:solidFill>
            </c:spPr>
            <c:extLst>
              <c:ext xmlns:c16="http://schemas.microsoft.com/office/drawing/2014/chart" uri="{C3380CC4-5D6E-409C-BE32-E72D297353CC}">
                <c16:uniqueId val="{00001351-61F5-407B-959D-D24239F5BB85}"/>
              </c:ext>
            </c:extLst>
          </c:dPt>
          <c:dPt>
            <c:idx val="2472"/>
            <c:invertIfNegative val="1"/>
            <c:bubble3D val="0"/>
            <c:spPr>
              <a:solidFill>
                <a:srgbClr val="AEABAB"/>
              </a:solidFill>
            </c:spPr>
            <c:extLst>
              <c:ext xmlns:c16="http://schemas.microsoft.com/office/drawing/2014/chart" uri="{C3380CC4-5D6E-409C-BE32-E72D297353CC}">
                <c16:uniqueId val="{00001353-61F5-407B-959D-D24239F5BB85}"/>
              </c:ext>
            </c:extLst>
          </c:dPt>
          <c:dPt>
            <c:idx val="2473"/>
            <c:invertIfNegative val="1"/>
            <c:bubble3D val="0"/>
            <c:spPr>
              <a:solidFill>
                <a:srgbClr val="AEABAB"/>
              </a:solidFill>
            </c:spPr>
            <c:extLst>
              <c:ext xmlns:c16="http://schemas.microsoft.com/office/drawing/2014/chart" uri="{C3380CC4-5D6E-409C-BE32-E72D297353CC}">
                <c16:uniqueId val="{00001355-61F5-407B-959D-D24239F5BB85}"/>
              </c:ext>
            </c:extLst>
          </c:dPt>
          <c:dPt>
            <c:idx val="2474"/>
            <c:invertIfNegative val="1"/>
            <c:bubble3D val="0"/>
            <c:spPr>
              <a:solidFill>
                <a:srgbClr val="AEABAB"/>
              </a:solidFill>
            </c:spPr>
            <c:extLst>
              <c:ext xmlns:c16="http://schemas.microsoft.com/office/drawing/2014/chart" uri="{C3380CC4-5D6E-409C-BE32-E72D297353CC}">
                <c16:uniqueId val="{00001357-61F5-407B-959D-D24239F5BB85}"/>
              </c:ext>
            </c:extLst>
          </c:dPt>
          <c:dPt>
            <c:idx val="2475"/>
            <c:invertIfNegative val="1"/>
            <c:bubble3D val="0"/>
            <c:spPr>
              <a:solidFill>
                <a:srgbClr val="AEABAB"/>
              </a:solidFill>
            </c:spPr>
            <c:extLst>
              <c:ext xmlns:c16="http://schemas.microsoft.com/office/drawing/2014/chart" uri="{C3380CC4-5D6E-409C-BE32-E72D297353CC}">
                <c16:uniqueId val="{00001359-61F5-407B-959D-D24239F5BB85}"/>
              </c:ext>
            </c:extLst>
          </c:dPt>
          <c:dPt>
            <c:idx val="2476"/>
            <c:invertIfNegative val="1"/>
            <c:bubble3D val="0"/>
            <c:spPr>
              <a:solidFill>
                <a:srgbClr val="AEABAB"/>
              </a:solidFill>
            </c:spPr>
            <c:extLst>
              <c:ext xmlns:c16="http://schemas.microsoft.com/office/drawing/2014/chart" uri="{C3380CC4-5D6E-409C-BE32-E72D297353CC}">
                <c16:uniqueId val="{0000135B-61F5-407B-959D-D24239F5BB85}"/>
              </c:ext>
            </c:extLst>
          </c:dPt>
          <c:dPt>
            <c:idx val="2477"/>
            <c:invertIfNegative val="1"/>
            <c:bubble3D val="0"/>
            <c:spPr>
              <a:solidFill>
                <a:srgbClr val="AEABAB"/>
              </a:solidFill>
            </c:spPr>
            <c:extLst>
              <c:ext xmlns:c16="http://schemas.microsoft.com/office/drawing/2014/chart" uri="{C3380CC4-5D6E-409C-BE32-E72D297353CC}">
                <c16:uniqueId val="{0000135D-61F5-407B-959D-D24239F5BB85}"/>
              </c:ext>
            </c:extLst>
          </c:dPt>
          <c:dPt>
            <c:idx val="2478"/>
            <c:invertIfNegative val="1"/>
            <c:bubble3D val="0"/>
            <c:spPr>
              <a:solidFill>
                <a:srgbClr val="AEABAB"/>
              </a:solidFill>
            </c:spPr>
            <c:extLst>
              <c:ext xmlns:c16="http://schemas.microsoft.com/office/drawing/2014/chart" uri="{C3380CC4-5D6E-409C-BE32-E72D297353CC}">
                <c16:uniqueId val="{0000135F-61F5-407B-959D-D24239F5BB85}"/>
              </c:ext>
            </c:extLst>
          </c:dPt>
          <c:dPt>
            <c:idx val="2479"/>
            <c:invertIfNegative val="1"/>
            <c:bubble3D val="0"/>
            <c:spPr>
              <a:solidFill>
                <a:srgbClr val="AEABAB"/>
              </a:solidFill>
            </c:spPr>
            <c:extLst>
              <c:ext xmlns:c16="http://schemas.microsoft.com/office/drawing/2014/chart" uri="{C3380CC4-5D6E-409C-BE32-E72D297353CC}">
                <c16:uniqueId val="{00001361-61F5-407B-959D-D24239F5BB85}"/>
              </c:ext>
            </c:extLst>
          </c:dPt>
          <c:dPt>
            <c:idx val="2480"/>
            <c:invertIfNegative val="1"/>
            <c:bubble3D val="0"/>
            <c:spPr>
              <a:solidFill>
                <a:srgbClr val="AEABAB"/>
              </a:solidFill>
            </c:spPr>
            <c:extLst>
              <c:ext xmlns:c16="http://schemas.microsoft.com/office/drawing/2014/chart" uri="{C3380CC4-5D6E-409C-BE32-E72D297353CC}">
                <c16:uniqueId val="{00001363-61F5-407B-959D-D24239F5BB85}"/>
              </c:ext>
            </c:extLst>
          </c:dPt>
          <c:dPt>
            <c:idx val="2481"/>
            <c:invertIfNegative val="1"/>
            <c:bubble3D val="0"/>
            <c:spPr>
              <a:solidFill>
                <a:srgbClr val="AEABAB"/>
              </a:solidFill>
            </c:spPr>
            <c:extLst>
              <c:ext xmlns:c16="http://schemas.microsoft.com/office/drawing/2014/chart" uri="{C3380CC4-5D6E-409C-BE32-E72D297353CC}">
                <c16:uniqueId val="{00001365-61F5-407B-959D-D24239F5BB85}"/>
              </c:ext>
            </c:extLst>
          </c:dPt>
          <c:dPt>
            <c:idx val="2482"/>
            <c:invertIfNegative val="1"/>
            <c:bubble3D val="0"/>
            <c:spPr>
              <a:solidFill>
                <a:srgbClr val="AEABAB"/>
              </a:solidFill>
            </c:spPr>
            <c:extLst>
              <c:ext xmlns:c16="http://schemas.microsoft.com/office/drawing/2014/chart" uri="{C3380CC4-5D6E-409C-BE32-E72D297353CC}">
                <c16:uniqueId val="{00001367-61F5-407B-959D-D24239F5BB85}"/>
              </c:ext>
            </c:extLst>
          </c:dPt>
          <c:dPt>
            <c:idx val="2483"/>
            <c:invertIfNegative val="1"/>
            <c:bubble3D val="0"/>
            <c:spPr>
              <a:solidFill>
                <a:srgbClr val="AEABAB"/>
              </a:solidFill>
            </c:spPr>
            <c:extLst>
              <c:ext xmlns:c16="http://schemas.microsoft.com/office/drawing/2014/chart" uri="{C3380CC4-5D6E-409C-BE32-E72D297353CC}">
                <c16:uniqueId val="{00001369-61F5-407B-959D-D24239F5BB85}"/>
              </c:ext>
            </c:extLst>
          </c:dPt>
          <c:dPt>
            <c:idx val="2484"/>
            <c:invertIfNegative val="1"/>
            <c:bubble3D val="0"/>
            <c:spPr>
              <a:solidFill>
                <a:srgbClr val="AEABAB"/>
              </a:solidFill>
            </c:spPr>
            <c:extLst>
              <c:ext xmlns:c16="http://schemas.microsoft.com/office/drawing/2014/chart" uri="{C3380CC4-5D6E-409C-BE32-E72D297353CC}">
                <c16:uniqueId val="{0000136B-61F5-407B-959D-D24239F5BB85}"/>
              </c:ext>
            </c:extLst>
          </c:dPt>
          <c:dPt>
            <c:idx val="2485"/>
            <c:invertIfNegative val="1"/>
            <c:bubble3D val="0"/>
            <c:spPr>
              <a:solidFill>
                <a:srgbClr val="AEABAB"/>
              </a:solidFill>
            </c:spPr>
            <c:extLst>
              <c:ext xmlns:c16="http://schemas.microsoft.com/office/drawing/2014/chart" uri="{C3380CC4-5D6E-409C-BE32-E72D297353CC}">
                <c16:uniqueId val="{0000136D-61F5-407B-959D-D24239F5BB85}"/>
              </c:ext>
            </c:extLst>
          </c:dPt>
          <c:dPt>
            <c:idx val="2486"/>
            <c:invertIfNegative val="1"/>
            <c:bubble3D val="0"/>
            <c:spPr>
              <a:solidFill>
                <a:srgbClr val="AEABAB"/>
              </a:solidFill>
            </c:spPr>
            <c:extLst>
              <c:ext xmlns:c16="http://schemas.microsoft.com/office/drawing/2014/chart" uri="{C3380CC4-5D6E-409C-BE32-E72D297353CC}">
                <c16:uniqueId val="{0000136F-61F5-407B-959D-D24239F5BB85}"/>
              </c:ext>
            </c:extLst>
          </c:dPt>
          <c:dPt>
            <c:idx val="2487"/>
            <c:invertIfNegative val="1"/>
            <c:bubble3D val="0"/>
            <c:spPr>
              <a:solidFill>
                <a:srgbClr val="AEABAB"/>
              </a:solidFill>
            </c:spPr>
            <c:extLst>
              <c:ext xmlns:c16="http://schemas.microsoft.com/office/drawing/2014/chart" uri="{C3380CC4-5D6E-409C-BE32-E72D297353CC}">
                <c16:uniqueId val="{00001371-61F5-407B-959D-D24239F5BB85}"/>
              </c:ext>
            </c:extLst>
          </c:dPt>
          <c:dPt>
            <c:idx val="2488"/>
            <c:invertIfNegative val="1"/>
            <c:bubble3D val="0"/>
            <c:spPr>
              <a:solidFill>
                <a:srgbClr val="AEABAB"/>
              </a:solidFill>
            </c:spPr>
            <c:extLst>
              <c:ext xmlns:c16="http://schemas.microsoft.com/office/drawing/2014/chart" uri="{C3380CC4-5D6E-409C-BE32-E72D297353CC}">
                <c16:uniqueId val="{00001373-61F5-407B-959D-D24239F5BB85}"/>
              </c:ext>
            </c:extLst>
          </c:dPt>
          <c:dPt>
            <c:idx val="2489"/>
            <c:invertIfNegative val="1"/>
            <c:bubble3D val="0"/>
            <c:spPr>
              <a:solidFill>
                <a:srgbClr val="AEABAB"/>
              </a:solidFill>
            </c:spPr>
            <c:extLst>
              <c:ext xmlns:c16="http://schemas.microsoft.com/office/drawing/2014/chart" uri="{C3380CC4-5D6E-409C-BE32-E72D297353CC}">
                <c16:uniqueId val="{00001375-61F5-407B-959D-D24239F5BB85}"/>
              </c:ext>
            </c:extLst>
          </c:dPt>
          <c:dPt>
            <c:idx val="2490"/>
            <c:invertIfNegative val="1"/>
            <c:bubble3D val="0"/>
            <c:spPr>
              <a:solidFill>
                <a:srgbClr val="AEABAB"/>
              </a:solidFill>
            </c:spPr>
            <c:extLst>
              <c:ext xmlns:c16="http://schemas.microsoft.com/office/drawing/2014/chart" uri="{C3380CC4-5D6E-409C-BE32-E72D297353CC}">
                <c16:uniqueId val="{00001377-61F5-407B-959D-D24239F5BB85}"/>
              </c:ext>
            </c:extLst>
          </c:dPt>
          <c:dPt>
            <c:idx val="2491"/>
            <c:invertIfNegative val="1"/>
            <c:bubble3D val="0"/>
            <c:spPr>
              <a:solidFill>
                <a:srgbClr val="AEABAB"/>
              </a:solidFill>
            </c:spPr>
            <c:extLst>
              <c:ext xmlns:c16="http://schemas.microsoft.com/office/drawing/2014/chart" uri="{C3380CC4-5D6E-409C-BE32-E72D297353CC}">
                <c16:uniqueId val="{00001379-61F5-407B-959D-D24239F5BB85}"/>
              </c:ext>
            </c:extLst>
          </c:dPt>
          <c:dPt>
            <c:idx val="2492"/>
            <c:invertIfNegative val="1"/>
            <c:bubble3D val="0"/>
            <c:spPr>
              <a:solidFill>
                <a:srgbClr val="AEABAB"/>
              </a:solidFill>
            </c:spPr>
            <c:extLst>
              <c:ext xmlns:c16="http://schemas.microsoft.com/office/drawing/2014/chart" uri="{C3380CC4-5D6E-409C-BE32-E72D297353CC}">
                <c16:uniqueId val="{0000137B-61F5-407B-959D-D24239F5BB85}"/>
              </c:ext>
            </c:extLst>
          </c:dPt>
          <c:dPt>
            <c:idx val="2493"/>
            <c:invertIfNegative val="1"/>
            <c:bubble3D val="0"/>
            <c:spPr>
              <a:solidFill>
                <a:srgbClr val="AEABAB"/>
              </a:solidFill>
            </c:spPr>
            <c:extLst>
              <c:ext xmlns:c16="http://schemas.microsoft.com/office/drawing/2014/chart" uri="{C3380CC4-5D6E-409C-BE32-E72D297353CC}">
                <c16:uniqueId val="{0000137D-61F5-407B-959D-D24239F5BB85}"/>
              </c:ext>
            </c:extLst>
          </c:dPt>
          <c:dPt>
            <c:idx val="2494"/>
            <c:invertIfNegative val="1"/>
            <c:bubble3D val="0"/>
            <c:spPr>
              <a:solidFill>
                <a:srgbClr val="AEABAB"/>
              </a:solidFill>
            </c:spPr>
            <c:extLst>
              <c:ext xmlns:c16="http://schemas.microsoft.com/office/drawing/2014/chart" uri="{C3380CC4-5D6E-409C-BE32-E72D297353CC}">
                <c16:uniqueId val="{0000137F-61F5-407B-959D-D24239F5BB85}"/>
              </c:ext>
            </c:extLst>
          </c:dPt>
          <c:dPt>
            <c:idx val="2495"/>
            <c:invertIfNegative val="1"/>
            <c:bubble3D val="0"/>
            <c:spPr>
              <a:solidFill>
                <a:srgbClr val="AEABAB"/>
              </a:solidFill>
            </c:spPr>
            <c:extLst>
              <c:ext xmlns:c16="http://schemas.microsoft.com/office/drawing/2014/chart" uri="{C3380CC4-5D6E-409C-BE32-E72D297353CC}">
                <c16:uniqueId val="{00001381-61F5-407B-959D-D24239F5BB85}"/>
              </c:ext>
            </c:extLst>
          </c:dPt>
          <c:dPt>
            <c:idx val="2496"/>
            <c:invertIfNegative val="1"/>
            <c:bubble3D val="0"/>
            <c:spPr>
              <a:solidFill>
                <a:srgbClr val="AEABAB"/>
              </a:solidFill>
            </c:spPr>
            <c:extLst>
              <c:ext xmlns:c16="http://schemas.microsoft.com/office/drawing/2014/chart" uri="{C3380CC4-5D6E-409C-BE32-E72D297353CC}">
                <c16:uniqueId val="{00001383-61F5-407B-959D-D24239F5BB85}"/>
              </c:ext>
            </c:extLst>
          </c:dPt>
          <c:dPt>
            <c:idx val="2497"/>
            <c:invertIfNegative val="1"/>
            <c:bubble3D val="0"/>
            <c:spPr>
              <a:solidFill>
                <a:srgbClr val="AEABAB"/>
              </a:solidFill>
            </c:spPr>
            <c:extLst>
              <c:ext xmlns:c16="http://schemas.microsoft.com/office/drawing/2014/chart" uri="{C3380CC4-5D6E-409C-BE32-E72D297353CC}">
                <c16:uniqueId val="{00001385-61F5-407B-959D-D24239F5BB85}"/>
              </c:ext>
            </c:extLst>
          </c:dPt>
          <c:dPt>
            <c:idx val="2498"/>
            <c:invertIfNegative val="1"/>
            <c:bubble3D val="0"/>
            <c:spPr>
              <a:solidFill>
                <a:srgbClr val="AEABAB"/>
              </a:solidFill>
            </c:spPr>
            <c:extLst>
              <c:ext xmlns:c16="http://schemas.microsoft.com/office/drawing/2014/chart" uri="{C3380CC4-5D6E-409C-BE32-E72D297353CC}">
                <c16:uniqueId val="{00001387-61F5-407B-959D-D24239F5BB85}"/>
              </c:ext>
            </c:extLst>
          </c:dPt>
          <c:dPt>
            <c:idx val="2499"/>
            <c:invertIfNegative val="1"/>
            <c:bubble3D val="0"/>
            <c:spPr>
              <a:solidFill>
                <a:srgbClr val="AEABAB"/>
              </a:solidFill>
            </c:spPr>
            <c:extLst>
              <c:ext xmlns:c16="http://schemas.microsoft.com/office/drawing/2014/chart" uri="{C3380CC4-5D6E-409C-BE32-E72D297353CC}">
                <c16:uniqueId val="{00001389-61F5-407B-959D-D24239F5BB85}"/>
              </c:ext>
            </c:extLst>
          </c:dPt>
          <c:dPt>
            <c:idx val="2500"/>
            <c:invertIfNegative val="1"/>
            <c:bubble3D val="0"/>
            <c:spPr>
              <a:solidFill>
                <a:srgbClr val="AEABAB"/>
              </a:solidFill>
            </c:spPr>
            <c:extLst>
              <c:ext xmlns:c16="http://schemas.microsoft.com/office/drawing/2014/chart" uri="{C3380CC4-5D6E-409C-BE32-E72D297353CC}">
                <c16:uniqueId val="{0000138B-61F5-407B-959D-D24239F5BB85}"/>
              </c:ext>
            </c:extLst>
          </c:dPt>
          <c:dPt>
            <c:idx val="2501"/>
            <c:invertIfNegative val="1"/>
            <c:bubble3D val="0"/>
            <c:spPr>
              <a:solidFill>
                <a:srgbClr val="AEABAB"/>
              </a:solidFill>
            </c:spPr>
            <c:extLst>
              <c:ext xmlns:c16="http://schemas.microsoft.com/office/drawing/2014/chart" uri="{C3380CC4-5D6E-409C-BE32-E72D297353CC}">
                <c16:uniqueId val="{0000138D-61F5-407B-959D-D24239F5BB85}"/>
              </c:ext>
            </c:extLst>
          </c:dPt>
          <c:dPt>
            <c:idx val="2502"/>
            <c:invertIfNegative val="1"/>
            <c:bubble3D val="0"/>
            <c:spPr>
              <a:solidFill>
                <a:srgbClr val="AEABAB"/>
              </a:solidFill>
            </c:spPr>
            <c:extLst>
              <c:ext xmlns:c16="http://schemas.microsoft.com/office/drawing/2014/chart" uri="{C3380CC4-5D6E-409C-BE32-E72D297353CC}">
                <c16:uniqueId val="{0000138F-61F5-407B-959D-D24239F5BB85}"/>
              </c:ext>
            </c:extLst>
          </c:dPt>
          <c:dPt>
            <c:idx val="2503"/>
            <c:invertIfNegative val="1"/>
            <c:bubble3D val="0"/>
            <c:spPr>
              <a:solidFill>
                <a:srgbClr val="AEABAB"/>
              </a:solidFill>
            </c:spPr>
            <c:extLst>
              <c:ext xmlns:c16="http://schemas.microsoft.com/office/drawing/2014/chart" uri="{C3380CC4-5D6E-409C-BE32-E72D297353CC}">
                <c16:uniqueId val="{00001391-61F5-407B-959D-D24239F5BB85}"/>
              </c:ext>
            </c:extLst>
          </c:dPt>
          <c:dPt>
            <c:idx val="2504"/>
            <c:invertIfNegative val="1"/>
            <c:bubble3D val="0"/>
            <c:spPr>
              <a:solidFill>
                <a:srgbClr val="AEABAB"/>
              </a:solidFill>
            </c:spPr>
            <c:extLst>
              <c:ext xmlns:c16="http://schemas.microsoft.com/office/drawing/2014/chart" uri="{C3380CC4-5D6E-409C-BE32-E72D297353CC}">
                <c16:uniqueId val="{00001393-61F5-407B-959D-D24239F5BB85}"/>
              </c:ext>
            </c:extLst>
          </c:dPt>
          <c:dPt>
            <c:idx val="2505"/>
            <c:invertIfNegative val="1"/>
            <c:bubble3D val="0"/>
            <c:spPr>
              <a:solidFill>
                <a:srgbClr val="AEABAB"/>
              </a:solidFill>
            </c:spPr>
            <c:extLst>
              <c:ext xmlns:c16="http://schemas.microsoft.com/office/drawing/2014/chart" uri="{C3380CC4-5D6E-409C-BE32-E72D297353CC}">
                <c16:uniqueId val="{00001395-61F5-407B-959D-D24239F5BB85}"/>
              </c:ext>
            </c:extLst>
          </c:dPt>
          <c:dPt>
            <c:idx val="2506"/>
            <c:invertIfNegative val="1"/>
            <c:bubble3D val="0"/>
            <c:spPr>
              <a:solidFill>
                <a:srgbClr val="AEABAB"/>
              </a:solidFill>
            </c:spPr>
            <c:extLst>
              <c:ext xmlns:c16="http://schemas.microsoft.com/office/drawing/2014/chart" uri="{C3380CC4-5D6E-409C-BE32-E72D297353CC}">
                <c16:uniqueId val="{00001397-61F5-407B-959D-D24239F5BB85}"/>
              </c:ext>
            </c:extLst>
          </c:dPt>
          <c:dPt>
            <c:idx val="2507"/>
            <c:invertIfNegative val="1"/>
            <c:bubble3D val="0"/>
            <c:spPr>
              <a:solidFill>
                <a:srgbClr val="AEABAB"/>
              </a:solidFill>
            </c:spPr>
            <c:extLst>
              <c:ext xmlns:c16="http://schemas.microsoft.com/office/drawing/2014/chart" uri="{C3380CC4-5D6E-409C-BE32-E72D297353CC}">
                <c16:uniqueId val="{00001399-61F5-407B-959D-D24239F5BB85}"/>
              </c:ext>
            </c:extLst>
          </c:dPt>
          <c:dPt>
            <c:idx val="2508"/>
            <c:invertIfNegative val="1"/>
            <c:bubble3D val="0"/>
            <c:spPr>
              <a:solidFill>
                <a:srgbClr val="AEABAB"/>
              </a:solidFill>
            </c:spPr>
            <c:extLst>
              <c:ext xmlns:c16="http://schemas.microsoft.com/office/drawing/2014/chart" uri="{C3380CC4-5D6E-409C-BE32-E72D297353CC}">
                <c16:uniqueId val="{0000139B-61F5-407B-959D-D24239F5BB85}"/>
              </c:ext>
            </c:extLst>
          </c:dPt>
          <c:dPt>
            <c:idx val="2509"/>
            <c:invertIfNegative val="1"/>
            <c:bubble3D val="0"/>
            <c:spPr>
              <a:solidFill>
                <a:srgbClr val="AEABAB"/>
              </a:solidFill>
            </c:spPr>
            <c:extLst>
              <c:ext xmlns:c16="http://schemas.microsoft.com/office/drawing/2014/chart" uri="{C3380CC4-5D6E-409C-BE32-E72D297353CC}">
                <c16:uniqueId val="{0000139D-61F5-407B-959D-D24239F5BB85}"/>
              </c:ext>
            </c:extLst>
          </c:dPt>
          <c:dPt>
            <c:idx val="2510"/>
            <c:invertIfNegative val="1"/>
            <c:bubble3D val="0"/>
            <c:spPr>
              <a:solidFill>
                <a:srgbClr val="AEABAB"/>
              </a:solidFill>
            </c:spPr>
            <c:extLst>
              <c:ext xmlns:c16="http://schemas.microsoft.com/office/drawing/2014/chart" uri="{C3380CC4-5D6E-409C-BE32-E72D297353CC}">
                <c16:uniqueId val="{0000139F-61F5-407B-959D-D24239F5BB85}"/>
              </c:ext>
            </c:extLst>
          </c:dPt>
          <c:dPt>
            <c:idx val="2511"/>
            <c:invertIfNegative val="1"/>
            <c:bubble3D val="0"/>
            <c:spPr>
              <a:solidFill>
                <a:srgbClr val="AEABAB"/>
              </a:solidFill>
            </c:spPr>
            <c:extLst>
              <c:ext xmlns:c16="http://schemas.microsoft.com/office/drawing/2014/chart" uri="{C3380CC4-5D6E-409C-BE32-E72D297353CC}">
                <c16:uniqueId val="{000013A1-61F5-407B-959D-D24239F5BB85}"/>
              </c:ext>
            </c:extLst>
          </c:dPt>
          <c:dPt>
            <c:idx val="2512"/>
            <c:invertIfNegative val="1"/>
            <c:bubble3D val="0"/>
            <c:spPr>
              <a:solidFill>
                <a:srgbClr val="AEABAB"/>
              </a:solidFill>
            </c:spPr>
            <c:extLst>
              <c:ext xmlns:c16="http://schemas.microsoft.com/office/drawing/2014/chart" uri="{C3380CC4-5D6E-409C-BE32-E72D297353CC}">
                <c16:uniqueId val="{000013A3-61F5-407B-959D-D24239F5BB85}"/>
              </c:ext>
            </c:extLst>
          </c:dPt>
          <c:dPt>
            <c:idx val="2513"/>
            <c:invertIfNegative val="1"/>
            <c:bubble3D val="0"/>
            <c:spPr>
              <a:solidFill>
                <a:srgbClr val="AEABAB"/>
              </a:solidFill>
            </c:spPr>
            <c:extLst>
              <c:ext xmlns:c16="http://schemas.microsoft.com/office/drawing/2014/chart" uri="{C3380CC4-5D6E-409C-BE32-E72D297353CC}">
                <c16:uniqueId val="{000013A5-61F5-407B-959D-D24239F5BB85}"/>
              </c:ext>
            </c:extLst>
          </c:dPt>
          <c:dPt>
            <c:idx val="2514"/>
            <c:invertIfNegative val="1"/>
            <c:bubble3D val="0"/>
            <c:spPr>
              <a:solidFill>
                <a:srgbClr val="AEABAB"/>
              </a:solidFill>
            </c:spPr>
            <c:extLst>
              <c:ext xmlns:c16="http://schemas.microsoft.com/office/drawing/2014/chart" uri="{C3380CC4-5D6E-409C-BE32-E72D297353CC}">
                <c16:uniqueId val="{000013A7-61F5-407B-959D-D24239F5BB85}"/>
              </c:ext>
            </c:extLst>
          </c:dPt>
          <c:dPt>
            <c:idx val="2515"/>
            <c:invertIfNegative val="1"/>
            <c:bubble3D val="0"/>
            <c:spPr>
              <a:solidFill>
                <a:srgbClr val="AEABAB"/>
              </a:solidFill>
            </c:spPr>
            <c:extLst>
              <c:ext xmlns:c16="http://schemas.microsoft.com/office/drawing/2014/chart" uri="{C3380CC4-5D6E-409C-BE32-E72D297353CC}">
                <c16:uniqueId val="{000013A9-61F5-407B-959D-D24239F5BB85}"/>
              </c:ext>
            </c:extLst>
          </c:dPt>
          <c:dPt>
            <c:idx val="2516"/>
            <c:invertIfNegative val="1"/>
            <c:bubble3D val="0"/>
            <c:spPr>
              <a:solidFill>
                <a:srgbClr val="AEABAB"/>
              </a:solidFill>
            </c:spPr>
            <c:extLst>
              <c:ext xmlns:c16="http://schemas.microsoft.com/office/drawing/2014/chart" uri="{C3380CC4-5D6E-409C-BE32-E72D297353CC}">
                <c16:uniqueId val="{000013AB-61F5-407B-959D-D24239F5BB85}"/>
              </c:ext>
            </c:extLst>
          </c:dPt>
          <c:dPt>
            <c:idx val="2517"/>
            <c:invertIfNegative val="1"/>
            <c:bubble3D val="0"/>
            <c:spPr>
              <a:solidFill>
                <a:srgbClr val="AEABAB"/>
              </a:solidFill>
            </c:spPr>
            <c:extLst>
              <c:ext xmlns:c16="http://schemas.microsoft.com/office/drawing/2014/chart" uri="{C3380CC4-5D6E-409C-BE32-E72D297353CC}">
                <c16:uniqueId val="{000013AD-61F5-407B-959D-D24239F5BB85}"/>
              </c:ext>
            </c:extLst>
          </c:dPt>
          <c:dPt>
            <c:idx val="2518"/>
            <c:invertIfNegative val="1"/>
            <c:bubble3D val="0"/>
            <c:spPr>
              <a:solidFill>
                <a:srgbClr val="AEABAB"/>
              </a:solidFill>
            </c:spPr>
            <c:extLst>
              <c:ext xmlns:c16="http://schemas.microsoft.com/office/drawing/2014/chart" uri="{C3380CC4-5D6E-409C-BE32-E72D297353CC}">
                <c16:uniqueId val="{000013AF-61F5-407B-959D-D24239F5BB85}"/>
              </c:ext>
            </c:extLst>
          </c:dPt>
          <c:dPt>
            <c:idx val="2519"/>
            <c:invertIfNegative val="1"/>
            <c:bubble3D val="0"/>
            <c:spPr>
              <a:solidFill>
                <a:srgbClr val="AEABAB"/>
              </a:solidFill>
            </c:spPr>
            <c:extLst>
              <c:ext xmlns:c16="http://schemas.microsoft.com/office/drawing/2014/chart" uri="{C3380CC4-5D6E-409C-BE32-E72D297353CC}">
                <c16:uniqueId val="{000013B1-61F5-407B-959D-D24239F5BB85}"/>
              </c:ext>
            </c:extLst>
          </c:dPt>
          <c:dPt>
            <c:idx val="2520"/>
            <c:invertIfNegative val="1"/>
            <c:bubble3D val="0"/>
            <c:spPr>
              <a:solidFill>
                <a:srgbClr val="AEABAB"/>
              </a:solidFill>
            </c:spPr>
            <c:extLst>
              <c:ext xmlns:c16="http://schemas.microsoft.com/office/drawing/2014/chart" uri="{C3380CC4-5D6E-409C-BE32-E72D297353CC}">
                <c16:uniqueId val="{000013B3-61F5-407B-959D-D24239F5BB85}"/>
              </c:ext>
            </c:extLst>
          </c:dPt>
          <c:dPt>
            <c:idx val="2521"/>
            <c:invertIfNegative val="1"/>
            <c:bubble3D val="0"/>
            <c:spPr>
              <a:solidFill>
                <a:srgbClr val="AEABAB"/>
              </a:solidFill>
            </c:spPr>
            <c:extLst>
              <c:ext xmlns:c16="http://schemas.microsoft.com/office/drawing/2014/chart" uri="{C3380CC4-5D6E-409C-BE32-E72D297353CC}">
                <c16:uniqueId val="{000013B5-61F5-407B-959D-D24239F5BB85}"/>
              </c:ext>
            </c:extLst>
          </c:dPt>
          <c:dPt>
            <c:idx val="2522"/>
            <c:invertIfNegative val="1"/>
            <c:bubble3D val="0"/>
            <c:spPr>
              <a:solidFill>
                <a:srgbClr val="AEABAB"/>
              </a:solidFill>
            </c:spPr>
            <c:extLst>
              <c:ext xmlns:c16="http://schemas.microsoft.com/office/drawing/2014/chart" uri="{C3380CC4-5D6E-409C-BE32-E72D297353CC}">
                <c16:uniqueId val="{000013B7-61F5-407B-959D-D24239F5BB85}"/>
              </c:ext>
            </c:extLst>
          </c:dPt>
          <c:dPt>
            <c:idx val="2523"/>
            <c:invertIfNegative val="1"/>
            <c:bubble3D val="0"/>
            <c:spPr>
              <a:solidFill>
                <a:srgbClr val="AEABAB"/>
              </a:solidFill>
            </c:spPr>
            <c:extLst>
              <c:ext xmlns:c16="http://schemas.microsoft.com/office/drawing/2014/chart" uri="{C3380CC4-5D6E-409C-BE32-E72D297353CC}">
                <c16:uniqueId val="{000013B9-61F5-407B-959D-D24239F5BB85}"/>
              </c:ext>
            </c:extLst>
          </c:dPt>
          <c:dPt>
            <c:idx val="2524"/>
            <c:invertIfNegative val="1"/>
            <c:bubble3D val="0"/>
            <c:spPr>
              <a:solidFill>
                <a:srgbClr val="AEABAB"/>
              </a:solidFill>
            </c:spPr>
            <c:extLst>
              <c:ext xmlns:c16="http://schemas.microsoft.com/office/drawing/2014/chart" uri="{C3380CC4-5D6E-409C-BE32-E72D297353CC}">
                <c16:uniqueId val="{000013BB-61F5-407B-959D-D24239F5BB85}"/>
              </c:ext>
            </c:extLst>
          </c:dPt>
          <c:dPt>
            <c:idx val="2525"/>
            <c:invertIfNegative val="1"/>
            <c:bubble3D val="0"/>
            <c:spPr>
              <a:solidFill>
                <a:srgbClr val="AEABAB"/>
              </a:solidFill>
            </c:spPr>
            <c:extLst>
              <c:ext xmlns:c16="http://schemas.microsoft.com/office/drawing/2014/chart" uri="{C3380CC4-5D6E-409C-BE32-E72D297353CC}">
                <c16:uniqueId val="{000013BD-61F5-407B-959D-D24239F5BB85}"/>
              </c:ext>
            </c:extLst>
          </c:dPt>
          <c:dPt>
            <c:idx val="2526"/>
            <c:invertIfNegative val="1"/>
            <c:bubble3D val="0"/>
            <c:spPr>
              <a:solidFill>
                <a:srgbClr val="AEABAB"/>
              </a:solidFill>
            </c:spPr>
            <c:extLst>
              <c:ext xmlns:c16="http://schemas.microsoft.com/office/drawing/2014/chart" uri="{C3380CC4-5D6E-409C-BE32-E72D297353CC}">
                <c16:uniqueId val="{000013BF-61F5-407B-959D-D24239F5BB85}"/>
              </c:ext>
            </c:extLst>
          </c:dPt>
          <c:dPt>
            <c:idx val="2527"/>
            <c:invertIfNegative val="1"/>
            <c:bubble3D val="0"/>
            <c:spPr>
              <a:solidFill>
                <a:srgbClr val="AEABAB"/>
              </a:solidFill>
            </c:spPr>
            <c:extLst>
              <c:ext xmlns:c16="http://schemas.microsoft.com/office/drawing/2014/chart" uri="{C3380CC4-5D6E-409C-BE32-E72D297353CC}">
                <c16:uniqueId val="{000013C1-61F5-407B-959D-D24239F5BB85}"/>
              </c:ext>
            </c:extLst>
          </c:dPt>
          <c:dPt>
            <c:idx val="2528"/>
            <c:invertIfNegative val="1"/>
            <c:bubble3D val="0"/>
            <c:spPr>
              <a:solidFill>
                <a:srgbClr val="AEABAB"/>
              </a:solidFill>
            </c:spPr>
            <c:extLst>
              <c:ext xmlns:c16="http://schemas.microsoft.com/office/drawing/2014/chart" uri="{C3380CC4-5D6E-409C-BE32-E72D297353CC}">
                <c16:uniqueId val="{000013C3-61F5-407B-959D-D24239F5BB85}"/>
              </c:ext>
            </c:extLst>
          </c:dPt>
          <c:dPt>
            <c:idx val="2529"/>
            <c:invertIfNegative val="1"/>
            <c:bubble3D val="0"/>
            <c:spPr>
              <a:solidFill>
                <a:srgbClr val="AEABAB"/>
              </a:solidFill>
            </c:spPr>
            <c:extLst>
              <c:ext xmlns:c16="http://schemas.microsoft.com/office/drawing/2014/chart" uri="{C3380CC4-5D6E-409C-BE32-E72D297353CC}">
                <c16:uniqueId val="{000013C5-61F5-407B-959D-D24239F5BB85}"/>
              </c:ext>
            </c:extLst>
          </c:dPt>
          <c:dPt>
            <c:idx val="2530"/>
            <c:invertIfNegative val="1"/>
            <c:bubble3D val="0"/>
            <c:spPr>
              <a:solidFill>
                <a:srgbClr val="AEABAB"/>
              </a:solidFill>
            </c:spPr>
            <c:extLst>
              <c:ext xmlns:c16="http://schemas.microsoft.com/office/drawing/2014/chart" uri="{C3380CC4-5D6E-409C-BE32-E72D297353CC}">
                <c16:uniqueId val="{000013C7-61F5-407B-959D-D24239F5BB85}"/>
              </c:ext>
            </c:extLst>
          </c:dPt>
          <c:dPt>
            <c:idx val="2531"/>
            <c:invertIfNegative val="1"/>
            <c:bubble3D val="0"/>
            <c:spPr>
              <a:solidFill>
                <a:srgbClr val="AEABAB"/>
              </a:solidFill>
            </c:spPr>
            <c:extLst>
              <c:ext xmlns:c16="http://schemas.microsoft.com/office/drawing/2014/chart" uri="{C3380CC4-5D6E-409C-BE32-E72D297353CC}">
                <c16:uniqueId val="{000013C9-61F5-407B-959D-D24239F5BB85}"/>
              </c:ext>
            </c:extLst>
          </c:dPt>
          <c:dPt>
            <c:idx val="2532"/>
            <c:invertIfNegative val="1"/>
            <c:bubble3D val="0"/>
            <c:spPr>
              <a:solidFill>
                <a:srgbClr val="AEABAB"/>
              </a:solidFill>
            </c:spPr>
            <c:extLst>
              <c:ext xmlns:c16="http://schemas.microsoft.com/office/drawing/2014/chart" uri="{C3380CC4-5D6E-409C-BE32-E72D297353CC}">
                <c16:uniqueId val="{000013CB-61F5-407B-959D-D24239F5BB85}"/>
              </c:ext>
            </c:extLst>
          </c:dPt>
          <c:dPt>
            <c:idx val="2533"/>
            <c:invertIfNegative val="1"/>
            <c:bubble3D val="0"/>
            <c:spPr>
              <a:solidFill>
                <a:srgbClr val="AEABAB"/>
              </a:solidFill>
            </c:spPr>
            <c:extLst>
              <c:ext xmlns:c16="http://schemas.microsoft.com/office/drawing/2014/chart" uri="{C3380CC4-5D6E-409C-BE32-E72D297353CC}">
                <c16:uniqueId val="{000013CD-61F5-407B-959D-D24239F5BB85}"/>
              </c:ext>
            </c:extLst>
          </c:dPt>
          <c:dPt>
            <c:idx val="2534"/>
            <c:invertIfNegative val="1"/>
            <c:bubble3D val="0"/>
            <c:spPr>
              <a:solidFill>
                <a:srgbClr val="AEABAB"/>
              </a:solidFill>
            </c:spPr>
            <c:extLst>
              <c:ext xmlns:c16="http://schemas.microsoft.com/office/drawing/2014/chart" uri="{C3380CC4-5D6E-409C-BE32-E72D297353CC}">
                <c16:uniqueId val="{000013CF-61F5-407B-959D-D24239F5BB85}"/>
              </c:ext>
            </c:extLst>
          </c:dPt>
          <c:dPt>
            <c:idx val="2535"/>
            <c:invertIfNegative val="1"/>
            <c:bubble3D val="0"/>
            <c:spPr>
              <a:solidFill>
                <a:srgbClr val="AEABAB"/>
              </a:solidFill>
            </c:spPr>
            <c:extLst>
              <c:ext xmlns:c16="http://schemas.microsoft.com/office/drawing/2014/chart" uri="{C3380CC4-5D6E-409C-BE32-E72D297353CC}">
                <c16:uniqueId val="{000013D1-61F5-407B-959D-D24239F5BB85}"/>
              </c:ext>
            </c:extLst>
          </c:dPt>
          <c:dPt>
            <c:idx val="2536"/>
            <c:invertIfNegative val="1"/>
            <c:bubble3D val="0"/>
            <c:spPr>
              <a:solidFill>
                <a:srgbClr val="AEABAB"/>
              </a:solidFill>
            </c:spPr>
            <c:extLst>
              <c:ext xmlns:c16="http://schemas.microsoft.com/office/drawing/2014/chart" uri="{C3380CC4-5D6E-409C-BE32-E72D297353CC}">
                <c16:uniqueId val="{000013D3-61F5-407B-959D-D24239F5BB85}"/>
              </c:ext>
            </c:extLst>
          </c:dPt>
          <c:dPt>
            <c:idx val="2537"/>
            <c:invertIfNegative val="1"/>
            <c:bubble3D val="0"/>
            <c:spPr>
              <a:solidFill>
                <a:srgbClr val="AEABAB"/>
              </a:solidFill>
            </c:spPr>
            <c:extLst>
              <c:ext xmlns:c16="http://schemas.microsoft.com/office/drawing/2014/chart" uri="{C3380CC4-5D6E-409C-BE32-E72D297353CC}">
                <c16:uniqueId val="{000013D5-61F5-407B-959D-D24239F5BB85}"/>
              </c:ext>
            </c:extLst>
          </c:dPt>
          <c:dPt>
            <c:idx val="2538"/>
            <c:invertIfNegative val="1"/>
            <c:bubble3D val="0"/>
            <c:spPr>
              <a:solidFill>
                <a:srgbClr val="AEABAB"/>
              </a:solidFill>
            </c:spPr>
            <c:extLst>
              <c:ext xmlns:c16="http://schemas.microsoft.com/office/drawing/2014/chart" uri="{C3380CC4-5D6E-409C-BE32-E72D297353CC}">
                <c16:uniqueId val="{000013D7-61F5-407B-959D-D24239F5BB85}"/>
              </c:ext>
            </c:extLst>
          </c:dPt>
          <c:dPt>
            <c:idx val="2539"/>
            <c:invertIfNegative val="1"/>
            <c:bubble3D val="0"/>
            <c:spPr>
              <a:solidFill>
                <a:srgbClr val="AEABAB"/>
              </a:solidFill>
            </c:spPr>
            <c:extLst>
              <c:ext xmlns:c16="http://schemas.microsoft.com/office/drawing/2014/chart" uri="{C3380CC4-5D6E-409C-BE32-E72D297353CC}">
                <c16:uniqueId val="{000013D9-61F5-407B-959D-D24239F5BB85}"/>
              </c:ext>
            </c:extLst>
          </c:dPt>
          <c:dPt>
            <c:idx val="2540"/>
            <c:invertIfNegative val="1"/>
            <c:bubble3D val="0"/>
            <c:spPr>
              <a:solidFill>
                <a:srgbClr val="AEABAB"/>
              </a:solidFill>
            </c:spPr>
            <c:extLst>
              <c:ext xmlns:c16="http://schemas.microsoft.com/office/drawing/2014/chart" uri="{C3380CC4-5D6E-409C-BE32-E72D297353CC}">
                <c16:uniqueId val="{000013DB-61F5-407B-959D-D24239F5BB85}"/>
              </c:ext>
            </c:extLst>
          </c:dPt>
          <c:dPt>
            <c:idx val="2541"/>
            <c:invertIfNegative val="1"/>
            <c:bubble3D val="0"/>
            <c:spPr>
              <a:solidFill>
                <a:srgbClr val="AEABAB"/>
              </a:solidFill>
            </c:spPr>
            <c:extLst>
              <c:ext xmlns:c16="http://schemas.microsoft.com/office/drawing/2014/chart" uri="{C3380CC4-5D6E-409C-BE32-E72D297353CC}">
                <c16:uniqueId val="{000013DD-61F5-407B-959D-D24239F5BB85}"/>
              </c:ext>
            </c:extLst>
          </c:dPt>
          <c:dPt>
            <c:idx val="2542"/>
            <c:invertIfNegative val="1"/>
            <c:bubble3D val="0"/>
            <c:spPr>
              <a:solidFill>
                <a:srgbClr val="AEABAB"/>
              </a:solidFill>
            </c:spPr>
            <c:extLst>
              <c:ext xmlns:c16="http://schemas.microsoft.com/office/drawing/2014/chart" uri="{C3380CC4-5D6E-409C-BE32-E72D297353CC}">
                <c16:uniqueId val="{000013DF-61F5-407B-959D-D24239F5BB85}"/>
              </c:ext>
            </c:extLst>
          </c:dPt>
          <c:dPt>
            <c:idx val="2543"/>
            <c:invertIfNegative val="1"/>
            <c:bubble3D val="0"/>
            <c:spPr>
              <a:solidFill>
                <a:srgbClr val="AEABAB"/>
              </a:solidFill>
            </c:spPr>
            <c:extLst>
              <c:ext xmlns:c16="http://schemas.microsoft.com/office/drawing/2014/chart" uri="{C3380CC4-5D6E-409C-BE32-E72D297353CC}">
                <c16:uniqueId val="{000013E1-61F5-407B-959D-D24239F5BB85}"/>
              </c:ext>
            </c:extLst>
          </c:dPt>
          <c:dPt>
            <c:idx val="2544"/>
            <c:invertIfNegative val="1"/>
            <c:bubble3D val="0"/>
            <c:spPr>
              <a:solidFill>
                <a:srgbClr val="AEABAB"/>
              </a:solidFill>
            </c:spPr>
            <c:extLst>
              <c:ext xmlns:c16="http://schemas.microsoft.com/office/drawing/2014/chart" uri="{C3380CC4-5D6E-409C-BE32-E72D297353CC}">
                <c16:uniqueId val="{000013E3-61F5-407B-959D-D24239F5BB85}"/>
              </c:ext>
            </c:extLst>
          </c:dPt>
          <c:dPt>
            <c:idx val="2545"/>
            <c:invertIfNegative val="1"/>
            <c:bubble3D val="0"/>
            <c:spPr>
              <a:solidFill>
                <a:srgbClr val="AEABAB"/>
              </a:solidFill>
            </c:spPr>
            <c:extLst>
              <c:ext xmlns:c16="http://schemas.microsoft.com/office/drawing/2014/chart" uri="{C3380CC4-5D6E-409C-BE32-E72D297353CC}">
                <c16:uniqueId val="{000013E5-61F5-407B-959D-D24239F5BB85}"/>
              </c:ext>
            </c:extLst>
          </c:dPt>
          <c:dPt>
            <c:idx val="2546"/>
            <c:invertIfNegative val="1"/>
            <c:bubble3D val="0"/>
            <c:spPr>
              <a:solidFill>
                <a:srgbClr val="AEABAB"/>
              </a:solidFill>
            </c:spPr>
            <c:extLst>
              <c:ext xmlns:c16="http://schemas.microsoft.com/office/drawing/2014/chart" uri="{C3380CC4-5D6E-409C-BE32-E72D297353CC}">
                <c16:uniqueId val="{000013E7-61F5-407B-959D-D24239F5BB85}"/>
              </c:ext>
            </c:extLst>
          </c:dPt>
          <c:dPt>
            <c:idx val="2547"/>
            <c:invertIfNegative val="1"/>
            <c:bubble3D val="0"/>
            <c:spPr>
              <a:solidFill>
                <a:srgbClr val="AEABAB"/>
              </a:solidFill>
            </c:spPr>
            <c:extLst>
              <c:ext xmlns:c16="http://schemas.microsoft.com/office/drawing/2014/chart" uri="{C3380CC4-5D6E-409C-BE32-E72D297353CC}">
                <c16:uniqueId val="{000013E9-61F5-407B-959D-D24239F5BB85}"/>
              </c:ext>
            </c:extLst>
          </c:dPt>
          <c:dPt>
            <c:idx val="2548"/>
            <c:invertIfNegative val="1"/>
            <c:bubble3D val="0"/>
            <c:spPr>
              <a:solidFill>
                <a:srgbClr val="AEABAB"/>
              </a:solidFill>
            </c:spPr>
            <c:extLst>
              <c:ext xmlns:c16="http://schemas.microsoft.com/office/drawing/2014/chart" uri="{C3380CC4-5D6E-409C-BE32-E72D297353CC}">
                <c16:uniqueId val="{000013EB-61F5-407B-959D-D24239F5BB85}"/>
              </c:ext>
            </c:extLst>
          </c:dPt>
          <c:dPt>
            <c:idx val="2549"/>
            <c:invertIfNegative val="1"/>
            <c:bubble3D val="0"/>
            <c:spPr>
              <a:solidFill>
                <a:srgbClr val="AEABAB"/>
              </a:solidFill>
            </c:spPr>
            <c:extLst>
              <c:ext xmlns:c16="http://schemas.microsoft.com/office/drawing/2014/chart" uri="{C3380CC4-5D6E-409C-BE32-E72D297353CC}">
                <c16:uniqueId val="{000013ED-61F5-407B-959D-D24239F5BB85}"/>
              </c:ext>
            </c:extLst>
          </c:dPt>
          <c:dPt>
            <c:idx val="2550"/>
            <c:invertIfNegative val="1"/>
            <c:bubble3D val="0"/>
            <c:spPr>
              <a:solidFill>
                <a:srgbClr val="AEABAB"/>
              </a:solidFill>
            </c:spPr>
            <c:extLst>
              <c:ext xmlns:c16="http://schemas.microsoft.com/office/drawing/2014/chart" uri="{C3380CC4-5D6E-409C-BE32-E72D297353CC}">
                <c16:uniqueId val="{000013EF-61F5-407B-959D-D24239F5BB85}"/>
              </c:ext>
            </c:extLst>
          </c:dPt>
          <c:dPt>
            <c:idx val="2551"/>
            <c:invertIfNegative val="1"/>
            <c:bubble3D val="0"/>
            <c:spPr>
              <a:solidFill>
                <a:srgbClr val="AEABAB"/>
              </a:solidFill>
            </c:spPr>
            <c:extLst>
              <c:ext xmlns:c16="http://schemas.microsoft.com/office/drawing/2014/chart" uri="{C3380CC4-5D6E-409C-BE32-E72D297353CC}">
                <c16:uniqueId val="{000013F1-61F5-407B-959D-D24239F5BB85}"/>
              </c:ext>
            </c:extLst>
          </c:dPt>
          <c:dPt>
            <c:idx val="2552"/>
            <c:invertIfNegative val="1"/>
            <c:bubble3D val="0"/>
            <c:spPr>
              <a:solidFill>
                <a:srgbClr val="AEABAB"/>
              </a:solidFill>
            </c:spPr>
            <c:extLst>
              <c:ext xmlns:c16="http://schemas.microsoft.com/office/drawing/2014/chart" uri="{C3380CC4-5D6E-409C-BE32-E72D297353CC}">
                <c16:uniqueId val="{000013F3-61F5-407B-959D-D24239F5BB85}"/>
              </c:ext>
            </c:extLst>
          </c:dPt>
          <c:dPt>
            <c:idx val="2553"/>
            <c:invertIfNegative val="1"/>
            <c:bubble3D val="0"/>
            <c:spPr>
              <a:solidFill>
                <a:srgbClr val="AEABAB"/>
              </a:solidFill>
            </c:spPr>
            <c:extLst>
              <c:ext xmlns:c16="http://schemas.microsoft.com/office/drawing/2014/chart" uri="{C3380CC4-5D6E-409C-BE32-E72D297353CC}">
                <c16:uniqueId val="{000013F5-61F5-407B-959D-D24239F5BB85}"/>
              </c:ext>
            </c:extLst>
          </c:dPt>
          <c:dPt>
            <c:idx val="2554"/>
            <c:invertIfNegative val="1"/>
            <c:bubble3D val="0"/>
            <c:spPr>
              <a:solidFill>
                <a:srgbClr val="AEABAB"/>
              </a:solidFill>
            </c:spPr>
            <c:extLst>
              <c:ext xmlns:c16="http://schemas.microsoft.com/office/drawing/2014/chart" uri="{C3380CC4-5D6E-409C-BE32-E72D297353CC}">
                <c16:uniqueId val="{000013F7-61F5-407B-959D-D24239F5BB85}"/>
              </c:ext>
            </c:extLst>
          </c:dPt>
          <c:dPt>
            <c:idx val="2555"/>
            <c:invertIfNegative val="1"/>
            <c:bubble3D val="0"/>
            <c:spPr>
              <a:solidFill>
                <a:srgbClr val="AEABAB"/>
              </a:solidFill>
            </c:spPr>
            <c:extLst>
              <c:ext xmlns:c16="http://schemas.microsoft.com/office/drawing/2014/chart" uri="{C3380CC4-5D6E-409C-BE32-E72D297353CC}">
                <c16:uniqueId val="{000013F9-61F5-407B-959D-D24239F5BB85}"/>
              </c:ext>
            </c:extLst>
          </c:dPt>
          <c:dPt>
            <c:idx val="2556"/>
            <c:invertIfNegative val="1"/>
            <c:bubble3D val="0"/>
            <c:spPr>
              <a:solidFill>
                <a:srgbClr val="AEABAB"/>
              </a:solidFill>
            </c:spPr>
            <c:extLst>
              <c:ext xmlns:c16="http://schemas.microsoft.com/office/drawing/2014/chart" uri="{C3380CC4-5D6E-409C-BE32-E72D297353CC}">
                <c16:uniqueId val="{000013FB-61F5-407B-959D-D24239F5BB85}"/>
              </c:ext>
            </c:extLst>
          </c:dPt>
          <c:dPt>
            <c:idx val="2557"/>
            <c:invertIfNegative val="1"/>
            <c:bubble3D val="0"/>
            <c:spPr>
              <a:solidFill>
                <a:srgbClr val="AEABAB"/>
              </a:solidFill>
            </c:spPr>
            <c:extLst>
              <c:ext xmlns:c16="http://schemas.microsoft.com/office/drawing/2014/chart" uri="{C3380CC4-5D6E-409C-BE32-E72D297353CC}">
                <c16:uniqueId val="{000013FD-61F5-407B-959D-D24239F5BB85}"/>
              </c:ext>
            </c:extLst>
          </c:dPt>
          <c:dPt>
            <c:idx val="2558"/>
            <c:invertIfNegative val="1"/>
            <c:bubble3D val="0"/>
            <c:spPr>
              <a:solidFill>
                <a:srgbClr val="AEABAB"/>
              </a:solidFill>
            </c:spPr>
            <c:extLst>
              <c:ext xmlns:c16="http://schemas.microsoft.com/office/drawing/2014/chart" uri="{C3380CC4-5D6E-409C-BE32-E72D297353CC}">
                <c16:uniqueId val="{000013FF-61F5-407B-959D-D24239F5BB85}"/>
              </c:ext>
            </c:extLst>
          </c:dPt>
          <c:dPt>
            <c:idx val="2559"/>
            <c:invertIfNegative val="1"/>
            <c:bubble3D val="0"/>
            <c:spPr>
              <a:solidFill>
                <a:srgbClr val="AEABAB"/>
              </a:solidFill>
            </c:spPr>
            <c:extLst>
              <c:ext xmlns:c16="http://schemas.microsoft.com/office/drawing/2014/chart" uri="{C3380CC4-5D6E-409C-BE32-E72D297353CC}">
                <c16:uniqueId val="{00001401-61F5-407B-959D-D24239F5BB85}"/>
              </c:ext>
            </c:extLst>
          </c:dPt>
          <c:dPt>
            <c:idx val="2560"/>
            <c:invertIfNegative val="1"/>
            <c:bubble3D val="0"/>
            <c:spPr>
              <a:solidFill>
                <a:srgbClr val="AEABAB"/>
              </a:solidFill>
            </c:spPr>
            <c:extLst>
              <c:ext xmlns:c16="http://schemas.microsoft.com/office/drawing/2014/chart" uri="{C3380CC4-5D6E-409C-BE32-E72D297353CC}">
                <c16:uniqueId val="{00001403-61F5-407B-959D-D24239F5BB85}"/>
              </c:ext>
            </c:extLst>
          </c:dPt>
          <c:dPt>
            <c:idx val="2561"/>
            <c:invertIfNegative val="1"/>
            <c:bubble3D val="0"/>
            <c:spPr>
              <a:solidFill>
                <a:srgbClr val="AEABAB"/>
              </a:solidFill>
            </c:spPr>
            <c:extLst>
              <c:ext xmlns:c16="http://schemas.microsoft.com/office/drawing/2014/chart" uri="{C3380CC4-5D6E-409C-BE32-E72D297353CC}">
                <c16:uniqueId val="{00001405-61F5-407B-959D-D24239F5BB85}"/>
              </c:ext>
            </c:extLst>
          </c:dPt>
          <c:dPt>
            <c:idx val="2562"/>
            <c:invertIfNegative val="1"/>
            <c:bubble3D val="0"/>
            <c:spPr>
              <a:solidFill>
                <a:srgbClr val="AEABAB"/>
              </a:solidFill>
            </c:spPr>
            <c:extLst>
              <c:ext xmlns:c16="http://schemas.microsoft.com/office/drawing/2014/chart" uri="{C3380CC4-5D6E-409C-BE32-E72D297353CC}">
                <c16:uniqueId val="{00001407-61F5-407B-959D-D24239F5BB85}"/>
              </c:ext>
            </c:extLst>
          </c:dPt>
          <c:dPt>
            <c:idx val="2563"/>
            <c:invertIfNegative val="1"/>
            <c:bubble3D val="0"/>
            <c:spPr>
              <a:solidFill>
                <a:srgbClr val="AEABAB"/>
              </a:solidFill>
            </c:spPr>
            <c:extLst>
              <c:ext xmlns:c16="http://schemas.microsoft.com/office/drawing/2014/chart" uri="{C3380CC4-5D6E-409C-BE32-E72D297353CC}">
                <c16:uniqueId val="{00001409-61F5-407B-959D-D24239F5BB85}"/>
              </c:ext>
            </c:extLst>
          </c:dPt>
          <c:dPt>
            <c:idx val="2564"/>
            <c:invertIfNegative val="1"/>
            <c:bubble3D val="0"/>
            <c:spPr>
              <a:solidFill>
                <a:srgbClr val="AEABAB"/>
              </a:solidFill>
            </c:spPr>
            <c:extLst>
              <c:ext xmlns:c16="http://schemas.microsoft.com/office/drawing/2014/chart" uri="{C3380CC4-5D6E-409C-BE32-E72D297353CC}">
                <c16:uniqueId val="{0000140B-61F5-407B-959D-D24239F5BB85}"/>
              </c:ext>
            </c:extLst>
          </c:dPt>
          <c:dPt>
            <c:idx val="2565"/>
            <c:invertIfNegative val="1"/>
            <c:bubble3D val="0"/>
            <c:spPr>
              <a:solidFill>
                <a:srgbClr val="AEABAB"/>
              </a:solidFill>
            </c:spPr>
            <c:extLst>
              <c:ext xmlns:c16="http://schemas.microsoft.com/office/drawing/2014/chart" uri="{C3380CC4-5D6E-409C-BE32-E72D297353CC}">
                <c16:uniqueId val="{0000140D-61F5-407B-959D-D24239F5BB85}"/>
              </c:ext>
            </c:extLst>
          </c:dPt>
          <c:dPt>
            <c:idx val="2566"/>
            <c:invertIfNegative val="1"/>
            <c:bubble3D val="0"/>
            <c:spPr>
              <a:solidFill>
                <a:srgbClr val="AEABAB"/>
              </a:solidFill>
            </c:spPr>
            <c:extLst>
              <c:ext xmlns:c16="http://schemas.microsoft.com/office/drawing/2014/chart" uri="{C3380CC4-5D6E-409C-BE32-E72D297353CC}">
                <c16:uniqueId val="{0000140F-61F5-407B-959D-D24239F5BB85}"/>
              </c:ext>
            </c:extLst>
          </c:dPt>
          <c:dPt>
            <c:idx val="2567"/>
            <c:invertIfNegative val="1"/>
            <c:bubble3D val="0"/>
            <c:spPr>
              <a:solidFill>
                <a:srgbClr val="AEABAB"/>
              </a:solidFill>
            </c:spPr>
            <c:extLst>
              <c:ext xmlns:c16="http://schemas.microsoft.com/office/drawing/2014/chart" uri="{C3380CC4-5D6E-409C-BE32-E72D297353CC}">
                <c16:uniqueId val="{00001411-61F5-407B-959D-D24239F5BB85}"/>
              </c:ext>
            </c:extLst>
          </c:dPt>
          <c:dPt>
            <c:idx val="2568"/>
            <c:invertIfNegative val="1"/>
            <c:bubble3D val="0"/>
            <c:spPr>
              <a:solidFill>
                <a:srgbClr val="AEABAB"/>
              </a:solidFill>
            </c:spPr>
            <c:extLst>
              <c:ext xmlns:c16="http://schemas.microsoft.com/office/drawing/2014/chart" uri="{C3380CC4-5D6E-409C-BE32-E72D297353CC}">
                <c16:uniqueId val="{00001413-61F5-407B-959D-D24239F5BB85}"/>
              </c:ext>
            </c:extLst>
          </c:dPt>
          <c:dPt>
            <c:idx val="2569"/>
            <c:invertIfNegative val="1"/>
            <c:bubble3D val="0"/>
            <c:spPr>
              <a:solidFill>
                <a:srgbClr val="AEABAB"/>
              </a:solidFill>
            </c:spPr>
            <c:extLst>
              <c:ext xmlns:c16="http://schemas.microsoft.com/office/drawing/2014/chart" uri="{C3380CC4-5D6E-409C-BE32-E72D297353CC}">
                <c16:uniqueId val="{00001415-61F5-407B-959D-D24239F5BB85}"/>
              </c:ext>
            </c:extLst>
          </c:dPt>
          <c:dPt>
            <c:idx val="2570"/>
            <c:invertIfNegative val="1"/>
            <c:bubble3D val="0"/>
            <c:spPr>
              <a:solidFill>
                <a:srgbClr val="AEABAB"/>
              </a:solidFill>
            </c:spPr>
            <c:extLst>
              <c:ext xmlns:c16="http://schemas.microsoft.com/office/drawing/2014/chart" uri="{C3380CC4-5D6E-409C-BE32-E72D297353CC}">
                <c16:uniqueId val="{00001417-61F5-407B-959D-D24239F5BB85}"/>
              </c:ext>
            </c:extLst>
          </c:dPt>
          <c:dPt>
            <c:idx val="2571"/>
            <c:invertIfNegative val="1"/>
            <c:bubble3D val="0"/>
            <c:spPr>
              <a:solidFill>
                <a:srgbClr val="AEABAB"/>
              </a:solidFill>
            </c:spPr>
            <c:extLst>
              <c:ext xmlns:c16="http://schemas.microsoft.com/office/drawing/2014/chart" uri="{C3380CC4-5D6E-409C-BE32-E72D297353CC}">
                <c16:uniqueId val="{00001419-61F5-407B-959D-D24239F5BB85}"/>
              </c:ext>
            </c:extLst>
          </c:dPt>
          <c:dPt>
            <c:idx val="2572"/>
            <c:invertIfNegative val="1"/>
            <c:bubble3D val="0"/>
            <c:spPr>
              <a:solidFill>
                <a:srgbClr val="AEABAB"/>
              </a:solidFill>
            </c:spPr>
            <c:extLst>
              <c:ext xmlns:c16="http://schemas.microsoft.com/office/drawing/2014/chart" uri="{C3380CC4-5D6E-409C-BE32-E72D297353CC}">
                <c16:uniqueId val="{0000141B-61F5-407B-959D-D24239F5BB85}"/>
              </c:ext>
            </c:extLst>
          </c:dPt>
          <c:dPt>
            <c:idx val="2573"/>
            <c:invertIfNegative val="1"/>
            <c:bubble3D val="0"/>
            <c:spPr>
              <a:solidFill>
                <a:srgbClr val="AEABAB"/>
              </a:solidFill>
            </c:spPr>
            <c:extLst>
              <c:ext xmlns:c16="http://schemas.microsoft.com/office/drawing/2014/chart" uri="{C3380CC4-5D6E-409C-BE32-E72D297353CC}">
                <c16:uniqueId val="{0000141D-61F5-407B-959D-D24239F5BB85}"/>
              </c:ext>
            </c:extLst>
          </c:dPt>
          <c:dPt>
            <c:idx val="2574"/>
            <c:invertIfNegative val="1"/>
            <c:bubble3D val="0"/>
            <c:spPr>
              <a:solidFill>
                <a:srgbClr val="AEABAB"/>
              </a:solidFill>
            </c:spPr>
            <c:extLst>
              <c:ext xmlns:c16="http://schemas.microsoft.com/office/drawing/2014/chart" uri="{C3380CC4-5D6E-409C-BE32-E72D297353CC}">
                <c16:uniqueId val="{0000141F-61F5-407B-959D-D24239F5BB85}"/>
              </c:ext>
            </c:extLst>
          </c:dPt>
          <c:dPt>
            <c:idx val="2575"/>
            <c:invertIfNegative val="1"/>
            <c:bubble3D val="0"/>
            <c:spPr>
              <a:solidFill>
                <a:srgbClr val="AEABAB"/>
              </a:solidFill>
            </c:spPr>
            <c:extLst>
              <c:ext xmlns:c16="http://schemas.microsoft.com/office/drawing/2014/chart" uri="{C3380CC4-5D6E-409C-BE32-E72D297353CC}">
                <c16:uniqueId val="{00001421-61F5-407B-959D-D24239F5BB85}"/>
              </c:ext>
            </c:extLst>
          </c:dPt>
          <c:dPt>
            <c:idx val="2576"/>
            <c:invertIfNegative val="1"/>
            <c:bubble3D val="0"/>
            <c:spPr>
              <a:solidFill>
                <a:srgbClr val="AEABAB"/>
              </a:solidFill>
            </c:spPr>
            <c:extLst>
              <c:ext xmlns:c16="http://schemas.microsoft.com/office/drawing/2014/chart" uri="{C3380CC4-5D6E-409C-BE32-E72D297353CC}">
                <c16:uniqueId val="{00001423-61F5-407B-959D-D24239F5BB85}"/>
              </c:ext>
            </c:extLst>
          </c:dPt>
          <c:dPt>
            <c:idx val="2577"/>
            <c:invertIfNegative val="1"/>
            <c:bubble3D val="0"/>
            <c:spPr>
              <a:solidFill>
                <a:srgbClr val="AEABAB"/>
              </a:solidFill>
            </c:spPr>
            <c:extLst>
              <c:ext xmlns:c16="http://schemas.microsoft.com/office/drawing/2014/chart" uri="{C3380CC4-5D6E-409C-BE32-E72D297353CC}">
                <c16:uniqueId val="{00001425-61F5-407B-959D-D24239F5BB85}"/>
              </c:ext>
            </c:extLst>
          </c:dPt>
          <c:dPt>
            <c:idx val="2578"/>
            <c:invertIfNegative val="1"/>
            <c:bubble3D val="0"/>
            <c:spPr>
              <a:solidFill>
                <a:srgbClr val="AEABAB"/>
              </a:solidFill>
            </c:spPr>
            <c:extLst>
              <c:ext xmlns:c16="http://schemas.microsoft.com/office/drawing/2014/chart" uri="{C3380CC4-5D6E-409C-BE32-E72D297353CC}">
                <c16:uniqueId val="{00001427-61F5-407B-959D-D24239F5BB85}"/>
              </c:ext>
            </c:extLst>
          </c:dPt>
          <c:dPt>
            <c:idx val="2579"/>
            <c:invertIfNegative val="1"/>
            <c:bubble3D val="0"/>
            <c:spPr>
              <a:solidFill>
                <a:srgbClr val="AEABAB"/>
              </a:solidFill>
            </c:spPr>
            <c:extLst>
              <c:ext xmlns:c16="http://schemas.microsoft.com/office/drawing/2014/chart" uri="{C3380CC4-5D6E-409C-BE32-E72D297353CC}">
                <c16:uniqueId val="{00001429-61F5-407B-959D-D24239F5BB85}"/>
              </c:ext>
            </c:extLst>
          </c:dPt>
          <c:dPt>
            <c:idx val="2580"/>
            <c:invertIfNegative val="1"/>
            <c:bubble3D val="0"/>
            <c:spPr>
              <a:solidFill>
                <a:srgbClr val="AEABAB"/>
              </a:solidFill>
            </c:spPr>
            <c:extLst>
              <c:ext xmlns:c16="http://schemas.microsoft.com/office/drawing/2014/chart" uri="{C3380CC4-5D6E-409C-BE32-E72D297353CC}">
                <c16:uniqueId val="{0000142B-61F5-407B-959D-D24239F5BB85}"/>
              </c:ext>
            </c:extLst>
          </c:dPt>
          <c:dPt>
            <c:idx val="2581"/>
            <c:invertIfNegative val="1"/>
            <c:bubble3D val="0"/>
            <c:spPr>
              <a:solidFill>
                <a:srgbClr val="AEABAB"/>
              </a:solidFill>
            </c:spPr>
            <c:extLst>
              <c:ext xmlns:c16="http://schemas.microsoft.com/office/drawing/2014/chart" uri="{C3380CC4-5D6E-409C-BE32-E72D297353CC}">
                <c16:uniqueId val="{0000142D-61F5-407B-959D-D24239F5BB85}"/>
              </c:ext>
            </c:extLst>
          </c:dPt>
          <c:dPt>
            <c:idx val="2582"/>
            <c:invertIfNegative val="1"/>
            <c:bubble3D val="0"/>
            <c:spPr>
              <a:solidFill>
                <a:srgbClr val="AEABAB"/>
              </a:solidFill>
            </c:spPr>
            <c:extLst>
              <c:ext xmlns:c16="http://schemas.microsoft.com/office/drawing/2014/chart" uri="{C3380CC4-5D6E-409C-BE32-E72D297353CC}">
                <c16:uniqueId val="{0000142F-61F5-407B-959D-D24239F5BB85}"/>
              </c:ext>
            </c:extLst>
          </c:dPt>
          <c:dPt>
            <c:idx val="2583"/>
            <c:invertIfNegative val="1"/>
            <c:bubble3D val="0"/>
            <c:spPr>
              <a:solidFill>
                <a:srgbClr val="AEABAB"/>
              </a:solidFill>
            </c:spPr>
            <c:extLst>
              <c:ext xmlns:c16="http://schemas.microsoft.com/office/drawing/2014/chart" uri="{C3380CC4-5D6E-409C-BE32-E72D297353CC}">
                <c16:uniqueId val="{00001431-61F5-407B-959D-D24239F5BB85}"/>
              </c:ext>
            </c:extLst>
          </c:dPt>
          <c:dPt>
            <c:idx val="2584"/>
            <c:invertIfNegative val="1"/>
            <c:bubble3D val="0"/>
            <c:spPr>
              <a:solidFill>
                <a:srgbClr val="AEABAB"/>
              </a:solidFill>
            </c:spPr>
            <c:extLst>
              <c:ext xmlns:c16="http://schemas.microsoft.com/office/drawing/2014/chart" uri="{C3380CC4-5D6E-409C-BE32-E72D297353CC}">
                <c16:uniqueId val="{00001433-61F5-407B-959D-D24239F5BB85}"/>
              </c:ext>
            </c:extLst>
          </c:dPt>
          <c:dPt>
            <c:idx val="2585"/>
            <c:invertIfNegative val="1"/>
            <c:bubble3D val="0"/>
            <c:spPr>
              <a:solidFill>
                <a:srgbClr val="AEABAB"/>
              </a:solidFill>
            </c:spPr>
            <c:extLst>
              <c:ext xmlns:c16="http://schemas.microsoft.com/office/drawing/2014/chart" uri="{C3380CC4-5D6E-409C-BE32-E72D297353CC}">
                <c16:uniqueId val="{00001435-61F5-407B-959D-D24239F5BB85}"/>
              </c:ext>
            </c:extLst>
          </c:dPt>
          <c:dPt>
            <c:idx val="2586"/>
            <c:invertIfNegative val="1"/>
            <c:bubble3D val="0"/>
            <c:spPr>
              <a:solidFill>
                <a:srgbClr val="AEABAB"/>
              </a:solidFill>
            </c:spPr>
            <c:extLst>
              <c:ext xmlns:c16="http://schemas.microsoft.com/office/drawing/2014/chart" uri="{C3380CC4-5D6E-409C-BE32-E72D297353CC}">
                <c16:uniqueId val="{00001437-61F5-407B-959D-D24239F5BB85}"/>
              </c:ext>
            </c:extLst>
          </c:dPt>
          <c:dPt>
            <c:idx val="2587"/>
            <c:invertIfNegative val="1"/>
            <c:bubble3D val="0"/>
            <c:spPr>
              <a:solidFill>
                <a:srgbClr val="AEABAB"/>
              </a:solidFill>
            </c:spPr>
            <c:extLst>
              <c:ext xmlns:c16="http://schemas.microsoft.com/office/drawing/2014/chart" uri="{C3380CC4-5D6E-409C-BE32-E72D297353CC}">
                <c16:uniqueId val="{00001439-61F5-407B-959D-D24239F5BB85}"/>
              </c:ext>
            </c:extLst>
          </c:dPt>
          <c:dPt>
            <c:idx val="2588"/>
            <c:invertIfNegative val="1"/>
            <c:bubble3D val="0"/>
            <c:spPr>
              <a:solidFill>
                <a:srgbClr val="AEABAB"/>
              </a:solidFill>
            </c:spPr>
            <c:extLst>
              <c:ext xmlns:c16="http://schemas.microsoft.com/office/drawing/2014/chart" uri="{C3380CC4-5D6E-409C-BE32-E72D297353CC}">
                <c16:uniqueId val="{0000143B-61F5-407B-959D-D24239F5BB85}"/>
              </c:ext>
            </c:extLst>
          </c:dPt>
          <c:dPt>
            <c:idx val="2589"/>
            <c:invertIfNegative val="1"/>
            <c:bubble3D val="0"/>
            <c:spPr>
              <a:solidFill>
                <a:srgbClr val="AEABAB"/>
              </a:solidFill>
            </c:spPr>
            <c:extLst>
              <c:ext xmlns:c16="http://schemas.microsoft.com/office/drawing/2014/chart" uri="{C3380CC4-5D6E-409C-BE32-E72D297353CC}">
                <c16:uniqueId val="{0000143D-61F5-407B-959D-D24239F5BB85}"/>
              </c:ext>
            </c:extLst>
          </c:dPt>
          <c:dPt>
            <c:idx val="2590"/>
            <c:invertIfNegative val="1"/>
            <c:bubble3D val="0"/>
            <c:spPr>
              <a:solidFill>
                <a:srgbClr val="AEABAB"/>
              </a:solidFill>
            </c:spPr>
            <c:extLst>
              <c:ext xmlns:c16="http://schemas.microsoft.com/office/drawing/2014/chart" uri="{C3380CC4-5D6E-409C-BE32-E72D297353CC}">
                <c16:uniqueId val="{0000143F-61F5-407B-959D-D24239F5BB85}"/>
              </c:ext>
            </c:extLst>
          </c:dPt>
          <c:dPt>
            <c:idx val="2591"/>
            <c:invertIfNegative val="1"/>
            <c:bubble3D val="0"/>
            <c:spPr>
              <a:solidFill>
                <a:srgbClr val="AEABAB"/>
              </a:solidFill>
            </c:spPr>
            <c:extLst>
              <c:ext xmlns:c16="http://schemas.microsoft.com/office/drawing/2014/chart" uri="{C3380CC4-5D6E-409C-BE32-E72D297353CC}">
                <c16:uniqueId val="{00001441-61F5-407B-959D-D24239F5BB85}"/>
              </c:ext>
            </c:extLst>
          </c:dPt>
          <c:dPt>
            <c:idx val="2592"/>
            <c:invertIfNegative val="1"/>
            <c:bubble3D val="0"/>
            <c:spPr>
              <a:solidFill>
                <a:srgbClr val="AEABAB"/>
              </a:solidFill>
            </c:spPr>
            <c:extLst>
              <c:ext xmlns:c16="http://schemas.microsoft.com/office/drawing/2014/chart" uri="{C3380CC4-5D6E-409C-BE32-E72D297353CC}">
                <c16:uniqueId val="{00001443-61F5-407B-959D-D24239F5BB85}"/>
              </c:ext>
            </c:extLst>
          </c:dPt>
          <c:dPt>
            <c:idx val="2593"/>
            <c:invertIfNegative val="1"/>
            <c:bubble3D val="0"/>
            <c:spPr>
              <a:solidFill>
                <a:srgbClr val="AEABAB"/>
              </a:solidFill>
            </c:spPr>
            <c:extLst>
              <c:ext xmlns:c16="http://schemas.microsoft.com/office/drawing/2014/chart" uri="{C3380CC4-5D6E-409C-BE32-E72D297353CC}">
                <c16:uniqueId val="{00001445-61F5-407B-959D-D24239F5BB85}"/>
              </c:ext>
            </c:extLst>
          </c:dPt>
          <c:dPt>
            <c:idx val="2594"/>
            <c:invertIfNegative val="1"/>
            <c:bubble3D val="0"/>
            <c:spPr>
              <a:solidFill>
                <a:srgbClr val="AEABAB"/>
              </a:solidFill>
            </c:spPr>
            <c:extLst>
              <c:ext xmlns:c16="http://schemas.microsoft.com/office/drawing/2014/chart" uri="{C3380CC4-5D6E-409C-BE32-E72D297353CC}">
                <c16:uniqueId val="{00001447-61F5-407B-959D-D24239F5BB85}"/>
              </c:ext>
            </c:extLst>
          </c:dPt>
          <c:dPt>
            <c:idx val="2595"/>
            <c:invertIfNegative val="1"/>
            <c:bubble3D val="0"/>
            <c:spPr>
              <a:solidFill>
                <a:srgbClr val="AEABAB"/>
              </a:solidFill>
            </c:spPr>
            <c:extLst>
              <c:ext xmlns:c16="http://schemas.microsoft.com/office/drawing/2014/chart" uri="{C3380CC4-5D6E-409C-BE32-E72D297353CC}">
                <c16:uniqueId val="{00001449-61F5-407B-959D-D24239F5BB85}"/>
              </c:ext>
            </c:extLst>
          </c:dPt>
          <c:dPt>
            <c:idx val="2596"/>
            <c:invertIfNegative val="1"/>
            <c:bubble3D val="0"/>
            <c:spPr>
              <a:solidFill>
                <a:srgbClr val="AEABAB"/>
              </a:solidFill>
            </c:spPr>
            <c:extLst>
              <c:ext xmlns:c16="http://schemas.microsoft.com/office/drawing/2014/chart" uri="{C3380CC4-5D6E-409C-BE32-E72D297353CC}">
                <c16:uniqueId val="{0000144B-61F5-407B-959D-D24239F5BB85}"/>
              </c:ext>
            </c:extLst>
          </c:dPt>
          <c:dPt>
            <c:idx val="2597"/>
            <c:invertIfNegative val="1"/>
            <c:bubble3D val="0"/>
            <c:spPr>
              <a:solidFill>
                <a:srgbClr val="AEABAB"/>
              </a:solidFill>
            </c:spPr>
            <c:extLst>
              <c:ext xmlns:c16="http://schemas.microsoft.com/office/drawing/2014/chart" uri="{C3380CC4-5D6E-409C-BE32-E72D297353CC}">
                <c16:uniqueId val="{0000144D-61F5-407B-959D-D24239F5BB85}"/>
              </c:ext>
            </c:extLst>
          </c:dPt>
          <c:dPt>
            <c:idx val="2598"/>
            <c:invertIfNegative val="1"/>
            <c:bubble3D val="0"/>
            <c:spPr>
              <a:solidFill>
                <a:srgbClr val="AEABAB"/>
              </a:solidFill>
            </c:spPr>
            <c:extLst>
              <c:ext xmlns:c16="http://schemas.microsoft.com/office/drawing/2014/chart" uri="{C3380CC4-5D6E-409C-BE32-E72D297353CC}">
                <c16:uniqueId val="{0000144F-61F5-407B-959D-D24239F5BB85}"/>
              </c:ext>
            </c:extLst>
          </c:dPt>
          <c:dPt>
            <c:idx val="2599"/>
            <c:invertIfNegative val="1"/>
            <c:bubble3D val="0"/>
            <c:spPr>
              <a:solidFill>
                <a:srgbClr val="AEABAB"/>
              </a:solidFill>
            </c:spPr>
            <c:extLst>
              <c:ext xmlns:c16="http://schemas.microsoft.com/office/drawing/2014/chart" uri="{C3380CC4-5D6E-409C-BE32-E72D297353CC}">
                <c16:uniqueId val="{00001451-61F5-407B-959D-D24239F5BB85}"/>
              </c:ext>
            </c:extLst>
          </c:dPt>
          <c:dPt>
            <c:idx val="2600"/>
            <c:invertIfNegative val="1"/>
            <c:bubble3D val="0"/>
            <c:spPr>
              <a:solidFill>
                <a:srgbClr val="AEABAB"/>
              </a:solidFill>
            </c:spPr>
            <c:extLst>
              <c:ext xmlns:c16="http://schemas.microsoft.com/office/drawing/2014/chart" uri="{C3380CC4-5D6E-409C-BE32-E72D297353CC}">
                <c16:uniqueId val="{00001453-61F5-407B-959D-D24239F5BB85}"/>
              </c:ext>
            </c:extLst>
          </c:dPt>
          <c:dPt>
            <c:idx val="2601"/>
            <c:invertIfNegative val="1"/>
            <c:bubble3D val="0"/>
            <c:spPr>
              <a:solidFill>
                <a:srgbClr val="AEABAB"/>
              </a:solidFill>
            </c:spPr>
            <c:extLst>
              <c:ext xmlns:c16="http://schemas.microsoft.com/office/drawing/2014/chart" uri="{C3380CC4-5D6E-409C-BE32-E72D297353CC}">
                <c16:uniqueId val="{00001455-61F5-407B-959D-D24239F5BB85}"/>
              </c:ext>
            </c:extLst>
          </c:dPt>
          <c:dPt>
            <c:idx val="2602"/>
            <c:invertIfNegative val="1"/>
            <c:bubble3D val="0"/>
            <c:spPr>
              <a:solidFill>
                <a:srgbClr val="AEABAB"/>
              </a:solidFill>
            </c:spPr>
            <c:extLst>
              <c:ext xmlns:c16="http://schemas.microsoft.com/office/drawing/2014/chart" uri="{C3380CC4-5D6E-409C-BE32-E72D297353CC}">
                <c16:uniqueId val="{00001457-61F5-407B-959D-D24239F5BB85}"/>
              </c:ext>
            </c:extLst>
          </c:dPt>
          <c:dPt>
            <c:idx val="2603"/>
            <c:invertIfNegative val="1"/>
            <c:bubble3D val="0"/>
            <c:spPr>
              <a:solidFill>
                <a:srgbClr val="AEABAB"/>
              </a:solidFill>
            </c:spPr>
            <c:extLst>
              <c:ext xmlns:c16="http://schemas.microsoft.com/office/drawing/2014/chart" uri="{C3380CC4-5D6E-409C-BE32-E72D297353CC}">
                <c16:uniqueId val="{00001459-61F5-407B-959D-D24239F5BB85}"/>
              </c:ext>
            </c:extLst>
          </c:dPt>
          <c:dPt>
            <c:idx val="2604"/>
            <c:invertIfNegative val="1"/>
            <c:bubble3D val="0"/>
            <c:spPr>
              <a:solidFill>
                <a:srgbClr val="AEABAB"/>
              </a:solidFill>
            </c:spPr>
            <c:extLst>
              <c:ext xmlns:c16="http://schemas.microsoft.com/office/drawing/2014/chart" uri="{C3380CC4-5D6E-409C-BE32-E72D297353CC}">
                <c16:uniqueId val="{0000145B-61F5-407B-959D-D24239F5BB85}"/>
              </c:ext>
            </c:extLst>
          </c:dPt>
          <c:dPt>
            <c:idx val="2605"/>
            <c:invertIfNegative val="1"/>
            <c:bubble3D val="0"/>
            <c:spPr>
              <a:solidFill>
                <a:srgbClr val="AEABAB"/>
              </a:solidFill>
            </c:spPr>
            <c:extLst>
              <c:ext xmlns:c16="http://schemas.microsoft.com/office/drawing/2014/chart" uri="{C3380CC4-5D6E-409C-BE32-E72D297353CC}">
                <c16:uniqueId val="{0000145D-61F5-407B-959D-D24239F5BB85}"/>
              </c:ext>
            </c:extLst>
          </c:dPt>
          <c:dPt>
            <c:idx val="2606"/>
            <c:invertIfNegative val="1"/>
            <c:bubble3D val="0"/>
            <c:spPr>
              <a:solidFill>
                <a:srgbClr val="AEABAB"/>
              </a:solidFill>
            </c:spPr>
            <c:extLst>
              <c:ext xmlns:c16="http://schemas.microsoft.com/office/drawing/2014/chart" uri="{C3380CC4-5D6E-409C-BE32-E72D297353CC}">
                <c16:uniqueId val="{0000145F-61F5-407B-959D-D24239F5BB85}"/>
              </c:ext>
            </c:extLst>
          </c:dPt>
          <c:dPt>
            <c:idx val="2607"/>
            <c:invertIfNegative val="1"/>
            <c:bubble3D val="0"/>
            <c:spPr>
              <a:solidFill>
                <a:srgbClr val="AEABAB"/>
              </a:solidFill>
            </c:spPr>
            <c:extLst>
              <c:ext xmlns:c16="http://schemas.microsoft.com/office/drawing/2014/chart" uri="{C3380CC4-5D6E-409C-BE32-E72D297353CC}">
                <c16:uniqueId val="{00001461-61F5-407B-959D-D24239F5BB85}"/>
              </c:ext>
            </c:extLst>
          </c:dPt>
          <c:dPt>
            <c:idx val="2608"/>
            <c:invertIfNegative val="1"/>
            <c:bubble3D val="0"/>
            <c:spPr>
              <a:solidFill>
                <a:srgbClr val="AEABAB"/>
              </a:solidFill>
            </c:spPr>
            <c:extLst>
              <c:ext xmlns:c16="http://schemas.microsoft.com/office/drawing/2014/chart" uri="{C3380CC4-5D6E-409C-BE32-E72D297353CC}">
                <c16:uniqueId val="{00001463-61F5-407B-959D-D24239F5BB85}"/>
              </c:ext>
            </c:extLst>
          </c:dPt>
          <c:dPt>
            <c:idx val="2609"/>
            <c:invertIfNegative val="1"/>
            <c:bubble3D val="0"/>
            <c:spPr>
              <a:solidFill>
                <a:srgbClr val="AEABAB"/>
              </a:solidFill>
            </c:spPr>
            <c:extLst>
              <c:ext xmlns:c16="http://schemas.microsoft.com/office/drawing/2014/chart" uri="{C3380CC4-5D6E-409C-BE32-E72D297353CC}">
                <c16:uniqueId val="{00001465-61F5-407B-959D-D24239F5BB85}"/>
              </c:ext>
            </c:extLst>
          </c:dPt>
          <c:dPt>
            <c:idx val="2610"/>
            <c:invertIfNegative val="1"/>
            <c:bubble3D val="0"/>
            <c:spPr>
              <a:solidFill>
                <a:srgbClr val="AEABAB"/>
              </a:solidFill>
            </c:spPr>
            <c:extLst>
              <c:ext xmlns:c16="http://schemas.microsoft.com/office/drawing/2014/chart" uri="{C3380CC4-5D6E-409C-BE32-E72D297353CC}">
                <c16:uniqueId val="{00001467-61F5-407B-959D-D24239F5BB85}"/>
              </c:ext>
            </c:extLst>
          </c:dPt>
          <c:dPt>
            <c:idx val="2611"/>
            <c:invertIfNegative val="1"/>
            <c:bubble3D val="0"/>
            <c:spPr>
              <a:solidFill>
                <a:srgbClr val="AEABAB"/>
              </a:solidFill>
            </c:spPr>
            <c:extLst>
              <c:ext xmlns:c16="http://schemas.microsoft.com/office/drawing/2014/chart" uri="{C3380CC4-5D6E-409C-BE32-E72D297353CC}">
                <c16:uniqueId val="{00001469-61F5-407B-959D-D24239F5BB85}"/>
              </c:ext>
            </c:extLst>
          </c:dPt>
          <c:dPt>
            <c:idx val="2612"/>
            <c:invertIfNegative val="1"/>
            <c:bubble3D val="0"/>
            <c:spPr>
              <a:solidFill>
                <a:srgbClr val="AEABAB"/>
              </a:solidFill>
            </c:spPr>
            <c:extLst>
              <c:ext xmlns:c16="http://schemas.microsoft.com/office/drawing/2014/chart" uri="{C3380CC4-5D6E-409C-BE32-E72D297353CC}">
                <c16:uniqueId val="{0000146B-61F5-407B-959D-D24239F5BB85}"/>
              </c:ext>
            </c:extLst>
          </c:dPt>
          <c:dPt>
            <c:idx val="2613"/>
            <c:invertIfNegative val="1"/>
            <c:bubble3D val="0"/>
            <c:spPr>
              <a:solidFill>
                <a:srgbClr val="AEABAB"/>
              </a:solidFill>
            </c:spPr>
            <c:extLst>
              <c:ext xmlns:c16="http://schemas.microsoft.com/office/drawing/2014/chart" uri="{C3380CC4-5D6E-409C-BE32-E72D297353CC}">
                <c16:uniqueId val="{0000146D-61F5-407B-959D-D24239F5BB85}"/>
              </c:ext>
            </c:extLst>
          </c:dPt>
          <c:dPt>
            <c:idx val="2614"/>
            <c:invertIfNegative val="1"/>
            <c:bubble3D val="0"/>
            <c:spPr>
              <a:solidFill>
                <a:srgbClr val="AEABAB"/>
              </a:solidFill>
            </c:spPr>
            <c:extLst>
              <c:ext xmlns:c16="http://schemas.microsoft.com/office/drawing/2014/chart" uri="{C3380CC4-5D6E-409C-BE32-E72D297353CC}">
                <c16:uniqueId val="{0000146F-61F5-407B-959D-D24239F5BB85}"/>
              </c:ext>
            </c:extLst>
          </c:dPt>
          <c:dPt>
            <c:idx val="2615"/>
            <c:invertIfNegative val="1"/>
            <c:bubble3D val="0"/>
            <c:spPr>
              <a:solidFill>
                <a:srgbClr val="AEABAB"/>
              </a:solidFill>
            </c:spPr>
            <c:extLst>
              <c:ext xmlns:c16="http://schemas.microsoft.com/office/drawing/2014/chart" uri="{C3380CC4-5D6E-409C-BE32-E72D297353CC}">
                <c16:uniqueId val="{00001471-61F5-407B-959D-D24239F5BB85}"/>
              </c:ext>
            </c:extLst>
          </c:dPt>
          <c:dPt>
            <c:idx val="2616"/>
            <c:invertIfNegative val="1"/>
            <c:bubble3D val="0"/>
            <c:spPr>
              <a:solidFill>
                <a:srgbClr val="AEABAB"/>
              </a:solidFill>
            </c:spPr>
            <c:extLst>
              <c:ext xmlns:c16="http://schemas.microsoft.com/office/drawing/2014/chart" uri="{C3380CC4-5D6E-409C-BE32-E72D297353CC}">
                <c16:uniqueId val="{00001473-61F5-407B-959D-D24239F5BB85}"/>
              </c:ext>
            </c:extLst>
          </c:dPt>
          <c:dPt>
            <c:idx val="2617"/>
            <c:invertIfNegative val="1"/>
            <c:bubble3D val="0"/>
            <c:spPr>
              <a:solidFill>
                <a:srgbClr val="AEABAB"/>
              </a:solidFill>
            </c:spPr>
            <c:extLst>
              <c:ext xmlns:c16="http://schemas.microsoft.com/office/drawing/2014/chart" uri="{C3380CC4-5D6E-409C-BE32-E72D297353CC}">
                <c16:uniqueId val="{00001475-61F5-407B-959D-D24239F5BB85}"/>
              </c:ext>
            </c:extLst>
          </c:dPt>
          <c:dPt>
            <c:idx val="2618"/>
            <c:invertIfNegative val="1"/>
            <c:bubble3D val="0"/>
            <c:spPr>
              <a:solidFill>
                <a:srgbClr val="AEABAB"/>
              </a:solidFill>
            </c:spPr>
            <c:extLst>
              <c:ext xmlns:c16="http://schemas.microsoft.com/office/drawing/2014/chart" uri="{C3380CC4-5D6E-409C-BE32-E72D297353CC}">
                <c16:uniqueId val="{00001477-61F5-407B-959D-D24239F5BB85}"/>
              </c:ext>
            </c:extLst>
          </c:dPt>
          <c:dPt>
            <c:idx val="2619"/>
            <c:invertIfNegative val="1"/>
            <c:bubble3D val="0"/>
            <c:spPr>
              <a:solidFill>
                <a:srgbClr val="AEABAB"/>
              </a:solidFill>
            </c:spPr>
            <c:extLst>
              <c:ext xmlns:c16="http://schemas.microsoft.com/office/drawing/2014/chart" uri="{C3380CC4-5D6E-409C-BE32-E72D297353CC}">
                <c16:uniqueId val="{00001479-61F5-407B-959D-D24239F5BB85}"/>
              </c:ext>
            </c:extLst>
          </c:dPt>
          <c:dPt>
            <c:idx val="2620"/>
            <c:invertIfNegative val="1"/>
            <c:bubble3D val="0"/>
            <c:spPr>
              <a:solidFill>
                <a:srgbClr val="AEABAB"/>
              </a:solidFill>
            </c:spPr>
            <c:extLst>
              <c:ext xmlns:c16="http://schemas.microsoft.com/office/drawing/2014/chart" uri="{C3380CC4-5D6E-409C-BE32-E72D297353CC}">
                <c16:uniqueId val="{0000147B-61F5-407B-959D-D24239F5BB85}"/>
              </c:ext>
            </c:extLst>
          </c:dPt>
          <c:dPt>
            <c:idx val="2621"/>
            <c:invertIfNegative val="1"/>
            <c:bubble3D val="0"/>
            <c:spPr>
              <a:solidFill>
                <a:srgbClr val="AEABAB"/>
              </a:solidFill>
            </c:spPr>
            <c:extLst>
              <c:ext xmlns:c16="http://schemas.microsoft.com/office/drawing/2014/chart" uri="{C3380CC4-5D6E-409C-BE32-E72D297353CC}">
                <c16:uniqueId val="{0000147D-61F5-407B-959D-D24239F5BB85}"/>
              </c:ext>
            </c:extLst>
          </c:dPt>
          <c:dPt>
            <c:idx val="2622"/>
            <c:invertIfNegative val="1"/>
            <c:bubble3D val="0"/>
            <c:spPr>
              <a:solidFill>
                <a:srgbClr val="AEABAB"/>
              </a:solidFill>
            </c:spPr>
            <c:extLst>
              <c:ext xmlns:c16="http://schemas.microsoft.com/office/drawing/2014/chart" uri="{C3380CC4-5D6E-409C-BE32-E72D297353CC}">
                <c16:uniqueId val="{0000147F-61F5-407B-959D-D24239F5BB85}"/>
              </c:ext>
            </c:extLst>
          </c:dPt>
          <c:dPt>
            <c:idx val="2623"/>
            <c:invertIfNegative val="1"/>
            <c:bubble3D val="0"/>
            <c:spPr>
              <a:solidFill>
                <a:srgbClr val="AEABAB"/>
              </a:solidFill>
            </c:spPr>
            <c:extLst>
              <c:ext xmlns:c16="http://schemas.microsoft.com/office/drawing/2014/chart" uri="{C3380CC4-5D6E-409C-BE32-E72D297353CC}">
                <c16:uniqueId val="{00001481-61F5-407B-959D-D24239F5BB85}"/>
              </c:ext>
            </c:extLst>
          </c:dPt>
          <c:dPt>
            <c:idx val="2624"/>
            <c:invertIfNegative val="1"/>
            <c:bubble3D val="0"/>
            <c:spPr>
              <a:solidFill>
                <a:srgbClr val="AEABAB"/>
              </a:solidFill>
            </c:spPr>
            <c:extLst>
              <c:ext xmlns:c16="http://schemas.microsoft.com/office/drawing/2014/chart" uri="{C3380CC4-5D6E-409C-BE32-E72D297353CC}">
                <c16:uniqueId val="{00001483-61F5-407B-959D-D24239F5BB85}"/>
              </c:ext>
            </c:extLst>
          </c:dPt>
          <c:dPt>
            <c:idx val="2625"/>
            <c:invertIfNegative val="1"/>
            <c:bubble3D val="0"/>
            <c:spPr>
              <a:solidFill>
                <a:srgbClr val="AEABAB"/>
              </a:solidFill>
            </c:spPr>
            <c:extLst>
              <c:ext xmlns:c16="http://schemas.microsoft.com/office/drawing/2014/chart" uri="{C3380CC4-5D6E-409C-BE32-E72D297353CC}">
                <c16:uniqueId val="{00001485-61F5-407B-959D-D24239F5BB85}"/>
              </c:ext>
            </c:extLst>
          </c:dPt>
          <c:dPt>
            <c:idx val="2626"/>
            <c:invertIfNegative val="1"/>
            <c:bubble3D val="0"/>
            <c:spPr>
              <a:solidFill>
                <a:srgbClr val="AEABAB"/>
              </a:solidFill>
            </c:spPr>
            <c:extLst>
              <c:ext xmlns:c16="http://schemas.microsoft.com/office/drawing/2014/chart" uri="{C3380CC4-5D6E-409C-BE32-E72D297353CC}">
                <c16:uniqueId val="{00001487-61F5-407B-959D-D24239F5BB85}"/>
              </c:ext>
            </c:extLst>
          </c:dPt>
          <c:dPt>
            <c:idx val="2627"/>
            <c:invertIfNegative val="1"/>
            <c:bubble3D val="0"/>
            <c:spPr>
              <a:solidFill>
                <a:srgbClr val="AEABAB"/>
              </a:solidFill>
            </c:spPr>
            <c:extLst>
              <c:ext xmlns:c16="http://schemas.microsoft.com/office/drawing/2014/chart" uri="{C3380CC4-5D6E-409C-BE32-E72D297353CC}">
                <c16:uniqueId val="{00001489-61F5-407B-959D-D24239F5BB85}"/>
              </c:ext>
            </c:extLst>
          </c:dPt>
          <c:dPt>
            <c:idx val="2628"/>
            <c:invertIfNegative val="1"/>
            <c:bubble3D val="0"/>
            <c:spPr>
              <a:solidFill>
                <a:srgbClr val="AEABAB"/>
              </a:solidFill>
            </c:spPr>
            <c:extLst>
              <c:ext xmlns:c16="http://schemas.microsoft.com/office/drawing/2014/chart" uri="{C3380CC4-5D6E-409C-BE32-E72D297353CC}">
                <c16:uniqueId val="{0000148B-61F5-407B-959D-D24239F5BB85}"/>
              </c:ext>
            </c:extLst>
          </c:dPt>
          <c:dPt>
            <c:idx val="2629"/>
            <c:invertIfNegative val="1"/>
            <c:bubble3D val="0"/>
            <c:spPr>
              <a:solidFill>
                <a:srgbClr val="AEABAB"/>
              </a:solidFill>
            </c:spPr>
            <c:extLst>
              <c:ext xmlns:c16="http://schemas.microsoft.com/office/drawing/2014/chart" uri="{C3380CC4-5D6E-409C-BE32-E72D297353CC}">
                <c16:uniqueId val="{0000148D-61F5-407B-959D-D24239F5BB85}"/>
              </c:ext>
            </c:extLst>
          </c:dPt>
          <c:dPt>
            <c:idx val="2630"/>
            <c:invertIfNegative val="1"/>
            <c:bubble3D val="0"/>
            <c:spPr>
              <a:solidFill>
                <a:srgbClr val="AEABAB"/>
              </a:solidFill>
            </c:spPr>
            <c:extLst>
              <c:ext xmlns:c16="http://schemas.microsoft.com/office/drawing/2014/chart" uri="{C3380CC4-5D6E-409C-BE32-E72D297353CC}">
                <c16:uniqueId val="{0000148F-61F5-407B-959D-D24239F5BB85}"/>
              </c:ext>
            </c:extLst>
          </c:dPt>
          <c:dPt>
            <c:idx val="2631"/>
            <c:invertIfNegative val="1"/>
            <c:bubble3D val="0"/>
            <c:spPr>
              <a:solidFill>
                <a:srgbClr val="AEABAB"/>
              </a:solidFill>
            </c:spPr>
            <c:extLst>
              <c:ext xmlns:c16="http://schemas.microsoft.com/office/drawing/2014/chart" uri="{C3380CC4-5D6E-409C-BE32-E72D297353CC}">
                <c16:uniqueId val="{00001491-61F5-407B-959D-D24239F5BB85}"/>
              </c:ext>
            </c:extLst>
          </c:dPt>
          <c:dPt>
            <c:idx val="2632"/>
            <c:invertIfNegative val="1"/>
            <c:bubble3D val="0"/>
            <c:spPr>
              <a:solidFill>
                <a:srgbClr val="AEABAB"/>
              </a:solidFill>
            </c:spPr>
            <c:extLst>
              <c:ext xmlns:c16="http://schemas.microsoft.com/office/drawing/2014/chart" uri="{C3380CC4-5D6E-409C-BE32-E72D297353CC}">
                <c16:uniqueId val="{00001493-61F5-407B-959D-D24239F5BB85}"/>
              </c:ext>
            </c:extLst>
          </c:dPt>
          <c:dPt>
            <c:idx val="2633"/>
            <c:invertIfNegative val="1"/>
            <c:bubble3D val="0"/>
            <c:spPr>
              <a:solidFill>
                <a:srgbClr val="AEABAB"/>
              </a:solidFill>
            </c:spPr>
            <c:extLst>
              <c:ext xmlns:c16="http://schemas.microsoft.com/office/drawing/2014/chart" uri="{C3380CC4-5D6E-409C-BE32-E72D297353CC}">
                <c16:uniqueId val="{00001495-61F5-407B-959D-D24239F5BB85}"/>
              </c:ext>
            </c:extLst>
          </c:dPt>
          <c:dPt>
            <c:idx val="2634"/>
            <c:invertIfNegative val="1"/>
            <c:bubble3D val="0"/>
            <c:spPr>
              <a:solidFill>
                <a:srgbClr val="AEABAB"/>
              </a:solidFill>
            </c:spPr>
            <c:extLst>
              <c:ext xmlns:c16="http://schemas.microsoft.com/office/drawing/2014/chart" uri="{C3380CC4-5D6E-409C-BE32-E72D297353CC}">
                <c16:uniqueId val="{00001497-61F5-407B-959D-D24239F5BB85}"/>
              </c:ext>
            </c:extLst>
          </c:dPt>
          <c:dPt>
            <c:idx val="2635"/>
            <c:invertIfNegative val="1"/>
            <c:bubble3D val="0"/>
            <c:spPr>
              <a:solidFill>
                <a:srgbClr val="AEABAB"/>
              </a:solidFill>
            </c:spPr>
            <c:extLst>
              <c:ext xmlns:c16="http://schemas.microsoft.com/office/drawing/2014/chart" uri="{C3380CC4-5D6E-409C-BE32-E72D297353CC}">
                <c16:uniqueId val="{00001499-61F5-407B-959D-D24239F5BB85}"/>
              </c:ext>
            </c:extLst>
          </c:dPt>
          <c:dPt>
            <c:idx val="2636"/>
            <c:invertIfNegative val="1"/>
            <c:bubble3D val="0"/>
            <c:spPr>
              <a:solidFill>
                <a:srgbClr val="AEABAB"/>
              </a:solidFill>
            </c:spPr>
            <c:extLst>
              <c:ext xmlns:c16="http://schemas.microsoft.com/office/drawing/2014/chart" uri="{C3380CC4-5D6E-409C-BE32-E72D297353CC}">
                <c16:uniqueId val="{0000149B-61F5-407B-959D-D24239F5BB85}"/>
              </c:ext>
            </c:extLst>
          </c:dPt>
          <c:dPt>
            <c:idx val="2637"/>
            <c:invertIfNegative val="1"/>
            <c:bubble3D val="0"/>
            <c:spPr>
              <a:solidFill>
                <a:srgbClr val="AEABAB"/>
              </a:solidFill>
            </c:spPr>
            <c:extLst>
              <c:ext xmlns:c16="http://schemas.microsoft.com/office/drawing/2014/chart" uri="{C3380CC4-5D6E-409C-BE32-E72D297353CC}">
                <c16:uniqueId val="{0000149D-61F5-407B-959D-D24239F5BB85}"/>
              </c:ext>
            </c:extLst>
          </c:dPt>
          <c:dPt>
            <c:idx val="2638"/>
            <c:invertIfNegative val="1"/>
            <c:bubble3D val="0"/>
            <c:spPr>
              <a:solidFill>
                <a:srgbClr val="AEABAB"/>
              </a:solidFill>
            </c:spPr>
            <c:extLst>
              <c:ext xmlns:c16="http://schemas.microsoft.com/office/drawing/2014/chart" uri="{C3380CC4-5D6E-409C-BE32-E72D297353CC}">
                <c16:uniqueId val="{0000149F-61F5-407B-959D-D24239F5BB85}"/>
              </c:ext>
            </c:extLst>
          </c:dPt>
          <c:dPt>
            <c:idx val="2639"/>
            <c:invertIfNegative val="1"/>
            <c:bubble3D val="0"/>
            <c:spPr>
              <a:solidFill>
                <a:srgbClr val="AEABAB"/>
              </a:solidFill>
            </c:spPr>
            <c:extLst>
              <c:ext xmlns:c16="http://schemas.microsoft.com/office/drawing/2014/chart" uri="{C3380CC4-5D6E-409C-BE32-E72D297353CC}">
                <c16:uniqueId val="{000014A1-61F5-407B-959D-D24239F5BB85}"/>
              </c:ext>
            </c:extLst>
          </c:dPt>
          <c:dPt>
            <c:idx val="2640"/>
            <c:invertIfNegative val="1"/>
            <c:bubble3D val="0"/>
            <c:spPr>
              <a:solidFill>
                <a:srgbClr val="AEABAB"/>
              </a:solidFill>
            </c:spPr>
            <c:extLst>
              <c:ext xmlns:c16="http://schemas.microsoft.com/office/drawing/2014/chart" uri="{C3380CC4-5D6E-409C-BE32-E72D297353CC}">
                <c16:uniqueId val="{000014A3-61F5-407B-959D-D24239F5BB85}"/>
              </c:ext>
            </c:extLst>
          </c:dPt>
          <c:dPt>
            <c:idx val="2641"/>
            <c:invertIfNegative val="1"/>
            <c:bubble3D val="0"/>
            <c:spPr>
              <a:solidFill>
                <a:srgbClr val="AEABAB"/>
              </a:solidFill>
            </c:spPr>
            <c:extLst>
              <c:ext xmlns:c16="http://schemas.microsoft.com/office/drawing/2014/chart" uri="{C3380CC4-5D6E-409C-BE32-E72D297353CC}">
                <c16:uniqueId val="{000014A5-61F5-407B-959D-D24239F5BB85}"/>
              </c:ext>
            </c:extLst>
          </c:dPt>
          <c:dPt>
            <c:idx val="2642"/>
            <c:invertIfNegative val="1"/>
            <c:bubble3D val="0"/>
            <c:spPr>
              <a:solidFill>
                <a:srgbClr val="AEABAB"/>
              </a:solidFill>
            </c:spPr>
            <c:extLst>
              <c:ext xmlns:c16="http://schemas.microsoft.com/office/drawing/2014/chart" uri="{C3380CC4-5D6E-409C-BE32-E72D297353CC}">
                <c16:uniqueId val="{000014A7-61F5-407B-959D-D24239F5BB85}"/>
              </c:ext>
            </c:extLst>
          </c:dPt>
          <c:dPt>
            <c:idx val="2643"/>
            <c:invertIfNegative val="1"/>
            <c:bubble3D val="0"/>
            <c:spPr>
              <a:solidFill>
                <a:srgbClr val="AEABAB"/>
              </a:solidFill>
            </c:spPr>
            <c:extLst>
              <c:ext xmlns:c16="http://schemas.microsoft.com/office/drawing/2014/chart" uri="{C3380CC4-5D6E-409C-BE32-E72D297353CC}">
                <c16:uniqueId val="{000014A9-61F5-407B-959D-D24239F5BB85}"/>
              </c:ext>
            </c:extLst>
          </c:dPt>
          <c:dPt>
            <c:idx val="2644"/>
            <c:invertIfNegative val="1"/>
            <c:bubble3D val="0"/>
            <c:spPr>
              <a:solidFill>
                <a:srgbClr val="AEABAB"/>
              </a:solidFill>
            </c:spPr>
            <c:extLst>
              <c:ext xmlns:c16="http://schemas.microsoft.com/office/drawing/2014/chart" uri="{C3380CC4-5D6E-409C-BE32-E72D297353CC}">
                <c16:uniqueId val="{000014AB-61F5-407B-959D-D24239F5BB85}"/>
              </c:ext>
            </c:extLst>
          </c:dPt>
          <c:dPt>
            <c:idx val="2645"/>
            <c:invertIfNegative val="1"/>
            <c:bubble3D val="0"/>
            <c:spPr>
              <a:solidFill>
                <a:srgbClr val="AEABAB"/>
              </a:solidFill>
            </c:spPr>
            <c:extLst>
              <c:ext xmlns:c16="http://schemas.microsoft.com/office/drawing/2014/chart" uri="{C3380CC4-5D6E-409C-BE32-E72D297353CC}">
                <c16:uniqueId val="{000014AD-61F5-407B-959D-D24239F5BB85}"/>
              </c:ext>
            </c:extLst>
          </c:dPt>
          <c:dPt>
            <c:idx val="2646"/>
            <c:invertIfNegative val="1"/>
            <c:bubble3D val="0"/>
            <c:spPr>
              <a:solidFill>
                <a:srgbClr val="AEABAB"/>
              </a:solidFill>
            </c:spPr>
            <c:extLst>
              <c:ext xmlns:c16="http://schemas.microsoft.com/office/drawing/2014/chart" uri="{C3380CC4-5D6E-409C-BE32-E72D297353CC}">
                <c16:uniqueId val="{000014AF-61F5-407B-959D-D24239F5BB85}"/>
              </c:ext>
            </c:extLst>
          </c:dPt>
          <c:dPt>
            <c:idx val="2647"/>
            <c:invertIfNegative val="1"/>
            <c:bubble3D val="0"/>
            <c:spPr>
              <a:solidFill>
                <a:srgbClr val="AEABAB"/>
              </a:solidFill>
            </c:spPr>
            <c:extLst>
              <c:ext xmlns:c16="http://schemas.microsoft.com/office/drawing/2014/chart" uri="{C3380CC4-5D6E-409C-BE32-E72D297353CC}">
                <c16:uniqueId val="{000014B1-61F5-407B-959D-D24239F5BB85}"/>
              </c:ext>
            </c:extLst>
          </c:dPt>
          <c:dPt>
            <c:idx val="2648"/>
            <c:invertIfNegative val="1"/>
            <c:bubble3D val="0"/>
            <c:spPr>
              <a:solidFill>
                <a:srgbClr val="AEABAB"/>
              </a:solidFill>
            </c:spPr>
            <c:extLst>
              <c:ext xmlns:c16="http://schemas.microsoft.com/office/drawing/2014/chart" uri="{C3380CC4-5D6E-409C-BE32-E72D297353CC}">
                <c16:uniqueId val="{000014B3-61F5-407B-959D-D24239F5BB85}"/>
              </c:ext>
            </c:extLst>
          </c:dPt>
          <c:dPt>
            <c:idx val="2649"/>
            <c:invertIfNegative val="1"/>
            <c:bubble3D val="0"/>
            <c:spPr>
              <a:solidFill>
                <a:srgbClr val="AEABAB"/>
              </a:solidFill>
            </c:spPr>
            <c:extLst>
              <c:ext xmlns:c16="http://schemas.microsoft.com/office/drawing/2014/chart" uri="{C3380CC4-5D6E-409C-BE32-E72D297353CC}">
                <c16:uniqueId val="{000014B5-61F5-407B-959D-D24239F5BB85}"/>
              </c:ext>
            </c:extLst>
          </c:dPt>
          <c:dPt>
            <c:idx val="2650"/>
            <c:invertIfNegative val="1"/>
            <c:bubble3D val="0"/>
            <c:spPr>
              <a:solidFill>
                <a:srgbClr val="AEABAB"/>
              </a:solidFill>
            </c:spPr>
            <c:extLst>
              <c:ext xmlns:c16="http://schemas.microsoft.com/office/drawing/2014/chart" uri="{C3380CC4-5D6E-409C-BE32-E72D297353CC}">
                <c16:uniqueId val="{000014B7-61F5-407B-959D-D24239F5BB85}"/>
              </c:ext>
            </c:extLst>
          </c:dPt>
          <c:dPt>
            <c:idx val="2651"/>
            <c:invertIfNegative val="1"/>
            <c:bubble3D val="0"/>
            <c:spPr>
              <a:solidFill>
                <a:srgbClr val="AEABAB"/>
              </a:solidFill>
            </c:spPr>
            <c:extLst>
              <c:ext xmlns:c16="http://schemas.microsoft.com/office/drawing/2014/chart" uri="{C3380CC4-5D6E-409C-BE32-E72D297353CC}">
                <c16:uniqueId val="{000014B9-61F5-407B-959D-D24239F5BB85}"/>
              </c:ext>
            </c:extLst>
          </c:dPt>
          <c:dPt>
            <c:idx val="2652"/>
            <c:invertIfNegative val="1"/>
            <c:bubble3D val="0"/>
            <c:spPr>
              <a:solidFill>
                <a:srgbClr val="AEABAB"/>
              </a:solidFill>
            </c:spPr>
            <c:extLst>
              <c:ext xmlns:c16="http://schemas.microsoft.com/office/drawing/2014/chart" uri="{C3380CC4-5D6E-409C-BE32-E72D297353CC}">
                <c16:uniqueId val="{000014BB-61F5-407B-959D-D24239F5BB85}"/>
              </c:ext>
            </c:extLst>
          </c:dPt>
          <c:dPt>
            <c:idx val="2653"/>
            <c:invertIfNegative val="1"/>
            <c:bubble3D val="0"/>
            <c:spPr>
              <a:solidFill>
                <a:srgbClr val="AEABAB"/>
              </a:solidFill>
            </c:spPr>
            <c:extLst>
              <c:ext xmlns:c16="http://schemas.microsoft.com/office/drawing/2014/chart" uri="{C3380CC4-5D6E-409C-BE32-E72D297353CC}">
                <c16:uniqueId val="{000014BD-61F5-407B-959D-D24239F5BB85}"/>
              </c:ext>
            </c:extLst>
          </c:dPt>
          <c:dPt>
            <c:idx val="2654"/>
            <c:invertIfNegative val="1"/>
            <c:bubble3D val="0"/>
            <c:spPr>
              <a:solidFill>
                <a:srgbClr val="AEABAB"/>
              </a:solidFill>
            </c:spPr>
            <c:extLst>
              <c:ext xmlns:c16="http://schemas.microsoft.com/office/drawing/2014/chart" uri="{C3380CC4-5D6E-409C-BE32-E72D297353CC}">
                <c16:uniqueId val="{000014BF-61F5-407B-959D-D24239F5BB85}"/>
              </c:ext>
            </c:extLst>
          </c:dPt>
          <c:dPt>
            <c:idx val="2655"/>
            <c:invertIfNegative val="1"/>
            <c:bubble3D val="0"/>
            <c:spPr>
              <a:solidFill>
                <a:srgbClr val="AEABAB"/>
              </a:solidFill>
            </c:spPr>
            <c:extLst>
              <c:ext xmlns:c16="http://schemas.microsoft.com/office/drawing/2014/chart" uri="{C3380CC4-5D6E-409C-BE32-E72D297353CC}">
                <c16:uniqueId val="{000014C1-61F5-407B-959D-D24239F5BB85}"/>
              </c:ext>
            </c:extLst>
          </c:dPt>
          <c:dPt>
            <c:idx val="2656"/>
            <c:invertIfNegative val="1"/>
            <c:bubble3D val="0"/>
            <c:spPr>
              <a:solidFill>
                <a:srgbClr val="AEABAB"/>
              </a:solidFill>
            </c:spPr>
            <c:extLst>
              <c:ext xmlns:c16="http://schemas.microsoft.com/office/drawing/2014/chart" uri="{C3380CC4-5D6E-409C-BE32-E72D297353CC}">
                <c16:uniqueId val="{000014C3-61F5-407B-959D-D24239F5BB85}"/>
              </c:ext>
            </c:extLst>
          </c:dPt>
          <c:dPt>
            <c:idx val="2657"/>
            <c:invertIfNegative val="1"/>
            <c:bubble3D val="0"/>
            <c:spPr>
              <a:solidFill>
                <a:srgbClr val="AEABAB"/>
              </a:solidFill>
            </c:spPr>
            <c:extLst>
              <c:ext xmlns:c16="http://schemas.microsoft.com/office/drawing/2014/chart" uri="{C3380CC4-5D6E-409C-BE32-E72D297353CC}">
                <c16:uniqueId val="{000014C5-61F5-407B-959D-D24239F5BB85}"/>
              </c:ext>
            </c:extLst>
          </c:dPt>
          <c:dPt>
            <c:idx val="2658"/>
            <c:invertIfNegative val="1"/>
            <c:bubble3D val="0"/>
            <c:spPr>
              <a:solidFill>
                <a:srgbClr val="AEABAB"/>
              </a:solidFill>
            </c:spPr>
            <c:extLst>
              <c:ext xmlns:c16="http://schemas.microsoft.com/office/drawing/2014/chart" uri="{C3380CC4-5D6E-409C-BE32-E72D297353CC}">
                <c16:uniqueId val="{000014C7-61F5-407B-959D-D24239F5BB85}"/>
              </c:ext>
            </c:extLst>
          </c:dPt>
          <c:dPt>
            <c:idx val="2659"/>
            <c:invertIfNegative val="1"/>
            <c:bubble3D val="0"/>
            <c:spPr>
              <a:solidFill>
                <a:srgbClr val="AEABAB"/>
              </a:solidFill>
            </c:spPr>
            <c:extLst>
              <c:ext xmlns:c16="http://schemas.microsoft.com/office/drawing/2014/chart" uri="{C3380CC4-5D6E-409C-BE32-E72D297353CC}">
                <c16:uniqueId val="{000014C9-61F5-407B-959D-D24239F5BB85}"/>
              </c:ext>
            </c:extLst>
          </c:dPt>
          <c:dPt>
            <c:idx val="2660"/>
            <c:invertIfNegative val="1"/>
            <c:bubble3D val="0"/>
            <c:spPr>
              <a:solidFill>
                <a:srgbClr val="AEABAB"/>
              </a:solidFill>
            </c:spPr>
            <c:extLst>
              <c:ext xmlns:c16="http://schemas.microsoft.com/office/drawing/2014/chart" uri="{C3380CC4-5D6E-409C-BE32-E72D297353CC}">
                <c16:uniqueId val="{000014CB-61F5-407B-959D-D24239F5BB85}"/>
              </c:ext>
            </c:extLst>
          </c:dPt>
          <c:dPt>
            <c:idx val="2661"/>
            <c:invertIfNegative val="1"/>
            <c:bubble3D val="0"/>
            <c:spPr>
              <a:solidFill>
                <a:srgbClr val="AEABAB"/>
              </a:solidFill>
            </c:spPr>
            <c:extLst>
              <c:ext xmlns:c16="http://schemas.microsoft.com/office/drawing/2014/chart" uri="{C3380CC4-5D6E-409C-BE32-E72D297353CC}">
                <c16:uniqueId val="{000014CD-61F5-407B-959D-D24239F5BB85}"/>
              </c:ext>
            </c:extLst>
          </c:dPt>
          <c:dPt>
            <c:idx val="2662"/>
            <c:invertIfNegative val="1"/>
            <c:bubble3D val="0"/>
            <c:spPr>
              <a:solidFill>
                <a:srgbClr val="AEABAB"/>
              </a:solidFill>
            </c:spPr>
            <c:extLst>
              <c:ext xmlns:c16="http://schemas.microsoft.com/office/drawing/2014/chart" uri="{C3380CC4-5D6E-409C-BE32-E72D297353CC}">
                <c16:uniqueId val="{000014CF-61F5-407B-959D-D24239F5BB85}"/>
              </c:ext>
            </c:extLst>
          </c:dPt>
          <c:dPt>
            <c:idx val="2663"/>
            <c:invertIfNegative val="1"/>
            <c:bubble3D val="0"/>
            <c:spPr>
              <a:solidFill>
                <a:srgbClr val="AEABAB"/>
              </a:solidFill>
            </c:spPr>
            <c:extLst>
              <c:ext xmlns:c16="http://schemas.microsoft.com/office/drawing/2014/chart" uri="{C3380CC4-5D6E-409C-BE32-E72D297353CC}">
                <c16:uniqueId val="{000014D1-61F5-407B-959D-D24239F5BB85}"/>
              </c:ext>
            </c:extLst>
          </c:dPt>
          <c:dPt>
            <c:idx val="2664"/>
            <c:invertIfNegative val="1"/>
            <c:bubble3D val="0"/>
            <c:spPr>
              <a:solidFill>
                <a:srgbClr val="AEABAB"/>
              </a:solidFill>
            </c:spPr>
            <c:extLst>
              <c:ext xmlns:c16="http://schemas.microsoft.com/office/drawing/2014/chart" uri="{C3380CC4-5D6E-409C-BE32-E72D297353CC}">
                <c16:uniqueId val="{000014D3-61F5-407B-959D-D24239F5BB85}"/>
              </c:ext>
            </c:extLst>
          </c:dPt>
          <c:dPt>
            <c:idx val="2665"/>
            <c:invertIfNegative val="1"/>
            <c:bubble3D val="0"/>
            <c:spPr>
              <a:solidFill>
                <a:srgbClr val="AEABAB"/>
              </a:solidFill>
            </c:spPr>
            <c:extLst>
              <c:ext xmlns:c16="http://schemas.microsoft.com/office/drawing/2014/chart" uri="{C3380CC4-5D6E-409C-BE32-E72D297353CC}">
                <c16:uniqueId val="{000014D5-61F5-407B-959D-D24239F5BB85}"/>
              </c:ext>
            </c:extLst>
          </c:dPt>
          <c:dPt>
            <c:idx val="2666"/>
            <c:invertIfNegative val="1"/>
            <c:bubble3D val="0"/>
            <c:spPr>
              <a:solidFill>
                <a:srgbClr val="AEABAB"/>
              </a:solidFill>
            </c:spPr>
            <c:extLst>
              <c:ext xmlns:c16="http://schemas.microsoft.com/office/drawing/2014/chart" uri="{C3380CC4-5D6E-409C-BE32-E72D297353CC}">
                <c16:uniqueId val="{000014D7-61F5-407B-959D-D24239F5BB85}"/>
              </c:ext>
            </c:extLst>
          </c:dPt>
          <c:dPt>
            <c:idx val="2667"/>
            <c:invertIfNegative val="1"/>
            <c:bubble3D val="0"/>
            <c:spPr>
              <a:solidFill>
                <a:srgbClr val="AEABAB"/>
              </a:solidFill>
            </c:spPr>
            <c:extLst>
              <c:ext xmlns:c16="http://schemas.microsoft.com/office/drawing/2014/chart" uri="{C3380CC4-5D6E-409C-BE32-E72D297353CC}">
                <c16:uniqueId val="{000014D9-61F5-407B-959D-D24239F5BB85}"/>
              </c:ext>
            </c:extLst>
          </c:dPt>
          <c:dPt>
            <c:idx val="2668"/>
            <c:invertIfNegative val="1"/>
            <c:bubble3D val="0"/>
            <c:spPr>
              <a:solidFill>
                <a:srgbClr val="AEABAB"/>
              </a:solidFill>
            </c:spPr>
            <c:extLst>
              <c:ext xmlns:c16="http://schemas.microsoft.com/office/drawing/2014/chart" uri="{C3380CC4-5D6E-409C-BE32-E72D297353CC}">
                <c16:uniqueId val="{000014DB-61F5-407B-959D-D24239F5BB85}"/>
              </c:ext>
            </c:extLst>
          </c:dPt>
          <c:dPt>
            <c:idx val="2669"/>
            <c:invertIfNegative val="1"/>
            <c:bubble3D val="0"/>
            <c:spPr>
              <a:solidFill>
                <a:srgbClr val="AEABAB"/>
              </a:solidFill>
            </c:spPr>
            <c:extLst>
              <c:ext xmlns:c16="http://schemas.microsoft.com/office/drawing/2014/chart" uri="{C3380CC4-5D6E-409C-BE32-E72D297353CC}">
                <c16:uniqueId val="{000014DD-61F5-407B-959D-D24239F5BB85}"/>
              </c:ext>
            </c:extLst>
          </c:dPt>
          <c:dPt>
            <c:idx val="2670"/>
            <c:invertIfNegative val="1"/>
            <c:bubble3D val="0"/>
            <c:spPr>
              <a:solidFill>
                <a:srgbClr val="AEABAB"/>
              </a:solidFill>
            </c:spPr>
            <c:extLst>
              <c:ext xmlns:c16="http://schemas.microsoft.com/office/drawing/2014/chart" uri="{C3380CC4-5D6E-409C-BE32-E72D297353CC}">
                <c16:uniqueId val="{000014DF-61F5-407B-959D-D24239F5BB85}"/>
              </c:ext>
            </c:extLst>
          </c:dPt>
          <c:dPt>
            <c:idx val="2671"/>
            <c:invertIfNegative val="1"/>
            <c:bubble3D val="0"/>
            <c:spPr>
              <a:solidFill>
                <a:srgbClr val="AEABAB"/>
              </a:solidFill>
            </c:spPr>
            <c:extLst>
              <c:ext xmlns:c16="http://schemas.microsoft.com/office/drawing/2014/chart" uri="{C3380CC4-5D6E-409C-BE32-E72D297353CC}">
                <c16:uniqueId val="{000014E1-61F5-407B-959D-D24239F5BB85}"/>
              </c:ext>
            </c:extLst>
          </c:dPt>
          <c:dPt>
            <c:idx val="2672"/>
            <c:invertIfNegative val="1"/>
            <c:bubble3D val="0"/>
            <c:spPr>
              <a:solidFill>
                <a:srgbClr val="AEABAB"/>
              </a:solidFill>
            </c:spPr>
            <c:extLst>
              <c:ext xmlns:c16="http://schemas.microsoft.com/office/drawing/2014/chart" uri="{C3380CC4-5D6E-409C-BE32-E72D297353CC}">
                <c16:uniqueId val="{000014E3-61F5-407B-959D-D24239F5BB85}"/>
              </c:ext>
            </c:extLst>
          </c:dPt>
          <c:dPt>
            <c:idx val="2673"/>
            <c:invertIfNegative val="1"/>
            <c:bubble3D val="0"/>
            <c:spPr>
              <a:solidFill>
                <a:srgbClr val="AEABAB"/>
              </a:solidFill>
            </c:spPr>
            <c:extLst>
              <c:ext xmlns:c16="http://schemas.microsoft.com/office/drawing/2014/chart" uri="{C3380CC4-5D6E-409C-BE32-E72D297353CC}">
                <c16:uniqueId val="{000014E5-61F5-407B-959D-D24239F5BB85}"/>
              </c:ext>
            </c:extLst>
          </c:dPt>
          <c:dPt>
            <c:idx val="2674"/>
            <c:invertIfNegative val="1"/>
            <c:bubble3D val="0"/>
            <c:spPr>
              <a:solidFill>
                <a:srgbClr val="AEABAB"/>
              </a:solidFill>
            </c:spPr>
            <c:extLst>
              <c:ext xmlns:c16="http://schemas.microsoft.com/office/drawing/2014/chart" uri="{C3380CC4-5D6E-409C-BE32-E72D297353CC}">
                <c16:uniqueId val="{000014E7-61F5-407B-959D-D24239F5BB85}"/>
              </c:ext>
            </c:extLst>
          </c:dPt>
          <c:dPt>
            <c:idx val="2675"/>
            <c:invertIfNegative val="1"/>
            <c:bubble3D val="0"/>
            <c:spPr>
              <a:solidFill>
                <a:srgbClr val="AEABAB"/>
              </a:solidFill>
            </c:spPr>
            <c:extLst>
              <c:ext xmlns:c16="http://schemas.microsoft.com/office/drawing/2014/chart" uri="{C3380CC4-5D6E-409C-BE32-E72D297353CC}">
                <c16:uniqueId val="{000014E9-61F5-407B-959D-D24239F5BB85}"/>
              </c:ext>
            </c:extLst>
          </c:dPt>
          <c:dPt>
            <c:idx val="2676"/>
            <c:invertIfNegative val="1"/>
            <c:bubble3D val="0"/>
            <c:spPr>
              <a:solidFill>
                <a:srgbClr val="AEABAB"/>
              </a:solidFill>
            </c:spPr>
            <c:extLst>
              <c:ext xmlns:c16="http://schemas.microsoft.com/office/drawing/2014/chart" uri="{C3380CC4-5D6E-409C-BE32-E72D297353CC}">
                <c16:uniqueId val="{000014EB-61F5-407B-959D-D24239F5BB85}"/>
              </c:ext>
            </c:extLst>
          </c:dPt>
          <c:dPt>
            <c:idx val="2677"/>
            <c:invertIfNegative val="1"/>
            <c:bubble3D val="0"/>
            <c:spPr>
              <a:solidFill>
                <a:srgbClr val="AEABAB"/>
              </a:solidFill>
            </c:spPr>
            <c:extLst>
              <c:ext xmlns:c16="http://schemas.microsoft.com/office/drawing/2014/chart" uri="{C3380CC4-5D6E-409C-BE32-E72D297353CC}">
                <c16:uniqueId val="{000014ED-61F5-407B-959D-D24239F5BB85}"/>
              </c:ext>
            </c:extLst>
          </c:dPt>
          <c:dPt>
            <c:idx val="2678"/>
            <c:invertIfNegative val="1"/>
            <c:bubble3D val="0"/>
            <c:spPr>
              <a:solidFill>
                <a:srgbClr val="AEABAB"/>
              </a:solidFill>
            </c:spPr>
            <c:extLst>
              <c:ext xmlns:c16="http://schemas.microsoft.com/office/drawing/2014/chart" uri="{C3380CC4-5D6E-409C-BE32-E72D297353CC}">
                <c16:uniqueId val="{000014EF-61F5-407B-959D-D24239F5BB85}"/>
              </c:ext>
            </c:extLst>
          </c:dPt>
          <c:dPt>
            <c:idx val="2679"/>
            <c:invertIfNegative val="1"/>
            <c:bubble3D val="0"/>
            <c:spPr>
              <a:solidFill>
                <a:srgbClr val="AEABAB"/>
              </a:solidFill>
            </c:spPr>
            <c:extLst>
              <c:ext xmlns:c16="http://schemas.microsoft.com/office/drawing/2014/chart" uri="{C3380CC4-5D6E-409C-BE32-E72D297353CC}">
                <c16:uniqueId val="{000014F1-61F5-407B-959D-D24239F5BB85}"/>
              </c:ext>
            </c:extLst>
          </c:dPt>
          <c:dPt>
            <c:idx val="2680"/>
            <c:invertIfNegative val="1"/>
            <c:bubble3D val="0"/>
            <c:spPr>
              <a:solidFill>
                <a:srgbClr val="AEABAB"/>
              </a:solidFill>
            </c:spPr>
            <c:extLst>
              <c:ext xmlns:c16="http://schemas.microsoft.com/office/drawing/2014/chart" uri="{C3380CC4-5D6E-409C-BE32-E72D297353CC}">
                <c16:uniqueId val="{000014F3-61F5-407B-959D-D24239F5BB85}"/>
              </c:ext>
            </c:extLst>
          </c:dPt>
          <c:dPt>
            <c:idx val="2681"/>
            <c:invertIfNegative val="1"/>
            <c:bubble3D val="0"/>
            <c:spPr>
              <a:solidFill>
                <a:srgbClr val="AEABAB"/>
              </a:solidFill>
            </c:spPr>
            <c:extLst>
              <c:ext xmlns:c16="http://schemas.microsoft.com/office/drawing/2014/chart" uri="{C3380CC4-5D6E-409C-BE32-E72D297353CC}">
                <c16:uniqueId val="{000014F5-61F5-407B-959D-D24239F5BB85}"/>
              </c:ext>
            </c:extLst>
          </c:dPt>
          <c:dPt>
            <c:idx val="2682"/>
            <c:invertIfNegative val="1"/>
            <c:bubble3D val="0"/>
            <c:spPr>
              <a:solidFill>
                <a:srgbClr val="AEABAB"/>
              </a:solidFill>
            </c:spPr>
            <c:extLst>
              <c:ext xmlns:c16="http://schemas.microsoft.com/office/drawing/2014/chart" uri="{C3380CC4-5D6E-409C-BE32-E72D297353CC}">
                <c16:uniqueId val="{000014F7-61F5-407B-959D-D24239F5BB85}"/>
              </c:ext>
            </c:extLst>
          </c:dPt>
          <c:dPt>
            <c:idx val="2683"/>
            <c:invertIfNegative val="1"/>
            <c:bubble3D val="0"/>
            <c:spPr>
              <a:solidFill>
                <a:srgbClr val="AEABAB"/>
              </a:solidFill>
            </c:spPr>
            <c:extLst>
              <c:ext xmlns:c16="http://schemas.microsoft.com/office/drawing/2014/chart" uri="{C3380CC4-5D6E-409C-BE32-E72D297353CC}">
                <c16:uniqueId val="{000014F9-61F5-407B-959D-D24239F5BB85}"/>
              </c:ext>
            </c:extLst>
          </c:dPt>
          <c:dPt>
            <c:idx val="2684"/>
            <c:invertIfNegative val="1"/>
            <c:bubble3D val="0"/>
            <c:spPr>
              <a:solidFill>
                <a:srgbClr val="AEABAB"/>
              </a:solidFill>
            </c:spPr>
            <c:extLst>
              <c:ext xmlns:c16="http://schemas.microsoft.com/office/drawing/2014/chart" uri="{C3380CC4-5D6E-409C-BE32-E72D297353CC}">
                <c16:uniqueId val="{000014FB-61F5-407B-959D-D24239F5BB85}"/>
              </c:ext>
            </c:extLst>
          </c:dPt>
          <c:dPt>
            <c:idx val="2685"/>
            <c:invertIfNegative val="1"/>
            <c:bubble3D val="0"/>
            <c:spPr>
              <a:solidFill>
                <a:srgbClr val="AEABAB"/>
              </a:solidFill>
            </c:spPr>
            <c:extLst>
              <c:ext xmlns:c16="http://schemas.microsoft.com/office/drawing/2014/chart" uri="{C3380CC4-5D6E-409C-BE32-E72D297353CC}">
                <c16:uniqueId val="{000014FD-61F5-407B-959D-D24239F5BB85}"/>
              </c:ext>
            </c:extLst>
          </c:dPt>
          <c:dPt>
            <c:idx val="2686"/>
            <c:invertIfNegative val="1"/>
            <c:bubble3D val="0"/>
            <c:spPr>
              <a:solidFill>
                <a:srgbClr val="AEABAB"/>
              </a:solidFill>
            </c:spPr>
            <c:extLst>
              <c:ext xmlns:c16="http://schemas.microsoft.com/office/drawing/2014/chart" uri="{C3380CC4-5D6E-409C-BE32-E72D297353CC}">
                <c16:uniqueId val="{000014FF-61F5-407B-959D-D24239F5BB85}"/>
              </c:ext>
            </c:extLst>
          </c:dPt>
          <c:dPt>
            <c:idx val="2687"/>
            <c:invertIfNegative val="1"/>
            <c:bubble3D val="0"/>
            <c:spPr>
              <a:solidFill>
                <a:srgbClr val="AEABAB"/>
              </a:solidFill>
            </c:spPr>
            <c:extLst>
              <c:ext xmlns:c16="http://schemas.microsoft.com/office/drawing/2014/chart" uri="{C3380CC4-5D6E-409C-BE32-E72D297353CC}">
                <c16:uniqueId val="{00001501-61F5-407B-959D-D24239F5BB85}"/>
              </c:ext>
            </c:extLst>
          </c:dPt>
          <c:dPt>
            <c:idx val="2688"/>
            <c:invertIfNegative val="1"/>
            <c:bubble3D val="0"/>
            <c:spPr>
              <a:solidFill>
                <a:srgbClr val="AEABAB"/>
              </a:solidFill>
            </c:spPr>
            <c:extLst>
              <c:ext xmlns:c16="http://schemas.microsoft.com/office/drawing/2014/chart" uri="{C3380CC4-5D6E-409C-BE32-E72D297353CC}">
                <c16:uniqueId val="{00001503-61F5-407B-959D-D24239F5BB85}"/>
              </c:ext>
            </c:extLst>
          </c:dPt>
          <c:dPt>
            <c:idx val="2689"/>
            <c:invertIfNegative val="1"/>
            <c:bubble3D val="0"/>
            <c:spPr>
              <a:solidFill>
                <a:srgbClr val="AEABAB"/>
              </a:solidFill>
            </c:spPr>
            <c:extLst>
              <c:ext xmlns:c16="http://schemas.microsoft.com/office/drawing/2014/chart" uri="{C3380CC4-5D6E-409C-BE32-E72D297353CC}">
                <c16:uniqueId val="{00001505-61F5-407B-959D-D24239F5BB85}"/>
              </c:ext>
            </c:extLst>
          </c:dPt>
          <c:dPt>
            <c:idx val="2690"/>
            <c:invertIfNegative val="1"/>
            <c:bubble3D val="0"/>
            <c:spPr>
              <a:solidFill>
                <a:srgbClr val="AEABAB"/>
              </a:solidFill>
            </c:spPr>
            <c:extLst>
              <c:ext xmlns:c16="http://schemas.microsoft.com/office/drawing/2014/chart" uri="{C3380CC4-5D6E-409C-BE32-E72D297353CC}">
                <c16:uniqueId val="{00001507-61F5-407B-959D-D24239F5BB85}"/>
              </c:ext>
            </c:extLst>
          </c:dPt>
          <c:dPt>
            <c:idx val="2691"/>
            <c:invertIfNegative val="1"/>
            <c:bubble3D val="0"/>
            <c:spPr>
              <a:solidFill>
                <a:srgbClr val="AEABAB"/>
              </a:solidFill>
            </c:spPr>
            <c:extLst>
              <c:ext xmlns:c16="http://schemas.microsoft.com/office/drawing/2014/chart" uri="{C3380CC4-5D6E-409C-BE32-E72D297353CC}">
                <c16:uniqueId val="{00001509-61F5-407B-959D-D24239F5BB85}"/>
              </c:ext>
            </c:extLst>
          </c:dPt>
          <c:dPt>
            <c:idx val="2692"/>
            <c:invertIfNegative val="1"/>
            <c:bubble3D val="0"/>
            <c:spPr>
              <a:solidFill>
                <a:srgbClr val="AEABAB"/>
              </a:solidFill>
            </c:spPr>
            <c:extLst>
              <c:ext xmlns:c16="http://schemas.microsoft.com/office/drawing/2014/chart" uri="{C3380CC4-5D6E-409C-BE32-E72D297353CC}">
                <c16:uniqueId val="{0000150B-61F5-407B-959D-D24239F5BB85}"/>
              </c:ext>
            </c:extLst>
          </c:dPt>
          <c:dPt>
            <c:idx val="2693"/>
            <c:invertIfNegative val="1"/>
            <c:bubble3D val="0"/>
            <c:spPr>
              <a:solidFill>
                <a:srgbClr val="AEABAB"/>
              </a:solidFill>
            </c:spPr>
            <c:extLst>
              <c:ext xmlns:c16="http://schemas.microsoft.com/office/drawing/2014/chart" uri="{C3380CC4-5D6E-409C-BE32-E72D297353CC}">
                <c16:uniqueId val="{0000150D-61F5-407B-959D-D24239F5BB85}"/>
              </c:ext>
            </c:extLst>
          </c:dPt>
          <c:dPt>
            <c:idx val="2694"/>
            <c:invertIfNegative val="1"/>
            <c:bubble3D val="0"/>
            <c:spPr>
              <a:solidFill>
                <a:srgbClr val="AEABAB"/>
              </a:solidFill>
            </c:spPr>
            <c:extLst>
              <c:ext xmlns:c16="http://schemas.microsoft.com/office/drawing/2014/chart" uri="{C3380CC4-5D6E-409C-BE32-E72D297353CC}">
                <c16:uniqueId val="{0000150F-61F5-407B-959D-D24239F5BB85}"/>
              </c:ext>
            </c:extLst>
          </c:dPt>
          <c:dPt>
            <c:idx val="2695"/>
            <c:invertIfNegative val="1"/>
            <c:bubble3D val="0"/>
            <c:spPr>
              <a:solidFill>
                <a:srgbClr val="AEABAB"/>
              </a:solidFill>
            </c:spPr>
            <c:extLst>
              <c:ext xmlns:c16="http://schemas.microsoft.com/office/drawing/2014/chart" uri="{C3380CC4-5D6E-409C-BE32-E72D297353CC}">
                <c16:uniqueId val="{00001511-61F5-407B-959D-D24239F5BB85}"/>
              </c:ext>
            </c:extLst>
          </c:dPt>
          <c:dPt>
            <c:idx val="2696"/>
            <c:invertIfNegative val="1"/>
            <c:bubble3D val="0"/>
            <c:spPr>
              <a:solidFill>
                <a:srgbClr val="AEABAB"/>
              </a:solidFill>
            </c:spPr>
            <c:extLst>
              <c:ext xmlns:c16="http://schemas.microsoft.com/office/drawing/2014/chart" uri="{C3380CC4-5D6E-409C-BE32-E72D297353CC}">
                <c16:uniqueId val="{00001513-61F5-407B-959D-D24239F5BB85}"/>
              </c:ext>
            </c:extLst>
          </c:dPt>
          <c:dPt>
            <c:idx val="2697"/>
            <c:invertIfNegative val="1"/>
            <c:bubble3D val="0"/>
            <c:spPr>
              <a:solidFill>
                <a:srgbClr val="AEABAB"/>
              </a:solidFill>
            </c:spPr>
            <c:extLst>
              <c:ext xmlns:c16="http://schemas.microsoft.com/office/drawing/2014/chart" uri="{C3380CC4-5D6E-409C-BE32-E72D297353CC}">
                <c16:uniqueId val="{00001515-61F5-407B-959D-D24239F5BB85}"/>
              </c:ext>
            </c:extLst>
          </c:dPt>
          <c:dPt>
            <c:idx val="2698"/>
            <c:invertIfNegative val="1"/>
            <c:bubble3D val="0"/>
            <c:spPr>
              <a:solidFill>
                <a:srgbClr val="AEABAB"/>
              </a:solidFill>
            </c:spPr>
            <c:extLst>
              <c:ext xmlns:c16="http://schemas.microsoft.com/office/drawing/2014/chart" uri="{C3380CC4-5D6E-409C-BE32-E72D297353CC}">
                <c16:uniqueId val="{00001517-61F5-407B-959D-D24239F5BB85}"/>
              </c:ext>
            </c:extLst>
          </c:dPt>
          <c:dPt>
            <c:idx val="2699"/>
            <c:invertIfNegative val="1"/>
            <c:bubble3D val="0"/>
            <c:spPr>
              <a:solidFill>
                <a:srgbClr val="AEABAB"/>
              </a:solidFill>
            </c:spPr>
            <c:extLst>
              <c:ext xmlns:c16="http://schemas.microsoft.com/office/drawing/2014/chart" uri="{C3380CC4-5D6E-409C-BE32-E72D297353CC}">
                <c16:uniqueId val="{00001519-61F5-407B-959D-D24239F5BB85}"/>
              </c:ext>
            </c:extLst>
          </c:dPt>
          <c:dPt>
            <c:idx val="2700"/>
            <c:invertIfNegative val="1"/>
            <c:bubble3D val="0"/>
            <c:spPr>
              <a:solidFill>
                <a:srgbClr val="AEABAB"/>
              </a:solidFill>
            </c:spPr>
            <c:extLst>
              <c:ext xmlns:c16="http://schemas.microsoft.com/office/drawing/2014/chart" uri="{C3380CC4-5D6E-409C-BE32-E72D297353CC}">
                <c16:uniqueId val="{0000151B-61F5-407B-959D-D24239F5BB85}"/>
              </c:ext>
            </c:extLst>
          </c:dPt>
          <c:dPt>
            <c:idx val="2701"/>
            <c:invertIfNegative val="1"/>
            <c:bubble3D val="0"/>
            <c:spPr>
              <a:solidFill>
                <a:srgbClr val="AEABAB"/>
              </a:solidFill>
            </c:spPr>
            <c:extLst>
              <c:ext xmlns:c16="http://schemas.microsoft.com/office/drawing/2014/chart" uri="{C3380CC4-5D6E-409C-BE32-E72D297353CC}">
                <c16:uniqueId val="{0000151D-61F5-407B-959D-D24239F5BB85}"/>
              </c:ext>
            </c:extLst>
          </c:dPt>
          <c:dPt>
            <c:idx val="2702"/>
            <c:invertIfNegative val="1"/>
            <c:bubble3D val="0"/>
            <c:spPr>
              <a:solidFill>
                <a:srgbClr val="AEABAB"/>
              </a:solidFill>
            </c:spPr>
            <c:extLst>
              <c:ext xmlns:c16="http://schemas.microsoft.com/office/drawing/2014/chart" uri="{C3380CC4-5D6E-409C-BE32-E72D297353CC}">
                <c16:uniqueId val="{0000151F-61F5-407B-959D-D24239F5BB85}"/>
              </c:ext>
            </c:extLst>
          </c:dPt>
          <c:dPt>
            <c:idx val="2703"/>
            <c:invertIfNegative val="1"/>
            <c:bubble3D val="0"/>
            <c:spPr>
              <a:solidFill>
                <a:srgbClr val="AEABAB"/>
              </a:solidFill>
            </c:spPr>
            <c:extLst>
              <c:ext xmlns:c16="http://schemas.microsoft.com/office/drawing/2014/chart" uri="{C3380CC4-5D6E-409C-BE32-E72D297353CC}">
                <c16:uniqueId val="{00001521-61F5-407B-959D-D24239F5BB85}"/>
              </c:ext>
            </c:extLst>
          </c:dPt>
          <c:dPt>
            <c:idx val="2704"/>
            <c:invertIfNegative val="1"/>
            <c:bubble3D val="0"/>
            <c:spPr>
              <a:solidFill>
                <a:srgbClr val="AEABAB"/>
              </a:solidFill>
            </c:spPr>
            <c:extLst>
              <c:ext xmlns:c16="http://schemas.microsoft.com/office/drawing/2014/chart" uri="{C3380CC4-5D6E-409C-BE32-E72D297353CC}">
                <c16:uniqueId val="{00001523-61F5-407B-959D-D24239F5BB85}"/>
              </c:ext>
            </c:extLst>
          </c:dPt>
          <c:dPt>
            <c:idx val="2705"/>
            <c:invertIfNegative val="1"/>
            <c:bubble3D val="0"/>
            <c:spPr>
              <a:solidFill>
                <a:srgbClr val="AEABAB"/>
              </a:solidFill>
            </c:spPr>
            <c:extLst>
              <c:ext xmlns:c16="http://schemas.microsoft.com/office/drawing/2014/chart" uri="{C3380CC4-5D6E-409C-BE32-E72D297353CC}">
                <c16:uniqueId val="{00001525-61F5-407B-959D-D24239F5BB85}"/>
              </c:ext>
            </c:extLst>
          </c:dPt>
          <c:dPt>
            <c:idx val="2706"/>
            <c:invertIfNegative val="1"/>
            <c:bubble3D val="0"/>
            <c:spPr>
              <a:solidFill>
                <a:srgbClr val="AEABAB"/>
              </a:solidFill>
            </c:spPr>
            <c:extLst>
              <c:ext xmlns:c16="http://schemas.microsoft.com/office/drawing/2014/chart" uri="{C3380CC4-5D6E-409C-BE32-E72D297353CC}">
                <c16:uniqueId val="{00001527-61F5-407B-959D-D24239F5BB85}"/>
              </c:ext>
            </c:extLst>
          </c:dPt>
          <c:dPt>
            <c:idx val="2707"/>
            <c:invertIfNegative val="1"/>
            <c:bubble3D val="0"/>
            <c:spPr>
              <a:solidFill>
                <a:srgbClr val="AEABAB"/>
              </a:solidFill>
            </c:spPr>
            <c:extLst>
              <c:ext xmlns:c16="http://schemas.microsoft.com/office/drawing/2014/chart" uri="{C3380CC4-5D6E-409C-BE32-E72D297353CC}">
                <c16:uniqueId val="{00001529-61F5-407B-959D-D24239F5BB85}"/>
              </c:ext>
            </c:extLst>
          </c:dPt>
          <c:dPt>
            <c:idx val="2708"/>
            <c:invertIfNegative val="1"/>
            <c:bubble3D val="0"/>
            <c:spPr>
              <a:solidFill>
                <a:srgbClr val="AEABAB"/>
              </a:solidFill>
            </c:spPr>
            <c:extLst>
              <c:ext xmlns:c16="http://schemas.microsoft.com/office/drawing/2014/chart" uri="{C3380CC4-5D6E-409C-BE32-E72D297353CC}">
                <c16:uniqueId val="{0000152B-61F5-407B-959D-D24239F5BB85}"/>
              </c:ext>
            </c:extLst>
          </c:dPt>
          <c:dPt>
            <c:idx val="2709"/>
            <c:invertIfNegative val="1"/>
            <c:bubble3D val="0"/>
            <c:spPr>
              <a:solidFill>
                <a:srgbClr val="AEABAB"/>
              </a:solidFill>
            </c:spPr>
            <c:extLst>
              <c:ext xmlns:c16="http://schemas.microsoft.com/office/drawing/2014/chart" uri="{C3380CC4-5D6E-409C-BE32-E72D297353CC}">
                <c16:uniqueId val="{0000152D-61F5-407B-959D-D24239F5BB85}"/>
              </c:ext>
            </c:extLst>
          </c:dPt>
          <c:dPt>
            <c:idx val="2710"/>
            <c:invertIfNegative val="1"/>
            <c:bubble3D val="0"/>
            <c:spPr>
              <a:solidFill>
                <a:srgbClr val="AEABAB"/>
              </a:solidFill>
            </c:spPr>
            <c:extLst>
              <c:ext xmlns:c16="http://schemas.microsoft.com/office/drawing/2014/chart" uri="{C3380CC4-5D6E-409C-BE32-E72D297353CC}">
                <c16:uniqueId val="{0000152F-61F5-407B-959D-D24239F5BB85}"/>
              </c:ext>
            </c:extLst>
          </c:dPt>
          <c:dPt>
            <c:idx val="2711"/>
            <c:invertIfNegative val="1"/>
            <c:bubble3D val="0"/>
            <c:spPr>
              <a:solidFill>
                <a:srgbClr val="AEABAB"/>
              </a:solidFill>
            </c:spPr>
            <c:extLst>
              <c:ext xmlns:c16="http://schemas.microsoft.com/office/drawing/2014/chart" uri="{C3380CC4-5D6E-409C-BE32-E72D297353CC}">
                <c16:uniqueId val="{00001531-61F5-407B-959D-D24239F5BB85}"/>
              </c:ext>
            </c:extLst>
          </c:dPt>
          <c:dPt>
            <c:idx val="2712"/>
            <c:invertIfNegative val="1"/>
            <c:bubble3D val="0"/>
            <c:spPr>
              <a:solidFill>
                <a:srgbClr val="AEABAB"/>
              </a:solidFill>
            </c:spPr>
            <c:extLst>
              <c:ext xmlns:c16="http://schemas.microsoft.com/office/drawing/2014/chart" uri="{C3380CC4-5D6E-409C-BE32-E72D297353CC}">
                <c16:uniqueId val="{00001533-61F5-407B-959D-D24239F5BB85}"/>
              </c:ext>
            </c:extLst>
          </c:dPt>
          <c:dPt>
            <c:idx val="2713"/>
            <c:invertIfNegative val="1"/>
            <c:bubble3D val="0"/>
            <c:spPr>
              <a:solidFill>
                <a:srgbClr val="AEABAB"/>
              </a:solidFill>
            </c:spPr>
            <c:extLst>
              <c:ext xmlns:c16="http://schemas.microsoft.com/office/drawing/2014/chart" uri="{C3380CC4-5D6E-409C-BE32-E72D297353CC}">
                <c16:uniqueId val="{00001535-61F5-407B-959D-D24239F5BB85}"/>
              </c:ext>
            </c:extLst>
          </c:dPt>
          <c:dPt>
            <c:idx val="2714"/>
            <c:invertIfNegative val="1"/>
            <c:bubble3D val="0"/>
            <c:spPr>
              <a:solidFill>
                <a:srgbClr val="AEABAB"/>
              </a:solidFill>
            </c:spPr>
            <c:extLst>
              <c:ext xmlns:c16="http://schemas.microsoft.com/office/drawing/2014/chart" uri="{C3380CC4-5D6E-409C-BE32-E72D297353CC}">
                <c16:uniqueId val="{00001537-61F5-407B-959D-D24239F5BB85}"/>
              </c:ext>
            </c:extLst>
          </c:dPt>
          <c:dPt>
            <c:idx val="2715"/>
            <c:invertIfNegative val="1"/>
            <c:bubble3D val="0"/>
            <c:spPr>
              <a:solidFill>
                <a:srgbClr val="AEABAB"/>
              </a:solidFill>
            </c:spPr>
            <c:extLst>
              <c:ext xmlns:c16="http://schemas.microsoft.com/office/drawing/2014/chart" uri="{C3380CC4-5D6E-409C-BE32-E72D297353CC}">
                <c16:uniqueId val="{00001539-61F5-407B-959D-D24239F5BB85}"/>
              </c:ext>
            </c:extLst>
          </c:dPt>
          <c:dPt>
            <c:idx val="2716"/>
            <c:invertIfNegative val="1"/>
            <c:bubble3D val="0"/>
            <c:spPr>
              <a:solidFill>
                <a:srgbClr val="AEABAB"/>
              </a:solidFill>
            </c:spPr>
            <c:extLst>
              <c:ext xmlns:c16="http://schemas.microsoft.com/office/drawing/2014/chart" uri="{C3380CC4-5D6E-409C-BE32-E72D297353CC}">
                <c16:uniqueId val="{0000153B-61F5-407B-959D-D24239F5BB85}"/>
              </c:ext>
            </c:extLst>
          </c:dPt>
          <c:dPt>
            <c:idx val="2717"/>
            <c:invertIfNegative val="1"/>
            <c:bubble3D val="0"/>
            <c:spPr>
              <a:solidFill>
                <a:srgbClr val="AEABAB"/>
              </a:solidFill>
            </c:spPr>
            <c:extLst>
              <c:ext xmlns:c16="http://schemas.microsoft.com/office/drawing/2014/chart" uri="{C3380CC4-5D6E-409C-BE32-E72D297353CC}">
                <c16:uniqueId val="{0000153D-61F5-407B-959D-D24239F5BB85}"/>
              </c:ext>
            </c:extLst>
          </c:dPt>
          <c:dPt>
            <c:idx val="2718"/>
            <c:invertIfNegative val="1"/>
            <c:bubble3D val="0"/>
            <c:spPr>
              <a:solidFill>
                <a:srgbClr val="AEABAB"/>
              </a:solidFill>
            </c:spPr>
            <c:extLst>
              <c:ext xmlns:c16="http://schemas.microsoft.com/office/drawing/2014/chart" uri="{C3380CC4-5D6E-409C-BE32-E72D297353CC}">
                <c16:uniqueId val="{0000153F-61F5-407B-959D-D24239F5BB85}"/>
              </c:ext>
            </c:extLst>
          </c:dPt>
          <c:dPt>
            <c:idx val="2719"/>
            <c:invertIfNegative val="1"/>
            <c:bubble3D val="0"/>
            <c:spPr>
              <a:solidFill>
                <a:srgbClr val="AEABAB"/>
              </a:solidFill>
            </c:spPr>
            <c:extLst>
              <c:ext xmlns:c16="http://schemas.microsoft.com/office/drawing/2014/chart" uri="{C3380CC4-5D6E-409C-BE32-E72D297353CC}">
                <c16:uniqueId val="{00001541-61F5-407B-959D-D24239F5BB85}"/>
              </c:ext>
            </c:extLst>
          </c:dPt>
          <c:dPt>
            <c:idx val="2720"/>
            <c:invertIfNegative val="1"/>
            <c:bubble3D val="0"/>
            <c:spPr>
              <a:solidFill>
                <a:srgbClr val="AEABAB"/>
              </a:solidFill>
            </c:spPr>
            <c:extLst>
              <c:ext xmlns:c16="http://schemas.microsoft.com/office/drawing/2014/chart" uri="{C3380CC4-5D6E-409C-BE32-E72D297353CC}">
                <c16:uniqueId val="{00001543-61F5-407B-959D-D24239F5BB85}"/>
              </c:ext>
            </c:extLst>
          </c:dPt>
          <c:dPt>
            <c:idx val="2721"/>
            <c:invertIfNegative val="1"/>
            <c:bubble3D val="0"/>
            <c:spPr>
              <a:solidFill>
                <a:srgbClr val="AEABAB"/>
              </a:solidFill>
            </c:spPr>
            <c:extLst>
              <c:ext xmlns:c16="http://schemas.microsoft.com/office/drawing/2014/chart" uri="{C3380CC4-5D6E-409C-BE32-E72D297353CC}">
                <c16:uniqueId val="{00001545-61F5-407B-959D-D24239F5BB85}"/>
              </c:ext>
            </c:extLst>
          </c:dPt>
          <c:dPt>
            <c:idx val="2722"/>
            <c:invertIfNegative val="1"/>
            <c:bubble3D val="0"/>
            <c:spPr>
              <a:solidFill>
                <a:srgbClr val="AEABAB"/>
              </a:solidFill>
            </c:spPr>
            <c:extLst>
              <c:ext xmlns:c16="http://schemas.microsoft.com/office/drawing/2014/chart" uri="{C3380CC4-5D6E-409C-BE32-E72D297353CC}">
                <c16:uniqueId val="{00001547-61F5-407B-959D-D24239F5BB85}"/>
              </c:ext>
            </c:extLst>
          </c:dPt>
          <c:dPt>
            <c:idx val="2723"/>
            <c:invertIfNegative val="1"/>
            <c:bubble3D val="0"/>
            <c:spPr>
              <a:solidFill>
                <a:srgbClr val="AEABAB"/>
              </a:solidFill>
            </c:spPr>
            <c:extLst>
              <c:ext xmlns:c16="http://schemas.microsoft.com/office/drawing/2014/chart" uri="{C3380CC4-5D6E-409C-BE32-E72D297353CC}">
                <c16:uniqueId val="{00001549-61F5-407B-959D-D24239F5BB85}"/>
              </c:ext>
            </c:extLst>
          </c:dPt>
          <c:dPt>
            <c:idx val="2724"/>
            <c:invertIfNegative val="1"/>
            <c:bubble3D val="0"/>
            <c:spPr>
              <a:solidFill>
                <a:srgbClr val="AEABAB"/>
              </a:solidFill>
            </c:spPr>
            <c:extLst>
              <c:ext xmlns:c16="http://schemas.microsoft.com/office/drawing/2014/chart" uri="{C3380CC4-5D6E-409C-BE32-E72D297353CC}">
                <c16:uniqueId val="{0000154B-61F5-407B-959D-D24239F5BB85}"/>
              </c:ext>
            </c:extLst>
          </c:dPt>
          <c:dPt>
            <c:idx val="2725"/>
            <c:invertIfNegative val="1"/>
            <c:bubble3D val="0"/>
            <c:spPr>
              <a:solidFill>
                <a:srgbClr val="AEABAB"/>
              </a:solidFill>
            </c:spPr>
            <c:extLst>
              <c:ext xmlns:c16="http://schemas.microsoft.com/office/drawing/2014/chart" uri="{C3380CC4-5D6E-409C-BE32-E72D297353CC}">
                <c16:uniqueId val="{0000154D-61F5-407B-959D-D24239F5BB85}"/>
              </c:ext>
            </c:extLst>
          </c:dPt>
          <c:dPt>
            <c:idx val="2726"/>
            <c:invertIfNegative val="1"/>
            <c:bubble3D val="0"/>
            <c:spPr>
              <a:solidFill>
                <a:srgbClr val="AEABAB"/>
              </a:solidFill>
            </c:spPr>
            <c:extLst>
              <c:ext xmlns:c16="http://schemas.microsoft.com/office/drawing/2014/chart" uri="{C3380CC4-5D6E-409C-BE32-E72D297353CC}">
                <c16:uniqueId val="{0000154F-61F5-407B-959D-D24239F5BB85}"/>
              </c:ext>
            </c:extLst>
          </c:dPt>
          <c:dPt>
            <c:idx val="2727"/>
            <c:invertIfNegative val="1"/>
            <c:bubble3D val="0"/>
            <c:spPr>
              <a:solidFill>
                <a:srgbClr val="AEABAB"/>
              </a:solidFill>
            </c:spPr>
            <c:extLst>
              <c:ext xmlns:c16="http://schemas.microsoft.com/office/drawing/2014/chart" uri="{C3380CC4-5D6E-409C-BE32-E72D297353CC}">
                <c16:uniqueId val="{00001551-61F5-407B-959D-D24239F5BB85}"/>
              </c:ext>
            </c:extLst>
          </c:dPt>
          <c:dPt>
            <c:idx val="2728"/>
            <c:invertIfNegative val="1"/>
            <c:bubble3D val="0"/>
            <c:spPr>
              <a:solidFill>
                <a:srgbClr val="AEABAB"/>
              </a:solidFill>
            </c:spPr>
            <c:extLst>
              <c:ext xmlns:c16="http://schemas.microsoft.com/office/drawing/2014/chart" uri="{C3380CC4-5D6E-409C-BE32-E72D297353CC}">
                <c16:uniqueId val="{00001553-61F5-407B-959D-D24239F5BB85}"/>
              </c:ext>
            </c:extLst>
          </c:dPt>
          <c:dPt>
            <c:idx val="2729"/>
            <c:invertIfNegative val="1"/>
            <c:bubble3D val="0"/>
            <c:spPr>
              <a:solidFill>
                <a:srgbClr val="AEABAB"/>
              </a:solidFill>
            </c:spPr>
            <c:extLst>
              <c:ext xmlns:c16="http://schemas.microsoft.com/office/drawing/2014/chart" uri="{C3380CC4-5D6E-409C-BE32-E72D297353CC}">
                <c16:uniqueId val="{00001555-61F5-407B-959D-D24239F5BB85}"/>
              </c:ext>
            </c:extLst>
          </c:dPt>
          <c:dPt>
            <c:idx val="2730"/>
            <c:invertIfNegative val="1"/>
            <c:bubble3D val="0"/>
            <c:spPr>
              <a:solidFill>
                <a:srgbClr val="AEABAB"/>
              </a:solidFill>
            </c:spPr>
            <c:extLst>
              <c:ext xmlns:c16="http://schemas.microsoft.com/office/drawing/2014/chart" uri="{C3380CC4-5D6E-409C-BE32-E72D297353CC}">
                <c16:uniqueId val="{00001557-61F5-407B-959D-D24239F5BB85}"/>
              </c:ext>
            </c:extLst>
          </c:dPt>
          <c:dPt>
            <c:idx val="2731"/>
            <c:invertIfNegative val="1"/>
            <c:bubble3D val="0"/>
            <c:spPr>
              <a:solidFill>
                <a:srgbClr val="AEABAB"/>
              </a:solidFill>
            </c:spPr>
            <c:extLst>
              <c:ext xmlns:c16="http://schemas.microsoft.com/office/drawing/2014/chart" uri="{C3380CC4-5D6E-409C-BE32-E72D297353CC}">
                <c16:uniqueId val="{00001559-61F5-407B-959D-D24239F5BB85}"/>
              </c:ext>
            </c:extLst>
          </c:dPt>
          <c:dPt>
            <c:idx val="2732"/>
            <c:invertIfNegative val="1"/>
            <c:bubble3D val="0"/>
            <c:spPr>
              <a:solidFill>
                <a:srgbClr val="AEABAB"/>
              </a:solidFill>
            </c:spPr>
            <c:extLst>
              <c:ext xmlns:c16="http://schemas.microsoft.com/office/drawing/2014/chart" uri="{C3380CC4-5D6E-409C-BE32-E72D297353CC}">
                <c16:uniqueId val="{0000155B-61F5-407B-959D-D24239F5BB85}"/>
              </c:ext>
            </c:extLst>
          </c:dPt>
          <c:dPt>
            <c:idx val="2733"/>
            <c:invertIfNegative val="1"/>
            <c:bubble3D val="0"/>
            <c:spPr>
              <a:solidFill>
                <a:srgbClr val="AEABAB"/>
              </a:solidFill>
            </c:spPr>
            <c:extLst>
              <c:ext xmlns:c16="http://schemas.microsoft.com/office/drawing/2014/chart" uri="{C3380CC4-5D6E-409C-BE32-E72D297353CC}">
                <c16:uniqueId val="{0000155D-61F5-407B-959D-D24239F5BB85}"/>
              </c:ext>
            </c:extLst>
          </c:dPt>
          <c:dPt>
            <c:idx val="2734"/>
            <c:invertIfNegative val="1"/>
            <c:bubble3D val="0"/>
            <c:spPr>
              <a:solidFill>
                <a:srgbClr val="AEABAB"/>
              </a:solidFill>
            </c:spPr>
            <c:extLst>
              <c:ext xmlns:c16="http://schemas.microsoft.com/office/drawing/2014/chart" uri="{C3380CC4-5D6E-409C-BE32-E72D297353CC}">
                <c16:uniqueId val="{0000155F-61F5-407B-959D-D24239F5BB85}"/>
              </c:ext>
            </c:extLst>
          </c:dPt>
          <c:dPt>
            <c:idx val="2735"/>
            <c:invertIfNegative val="1"/>
            <c:bubble3D val="0"/>
            <c:spPr>
              <a:solidFill>
                <a:srgbClr val="AEABAB"/>
              </a:solidFill>
            </c:spPr>
            <c:extLst>
              <c:ext xmlns:c16="http://schemas.microsoft.com/office/drawing/2014/chart" uri="{C3380CC4-5D6E-409C-BE32-E72D297353CC}">
                <c16:uniqueId val="{00001561-61F5-407B-959D-D24239F5BB85}"/>
              </c:ext>
            </c:extLst>
          </c:dPt>
          <c:dPt>
            <c:idx val="2736"/>
            <c:invertIfNegative val="1"/>
            <c:bubble3D val="0"/>
            <c:spPr>
              <a:solidFill>
                <a:srgbClr val="AEABAB"/>
              </a:solidFill>
            </c:spPr>
            <c:extLst>
              <c:ext xmlns:c16="http://schemas.microsoft.com/office/drawing/2014/chart" uri="{C3380CC4-5D6E-409C-BE32-E72D297353CC}">
                <c16:uniqueId val="{00001563-61F5-407B-959D-D24239F5BB85}"/>
              </c:ext>
            </c:extLst>
          </c:dPt>
          <c:dPt>
            <c:idx val="2737"/>
            <c:invertIfNegative val="1"/>
            <c:bubble3D val="0"/>
            <c:spPr>
              <a:solidFill>
                <a:srgbClr val="AEABAB"/>
              </a:solidFill>
            </c:spPr>
            <c:extLst>
              <c:ext xmlns:c16="http://schemas.microsoft.com/office/drawing/2014/chart" uri="{C3380CC4-5D6E-409C-BE32-E72D297353CC}">
                <c16:uniqueId val="{00001565-61F5-407B-959D-D24239F5BB85}"/>
              </c:ext>
            </c:extLst>
          </c:dPt>
          <c:dPt>
            <c:idx val="2738"/>
            <c:invertIfNegative val="1"/>
            <c:bubble3D val="0"/>
            <c:spPr>
              <a:solidFill>
                <a:srgbClr val="AEABAB"/>
              </a:solidFill>
            </c:spPr>
            <c:extLst>
              <c:ext xmlns:c16="http://schemas.microsoft.com/office/drawing/2014/chart" uri="{C3380CC4-5D6E-409C-BE32-E72D297353CC}">
                <c16:uniqueId val="{00001567-61F5-407B-959D-D24239F5BB85}"/>
              </c:ext>
            </c:extLst>
          </c:dPt>
          <c:dPt>
            <c:idx val="2739"/>
            <c:invertIfNegative val="1"/>
            <c:bubble3D val="0"/>
            <c:spPr>
              <a:solidFill>
                <a:srgbClr val="AEABAB"/>
              </a:solidFill>
            </c:spPr>
            <c:extLst>
              <c:ext xmlns:c16="http://schemas.microsoft.com/office/drawing/2014/chart" uri="{C3380CC4-5D6E-409C-BE32-E72D297353CC}">
                <c16:uniqueId val="{00001569-61F5-407B-959D-D24239F5BB85}"/>
              </c:ext>
            </c:extLst>
          </c:dPt>
          <c:dPt>
            <c:idx val="2740"/>
            <c:invertIfNegative val="1"/>
            <c:bubble3D val="0"/>
            <c:spPr>
              <a:solidFill>
                <a:srgbClr val="AEABAB"/>
              </a:solidFill>
            </c:spPr>
            <c:extLst>
              <c:ext xmlns:c16="http://schemas.microsoft.com/office/drawing/2014/chart" uri="{C3380CC4-5D6E-409C-BE32-E72D297353CC}">
                <c16:uniqueId val="{0000156B-61F5-407B-959D-D24239F5BB85}"/>
              </c:ext>
            </c:extLst>
          </c:dPt>
          <c:dPt>
            <c:idx val="2741"/>
            <c:invertIfNegative val="1"/>
            <c:bubble3D val="0"/>
            <c:spPr>
              <a:solidFill>
                <a:srgbClr val="AEABAB"/>
              </a:solidFill>
            </c:spPr>
            <c:extLst>
              <c:ext xmlns:c16="http://schemas.microsoft.com/office/drawing/2014/chart" uri="{C3380CC4-5D6E-409C-BE32-E72D297353CC}">
                <c16:uniqueId val="{0000156D-61F5-407B-959D-D24239F5BB85}"/>
              </c:ext>
            </c:extLst>
          </c:dPt>
          <c:dPt>
            <c:idx val="2742"/>
            <c:invertIfNegative val="1"/>
            <c:bubble3D val="0"/>
            <c:spPr>
              <a:solidFill>
                <a:srgbClr val="AEABAB"/>
              </a:solidFill>
            </c:spPr>
            <c:extLst>
              <c:ext xmlns:c16="http://schemas.microsoft.com/office/drawing/2014/chart" uri="{C3380CC4-5D6E-409C-BE32-E72D297353CC}">
                <c16:uniqueId val="{0000156F-61F5-407B-959D-D24239F5BB85}"/>
              </c:ext>
            </c:extLst>
          </c:dPt>
          <c:dPt>
            <c:idx val="2743"/>
            <c:invertIfNegative val="1"/>
            <c:bubble3D val="0"/>
            <c:spPr>
              <a:solidFill>
                <a:srgbClr val="AEABAB"/>
              </a:solidFill>
            </c:spPr>
            <c:extLst>
              <c:ext xmlns:c16="http://schemas.microsoft.com/office/drawing/2014/chart" uri="{C3380CC4-5D6E-409C-BE32-E72D297353CC}">
                <c16:uniqueId val="{00001571-61F5-407B-959D-D24239F5BB85}"/>
              </c:ext>
            </c:extLst>
          </c:dPt>
          <c:dPt>
            <c:idx val="2744"/>
            <c:invertIfNegative val="1"/>
            <c:bubble3D val="0"/>
            <c:spPr>
              <a:solidFill>
                <a:srgbClr val="AEABAB"/>
              </a:solidFill>
            </c:spPr>
            <c:extLst>
              <c:ext xmlns:c16="http://schemas.microsoft.com/office/drawing/2014/chart" uri="{C3380CC4-5D6E-409C-BE32-E72D297353CC}">
                <c16:uniqueId val="{00001573-61F5-407B-959D-D24239F5BB85}"/>
              </c:ext>
            </c:extLst>
          </c:dPt>
          <c:dPt>
            <c:idx val="2745"/>
            <c:invertIfNegative val="1"/>
            <c:bubble3D val="0"/>
            <c:spPr>
              <a:solidFill>
                <a:srgbClr val="AEABAB"/>
              </a:solidFill>
            </c:spPr>
            <c:extLst>
              <c:ext xmlns:c16="http://schemas.microsoft.com/office/drawing/2014/chart" uri="{C3380CC4-5D6E-409C-BE32-E72D297353CC}">
                <c16:uniqueId val="{00001575-61F5-407B-959D-D24239F5BB85}"/>
              </c:ext>
            </c:extLst>
          </c:dPt>
          <c:dPt>
            <c:idx val="2746"/>
            <c:invertIfNegative val="1"/>
            <c:bubble3D val="0"/>
            <c:spPr>
              <a:solidFill>
                <a:srgbClr val="AEABAB"/>
              </a:solidFill>
            </c:spPr>
            <c:extLst>
              <c:ext xmlns:c16="http://schemas.microsoft.com/office/drawing/2014/chart" uri="{C3380CC4-5D6E-409C-BE32-E72D297353CC}">
                <c16:uniqueId val="{00001577-61F5-407B-959D-D24239F5BB85}"/>
              </c:ext>
            </c:extLst>
          </c:dPt>
          <c:dPt>
            <c:idx val="2747"/>
            <c:invertIfNegative val="1"/>
            <c:bubble3D val="0"/>
            <c:spPr>
              <a:solidFill>
                <a:srgbClr val="AEABAB"/>
              </a:solidFill>
            </c:spPr>
            <c:extLst>
              <c:ext xmlns:c16="http://schemas.microsoft.com/office/drawing/2014/chart" uri="{C3380CC4-5D6E-409C-BE32-E72D297353CC}">
                <c16:uniqueId val="{00001579-61F5-407B-959D-D24239F5BB85}"/>
              </c:ext>
            </c:extLst>
          </c:dPt>
          <c:dPt>
            <c:idx val="2748"/>
            <c:invertIfNegative val="1"/>
            <c:bubble3D val="0"/>
            <c:spPr>
              <a:solidFill>
                <a:srgbClr val="AEABAB"/>
              </a:solidFill>
            </c:spPr>
            <c:extLst>
              <c:ext xmlns:c16="http://schemas.microsoft.com/office/drawing/2014/chart" uri="{C3380CC4-5D6E-409C-BE32-E72D297353CC}">
                <c16:uniqueId val="{0000157B-61F5-407B-959D-D24239F5BB85}"/>
              </c:ext>
            </c:extLst>
          </c:dPt>
          <c:dPt>
            <c:idx val="2749"/>
            <c:invertIfNegative val="1"/>
            <c:bubble3D val="0"/>
            <c:spPr>
              <a:solidFill>
                <a:srgbClr val="AEABAB"/>
              </a:solidFill>
            </c:spPr>
            <c:extLst>
              <c:ext xmlns:c16="http://schemas.microsoft.com/office/drawing/2014/chart" uri="{C3380CC4-5D6E-409C-BE32-E72D297353CC}">
                <c16:uniqueId val="{0000157D-61F5-407B-959D-D24239F5BB85}"/>
              </c:ext>
            </c:extLst>
          </c:dPt>
          <c:dPt>
            <c:idx val="2750"/>
            <c:invertIfNegative val="1"/>
            <c:bubble3D val="0"/>
            <c:spPr>
              <a:solidFill>
                <a:srgbClr val="AEABAB"/>
              </a:solidFill>
            </c:spPr>
            <c:extLst>
              <c:ext xmlns:c16="http://schemas.microsoft.com/office/drawing/2014/chart" uri="{C3380CC4-5D6E-409C-BE32-E72D297353CC}">
                <c16:uniqueId val="{0000157F-61F5-407B-959D-D24239F5BB85}"/>
              </c:ext>
            </c:extLst>
          </c:dPt>
          <c:dPt>
            <c:idx val="2751"/>
            <c:invertIfNegative val="1"/>
            <c:bubble3D val="0"/>
            <c:spPr>
              <a:solidFill>
                <a:srgbClr val="AEABAB"/>
              </a:solidFill>
            </c:spPr>
            <c:extLst>
              <c:ext xmlns:c16="http://schemas.microsoft.com/office/drawing/2014/chart" uri="{C3380CC4-5D6E-409C-BE32-E72D297353CC}">
                <c16:uniqueId val="{00001581-61F5-407B-959D-D24239F5BB85}"/>
              </c:ext>
            </c:extLst>
          </c:dPt>
          <c:dPt>
            <c:idx val="2752"/>
            <c:invertIfNegative val="1"/>
            <c:bubble3D val="0"/>
            <c:spPr>
              <a:solidFill>
                <a:srgbClr val="AEABAB"/>
              </a:solidFill>
            </c:spPr>
            <c:extLst>
              <c:ext xmlns:c16="http://schemas.microsoft.com/office/drawing/2014/chart" uri="{C3380CC4-5D6E-409C-BE32-E72D297353CC}">
                <c16:uniqueId val="{00001583-61F5-407B-959D-D24239F5BB85}"/>
              </c:ext>
            </c:extLst>
          </c:dPt>
          <c:dPt>
            <c:idx val="2753"/>
            <c:invertIfNegative val="1"/>
            <c:bubble3D val="0"/>
            <c:spPr>
              <a:solidFill>
                <a:srgbClr val="AEABAB"/>
              </a:solidFill>
            </c:spPr>
            <c:extLst>
              <c:ext xmlns:c16="http://schemas.microsoft.com/office/drawing/2014/chart" uri="{C3380CC4-5D6E-409C-BE32-E72D297353CC}">
                <c16:uniqueId val="{00001585-61F5-407B-959D-D24239F5BB85}"/>
              </c:ext>
            </c:extLst>
          </c:dPt>
          <c:dPt>
            <c:idx val="2754"/>
            <c:invertIfNegative val="1"/>
            <c:bubble3D val="0"/>
            <c:spPr>
              <a:solidFill>
                <a:srgbClr val="AEABAB"/>
              </a:solidFill>
            </c:spPr>
            <c:extLst>
              <c:ext xmlns:c16="http://schemas.microsoft.com/office/drawing/2014/chart" uri="{C3380CC4-5D6E-409C-BE32-E72D297353CC}">
                <c16:uniqueId val="{00001587-61F5-407B-959D-D24239F5BB85}"/>
              </c:ext>
            </c:extLst>
          </c:dPt>
          <c:dPt>
            <c:idx val="2755"/>
            <c:invertIfNegative val="1"/>
            <c:bubble3D val="0"/>
            <c:spPr>
              <a:solidFill>
                <a:srgbClr val="AEABAB"/>
              </a:solidFill>
            </c:spPr>
            <c:extLst>
              <c:ext xmlns:c16="http://schemas.microsoft.com/office/drawing/2014/chart" uri="{C3380CC4-5D6E-409C-BE32-E72D297353CC}">
                <c16:uniqueId val="{00001589-61F5-407B-959D-D24239F5BB85}"/>
              </c:ext>
            </c:extLst>
          </c:dPt>
          <c:dPt>
            <c:idx val="2756"/>
            <c:invertIfNegative val="1"/>
            <c:bubble3D val="0"/>
            <c:spPr>
              <a:solidFill>
                <a:srgbClr val="AEABAB"/>
              </a:solidFill>
            </c:spPr>
            <c:extLst>
              <c:ext xmlns:c16="http://schemas.microsoft.com/office/drawing/2014/chart" uri="{C3380CC4-5D6E-409C-BE32-E72D297353CC}">
                <c16:uniqueId val="{0000158B-61F5-407B-959D-D24239F5BB85}"/>
              </c:ext>
            </c:extLst>
          </c:dPt>
          <c:dPt>
            <c:idx val="2757"/>
            <c:invertIfNegative val="1"/>
            <c:bubble3D val="0"/>
            <c:spPr>
              <a:solidFill>
                <a:srgbClr val="AEABAB"/>
              </a:solidFill>
            </c:spPr>
            <c:extLst>
              <c:ext xmlns:c16="http://schemas.microsoft.com/office/drawing/2014/chart" uri="{C3380CC4-5D6E-409C-BE32-E72D297353CC}">
                <c16:uniqueId val="{0000158D-61F5-407B-959D-D24239F5BB85}"/>
              </c:ext>
            </c:extLst>
          </c:dPt>
          <c:dPt>
            <c:idx val="2758"/>
            <c:invertIfNegative val="1"/>
            <c:bubble3D val="0"/>
            <c:spPr>
              <a:solidFill>
                <a:srgbClr val="AEABAB"/>
              </a:solidFill>
            </c:spPr>
            <c:extLst>
              <c:ext xmlns:c16="http://schemas.microsoft.com/office/drawing/2014/chart" uri="{C3380CC4-5D6E-409C-BE32-E72D297353CC}">
                <c16:uniqueId val="{0000158F-61F5-407B-959D-D24239F5BB85}"/>
              </c:ext>
            </c:extLst>
          </c:dPt>
          <c:dPt>
            <c:idx val="2759"/>
            <c:invertIfNegative val="1"/>
            <c:bubble3D val="0"/>
            <c:spPr>
              <a:solidFill>
                <a:srgbClr val="AEABAB"/>
              </a:solidFill>
            </c:spPr>
            <c:extLst>
              <c:ext xmlns:c16="http://schemas.microsoft.com/office/drawing/2014/chart" uri="{C3380CC4-5D6E-409C-BE32-E72D297353CC}">
                <c16:uniqueId val="{00001591-61F5-407B-959D-D24239F5BB85}"/>
              </c:ext>
            </c:extLst>
          </c:dPt>
          <c:dPt>
            <c:idx val="2760"/>
            <c:invertIfNegative val="1"/>
            <c:bubble3D val="0"/>
            <c:spPr>
              <a:solidFill>
                <a:srgbClr val="AEABAB"/>
              </a:solidFill>
            </c:spPr>
            <c:extLst>
              <c:ext xmlns:c16="http://schemas.microsoft.com/office/drawing/2014/chart" uri="{C3380CC4-5D6E-409C-BE32-E72D297353CC}">
                <c16:uniqueId val="{00001593-61F5-407B-959D-D24239F5BB85}"/>
              </c:ext>
            </c:extLst>
          </c:dPt>
          <c:dPt>
            <c:idx val="2761"/>
            <c:invertIfNegative val="1"/>
            <c:bubble3D val="0"/>
            <c:spPr>
              <a:solidFill>
                <a:srgbClr val="AEABAB"/>
              </a:solidFill>
            </c:spPr>
            <c:extLst>
              <c:ext xmlns:c16="http://schemas.microsoft.com/office/drawing/2014/chart" uri="{C3380CC4-5D6E-409C-BE32-E72D297353CC}">
                <c16:uniqueId val="{00001595-61F5-407B-959D-D24239F5BB85}"/>
              </c:ext>
            </c:extLst>
          </c:dPt>
          <c:dPt>
            <c:idx val="2762"/>
            <c:invertIfNegative val="1"/>
            <c:bubble3D val="0"/>
            <c:spPr>
              <a:solidFill>
                <a:srgbClr val="AEABAB"/>
              </a:solidFill>
            </c:spPr>
            <c:extLst>
              <c:ext xmlns:c16="http://schemas.microsoft.com/office/drawing/2014/chart" uri="{C3380CC4-5D6E-409C-BE32-E72D297353CC}">
                <c16:uniqueId val="{00001597-61F5-407B-959D-D24239F5BB85}"/>
              </c:ext>
            </c:extLst>
          </c:dPt>
          <c:dPt>
            <c:idx val="2763"/>
            <c:invertIfNegative val="1"/>
            <c:bubble3D val="0"/>
            <c:spPr>
              <a:solidFill>
                <a:srgbClr val="AEABAB"/>
              </a:solidFill>
            </c:spPr>
            <c:extLst>
              <c:ext xmlns:c16="http://schemas.microsoft.com/office/drawing/2014/chart" uri="{C3380CC4-5D6E-409C-BE32-E72D297353CC}">
                <c16:uniqueId val="{00001599-61F5-407B-959D-D24239F5BB85}"/>
              </c:ext>
            </c:extLst>
          </c:dPt>
          <c:dPt>
            <c:idx val="2764"/>
            <c:invertIfNegative val="1"/>
            <c:bubble3D val="0"/>
            <c:spPr>
              <a:solidFill>
                <a:srgbClr val="AEABAB"/>
              </a:solidFill>
            </c:spPr>
            <c:extLst>
              <c:ext xmlns:c16="http://schemas.microsoft.com/office/drawing/2014/chart" uri="{C3380CC4-5D6E-409C-BE32-E72D297353CC}">
                <c16:uniqueId val="{0000159B-61F5-407B-959D-D24239F5BB85}"/>
              </c:ext>
            </c:extLst>
          </c:dPt>
          <c:dPt>
            <c:idx val="2765"/>
            <c:invertIfNegative val="1"/>
            <c:bubble3D val="0"/>
            <c:spPr>
              <a:solidFill>
                <a:srgbClr val="AEABAB"/>
              </a:solidFill>
            </c:spPr>
            <c:extLst>
              <c:ext xmlns:c16="http://schemas.microsoft.com/office/drawing/2014/chart" uri="{C3380CC4-5D6E-409C-BE32-E72D297353CC}">
                <c16:uniqueId val="{0000159D-61F5-407B-959D-D24239F5BB85}"/>
              </c:ext>
            </c:extLst>
          </c:dPt>
          <c:dPt>
            <c:idx val="2766"/>
            <c:invertIfNegative val="1"/>
            <c:bubble3D val="0"/>
            <c:spPr>
              <a:solidFill>
                <a:srgbClr val="AEABAB"/>
              </a:solidFill>
            </c:spPr>
            <c:extLst>
              <c:ext xmlns:c16="http://schemas.microsoft.com/office/drawing/2014/chart" uri="{C3380CC4-5D6E-409C-BE32-E72D297353CC}">
                <c16:uniqueId val="{0000159F-61F5-407B-959D-D24239F5BB85}"/>
              </c:ext>
            </c:extLst>
          </c:dPt>
          <c:dPt>
            <c:idx val="2767"/>
            <c:invertIfNegative val="1"/>
            <c:bubble3D val="0"/>
            <c:spPr>
              <a:solidFill>
                <a:srgbClr val="AEABAB"/>
              </a:solidFill>
            </c:spPr>
            <c:extLst>
              <c:ext xmlns:c16="http://schemas.microsoft.com/office/drawing/2014/chart" uri="{C3380CC4-5D6E-409C-BE32-E72D297353CC}">
                <c16:uniqueId val="{000015A1-61F5-407B-959D-D24239F5BB85}"/>
              </c:ext>
            </c:extLst>
          </c:dPt>
          <c:dPt>
            <c:idx val="2768"/>
            <c:invertIfNegative val="1"/>
            <c:bubble3D val="0"/>
            <c:spPr>
              <a:solidFill>
                <a:srgbClr val="AEABAB"/>
              </a:solidFill>
            </c:spPr>
            <c:extLst>
              <c:ext xmlns:c16="http://schemas.microsoft.com/office/drawing/2014/chart" uri="{C3380CC4-5D6E-409C-BE32-E72D297353CC}">
                <c16:uniqueId val="{000015A3-61F5-407B-959D-D24239F5BB85}"/>
              </c:ext>
            </c:extLst>
          </c:dPt>
          <c:dPt>
            <c:idx val="2769"/>
            <c:invertIfNegative val="1"/>
            <c:bubble3D val="0"/>
            <c:spPr>
              <a:solidFill>
                <a:srgbClr val="AEABAB"/>
              </a:solidFill>
            </c:spPr>
            <c:extLst>
              <c:ext xmlns:c16="http://schemas.microsoft.com/office/drawing/2014/chart" uri="{C3380CC4-5D6E-409C-BE32-E72D297353CC}">
                <c16:uniqueId val="{000015A5-61F5-407B-959D-D24239F5BB85}"/>
              </c:ext>
            </c:extLst>
          </c:dPt>
          <c:dPt>
            <c:idx val="2770"/>
            <c:invertIfNegative val="1"/>
            <c:bubble3D val="0"/>
            <c:spPr>
              <a:solidFill>
                <a:srgbClr val="AEABAB"/>
              </a:solidFill>
            </c:spPr>
            <c:extLst>
              <c:ext xmlns:c16="http://schemas.microsoft.com/office/drawing/2014/chart" uri="{C3380CC4-5D6E-409C-BE32-E72D297353CC}">
                <c16:uniqueId val="{000015A7-61F5-407B-959D-D24239F5BB85}"/>
              </c:ext>
            </c:extLst>
          </c:dPt>
          <c:dPt>
            <c:idx val="2771"/>
            <c:invertIfNegative val="1"/>
            <c:bubble3D val="0"/>
            <c:spPr>
              <a:solidFill>
                <a:srgbClr val="AEABAB"/>
              </a:solidFill>
            </c:spPr>
            <c:extLst>
              <c:ext xmlns:c16="http://schemas.microsoft.com/office/drawing/2014/chart" uri="{C3380CC4-5D6E-409C-BE32-E72D297353CC}">
                <c16:uniqueId val="{000015A9-61F5-407B-959D-D24239F5BB85}"/>
              </c:ext>
            </c:extLst>
          </c:dPt>
          <c:dPt>
            <c:idx val="2772"/>
            <c:invertIfNegative val="1"/>
            <c:bubble3D val="0"/>
            <c:spPr>
              <a:solidFill>
                <a:srgbClr val="AEABAB"/>
              </a:solidFill>
            </c:spPr>
            <c:extLst>
              <c:ext xmlns:c16="http://schemas.microsoft.com/office/drawing/2014/chart" uri="{C3380CC4-5D6E-409C-BE32-E72D297353CC}">
                <c16:uniqueId val="{000015AB-61F5-407B-959D-D24239F5BB85}"/>
              </c:ext>
            </c:extLst>
          </c:dPt>
          <c:dPt>
            <c:idx val="2773"/>
            <c:invertIfNegative val="1"/>
            <c:bubble3D val="0"/>
            <c:spPr>
              <a:solidFill>
                <a:srgbClr val="AEABAB"/>
              </a:solidFill>
            </c:spPr>
            <c:extLst>
              <c:ext xmlns:c16="http://schemas.microsoft.com/office/drawing/2014/chart" uri="{C3380CC4-5D6E-409C-BE32-E72D297353CC}">
                <c16:uniqueId val="{000015AD-61F5-407B-959D-D24239F5BB85}"/>
              </c:ext>
            </c:extLst>
          </c:dPt>
          <c:dPt>
            <c:idx val="2774"/>
            <c:invertIfNegative val="1"/>
            <c:bubble3D val="0"/>
            <c:spPr>
              <a:solidFill>
                <a:srgbClr val="AEABAB"/>
              </a:solidFill>
            </c:spPr>
            <c:extLst>
              <c:ext xmlns:c16="http://schemas.microsoft.com/office/drawing/2014/chart" uri="{C3380CC4-5D6E-409C-BE32-E72D297353CC}">
                <c16:uniqueId val="{000015AF-61F5-407B-959D-D24239F5BB85}"/>
              </c:ext>
            </c:extLst>
          </c:dPt>
          <c:dPt>
            <c:idx val="2775"/>
            <c:invertIfNegative val="1"/>
            <c:bubble3D val="0"/>
            <c:spPr>
              <a:solidFill>
                <a:srgbClr val="AEABAB"/>
              </a:solidFill>
            </c:spPr>
            <c:extLst>
              <c:ext xmlns:c16="http://schemas.microsoft.com/office/drawing/2014/chart" uri="{C3380CC4-5D6E-409C-BE32-E72D297353CC}">
                <c16:uniqueId val="{000015B1-61F5-407B-959D-D24239F5BB85}"/>
              </c:ext>
            </c:extLst>
          </c:dPt>
          <c:dPt>
            <c:idx val="2776"/>
            <c:invertIfNegative val="1"/>
            <c:bubble3D val="0"/>
            <c:spPr>
              <a:solidFill>
                <a:srgbClr val="AEABAB"/>
              </a:solidFill>
            </c:spPr>
            <c:extLst>
              <c:ext xmlns:c16="http://schemas.microsoft.com/office/drawing/2014/chart" uri="{C3380CC4-5D6E-409C-BE32-E72D297353CC}">
                <c16:uniqueId val="{000015B3-61F5-407B-959D-D24239F5BB85}"/>
              </c:ext>
            </c:extLst>
          </c:dPt>
          <c:dPt>
            <c:idx val="2777"/>
            <c:invertIfNegative val="1"/>
            <c:bubble3D val="0"/>
            <c:spPr>
              <a:solidFill>
                <a:srgbClr val="AEABAB"/>
              </a:solidFill>
            </c:spPr>
            <c:extLst>
              <c:ext xmlns:c16="http://schemas.microsoft.com/office/drawing/2014/chart" uri="{C3380CC4-5D6E-409C-BE32-E72D297353CC}">
                <c16:uniqueId val="{000015B5-61F5-407B-959D-D24239F5BB85}"/>
              </c:ext>
            </c:extLst>
          </c:dPt>
          <c:dPt>
            <c:idx val="2778"/>
            <c:invertIfNegative val="1"/>
            <c:bubble3D val="0"/>
            <c:spPr>
              <a:solidFill>
                <a:srgbClr val="AEABAB"/>
              </a:solidFill>
            </c:spPr>
            <c:extLst>
              <c:ext xmlns:c16="http://schemas.microsoft.com/office/drawing/2014/chart" uri="{C3380CC4-5D6E-409C-BE32-E72D297353CC}">
                <c16:uniqueId val="{000015B7-61F5-407B-959D-D24239F5BB85}"/>
              </c:ext>
            </c:extLst>
          </c:dPt>
          <c:dPt>
            <c:idx val="2779"/>
            <c:invertIfNegative val="1"/>
            <c:bubble3D val="0"/>
            <c:spPr>
              <a:solidFill>
                <a:srgbClr val="AEABAB"/>
              </a:solidFill>
            </c:spPr>
            <c:extLst>
              <c:ext xmlns:c16="http://schemas.microsoft.com/office/drawing/2014/chart" uri="{C3380CC4-5D6E-409C-BE32-E72D297353CC}">
                <c16:uniqueId val="{000015B9-61F5-407B-959D-D24239F5BB85}"/>
              </c:ext>
            </c:extLst>
          </c:dPt>
          <c:dPt>
            <c:idx val="2780"/>
            <c:invertIfNegative val="1"/>
            <c:bubble3D val="0"/>
            <c:spPr>
              <a:solidFill>
                <a:srgbClr val="AEABAB"/>
              </a:solidFill>
            </c:spPr>
            <c:extLst>
              <c:ext xmlns:c16="http://schemas.microsoft.com/office/drawing/2014/chart" uri="{C3380CC4-5D6E-409C-BE32-E72D297353CC}">
                <c16:uniqueId val="{000015BB-61F5-407B-959D-D24239F5BB85}"/>
              </c:ext>
            </c:extLst>
          </c:dPt>
          <c:dPt>
            <c:idx val="2781"/>
            <c:invertIfNegative val="1"/>
            <c:bubble3D val="0"/>
            <c:spPr>
              <a:solidFill>
                <a:srgbClr val="AEABAB"/>
              </a:solidFill>
            </c:spPr>
            <c:extLst>
              <c:ext xmlns:c16="http://schemas.microsoft.com/office/drawing/2014/chart" uri="{C3380CC4-5D6E-409C-BE32-E72D297353CC}">
                <c16:uniqueId val="{000015BD-61F5-407B-959D-D24239F5BB85}"/>
              </c:ext>
            </c:extLst>
          </c:dPt>
          <c:dPt>
            <c:idx val="2782"/>
            <c:invertIfNegative val="1"/>
            <c:bubble3D val="0"/>
            <c:spPr>
              <a:solidFill>
                <a:srgbClr val="AEABAB"/>
              </a:solidFill>
            </c:spPr>
            <c:extLst>
              <c:ext xmlns:c16="http://schemas.microsoft.com/office/drawing/2014/chart" uri="{C3380CC4-5D6E-409C-BE32-E72D297353CC}">
                <c16:uniqueId val="{000015BF-61F5-407B-959D-D24239F5BB85}"/>
              </c:ext>
            </c:extLst>
          </c:dPt>
          <c:dPt>
            <c:idx val="2783"/>
            <c:invertIfNegative val="1"/>
            <c:bubble3D val="0"/>
            <c:spPr>
              <a:solidFill>
                <a:srgbClr val="AEABAB"/>
              </a:solidFill>
            </c:spPr>
            <c:extLst>
              <c:ext xmlns:c16="http://schemas.microsoft.com/office/drawing/2014/chart" uri="{C3380CC4-5D6E-409C-BE32-E72D297353CC}">
                <c16:uniqueId val="{000015C1-61F5-407B-959D-D24239F5BB85}"/>
              </c:ext>
            </c:extLst>
          </c:dPt>
          <c:dPt>
            <c:idx val="2784"/>
            <c:invertIfNegative val="1"/>
            <c:bubble3D val="0"/>
            <c:spPr>
              <a:solidFill>
                <a:srgbClr val="AEABAB"/>
              </a:solidFill>
            </c:spPr>
            <c:extLst>
              <c:ext xmlns:c16="http://schemas.microsoft.com/office/drawing/2014/chart" uri="{C3380CC4-5D6E-409C-BE32-E72D297353CC}">
                <c16:uniqueId val="{000015C3-61F5-407B-959D-D24239F5BB85}"/>
              </c:ext>
            </c:extLst>
          </c:dPt>
          <c:dPt>
            <c:idx val="2785"/>
            <c:invertIfNegative val="1"/>
            <c:bubble3D val="0"/>
            <c:spPr>
              <a:solidFill>
                <a:srgbClr val="AEABAB"/>
              </a:solidFill>
            </c:spPr>
            <c:extLst>
              <c:ext xmlns:c16="http://schemas.microsoft.com/office/drawing/2014/chart" uri="{C3380CC4-5D6E-409C-BE32-E72D297353CC}">
                <c16:uniqueId val="{000015C5-61F5-407B-959D-D24239F5BB85}"/>
              </c:ext>
            </c:extLst>
          </c:dPt>
          <c:dPt>
            <c:idx val="2786"/>
            <c:invertIfNegative val="1"/>
            <c:bubble3D val="0"/>
            <c:spPr>
              <a:solidFill>
                <a:srgbClr val="AEABAB"/>
              </a:solidFill>
            </c:spPr>
            <c:extLst>
              <c:ext xmlns:c16="http://schemas.microsoft.com/office/drawing/2014/chart" uri="{C3380CC4-5D6E-409C-BE32-E72D297353CC}">
                <c16:uniqueId val="{000015C7-61F5-407B-959D-D24239F5BB85}"/>
              </c:ext>
            </c:extLst>
          </c:dPt>
          <c:dPt>
            <c:idx val="2787"/>
            <c:invertIfNegative val="1"/>
            <c:bubble3D val="0"/>
            <c:spPr>
              <a:solidFill>
                <a:srgbClr val="AEABAB"/>
              </a:solidFill>
            </c:spPr>
            <c:extLst>
              <c:ext xmlns:c16="http://schemas.microsoft.com/office/drawing/2014/chart" uri="{C3380CC4-5D6E-409C-BE32-E72D297353CC}">
                <c16:uniqueId val="{000015C9-61F5-407B-959D-D24239F5BB85}"/>
              </c:ext>
            </c:extLst>
          </c:dPt>
          <c:dPt>
            <c:idx val="2788"/>
            <c:invertIfNegative val="1"/>
            <c:bubble3D val="0"/>
            <c:spPr>
              <a:solidFill>
                <a:srgbClr val="AEABAB"/>
              </a:solidFill>
            </c:spPr>
            <c:extLst>
              <c:ext xmlns:c16="http://schemas.microsoft.com/office/drawing/2014/chart" uri="{C3380CC4-5D6E-409C-BE32-E72D297353CC}">
                <c16:uniqueId val="{000015CB-61F5-407B-959D-D24239F5BB85}"/>
              </c:ext>
            </c:extLst>
          </c:dPt>
          <c:dPt>
            <c:idx val="2789"/>
            <c:invertIfNegative val="1"/>
            <c:bubble3D val="0"/>
            <c:spPr>
              <a:solidFill>
                <a:srgbClr val="AEABAB"/>
              </a:solidFill>
            </c:spPr>
            <c:extLst>
              <c:ext xmlns:c16="http://schemas.microsoft.com/office/drawing/2014/chart" uri="{C3380CC4-5D6E-409C-BE32-E72D297353CC}">
                <c16:uniqueId val="{000015CD-61F5-407B-959D-D24239F5BB85}"/>
              </c:ext>
            </c:extLst>
          </c:dPt>
          <c:dPt>
            <c:idx val="2790"/>
            <c:invertIfNegative val="1"/>
            <c:bubble3D val="0"/>
            <c:spPr>
              <a:solidFill>
                <a:srgbClr val="AEABAB"/>
              </a:solidFill>
            </c:spPr>
            <c:extLst>
              <c:ext xmlns:c16="http://schemas.microsoft.com/office/drawing/2014/chart" uri="{C3380CC4-5D6E-409C-BE32-E72D297353CC}">
                <c16:uniqueId val="{000015CF-61F5-407B-959D-D24239F5BB85}"/>
              </c:ext>
            </c:extLst>
          </c:dPt>
          <c:dPt>
            <c:idx val="2791"/>
            <c:invertIfNegative val="1"/>
            <c:bubble3D val="0"/>
            <c:spPr>
              <a:solidFill>
                <a:srgbClr val="AEABAB"/>
              </a:solidFill>
            </c:spPr>
            <c:extLst>
              <c:ext xmlns:c16="http://schemas.microsoft.com/office/drawing/2014/chart" uri="{C3380CC4-5D6E-409C-BE32-E72D297353CC}">
                <c16:uniqueId val="{000015D1-61F5-407B-959D-D24239F5BB85}"/>
              </c:ext>
            </c:extLst>
          </c:dPt>
          <c:dPt>
            <c:idx val="2792"/>
            <c:invertIfNegative val="1"/>
            <c:bubble3D val="0"/>
            <c:spPr>
              <a:solidFill>
                <a:srgbClr val="AEABAB"/>
              </a:solidFill>
            </c:spPr>
            <c:extLst>
              <c:ext xmlns:c16="http://schemas.microsoft.com/office/drawing/2014/chart" uri="{C3380CC4-5D6E-409C-BE32-E72D297353CC}">
                <c16:uniqueId val="{000015D3-61F5-407B-959D-D24239F5BB85}"/>
              </c:ext>
            </c:extLst>
          </c:dPt>
          <c:dPt>
            <c:idx val="2793"/>
            <c:invertIfNegative val="1"/>
            <c:bubble3D val="0"/>
            <c:spPr>
              <a:solidFill>
                <a:srgbClr val="AEABAB"/>
              </a:solidFill>
            </c:spPr>
            <c:extLst>
              <c:ext xmlns:c16="http://schemas.microsoft.com/office/drawing/2014/chart" uri="{C3380CC4-5D6E-409C-BE32-E72D297353CC}">
                <c16:uniqueId val="{000015D5-61F5-407B-959D-D24239F5BB85}"/>
              </c:ext>
            </c:extLst>
          </c:dPt>
          <c:dPt>
            <c:idx val="2794"/>
            <c:invertIfNegative val="1"/>
            <c:bubble3D val="0"/>
            <c:spPr>
              <a:solidFill>
                <a:srgbClr val="AEABAB"/>
              </a:solidFill>
            </c:spPr>
            <c:extLst>
              <c:ext xmlns:c16="http://schemas.microsoft.com/office/drawing/2014/chart" uri="{C3380CC4-5D6E-409C-BE32-E72D297353CC}">
                <c16:uniqueId val="{000015D7-61F5-407B-959D-D24239F5BB85}"/>
              </c:ext>
            </c:extLst>
          </c:dPt>
          <c:dPt>
            <c:idx val="2795"/>
            <c:invertIfNegative val="1"/>
            <c:bubble3D val="0"/>
            <c:spPr>
              <a:solidFill>
                <a:srgbClr val="AEABAB"/>
              </a:solidFill>
            </c:spPr>
            <c:extLst>
              <c:ext xmlns:c16="http://schemas.microsoft.com/office/drawing/2014/chart" uri="{C3380CC4-5D6E-409C-BE32-E72D297353CC}">
                <c16:uniqueId val="{000015D9-61F5-407B-959D-D24239F5BB85}"/>
              </c:ext>
            </c:extLst>
          </c:dPt>
          <c:dPt>
            <c:idx val="2796"/>
            <c:invertIfNegative val="1"/>
            <c:bubble3D val="0"/>
            <c:spPr>
              <a:solidFill>
                <a:srgbClr val="AEABAB"/>
              </a:solidFill>
            </c:spPr>
            <c:extLst>
              <c:ext xmlns:c16="http://schemas.microsoft.com/office/drawing/2014/chart" uri="{C3380CC4-5D6E-409C-BE32-E72D297353CC}">
                <c16:uniqueId val="{000015DB-61F5-407B-959D-D24239F5BB85}"/>
              </c:ext>
            </c:extLst>
          </c:dPt>
          <c:dPt>
            <c:idx val="2797"/>
            <c:invertIfNegative val="1"/>
            <c:bubble3D val="0"/>
            <c:spPr>
              <a:solidFill>
                <a:srgbClr val="AEABAB"/>
              </a:solidFill>
            </c:spPr>
            <c:extLst>
              <c:ext xmlns:c16="http://schemas.microsoft.com/office/drawing/2014/chart" uri="{C3380CC4-5D6E-409C-BE32-E72D297353CC}">
                <c16:uniqueId val="{000015DD-61F5-407B-959D-D24239F5BB85}"/>
              </c:ext>
            </c:extLst>
          </c:dPt>
          <c:dPt>
            <c:idx val="2798"/>
            <c:invertIfNegative val="1"/>
            <c:bubble3D val="0"/>
            <c:spPr>
              <a:solidFill>
                <a:srgbClr val="AEABAB"/>
              </a:solidFill>
            </c:spPr>
            <c:extLst>
              <c:ext xmlns:c16="http://schemas.microsoft.com/office/drawing/2014/chart" uri="{C3380CC4-5D6E-409C-BE32-E72D297353CC}">
                <c16:uniqueId val="{000015DF-61F5-407B-959D-D24239F5BB85}"/>
              </c:ext>
            </c:extLst>
          </c:dPt>
          <c:dPt>
            <c:idx val="2799"/>
            <c:invertIfNegative val="1"/>
            <c:bubble3D val="0"/>
            <c:spPr>
              <a:solidFill>
                <a:srgbClr val="AEABAB"/>
              </a:solidFill>
            </c:spPr>
            <c:extLst>
              <c:ext xmlns:c16="http://schemas.microsoft.com/office/drawing/2014/chart" uri="{C3380CC4-5D6E-409C-BE32-E72D297353CC}">
                <c16:uniqueId val="{000015E1-61F5-407B-959D-D24239F5BB85}"/>
              </c:ext>
            </c:extLst>
          </c:dPt>
          <c:dPt>
            <c:idx val="2800"/>
            <c:invertIfNegative val="1"/>
            <c:bubble3D val="0"/>
            <c:spPr>
              <a:solidFill>
                <a:srgbClr val="AEABAB"/>
              </a:solidFill>
            </c:spPr>
            <c:extLst>
              <c:ext xmlns:c16="http://schemas.microsoft.com/office/drawing/2014/chart" uri="{C3380CC4-5D6E-409C-BE32-E72D297353CC}">
                <c16:uniqueId val="{000015E3-61F5-407B-959D-D24239F5BB85}"/>
              </c:ext>
            </c:extLst>
          </c:dPt>
          <c:dPt>
            <c:idx val="2801"/>
            <c:invertIfNegative val="1"/>
            <c:bubble3D val="0"/>
            <c:spPr>
              <a:solidFill>
                <a:srgbClr val="AEABAB"/>
              </a:solidFill>
            </c:spPr>
            <c:extLst>
              <c:ext xmlns:c16="http://schemas.microsoft.com/office/drawing/2014/chart" uri="{C3380CC4-5D6E-409C-BE32-E72D297353CC}">
                <c16:uniqueId val="{000015E5-61F5-407B-959D-D24239F5BB85}"/>
              </c:ext>
            </c:extLst>
          </c:dPt>
          <c:dPt>
            <c:idx val="2802"/>
            <c:invertIfNegative val="1"/>
            <c:bubble3D val="0"/>
            <c:spPr>
              <a:solidFill>
                <a:srgbClr val="AEABAB"/>
              </a:solidFill>
            </c:spPr>
            <c:extLst>
              <c:ext xmlns:c16="http://schemas.microsoft.com/office/drawing/2014/chart" uri="{C3380CC4-5D6E-409C-BE32-E72D297353CC}">
                <c16:uniqueId val="{000015E7-61F5-407B-959D-D24239F5BB85}"/>
              </c:ext>
            </c:extLst>
          </c:dPt>
          <c:dPt>
            <c:idx val="2803"/>
            <c:invertIfNegative val="1"/>
            <c:bubble3D val="0"/>
            <c:spPr>
              <a:solidFill>
                <a:srgbClr val="AEABAB"/>
              </a:solidFill>
            </c:spPr>
            <c:extLst>
              <c:ext xmlns:c16="http://schemas.microsoft.com/office/drawing/2014/chart" uri="{C3380CC4-5D6E-409C-BE32-E72D297353CC}">
                <c16:uniqueId val="{000015E9-61F5-407B-959D-D24239F5BB85}"/>
              </c:ext>
            </c:extLst>
          </c:dPt>
          <c:dPt>
            <c:idx val="2804"/>
            <c:invertIfNegative val="1"/>
            <c:bubble3D val="0"/>
            <c:spPr>
              <a:solidFill>
                <a:srgbClr val="AEABAB"/>
              </a:solidFill>
            </c:spPr>
            <c:extLst>
              <c:ext xmlns:c16="http://schemas.microsoft.com/office/drawing/2014/chart" uri="{C3380CC4-5D6E-409C-BE32-E72D297353CC}">
                <c16:uniqueId val="{000015EB-61F5-407B-959D-D24239F5BB85}"/>
              </c:ext>
            </c:extLst>
          </c:dPt>
          <c:dPt>
            <c:idx val="2805"/>
            <c:invertIfNegative val="1"/>
            <c:bubble3D val="0"/>
            <c:spPr>
              <a:solidFill>
                <a:srgbClr val="AEABAB"/>
              </a:solidFill>
            </c:spPr>
            <c:extLst>
              <c:ext xmlns:c16="http://schemas.microsoft.com/office/drawing/2014/chart" uri="{C3380CC4-5D6E-409C-BE32-E72D297353CC}">
                <c16:uniqueId val="{000015ED-61F5-407B-959D-D24239F5BB85}"/>
              </c:ext>
            </c:extLst>
          </c:dPt>
          <c:dPt>
            <c:idx val="2806"/>
            <c:invertIfNegative val="1"/>
            <c:bubble3D val="0"/>
            <c:spPr>
              <a:solidFill>
                <a:srgbClr val="AEABAB"/>
              </a:solidFill>
            </c:spPr>
            <c:extLst>
              <c:ext xmlns:c16="http://schemas.microsoft.com/office/drawing/2014/chart" uri="{C3380CC4-5D6E-409C-BE32-E72D297353CC}">
                <c16:uniqueId val="{000015EF-61F5-407B-959D-D24239F5BB85}"/>
              </c:ext>
            </c:extLst>
          </c:dPt>
          <c:dPt>
            <c:idx val="2807"/>
            <c:invertIfNegative val="1"/>
            <c:bubble3D val="0"/>
            <c:spPr>
              <a:solidFill>
                <a:srgbClr val="AEABAB"/>
              </a:solidFill>
            </c:spPr>
            <c:extLst>
              <c:ext xmlns:c16="http://schemas.microsoft.com/office/drawing/2014/chart" uri="{C3380CC4-5D6E-409C-BE32-E72D297353CC}">
                <c16:uniqueId val="{000015F1-61F5-407B-959D-D24239F5BB85}"/>
              </c:ext>
            </c:extLst>
          </c:dPt>
          <c:dPt>
            <c:idx val="2808"/>
            <c:invertIfNegative val="1"/>
            <c:bubble3D val="0"/>
            <c:spPr>
              <a:solidFill>
                <a:srgbClr val="AEABAB"/>
              </a:solidFill>
            </c:spPr>
            <c:extLst>
              <c:ext xmlns:c16="http://schemas.microsoft.com/office/drawing/2014/chart" uri="{C3380CC4-5D6E-409C-BE32-E72D297353CC}">
                <c16:uniqueId val="{000015F3-61F5-407B-959D-D24239F5BB85}"/>
              </c:ext>
            </c:extLst>
          </c:dPt>
          <c:dPt>
            <c:idx val="2809"/>
            <c:invertIfNegative val="1"/>
            <c:bubble3D val="0"/>
            <c:spPr>
              <a:solidFill>
                <a:srgbClr val="AEABAB"/>
              </a:solidFill>
            </c:spPr>
            <c:extLst>
              <c:ext xmlns:c16="http://schemas.microsoft.com/office/drawing/2014/chart" uri="{C3380CC4-5D6E-409C-BE32-E72D297353CC}">
                <c16:uniqueId val="{000015F5-61F5-407B-959D-D24239F5BB85}"/>
              </c:ext>
            </c:extLst>
          </c:dPt>
          <c:dPt>
            <c:idx val="2810"/>
            <c:invertIfNegative val="1"/>
            <c:bubble3D val="0"/>
            <c:spPr>
              <a:solidFill>
                <a:srgbClr val="AEABAB"/>
              </a:solidFill>
            </c:spPr>
            <c:extLst>
              <c:ext xmlns:c16="http://schemas.microsoft.com/office/drawing/2014/chart" uri="{C3380CC4-5D6E-409C-BE32-E72D297353CC}">
                <c16:uniqueId val="{000015F7-61F5-407B-959D-D24239F5BB85}"/>
              </c:ext>
            </c:extLst>
          </c:dPt>
          <c:dPt>
            <c:idx val="2811"/>
            <c:invertIfNegative val="1"/>
            <c:bubble3D val="0"/>
            <c:spPr>
              <a:solidFill>
                <a:srgbClr val="AEABAB"/>
              </a:solidFill>
            </c:spPr>
            <c:extLst>
              <c:ext xmlns:c16="http://schemas.microsoft.com/office/drawing/2014/chart" uri="{C3380CC4-5D6E-409C-BE32-E72D297353CC}">
                <c16:uniqueId val="{000015F9-61F5-407B-959D-D24239F5BB85}"/>
              </c:ext>
            </c:extLst>
          </c:dPt>
          <c:dPt>
            <c:idx val="2812"/>
            <c:invertIfNegative val="1"/>
            <c:bubble3D val="0"/>
            <c:spPr>
              <a:solidFill>
                <a:srgbClr val="AEABAB"/>
              </a:solidFill>
            </c:spPr>
            <c:extLst>
              <c:ext xmlns:c16="http://schemas.microsoft.com/office/drawing/2014/chart" uri="{C3380CC4-5D6E-409C-BE32-E72D297353CC}">
                <c16:uniqueId val="{000015FB-61F5-407B-959D-D24239F5BB85}"/>
              </c:ext>
            </c:extLst>
          </c:dPt>
          <c:dPt>
            <c:idx val="2813"/>
            <c:invertIfNegative val="1"/>
            <c:bubble3D val="0"/>
            <c:spPr>
              <a:solidFill>
                <a:srgbClr val="AEABAB"/>
              </a:solidFill>
            </c:spPr>
            <c:extLst>
              <c:ext xmlns:c16="http://schemas.microsoft.com/office/drawing/2014/chart" uri="{C3380CC4-5D6E-409C-BE32-E72D297353CC}">
                <c16:uniqueId val="{000015FD-61F5-407B-959D-D24239F5BB85}"/>
              </c:ext>
            </c:extLst>
          </c:dPt>
          <c:dPt>
            <c:idx val="2814"/>
            <c:invertIfNegative val="1"/>
            <c:bubble3D val="0"/>
            <c:spPr>
              <a:solidFill>
                <a:srgbClr val="AEABAB"/>
              </a:solidFill>
            </c:spPr>
            <c:extLst>
              <c:ext xmlns:c16="http://schemas.microsoft.com/office/drawing/2014/chart" uri="{C3380CC4-5D6E-409C-BE32-E72D297353CC}">
                <c16:uniqueId val="{000015FF-61F5-407B-959D-D24239F5BB85}"/>
              </c:ext>
            </c:extLst>
          </c:dPt>
          <c:dPt>
            <c:idx val="2815"/>
            <c:invertIfNegative val="1"/>
            <c:bubble3D val="0"/>
            <c:spPr>
              <a:solidFill>
                <a:srgbClr val="AEABAB"/>
              </a:solidFill>
            </c:spPr>
            <c:extLst>
              <c:ext xmlns:c16="http://schemas.microsoft.com/office/drawing/2014/chart" uri="{C3380CC4-5D6E-409C-BE32-E72D297353CC}">
                <c16:uniqueId val="{00001601-61F5-407B-959D-D24239F5BB85}"/>
              </c:ext>
            </c:extLst>
          </c:dPt>
          <c:dPt>
            <c:idx val="2816"/>
            <c:invertIfNegative val="1"/>
            <c:bubble3D val="0"/>
            <c:spPr>
              <a:solidFill>
                <a:srgbClr val="AEABAB"/>
              </a:solidFill>
            </c:spPr>
            <c:extLst>
              <c:ext xmlns:c16="http://schemas.microsoft.com/office/drawing/2014/chart" uri="{C3380CC4-5D6E-409C-BE32-E72D297353CC}">
                <c16:uniqueId val="{00001603-61F5-407B-959D-D24239F5BB85}"/>
              </c:ext>
            </c:extLst>
          </c:dPt>
          <c:dPt>
            <c:idx val="2817"/>
            <c:invertIfNegative val="1"/>
            <c:bubble3D val="0"/>
            <c:spPr>
              <a:solidFill>
                <a:srgbClr val="AEABAB"/>
              </a:solidFill>
            </c:spPr>
            <c:extLst>
              <c:ext xmlns:c16="http://schemas.microsoft.com/office/drawing/2014/chart" uri="{C3380CC4-5D6E-409C-BE32-E72D297353CC}">
                <c16:uniqueId val="{00001605-61F5-407B-959D-D24239F5BB85}"/>
              </c:ext>
            </c:extLst>
          </c:dPt>
          <c:dPt>
            <c:idx val="2818"/>
            <c:invertIfNegative val="1"/>
            <c:bubble3D val="0"/>
            <c:spPr>
              <a:solidFill>
                <a:srgbClr val="AEABAB"/>
              </a:solidFill>
            </c:spPr>
            <c:extLst>
              <c:ext xmlns:c16="http://schemas.microsoft.com/office/drawing/2014/chart" uri="{C3380CC4-5D6E-409C-BE32-E72D297353CC}">
                <c16:uniqueId val="{00001607-61F5-407B-959D-D24239F5BB85}"/>
              </c:ext>
            </c:extLst>
          </c:dPt>
          <c:dPt>
            <c:idx val="2819"/>
            <c:invertIfNegative val="1"/>
            <c:bubble3D val="0"/>
            <c:spPr>
              <a:solidFill>
                <a:srgbClr val="AEABAB"/>
              </a:solidFill>
            </c:spPr>
            <c:extLst>
              <c:ext xmlns:c16="http://schemas.microsoft.com/office/drawing/2014/chart" uri="{C3380CC4-5D6E-409C-BE32-E72D297353CC}">
                <c16:uniqueId val="{00001609-61F5-407B-959D-D24239F5BB85}"/>
              </c:ext>
            </c:extLst>
          </c:dPt>
          <c:dPt>
            <c:idx val="2820"/>
            <c:invertIfNegative val="1"/>
            <c:bubble3D val="0"/>
            <c:spPr>
              <a:solidFill>
                <a:srgbClr val="AEABAB"/>
              </a:solidFill>
            </c:spPr>
            <c:extLst>
              <c:ext xmlns:c16="http://schemas.microsoft.com/office/drawing/2014/chart" uri="{C3380CC4-5D6E-409C-BE32-E72D297353CC}">
                <c16:uniqueId val="{0000160B-61F5-407B-959D-D24239F5BB85}"/>
              </c:ext>
            </c:extLst>
          </c:dPt>
          <c:dPt>
            <c:idx val="2821"/>
            <c:invertIfNegative val="1"/>
            <c:bubble3D val="0"/>
            <c:spPr>
              <a:solidFill>
                <a:srgbClr val="AEABAB"/>
              </a:solidFill>
            </c:spPr>
            <c:extLst>
              <c:ext xmlns:c16="http://schemas.microsoft.com/office/drawing/2014/chart" uri="{C3380CC4-5D6E-409C-BE32-E72D297353CC}">
                <c16:uniqueId val="{0000160D-61F5-407B-959D-D24239F5BB85}"/>
              </c:ext>
            </c:extLst>
          </c:dPt>
          <c:dPt>
            <c:idx val="2822"/>
            <c:invertIfNegative val="1"/>
            <c:bubble3D val="0"/>
            <c:spPr>
              <a:solidFill>
                <a:srgbClr val="AEABAB"/>
              </a:solidFill>
            </c:spPr>
            <c:extLst>
              <c:ext xmlns:c16="http://schemas.microsoft.com/office/drawing/2014/chart" uri="{C3380CC4-5D6E-409C-BE32-E72D297353CC}">
                <c16:uniqueId val="{0000160F-61F5-407B-959D-D24239F5BB85}"/>
              </c:ext>
            </c:extLst>
          </c:dPt>
          <c:dPt>
            <c:idx val="2823"/>
            <c:invertIfNegative val="1"/>
            <c:bubble3D val="0"/>
            <c:spPr>
              <a:solidFill>
                <a:srgbClr val="AEABAB"/>
              </a:solidFill>
            </c:spPr>
            <c:extLst>
              <c:ext xmlns:c16="http://schemas.microsoft.com/office/drawing/2014/chart" uri="{C3380CC4-5D6E-409C-BE32-E72D297353CC}">
                <c16:uniqueId val="{00001611-61F5-407B-959D-D24239F5BB85}"/>
              </c:ext>
            </c:extLst>
          </c:dPt>
          <c:dPt>
            <c:idx val="2824"/>
            <c:invertIfNegative val="1"/>
            <c:bubble3D val="0"/>
            <c:spPr>
              <a:solidFill>
                <a:srgbClr val="AEABAB"/>
              </a:solidFill>
            </c:spPr>
            <c:extLst>
              <c:ext xmlns:c16="http://schemas.microsoft.com/office/drawing/2014/chart" uri="{C3380CC4-5D6E-409C-BE32-E72D297353CC}">
                <c16:uniqueId val="{00001613-61F5-407B-959D-D24239F5BB85}"/>
              </c:ext>
            </c:extLst>
          </c:dPt>
          <c:dPt>
            <c:idx val="2825"/>
            <c:invertIfNegative val="1"/>
            <c:bubble3D val="0"/>
            <c:spPr>
              <a:solidFill>
                <a:srgbClr val="AEABAB"/>
              </a:solidFill>
            </c:spPr>
            <c:extLst>
              <c:ext xmlns:c16="http://schemas.microsoft.com/office/drawing/2014/chart" uri="{C3380CC4-5D6E-409C-BE32-E72D297353CC}">
                <c16:uniqueId val="{00001615-61F5-407B-959D-D24239F5BB85}"/>
              </c:ext>
            </c:extLst>
          </c:dPt>
          <c:dPt>
            <c:idx val="2826"/>
            <c:invertIfNegative val="1"/>
            <c:bubble3D val="0"/>
            <c:spPr>
              <a:solidFill>
                <a:srgbClr val="AEABAB"/>
              </a:solidFill>
            </c:spPr>
            <c:extLst>
              <c:ext xmlns:c16="http://schemas.microsoft.com/office/drawing/2014/chart" uri="{C3380CC4-5D6E-409C-BE32-E72D297353CC}">
                <c16:uniqueId val="{00001617-61F5-407B-959D-D24239F5BB85}"/>
              </c:ext>
            </c:extLst>
          </c:dPt>
          <c:dPt>
            <c:idx val="2827"/>
            <c:invertIfNegative val="1"/>
            <c:bubble3D val="0"/>
            <c:spPr>
              <a:solidFill>
                <a:srgbClr val="AEABAB"/>
              </a:solidFill>
            </c:spPr>
            <c:extLst>
              <c:ext xmlns:c16="http://schemas.microsoft.com/office/drawing/2014/chart" uri="{C3380CC4-5D6E-409C-BE32-E72D297353CC}">
                <c16:uniqueId val="{00001619-61F5-407B-959D-D24239F5BB85}"/>
              </c:ext>
            </c:extLst>
          </c:dPt>
          <c:dPt>
            <c:idx val="2828"/>
            <c:invertIfNegative val="1"/>
            <c:bubble3D val="0"/>
            <c:spPr>
              <a:solidFill>
                <a:srgbClr val="AEABAB"/>
              </a:solidFill>
            </c:spPr>
            <c:extLst>
              <c:ext xmlns:c16="http://schemas.microsoft.com/office/drawing/2014/chart" uri="{C3380CC4-5D6E-409C-BE32-E72D297353CC}">
                <c16:uniqueId val="{0000161B-61F5-407B-959D-D24239F5BB85}"/>
              </c:ext>
            </c:extLst>
          </c:dPt>
          <c:dPt>
            <c:idx val="2829"/>
            <c:invertIfNegative val="1"/>
            <c:bubble3D val="0"/>
            <c:spPr>
              <a:solidFill>
                <a:srgbClr val="AEABAB"/>
              </a:solidFill>
            </c:spPr>
            <c:extLst>
              <c:ext xmlns:c16="http://schemas.microsoft.com/office/drawing/2014/chart" uri="{C3380CC4-5D6E-409C-BE32-E72D297353CC}">
                <c16:uniqueId val="{0000161D-61F5-407B-959D-D24239F5BB85}"/>
              </c:ext>
            </c:extLst>
          </c:dPt>
          <c:dPt>
            <c:idx val="2830"/>
            <c:invertIfNegative val="1"/>
            <c:bubble3D val="0"/>
            <c:spPr>
              <a:solidFill>
                <a:srgbClr val="AEABAB"/>
              </a:solidFill>
            </c:spPr>
            <c:extLst>
              <c:ext xmlns:c16="http://schemas.microsoft.com/office/drawing/2014/chart" uri="{C3380CC4-5D6E-409C-BE32-E72D297353CC}">
                <c16:uniqueId val="{0000161F-61F5-407B-959D-D24239F5BB85}"/>
              </c:ext>
            </c:extLst>
          </c:dPt>
          <c:dPt>
            <c:idx val="2831"/>
            <c:invertIfNegative val="1"/>
            <c:bubble3D val="0"/>
            <c:spPr>
              <a:solidFill>
                <a:srgbClr val="AEABAB"/>
              </a:solidFill>
            </c:spPr>
            <c:extLst>
              <c:ext xmlns:c16="http://schemas.microsoft.com/office/drawing/2014/chart" uri="{C3380CC4-5D6E-409C-BE32-E72D297353CC}">
                <c16:uniqueId val="{00001621-61F5-407B-959D-D24239F5BB85}"/>
              </c:ext>
            </c:extLst>
          </c:dPt>
          <c:dPt>
            <c:idx val="2832"/>
            <c:invertIfNegative val="1"/>
            <c:bubble3D val="0"/>
            <c:spPr>
              <a:solidFill>
                <a:srgbClr val="AEABAB"/>
              </a:solidFill>
            </c:spPr>
            <c:extLst>
              <c:ext xmlns:c16="http://schemas.microsoft.com/office/drawing/2014/chart" uri="{C3380CC4-5D6E-409C-BE32-E72D297353CC}">
                <c16:uniqueId val="{00001623-61F5-407B-959D-D24239F5BB85}"/>
              </c:ext>
            </c:extLst>
          </c:dPt>
          <c:dPt>
            <c:idx val="2833"/>
            <c:invertIfNegative val="1"/>
            <c:bubble3D val="0"/>
            <c:spPr>
              <a:solidFill>
                <a:srgbClr val="AEABAB"/>
              </a:solidFill>
            </c:spPr>
            <c:extLst>
              <c:ext xmlns:c16="http://schemas.microsoft.com/office/drawing/2014/chart" uri="{C3380CC4-5D6E-409C-BE32-E72D297353CC}">
                <c16:uniqueId val="{00001625-61F5-407B-959D-D24239F5BB85}"/>
              </c:ext>
            </c:extLst>
          </c:dPt>
          <c:dPt>
            <c:idx val="2834"/>
            <c:invertIfNegative val="1"/>
            <c:bubble3D val="0"/>
            <c:spPr>
              <a:solidFill>
                <a:srgbClr val="AEABAB"/>
              </a:solidFill>
            </c:spPr>
            <c:extLst>
              <c:ext xmlns:c16="http://schemas.microsoft.com/office/drawing/2014/chart" uri="{C3380CC4-5D6E-409C-BE32-E72D297353CC}">
                <c16:uniqueId val="{00001627-61F5-407B-959D-D24239F5BB85}"/>
              </c:ext>
            </c:extLst>
          </c:dPt>
          <c:dPt>
            <c:idx val="2835"/>
            <c:invertIfNegative val="1"/>
            <c:bubble3D val="0"/>
            <c:spPr>
              <a:solidFill>
                <a:srgbClr val="AEABAB"/>
              </a:solidFill>
            </c:spPr>
            <c:extLst>
              <c:ext xmlns:c16="http://schemas.microsoft.com/office/drawing/2014/chart" uri="{C3380CC4-5D6E-409C-BE32-E72D297353CC}">
                <c16:uniqueId val="{00001629-61F5-407B-959D-D24239F5BB85}"/>
              </c:ext>
            </c:extLst>
          </c:dPt>
          <c:dPt>
            <c:idx val="2836"/>
            <c:invertIfNegative val="1"/>
            <c:bubble3D val="0"/>
            <c:spPr>
              <a:solidFill>
                <a:srgbClr val="AEABAB"/>
              </a:solidFill>
            </c:spPr>
            <c:extLst>
              <c:ext xmlns:c16="http://schemas.microsoft.com/office/drawing/2014/chart" uri="{C3380CC4-5D6E-409C-BE32-E72D297353CC}">
                <c16:uniqueId val="{0000162B-61F5-407B-959D-D24239F5BB85}"/>
              </c:ext>
            </c:extLst>
          </c:dPt>
          <c:dPt>
            <c:idx val="2837"/>
            <c:invertIfNegative val="1"/>
            <c:bubble3D val="0"/>
            <c:spPr>
              <a:solidFill>
                <a:srgbClr val="AEABAB"/>
              </a:solidFill>
            </c:spPr>
            <c:extLst>
              <c:ext xmlns:c16="http://schemas.microsoft.com/office/drawing/2014/chart" uri="{C3380CC4-5D6E-409C-BE32-E72D297353CC}">
                <c16:uniqueId val="{0000162D-61F5-407B-959D-D24239F5BB85}"/>
              </c:ext>
            </c:extLst>
          </c:dPt>
          <c:dPt>
            <c:idx val="2838"/>
            <c:invertIfNegative val="1"/>
            <c:bubble3D val="0"/>
            <c:spPr>
              <a:solidFill>
                <a:srgbClr val="AEABAB"/>
              </a:solidFill>
            </c:spPr>
            <c:extLst>
              <c:ext xmlns:c16="http://schemas.microsoft.com/office/drawing/2014/chart" uri="{C3380CC4-5D6E-409C-BE32-E72D297353CC}">
                <c16:uniqueId val="{0000162F-61F5-407B-959D-D24239F5BB85}"/>
              </c:ext>
            </c:extLst>
          </c:dPt>
          <c:dPt>
            <c:idx val="2839"/>
            <c:invertIfNegative val="1"/>
            <c:bubble3D val="0"/>
            <c:spPr>
              <a:solidFill>
                <a:srgbClr val="AEABAB"/>
              </a:solidFill>
            </c:spPr>
            <c:extLst>
              <c:ext xmlns:c16="http://schemas.microsoft.com/office/drawing/2014/chart" uri="{C3380CC4-5D6E-409C-BE32-E72D297353CC}">
                <c16:uniqueId val="{00001631-61F5-407B-959D-D24239F5BB85}"/>
              </c:ext>
            </c:extLst>
          </c:dPt>
          <c:dPt>
            <c:idx val="2840"/>
            <c:invertIfNegative val="1"/>
            <c:bubble3D val="0"/>
            <c:spPr>
              <a:solidFill>
                <a:srgbClr val="AEABAB"/>
              </a:solidFill>
            </c:spPr>
            <c:extLst>
              <c:ext xmlns:c16="http://schemas.microsoft.com/office/drawing/2014/chart" uri="{C3380CC4-5D6E-409C-BE32-E72D297353CC}">
                <c16:uniqueId val="{00001633-61F5-407B-959D-D24239F5BB85}"/>
              </c:ext>
            </c:extLst>
          </c:dPt>
          <c:dPt>
            <c:idx val="2841"/>
            <c:invertIfNegative val="1"/>
            <c:bubble3D val="0"/>
            <c:spPr>
              <a:solidFill>
                <a:srgbClr val="AEABAB"/>
              </a:solidFill>
            </c:spPr>
            <c:extLst>
              <c:ext xmlns:c16="http://schemas.microsoft.com/office/drawing/2014/chart" uri="{C3380CC4-5D6E-409C-BE32-E72D297353CC}">
                <c16:uniqueId val="{00001635-61F5-407B-959D-D24239F5BB85}"/>
              </c:ext>
            </c:extLst>
          </c:dPt>
          <c:dPt>
            <c:idx val="2842"/>
            <c:invertIfNegative val="1"/>
            <c:bubble3D val="0"/>
            <c:spPr>
              <a:solidFill>
                <a:srgbClr val="AEABAB"/>
              </a:solidFill>
            </c:spPr>
            <c:extLst>
              <c:ext xmlns:c16="http://schemas.microsoft.com/office/drawing/2014/chart" uri="{C3380CC4-5D6E-409C-BE32-E72D297353CC}">
                <c16:uniqueId val="{00001637-61F5-407B-959D-D24239F5BB85}"/>
              </c:ext>
            </c:extLst>
          </c:dPt>
          <c:dPt>
            <c:idx val="2843"/>
            <c:invertIfNegative val="1"/>
            <c:bubble3D val="0"/>
            <c:spPr>
              <a:solidFill>
                <a:srgbClr val="AEABAB"/>
              </a:solidFill>
            </c:spPr>
            <c:extLst>
              <c:ext xmlns:c16="http://schemas.microsoft.com/office/drawing/2014/chart" uri="{C3380CC4-5D6E-409C-BE32-E72D297353CC}">
                <c16:uniqueId val="{00001639-61F5-407B-959D-D24239F5BB85}"/>
              </c:ext>
            </c:extLst>
          </c:dPt>
          <c:dPt>
            <c:idx val="2844"/>
            <c:invertIfNegative val="1"/>
            <c:bubble3D val="0"/>
            <c:spPr>
              <a:solidFill>
                <a:srgbClr val="AEABAB"/>
              </a:solidFill>
            </c:spPr>
            <c:extLst>
              <c:ext xmlns:c16="http://schemas.microsoft.com/office/drawing/2014/chart" uri="{C3380CC4-5D6E-409C-BE32-E72D297353CC}">
                <c16:uniqueId val="{0000163B-61F5-407B-959D-D24239F5BB85}"/>
              </c:ext>
            </c:extLst>
          </c:dPt>
          <c:dPt>
            <c:idx val="2845"/>
            <c:invertIfNegative val="1"/>
            <c:bubble3D val="0"/>
            <c:spPr>
              <a:solidFill>
                <a:srgbClr val="AEABAB"/>
              </a:solidFill>
            </c:spPr>
            <c:extLst>
              <c:ext xmlns:c16="http://schemas.microsoft.com/office/drawing/2014/chart" uri="{C3380CC4-5D6E-409C-BE32-E72D297353CC}">
                <c16:uniqueId val="{0000163D-61F5-407B-959D-D24239F5BB85}"/>
              </c:ext>
            </c:extLst>
          </c:dPt>
          <c:dPt>
            <c:idx val="2846"/>
            <c:invertIfNegative val="1"/>
            <c:bubble3D val="0"/>
            <c:spPr>
              <a:solidFill>
                <a:srgbClr val="AEABAB"/>
              </a:solidFill>
            </c:spPr>
            <c:extLst>
              <c:ext xmlns:c16="http://schemas.microsoft.com/office/drawing/2014/chart" uri="{C3380CC4-5D6E-409C-BE32-E72D297353CC}">
                <c16:uniqueId val="{0000163F-61F5-407B-959D-D24239F5BB85}"/>
              </c:ext>
            </c:extLst>
          </c:dPt>
          <c:dPt>
            <c:idx val="2847"/>
            <c:invertIfNegative val="1"/>
            <c:bubble3D val="0"/>
            <c:spPr>
              <a:solidFill>
                <a:srgbClr val="AEABAB"/>
              </a:solidFill>
            </c:spPr>
            <c:extLst>
              <c:ext xmlns:c16="http://schemas.microsoft.com/office/drawing/2014/chart" uri="{C3380CC4-5D6E-409C-BE32-E72D297353CC}">
                <c16:uniqueId val="{00001641-61F5-407B-959D-D24239F5BB85}"/>
              </c:ext>
            </c:extLst>
          </c:dPt>
          <c:dPt>
            <c:idx val="2848"/>
            <c:invertIfNegative val="1"/>
            <c:bubble3D val="0"/>
            <c:spPr>
              <a:solidFill>
                <a:srgbClr val="AEABAB"/>
              </a:solidFill>
            </c:spPr>
            <c:extLst>
              <c:ext xmlns:c16="http://schemas.microsoft.com/office/drawing/2014/chart" uri="{C3380CC4-5D6E-409C-BE32-E72D297353CC}">
                <c16:uniqueId val="{00001643-61F5-407B-959D-D24239F5BB85}"/>
              </c:ext>
            </c:extLst>
          </c:dPt>
          <c:dPt>
            <c:idx val="2849"/>
            <c:invertIfNegative val="1"/>
            <c:bubble3D val="0"/>
            <c:spPr>
              <a:solidFill>
                <a:srgbClr val="AEABAB"/>
              </a:solidFill>
            </c:spPr>
            <c:extLst>
              <c:ext xmlns:c16="http://schemas.microsoft.com/office/drawing/2014/chart" uri="{C3380CC4-5D6E-409C-BE32-E72D297353CC}">
                <c16:uniqueId val="{00001645-61F5-407B-959D-D24239F5BB85}"/>
              </c:ext>
            </c:extLst>
          </c:dPt>
          <c:dPt>
            <c:idx val="2850"/>
            <c:invertIfNegative val="1"/>
            <c:bubble3D val="0"/>
            <c:spPr>
              <a:solidFill>
                <a:srgbClr val="AEABAB"/>
              </a:solidFill>
            </c:spPr>
            <c:extLst>
              <c:ext xmlns:c16="http://schemas.microsoft.com/office/drawing/2014/chart" uri="{C3380CC4-5D6E-409C-BE32-E72D297353CC}">
                <c16:uniqueId val="{00001647-61F5-407B-959D-D24239F5BB85}"/>
              </c:ext>
            </c:extLst>
          </c:dPt>
          <c:dPt>
            <c:idx val="2851"/>
            <c:invertIfNegative val="1"/>
            <c:bubble3D val="0"/>
            <c:spPr>
              <a:solidFill>
                <a:srgbClr val="AEABAB"/>
              </a:solidFill>
            </c:spPr>
            <c:extLst>
              <c:ext xmlns:c16="http://schemas.microsoft.com/office/drawing/2014/chart" uri="{C3380CC4-5D6E-409C-BE32-E72D297353CC}">
                <c16:uniqueId val="{00001649-61F5-407B-959D-D24239F5BB85}"/>
              </c:ext>
            </c:extLst>
          </c:dPt>
          <c:dPt>
            <c:idx val="2852"/>
            <c:invertIfNegative val="1"/>
            <c:bubble3D val="0"/>
            <c:spPr>
              <a:solidFill>
                <a:srgbClr val="AEABAB"/>
              </a:solidFill>
            </c:spPr>
            <c:extLst>
              <c:ext xmlns:c16="http://schemas.microsoft.com/office/drawing/2014/chart" uri="{C3380CC4-5D6E-409C-BE32-E72D297353CC}">
                <c16:uniqueId val="{0000164B-61F5-407B-959D-D24239F5BB85}"/>
              </c:ext>
            </c:extLst>
          </c:dPt>
          <c:dPt>
            <c:idx val="2853"/>
            <c:invertIfNegative val="1"/>
            <c:bubble3D val="0"/>
            <c:spPr>
              <a:solidFill>
                <a:srgbClr val="AEABAB"/>
              </a:solidFill>
            </c:spPr>
            <c:extLst>
              <c:ext xmlns:c16="http://schemas.microsoft.com/office/drawing/2014/chart" uri="{C3380CC4-5D6E-409C-BE32-E72D297353CC}">
                <c16:uniqueId val="{0000164D-61F5-407B-959D-D24239F5BB85}"/>
              </c:ext>
            </c:extLst>
          </c:dPt>
          <c:dPt>
            <c:idx val="2854"/>
            <c:invertIfNegative val="1"/>
            <c:bubble3D val="0"/>
            <c:spPr>
              <a:solidFill>
                <a:srgbClr val="AEABAB"/>
              </a:solidFill>
            </c:spPr>
            <c:extLst>
              <c:ext xmlns:c16="http://schemas.microsoft.com/office/drawing/2014/chart" uri="{C3380CC4-5D6E-409C-BE32-E72D297353CC}">
                <c16:uniqueId val="{0000164F-61F5-407B-959D-D24239F5BB85}"/>
              </c:ext>
            </c:extLst>
          </c:dPt>
          <c:dPt>
            <c:idx val="2855"/>
            <c:invertIfNegative val="1"/>
            <c:bubble3D val="0"/>
            <c:spPr>
              <a:solidFill>
                <a:srgbClr val="AEABAB"/>
              </a:solidFill>
            </c:spPr>
            <c:extLst>
              <c:ext xmlns:c16="http://schemas.microsoft.com/office/drawing/2014/chart" uri="{C3380CC4-5D6E-409C-BE32-E72D297353CC}">
                <c16:uniqueId val="{00001651-61F5-407B-959D-D24239F5BB85}"/>
              </c:ext>
            </c:extLst>
          </c:dPt>
          <c:dPt>
            <c:idx val="2856"/>
            <c:invertIfNegative val="1"/>
            <c:bubble3D val="0"/>
            <c:spPr>
              <a:solidFill>
                <a:srgbClr val="AEABAB"/>
              </a:solidFill>
            </c:spPr>
            <c:extLst>
              <c:ext xmlns:c16="http://schemas.microsoft.com/office/drawing/2014/chart" uri="{C3380CC4-5D6E-409C-BE32-E72D297353CC}">
                <c16:uniqueId val="{00001653-61F5-407B-959D-D24239F5BB85}"/>
              </c:ext>
            </c:extLst>
          </c:dPt>
          <c:dPt>
            <c:idx val="2857"/>
            <c:invertIfNegative val="1"/>
            <c:bubble3D val="0"/>
            <c:spPr>
              <a:solidFill>
                <a:srgbClr val="AEABAB"/>
              </a:solidFill>
            </c:spPr>
            <c:extLst>
              <c:ext xmlns:c16="http://schemas.microsoft.com/office/drawing/2014/chart" uri="{C3380CC4-5D6E-409C-BE32-E72D297353CC}">
                <c16:uniqueId val="{00001655-61F5-407B-959D-D24239F5BB85}"/>
              </c:ext>
            </c:extLst>
          </c:dPt>
          <c:dPt>
            <c:idx val="2858"/>
            <c:invertIfNegative val="1"/>
            <c:bubble3D val="0"/>
            <c:spPr>
              <a:solidFill>
                <a:srgbClr val="AEABAB"/>
              </a:solidFill>
            </c:spPr>
            <c:extLst>
              <c:ext xmlns:c16="http://schemas.microsoft.com/office/drawing/2014/chart" uri="{C3380CC4-5D6E-409C-BE32-E72D297353CC}">
                <c16:uniqueId val="{00001657-61F5-407B-959D-D24239F5BB85}"/>
              </c:ext>
            </c:extLst>
          </c:dPt>
          <c:dPt>
            <c:idx val="2859"/>
            <c:invertIfNegative val="1"/>
            <c:bubble3D val="0"/>
            <c:spPr>
              <a:solidFill>
                <a:srgbClr val="AEABAB"/>
              </a:solidFill>
            </c:spPr>
            <c:extLst>
              <c:ext xmlns:c16="http://schemas.microsoft.com/office/drawing/2014/chart" uri="{C3380CC4-5D6E-409C-BE32-E72D297353CC}">
                <c16:uniqueId val="{00001659-61F5-407B-959D-D24239F5BB85}"/>
              </c:ext>
            </c:extLst>
          </c:dPt>
          <c:dPt>
            <c:idx val="2860"/>
            <c:invertIfNegative val="1"/>
            <c:bubble3D val="0"/>
            <c:spPr>
              <a:solidFill>
                <a:srgbClr val="AEABAB"/>
              </a:solidFill>
            </c:spPr>
            <c:extLst>
              <c:ext xmlns:c16="http://schemas.microsoft.com/office/drawing/2014/chart" uri="{C3380CC4-5D6E-409C-BE32-E72D297353CC}">
                <c16:uniqueId val="{0000165B-61F5-407B-959D-D24239F5BB85}"/>
              </c:ext>
            </c:extLst>
          </c:dPt>
          <c:dPt>
            <c:idx val="2861"/>
            <c:invertIfNegative val="1"/>
            <c:bubble3D val="0"/>
            <c:spPr>
              <a:solidFill>
                <a:srgbClr val="AEABAB"/>
              </a:solidFill>
            </c:spPr>
            <c:extLst>
              <c:ext xmlns:c16="http://schemas.microsoft.com/office/drawing/2014/chart" uri="{C3380CC4-5D6E-409C-BE32-E72D297353CC}">
                <c16:uniqueId val="{0000165D-61F5-407B-959D-D24239F5BB85}"/>
              </c:ext>
            </c:extLst>
          </c:dPt>
          <c:dPt>
            <c:idx val="2862"/>
            <c:invertIfNegative val="1"/>
            <c:bubble3D val="0"/>
            <c:spPr>
              <a:solidFill>
                <a:srgbClr val="AEABAB"/>
              </a:solidFill>
            </c:spPr>
            <c:extLst>
              <c:ext xmlns:c16="http://schemas.microsoft.com/office/drawing/2014/chart" uri="{C3380CC4-5D6E-409C-BE32-E72D297353CC}">
                <c16:uniqueId val="{0000165F-61F5-407B-959D-D24239F5BB85}"/>
              </c:ext>
            </c:extLst>
          </c:dPt>
          <c:dPt>
            <c:idx val="2863"/>
            <c:invertIfNegative val="1"/>
            <c:bubble3D val="0"/>
            <c:spPr>
              <a:solidFill>
                <a:srgbClr val="AEABAB"/>
              </a:solidFill>
            </c:spPr>
            <c:extLst>
              <c:ext xmlns:c16="http://schemas.microsoft.com/office/drawing/2014/chart" uri="{C3380CC4-5D6E-409C-BE32-E72D297353CC}">
                <c16:uniqueId val="{00001661-61F5-407B-959D-D24239F5BB85}"/>
              </c:ext>
            </c:extLst>
          </c:dPt>
          <c:dPt>
            <c:idx val="2864"/>
            <c:invertIfNegative val="1"/>
            <c:bubble3D val="0"/>
            <c:spPr>
              <a:solidFill>
                <a:srgbClr val="AEABAB"/>
              </a:solidFill>
            </c:spPr>
            <c:extLst>
              <c:ext xmlns:c16="http://schemas.microsoft.com/office/drawing/2014/chart" uri="{C3380CC4-5D6E-409C-BE32-E72D297353CC}">
                <c16:uniqueId val="{00001663-61F5-407B-959D-D24239F5BB85}"/>
              </c:ext>
            </c:extLst>
          </c:dPt>
          <c:dPt>
            <c:idx val="2865"/>
            <c:invertIfNegative val="1"/>
            <c:bubble3D val="0"/>
            <c:spPr>
              <a:solidFill>
                <a:srgbClr val="AEABAB"/>
              </a:solidFill>
            </c:spPr>
            <c:extLst>
              <c:ext xmlns:c16="http://schemas.microsoft.com/office/drawing/2014/chart" uri="{C3380CC4-5D6E-409C-BE32-E72D297353CC}">
                <c16:uniqueId val="{00001665-61F5-407B-959D-D24239F5BB85}"/>
              </c:ext>
            </c:extLst>
          </c:dPt>
          <c:dPt>
            <c:idx val="2866"/>
            <c:invertIfNegative val="1"/>
            <c:bubble3D val="0"/>
            <c:spPr>
              <a:solidFill>
                <a:srgbClr val="AEABAB"/>
              </a:solidFill>
            </c:spPr>
            <c:extLst>
              <c:ext xmlns:c16="http://schemas.microsoft.com/office/drawing/2014/chart" uri="{C3380CC4-5D6E-409C-BE32-E72D297353CC}">
                <c16:uniqueId val="{00001667-61F5-407B-959D-D24239F5BB85}"/>
              </c:ext>
            </c:extLst>
          </c:dPt>
          <c:dPt>
            <c:idx val="2867"/>
            <c:invertIfNegative val="1"/>
            <c:bubble3D val="0"/>
            <c:spPr>
              <a:solidFill>
                <a:srgbClr val="AEABAB"/>
              </a:solidFill>
            </c:spPr>
            <c:extLst>
              <c:ext xmlns:c16="http://schemas.microsoft.com/office/drawing/2014/chart" uri="{C3380CC4-5D6E-409C-BE32-E72D297353CC}">
                <c16:uniqueId val="{00001669-61F5-407B-959D-D24239F5BB85}"/>
              </c:ext>
            </c:extLst>
          </c:dPt>
          <c:dPt>
            <c:idx val="2868"/>
            <c:invertIfNegative val="1"/>
            <c:bubble3D val="0"/>
            <c:spPr>
              <a:solidFill>
                <a:srgbClr val="AEABAB"/>
              </a:solidFill>
            </c:spPr>
            <c:extLst>
              <c:ext xmlns:c16="http://schemas.microsoft.com/office/drawing/2014/chart" uri="{C3380CC4-5D6E-409C-BE32-E72D297353CC}">
                <c16:uniqueId val="{0000166B-61F5-407B-959D-D24239F5BB85}"/>
              </c:ext>
            </c:extLst>
          </c:dPt>
          <c:dPt>
            <c:idx val="2869"/>
            <c:invertIfNegative val="1"/>
            <c:bubble3D val="0"/>
            <c:spPr>
              <a:solidFill>
                <a:srgbClr val="AEABAB"/>
              </a:solidFill>
            </c:spPr>
            <c:extLst>
              <c:ext xmlns:c16="http://schemas.microsoft.com/office/drawing/2014/chart" uri="{C3380CC4-5D6E-409C-BE32-E72D297353CC}">
                <c16:uniqueId val="{0000166D-61F5-407B-959D-D24239F5BB85}"/>
              </c:ext>
            </c:extLst>
          </c:dPt>
          <c:dPt>
            <c:idx val="2870"/>
            <c:invertIfNegative val="1"/>
            <c:bubble3D val="0"/>
            <c:spPr>
              <a:solidFill>
                <a:srgbClr val="AEABAB"/>
              </a:solidFill>
            </c:spPr>
            <c:extLst>
              <c:ext xmlns:c16="http://schemas.microsoft.com/office/drawing/2014/chart" uri="{C3380CC4-5D6E-409C-BE32-E72D297353CC}">
                <c16:uniqueId val="{0000166F-61F5-407B-959D-D24239F5BB85}"/>
              </c:ext>
            </c:extLst>
          </c:dPt>
          <c:dPt>
            <c:idx val="2871"/>
            <c:invertIfNegative val="1"/>
            <c:bubble3D val="0"/>
            <c:spPr>
              <a:solidFill>
                <a:srgbClr val="AEABAB"/>
              </a:solidFill>
            </c:spPr>
            <c:extLst>
              <c:ext xmlns:c16="http://schemas.microsoft.com/office/drawing/2014/chart" uri="{C3380CC4-5D6E-409C-BE32-E72D297353CC}">
                <c16:uniqueId val="{00001671-61F5-407B-959D-D24239F5BB85}"/>
              </c:ext>
            </c:extLst>
          </c:dPt>
          <c:dPt>
            <c:idx val="2872"/>
            <c:invertIfNegative val="1"/>
            <c:bubble3D val="0"/>
            <c:spPr>
              <a:solidFill>
                <a:srgbClr val="AEABAB"/>
              </a:solidFill>
            </c:spPr>
            <c:extLst>
              <c:ext xmlns:c16="http://schemas.microsoft.com/office/drawing/2014/chart" uri="{C3380CC4-5D6E-409C-BE32-E72D297353CC}">
                <c16:uniqueId val="{00001673-61F5-407B-959D-D24239F5BB85}"/>
              </c:ext>
            </c:extLst>
          </c:dPt>
          <c:dPt>
            <c:idx val="2873"/>
            <c:invertIfNegative val="1"/>
            <c:bubble3D val="0"/>
            <c:spPr>
              <a:solidFill>
                <a:srgbClr val="AEABAB"/>
              </a:solidFill>
            </c:spPr>
            <c:extLst>
              <c:ext xmlns:c16="http://schemas.microsoft.com/office/drawing/2014/chart" uri="{C3380CC4-5D6E-409C-BE32-E72D297353CC}">
                <c16:uniqueId val="{00001675-61F5-407B-959D-D24239F5BB85}"/>
              </c:ext>
            </c:extLst>
          </c:dPt>
          <c:dPt>
            <c:idx val="2874"/>
            <c:invertIfNegative val="1"/>
            <c:bubble3D val="0"/>
            <c:spPr>
              <a:solidFill>
                <a:srgbClr val="AEABAB"/>
              </a:solidFill>
            </c:spPr>
            <c:extLst>
              <c:ext xmlns:c16="http://schemas.microsoft.com/office/drawing/2014/chart" uri="{C3380CC4-5D6E-409C-BE32-E72D297353CC}">
                <c16:uniqueId val="{00001677-61F5-407B-959D-D24239F5BB85}"/>
              </c:ext>
            </c:extLst>
          </c:dPt>
          <c:dPt>
            <c:idx val="2875"/>
            <c:invertIfNegative val="1"/>
            <c:bubble3D val="0"/>
            <c:spPr>
              <a:solidFill>
                <a:srgbClr val="AEABAB"/>
              </a:solidFill>
            </c:spPr>
            <c:extLst>
              <c:ext xmlns:c16="http://schemas.microsoft.com/office/drawing/2014/chart" uri="{C3380CC4-5D6E-409C-BE32-E72D297353CC}">
                <c16:uniqueId val="{00001679-61F5-407B-959D-D24239F5BB85}"/>
              </c:ext>
            </c:extLst>
          </c:dPt>
          <c:dPt>
            <c:idx val="2876"/>
            <c:invertIfNegative val="1"/>
            <c:bubble3D val="0"/>
            <c:spPr>
              <a:solidFill>
                <a:srgbClr val="AEABAB"/>
              </a:solidFill>
            </c:spPr>
            <c:extLst>
              <c:ext xmlns:c16="http://schemas.microsoft.com/office/drawing/2014/chart" uri="{C3380CC4-5D6E-409C-BE32-E72D297353CC}">
                <c16:uniqueId val="{0000167B-61F5-407B-959D-D24239F5BB85}"/>
              </c:ext>
            </c:extLst>
          </c:dPt>
          <c:dPt>
            <c:idx val="2877"/>
            <c:invertIfNegative val="1"/>
            <c:bubble3D val="0"/>
            <c:spPr>
              <a:solidFill>
                <a:srgbClr val="AEABAB"/>
              </a:solidFill>
            </c:spPr>
            <c:extLst>
              <c:ext xmlns:c16="http://schemas.microsoft.com/office/drawing/2014/chart" uri="{C3380CC4-5D6E-409C-BE32-E72D297353CC}">
                <c16:uniqueId val="{0000167D-61F5-407B-959D-D24239F5BB85}"/>
              </c:ext>
            </c:extLst>
          </c:dPt>
          <c:dPt>
            <c:idx val="2878"/>
            <c:invertIfNegative val="1"/>
            <c:bubble3D val="0"/>
            <c:spPr>
              <a:solidFill>
                <a:srgbClr val="AEABAB"/>
              </a:solidFill>
            </c:spPr>
            <c:extLst>
              <c:ext xmlns:c16="http://schemas.microsoft.com/office/drawing/2014/chart" uri="{C3380CC4-5D6E-409C-BE32-E72D297353CC}">
                <c16:uniqueId val="{0000167F-61F5-407B-959D-D24239F5BB85}"/>
              </c:ext>
            </c:extLst>
          </c:dPt>
          <c:dPt>
            <c:idx val="2879"/>
            <c:invertIfNegative val="1"/>
            <c:bubble3D val="0"/>
            <c:spPr>
              <a:solidFill>
                <a:srgbClr val="AEABAB"/>
              </a:solidFill>
            </c:spPr>
            <c:extLst>
              <c:ext xmlns:c16="http://schemas.microsoft.com/office/drawing/2014/chart" uri="{C3380CC4-5D6E-409C-BE32-E72D297353CC}">
                <c16:uniqueId val="{00001681-61F5-407B-959D-D24239F5BB85}"/>
              </c:ext>
            </c:extLst>
          </c:dPt>
          <c:dPt>
            <c:idx val="2880"/>
            <c:invertIfNegative val="1"/>
            <c:bubble3D val="0"/>
            <c:spPr>
              <a:solidFill>
                <a:srgbClr val="AEABAB"/>
              </a:solidFill>
            </c:spPr>
            <c:extLst>
              <c:ext xmlns:c16="http://schemas.microsoft.com/office/drawing/2014/chart" uri="{C3380CC4-5D6E-409C-BE32-E72D297353CC}">
                <c16:uniqueId val="{00001683-61F5-407B-959D-D24239F5BB85}"/>
              </c:ext>
            </c:extLst>
          </c:dPt>
          <c:dPt>
            <c:idx val="2881"/>
            <c:invertIfNegative val="1"/>
            <c:bubble3D val="0"/>
            <c:spPr>
              <a:solidFill>
                <a:srgbClr val="AEABAB"/>
              </a:solidFill>
            </c:spPr>
            <c:extLst>
              <c:ext xmlns:c16="http://schemas.microsoft.com/office/drawing/2014/chart" uri="{C3380CC4-5D6E-409C-BE32-E72D297353CC}">
                <c16:uniqueId val="{00001685-61F5-407B-959D-D24239F5BB85}"/>
              </c:ext>
            </c:extLst>
          </c:dPt>
          <c:dPt>
            <c:idx val="2882"/>
            <c:invertIfNegative val="1"/>
            <c:bubble3D val="0"/>
            <c:spPr>
              <a:solidFill>
                <a:srgbClr val="AEABAB"/>
              </a:solidFill>
            </c:spPr>
            <c:extLst>
              <c:ext xmlns:c16="http://schemas.microsoft.com/office/drawing/2014/chart" uri="{C3380CC4-5D6E-409C-BE32-E72D297353CC}">
                <c16:uniqueId val="{00001687-61F5-407B-959D-D24239F5BB85}"/>
              </c:ext>
            </c:extLst>
          </c:dPt>
          <c:dPt>
            <c:idx val="2883"/>
            <c:invertIfNegative val="1"/>
            <c:bubble3D val="0"/>
            <c:spPr>
              <a:solidFill>
                <a:srgbClr val="AEABAB"/>
              </a:solidFill>
            </c:spPr>
            <c:extLst>
              <c:ext xmlns:c16="http://schemas.microsoft.com/office/drawing/2014/chart" uri="{C3380CC4-5D6E-409C-BE32-E72D297353CC}">
                <c16:uniqueId val="{00001689-61F5-407B-959D-D24239F5BB85}"/>
              </c:ext>
            </c:extLst>
          </c:dPt>
          <c:dPt>
            <c:idx val="2884"/>
            <c:invertIfNegative val="1"/>
            <c:bubble3D val="0"/>
            <c:spPr>
              <a:solidFill>
                <a:srgbClr val="AEABAB"/>
              </a:solidFill>
            </c:spPr>
            <c:extLst>
              <c:ext xmlns:c16="http://schemas.microsoft.com/office/drawing/2014/chart" uri="{C3380CC4-5D6E-409C-BE32-E72D297353CC}">
                <c16:uniqueId val="{0000168B-61F5-407B-959D-D24239F5BB85}"/>
              </c:ext>
            </c:extLst>
          </c:dPt>
          <c:dPt>
            <c:idx val="2885"/>
            <c:invertIfNegative val="1"/>
            <c:bubble3D val="0"/>
            <c:spPr>
              <a:solidFill>
                <a:srgbClr val="AEABAB"/>
              </a:solidFill>
            </c:spPr>
            <c:extLst>
              <c:ext xmlns:c16="http://schemas.microsoft.com/office/drawing/2014/chart" uri="{C3380CC4-5D6E-409C-BE32-E72D297353CC}">
                <c16:uniqueId val="{0000168D-61F5-407B-959D-D24239F5BB85}"/>
              </c:ext>
            </c:extLst>
          </c:dPt>
          <c:dPt>
            <c:idx val="2886"/>
            <c:invertIfNegative val="1"/>
            <c:bubble3D val="0"/>
            <c:spPr>
              <a:solidFill>
                <a:srgbClr val="AEABAB"/>
              </a:solidFill>
            </c:spPr>
            <c:extLst>
              <c:ext xmlns:c16="http://schemas.microsoft.com/office/drawing/2014/chart" uri="{C3380CC4-5D6E-409C-BE32-E72D297353CC}">
                <c16:uniqueId val="{0000168F-61F5-407B-959D-D24239F5BB85}"/>
              </c:ext>
            </c:extLst>
          </c:dPt>
          <c:dPt>
            <c:idx val="2887"/>
            <c:invertIfNegative val="1"/>
            <c:bubble3D val="0"/>
            <c:spPr>
              <a:solidFill>
                <a:srgbClr val="AEABAB"/>
              </a:solidFill>
            </c:spPr>
            <c:extLst>
              <c:ext xmlns:c16="http://schemas.microsoft.com/office/drawing/2014/chart" uri="{C3380CC4-5D6E-409C-BE32-E72D297353CC}">
                <c16:uniqueId val="{00001691-61F5-407B-959D-D24239F5BB85}"/>
              </c:ext>
            </c:extLst>
          </c:dPt>
          <c:dPt>
            <c:idx val="2888"/>
            <c:invertIfNegative val="1"/>
            <c:bubble3D val="0"/>
            <c:spPr>
              <a:solidFill>
                <a:srgbClr val="AEABAB"/>
              </a:solidFill>
            </c:spPr>
            <c:extLst>
              <c:ext xmlns:c16="http://schemas.microsoft.com/office/drawing/2014/chart" uri="{C3380CC4-5D6E-409C-BE32-E72D297353CC}">
                <c16:uniqueId val="{00001693-61F5-407B-959D-D24239F5BB85}"/>
              </c:ext>
            </c:extLst>
          </c:dPt>
          <c:dPt>
            <c:idx val="2889"/>
            <c:invertIfNegative val="1"/>
            <c:bubble3D val="0"/>
            <c:spPr>
              <a:solidFill>
                <a:srgbClr val="AEABAB"/>
              </a:solidFill>
            </c:spPr>
            <c:extLst>
              <c:ext xmlns:c16="http://schemas.microsoft.com/office/drawing/2014/chart" uri="{C3380CC4-5D6E-409C-BE32-E72D297353CC}">
                <c16:uniqueId val="{00001695-61F5-407B-959D-D24239F5BB85}"/>
              </c:ext>
            </c:extLst>
          </c:dPt>
          <c:dPt>
            <c:idx val="2890"/>
            <c:invertIfNegative val="1"/>
            <c:bubble3D val="0"/>
            <c:spPr>
              <a:solidFill>
                <a:srgbClr val="AEABAB"/>
              </a:solidFill>
            </c:spPr>
            <c:extLst>
              <c:ext xmlns:c16="http://schemas.microsoft.com/office/drawing/2014/chart" uri="{C3380CC4-5D6E-409C-BE32-E72D297353CC}">
                <c16:uniqueId val="{00001697-61F5-407B-959D-D24239F5BB85}"/>
              </c:ext>
            </c:extLst>
          </c:dPt>
          <c:dPt>
            <c:idx val="2891"/>
            <c:invertIfNegative val="1"/>
            <c:bubble3D val="0"/>
            <c:spPr>
              <a:solidFill>
                <a:srgbClr val="AEABAB"/>
              </a:solidFill>
            </c:spPr>
            <c:extLst>
              <c:ext xmlns:c16="http://schemas.microsoft.com/office/drawing/2014/chart" uri="{C3380CC4-5D6E-409C-BE32-E72D297353CC}">
                <c16:uniqueId val="{00001699-61F5-407B-959D-D24239F5BB85}"/>
              </c:ext>
            </c:extLst>
          </c:dPt>
          <c:dPt>
            <c:idx val="2892"/>
            <c:invertIfNegative val="1"/>
            <c:bubble3D val="0"/>
            <c:spPr>
              <a:solidFill>
                <a:srgbClr val="AEABAB"/>
              </a:solidFill>
            </c:spPr>
            <c:extLst>
              <c:ext xmlns:c16="http://schemas.microsoft.com/office/drawing/2014/chart" uri="{C3380CC4-5D6E-409C-BE32-E72D297353CC}">
                <c16:uniqueId val="{0000169B-61F5-407B-959D-D24239F5BB85}"/>
              </c:ext>
            </c:extLst>
          </c:dPt>
          <c:dPt>
            <c:idx val="2893"/>
            <c:invertIfNegative val="1"/>
            <c:bubble3D val="0"/>
            <c:spPr>
              <a:solidFill>
                <a:srgbClr val="AEABAB"/>
              </a:solidFill>
            </c:spPr>
            <c:extLst>
              <c:ext xmlns:c16="http://schemas.microsoft.com/office/drawing/2014/chart" uri="{C3380CC4-5D6E-409C-BE32-E72D297353CC}">
                <c16:uniqueId val="{0000169D-61F5-407B-959D-D24239F5BB85}"/>
              </c:ext>
            </c:extLst>
          </c:dPt>
          <c:dPt>
            <c:idx val="2894"/>
            <c:invertIfNegative val="1"/>
            <c:bubble3D val="0"/>
            <c:spPr>
              <a:solidFill>
                <a:srgbClr val="AEABAB"/>
              </a:solidFill>
            </c:spPr>
            <c:extLst>
              <c:ext xmlns:c16="http://schemas.microsoft.com/office/drawing/2014/chart" uri="{C3380CC4-5D6E-409C-BE32-E72D297353CC}">
                <c16:uniqueId val="{0000169F-61F5-407B-959D-D24239F5BB85}"/>
              </c:ext>
            </c:extLst>
          </c:dPt>
          <c:dPt>
            <c:idx val="2895"/>
            <c:invertIfNegative val="1"/>
            <c:bubble3D val="0"/>
            <c:spPr>
              <a:solidFill>
                <a:srgbClr val="AEABAB"/>
              </a:solidFill>
            </c:spPr>
            <c:extLst>
              <c:ext xmlns:c16="http://schemas.microsoft.com/office/drawing/2014/chart" uri="{C3380CC4-5D6E-409C-BE32-E72D297353CC}">
                <c16:uniqueId val="{000016A1-61F5-407B-959D-D24239F5BB85}"/>
              </c:ext>
            </c:extLst>
          </c:dPt>
          <c:dPt>
            <c:idx val="2896"/>
            <c:invertIfNegative val="1"/>
            <c:bubble3D val="0"/>
            <c:spPr>
              <a:solidFill>
                <a:srgbClr val="AEABAB"/>
              </a:solidFill>
            </c:spPr>
            <c:extLst>
              <c:ext xmlns:c16="http://schemas.microsoft.com/office/drawing/2014/chart" uri="{C3380CC4-5D6E-409C-BE32-E72D297353CC}">
                <c16:uniqueId val="{000016A3-61F5-407B-959D-D24239F5BB85}"/>
              </c:ext>
            </c:extLst>
          </c:dPt>
          <c:dPt>
            <c:idx val="2897"/>
            <c:invertIfNegative val="1"/>
            <c:bubble3D val="0"/>
            <c:spPr>
              <a:solidFill>
                <a:srgbClr val="AEABAB"/>
              </a:solidFill>
            </c:spPr>
            <c:extLst>
              <c:ext xmlns:c16="http://schemas.microsoft.com/office/drawing/2014/chart" uri="{C3380CC4-5D6E-409C-BE32-E72D297353CC}">
                <c16:uniqueId val="{000016A5-61F5-407B-959D-D24239F5BB85}"/>
              </c:ext>
            </c:extLst>
          </c:dPt>
          <c:dPt>
            <c:idx val="2898"/>
            <c:invertIfNegative val="1"/>
            <c:bubble3D val="0"/>
            <c:spPr>
              <a:solidFill>
                <a:srgbClr val="AEABAB"/>
              </a:solidFill>
            </c:spPr>
            <c:extLst>
              <c:ext xmlns:c16="http://schemas.microsoft.com/office/drawing/2014/chart" uri="{C3380CC4-5D6E-409C-BE32-E72D297353CC}">
                <c16:uniqueId val="{000016A7-61F5-407B-959D-D24239F5BB85}"/>
              </c:ext>
            </c:extLst>
          </c:dPt>
          <c:dPt>
            <c:idx val="2899"/>
            <c:invertIfNegative val="1"/>
            <c:bubble3D val="0"/>
            <c:spPr>
              <a:solidFill>
                <a:srgbClr val="AEABAB"/>
              </a:solidFill>
            </c:spPr>
            <c:extLst>
              <c:ext xmlns:c16="http://schemas.microsoft.com/office/drawing/2014/chart" uri="{C3380CC4-5D6E-409C-BE32-E72D297353CC}">
                <c16:uniqueId val="{000016A9-61F5-407B-959D-D24239F5BB85}"/>
              </c:ext>
            </c:extLst>
          </c:dPt>
          <c:dPt>
            <c:idx val="2900"/>
            <c:invertIfNegative val="1"/>
            <c:bubble3D val="0"/>
            <c:spPr>
              <a:solidFill>
                <a:srgbClr val="AEABAB"/>
              </a:solidFill>
            </c:spPr>
            <c:extLst>
              <c:ext xmlns:c16="http://schemas.microsoft.com/office/drawing/2014/chart" uri="{C3380CC4-5D6E-409C-BE32-E72D297353CC}">
                <c16:uniqueId val="{000016AB-61F5-407B-959D-D24239F5BB85}"/>
              </c:ext>
            </c:extLst>
          </c:dPt>
          <c:dPt>
            <c:idx val="2901"/>
            <c:invertIfNegative val="1"/>
            <c:bubble3D val="0"/>
            <c:spPr>
              <a:solidFill>
                <a:srgbClr val="AEABAB"/>
              </a:solidFill>
            </c:spPr>
            <c:extLst>
              <c:ext xmlns:c16="http://schemas.microsoft.com/office/drawing/2014/chart" uri="{C3380CC4-5D6E-409C-BE32-E72D297353CC}">
                <c16:uniqueId val="{000016AD-61F5-407B-959D-D24239F5BB85}"/>
              </c:ext>
            </c:extLst>
          </c:dPt>
          <c:dPt>
            <c:idx val="2902"/>
            <c:invertIfNegative val="1"/>
            <c:bubble3D val="0"/>
            <c:spPr>
              <a:solidFill>
                <a:srgbClr val="AEABAB"/>
              </a:solidFill>
            </c:spPr>
            <c:extLst>
              <c:ext xmlns:c16="http://schemas.microsoft.com/office/drawing/2014/chart" uri="{C3380CC4-5D6E-409C-BE32-E72D297353CC}">
                <c16:uniqueId val="{000016AF-61F5-407B-959D-D24239F5BB85}"/>
              </c:ext>
            </c:extLst>
          </c:dPt>
          <c:dPt>
            <c:idx val="2903"/>
            <c:invertIfNegative val="1"/>
            <c:bubble3D val="0"/>
            <c:spPr>
              <a:solidFill>
                <a:srgbClr val="AEABAB"/>
              </a:solidFill>
            </c:spPr>
            <c:extLst>
              <c:ext xmlns:c16="http://schemas.microsoft.com/office/drawing/2014/chart" uri="{C3380CC4-5D6E-409C-BE32-E72D297353CC}">
                <c16:uniqueId val="{000016B1-61F5-407B-959D-D24239F5BB85}"/>
              </c:ext>
            </c:extLst>
          </c:dPt>
          <c:dPt>
            <c:idx val="2904"/>
            <c:invertIfNegative val="1"/>
            <c:bubble3D val="0"/>
            <c:spPr>
              <a:solidFill>
                <a:srgbClr val="AEABAB"/>
              </a:solidFill>
            </c:spPr>
            <c:extLst>
              <c:ext xmlns:c16="http://schemas.microsoft.com/office/drawing/2014/chart" uri="{C3380CC4-5D6E-409C-BE32-E72D297353CC}">
                <c16:uniqueId val="{000016B3-61F5-407B-959D-D24239F5BB85}"/>
              </c:ext>
            </c:extLst>
          </c:dPt>
          <c:dPt>
            <c:idx val="2905"/>
            <c:invertIfNegative val="1"/>
            <c:bubble3D val="0"/>
            <c:spPr>
              <a:solidFill>
                <a:srgbClr val="AEABAB"/>
              </a:solidFill>
            </c:spPr>
            <c:extLst>
              <c:ext xmlns:c16="http://schemas.microsoft.com/office/drawing/2014/chart" uri="{C3380CC4-5D6E-409C-BE32-E72D297353CC}">
                <c16:uniqueId val="{000016B5-61F5-407B-959D-D24239F5BB85}"/>
              </c:ext>
            </c:extLst>
          </c:dPt>
          <c:dPt>
            <c:idx val="2906"/>
            <c:invertIfNegative val="1"/>
            <c:bubble3D val="0"/>
            <c:spPr>
              <a:solidFill>
                <a:srgbClr val="AEABAB"/>
              </a:solidFill>
            </c:spPr>
            <c:extLst>
              <c:ext xmlns:c16="http://schemas.microsoft.com/office/drawing/2014/chart" uri="{C3380CC4-5D6E-409C-BE32-E72D297353CC}">
                <c16:uniqueId val="{000016B7-61F5-407B-959D-D24239F5BB85}"/>
              </c:ext>
            </c:extLst>
          </c:dPt>
          <c:dPt>
            <c:idx val="2907"/>
            <c:invertIfNegative val="1"/>
            <c:bubble3D val="0"/>
            <c:spPr>
              <a:solidFill>
                <a:srgbClr val="AEABAB"/>
              </a:solidFill>
            </c:spPr>
            <c:extLst>
              <c:ext xmlns:c16="http://schemas.microsoft.com/office/drawing/2014/chart" uri="{C3380CC4-5D6E-409C-BE32-E72D297353CC}">
                <c16:uniqueId val="{000016B9-61F5-407B-959D-D24239F5BB85}"/>
              </c:ext>
            </c:extLst>
          </c:dPt>
          <c:dPt>
            <c:idx val="2908"/>
            <c:invertIfNegative val="1"/>
            <c:bubble3D val="0"/>
            <c:spPr>
              <a:solidFill>
                <a:srgbClr val="AEABAB"/>
              </a:solidFill>
            </c:spPr>
            <c:extLst>
              <c:ext xmlns:c16="http://schemas.microsoft.com/office/drawing/2014/chart" uri="{C3380CC4-5D6E-409C-BE32-E72D297353CC}">
                <c16:uniqueId val="{000016BB-61F5-407B-959D-D24239F5BB85}"/>
              </c:ext>
            </c:extLst>
          </c:dPt>
          <c:dPt>
            <c:idx val="2909"/>
            <c:invertIfNegative val="1"/>
            <c:bubble3D val="0"/>
            <c:spPr>
              <a:solidFill>
                <a:srgbClr val="AEABAB"/>
              </a:solidFill>
            </c:spPr>
            <c:extLst>
              <c:ext xmlns:c16="http://schemas.microsoft.com/office/drawing/2014/chart" uri="{C3380CC4-5D6E-409C-BE32-E72D297353CC}">
                <c16:uniqueId val="{000016BD-61F5-407B-959D-D24239F5BB85}"/>
              </c:ext>
            </c:extLst>
          </c:dPt>
          <c:dPt>
            <c:idx val="2910"/>
            <c:invertIfNegative val="1"/>
            <c:bubble3D val="0"/>
            <c:spPr>
              <a:solidFill>
                <a:srgbClr val="AEABAB"/>
              </a:solidFill>
            </c:spPr>
            <c:extLst>
              <c:ext xmlns:c16="http://schemas.microsoft.com/office/drawing/2014/chart" uri="{C3380CC4-5D6E-409C-BE32-E72D297353CC}">
                <c16:uniqueId val="{000016BF-61F5-407B-959D-D24239F5BB85}"/>
              </c:ext>
            </c:extLst>
          </c:dPt>
          <c:dPt>
            <c:idx val="2911"/>
            <c:invertIfNegative val="1"/>
            <c:bubble3D val="0"/>
            <c:spPr>
              <a:solidFill>
                <a:srgbClr val="AEABAB"/>
              </a:solidFill>
            </c:spPr>
            <c:extLst>
              <c:ext xmlns:c16="http://schemas.microsoft.com/office/drawing/2014/chart" uri="{C3380CC4-5D6E-409C-BE32-E72D297353CC}">
                <c16:uniqueId val="{000016C1-61F5-407B-959D-D24239F5BB85}"/>
              </c:ext>
            </c:extLst>
          </c:dPt>
          <c:dPt>
            <c:idx val="2912"/>
            <c:invertIfNegative val="1"/>
            <c:bubble3D val="0"/>
            <c:spPr>
              <a:solidFill>
                <a:srgbClr val="AEABAB"/>
              </a:solidFill>
            </c:spPr>
            <c:extLst>
              <c:ext xmlns:c16="http://schemas.microsoft.com/office/drawing/2014/chart" uri="{C3380CC4-5D6E-409C-BE32-E72D297353CC}">
                <c16:uniqueId val="{000016C3-61F5-407B-959D-D24239F5BB85}"/>
              </c:ext>
            </c:extLst>
          </c:dPt>
          <c:dPt>
            <c:idx val="2913"/>
            <c:invertIfNegative val="1"/>
            <c:bubble3D val="0"/>
            <c:spPr>
              <a:solidFill>
                <a:srgbClr val="AEABAB"/>
              </a:solidFill>
            </c:spPr>
            <c:extLst>
              <c:ext xmlns:c16="http://schemas.microsoft.com/office/drawing/2014/chart" uri="{C3380CC4-5D6E-409C-BE32-E72D297353CC}">
                <c16:uniqueId val="{000016C5-61F5-407B-959D-D24239F5BB85}"/>
              </c:ext>
            </c:extLst>
          </c:dPt>
          <c:dPt>
            <c:idx val="2914"/>
            <c:invertIfNegative val="1"/>
            <c:bubble3D val="0"/>
            <c:spPr>
              <a:solidFill>
                <a:srgbClr val="AEABAB"/>
              </a:solidFill>
            </c:spPr>
            <c:extLst>
              <c:ext xmlns:c16="http://schemas.microsoft.com/office/drawing/2014/chart" uri="{C3380CC4-5D6E-409C-BE32-E72D297353CC}">
                <c16:uniqueId val="{000016C7-61F5-407B-959D-D24239F5BB85}"/>
              </c:ext>
            </c:extLst>
          </c:dPt>
          <c:dPt>
            <c:idx val="2915"/>
            <c:invertIfNegative val="1"/>
            <c:bubble3D val="0"/>
            <c:spPr>
              <a:solidFill>
                <a:srgbClr val="AEABAB"/>
              </a:solidFill>
            </c:spPr>
            <c:extLst>
              <c:ext xmlns:c16="http://schemas.microsoft.com/office/drawing/2014/chart" uri="{C3380CC4-5D6E-409C-BE32-E72D297353CC}">
                <c16:uniqueId val="{000016C9-61F5-407B-959D-D24239F5BB85}"/>
              </c:ext>
            </c:extLst>
          </c:dPt>
          <c:dPt>
            <c:idx val="2916"/>
            <c:invertIfNegative val="1"/>
            <c:bubble3D val="0"/>
            <c:spPr>
              <a:solidFill>
                <a:srgbClr val="AEABAB"/>
              </a:solidFill>
            </c:spPr>
            <c:extLst>
              <c:ext xmlns:c16="http://schemas.microsoft.com/office/drawing/2014/chart" uri="{C3380CC4-5D6E-409C-BE32-E72D297353CC}">
                <c16:uniqueId val="{000016CB-61F5-407B-959D-D24239F5BB85}"/>
              </c:ext>
            </c:extLst>
          </c:dPt>
          <c:dPt>
            <c:idx val="2917"/>
            <c:invertIfNegative val="1"/>
            <c:bubble3D val="0"/>
            <c:spPr>
              <a:solidFill>
                <a:srgbClr val="AEABAB"/>
              </a:solidFill>
            </c:spPr>
            <c:extLst>
              <c:ext xmlns:c16="http://schemas.microsoft.com/office/drawing/2014/chart" uri="{C3380CC4-5D6E-409C-BE32-E72D297353CC}">
                <c16:uniqueId val="{000016CD-61F5-407B-959D-D24239F5BB85}"/>
              </c:ext>
            </c:extLst>
          </c:dPt>
          <c:dPt>
            <c:idx val="2918"/>
            <c:invertIfNegative val="1"/>
            <c:bubble3D val="0"/>
            <c:spPr>
              <a:solidFill>
                <a:srgbClr val="AEABAB"/>
              </a:solidFill>
            </c:spPr>
            <c:extLst>
              <c:ext xmlns:c16="http://schemas.microsoft.com/office/drawing/2014/chart" uri="{C3380CC4-5D6E-409C-BE32-E72D297353CC}">
                <c16:uniqueId val="{000016CF-61F5-407B-959D-D24239F5BB85}"/>
              </c:ext>
            </c:extLst>
          </c:dPt>
          <c:dPt>
            <c:idx val="2919"/>
            <c:invertIfNegative val="1"/>
            <c:bubble3D val="0"/>
            <c:spPr>
              <a:solidFill>
                <a:srgbClr val="AEABAB"/>
              </a:solidFill>
            </c:spPr>
            <c:extLst>
              <c:ext xmlns:c16="http://schemas.microsoft.com/office/drawing/2014/chart" uri="{C3380CC4-5D6E-409C-BE32-E72D297353CC}">
                <c16:uniqueId val="{000016D1-61F5-407B-959D-D24239F5BB85}"/>
              </c:ext>
            </c:extLst>
          </c:dPt>
          <c:dPt>
            <c:idx val="2920"/>
            <c:invertIfNegative val="1"/>
            <c:bubble3D val="0"/>
            <c:spPr>
              <a:solidFill>
                <a:srgbClr val="AEABAB"/>
              </a:solidFill>
            </c:spPr>
            <c:extLst>
              <c:ext xmlns:c16="http://schemas.microsoft.com/office/drawing/2014/chart" uri="{C3380CC4-5D6E-409C-BE32-E72D297353CC}">
                <c16:uniqueId val="{000016D3-61F5-407B-959D-D24239F5BB85}"/>
              </c:ext>
            </c:extLst>
          </c:dPt>
          <c:dPt>
            <c:idx val="2921"/>
            <c:invertIfNegative val="1"/>
            <c:bubble3D val="0"/>
            <c:spPr>
              <a:solidFill>
                <a:srgbClr val="AEABAB"/>
              </a:solidFill>
            </c:spPr>
            <c:extLst>
              <c:ext xmlns:c16="http://schemas.microsoft.com/office/drawing/2014/chart" uri="{C3380CC4-5D6E-409C-BE32-E72D297353CC}">
                <c16:uniqueId val="{000016D5-61F5-407B-959D-D24239F5BB85}"/>
              </c:ext>
            </c:extLst>
          </c:dPt>
          <c:dPt>
            <c:idx val="2922"/>
            <c:invertIfNegative val="1"/>
            <c:bubble3D val="0"/>
            <c:spPr>
              <a:solidFill>
                <a:srgbClr val="AEABAB"/>
              </a:solidFill>
            </c:spPr>
            <c:extLst>
              <c:ext xmlns:c16="http://schemas.microsoft.com/office/drawing/2014/chart" uri="{C3380CC4-5D6E-409C-BE32-E72D297353CC}">
                <c16:uniqueId val="{000016D7-61F5-407B-959D-D24239F5BB85}"/>
              </c:ext>
            </c:extLst>
          </c:dPt>
          <c:dPt>
            <c:idx val="2923"/>
            <c:invertIfNegative val="1"/>
            <c:bubble3D val="0"/>
            <c:spPr>
              <a:solidFill>
                <a:srgbClr val="AEABAB"/>
              </a:solidFill>
            </c:spPr>
            <c:extLst>
              <c:ext xmlns:c16="http://schemas.microsoft.com/office/drawing/2014/chart" uri="{C3380CC4-5D6E-409C-BE32-E72D297353CC}">
                <c16:uniqueId val="{000016D9-61F5-407B-959D-D24239F5BB85}"/>
              </c:ext>
            </c:extLst>
          </c:dPt>
          <c:dPt>
            <c:idx val="2924"/>
            <c:invertIfNegative val="1"/>
            <c:bubble3D val="0"/>
            <c:spPr>
              <a:solidFill>
                <a:srgbClr val="AEABAB"/>
              </a:solidFill>
            </c:spPr>
            <c:extLst>
              <c:ext xmlns:c16="http://schemas.microsoft.com/office/drawing/2014/chart" uri="{C3380CC4-5D6E-409C-BE32-E72D297353CC}">
                <c16:uniqueId val="{000016DB-61F5-407B-959D-D24239F5BB85}"/>
              </c:ext>
            </c:extLst>
          </c:dPt>
          <c:dPt>
            <c:idx val="2925"/>
            <c:invertIfNegative val="1"/>
            <c:bubble3D val="0"/>
            <c:spPr>
              <a:solidFill>
                <a:srgbClr val="AEABAB"/>
              </a:solidFill>
            </c:spPr>
            <c:extLst>
              <c:ext xmlns:c16="http://schemas.microsoft.com/office/drawing/2014/chart" uri="{C3380CC4-5D6E-409C-BE32-E72D297353CC}">
                <c16:uniqueId val="{000016DD-61F5-407B-959D-D24239F5BB85}"/>
              </c:ext>
            </c:extLst>
          </c:dPt>
          <c:dPt>
            <c:idx val="2926"/>
            <c:invertIfNegative val="1"/>
            <c:bubble3D val="0"/>
            <c:spPr>
              <a:solidFill>
                <a:srgbClr val="AEABAB"/>
              </a:solidFill>
            </c:spPr>
            <c:extLst>
              <c:ext xmlns:c16="http://schemas.microsoft.com/office/drawing/2014/chart" uri="{C3380CC4-5D6E-409C-BE32-E72D297353CC}">
                <c16:uniqueId val="{000016DF-61F5-407B-959D-D24239F5BB85}"/>
              </c:ext>
            </c:extLst>
          </c:dPt>
          <c:dPt>
            <c:idx val="2927"/>
            <c:invertIfNegative val="1"/>
            <c:bubble3D val="0"/>
            <c:spPr>
              <a:solidFill>
                <a:srgbClr val="AEABAB"/>
              </a:solidFill>
            </c:spPr>
            <c:extLst>
              <c:ext xmlns:c16="http://schemas.microsoft.com/office/drawing/2014/chart" uri="{C3380CC4-5D6E-409C-BE32-E72D297353CC}">
                <c16:uniqueId val="{000016E1-61F5-407B-959D-D24239F5BB85}"/>
              </c:ext>
            </c:extLst>
          </c:dPt>
          <c:dPt>
            <c:idx val="2928"/>
            <c:invertIfNegative val="1"/>
            <c:bubble3D val="0"/>
            <c:spPr>
              <a:solidFill>
                <a:srgbClr val="AEABAB"/>
              </a:solidFill>
            </c:spPr>
            <c:extLst>
              <c:ext xmlns:c16="http://schemas.microsoft.com/office/drawing/2014/chart" uri="{C3380CC4-5D6E-409C-BE32-E72D297353CC}">
                <c16:uniqueId val="{000016E3-61F5-407B-959D-D24239F5BB85}"/>
              </c:ext>
            </c:extLst>
          </c:dPt>
          <c:dPt>
            <c:idx val="2929"/>
            <c:invertIfNegative val="1"/>
            <c:bubble3D val="0"/>
            <c:spPr>
              <a:solidFill>
                <a:srgbClr val="AEABAB"/>
              </a:solidFill>
            </c:spPr>
            <c:extLst>
              <c:ext xmlns:c16="http://schemas.microsoft.com/office/drawing/2014/chart" uri="{C3380CC4-5D6E-409C-BE32-E72D297353CC}">
                <c16:uniqueId val="{000016E5-61F5-407B-959D-D24239F5BB85}"/>
              </c:ext>
            </c:extLst>
          </c:dPt>
          <c:dPt>
            <c:idx val="2930"/>
            <c:invertIfNegative val="1"/>
            <c:bubble3D val="0"/>
            <c:spPr>
              <a:solidFill>
                <a:srgbClr val="AEABAB"/>
              </a:solidFill>
            </c:spPr>
            <c:extLst>
              <c:ext xmlns:c16="http://schemas.microsoft.com/office/drawing/2014/chart" uri="{C3380CC4-5D6E-409C-BE32-E72D297353CC}">
                <c16:uniqueId val="{000016E7-61F5-407B-959D-D24239F5BB85}"/>
              </c:ext>
            </c:extLst>
          </c:dPt>
          <c:dPt>
            <c:idx val="2931"/>
            <c:invertIfNegative val="1"/>
            <c:bubble3D val="0"/>
            <c:spPr>
              <a:solidFill>
                <a:srgbClr val="AEABAB"/>
              </a:solidFill>
            </c:spPr>
            <c:extLst>
              <c:ext xmlns:c16="http://schemas.microsoft.com/office/drawing/2014/chart" uri="{C3380CC4-5D6E-409C-BE32-E72D297353CC}">
                <c16:uniqueId val="{000016E9-61F5-407B-959D-D24239F5BB85}"/>
              </c:ext>
            </c:extLst>
          </c:dPt>
          <c:dPt>
            <c:idx val="2932"/>
            <c:invertIfNegative val="1"/>
            <c:bubble3D val="0"/>
            <c:spPr>
              <a:solidFill>
                <a:srgbClr val="AEABAB"/>
              </a:solidFill>
            </c:spPr>
            <c:extLst>
              <c:ext xmlns:c16="http://schemas.microsoft.com/office/drawing/2014/chart" uri="{C3380CC4-5D6E-409C-BE32-E72D297353CC}">
                <c16:uniqueId val="{000016EB-61F5-407B-959D-D24239F5BB85}"/>
              </c:ext>
            </c:extLst>
          </c:dPt>
          <c:dPt>
            <c:idx val="2933"/>
            <c:invertIfNegative val="1"/>
            <c:bubble3D val="0"/>
            <c:spPr>
              <a:solidFill>
                <a:srgbClr val="AEABAB"/>
              </a:solidFill>
            </c:spPr>
            <c:extLst>
              <c:ext xmlns:c16="http://schemas.microsoft.com/office/drawing/2014/chart" uri="{C3380CC4-5D6E-409C-BE32-E72D297353CC}">
                <c16:uniqueId val="{000016ED-61F5-407B-959D-D24239F5BB85}"/>
              </c:ext>
            </c:extLst>
          </c:dPt>
          <c:dPt>
            <c:idx val="2934"/>
            <c:invertIfNegative val="1"/>
            <c:bubble3D val="0"/>
            <c:spPr>
              <a:solidFill>
                <a:srgbClr val="AEABAB"/>
              </a:solidFill>
            </c:spPr>
            <c:extLst>
              <c:ext xmlns:c16="http://schemas.microsoft.com/office/drawing/2014/chart" uri="{C3380CC4-5D6E-409C-BE32-E72D297353CC}">
                <c16:uniqueId val="{000016EF-61F5-407B-959D-D24239F5BB85}"/>
              </c:ext>
            </c:extLst>
          </c:dPt>
          <c:dPt>
            <c:idx val="2935"/>
            <c:invertIfNegative val="1"/>
            <c:bubble3D val="0"/>
            <c:spPr>
              <a:solidFill>
                <a:srgbClr val="AEABAB"/>
              </a:solidFill>
            </c:spPr>
            <c:extLst>
              <c:ext xmlns:c16="http://schemas.microsoft.com/office/drawing/2014/chart" uri="{C3380CC4-5D6E-409C-BE32-E72D297353CC}">
                <c16:uniqueId val="{000016F1-61F5-407B-959D-D24239F5BB85}"/>
              </c:ext>
            </c:extLst>
          </c:dPt>
          <c:dPt>
            <c:idx val="2936"/>
            <c:invertIfNegative val="1"/>
            <c:bubble3D val="0"/>
            <c:spPr>
              <a:solidFill>
                <a:srgbClr val="AEABAB"/>
              </a:solidFill>
            </c:spPr>
            <c:extLst>
              <c:ext xmlns:c16="http://schemas.microsoft.com/office/drawing/2014/chart" uri="{C3380CC4-5D6E-409C-BE32-E72D297353CC}">
                <c16:uniqueId val="{000016F3-61F5-407B-959D-D24239F5BB85}"/>
              </c:ext>
            </c:extLst>
          </c:dPt>
          <c:dPt>
            <c:idx val="2937"/>
            <c:invertIfNegative val="1"/>
            <c:bubble3D val="0"/>
            <c:spPr>
              <a:solidFill>
                <a:srgbClr val="AEABAB"/>
              </a:solidFill>
            </c:spPr>
            <c:extLst>
              <c:ext xmlns:c16="http://schemas.microsoft.com/office/drawing/2014/chart" uri="{C3380CC4-5D6E-409C-BE32-E72D297353CC}">
                <c16:uniqueId val="{000016F5-61F5-407B-959D-D24239F5BB85}"/>
              </c:ext>
            </c:extLst>
          </c:dPt>
          <c:dPt>
            <c:idx val="2938"/>
            <c:invertIfNegative val="1"/>
            <c:bubble3D val="0"/>
            <c:spPr>
              <a:solidFill>
                <a:srgbClr val="AEABAB"/>
              </a:solidFill>
            </c:spPr>
            <c:extLst>
              <c:ext xmlns:c16="http://schemas.microsoft.com/office/drawing/2014/chart" uri="{C3380CC4-5D6E-409C-BE32-E72D297353CC}">
                <c16:uniqueId val="{000016F7-61F5-407B-959D-D24239F5BB85}"/>
              </c:ext>
            </c:extLst>
          </c:dPt>
          <c:dPt>
            <c:idx val="2939"/>
            <c:invertIfNegative val="1"/>
            <c:bubble3D val="0"/>
            <c:spPr>
              <a:solidFill>
                <a:srgbClr val="AEABAB"/>
              </a:solidFill>
            </c:spPr>
            <c:extLst>
              <c:ext xmlns:c16="http://schemas.microsoft.com/office/drawing/2014/chart" uri="{C3380CC4-5D6E-409C-BE32-E72D297353CC}">
                <c16:uniqueId val="{000016F9-61F5-407B-959D-D24239F5BB85}"/>
              </c:ext>
            </c:extLst>
          </c:dPt>
          <c:dPt>
            <c:idx val="2940"/>
            <c:invertIfNegative val="1"/>
            <c:bubble3D val="0"/>
            <c:spPr>
              <a:solidFill>
                <a:srgbClr val="AEABAB"/>
              </a:solidFill>
            </c:spPr>
            <c:extLst>
              <c:ext xmlns:c16="http://schemas.microsoft.com/office/drawing/2014/chart" uri="{C3380CC4-5D6E-409C-BE32-E72D297353CC}">
                <c16:uniqueId val="{000016FB-61F5-407B-959D-D24239F5BB85}"/>
              </c:ext>
            </c:extLst>
          </c:dPt>
          <c:dPt>
            <c:idx val="2941"/>
            <c:invertIfNegative val="1"/>
            <c:bubble3D val="0"/>
            <c:spPr>
              <a:solidFill>
                <a:srgbClr val="AEABAB"/>
              </a:solidFill>
            </c:spPr>
            <c:extLst>
              <c:ext xmlns:c16="http://schemas.microsoft.com/office/drawing/2014/chart" uri="{C3380CC4-5D6E-409C-BE32-E72D297353CC}">
                <c16:uniqueId val="{000016FD-61F5-407B-959D-D24239F5BB85}"/>
              </c:ext>
            </c:extLst>
          </c:dPt>
          <c:dPt>
            <c:idx val="2942"/>
            <c:invertIfNegative val="1"/>
            <c:bubble3D val="0"/>
            <c:spPr>
              <a:solidFill>
                <a:srgbClr val="AEABAB"/>
              </a:solidFill>
            </c:spPr>
            <c:extLst>
              <c:ext xmlns:c16="http://schemas.microsoft.com/office/drawing/2014/chart" uri="{C3380CC4-5D6E-409C-BE32-E72D297353CC}">
                <c16:uniqueId val="{000016FF-61F5-407B-959D-D24239F5BB85}"/>
              </c:ext>
            </c:extLst>
          </c:dPt>
          <c:dPt>
            <c:idx val="2943"/>
            <c:invertIfNegative val="1"/>
            <c:bubble3D val="0"/>
            <c:spPr>
              <a:solidFill>
                <a:srgbClr val="AEABAB"/>
              </a:solidFill>
            </c:spPr>
            <c:extLst>
              <c:ext xmlns:c16="http://schemas.microsoft.com/office/drawing/2014/chart" uri="{C3380CC4-5D6E-409C-BE32-E72D297353CC}">
                <c16:uniqueId val="{00001701-61F5-407B-959D-D24239F5BB85}"/>
              </c:ext>
            </c:extLst>
          </c:dPt>
          <c:dPt>
            <c:idx val="2944"/>
            <c:invertIfNegative val="1"/>
            <c:bubble3D val="0"/>
            <c:spPr>
              <a:solidFill>
                <a:srgbClr val="AEABAB"/>
              </a:solidFill>
            </c:spPr>
            <c:extLst>
              <c:ext xmlns:c16="http://schemas.microsoft.com/office/drawing/2014/chart" uri="{C3380CC4-5D6E-409C-BE32-E72D297353CC}">
                <c16:uniqueId val="{00001703-61F5-407B-959D-D24239F5BB85}"/>
              </c:ext>
            </c:extLst>
          </c:dPt>
          <c:dPt>
            <c:idx val="2945"/>
            <c:invertIfNegative val="1"/>
            <c:bubble3D val="0"/>
            <c:spPr>
              <a:solidFill>
                <a:srgbClr val="AEABAB"/>
              </a:solidFill>
            </c:spPr>
            <c:extLst>
              <c:ext xmlns:c16="http://schemas.microsoft.com/office/drawing/2014/chart" uri="{C3380CC4-5D6E-409C-BE32-E72D297353CC}">
                <c16:uniqueId val="{00001705-61F5-407B-959D-D24239F5BB85}"/>
              </c:ext>
            </c:extLst>
          </c:dPt>
          <c:dPt>
            <c:idx val="2946"/>
            <c:invertIfNegative val="1"/>
            <c:bubble3D val="0"/>
            <c:spPr>
              <a:solidFill>
                <a:srgbClr val="AEABAB"/>
              </a:solidFill>
            </c:spPr>
            <c:extLst>
              <c:ext xmlns:c16="http://schemas.microsoft.com/office/drawing/2014/chart" uri="{C3380CC4-5D6E-409C-BE32-E72D297353CC}">
                <c16:uniqueId val="{00001707-61F5-407B-959D-D24239F5BB85}"/>
              </c:ext>
            </c:extLst>
          </c:dPt>
          <c:dPt>
            <c:idx val="2947"/>
            <c:invertIfNegative val="1"/>
            <c:bubble3D val="0"/>
            <c:spPr>
              <a:solidFill>
                <a:srgbClr val="AEABAB"/>
              </a:solidFill>
            </c:spPr>
            <c:extLst>
              <c:ext xmlns:c16="http://schemas.microsoft.com/office/drawing/2014/chart" uri="{C3380CC4-5D6E-409C-BE32-E72D297353CC}">
                <c16:uniqueId val="{00001709-61F5-407B-959D-D24239F5BB85}"/>
              </c:ext>
            </c:extLst>
          </c:dPt>
          <c:dPt>
            <c:idx val="2948"/>
            <c:invertIfNegative val="1"/>
            <c:bubble3D val="0"/>
            <c:spPr>
              <a:solidFill>
                <a:srgbClr val="AEABAB"/>
              </a:solidFill>
            </c:spPr>
            <c:extLst>
              <c:ext xmlns:c16="http://schemas.microsoft.com/office/drawing/2014/chart" uri="{C3380CC4-5D6E-409C-BE32-E72D297353CC}">
                <c16:uniqueId val="{0000170B-61F5-407B-959D-D24239F5BB85}"/>
              </c:ext>
            </c:extLst>
          </c:dPt>
          <c:dPt>
            <c:idx val="2949"/>
            <c:invertIfNegative val="1"/>
            <c:bubble3D val="0"/>
            <c:spPr>
              <a:solidFill>
                <a:srgbClr val="AEABAB"/>
              </a:solidFill>
            </c:spPr>
            <c:extLst>
              <c:ext xmlns:c16="http://schemas.microsoft.com/office/drawing/2014/chart" uri="{C3380CC4-5D6E-409C-BE32-E72D297353CC}">
                <c16:uniqueId val="{0000170D-61F5-407B-959D-D24239F5BB85}"/>
              </c:ext>
            </c:extLst>
          </c:dPt>
          <c:dPt>
            <c:idx val="2950"/>
            <c:invertIfNegative val="1"/>
            <c:bubble3D val="0"/>
            <c:spPr>
              <a:solidFill>
                <a:srgbClr val="AEABAB"/>
              </a:solidFill>
            </c:spPr>
            <c:extLst>
              <c:ext xmlns:c16="http://schemas.microsoft.com/office/drawing/2014/chart" uri="{C3380CC4-5D6E-409C-BE32-E72D297353CC}">
                <c16:uniqueId val="{0000170F-61F5-407B-959D-D24239F5BB85}"/>
              </c:ext>
            </c:extLst>
          </c:dPt>
          <c:dPt>
            <c:idx val="2951"/>
            <c:invertIfNegative val="1"/>
            <c:bubble3D val="0"/>
            <c:spPr>
              <a:solidFill>
                <a:srgbClr val="AEABAB"/>
              </a:solidFill>
            </c:spPr>
            <c:extLst>
              <c:ext xmlns:c16="http://schemas.microsoft.com/office/drawing/2014/chart" uri="{C3380CC4-5D6E-409C-BE32-E72D297353CC}">
                <c16:uniqueId val="{00001711-61F5-407B-959D-D24239F5BB85}"/>
              </c:ext>
            </c:extLst>
          </c:dPt>
          <c:dPt>
            <c:idx val="2952"/>
            <c:invertIfNegative val="1"/>
            <c:bubble3D val="0"/>
            <c:spPr>
              <a:solidFill>
                <a:srgbClr val="AEABAB"/>
              </a:solidFill>
            </c:spPr>
            <c:extLst>
              <c:ext xmlns:c16="http://schemas.microsoft.com/office/drawing/2014/chart" uri="{C3380CC4-5D6E-409C-BE32-E72D297353CC}">
                <c16:uniqueId val="{00001713-61F5-407B-959D-D24239F5BB85}"/>
              </c:ext>
            </c:extLst>
          </c:dPt>
          <c:dPt>
            <c:idx val="2953"/>
            <c:invertIfNegative val="1"/>
            <c:bubble3D val="0"/>
            <c:spPr>
              <a:solidFill>
                <a:srgbClr val="AEABAB"/>
              </a:solidFill>
            </c:spPr>
            <c:extLst>
              <c:ext xmlns:c16="http://schemas.microsoft.com/office/drawing/2014/chart" uri="{C3380CC4-5D6E-409C-BE32-E72D297353CC}">
                <c16:uniqueId val="{00001715-61F5-407B-959D-D24239F5BB85}"/>
              </c:ext>
            </c:extLst>
          </c:dPt>
          <c:dPt>
            <c:idx val="2954"/>
            <c:invertIfNegative val="1"/>
            <c:bubble3D val="0"/>
            <c:spPr>
              <a:solidFill>
                <a:srgbClr val="AEABAB"/>
              </a:solidFill>
            </c:spPr>
            <c:extLst>
              <c:ext xmlns:c16="http://schemas.microsoft.com/office/drawing/2014/chart" uri="{C3380CC4-5D6E-409C-BE32-E72D297353CC}">
                <c16:uniqueId val="{00001717-61F5-407B-959D-D24239F5BB85}"/>
              </c:ext>
            </c:extLst>
          </c:dPt>
          <c:dPt>
            <c:idx val="2955"/>
            <c:invertIfNegative val="1"/>
            <c:bubble3D val="0"/>
            <c:spPr>
              <a:solidFill>
                <a:srgbClr val="AEABAB"/>
              </a:solidFill>
            </c:spPr>
            <c:extLst>
              <c:ext xmlns:c16="http://schemas.microsoft.com/office/drawing/2014/chart" uri="{C3380CC4-5D6E-409C-BE32-E72D297353CC}">
                <c16:uniqueId val="{00001719-61F5-407B-959D-D24239F5BB85}"/>
              </c:ext>
            </c:extLst>
          </c:dPt>
          <c:dPt>
            <c:idx val="2956"/>
            <c:invertIfNegative val="1"/>
            <c:bubble3D val="0"/>
            <c:spPr>
              <a:solidFill>
                <a:srgbClr val="AEABAB"/>
              </a:solidFill>
            </c:spPr>
            <c:extLst>
              <c:ext xmlns:c16="http://schemas.microsoft.com/office/drawing/2014/chart" uri="{C3380CC4-5D6E-409C-BE32-E72D297353CC}">
                <c16:uniqueId val="{0000171B-61F5-407B-959D-D24239F5BB85}"/>
              </c:ext>
            </c:extLst>
          </c:dPt>
          <c:dPt>
            <c:idx val="2957"/>
            <c:invertIfNegative val="1"/>
            <c:bubble3D val="0"/>
            <c:spPr>
              <a:solidFill>
                <a:srgbClr val="AEABAB"/>
              </a:solidFill>
            </c:spPr>
            <c:extLst>
              <c:ext xmlns:c16="http://schemas.microsoft.com/office/drawing/2014/chart" uri="{C3380CC4-5D6E-409C-BE32-E72D297353CC}">
                <c16:uniqueId val="{0000171D-61F5-407B-959D-D24239F5BB85}"/>
              </c:ext>
            </c:extLst>
          </c:dPt>
          <c:dPt>
            <c:idx val="2958"/>
            <c:invertIfNegative val="1"/>
            <c:bubble3D val="0"/>
            <c:spPr>
              <a:solidFill>
                <a:srgbClr val="AEABAB"/>
              </a:solidFill>
            </c:spPr>
            <c:extLst>
              <c:ext xmlns:c16="http://schemas.microsoft.com/office/drawing/2014/chart" uri="{C3380CC4-5D6E-409C-BE32-E72D297353CC}">
                <c16:uniqueId val="{0000171F-61F5-407B-959D-D24239F5BB85}"/>
              </c:ext>
            </c:extLst>
          </c:dPt>
          <c:dPt>
            <c:idx val="2959"/>
            <c:invertIfNegative val="1"/>
            <c:bubble3D val="0"/>
            <c:spPr>
              <a:solidFill>
                <a:srgbClr val="AEABAB"/>
              </a:solidFill>
            </c:spPr>
            <c:extLst>
              <c:ext xmlns:c16="http://schemas.microsoft.com/office/drawing/2014/chart" uri="{C3380CC4-5D6E-409C-BE32-E72D297353CC}">
                <c16:uniqueId val="{00001721-61F5-407B-959D-D24239F5BB85}"/>
              </c:ext>
            </c:extLst>
          </c:dPt>
          <c:dPt>
            <c:idx val="2960"/>
            <c:invertIfNegative val="1"/>
            <c:bubble3D val="0"/>
            <c:spPr>
              <a:solidFill>
                <a:srgbClr val="AEABAB"/>
              </a:solidFill>
            </c:spPr>
            <c:extLst>
              <c:ext xmlns:c16="http://schemas.microsoft.com/office/drawing/2014/chart" uri="{C3380CC4-5D6E-409C-BE32-E72D297353CC}">
                <c16:uniqueId val="{00001723-61F5-407B-959D-D24239F5BB85}"/>
              </c:ext>
            </c:extLst>
          </c:dPt>
          <c:dPt>
            <c:idx val="2961"/>
            <c:invertIfNegative val="1"/>
            <c:bubble3D val="0"/>
            <c:spPr>
              <a:solidFill>
                <a:srgbClr val="AEABAB"/>
              </a:solidFill>
            </c:spPr>
            <c:extLst>
              <c:ext xmlns:c16="http://schemas.microsoft.com/office/drawing/2014/chart" uri="{C3380CC4-5D6E-409C-BE32-E72D297353CC}">
                <c16:uniqueId val="{00001725-61F5-407B-959D-D24239F5BB85}"/>
              </c:ext>
            </c:extLst>
          </c:dPt>
          <c:dPt>
            <c:idx val="2962"/>
            <c:invertIfNegative val="1"/>
            <c:bubble3D val="0"/>
            <c:spPr>
              <a:solidFill>
                <a:srgbClr val="AEABAB"/>
              </a:solidFill>
            </c:spPr>
            <c:extLst>
              <c:ext xmlns:c16="http://schemas.microsoft.com/office/drawing/2014/chart" uri="{C3380CC4-5D6E-409C-BE32-E72D297353CC}">
                <c16:uniqueId val="{00001727-61F5-407B-959D-D24239F5BB85}"/>
              </c:ext>
            </c:extLst>
          </c:dPt>
          <c:dPt>
            <c:idx val="2963"/>
            <c:invertIfNegative val="1"/>
            <c:bubble3D val="0"/>
            <c:spPr>
              <a:solidFill>
                <a:srgbClr val="AEABAB"/>
              </a:solidFill>
            </c:spPr>
            <c:extLst>
              <c:ext xmlns:c16="http://schemas.microsoft.com/office/drawing/2014/chart" uri="{C3380CC4-5D6E-409C-BE32-E72D297353CC}">
                <c16:uniqueId val="{00001729-61F5-407B-959D-D24239F5BB85}"/>
              </c:ext>
            </c:extLst>
          </c:dPt>
          <c:dPt>
            <c:idx val="2964"/>
            <c:invertIfNegative val="1"/>
            <c:bubble3D val="0"/>
            <c:spPr>
              <a:solidFill>
                <a:srgbClr val="AEABAB"/>
              </a:solidFill>
            </c:spPr>
            <c:extLst>
              <c:ext xmlns:c16="http://schemas.microsoft.com/office/drawing/2014/chart" uri="{C3380CC4-5D6E-409C-BE32-E72D297353CC}">
                <c16:uniqueId val="{0000172B-61F5-407B-959D-D24239F5BB85}"/>
              </c:ext>
            </c:extLst>
          </c:dPt>
          <c:dPt>
            <c:idx val="2965"/>
            <c:invertIfNegative val="1"/>
            <c:bubble3D val="0"/>
            <c:spPr>
              <a:solidFill>
                <a:srgbClr val="AEABAB"/>
              </a:solidFill>
            </c:spPr>
            <c:extLst>
              <c:ext xmlns:c16="http://schemas.microsoft.com/office/drawing/2014/chart" uri="{C3380CC4-5D6E-409C-BE32-E72D297353CC}">
                <c16:uniqueId val="{0000172D-61F5-407B-959D-D24239F5BB85}"/>
              </c:ext>
            </c:extLst>
          </c:dPt>
          <c:dPt>
            <c:idx val="2966"/>
            <c:invertIfNegative val="1"/>
            <c:bubble3D val="0"/>
            <c:spPr>
              <a:solidFill>
                <a:srgbClr val="AEABAB"/>
              </a:solidFill>
            </c:spPr>
            <c:extLst>
              <c:ext xmlns:c16="http://schemas.microsoft.com/office/drawing/2014/chart" uri="{C3380CC4-5D6E-409C-BE32-E72D297353CC}">
                <c16:uniqueId val="{0000172F-61F5-407B-959D-D24239F5BB85}"/>
              </c:ext>
            </c:extLst>
          </c:dPt>
          <c:dPt>
            <c:idx val="2967"/>
            <c:invertIfNegative val="1"/>
            <c:bubble3D val="0"/>
            <c:spPr>
              <a:solidFill>
                <a:srgbClr val="AEABAB"/>
              </a:solidFill>
            </c:spPr>
            <c:extLst>
              <c:ext xmlns:c16="http://schemas.microsoft.com/office/drawing/2014/chart" uri="{C3380CC4-5D6E-409C-BE32-E72D297353CC}">
                <c16:uniqueId val="{00001731-61F5-407B-959D-D24239F5BB85}"/>
              </c:ext>
            </c:extLst>
          </c:dPt>
          <c:dPt>
            <c:idx val="2968"/>
            <c:invertIfNegative val="1"/>
            <c:bubble3D val="0"/>
            <c:spPr>
              <a:solidFill>
                <a:srgbClr val="AEABAB"/>
              </a:solidFill>
            </c:spPr>
            <c:extLst>
              <c:ext xmlns:c16="http://schemas.microsoft.com/office/drawing/2014/chart" uri="{C3380CC4-5D6E-409C-BE32-E72D297353CC}">
                <c16:uniqueId val="{00001733-61F5-407B-959D-D24239F5BB85}"/>
              </c:ext>
            </c:extLst>
          </c:dPt>
          <c:dPt>
            <c:idx val="2969"/>
            <c:invertIfNegative val="1"/>
            <c:bubble3D val="0"/>
            <c:spPr>
              <a:solidFill>
                <a:srgbClr val="AEABAB"/>
              </a:solidFill>
            </c:spPr>
            <c:extLst>
              <c:ext xmlns:c16="http://schemas.microsoft.com/office/drawing/2014/chart" uri="{C3380CC4-5D6E-409C-BE32-E72D297353CC}">
                <c16:uniqueId val="{00001735-61F5-407B-959D-D24239F5BB85}"/>
              </c:ext>
            </c:extLst>
          </c:dPt>
          <c:dPt>
            <c:idx val="2970"/>
            <c:invertIfNegative val="1"/>
            <c:bubble3D val="0"/>
            <c:spPr>
              <a:solidFill>
                <a:srgbClr val="AEABAB"/>
              </a:solidFill>
            </c:spPr>
            <c:extLst>
              <c:ext xmlns:c16="http://schemas.microsoft.com/office/drawing/2014/chart" uri="{C3380CC4-5D6E-409C-BE32-E72D297353CC}">
                <c16:uniqueId val="{00001737-61F5-407B-959D-D24239F5BB85}"/>
              </c:ext>
            </c:extLst>
          </c:dPt>
          <c:dPt>
            <c:idx val="2971"/>
            <c:invertIfNegative val="1"/>
            <c:bubble3D val="0"/>
            <c:spPr>
              <a:solidFill>
                <a:srgbClr val="AEABAB"/>
              </a:solidFill>
            </c:spPr>
            <c:extLst>
              <c:ext xmlns:c16="http://schemas.microsoft.com/office/drawing/2014/chart" uri="{C3380CC4-5D6E-409C-BE32-E72D297353CC}">
                <c16:uniqueId val="{00001739-61F5-407B-959D-D24239F5BB85}"/>
              </c:ext>
            </c:extLst>
          </c:dPt>
          <c:dPt>
            <c:idx val="2972"/>
            <c:invertIfNegative val="1"/>
            <c:bubble3D val="0"/>
            <c:spPr>
              <a:solidFill>
                <a:srgbClr val="AEABAB"/>
              </a:solidFill>
            </c:spPr>
            <c:extLst>
              <c:ext xmlns:c16="http://schemas.microsoft.com/office/drawing/2014/chart" uri="{C3380CC4-5D6E-409C-BE32-E72D297353CC}">
                <c16:uniqueId val="{0000173B-61F5-407B-959D-D24239F5BB85}"/>
              </c:ext>
            </c:extLst>
          </c:dPt>
          <c:dPt>
            <c:idx val="2973"/>
            <c:invertIfNegative val="1"/>
            <c:bubble3D val="0"/>
            <c:spPr>
              <a:solidFill>
                <a:srgbClr val="AEABAB"/>
              </a:solidFill>
            </c:spPr>
            <c:extLst>
              <c:ext xmlns:c16="http://schemas.microsoft.com/office/drawing/2014/chart" uri="{C3380CC4-5D6E-409C-BE32-E72D297353CC}">
                <c16:uniqueId val="{0000173D-61F5-407B-959D-D24239F5BB85}"/>
              </c:ext>
            </c:extLst>
          </c:dPt>
          <c:dPt>
            <c:idx val="2974"/>
            <c:invertIfNegative val="1"/>
            <c:bubble3D val="0"/>
            <c:spPr>
              <a:solidFill>
                <a:srgbClr val="AEABAB"/>
              </a:solidFill>
            </c:spPr>
            <c:extLst>
              <c:ext xmlns:c16="http://schemas.microsoft.com/office/drawing/2014/chart" uri="{C3380CC4-5D6E-409C-BE32-E72D297353CC}">
                <c16:uniqueId val="{0000173F-61F5-407B-959D-D24239F5BB85}"/>
              </c:ext>
            </c:extLst>
          </c:dPt>
          <c:dPt>
            <c:idx val="2975"/>
            <c:invertIfNegative val="1"/>
            <c:bubble3D val="0"/>
            <c:spPr>
              <a:solidFill>
                <a:srgbClr val="AEABAB"/>
              </a:solidFill>
            </c:spPr>
            <c:extLst>
              <c:ext xmlns:c16="http://schemas.microsoft.com/office/drawing/2014/chart" uri="{C3380CC4-5D6E-409C-BE32-E72D297353CC}">
                <c16:uniqueId val="{00001741-61F5-407B-959D-D24239F5BB85}"/>
              </c:ext>
            </c:extLst>
          </c:dPt>
          <c:dPt>
            <c:idx val="2976"/>
            <c:invertIfNegative val="1"/>
            <c:bubble3D val="0"/>
            <c:spPr>
              <a:solidFill>
                <a:srgbClr val="AEABAB"/>
              </a:solidFill>
            </c:spPr>
            <c:extLst>
              <c:ext xmlns:c16="http://schemas.microsoft.com/office/drawing/2014/chart" uri="{C3380CC4-5D6E-409C-BE32-E72D297353CC}">
                <c16:uniqueId val="{00001743-61F5-407B-959D-D24239F5BB85}"/>
              </c:ext>
            </c:extLst>
          </c:dPt>
          <c:dPt>
            <c:idx val="2977"/>
            <c:invertIfNegative val="1"/>
            <c:bubble3D val="0"/>
            <c:spPr>
              <a:solidFill>
                <a:srgbClr val="AEABAB"/>
              </a:solidFill>
            </c:spPr>
            <c:extLst>
              <c:ext xmlns:c16="http://schemas.microsoft.com/office/drawing/2014/chart" uri="{C3380CC4-5D6E-409C-BE32-E72D297353CC}">
                <c16:uniqueId val="{00001745-61F5-407B-959D-D24239F5BB85}"/>
              </c:ext>
            </c:extLst>
          </c:dPt>
          <c:dPt>
            <c:idx val="2978"/>
            <c:invertIfNegative val="1"/>
            <c:bubble3D val="0"/>
            <c:spPr>
              <a:solidFill>
                <a:srgbClr val="AEABAB"/>
              </a:solidFill>
            </c:spPr>
            <c:extLst>
              <c:ext xmlns:c16="http://schemas.microsoft.com/office/drawing/2014/chart" uri="{C3380CC4-5D6E-409C-BE32-E72D297353CC}">
                <c16:uniqueId val="{00001747-61F5-407B-959D-D24239F5BB85}"/>
              </c:ext>
            </c:extLst>
          </c:dPt>
          <c:dPt>
            <c:idx val="2979"/>
            <c:invertIfNegative val="1"/>
            <c:bubble3D val="0"/>
            <c:spPr>
              <a:solidFill>
                <a:srgbClr val="AEABAB"/>
              </a:solidFill>
            </c:spPr>
            <c:extLst>
              <c:ext xmlns:c16="http://schemas.microsoft.com/office/drawing/2014/chart" uri="{C3380CC4-5D6E-409C-BE32-E72D297353CC}">
                <c16:uniqueId val="{00001749-61F5-407B-959D-D24239F5BB85}"/>
              </c:ext>
            </c:extLst>
          </c:dPt>
          <c:dPt>
            <c:idx val="2980"/>
            <c:invertIfNegative val="1"/>
            <c:bubble3D val="0"/>
            <c:spPr>
              <a:solidFill>
                <a:srgbClr val="AEABAB"/>
              </a:solidFill>
            </c:spPr>
            <c:extLst>
              <c:ext xmlns:c16="http://schemas.microsoft.com/office/drawing/2014/chart" uri="{C3380CC4-5D6E-409C-BE32-E72D297353CC}">
                <c16:uniqueId val="{0000174B-61F5-407B-959D-D24239F5BB85}"/>
              </c:ext>
            </c:extLst>
          </c:dPt>
          <c:dPt>
            <c:idx val="2981"/>
            <c:invertIfNegative val="1"/>
            <c:bubble3D val="0"/>
            <c:spPr>
              <a:solidFill>
                <a:srgbClr val="AEABAB"/>
              </a:solidFill>
            </c:spPr>
            <c:extLst>
              <c:ext xmlns:c16="http://schemas.microsoft.com/office/drawing/2014/chart" uri="{C3380CC4-5D6E-409C-BE32-E72D297353CC}">
                <c16:uniqueId val="{0000174D-61F5-407B-959D-D24239F5BB85}"/>
              </c:ext>
            </c:extLst>
          </c:dPt>
          <c:dPt>
            <c:idx val="2982"/>
            <c:invertIfNegative val="1"/>
            <c:bubble3D val="0"/>
            <c:spPr>
              <a:solidFill>
                <a:srgbClr val="AEABAB"/>
              </a:solidFill>
            </c:spPr>
            <c:extLst>
              <c:ext xmlns:c16="http://schemas.microsoft.com/office/drawing/2014/chart" uri="{C3380CC4-5D6E-409C-BE32-E72D297353CC}">
                <c16:uniqueId val="{0000174F-61F5-407B-959D-D24239F5BB85}"/>
              </c:ext>
            </c:extLst>
          </c:dPt>
          <c:dPt>
            <c:idx val="2983"/>
            <c:invertIfNegative val="1"/>
            <c:bubble3D val="0"/>
            <c:spPr>
              <a:solidFill>
                <a:srgbClr val="AEABAB"/>
              </a:solidFill>
            </c:spPr>
            <c:extLst>
              <c:ext xmlns:c16="http://schemas.microsoft.com/office/drawing/2014/chart" uri="{C3380CC4-5D6E-409C-BE32-E72D297353CC}">
                <c16:uniqueId val="{00001751-61F5-407B-959D-D24239F5BB85}"/>
              </c:ext>
            </c:extLst>
          </c:dPt>
          <c:dPt>
            <c:idx val="2984"/>
            <c:invertIfNegative val="1"/>
            <c:bubble3D val="0"/>
            <c:spPr>
              <a:solidFill>
                <a:srgbClr val="AEABAB"/>
              </a:solidFill>
            </c:spPr>
            <c:extLst>
              <c:ext xmlns:c16="http://schemas.microsoft.com/office/drawing/2014/chart" uri="{C3380CC4-5D6E-409C-BE32-E72D297353CC}">
                <c16:uniqueId val="{00001753-61F5-407B-959D-D24239F5BB85}"/>
              </c:ext>
            </c:extLst>
          </c:dPt>
          <c:dPt>
            <c:idx val="2985"/>
            <c:invertIfNegative val="1"/>
            <c:bubble3D val="0"/>
            <c:spPr>
              <a:solidFill>
                <a:srgbClr val="AEABAB"/>
              </a:solidFill>
            </c:spPr>
            <c:extLst>
              <c:ext xmlns:c16="http://schemas.microsoft.com/office/drawing/2014/chart" uri="{C3380CC4-5D6E-409C-BE32-E72D297353CC}">
                <c16:uniqueId val="{00001755-61F5-407B-959D-D24239F5BB85}"/>
              </c:ext>
            </c:extLst>
          </c:dPt>
          <c:dPt>
            <c:idx val="2986"/>
            <c:invertIfNegative val="1"/>
            <c:bubble3D val="0"/>
            <c:spPr>
              <a:solidFill>
                <a:srgbClr val="AEABAB"/>
              </a:solidFill>
            </c:spPr>
            <c:extLst>
              <c:ext xmlns:c16="http://schemas.microsoft.com/office/drawing/2014/chart" uri="{C3380CC4-5D6E-409C-BE32-E72D297353CC}">
                <c16:uniqueId val="{00001757-61F5-407B-959D-D24239F5BB85}"/>
              </c:ext>
            </c:extLst>
          </c:dPt>
          <c:dPt>
            <c:idx val="2987"/>
            <c:invertIfNegative val="1"/>
            <c:bubble3D val="0"/>
            <c:spPr>
              <a:solidFill>
                <a:srgbClr val="AEABAB"/>
              </a:solidFill>
            </c:spPr>
            <c:extLst>
              <c:ext xmlns:c16="http://schemas.microsoft.com/office/drawing/2014/chart" uri="{C3380CC4-5D6E-409C-BE32-E72D297353CC}">
                <c16:uniqueId val="{00001759-61F5-407B-959D-D24239F5BB85}"/>
              </c:ext>
            </c:extLst>
          </c:dPt>
          <c:dPt>
            <c:idx val="2988"/>
            <c:invertIfNegative val="1"/>
            <c:bubble3D val="0"/>
            <c:spPr>
              <a:solidFill>
                <a:srgbClr val="AEABAB"/>
              </a:solidFill>
            </c:spPr>
            <c:extLst>
              <c:ext xmlns:c16="http://schemas.microsoft.com/office/drawing/2014/chart" uri="{C3380CC4-5D6E-409C-BE32-E72D297353CC}">
                <c16:uniqueId val="{0000175B-61F5-407B-959D-D24239F5BB85}"/>
              </c:ext>
            </c:extLst>
          </c:dPt>
          <c:dPt>
            <c:idx val="2989"/>
            <c:invertIfNegative val="1"/>
            <c:bubble3D val="0"/>
            <c:spPr>
              <a:solidFill>
                <a:srgbClr val="AEABAB"/>
              </a:solidFill>
            </c:spPr>
            <c:extLst>
              <c:ext xmlns:c16="http://schemas.microsoft.com/office/drawing/2014/chart" uri="{C3380CC4-5D6E-409C-BE32-E72D297353CC}">
                <c16:uniqueId val="{0000175D-61F5-407B-959D-D24239F5BB85}"/>
              </c:ext>
            </c:extLst>
          </c:dPt>
          <c:dPt>
            <c:idx val="2990"/>
            <c:invertIfNegative val="1"/>
            <c:bubble3D val="0"/>
            <c:spPr>
              <a:solidFill>
                <a:srgbClr val="AEABAB"/>
              </a:solidFill>
            </c:spPr>
            <c:extLst>
              <c:ext xmlns:c16="http://schemas.microsoft.com/office/drawing/2014/chart" uri="{C3380CC4-5D6E-409C-BE32-E72D297353CC}">
                <c16:uniqueId val="{0000175F-61F5-407B-959D-D24239F5BB85}"/>
              </c:ext>
            </c:extLst>
          </c:dPt>
          <c:dPt>
            <c:idx val="2991"/>
            <c:invertIfNegative val="1"/>
            <c:bubble3D val="0"/>
            <c:spPr>
              <a:solidFill>
                <a:srgbClr val="AEABAB"/>
              </a:solidFill>
            </c:spPr>
            <c:extLst>
              <c:ext xmlns:c16="http://schemas.microsoft.com/office/drawing/2014/chart" uri="{C3380CC4-5D6E-409C-BE32-E72D297353CC}">
                <c16:uniqueId val="{00001761-61F5-407B-959D-D24239F5BB85}"/>
              </c:ext>
            </c:extLst>
          </c:dPt>
          <c:dPt>
            <c:idx val="2992"/>
            <c:invertIfNegative val="1"/>
            <c:bubble3D val="0"/>
            <c:spPr>
              <a:solidFill>
                <a:srgbClr val="AEABAB"/>
              </a:solidFill>
            </c:spPr>
            <c:extLst>
              <c:ext xmlns:c16="http://schemas.microsoft.com/office/drawing/2014/chart" uri="{C3380CC4-5D6E-409C-BE32-E72D297353CC}">
                <c16:uniqueId val="{00001763-61F5-407B-959D-D24239F5BB85}"/>
              </c:ext>
            </c:extLst>
          </c:dPt>
          <c:dPt>
            <c:idx val="2993"/>
            <c:invertIfNegative val="1"/>
            <c:bubble3D val="0"/>
            <c:spPr>
              <a:solidFill>
                <a:srgbClr val="AEABAB"/>
              </a:solidFill>
            </c:spPr>
            <c:extLst>
              <c:ext xmlns:c16="http://schemas.microsoft.com/office/drawing/2014/chart" uri="{C3380CC4-5D6E-409C-BE32-E72D297353CC}">
                <c16:uniqueId val="{00001765-61F5-407B-959D-D24239F5BB85}"/>
              </c:ext>
            </c:extLst>
          </c:dPt>
          <c:dPt>
            <c:idx val="2994"/>
            <c:invertIfNegative val="1"/>
            <c:bubble3D val="0"/>
            <c:spPr>
              <a:solidFill>
                <a:srgbClr val="AEABAB"/>
              </a:solidFill>
            </c:spPr>
            <c:extLst>
              <c:ext xmlns:c16="http://schemas.microsoft.com/office/drawing/2014/chart" uri="{C3380CC4-5D6E-409C-BE32-E72D297353CC}">
                <c16:uniqueId val="{00001767-61F5-407B-959D-D24239F5BB85}"/>
              </c:ext>
            </c:extLst>
          </c:dPt>
          <c:dPt>
            <c:idx val="2995"/>
            <c:invertIfNegative val="1"/>
            <c:bubble3D val="0"/>
            <c:spPr>
              <a:solidFill>
                <a:srgbClr val="AEABAB"/>
              </a:solidFill>
            </c:spPr>
            <c:extLst>
              <c:ext xmlns:c16="http://schemas.microsoft.com/office/drawing/2014/chart" uri="{C3380CC4-5D6E-409C-BE32-E72D297353CC}">
                <c16:uniqueId val="{00001769-61F5-407B-959D-D24239F5BB85}"/>
              </c:ext>
            </c:extLst>
          </c:dPt>
          <c:dPt>
            <c:idx val="2996"/>
            <c:invertIfNegative val="1"/>
            <c:bubble3D val="0"/>
            <c:spPr>
              <a:solidFill>
                <a:srgbClr val="AEABAB"/>
              </a:solidFill>
            </c:spPr>
            <c:extLst>
              <c:ext xmlns:c16="http://schemas.microsoft.com/office/drawing/2014/chart" uri="{C3380CC4-5D6E-409C-BE32-E72D297353CC}">
                <c16:uniqueId val="{0000176B-61F5-407B-959D-D24239F5BB85}"/>
              </c:ext>
            </c:extLst>
          </c:dPt>
          <c:dPt>
            <c:idx val="2997"/>
            <c:invertIfNegative val="1"/>
            <c:bubble3D val="0"/>
            <c:spPr>
              <a:solidFill>
                <a:srgbClr val="AEABAB"/>
              </a:solidFill>
            </c:spPr>
            <c:extLst>
              <c:ext xmlns:c16="http://schemas.microsoft.com/office/drawing/2014/chart" uri="{C3380CC4-5D6E-409C-BE32-E72D297353CC}">
                <c16:uniqueId val="{0000176D-61F5-407B-959D-D24239F5BB85}"/>
              </c:ext>
            </c:extLst>
          </c:dPt>
          <c:dPt>
            <c:idx val="2998"/>
            <c:invertIfNegative val="1"/>
            <c:bubble3D val="0"/>
            <c:spPr>
              <a:solidFill>
                <a:srgbClr val="AEABAB"/>
              </a:solidFill>
            </c:spPr>
            <c:extLst>
              <c:ext xmlns:c16="http://schemas.microsoft.com/office/drawing/2014/chart" uri="{C3380CC4-5D6E-409C-BE32-E72D297353CC}">
                <c16:uniqueId val="{0000176F-61F5-407B-959D-D24239F5BB85}"/>
              </c:ext>
            </c:extLst>
          </c:dPt>
          <c:dPt>
            <c:idx val="2999"/>
            <c:invertIfNegative val="1"/>
            <c:bubble3D val="0"/>
            <c:spPr>
              <a:solidFill>
                <a:srgbClr val="AEABAB"/>
              </a:solidFill>
            </c:spPr>
            <c:extLst>
              <c:ext xmlns:c16="http://schemas.microsoft.com/office/drawing/2014/chart" uri="{C3380CC4-5D6E-409C-BE32-E72D297353CC}">
                <c16:uniqueId val="{00001771-61F5-407B-959D-D24239F5BB85}"/>
              </c:ext>
            </c:extLst>
          </c:dPt>
          <c:dPt>
            <c:idx val="3000"/>
            <c:invertIfNegative val="1"/>
            <c:bubble3D val="0"/>
            <c:spPr>
              <a:solidFill>
                <a:srgbClr val="AEABAB"/>
              </a:solidFill>
            </c:spPr>
            <c:extLst>
              <c:ext xmlns:c16="http://schemas.microsoft.com/office/drawing/2014/chart" uri="{C3380CC4-5D6E-409C-BE32-E72D297353CC}">
                <c16:uniqueId val="{00001773-61F5-407B-959D-D24239F5BB85}"/>
              </c:ext>
            </c:extLst>
          </c:dPt>
          <c:dPt>
            <c:idx val="3001"/>
            <c:invertIfNegative val="1"/>
            <c:bubble3D val="0"/>
            <c:spPr>
              <a:solidFill>
                <a:srgbClr val="AEABAB"/>
              </a:solidFill>
            </c:spPr>
            <c:extLst>
              <c:ext xmlns:c16="http://schemas.microsoft.com/office/drawing/2014/chart" uri="{C3380CC4-5D6E-409C-BE32-E72D297353CC}">
                <c16:uniqueId val="{00001775-61F5-407B-959D-D24239F5BB85}"/>
              </c:ext>
            </c:extLst>
          </c:dPt>
          <c:dPt>
            <c:idx val="3002"/>
            <c:invertIfNegative val="1"/>
            <c:bubble3D val="0"/>
            <c:spPr>
              <a:solidFill>
                <a:srgbClr val="AEABAB"/>
              </a:solidFill>
            </c:spPr>
            <c:extLst>
              <c:ext xmlns:c16="http://schemas.microsoft.com/office/drawing/2014/chart" uri="{C3380CC4-5D6E-409C-BE32-E72D297353CC}">
                <c16:uniqueId val="{00001777-61F5-407B-959D-D24239F5BB85}"/>
              </c:ext>
            </c:extLst>
          </c:dPt>
          <c:dPt>
            <c:idx val="3003"/>
            <c:invertIfNegative val="1"/>
            <c:bubble3D val="0"/>
            <c:spPr>
              <a:solidFill>
                <a:srgbClr val="AEABAB"/>
              </a:solidFill>
            </c:spPr>
            <c:extLst>
              <c:ext xmlns:c16="http://schemas.microsoft.com/office/drawing/2014/chart" uri="{C3380CC4-5D6E-409C-BE32-E72D297353CC}">
                <c16:uniqueId val="{00001779-61F5-407B-959D-D24239F5BB85}"/>
              </c:ext>
            </c:extLst>
          </c:dPt>
          <c:dPt>
            <c:idx val="3004"/>
            <c:invertIfNegative val="1"/>
            <c:bubble3D val="0"/>
            <c:spPr>
              <a:solidFill>
                <a:srgbClr val="AEABAB"/>
              </a:solidFill>
            </c:spPr>
            <c:extLst>
              <c:ext xmlns:c16="http://schemas.microsoft.com/office/drawing/2014/chart" uri="{C3380CC4-5D6E-409C-BE32-E72D297353CC}">
                <c16:uniqueId val="{0000177B-61F5-407B-959D-D24239F5BB85}"/>
              </c:ext>
            </c:extLst>
          </c:dPt>
          <c:dPt>
            <c:idx val="3005"/>
            <c:invertIfNegative val="1"/>
            <c:bubble3D val="0"/>
            <c:spPr>
              <a:solidFill>
                <a:srgbClr val="AEABAB"/>
              </a:solidFill>
            </c:spPr>
            <c:extLst>
              <c:ext xmlns:c16="http://schemas.microsoft.com/office/drawing/2014/chart" uri="{C3380CC4-5D6E-409C-BE32-E72D297353CC}">
                <c16:uniqueId val="{0000177D-61F5-407B-959D-D24239F5BB85}"/>
              </c:ext>
            </c:extLst>
          </c:dPt>
          <c:dPt>
            <c:idx val="3006"/>
            <c:invertIfNegative val="1"/>
            <c:bubble3D val="0"/>
            <c:spPr>
              <a:solidFill>
                <a:srgbClr val="AEABAB"/>
              </a:solidFill>
            </c:spPr>
            <c:extLst>
              <c:ext xmlns:c16="http://schemas.microsoft.com/office/drawing/2014/chart" uri="{C3380CC4-5D6E-409C-BE32-E72D297353CC}">
                <c16:uniqueId val="{0000177F-61F5-407B-959D-D24239F5BB85}"/>
              </c:ext>
            </c:extLst>
          </c:dPt>
          <c:dPt>
            <c:idx val="3007"/>
            <c:invertIfNegative val="1"/>
            <c:bubble3D val="0"/>
            <c:spPr>
              <a:solidFill>
                <a:srgbClr val="AEABAB"/>
              </a:solidFill>
            </c:spPr>
            <c:extLst>
              <c:ext xmlns:c16="http://schemas.microsoft.com/office/drawing/2014/chart" uri="{C3380CC4-5D6E-409C-BE32-E72D297353CC}">
                <c16:uniqueId val="{00001781-61F5-407B-959D-D24239F5BB85}"/>
              </c:ext>
            </c:extLst>
          </c:dPt>
          <c:dPt>
            <c:idx val="3008"/>
            <c:invertIfNegative val="1"/>
            <c:bubble3D val="0"/>
            <c:spPr>
              <a:solidFill>
                <a:srgbClr val="AEABAB"/>
              </a:solidFill>
            </c:spPr>
            <c:extLst>
              <c:ext xmlns:c16="http://schemas.microsoft.com/office/drawing/2014/chart" uri="{C3380CC4-5D6E-409C-BE32-E72D297353CC}">
                <c16:uniqueId val="{00001783-61F5-407B-959D-D24239F5BB85}"/>
              </c:ext>
            </c:extLst>
          </c:dPt>
          <c:dPt>
            <c:idx val="3009"/>
            <c:invertIfNegative val="1"/>
            <c:bubble3D val="0"/>
            <c:spPr>
              <a:solidFill>
                <a:srgbClr val="AEABAB"/>
              </a:solidFill>
            </c:spPr>
            <c:extLst>
              <c:ext xmlns:c16="http://schemas.microsoft.com/office/drawing/2014/chart" uri="{C3380CC4-5D6E-409C-BE32-E72D297353CC}">
                <c16:uniqueId val="{00001785-61F5-407B-959D-D24239F5BB85}"/>
              </c:ext>
            </c:extLst>
          </c:dPt>
          <c:dPt>
            <c:idx val="3010"/>
            <c:invertIfNegative val="1"/>
            <c:bubble3D val="0"/>
            <c:spPr>
              <a:solidFill>
                <a:srgbClr val="AEABAB"/>
              </a:solidFill>
            </c:spPr>
            <c:extLst>
              <c:ext xmlns:c16="http://schemas.microsoft.com/office/drawing/2014/chart" uri="{C3380CC4-5D6E-409C-BE32-E72D297353CC}">
                <c16:uniqueId val="{00001787-61F5-407B-959D-D24239F5BB85}"/>
              </c:ext>
            </c:extLst>
          </c:dPt>
          <c:dPt>
            <c:idx val="3011"/>
            <c:invertIfNegative val="1"/>
            <c:bubble3D val="0"/>
            <c:spPr>
              <a:solidFill>
                <a:srgbClr val="AEABAB"/>
              </a:solidFill>
            </c:spPr>
            <c:extLst>
              <c:ext xmlns:c16="http://schemas.microsoft.com/office/drawing/2014/chart" uri="{C3380CC4-5D6E-409C-BE32-E72D297353CC}">
                <c16:uniqueId val="{00001789-61F5-407B-959D-D24239F5BB85}"/>
              </c:ext>
            </c:extLst>
          </c:dPt>
          <c:dPt>
            <c:idx val="3012"/>
            <c:invertIfNegative val="1"/>
            <c:bubble3D val="0"/>
            <c:spPr>
              <a:solidFill>
                <a:srgbClr val="AEABAB"/>
              </a:solidFill>
            </c:spPr>
            <c:extLst>
              <c:ext xmlns:c16="http://schemas.microsoft.com/office/drawing/2014/chart" uri="{C3380CC4-5D6E-409C-BE32-E72D297353CC}">
                <c16:uniqueId val="{0000178B-61F5-407B-959D-D24239F5BB85}"/>
              </c:ext>
            </c:extLst>
          </c:dPt>
          <c:dPt>
            <c:idx val="3013"/>
            <c:invertIfNegative val="1"/>
            <c:bubble3D val="0"/>
            <c:spPr>
              <a:solidFill>
                <a:srgbClr val="AEABAB"/>
              </a:solidFill>
            </c:spPr>
            <c:extLst>
              <c:ext xmlns:c16="http://schemas.microsoft.com/office/drawing/2014/chart" uri="{C3380CC4-5D6E-409C-BE32-E72D297353CC}">
                <c16:uniqueId val="{0000178D-61F5-407B-959D-D24239F5BB85}"/>
              </c:ext>
            </c:extLst>
          </c:dPt>
          <c:dPt>
            <c:idx val="3014"/>
            <c:invertIfNegative val="1"/>
            <c:bubble3D val="0"/>
            <c:spPr>
              <a:solidFill>
                <a:srgbClr val="AEABAB"/>
              </a:solidFill>
            </c:spPr>
            <c:extLst>
              <c:ext xmlns:c16="http://schemas.microsoft.com/office/drawing/2014/chart" uri="{C3380CC4-5D6E-409C-BE32-E72D297353CC}">
                <c16:uniqueId val="{0000178F-61F5-407B-959D-D24239F5BB85}"/>
              </c:ext>
            </c:extLst>
          </c:dPt>
          <c:dPt>
            <c:idx val="3015"/>
            <c:invertIfNegative val="1"/>
            <c:bubble3D val="0"/>
            <c:spPr>
              <a:solidFill>
                <a:srgbClr val="AEABAB"/>
              </a:solidFill>
            </c:spPr>
            <c:extLst>
              <c:ext xmlns:c16="http://schemas.microsoft.com/office/drawing/2014/chart" uri="{C3380CC4-5D6E-409C-BE32-E72D297353CC}">
                <c16:uniqueId val="{00001791-61F5-407B-959D-D24239F5BB85}"/>
              </c:ext>
            </c:extLst>
          </c:dPt>
          <c:dPt>
            <c:idx val="3016"/>
            <c:invertIfNegative val="1"/>
            <c:bubble3D val="0"/>
            <c:spPr>
              <a:solidFill>
                <a:srgbClr val="AEABAB"/>
              </a:solidFill>
            </c:spPr>
            <c:extLst>
              <c:ext xmlns:c16="http://schemas.microsoft.com/office/drawing/2014/chart" uri="{C3380CC4-5D6E-409C-BE32-E72D297353CC}">
                <c16:uniqueId val="{00001793-61F5-407B-959D-D24239F5BB85}"/>
              </c:ext>
            </c:extLst>
          </c:dPt>
          <c:dPt>
            <c:idx val="3017"/>
            <c:invertIfNegative val="1"/>
            <c:bubble3D val="0"/>
            <c:spPr>
              <a:solidFill>
                <a:srgbClr val="AEABAB"/>
              </a:solidFill>
            </c:spPr>
            <c:extLst>
              <c:ext xmlns:c16="http://schemas.microsoft.com/office/drawing/2014/chart" uri="{C3380CC4-5D6E-409C-BE32-E72D297353CC}">
                <c16:uniqueId val="{00001795-61F5-407B-959D-D24239F5BB85}"/>
              </c:ext>
            </c:extLst>
          </c:dPt>
          <c:dPt>
            <c:idx val="3018"/>
            <c:invertIfNegative val="1"/>
            <c:bubble3D val="0"/>
            <c:spPr>
              <a:solidFill>
                <a:srgbClr val="AEABAB"/>
              </a:solidFill>
            </c:spPr>
            <c:extLst>
              <c:ext xmlns:c16="http://schemas.microsoft.com/office/drawing/2014/chart" uri="{C3380CC4-5D6E-409C-BE32-E72D297353CC}">
                <c16:uniqueId val="{00001797-61F5-407B-959D-D24239F5BB85}"/>
              </c:ext>
            </c:extLst>
          </c:dPt>
          <c:dPt>
            <c:idx val="3019"/>
            <c:invertIfNegative val="1"/>
            <c:bubble3D val="0"/>
            <c:spPr>
              <a:solidFill>
                <a:srgbClr val="AEABAB"/>
              </a:solidFill>
            </c:spPr>
            <c:extLst>
              <c:ext xmlns:c16="http://schemas.microsoft.com/office/drawing/2014/chart" uri="{C3380CC4-5D6E-409C-BE32-E72D297353CC}">
                <c16:uniqueId val="{00001799-61F5-407B-959D-D24239F5BB85}"/>
              </c:ext>
            </c:extLst>
          </c:dPt>
          <c:dPt>
            <c:idx val="3020"/>
            <c:invertIfNegative val="1"/>
            <c:bubble3D val="0"/>
            <c:spPr>
              <a:solidFill>
                <a:srgbClr val="AEABAB"/>
              </a:solidFill>
            </c:spPr>
            <c:extLst>
              <c:ext xmlns:c16="http://schemas.microsoft.com/office/drawing/2014/chart" uri="{C3380CC4-5D6E-409C-BE32-E72D297353CC}">
                <c16:uniqueId val="{0000179B-61F5-407B-959D-D24239F5BB85}"/>
              </c:ext>
            </c:extLst>
          </c:dPt>
          <c:dPt>
            <c:idx val="3021"/>
            <c:invertIfNegative val="1"/>
            <c:bubble3D val="0"/>
            <c:spPr>
              <a:solidFill>
                <a:srgbClr val="AEABAB"/>
              </a:solidFill>
            </c:spPr>
            <c:extLst>
              <c:ext xmlns:c16="http://schemas.microsoft.com/office/drawing/2014/chart" uri="{C3380CC4-5D6E-409C-BE32-E72D297353CC}">
                <c16:uniqueId val="{0000179D-61F5-407B-959D-D24239F5BB85}"/>
              </c:ext>
            </c:extLst>
          </c:dPt>
          <c:dPt>
            <c:idx val="3022"/>
            <c:invertIfNegative val="1"/>
            <c:bubble3D val="0"/>
            <c:spPr>
              <a:solidFill>
                <a:srgbClr val="AEABAB"/>
              </a:solidFill>
            </c:spPr>
            <c:extLst>
              <c:ext xmlns:c16="http://schemas.microsoft.com/office/drawing/2014/chart" uri="{C3380CC4-5D6E-409C-BE32-E72D297353CC}">
                <c16:uniqueId val="{0000179F-61F5-407B-959D-D24239F5BB85}"/>
              </c:ext>
            </c:extLst>
          </c:dPt>
          <c:dPt>
            <c:idx val="3023"/>
            <c:invertIfNegative val="1"/>
            <c:bubble3D val="0"/>
            <c:spPr>
              <a:solidFill>
                <a:srgbClr val="AEABAB"/>
              </a:solidFill>
            </c:spPr>
            <c:extLst>
              <c:ext xmlns:c16="http://schemas.microsoft.com/office/drawing/2014/chart" uri="{C3380CC4-5D6E-409C-BE32-E72D297353CC}">
                <c16:uniqueId val="{000017A1-61F5-407B-959D-D24239F5BB85}"/>
              </c:ext>
            </c:extLst>
          </c:dPt>
          <c:dPt>
            <c:idx val="3024"/>
            <c:invertIfNegative val="1"/>
            <c:bubble3D val="0"/>
            <c:spPr>
              <a:solidFill>
                <a:srgbClr val="AEABAB"/>
              </a:solidFill>
            </c:spPr>
            <c:extLst>
              <c:ext xmlns:c16="http://schemas.microsoft.com/office/drawing/2014/chart" uri="{C3380CC4-5D6E-409C-BE32-E72D297353CC}">
                <c16:uniqueId val="{000017A3-61F5-407B-959D-D24239F5BB85}"/>
              </c:ext>
            </c:extLst>
          </c:dPt>
          <c:dPt>
            <c:idx val="3025"/>
            <c:invertIfNegative val="1"/>
            <c:bubble3D val="0"/>
            <c:spPr>
              <a:solidFill>
                <a:srgbClr val="AEABAB"/>
              </a:solidFill>
            </c:spPr>
            <c:extLst>
              <c:ext xmlns:c16="http://schemas.microsoft.com/office/drawing/2014/chart" uri="{C3380CC4-5D6E-409C-BE32-E72D297353CC}">
                <c16:uniqueId val="{000017A5-61F5-407B-959D-D24239F5BB85}"/>
              </c:ext>
            </c:extLst>
          </c:dPt>
          <c:dPt>
            <c:idx val="3026"/>
            <c:invertIfNegative val="1"/>
            <c:bubble3D val="0"/>
            <c:spPr>
              <a:solidFill>
                <a:srgbClr val="AEABAB"/>
              </a:solidFill>
            </c:spPr>
            <c:extLst>
              <c:ext xmlns:c16="http://schemas.microsoft.com/office/drawing/2014/chart" uri="{C3380CC4-5D6E-409C-BE32-E72D297353CC}">
                <c16:uniqueId val="{000017A7-61F5-407B-959D-D24239F5BB85}"/>
              </c:ext>
            </c:extLst>
          </c:dPt>
          <c:dPt>
            <c:idx val="3027"/>
            <c:invertIfNegative val="1"/>
            <c:bubble3D val="0"/>
            <c:spPr>
              <a:solidFill>
                <a:srgbClr val="AEABAB"/>
              </a:solidFill>
            </c:spPr>
            <c:extLst>
              <c:ext xmlns:c16="http://schemas.microsoft.com/office/drawing/2014/chart" uri="{C3380CC4-5D6E-409C-BE32-E72D297353CC}">
                <c16:uniqueId val="{000017A9-61F5-407B-959D-D24239F5BB85}"/>
              </c:ext>
            </c:extLst>
          </c:dPt>
          <c:dPt>
            <c:idx val="3028"/>
            <c:invertIfNegative val="1"/>
            <c:bubble3D val="0"/>
            <c:spPr>
              <a:solidFill>
                <a:srgbClr val="AEABAB"/>
              </a:solidFill>
            </c:spPr>
            <c:extLst>
              <c:ext xmlns:c16="http://schemas.microsoft.com/office/drawing/2014/chart" uri="{C3380CC4-5D6E-409C-BE32-E72D297353CC}">
                <c16:uniqueId val="{000017AB-61F5-407B-959D-D24239F5BB85}"/>
              </c:ext>
            </c:extLst>
          </c:dPt>
          <c:dPt>
            <c:idx val="3029"/>
            <c:invertIfNegative val="1"/>
            <c:bubble3D val="0"/>
            <c:spPr>
              <a:solidFill>
                <a:srgbClr val="AEABAB"/>
              </a:solidFill>
            </c:spPr>
            <c:extLst>
              <c:ext xmlns:c16="http://schemas.microsoft.com/office/drawing/2014/chart" uri="{C3380CC4-5D6E-409C-BE32-E72D297353CC}">
                <c16:uniqueId val="{000017AD-61F5-407B-959D-D24239F5BB85}"/>
              </c:ext>
            </c:extLst>
          </c:dPt>
          <c:dPt>
            <c:idx val="3030"/>
            <c:invertIfNegative val="1"/>
            <c:bubble3D val="0"/>
            <c:spPr>
              <a:solidFill>
                <a:srgbClr val="AEABAB"/>
              </a:solidFill>
            </c:spPr>
            <c:extLst>
              <c:ext xmlns:c16="http://schemas.microsoft.com/office/drawing/2014/chart" uri="{C3380CC4-5D6E-409C-BE32-E72D297353CC}">
                <c16:uniqueId val="{000017AF-61F5-407B-959D-D24239F5BB85}"/>
              </c:ext>
            </c:extLst>
          </c:dPt>
          <c:dPt>
            <c:idx val="3031"/>
            <c:invertIfNegative val="1"/>
            <c:bubble3D val="0"/>
            <c:spPr>
              <a:solidFill>
                <a:srgbClr val="AEABAB"/>
              </a:solidFill>
            </c:spPr>
            <c:extLst>
              <c:ext xmlns:c16="http://schemas.microsoft.com/office/drawing/2014/chart" uri="{C3380CC4-5D6E-409C-BE32-E72D297353CC}">
                <c16:uniqueId val="{000017B1-61F5-407B-959D-D24239F5BB85}"/>
              </c:ext>
            </c:extLst>
          </c:dPt>
          <c:dPt>
            <c:idx val="3032"/>
            <c:invertIfNegative val="1"/>
            <c:bubble3D val="0"/>
            <c:spPr>
              <a:solidFill>
                <a:srgbClr val="AEABAB"/>
              </a:solidFill>
            </c:spPr>
            <c:extLst>
              <c:ext xmlns:c16="http://schemas.microsoft.com/office/drawing/2014/chart" uri="{C3380CC4-5D6E-409C-BE32-E72D297353CC}">
                <c16:uniqueId val="{000017B3-61F5-407B-959D-D24239F5BB85}"/>
              </c:ext>
            </c:extLst>
          </c:dPt>
          <c:dPt>
            <c:idx val="3033"/>
            <c:invertIfNegative val="1"/>
            <c:bubble3D val="0"/>
            <c:spPr>
              <a:solidFill>
                <a:srgbClr val="AEABAB"/>
              </a:solidFill>
            </c:spPr>
            <c:extLst>
              <c:ext xmlns:c16="http://schemas.microsoft.com/office/drawing/2014/chart" uri="{C3380CC4-5D6E-409C-BE32-E72D297353CC}">
                <c16:uniqueId val="{000017B5-61F5-407B-959D-D24239F5BB85}"/>
              </c:ext>
            </c:extLst>
          </c:dPt>
          <c:dPt>
            <c:idx val="3034"/>
            <c:invertIfNegative val="1"/>
            <c:bubble3D val="0"/>
            <c:spPr>
              <a:solidFill>
                <a:srgbClr val="AEABAB"/>
              </a:solidFill>
            </c:spPr>
            <c:extLst>
              <c:ext xmlns:c16="http://schemas.microsoft.com/office/drawing/2014/chart" uri="{C3380CC4-5D6E-409C-BE32-E72D297353CC}">
                <c16:uniqueId val="{000017B7-61F5-407B-959D-D24239F5BB85}"/>
              </c:ext>
            </c:extLst>
          </c:dPt>
          <c:dPt>
            <c:idx val="3035"/>
            <c:invertIfNegative val="1"/>
            <c:bubble3D val="0"/>
            <c:spPr>
              <a:solidFill>
                <a:srgbClr val="AEABAB"/>
              </a:solidFill>
            </c:spPr>
            <c:extLst>
              <c:ext xmlns:c16="http://schemas.microsoft.com/office/drawing/2014/chart" uri="{C3380CC4-5D6E-409C-BE32-E72D297353CC}">
                <c16:uniqueId val="{000017B9-61F5-407B-959D-D24239F5BB85}"/>
              </c:ext>
            </c:extLst>
          </c:dPt>
          <c:dPt>
            <c:idx val="3036"/>
            <c:invertIfNegative val="1"/>
            <c:bubble3D val="0"/>
            <c:spPr>
              <a:solidFill>
                <a:srgbClr val="AEABAB"/>
              </a:solidFill>
            </c:spPr>
            <c:extLst>
              <c:ext xmlns:c16="http://schemas.microsoft.com/office/drawing/2014/chart" uri="{C3380CC4-5D6E-409C-BE32-E72D297353CC}">
                <c16:uniqueId val="{000017BB-61F5-407B-959D-D24239F5BB85}"/>
              </c:ext>
            </c:extLst>
          </c:dPt>
          <c:dPt>
            <c:idx val="3037"/>
            <c:invertIfNegative val="1"/>
            <c:bubble3D val="0"/>
            <c:spPr>
              <a:solidFill>
                <a:srgbClr val="AEABAB"/>
              </a:solidFill>
            </c:spPr>
            <c:extLst>
              <c:ext xmlns:c16="http://schemas.microsoft.com/office/drawing/2014/chart" uri="{C3380CC4-5D6E-409C-BE32-E72D297353CC}">
                <c16:uniqueId val="{000017BD-61F5-407B-959D-D24239F5BB85}"/>
              </c:ext>
            </c:extLst>
          </c:dPt>
          <c:dPt>
            <c:idx val="3038"/>
            <c:invertIfNegative val="1"/>
            <c:bubble3D val="0"/>
            <c:spPr>
              <a:solidFill>
                <a:srgbClr val="AEABAB"/>
              </a:solidFill>
            </c:spPr>
            <c:extLst>
              <c:ext xmlns:c16="http://schemas.microsoft.com/office/drawing/2014/chart" uri="{C3380CC4-5D6E-409C-BE32-E72D297353CC}">
                <c16:uniqueId val="{000017BF-61F5-407B-959D-D24239F5BB85}"/>
              </c:ext>
            </c:extLst>
          </c:dPt>
          <c:dPt>
            <c:idx val="3039"/>
            <c:invertIfNegative val="1"/>
            <c:bubble3D val="0"/>
            <c:spPr>
              <a:solidFill>
                <a:srgbClr val="AEABAB"/>
              </a:solidFill>
            </c:spPr>
            <c:extLst>
              <c:ext xmlns:c16="http://schemas.microsoft.com/office/drawing/2014/chart" uri="{C3380CC4-5D6E-409C-BE32-E72D297353CC}">
                <c16:uniqueId val="{000017C1-61F5-407B-959D-D24239F5BB85}"/>
              </c:ext>
            </c:extLst>
          </c:dPt>
          <c:dPt>
            <c:idx val="3040"/>
            <c:invertIfNegative val="1"/>
            <c:bubble3D val="0"/>
            <c:spPr>
              <a:solidFill>
                <a:srgbClr val="AEABAB"/>
              </a:solidFill>
            </c:spPr>
            <c:extLst>
              <c:ext xmlns:c16="http://schemas.microsoft.com/office/drawing/2014/chart" uri="{C3380CC4-5D6E-409C-BE32-E72D297353CC}">
                <c16:uniqueId val="{000017C3-61F5-407B-959D-D24239F5BB85}"/>
              </c:ext>
            </c:extLst>
          </c:dPt>
          <c:dPt>
            <c:idx val="3041"/>
            <c:invertIfNegative val="1"/>
            <c:bubble3D val="0"/>
            <c:spPr>
              <a:solidFill>
                <a:srgbClr val="AEABAB"/>
              </a:solidFill>
            </c:spPr>
            <c:extLst>
              <c:ext xmlns:c16="http://schemas.microsoft.com/office/drawing/2014/chart" uri="{C3380CC4-5D6E-409C-BE32-E72D297353CC}">
                <c16:uniqueId val="{000017C5-61F5-407B-959D-D24239F5BB85}"/>
              </c:ext>
            </c:extLst>
          </c:dPt>
          <c:dPt>
            <c:idx val="3042"/>
            <c:invertIfNegative val="1"/>
            <c:bubble3D val="0"/>
            <c:spPr>
              <a:solidFill>
                <a:srgbClr val="AEABAB"/>
              </a:solidFill>
            </c:spPr>
            <c:extLst>
              <c:ext xmlns:c16="http://schemas.microsoft.com/office/drawing/2014/chart" uri="{C3380CC4-5D6E-409C-BE32-E72D297353CC}">
                <c16:uniqueId val="{000017C7-61F5-407B-959D-D24239F5BB85}"/>
              </c:ext>
            </c:extLst>
          </c:dPt>
          <c:dPt>
            <c:idx val="3043"/>
            <c:invertIfNegative val="1"/>
            <c:bubble3D val="0"/>
            <c:spPr>
              <a:solidFill>
                <a:srgbClr val="AEABAB"/>
              </a:solidFill>
            </c:spPr>
            <c:extLst>
              <c:ext xmlns:c16="http://schemas.microsoft.com/office/drawing/2014/chart" uri="{C3380CC4-5D6E-409C-BE32-E72D297353CC}">
                <c16:uniqueId val="{000017C9-61F5-407B-959D-D24239F5BB85}"/>
              </c:ext>
            </c:extLst>
          </c:dPt>
          <c:dPt>
            <c:idx val="3044"/>
            <c:invertIfNegative val="1"/>
            <c:bubble3D val="0"/>
            <c:spPr>
              <a:solidFill>
                <a:srgbClr val="AEABAB"/>
              </a:solidFill>
            </c:spPr>
            <c:extLst>
              <c:ext xmlns:c16="http://schemas.microsoft.com/office/drawing/2014/chart" uri="{C3380CC4-5D6E-409C-BE32-E72D297353CC}">
                <c16:uniqueId val="{000017CB-61F5-407B-959D-D24239F5BB85}"/>
              </c:ext>
            </c:extLst>
          </c:dPt>
          <c:dPt>
            <c:idx val="3045"/>
            <c:invertIfNegative val="1"/>
            <c:bubble3D val="0"/>
            <c:spPr>
              <a:solidFill>
                <a:srgbClr val="AEABAB"/>
              </a:solidFill>
            </c:spPr>
            <c:extLst>
              <c:ext xmlns:c16="http://schemas.microsoft.com/office/drawing/2014/chart" uri="{C3380CC4-5D6E-409C-BE32-E72D297353CC}">
                <c16:uniqueId val="{000017CD-61F5-407B-959D-D24239F5BB85}"/>
              </c:ext>
            </c:extLst>
          </c:dPt>
          <c:dPt>
            <c:idx val="3046"/>
            <c:invertIfNegative val="1"/>
            <c:bubble3D val="0"/>
            <c:spPr>
              <a:solidFill>
                <a:srgbClr val="AEABAB"/>
              </a:solidFill>
            </c:spPr>
            <c:extLst>
              <c:ext xmlns:c16="http://schemas.microsoft.com/office/drawing/2014/chart" uri="{C3380CC4-5D6E-409C-BE32-E72D297353CC}">
                <c16:uniqueId val="{000017CF-61F5-407B-959D-D24239F5BB85}"/>
              </c:ext>
            </c:extLst>
          </c:dPt>
          <c:dPt>
            <c:idx val="3047"/>
            <c:invertIfNegative val="1"/>
            <c:bubble3D val="0"/>
            <c:spPr>
              <a:solidFill>
                <a:srgbClr val="AEABAB"/>
              </a:solidFill>
            </c:spPr>
            <c:extLst>
              <c:ext xmlns:c16="http://schemas.microsoft.com/office/drawing/2014/chart" uri="{C3380CC4-5D6E-409C-BE32-E72D297353CC}">
                <c16:uniqueId val="{000017D1-61F5-407B-959D-D24239F5BB85}"/>
              </c:ext>
            </c:extLst>
          </c:dPt>
          <c:dPt>
            <c:idx val="3048"/>
            <c:invertIfNegative val="1"/>
            <c:bubble3D val="0"/>
            <c:spPr>
              <a:solidFill>
                <a:srgbClr val="AEABAB"/>
              </a:solidFill>
            </c:spPr>
            <c:extLst>
              <c:ext xmlns:c16="http://schemas.microsoft.com/office/drawing/2014/chart" uri="{C3380CC4-5D6E-409C-BE32-E72D297353CC}">
                <c16:uniqueId val="{000017D3-61F5-407B-959D-D24239F5BB85}"/>
              </c:ext>
            </c:extLst>
          </c:dPt>
          <c:dPt>
            <c:idx val="3049"/>
            <c:invertIfNegative val="1"/>
            <c:bubble3D val="0"/>
            <c:spPr>
              <a:solidFill>
                <a:srgbClr val="AEABAB"/>
              </a:solidFill>
            </c:spPr>
            <c:extLst>
              <c:ext xmlns:c16="http://schemas.microsoft.com/office/drawing/2014/chart" uri="{C3380CC4-5D6E-409C-BE32-E72D297353CC}">
                <c16:uniqueId val="{000017D5-61F5-407B-959D-D24239F5BB85}"/>
              </c:ext>
            </c:extLst>
          </c:dPt>
          <c:dPt>
            <c:idx val="3050"/>
            <c:invertIfNegative val="1"/>
            <c:bubble3D val="0"/>
            <c:spPr>
              <a:solidFill>
                <a:srgbClr val="AEABAB"/>
              </a:solidFill>
            </c:spPr>
            <c:extLst>
              <c:ext xmlns:c16="http://schemas.microsoft.com/office/drawing/2014/chart" uri="{C3380CC4-5D6E-409C-BE32-E72D297353CC}">
                <c16:uniqueId val="{000017D7-61F5-407B-959D-D24239F5BB85}"/>
              </c:ext>
            </c:extLst>
          </c:dPt>
          <c:dPt>
            <c:idx val="3051"/>
            <c:invertIfNegative val="1"/>
            <c:bubble3D val="0"/>
            <c:spPr>
              <a:solidFill>
                <a:srgbClr val="AEABAB"/>
              </a:solidFill>
            </c:spPr>
            <c:extLst>
              <c:ext xmlns:c16="http://schemas.microsoft.com/office/drawing/2014/chart" uri="{C3380CC4-5D6E-409C-BE32-E72D297353CC}">
                <c16:uniqueId val="{000017D9-61F5-407B-959D-D24239F5BB85}"/>
              </c:ext>
            </c:extLst>
          </c:dPt>
          <c:dPt>
            <c:idx val="3052"/>
            <c:invertIfNegative val="1"/>
            <c:bubble3D val="0"/>
            <c:spPr>
              <a:solidFill>
                <a:srgbClr val="AEABAB"/>
              </a:solidFill>
            </c:spPr>
            <c:extLst>
              <c:ext xmlns:c16="http://schemas.microsoft.com/office/drawing/2014/chart" uri="{C3380CC4-5D6E-409C-BE32-E72D297353CC}">
                <c16:uniqueId val="{000017DB-61F5-407B-959D-D24239F5BB85}"/>
              </c:ext>
            </c:extLst>
          </c:dPt>
          <c:dPt>
            <c:idx val="3053"/>
            <c:invertIfNegative val="1"/>
            <c:bubble3D val="0"/>
            <c:spPr>
              <a:solidFill>
                <a:srgbClr val="AEABAB"/>
              </a:solidFill>
            </c:spPr>
            <c:extLst>
              <c:ext xmlns:c16="http://schemas.microsoft.com/office/drawing/2014/chart" uri="{C3380CC4-5D6E-409C-BE32-E72D297353CC}">
                <c16:uniqueId val="{000017DD-61F5-407B-959D-D24239F5BB85}"/>
              </c:ext>
            </c:extLst>
          </c:dPt>
          <c:dPt>
            <c:idx val="3054"/>
            <c:invertIfNegative val="1"/>
            <c:bubble3D val="0"/>
            <c:spPr>
              <a:solidFill>
                <a:srgbClr val="AEABAB"/>
              </a:solidFill>
            </c:spPr>
            <c:extLst>
              <c:ext xmlns:c16="http://schemas.microsoft.com/office/drawing/2014/chart" uri="{C3380CC4-5D6E-409C-BE32-E72D297353CC}">
                <c16:uniqueId val="{000017DF-61F5-407B-959D-D24239F5BB85}"/>
              </c:ext>
            </c:extLst>
          </c:dPt>
          <c:dPt>
            <c:idx val="3055"/>
            <c:invertIfNegative val="1"/>
            <c:bubble3D val="0"/>
            <c:spPr>
              <a:solidFill>
                <a:srgbClr val="AEABAB"/>
              </a:solidFill>
            </c:spPr>
            <c:extLst>
              <c:ext xmlns:c16="http://schemas.microsoft.com/office/drawing/2014/chart" uri="{C3380CC4-5D6E-409C-BE32-E72D297353CC}">
                <c16:uniqueId val="{000017E1-61F5-407B-959D-D24239F5BB85}"/>
              </c:ext>
            </c:extLst>
          </c:dPt>
          <c:dPt>
            <c:idx val="3056"/>
            <c:invertIfNegative val="1"/>
            <c:bubble3D val="0"/>
            <c:spPr>
              <a:solidFill>
                <a:srgbClr val="AEABAB"/>
              </a:solidFill>
            </c:spPr>
            <c:extLst>
              <c:ext xmlns:c16="http://schemas.microsoft.com/office/drawing/2014/chart" uri="{C3380CC4-5D6E-409C-BE32-E72D297353CC}">
                <c16:uniqueId val="{000017E3-61F5-407B-959D-D24239F5BB85}"/>
              </c:ext>
            </c:extLst>
          </c:dPt>
          <c:dPt>
            <c:idx val="3057"/>
            <c:invertIfNegative val="1"/>
            <c:bubble3D val="0"/>
            <c:spPr>
              <a:solidFill>
                <a:srgbClr val="AEABAB"/>
              </a:solidFill>
            </c:spPr>
            <c:extLst>
              <c:ext xmlns:c16="http://schemas.microsoft.com/office/drawing/2014/chart" uri="{C3380CC4-5D6E-409C-BE32-E72D297353CC}">
                <c16:uniqueId val="{000017E5-61F5-407B-959D-D24239F5BB85}"/>
              </c:ext>
            </c:extLst>
          </c:dPt>
          <c:dPt>
            <c:idx val="3058"/>
            <c:invertIfNegative val="1"/>
            <c:bubble3D val="0"/>
            <c:spPr>
              <a:solidFill>
                <a:srgbClr val="AEABAB"/>
              </a:solidFill>
            </c:spPr>
            <c:extLst>
              <c:ext xmlns:c16="http://schemas.microsoft.com/office/drawing/2014/chart" uri="{C3380CC4-5D6E-409C-BE32-E72D297353CC}">
                <c16:uniqueId val="{000017E7-61F5-407B-959D-D24239F5BB85}"/>
              </c:ext>
            </c:extLst>
          </c:dPt>
          <c:dPt>
            <c:idx val="3059"/>
            <c:invertIfNegative val="1"/>
            <c:bubble3D val="0"/>
            <c:spPr>
              <a:solidFill>
                <a:srgbClr val="AEABAB"/>
              </a:solidFill>
            </c:spPr>
            <c:extLst>
              <c:ext xmlns:c16="http://schemas.microsoft.com/office/drawing/2014/chart" uri="{C3380CC4-5D6E-409C-BE32-E72D297353CC}">
                <c16:uniqueId val="{000017E9-61F5-407B-959D-D24239F5BB85}"/>
              </c:ext>
            </c:extLst>
          </c:dPt>
          <c:dPt>
            <c:idx val="3060"/>
            <c:invertIfNegative val="1"/>
            <c:bubble3D val="0"/>
            <c:spPr>
              <a:solidFill>
                <a:srgbClr val="AEABAB"/>
              </a:solidFill>
            </c:spPr>
            <c:extLst>
              <c:ext xmlns:c16="http://schemas.microsoft.com/office/drawing/2014/chart" uri="{C3380CC4-5D6E-409C-BE32-E72D297353CC}">
                <c16:uniqueId val="{000017EB-61F5-407B-959D-D24239F5BB85}"/>
              </c:ext>
            </c:extLst>
          </c:dPt>
          <c:dPt>
            <c:idx val="3061"/>
            <c:invertIfNegative val="1"/>
            <c:bubble3D val="0"/>
            <c:spPr>
              <a:solidFill>
                <a:srgbClr val="AEABAB"/>
              </a:solidFill>
            </c:spPr>
            <c:extLst>
              <c:ext xmlns:c16="http://schemas.microsoft.com/office/drawing/2014/chart" uri="{C3380CC4-5D6E-409C-BE32-E72D297353CC}">
                <c16:uniqueId val="{000017ED-61F5-407B-959D-D24239F5BB85}"/>
              </c:ext>
            </c:extLst>
          </c:dPt>
          <c:dPt>
            <c:idx val="3062"/>
            <c:invertIfNegative val="1"/>
            <c:bubble3D val="0"/>
            <c:spPr>
              <a:solidFill>
                <a:srgbClr val="AEABAB"/>
              </a:solidFill>
            </c:spPr>
            <c:extLst>
              <c:ext xmlns:c16="http://schemas.microsoft.com/office/drawing/2014/chart" uri="{C3380CC4-5D6E-409C-BE32-E72D297353CC}">
                <c16:uniqueId val="{000017EF-61F5-407B-959D-D24239F5BB85}"/>
              </c:ext>
            </c:extLst>
          </c:dPt>
          <c:dPt>
            <c:idx val="3063"/>
            <c:invertIfNegative val="1"/>
            <c:bubble3D val="0"/>
            <c:spPr>
              <a:solidFill>
                <a:srgbClr val="AEABAB"/>
              </a:solidFill>
            </c:spPr>
            <c:extLst>
              <c:ext xmlns:c16="http://schemas.microsoft.com/office/drawing/2014/chart" uri="{C3380CC4-5D6E-409C-BE32-E72D297353CC}">
                <c16:uniqueId val="{000017F1-61F5-407B-959D-D24239F5BB85}"/>
              </c:ext>
            </c:extLst>
          </c:dPt>
          <c:dPt>
            <c:idx val="3064"/>
            <c:invertIfNegative val="1"/>
            <c:bubble3D val="0"/>
            <c:spPr>
              <a:solidFill>
                <a:srgbClr val="AEABAB"/>
              </a:solidFill>
            </c:spPr>
            <c:extLst>
              <c:ext xmlns:c16="http://schemas.microsoft.com/office/drawing/2014/chart" uri="{C3380CC4-5D6E-409C-BE32-E72D297353CC}">
                <c16:uniqueId val="{000017F3-61F5-407B-959D-D24239F5BB85}"/>
              </c:ext>
            </c:extLst>
          </c:dPt>
          <c:dPt>
            <c:idx val="3065"/>
            <c:invertIfNegative val="1"/>
            <c:bubble3D val="0"/>
            <c:spPr>
              <a:solidFill>
                <a:srgbClr val="AEABAB"/>
              </a:solidFill>
            </c:spPr>
            <c:extLst>
              <c:ext xmlns:c16="http://schemas.microsoft.com/office/drawing/2014/chart" uri="{C3380CC4-5D6E-409C-BE32-E72D297353CC}">
                <c16:uniqueId val="{000017F5-61F5-407B-959D-D24239F5BB85}"/>
              </c:ext>
            </c:extLst>
          </c:dPt>
          <c:dPt>
            <c:idx val="3066"/>
            <c:invertIfNegative val="1"/>
            <c:bubble3D val="0"/>
            <c:spPr>
              <a:solidFill>
                <a:srgbClr val="AEABAB"/>
              </a:solidFill>
            </c:spPr>
            <c:extLst>
              <c:ext xmlns:c16="http://schemas.microsoft.com/office/drawing/2014/chart" uri="{C3380CC4-5D6E-409C-BE32-E72D297353CC}">
                <c16:uniqueId val="{000017F7-61F5-407B-959D-D24239F5BB85}"/>
              </c:ext>
            </c:extLst>
          </c:dPt>
          <c:dPt>
            <c:idx val="3067"/>
            <c:invertIfNegative val="1"/>
            <c:bubble3D val="0"/>
            <c:spPr>
              <a:solidFill>
                <a:srgbClr val="AEABAB"/>
              </a:solidFill>
            </c:spPr>
            <c:extLst>
              <c:ext xmlns:c16="http://schemas.microsoft.com/office/drawing/2014/chart" uri="{C3380CC4-5D6E-409C-BE32-E72D297353CC}">
                <c16:uniqueId val="{000017F9-61F5-407B-959D-D24239F5BB85}"/>
              </c:ext>
            </c:extLst>
          </c:dPt>
          <c:dPt>
            <c:idx val="3068"/>
            <c:invertIfNegative val="1"/>
            <c:bubble3D val="0"/>
            <c:spPr>
              <a:solidFill>
                <a:srgbClr val="AEABAB"/>
              </a:solidFill>
            </c:spPr>
            <c:extLst>
              <c:ext xmlns:c16="http://schemas.microsoft.com/office/drawing/2014/chart" uri="{C3380CC4-5D6E-409C-BE32-E72D297353CC}">
                <c16:uniqueId val="{000017FB-61F5-407B-959D-D24239F5BB85}"/>
              </c:ext>
            </c:extLst>
          </c:dPt>
          <c:dPt>
            <c:idx val="3069"/>
            <c:invertIfNegative val="1"/>
            <c:bubble3D val="0"/>
            <c:spPr>
              <a:solidFill>
                <a:srgbClr val="AEABAB"/>
              </a:solidFill>
            </c:spPr>
            <c:extLst>
              <c:ext xmlns:c16="http://schemas.microsoft.com/office/drawing/2014/chart" uri="{C3380CC4-5D6E-409C-BE32-E72D297353CC}">
                <c16:uniqueId val="{000017FD-61F5-407B-959D-D24239F5BB85}"/>
              </c:ext>
            </c:extLst>
          </c:dPt>
          <c:dPt>
            <c:idx val="3070"/>
            <c:invertIfNegative val="1"/>
            <c:bubble3D val="0"/>
            <c:spPr>
              <a:solidFill>
                <a:srgbClr val="AEABAB"/>
              </a:solidFill>
            </c:spPr>
            <c:extLst>
              <c:ext xmlns:c16="http://schemas.microsoft.com/office/drawing/2014/chart" uri="{C3380CC4-5D6E-409C-BE32-E72D297353CC}">
                <c16:uniqueId val="{000017FF-61F5-407B-959D-D24239F5BB85}"/>
              </c:ext>
            </c:extLst>
          </c:dPt>
          <c:dPt>
            <c:idx val="3071"/>
            <c:invertIfNegative val="1"/>
            <c:bubble3D val="0"/>
            <c:spPr>
              <a:solidFill>
                <a:srgbClr val="AEABAB"/>
              </a:solidFill>
            </c:spPr>
            <c:extLst>
              <c:ext xmlns:c16="http://schemas.microsoft.com/office/drawing/2014/chart" uri="{C3380CC4-5D6E-409C-BE32-E72D297353CC}">
                <c16:uniqueId val="{00001801-61F5-407B-959D-D24239F5BB85}"/>
              </c:ext>
            </c:extLst>
          </c:dPt>
          <c:dPt>
            <c:idx val="3072"/>
            <c:invertIfNegative val="1"/>
            <c:bubble3D val="0"/>
            <c:spPr>
              <a:solidFill>
                <a:srgbClr val="AEABAB"/>
              </a:solidFill>
            </c:spPr>
            <c:extLst>
              <c:ext xmlns:c16="http://schemas.microsoft.com/office/drawing/2014/chart" uri="{C3380CC4-5D6E-409C-BE32-E72D297353CC}">
                <c16:uniqueId val="{00001803-61F5-407B-959D-D24239F5BB85}"/>
              </c:ext>
            </c:extLst>
          </c:dPt>
          <c:dPt>
            <c:idx val="3073"/>
            <c:invertIfNegative val="1"/>
            <c:bubble3D val="0"/>
            <c:spPr>
              <a:solidFill>
                <a:srgbClr val="AEABAB"/>
              </a:solidFill>
            </c:spPr>
            <c:extLst>
              <c:ext xmlns:c16="http://schemas.microsoft.com/office/drawing/2014/chart" uri="{C3380CC4-5D6E-409C-BE32-E72D297353CC}">
                <c16:uniqueId val="{00001805-61F5-407B-959D-D24239F5BB85}"/>
              </c:ext>
            </c:extLst>
          </c:dPt>
          <c:dPt>
            <c:idx val="3074"/>
            <c:invertIfNegative val="1"/>
            <c:bubble3D val="0"/>
            <c:spPr>
              <a:solidFill>
                <a:srgbClr val="AEABAB"/>
              </a:solidFill>
            </c:spPr>
            <c:extLst>
              <c:ext xmlns:c16="http://schemas.microsoft.com/office/drawing/2014/chart" uri="{C3380CC4-5D6E-409C-BE32-E72D297353CC}">
                <c16:uniqueId val="{00001807-61F5-407B-959D-D24239F5BB85}"/>
              </c:ext>
            </c:extLst>
          </c:dPt>
          <c:dPt>
            <c:idx val="3075"/>
            <c:invertIfNegative val="1"/>
            <c:bubble3D val="0"/>
            <c:spPr>
              <a:solidFill>
                <a:srgbClr val="AEABAB"/>
              </a:solidFill>
            </c:spPr>
            <c:extLst>
              <c:ext xmlns:c16="http://schemas.microsoft.com/office/drawing/2014/chart" uri="{C3380CC4-5D6E-409C-BE32-E72D297353CC}">
                <c16:uniqueId val="{00001809-61F5-407B-959D-D24239F5BB85}"/>
              </c:ext>
            </c:extLst>
          </c:dPt>
          <c:dPt>
            <c:idx val="3076"/>
            <c:invertIfNegative val="1"/>
            <c:bubble3D val="0"/>
            <c:spPr>
              <a:solidFill>
                <a:srgbClr val="AEABAB"/>
              </a:solidFill>
            </c:spPr>
            <c:extLst>
              <c:ext xmlns:c16="http://schemas.microsoft.com/office/drawing/2014/chart" uri="{C3380CC4-5D6E-409C-BE32-E72D297353CC}">
                <c16:uniqueId val="{0000180B-61F5-407B-959D-D24239F5BB85}"/>
              </c:ext>
            </c:extLst>
          </c:dPt>
          <c:dPt>
            <c:idx val="3077"/>
            <c:invertIfNegative val="1"/>
            <c:bubble3D val="0"/>
            <c:spPr>
              <a:solidFill>
                <a:srgbClr val="AEABAB"/>
              </a:solidFill>
            </c:spPr>
            <c:extLst>
              <c:ext xmlns:c16="http://schemas.microsoft.com/office/drawing/2014/chart" uri="{C3380CC4-5D6E-409C-BE32-E72D297353CC}">
                <c16:uniqueId val="{0000180D-61F5-407B-959D-D24239F5BB85}"/>
              </c:ext>
            </c:extLst>
          </c:dPt>
          <c:dPt>
            <c:idx val="3078"/>
            <c:invertIfNegative val="1"/>
            <c:bubble3D val="0"/>
            <c:spPr>
              <a:solidFill>
                <a:srgbClr val="AEABAB"/>
              </a:solidFill>
            </c:spPr>
            <c:extLst>
              <c:ext xmlns:c16="http://schemas.microsoft.com/office/drawing/2014/chart" uri="{C3380CC4-5D6E-409C-BE32-E72D297353CC}">
                <c16:uniqueId val="{0000180F-61F5-407B-959D-D24239F5BB85}"/>
              </c:ext>
            </c:extLst>
          </c:dPt>
          <c:dPt>
            <c:idx val="3079"/>
            <c:invertIfNegative val="1"/>
            <c:bubble3D val="0"/>
            <c:spPr>
              <a:solidFill>
                <a:srgbClr val="AEABAB"/>
              </a:solidFill>
            </c:spPr>
            <c:extLst>
              <c:ext xmlns:c16="http://schemas.microsoft.com/office/drawing/2014/chart" uri="{C3380CC4-5D6E-409C-BE32-E72D297353CC}">
                <c16:uniqueId val="{00001811-61F5-407B-959D-D24239F5BB85}"/>
              </c:ext>
            </c:extLst>
          </c:dPt>
          <c:dPt>
            <c:idx val="3080"/>
            <c:invertIfNegative val="1"/>
            <c:bubble3D val="0"/>
            <c:spPr>
              <a:solidFill>
                <a:srgbClr val="AEABAB"/>
              </a:solidFill>
            </c:spPr>
            <c:extLst>
              <c:ext xmlns:c16="http://schemas.microsoft.com/office/drawing/2014/chart" uri="{C3380CC4-5D6E-409C-BE32-E72D297353CC}">
                <c16:uniqueId val="{00001813-61F5-407B-959D-D24239F5BB85}"/>
              </c:ext>
            </c:extLst>
          </c:dPt>
          <c:dPt>
            <c:idx val="3081"/>
            <c:invertIfNegative val="1"/>
            <c:bubble3D val="0"/>
            <c:spPr>
              <a:solidFill>
                <a:srgbClr val="AEABAB"/>
              </a:solidFill>
            </c:spPr>
            <c:extLst>
              <c:ext xmlns:c16="http://schemas.microsoft.com/office/drawing/2014/chart" uri="{C3380CC4-5D6E-409C-BE32-E72D297353CC}">
                <c16:uniqueId val="{00001815-61F5-407B-959D-D24239F5BB85}"/>
              </c:ext>
            </c:extLst>
          </c:dPt>
          <c:dPt>
            <c:idx val="3082"/>
            <c:invertIfNegative val="1"/>
            <c:bubble3D val="0"/>
            <c:spPr>
              <a:solidFill>
                <a:srgbClr val="AEABAB"/>
              </a:solidFill>
            </c:spPr>
            <c:extLst>
              <c:ext xmlns:c16="http://schemas.microsoft.com/office/drawing/2014/chart" uri="{C3380CC4-5D6E-409C-BE32-E72D297353CC}">
                <c16:uniqueId val="{00001817-61F5-407B-959D-D24239F5BB85}"/>
              </c:ext>
            </c:extLst>
          </c:dPt>
          <c:dPt>
            <c:idx val="3083"/>
            <c:invertIfNegative val="1"/>
            <c:bubble3D val="0"/>
            <c:spPr>
              <a:solidFill>
                <a:srgbClr val="AEABAB"/>
              </a:solidFill>
            </c:spPr>
            <c:extLst>
              <c:ext xmlns:c16="http://schemas.microsoft.com/office/drawing/2014/chart" uri="{C3380CC4-5D6E-409C-BE32-E72D297353CC}">
                <c16:uniqueId val="{00001819-61F5-407B-959D-D24239F5BB85}"/>
              </c:ext>
            </c:extLst>
          </c:dPt>
          <c:dPt>
            <c:idx val="3084"/>
            <c:invertIfNegative val="1"/>
            <c:bubble3D val="0"/>
            <c:spPr>
              <a:solidFill>
                <a:srgbClr val="AEABAB"/>
              </a:solidFill>
            </c:spPr>
            <c:extLst>
              <c:ext xmlns:c16="http://schemas.microsoft.com/office/drawing/2014/chart" uri="{C3380CC4-5D6E-409C-BE32-E72D297353CC}">
                <c16:uniqueId val="{0000181B-61F5-407B-959D-D24239F5BB85}"/>
              </c:ext>
            </c:extLst>
          </c:dPt>
          <c:dPt>
            <c:idx val="3085"/>
            <c:invertIfNegative val="1"/>
            <c:bubble3D val="0"/>
            <c:spPr>
              <a:solidFill>
                <a:srgbClr val="AEABAB"/>
              </a:solidFill>
            </c:spPr>
            <c:extLst>
              <c:ext xmlns:c16="http://schemas.microsoft.com/office/drawing/2014/chart" uri="{C3380CC4-5D6E-409C-BE32-E72D297353CC}">
                <c16:uniqueId val="{0000181D-61F5-407B-959D-D24239F5BB85}"/>
              </c:ext>
            </c:extLst>
          </c:dPt>
          <c:dPt>
            <c:idx val="3086"/>
            <c:invertIfNegative val="1"/>
            <c:bubble3D val="0"/>
            <c:spPr>
              <a:solidFill>
                <a:srgbClr val="AEABAB"/>
              </a:solidFill>
            </c:spPr>
            <c:extLst>
              <c:ext xmlns:c16="http://schemas.microsoft.com/office/drawing/2014/chart" uri="{C3380CC4-5D6E-409C-BE32-E72D297353CC}">
                <c16:uniqueId val="{0000181F-61F5-407B-959D-D24239F5BB85}"/>
              </c:ext>
            </c:extLst>
          </c:dPt>
          <c:dPt>
            <c:idx val="3087"/>
            <c:invertIfNegative val="1"/>
            <c:bubble3D val="0"/>
            <c:spPr>
              <a:solidFill>
                <a:srgbClr val="AEABAB"/>
              </a:solidFill>
            </c:spPr>
            <c:extLst>
              <c:ext xmlns:c16="http://schemas.microsoft.com/office/drawing/2014/chart" uri="{C3380CC4-5D6E-409C-BE32-E72D297353CC}">
                <c16:uniqueId val="{00001821-61F5-407B-959D-D24239F5BB85}"/>
              </c:ext>
            </c:extLst>
          </c:dPt>
          <c:dPt>
            <c:idx val="3088"/>
            <c:invertIfNegative val="1"/>
            <c:bubble3D val="0"/>
            <c:spPr>
              <a:solidFill>
                <a:srgbClr val="AEABAB"/>
              </a:solidFill>
            </c:spPr>
            <c:extLst>
              <c:ext xmlns:c16="http://schemas.microsoft.com/office/drawing/2014/chart" uri="{C3380CC4-5D6E-409C-BE32-E72D297353CC}">
                <c16:uniqueId val="{00001823-61F5-407B-959D-D24239F5BB85}"/>
              </c:ext>
            </c:extLst>
          </c:dPt>
          <c:dPt>
            <c:idx val="3089"/>
            <c:invertIfNegative val="1"/>
            <c:bubble3D val="0"/>
            <c:spPr>
              <a:solidFill>
                <a:srgbClr val="AEABAB"/>
              </a:solidFill>
            </c:spPr>
            <c:extLst>
              <c:ext xmlns:c16="http://schemas.microsoft.com/office/drawing/2014/chart" uri="{C3380CC4-5D6E-409C-BE32-E72D297353CC}">
                <c16:uniqueId val="{00001825-61F5-407B-959D-D24239F5BB85}"/>
              </c:ext>
            </c:extLst>
          </c:dPt>
          <c:dPt>
            <c:idx val="3090"/>
            <c:invertIfNegative val="1"/>
            <c:bubble3D val="0"/>
            <c:spPr>
              <a:solidFill>
                <a:srgbClr val="AEABAB"/>
              </a:solidFill>
            </c:spPr>
            <c:extLst>
              <c:ext xmlns:c16="http://schemas.microsoft.com/office/drawing/2014/chart" uri="{C3380CC4-5D6E-409C-BE32-E72D297353CC}">
                <c16:uniqueId val="{00001827-61F5-407B-959D-D24239F5BB85}"/>
              </c:ext>
            </c:extLst>
          </c:dPt>
          <c:dPt>
            <c:idx val="3091"/>
            <c:invertIfNegative val="1"/>
            <c:bubble3D val="0"/>
            <c:spPr>
              <a:solidFill>
                <a:srgbClr val="AEABAB"/>
              </a:solidFill>
            </c:spPr>
            <c:extLst>
              <c:ext xmlns:c16="http://schemas.microsoft.com/office/drawing/2014/chart" uri="{C3380CC4-5D6E-409C-BE32-E72D297353CC}">
                <c16:uniqueId val="{00001829-61F5-407B-959D-D24239F5BB85}"/>
              </c:ext>
            </c:extLst>
          </c:dPt>
          <c:dPt>
            <c:idx val="3092"/>
            <c:invertIfNegative val="1"/>
            <c:bubble3D val="0"/>
            <c:spPr>
              <a:solidFill>
                <a:srgbClr val="AEABAB"/>
              </a:solidFill>
            </c:spPr>
            <c:extLst>
              <c:ext xmlns:c16="http://schemas.microsoft.com/office/drawing/2014/chart" uri="{C3380CC4-5D6E-409C-BE32-E72D297353CC}">
                <c16:uniqueId val="{0000182B-61F5-407B-959D-D24239F5BB85}"/>
              </c:ext>
            </c:extLst>
          </c:dPt>
          <c:dPt>
            <c:idx val="3093"/>
            <c:invertIfNegative val="1"/>
            <c:bubble3D val="0"/>
            <c:spPr>
              <a:solidFill>
                <a:srgbClr val="AEABAB"/>
              </a:solidFill>
            </c:spPr>
            <c:extLst>
              <c:ext xmlns:c16="http://schemas.microsoft.com/office/drawing/2014/chart" uri="{C3380CC4-5D6E-409C-BE32-E72D297353CC}">
                <c16:uniqueId val="{0000182D-61F5-407B-959D-D24239F5BB85}"/>
              </c:ext>
            </c:extLst>
          </c:dPt>
          <c:dPt>
            <c:idx val="3094"/>
            <c:invertIfNegative val="1"/>
            <c:bubble3D val="0"/>
            <c:spPr>
              <a:solidFill>
                <a:srgbClr val="AEABAB"/>
              </a:solidFill>
            </c:spPr>
            <c:extLst>
              <c:ext xmlns:c16="http://schemas.microsoft.com/office/drawing/2014/chart" uri="{C3380CC4-5D6E-409C-BE32-E72D297353CC}">
                <c16:uniqueId val="{0000182F-61F5-407B-959D-D24239F5BB85}"/>
              </c:ext>
            </c:extLst>
          </c:dPt>
          <c:dPt>
            <c:idx val="3095"/>
            <c:invertIfNegative val="1"/>
            <c:bubble3D val="0"/>
            <c:spPr>
              <a:solidFill>
                <a:srgbClr val="AEABAB"/>
              </a:solidFill>
            </c:spPr>
            <c:extLst>
              <c:ext xmlns:c16="http://schemas.microsoft.com/office/drawing/2014/chart" uri="{C3380CC4-5D6E-409C-BE32-E72D297353CC}">
                <c16:uniqueId val="{00001831-61F5-407B-959D-D24239F5BB85}"/>
              </c:ext>
            </c:extLst>
          </c:dPt>
          <c:dPt>
            <c:idx val="3096"/>
            <c:invertIfNegative val="1"/>
            <c:bubble3D val="0"/>
            <c:spPr>
              <a:solidFill>
                <a:srgbClr val="AEABAB"/>
              </a:solidFill>
            </c:spPr>
            <c:extLst>
              <c:ext xmlns:c16="http://schemas.microsoft.com/office/drawing/2014/chart" uri="{C3380CC4-5D6E-409C-BE32-E72D297353CC}">
                <c16:uniqueId val="{00001833-61F5-407B-959D-D24239F5BB85}"/>
              </c:ext>
            </c:extLst>
          </c:dPt>
          <c:dPt>
            <c:idx val="3097"/>
            <c:invertIfNegative val="1"/>
            <c:bubble3D val="0"/>
            <c:spPr>
              <a:solidFill>
                <a:srgbClr val="AEABAB"/>
              </a:solidFill>
            </c:spPr>
            <c:extLst>
              <c:ext xmlns:c16="http://schemas.microsoft.com/office/drawing/2014/chart" uri="{C3380CC4-5D6E-409C-BE32-E72D297353CC}">
                <c16:uniqueId val="{00001835-61F5-407B-959D-D24239F5BB85}"/>
              </c:ext>
            </c:extLst>
          </c:dPt>
          <c:dPt>
            <c:idx val="3098"/>
            <c:invertIfNegative val="1"/>
            <c:bubble3D val="0"/>
            <c:spPr>
              <a:solidFill>
                <a:srgbClr val="AEABAB"/>
              </a:solidFill>
            </c:spPr>
            <c:extLst>
              <c:ext xmlns:c16="http://schemas.microsoft.com/office/drawing/2014/chart" uri="{C3380CC4-5D6E-409C-BE32-E72D297353CC}">
                <c16:uniqueId val="{00001837-61F5-407B-959D-D24239F5BB85}"/>
              </c:ext>
            </c:extLst>
          </c:dPt>
          <c:dPt>
            <c:idx val="3099"/>
            <c:invertIfNegative val="1"/>
            <c:bubble3D val="0"/>
            <c:spPr>
              <a:solidFill>
                <a:srgbClr val="AEABAB"/>
              </a:solidFill>
            </c:spPr>
            <c:extLst>
              <c:ext xmlns:c16="http://schemas.microsoft.com/office/drawing/2014/chart" uri="{C3380CC4-5D6E-409C-BE32-E72D297353CC}">
                <c16:uniqueId val="{00001839-61F5-407B-959D-D24239F5BB85}"/>
              </c:ext>
            </c:extLst>
          </c:dPt>
          <c:dPt>
            <c:idx val="3100"/>
            <c:invertIfNegative val="1"/>
            <c:bubble3D val="0"/>
            <c:spPr>
              <a:solidFill>
                <a:srgbClr val="AEABAB"/>
              </a:solidFill>
            </c:spPr>
            <c:extLst>
              <c:ext xmlns:c16="http://schemas.microsoft.com/office/drawing/2014/chart" uri="{C3380CC4-5D6E-409C-BE32-E72D297353CC}">
                <c16:uniqueId val="{0000183B-61F5-407B-959D-D24239F5BB85}"/>
              </c:ext>
            </c:extLst>
          </c:dPt>
          <c:dPt>
            <c:idx val="3101"/>
            <c:invertIfNegative val="1"/>
            <c:bubble3D val="0"/>
            <c:spPr>
              <a:solidFill>
                <a:srgbClr val="AEABAB"/>
              </a:solidFill>
            </c:spPr>
            <c:extLst>
              <c:ext xmlns:c16="http://schemas.microsoft.com/office/drawing/2014/chart" uri="{C3380CC4-5D6E-409C-BE32-E72D297353CC}">
                <c16:uniqueId val="{0000183D-61F5-407B-959D-D24239F5BB85}"/>
              </c:ext>
            </c:extLst>
          </c:dPt>
          <c:dPt>
            <c:idx val="3102"/>
            <c:invertIfNegative val="1"/>
            <c:bubble3D val="0"/>
            <c:spPr>
              <a:solidFill>
                <a:srgbClr val="AEABAB"/>
              </a:solidFill>
            </c:spPr>
            <c:extLst>
              <c:ext xmlns:c16="http://schemas.microsoft.com/office/drawing/2014/chart" uri="{C3380CC4-5D6E-409C-BE32-E72D297353CC}">
                <c16:uniqueId val="{0000183F-61F5-407B-959D-D24239F5BB85}"/>
              </c:ext>
            </c:extLst>
          </c:dPt>
          <c:dPt>
            <c:idx val="3103"/>
            <c:invertIfNegative val="1"/>
            <c:bubble3D val="0"/>
            <c:spPr>
              <a:solidFill>
                <a:srgbClr val="AEABAB"/>
              </a:solidFill>
            </c:spPr>
            <c:extLst>
              <c:ext xmlns:c16="http://schemas.microsoft.com/office/drawing/2014/chart" uri="{C3380CC4-5D6E-409C-BE32-E72D297353CC}">
                <c16:uniqueId val="{00001841-61F5-407B-959D-D24239F5BB85}"/>
              </c:ext>
            </c:extLst>
          </c:dPt>
          <c:dPt>
            <c:idx val="3104"/>
            <c:invertIfNegative val="1"/>
            <c:bubble3D val="0"/>
            <c:spPr>
              <a:solidFill>
                <a:srgbClr val="AEABAB"/>
              </a:solidFill>
            </c:spPr>
            <c:extLst>
              <c:ext xmlns:c16="http://schemas.microsoft.com/office/drawing/2014/chart" uri="{C3380CC4-5D6E-409C-BE32-E72D297353CC}">
                <c16:uniqueId val="{00001843-61F5-407B-959D-D24239F5BB85}"/>
              </c:ext>
            </c:extLst>
          </c:dPt>
          <c:dPt>
            <c:idx val="3105"/>
            <c:invertIfNegative val="1"/>
            <c:bubble3D val="0"/>
            <c:spPr>
              <a:solidFill>
                <a:srgbClr val="AEABAB"/>
              </a:solidFill>
            </c:spPr>
            <c:extLst>
              <c:ext xmlns:c16="http://schemas.microsoft.com/office/drawing/2014/chart" uri="{C3380CC4-5D6E-409C-BE32-E72D297353CC}">
                <c16:uniqueId val="{00001845-61F5-407B-959D-D24239F5BB85}"/>
              </c:ext>
            </c:extLst>
          </c:dPt>
          <c:dPt>
            <c:idx val="3106"/>
            <c:invertIfNegative val="1"/>
            <c:bubble3D val="0"/>
            <c:spPr>
              <a:solidFill>
                <a:srgbClr val="AEABAB"/>
              </a:solidFill>
            </c:spPr>
            <c:extLst>
              <c:ext xmlns:c16="http://schemas.microsoft.com/office/drawing/2014/chart" uri="{C3380CC4-5D6E-409C-BE32-E72D297353CC}">
                <c16:uniqueId val="{00001847-61F5-407B-959D-D24239F5BB85}"/>
              </c:ext>
            </c:extLst>
          </c:dPt>
          <c:dPt>
            <c:idx val="3107"/>
            <c:invertIfNegative val="1"/>
            <c:bubble3D val="0"/>
            <c:spPr>
              <a:solidFill>
                <a:srgbClr val="AEABAB"/>
              </a:solidFill>
            </c:spPr>
            <c:extLst>
              <c:ext xmlns:c16="http://schemas.microsoft.com/office/drawing/2014/chart" uri="{C3380CC4-5D6E-409C-BE32-E72D297353CC}">
                <c16:uniqueId val="{00001849-61F5-407B-959D-D24239F5BB85}"/>
              </c:ext>
            </c:extLst>
          </c:dPt>
          <c:dPt>
            <c:idx val="3108"/>
            <c:invertIfNegative val="1"/>
            <c:bubble3D val="0"/>
            <c:spPr>
              <a:solidFill>
                <a:srgbClr val="AEABAB"/>
              </a:solidFill>
            </c:spPr>
            <c:extLst>
              <c:ext xmlns:c16="http://schemas.microsoft.com/office/drawing/2014/chart" uri="{C3380CC4-5D6E-409C-BE32-E72D297353CC}">
                <c16:uniqueId val="{0000184B-61F5-407B-959D-D24239F5BB85}"/>
              </c:ext>
            </c:extLst>
          </c:dPt>
          <c:dPt>
            <c:idx val="3109"/>
            <c:invertIfNegative val="1"/>
            <c:bubble3D val="0"/>
            <c:spPr>
              <a:solidFill>
                <a:srgbClr val="AEABAB"/>
              </a:solidFill>
            </c:spPr>
            <c:extLst>
              <c:ext xmlns:c16="http://schemas.microsoft.com/office/drawing/2014/chart" uri="{C3380CC4-5D6E-409C-BE32-E72D297353CC}">
                <c16:uniqueId val="{0000184D-61F5-407B-959D-D24239F5BB85}"/>
              </c:ext>
            </c:extLst>
          </c:dPt>
          <c:dPt>
            <c:idx val="3110"/>
            <c:invertIfNegative val="1"/>
            <c:bubble3D val="0"/>
            <c:spPr>
              <a:solidFill>
                <a:srgbClr val="AEABAB"/>
              </a:solidFill>
            </c:spPr>
            <c:extLst>
              <c:ext xmlns:c16="http://schemas.microsoft.com/office/drawing/2014/chart" uri="{C3380CC4-5D6E-409C-BE32-E72D297353CC}">
                <c16:uniqueId val="{0000184F-61F5-407B-959D-D24239F5BB85}"/>
              </c:ext>
            </c:extLst>
          </c:dPt>
          <c:dPt>
            <c:idx val="3111"/>
            <c:invertIfNegative val="1"/>
            <c:bubble3D val="0"/>
            <c:spPr>
              <a:solidFill>
                <a:srgbClr val="AEABAB"/>
              </a:solidFill>
            </c:spPr>
            <c:extLst>
              <c:ext xmlns:c16="http://schemas.microsoft.com/office/drawing/2014/chart" uri="{C3380CC4-5D6E-409C-BE32-E72D297353CC}">
                <c16:uniqueId val="{00001851-61F5-407B-959D-D24239F5BB85}"/>
              </c:ext>
            </c:extLst>
          </c:dPt>
          <c:dPt>
            <c:idx val="3112"/>
            <c:invertIfNegative val="1"/>
            <c:bubble3D val="0"/>
            <c:spPr>
              <a:solidFill>
                <a:srgbClr val="AEABAB"/>
              </a:solidFill>
            </c:spPr>
            <c:extLst>
              <c:ext xmlns:c16="http://schemas.microsoft.com/office/drawing/2014/chart" uri="{C3380CC4-5D6E-409C-BE32-E72D297353CC}">
                <c16:uniqueId val="{00001853-61F5-407B-959D-D24239F5BB85}"/>
              </c:ext>
            </c:extLst>
          </c:dPt>
          <c:dPt>
            <c:idx val="3113"/>
            <c:invertIfNegative val="1"/>
            <c:bubble3D val="0"/>
            <c:spPr>
              <a:solidFill>
                <a:srgbClr val="AEABAB"/>
              </a:solidFill>
            </c:spPr>
            <c:extLst>
              <c:ext xmlns:c16="http://schemas.microsoft.com/office/drawing/2014/chart" uri="{C3380CC4-5D6E-409C-BE32-E72D297353CC}">
                <c16:uniqueId val="{00001855-61F5-407B-959D-D24239F5BB85}"/>
              </c:ext>
            </c:extLst>
          </c:dPt>
          <c:dPt>
            <c:idx val="3114"/>
            <c:invertIfNegative val="1"/>
            <c:bubble3D val="0"/>
            <c:spPr>
              <a:solidFill>
                <a:srgbClr val="AEABAB"/>
              </a:solidFill>
            </c:spPr>
            <c:extLst>
              <c:ext xmlns:c16="http://schemas.microsoft.com/office/drawing/2014/chart" uri="{C3380CC4-5D6E-409C-BE32-E72D297353CC}">
                <c16:uniqueId val="{00001857-61F5-407B-959D-D24239F5BB85}"/>
              </c:ext>
            </c:extLst>
          </c:dPt>
          <c:dPt>
            <c:idx val="3115"/>
            <c:invertIfNegative val="1"/>
            <c:bubble3D val="0"/>
            <c:spPr>
              <a:solidFill>
                <a:srgbClr val="AEABAB"/>
              </a:solidFill>
            </c:spPr>
            <c:extLst>
              <c:ext xmlns:c16="http://schemas.microsoft.com/office/drawing/2014/chart" uri="{C3380CC4-5D6E-409C-BE32-E72D297353CC}">
                <c16:uniqueId val="{00001859-61F5-407B-959D-D24239F5BB85}"/>
              </c:ext>
            </c:extLst>
          </c:dPt>
          <c:dPt>
            <c:idx val="3116"/>
            <c:invertIfNegative val="1"/>
            <c:bubble3D val="0"/>
            <c:spPr>
              <a:solidFill>
                <a:srgbClr val="AEABAB"/>
              </a:solidFill>
            </c:spPr>
            <c:extLst>
              <c:ext xmlns:c16="http://schemas.microsoft.com/office/drawing/2014/chart" uri="{C3380CC4-5D6E-409C-BE32-E72D297353CC}">
                <c16:uniqueId val="{0000185B-61F5-407B-959D-D24239F5BB85}"/>
              </c:ext>
            </c:extLst>
          </c:dPt>
          <c:dPt>
            <c:idx val="3117"/>
            <c:invertIfNegative val="1"/>
            <c:bubble3D val="0"/>
            <c:spPr>
              <a:solidFill>
                <a:srgbClr val="AEABAB"/>
              </a:solidFill>
            </c:spPr>
            <c:extLst>
              <c:ext xmlns:c16="http://schemas.microsoft.com/office/drawing/2014/chart" uri="{C3380CC4-5D6E-409C-BE32-E72D297353CC}">
                <c16:uniqueId val="{0000185D-61F5-407B-959D-D24239F5BB85}"/>
              </c:ext>
            </c:extLst>
          </c:dPt>
          <c:dPt>
            <c:idx val="3118"/>
            <c:invertIfNegative val="1"/>
            <c:bubble3D val="0"/>
            <c:spPr>
              <a:solidFill>
                <a:srgbClr val="AEABAB"/>
              </a:solidFill>
            </c:spPr>
            <c:extLst>
              <c:ext xmlns:c16="http://schemas.microsoft.com/office/drawing/2014/chart" uri="{C3380CC4-5D6E-409C-BE32-E72D297353CC}">
                <c16:uniqueId val="{0000185F-61F5-407B-959D-D24239F5BB85}"/>
              </c:ext>
            </c:extLst>
          </c:dPt>
          <c:dPt>
            <c:idx val="3119"/>
            <c:invertIfNegative val="1"/>
            <c:bubble3D val="0"/>
            <c:spPr>
              <a:solidFill>
                <a:srgbClr val="AEABAB"/>
              </a:solidFill>
            </c:spPr>
            <c:extLst>
              <c:ext xmlns:c16="http://schemas.microsoft.com/office/drawing/2014/chart" uri="{C3380CC4-5D6E-409C-BE32-E72D297353CC}">
                <c16:uniqueId val="{00001861-61F5-407B-959D-D24239F5BB85}"/>
              </c:ext>
            </c:extLst>
          </c:dPt>
          <c:dPt>
            <c:idx val="3120"/>
            <c:invertIfNegative val="1"/>
            <c:bubble3D val="0"/>
            <c:spPr>
              <a:solidFill>
                <a:srgbClr val="AEABAB"/>
              </a:solidFill>
            </c:spPr>
            <c:extLst>
              <c:ext xmlns:c16="http://schemas.microsoft.com/office/drawing/2014/chart" uri="{C3380CC4-5D6E-409C-BE32-E72D297353CC}">
                <c16:uniqueId val="{00001863-61F5-407B-959D-D24239F5BB85}"/>
              </c:ext>
            </c:extLst>
          </c:dPt>
          <c:dPt>
            <c:idx val="3121"/>
            <c:invertIfNegative val="1"/>
            <c:bubble3D val="0"/>
            <c:spPr>
              <a:solidFill>
                <a:srgbClr val="AEABAB"/>
              </a:solidFill>
            </c:spPr>
            <c:extLst>
              <c:ext xmlns:c16="http://schemas.microsoft.com/office/drawing/2014/chart" uri="{C3380CC4-5D6E-409C-BE32-E72D297353CC}">
                <c16:uniqueId val="{00001865-61F5-407B-959D-D24239F5BB85}"/>
              </c:ext>
            </c:extLst>
          </c:dPt>
          <c:dPt>
            <c:idx val="3122"/>
            <c:invertIfNegative val="1"/>
            <c:bubble3D val="0"/>
            <c:spPr>
              <a:solidFill>
                <a:srgbClr val="AEABAB"/>
              </a:solidFill>
            </c:spPr>
            <c:extLst>
              <c:ext xmlns:c16="http://schemas.microsoft.com/office/drawing/2014/chart" uri="{C3380CC4-5D6E-409C-BE32-E72D297353CC}">
                <c16:uniqueId val="{00001867-61F5-407B-959D-D24239F5BB85}"/>
              </c:ext>
            </c:extLst>
          </c:dPt>
          <c:dPt>
            <c:idx val="3123"/>
            <c:invertIfNegative val="1"/>
            <c:bubble3D val="0"/>
            <c:spPr>
              <a:solidFill>
                <a:srgbClr val="AEABAB"/>
              </a:solidFill>
            </c:spPr>
            <c:extLst>
              <c:ext xmlns:c16="http://schemas.microsoft.com/office/drawing/2014/chart" uri="{C3380CC4-5D6E-409C-BE32-E72D297353CC}">
                <c16:uniqueId val="{00001869-61F5-407B-959D-D24239F5BB85}"/>
              </c:ext>
            </c:extLst>
          </c:dPt>
          <c:dPt>
            <c:idx val="3124"/>
            <c:invertIfNegative val="1"/>
            <c:bubble3D val="0"/>
            <c:spPr>
              <a:solidFill>
                <a:srgbClr val="AEABAB"/>
              </a:solidFill>
            </c:spPr>
            <c:extLst>
              <c:ext xmlns:c16="http://schemas.microsoft.com/office/drawing/2014/chart" uri="{C3380CC4-5D6E-409C-BE32-E72D297353CC}">
                <c16:uniqueId val="{0000186B-61F5-407B-959D-D24239F5BB85}"/>
              </c:ext>
            </c:extLst>
          </c:dPt>
          <c:dPt>
            <c:idx val="3125"/>
            <c:invertIfNegative val="1"/>
            <c:bubble3D val="0"/>
            <c:spPr>
              <a:solidFill>
                <a:srgbClr val="AEABAB"/>
              </a:solidFill>
            </c:spPr>
            <c:extLst>
              <c:ext xmlns:c16="http://schemas.microsoft.com/office/drawing/2014/chart" uri="{C3380CC4-5D6E-409C-BE32-E72D297353CC}">
                <c16:uniqueId val="{0000186D-61F5-407B-959D-D24239F5BB85}"/>
              </c:ext>
            </c:extLst>
          </c:dPt>
          <c:dPt>
            <c:idx val="3126"/>
            <c:invertIfNegative val="1"/>
            <c:bubble3D val="0"/>
            <c:spPr>
              <a:solidFill>
                <a:srgbClr val="AEABAB"/>
              </a:solidFill>
            </c:spPr>
            <c:extLst>
              <c:ext xmlns:c16="http://schemas.microsoft.com/office/drawing/2014/chart" uri="{C3380CC4-5D6E-409C-BE32-E72D297353CC}">
                <c16:uniqueId val="{0000186F-61F5-407B-959D-D24239F5BB85}"/>
              </c:ext>
            </c:extLst>
          </c:dPt>
          <c:dPt>
            <c:idx val="3127"/>
            <c:invertIfNegative val="1"/>
            <c:bubble3D val="0"/>
            <c:spPr>
              <a:solidFill>
                <a:srgbClr val="AEABAB"/>
              </a:solidFill>
            </c:spPr>
            <c:extLst>
              <c:ext xmlns:c16="http://schemas.microsoft.com/office/drawing/2014/chart" uri="{C3380CC4-5D6E-409C-BE32-E72D297353CC}">
                <c16:uniqueId val="{00001871-61F5-407B-959D-D24239F5BB85}"/>
              </c:ext>
            </c:extLst>
          </c:dPt>
          <c:dPt>
            <c:idx val="3128"/>
            <c:invertIfNegative val="1"/>
            <c:bubble3D val="0"/>
            <c:spPr>
              <a:solidFill>
                <a:srgbClr val="AEABAB"/>
              </a:solidFill>
            </c:spPr>
            <c:extLst>
              <c:ext xmlns:c16="http://schemas.microsoft.com/office/drawing/2014/chart" uri="{C3380CC4-5D6E-409C-BE32-E72D297353CC}">
                <c16:uniqueId val="{00001873-61F5-407B-959D-D24239F5BB85}"/>
              </c:ext>
            </c:extLst>
          </c:dPt>
          <c:dPt>
            <c:idx val="3129"/>
            <c:invertIfNegative val="1"/>
            <c:bubble3D val="0"/>
            <c:spPr>
              <a:solidFill>
                <a:srgbClr val="AEABAB"/>
              </a:solidFill>
            </c:spPr>
            <c:extLst>
              <c:ext xmlns:c16="http://schemas.microsoft.com/office/drawing/2014/chart" uri="{C3380CC4-5D6E-409C-BE32-E72D297353CC}">
                <c16:uniqueId val="{00001875-61F5-407B-959D-D24239F5BB85}"/>
              </c:ext>
            </c:extLst>
          </c:dPt>
          <c:dPt>
            <c:idx val="3130"/>
            <c:invertIfNegative val="1"/>
            <c:bubble3D val="0"/>
            <c:spPr>
              <a:solidFill>
                <a:srgbClr val="AEABAB"/>
              </a:solidFill>
            </c:spPr>
            <c:extLst>
              <c:ext xmlns:c16="http://schemas.microsoft.com/office/drawing/2014/chart" uri="{C3380CC4-5D6E-409C-BE32-E72D297353CC}">
                <c16:uniqueId val="{00001877-61F5-407B-959D-D24239F5BB85}"/>
              </c:ext>
            </c:extLst>
          </c:dPt>
          <c:dPt>
            <c:idx val="3131"/>
            <c:invertIfNegative val="1"/>
            <c:bubble3D val="0"/>
            <c:spPr>
              <a:solidFill>
                <a:srgbClr val="AEABAB"/>
              </a:solidFill>
            </c:spPr>
            <c:extLst>
              <c:ext xmlns:c16="http://schemas.microsoft.com/office/drawing/2014/chart" uri="{C3380CC4-5D6E-409C-BE32-E72D297353CC}">
                <c16:uniqueId val="{00001879-61F5-407B-959D-D24239F5BB85}"/>
              </c:ext>
            </c:extLst>
          </c:dPt>
          <c:dPt>
            <c:idx val="3132"/>
            <c:invertIfNegative val="1"/>
            <c:bubble3D val="0"/>
            <c:spPr>
              <a:solidFill>
                <a:srgbClr val="AEABAB"/>
              </a:solidFill>
            </c:spPr>
            <c:extLst>
              <c:ext xmlns:c16="http://schemas.microsoft.com/office/drawing/2014/chart" uri="{C3380CC4-5D6E-409C-BE32-E72D297353CC}">
                <c16:uniqueId val="{0000187B-61F5-407B-959D-D24239F5BB85}"/>
              </c:ext>
            </c:extLst>
          </c:dPt>
          <c:dPt>
            <c:idx val="3133"/>
            <c:invertIfNegative val="1"/>
            <c:bubble3D val="0"/>
            <c:spPr>
              <a:solidFill>
                <a:srgbClr val="AEABAB"/>
              </a:solidFill>
            </c:spPr>
            <c:extLst>
              <c:ext xmlns:c16="http://schemas.microsoft.com/office/drawing/2014/chart" uri="{C3380CC4-5D6E-409C-BE32-E72D297353CC}">
                <c16:uniqueId val="{0000187D-61F5-407B-959D-D24239F5BB85}"/>
              </c:ext>
            </c:extLst>
          </c:dPt>
          <c:dPt>
            <c:idx val="3134"/>
            <c:invertIfNegative val="1"/>
            <c:bubble3D val="0"/>
            <c:spPr>
              <a:solidFill>
                <a:srgbClr val="AEABAB"/>
              </a:solidFill>
            </c:spPr>
            <c:extLst>
              <c:ext xmlns:c16="http://schemas.microsoft.com/office/drawing/2014/chart" uri="{C3380CC4-5D6E-409C-BE32-E72D297353CC}">
                <c16:uniqueId val="{0000187F-61F5-407B-959D-D24239F5BB85}"/>
              </c:ext>
            </c:extLst>
          </c:dPt>
          <c:dPt>
            <c:idx val="3135"/>
            <c:invertIfNegative val="1"/>
            <c:bubble3D val="0"/>
            <c:spPr>
              <a:solidFill>
                <a:srgbClr val="AEABAB"/>
              </a:solidFill>
            </c:spPr>
            <c:extLst>
              <c:ext xmlns:c16="http://schemas.microsoft.com/office/drawing/2014/chart" uri="{C3380CC4-5D6E-409C-BE32-E72D297353CC}">
                <c16:uniqueId val="{00001881-61F5-407B-959D-D24239F5BB85}"/>
              </c:ext>
            </c:extLst>
          </c:dPt>
          <c:dPt>
            <c:idx val="3136"/>
            <c:invertIfNegative val="1"/>
            <c:bubble3D val="0"/>
            <c:spPr>
              <a:solidFill>
                <a:srgbClr val="AEABAB"/>
              </a:solidFill>
            </c:spPr>
            <c:extLst>
              <c:ext xmlns:c16="http://schemas.microsoft.com/office/drawing/2014/chart" uri="{C3380CC4-5D6E-409C-BE32-E72D297353CC}">
                <c16:uniqueId val="{00001883-61F5-407B-959D-D24239F5BB85}"/>
              </c:ext>
            </c:extLst>
          </c:dPt>
          <c:dPt>
            <c:idx val="3137"/>
            <c:invertIfNegative val="1"/>
            <c:bubble3D val="0"/>
            <c:spPr>
              <a:solidFill>
                <a:srgbClr val="AEABAB"/>
              </a:solidFill>
            </c:spPr>
            <c:extLst>
              <c:ext xmlns:c16="http://schemas.microsoft.com/office/drawing/2014/chart" uri="{C3380CC4-5D6E-409C-BE32-E72D297353CC}">
                <c16:uniqueId val="{00001885-61F5-407B-959D-D24239F5BB85}"/>
              </c:ext>
            </c:extLst>
          </c:dPt>
          <c:dPt>
            <c:idx val="3138"/>
            <c:invertIfNegative val="1"/>
            <c:bubble3D val="0"/>
            <c:spPr>
              <a:solidFill>
                <a:srgbClr val="AEABAB"/>
              </a:solidFill>
            </c:spPr>
            <c:extLst>
              <c:ext xmlns:c16="http://schemas.microsoft.com/office/drawing/2014/chart" uri="{C3380CC4-5D6E-409C-BE32-E72D297353CC}">
                <c16:uniqueId val="{00001887-61F5-407B-959D-D24239F5BB85}"/>
              </c:ext>
            </c:extLst>
          </c:dPt>
          <c:dPt>
            <c:idx val="3139"/>
            <c:invertIfNegative val="1"/>
            <c:bubble3D val="0"/>
            <c:spPr>
              <a:solidFill>
                <a:srgbClr val="AEABAB"/>
              </a:solidFill>
            </c:spPr>
            <c:extLst>
              <c:ext xmlns:c16="http://schemas.microsoft.com/office/drawing/2014/chart" uri="{C3380CC4-5D6E-409C-BE32-E72D297353CC}">
                <c16:uniqueId val="{00001889-61F5-407B-959D-D24239F5BB85}"/>
              </c:ext>
            </c:extLst>
          </c:dPt>
          <c:dPt>
            <c:idx val="3140"/>
            <c:invertIfNegative val="1"/>
            <c:bubble3D val="0"/>
            <c:spPr>
              <a:solidFill>
                <a:srgbClr val="AEABAB"/>
              </a:solidFill>
            </c:spPr>
            <c:extLst>
              <c:ext xmlns:c16="http://schemas.microsoft.com/office/drawing/2014/chart" uri="{C3380CC4-5D6E-409C-BE32-E72D297353CC}">
                <c16:uniqueId val="{0000188B-61F5-407B-959D-D24239F5BB85}"/>
              </c:ext>
            </c:extLst>
          </c:dPt>
          <c:dPt>
            <c:idx val="3141"/>
            <c:invertIfNegative val="1"/>
            <c:bubble3D val="0"/>
            <c:spPr>
              <a:solidFill>
                <a:srgbClr val="AEABAB"/>
              </a:solidFill>
            </c:spPr>
            <c:extLst>
              <c:ext xmlns:c16="http://schemas.microsoft.com/office/drawing/2014/chart" uri="{C3380CC4-5D6E-409C-BE32-E72D297353CC}">
                <c16:uniqueId val="{0000188D-61F5-407B-959D-D24239F5BB85}"/>
              </c:ext>
            </c:extLst>
          </c:dPt>
          <c:dPt>
            <c:idx val="3142"/>
            <c:invertIfNegative val="1"/>
            <c:bubble3D val="0"/>
            <c:spPr>
              <a:solidFill>
                <a:srgbClr val="AEABAB"/>
              </a:solidFill>
            </c:spPr>
            <c:extLst>
              <c:ext xmlns:c16="http://schemas.microsoft.com/office/drawing/2014/chart" uri="{C3380CC4-5D6E-409C-BE32-E72D297353CC}">
                <c16:uniqueId val="{0000188F-61F5-407B-959D-D24239F5BB85}"/>
              </c:ext>
            </c:extLst>
          </c:dPt>
          <c:dPt>
            <c:idx val="3143"/>
            <c:invertIfNegative val="1"/>
            <c:bubble3D val="0"/>
            <c:spPr>
              <a:solidFill>
                <a:srgbClr val="AEABAB"/>
              </a:solidFill>
            </c:spPr>
            <c:extLst>
              <c:ext xmlns:c16="http://schemas.microsoft.com/office/drawing/2014/chart" uri="{C3380CC4-5D6E-409C-BE32-E72D297353CC}">
                <c16:uniqueId val="{00001891-61F5-407B-959D-D24239F5BB85}"/>
              </c:ext>
            </c:extLst>
          </c:dPt>
          <c:dPt>
            <c:idx val="3144"/>
            <c:invertIfNegative val="1"/>
            <c:bubble3D val="0"/>
            <c:spPr>
              <a:solidFill>
                <a:srgbClr val="AEABAB"/>
              </a:solidFill>
            </c:spPr>
            <c:extLst>
              <c:ext xmlns:c16="http://schemas.microsoft.com/office/drawing/2014/chart" uri="{C3380CC4-5D6E-409C-BE32-E72D297353CC}">
                <c16:uniqueId val="{00001893-61F5-407B-959D-D24239F5BB85}"/>
              </c:ext>
            </c:extLst>
          </c:dPt>
          <c:dPt>
            <c:idx val="3145"/>
            <c:invertIfNegative val="1"/>
            <c:bubble3D val="0"/>
            <c:spPr>
              <a:solidFill>
                <a:srgbClr val="AEABAB"/>
              </a:solidFill>
            </c:spPr>
            <c:extLst>
              <c:ext xmlns:c16="http://schemas.microsoft.com/office/drawing/2014/chart" uri="{C3380CC4-5D6E-409C-BE32-E72D297353CC}">
                <c16:uniqueId val="{00001895-61F5-407B-959D-D24239F5BB85}"/>
              </c:ext>
            </c:extLst>
          </c:dPt>
          <c:dPt>
            <c:idx val="3146"/>
            <c:invertIfNegative val="1"/>
            <c:bubble3D val="0"/>
            <c:spPr>
              <a:solidFill>
                <a:srgbClr val="AEABAB"/>
              </a:solidFill>
            </c:spPr>
            <c:extLst>
              <c:ext xmlns:c16="http://schemas.microsoft.com/office/drawing/2014/chart" uri="{C3380CC4-5D6E-409C-BE32-E72D297353CC}">
                <c16:uniqueId val="{00001897-61F5-407B-959D-D24239F5BB85}"/>
              </c:ext>
            </c:extLst>
          </c:dPt>
          <c:dPt>
            <c:idx val="3147"/>
            <c:invertIfNegative val="1"/>
            <c:bubble3D val="0"/>
            <c:spPr>
              <a:solidFill>
                <a:srgbClr val="AEABAB"/>
              </a:solidFill>
            </c:spPr>
            <c:extLst>
              <c:ext xmlns:c16="http://schemas.microsoft.com/office/drawing/2014/chart" uri="{C3380CC4-5D6E-409C-BE32-E72D297353CC}">
                <c16:uniqueId val="{00001899-61F5-407B-959D-D24239F5BB85}"/>
              </c:ext>
            </c:extLst>
          </c:dPt>
          <c:dPt>
            <c:idx val="3148"/>
            <c:invertIfNegative val="1"/>
            <c:bubble3D val="0"/>
            <c:spPr>
              <a:solidFill>
                <a:srgbClr val="AEABAB"/>
              </a:solidFill>
            </c:spPr>
            <c:extLst>
              <c:ext xmlns:c16="http://schemas.microsoft.com/office/drawing/2014/chart" uri="{C3380CC4-5D6E-409C-BE32-E72D297353CC}">
                <c16:uniqueId val="{0000189B-61F5-407B-959D-D24239F5BB85}"/>
              </c:ext>
            </c:extLst>
          </c:dPt>
          <c:dPt>
            <c:idx val="3149"/>
            <c:invertIfNegative val="1"/>
            <c:bubble3D val="0"/>
            <c:spPr>
              <a:solidFill>
                <a:srgbClr val="AEABAB"/>
              </a:solidFill>
            </c:spPr>
            <c:extLst>
              <c:ext xmlns:c16="http://schemas.microsoft.com/office/drawing/2014/chart" uri="{C3380CC4-5D6E-409C-BE32-E72D297353CC}">
                <c16:uniqueId val="{0000189D-61F5-407B-959D-D24239F5BB85}"/>
              </c:ext>
            </c:extLst>
          </c:dPt>
          <c:dPt>
            <c:idx val="3150"/>
            <c:invertIfNegative val="1"/>
            <c:bubble3D val="0"/>
            <c:spPr>
              <a:solidFill>
                <a:srgbClr val="AEABAB"/>
              </a:solidFill>
            </c:spPr>
            <c:extLst>
              <c:ext xmlns:c16="http://schemas.microsoft.com/office/drawing/2014/chart" uri="{C3380CC4-5D6E-409C-BE32-E72D297353CC}">
                <c16:uniqueId val="{0000189F-61F5-407B-959D-D24239F5BB85}"/>
              </c:ext>
            </c:extLst>
          </c:dPt>
          <c:dPt>
            <c:idx val="3151"/>
            <c:invertIfNegative val="1"/>
            <c:bubble3D val="0"/>
            <c:spPr>
              <a:solidFill>
                <a:srgbClr val="AEABAB"/>
              </a:solidFill>
            </c:spPr>
            <c:extLst>
              <c:ext xmlns:c16="http://schemas.microsoft.com/office/drawing/2014/chart" uri="{C3380CC4-5D6E-409C-BE32-E72D297353CC}">
                <c16:uniqueId val="{000018A1-61F5-407B-959D-D24239F5BB85}"/>
              </c:ext>
            </c:extLst>
          </c:dPt>
          <c:dPt>
            <c:idx val="3152"/>
            <c:invertIfNegative val="1"/>
            <c:bubble3D val="0"/>
            <c:spPr>
              <a:solidFill>
                <a:srgbClr val="AEABAB"/>
              </a:solidFill>
            </c:spPr>
            <c:extLst>
              <c:ext xmlns:c16="http://schemas.microsoft.com/office/drawing/2014/chart" uri="{C3380CC4-5D6E-409C-BE32-E72D297353CC}">
                <c16:uniqueId val="{000018A3-61F5-407B-959D-D24239F5BB85}"/>
              </c:ext>
            </c:extLst>
          </c:dPt>
          <c:dPt>
            <c:idx val="3153"/>
            <c:invertIfNegative val="1"/>
            <c:bubble3D val="0"/>
            <c:spPr>
              <a:solidFill>
                <a:srgbClr val="AEABAB"/>
              </a:solidFill>
            </c:spPr>
            <c:extLst>
              <c:ext xmlns:c16="http://schemas.microsoft.com/office/drawing/2014/chart" uri="{C3380CC4-5D6E-409C-BE32-E72D297353CC}">
                <c16:uniqueId val="{000018A5-61F5-407B-959D-D24239F5BB85}"/>
              </c:ext>
            </c:extLst>
          </c:dPt>
          <c:dPt>
            <c:idx val="3154"/>
            <c:invertIfNegative val="1"/>
            <c:bubble3D val="0"/>
            <c:spPr>
              <a:solidFill>
                <a:srgbClr val="AEABAB"/>
              </a:solidFill>
            </c:spPr>
            <c:extLst>
              <c:ext xmlns:c16="http://schemas.microsoft.com/office/drawing/2014/chart" uri="{C3380CC4-5D6E-409C-BE32-E72D297353CC}">
                <c16:uniqueId val="{000018A7-61F5-407B-959D-D24239F5BB85}"/>
              </c:ext>
            </c:extLst>
          </c:dPt>
          <c:dPt>
            <c:idx val="3155"/>
            <c:invertIfNegative val="1"/>
            <c:bubble3D val="0"/>
            <c:spPr>
              <a:solidFill>
                <a:srgbClr val="AEABAB"/>
              </a:solidFill>
            </c:spPr>
            <c:extLst>
              <c:ext xmlns:c16="http://schemas.microsoft.com/office/drawing/2014/chart" uri="{C3380CC4-5D6E-409C-BE32-E72D297353CC}">
                <c16:uniqueId val="{000018A9-61F5-407B-959D-D24239F5BB85}"/>
              </c:ext>
            </c:extLst>
          </c:dPt>
          <c:dPt>
            <c:idx val="3156"/>
            <c:invertIfNegative val="1"/>
            <c:bubble3D val="0"/>
            <c:spPr>
              <a:solidFill>
                <a:srgbClr val="AEABAB"/>
              </a:solidFill>
            </c:spPr>
            <c:extLst>
              <c:ext xmlns:c16="http://schemas.microsoft.com/office/drawing/2014/chart" uri="{C3380CC4-5D6E-409C-BE32-E72D297353CC}">
                <c16:uniqueId val="{000018AB-61F5-407B-959D-D24239F5BB85}"/>
              </c:ext>
            </c:extLst>
          </c:dPt>
          <c:dPt>
            <c:idx val="3157"/>
            <c:invertIfNegative val="1"/>
            <c:bubble3D val="0"/>
            <c:spPr>
              <a:solidFill>
                <a:srgbClr val="AEABAB"/>
              </a:solidFill>
            </c:spPr>
            <c:extLst>
              <c:ext xmlns:c16="http://schemas.microsoft.com/office/drawing/2014/chart" uri="{C3380CC4-5D6E-409C-BE32-E72D297353CC}">
                <c16:uniqueId val="{000018AD-61F5-407B-959D-D24239F5BB85}"/>
              </c:ext>
            </c:extLst>
          </c:dPt>
          <c:dPt>
            <c:idx val="3158"/>
            <c:invertIfNegative val="1"/>
            <c:bubble3D val="0"/>
            <c:spPr>
              <a:solidFill>
                <a:srgbClr val="AEABAB"/>
              </a:solidFill>
            </c:spPr>
            <c:extLst>
              <c:ext xmlns:c16="http://schemas.microsoft.com/office/drawing/2014/chart" uri="{C3380CC4-5D6E-409C-BE32-E72D297353CC}">
                <c16:uniqueId val="{000018AF-61F5-407B-959D-D24239F5BB85}"/>
              </c:ext>
            </c:extLst>
          </c:dPt>
          <c:dPt>
            <c:idx val="3159"/>
            <c:invertIfNegative val="1"/>
            <c:bubble3D val="0"/>
            <c:spPr>
              <a:solidFill>
                <a:srgbClr val="AEABAB"/>
              </a:solidFill>
            </c:spPr>
            <c:extLst>
              <c:ext xmlns:c16="http://schemas.microsoft.com/office/drawing/2014/chart" uri="{C3380CC4-5D6E-409C-BE32-E72D297353CC}">
                <c16:uniqueId val="{000018B1-61F5-407B-959D-D24239F5BB85}"/>
              </c:ext>
            </c:extLst>
          </c:dPt>
          <c:dPt>
            <c:idx val="3160"/>
            <c:invertIfNegative val="1"/>
            <c:bubble3D val="0"/>
            <c:spPr>
              <a:solidFill>
                <a:srgbClr val="AEABAB"/>
              </a:solidFill>
            </c:spPr>
            <c:extLst>
              <c:ext xmlns:c16="http://schemas.microsoft.com/office/drawing/2014/chart" uri="{C3380CC4-5D6E-409C-BE32-E72D297353CC}">
                <c16:uniqueId val="{000018B3-61F5-407B-959D-D24239F5BB85}"/>
              </c:ext>
            </c:extLst>
          </c:dPt>
          <c:dPt>
            <c:idx val="3161"/>
            <c:invertIfNegative val="1"/>
            <c:bubble3D val="0"/>
            <c:spPr>
              <a:solidFill>
                <a:srgbClr val="AEABAB"/>
              </a:solidFill>
            </c:spPr>
            <c:extLst>
              <c:ext xmlns:c16="http://schemas.microsoft.com/office/drawing/2014/chart" uri="{C3380CC4-5D6E-409C-BE32-E72D297353CC}">
                <c16:uniqueId val="{000018B5-61F5-407B-959D-D24239F5BB85}"/>
              </c:ext>
            </c:extLst>
          </c:dPt>
          <c:dPt>
            <c:idx val="3162"/>
            <c:invertIfNegative val="1"/>
            <c:bubble3D val="0"/>
            <c:spPr>
              <a:solidFill>
                <a:srgbClr val="AEABAB"/>
              </a:solidFill>
            </c:spPr>
            <c:extLst>
              <c:ext xmlns:c16="http://schemas.microsoft.com/office/drawing/2014/chart" uri="{C3380CC4-5D6E-409C-BE32-E72D297353CC}">
                <c16:uniqueId val="{000018B7-61F5-407B-959D-D24239F5BB85}"/>
              </c:ext>
            </c:extLst>
          </c:dPt>
          <c:dPt>
            <c:idx val="3163"/>
            <c:invertIfNegative val="1"/>
            <c:bubble3D val="0"/>
            <c:spPr>
              <a:solidFill>
                <a:srgbClr val="AEABAB"/>
              </a:solidFill>
            </c:spPr>
            <c:extLst>
              <c:ext xmlns:c16="http://schemas.microsoft.com/office/drawing/2014/chart" uri="{C3380CC4-5D6E-409C-BE32-E72D297353CC}">
                <c16:uniqueId val="{000018B9-61F5-407B-959D-D24239F5BB85}"/>
              </c:ext>
            </c:extLst>
          </c:dPt>
          <c:dPt>
            <c:idx val="3164"/>
            <c:invertIfNegative val="1"/>
            <c:bubble3D val="0"/>
            <c:spPr>
              <a:solidFill>
                <a:srgbClr val="AEABAB"/>
              </a:solidFill>
            </c:spPr>
            <c:extLst>
              <c:ext xmlns:c16="http://schemas.microsoft.com/office/drawing/2014/chart" uri="{C3380CC4-5D6E-409C-BE32-E72D297353CC}">
                <c16:uniqueId val="{000018BB-61F5-407B-959D-D24239F5BB85}"/>
              </c:ext>
            </c:extLst>
          </c:dPt>
          <c:dPt>
            <c:idx val="3165"/>
            <c:invertIfNegative val="1"/>
            <c:bubble3D val="0"/>
            <c:spPr>
              <a:solidFill>
                <a:srgbClr val="AEABAB"/>
              </a:solidFill>
            </c:spPr>
            <c:extLst>
              <c:ext xmlns:c16="http://schemas.microsoft.com/office/drawing/2014/chart" uri="{C3380CC4-5D6E-409C-BE32-E72D297353CC}">
                <c16:uniqueId val="{000018BD-61F5-407B-959D-D24239F5BB85}"/>
              </c:ext>
            </c:extLst>
          </c:dPt>
          <c:dPt>
            <c:idx val="3166"/>
            <c:invertIfNegative val="1"/>
            <c:bubble3D val="0"/>
            <c:spPr>
              <a:solidFill>
                <a:srgbClr val="AEABAB"/>
              </a:solidFill>
            </c:spPr>
            <c:extLst>
              <c:ext xmlns:c16="http://schemas.microsoft.com/office/drawing/2014/chart" uri="{C3380CC4-5D6E-409C-BE32-E72D297353CC}">
                <c16:uniqueId val="{000018BF-61F5-407B-959D-D24239F5BB85}"/>
              </c:ext>
            </c:extLst>
          </c:dPt>
          <c:dPt>
            <c:idx val="3167"/>
            <c:invertIfNegative val="1"/>
            <c:bubble3D val="0"/>
            <c:spPr>
              <a:solidFill>
                <a:srgbClr val="AEABAB"/>
              </a:solidFill>
            </c:spPr>
            <c:extLst>
              <c:ext xmlns:c16="http://schemas.microsoft.com/office/drawing/2014/chart" uri="{C3380CC4-5D6E-409C-BE32-E72D297353CC}">
                <c16:uniqueId val="{000018C1-61F5-407B-959D-D24239F5BB85}"/>
              </c:ext>
            </c:extLst>
          </c:dPt>
          <c:dPt>
            <c:idx val="3168"/>
            <c:invertIfNegative val="1"/>
            <c:bubble3D val="0"/>
            <c:spPr>
              <a:solidFill>
                <a:srgbClr val="AEABAB"/>
              </a:solidFill>
            </c:spPr>
            <c:extLst>
              <c:ext xmlns:c16="http://schemas.microsoft.com/office/drawing/2014/chart" uri="{C3380CC4-5D6E-409C-BE32-E72D297353CC}">
                <c16:uniqueId val="{000018C3-61F5-407B-959D-D24239F5BB85}"/>
              </c:ext>
            </c:extLst>
          </c:dPt>
          <c:dPt>
            <c:idx val="3169"/>
            <c:invertIfNegative val="1"/>
            <c:bubble3D val="0"/>
            <c:spPr>
              <a:solidFill>
                <a:srgbClr val="AEABAB"/>
              </a:solidFill>
            </c:spPr>
            <c:extLst>
              <c:ext xmlns:c16="http://schemas.microsoft.com/office/drawing/2014/chart" uri="{C3380CC4-5D6E-409C-BE32-E72D297353CC}">
                <c16:uniqueId val="{000018C5-61F5-407B-959D-D24239F5BB85}"/>
              </c:ext>
            </c:extLst>
          </c:dPt>
          <c:dPt>
            <c:idx val="3170"/>
            <c:invertIfNegative val="1"/>
            <c:bubble3D val="0"/>
            <c:spPr>
              <a:solidFill>
                <a:srgbClr val="AEABAB"/>
              </a:solidFill>
            </c:spPr>
            <c:extLst>
              <c:ext xmlns:c16="http://schemas.microsoft.com/office/drawing/2014/chart" uri="{C3380CC4-5D6E-409C-BE32-E72D297353CC}">
                <c16:uniqueId val="{000018C7-61F5-407B-959D-D24239F5BB85}"/>
              </c:ext>
            </c:extLst>
          </c:dPt>
          <c:dPt>
            <c:idx val="3171"/>
            <c:invertIfNegative val="1"/>
            <c:bubble3D val="0"/>
            <c:spPr>
              <a:solidFill>
                <a:srgbClr val="AEABAB"/>
              </a:solidFill>
            </c:spPr>
            <c:extLst>
              <c:ext xmlns:c16="http://schemas.microsoft.com/office/drawing/2014/chart" uri="{C3380CC4-5D6E-409C-BE32-E72D297353CC}">
                <c16:uniqueId val="{000018C9-61F5-407B-959D-D24239F5BB85}"/>
              </c:ext>
            </c:extLst>
          </c:dPt>
          <c:dPt>
            <c:idx val="3172"/>
            <c:invertIfNegative val="1"/>
            <c:bubble3D val="0"/>
            <c:spPr>
              <a:solidFill>
                <a:srgbClr val="AEABAB"/>
              </a:solidFill>
            </c:spPr>
            <c:extLst>
              <c:ext xmlns:c16="http://schemas.microsoft.com/office/drawing/2014/chart" uri="{C3380CC4-5D6E-409C-BE32-E72D297353CC}">
                <c16:uniqueId val="{000018CB-61F5-407B-959D-D24239F5BB85}"/>
              </c:ext>
            </c:extLst>
          </c:dPt>
          <c:dPt>
            <c:idx val="3173"/>
            <c:invertIfNegative val="1"/>
            <c:bubble3D val="0"/>
            <c:spPr>
              <a:solidFill>
                <a:srgbClr val="AEABAB"/>
              </a:solidFill>
            </c:spPr>
            <c:extLst>
              <c:ext xmlns:c16="http://schemas.microsoft.com/office/drawing/2014/chart" uri="{C3380CC4-5D6E-409C-BE32-E72D297353CC}">
                <c16:uniqueId val="{000018CD-61F5-407B-959D-D24239F5BB85}"/>
              </c:ext>
            </c:extLst>
          </c:dPt>
          <c:dPt>
            <c:idx val="3174"/>
            <c:invertIfNegative val="1"/>
            <c:bubble3D val="0"/>
            <c:spPr>
              <a:solidFill>
                <a:srgbClr val="AEABAB"/>
              </a:solidFill>
            </c:spPr>
            <c:extLst>
              <c:ext xmlns:c16="http://schemas.microsoft.com/office/drawing/2014/chart" uri="{C3380CC4-5D6E-409C-BE32-E72D297353CC}">
                <c16:uniqueId val="{000018CF-61F5-407B-959D-D24239F5BB85}"/>
              </c:ext>
            </c:extLst>
          </c:dPt>
          <c:dPt>
            <c:idx val="3175"/>
            <c:invertIfNegative val="1"/>
            <c:bubble3D val="0"/>
            <c:spPr>
              <a:solidFill>
                <a:srgbClr val="AEABAB"/>
              </a:solidFill>
            </c:spPr>
            <c:extLst>
              <c:ext xmlns:c16="http://schemas.microsoft.com/office/drawing/2014/chart" uri="{C3380CC4-5D6E-409C-BE32-E72D297353CC}">
                <c16:uniqueId val="{000018D1-61F5-407B-959D-D24239F5BB85}"/>
              </c:ext>
            </c:extLst>
          </c:dPt>
          <c:dPt>
            <c:idx val="3176"/>
            <c:invertIfNegative val="1"/>
            <c:bubble3D val="0"/>
            <c:spPr>
              <a:solidFill>
                <a:srgbClr val="AEABAB"/>
              </a:solidFill>
            </c:spPr>
            <c:extLst>
              <c:ext xmlns:c16="http://schemas.microsoft.com/office/drawing/2014/chart" uri="{C3380CC4-5D6E-409C-BE32-E72D297353CC}">
                <c16:uniqueId val="{000018D3-61F5-407B-959D-D24239F5BB85}"/>
              </c:ext>
            </c:extLst>
          </c:dPt>
          <c:dPt>
            <c:idx val="3177"/>
            <c:invertIfNegative val="1"/>
            <c:bubble3D val="0"/>
            <c:spPr>
              <a:solidFill>
                <a:srgbClr val="AEABAB"/>
              </a:solidFill>
            </c:spPr>
            <c:extLst>
              <c:ext xmlns:c16="http://schemas.microsoft.com/office/drawing/2014/chart" uri="{C3380CC4-5D6E-409C-BE32-E72D297353CC}">
                <c16:uniqueId val="{000018D5-61F5-407B-959D-D24239F5BB85}"/>
              </c:ext>
            </c:extLst>
          </c:dPt>
          <c:dPt>
            <c:idx val="3178"/>
            <c:invertIfNegative val="1"/>
            <c:bubble3D val="0"/>
            <c:spPr>
              <a:solidFill>
                <a:srgbClr val="AEABAB"/>
              </a:solidFill>
            </c:spPr>
            <c:extLst>
              <c:ext xmlns:c16="http://schemas.microsoft.com/office/drawing/2014/chart" uri="{C3380CC4-5D6E-409C-BE32-E72D297353CC}">
                <c16:uniqueId val="{000018D7-61F5-407B-959D-D24239F5BB85}"/>
              </c:ext>
            </c:extLst>
          </c:dPt>
          <c:dPt>
            <c:idx val="3179"/>
            <c:invertIfNegative val="1"/>
            <c:bubble3D val="0"/>
            <c:spPr>
              <a:solidFill>
                <a:srgbClr val="AEABAB"/>
              </a:solidFill>
            </c:spPr>
            <c:extLst>
              <c:ext xmlns:c16="http://schemas.microsoft.com/office/drawing/2014/chart" uri="{C3380CC4-5D6E-409C-BE32-E72D297353CC}">
                <c16:uniqueId val="{000018D9-61F5-407B-959D-D24239F5BB85}"/>
              </c:ext>
            </c:extLst>
          </c:dPt>
          <c:dPt>
            <c:idx val="3180"/>
            <c:invertIfNegative val="1"/>
            <c:bubble3D val="0"/>
            <c:spPr>
              <a:solidFill>
                <a:srgbClr val="AEABAB"/>
              </a:solidFill>
            </c:spPr>
            <c:extLst>
              <c:ext xmlns:c16="http://schemas.microsoft.com/office/drawing/2014/chart" uri="{C3380CC4-5D6E-409C-BE32-E72D297353CC}">
                <c16:uniqueId val="{000018DB-61F5-407B-959D-D24239F5BB85}"/>
              </c:ext>
            </c:extLst>
          </c:dPt>
          <c:dPt>
            <c:idx val="3181"/>
            <c:invertIfNegative val="1"/>
            <c:bubble3D val="0"/>
            <c:spPr>
              <a:solidFill>
                <a:srgbClr val="AEABAB"/>
              </a:solidFill>
            </c:spPr>
            <c:extLst>
              <c:ext xmlns:c16="http://schemas.microsoft.com/office/drawing/2014/chart" uri="{C3380CC4-5D6E-409C-BE32-E72D297353CC}">
                <c16:uniqueId val="{000018DD-61F5-407B-959D-D24239F5BB85}"/>
              </c:ext>
            </c:extLst>
          </c:dPt>
          <c:dPt>
            <c:idx val="3182"/>
            <c:invertIfNegative val="1"/>
            <c:bubble3D val="0"/>
            <c:spPr>
              <a:solidFill>
                <a:srgbClr val="AEABAB"/>
              </a:solidFill>
            </c:spPr>
            <c:extLst>
              <c:ext xmlns:c16="http://schemas.microsoft.com/office/drawing/2014/chart" uri="{C3380CC4-5D6E-409C-BE32-E72D297353CC}">
                <c16:uniqueId val="{000018DF-61F5-407B-959D-D24239F5BB85}"/>
              </c:ext>
            </c:extLst>
          </c:dPt>
          <c:dPt>
            <c:idx val="3183"/>
            <c:invertIfNegative val="1"/>
            <c:bubble3D val="0"/>
            <c:spPr>
              <a:solidFill>
                <a:srgbClr val="AEABAB"/>
              </a:solidFill>
            </c:spPr>
            <c:extLst>
              <c:ext xmlns:c16="http://schemas.microsoft.com/office/drawing/2014/chart" uri="{C3380CC4-5D6E-409C-BE32-E72D297353CC}">
                <c16:uniqueId val="{000018E1-61F5-407B-959D-D24239F5BB85}"/>
              </c:ext>
            </c:extLst>
          </c:dPt>
          <c:dPt>
            <c:idx val="3184"/>
            <c:invertIfNegative val="1"/>
            <c:bubble3D val="0"/>
            <c:spPr>
              <a:solidFill>
                <a:srgbClr val="AEABAB"/>
              </a:solidFill>
            </c:spPr>
            <c:extLst>
              <c:ext xmlns:c16="http://schemas.microsoft.com/office/drawing/2014/chart" uri="{C3380CC4-5D6E-409C-BE32-E72D297353CC}">
                <c16:uniqueId val="{000018E3-61F5-407B-959D-D24239F5BB85}"/>
              </c:ext>
            </c:extLst>
          </c:dPt>
          <c:dPt>
            <c:idx val="3185"/>
            <c:invertIfNegative val="1"/>
            <c:bubble3D val="0"/>
            <c:spPr>
              <a:solidFill>
                <a:srgbClr val="AEABAB"/>
              </a:solidFill>
            </c:spPr>
            <c:extLst>
              <c:ext xmlns:c16="http://schemas.microsoft.com/office/drawing/2014/chart" uri="{C3380CC4-5D6E-409C-BE32-E72D297353CC}">
                <c16:uniqueId val="{000018E5-61F5-407B-959D-D24239F5BB85}"/>
              </c:ext>
            </c:extLst>
          </c:dPt>
          <c:dPt>
            <c:idx val="3186"/>
            <c:invertIfNegative val="1"/>
            <c:bubble3D val="0"/>
            <c:spPr>
              <a:solidFill>
                <a:srgbClr val="AEABAB"/>
              </a:solidFill>
            </c:spPr>
            <c:extLst>
              <c:ext xmlns:c16="http://schemas.microsoft.com/office/drawing/2014/chart" uri="{C3380CC4-5D6E-409C-BE32-E72D297353CC}">
                <c16:uniqueId val="{000018E7-61F5-407B-959D-D24239F5BB85}"/>
              </c:ext>
            </c:extLst>
          </c:dPt>
          <c:dPt>
            <c:idx val="3187"/>
            <c:invertIfNegative val="1"/>
            <c:bubble3D val="0"/>
            <c:spPr>
              <a:solidFill>
                <a:srgbClr val="AEABAB"/>
              </a:solidFill>
            </c:spPr>
            <c:extLst>
              <c:ext xmlns:c16="http://schemas.microsoft.com/office/drawing/2014/chart" uri="{C3380CC4-5D6E-409C-BE32-E72D297353CC}">
                <c16:uniqueId val="{000018E9-61F5-407B-959D-D24239F5BB85}"/>
              </c:ext>
            </c:extLst>
          </c:dPt>
          <c:dPt>
            <c:idx val="3188"/>
            <c:invertIfNegative val="1"/>
            <c:bubble3D val="0"/>
            <c:spPr>
              <a:solidFill>
                <a:srgbClr val="AEABAB"/>
              </a:solidFill>
            </c:spPr>
            <c:extLst>
              <c:ext xmlns:c16="http://schemas.microsoft.com/office/drawing/2014/chart" uri="{C3380CC4-5D6E-409C-BE32-E72D297353CC}">
                <c16:uniqueId val="{000018EB-61F5-407B-959D-D24239F5BB85}"/>
              </c:ext>
            </c:extLst>
          </c:dPt>
          <c:dPt>
            <c:idx val="3189"/>
            <c:invertIfNegative val="1"/>
            <c:bubble3D val="0"/>
            <c:spPr>
              <a:solidFill>
                <a:srgbClr val="AEABAB"/>
              </a:solidFill>
            </c:spPr>
            <c:extLst>
              <c:ext xmlns:c16="http://schemas.microsoft.com/office/drawing/2014/chart" uri="{C3380CC4-5D6E-409C-BE32-E72D297353CC}">
                <c16:uniqueId val="{000018ED-61F5-407B-959D-D24239F5BB85}"/>
              </c:ext>
            </c:extLst>
          </c:dPt>
          <c:dPt>
            <c:idx val="3190"/>
            <c:invertIfNegative val="1"/>
            <c:bubble3D val="0"/>
            <c:spPr>
              <a:solidFill>
                <a:srgbClr val="AEABAB"/>
              </a:solidFill>
            </c:spPr>
            <c:extLst>
              <c:ext xmlns:c16="http://schemas.microsoft.com/office/drawing/2014/chart" uri="{C3380CC4-5D6E-409C-BE32-E72D297353CC}">
                <c16:uniqueId val="{000018EF-61F5-407B-959D-D24239F5BB85}"/>
              </c:ext>
            </c:extLst>
          </c:dPt>
          <c:dPt>
            <c:idx val="3191"/>
            <c:invertIfNegative val="1"/>
            <c:bubble3D val="0"/>
            <c:spPr>
              <a:solidFill>
                <a:srgbClr val="AEABAB"/>
              </a:solidFill>
            </c:spPr>
            <c:extLst>
              <c:ext xmlns:c16="http://schemas.microsoft.com/office/drawing/2014/chart" uri="{C3380CC4-5D6E-409C-BE32-E72D297353CC}">
                <c16:uniqueId val="{000018F1-61F5-407B-959D-D24239F5BB85}"/>
              </c:ext>
            </c:extLst>
          </c:dPt>
          <c:dPt>
            <c:idx val="3192"/>
            <c:invertIfNegative val="1"/>
            <c:bubble3D val="0"/>
            <c:spPr>
              <a:solidFill>
                <a:srgbClr val="AEABAB"/>
              </a:solidFill>
            </c:spPr>
            <c:extLst>
              <c:ext xmlns:c16="http://schemas.microsoft.com/office/drawing/2014/chart" uri="{C3380CC4-5D6E-409C-BE32-E72D297353CC}">
                <c16:uniqueId val="{000018F3-61F5-407B-959D-D24239F5BB85}"/>
              </c:ext>
            </c:extLst>
          </c:dPt>
          <c:dPt>
            <c:idx val="3193"/>
            <c:invertIfNegative val="1"/>
            <c:bubble3D val="0"/>
            <c:spPr>
              <a:solidFill>
                <a:srgbClr val="AEABAB"/>
              </a:solidFill>
            </c:spPr>
            <c:extLst>
              <c:ext xmlns:c16="http://schemas.microsoft.com/office/drawing/2014/chart" uri="{C3380CC4-5D6E-409C-BE32-E72D297353CC}">
                <c16:uniqueId val="{000018F5-61F5-407B-959D-D24239F5BB85}"/>
              </c:ext>
            </c:extLst>
          </c:dPt>
          <c:dPt>
            <c:idx val="3194"/>
            <c:invertIfNegative val="1"/>
            <c:bubble3D val="0"/>
            <c:spPr>
              <a:solidFill>
                <a:srgbClr val="AEABAB"/>
              </a:solidFill>
            </c:spPr>
            <c:extLst>
              <c:ext xmlns:c16="http://schemas.microsoft.com/office/drawing/2014/chart" uri="{C3380CC4-5D6E-409C-BE32-E72D297353CC}">
                <c16:uniqueId val="{000018F7-61F5-407B-959D-D24239F5BB85}"/>
              </c:ext>
            </c:extLst>
          </c:dPt>
          <c:dPt>
            <c:idx val="3195"/>
            <c:invertIfNegative val="1"/>
            <c:bubble3D val="0"/>
            <c:spPr>
              <a:solidFill>
                <a:srgbClr val="AEABAB"/>
              </a:solidFill>
            </c:spPr>
            <c:extLst>
              <c:ext xmlns:c16="http://schemas.microsoft.com/office/drawing/2014/chart" uri="{C3380CC4-5D6E-409C-BE32-E72D297353CC}">
                <c16:uniqueId val="{000018F9-61F5-407B-959D-D24239F5BB85}"/>
              </c:ext>
            </c:extLst>
          </c:dPt>
          <c:dPt>
            <c:idx val="3196"/>
            <c:invertIfNegative val="1"/>
            <c:bubble3D val="0"/>
            <c:spPr>
              <a:solidFill>
                <a:srgbClr val="AEABAB"/>
              </a:solidFill>
            </c:spPr>
            <c:extLst>
              <c:ext xmlns:c16="http://schemas.microsoft.com/office/drawing/2014/chart" uri="{C3380CC4-5D6E-409C-BE32-E72D297353CC}">
                <c16:uniqueId val="{000018FB-61F5-407B-959D-D24239F5BB85}"/>
              </c:ext>
            </c:extLst>
          </c:dPt>
          <c:dPt>
            <c:idx val="3197"/>
            <c:invertIfNegative val="1"/>
            <c:bubble3D val="0"/>
            <c:spPr>
              <a:solidFill>
                <a:srgbClr val="AEABAB"/>
              </a:solidFill>
            </c:spPr>
            <c:extLst>
              <c:ext xmlns:c16="http://schemas.microsoft.com/office/drawing/2014/chart" uri="{C3380CC4-5D6E-409C-BE32-E72D297353CC}">
                <c16:uniqueId val="{000018FD-61F5-407B-959D-D24239F5BB85}"/>
              </c:ext>
            </c:extLst>
          </c:dPt>
          <c:dPt>
            <c:idx val="3198"/>
            <c:invertIfNegative val="1"/>
            <c:bubble3D val="0"/>
            <c:spPr>
              <a:solidFill>
                <a:srgbClr val="AEABAB"/>
              </a:solidFill>
            </c:spPr>
            <c:extLst>
              <c:ext xmlns:c16="http://schemas.microsoft.com/office/drawing/2014/chart" uri="{C3380CC4-5D6E-409C-BE32-E72D297353CC}">
                <c16:uniqueId val="{000018FF-61F5-407B-959D-D24239F5BB85}"/>
              </c:ext>
            </c:extLst>
          </c:dPt>
          <c:dPt>
            <c:idx val="3199"/>
            <c:invertIfNegative val="1"/>
            <c:bubble3D val="0"/>
            <c:spPr>
              <a:solidFill>
                <a:srgbClr val="AEABAB"/>
              </a:solidFill>
            </c:spPr>
            <c:extLst>
              <c:ext xmlns:c16="http://schemas.microsoft.com/office/drawing/2014/chart" uri="{C3380CC4-5D6E-409C-BE32-E72D297353CC}">
                <c16:uniqueId val="{00001901-61F5-407B-959D-D24239F5BB85}"/>
              </c:ext>
            </c:extLst>
          </c:dPt>
          <c:dPt>
            <c:idx val="3200"/>
            <c:invertIfNegative val="1"/>
            <c:bubble3D val="0"/>
            <c:spPr>
              <a:solidFill>
                <a:srgbClr val="AEABAB"/>
              </a:solidFill>
            </c:spPr>
            <c:extLst>
              <c:ext xmlns:c16="http://schemas.microsoft.com/office/drawing/2014/chart" uri="{C3380CC4-5D6E-409C-BE32-E72D297353CC}">
                <c16:uniqueId val="{00001903-61F5-407B-959D-D24239F5BB85}"/>
              </c:ext>
            </c:extLst>
          </c:dPt>
          <c:dPt>
            <c:idx val="3201"/>
            <c:invertIfNegative val="1"/>
            <c:bubble3D val="0"/>
            <c:spPr>
              <a:solidFill>
                <a:srgbClr val="AEABAB"/>
              </a:solidFill>
            </c:spPr>
            <c:extLst>
              <c:ext xmlns:c16="http://schemas.microsoft.com/office/drawing/2014/chart" uri="{C3380CC4-5D6E-409C-BE32-E72D297353CC}">
                <c16:uniqueId val="{00001905-61F5-407B-959D-D24239F5BB85}"/>
              </c:ext>
            </c:extLst>
          </c:dPt>
          <c:dPt>
            <c:idx val="3202"/>
            <c:invertIfNegative val="1"/>
            <c:bubble3D val="0"/>
            <c:spPr>
              <a:solidFill>
                <a:srgbClr val="AEABAB"/>
              </a:solidFill>
            </c:spPr>
            <c:extLst>
              <c:ext xmlns:c16="http://schemas.microsoft.com/office/drawing/2014/chart" uri="{C3380CC4-5D6E-409C-BE32-E72D297353CC}">
                <c16:uniqueId val="{00001907-61F5-407B-959D-D24239F5BB85}"/>
              </c:ext>
            </c:extLst>
          </c:dPt>
          <c:dPt>
            <c:idx val="3203"/>
            <c:invertIfNegative val="1"/>
            <c:bubble3D val="0"/>
            <c:spPr>
              <a:solidFill>
                <a:srgbClr val="AEABAB"/>
              </a:solidFill>
            </c:spPr>
            <c:extLst>
              <c:ext xmlns:c16="http://schemas.microsoft.com/office/drawing/2014/chart" uri="{C3380CC4-5D6E-409C-BE32-E72D297353CC}">
                <c16:uniqueId val="{00001909-61F5-407B-959D-D24239F5BB85}"/>
              </c:ext>
            </c:extLst>
          </c:dPt>
          <c:dPt>
            <c:idx val="3204"/>
            <c:invertIfNegative val="1"/>
            <c:bubble3D val="0"/>
            <c:spPr>
              <a:solidFill>
                <a:srgbClr val="AEABAB"/>
              </a:solidFill>
            </c:spPr>
            <c:extLst>
              <c:ext xmlns:c16="http://schemas.microsoft.com/office/drawing/2014/chart" uri="{C3380CC4-5D6E-409C-BE32-E72D297353CC}">
                <c16:uniqueId val="{0000190B-61F5-407B-959D-D24239F5BB85}"/>
              </c:ext>
            </c:extLst>
          </c:dPt>
          <c:dPt>
            <c:idx val="3205"/>
            <c:invertIfNegative val="1"/>
            <c:bubble3D val="0"/>
            <c:spPr>
              <a:solidFill>
                <a:srgbClr val="AEABAB"/>
              </a:solidFill>
            </c:spPr>
            <c:extLst>
              <c:ext xmlns:c16="http://schemas.microsoft.com/office/drawing/2014/chart" uri="{C3380CC4-5D6E-409C-BE32-E72D297353CC}">
                <c16:uniqueId val="{0000190D-61F5-407B-959D-D24239F5BB85}"/>
              </c:ext>
            </c:extLst>
          </c:dPt>
          <c:dPt>
            <c:idx val="3206"/>
            <c:invertIfNegative val="1"/>
            <c:bubble3D val="0"/>
            <c:spPr>
              <a:solidFill>
                <a:srgbClr val="AEABAB"/>
              </a:solidFill>
            </c:spPr>
            <c:extLst>
              <c:ext xmlns:c16="http://schemas.microsoft.com/office/drawing/2014/chart" uri="{C3380CC4-5D6E-409C-BE32-E72D297353CC}">
                <c16:uniqueId val="{0000190F-61F5-407B-959D-D24239F5BB85}"/>
              </c:ext>
            </c:extLst>
          </c:dPt>
          <c:dPt>
            <c:idx val="3207"/>
            <c:invertIfNegative val="1"/>
            <c:bubble3D val="0"/>
            <c:spPr>
              <a:solidFill>
                <a:srgbClr val="AEABAB"/>
              </a:solidFill>
            </c:spPr>
            <c:extLst>
              <c:ext xmlns:c16="http://schemas.microsoft.com/office/drawing/2014/chart" uri="{C3380CC4-5D6E-409C-BE32-E72D297353CC}">
                <c16:uniqueId val="{00001911-61F5-407B-959D-D24239F5BB85}"/>
              </c:ext>
            </c:extLst>
          </c:dPt>
          <c:dPt>
            <c:idx val="3208"/>
            <c:invertIfNegative val="1"/>
            <c:bubble3D val="0"/>
            <c:spPr>
              <a:solidFill>
                <a:srgbClr val="AEABAB"/>
              </a:solidFill>
            </c:spPr>
            <c:extLst>
              <c:ext xmlns:c16="http://schemas.microsoft.com/office/drawing/2014/chart" uri="{C3380CC4-5D6E-409C-BE32-E72D297353CC}">
                <c16:uniqueId val="{00001913-61F5-407B-959D-D24239F5BB85}"/>
              </c:ext>
            </c:extLst>
          </c:dPt>
          <c:dPt>
            <c:idx val="3209"/>
            <c:invertIfNegative val="1"/>
            <c:bubble3D val="0"/>
            <c:spPr>
              <a:solidFill>
                <a:srgbClr val="AEABAB"/>
              </a:solidFill>
            </c:spPr>
            <c:extLst>
              <c:ext xmlns:c16="http://schemas.microsoft.com/office/drawing/2014/chart" uri="{C3380CC4-5D6E-409C-BE32-E72D297353CC}">
                <c16:uniqueId val="{00001915-61F5-407B-959D-D24239F5BB85}"/>
              </c:ext>
            </c:extLst>
          </c:dPt>
          <c:dPt>
            <c:idx val="3210"/>
            <c:invertIfNegative val="1"/>
            <c:bubble3D val="0"/>
            <c:spPr>
              <a:solidFill>
                <a:srgbClr val="AEABAB"/>
              </a:solidFill>
            </c:spPr>
            <c:extLst>
              <c:ext xmlns:c16="http://schemas.microsoft.com/office/drawing/2014/chart" uri="{C3380CC4-5D6E-409C-BE32-E72D297353CC}">
                <c16:uniqueId val="{00001917-61F5-407B-959D-D24239F5BB85}"/>
              </c:ext>
            </c:extLst>
          </c:dPt>
          <c:dPt>
            <c:idx val="3211"/>
            <c:invertIfNegative val="1"/>
            <c:bubble3D val="0"/>
            <c:spPr>
              <a:solidFill>
                <a:srgbClr val="AEABAB"/>
              </a:solidFill>
            </c:spPr>
            <c:extLst>
              <c:ext xmlns:c16="http://schemas.microsoft.com/office/drawing/2014/chart" uri="{C3380CC4-5D6E-409C-BE32-E72D297353CC}">
                <c16:uniqueId val="{00001919-61F5-407B-959D-D24239F5BB85}"/>
              </c:ext>
            </c:extLst>
          </c:dPt>
          <c:dPt>
            <c:idx val="3212"/>
            <c:invertIfNegative val="1"/>
            <c:bubble3D val="0"/>
            <c:spPr>
              <a:solidFill>
                <a:srgbClr val="AEABAB"/>
              </a:solidFill>
            </c:spPr>
            <c:extLst>
              <c:ext xmlns:c16="http://schemas.microsoft.com/office/drawing/2014/chart" uri="{C3380CC4-5D6E-409C-BE32-E72D297353CC}">
                <c16:uniqueId val="{0000191B-61F5-407B-959D-D24239F5BB85}"/>
              </c:ext>
            </c:extLst>
          </c:dPt>
          <c:dPt>
            <c:idx val="3213"/>
            <c:invertIfNegative val="1"/>
            <c:bubble3D val="0"/>
            <c:spPr>
              <a:solidFill>
                <a:srgbClr val="AEABAB"/>
              </a:solidFill>
            </c:spPr>
            <c:extLst>
              <c:ext xmlns:c16="http://schemas.microsoft.com/office/drawing/2014/chart" uri="{C3380CC4-5D6E-409C-BE32-E72D297353CC}">
                <c16:uniqueId val="{0000191D-61F5-407B-959D-D24239F5BB85}"/>
              </c:ext>
            </c:extLst>
          </c:dPt>
          <c:dPt>
            <c:idx val="3214"/>
            <c:invertIfNegative val="1"/>
            <c:bubble3D val="0"/>
            <c:spPr>
              <a:solidFill>
                <a:srgbClr val="AEABAB"/>
              </a:solidFill>
            </c:spPr>
            <c:extLst>
              <c:ext xmlns:c16="http://schemas.microsoft.com/office/drawing/2014/chart" uri="{C3380CC4-5D6E-409C-BE32-E72D297353CC}">
                <c16:uniqueId val="{0000191F-61F5-407B-959D-D24239F5BB85}"/>
              </c:ext>
            </c:extLst>
          </c:dPt>
          <c:dPt>
            <c:idx val="3215"/>
            <c:invertIfNegative val="1"/>
            <c:bubble3D val="0"/>
            <c:spPr>
              <a:solidFill>
                <a:srgbClr val="AEABAB"/>
              </a:solidFill>
            </c:spPr>
            <c:extLst>
              <c:ext xmlns:c16="http://schemas.microsoft.com/office/drawing/2014/chart" uri="{C3380CC4-5D6E-409C-BE32-E72D297353CC}">
                <c16:uniqueId val="{00001921-61F5-407B-959D-D24239F5BB85}"/>
              </c:ext>
            </c:extLst>
          </c:dPt>
          <c:dPt>
            <c:idx val="3216"/>
            <c:invertIfNegative val="1"/>
            <c:bubble3D val="0"/>
            <c:spPr>
              <a:solidFill>
                <a:srgbClr val="AEABAB"/>
              </a:solidFill>
            </c:spPr>
            <c:extLst>
              <c:ext xmlns:c16="http://schemas.microsoft.com/office/drawing/2014/chart" uri="{C3380CC4-5D6E-409C-BE32-E72D297353CC}">
                <c16:uniqueId val="{00001923-61F5-407B-959D-D24239F5BB85}"/>
              </c:ext>
            </c:extLst>
          </c:dPt>
          <c:dPt>
            <c:idx val="3217"/>
            <c:invertIfNegative val="1"/>
            <c:bubble3D val="0"/>
            <c:spPr>
              <a:solidFill>
                <a:srgbClr val="AEABAB"/>
              </a:solidFill>
            </c:spPr>
            <c:extLst>
              <c:ext xmlns:c16="http://schemas.microsoft.com/office/drawing/2014/chart" uri="{C3380CC4-5D6E-409C-BE32-E72D297353CC}">
                <c16:uniqueId val="{00001925-61F5-407B-959D-D24239F5BB85}"/>
              </c:ext>
            </c:extLst>
          </c:dPt>
          <c:dPt>
            <c:idx val="3218"/>
            <c:invertIfNegative val="1"/>
            <c:bubble3D val="0"/>
            <c:spPr>
              <a:solidFill>
                <a:srgbClr val="AEABAB"/>
              </a:solidFill>
            </c:spPr>
            <c:extLst>
              <c:ext xmlns:c16="http://schemas.microsoft.com/office/drawing/2014/chart" uri="{C3380CC4-5D6E-409C-BE32-E72D297353CC}">
                <c16:uniqueId val="{00001927-61F5-407B-959D-D24239F5BB85}"/>
              </c:ext>
            </c:extLst>
          </c:dPt>
          <c:dPt>
            <c:idx val="3219"/>
            <c:invertIfNegative val="1"/>
            <c:bubble3D val="0"/>
            <c:spPr>
              <a:solidFill>
                <a:srgbClr val="AEABAB"/>
              </a:solidFill>
            </c:spPr>
            <c:extLst>
              <c:ext xmlns:c16="http://schemas.microsoft.com/office/drawing/2014/chart" uri="{C3380CC4-5D6E-409C-BE32-E72D297353CC}">
                <c16:uniqueId val="{00001929-61F5-407B-959D-D24239F5BB85}"/>
              </c:ext>
            </c:extLst>
          </c:dPt>
          <c:dPt>
            <c:idx val="3220"/>
            <c:invertIfNegative val="1"/>
            <c:bubble3D val="0"/>
            <c:spPr>
              <a:solidFill>
                <a:srgbClr val="AEABAB"/>
              </a:solidFill>
            </c:spPr>
            <c:extLst>
              <c:ext xmlns:c16="http://schemas.microsoft.com/office/drawing/2014/chart" uri="{C3380CC4-5D6E-409C-BE32-E72D297353CC}">
                <c16:uniqueId val="{0000192B-61F5-407B-959D-D24239F5BB85}"/>
              </c:ext>
            </c:extLst>
          </c:dPt>
          <c:dPt>
            <c:idx val="3221"/>
            <c:invertIfNegative val="1"/>
            <c:bubble3D val="0"/>
            <c:spPr>
              <a:solidFill>
                <a:srgbClr val="AEABAB"/>
              </a:solidFill>
            </c:spPr>
            <c:extLst>
              <c:ext xmlns:c16="http://schemas.microsoft.com/office/drawing/2014/chart" uri="{C3380CC4-5D6E-409C-BE32-E72D297353CC}">
                <c16:uniqueId val="{0000192D-61F5-407B-959D-D24239F5BB85}"/>
              </c:ext>
            </c:extLst>
          </c:dPt>
          <c:dPt>
            <c:idx val="3222"/>
            <c:invertIfNegative val="1"/>
            <c:bubble3D val="0"/>
            <c:spPr>
              <a:solidFill>
                <a:srgbClr val="AEABAB"/>
              </a:solidFill>
            </c:spPr>
            <c:extLst>
              <c:ext xmlns:c16="http://schemas.microsoft.com/office/drawing/2014/chart" uri="{C3380CC4-5D6E-409C-BE32-E72D297353CC}">
                <c16:uniqueId val="{0000192F-61F5-407B-959D-D24239F5BB85}"/>
              </c:ext>
            </c:extLst>
          </c:dPt>
          <c:dPt>
            <c:idx val="3223"/>
            <c:invertIfNegative val="1"/>
            <c:bubble3D val="0"/>
            <c:spPr>
              <a:solidFill>
                <a:srgbClr val="AEABAB"/>
              </a:solidFill>
            </c:spPr>
            <c:extLst>
              <c:ext xmlns:c16="http://schemas.microsoft.com/office/drawing/2014/chart" uri="{C3380CC4-5D6E-409C-BE32-E72D297353CC}">
                <c16:uniqueId val="{00001931-61F5-407B-959D-D24239F5BB85}"/>
              </c:ext>
            </c:extLst>
          </c:dPt>
          <c:dPt>
            <c:idx val="3224"/>
            <c:invertIfNegative val="1"/>
            <c:bubble3D val="0"/>
            <c:spPr>
              <a:solidFill>
                <a:srgbClr val="AEABAB"/>
              </a:solidFill>
            </c:spPr>
            <c:extLst>
              <c:ext xmlns:c16="http://schemas.microsoft.com/office/drawing/2014/chart" uri="{C3380CC4-5D6E-409C-BE32-E72D297353CC}">
                <c16:uniqueId val="{00001933-61F5-407B-959D-D24239F5BB85}"/>
              </c:ext>
            </c:extLst>
          </c:dPt>
          <c:dPt>
            <c:idx val="3225"/>
            <c:invertIfNegative val="1"/>
            <c:bubble3D val="0"/>
            <c:spPr>
              <a:solidFill>
                <a:srgbClr val="AEABAB"/>
              </a:solidFill>
            </c:spPr>
            <c:extLst>
              <c:ext xmlns:c16="http://schemas.microsoft.com/office/drawing/2014/chart" uri="{C3380CC4-5D6E-409C-BE32-E72D297353CC}">
                <c16:uniqueId val="{00001935-61F5-407B-959D-D24239F5BB85}"/>
              </c:ext>
            </c:extLst>
          </c:dPt>
          <c:dPt>
            <c:idx val="3226"/>
            <c:invertIfNegative val="1"/>
            <c:bubble3D val="0"/>
            <c:spPr>
              <a:solidFill>
                <a:srgbClr val="AEABAB"/>
              </a:solidFill>
            </c:spPr>
            <c:extLst>
              <c:ext xmlns:c16="http://schemas.microsoft.com/office/drawing/2014/chart" uri="{C3380CC4-5D6E-409C-BE32-E72D297353CC}">
                <c16:uniqueId val="{00001937-61F5-407B-959D-D24239F5BB85}"/>
              </c:ext>
            </c:extLst>
          </c:dPt>
          <c:dPt>
            <c:idx val="3227"/>
            <c:invertIfNegative val="1"/>
            <c:bubble3D val="0"/>
            <c:spPr>
              <a:solidFill>
                <a:srgbClr val="AEABAB"/>
              </a:solidFill>
            </c:spPr>
            <c:extLst>
              <c:ext xmlns:c16="http://schemas.microsoft.com/office/drawing/2014/chart" uri="{C3380CC4-5D6E-409C-BE32-E72D297353CC}">
                <c16:uniqueId val="{00001939-61F5-407B-959D-D24239F5BB85}"/>
              </c:ext>
            </c:extLst>
          </c:dPt>
          <c:dPt>
            <c:idx val="3228"/>
            <c:invertIfNegative val="1"/>
            <c:bubble3D val="0"/>
            <c:spPr>
              <a:solidFill>
                <a:srgbClr val="AEABAB"/>
              </a:solidFill>
            </c:spPr>
            <c:extLst>
              <c:ext xmlns:c16="http://schemas.microsoft.com/office/drawing/2014/chart" uri="{C3380CC4-5D6E-409C-BE32-E72D297353CC}">
                <c16:uniqueId val="{0000193B-61F5-407B-959D-D24239F5BB85}"/>
              </c:ext>
            </c:extLst>
          </c:dPt>
          <c:dPt>
            <c:idx val="3229"/>
            <c:invertIfNegative val="1"/>
            <c:bubble3D val="0"/>
            <c:spPr>
              <a:solidFill>
                <a:srgbClr val="AEABAB"/>
              </a:solidFill>
            </c:spPr>
            <c:extLst>
              <c:ext xmlns:c16="http://schemas.microsoft.com/office/drawing/2014/chart" uri="{C3380CC4-5D6E-409C-BE32-E72D297353CC}">
                <c16:uniqueId val="{0000193D-61F5-407B-959D-D24239F5BB85}"/>
              </c:ext>
            </c:extLst>
          </c:dPt>
          <c:dPt>
            <c:idx val="3230"/>
            <c:invertIfNegative val="1"/>
            <c:bubble3D val="0"/>
            <c:spPr>
              <a:solidFill>
                <a:srgbClr val="AEABAB"/>
              </a:solidFill>
            </c:spPr>
            <c:extLst>
              <c:ext xmlns:c16="http://schemas.microsoft.com/office/drawing/2014/chart" uri="{C3380CC4-5D6E-409C-BE32-E72D297353CC}">
                <c16:uniqueId val="{0000193F-61F5-407B-959D-D24239F5BB85}"/>
              </c:ext>
            </c:extLst>
          </c:dPt>
          <c:dPt>
            <c:idx val="3231"/>
            <c:invertIfNegative val="1"/>
            <c:bubble3D val="0"/>
            <c:spPr>
              <a:solidFill>
                <a:srgbClr val="AEABAB"/>
              </a:solidFill>
            </c:spPr>
            <c:extLst>
              <c:ext xmlns:c16="http://schemas.microsoft.com/office/drawing/2014/chart" uri="{C3380CC4-5D6E-409C-BE32-E72D297353CC}">
                <c16:uniqueId val="{00001941-61F5-407B-959D-D24239F5BB85}"/>
              </c:ext>
            </c:extLst>
          </c:dPt>
          <c:dPt>
            <c:idx val="3232"/>
            <c:invertIfNegative val="1"/>
            <c:bubble3D val="0"/>
            <c:spPr>
              <a:solidFill>
                <a:srgbClr val="AEABAB"/>
              </a:solidFill>
            </c:spPr>
            <c:extLst>
              <c:ext xmlns:c16="http://schemas.microsoft.com/office/drawing/2014/chart" uri="{C3380CC4-5D6E-409C-BE32-E72D297353CC}">
                <c16:uniqueId val="{00001943-61F5-407B-959D-D24239F5BB85}"/>
              </c:ext>
            </c:extLst>
          </c:dPt>
          <c:dPt>
            <c:idx val="3233"/>
            <c:invertIfNegative val="1"/>
            <c:bubble3D val="0"/>
            <c:spPr>
              <a:solidFill>
                <a:srgbClr val="AEABAB"/>
              </a:solidFill>
            </c:spPr>
            <c:extLst>
              <c:ext xmlns:c16="http://schemas.microsoft.com/office/drawing/2014/chart" uri="{C3380CC4-5D6E-409C-BE32-E72D297353CC}">
                <c16:uniqueId val="{00001945-61F5-407B-959D-D24239F5BB85}"/>
              </c:ext>
            </c:extLst>
          </c:dPt>
          <c:dPt>
            <c:idx val="3234"/>
            <c:invertIfNegative val="1"/>
            <c:bubble3D val="0"/>
            <c:spPr>
              <a:solidFill>
                <a:srgbClr val="AEABAB"/>
              </a:solidFill>
            </c:spPr>
            <c:extLst>
              <c:ext xmlns:c16="http://schemas.microsoft.com/office/drawing/2014/chart" uri="{C3380CC4-5D6E-409C-BE32-E72D297353CC}">
                <c16:uniqueId val="{00001947-61F5-407B-959D-D24239F5BB85}"/>
              </c:ext>
            </c:extLst>
          </c:dPt>
          <c:dPt>
            <c:idx val="3235"/>
            <c:invertIfNegative val="1"/>
            <c:bubble3D val="0"/>
            <c:spPr>
              <a:solidFill>
                <a:srgbClr val="AEABAB"/>
              </a:solidFill>
            </c:spPr>
            <c:extLst>
              <c:ext xmlns:c16="http://schemas.microsoft.com/office/drawing/2014/chart" uri="{C3380CC4-5D6E-409C-BE32-E72D297353CC}">
                <c16:uniqueId val="{00001949-61F5-407B-959D-D24239F5BB85}"/>
              </c:ext>
            </c:extLst>
          </c:dPt>
          <c:dPt>
            <c:idx val="3236"/>
            <c:invertIfNegative val="1"/>
            <c:bubble3D val="0"/>
            <c:spPr>
              <a:solidFill>
                <a:srgbClr val="AEABAB"/>
              </a:solidFill>
            </c:spPr>
            <c:extLst>
              <c:ext xmlns:c16="http://schemas.microsoft.com/office/drawing/2014/chart" uri="{C3380CC4-5D6E-409C-BE32-E72D297353CC}">
                <c16:uniqueId val="{0000194B-61F5-407B-959D-D24239F5BB85}"/>
              </c:ext>
            </c:extLst>
          </c:dPt>
          <c:dPt>
            <c:idx val="3237"/>
            <c:invertIfNegative val="1"/>
            <c:bubble3D val="0"/>
            <c:spPr>
              <a:solidFill>
                <a:srgbClr val="AEABAB"/>
              </a:solidFill>
            </c:spPr>
            <c:extLst>
              <c:ext xmlns:c16="http://schemas.microsoft.com/office/drawing/2014/chart" uri="{C3380CC4-5D6E-409C-BE32-E72D297353CC}">
                <c16:uniqueId val="{0000194D-61F5-407B-959D-D24239F5BB85}"/>
              </c:ext>
            </c:extLst>
          </c:dPt>
          <c:dPt>
            <c:idx val="3238"/>
            <c:invertIfNegative val="1"/>
            <c:bubble3D val="0"/>
            <c:spPr>
              <a:solidFill>
                <a:srgbClr val="AEABAB"/>
              </a:solidFill>
            </c:spPr>
            <c:extLst>
              <c:ext xmlns:c16="http://schemas.microsoft.com/office/drawing/2014/chart" uri="{C3380CC4-5D6E-409C-BE32-E72D297353CC}">
                <c16:uniqueId val="{0000194F-61F5-407B-959D-D24239F5BB85}"/>
              </c:ext>
            </c:extLst>
          </c:dPt>
          <c:dPt>
            <c:idx val="3239"/>
            <c:invertIfNegative val="1"/>
            <c:bubble3D val="0"/>
            <c:spPr>
              <a:solidFill>
                <a:srgbClr val="AEABAB"/>
              </a:solidFill>
            </c:spPr>
            <c:extLst>
              <c:ext xmlns:c16="http://schemas.microsoft.com/office/drawing/2014/chart" uri="{C3380CC4-5D6E-409C-BE32-E72D297353CC}">
                <c16:uniqueId val="{00001951-61F5-407B-959D-D24239F5BB85}"/>
              </c:ext>
            </c:extLst>
          </c:dPt>
          <c:dPt>
            <c:idx val="3240"/>
            <c:invertIfNegative val="1"/>
            <c:bubble3D val="0"/>
            <c:spPr>
              <a:solidFill>
                <a:srgbClr val="AEABAB"/>
              </a:solidFill>
            </c:spPr>
            <c:extLst>
              <c:ext xmlns:c16="http://schemas.microsoft.com/office/drawing/2014/chart" uri="{C3380CC4-5D6E-409C-BE32-E72D297353CC}">
                <c16:uniqueId val="{00001953-61F5-407B-959D-D24239F5BB85}"/>
              </c:ext>
            </c:extLst>
          </c:dPt>
          <c:dPt>
            <c:idx val="3241"/>
            <c:invertIfNegative val="1"/>
            <c:bubble3D val="0"/>
            <c:spPr>
              <a:solidFill>
                <a:srgbClr val="AEABAB"/>
              </a:solidFill>
            </c:spPr>
            <c:extLst>
              <c:ext xmlns:c16="http://schemas.microsoft.com/office/drawing/2014/chart" uri="{C3380CC4-5D6E-409C-BE32-E72D297353CC}">
                <c16:uniqueId val="{00001955-61F5-407B-959D-D24239F5BB85}"/>
              </c:ext>
            </c:extLst>
          </c:dPt>
          <c:dPt>
            <c:idx val="3242"/>
            <c:invertIfNegative val="1"/>
            <c:bubble3D val="0"/>
            <c:spPr>
              <a:solidFill>
                <a:srgbClr val="AEABAB"/>
              </a:solidFill>
            </c:spPr>
            <c:extLst>
              <c:ext xmlns:c16="http://schemas.microsoft.com/office/drawing/2014/chart" uri="{C3380CC4-5D6E-409C-BE32-E72D297353CC}">
                <c16:uniqueId val="{00001957-61F5-407B-959D-D24239F5BB85}"/>
              </c:ext>
            </c:extLst>
          </c:dPt>
          <c:dPt>
            <c:idx val="3243"/>
            <c:invertIfNegative val="1"/>
            <c:bubble3D val="0"/>
            <c:spPr>
              <a:solidFill>
                <a:srgbClr val="AEABAB"/>
              </a:solidFill>
            </c:spPr>
            <c:extLst>
              <c:ext xmlns:c16="http://schemas.microsoft.com/office/drawing/2014/chart" uri="{C3380CC4-5D6E-409C-BE32-E72D297353CC}">
                <c16:uniqueId val="{00001959-61F5-407B-959D-D24239F5BB85}"/>
              </c:ext>
            </c:extLst>
          </c:dPt>
          <c:dPt>
            <c:idx val="3244"/>
            <c:invertIfNegative val="1"/>
            <c:bubble3D val="0"/>
            <c:spPr>
              <a:solidFill>
                <a:srgbClr val="AEABAB"/>
              </a:solidFill>
            </c:spPr>
            <c:extLst>
              <c:ext xmlns:c16="http://schemas.microsoft.com/office/drawing/2014/chart" uri="{C3380CC4-5D6E-409C-BE32-E72D297353CC}">
                <c16:uniqueId val="{0000195B-61F5-407B-959D-D24239F5BB85}"/>
              </c:ext>
            </c:extLst>
          </c:dPt>
          <c:dPt>
            <c:idx val="3245"/>
            <c:invertIfNegative val="1"/>
            <c:bubble3D val="0"/>
            <c:spPr>
              <a:solidFill>
                <a:srgbClr val="AEABAB"/>
              </a:solidFill>
            </c:spPr>
            <c:extLst>
              <c:ext xmlns:c16="http://schemas.microsoft.com/office/drawing/2014/chart" uri="{C3380CC4-5D6E-409C-BE32-E72D297353CC}">
                <c16:uniqueId val="{0000195D-61F5-407B-959D-D24239F5BB85}"/>
              </c:ext>
            </c:extLst>
          </c:dPt>
          <c:dPt>
            <c:idx val="3246"/>
            <c:invertIfNegative val="1"/>
            <c:bubble3D val="0"/>
            <c:spPr>
              <a:solidFill>
                <a:srgbClr val="AEABAB"/>
              </a:solidFill>
            </c:spPr>
            <c:extLst>
              <c:ext xmlns:c16="http://schemas.microsoft.com/office/drawing/2014/chart" uri="{C3380CC4-5D6E-409C-BE32-E72D297353CC}">
                <c16:uniqueId val="{0000195F-61F5-407B-959D-D24239F5BB85}"/>
              </c:ext>
            </c:extLst>
          </c:dPt>
          <c:dPt>
            <c:idx val="3247"/>
            <c:invertIfNegative val="1"/>
            <c:bubble3D val="0"/>
            <c:spPr>
              <a:solidFill>
                <a:srgbClr val="AEABAB"/>
              </a:solidFill>
            </c:spPr>
            <c:extLst>
              <c:ext xmlns:c16="http://schemas.microsoft.com/office/drawing/2014/chart" uri="{C3380CC4-5D6E-409C-BE32-E72D297353CC}">
                <c16:uniqueId val="{00001961-61F5-407B-959D-D24239F5BB85}"/>
              </c:ext>
            </c:extLst>
          </c:dPt>
          <c:dPt>
            <c:idx val="3248"/>
            <c:invertIfNegative val="1"/>
            <c:bubble3D val="0"/>
            <c:spPr>
              <a:solidFill>
                <a:srgbClr val="AEABAB"/>
              </a:solidFill>
            </c:spPr>
            <c:extLst>
              <c:ext xmlns:c16="http://schemas.microsoft.com/office/drawing/2014/chart" uri="{C3380CC4-5D6E-409C-BE32-E72D297353CC}">
                <c16:uniqueId val="{00001963-61F5-407B-959D-D24239F5BB85}"/>
              </c:ext>
            </c:extLst>
          </c:dPt>
          <c:dPt>
            <c:idx val="3249"/>
            <c:invertIfNegative val="1"/>
            <c:bubble3D val="0"/>
            <c:spPr>
              <a:solidFill>
                <a:srgbClr val="AEABAB"/>
              </a:solidFill>
            </c:spPr>
            <c:extLst>
              <c:ext xmlns:c16="http://schemas.microsoft.com/office/drawing/2014/chart" uri="{C3380CC4-5D6E-409C-BE32-E72D297353CC}">
                <c16:uniqueId val="{00001965-61F5-407B-959D-D24239F5BB85}"/>
              </c:ext>
            </c:extLst>
          </c:dPt>
          <c:dPt>
            <c:idx val="3250"/>
            <c:invertIfNegative val="1"/>
            <c:bubble3D val="0"/>
            <c:spPr>
              <a:solidFill>
                <a:srgbClr val="AEABAB"/>
              </a:solidFill>
            </c:spPr>
            <c:extLst>
              <c:ext xmlns:c16="http://schemas.microsoft.com/office/drawing/2014/chart" uri="{C3380CC4-5D6E-409C-BE32-E72D297353CC}">
                <c16:uniqueId val="{00001967-61F5-407B-959D-D24239F5BB85}"/>
              </c:ext>
            </c:extLst>
          </c:dPt>
          <c:dPt>
            <c:idx val="3251"/>
            <c:invertIfNegative val="1"/>
            <c:bubble3D val="0"/>
            <c:spPr>
              <a:solidFill>
                <a:srgbClr val="AEABAB"/>
              </a:solidFill>
            </c:spPr>
            <c:extLst>
              <c:ext xmlns:c16="http://schemas.microsoft.com/office/drawing/2014/chart" uri="{C3380CC4-5D6E-409C-BE32-E72D297353CC}">
                <c16:uniqueId val="{00001969-61F5-407B-959D-D24239F5BB85}"/>
              </c:ext>
            </c:extLst>
          </c:dPt>
          <c:dPt>
            <c:idx val="3252"/>
            <c:invertIfNegative val="1"/>
            <c:bubble3D val="0"/>
            <c:spPr>
              <a:solidFill>
                <a:srgbClr val="AEABAB"/>
              </a:solidFill>
            </c:spPr>
            <c:extLst>
              <c:ext xmlns:c16="http://schemas.microsoft.com/office/drawing/2014/chart" uri="{C3380CC4-5D6E-409C-BE32-E72D297353CC}">
                <c16:uniqueId val="{0000196B-61F5-407B-959D-D24239F5BB85}"/>
              </c:ext>
            </c:extLst>
          </c:dPt>
          <c:dPt>
            <c:idx val="3253"/>
            <c:invertIfNegative val="1"/>
            <c:bubble3D val="0"/>
            <c:spPr>
              <a:solidFill>
                <a:srgbClr val="AEABAB"/>
              </a:solidFill>
            </c:spPr>
            <c:extLst>
              <c:ext xmlns:c16="http://schemas.microsoft.com/office/drawing/2014/chart" uri="{C3380CC4-5D6E-409C-BE32-E72D297353CC}">
                <c16:uniqueId val="{0000196D-61F5-407B-959D-D24239F5BB85}"/>
              </c:ext>
            </c:extLst>
          </c:dPt>
          <c:dPt>
            <c:idx val="3254"/>
            <c:invertIfNegative val="1"/>
            <c:bubble3D val="0"/>
            <c:spPr>
              <a:solidFill>
                <a:srgbClr val="AEABAB"/>
              </a:solidFill>
            </c:spPr>
            <c:extLst>
              <c:ext xmlns:c16="http://schemas.microsoft.com/office/drawing/2014/chart" uri="{C3380CC4-5D6E-409C-BE32-E72D297353CC}">
                <c16:uniqueId val="{0000196F-61F5-407B-959D-D24239F5BB85}"/>
              </c:ext>
            </c:extLst>
          </c:dPt>
          <c:dPt>
            <c:idx val="3255"/>
            <c:invertIfNegative val="1"/>
            <c:bubble3D val="0"/>
            <c:spPr>
              <a:solidFill>
                <a:srgbClr val="AEABAB"/>
              </a:solidFill>
            </c:spPr>
            <c:extLst>
              <c:ext xmlns:c16="http://schemas.microsoft.com/office/drawing/2014/chart" uri="{C3380CC4-5D6E-409C-BE32-E72D297353CC}">
                <c16:uniqueId val="{00001971-61F5-407B-959D-D24239F5BB85}"/>
              </c:ext>
            </c:extLst>
          </c:dPt>
          <c:dPt>
            <c:idx val="3256"/>
            <c:invertIfNegative val="1"/>
            <c:bubble3D val="0"/>
            <c:spPr>
              <a:solidFill>
                <a:srgbClr val="AEABAB"/>
              </a:solidFill>
            </c:spPr>
            <c:extLst>
              <c:ext xmlns:c16="http://schemas.microsoft.com/office/drawing/2014/chart" uri="{C3380CC4-5D6E-409C-BE32-E72D297353CC}">
                <c16:uniqueId val="{00001973-61F5-407B-959D-D24239F5BB85}"/>
              </c:ext>
            </c:extLst>
          </c:dPt>
          <c:dPt>
            <c:idx val="3257"/>
            <c:invertIfNegative val="1"/>
            <c:bubble3D val="0"/>
            <c:spPr>
              <a:solidFill>
                <a:srgbClr val="AEABAB"/>
              </a:solidFill>
            </c:spPr>
            <c:extLst>
              <c:ext xmlns:c16="http://schemas.microsoft.com/office/drawing/2014/chart" uri="{C3380CC4-5D6E-409C-BE32-E72D297353CC}">
                <c16:uniqueId val="{00001975-61F5-407B-959D-D24239F5BB85}"/>
              </c:ext>
            </c:extLst>
          </c:dPt>
          <c:dPt>
            <c:idx val="3258"/>
            <c:invertIfNegative val="1"/>
            <c:bubble3D val="0"/>
            <c:spPr>
              <a:solidFill>
                <a:srgbClr val="AEABAB"/>
              </a:solidFill>
            </c:spPr>
            <c:extLst>
              <c:ext xmlns:c16="http://schemas.microsoft.com/office/drawing/2014/chart" uri="{C3380CC4-5D6E-409C-BE32-E72D297353CC}">
                <c16:uniqueId val="{00001977-61F5-407B-959D-D24239F5BB85}"/>
              </c:ext>
            </c:extLst>
          </c:dPt>
          <c:dPt>
            <c:idx val="3259"/>
            <c:invertIfNegative val="1"/>
            <c:bubble3D val="0"/>
            <c:spPr>
              <a:solidFill>
                <a:srgbClr val="AEABAB"/>
              </a:solidFill>
            </c:spPr>
            <c:extLst>
              <c:ext xmlns:c16="http://schemas.microsoft.com/office/drawing/2014/chart" uri="{C3380CC4-5D6E-409C-BE32-E72D297353CC}">
                <c16:uniqueId val="{00001979-61F5-407B-959D-D24239F5BB85}"/>
              </c:ext>
            </c:extLst>
          </c:dPt>
          <c:dPt>
            <c:idx val="3260"/>
            <c:invertIfNegative val="1"/>
            <c:bubble3D val="0"/>
            <c:spPr>
              <a:solidFill>
                <a:srgbClr val="AEABAB"/>
              </a:solidFill>
            </c:spPr>
            <c:extLst>
              <c:ext xmlns:c16="http://schemas.microsoft.com/office/drawing/2014/chart" uri="{C3380CC4-5D6E-409C-BE32-E72D297353CC}">
                <c16:uniqueId val="{0000197B-61F5-407B-959D-D24239F5BB85}"/>
              </c:ext>
            </c:extLst>
          </c:dPt>
          <c:dPt>
            <c:idx val="3261"/>
            <c:invertIfNegative val="1"/>
            <c:bubble3D val="0"/>
            <c:spPr>
              <a:solidFill>
                <a:srgbClr val="AEABAB"/>
              </a:solidFill>
            </c:spPr>
            <c:extLst>
              <c:ext xmlns:c16="http://schemas.microsoft.com/office/drawing/2014/chart" uri="{C3380CC4-5D6E-409C-BE32-E72D297353CC}">
                <c16:uniqueId val="{0000197D-61F5-407B-959D-D24239F5BB85}"/>
              </c:ext>
            </c:extLst>
          </c:dPt>
          <c:dPt>
            <c:idx val="3262"/>
            <c:invertIfNegative val="1"/>
            <c:bubble3D val="0"/>
            <c:spPr>
              <a:solidFill>
                <a:srgbClr val="AEABAB"/>
              </a:solidFill>
            </c:spPr>
            <c:extLst>
              <c:ext xmlns:c16="http://schemas.microsoft.com/office/drawing/2014/chart" uri="{C3380CC4-5D6E-409C-BE32-E72D297353CC}">
                <c16:uniqueId val="{0000197F-61F5-407B-959D-D24239F5BB85}"/>
              </c:ext>
            </c:extLst>
          </c:dPt>
          <c:dPt>
            <c:idx val="3263"/>
            <c:invertIfNegative val="1"/>
            <c:bubble3D val="0"/>
            <c:spPr>
              <a:solidFill>
                <a:srgbClr val="AEABAB"/>
              </a:solidFill>
            </c:spPr>
            <c:extLst>
              <c:ext xmlns:c16="http://schemas.microsoft.com/office/drawing/2014/chart" uri="{C3380CC4-5D6E-409C-BE32-E72D297353CC}">
                <c16:uniqueId val="{00001981-61F5-407B-959D-D24239F5BB85}"/>
              </c:ext>
            </c:extLst>
          </c:dPt>
          <c:dPt>
            <c:idx val="3264"/>
            <c:invertIfNegative val="1"/>
            <c:bubble3D val="0"/>
            <c:spPr>
              <a:solidFill>
                <a:srgbClr val="AEABAB"/>
              </a:solidFill>
            </c:spPr>
            <c:extLst>
              <c:ext xmlns:c16="http://schemas.microsoft.com/office/drawing/2014/chart" uri="{C3380CC4-5D6E-409C-BE32-E72D297353CC}">
                <c16:uniqueId val="{00001983-61F5-407B-959D-D24239F5BB85}"/>
              </c:ext>
            </c:extLst>
          </c:dPt>
          <c:dPt>
            <c:idx val="3265"/>
            <c:invertIfNegative val="1"/>
            <c:bubble3D val="0"/>
            <c:spPr>
              <a:solidFill>
                <a:srgbClr val="AEABAB"/>
              </a:solidFill>
            </c:spPr>
            <c:extLst>
              <c:ext xmlns:c16="http://schemas.microsoft.com/office/drawing/2014/chart" uri="{C3380CC4-5D6E-409C-BE32-E72D297353CC}">
                <c16:uniqueId val="{00001985-61F5-407B-959D-D24239F5BB85}"/>
              </c:ext>
            </c:extLst>
          </c:dPt>
          <c:dPt>
            <c:idx val="3266"/>
            <c:invertIfNegative val="1"/>
            <c:bubble3D val="0"/>
            <c:spPr>
              <a:solidFill>
                <a:srgbClr val="AEABAB"/>
              </a:solidFill>
            </c:spPr>
            <c:extLst>
              <c:ext xmlns:c16="http://schemas.microsoft.com/office/drawing/2014/chart" uri="{C3380CC4-5D6E-409C-BE32-E72D297353CC}">
                <c16:uniqueId val="{00001987-61F5-407B-959D-D24239F5BB85}"/>
              </c:ext>
            </c:extLst>
          </c:dPt>
          <c:dPt>
            <c:idx val="3267"/>
            <c:invertIfNegative val="1"/>
            <c:bubble3D val="0"/>
            <c:spPr>
              <a:solidFill>
                <a:srgbClr val="AEABAB"/>
              </a:solidFill>
            </c:spPr>
            <c:extLst>
              <c:ext xmlns:c16="http://schemas.microsoft.com/office/drawing/2014/chart" uri="{C3380CC4-5D6E-409C-BE32-E72D297353CC}">
                <c16:uniqueId val="{00001989-61F5-407B-959D-D24239F5BB85}"/>
              </c:ext>
            </c:extLst>
          </c:dPt>
          <c:dPt>
            <c:idx val="3268"/>
            <c:invertIfNegative val="1"/>
            <c:bubble3D val="0"/>
            <c:spPr>
              <a:solidFill>
                <a:srgbClr val="AEABAB"/>
              </a:solidFill>
            </c:spPr>
            <c:extLst>
              <c:ext xmlns:c16="http://schemas.microsoft.com/office/drawing/2014/chart" uri="{C3380CC4-5D6E-409C-BE32-E72D297353CC}">
                <c16:uniqueId val="{0000198B-61F5-407B-959D-D24239F5BB85}"/>
              </c:ext>
            </c:extLst>
          </c:dPt>
          <c:dPt>
            <c:idx val="3269"/>
            <c:invertIfNegative val="1"/>
            <c:bubble3D val="0"/>
            <c:spPr>
              <a:solidFill>
                <a:srgbClr val="AEABAB"/>
              </a:solidFill>
            </c:spPr>
            <c:extLst>
              <c:ext xmlns:c16="http://schemas.microsoft.com/office/drawing/2014/chart" uri="{C3380CC4-5D6E-409C-BE32-E72D297353CC}">
                <c16:uniqueId val="{0000198D-61F5-407B-959D-D24239F5BB85}"/>
              </c:ext>
            </c:extLst>
          </c:dPt>
          <c:dPt>
            <c:idx val="3270"/>
            <c:invertIfNegative val="1"/>
            <c:bubble3D val="0"/>
            <c:spPr>
              <a:solidFill>
                <a:srgbClr val="AEABAB"/>
              </a:solidFill>
            </c:spPr>
            <c:extLst>
              <c:ext xmlns:c16="http://schemas.microsoft.com/office/drawing/2014/chart" uri="{C3380CC4-5D6E-409C-BE32-E72D297353CC}">
                <c16:uniqueId val="{0000198F-61F5-407B-959D-D24239F5BB85}"/>
              </c:ext>
            </c:extLst>
          </c:dPt>
          <c:dPt>
            <c:idx val="3271"/>
            <c:invertIfNegative val="1"/>
            <c:bubble3D val="0"/>
            <c:spPr>
              <a:solidFill>
                <a:srgbClr val="AEABAB"/>
              </a:solidFill>
            </c:spPr>
            <c:extLst>
              <c:ext xmlns:c16="http://schemas.microsoft.com/office/drawing/2014/chart" uri="{C3380CC4-5D6E-409C-BE32-E72D297353CC}">
                <c16:uniqueId val="{00001991-61F5-407B-959D-D24239F5BB85}"/>
              </c:ext>
            </c:extLst>
          </c:dPt>
          <c:dPt>
            <c:idx val="3272"/>
            <c:invertIfNegative val="1"/>
            <c:bubble3D val="0"/>
            <c:spPr>
              <a:solidFill>
                <a:srgbClr val="AEABAB"/>
              </a:solidFill>
            </c:spPr>
            <c:extLst>
              <c:ext xmlns:c16="http://schemas.microsoft.com/office/drawing/2014/chart" uri="{C3380CC4-5D6E-409C-BE32-E72D297353CC}">
                <c16:uniqueId val="{00001993-61F5-407B-959D-D24239F5BB85}"/>
              </c:ext>
            </c:extLst>
          </c:dPt>
          <c:dPt>
            <c:idx val="3273"/>
            <c:invertIfNegative val="1"/>
            <c:bubble3D val="0"/>
            <c:spPr>
              <a:solidFill>
                <a:srgbClr val="AEABAB"/>
              </a:solidFill>
            </c:spPr>
            <c:extLst>
              <c:ext xmlns:c16="http://schemas.microsoft.com/office/drawing/2014/chart" uri="{C3380CC4-5D6E-409C-BE32-E72D297353CC}">
                <c16:uniqueId val="{00001995-61F5-407B-959D-D24239F5BB85}"/>
              </c:ext>
            </c:extLst>
          </c:dPt>
          <c:dPt>
            <c:idx val="3274"/>
            <c:invertIfNegative val="1"/>
            <c:bubble3D val="0"/>
            <c:spPr>
              <a:solidFill>
                <a:srgbClr val="AEABAB"/>
              </a:solidFill>
            </c:spPr>
            <c:extLst>
              <c:ext xmlns:c16="http://schemas.microsoft.com/office/drawing/2014/chart" uri="{C3380CC4-5D6E-409C-BE32-E72D297353CC}">
                <c16:uniqueId val="{00001997-61F5-407B-959D-D24239F5BB85}"/>
              </c:ext>
            </c:extLst>
          </c:dPt>
          <c:dPt>
            <c:idx val="3275"/>
            <c:invertIfNegative val="1"/>
            <c:bubble3D val="0"/>
            <c:spPr>
              <a:solidFill>
                <a:srgbClr val="AEABAB"/>
              </a:solidFill>
            </c:spPr>
            <c:extLst>
              <c:ext xmlns:c16="http://schemas.microsoft.com/office/drawing/2014/chart" uri="{C3380CC4-5D6E-409C-BE32-E72D297353CC}">
                <c16:uniqueId val="{00001999-61F5-407B-959D-D24239F5BB85}"/>
              </c:ext>
            </c:extLst>
          </c:dPt>
          <c:dPt>
            <c:idx val="3276"/>
            <c:invertIfNegative val="1"/>
            <c:bubble3D val="0"/>
            <c:spPr>
              <a:solidFill>
                <a:srgbClr val="AEABAB"/>
              </a:solidFill>
            </c:spPr>
            <c:extLst>
              <c:ext xmlns:c16="http://schemas.microsoft.com/office/drawing/2014/chart" uri="{C3380CC4-5D6E-409C-BE32-E72D297353CC}">
                <c16:uniqueId val="{0000199B-61F5-407B-959D-D24239F5BB85}"/>
              </c:ext>
            </c:extLst>
          </c:dPt>
          <c:dPt>
            <c:idx val="3277"/>
            <c:invertIfNegative val="1"/>
            <c:bubble3D val="0"/>
            <c:spPr>
              <a:solidFill>
                <a:srgbClr val="AEABAB"/>
              </a:solidFill>
            </c:spPr>
            <c:extLst>
              <c:ext xmlns:c16="http://schemas.microsoft.com/office/drawing/2014/chart" uri="{C3380CC4-5D6E-409C-BE32-E72D297353CC}">
                <c16:uniqueId val="{0000199D-61F5-407B-959D-D24239F5BB85}"/>
              </c:ext>
            </c:extLst>
          </c:dPt>
          <c:dPt>
            <c:idx val="3278"/>
            <c:invertIfNegative val="1"/>
            <c:bubble3D val="0"/>
            <c:spPr>
              <a:solidFill>
                <a:srgbClr val="AEABAB"/>
              </a:solidFill>
            </c:spPr>
            <c:extLst>
              <c:ext xmlns:c16="http://schemas.microsoft.com/office/drawing/2014/chart" uri="{C3380CC4-5D6E-409C-BE32-E72D297353CC}">
                <c16:uniqueId val="{0000199F-61F5-407B-959D-D24239F5BB85}"/>
              </c:ext>
            </c:extLst>
          </c:dPt>
          <c:dPt>
            <c:idx val="3279"/>
            <c:invertIfNegative val="1"/>
            <c:bubble3D val="0"/>
            <c:spPr>
              <a:solidFill>
                <a:srgbClr val="AEABAB"/>
              </a:solidFill>
            </c:spPr>
            <c:extLst>
              <c:ext xmlns:c16="http://schemas.microsoft.com/office/drawing/2014/chart" uri="{C3380CC4-5D6E-409C-BE32-E72D297353CC}">
                <c16:uniqueId val="{000019A1-61F5-407B-959D-D24239F5BB85}"/>
              </c:ext>
            </c:extLst>
          </c:dPt>
          <c:dPt>
            <c:idx val="3280"/>
            <c:invertIfNegative val="1"/>
            <c:bubble3D val="0"/>
            <c:spPr>
              <a:solidFill>
                <a:srgbClr val="AEABAB"/>
              </a:solidFill>
            </c:spPr>
            <c:extLst>
              <c:ext xmlns:c16="http://schemas.microsoft.com/office/drawing/2014/chart" uri="{C3380CC4-5D6E-409C-BE32-E72D297353CC}">
                <c16:uniqueId val="{000019A3-61F5-407B-959D-D24239F5BB85}"/>
              </c:ext>
            </c:extLst>
          </c:dPt>
          <c:dPt>
            <c:idx val="3281"/>
            <c:invertIfNegative val="1"/>
            <c:bubble3D val="0"/>
            <c:spPr>
              <a:solidFill>
                <a:srgbClr val="AEABAB"/>
              </a:solidFill>
            </c:spPr>
            <c:extLst>
              <c:ext xmlns:c16="http://schemas.microsoft.com/office/drawing/2014/chart" uri="{C3380CC4-5D6E-409C-BE32-E72D297353CC}">
                <c16:uniqueId val="{000019A5-61F5-407B-959D-D24239F5BB85}"/>
              </c:ext>
            </c:extLst>
          </c:dPt>
          <c:dPt>
            <c:idx val="3282"/>
            <c:invertIfNegative val="1"/>
            <c:bubble3D val="0"/>
            <c:spPr>
              <a:solidFill>
                <a:srgbClr val="AEABAB"/>
              </a:solidFill>
            </c:spPr>
            <c:extLst>
              <c:ext xmlns:c16="http://schemas.microsoft.com/office/drawing/2014/chart" uri="{C3380CC4-5D6E-409C-BE32-E72D297353CC}">
                <c16:uniqueId val="{000019A7-61F5-407B-959D-D24239F5BB85}"/>
              </c:ext>
            </c:extLst>
          </c:dPt>
          <c:dPt>
            <c:idx val="3283"/>
            <c:invertIfNegative val="1"/>
            <c:bubble3D val="0"/>
            <c:spPr>
              <a:solidFill>
                <a:srgbClr val="AEABAB"/>
              </a:solidFill>
            </c:spPr>
            <c:extLst>
              <c:ext xmlns:c16="http://schemas.microsoft.com/office/drawing/2014/chart" uri="{C3380CC4-5D6E-409C-BE32-E72D297353CC}">
                <c16:uniqueId val="{000019A9-61F5-407B-959D-D24239F5BB85}"/>
              </c:ext>
            </c:extLst>
          </c:dPt>
          <c:dPt>
            <c:idx val="3284"/>
            <c:invertIfNegative val="1"/>
            <c:bubble3D val="0"/>
            <c:spPr>
              <a:solidFill>
                <a:srgbClr val="AEABAB"/>
              </a:solidFill>
            </c:spPr>
            <c:extLst>
              <c:ext xmlns:c16="http://schemas.microsoft.com/office/drawing/2014/chart" uri="{C3380CC4-5D6E-409C-BE32-E72D297353CC}">
                <c16:uniqueId val="{000019AB-61F5-407B-959D-D24239F5BB85}"/>
              </c:ext>
            </c:extLst>
          </c:dPt>
          <c:dPt>
            <c:idx val="3285"/>
            <c:invertIfNegative val="1"/>
            <c:bubble3D val="0"/>
            <c:spPr>
              <a:solidFill>
                <a:srgbClr val="AEABAB"/>
              </a:solidFill>
            </c:spPr>
            <c:extLst>
              <c:ext xmlns:c16="http://schemas.microsoft.com/office/drawing/2014/chart" uri="{C3380CC4-5D6E-409C-BE32-E72D297353CC}">
                <c16:uniqueId val="{000019AD-61F5-407B-959D-D24239F5BB85}"/>
              </c:ext>
            </c:extLst>
          </c:dPt>
          <c:dPt>
            <c:idx val="3286"/>
            <c:invertIfNegative val="1"/>
            <c:bubble3D val="0"/>
            <c:spPr>
              <a:solidFill>
                <a:srgbClr val="AEABAB"/>
              </a:solidFill>
            </c:spPr>
            <c:extLst>
              <c:ext xmlns:c16="http://schemas.microsoft.com/office/drawing/2014/chart" uri="{C3380CC4-5D6E-409C-BE32-E72D297353CC}">
                <c16:uniqueId val="{000019AF-61F5-407B-959D-D24239F5BB85}"/>
              </c:ext>
            </c:extLst>
          </c:dPt>
          <c:dPt>
            <c:idx val="3287"/>
            <c:invertIfNegative val="1"/>
            <c:bubble3D val="0"/>
            <c:spPr>
              <a:solidFill>
                <a:srgbClr val="AEABAB"/>
              </a:solidFill>
            </c:spPr>
            <c:extLst>
              <c:ext xmlns:c16="http://schemas.microsoft.com/office/drawing/2014/chart" uri="{C3380CC4-5D6E-409C-BE32-E72D297353CC}">
                <c16:uniqueId val="{000019B1-61F5-407B-959D-D24239F5BB85}"/>
              </c:ext>
            </c:extLst>
          </c:dPt>
          <c:dPt>
            <c:idx val="3288"/>
            <c:invertIfNegative val="1"/>
            <c:bubble3D val="0"/>
            <c:spPr>
              <a:solidFill>
                <a:srgbClr val="AEABAB"/>
              </a:solidFill>
            </c:spPr>
            <c:extLst>
              <c:ext xmlns:c16="http://schemas.microsoft.com/office/drawing/2014/chart" uri="{C3380CC4-5D6E-409C-BE32-E72D297353CC}">
                <c16:uniqueId val="{000019B3-61F5-407B-959D-D24239F5BB85}"/>
              </c:ext>
            </c:extLst>
          </c:dPt>
          <c:dPt>
            <c:idx val="3289"/>
            <c:invertIfNegative val="1"/>
            <c:bubble3D val="0"/>
            <c:spPr>
              <a:solidFill>
                <a:srgbClr val="AEABAB"/>
              </a:solidFill>
            </c:spPr>
            <c:extLst>
              <c:ext xmlns:c16="http://schemas.microsoft.com/office/drawing/2014/chart" uri="{C3380CC4-5D6E-409C-BE32-E72D297353CC}">
                <c16:uniqueId val="{000019B5-61F5-407B-959D-D24239F5BB85}"/>
              </c:ext>
            </c:extLst>
          </c:dPt>
          <c:dPt>
            <c:idx val="3290"/>
            <c:invertIfNegative val="1"/>
            <c:bubble3D val="0"/>
            <c:spPr>
              <a:solidFill>
                <a:srgbClr val="AEABAB"/>
              </a:solidFill>
            </c:spPr>
            <c:extLst>
              <c:ext xmlns:c16="http://schemas.microsoft.com/office/drawing/2014/chart" uri="{C3380CC4-5D6E-409C-BE32-E72D297353CC}">
                <c16:uniqueId val="{000019B7-61F5-407B-959D-D24239F5BB85}"/>
              </c:ext>
            </c:extLst>
          </c:dPt>
          <c:dPt>
            <c:idx val="3291"/>
            <c:invertIfNegative val="1"/>
            <c:bubble3D val="0"/>
            <c:spPr>
              <a:solidFill>
                <a:srgbClr val="AEABAB"/>
              </a:solidFill>
            </c:spPr>
            <c:extLst>
              <c:ext xmlns:c16="http://schemas.microsoft.com/office/drawing/2014/chart" uri="{C3380CC4-5D6E-409C-BE32-E72D297353CC}">
                <c16:uniqueId val="{000019B9-61F5-407B-959D-D24239F5BB85}"/>
              </c:ext>
            </c:extLst>
          </c:dPt>
          <c:dPt>
            <c:idx val="3292"/>
            <c:invertIfNegative val="1"/>
            <c:bubble3D val="0"/>
            <c:spPr>
              <a:solidFill>
                <a:srgbClr val="AEABAB"/>
              </a:solidFill>
            </c:spPr>
            <c:extLst>
              <c:ext xmlns:c16="http://schemas.microsoft.com/office/drawing/2014/chart" uri="{C3380CC4-5D6E-409C-BE32-E72D297353CC}">
                <c16:uniqueId val="{000019BB-61F5-407B-959D-D24239F5BB85}"/>
              </c:ext>
            </c:extLst>
          </c:dPt>
          <c:dPt>
            <c:idx val="3293"/>
            <c:invertIfNegative val="1"/>
            <c:bubble3D val="0"/>
            <c:spPr>
              <a:solidFill>
                <a:srgbClr val="AEABAB"/>
              </a:solidFill>
            </c:spPr>
            <c:extLst>
              <c:ext xmlns:c16="http://schemas.microsoft.com/office/drawing/2014/chart" uri="{C3380CC4-5D6E-409C-BE32-E72D297353CC}">
                <c16:uniqueId val="{000019BD-61F5-407B-959D-D24239F5BB85}"/>
              </c:ext>
            </c:extLst>
          </c:dPt>
          <c:dPt>
            <c:idx val="3294"/>
            <c:invertIfNegative val="1"/>
            <c:bubble3D val="0"/>
            <c:spPr>
              <a:solidFill>
                <a:srgbClr val="AEABAB"/>
              </a:solidFill>
            </c:spPr>
            <c:extLst>
              <c:ext xmlns:c16="http://schemas.microsoft.com/office/drawing/2014/chart" uri="{C3380CC4-5D6E-409C-BE32-E72D297353CC}">
                <c16:uniqueId val="{000019BF-61F5-407B-959D-D24239F5BB85}"/>
              </c:ext>
            </c:extLst>
          </c:dPt>
          <c:dPt>
            <c:idx val="3295"/>
            <c:invertIfNegative val="1"/>
            <c:bubble3D val="0"/>
            <c:spPr>
              <a:solidFill>
                <a:srgbClr val="AEABAB"/>
              </a:solidFill>
            </c:spPr>
            <c:extLst>
              <c:ext xmlns:c16="http://schemas.microsoft.com/office/drawing/2014/chart" uri="{C3380CC4-5D6E-409C-BE32-E72D297353CC}">
                <c16:uniqueId val="{000019C1-61F5-407B-959D-D24239F5BB85}"/>
              </c:ext>
            </c:extLst>
          </c:dPt>
          <c:dPt>
            <c:idx val="3296"/>
            <c:invertIfNegative val="1"/>
            <c:bubble3D val="0"/>
            <c:spPr>
              <a:solidFill>
                <a:srgbClr val="AEABAB"/>
              </a:solidFill>
            </c:spPr>
            <c:extLst>
              <c:ext xmlns:c16="http://schemas.microsoft.com/office/drawing/2014/chart" uri="{C3380CC4-5D6E-409C-BE32-E72D297353CC}">
                <c16:uniqueId val="{000019C3-61F5-407B-959D-D24239F5BB85}"/>
              </c:ext>
            </c:extLst>
          </c:dPt>
          <c:dPt>
            <c:idx val="3297"/>
            <c:invertIfNegative val="1"/>
            <c:bubble3D val="0"/>
            <c:spPr>
              <a:solidFill>
                <a:srgbClr val="AEABAB"/>
              </a:solidFill>
            </c:spPr>
            <c:extLst>
              <c:ext xmlns:c16="http://schemas.microsoft.com/office/drawing/2014/chart" uri="{C3380CC4-5D6E-409C-BE32-E72D297353CC}">
                <c16:uniqueId val="{000019C5-61F5-407B-959D-D24239F5BB85}"/>
              </c:ext>
            </c:extLst>
          </c:dPt>
          <c:dPt>
            <c:idx val="3298"/>
            <c:invertIfNegative val="1"/>
            <c:bubble3D val="0"/>
            <c:spPr>
              <a:solidFill>
                <a:srgbClr val="AEABAB"/>
              </a:solidFill>
            </c:spPr>
            <c:extLst>
              <c:ext xmlns:c16="http://schemas.microsoft.com/office/drawing/2014/chart" uri="{C3380CC4-5D6E-409C-BE32-E72D297353CC}">
                <c16:uniqueId val="{000019C7-61F5-407B-959D-D24239F5BB85}"/>
              </c:ext>
            </c:extLst>
          </c:dPt>
          <c:dPt>
            <c:idx val="3299"/>
            <c:invertIfNegative val="1"/>
            <c:bubble3D val="0"/>
            <c:spPr>
              <a:solidFill>
                <a:srgbClr val="AEABAB"/>
              </a:solidFill>
            </c:spPr>
            <c:extLst>
              <c:ext xmlns:c16="http://schemas.microsoft.com/office/drawing/2014/chart" uri="{C3380CC4-5D6E-409C-BE32-E72D297353CC}">
                <c16:uniqueId val="{000019C9-61F5-407B-959D-D24239F5BB85}"/>
              </c:ext>
            </c:extLst>
          </c:dPt>
          <c:dPt>
            <c:idx val="3300"/>
            <c:invertIfNegative val="1"/>
            <c:bubble3D val="0"/>
            <c:spPr>
              <a:solidFill>
                <a:srgbClr val="AEABAB"/>
              </a:solidFill>
            </c:spPr>
            <c:extLst>
              <c:ext xmlns:c16="http://schemas.microsoft.com/office/drawing/2014/chart" uri="{C3380CC4-5D6E-409C-BE32-E72D297353CC}">
                <c16:uniqueId val="{000019CB-61F5-407B-959D-D24239F5BB85}"/>
              </c:ext>
            </c:extLst>
          </c:dPt>
          <c:dPt>
            <c:idx val="3301"/>
            <c:invertIfNegative val="1"/>
            <c:bubble3D val="0"/>
            <c:spPr>
              <a:solidFill>
                <a:srgbClr val="AEABAB"/>
              </a:solidFill>
            </c:spPr>
            <c:extLst>
              <c:ext xmlns:c16="http://schemas.microsoft.com/office/drawing/2014/chart" uri="{C3380CC4-5D6E-409C-BE32-E72D297353CC}">
                <c16:uniqueId val="{000019CD-61F5-407B-959D-D24239F5BB85}"/>
              </c:ext>
            </c:extLst>
          </c:dPt>
          <c:dPt>
            <c:idx val="3302"/>
            <c:invertIfNegative val="1"/>
            <c:bubble3D val="0"/>
            <c:spPr>
              <a:solidFill>
                <a:srgbClr val="AEABAB"/>
              </a:solidFill>
            </c:spPr>
            <c:extLst>
              <c:ext xmlns:c16="http://schemas.microsoft.com/office/drawing/2014/chart" uri="{C3380CC4-5D6E-409C-BE32-E72D297353CC}">
                <c16:uniqueId val="{000019CF-61F5-407B-959D-D24239F5BB85}"/>
              </c:ext>
            </c:extLst>
          </c:dPt>
          <c:dPt>
            <c:idx val="3303"/>
            <c:invertIfNegative val="1"/>
            <c:bubble3D val="0"/>
            <c:spPr>
              <a:solidFill>
                <a:srgbClr val="AEABAB"/>
              </a:solidFill>
            </c:spPr>
            <c:extLst>
              <c:ext xmlns:c16="http://schemas.microsoft.com/office/drawing/2014/chart" uri="{C3380CC4-5D6E-409C-BE32-E72D297353CC}">
                <c16:uniqueId val="{000019D1-61F5-407B-959D-D24239F5BB85}"/>
              </c:ext>
            </c:extLst>
          </c:dPt>
          <c:dPt>
            <c:idx val="3304"/>
            <c:invertIfNegative val="1"/>
            <c:bubble3D val="0"/>
            <c:spPr>
              <a:solidFill>
                <a:srgbClr val="AEABAB"/>
              </a:solidFill>
            </c:spPr>
            <c:extLst>
              <c:ext xmlns:c16="http://schemas.microsoft.com/office/drawing/2014/chart" uri="{C3380CC4-5D6E-409C-BE32-E72D297353CC}">
                <c16:uniqueId val="{000019D3-61F5-407B-959D-D24239F5BB85}"/>
              </c:ext>
            </c:extLst>
          </c:dPt>
          <c:dPt>
            <c:idx val="3305"/>
            <c:invertIfNegative val="1"/>
            <c:bubble3D val="0"/>
            <c:spPr>
              <a:solidFill>
                <a:srgbClr val="AEABAB"/>
              </a:solidFill>
            </c:spPr>
            <c:extLst>
              <c:ext xmlns:c16="http://schemas.microsoft.com/office/drawing/2014/chart" uri="{C3380CC4-5D6E-409C-BE32-E72D297353CC}">
                <c16:uniqueId val="{000019D5-61F5-407B-959D-D24239F5BB85}"/>
              </c:ext>
            </c:extLst>
          </c:dPt>
          <c:dPt>
            <c:idx val="3306"/>
            <c:invertIfNegative val="1"/>
            <c:bubble3D val="0"/>
            <c:spPr>
              <a:solidFill>
                <a:srgbClr val="AEABAB"/>
              </a:solidFill>
            </c:spPr>
            <c:extLst>
              <c:ext xmlns:c16="http://schemas.microsoft.com/office/drawing/2014/chart" uri="{C3380CC4-5D6E-409C-BE32-E72D297353CC}">
                <c16:uniqueId val="{000019D7-61F5-407B-959D-D24239F5BB85}"/>
              </c:ext>
            </c:extLst>
          </c:dPt>
          <c:dPt>
            <c:idx val="3307"/>
            <c:invertIfNegative val="1"/>
            <c:bubble3D val="0"/>
            <c:spPr>
              <a:solidFill>
                <a:srgbClr val="AEABAB"/>
              </a:solidFill>
            </c:spPr>
            <c:extLst>
              <c:ext xmlns:c16="http://schemas.microsoft.com/office/drawing/2014/chart" uri="{C3380CC4-5D6E-409C-BE32-E72D297353CC}">
                <c16:uniqueId val="{000019D9-61F5-407B-959D-D24239F5BB85}"/>
              </c:ext>
            </c:extLst>
          </c:dPt>
          <c:dPt>
            <c:idx val="3308"/>
            <c:invertIfNegative val="1"/>
            <c:bubble3D val="0"/>
            <c:spPr>
              <a:solidFill>
                <a:srgbClr val="AEABAB"/>
              </a:solidFill>
            </c:spPr>
            <c:extLst>
              <c:ext xmlns:c16="http://schemas.microsoft.com/office/drawing/2014/chart" uri="{C3380CC4-5D6E-409C-BE32-E72D297353CC}">
                <c16:uniqueId val="{000019DB-61F5-407B-959D-D24239F5BB85}"/>
              </c:ext>
            </c:extLst>
          </c:dPt>
          <c:dPt>
            <c:idx val="3309"/>
            <c:invertIfNegative val="1"/>
            <c:bubble3D val="0"/>
            <c:spPr>
              <a:solidFill>
                <a:srgbClr val="AEABAB"/>
              </a:solidFill>
            </c:spPr>
            <c:extLst>
              <c:ext xmlns:c16="http://schemas.microsoft.com/office/drawing/2014/chart" uri="{C3380CC4-5D6E-409C-BE32-E72D297353CC}">
                <c16:uniqueId val="{000019DD-61F5-407B-959D-D24239F5BB85}"/>
              </c:ext>
            </c:extLst>
          </c:dPt>
          <c:dPt>
            <c:idx val="3310"/>
            <c:invertIfNegative val="1"/>
            <c:bubble3D val="0"/>
            <c:spPr>
              <a:solidFill>
                <a:srgbClr val="AEABAB"/>
              </a:solidFill>
            </c:spPr>
            <c:extLst>
              <c:ext xmlns:c16="http://schemas.microsoft.com/office/drawing/2014/chart" uri="{C3380CC4-5D6E-409C-BE32-E72D297353CC}">
                <c16:uniqueId val="{000019DF-61F5-407B-959D-D24239F5BB85}"/>
              </c:ext>
            </c:extLst>
          </c:dPt>
          <c:dPt>
            <c:idx val="3311"/>
            <c:invertIfNegative val="1"/>
            <c:bubble3D val="0"/>
            <c:spPr>
              <a:solidFill>
                <a:srgbClr val="AEABAB"/>
              </a:solidFill>
            </c:spPr>
            <c:extLst>
              <c:ext xmlns:c16="http://schemas.microsoft.com/office/drawing/2014/chart" uri="{C3380CC4-5D6E-409C-BE32-E72D297353CC}">
                <c16:uniqueId val="{000019E1-61F5-407B-959D-D24239F5BB85}"/>
              </c:ext>
            </c:extLst>
          </c:dPt>
          <c:dPt>
            <c:idx val="3312"/>
            <c:invertIfNegative val="1"/>
            <c:bubble3D val="0"/>
            <c:spPr>
              <a:solidFill>
                <a:srgbClr val="AEABAB"/>
              </a:solidFill>
            </c:spPr>
            <c:extLst>
              <c:ext xmlns:c16="http://schemas.microsoft.com/office/drawing/2014/chart" uri="{C3380CC4-5D6E-409C-BE32-E72D297353CC}">
                <c16:uniqueId val="{000019E3-61F5-407B-959D-D24239F5BB85}"/>
              </c:ext>
            </c:extLst>
          </c:dPt>
          <c:dPt>
            <c:idx val="3313"/>
            <c:invertIfNegative val="1"/>
            <c:bubble3D val="0"/>
            <c:spPr>
              <a:solidFill>
                <a:srgbClr val="AEABAB"/>
              </a:solidFill>
            </c:spPr>
            <c:extLst>
              <c:ext xmlns:c16="http://schemas.microsoft.com/office/drawing/2014/chart" uri="{C3380CC4-5D6E-409C-BE32-E72D297353CC}">
                <c16:uniqueId val="{000019E5-61F5-407B-959D-D24239F5BB85}"/>
              </c:ext>
            </c:extLst>
          </c:dPt>
          <c:dPt>
            <c:idx val="3314"/>
            <c:invertIfNegative val="1"/>
            <c:bubble3D val="0"/>
            <c:spPr>
              <a:solidFill>
                <a:srgbClr val="AEABAB"/>
              </a:solidFill>
            </c:spPr>
            <c:extLst>
              <c:ext xmlns:c16="http://schemas.microsoft.com/office/drawing/2014/chart" uri="{C3380CC4-5D6E-409C-BE32-E72D297353CC}">
                <c16:uniqueId val="{000019E7-61F5-407B-959D-D24239F5BB85}"/>
              </c:ext>
            </c:extLst>
          </c:dPt>
          <c:dPt>
            <c:idx val="3315"/>
            <c:invertIfNegative val="1"/>
            <c:bubble3D val="0"/>
            <c:spPr>
              <a:solidFill>
                <a:srgbClr val="AEABAB"/>
              </a:solidFill>
            </c:spPr>
            <c:extLst>
              <c:ext xmlns:c16="http://schemas.microsoft.com/office/drawing/2014/chart" uri="{C3380CC4-5D6E-409C-BE32-E72D297353CC}">
                <c16:uniqueId val="{000019E9-61F5-407B-959D-D24239F5BB85}"/>
              </c:ext>
            </c:extLst>
          </c:dPt>
          <c:dPt>
            <c:idx val="3316"/>
            <c:invertIfNegative val="1"/>
            <c:bubble3D val="0"/>
            <c:spPr>
              <a:solidFill>
                <a:srgbClr val="AEABAB"/>
              </a:solidFill>
            </c:spPr>
            <c:extLst>
              <c:ext xmlns:c16="http://schemas.microsoft.com/office/drawing/2014/chart" uri="{C3380CC4-5D6E-409C-BE32-E72D297353CC}">
                <c16:uniqueId val="{000019EB-61F5-407B-959D-D24239F5BB85}"/>
              </c:ext>
            </c:extLst>
          </c:dPt>
          <c:dPt>
            <c:idx val="3317"/>
            <c:invertIfNegative val="1"/>
            <c:bubble3D val="0"/>
            <c:spPr>
              <a:solidFill>
                <a:srgbClr val="AEABAB"/>
              </a:solidFill>
            </c:spPr>
            <c:extLst>
              <c:ext xmlns:c16="http://schemas.microsoft.com/office/drawing/2014/chart" uri="{C3380CC4-5D6E-409C-BE32-E72D297353CC}">
                <c16:uniqueId val="{000019ED-61F5-407B-959D-D24239F5BB85}"/>
              </c:ext>
            </c:extLst>
          </c:dPt>
          <c:dPt>
            <c:idx val="3318"/>
            <c:invertIfNegative val="1"/>
            <c:bubble3D val="0"/>
            <c:spPr>
              <a:solidFill>
                <a:srgbClr val="AEABAB"/>
              </a:solidFill>
            </c:spPr>
            <c:extLst>
              <c:ext xmlns:c16="http://schemas.microsoft.com/office/drawing/2014/chart" uri="{C3380CC4-5D6E-409C-BE32-E72D297353CC}">
                <c16:uniqueId val="{000019EF-61F5-407B-959D-D24239F5BB85}"/>
              </c:ext>
            </c:extLst>
          </c:dPt>
          <c:dPt>
            <c:idx val="3319"/>
            <c:invertIfNegative val="1"/>
            <c:bubble3D val="0"/>
            <c:spPr>
              <a:solidFill>
                <a:srgbClr val="AEABAB"/>
              </a:solidFill>
            </c:spPr>
            <c:extLst>
              <c:ext xmlns:c16="http://schemas.microsoft.com/office/drawing/2014/chart" uri="{C3380CC4-5D6E-409C-BE32-E72D297353CC}">
                <c16:uniqueId val="{000019F1-61F5-407B-959D-D24239F5BB85}"/>
              </c:ext>
            </c:extLst>
          </c:dPt>
          <c:dPt>
            <c:idx val="3320"/>
            <c:invertIfNegative val="1"/>
            <c:bubble3D val="0"/>
            <c:spPr>
              <a:solidFill>
                <a:srgbClr val="AEABAB"/>
              </a:solidFill>
            </c:spPr>
            <c:extLst>
              <c:ext xmlns:c16="http://schemas.microsoft.com/office/drawing/2014/chart" uri="{C3380CC4-5D6E-409C-BE32-E72D297353CC}">
                <c16:uniqueId val="{000019F3-61F5-407B-959D-D24239F5BB85}"/>
              </c:ext>
            </c:extLst>
          </c:dPt>
          <c:dPt>
            <c:idx val="3321"/>
            <c:invertIfNegative val="1"/>
            <c:bubble3D val="0"/>
            <c:spPr>
              <a:solidFill>
                <a:srgbClr val="AEABAB"/>
              </a:solidFill>
            </c:spPr>
            <c:extLst>
              <c:ext xmlns:c16="http://schemas.microsoft.com/office/drawing/2014/chart" uri="{C3380CC4-5D6E-409C-BE32-E72D297353CC}">
                <c16:uniqueId val="{000019F5-61F5-407B-959D-D24239F5BB85}"/>
              </c:ext>
            </c:extLst>
          </c:dPt>
          <c:dPt>
            <c:idx val="3322"/>
            <c:invertIfNegative val="1"/>
            <c:bubble3D val="0"/>
            <c:spPr>
              <a:solidFill>
                <a:srgbClr val="AEABAB"/>
              </a:solidFill>
            </c:spPr>
            <c:extLst>
              <c:ext xmlns:c16="http://schemas.microsoft.com/office/drawing/2014/chart" uri="{C3380CC4-5D6E-409C-BE32-E72D297353CC}">
                <c16:uniqueId val="{000019F7-61F5-407B-959D-D24239F5BB85}"/>
              </c:ext>
            </c:extLst>
          </c:dPt>
          <c:dPt>
            <c:idx val="3323"/>
            <c:invertIfNegative val="1"/>
            <c:bubble3D val="0"/>
            <c:spPr>
              <a:solidFill>
                <a:srgbClr val="AEABAB"/>
              </a:solidFill>
            </c:spPr>
            <c:extLst>
              <c:ext xmlns:c16="http://schemas.microsoft.com/office/drawing/2014/chart" uri="{C3380CC4-5D6E-409C-BE32-E72D297353CC}">
                <c16:uniqueId val="{000019F9-61F5-407B-959D-D24239F5BB85}"/>
              </c:ext>
            </c:extLst>
          </c:dPt>
          <c:dPt>
            <c:idx val="3324"/>
            <c:invertIfNegative val="1"/>
            <c:bubble3D val="0"/>
            <c:spPr>
              <a:solidFill>
                <a:srgbClr val="AEABAB"/>
              </a:solidFill>
            </c:spPr>
            <c:extLst>
              <c:ext xmlns:c16="http://schemas.microsoft.com/office/drawing/2014/chart" uri="{C3380CC4-5D6E-409C-BE32-E72D297353CC}">
                <c16:uniqueId val="{000019FB-61F5-407B-959D-D24239F5BB85}"/>
              </c:ext>
            </c:extLst>
          </c:dPt>
          <c:dPt>
            <c:idx val="3325"/>
            <c:invertIfNegative val="1"/>
            <c:bubble3D val="0"/>
            <c:spPr>
              <a:solidFill>
                <a:srgbClr val="AEABAB"/>
              </a:solidFill>
            </c:spPr>
            <c:extLst>
              <c:ext xmlns:c16="http://schemas.microsoft.com/office/drawing/2014/chart" uri="{C3380CC4-5D6E-409C-BE32-E72D297353CC}">
                <c16:uniqueId val="{000019FD-61F5-407B-959D-D24239F5BB85}"/>
              </c:ext>
            </c:extLst>
          </c:dPt>
          <c:dPt>
            <c:idx val="3326"/>
            <c:invertIfNegative val="1"/>
            <c:bubble3D val="0"/>
            <c:spPr>
              <a:solidFill>
                <a:srgbClr val="AEABAB"/>
              </a:solidFill>
            </c:spPr>
            <c:extLst>
              <c:ext xmlns:c16="http://schemas.microsoft.com/office/drawing/2014/chart" uri="{C3380CC4-5D6E-409C-BE32-E72D297353CC}">
                <c16:uniqueId val="{000019FF-61F5-407B-959D-D24239F5BB85}"/>
              </c:ext>
            </c:extLst>
          </c:dPt>
          <c:dPt>
            <c:idx val="3327"/>
            <c:invertIfNegative val="1"/>
            <c:bubble3D val="0"/>
            <c:spPr>
              <a:solidFill>
                <a:srgbClr val="AEABAB"/>
              </a:solidFill>
            </c:spPr>
            <c:extLst>
              <c:ext xmlns:c16="http://schemas.microsoft.com/office/drawing/2014/chart" uri="{C3380CC4-5D6E-409C-BE32-E72D297353CC}">
                <c16:uniqueId val="{00001A01-61F5-407B-959D-D24239F5BB85}"/>
              </c:ext>
            </c:extLst>
          </c:dPt>
          <c:dPt>
            <c:idx val="3328"/>
            <c:invertIfNegative val="1"/>
            <c:bubble3D val="0"/>
            <c:spPr>
              <a:solidFill>
                <a:srgbClr val="AEABAB"/>
              </a:solidFill>
            </c:spPr>
            <c:extLst>
              <c:ext xmlns:c16="http://schemas.microsoft.com/office/drawing/2014/chart" uri="{C3380CC4-5D6E-409C-BE32-E72D297353CC}">
                <c16:uniqueId val="{00001A03-61F5-407B-959D-D24239F5BB85}"/>
              </c:ext>
            </c:extLst>
          </c:dPt>
          <c:dPt>
            <c:idx val="3329"/>
            <c:invertIfNegative val="1"/>
            <c:bubble3D val="0"/>
            <c:spPr>
              <a:solidFill>
                <a:srgbClr val="AEABAB"/>
              </a:solidFill>
            </c:spPr>
            <c:extLst>
              <c:ext xmlns:c16="http://schemas.microsoft.com/office/drawing/2014/chart" uri="{C3380CC4-5D6E-409C-BE32-E72D297353CC}">
                <c16:uniqueId val="{00001A05-61F5-407B-959D-D24239F5BB85}"/>
              </c:ext>
            </c:extLst>
          </c:dPt>
          <c:dPt>
            <c:idx val="3330"/>
            <c:invertIfNegative val="1"/>
            <c:bubble3D val="0"/>
            <c:spPr>
              <a:solidFill>
                <a:srgbClr val="AEABAB"/>
              </a:solidFill>
            </c:spPr>
            <c:extLst>
              <c:ext xmlns:c16="http://schemas.microsoft.com/office/drawing/2014/chart" uri="{C3380CC4-5D6E-409C-BE32-E72D297353CC}">
                <c16:uniqueId val="{00001A07-61F5-407B-959D-D24239F5BB85}"/>
              </c:ext>
            </c:extLst>
          </c:dPt>
          <c:dPt>
            <c:idx val="3331"/>
            <c:invertIfNegative val="1"/>
            <c:bubble3D val="0"/>
            <c:spPr>
              <a:solidFill>
                <a:srgbClr val="AEABAB"/>
              </a:solidFill>
            </c:spPr>
            <c:extLst>
              <c:ext xmlns:c16="http://schemas.microsoft.com/office/drawing/2014/chart" uri="{C3380CC4-5D6E-409C-BE32-E72D297353CC}">
                <c16:uniqueId val="{00001A09-61F5-407B-959D-D24239F5BB85}"/>
              </c:ext>
            </c:extLst>
          </c:dPt>
          <c:dPt>
            <c:idx val="3332"/>
            <c:invertIfNegative val="1"/>
            <c:bubble3D val="0"/>
            <c:spPr>
              <a:solidFill>
                <a:srgbClr val="AEABAB"/>
              </a:solidFill>
            </c:spPr>
            <c:extLst>
              <c:ext xmlns:c16="http://schemas.microsoft.com/office/drawing/2014/chart" uri="{C3380CC4-5D6E-409C-BE32-E72D297353CC}">
                <c16:uniqueId val="{00001A0B-61F5-407B-959D-D24239F5BB85}"/>
              </c:ext>
            </c:extLst>
          </c:dPt>
          <c:dPt>
            <c:idx val="3333"/>
            <c:invertIfNegative val="1"/>
            <c:bubble3D val="0"/>
            <c:spPr>
              <a:solidFill>
                <a:srgbClr val="AEABAB"/>
              </a:solidFill>
            </c:spPr>
            <c:extLst>
              <c:ext xmlns:c16="http://schemas.microsoft.com/office/drawing/2014/chart" uri="{C3380CC4-5D6E-409C-BE32-E72D297353CC}">
                <c16:uniqueId val="{00001A0D-61F5-407B-959D-D24239F5BB85}"/>
              </c:ext>
            </c:extLst>
          </c:dPt>
          <c:dPt>
            <c:idx val="3334"/>
            <c:invertIfNegative val="1"/>
            <c:bubble3D val="0"/>
            <c:spPr>
              <a:solidFill>
                <a:srgbClr val="AEABAB"/>
              </a:solidFill>
            </c:spPr>
            <c:extLst>
              <c:ext xmlns:c16="http://schemas.microsoft.com/office/drawing/2014/chart" uri="{C3380CC4-5D6E-409C-BE32-E72D297353CC}">
                <c16:uniqueId val="{00001A0F-61F5-407B-959D-D24239F5BB85}"/>
              </c:ext>
            </c:extLst>
          </c:dPt>
          <c:dPt>
            <c:idx val="3335"/>
            <c:invertIfNegative val="1"/>
            <c:bubble3D val="0"/>
            <c:spPr>
              <a:solidFill>
                <a:srgbClr val="AEABAB"/>
              </a:solidFill>
            </c:spPr>
            <c:extLst>
              <c:ext xmlns:c16="http://schemas.microsoft.com/office/drawing/2014/chart" uri="{C3380CC4-5D6E-409C-BE32-E72D297353CC}">
                <c16:uniqueId val="{00001A11-61F5-407B-959D-D24239F5BB85}"/>
              </c:ext>
            </c:extLst>
          </c:dPt>
          <c:dPt>
            <c:idx val="3336"/>
            <c:invertIfNegative val="1"/>
            <c:bubble3D val="0"/>
            <c:spPr>
              <a:solidFill>
                <a:srgbClr val="AEABAB"/>
              </a:solidFill>
            </c:spPr>
            <c:extLst>
              <c:ext xmlns:c16="http://schemas.microsoft.com/office/drawing/2014/chart" uri="{C3380CC4-5D6E-409C-BE32-E72D297353CC}">
                <c16:uniqueId val="{00001A13-61F5-407B-959D-D24239F5BB85}"/>
              </c:ext>
            </c:extLst>
          </c:dPt>
          <c:dPt>
            <c:idx val="3337"/>
            <c:invertIfNegative val="1"/>
            <c:bubble3D val="0"/>
            <c:spPr>
              <a:solidFill>
                <a:srgbClr val="AEABAB"/>
              </a:solidFill>
            </c:spPr>
            <c:extLst>
              <c:ext xmlns:c16="http://schemas.microsoft.com/office/drawing/2014/chart" uri="{C3380CC4-5D6E-409C-BE32-E72D297353CC}">
                <c16:uniqueId val="{00001A15-61F5-407B-959D-D24239F5BB85}"/>
              </c:ext>
            </c:extLst>
          </c:dPt>
          <c:dPt>
            <c:idx val="3338"/>
            <c:invertIfNegative val="1"/>
            <c:bubble3D val="0"/>
            <c:spPr>
              <a:solidFill>
                <a:srgbClr val="AEABAB"/>
              </a:solidFill>
            </c:spPr>
            <c:extLst>
              <c:ext xmlns:c16="http://schemas.microsoft.com/office/drawing/2014/chart" uri="{C3380CC4-5D6E-409C-BE32-E72D297353CC}">
                <c16:uniqueId val="{00001A17-61F5-407B-959D-D24239F5BB85}"/>
              </c:ext>
            </c:extLst>
          </c:dPt>
          <c:dPt>
            <c:idx val="3339"/>
            <c:invertIfNegative val="1"/>
            <c:bubble3D val="0"/>
            <c:spPr>
              <a:solidFill>
                <a:srgbClr val="AEABAB"/>
              </a:solidFill>
            </c:spPr>
            <c:extLst>
              <c:ext xmlns:c16="http://schemas.microsoft.com/office/drawing/2014/chart" uri="{C3380CC4-5D6E-409C-BE32-E72D297353CC}">
                <c16:uniqueId val="{00001A19-61F5-407B-959D-D24239F5BB85}"/>
              </c:ext>
            </c:extLst>
          </c:dPt>
          <c:dPt>
            <c:idx val="3340"/>
            <c:invertIfNegative val="1"/>
            <c:bubble3D val="0"/>
            <c:spPr>
              <a:solidFill>
                <a:srgbClr val="AEABAB"/>
              </a:solidFill>
            </c:spPr>
            <c:extLst>
              <c:ext xmlns:c16="http://schemas.microsoft.com/office/drawing/2014/chart" uri="{C3380CC4-5D6E-409C-BE32-E72D297353CC}">
                <c16:uniqueId val="{00001A1B-61F5-407B-959D-D24239F5BB85}"/>
              </c:ext>
            </c:extLst>
          </c:dPt>
          <c:dPt>
            <c:idx val="3341"/>
            <c:invertIfNegative val="1"/>
            <c:bubble3D val="0"/>
            <c:spPr>
              <a:solidFill>
                <a:srgbClr val="AEABAB"/>
              </a:solidFill>
            </c:spPr>
            <c:extLst>
              <c:ext xmlns:c16="http://schemas.microsoft.com/office/drawing/2014/chart" uri="{C3380CC4-5D6E-409C-BE32-E72D297353CC}">
                <c16:uniqueId val="{00001A1D-61F5-407B-959D-D24239F5BB85}"/>
              </c:ext>
            </c:extLst>
          </c:dPt>
          <c:dPt>
            <c:idx val="3342"/>
            <c:invertIfNegative val="1"/>
            <c:bubble3D val="0"/>
            <c:spPr>
              <a:solidFill>
                <a:srgbClr val="AEABAB"/>
              </a:solidFill>
            </c:spPr>
            <c:extLst>
              <c:ext xmlns:c16="http://schemas.microsoft.com/office/drawing/2014/chart" uri="{C3380CC4-5D6E-409C-BE32-E72D297353CC}">
                <c16:uniqueId val="{00001A1F-61F5-407B-959D-D24239F5BB85}"/>
              </c:ext>
            </c:extLst>
          </c:dPt>
          <c:dPt>
            <c:idx val="3343"/>
            <c:invertIfNegative val="1"/>
            <c:bubble3D val="0"/>
            <c:spPr>
              <a:solidFill>
                <a:srgbClr val="AEABAB"/>
              </a:solidFill>
            </c:spPr>
            <c:extLst>
              <c:ext xmlns:c16="http://schemas.microsoft.com/office/drawing/2014/chart" uri="{C3380CC4-5D6E-409C-BE32-E72D297353CC}">
                <c16:uniqueId val="{00001A21-61F5-407B-959D-D24239F5BB85}"/>
              </c:ext>
            </c:extLst>
          </c:dPt>
          <c:dPt>
            <c:idx val="3344"/>
            <c:invertIfNegative val="1"/>
            <c:bubble3D val="0"/>
            <c:spPr>
              <a:solidFill>
                <a:srgbClr val="AEABAB"/>
              </a:solidFill>
            </c:spPr>
            <c:extLst>
              <c:ext xmlns:c16="http://schemas.microsoft.com/office/drawing/2014/chart" uri="{C3380CC4-5D6E-409C-BE32-E72D297353CC}">
                <c16:uniqueId val="{00001A23-61F5-407B-959D-D24239F5BB85}"/>
              </c:ext>
            </c:extLst>
          </c:dPt>
          <c:dPt>
            <c:idx val="3345"/>
            <c:invertIfNegative val="1"/>
            <c:bubble3D val="0"/>
            <c:spPr>
              <a:solidFill>
                <a:srgbClr val="AEABAB"/>
              </a:solidFill>
            </c:spPr>
            <c:extLst>
              <c:ext xmlns:c16="http://schemas.microsoft.com/office/drawing/2014/chart" uri="{C3380CC4-5D6E-409C-BE32-E72D297353CC}">
                <c16:uniqueId val="{00001A25-61F5-407B-959D-D24239F5BB85}"/>
              </c:ext>
            </c:extLst>
          </c:dPt>
          <c:dPt>
            <c:idx val="3346"/>
            <c:invertIfNegative val="1"/>
            <c:bubble3D val="0"/>
            <c:spPr>
              <a:solidFill>
                <a:srgbClr val="AEABAB"/>
              </a:solidFill>
            </c:spPr>
            <c:extLst>
              <c:ext xmlns:c16="http://schemas.microsoft.com/office/drawing/2014/chart" uri="{C3380CC4-5D6E-409C-BE32-E72D297353CC}">
                <c16:uniqueId val="{00001A27-61F5-407B-959D-D24239F5BB85}"/>
              </c:ext>
            </c:extLst>
          </c:dPt>
          <c:dPt>
            <c:idx val="3347"/>
            <c:invertIfNegative val="1"/>
            <c:bubble3D val="0"/>
            <c:spPr>
              <a:solidFill>
                <a:srgbClr val="AEABAB"/>
              </a:solidFill>
            </c:spPr>
            <c:extLst>
              <c:ext xmlns:c16="http://schemas.microsoft.com/office/drawing/2014/chart" uri="{C3380CC4-5D6E-409C-BE32-E72D297353CC}">
                <c16:uniqueId val="{00001A29-61F5-407B-959D-D24239F5BB85}"/>
              </c:ext>
            </c:extLst>
          </c:dPt>
          <c:dPt>
            <c:idx val="3348"/>
            <c:invertIfNegative val="1"/>
            <c:bubble3D val="0"/>
            <c:spPr>
              <a:solidFill>
                <a:srgbClr val="AEABAB"/>
              </a:solidFill>
            </c:spPr>
            <c:extLst>
              <c:ext xmlns:c16="http://schemas.microsoft.com/office/drawing/2014/chart" uri="{C3380CC4-5D6E-409C-BE32-E72D297353CC}">
                <c16:uniqueId val="{00001A2B-61F5-407B-959D-D24239F5BB85}"/>
              </c:ext>
            </c:extLst>
          </c:dPt>
          <c:dPt>
            <c:idx val="3349"/>
            <c:invertIfNegative val="1"/>
            <c:bubble3D val="0"/>
            <c:spPr>
              <a:solidFill>
                <a:srgbClr val="AEABAB"/>
              </a:solidFill>
            </c:spPr>
            <c:extLst>
              <c:ext xmlns:c16="http://schemas.microsoft.com/office/drawing/2014/chart" uri="{C3380CC4-5D6E-409C-BE32-E72D297353CC}">
                <c16:uniqueId val="{00001A2D-61F5-407B-959D-D24239F5BB85}"/>
              </c:ext>
            </c:extLst>
          </c:dPt>
          <c:dPt>
            <c:idx val="3350"/>
            <c:invertIfNegative val="1"/>
            <c:bubble3D val="0"/>
            <c:spPr>
              <a:solidFill>
                <a:srgbClr val="AEABAB"/>
              </a:solidFill>
            </c:spPr>
            <c:extLst>
              <c:ext xmlns:c16="http://schemas.microsoft.com/office/drawing/2014/chart" uri="{C3380CC4-5D6E-409C-BE32-E72D297353CC}">
                <c16:uniqueId val="{00001A2F-61F5-407B-959D-D24239F5BB85}"/>
              </c:ext>
            </c:extLst>
          </c:dPt>
          <c:dPt>
            <c:idx val="3351"/>
            <c:invertIfNegative val="1"/>
            <c:bubble3D val="0"/>
            <c:spPr>
              <a:solidFill>
                <a:srgbClr val="AEABAB"/>
              </a:solidFill>
            </c:spPr>
            <c:extLst>
              <c:ext xmlns:c16="http://schemas.microsoft.com/office/drawing/2014/chart" uri="{C3380CC4-5D6E-409C-BE32-E72D297353CC}">
                <c16:uniqueId val="{00001A31-61F5-407B-959D-D24239F5BB85}"/>
              </c:ext>
            </c:extLst>
          </c:dPt>
          <c:dPt>
            <c:idx val="3352"/>
            <c:invertIfNegative val="1"/>
            <c:bubble3D val="0"/>
            <c:spPr>
              <a:solidFill>
                <a:srgbClr val="AEABAB"/>
              </a:solidFill>
            </c:spPr>
            <c:extLst>
              <c:ext xmlns:c16="http://schemas.microsoft.com/office/drawing/2014/chart" uri="{C3380CC4-5D6E-409C-BE32-E72D297353CC}">
                <c16:uniqueId val="{00001A33-61F5-407B-959D-D24239F5BB85}"/>
              </c:ext>
            </c:extLst>
          </c:dPt>
          <c:dPt>
            <c:idx val="3353"/>
            <c:invertIfNegative val="1"/>
            <c:bubble3D val="0"/>
            <c:spPr>
              <a:solidFill>
                <a:srgbClr val="AEABAB"/>
              </a:solidFill>
            </c:spPr>
            <c:extLst>
              <c:ext xmlns:c16="http://schemas.microsoft.com/office/drawing/2014/chart" uri="{C3380CC4-5D6E-409C-BE32-E72D297353CC}">
                <c16:uniqueId val="{00001A35-61F5-407B-959D-D24239F5BB85}"/>
              </c:ext>
            </c:extLst>
          </c:dPt>
          <c:dPt>
            <c:idx val="3354"/>
            <c:invertIfNegative val="1"/>
            <c:bubble3D val="0"/>
            <c:spPr>
              <a:solidFill>
                <a:srgbClr val="AEABAB"/>
              </a:solidFill>
            </c:spPr>
            <c:extLst>
              <c:ext xmlns:c16="http://schemas.microsoft.com/office/drawing/2014/chart" uri="{C3380CC4-5D6E-409C-BE32-E72D297353CC}">
                <c16:uniqueId val="{00001A37-61F5-407B-959D-D24239F5BB85}"/>
              </c:ext>
            </c:extLst>
          </c:dPt>
          <c:dPt>
            <c:idx val="3355"/>
            <c:invertIfNegative val="1"/>
            <c:bubble3D val="0"/>
            <c:spPr>
              <a:solidFill>
                <a:srgbClr val="AEABAB"/>
              </a:solidFill>
            </c:spPr>
            <c:extLst>
              <c:ext xmlns:c16="http://schemas.microsoft.com/office/drawing/2014/chart" uri="{C3380CC4-5D6E-409C-BE32-E72D297353CC}">
                <c16:uniqueId val="{00001A39-61F5-407B-959D-D24239F5BB85}"/>
              </c:ext>
            </c:extLst>
          </c:dPt>
          <c:dPt>
            <c:idx val="3356"/>
            <c:invertIfNegative val="1"/>
            <c:bubble3D val="0"/>
            <c:spPr>
              <a:solidFill>
                <a:srgbClr val="AEABAB"/>
              </a:solidFill>
            </c:spPr>
            <c:extLst>
              <c:ext xmlns:c16="http://schemas.microsoft.com/office/drawing/2014/chart" uri="{C3380CC4-5D6E-409C-BE32-E72D297353CC}">
                <c16:uniqueId val="{00001A3B-61F5-407B-959D-D24239F5BB85}"/>
              </c:ext>
            </c:extLst>
          </c:dPt>
          <c:dPt>
            <c:idx val="3357"/>
            <c:invertIfNegative val="1"/>
            <c:bubble3D val="0"/>
            <c:spPr>
              <a:solidFill>
                <a:srgbClr val="AEABAB"/>
              </a:solidFill>
            </c:spPr>
            <c:extLst>
              <c:ext xmlns:c16="http://schemas.microsoft.com/office/drawing/2014/chart" uri="{C3380CC4-5D6E-409C-BE32-E72D297353CC}">
                <c16:uniqueId val="{00001A3D-61F5-407B-959D-D24239F5BB85}"/>
              </c:ext>
            </c:extLst>
          </c:dPt>
          <c:dPt>
            <c:idx val="3358"/>
            <c:invertIfNegative val="1"/>
            <c:bubble3D val="0"/>
            <c:spPr>
              <a:solidFill>
                <a:srgbClr val="AEABAB"/>
              </a:solidFill>
            </c:spPr>
            <c:extLst>
              <c:ext xmlns:c16="http://schemas.microsoft.com/office/drawing/2014/chart" uri="{C3380CC4-5D6E-409C-BE32-E72D297353CC}">
                <c16:uniqueId val="{00001A3F-61F5-407B-959D-D24239F5BB85}"/>
              </c:ext>
            </c:extLst>
          </c:dPt>
          <c:dPt>
            <c:idx val="3359"/>
            <c:invertIfNegative val="1"/>
            <c:bubble3D val="0"/>
            <c:spPr>
              <a:solidFill>
                <a:srgbClr val="AEABAB"/>
              </a:solidFill>
            </c:spPr>
            <c:extLst>
              <c:ext xmlns:c16="http://schemas.microsoft.com/office/drawing/2014/chart" uri="{C3380CC4-5D6E-409C-BE32-E72D297353CC}">
                <c16:uniqueId val="{00001A41-61F5-407B-959D-D24239F5BB85}"/>
              </c:ext>
            </c:extLst>
          </c:dPt>
          <c:dPt>
            <c:idx val="3360"/>
            <c:invertIfNegative val="1"/>
            <c:bubble3D val="0"/>
            <c:spPr>
              <a:solidFill>
                <a:srgbClr val="AEABAB"/>
              </a:solidFill>
            </c:spPr>
            <c:extLst>
              <c:ext xmlns:c16="http://schemas.microsoft.com/office/drawing/2014/chart" uri="{C3380CC4-5D6E-409C-BE32-E72D297353CC}">
                <c16:uniqueId val="{00001A43-61F5-407B-959D-D24239F5BB85}"/>
              </c:ext>
            </c:extLst>
          </c:dPt>
          <c:dPt>
            <c:idx val="3361"/>
            <c:invertIfNegative val="1"/>
            <c:bubble3D val="0"/>
            <c:spPr>
              <a:solidFill>
                <a:srgbClr val="AEABAB"/>
              </a:solidFill>
            </c:spPr>
            <c:extLst>
              <c:ext xmlns:c16="http://schemas.microsoft.com/office/drawing/2014/chart" uri="{C3380CC4-5D6E-409C-BE32-E72D297353CC}">
                <c16:uniqueId val="{00001A45-61F5-407B-959D-D24239F5BB85}"/>
              </c:ext>
            </c:extLst>
          </c:dPt>
          <c:dPt>
            <c:idx val="3362"/>
            <c:invertIfNegative val="1"/>
            <c:bubble3D val="0"/>
            <c:spPr>
              <a:solidFill>
                <a:srgbClr val="AEABAB"/>
              </a:solidFill>
            </c:spPr>
            <c:extLst>
              <c:ext xmlns:c16="http://schemas.microsoft.com/office/drawing/2014/chart" uri="{C3380CC4-5D6E-409C-BE32-E72D297353CC}">
                <c16:uniqueId val="{00001A47-61F5-407B-959D-D24239F5BB85}"/>
              </c:ext>
            </c:extLst>
          </c:dPt>
          <c:dPt>
            <c:idx val="3363"/>
            <c:invertIfNegative val="1"/>
            <c:bubble3D val="0"/>
            <c:spPr>
              <a:solidFill>
                <a:srgbClr val="AEABAB"/>
              </a:solidFill>
            </c:spPr>
            <c:extLst>
              <c:ext xmlns:c16="http://schemas.microsoft.com/office/drawing/2014/chart" uri="{C3380CC4-5D6E-409C-BE32-E72D297353CC}">
                <c16:uniqueId val="{00001A49-61F5-407B-959D-D24239F5BB85}"/>
              </c:ext>
            </c:extLst>
          </c:dPt>
          <c:dPt>
            <c:idx val="3364"/>
            <c:invertIfNegative val="1"/>
            <c:bubble3D val="0"/>
            <c:spPr>
              <a:solidFill>
                <a:srgbClr val="AEABAB"/>
              </a:solidFill>
            </c:spPr>
            <c:extLst>
              <c:ext xmlns:c16="http://schemas.microsoft.com/office/drawing/2014/chart" uri="{C3380CC4-5D6E-409C-BE32-E72D297353CC}">
                <c16:uniqueId val="{00001A4B-61F5-407B-959D-D24239F5BB85}"/>
              </c:ext>
            </c:extLst>
          </c:dPt>
          <c:dPt>
            <c:idx val="3365"/>
            <c:invertIfNegative val="1"/>
            <c:bubble3D val="0"/>
            <c:spPr>
              <a:solidFill>
                <a:srgbClr val="AEABAB"/>
              </a:solidFill>
            </c:spPr>
            <c:extLst>
              <c:ext xmlns:c16="http://schemas.microsoft.com/office/drawing/2014/chart" uri="{C3380CC4-5D6E-409C-BE32-E72D297353CC}">
                <c16:uniqueId val="{00001A4D-61F5-407B-959D-D24239F5BB85}"/>
              </c:ext>
            </c:extLst>
          </c:dPt>
          <c:dPt>
            <c:idx val="3366"/>
            <c:invertIfNegative val="1"/>
            <c:bubble3D val="0"/>
            <c:spPr>
              <a:solidFill>
                <a:srgbClr val="AEABAB"/>
              </a:solidFill>
            </c:spPr>
            <c:extLst>
              <c:ext xmlns:c16="http://schemas.microsoft.com/office/drawing/2014/chart" uri="{C3380CC4-5D6E-409C-BE32-E72D297353CC}">
                <c16:uniqueId val="{00001A4F-61F5-407B-959D-D24239F5BB85}"/>
              </c:ext>
            </c:extLst>
          </c:dPt>
          <c:dPt>
            <c:idx val="3367"/>
            <c:invertIfNegative val="1"/>
            <c:bubble3D val="0"/>
            <c:spPr>
              <a:solidFill>
                <a:srgbClr val="AEABAB"/>
              </a:solidFill>
            </c:spPr>
            <c:extLst>
              <c:ext xmlns:c16="http://schemas.microsoft.com/office/drawing/2014/chart" uri="{C3380CC4-5D6E-409C-BE32-E72D297353CC}">
                <c16:uniqueId val="{00001A51-61F5-407B-959D-D24239F5BB85}"/>
              </c:ext>
            </c:extLst>
          </c:dPt>
          <c:dPt>
            <c:idx val="3368"/>
            <c:invertIfNegative val="1"/>
            <c:bubble3D val="0"/>
            <c:spPr>
              <a:solidFill>
                <a:srgbClr val="AEABAB"/>
              </a:solidFill>
            </c:spPr>
            <c:extLst>
              <c:ext xmlns:c16="http://schemas.microsoft.com/office/drawing/2014/chart" uri="{C3380CC4-5D6E-409C-BE32-E72D297353CC}">
                <c16:uniqueId val="{00001A53-61F5-407B-959D-D24239F5BB85}"/>
              </c:ext>
            </c:extLst>
          </c:dPt>
          <c:dPt>
            <c:idx val="3369"/>
            <c:invertIfNegative val="1"/>
            <c:bubble3D val="0"/>
            <c:spPr>
              <a:solidFill>
                <a:srgbClr val="AEABAB"/>
              </a:solidFill>
            </c:spPr>
            <c:extLst>
              <c:ext xmlns:c16="http://schemas.microsoft.com/office/drawing/2014/chart" uri="{C3380CC4-5D6E-409C-BE32-E72D297353CC}">
                <c16:uniqueId val="{00001A55-61F5-407B-959D-D24239F5BB85}"/>
              </c:ext>
            </c:extLst>
          </c:dPt>
          <c:dPt>
            <c:idx val="3370"/>
            <c:invertIfNegative val="1"/>
            <c:bubble3D val="0"/>
            <c:spPr>
              <a:solidFill>
                <a:srgbClr val="AEABAB"/>
              </a:solidFill>
            </c:spPr>
            <c:extLst>
              <c:ext xmlns:c16="http://schemas.microsoft.com/office/drawing/2014/chart" uri="{C3380CC4-5D6E-409C-BE32-E72D297353CC}">
                <c16:uniqueId val="{00001A57-61F5-407B-959D-D24239F5BB85}"/>
              </c:ext>
            </c:extLst>
          </c:dPt>
          <c:dPt>
            <c:idx val="3371"/>
            <c:invertIfNegative val="1"/>
            <c:bubble3D val="0"/>
            <c:spPr>
              <a:solidFill>
                <a:srgbClr val="AEABAB"/>
              </a:solidFill>
            </c:spPr>
            <c:extLst>
              <c:ext xmlns:c16="http://schemas.microsoft.com/office/drawing/2014/chart" uri="{C3380CC4-5D6E-409C-BE32-E72D297353CC}">
                <c16:uniqueId val="{00001A59-61F5-407B-959D-D24239F5BB85}"/>
              </c:ext>
            </c:extLst>
          </c:dPt>
          <c:dPt>
            <c:idx val="3372"/>
            <c:invertIfNegative val="1"/>
            <c:bubble3D val="0"/>
            <c:spPr>
              <a:solidFill>
                <a:srgbClr val="AEABAB"/>
              </a:solidFill>
            </c:spPr>
            <c:extLst>
              <c:ext xmlns:c16="http://schemas.microsoft.com/office/drawing/2014/chart" uri="{C3380CC4-5D6E-409C-BE32-E72D297353CC}">
                <c16:uniqueId val="{00001A5B-61F5-407B-959D-D24239F5BB85}"/>
              </c:ext>
            </c:extLst>
          </c:dPt>
          <c:dPt>
            <c:idx val="3373"/>
            <c:invertIfNegative val="1"/>
            <c:bubble3D val="0"/>
            <c:spPr>
              <a:solidFill>
                <a:srgbClr val="AEABAB"/>
              </a:solidFill>
            </c:spPr>
            <c:extLst>
              <c:ext xmlns:c16="http://schemas.microsoft.com/office/drawing/2014/chart" uri="{C3380CC4-5D6E-409C-BE32-E72D297353CC}">
                <c16:uniqueId val="{00001A5D-61F5-407B-959D-D24239F5BB85}"/>
              </c:ext>
            </c:extLst>
          </c:dPt>
          <c:dPt>
            <c:idx val="3374"/>
            <c:invertIfNegative val="1"/>
            <c:bubble3D val="0"/>
            <c:spPr>
              <a:solidFill>
                <a:srgbClr val="AEABAB"/>
              </a:solidFill>
            </c:spPr>
            <c:extLst>
              <c:ext xmlns:c16="http://schemas.microsoft.com/office/drawing/2014/chart" uri="{C3380CC4-5D6E-409C-BE32-E72D297353CC}">
                <c16:uniqueId val="{00001A5F-61F5-407B-959D-D24239F5BB85}"/>
              </c:ext>
            </c:extLst>
          </c:dPt>
          <c:dPt>
            <c:idx val="3375"/>
            <c:invertIfNegative val="1"/>
            <c:bubble3D val="0"/>
            <c:spPr>
              <a:solidFill>
                <a:srgbClr val="AEABAB"/>
              </a:solidFill>
            </c:spPr>
            <c:extLst>
              <c:ext xmlns:c16="http://schemas.microsoft.com/office/drawing/2014/chart" uri="{C3380CC4-5D6E-409C-BE32-E72D297353CC}">
                <c16:uniqueId val="{00001A61-61F5-407B-959D-D24239F5BB85}"/>
              </c:ext>
            </c:extLst>
          </c:dPt>
          <c:dPt>
            <c:idx val="3376"/>
            <c:invertIfNegative val="1"/>
            <c:bubble3D val="0"/>
            <c:spPr>
              <a:solidFill>
                <a:srgbClr val="AEABAB"/>
              </a:solidFill>
            </c:spPr>
            <c:extLst>
              <c:ext xmlns:c16="http://schemas.microsoft.com/office/drawing/2014/chart" uri="{C3380CC4-5D6E-409C-BE32-E72D297353CC}">
                <c16:uniqueId val="{00001A63-61F5-407B-959D-D24239F5BB85}"/>
              </c:ext>
            </c:extLst>
          </c:dPt>
          <c:dPt>
            <c:idx val="3377"/>
            <c:invertIfNegative val="1"/>
            <c:bubble3D val="0"/>
            <c:spPr>
              <a:solidFill>
                <a:srgbClr val="AEABAB"/>
              </a:solidFill>
            </c:spPr>
            <c:extLst>
              <c:ext xmlns:c16="http://schemas.microsoft.com/office/drawing/2014/chart" uri="{C3380CC4-5D6E-409C-BE32-E72D297353CC}">
                <c16:uniqueId val="{00001A65-61F5-407B-959D-D24239F5BB85}"/>
              </c:ext>
            </c:extLst>
          </c:dPt>
          <c:dPt>
            <c:idx val="3378"/>
            <c:invertIfNegative val="1"/>
            <c:bubble3D val="0"/>
            <c:spPr>
              <a:solidFill>
                <a:srgbClr val="AEABAB"/>
              </a:solidFill>
            </c:spPr>
            <c:extLst>
              <c:ext xmlns:c16="http://schemas.microsoft.com/office/drawing/2014/chart" uri="{C3380CC4-5D6E-409C-BE32-E72D297353CC}">
                <c16:uniqueId val="{00001A67-61F5-407B-959D-D24239F5BB85}"/>
              </c:ext>
            </c:extLst>
          </c:dPt>
          <c:dPt>
            <c:idx val="3379"/>
            <c:invertIfNegative val="1"/>
            <c:bubble3D val="0"/>
            <c:spPr>
              <a:solidFill>
                <a:srgbClr val="AEABAB"/>
              </a:solidFill>
            </c:spPr>
            <c:extLst>
              <c:ext xmlns:c16="http://schemas.microsoft.com/office/drawing/2014/chart" uri="{C3380CC4-5D6E-409C-BE32-E72D297353CC}">
                <c16:uniqueId val="{00001A69-61F5-407B-959D-D24239F5BB85}"/>
              </c:ext>
            </c:extLst>
          </c:dPt>
          <c:dPt>
            <c:idx val="3380"/>
            <c:invertIfNegative val="1"/>
            <c:bubble3D val="0"/>
            <c:spPr>
              <a:solidFill>
                <a:srgbClr val="AEABAB"/>
              </a:solidFill>
            </c:spPr>
            <c:extLst>
              <c:ext xmlns:c16="http://schemas.microsoft.com/office/drawing/2014/chart" uri="{C3380CC4-5D6E-409C-BE32-E72D297353CC}">
                <c16:uniqueId val="{00001A6B-61F5-407B-959D-D24239F5BB85}"/>
              </c:ext>
            </c:extLst>
          </c:dPt>
          <c:dPt>
            <c:idx val="3381"/>
            <c:invertIfNegative val="1"/>
            <c:bubble3D val="0"/>
            <c:spPr>
              <a:solidFill>
                <a:srgbClr val="AEABAB"/>
              </a:solidFill>
            </c:spPr>
            <c:extLst>
              <c:ext xmlns:c16="http://schemas.microsoft.com/office/drawing/2014/chart" uri="{C3380CC4-5D6E-409C-BE32-E72D297353CC}">
                <c16:uniqueId val="{00001A6D-61F5-407B-959D-D24239F5BB85}"/>
              </c:ext>
            </c:extLst>
          </c:dPt>
          <c:dPt>
            <c:idx val="3382"/>
            <c:invertIfNegative val="1"/>
            <c:bubble3D val="0"/>
            <c:spPr>
              <a:solidFill>
                <a:srgbClr val="AEABAB"/>
              </a:solidFill>
            </c:spPr>
            <c:extLst>
              <c:ext xmlns:c16="http://schemas.microsoft.com/office/drawing/2014/chart" uri="{C3380CC4-5D6E-409C-BE32-E72D297353CC}">
                <c16:uniqueId val="{00001A6F-61F5-407B-959D-D24239F5BB85}"/>
              </c:ext>
            </c:extLst>
          </c:dPt>
          <c:dPt>
            <c:idx val="3383"/>
            <c:invertIfNegative val="1"/>
            <c:bubble3D val="0"/>
            <c:spPr>
              <a:solidFill>
                <a:srgbClr val="AEABAB"/>
              </a:solidFill>
            </c:spPr>
            <c:extLst>
              <c:ext xmlns:c16="http://schemas.microsoft.com/office/drawing/2014/chart" uri="{C3380CC4-5D6E-409C-BE32-E72D297353CC}">
                <c16:uniqueId val="{00001A71-61F5-407B-959D-D24239F5BB85}"/>
              </c:ext>
            </c:extLst>
          </c:dPt>
          <c:dPt>
            <c:idx val="3384"/>
            <c:invertIfNegative val="1"/>
            <c:bubble3D val="0"/>
            <c:spPr>
              <a:solidFill>
                <a:srgbClr val="AEABAB"/>
              </a:solidFill>
            </c:spPr>
            <c:extLst>
              <c:ext xmlns:c16="http://schemas.microsoft.com/office/drawing/2014/chart" uri="{C3380CC4-5D6E-409C-BE32-E72D297353CC}">
                <c16:uniqueId val="{00001A73-61F5-407B-959D-D24239F5BB85}"/>
              </c:ext>
            </c:extLst>
          </c:dPt>
          <c:dPt>
            <c:idx val="3385"/>
            <c:invertIfNegative val="1"/>
            <c:bubble3D val="0"/>
            <c:spPr>
              <a:solidFill>
                <a:srgbClr val="AEABAB"/>
              </a:solidFill>
            </c:spPr>
            <c:extLst>
              <c:ext xmlns:c16="http://schemas.microsoft.com/office/drawing/2014/chart" uri="{C3380CC4-5D6E-409C-BE32-E72D297353CC}">
                <c16:uniqueId val="{00001A75-61F5-407B-959D-D24239F5BB85}"/>
              </c:ext>
            </c:extLst>
          </c:dPt>
          <c:dPt>
            <c:idx val="3386"/>
            <c:invertIfNegative val="1"/>
            <c:bubble3D val="0"/>
            <c:spPr>
              <a:solidFill>
                <a:srgbClr val="AEABAB"/>
              </a:solidFill>
            </c:spPr>
            <c:extLst>
              <c:ext xmlns:c16="http://schemas.microsoft.com/office/drawing/2014/chart" uri="{C3380CC4-5D6E-409C-BE32-E72D297353CC}">
                <c16:uniqueId val="{00001A77-61F5-407B-959D-D24239F5BB85}"/>
              </c:ext>
            </c:extLst>
          </c:dPt>
          <c:dPt>
            <c:idx val="3387"/>
            <c:invertIfNegative val="1"/>
            <c:bubble3D val="0"/>
            <c:spPr>
              <a:solidFill>
                <a:srgbClr val="AEABAB"/>
              </a:solidFill>
            </c:spPr>
            <c:extLst>
              <c:ext xmlns:c16="http://schemas.microsoft.com/office/drawing/2014/chart" uri="{C3380CC4-5D6E-409C-BE32-E72D297353CC}">
                <c16:uniqueId val="{00001A79-61F5-407B-959D-D24239F5BB85}"/>
              </c:ext>
            </c:extLst>
          </c:dPt>
          <c:dPt>
            <c:idx val="3388"/>
            <c:invertIfNegative val="1"/>
            <c:bubble3D val="0"/>
            <c:spPr>
              <a:solidFill>
                <a:srgbClr val="AEABAB"/>
              </a:solidFill>
            </c:spPr>
            <c:extLst>
              <c:ext xmlns:c16="http://schemas.microsoft.com/office/drawing/2014/chart" uri="{C3380CC4-5D6E-409C-BE32-E72D297353CC}">
                <c16:uniqueId val="{00001A7B-61F5-407B-959D-D24239F5BB85}"/>
              </c:ext>
            </c:extLst>
          </c:dPt>
          <c:dPt>
            <c:idx val="3389"/>
            <c:invertIfNegative val="1"/>
            <c:bubble3D val="0"/>
            <c:spPr>
              <a:solidFill>
                <a:srgbClr val="AEABAB"/>
              </a:solidFill>
            </c:spPr>
            <c:extLst>
              <c:ext xmlns:c16="http://schemas.microsoft.com/office/drawing/2014/chart" uri="{C3380CC4-5D6E-409C-BE32-E72D297353CC}">
                <c16:uniqueId val="{00001A7D-61F5-407B-959D-D24239F5BB85}"/>
              </c:ext>
            </c:extLst>
          </c:dPt>
          <c:dPt>
            <c:idx val="3390"/>
            <c:invertIfNegative val="1"/>
            <c:bubble3D val="0"/>
            <c:spPr>
              <a:solidFill>
                <a:srgbClr val="AEABAB"/>
              </a:solidFill>
            </c:spPr>
            <c:extLst>
              <c:ext xmlns:c16="http://schemas.microsoft.com/office/drawing/2014/chart" uri="{C3380CC4-5D6E-409C-BE32-E72D297353CC}">
                <c16:uniqueId val="{00001A7F-61F5-407B-959D-D24239F5BB85}"/>
              </c:ext>
            </c:extLst>
          </c:dPt>
          <c:dPt>
            <c:idx val="3391"/>
            <c:invertIfNegative val="1"/>
            <c:bubble3D val="0"/>
            <c:spPr>
              <a:solidFill>
                <a:srgbClr val="AEABAB"/>
              </a:solidFill>
            </c:spPr>
            <c:extLst>
              <c:ext xmlns:c16="http://schemas.microsoft.com/office/drawing/2014/chart" uri="{C3380CC4-5D6E-409C-BE32-E72D297353CC}">
                <c16:uniqueId val="{00001A81-61F5-407B-959D-D24239F5BB85}"/>
              </c:ext>
            </c:extLst>
          </c:dPt>
          <c:dPt>
            <c:idx val="3392"/>
            <c:invertIfNegative val="1"/>
            <c:bubble3D val="0"/>
            <c:spPr>
              <a:solidFill>
                <a:srgbClr val="AEABAB"/>
              </a:solidFill>
            </c:spPr>
            <c:extLst>
              <c:ext xmlns:c16="http://schemas.microsoft.com/office/drawing/2014/chart" uri="{C3380CC4-5D6E-409C-BE32-E72D297353CC}">
                <c16:uniqueId val="{00001A83-61F5-407B-959D-D24239F5BB85}"/>
              </c:ext>
            </c:extLst>
          </c:dPt>
          <c:dPt>
            <c:idx val="3393"/>
            <c:invertIfNegative val="1"/>
            <c:bubble3D val="0"/>
            <c:spPr>
              <a:solidFill>
                <a:srgbClr val="AEABAB"/>
              </a:solidFill>
            </c:spPr>
            <c:extLst>
              <c:ext xmlns:c16="http://schemas.microsoft.com/office/drawing/2014/chart" uri="{C3380CC4-5D6E-409C-BE32-E72D297353CC}">
                <c16:uniqueId val="{00001A85-61F5-407B-959D-D24239F5BB85}"/>
              </c:ext>
            </c:extLst>
          </c:dPt>
          <c:dPt>
            <c:idx val="3394"/>
            <c:invertIfNegative val="1"/>
            <c:bubble3D val="0"/>
            <c:spPr>
              <a:solidFill>
                <a:srgbClr val="AEABAB"/>
              </a:solidFill>
            </c:spPr>
            <c:extLst>
              <c:ext xmlns:c16="http://schemas.microsoft.com/office/drawing/2014/chart" uri="{C3380CC4-5D6E-409C-BE32-E72D297353CC}">
                <c16:uniqueId val="{00001A87-61F5-407B-959D-D24239F5BB85}"/>
              </c:ext>
            </c:extLst>
          </c:dPt>
          <c:dPt>
            <c:idx val="3395"/>
            <c:invertIfNegative val="1"/>
            <c:bubble3D val="0"/>
            <c:spPr>
              <a:solidFill>
                <a:srgbClr val="AEABAB"/>
              </a:solidFill>
            </c:spPr>
            <c:extLst>
              <c:ext xmlns:c16="http://schemas.microsoft.com/office/drawing/2014/chart" uri="{C3380CC4-5D6E-409C-BE32-E72D297353CC}">
                <c16:uniqueId val="{00001A89-61F5-407B-959D-D24239F5BB85}"/>
              </c:ext>
            </c:extLst>
          </c:dPt>
          <c:dPt>
            <c:idx val="3396"/>
            <c:invertIfNegative val="1"/>
            <c:bubble3D val="0"/>
            <c:spPr>
              <a:solidFill>
                <a:srgbClr val="AEABAB"/>
              </a:solidFill>
            </c:spPr>
            <c:extLst>
              <c:ext xmlns:c16="http://schemas.microsoft.com/office/drawing/2014/chart" uri="{C3380CC4-5D6E-409C-BE32-E72D297353CC}">
                <c16:uniqueId val="{00001A8B-61F5-407B-959D-D24239F5BB85}"/>
              </c:ext>
            </c:extLst>
          </c:dPt>
          <c:dPt>
            <c:idx val="3397"/>
            <c:invertIfNegative val="1"/>
            <c:bubble3D val="0"/>
            <c:spPr>
              <a:solidFill>
                <a:srgbClr val="AEABAB"/>
              </a:solidFill>
            </c:spPr>
            <c:extLst>
              <c:ext xmlns:c16="http://schemas.microsoft.com/office/drawing/2014/chart" uri="{C3380CC4-5D6E-409C-BE32-E72D297353CC}">
                <c16:uniqueId val="{00001A8D-61F5-407B-959D-D24239F5BB85}"/>
              </c:ext>
            </c:extLst>
          </c:dPt>
          <c:dPt>
            <c:idx val="3398"/>
            <c:invertIfNegative val="1"/>
            <c:bubble3D val="0"/>
            <c:spPr>
              <a:solidFill>
                <a:srgbClr val="AEABAB"/>
              </a:solidFill>
            </c:spPr>
            <c:extLst>
              <c:ext xmlns:c16="http://schemas.microsoft.com/office/drawing/2014/chart" uri="{C3380CC4-5D6E-409C-BE32-E72D297353CC}">
                <c16:uniqueId val="{00001A8F-61F5-407B-959D-D24239F5BB85}"/>
              </c:ext>
            </c:extLst>
          </c:dPt>
          <c:dPt>
            <c:idx val="3399"/>
            <c:invertIfNegative val="1"/>
            <c:bubble3D val="0"/>
            <c:spPr>
              <a:solidFill>
                <a:srgbClr val="AEABAB"/>
              </a:solidFill>
            </c:spPr>
            <c:extLst>
              <c:ext xmlns:c16="http://schemas.microsoft.com/office/drawing/2014/chart" uri="{C3380CC4-5D6E-409C-BE32-E72D297353CC}">
                <c16:uniqueId val="{00001A91-61F5-407B-959D-D24239F5BB85}"/>
              </c:ext>
            </c:extLst>
          </c:dPt>
          <c:dPt>
            <c:idx val="3400"/>
            <c:invertIfNegative val="1"/>
            <c:bubble3D val="0"/>
            <c:spPr>
              <a:solidFill>
                <a:srgbClr val="AEABAB"/>
              </a:solidFill>
            </c:spPr>
            <c:extLst>
              <c:ext xmlns:c16="http://schemas.microsoft.com/office/drawing/2014/chart" uri="{C3380CC4-5D6E-409C-BE32-E72D297353CC}">
                <c16:uniqueId val="{00001A93-61F5-407B-959D-D24239F5BB85}"/>
              </c:ext>
            </c:extLst>
          </c:dPt>
          <c:dPt>
            <c:idx val="3401"/>
            <c:invertIfNegative val="1"/>
            <c:bubble3D val="0"/>
            <c:spPr>
              <a:solidFill>
                <a:srgbClr val="AEABAB"/>
              </a:solidFill>
            </c:spPr>
            <c:extLst>
              <c:ext xmlns:c16="http://schemas.microsoft.com/office/drawing/2014/chart" uri="{C3380CC4-5D6E-409C-BE32-E72D297353CC}">
                <c16:uniqueId val="{00001A95-61F5-407B-959D-D24239F5BB85}"/>
              </c:ext>
            </c:extLst>
          </c:dPt>
          <c:dPt>
            <c:idx val="3402"/>
            <c:invertIfNegative val="1"/>
            <c:bubble3D val="0"/>
            <c:spPr>
              <a:solidFill>
                <a:srgbClr val="AEABAB"/>
              </a:solidFill>
            </c:spPr>
            <c:extLst>
              <c:ext xmlns:c16="http://schemas.microsoft.com/office/drawing/2014/chart" uri="{C3380CC4-5D6E-409C-BE32-E72D297353CC}">
                <c16:uniqueId val="{00001A97-61F5-407B-959D-D24239F5BB85}"/>
              </c:ext>
            </c:extLst>
          </c:dPt>
          <c:dPt>
            <c:idx val="3403"/>
            <c:invertIfNegative val="1"/>
            <c:bubble3D val="0"/>
            <c:spPr>
              <a:solidFill>
                <a:srgbClr val="AEABAB"/>
              </a:solidFill>
            </c:spPr>
            <c:extLst>
              <c:ext xmlns:c16="http://schemas.microsoft.com/office/drawing/2014/chart" uri="{C3380CC4-5D6E-409C-BE32-E72D297353CC}">
                <c16:uniqueId val="{00001A99-61F5-407B-959D-D24239F5BB85}"/>
              </c:ext>
            </c:extLst>
          </c:dPt>
          <c:dPt>
            <c:idx val="3404"/>
            <c:invertIfNegative val="1"/>
            <c:bubble3D val="0"/>
            <c:spPr>
              <a:solidFill>
                <a:srgbClr val="AEABAB"/>
              </a:solidFill>
            </c:spPr>
            <c:extLst>
              <c:ext xmlns:c16="http://schemas.microsoft.com/office/drawing/2014/chart" uri="{C3380CC4-5D6E-409C-BE32-E72D297353CC}">
                <c16:uniqueId val="{00001A9B-61F5-407B-959D-D24239F5BB85}"/>
              </c:ext>
            </c:extLst>
          </c:dPt>
          <c:dPt>
            <c:idx val="3405"/>
            <c:invertIfNegative val="1"/>
            <c:bubble3D val="0"/>
            <c:spPr>
              <a:solidFill>
                <a:srgbClr val="AEABAB"/>
              </a:solidFill>
            </c:spPr>
            <c:extLst>
              <c:ext xmlns:c16="http://schemas.microsoft.com/office/drawing/2014/chart" uri="{C3380CC4-5D6E-409C-BE32-E72D297353CC}">
                <c16:uniqueId val="{00001A9D-61F5-407B-959D-D24239F5BB85}"/>
              </c:ext>
            </c:extLst>
          </c:dPt>
          <c:dPt>
            <c:idx val="3406"/>
            <c:invertIfNegative val="1"/>
            <c:bubble3D val="0"/>
            <c:spPr>
              <a:solidFill>
                <a:srgbClr val="AEABAB"/>
              </a:solidFill>
            </c:spPr>
            <c:extLst>
              <c:ext xmlns:c16="http://schemas.microsoft.com/office/drawing/2014/chart" uri="{C3380CC4-5D6E-409C-BE32-E72D297353CC}">
                <c16:uniqueId val="{00001A9F-61F5-407B-959D-D24239F5BB85}"/>
              </c:ext>
            </c:extLst>
          </c:dPt>
          <c:dPt>
            <c:idx val="3407"/>
            <c:invertIfNegative val="1"/>
            <c:bubble3D val="0"/>
            <c:spPr>
              <a:solidFill>
                <a:srgbClr val="AEABAB"/>
              </a:solidFill>
            </c:spPr>
            <c:extLst>
              <c:ext xmlns:c16="http://schemas.microsoft.com/office/drawing/2014/chart" uri="{C3380CC4-5D6E-409C-BE32-E72D297353CC}">
                <c16:uniqueId val="{00001AA1-61F5-407B-959D-D24239F5BB85}"/>
              </c:ext>
            </c:extLst>
          </c:dPt>
          <c:dPt>
            <c:idx val="3408"/>
            <c:invertIfNegative val="1"/>
            <c:bubble3D val="0"/>
            <c:spPr>
              <a:solidFill>
                <a:srgbClr val="AEABAB"/>
              </a:solidFill>
            </c:spPr>
            <c:extLst>
              <c:ext xmlns:c16="http://schemas.microsoft.com/office/drawing/2014/chart" uri="{C3380CC4-5D6E-409C-BE32-E72D297353CC}">
                <c16:uniqueId val="{00001AA3-61F5-407B-959D-D24239F5BB85}"/>
              </c:ext>
            </c:extLst>
          </c:dPt>
          <c:dPt>
            <c:idx val="3409"/>
            <c:invertIfNegative val="1"/>
            <c:bubble3D val="0"/>
            <c:spPr>
              <a:solidFill>
                <a:srgbClr val="AEABAB"/>
              </a:solidFill>
            </c:spPr>
            <c:extLst>
              <c:ext xmlns:c16="http://schemas.microsoft.com/office/drawing/2014/chart" uri="{C3380CC4-5D6E-409C-BE32-E72D297353CC}">
                <c16:uniqueId val="{00001AA5-61F5-407B-959D-D24239F5BB85}"/>
              </c:ext>
            </c:extLst>
          </c:dPt>
          <c:dPt>
            <c:idx val="3410"/>
            <c:invertIfNegative val="1"/>
            <c:bubble3D val="0"/>
            <c:spPr>
              <a:solidFill>
                <a:srgbClr val="AEABAB"/>
              </a:solidFill>
            </c:spPr>
            <c:extLst>
              <c:ext xmlns:c16="http://schemas.microsoft.com/office/drawing/2014/chart" uri="{C3380CC4-5D6E-409C-BE32-E72D297353CC}">
                <c16:uniqueId val="{00001AA7-61F5-407B-959D-D24239F5BB85}"/>
              </c:ext>
            </c:extLst>
          </c:dPt>
          <c:dPt>
            <c:idx val="3411"/>
            <c:invertIfNegative val="1"/>
            <c:bubble3D val="0"/>
            <c:spPr>
              <a:solidFill>
                <a:srgbClr val="AEABAB"/>
              </a:solidFill>
            </c:spPr>
            <c:extLst>
              <c:ext xmlns:c16="http://schemas.microsoft.com/office/drawing/2014/chart" uri="{C3380CC4-5D6E-409C-BE32-E72D297353CC}">
                <c16:uniqueId val="{00001AA9-61F5-407B-959D-D24239F5BB85}"/>
              </c:ext>
            </c:extLst>
          </c:dPt>
          <c:dPt>
            <c:idx val="3412"/>
            <c:invertIfNegative val="1"/>
            <c:bubble3D val="0"/>
            <c:spPr>
              <a:solidFill>
                <a:srgbClr val="AEABAB"/>
              </a:solidFill>
            </c:spPr>
            <c:extLst>
              <c:ext xmlns:c16="http://schemas.microsoft.com/office/drawing/2014/chart" uri="{C3380CC4-5D6E-409C-BE32-E72D297353CC}">
                <c16:uniqueId val="{00001AAB-61F5-407B-959D-D24239F5BB85}"/>
              </c:ext>
            </c:extLst>
          </c:dPt>
          <c:dPt>
            <c:idx val="3413"/>
            <c:invertIfNegative val="1"/>
            <c:bubble3D val="0"/>
            <c:spPr>
              <a:solidFill>
                <a:srgbClr val="AEABAB"/>
              </a:solidFill>
            </c:spPr>
            <c:extLst>
              <c:ext xmlns:c16="http://schemas.microsoft.com/office/drawing/2014/chart" uri="{C3380CC4-5D6E-409C-BE32-E72D297353CC}">
                <c16:uniqueId val="{00001AAD-61F5-407B-959D-D24239F5BB85}"/>
              </c:ext>
            </c:extLst>
          </c:dPt>
          <c:dPt>
            <c:idx val="3414"/>
            <c:invertIfNegative val="1"/>
            <c:bubble3D val="0"/>
            <c:spPr>
              <a:solidFill>
                <a:srgbClr val="AEABAB"/>
              </a:solidFill>
            </c:spPr>
            <c:extLst>
              <c:ext xmlns:c16="http://schemas.microsoft.com/office/drawing/2014/chart" uri="{C3380CC4-5D6E-409C-BE32-E72D297353CC}">
                <c16:uniqueId val="{00001AAF-61F5-407B-959D-D24239F5BB85}"/>
              </c:ext>
            </c:extLst>
          </c:dPt>
          <c:dPt>
            <c:idx val="3415"/>
            <c:invertIfNegative val="1"/>
            <c:bubble3D val="0"/>
            <c:spPr>
              <a:solidFill>
                <a:srgbClr val="AEABAB"/>
              </a:solidFill>
            </c:spPr>
            <c:extLst>
              <c:ext xmlns:c16="http://schemas.microsoft.com/office/drawing/2014/chart" uri="{C3380CC4-5D6E-409C-BE32-E72D297353CC}">
                <c16:uniqueId val="{00001AB1-61F5-407B-959D-D24239F5BB85}"/>
              </c:ext>
            </c:extLst>
          </c:dPt>
          <c:dPt>
            <c:idx val="3416"/>
            <c:invertIfNegative val="1"/>
            <c:bubble3D val="0"/>
            <c:spPr>
              <a:solidFill>
                <a:srgbClr val="AEABAB"/>
              </a:solidFill>
            </c:spPr>
            <c:extLst>
              <c:ext xmlns:c16="http://schemas.microsoft.com/office/drawing/2014/chart" uri="{C3380CC4-5D6E-409C-BE32-E72D297353CC}">
                <c16:uniqueId val="{00001AB3-61F5-407B-959D-D24239F5BB85}"/>
              </c:ext>
            </c:extLst>
          </c:dPt>
          <c:dPt>
            <c:idx val="3417"/>
            <c:invertIfNegative val="1"/>
            <c:bubble3D val="0"/>
            <c:spPr>
              <a:solidFill>
                <a:srgbClr val="AEABAB"/>
              </a:solidFill>
            </c:spPr>
            <c:extLst>
              <c:ext xmlns:c16="http://schemas.microsoft.com/office/drawing/2014/chart" uri="{C3380CC4-5D6E-409C-BE32-E72D297353CC}">
                <c16:uniqueId val="{00001AB5-61F5-407B-959D-D24239F5BB85}"/>
              </c:ext>
            </c:extLst>
          </c:dPt>
          <c:dPt>
            <c:idx val="3418"/>
            <c:invertIfNegative val="1"/>
            <c:bubble3D val="0"/>
            <c:spPr>
              <a:solidFill>
                <a:srgbClr val="AEABAB"/>
              </a:solidFill>
            </c:spPr>
            <c:extLst>
              <c:ext xmlns:c16="http://schemas.microsoft.com/office/drawing/2014/chart" uri="{C3380CC4-5D6E-409C-BE32-E72D297353CC}">
                <c16:uniqueId val="{00001AB7-61F5-407B-959D-D24239F5BB85}"/>
              </c:ext>
            </c:extLst>
          </c:dPt>
          <c:dPt>
            <c:idx val="3419"/>
            <c:invertIfNegative val="1"/>
            <c:bubble3D val="0"/>
            <c:spPr>
              <a:solidFill>
                <a:srgbClr val="AEABAB"/>
              </a:solidFill>
            </c:spPr>
            <c:extLst>
              <c:ext xmlns:c16="http://schemas.microsoft.com/office/drawing/2014/chart" uri="{C3380CC4-5D6E-409C-BE32-E72D297353CC}">
                <c16:uniqueId val="{00001AB9-61F5-407B-959D-D24239F5BB85}"/>
              </c:ext>
            </c:extLst>
          </c:dPt>
          <c:dPt>
            <c:idx val="3420"/>
            <c:invertIfNegative val="1"/>
            <c:bubble3D val="0"/>
            <c:spPr>
              <a:solidFill>
                <a:srgbClr val="AEABAB"/>
              </a:solidFill>
            </c:spPr>
            <c:extLst>
              <c:ext xmlns:c16="http://schemas.microsoft.com/office/drawing/2014/chart" uri="{C3380CC4-5D6E-409C-BE32-E72D297353CC}">
                <c16:uniqueId val="{00001ABB-61F5-407B-959D-D24239F5BB85}"/>
              </c:ext>
            </c:extLst>
          </c:dPt>
          <c:dPt>
            <c:idx val="3421"/>
            <c:invertIfNegative val="1"/>
            <c:bubble3D val="0"/>
            <c:spPr>
              <a:solidFill>
                <a:srgbClr val="AEABAB"/>
              </a:solidFill>
            </c:spPr>
            <c:extLst>
              <c:ext xmlns:c16="http://schemas.microsoft.com/office/drawing/2014/chart" uri="{C3380CC4-5D6E-409C-BE32-E72D297353CC}">
                <c16:uniqueId val="{00001ABD-61F5-407B-959D-D24239F5BB85}"/>
              </c:ext>
            </c:extLst>
          </c:dPt>
          <c:dPt>
            <c:idx val="3422"/>
            <c:invertIfNegative val="1"/>
            <c:bubble3D val="0"/>
            <c:spPr>
              <a:solidFill>
                <a:srgbClr val="AEABAB"/>
              </a:solidFill>
            </c:spPr>
            <c:extLst>
              <c:ext xmlns:c16="http://schemas.microsoft.com/office/drawing/2014/chart" uri="{C3380CC4-5D6E-409C-BE32-E72D297353CC}">
                <c16:uniqueId val="{00001ABF-61F5-407B-959D-D24239F5BB85}"/>
              </c:ext>
            </c:extLst>
          </c:dPt>
          <c:dPt>
            <c:idx val="3423"/>
            <c:invertIfNegative val="1"/>
            <c:bubble3D val="0"/>
            <c:spPr>
              <a:solidFill>
                <a:srgbClr val="AEABAB"/>
              </a:solidFill>
            </c:spPr>
            <c:extLst>
              <c:ext xmlns:c16="http://schemas.microsoft.com/office/drawing/2014/chart" uri="{C3380CC4-5D6E-409C-BE32-E72D297353CC}">
                <c16:uniqueId val="{00001AC1-61F5-407B-959D-D24239F5BB85}"/>
              </c:ext>
            </c:extLst>
          </c:dPt>
          <c:dPt>
            <c:idx val="3424"/>
            <c:invertIfNegative val="1"/>
            <c:bubble3D val="0"/>
            <c:spPr>
              <a:solidFill>
                <a:srgbClr val="AEABAB"/>
              </a:solidFill>
            </c:spPr>
            <c:extLst>
              <c:ext xmlns:c16="http://schemas.microsoft.com/office/drawing/2014/chart" uri="{C3380CC4-5D6E-409C-BE32-E72D297353CC}">
                <c16:uniqueId val="{00001AC3-61F5-407B-959D-D24239F5BB85}"/>
              </c:ext>
            </c:extLst>
          </c:dPt>
          <c:dPt>
            <c:idx val="3425"/>
            <c:invertIfNegative val="1"/>
            <c:bubble3D val="0"/>
            <c:spPr>
              <a:solidFill>
                <a:srgbClr val="AEABAB"/>
              </a:solidFill>
            </c:spPr>
            <c:extLst>
              <c:ext xmlns:c16="http://schemas.microsoft.com/office/drawing/2014/chart" uri="{C3380CC4-5D6E-409C-BE32-E72D297353CC}">
                <c16:uniqueId val="{00001AC5-61F5-407B-959D-D24239F5BB85}"/>
              </c:ext>
            </c:extLst>
          </c:dPt>
          <c:dPt>
            <c:idx val="3426"/>
            <c:invertIfNegative val="1"/>
            <c:bubble3D val="0"/>
            <c:spPr>
              <a:solidFill>
                <a:srgbClr val="AEABAB"/>
              </a:solidFill>
            </c:spPr>
            <c:extLst>
              <c:ext xmlns:c16="http://schemas.microsoft.com/office/drawing/2014/chart" uri="{C3380CC4-5D6E-409C-BE32-E72D297353CC}">
                <c16:uniqueId val="{00001AC7-61F5-407B-959D-D24239F5BB85}"/>
              </c:ext>
            </c:extLst>
          </c:dPt>
          <c:dPt>
            <c:idx val="3427"/>
            <c:invertIfNegative val="1"/>
            <c:bubble3D val="0"/>
            <c:spPr>
              <a:solidFill>
                <a:srgbClr val="AEABAB"/>
              </a:solidFill>
            </c:spPr>
            <c:extLst>
              <c:ext xmlns:c16="http://schemas.microsoft.com/office/drawing/2014/chart" uri="{C3380CC4-5D6E-409C-BE32-E72D297353CC}">
                <c16:uniqueId val="{00001AC9-61F5-407B-959D-D24239F5BB85}"/>
              </c:ext>
            </c:extLst>
          </c:dPt>
          <c:dPt>
            <c:idx val="3428"/>
            <c:invertIfNegative val="1"/>
            <c:bubble3D val="0"/>
            <c:spPr>
              <a:solidFill>
                <a:srgbClr val="AEABAB"/>
              </a:solidFill>
            </c:spPr>
            <c:extLst>
              <c:ext xmlns:c16="http://schemas.microsoft.com/office/drawing/2014/chart" uri="{C3380CC4-5D6E-409C-BE32-E72D297353CC}">
                <c16:uniqueId val="{00001ACB-61F5-407B-959D-D24239F5BB85}"/>
              </c:ext>
            </c:extLst>
          </c:dPt>
          <c:dPt>
            <c:idx val="3429"/>
            <c:invertIfNegative val="1"/>
            <c:bubble3D val="0"/>
            <c:spPr>
              <a:solidFill>
                <a:srgbClr val="AEABAB"/>
              </a:solidFill>
            </c:spPr>
            <c:extLst>
              <c:ext xmlns:c16="http://schemas.microsoft.com/office/drawing/2014/chart" uri="{C3380CC4-5D6E-409C-BE32-E72D297353CC}">
                <c16:uniqueId val="{00001ACD-61F5-407B-959D-D24239F5BB85}"/>
              </c:ext>
            </c:extLst>
          </c:dPt>
          <c:dPt>
            <c:idx val="3430"/>
            <c:invertIfNegative val="1"/>
            <c:bubble3D val="0"/>
            <c:spPr>
              <a:solidFill>
                <a:srgbClr val="AEABAB"/>
              </a:solidFill>
            </c:spPr>
            <c:extLst>
              <c:ext xmlns:c16="http://schemas.microsoft.com/office/drawing/2014/chart" uri="{C3380CC4-5D6E-409C-BE32-E72D297353CC}">
                <c16:uniqueId val="{00001ACF-61F5-407B-959D-D24239F5BB85}"/>
              </c:ext>
            </c:extLst>
          </c:dPt>
          <c:dPt>
            <c:idx val="3431"/>
            <c:invertIfNegative val="1"/>
            <c:bubble3D val="0"/>
            <c:spPr>
              <a:solidFill>
                <a:srgbClr val="AEABAB"/>
              </a:solidFill>
            </c:spPr>
            <c:extLst>
              <c:ext xmlns:c16="http://schemas.microsoft.com/office/drawing/2014/chart" uri="{C3380CC4-5D6E-409C-BE32-E72D297353CC}">
                <c16:uniqueId val="{00001AD1-61F5-407B-959D-D24239F5BB85}"/>
              </c:ext>
            </c:extLst>
          </c:dPt>
          <c:dPt>
            <c:idx val="3432"/>
            <c:invertIfNegative val="1"/>
            <c:bubble3D val="0"/>
            <c:spPr>
              <a:solidFill>
                <a:srgbClr val="AEABAB"/>
              </a:solidFill>
            </c:spPr>
            <c:extLst>
              <c:ext xmlns:c16="http://schemas.microsoft.com/office/drawing/2014/chart" uri="{C3380CC4-5D6E-409C-BE32-E72D297353CC}">
                <c16:uniqueId val="{00001AD3-61F5-407B-959D-D24239F5BB85}"/>
              </c:ext>
            </c:extLst>
          </c:dPt>
          <c:dPt>
            <c:idx val="3433"/>
            <c:invertIfNegative val="1"/>
            <c:bubble3D val="0"/>
            <c:spPr>
              <a:solidFill>
                <a:srgbClr val="AEABAB"/>
              </a:solidFill>
            </c:spPr>
            <c:extLst>
              <c:ext xmlns:c16="http://schemas.microsoft.com/office/drawing/2014/chart" uri="{C3380CC4-5D6E-409C-BE32-E72D297353CC}">
                <c16:uniqueId val="{00001AD5-61F5-407B-959D-D24239F5BB85}"/>
              </c:ext>
            </c:extLst>
          </c:dPt>
          <c:dPt>
            <c:idx val="3434"/>
            <c:invertIfNegative val="1"/>
            <c:bubble3D val="0"/>
            <c:spPr>
              <a:solidFill>
                <a:srgbClr val="AEABAB"/>
              </a:solidFill>
            </c:spPr>
            <c:extLst>
              <c:ext xmlns:c16="http://schemas.microsoft.com/office/drawing/2014/chart" uri="{C3380CC4-5D6E-409C-BE32-E72D297353CC}">
                <c16:uniqueId val="{00001AD7-61F5-407B-959D-D24239F5BB85}"/>
              </c:ext>
            </c:extLst>
          </c:dPt>
          <c:dPt>
            <c:idx val="3435"/>
            <c:invertIfNegative val="1"/>
            <c:bubble3D val="0"/>
            <c:spPr>
              <a:solidFill>
                <a:srgbClr val="AEABAB"/>
              </a:solidFill>
            </c:spPr>
            <c:extLst>
              <c:ext xmlns:c16="http://schemas.microsoft.com/office/drawing/2014/chart" uri="{C3380CC4-5D6E-409C-BE32-E72D297353CC}">
                <c16:uniqueId val="{00001AD9-61F5-407B-959D-D24239F5BB85}"/>
              </c:ext>
            </c:extLst>
          </c:dPt>
          <c:dPt>
            <c:idx val="3436"/>
            <c:invertIfNegative val="1"/>
            <c:bubble3D val="0"/>
            <c:spPr>
              <a:solidFill>
                <a:srgbClr val="AEABAB"/>
              </a:solidFill>
            </c:spPr>
            <c:extLst>
              <c:ext xmlns:c16="http://schemas.microsoft.com/office/drawing/2014/chart" uri="{C3380CC4-5D6E-409C-BE32-E72D297353CC}">
                <c16:uniqueId val="{00001ADB-61F5-407B-959D-D24239F5BB85}"/>
              </c:ext>
            </c:extLst>
          </c:dPt>
          <c:dPt>
            <c:idx val="3437"/>
            <c:invertIfNegative val="1"/>
            <c:bubble3D val="0"/>
            <c:spPr>
              <a:solidFill>
                <a:srgbClr val="AEABAB"/>
              </a:solidFill>
            </c:spPr>
            <c:extLst>
              <c:ext xmlns:c16="http://schemas.microsoft.com/office/drawing/2014/chart" uri="{C3380CC4-5D6E-409C-BE32-E72D297353CC}">
                <c16:uniqueId val="{00001ADD-61F5-407B-959D-D24239F5BB85}"/>
              </c:ext>
            </c:extLst>
          </c:dPt>
          <c:dPt>
            <c:idx val="3438"/>
            <c:invertIfNegative val="1"/>
            <c:bubble3D val="0"/>
            <c:spPr>
              <a:solidFill>
                <a:srgbClr val="AEABAB"/>
              </a:solidFill>
            </c:spPr>
            <c:extLst>
              <c:ext xmlns:c16="http://schemas.microsoft.com/office/drawing/2014/chart" uri="{C3380CC4-5D6E-409C-BE32-E72D297353CC}">
                <c16:uniqueId val="{00001ADF-61F5-407B-959D-D24239F5BB85}"/>
              </c:ext>
            </c:extLst>
          </c:dPt>
          <c:dPt>
            <c:idx val="3439"/>
            <c:invertIfNegative val="1"/>
            <c:bubble3D val="0"/>
            <c:spPr>
              <a:solidFill>
                <a:srgbClr val="AEABAB"/>
              </a:solidFill>
            </c:spPr>
            <c:extLst>
              <c:ext xmlns:c16="http://schemas.microsoft.com/office/drawing/2014/chart" uri="{C3380CC4-5D6E-409C-BE32-E72D297353CC}">
                <c16:uniqueId val="{00001AE1-61F5-407B-959D-D24239F5BB85}"/>
              </c:ext>
            </c:extLst>
          </c:dPt>
          <c:dPt>
            <c:idx val="3440"/>
            <c:invertIfNegative val="1"/>
            <c:bubble3D val="0"/>
            <c:spPr>
              <a:solidFill>
                <a:srgbClr val="AEABAB"/>
              </a:solidFill>
            </c:spPr>
            <c:extLst>
              <c:ext xmlns:c16="http://schemas.microsoft.com/office/drawing/2014/chart" uri="{C3380CC4-5D6E-409C-BE32-E72D297353CC}">
                <c16:uniqueId val="{00001AE3-61F5-407B-959D-D24239F5BB85}"/>
              </c:ext>
            </c:extLst>
          </c:dPt>
          <c:dPt>
            <c:idx val="3441"/>
            <c:invertIfNegative val="1"/>
            <c:bubble3D val="0"/>
            <c:spPr>
              <a:solidFill>
                <a:srgbClr val="AEABAB"/>
              </a:solidFill>
            </c:spPr>
            <c:extLst>
              <c:ext xmlns:c16="http://schemas.microsoft.com/office/drawing/2014/chart" uri="{C3380CC4-5D6E-409C-BE32-E72D297353CC}">
                <c16:uniqueId val="{00001AE5-61F5-407B-959D-D24239F5BB85}"/>
              </c:ext>
            </c:extLst>
          </c:dPt>
          <c:dPt>
            <c:idx val="3442"/>
            <c:invertIfNegative val="1"/>
            <c:bubble3D val="0"/>
            <c:spPr>
              <a:solidFill>
                <a:srgbClr val="AEABAB"/>
              </a:solidFill>
            </c:spPr>
            <c:extLst>
              <c:ext xmlns:c16="http://schemas.microsoft.com/office/drawing/2014/chart" uri="{C3380CC4-5D6E-409C-BE32-E72D297353CC}">
                <c16:uniqueId val="{00001AE7-61F5-407B-959D-D24239F5BB85}"/>
              </c:ext>
            </c:extLst>
          </c:dPt>
          <c:dPt>
            <c:idx val="3443"/>
            <c:invertIfNegative val="1"/>
            <c:bubble3D val="0"/>
            <c:spPr>
              <a:solidFill>
                <a:srgbClr val="AEABAB"/>
              </a:solidFill>
            </c:spPr>
            <c:extLst>
              <c:ext xmlns:c16="http://schemas.microsoft.com/office/drawing/2014/chart" uri="{C3380CC4-5D6E-409C-BE32-E72D297353CC}">
                <c16:uniqueId val="{00001AE9-61F5-407B-959D-D24239F5BB85}"/>
              </c:ext>
            </c:extLst>
          </c:dPt>
          <c:dPt>
            <c:idx val="3444"/>
            <c:invertIfNegative val="1"/>
            <c:bubble3D val="0"/>
            <c:spPr>
              <a:solidFill>
                <a:srgbClr val="AEABAB"/>
              </a:solidFill>
            </c:spPr>
            <c:extLst>
              <c:ext xmlns:c16="http://schemas.microsoft.com/office/drawing/2014/chart" uri="{C3380CC4-5D6E-409C-BE32-E72D297353CC}">
                <c16:uniqueId val="{00001AEB-61F5-407B-959D-D24239F5BB85}"/>
              </c:ext>
            </c:extLst>
          </c:dPt>
          <c:dPt>
            <c:idx val="3445"/>
            <c:invertIfNegative val="1"/>
            <c:bubble3D val="0"/>
            <c:spPr>
              <a:solidFill>
                <a:srgbClr val="AEABAB"/>
              </a:solidFill>
            </c:spPr>
            <c:extLst>
              <c:ext xmlns:c16="http://schemas.microsoft.com/office/drawing/2014/chart" uri="{C3380CC4-5D6E-409C-BE32-E72D297353CC}">
                <c16:uniqueId val="{00001AED-61F5-407B-959D-D24239F5BB85}"/>
              </c:ext>
            </c:extLst>
          </c:dPt>
          <c:dPt>
            <c:idx val="3446"/>
            <c:invertIfNegative val="1"/>
            <c:bubble3D val="0"/>
            <c:spPr>
              <a:solidFill>
                <a:srgbClr val="AEABAB"/>
              </a:solidFill>
            </c:spPr>
            <c:extLst>
              <c:ext xmlns:c16="http://schemas.microsoft.com/office/drawing/2014/chart" uri="{C3380CC4-5D6E-409C-BE32-E72D297353CC}">
                <c16:uniqueId val="{00001AEF-61F5-407B-959D-D24239F5BB85}"/>
              </c:ext>
            </c:extLst>
          </c:dPt>
          <c:dPt>
            <c:idx val="3447"/>
            <c:invertIfNegative val="1"/>
            <c:bubble3D val="0"/>
            <c:spPr>
              <a:solidFill>
                <a:srgbClr val="AEABAB"/>
              </a:solidFill>
            </c:spPr>
            <c:extLst>
              <c:ext xmlns:c16="http://schemas.microsoft.com/office/drawing/2014/chart" uri="{C3380CC4-5D6E-409C-BE32-E72D297353CC}">
                <c16:uniqueId val="{00001AF1-61F5-407B-959D-D24239F5BB85}"/>
              </c:ext>
            </c:extLst>
          </c:dPt>
          <c:dPt>
            <c:idx val="3448"/>
            <c:invertIfNegative val="1"/>
            <c:bubble3D val="0"/>
            <c:spPr>
              <a:solidFill>
                <a:srgbClr val="AEABAB"/>
              </a:solidFill>
            </c:spPr>
            <c:extLst>
              <c:ext xmlns:c16="http://schemas.microsoft.com/office/drawing/2014/chart" uri="{C3380CC4-5D6E-409C-BE32-E72D297353CC}">
                <c16:uniqueId val="{00001AF3-61F5-407B-959D-D24239F5BB85}"/>
              </c:ext>
            </c:extLst>
          </c:dPt>
          <c:dPt>
            <c:idx val="3449"/>
            <c:invertIfNegative val="1"/>
            <c:bubble3D val="0"/>
            <c:spPr>
              <a:solidFill>
                <a:srgbClr val="AEABAB"/>
              </a:solidFill>
            </c:spPr>
            <c:extLst>
              <c:ext xmlns:c16="http://schemas.microsoft.com/office/drawing/2014/chart" uri="{C3380CC4-5D6E-409C-BE32-E72D297353CC}">
                <c16:uniqueId val="{00001AF5-61F5-407B-959D-D24239F5BB85}"/>
              </c:ext>
            </c:extLst>
          </c:dPt>
          <c:dPt>
            <c:idx val="3450"/>
            <c:invertIfNegative val="1"/>
            <c:bubble3D val="0"/>
            <c:spPr>
              <a:solidFill>
                <a:srgbClr val="AEABAB"/>
              </a:solidFill>
            </c:spPr>
            <c:extLst>
              <c:ext xmlns:c16="http://schemas.microsoft.com/office/drawing/2014/chart" uri="{C3380CC4-5D6E-409C-BE32-E72D297353CC}">
                <c16:uniqueId val="{00001AF7-61F5-407B-959D-D24239F5BB85}"/>
              </c:ext>
            </c:extLst>
          </c:dPt>
          <c:dPt>
            <c:idx val="3451"/>
            <c:invertIfNegative val="1"/>
            <c:bubble3D val="0"/>
            <c:spPr>
              <a:solidFill>
                <a:srgbClr val="AEABAB"/>
              </a:solidFill>
            </c:spPr>
            <c:extLst>
              <c:ext xmlns:c16="http://schemas.microsoft.com/office/drawing/2014/chart" uri="{C3380CC4-5D6E-409C-BE32-E72D297353CC}">
                <c16:uniqueId val="{00001AF9-61F5-407B-959D-D24239F5BB85}"/>
              </c:ext>
            </c:extLst>
          </c:dPt>
          <c:dPt>
            <c:idx val="3452"/>
            <c:invertIfNegative val="1"/>
            <c:bubble3D val="0"/>
            <c:spPr>
              <a:solidFill>
                <a:srgbClr val="AEABAB"/>
              </a:solidFill>
            </c:spPr>
            <c:extLst>
              <c:ext xmlns:c16="http://schemas.microsoft.com/office/drawing/2014/chart" uri="{C3380CC4-5D6E-409C-BE32-E72D297353CC}">
                <c16:uniqueId val="{00001AFB-61F5-407B-959D-D24239F5BB85}"/>
              </c:ext>
            </c:extLst>
          </c:dPt>
          <c:dPt>
            <c:idx val="3453"/>
            <c:invertIfNegative val="1"/>
            <c:bubble3D val="0"/>
            <c:spPr>
              <a:solidFill>
                <a:srgbClr val="AEABAB"/>
              </a:solidFill>
            </c:spPr>
            <c:extLst>
              <c:ext xmlns:c16="http://schemas.microsoft.com/office/drawing/2014/chart" uri="{C3380CC4-5D6E-409C-BE32-E72D297353CC}">
                <c16:uniqueId val="{00001AFD-61F5-407B-959D-D24239F5BB85}"/>
              </c:ext>
            </c:extLst>
          </c:dPt>
          <c:dPt>
            <c:idx val="3454"/>
            <c:invertIfNegative val="1"/>
            <c:bubble3D val="0"/>
            <c:spPr>
              <a:solidFill>
                <a:srgbClr val="AEABAB"/>
              </a:solidFill>
            </c:spPr>
            <c:extLst>
              <c:ext xmlns:c16="http://schemas.microsoft.com/office/drawing/2014/chart" uri="{C3380CC4-5D6E-409C-BE32-E72D297353CC}">
                <c16:uniqueId val="{00001AFF-61F5-407B-959D-D24239F5BB85}"/>
              </c:ext>
            </c:extLst>
          </c:dPt>
          <c:dPt>
            <c:idx val="3455"/>
            <c:invertIfNegative val="1"/>
            <c:bubble3D val="0"/>
            <c:spPr>
              <a:solidFill>
                <a:srgbClr val="AEABAB"/>
              </a:solidFill>
            </c:spPr>
            <c:extLst>
              <c:ext xmlns:c16="http://schemas.microsoft.com/office/drawing/2014/chart" uri="{C3380CC4-5D6E-409C-BE32-E72D297353CC}">
                <c16:uniqueId val="{00001B01-61F5-407B-959D-D24239F5BB85}"/>
              </c:ext>
            </c:extLst>
          </c:dPt>
          <c:dPt>
            <c:idx val="3456"/>
            <c:invertIfNegative val="1"/>
            <c:bubble3D val="0"/>
            <c:spPr>
              <a:solidFill>
                <a:srgbClr val="AEABAB"/>
              </a:solidFill>
            </c:spPr>
            <c:extLst>
              <c:ext xmlns:c16="http://schemas.microsoft.com/office/drawing/2014/chart" uri="{C3380CC4-5D6E-409C-BE32-E72D297353CC}">
                <c16:uniqueId val="{00001B03-61F5-407B-959D-D24239F5BB85}"/>
              </c:ext>
            </c:extLst>
          </c:dPt>
          <c:dPt>
            <c:idx val="3457"/>
            <c:invertIfNegative val="1"/>
            <c:bubble3D val="0"/>
            <c:spPr>
              <a:solidFill>
                <a:srgbClr val="AEABAB"/>
              </a:solidFill>
            </c:spPr>
            <c:extLst>
              <c:ext xmlns:c16="http://schemas.microsoft.com/office/drawing/2014/chart" uri="{C3380CC4-5D6E-409C-BE32-E72D297353CC}">
                <c16:uniqueId val="{00001B05-61F5-407B-959D-D24239F5BB85}"/>
              </c:ext>
            </c:extLst>
          </c:dPt>
          <c:dPt>
            <c:idx val="3458"/>
            <c:invertIfNegative val="1"/>
            <c:bubble3D val="0"/>
            <c:spPr>
              <a:solidFill>
                <a:srgbClr val="AEABAB"/>
              </a:solidFill>
            </c:spPr>
            <c:extLst>
              <c:ext xmlns:c16="http://schemas.microsoft.com/office/drawing/2014/chart" uri="{C3380CC4-5D6E-409C-BE32-E72D297353CC}">
                <c16:uniqueId val="{00001B07-61F5-407B-959D-D24239F5BB85}"/>
              </c:ext>
            </c:extLst>
          </c:dPt>
          <c:dPt>
            <c:idx val="3459"/>
            <c:invertIfNegative val="1"/>
            <c:bubble3D val="0"/>
            <c:spPr>
              <a:solidFill>
                <a:srgbClr val="AEABAB"/>
              </a:solidFill>
            </c:spPr>
            <c:extLst>
              <c:ext xmlns:c16="http://schemas.microsoft.com/office/drawing/2014/chart" uri="{C3380CC4-5D6E-409C-BE32-E72D297353CC}">
                <c16:uniqueId val="{00001B09-61F5-407B-959D-D24239F5BB85}"/>
              </c:ext>
            </c:extLst>
          </c:dPt>
          <c:dPt>
            <c:idx val="3460"/>
            <c:invertIfNegative val="1"/>
            <c:bubble3D val="0"/>
            <c:spPr>
              <a:solidFill>
                <a:srgbClr val="AEABAB"/>
              </a:solidFill>
            </c:spPr>
            <c:extLst>
              <c:ext xmlns:c16="http://schemas.microsoft.com/office/drawing/2014/chart" uri="{C3380CC4-5D6E-409C-BE32-E72D297353CC}">
                <c16:uniqueId val="{00001B0B-61F5-407B-959D-D24239F5BB85}"/>
              </c:ext>
            </c:extLst>
          </c:dPt>
          <c:dPt>
            <c:idx val="3461"/>
            <c:invertIfNegative val="1"/>
            <c:bubble3D val="0"/>
            <c:spPr>
              <a:solidFill>
                <a:srgbClr val="AEABAB"/>
              </a:solidFill>
            </c:spPr>
            <c:extLst>
              <c:ext xmlns:c16="http://schemas.microsoft.com/office/drawing/2014/chart" uri="{C3380CC4-5D6E-409C-BE32-E72D297353CC}">
                <c16:uniqueId val="{00001B0D-61F5-407B-959D-D24239F5BB85}"/>
              </c:ext>
            </c:extLst>
          </c:dPt>
          <c:dPt>
            <c:idx val="3462"/>
            <c:invertIfNegative val="1"/>
            <c:bubble3D val="0"/>
            <c:spPr>
              <a:solidFill>
                <a:srgbClr val="AEABAB"/>
              </a:solidFill>
            </c:spPr>
            <c:extLst>
              <c:ext xmlns:c16="http://schemas.microsoft.com/office/drawing/2014/chart" uri="{C3380CC4-5D6E-409C-BE32-E72D297353CC}">
                <c16:uniqueId val="{00001B0F-61F5-407B-959D-D24239F5BB85}"/>
              </c:ext>
            </c:extLst>
          </c:dPt>
          <c:dPt>
            <c:idx val="3463"/>
            <c:invertIfNegative val="1"/>
            <c:bubble3D val="0"/>
            <c:spPr>
              <a:solidFill>
                <a:srgbClr val="AEABAB"/>
              </a:solidFill>
            </c:spPr>
            <c:extLst>
              <c:ext xmlns:c16="http://schemas.microsoft.com/office/drawing/2014/chart" uri="{C3380CC4-5D6E-409C-BE32-E72D297353CC}">
                <c16:uniqueId val="{00001B11-61F5-407B-959D-D24239F5BB85}"/>
              </c:ext>
            </c:extLst>
          </c:dPt>
          <c:dPt>
            <c:idx val="3464"/>
            <c:invertIfNegative val="1"/>
            <c:bubble3D val="0"/>
            <c:spPr>
              <a:solidFill>
                <a:srgbClr val="AEABAB"/>
              </a:solidFill>
            </c:spPr>
            <c:extLst>
              <c:ext xmlns:c16="http://schemas.microsoft.com/office/drawing/2014/chart" uri="{C3380CC4-5D6E-409C-BE32-E72D297353CC}">
                <c16:uniqueId val="{00001B13-61F5-407B-959D-D24239F5BB85}"/>
              </c:ext>
            </c:extLst>
          </c:dPt>
          <c:dPt>
            <c:idx val="3465"/>
            <c:invertIfNegative val="1"/>
            <c:bubble3D val="0"/>
            <c:spPr>
              <a:solidFill>
                <a:srgbClr val="AEABAB"/>
              </a:solidFill>
            </c:spPr>
            <c:extLst>
              <c:ext xmlns:c16="http://schemas.microsoft.com/office/drawing/2014/chart" uri="{C3380CC4-5D6E-409C-BE32-E72D297353CC}">
                <c16:uniqueId val="{00001B15-61F5-407B-959D-D24239F5BB85}"/>
              </c:ext>
            </c:extLst>
          </c:dPt>
          <c:dPt>
            <c:idx val="3466"/>
            <c:invertIfNegative val="1"/>
            <c:bubble3D val="0"/>
            <c:spPr>
              <a:solidFill>
                <a:srgbClr val="AEABAB"/>
              </a:solidFill>
            </c:spPr>
            <c:extLst>
              <c:ext xmlns:c16="http://schemas.microsoft.com/office/drawing/2014/chart" uri="{C3380CC4-5D6E-409C-BE32-E72D297353CC}">
                <c16:uniqueId val="{00001B17-61F5-407B-959D-D24239F5BB85}"/>
              </c:ext>
            </c:extLst>
          </c:dPt>
          <c:dPt>
            <c:idx val="3467"/>
            <c:invertIfNegative val="1"/>
            <c:bubble3D val="0"/>
            <c:spPr>
              <a:solidFill>
                <a:srgbClr val="AEABAB"/>
              </a:solidFill>
            </c:spPr>
            <c:extLst>
              <c:ext xmlns:c16="http://schemas.microsoft.com/office/drawing/2014/chart" uri="{C3380CC4-5D6E-409C-BE32-E72D297353CC}">
                <c16:uniqueId val="{00001B19-61F5-407B-959D-D24239F5BB85}"/>
              </c:ext>
            </c:extLst>
          </c:dPt>
          <c:dPt>
            <c:idx val="3468"/>
            <c:invertIfNegative val="1"/>
            <c:bubble3D val="0"/>
            <c:spPr>
              <a:solidFill>
                <a:srgbClr val="AEABAB"/>
              </a:solidFill>
            </c:spPr>
            <c:extLst>
              <c:ext xmlns:c16="http://schemas.microsoft.com/office/drawing/2014/chart" uri="{C3380CC4-5D6E-409C-BE32-E72D297353CC}">
                <c16:uniqueId val="{00001B1B-61F5-407B-959D-D24239F5BB85}"/>
              </c:ext>
            </c:extLst>
          </c:dPt>
          <c:dPt>
            <c:idx val="3469"/>
            <c:invertIfNegative val="1"/>
            <c:bubble3D val="0"/>
            <c:spPr>
              <a:solidFill>
                <a:srgbClr val="AEABAB"/>
              </a:solidFill>
            </c:spPr>
            <c:extLst>
              <c:ext xmlns:c16="http://schemas.microsoft.com/office/drawing/2014/chart" uri="{C3380CC4-5D6E-409C-BE32-E72D297353CC}">
                <c16:uniqueId val="{00001B1D-61F5-407B-959D-D24239F5BB85}"/>
              </c:ext>
            </c:extLst>
          </c:dPt>
          <c:dPt>
            <c:idx val="3470"/>
            <c:invertIfNegative val="1"/>
            <c:bubble3D val="0"/>
            <c:spPr>
              <a:solidFill>
                <a:srgbClr val="AEABAB"/>
              </a:solidFill>
            </c:spPr>
            <c:extLst>
              <c:ext xmlns:c16="http://schemas.microsoft.com/office/drawing/2014/chart" uri="{C3380CC4-5D6E-409C-BE32-E72D297353CC}">
                <c16:uniqueId val="{00001B1F-61F5-407B-959D-D24239F5BB85}"/>
              </c:ext>
            </c:extLst>
          </c:dPt>
          <c:dPt>
            <c:idx val="3471"/>
            <c:invertIfNegative val="1"/>
            <c:bubble3D val="0"/>
            <c:spPr>
              <a:solidFill>
                <a:srgbClr val="AEABAB"/>
              </a:solidFill>
            </c:spPr>
            <c:extLst>
              <c:ext xmlns:c16="http://schemas.microsoft.com/office/drawing/2014/chart" uri="{C3380CC4-5D6E-409C-BE32-E72D297353CC}">
                <c16:uniqueId val="{00001B21-61F5-407B-959D-D24239F5BB85}"/>
              </c:ext>
            </c:extLst>
          </c:dPt>
          <c:dPt>
            <c:idx val="3472"/>
            <c:invertIfNegative val="1"/>
            <c:bubble3D val="0"/>
            <c:spPr>
              <a:solidFill>
                <a:srgbClr val="AEABAB"/>
              </a:solidFill>
            </c:spPr>
            <c:extLst>
              <c:ext xmlns:c16="http://schemas.microsoft.com/office/drawing/2014/chart" uri="{C3380CC4-5D6E-409C-BE32-E72D297353CC}">
                <c16:uniqueId val="{00001B23-61F5-407B-959D-D24239F5BB85}"/>
              </c:ext>
            </c:extLst>
          </c:dPt>
          <c:dPt>
            <c:idx val="3473"/>
            <c:invertIfNegative val="1"/>
            <c:bubble3D val="0"/>
            <c:spPr>
              <a:solidFill>
                <a:srgbClr val="AEABAB"/>
              </a:solidFill>
            </c:spPr>
            <c:extLst>
              <c:ext xmlns:c16="http://schemas.microsoft.com/office/drawing/2014/chart" uri="{C3380CC4-5D6E-409C-BE32-E72D297353CC}">
                <c16:uniqueId val="{00001B25-61F5-407B-959D-D24239F5BB85}"/>
              </c:ext>
            </c:extLst>
          </c:dPt>
          <c:dPt>
            <c:idx val="3474"/>
            <c:invertIfNegative val="1"/>
            <c:bubble3D val="0"/>
            <c:spPr>
              <a:solidFill>
                <a:srgbClr val="AEABAB"/>
              </a:solidFill>
            </c:spPr>
            <c:extLst>
              <c:ext xmlns:c16="http://schemas.microsoft.com/office/drawing/2014/chart" uri="{C3380CC4-5D6E-409C-BE32-E72D297353CC}">
                <c16:uniqueId val="{00001B27-61F5-407B-959D-D24239F5BB85}"/>
              </c:ext>
            </c:extLst>
          </c:dPt>
          <c:dPt>
            <c:idx val="3475"/>
            <c:invertIfNegative val="1"/>
            <c:bubble3D val="0"/>
            <c:spPr>
              <a:solidFill>
                <a:srgbClr val="AEABAB"/>
              </a:solidFill>
            </c:spPr>
            <c:extLst>
              <c:ext xmlns:c16="http://schemas.microsoft.com/office/drawing/2014/chart" uri="{C3380CC4-5D6E-409C-BE32-E72D297353CC}">
                <c16:uniqueId val="{00001B29-61F5-407B-959D-D24239F5BB85}"/>
              </c:ext>
            </c:extLst>
          </c:dPt>
          <c:dPt>
            <c:idx val="3476"/>
            <c:invertIfNegative val="1"/>
            <c:bubble3D val="0"/>
            <c:spPr>
              <a:solidFill>
                <a:srgbClr val="AEABAB"/>
              </a:solidFill>
            </c:spPr>
            <c:extLst>
              <c:ext xmlns:c16="http://schemas.microsoft.com/office/drawing/2014/chart" uri="{C3380CC4-5D6E-409C-BE32-E72D297353CC}">
                <c16:uniqueId val="{00001B2B-61F5-407B-959D-D24239F5BB85}"/>
              </c:ext>
            </c:extLst>
          </c:dPt>
          <c:dPt>
            <c:idx val="3477"/>
            <c:invertIfNegative val="1"/>
            <c:bubble3D val="0"/>
            <c:spPr>
              <a:solidFill>
                <a:srgbClr val="AEABAB"/>
              </a:solidFill>
            </c:spPr>
            <c:extLst>
              <c:ext xmlns:c16="http://schemas.microsoft.com/office/drawing/2014/chart" uri="{C3380CC4-5D6E-409C-BE32-E72D297353CC}">
                <c16:uniqueId val="{00001B2D-61F5-407B-959D-D24239F5BB85}"/>
              </c:ext>
            </c:extLst>
          </c:dPt>
          <c:dPt>
            <c:idx val="3478"/>
            <c:invertIfNegative val="1"/>
            <c:bubble3D val="0"/>
            <c:spPr>
              <a:solidFill>
                <a:srgbClr val="AEABAB"/>
              </a:solidFill>
            </c:spPr>
            <c:extLst>
              <c:ext xmlns:c16="http://schemas.microsoft.com/office/drawing/2014/chart" uri="{C3380CC4-5D6E-409C-BE32-E72D297353CC}">
                <c16:uniqueId val="{00001B2F-61F5-407B-959D-D24239F5BB85}"/>
              </c:ext>
            </c:extLst>
          </c:dPt>
          <c:dPt>
            <c:idx val="3479"/>
            <c:invertIfNegative val="1"/>
            <c:bubble3D val="0"/>
            <c:spPr>
              <a:solidFill>
                <a:srgbClr val="AEABAB"/>
              </a:solidFill>
            </c:spPr>
            <c:extLst>
              <c:ext xmlns:c16="http://schemas.microsoft.com/office/drawing/2014/chart" uri="{C3380CC4-5D6E-409C-BE32-E72D297353CC}">
                <c16:uniqueId val="{00001B31-61F5-407B-959D-D24239F5BB85}"/>
              </c:ext>
            </c:extLst>
          </c:dPt>
          <c:dPt>
            <c:idx val="3480"/>
            <c:invertIfNegative val="1"/>
            <c:bubble3D val="0"/>
            <c:spPr>
              <a:solidFill>
                <a:srgbClr val="AEABAB"/>
              </a:solidFill>
            </c:spPr>
            <c:extLst>
              <c:ext xmlns:c16="http://schemas.microsoft.com/office/drawing/2014/chart" uri="{C3380CC4-5D6E-409C-BE32-E72D297353CC}">
                <c16:uniqueId val="{00001B33-61F5-407B-959D-D24239F5BB85}"/>
              </c:ext>
            </c:extLst>
          </c:dPt>
          <c:dPt>
            <c:idx val="3481"/>
            <c:invertIfNegative val="1"/>
            <c:bubble3D val="0"/>
            <c:spPr>
              <a:solidFill>
                <a:srgbClr val="AEABAB"/>
              </a:solidFill>
            </c:spPr>
            <c:extLst>
              <c:ext xmlns:c16="http://schemas.microsoft.com/office/drawing/2014/chart" uri="{C3380CC4-5D6E-409C-BE32-E72D297353CC}">
                <c16:uniqueId val="{00001B35-61F5-407B-959D-D24239F5BB85}"/>
              </c:ext>
            </c:extLst>
          </c:dPt>
          <c:dPt>
            <c:idx val="3482"/>
            <c:invertIfNegative val="1"/>
            <c:bubble3D val="0"/>
            <c:spPr>
              <a:solidFill>
                <a:srgbClr val="AEABAB"/>
              </a:solidFill>
            </c:spPr>
            <c:extLst>
              <c:ext xmlns:c16="http://schemas.microsoft.com/office/drawing/2014/chart" uri="{C3380CC4-5D6E-409C-BE32-E72D297353CC}">
                <c16:uniqueId val="{00001B37-61F5-407B-959D-D24239F5BB85}"/>
              </c:ext>
            </c:extLst>
          </c:dPt>
          <c:dPt>
            <c:idx val="3483"/>
            <c:invertIfNegative val="1"/>
            <c:bubble3D val="0"/>
            <c:spPr>
              <a:solidFill>
                <a:srgbClr val="AEABAB"/>
              </a:solidFill>
            </c:spPr>
            <c:extLst>
              <c:ext xmlns:c16="http://schemas.microsoft.com/office/drawing/2014/chart" uri="{C3380CC4-5D6E-409C-BE32-E72D297353CC}">
                <c16:uniqueId val="{00001B39-61F5-407B-959D-D24239F5BB85}"/>
              </c:ext>
            </c:extLst>
          </c:dPt>
          <c:dPt>
            <c:idx val="3484"/>
            <c:invertIfNegative val="1"/>
            <c:bubble3D val="0"/>
            <c:spPr>
              <a:solidFill>
                <a:srgbClr val="AEABAB"/>
              </a:solidFill>
            </c:spPr>
            <c:extLst>
              <c:ext xmlns:c16="http://schemas.microsoft.com/office/drawing/2014/chart" uri="{C3380CC4-5D6E-409C-BE32-E72D297353CC}">
                <c16:uniqueId val="{00001B3B-61F5-407B-959D-D24239F5BB85}"/>
              </c:ext>
            </c:extLst>
          </c:dPt>
          <c:dPt>
            <c:idx val="3485"/>
            <c:invertIfNegative val="1"/>
            <c:bubble3D val="0"/>
            <c:spPr>
              <a:solidFill>
                <a:srgbClr val="AEABAB"/>
              </a:solidFill>
            </c:spPr>
            <c:extLst>
              <c:ext xmlns:c16="http://schemas.microsoft.com/office/drawing/2014/chart" uri="{C3380CC4-5D6E-409C-BE32-E72D297353CC}">
                <c16:uniqueId val="{00001B3D-61F5-407B-959D-D24239F5BB85}"/>
              </c:ext>
            </c:extLst>
          </c:dPt>
          <c:dPt>
            <c:idx val="3486"/>
            <c:invertIfNegative val="1"/>
            <c:bubble3D val="0"/>
            <c:spPr>
              <a:solidFill>
                <a:srgbClr val="AEABAB"/>
              </a:solidFill>
            </c:spPr>
            <c:extLst>
              <c:ext xmlns:c16="http://schemas.microsoft.com/office/drawing/2014/chart" uri="{C3380CC4-5D6E-409C-BE32-E72D297353CC}">
                <c16:uniqueId val="{00001B3F-61F5-407B-959D-D24239F5BB85}"/>
              </c:ext>
            </c:extLst>
          </c:dPt>
          <c:dPt>
            <c:idx val="3487"/>
            <c:invertIfNegative val="1"/>
            <c:bubble3D val="0"/>
            <c:spPr>
              <a:solidFill>
                <a:srgbClr val="AEABAB"/>
              </a:solidFill>
            </c:spPr>
            <c:extLst>
              <c:ext xmlns:c16="http://schemas.microsoft.com/office/drawing/2014/chart" uri="{C3380CC4-5D6E-409C-BE32-E72D297353CC}">
                <c16:uniqueId val="{00001B41-61F5-407B-959D-D24239F5BB85}"/>
              </c:ext>
            </c:extLst>
          </c:dPt>
          <c:dPt>
            <c:idx val="3488"/>
            <c:invertIfNegative val="1"/>
            <c:bubble3D val="0"/>
            <c:spPr>
              <a:solidFill>
                <a:srgbClr val="AEABAB"/>
              </a:solidFill>
            </c:spPr>
            <c:extLst>
              <c:ext xmlns:c16="http://schemas.microsoft.com/office/drawing/2014/chart" uri="{C3380CC4-5D6E-409C-BE32-E72D297353CC}">
                <c16:uniqueId val="{00001B43-61F5-407B-959D-D24239F5BB85}"/>
              </c:ext>
            </c:extLst>
          </c:dPt>
          <c:dPt>
            <c:idx val="3489"/>
            <c:invertIfNegative val="1"/>
            <c:bubble3D val="0"/>
            <c:spPr>
              <a:solidFill>
                <a:srgbClr val="AEABAB"/>
              </a:solidFill>
            </c:spPr>
            <c:extLst>
              <c:ext xmlns:c16="http://schemas.microsoft.com/office/drawing/2014/chart" uri="{C3380CC4-5D6E-409C-BE32-E72D297353CC}">
                <c16:uniqueId val="{00001B45-61F5-407B-959D-D24239F5BB85}"/>
              </c:ext>
            </c:extLst>
          </c:dPt>
          <c:dPt>
            <c:idx val="3490"/>
            <c:invertIfNegative val="1"/>
            <c:bubble3D val="0"/>
            <c:spPr>
              <a:solidFill>
                <a:srgbClr val="AEABAB"/>
              </a:solidFill>
            </c:spPr>
            <c:extLst>
              <c:ext xmlns:c16="http://schemas.microsoft.com/office/drawing/2014/chart" uri="{C3380CC4-5D6E-409C-BE32-E72D297353CC}">
                <c16:uniqueId val="{00001B47-61F5-407B-959D-D24239F5BB85}"/>
              </c:ext>
            </c:extLst>
          </c:dPt>
          <c:dPt>
            <c:idx val="3491"/>
            <c:invertIfNegative val="1"/>
            <c:bubble3D val="0"/>
            <c:spPr>
              <a:solidFill>
                <a:srgbClr val="AEABAB"/>
              </a:solidFill>
            </c:spPr>
            <c:extLst>
              <c:ext xmlns:c16="http://schemas.microsoft.com/office/drawing/2014/chart" uri="{C3380CC4-5D6E-409C-BE32-E72D297353CC}">
                <c16:uniqueId val="{00001B49-61F5-407B-959D-D24239F5BB85}"/>
              </c:ext>
            </c:extLst>
          </c:dPt>
          <c:dPt>
            <c:idx val="3492"/>
            <c:invertIfNegative val="1"/>
            <c:bubble3D val="0"/>
            <c:spPr>
              <a:solidFill>
                <a:srgbClr val="AEABAB"/>
              </a:solidFill>
            </c:spPr>
            <c:extLst>
              <c:ext xmlns:c16="http://schemas.microsoft.com/office/drawing/2014/chart" uri="{C3380CC4-5D6E-409C-BE32-E72D297353CC}">
                <c16:uniqueId val="{00001B4B-61F5-407B-959D-D24239F5BB85}"/>
              </c:ext>
            </c:extLst>
          </c:dPt>
          <c:dPt>
            <c:idx val="3493"/>
            <c:invertIfNegative val="1"/>
            <c:bubble3D val="0"/>
            <c:spPr>
              <a:solidFill>
                <a:srgbClr val="AEABAB"/>
              </a:solidFill>
            </c:spPr>
            <c:extLst>
              <c:ext xmlns:c16="http://schemas.microsoft.com/office/drawing/2014/chart" uri="{C3380CC4-5D6E-409C-BE32-E72D297353CC}">
                <c16:uniqueId val="{00001B4D-61F5-407B-959D-D24239F5BB85}"/>
              </c:ext>
            </c:extLst>
          </c:dPt>
          <c:dPt>
            <c:idx val="3494"/>
            <c:invertIfNegative val="1"/>
            <c:bubble3D val="0"/>
            <c:spPr>
              <a:solidFill>
                <a:srgbClr val="AEABAB"/>
              </a:solidFill>
            </c:spPr>
            <c:extLst>
              <c:ext xmlns:c16="http://schemas.microsoft.com/office/drawing/2014/chart" uri="{C3380CC4-5D6E-409C-BE32-E72D297353CC}">
                <c16:uniqueId val="{00001B4F-61F5-407B-959D-D24239F5BB85}"/>
              </c:ext>
            </c:extLst>
          </c:dPt>
          <c:dPt>
            <c:idx val="3495"/>
            <c:invertIfNegative val="1"/>
            <c:bubble3D val="0"/>
            <c:spPr>
              <a:solidFill>
                <a:srgbClr val="AEABAB"/>
              </a:solidFill>
            </c:spPr>
            <c:extLst>
              <c:ext xmlns:c16="http://schemas.microsoft.com/office/drawing/2014/chart" uri="{C3380CC4-5D6E-409C-BE32-E72D297353CC}">
                <c16:uniqueId val="{00001B51-61F5-407B-959D-D24239F5BB85}"/>
              </c:ext>
            </c:extLst>
          </c:dPt>
          <c:dPt>
            <c:idx val="3496"/>
            <c:invertIfNegative val="1"/>
            <c:bubble3D val="0"/>
            <c:spPr>
              <a:solidFill>
                <a:srgbClr val="AEABAB"/>
              </a:solidFill>
            </c:spPr>
            <c:extLst>
              <c:ext xmlns:c16="http://schemas.microsoft.com/office/drawing/2014/chart" uri="{C3380CC4-5D6E-409C-BE32-E72D297353CC}">
                <c16:uniqueId val="{00001B53-61F5-407B-959D-D24239F5BB85}"/>
              </c:ext>
            </c:extLst>
          </c:dPt>
          <c:dPt>
            <c:idx val="3497"/>
            <c:invertIfNegative val="1"/>
            <c:bubble3D val="0"/>
            <c:spPr>
              <a:solidFill>
                <a:srgbClr val="AEABAB"/>
              </a:solidFill>
            </c:spPr>
            <c:extLst>
              <c:ext xmlns:c16="http://schemas.microsoft.com/office/drawing/2014/chart" uri="{C3380CC4-5D6E-409C-BE32-E72D297353CC}">
                <c16:uniqueId val="{00001B55-61F5-407B-959D-D24239F5BB85}"/>
              </c:ext>
            </c:extLst>
          </c:dPt>
          <c:dPt>
            <c:idx val="3498"/>
            <c:invertIfNegative val="1"/>
            <c:bubble3D val="0"/>
            <c:spPr>
              <a:solidFill>
                <a:srgbClr val="AEABAB"/>
              </a:solidFill>
            </c:spPr>
            <c:extLst>
              <c:ext xmlns:c16="http://schemas.microsoft.com/office/drawing/2014/chart" uri="{C3380CC4-5D6E-409C-BE32-E72D297353CC}">
                <c16:uniqueId val="{00001B57-61F5-407B-959D-D24239F5BB85}"/>
              </c:ext>
            </c:extLst>
          </c:dPt>
          <c:dPt>
            <c:idx val="3499"/>
            <c:invertIfNegative val="1"/>
            <c:bubble3D val="0"/>
            <c:spPr>
              <a:solidFill>
                <a:srgbClr val="AEABAB"/>
              </a:solidFill>
            </c:spPr>
            <c:extLst>
              <c:ext xmlns:c16="http://schemas.microsoft.com/office/drawing/2014/chart" uri="{C3380CC4-5D6E-409C-BE32-E72D297353CC}">
                <c16:uniqueId val="{00001B59-61F5-407B-959D-D24239F5BB85}"/>
              </c:ext>
            </c:extLst>
          </c:dPt>
          <c:dPt>
            <c:idx val="3500"/>
            <c:invertIfNegative val="1"/>
            <c:bubble3D val="0"/>
            <c:spPr>
              <a:solidFill>
                <a:srgbClr val="AEABAB"/>
              </a:solidFill>
            </c:spPr>
            <c:extLst>
              <c:ext xmlns:c16="http://schemas.microsoft.com/office/drawing/2014/chart" uri="{C3380CC4-5D6E-409C-BE32-E72D297353CC}">
                <c16:uniqueId val="{00001B5B-61F5-407B-959D-D24239F5BB85}"/>
              </c:ext>
            </c:extLst>
          </c:dPt>
          <c:dPt>
            <c:idx val="3501"/>
            <c:invertIfNegative val="1"/>
            <c:bubble3D val="0"/>
            <c:spPr>
              <a:solidFill>
                <a:srgbClr val="AEABAB"/>
              </a:solidFill>
            </c:spPr>
            <c:extLst>
              <c:ext xmlns:c16="http://schemas.microsoft.com/office/drawing/2014/chart" uri="{C3380CC4-5D6E-409C-BE32-E72D297353CC}">
                <c16:uniqueId val="{00001B5D-61F5-407B-959D-D24239F5BB85}"/>
              </c:ext>
            </c:extLst>
          </c:dPt>
          <c:dPt>
            <c:idx val="3502"/>
            <c:invertIfNegative val="1"/>
            <c:bubble3D val="0"/>
            <c:spPr>
              <a:solidFill>
                <a:srgbClr val="AEABAB"/>
              </a:solidFill>
            </c:spPr>
            <c:extLst>
              <c:ext xmlns:c16="http://schemas.microsoft.com/office/drawing/2014/chart" uri="{C3380CC4-5D6E-409C-BE32-E72D297353CC}">
                <c16:uniqueId val="{00001B5F-61F5-407B-959D-D24239F5BB85}"/>
              </c:ext>
            </c:extLst>
          </c:dPt>
          <c:dPt>
            <c:idx val="3503"/>
            <c:invertIfNegative val="1"/>
            <c:bubble3D val="0"/>
            <c:spPr>
              <a:solidFill>
                <a:srgbClr val="AEABAB"/>
              </a:solidFill>
            </c:spPr>
            <c:extLst>
              <c:ext xmlns:c16="http://schemas.microsoft.com/office/drawing/2014/chart" uri="{C3380CC4-5D6E-409C-BE32-E72D297353CC}">
                <c16:uniqueId val="{00001B61-61F5-407B-959D-D24239F5BB85}"/>
              </c:ext>
            </c:extLst>
          </c:dPt>
          <c:dPt>
            <c:idx val="3504"/>
            <c:invertIfNegative val="1"/>
            <c:bubble3D val="0"/>
            <c:spPr>
              <a:solidFill>
                <a:srgbClr val="AEABAB"/>
              </a:solidFill>
            </c:spPr>
            <c:extLst>
              <c:ext xmlns:c16="http://schemas.microsoft.com/office/drawing/2014/chart" uri="{C3380CC4-5D6E-409C-BE32-E72D297353CC}">
                <c16:uniqueId val="{00001B63-61F5-407B-959D-D24239F5BB85}"/>
              </c:ext>
            </c:extLst>
          </c:dPt>
          <c:dPt>
            <c:idx val="3505"/>
            <c:invertIfNegative val="1"/>
            <c:bubble3D val="0"/>
            <c:spPr>
              <a:solidFill>
                <a:srgbClr val="AEABAB"/>
              </a:solidFill>
            </c:spPr>
            <c:extLst>
              <c:ext xmlns:c16="http://schemas.microsoft.com/office/drawing/2014/chart" uri="{C3380CC4-5D6E-409C-BE32-E72D297353CC}">
                <c16:uniqueId val="{00001B65-61F5-407B-959D-D24239F5BB85}"/>
              </c:ext>
            </c:extLst>
          </c:dPt>
          <c:dPt>
            <c:idx val="3506"/>
            <c:invertIfNegative val="1"/>
            <c:bubble3D val="0"/>
            <c:spPr>
              <a:solidFill>
                <a:srgbClr val="AEABAB"/>
              </a:solidFill>
            </c:spPr>
            <c:extLst>
              <c:ext xmlns:c16="http://schemas.microsoft.com/office/drawing/2014/chart" uri="{C3380CC4-5D6E-409C-BE32-E72D297353CC}">
                <c16:uniqueId val="{00001B67-61F5-407B-959D-D24239F5BB85}"/>
              </c:ext>
            </c:extLst>
          </c:dPt>
          <c:dPt>
            <c:idx val="3507"/>
            <c:invertIfNegative val="1"/>
            <c:bubble3D val="0"/>
            <c:spPr>
              <a:solidFill>
                <a:srgbClr val="AEABAB"/>
              </a:solidFill>
            </c:spPr>
            <c:extLst>
              <c:ext xmlns:c16="http://schemas.microsoft.com/office/drawing/2014/chart" uri="{C3380CC4-5D6E-409C-BE32-E72D297353CC}">
                <c16:uniqueId val="{00001B69-61F5-407B-959D-D24239F5BB85}"/>
              </c:ext>
            </c:extLst>
          </c:dPt>
          <c:dPt>
            <c:idx val="3508"/>
            <c:invertIfNegative val="1"/>
            <c:bubble3D val="0"/>
            <c:spPr>
              <a:solidFill>
                <a:srgbClr val="AEABAB"/>
              </a:solidFill>
            </c:spPr>
            <c:extLst>
              <c:ext xmlns:c16="http://schemas.microsoft.com/office/drawing/2014/chart" uri="{C3380CC4-5D6E-409C-BE32-E72D297353CC}">
                <c16:uniqueId val="{00001B6B-61F5-407B-959D-D24239F5BB85}"/>
              </c:ext>
            </c:extLst>
          </c:dPt>
          <c:dPt>
            <c:idx val="3509"/>
            <c:invertIfNegative val="1"/>
            <c:bubble3D val="0"/>
            <c:spPr>
              <a:solidFill>
                <a:srgbClr val="AEABAB"/>
              </a:solidFill>
            </c:spPr>
            <c:extLst>
              <c:ext xmlns:c16="http://schemas.microsoft.com/office/drawing/2014/chart" uri="{C3380CC4-5D6E-409C-BE32-E72D297353CC}">
                <c16:uniqueId val="{00001B6D-61F5-407B-959D-D24239F5BB85}"/>
              </c:ext>
            </c:extLst>
          </c:dPt>
          <c:dPt>
            <c:idx val="3510"/>
            <c:invertIfNegative val="1"/>
            <c:bubble3D val="0"/>
            <c:spPr>
              <a:solidFill>
                <a:srgbClr val="AEABAB"/>
              </a:solidFill>
            </c:spPr>
            <c:extLst>
              <c:ext xmlns:c16="http://schemas.microsoft.com/office/drawing/2014/chart" uri="{C3380CC4-5D6E-409C-BE32-E72D297353CC}">
                <c16:uniqueId val="{00001B6F-61F5-407B-959D-D24239F5BB85}"/>
              </c:ext>
            </c:extLst>
          </c:dPt>
          <c:dPt>
            <c:idx val="3511"/>
            <c:invertIfNegative val="1"/>
            <c:bubble3D val="0"/>
            <c:spPr>
              <a:solidFill>
                <a:srgbClr val="AEABAB"/>
              </a:solidFill>
            </c:spPr>
            <c:extLst>
              <c:ext xmlns:c16="http://schemas.microsoft.com/office/drawing/2014/chart" uri="{C3380CC4-5D6E-409C-BE32-E72D297353CC}">
                <c16:uniqueId val="{00001B71-61F5-407B-959D-D24239F5BB85}"/>
              </c:ext>
            </c:extLst>
          </c:dPt>
          <c:dPt>
            <c:idx val="3512"/>
            <c:invertIfNegative val="1"/>
            <c:bubble3D val="0"/>
            <c:spPr>
              <a:solidFill>
                <a:srgbClr val="AEABAB"/>
              </a:solidFill>
            </c:spPr>
            <c:extLst>
              <c:ext xmlns:c16="http://schemas.microsoft.com/office/drawing/2014/chart" uri="{C3380CC4-5D6E-409C-BE32-E72D297353CC}">
                <c16:uniqueId val="{00001B73-61F5-407B-959D-D24239F5BB85}"/>
              </c:ext>
            </c:extLst>
          </c:dPt>
          <c:dPt>
            <c:idx val="3513"/>
            <c:invertIfNegative val="1"/>
            <c:bubble3D val="0"/>
            <c:spPr>
              <a:solidFill>
                <a:srgbClr val="AEABAB"/>
              </a:solidFill>
            </c:spPr>
            <c:extLst>
              <c:ext xmlns:c16="http://schemas.microsoft.com/office/drawing/2014/chart" uri="{C3380CC4-5D6E-409C-BE32-E72D297353CC}">
                <c16:uniqueId val="{00001B75-61F5-407B-959D-D24239F5BB85}"/>
              </c:ext>
            </c:extLst>
          </c:dPt>
          <c:dPt>
            <c:idx val="3514"/>
            <c:invertIfNegative val="1"/>
            <c:bubble3D val="0"/>
            <c:spPr>
              <a:solidFill>
                <a:srgbClr val="AEABAB"/>
              </a:solidFill>
            </c:spPr>
            <c:extLst>
              <c:ext xmlns:c16="http://schemas.microsoft.com/office/drawing/2014/chart" uri="{C3380CC4-5D6E-409C-BE32-E72D297353CC}">
                <c16:uniqueId val="{00001B77-61F5-407B-959D-D24239F5BB85}"/>
              </c:ext>
            </c:extLst>
          </c:dPt>
          <c:dPt>
            <c:idx val="3515"/>
            <c:invertIfNegative val="1"/>
            <c:bubble3D val="0"/>
            <c:spPr>
              <a:solidFill>
                <a:srgbClr val="AEABAB"/>
              </a:solidFill>
            </c:spPr>
            <c:extLst>
              <c:ext xmlns:c16="http://schemas.microsoft.com/office/drawing/2014/chart" uri="{C3380CC4-5D6E-409C-BE32-E72D297353CC}">
                <c16:uniqueId val="{00001B79-61F5-407B-959D-D24239F5BB85}"/>
              </c:ext>
            </c:extLst>
          </c:dPt>
          <c:dPt>
            <c:idx val="3516"/>
            <c:invertIfNegative val="1"/>
            <c:bubble3D val="0"/>
            <c:spPr>
              <a:solidFill>
                <a:srgbClr val="AEABAB"/>
              </a:solidFill>
            </c:spPr>
            <c:extLst>
              <c:ext xmlns:c16="http://schemas.microsoft.com/office/drawing/2014/chart" uri="{C3380CC4-5D6E-409C-BE32-E72D297353CC}">
                <c16:uniqueId val="{00001B7B-61F5-407B-959D-D24239F5BB85}"/>
              </c:ext>
            </c:extLst>
          </c:dPt>
          <c:dPt>
            <c:idx val="3517"/>
            <c:invertIfNegative val="1"/>
            <c:bubble3D val="0"/>
            <c:spPr>
              <a:solidFill>
                <a:srgbClr val="AEABAB"/>
              </a:solidFill>
            </c:spPr>
            <c:extLst>
              <c:ext xmlns:c16="http://schemas.microsoft.com/office/drawing/2014/chart" uri="{C3380CC4-5D6E-409C-BE32-E72D297353CC}">
                <c16:uniqueId val="{00001B7D-61F5-407B-959D-D24239F5BB85}"/>
              </c:ext>
            </c:extLst>
          </c:dPt>
          <c:dPt>
            <c:idx val="3518"/>
            <c:invertIfNegative val="1"/>
            <c:bubble3D val="0"/>
            <c:spPr>
              <a:solidFill>
                <a:srgbClr val="AEABAB"/>
              </a:solidFill>
            </c:spPr>
            <c:extLst>
              <c:ext xmlns:c16="http://schemas.microsoft.com/office/drawing/2014/chart" uri="{C3380CC4-5D6E-409C-BE32-E72D297353CC}">
                <c16:uniqueId val="{00001B7F-61F5-407B-959D-D24239F5BB85}"/>
              </c:ext>
            </c:extLst>
          </c:dPt>
          <c:dPt>
            <c:idx val="3519"/>
            <c:invertIfNegative val="1"/>
            <c:bubble3D val="0"/>
            <c:spPr>
              <a:solidFill>
                <a:srgbClr val="AEABAB"/>
              </a:solidFill>
            </c:spPr>
            <c:extLst>
              <c:ext xmlns:c16="http://schemas.microsoft.com/office/drawing/2014/chart" uri="{C3380CC4-5D6E-409C-BE32-E72D297353CC}">
                <c16:uniqueId val="{00001B81-61F5-407B-959D-D24239F5BB85}"/>
              </c:ext>
            </c:extLst>
          </c:dPt>
          <c:dPt>
            <c:idx val="3520"/>
            <c:invertIfNegative val="1"/>
            <c:bubble3D val="0"/>
            <c:spPr>
              <a:solidFill>
                <a:srgbClr val="AEABAB"/>
              </a:solidFill>
            </c:spPr>
            <c:extLst>
              <c:ext xmlns:c16="http://schemas.microsoft.com/office/drawing/2014/chart" uri="{C3380CC4-5D6E-409C-BE32-E72D297353CC}">
                <c16:uniqueId val="{00001B83-61F5-407B-959D-D24239F5BB85}"/>
              </c:ext>
            </c:extLst>
          </c:dPt>
          <c:dPt>
            <c:idx val="3521"/>
            <c:invertIfNegative val="1"/>
            <c:bubble3D val="0"/>
            <c:spPr>
              <a:solidFill>
                <a:srgbClr val="AEABAB"/>
              </a:solidFill>
            </c:spPr>
            <c:extLst>
              <c:ext xmlns:c16="http://schemas.microsoft.com/office/drawing/2014/chart" uri="{C3380CC4-5D6E-409C-BE32-E72D297353CC}">
                <c16:uniqueId val="{00001B85-61F5-407B-959D-D24239F5BB85}"/>
              </c:ext>
            </c:extLst>
          </c:dPt>
          <c:dPt>
            <c:idx val="3522"/>
            <c:invertIfNegative val="1"/>
            <c:bubble3D val="0"/>
            <c:spPr>
              <a:solidFill>
                <a:srgbClr val="AEABAB"/>
              </a:solidFill>
            </c:spPr>
            <c:extLst>
              <c:ext xmlns:c16="http://schemas.microsoft.com/office/drawing/2014/chart" uri="{C3380CC4-5D6E-409C-BE32-E72D297353CC}">
                <c16:uniqueId val="{00001B87-61F5-407B-959D-D24239F5BB85}"/>
              </c:ext>
            </c:extLst>
          </c:dPt>
          <c:dPt>
            <c:idx val="3523"/>
            <c:invertIfNegative val="1"/>
            <c:bubble3D val="0"/>
            <c:spPr>
              <a:solidFill>
                <a:srgbClr val="AEABAB"/>
              </a:solidFill>
            </c:spPr>
            <c:extLst>
              <c:ext xmlns:c16="http://schemas.microsoft.com/office/drawing/2014/chart" uri="{C3380CC4-5D6E-409C-BE32-E72D297353CC}">
                <c16:uniqueId val="{00001B89-61F5-407B-959D-D24239F5BB85}"/>
              </c:ext>
            </c:extLst>
          </c:dPt>
          <c:dPt>
            <c:idx val="3524"/>
            <c:invertIfNegative val="1"/>
            <c:bubble3D val="0"/>
            <c:spPr>
              <a:solidFill>
                <a:srgbClr val="AEABAB"/>
              </a:solidFill>
            </c:spPr>
            <c:extLst>
              <c:ext xmlns:c16="http://schemas.microsoft.com/office/drawing/2014/chart" uri="{C3380CC4-5D6E-409C-BE32-E72D297353CC}">
                <c16:uniqueId val="{00001B8B-61F5-407B-959D-D24239F5BB85}"/>
              </c:ext>
            </c:extLst>
          </c:dPt>
          <c:dPt>
            <c:idx val="3525"/>
            <c:invertIfNegative val="1"/>
            <c:bubble3D val="0"/>
            <c:spPr>
              <a:solidFill>
                <a:srgbClr val="AEABAB"/>
              </a:solidFill>
            </c:spPr>
            <c:extLst>
              <c:ext xmlns:c16="http://schemas.microsoft.com/office/drawing/2014/chart" uri="{C3380CC4-5D6E-409C-BE32-E72D297353CC}">
                <c16:uniqueId val="{00001B8D-61F5-407B-959D-D24239F5BB85}"/>
              </c:ext>
            </c:extLst>
          </c:dPt>
          <c:dPt>
            <c:idx val="3526"/>
            <c:invertIfNegative val="1"/>
            <c:bubble3D val="0"/>
            <c:spPr>
              <a:solidFill>
                <a:srgbClr val="AEABAB"/>
              </a:solidFill>
            </c:spPr>
            <c:extLst>
              <c:ext xmlns:c16="http://schemas.microsoft.com/office/drawing/2014/chart" uri="{C3380CC4-5D6E-409C-BE32-E72D297353CC}">
                <c16:uniqueId val="{00001B8F-61F5-407B-959D-D24239F5BB85}"/>
              </c:ext>
            </c:extLst>
          </c:dPt>
          <c:dPt>
            <c:idx val="3527"/>
            <c:invertIfNegative val="1"/>
            <c:bubble3D val="0"/>
            <c:spPr>
              <a:solidFill>
                <a:srgbClr val="AEABAB"/>
              </a:solidFill>
            </c:spPr>
            <c:extLst>
              <c:ext xmlns:c16="http://schemas.microsoft.com/office/drawing/2014/chart" uri="{C3380CC4-5D6E-409C-BE32-E72D297353CC}">
                <c16:uniqueId val="{00001B91-61F5-407B-959D-D24239F5BB85}"/>
              </c:ext>
            </c:extLst>
          </c:dPt>
          <c:dPt>
            <c:idx val="3528"/>
            <c:invertIfNegative val="1"/>
            <c:bubble3D val="0"/>
            <c:spPr>
              <a:solidFill>
                <a:srgbClr val="AEABAB"/>
              </a:solidFill>
            </c:spPr>
            <c:extLst>
              <c:ext xmlns:c16="http://schemas.microsoft.com/office/drawing/2014/chart" uri="{C3380CC4-5D6E-409C-BE32-E72D297353CC}">
                <c16:uniqueId val="{00001B93-61F5-407B-959D-D24239F5BB85}"/>
              </c:ext>
            </c:extLst>
          </c:dPt>
          <c:dPt>
            <c:idx val="3529"/>
            <c:invertIfNegative val="1"/>
            <c:bubble3D val="0"/>
            <c:spPr>
              <a:solidFill>
                <a:srgbClr val="AEABAB"/>
              </a:solidFill>
            </c:spPr>
            <c:extLst>
              <c:ext xmlns:c16="http://schemas.microsoft.com/office/drawing/2014/chart" uri="{C3380CC4-5D6E-409C-BE32-E72D297353CC}">
                <c16:uniqueId val="{00001B95-61F5-407B-959D-D24239F5BB85}"/>
              </c:ext>
            </c:extLst>
          </c:dPt>
          <c:dPt>
            <c:idx val="3530"/>
            <c:invertIfNegative val="1"/>
            <c:bubble3D val="0"/>
            <c:spPr>
              <a:solidFill>
                <a:srgbClr val="AEABAB"/>
              </a:solidFill>
            </c:spPr>
            <c:extLst>
              <c:ext xmlns:c16="http://schemas.microsoft.com/office/drawing/2014/chart" uri="{C3380CC4-5D6E-409C-BE32-E72D297353CC}">
                <c16:uniqueId val="{00001B97-61F5-407B-959D-D24239F5BB85}"/>
              </c:ext>
            </c:extLst>
          </c:dPt>
          <c:dPt>
            <c:idx val="3531"/>
            <c:invertIfNegative val="1"/>
            <c:bubble3D val="0"/>
            <c:spPr>
              <a:solidFill>
                <a:srgbClr val="AEABAB"/>
              </a:solidFill>
            </c:spPr>
            <c:extLst>
              <c:ext xmlns:c16="http://schemas.microsoft.com/office/drawing/2014/chart" uri="{C3380CC4-5D6E-409C-BE32-E72D297353CC}">
                <c16:uniqueId val="{00001B99-61F5-407B-959D-D24239F5BB85}"/>
              </c:ext>
            </c:extLst>
          </c:dPt>
          <c:dPt>
            <c:idx val="3532"/>
            <c:invertIfNegative val="1"/>
            <c:bubble3D val="0"/>
            <c:spPr>
              <a:solidFill>
                <a:srgbClr val="AEABAB"/>
              </a:solidFill>
            </c:spPr>
            <c:extLst>
              <c:ext xmlns:c16="http://schemas.microsoft.com/office/drawing/2014/chart" uri="{C3380CC4-5D6E-409C-BE32-E72D297353CC}">
                <c16:uniqueId val="{00001B9B-61F5-407B-959D-D24239F5BB85}"/>
              </c:ext>
            </c:extLst>
          </c:dPt>
          <c:dPt>
            <c:idx val="3533"/>
            <c:invertIfNegative val="1"/>
            <c:bubble3D val="0"/>
            <c:spPr>
              <a:solidFill>
                <a:srgbClr val="AEABAB"/>
              </a:solidFill>
            </c:spPr>
            <c:extLst>
              <c:ext xmlns:c16="http://schemas.microsoft.com/office/drawing/2014/chart" uri="{C3380CC4-5D6E-409C-BE32-E72D297353CC}">
                <c16:uniqueId val="{00001B9D-61F5-407B-959D-D24239F5BB85}"/>
              </c:ext>
            </c:extLst>
          </c:dPt>
          <c:dPt>
            <c:idx val="3534"/>
            <c:invertIfNegative val="1"/>
            <c:bubble3D val="0"/>
            <c:spPr>
              <a:solidFill>
                <a:srgbClr val="AEABAB"/>
              </a:solidFill>
            </c:spPr>
            <c:extLst>
              <c:ext xmlns:c16="http://schemas.microsoft.com/office/drawing/2014/chart" uri="{C3380CC4-5D6E-409C-BE32-E72D297353CC}">
                <c16:uniqueId val="{00001B9F-61F5-407B-959D-D24239F5BB85}"/>
              </c:ext>
            </c:extLst>
          </c:dPt>
          <c:dPt>
            <c:idx val="3535"/>
            <c:invertIfNegative val="1"/>
            <c:bubble3D val="0"/>
            <c:spPr>
              <a:solidFill>
                <a:srgbClr val="AEABAB"/>
              </a:solidFill>
            </c:spPr>
            <c:extLst>
              <c:ext xmlns:c16="http://schemas.microsoft.com/office/drawing/2014/chart" uri="{C3380CC4-5D6E-409C-BE32-E72D297353CC}">
                <c16:uniqueId val="{00001BA1-61F5-407B-959D-D24239F5BB85}"/>
              </c:ext>
            </c:extLst>
          </c:dPt>
          <c:dPt>
            <c:idx val="3536"/>
            <c:invertIfNegative val="1"/>
            <c:bubble3D val="0"/>
            <c:spPr>
              <a:solidFill>
                <a:srgbClr val="AEABAB"/>
              </a:solidFill>
            </c:spPr>
            <c:extLst>
              <c:ext xmlns:c16="http://schemas.microsoft.com/office/drawing/2014/chart" uri="{C3380CC4-5D6E-409C-BE32-E72D297353CC}">
                <c16:uniqueId val="{00001BA3-61F5-407B-959D-D24239F5BB85}"/>
              </c:ext>
            </c:extLst>
          </c:dPt>
          <c:dPt>
            <c:idx val="3537"/>
            <c:invertIfNegative val="1"/>
            <c:bubble3D val="0"/>
            <c:spPr>
              <a:solidFill>
                <a:srgbClr val="AEABAB"/>
              </a:solidFill>
            </c:spPr>
            <c:extLst>
              <c:ext xmlns:c16="http://schemas.microsoft.com/office/drawing/2014/chart" uri="{C3380CC4-5D6E-409C-BE32-E72D297353CC}">
                <c16:uniqueId val="{00001BA5-61F5-407B-959D-D24239F5BB85}"/>
              </c:ext>
            </c:extLst>
          </c:dPt>
          <c:dPt>
            <c:idx val="3538"/>
            <c:invertIfNegative val="1"/>
            <c:bubble3D val="0"/>
            <c:spPr>
              <a:solidFill>
                <a:srgbClr val="AEABAB"/>
              </a:solidFill>
            </c:spPr>
            <c:extLst>
              <c:ext xmlns:c16="http://schemas.microsoft.com/office/drawing/2014/chart" uri="{C3380CC4-5D6E-409C-BE32-E72D297353CC}">
                <c16:uniqueId val="{00001BA7-61F5-407B-959D-D24239F5BB85}"/>
              </c:ext>
            </c:extLst>
          </c:dPt>
          <c:dPt>
            <c:idx val="3539"/>
            <c:invertIfNegative val="1"/>
            <c:bubble3D val="0"/>
            <c:spPr>
              <a:solidFill>
                <a:srgbClr val="AEABAB"/>
              </a:solidFill>
            </c:spPr>
            <c:extLst>
              <c:ext xmlns:c16="http://schemas.microsoft.com/office/drawing/2014/chart" uri="{C3380CC4-5D6E-409C-BE32-E72D297353CC}">
                <c16:uniqueId val="{00001BA9-61F5-407B-959D-D24239F5BB85}"/>
              </c:ext>
            </c:extLst>
          </c:dPt>
          <c:dPt>
            <c:idx val="3540"/>
            <c:invertIfNegative val="1"/>
            <c:bubble3D val="0"/>
            <c:spPr>
              <a:solidFill>
                <a:srgbClr val="AEABAB"/>
              </a:solidFill>
            </c:spPr>
            <c:extLst>
              <c:ext xmlns:c16="http://schemas.microsoft.com/office/drawing/2014/chart" uri="{C3380CC4-5D6E-409C-BE32-E72D297353CC}">
                <c16:uniqueId val="{00001BAB-61F5-407B-959D-D24239F5BB85}"/>
              </c:ext>
            </c:extLst>
          </c:dPt>
          <c:dPt>
            <c:idx val="3541"/>
            <c:invertIfNegative val="1"/>
            <c:bubble3D val="0"/>
            <c:spPr>
              <a:solidFill>
                <a:srgbClr val="AEABAB"/>
              </a:solidFill>
            </c:spPr>
            <c:extLst>
              <c:ext xmlns:c16="http://schemas.microsoft.com/office/drawing/2014/chart" uri="{C3380CC4-5D6E-409C-BE32-E72D297353CC}">
                <c16:uniqueId val="{00001BAD-61F5-407B-959D-D24239F5BB85}"/>
              </c:ext>
            </c:extLst>
          </c:dPt>
          <c:dPt>
            <c:idx val="3542"/>
            <c:invertIfNegative val="1"/>
            <c:bubble3D val="0"/>
            <c:spPr>
              <a:solidFill>
                <a:srgbClr val="AEABAB"/>
              </a:solidFill>
            </c:spPr>
            <c:extLst>
              <c:ext xmlns:c16="http://schemas.microsoft.com/office/drawing/2014/chart" uri="{C3380CC4-5D6E-409C-BE32-E72D297353CC}">
                <c16:uniqueId val="{00001BAF-61F5-407B-959D-D24239F5BB85}"/>
              </c:ext>
            </c:extLst>
          </c:dPt>
          <c:dPt>
            <c:idx val="3543"/>
            <c:invertIfNegative val="1"/>
            <c:bubble3D val="0"/>
            <c:spPr>
              <a:solidFill>
                <a:srgbClr val="AEABAB"/>
              </a:solidFill>
            </c:spPr>
            <c:extLst>
              <c:ext xmlns:c16="http://schemas.microsoft.com/office/drawing/2014/chart" uri="{C3380CC4-5D6E-409C-BE32-E72D297353CC}">
                <c16:uniqueId val="{00001BB1-61F5-407B-959D-D24239F5BB85}"/>
              </c:ext>
            </c:extLst>
          </c:dPt>
          <c:dPt>
            <c:idx val="3544"/>
            <c:invertIfNegative val="1"/>
            <c:bubble3D val="0"/>
            <c:spPr>
              <a:solidFill>
                <a:srgbClr val="AEABAB"/>
              </a:solidFill>
            </c:spPr>
            <c:extLst>
              <c:ext xmlns:c16="http://schemas.microsoft.com/office/drawing/2014/chart" uri="{C3380CC4-5D6E-409C-BE32-E72D297353CC}">
                <c16:uniqueId val="{00001BB3-61F5-407B-959D-D24239F5BB85}"/>
              </c:ext>
            </c:extLst>
          </c:dPt>
          <c:dPt>
            <c:idx val="3545"/>
            <c:invertIfNegative val="1"/>
            <c:bubble3D val="0"/>
            <c:spPr>
              <a:solidFill>
                <a:srgbClr val="AEABAB"/>
              </a:solidFill>
            </c:spPr>
            <c:extLst>
              <c:ext xmlns:c16="http://schemas.microsoft.com/office/drawing/2014/chart" uri="{C3380CC4-5D6E-409C-BE32-E72D297353CC}">
                <c16:uniqueId val="{00001BB5-61F5-407B-959D-D24239F5BB85}"/>
              </c:ext>
            </c:extLst>
          </c:dPt>
          <c:cat>
            <c:strRef>
              <c:f>Sheet1!$A$2:$A$3547</c:f>
              <c:strCache>
                <c:ptCount val="3546"/>
                <c:pt idx="0">
                  <c:v>Private Lab</c:v>
                </c:pt>
                <c:pt idx="1">
                  <c:v>Caprice Des</c:v>
                </c:pt>
                <c:pt idx="2">
                  <c:v>Private Lab</c:v>
                </c:pt>
                <c:pt idx="3">
                  <c:v>Private Lab</c:v>
                </c:pt>
                <c:pt idx="4">
                  <c:v>Private Lab</c:v>
                </c:pt>
                <c:pt idx="5">
                  <c:v>La Vache Qu</c:v>
                </c:pt>
                <c:pt idx="6">
                  <c:v>Coeur De Li</c:v>
                </c:pt>
                <c:pt idx="7">
                  <c:v>Private Lab</c:v>
                </c:pt>
                <c:pt idx="8">
                  <c:v>Private Lab</c:v>
                </c:pt>
                <c:pt idx="9">
                  <c:v>Private Lab</c:v>
                </c:pt>
                <c:pt idx="10">
                  <c:v>Caprice Des</c:v>
                </c:pt>
                <c:pt idx="11">
                  <c:v>Soignon</c:v>
                </c:pt>
                <c:pt idx="12">
                  <c:v>President</c:v>
                </c:pt>
                <c:pt idx="13">
                  <c:v>Private Lab</c:v>
                </c:pt>
                <c:pt idx="14">
                  <c:v>Private Lab</c:v>
                </c:pt>
                <c:pt idx="15">
                  <c:v>Mini Babybe</c:v>
                </c:pt>
                <c:pt idx="16">
                  <c:v>Private Lab</c:v>
                </c:pt>
                <c:pt idx="17">
                  <c:v>Private Lab</c:v>
                </c:pt>
                <c:pt idx="18">
                  <c:v>Le Rustique</c:v>
                </c:pt>
                <c:pt idx="19">
                  <c:v>Coeur De Li</c:v>
                </c:pt>
                <c:pt idx="20">
                  <c:v>Galbani</c:v>
                </c:pt>
                <c:pt idx="21">
                  <c:v>Mini Babybe</c:v>
                </c:pt>
                <c:pt idx="22">
                  <c:v>Soignon</c:v>
                </c:pt>
                <c:pt idx="23">
                  <c:v>St Moret</c:v>
                </c:pt>
                <c:pt idx="24">
                  <c:v>La Vache Qu</c:v>
                </c:pt>
                <c:pt idx="25">
                  <c:v>La Vache Qu</c:v>
                </c:pt>
                <c:pt idx="26">
                  <c:v>Private Lab</c:v>
                </c:pt>
                <c:pt idx="27">
                  <c:v>Kiri</c:v>
                </c:pt>
                <c:pt idx="28">
                  <c:v>Private Lab</c:v>
                </c:pt>
                <c:pt idx="29">
                  <c:v>Private Lab</c:v>
                </c:pt>
                <c:pt idx="30">
                  <c:v>President</c:v>
                </c:pt>
                <c:pt idx="31">
                  <c:v>Tartare</c:v>
                </c:pt>
                <c:pt idx="32">
                  <c:v>Salakis</c:v>
                </c:pt>
                <c:pt idx="33">
                  <c:v>St Moret</c:v>
                </c:pt>
                <c:pt idx="34">
                  <c:v>President</c:v>
                </c:pt>
                <c:pt idx="35">
                  <c:v>Paysan Bret</c:v>
                </c:pt>
                <c:pt idx="36">
                  <c:v>President</c:v>
                </c:pt>
                <c:pt idx="37">
                  <c:v>Kiri</c:v>
                </c:pt>
                <c:pt idx="38">
                  <c:v>St Moret</c:v>
                </c:pt>
                <c:pt idx="39">
                  <c:v>All Others</c:v>
                </c:pt>
                <c:pt idx="40">
                  <c:v>Private Lab</c:v>
                </c:pt>
                <c:pt idx="41">
                  <c:v>Soignon</c:v>
                </c:pt>
                <c:pt idx="42">
                  <c:v>Apericube</c:v>
                </c:pt>
                <c:pt idx="43">
                  <c:v>Private Lab</c:v>
                </c:pt>
                <c:pt idx="44">
                  <c:v>Private Lab</c:v>
                </c:pt>
                <c:pt idx="45">
                  <c:v>Ficello</c:v>
                </c:pt>
                <c:pt idx="46">
                  <c:v>Richesmonts</c:v>
                </c:pt>
                <c:pt idx="47">
                  <c:v>Private Lab</c:v>
                </c:pt>
                <c:pt idx="48">
                  <c:v>Private Lab</c:v>
                </c:pt>
                <c:pt idx="49">
                  <c:v>Chaussee Au</c:v>
                </c:pt>
                <c:pt idx="50">
                  <c:v>Philadelphi</c:v>
                </c:pt>
                <c:pt idx="51">
                  <c:v>President</c:v>
                </c:pt>
                <c:pt idx="52">
                  <c:v>Private Lab</c:v>
                </c:pt>
                <c:pt idx="53">
                  <c:v>Kiri</c:v>
                </c:pt>
                <c:pt idx="54">
                  <c:v>Carre Frais</c:v>
                </c:pt>
                <c:pt idx="55">
                  <c:v>Apericube</c:v>
                </c:pt>
                <c:pt idx="56">
                  <c:v>Carre Frais</c:v>
                </c:pt>
                <c:pt idx="57">
                  <c:v>Paysan Bret</c:v>
                </c:pt>
                <c:pt idx="58">
                  <c:v>Boursin</c:v>
                </c:pt>
                <c:pt idx="59">
                  <c:v>Petit Billy</c:v>
                </c:pt>
                <c:pt idx="60">
                  <c:v>Boursin</c:v>
                </c:pt>
                <c:pt idx="61">
                  <c:v>Private Lab</c:v>
                </c:pt>
                <c:pt idx="62">
                  <c:v>Islos</c:v>
                </c:pt>
                <c:pt idx="63">
                  <c:v>Kiri</c:v>
                </c:pt>
                <c:pt idx="64">
                  <c:v>Private Lab</c:v>
                </c:pt>
                <c:pt idx="65">
                  <c:v>Private Lab</c:v>
                </c:pt>
                <c:pt idx="66">
                  <c:v>Private Lab</c:v>
                </c:pt>
                <c:pt idx="67">
                  <c:v>Lepetit</c:v>
                </c:pt>
                <c:pt idx="68">
                  <c:v>President</c:v>
                </c:pt>
                <c:pt idx="69">
                  <c:v>Private Lab</c:v>
                </c:pt>
                <c:pt idx="70">
                  <c:v>Ficello</c:v>
                </c:pt>
                <c:pt idx="71">
                  <c:v>Societe</c:v>
                </c:pt>
                <c:pt idx="72">
                  <c:v>Private Lab</c:v>
                </c:pt>
                <c:pt idx="73">
                  <c:v>Apericube</c:v>
                </c:pt>
                <c:pt idx="74">
                  <c:v>Leerdammer</c:v>
                </c:pt>
                <c:pt idx="75">
                  <c:v>Philadelphi</c:v>
                </c:pt>
                <c:pt idx="76">
                  <c:v>Private Lab</c:v>
                </c:pt>
                <c:pt idx="77">
                  <c:v>Istara</c:v>
                </c:pt>
                <c:pt idx="78">
                  <c:v>St Moret</c:v>
                </c:pt>
                <c:pt idx="79">
                  <c:v>Caprice Des</c:v>
                </c:pt>
                <c:pt idx="80">
                  <c:v>Coeur De Li</c:v>
                </c:pt>
                <c:pt idx="81">
                  <c:v>Private Lab</c:v>
                </c:pt>
                <c:pt idx="82">
                  <c:v>Private Lab</c:v>
                </c:pt>
                <c:pt idx="83">
                  <c:v>Entremont</c:v>
                </c:pt>
                <c:pt idx="84">
                  <c:v>Private Lab</c:v>
                </c:pt>
                <c:pt idx="85">
                  <c:v>All Others</c:v>
                </c:pt>
                <c:pt idx="86">
                  <c:v>St Moret</c:v>
                </c:pt>
                <c:pt idx="87">
                  <c:v>Private Lab</c:v>
                </c:pt>
                <c:pt idx="88">
                  <c:v>Private Lab</c:v>
                </c:pt>
                <c:pt idx="89">
                  <c:v>Galbani</c:v>
                </c:pt>
                <c:pt idx="90">
                  <c:v>Entremont</c:v>
                </c:pt>
                <c:pt idx="91">
                  <c:v>Lou Perac</c:v>
                </c:pt>
                <c:pt idx="92">
                  <c:v>Salakis</c:v>
                </c:pt>
                <c:pt idx="93">
                  <c:v>Private Lab</c:v>
                </c:pt>
                <c:pt idx="94">
                  <c:v>Soignon</c:v>
                </c:pt>
                <c:pt idx="95">
                  <c:v>All Others</c:v>
                </c:pt>
                <c:pt idx="96">
                  <c:v>Private Lab</c:v>
                </c:pt>
                <c:pt idx="97">
                  <c:v>Boursin</c:v>
                </c:pt>
                <c:pt idx="98">
                  <c:v>Galbani</c:v>
                </c:pt>
                <c:pt idx="99">
                  <c:v>President</c:v>
                </c:pt>
                <c:pt idx="100">
                  <c:v>Casa Azzurr</c:v>
                </c:pt>
                <c:pt idx="101">
                  <c:v>Private Lab</c:v>
                </c:pt>
                <c:pt idx="102">
                  <c:v>Private Lab</c:v>
                </c:pt>
                <c:pt idx="103">
                  <c:v>Tartare</c:v>
                </c:pt>
                <c:pt idx="104">
                  <c:v>Juraflore</c:v>
                </c:pt>
                <c:pt idx="105">
                  <c:v>Private Lab</c:v>
                </c:pt>
                <c:pt idx="106">
                  <c:v>All Others</c:v>
                </c:pt>
                <c:pt idx="107">
                  <c:v>Private Lab</c:v>
                </c:pt>
                <c:pt idx="108">
                  <c:v>Soignon</c:v>
                </c:pt>
                <c:pt idx="109">
                  <c:v>Private Lab</c:v>
                </c:pt>
                <c:pt idx="110">
                  <c:v>Private Lab</c:v>
                </c:pt>
                <c:pt idx="111">
                  <c:v>Tartare</c:v>
                </c:pt>
                <c:pt idx="112">
                  <c:v>President</c:v>
                </c:pt>
                <c:pt idx="113">
                  <c:v>Private Lab</c:v>
                </c:pt>
                <c:pt idx="114">
                  <c:v>Aperivrais</c:v>
                </c:pt>
                <c:pt idx="115">
                  <c:v>Saint Agur</c:v>
                </c:pt>
                <c:pt idx="116">
                  <c:v>Le Brebiou</c:v>
                </c:pt>
                <c:pt idx="117">
                  <c:v>Private Lab</c:v>
                </c:pt>
                <c:pt idx="118">
                  <c:v>Private Lab</c:v>
                </c:pt>
                <c:pt idx="119">
                  <c:v>President</c:v>
                </c:pt>
                <c:pt idx="120">
                  <c:v>Boursin</c:v>
                </c:pt>
                <c:pt idx="121">
                  <c:v>Private Lab</c:v>
                </c:pt>
                <c:pt idx="122">
                  <c:v>Private Lab</c:v>
                </c:pt>
                <c:pt idx="123">
                  <c:v>Coeur De Li</c:v>
                </c:pt>
                <c:pt idx="124">
                  <c:v>Etorki</c:v>
                </c:pt>
                <c:pt idx="125">
                  <c:v>President</c:v>
                </c:pt>
                <c:pt idx="126">
                  <c:v>Casa Azzurr</c:v>
                </c:pt>
                <c:pt idx="127">
                  <c:v>President</c:v>
                </c:pt>
                <c:pt idx="128">
                  <c:v>St Moret</c:v>
                </c:pt>
                <c:pt idx="129">
                  <c:v>St Moret</c:v>
                </c:pt>
                <c:pt idx="130">
                  <c:v>Galbani</c:v>
                </c:pt>
                <c:pt idx="131">
                  <c:v>Boursin</c:v>
                </c:pt>
                <c:pt idx="132">
                  <c:v>Entremont</c:v>
                </c:pt>
                <c:pt idx="133">
                  <c:v>President</c:v>
                </c:pt>
                <c:pt idx="134">
                  <c:v>Richesmonts</c:v>
                </c:pt>
                <c:pt idx="135">
                  <c:v>All Others</c:v>
                </c:pt>
                <c:pt idx="136">
                  <c:v>President</c:v>
                </c:pt>
                <c:pt idx="137">
                  <c:v>Richesmonts</c:v>
                </c:pt>
                <c:pt idx="138">
                  <c:v>Entremont</c:v>
                </c:pt>
                <c:pt idx="139">
                  <c:v>Paysan Bret</c:v>
                </c:pt>
                <c:pt idx="140">
                  <c:v>St Moret</c:v>
                </c:pt>
                <c:pt idx="141">
                  <c:v>Private Lab</c:v>
                </c:pt>
                <c:pt idx="142">
                  <c:v>Private Lab</c:v>
                </c:pt>
                <c:pt idx="143">
                  <c:v>Aperivrais</c:v>
                </c:pt>
                <c:pt idx="144">
                  <c:v>Casa Azzurr</c:v>
                </c:pt>
                <c:pt idx="145">
                  <c:v>Chavroux</c:v>
                </c:pt>
                <c:pt idx="146">
                  <c:v>Private Lab</c:v>
                </c:pt>
                <c:pt idx="147">
                  <c:v>Kiri</c:v>
                </c:pt>
                <c:pt idx="148">
                  <c:v>Paysan Bret</c:v>
                </c:pt>
                <c:pt idx="149">
                  <c:v>L'Ortolan</c:v>
                </c:pt>
                <c:pt idx="150">
                  <c:v>All Others</c:v>
                </c:pt>
                <c:pt idx="151">
                  <c:v>Chaussee Au</c:v>
                </c:pt>
                <c:pt idx="152">
                  <c:v>Private Lab</c:v>
                </c:pt>
                <c:pt idx="153">
                  <c:v>Pochat</c:v>
                </c:pt>
                <c:pt idx="154">
                  <c:v>Apericube</c:v>
                </c:pt>
                <c:pt idx="155">
                  <c:v>La Vache Qu</c:v>
                </c:pt>
                <c:pt idx="156">
                  <c:v>Casa Azzurr</c:v>
                </c:pt>
                <c:pt idx="157">
                  <c:v>All Others</c:v>
                </c:pt>
                <c:pt idx="158">
                  <c:v>Saint Albra</c:v>
                </c:pt>
                <c:pt idx="159">
                  <c:v>Private Lab</c:v>
                </c:pt>
                <c:pt idx="160">
                  <c:v>Entremont</c:v>
                </c:pt>
                <c:pt idx="161">
                  <c:v>Private Lab</c:v>
                </c:pt>
                <c:pt idx="162">
                  <c:v>St Moret</c:v>
                </c:pt>
                <c:pt idx="163">
                  <c:v>Mini Babybe</c:v>
                </c:pt>
                <c:pt idx="164">
                  <c:v>President</c:v>
                </c:pt>
                <c:pt idx="165">
                  <c:v>Apericube</c:v>
                </c:pt>
                <c:pt idx="166">
                  <c:v>Private Lab</c:v>
                </c:pt>
                <c:pt idx="167">
                  <c:v>Private Lab</c:v>
                </c:pt>
                <c:pt idx="168">
                  <c:v>President</c:v>
                </c:pt>
                <c:pt idx="169">
                  <c:v>Soignon</c:v>
                </c:pt>
                <c:pt idx="170">
                  <c:v>Private Lab</c:v>
                </c:pt>
                <c:pt idx="171">
                  <c:v>Private Lab</c:v>
                </c:pt>
                <c:pt idx="172">
                  <c:v>President</c:v>
                </c:pt>
                <c:pt idx="173">
                  <c:v>Private Lab</c:v>
                </c:pt>
                <c:pt idx="174">
                  <c:v>Apericube</c:v>
                </c:pt>
                <c:pt idx="175">
                  <c:v>La Vache Qu</c:v>
                </c:pt>
                <c:pt idx="176">
                  <c:v>Private Lab</c:v>
                </c:pt>
                <c:pt idx="177">
                  <c:v>Le Rustique</c:v>
                </c:pt>
                <c:pt idx="178">
                  <c:v>Entremont</c:v>
                </c:pt>
                <c:pt idx="179">
                  <c:v>Private Lab</c:v>
                </c:pt>
                <c:pt idx="180">
                  <c:v>Mini Babybe</c:v>
                </c:pt>
                <c:pt idx="181">
                  <c:v>Istara</c:v>
                </c:pt>
                <c:pt idx="182">
                  <c:v>Private Lab</c:v>
                </c:pt>
                <c:pt idx="183">
                  <c:v>Private Lab</c:v>
                </c:pt>
                <c:pt idx="184">
                  <c:v>Private Lab</c:v>
                </c:pt>
                <c:pt idx="185">
                  <c:v>President</c:v>
                </c:pt>
                <c:pt idx="186">
                  <c:v>Salakis</c:v>
                </c:pt>
                <c:pt idx="187">
                  <c:v>Private Lab</c:v>
                </c:pt>
                <c:pt idx="188">
                  <c:v>Casa Azzurr</c:v>
                </c:pt>
                <c:pt idx="189">
                  <c:v>Private Lab</c:v>
                </c:pt>
                <c:pt idx="190">
                  <c:v>Private Lab</c:v>
                </c:pt>
                <c:pt idx="191">
                  <c:v>Private Lab</c:v>
                </c:pt>
                <c:pt idx="192">
                  <c:v>Private Lab</c:v>
                </c:pt>
                <c:pt idx="193">
                  <c:v>Leerdammer</c:v>
                </c:pt>
                <c:pt idx="194">
                  <c:v>Richesmonts</c:v>
                </c:pt>
                <c:pt idx="195">
                  <c:v>La Vache Qu</c:v>
                </c:pt>
                <c:pt idx="196">
                  <c:v>Coeur De Li</c:v>
                </c:pt>
                <c:pt idx="197">
                  <c:v>Richesmonts</c:v>
                </c:pt>
                <c:pt idx="198">
                  <c:v>Casa Azzurr</c:v>
                </c:pt>
                <c:pt idx="199">
                  <c:v>Lactalis: A</c:v>
                </c:pt>
                <c:pt idx="200">
                  <c:v>President</c:v>
                </c:pt>
                <c:pt idx="201">
                  <c:v>Leerdammer</c:v>
                </c:pt>
                <c:pt idx="202">
                  <c:v>Lactalis: A</c:v>
                </c:pt>
                <c:pt idx="203">
                  <c:v>Private Lab</c:v>
                </c:pt>
                <c:pt idx="204">
                  <c:v>Private Lab</c:v>
                </c:pt>
                <c:pt idx="205">
                  <c:v>Casa Azzurr</c:v>
                </c:pt>
                <c:pt idx="206">
                  <c:v>All Others</c:v>
                </c:pt>
                <c:pt idx="207">
                  <c:v>Caprice Des</c:v>
                </c:pt>
                <c:pt idx="208">
                  <c:v>Leerdammer</c:v>
                </c:pt>
                <c:pt idx="209">
                  <c:v>Private Lab</c:v>
                </c:pt>
                <c:pt idx="210">
                  <c:v>Saint Agur</c:v>
                </c:pt>
                <c:pt idx="211">
                  <c:v>Private Lab</c:v>
                </c:pt>
                <c:pt idx="212">
                  <c:v>All Others</c:v>
                </c:pt>
                <c:pt idx="213">
                  <c:v>Casa Azzurr</c:v>
                </c:pt>
                <c:pt idx="214">
                  <c:v>Lactalis: A</c:v>
                </c:pt>
                <c:pt idx="215">
                  <c:v>Private Lab</c:v>
                </c:pt>
                <c:pt idx="216">
                  <c:v>Bresse Bleu</c:v>
                </c:pt>
                <c:pt idx="217">
                  <c:v>Private Lab</c:v>
                </c:pt>
                <c:pt idx="218">
                  <c:v>Private Lab</c:v>
                </c:pt>
                <c:pt idx="219">
                  <c:v>Soignon</c:v>
                </c:pt>
                <c:pt idx="220">
                  <c:v>President</c:v>
                </c:pt>
                <c:pt idx="221">
                  <c:v>Private Lab</c:v>
                </c:pt>
                <c:pt idx="222">
                  <c:v>Kiri</c:v>
                </c:pt>
                <c:pt idx="223">
                  <c:v>Le Rustique</c:v>
                </c:pt>
                <c:pt idx="224">
                  <c:v>Salakis</c:v>
                </c:pt>
                <c:pt idx="225">
                  <c:v>Richesmonts</c:v>
                </c:pt>
                <c:pt idx="226">
                  <c:v>All Others</c:v>
                </c:pt>
                <c:pt idx="227">
                  <c:v>Lou Perac</c:v>
                </c:pt>
                <c:pt idx="228">
                  <c:v>Casa Azzurr</c:v>
                </c:pt>
                <c:pt idx="229">
                  <c:v>Private Lab</c:v>
                </c:pt>
                <c:pt idx="230">
                  <c:v>All Others</c:v>
                </c:pt>
                <c:pt idx="231">
                  <c:v>Leerdammer</c:v>
                </c:pt>
                <c:pt idx="232">
                  <c:v>Entremont</c:v>
                </c:pt>
                <c:pt idx="233">
                  <c:v>Private Lab</c:v>
                </c:pt>
                <c:pt idx="234">
                  <c:v>Tartare</c:v>
                </c:pt>
                <c:pt idx="235">
                  <c:v>Private Lab</c:v>
                </c:pt>
                <c:pt idx="236">
                  <c:v>Private Lab</c:v>
                </c:pt>
                <c:pt idx="237">
                  <c:v>Apericube</c:v>
                </c:pt>
                <c:pt idx="238">
                  <c:v>Parmareggio</c:v>
                </c:pt>
                <c:pt idx="239">
                  <c:v>Entremont</c:v>
                </c:pt>
                <c:pt idx="240">
                  <c:v>Leerdammer</c:v>
                </c:pt>
                <c:pt idx="241">
                  <c:v>Private Lab</c:v>
                </c:pt>
                <c:pt idx="242">
                  <c:v>Private Lab</c:v>
                </c:pt>
                <c:pt idx="243">
                  <c:v>Le Rustique</c:v>
                </c:pt>
                <c:pt idx="244">
                  <c:v>Private Lab</c:v>
                </c:pt>
                <c:pt idx="245">
                  <c:v>President</c:v>
                </c:pt>
                <c:pt idx="246">
                  <c:v>Saint Agur</c:v>
                </c:pt>
                <c:pt idx="247">
                  <c:v>Entremont</c:v>
                </c:pt>
                <c:pt idx="248">
                  <c:v>Babybel</c:v>
                </c:pt>
                <c:pt idx="249">
                  <c:v>President</c:v>
                </c:pt>
                <c:pt idx="250">
                  <c:v>Paysan Bret</c:v>
                </c:pt>
                <c:pt idx="251">
                  <c:v>P'Tit Louis</c:v>
                </c:pt>
                <c:pt idx="252">
                  <c:v>All Others</c:v>
                </c:pt>
                <c:pt idx="253">
                  <c:v>Galbani</c:v>
                </c:pt>
                <c:pt idx="254">
                  <c:v>Private Lab</c:v>
                </c:pt>
                <c:pt idx="255">
                  <c:v>Entremont</c:v>
                </c:pt>
                <c:pt idx="256">
                  <c:v>Carre Frais</c:v>
                </c:pt>
                <c:pt idx="257">
                  <c:v>Philadelphi</c:v>
                </c:pt>
                <c:pt idx="258">
                  <c:v>Boursin</c:v>
                </c:pt>
                <c:pt idx="259">
                  <c:v>Private Lab</c:v>
                </c:pt>
                <c:pt idx="260">
                  <c:v>Mini Babybe</c:v>
                </c:pt>
                <c:pt idx="261">
                  <c:v>Private Lab</c:v>
                </c:pt>
                <c:pt idx="262">
                  <c:v>Private Lab</c:v>
                </c:pt>
                <c:pt idx="263">
                  <c:v>Richesmonts</c:v>
                </c:pt>
                <c:pt idx="264">
                  <c:v>Private Lab</c:v>
                </c:pt>
                <c:pt idx="265">
                  <c:v>Chavroux</c:v>
                </c:pt>
                <c:pt idx="266">
                  <c:v>Private Lab</c:v>
                </c:pt>
                <c:pt idx="267">
                  <c:v>Private Lab</c:v>
                </c:pt>
                <c:pt idx="268">
                  <c:v>Paysan Bret</c:v>
                </c:pt>
                <c:pt idx="269">
                  <c:v>Boursin</c:v>
                </c:pt>
                <c:pt idx="270">
                  <c:v>All Others</c:v>
                </c:pt>
                <c:pt idx="271">
                  <c:v>Soignon</c:v>
                </c:pt>
                <c:pt idx="272">
                  <c:v>Rondele</c:v>
                </c:pt>
                <c:pt idx="273">
                  <c:v>Private Lab</c:v>
                </c:pt>
                <c:pt idx="274">
                  <c:v>Private Lab</c:v>
                </c:pt>
                <c:pt idx="275">
                  <c:v>Saint Agur</c:v>
                </c:pt>
                <c:pt idx="276">
                  <c:v>Galbani</c:v>
                </c:pt>
                <c:pt idx="277">
                  <c:v>Entremont</c:v>
                </c:pt>
                <c:pt idx="278">
                  <c:v>Private Lab</c:v>
                </c:pt>
                <c:pt idx="279">
                  <c:v>Fol Epi</c:v>
                </c:pt>
                <c:pt idx="280">
                  <c:v>Private Lab</c:v>
                </c:pt>
                <c:pt idx="281">
                  <c:v>All Others</c:v>
                </c:pt>
                <c:pt idx="282">
                  <c:v>All Others</c:v>
                </c:pt>
                <c:pt idx="283">
                  <c:v>Private Lab</c:v>
                </c:pt>
                <c:pt idx="284">
                  <c:v>Private Lab</c:v>
                </c:pt>
                <c:pt idx="285">
                  <c:v>Port Salut</c:v>
                </c:pt>
                <c:pt idx="286">
                  <c:v>Private Lab</c:v>
                </c:pt>
                <c:pt idx="287">
                  <c:v>Private Lab</c:v>
                </c:pt>
                <c:pt idx="288">
                  <c:v>All Others</c:v>
                </c:pt>
                <c:pt idx="289">
                  <c:v>Societe</c:v>
                </c:pt>
                <c:pt idx="290">
                  <c:v>All Others</c:v>
                </c:pt>
                <c:pt idx="291">
                  <c:v>Salakis</c:v>
                </c:pt>
                <c:pt idx="292">
                  <c:v>Private Lab</c:v>
                </c:pt>
                <c:pt idx="293">
                  <c:v>Apericube</c:v>
                </c:pt>
                <c:pt idx="294">
                  <c:v>All Others</c:v>
                </c:pt>
                <c:pt idx="295">
                  <c:v>Savencia: A</c:v>
                </c:pt>
                <c:pt idx="296">
                  <c:v>Soignon</c:v>
                </c:pt>
                <c:pt idx="297">
                  <c:v>Private Lab</c:v>
                </c:pt>
                <c:pt idx="298">
                  <c:v>Apericube</c:v>
                </c:pt>
                <c:pt idx="299">
                  <c:v>Pochat</c:v>
                </c:pt>
                <c:pt idx="300">
                  <c:v>Private Lab</c:v>
                </c:pt>
                <c:pt idx="301">
                  <c:v>Lactalis: A</c:v>
                </c:pt>
                <c:pt idx="302">
                  <c:v>All Others</c:v>
                </c:pt>
                <c:pt idx="303">
                  <c:v>Apericube</c:v>
                </c:pt>
                <c:pt idx="304">
                  <c:v>Mini Babybe</c:v>
                </c:pt>
                <c:pt idx="305">
                  <c:v>L'Ortolan</c:v>
                </c:pt>
                <c:pt idx="306">
                  <c:v>Soignon</c:v>
                </c:pt>
                <c:pt idx="307">
                  <c:v>Private Lab</c:v>
                </c:pt>
                <c:pt idx="308">
                  <c:v>Savencia: A</c:v>
                </c:pt>
                <c:pt idx="309">
                  <c:v>All Others</c:v>
                </c:pt>
                <c:pt idx="310">
                  <c:v>Richesmonts</c:v>
                </c:pt>
                <c:pt idx="311">
                  <c:v>President</c:v>
                </c:pt>
                <c:pt idx="312">
                  <c:v>All Others</c:v>
                </c:pt>
                <c:pt idx="313">
                  <c:v>La Vache Qu</c:v>
                </c:pt>
                <c:pt idx="314">
                  <c:v>Salakis</c:v>
                </c:pt>
                <c:pt idx="315">
                  <c:v>All Others</c:v>
                </c:pt>
                <c:pt idx="316">
                  <c:v>All Others</c:v>
                </c:pt>
                <c:pt idx="317">
                  <c:v>All Others</c:v>
                </c:pt>
                <c:pt idx="318">
                  <c:v>Soignon</c:v>
                </c:pt>
                <c:pt idx="319">
                  <c:v>Galbani</c:v>
                </c:pt>
                <c:pt idx="320">
                  <c:v>Bresse Bleu</c:v>
                </c:pt>
                <c:pt idx="321">
                  <c:v>All Others</c:v>
                </c:pt>
                <c:pt idx="322">
                  <c:v>Private Lab</c:v>
                </c:pt>
                <c:pt idx="323">
                  <c:v>Galbani</c:v>
                </c:pt>
                <c:pt idx="324">
                  <c:v>Paysan Bret</c:v>
                </c:pt>
                <c:pt idx="325">
                  <c:v>Richesmonts</c:v>
                </c:pt>
                <c:pt idx="326">
                  <c:v>All Others</c:v>
                </c:pt>
                <c:pt idx="327">
                  <c:v>Private Lab</c:v>
                </c:pt>
                <c:pt idx="328">
                  <c:v>Private Lab</c:v>
                </c:pt>
                <c:pt idx="329">
                  <c:v>All Others</c:v>
                </c:pt>
                <c:pt idx="330">
                  <c:v>Galbani</c:v>
                </c:pt>
                <c:pt idx="331">
                  <c:v>Caprice Des</c:v>
                </c:pt>
                <c:pt idx="332">
                  <c:v>Saint Albra</c:v>
                </c:pt>
                <c:pt idx="333">
                  <c:v>Private Lab</c:v>
                </c:pt>
                <c:pt idx="334">
                  <c:v>Entremont</c:v>
                </c:pt>
                <c:pt idx="335">
                  <c:v>President</c:v>
                </c:pt>
                <c:pt idx="336">
                  <c:v>President</c:v>
                </c:pt>
                <c:pt idx="337">
                  <c:v>President</c:v>
                </c:pt>
                <c:pt idx="338">
                  <c:v>Private Lab</c:v>
                </c:pt>
                <c:pt idx="339">
                  <c:v>All Others</c:v>
                </c:pt>
                <c:pt idx="340">
                  <c:v>Private Lab</c:v>
                </c:pt>
                <c:pt idx="341">
                  <c:v>Laita: All </c:v>
                </c:pt>
                <c:pt idx="342">
                  <c:v>La Vache Qu</c:v>
                </c:pt>
                <c:pt idx="343">
                  <c:v>All Others</c:v>
                </c:pt>
                <c:pt idx="344">
                  <c:v>Private Lab</c:v>
                </c:pt>
                <c:pt idx="345">
                  <c:v>Aperivrais</c:v>
                </c:pt>
                <c:pt idx="346">
                  <c:v>All Others</c:v>
                </c:pt>
                <c:pt idx="347">
                  <c:v>Cousteron</c:v>
                </c:pt>
                <c:pt idx="348">
                  <c:v>Private Lab</c:v>
                </c:pt>
                <c:pt idx="349">
                  <c:v>Kiri</c:v>
                </c:pt>
                <c:pt idx="350">
                  <c:v>All Others</c:v>
                </c:pt>
                <c:pt idx="351">
                  <c:v>Casa Azzurr</c:v>
                </c:pt>
                <c:pt idx="352">
                  <c:v>Private Lab</c:v>
                </c:pt>
                <c:pt idx="353">
                  <c:v>All Others</c:v>
                </c:pt>
                <c:pt idx="354">
                  <c:v>Fauquet</c:v>
                </c:pt>
                <c:pt idx="355">
                  <c:v>All Others</c:v>
                </c:pt>
                <c:pt idx="356">
                  <c:v>Private Lab</c:v>
                </c:pt>
                <c:pt idx="357">
                  <c:v>Entremont</c:v>
                </c:pt>
                <c:pt idx="358">
                  <c:v>All Others</c:v>
                </c:pt>
                <c:pt idx="359">
                  <c:v>President</c:v>
                </c:pt>
                <c:pt idx="360">
                  <c:v>Chavroux</c:v>
                </c:pt>
                <c:pt idx="361">
                  <c:v>President</c:v>
                </c:pt>
                <c:pt idx="362">
                  <c:v>Private Lab</c:v>
                </c:pt>
                <c:pt idx="363">
                  <c:v>Galbani</c:v>
                </c:pt>
                <c:pt idx="364">
                  <c:v>Soignon</c:v>
                </c:pt>
                <c:pt idx="365">
                  <c:v>Boursin</c:v>
                </c:pt>
                <c:pt idx="366">
                  <c:v>Entremont</c:v>
                </c:pt>
                <c:pt idx="367">
                  <c:v>All Others</c:v>
                </c:pt>
                <c:pt idx="368">
                  <c:v>Leerdammer</c:v>
                </c:pt>
                <c:pt idx="369">
                  <c:v>Private Lab</c:v>
                </c:pt>
                <c:pt idx="370">
                  <c:v>All Others</c:v>
                </c:pt>
                <c:pt idx="371">
                  <c:v>Private Lab</c:v>
                </c:pt>
                <c:pt idx="372">
                  <c:v>Casa Azzurr</c:v>
                </c:pt>
                <c:pt idx="373">
                  <c:v>President</c:v>
                </c:pt>
                <c:pt idx="374">
                  <c:v>Apericube</c:v>
                </c:pt>
                <c:pt idx="375">
                  <c:v>All Others</c:v>
                </c:pt>
                <c:pt idx="376">
                  <c:v>All Others</c:v>
                </c:pt>
                <c:pt idx="377">
                  <c:v>Entremont</c:v>
                </c:pt>
                <c:pt idx="378">
                  <c:v>All Others</c:v>
                </c:pt>
                <c:pt idx="379">
                  <c:v>St Moret</c:v>
                </c:pt>
                <c:pt idx="380">
                  <c:v>Private Lab</c:v>
                </c:pt>
                <c:pt idx="381">
                  <c:v>Casa Azzurr</c:v>
                </c:pt>
                <c:pt idx="382">
                  <c:v>Private Lab</c:v>
                </c:pt>
                <c:pt idx="383">
                  <c:v>Private Lab</c:v>
                </c:pt>
                <c:pt idx="384">
                  <c:v>Richesmonts</c:v>
                </c:pt>
                <c:pt idx="385">
                  <c:v>Societe</c:v>
                </c:pt>
                <c:pt idx="386">
                  <c:v>All Others</c:v>
                </c:pt>
                <c:pt idx="387">
                  <c:v>Private Lab</c:v>
                </c:pt>
                <c:pt idx="388">
                  <c:v>Private Lab</c:v>
                </c:pt>
                <c:pt idx="389">
                  <c:v>Societe</c:v>
                </c:pt>
                <c:pt idx="390">
                  <c:v>All Others</c:v>
                </c:pt>
                <c:pt idx="391">
                  <c:v>Private Lab</c:v>
                </c:pt>
                <c:pt idx="392">
                  <c:v>Violife</c:v>
                </c:pt>
                <c:pt idx="393">
                  <c:v>Private Lab</c:v>
                </c:pt>
                <c:pt idx="394">
                  <c:v>All Others</c:v>
                </c:pt>
                <c:pt idx="395">
                  <c:v>Apericube</c:v>
                </c:pt>
                <c:pt idx="396">
                  <c:v>Leerdammer</c:v>
                </c:pt>
                <c:pt idx="397">
                  <c:v>Soignon</c:v>
                </c:pt>
                <c:pt idx="398">
                  <c:v>All Others</c:v>
                </c:pt>
                <c:pt idx="399">
                  <c:v>Private Lab</c:v>
                </c:pt>
                <c:pt idx="400">
                  <c:v>La Pointe P</c:v>
                </c:pt>
                <c:pt idx="401">
                  <c:v>La Pointe P</c:v>
                </c:pt>
                <c:pt idx="402">
                  <c:v>Boursin</c:v>
                </c:pt>
                <c:pt idx="403">
                  <c:v>Soignon</c:v>
                </c:pt>
                <c:pt idx="404">
                  <c:v>All Others</c:v>
                </c:pt>
                <c:pt idx="405">
                  <c:v>Casa Azzurr</c:v>
                </c:pt>
                <c:pt idx="406">
                  <c:v>Private Lab</c:v>
                </c:pt>
                <c:pt idx="407">
                  <c:v>Caprice Des</c:v>
                </c:pt>
                <c:pt idx="408">
                  <c:v>Private Lab</c:v>
                </c:pt>
                <c:pt idx="409">
                  <c:v>Private Lab</c:v>
                </c:pt>
                <c:pt idx="410">
                  <c:v>Pave D'Affi</c:v>
                </c:pt>
                <c:pt idx="411">
                  <c:v>All Others</c:v>
                </c:pt>
                <c:pt idx="412">
                  <c:v>All Others</c:v>
                </c:pt>
                <c:pt idx="413">
                  <c:v>Private Lab</c:v>
                </c:pt>
                <c:pt idx="414">
                  <c:v>Ficello</c:v>
                </c:pt>
                <c:pt idx="415">
                  <c:v>All Others</c:v>
                </c:pt>
                <c:pt idx="416">
                  <c:v>All Others</c:v>
                </c:pt>
                <c:pt idx="417">
                  <c:v>Pave D'Affi</c:v>
                </c:pt>
                <c:pt idx="418">
                  <c:v>Private Lab</c:v>
                </c:pt>
                <c:pt idx="419">
                  <c:v>Casa Azzurr</c:v>
                </c:pt>
                <c:pt idx="420">
                  <c:v>Mini Babybe</c:v>
                </c:pt>
                <c:pt idx="421">
                  <c:v>President</c:v>
                </c:pt>
                <c:pt idx="422">
                  <c:v>Etoile Du V</c:v>
                </c:pt>
                <c:pt idx="423">
                  <c:v>Lou Perac</c:v>
                </c:pt>
                <c:pt idx="424">
                  <c:v>Private Lab</c:v>
                </c:pt>
                <c:pt idx="425">
                  <c:v>Coeur De Li</c:v>
                </c:pt>
                <c:pt idx="426">
                  <c:v>Private Lab</c:v>
                </c:pt>
                <c:pt idx="427">
                  <c:v>Private Lab</c:v>
                </c:pt>
                <c:pt idx="428">
                  <c:v>Lou Perac</c:v>
                </c:pt>
                <c:pt idx="429">
                  <c:v>All Others</c:v>
                </c:pt>
                <c:pt idx="430">
                  <c:v>Private Lab</c:v>
                </c:pt>
                <c:pt idx="431">
                  <c:v>All Others</c:v>
                </c:pt>
                <c:pt idx="432">
                  <c:v>Vieux Pane</c:v>
                </c:pt>
                <c:pt idx="433">
                  <c:v>Apericube</c:v>
                </c:pt>
                <c:pt idx="434">
                  <c:v>All Others</c:v>
                </c:pt>
                <c:pt idx="435">
                  <c:v>Saint Agur</c:v>
                </c:pt>
                <c:pt idx="436">
                  <c:v>Paysan Bret</c:v>
                </c:pt>
                <c:pt idx="437">
                  <c:v>Private Lab</c:v>
                </c:pt>
                <c:pt idx="438">
                  <c:v>P'Tit Louis</c:v>
                </c:pt>
                <c:pt idx="439">
                  <c:v>All Others</c:v>
                </c:pt>
                <c:pt idx="440">
                  <c:v>Galbani</c:v>
                </c:pt>
                <c:pt idx="441">
                  <c:v>Galbani</c:v>
                </c:pt>
                <c:pt idx="442">
                  <c:v>All Others</c:v>
                </c:pt>
                <c:pt idx="443">
                  <c:v>Aperivrais</c:v>
                </c:pt>
                <c:pt idx="444">
                  <c:v>Chaussee Au</c:v>
                </c:pt>
                <c:pt idx="445">
                  <c:v>All Others</c:v>
                </c:pt>
                <c:pt idx="446">
                  <c:v>Private Lab</c:v>
                </c:pt>
                <c:pt idx="447">
                  <c:v>Private Lab</c:v>
                </c:pt>
                <c:pt idx="448">
                  <c:v>La Pointe P</c:v>
                </c:pt>
                <c:pt idx="449">
                  <c:v>All Others</c:v>
                </c:pt>
                <c:pt idx="450">
                  <c:v>Private Lab</c:v>
                </c:pt>
                <c:pt idx="451">
                  <c:v>All Others</c:v>
                </c:pt>
                <c:pt idx="452">
                  <c:v>All Others</c:v>
                </c:pt>
                <c:pt idx="453">
                  <c:v>Kiri</c:v>
                </c:pt>
                <c:pt idx="454">
                  <c:v>All Others</c:v>
                </c:pt>
                <c:pt idx="455">
                  <c:v>Entremont</c:v>
                </c:pt>
                <c:pt idx="456">
                  <c:v>Private Lab</c:v>
                </c:pt>
                <c:pt idx="457">
                  <c:v>Mini Babybe</c:v>
                </c:pt>
                <c:pt idx="458">
                  <c:v>St Moret</c:v>
                </c:pt>
                <c:pt idx="459">
                  <c:v>All Others</c:v>
                </c:pt>
                <c:pt idx="460">
                  <c:v>Tartare</c:v>
                </c:pt>
                <c:pt idx="461">
                  <c:v>All Others</c:v>
                </c:pt>
                <c:pt idx="462">
                  <c:v>Soignon</c:v>
                </c:pt>
                <c:pt idx="463">
                  <c:v>All Others</c:v>
                </c:pt>
                <c:pt idx="464">
                  <c:v>Private Lab</c:v>
                </c:pt>
                <c:pt idx="465">
                  <c:v>Private Lab</c:v>
                </c:pt>
                <c:pt idx="466">
                  <c:v>All Others</c:v>
                </c:pt>
                <c:pt idx="467">
                  <c:v>All Others</c:v>
                </c:pt>
                <c:pt idx="468">
                  <c:v>Private Lab</c:v>
                </c:pt>
                <c:pt idx="469">
                  <c:v>Casa Azzurr</c:v>
                </c:pt>
                <c:pt idx="470">
                  <c:v>La Pointe P</c:v>
                </c:pt>
                <c:pt idx="471">
                  <c:v>Fauquet</c:v>
                </c:pt>
                <c:pt idx="472">
                  <c:v>Juraflore</c:v>
                </c:pt>
                <c:pt idx="473">
                  <c:v>Private Lab</c:v>
                </c:pt>
                <c:pt idx="474">
                  <c:v>All Others</c:v>
                </c:pt>
                <c:pt idx="475">
                  <c:v>Paysan Bret</c:v>
                </c:pt>
                <c:pt idx="476">
                  <c:v>Boursin</c:v>
                </c:pt>
                <c:pt idx="477">
                  <c:v>La Vache Qu</c:v>
                </c:pt>
                <c:pt idx="478">
                  <c:v>Boursin</c:v>
                </c:pt>
                <c:pt idx="479">
                  <c:v>St Moret</c:v>
                </c:pt>
                <c:pt idx="480">
                  <c:v>Private Lab</c:v>
                </c:pt>
                <c:pt idx="481">
                  <c:v>P'Tit Louis</c:v>
                </c:pt>
                <c:pt idx="482">
                  <c:v>Leerdammer</c:v>
                </c:pt>
                <c:pt idx="483">
                  <c:v>Private Lab</c:v>
                </c:pt>
                <c:pt idx="484">
                  <c:v>Private Lab</c:v>
                </c:pt>
                <c:pt idx="485">
                  <c:v>Private Lab</c:v>
                </c:pt>
                <c:pt idx="486">
                  <c:v>Private Lab</c:v>
                </c:pt>
                <c:pt idx="487">
                  <c:v>Private Lab</c:v>
                </c:pt>
                <c:pt idx="488">
                  <c:v>All Others</c:v>
                </c:pt>
                <c:pt idx="489">
                  <c:v>All Others</c:v>
                </c:pt>
                <c:pt idx="490">
                  <c:v>Apericube</c:v>
                </c:pt>
                <c:pt idx="491">
                  <c:v>Savencia: A</c:v>
                </c:pt>
                <c:pt idx="492">
                  <c:v>All Others</c:v>
                </c:pt>
                <c:pt idx="493">
                  <c:v>Triballat N</c:v>
                </c:pt>
                <c:pt idx="494">
                  <c:v>All Others</c:v>
                </c:pt>
                <c:pt idx="495">
                  <c:v>All Others</c:v>
                </c:pt>
                <c:pt idx="496">
                  <c:v>All Others</c:v>
                </c:pt>
                <c:pt idx="497">
                  <c:v>Violife</c:v>
                </c:pt>
                <c:pt idx="498">
                  <c:v>Galbani</c:v>
                </c:pt>
                <c:pt idx="499">
                  <c:v>Pave D'Affi</c:v>
                </c:pt>
                <c:pt idx="500">
                  <c:v>Savencia: A</c:v>
                </c:pt>
                <c:pt idx="501">
                  <c:v>All Others</c:v>
                </c:pt>
                <c:pt idx="502">
                  <c:v>Etorki</c:v>
                </c:pt>
                <c:pt idx="503">
                  <c:v>All Others</c:v>
                </c:pt>
                <c:pt idx="504">
                  <c:v>All Others</c:v>
                </c:pt>
                <c:pt idx="505">
                  <c:v>Galbani</c:v>
                </c:pt>
                <c:pt idx="506">
                  <c:v>Kiri</c:v>
                </c:pt>
                <c:pt idx="507">
                  <c:v>All Others</c:v>
                </c:pt>
                <c:pt idx="508">
                  <c:v>Lactalis: A</c:v>
                </c:pt>
                <c:pt idx="509">
                  <c:v>Le Rustique</c:v>
                </c:pt>
                <c:pt idx="510">
                  <c:v>Entremont</c:v>
                </c:pt>
                <c:pt idx="511">
                  <c:v>Boursin</c:v>
                </c:pt>
                <c:pt idx="512">
                  <c:v>Richesmonts</c:v>
                </c:pt>
                <c:pt idx="513">
                  <c:v>Private Lab</c:v>
                </c:pt>
                <c:pt idx="514">
                  <c:v>All Others</c:v>
                </c:pt>
                <c:pt idx="515">
                  <c:v>Tartare</c:v>
                </c:pt>
                <c:pt idx="516">
                  <c:v>Societe</c:v>
                </c:pt>
                <c:pt idx="517">
                  <c:v>All Others</c:v>
                </c:pt>
                <c:pt idx="518">
                  <c:v>Caprice Des</c:v>
                </c:pt>
                <c:pt idx="519">
                  <c:v>All Others</c:v>
                </c:pt>
                <c:pt idx="520">
                  <c:v>President</c:v>
                </c:pt>
                <c:pt idx="521">
                  <c:v>Savencia: A</c:v>
                </c:pt>
                <c:pt idx="522">
                  <c:v>All Others</c:v>
                </c:pt>
                <c:pt idx="523">
                  <c:v>All Others</c:v>
                </c:pt>
                <c:pt idx="524">
                  <c:v>Private Lab</c:v>
                </c:pt>
                <c:pt idx="525">
                  <c:v>All Others</c:v>
                </c:pt>
                <c:pt idx="526">
                  <c:v>Private Lab</c:v>
                </c:pt>
                <c:pt idx="527">
                  <c:v>La Vache Qu</c:v>
                </c:pt>
                <c:pt idx="528">
                  <c:v>Casa Azzurr</c:v>
                </c:pt>
                <c:pt idx="529">
                  <c:v>Private Lab</c:v>
                </c:pt>
                <c:pt idx="530">
                  <c:v>Private Lab</c:v>
                </c:pt>
                <c:pt idx="531">
                  <c:v>Caprice Des</c:v>
                </c:pt>
                <c:pt idx="532">
                  <c:v>Etoile Du Q</c:v>
                </c:pt>
                <c:pt idx="533">
                  <c:v>Private Lab</c:v>
                </c:pt>
                <c:pt idx="534">
                  <c:v>Private Lab</c:v>
                </c:pt>
                <c:pt idx="535">
                  <c:v>All Others</c:v>
                </c:pt>
                <c:pt idx="536">
                  <c:v>Private Lab</c:v>
                </c:pt>
                <c:pt idx="537">
                  <c:v>Salakis</c:v>
                </c:pt>
                <c:pt idx="538">
                  <c:v>Casa Azzurr</c:v>
                </c:pt>
                <c:pt idx="539">
                  <c:v>All Others</c:v>
                </c:pt>
                <c:pt idx="540">
                  <c:v>All Others</c:v>
                </c:pt>
                <c:pt idx="541">
                  <c:v>All Others</c:v>
                </c:pt>
                <c:pt idx="542">
                  <c:v>All Others</c:v>
                </c:pt>
                <c:pt idx="543">
                  <c:v>All Others</c:v>
                </c:pt>
                <c:pt idx="544">
                  <c:v>Apericube</c:v>
                </c:pt>
                <c:pt idx="545">
                  <c:v>All Others</c:v>
                </c:pt>
                <c:pt idx="546">
                  <c:v>All Others</c:v>
                </c:pt>
                <c:pt idx="547">
                  <c:v>Galbani</c:v>
                </c:pt>
                <c:pt idx="548">
                  <c:v>Richesmonts</c:v>
                </c:pt>
                <c:pt idx="549">
                  <c:v>Lactalis: A</c:v>
                </c:pt>
                <c:pt idx="550">
                  <c:v>All Others</c:v>
                </c:pt>
                <c:pt idx="551">
                  <c:v>All Others</c:v>
                </c:pt>
                <c:pt idx="552">
                  <c:v>Boursin</c:v>
                </c:pt>
                <c:pt idx="553">
                  <c:v>All Others</c:v>
                </c:pt>
                <c:pt idx="554">
                  <c:v>All Others</c:v>
                </c:pt>
                <c:pt idx="555">
                  <c:v>All Others</c:v>
                </c:pt>
                <c:pt idx="556">
                  <c:v>All Others</c:v>
                </c:pt>
                <c:pt idx="557">
                  <c:v>President</c:v>
                </c:pt>
                <c:pt idx="558">
                  <c:v>All Others</c:v>
                </c:pt>
                <c:pt idx="559">
                  <c:v>Private Lab</c:v>
                </c:pt>
                <c:pt idx="560">
                  <c:v>All Others</c:v>
                </c:pt>
                <c:pt idx="561">
                  <c:v>Ficello</c:v>
                </c:pt>
                <c:pt idx="562">
                  <c:v>Private Lab</c:v>
                </c:pt>
                <c:pt idx="563">
                  <c:v>Philadelphi</c:v>
                </c:pt>
                <c:pt idx="564">
                  <c:v>All Others</c:v>
                </c:pt>
                <c:pt idx="565">
                  <c:v>All Others</c:v>
                </c:pt>
                <c:pt idx="566">
                  <c:v>Apericube</c:v>
                </c:pt>
                <c:pt idx="567">
                  <c:v>All Others</c:v>
                </c:pt>
                <c:pt idx="568">
                  <c:v>President</c:v>
                </c:pt>
                <c:pt idx="569">
                  <c:v>Private Lab</c:v>
                </c:pt>
                <c:pt idx="570">
                  <c:v>Private Lab</c:v>
                </c:pt>
                <c:pt idx="571">
                  <c:v>All Others</c:v>
                </c:pt>
                <c:pt idx="572">
                  <c:v>Galbani</c:v>
                </c:pt>
                <c:pt idx="573">
                  <c:v>Leerdammer</c:v>
                </c:pt>
                <c:pt idx="574">
                  <c:v>All Others</c:v>
                </c:pt>
                <c:pt idx="575">
                  <c:v>Entremont</c:v>
                </c:pt>
                <c:pt idx="576">
                  <c:v>Corsica</c:v>
                </c:pt>
                <c:pt idx="577">
                  <c:v>All Others</c:v>
                </c:pt>
                <c:pt idx="578">
                  <c:v>La Pointe P</c:v>
                </c:pt>
                <c:pt idx="579">
                  <c:v>Private Lab</c:v>
                </c:pt>
                <c:pt idx="580">
                  <c:v>Private Lab</c:v>
                </c:pt>
                <c:pt idx="581">
                  <c:v>President</c:v>
                </c:pt>
                <c:pt idx="582">
                  <c:v>La Pointe P</c:v>
                </c:pt>
                <c:pt idx="583">
                  <c:v>Kiri</c:v>
                </c:pt>
                <c:pt idx="584">
                  <c:v>All Others</c:v>
                </c:pt>
                <c:pt idx="585">
                  <c:v>President</c:v>
                </c:pt>
                <c:pt idx="586">
                  <c:v>Tartare</c:v>
                </c:pt>
                <c:pt idx="587">
                  <c:v>Private Lab</c:v>
                </c:pt>
                <c:pt idx="588">
                  <c:v>All Others</c:v>
                </c:pt>
                <c:pt idx="589">
                  <c:v>All Others</c:v>
                </c:pt>
                <c:pt idx="590">
                  <c:v>Le Coq Crem</c:v>
                </c:pt>
                <c:pt idx="591">
                  <c:v>All Others</c:v>
                </c:pt>
                <c:pt idx="592">
                  <c:v>Rondele</c:v>
                </c:pt>
                <c:pt idx="593">
                  <c:v>Leerdammer</c:v>
                </c:pt>
                <c:pt idx="594">
                  <c:v>All Others</c:v>
                </c:pt>
                <c:pt idx="595">
                  <c:v>Societe</c:v>
                </c:pt>
                <c:pt idx="596">
                  <c:v>Private Lab</c:v>
                </c:pt>
                <c:pt idx="597">
                  <c:v>Galbani</c:v>
                </c:pt>
                <c:pt idx="598">
                  <c:v>President</c:v>
                </c:pt>
                <c:pt idx="599">
                  <c:v>Casa Azzurr</c:v>
                </c:pt>
                <c:pt idx="600">
                  <c:v>All Others</c:v>
                </c:pt>
                <c:pt idx="601">
                  <c:v>Private Lab</c:v>
                </c:pt>
                <c:pt idx="602">
                  <c:v>Corsica</c:v>
                </c:pt>
                <c:pt idx="603">
                  <c:v>Private Lab</c:v>
                </c:pt>
                <c:pt idx="604">
                  <c:v>Violife</c:v>
                </c:pt>
                <c:pt idx="605">
                  <c:v>Pave D'Affi</c:v>
                </c:pt>
                <c:pt idx="606">
                  <c:v>All Others</c:v>
                </c:pt>
                <c:pt idx="607">
                  <c:v>All Others</c:v>
                </c:pt>
                <c:pt idx="608">
                  <c:v>Entremont</c:v>
                </c:pt>
                <c:pt idx="609">
                  <c:v>La Pointe P</c:v>
                </c:pt>
                <c:pt idx="610">
                  <c:v>Juraflore</c:v>
                </c:pt>
                <c:pt idx="611">
                  <c:v>Mini Babybe</c:v>
                </c:pt>
                <c:pt idx="612">
                  <c:v>All Others</c:v>
                </c:pt>
                <c:pt idx="613">
                  <c:v>Istara</c:v>
                </c:pt>
                <c:pt idx="614">
                  <c:v>Etoile Du V</c:v>
                </c:pt>
                <c:pt idx="615">
                  <c:v>All Others</c:v>
                </c:pt>
                <c:pt idx="616">
                  <c:v>Soignon</c:v>
                </c:pt>
                <c:pt idx="617">
                  <c:v>All Others</c:v>
                </c:pt>
                <c:pt idx="618">
                  <c:v>All Others</c:v>
                </c:pt>
                <c:pt idx="619">
                  <c:v>All Others</c:v>
                </c:pt>
                <c:pt idx="620">
                  <c:v>Casa Azzurr</c:v>
                </c:pt>
                <c:pt idx="621">
                  <c:v>Richesmonts</c:v>
                </c:pt>
                <c:pt idx="622">
                  <c:v>All Others</c:v>
                </c:pt>
                <c:pt idx="623">
                  <c:v>Private Lab</c:v>
                </c:pt>
                <c:pt idx="624">
                  <c:v>President</c:v>
                </c:pt>
                <c:pt idx="625">
                  <c:v>Juraflore</c:v>
                </c:pt>
                <c:pt idx="626">
                  <c:v>Apericube</c:v>
                </c:pt>
                <c:pt idx="627">
                  <c:v>Etoile Du V</c:v>
                </c:pt>
                <c:pt idx="628">
                  <c:v>All Others</c:v>
                </c:pt>
                <c:pt idx="629">
                  <c:v>Private Lab</c:v>
                </c:pt>
                <c:pt idx="630">
                  <c:v>Lactalis: A</c:v>
                </c:pt>
                <c:pt idx="631">
                  <c:v>Rondele</c:v>
                </c:pt>
                <c:pt idx="632">
                  <c:v>All Others</c:v>
                </c:pt>
                <c:pt idx="633">
                  <c:v>Saint Agur</c:v>
                </c:pt>
                <c:pt idx="634">
                  <c:v>All Others</c:v>
                </c:pt>
                <c:pt idx="635">
                  <c:v>Lou Perac</c:v>
                </c:pt>
                <c:pt idx="636">
                  <c:v>All Others</c:v>
                </c:pt>
                <c:pt idx="637">
                  <c:v>Fauquet</c:v>
                </c:pt>
                <c:pt idx="638">
                  <c:v>Lactalis: A</c:v>
                </c:pt>
                <c:pt idx="639">
                  <c:v>President</c:v>
                </c:pt>
                <c:pt idx="640">
                  <c:v>Casa Azzurr</c:v>
                </c:pt>
                <c:pt idx="641">
                  <c:v>All Others</c:v>
                </c:pt>
                <c:pt idx="642">
                  <c:v>Private Lab</c:v>
                </c:pt>
                <c:pt idx="643">
                  <c:v>Pochat</c:v>
                </c:pt>
                <c:pt idx="644">
                  <c:v>Private Lab</c:v>
                </c:pt>
                <c:pt idx="645">
                  <c:v>All Others</c:v>
                </c:pt>
                <c:pt idx="646">
                  <c:v>All Others</c:v>
                </c:pt>
                <c:pt idx="647">
                  <c:v>Private Lab</c:v>
                </c:pt>
                <c:pt idx="648">
                  <c:v>Casa Azzurr</c:v>
                </c:pt>
                <c:pt idx="649">
                  <c:v>All Others</c:v>
                </c:pt>
                <c:pt idx="650">
                  <c:v>Eurial Autr</c:v>
                </c:pt>
                <c:pt idx="651">
                  <c:v>All Others</c:v>
                </c:pt>
                <c:pt idx="652">
                  <c:v>All Others</c:v>
                </c:pt>
                <c:pt idx="653">
                  <c:v>All Others</c:v>
                </c:pt>
                <c:pt idx="654">
                  <c:v>All Others</c:v>
                </c:pt>
                <c:pt idx="655">
                  <c:v>Galbani</c:v>
                </c:pt>
                <c:pt idx="656">
                  <c:v>Casa Azzurr</c:v>
                </c:pt>
                <c:pt idx="657">
                  <c:v>Pave D'Affi</c:v>
                </c:pt>
                <c:pt idx="658">
                  <c:v>President</c:v>
                </c:pt>
                <c:pt idx="659">
                  <c:v>Triballat R</c:v>
                </c:pt>
                <c:pt idx="660">
                  <c:v>Violife</c:v>
                </c:pt>
                <c:pt idx="661">
                  <c:v>Islos</c:v>
                </c:pt>
                <c:pt idx="662">
                  <c:v>Private Lab</c:v>
                </c:pt>
                <c:pt idx="663">
                  <c:v>All Others</c:v>
                </c:pt>
                <c:pt idx="664">
                  <c:v>Eurial Autr</c:v>
                </c:pt>
                <c:pt idx="665">
                  <c:v>Private Lab</c:v>
                </c:pt>
                <c:pt idx="666">
                  <c:v>All Others</c:v>
                </c:pt>
                <c:pt idx="667">
                  <c:v>Savencia: A</c:v>
                </c:pt>
                <c:pt idx="668">
                  <c:v>Apericube</c:v>
                </c:pt>
                <c:pt idx="669">
                  <c:v>All Others</c:v>
                </c:pt>
                <c:pt idx="670">
                  <c:v>Soignon</c:v>
                </c:pt>
                <c:pt idx="671">
                  <c:v>L'Ortolan</c:v>
                </c:pt>
                <c:pt idx="672">
                  <c:v>All Others</c:v>
                </c:pt>
                <c:pt idx="673">
                  <c:v>All Others</c:v>
                </c:pt>
                <c:pt idx="674">
                  <c:v>All Others</c:v>
                </c:pt>
                <c:pt idx="675">
                  <c:v>All Others</c:v>
                </c:pt>
                <c:pt idx="676">
                  <c:v>Port Salut</c:v>
                </c:pt>
                <c:pt idx="677">
                  <c:v>All Others</c:v>
                </c:pt>
                <c:pt idx="678">
                  <c:v>All Others</c:v>
                </c:pt>
                <c:pt idx="679">
                  <c:v>Private Lab</c:v>
                </c:pt>
                <c:pt idx="680">
                  <c:v>All Others</c:v>
                </c:pt>
                <c:pt idx="681">
                  <c:v>Babybel</c:v>
                </c:pt>
                <c:pt idx="682">
                  <c:v>All Others</c:v>
                </c:pt>
                <c:pt idx="683">
                  <c:v>Leerdammer</c:v>
                </c:pt>
                <c:pt idx="684">
                  <c:v>All Others</c:v>
                </c:pt>
                <c:pt idx="685">
                  <c:v>Private Lab</c:v>
                </c:pt>
                <c:pt idx="686">
                  <c:v>All Others</c:v>
                </c:pt>
                <c:pt idx="687">
                  <c:v>All Others</c:v>
                </c:pt>
                <c:pt idx="688">
                  <c:v>Apericube</c:v>
                </c:pt>
                <c:pt idx="689">
                  <c:v>Private Lab</c:v>
                </c:pt>
                <c:pt idx="690">
                  <c:v>All Others</c:v>
                </c:pt>
                <c:pt idx="691">
                  <c:v>Soignon</c:v>
                </c:pt>
                <c:pt idx="692">
                  <c:v>Milleret: A</c:v>
                </c:pt>
                <c:pt idx="693">
                  <c:v>Private Lab</c:v>
                </c:pt>
                <c:pt idx="694">
                  <c:v>All Others</c:v>
                </c:pt>
                <c:pt idx="695">
                  <c:v>Violife</c:v>
                </c:pt>
                <c:pt idx="696">
                  <c:v>All Others</c:v>
                </c:pt>
                <c:pt idx="697">
                  <c:v>All Others</c:v>
                </c:pt>
                <c:pt idx="698">
                  <c:v>All Others</c:v>
                </c:pt>
                <c:pt idx="699">
                  <c:v>Paysan Bret</c:v>
                </c:pt>
                <c:pt idx="700">
                  <c:v>Savencia: A</c:v>
                </c:pt>
                <c:pt idx="701">
                  <c:v>Private Lab</c:v>
                </c:pt>
                <c:pt idx="702">
                  <c:v>All Others</c:v>
                </c:pt>
                <c:pt idx="703">
                  <c:v>Private Lab</c:v>
                </c:pt>
                <c:pt idx="704">
                  <c:v>All Others</c:v>
                </c:pt>
                <c:pt idx="705">
                  <c:v>All Others</c:v>
                </c:pt>
                <c:pt idx="706">
                  <c:v>All Others</c:v>
                </c:pt>
                <c:pt idx="707">
                  <c:v>All Others</c:v>
                </c:pt>
                <c:pt idx="708">
                  <c:v>All Others</c:v>
                </c:pt>
                <c:pt idx="709">
                  <c:v>All Others</c:v>
                </c:pt>
                <c:pt idx="710">
                  <c:v>All Others</c:v>
                </c:pt>
                <c:pt idx="711">
                  <c:v>All Others</c:v>
                </c:pt>
                <c:pt idx="712">
                  <c:v>President</c:v>
                </c:pt>
                <c:pt idx="713">
                  <c:v>Private Lab</c:v>
                </c:pt>
                <c:pt idx="714">
                  <c:v>All Others</c:v>
                </c:pt>
                <c:pt idx="715">
                  <c:v>All Others</c:v>
                </c:pt>
                <c:pt idx="716">
                  <c:v>Saint Agur</c:v>
                </c:pt>
                <c:pt idx="717">
                  <c:v>Le Brebiou</c:v>
                </c:pt>
                <c:pt idx="718">
                  <c:v>All Others</c:v>
                </c:pt>
                <c:pt idx="719">
                  <c:v>Private Lab</c:v>
                </c:pt>
                <c:pt idx="720">
                  <c:v>All Others</c:v>
                </c:pt>
                <c:pt idx="721">
                  <c:v>Triballat N</c:v>
                </c:pt>
                <c:pt idx="722">
                  <c:v>Leerdammer</c:v>
                </c:pt>
                <c:pt idx="723">
                  <c:v>Private Lab</c:v>
                </c:pt>
                <c:pt idx="724">
                  <c:v>Islos</c:v>
                </c:pt>
                <c:pt idx="725">
                  <c:v>Private Lab</c:v>
                </c:pt>
                <c:pt idx="726">
                  <c:v>President</c:v>
                </c:pt>
                <c:pt idx="727">
                  <c:v>Salakis</c:v>
                </c:pt>
                <c:pt idx="728">
                  <c:v>All Others</c:v>
                </c:pt>
                <c:pt idx="729">
                  <c:v>Private Lab</c:v>
                </c:pt>
                <c:pt idx="730">
                  <c:v>All Others</c:v>
                </c:pt>
                <c:pt idx="731">
                  <c:v>Soignon</c:v>
                </c:pt>
                <c:pt idx="732">
                  <c:v>Private Lab</c:v>
                </c:pt>
                <c:pt idx="733">
                  <c:v>Entremont</c:v>
                </c:pt>
                <c:pt idx="734">
                  <c:v>Entremont</c:v>
                </c:pt>
                <c:pt idx="735">
                  <c:v>Boursin</c:v>
                </c:pt>
                <c:pt idx="736">
                  <c:v>All Others</c:v>
                </c:pt>
                <c:pt idx="737">
                  <c:v>La Belle Et</c:v>
                </c:pt>
                <c:pt idx="738">
                  <c:v>Lactalis: A</c:v>
                </c:pt>
                <c:pt idx="739">
                  <c:v>All Others</c:v>
                </c:pt>
                <c:pt idx="740">
                  <c:v>Private Lab</c:v>
                </c:pt>
                <c:pt idx="741">
                  <c:v>Lactalis: A</c:v>
                </c:pt>
                <c:pt idx="742">
                  <c:v>All Others</c:v>
                </c:pt>
                <c:pt idx="743">
                  <c:v>All Others</c:v>
                </c:pt>
                <c:pt idx="744">
                  <c:v>Entremont</c:v>
                </c:pt>
                <c:pt idx="745">
                  <c:v>Chaussee Au</c:v>
                </c:pt>
                <c:pt idx="746">
                  <c:v>All Others</c:v>
                </c:pt>
                <c:pt idx="747">
                  <c:v>O'Tapas Ape</c:v>
                </c:pt>
                <c:pt idx="748">
                  <c:v>Private Lab</c:v>
                </c:pt>
                <c:pt idx="749">
                  <c:v>All Others</c:v>
                </c:pt>
                <c:pt idx="750">
                  <c:v>Private Lab</c:v>
                </c:pt>
                <c:pt idx="751">
                  <c:v>All Others</c:v>
                </c:pt>
                <c:pt idx="752">
                  <c:v>Private Lab</c:v>
                </c:pt>
                <c:pt idx="753">
                  <c:v>Richesmonts</c:v>
                </c:pt>
                <c:pt idx="754">
                  <c:v>All Others</c:v>
                </c:pt>
                <c:pt idx="755">
                  <c:v>Richesmonts</c:v>
                </c:pt>
                <c:pt idx="756">
                  <c:v>All Others</c:v>
                </c:pt>
                <c:pt idx="757">
                  <c:v>All Others</c:v>
                </c:pt>
                <c:pt idx="758">
                  <c:v>All Others</c:v>
                </c:pt>
                <c:pt idx="759">
                  <c:v>Private Lab</c:v>
                </c:pt>
                <c:pt idx="760">
                  <c:v>Private Lab</c:v>
                </c:pt>
                <c:pt idx="761">
                  <c:v>All Others</c:v>
                </c:pt>
                <c:pt idx="762">
                  <c:v>Private Lab</c:v>
                </c:pt>
                <c:pt idx="763">
                  <c:v>All Others</c:v>
                </c:pt>
                <c:pt idx="764">
                  <c:v>Milleret: A</c:v>
                </c:pt>
                <c:pt idx="765">
                  <c:v>Mini Babybe</c:v>
                </c:pt>
                <c:pt idx="766">
                  <c:v>All Others</c:v>
                </c:pt>
                <c:pt idx="767">
                  <c:v>All Others</c:v>
                </c:pt>
                <c:pt idx="768">
                  <c:v>All Others</c:v>
                </c:pt>
                <c:pt idx="769">
                  <c:v>La Vache Qu</c:v>
                </c:pt>
                <c:pt idx="770">
                  <c:v>All Others</c:v>
                </c:pt>
                <c:pt idx="771">
                  <c:v>All Others</c:v>
                </c:pt>
                <c:pt idx="772">
                  <c:v>All Others</c:v>
                </c:pt>
                <c:pt idx="773">
                  <c:v>All Others</c:v>
                </c:pt>
                <c:pt idx="774">
                  <c:v>Richesmonts</c:v>
                </c:pt>
                <c:pt idx="775">
                  <c:v>La Belle Et</c:v>
                </c:pt>
                <c:pt idx="776">
                  <c:v>Richesmonts</c:v>
                </c:pt>
                <c:pt idx="777">
                  <c:v>Private Lab</c:v>
                </c:pt>
                <c:pt idx="778">
                  <c:v>Eurial Autr</c:v>
                </c:pt>
                <c:pt idx="779">
                  <c:v>Private Lab</c:v>
                </c:pt>
                <c:pt idx="780">
                  <c:v>Lactalis: A</c:v>
                </c:pt>
                <c:pt idx="781">
                  <c:v>Mini Babybe</c:v>
                </c:pt>
                <c:pt idx="782">
                  <c:v>All Others</c:v>
                </c:pt>
                <c:pt idx="783">
                  <c:v>Aperivrais</c:v>
                </c:pt>
                <c:pt idx="784">
                  <c:v>Private Lab</c:v>
                </c:pt>
                <c:pt idx="785">
                  <c:v>All Others</c:v>
                </c:pt>
                <c:pt idx="786">
                  <c:v>Societe</c:v>
                </c:pt>
                <c:pt idx="787">
                  <c:v>All Others</c:v>
                </c:pt>
                <c:pt idx="788">
                  <c:v>Private Lab</c:v>
                </c:pt>
                <c:pt idx="789">
                  <c:v>All Others</c:v>
                </c:pt>
                <c:pt idx="790">
                  <c:v>All Others</c:v>
                </c:pt>
                <c:pt idx="791">
                  <c:v>All Others</c:v>
                </c:pt>
                <c:pt idx="792">
                  <c:v>All Others</c:v>
                </c:pt>
                <c:pt idx="793">
                  <c:v>All Others</c:v>
                </c:pt>
                <c:pt idx="794">
                  <c:v>Pave D'Affi</c:v>
                </c:pt>
                <c:pt idx="795">
                  <c:v>Nurishh</c:v>
                </c:pt>
                <c:pt idx="796">
                  <c:v>All Others</c:v>
                </c:pt>
                <c:pt idx="797">
                  <c:v>All Others</c:v>
                </c:pt>
                <c:pt idx="798">
                  <c:v>Casa Azzurr</c:v>
                </c:pt>
                <c:pt idx="799">
                  <c:v>Private Lab</c:v>
                </c:pt>
                <c:pt idx="800">
                  <c:v>O'Tapas Ape</c:v>
                </c:pt>
                <c:pt idx="801">
                  <c:v>Boursin</c:v>
                </c:pt>
                <c:pt idx="802">
                  <c:v>All Others</c:v>
                </c:pt>
                <c:pt idx="803">
                  <c:v>Ficello</c:v>
                </c:pt>
                <c:pt idx="804">
                  <c:v>Fauquet</c:v>
                </c:pt>
                <c:pt idx="805">
                  <c:v>Apericube</c:v>
                </c:pt>
                <c:pt idx="806">
                  <c:v>Lactalis: A</c:v>
                </c:pt>
                <c:pt idx="807">
                  <c:v>All Others</c:v>
                </c:pt>
                <c:pt idx="808">
                  <c:v>Societe</c:v>
                </c:pt>
                <c:pt idx="809">
                  <c:v>Paysan Bret</c:v>
                </c:pt>
                <c:pt idx="810">
                  <c:v>Private Lab</c:v>
                </c:pt>
                <c:pt idx="811">
                  <c:v>All Others</c:v>
                </c:pt>
                <c:pt idx="812">
                  <c:v>All Others</c:v>
                </c:pt>
                <c:pt idx="813">
                  <c:v>All Others</c:v>
                </c:pt>
                <c:pt idx="814">
                  <c:v>All Others</c:v>
                </c:pt>
                <c:pt idx="815">
                  <c:v>Richesmonts</c:v>
                </c:pt>
                <c:pt idx="816">
                  <c:v>St Moret</c:v>
                </c:pt>
                <c:pt idx="817">
                  <c:v>Casa Azzurr</c:v>
                </c:pt>
                <c:pt idx="818">
                  <c:v>President</c:v>
                </c:pt>
                <c:pt idx="819">
                  <c:v>All Others</c:v>
                </c:pt>
                <c:pt idx="820">
                  <c:v>Private Lab</c:v>
                </c:pt>
                <c:pt idx="821">
                  <c:v>Entremont</c:v>
                </c:pt>
                <c:pt idx="822">
                  <c:v>Port Salut</c:v>
                </c:pt>
                <c:pt idx="823">
                  <c:v>All Others</c:v>
                </c:pt>
                <c:pt idx="824">
                  <c:v>All Others</c:v>
                </c:pt>
                <c:pt idx="825">
                  <c:v>Galbani</c:v>
                </c:pt>
                <c:pt idx="826">
                  <c:v>Aperivrais</c:v>
                </c:pt>
                <c:pt idx="827">
                  <c:v>All Others</c:v>
                </c:pt>
                <c:pt idx="828">
                  <c:v>Etoile Du Q</c:v>
                </c:pt>
                <c:pt idx="829">
                  <c:v>Leerdammer</c:v>
                </c:pt>
                <c:pt idx="830">
                  <c:v>Private Lab</c:v>
                </c:pt>
                <c:pt idx="831">
                  <c:v>St Moret</c:v>
                </c:pt>
                <c:pt idx="832">
                  <c:v>Eurial Autr</c:v>
                </c:pt>
                <c:pt idx="833">
                  <c:v>All Others</c:v>
                </c:pt>
                <c:pt idx="834">
                  <c:v>Casa Azzurr</c:v>
                </c:pt>
                <c:pt idx="835">
                  <c:v>Boursin</c:v>
                </c:pt>
                <c:pt idx="836">
                  <c:v>Eurial Autr</c:v>
                </c:pt>
                <c:pt idx="837">
                  <c:v>Etoile Du Q</c:v>
                </c:pt>
                <c:pt idx="838">
                  <c:v>All Others</c:v>
                </c:pt>
                <c:pt idx="839">
                  <c:v>All Others</c:v>
                </c:pt>
                <c:pt idx="840">
                  <c:v>All Others</c:v>
                </c:pt>
                <c:pt idx="841">
                  <c:v>L'Ortolan</c:v>
                </c:pt>
                <c:pt idx="842">
                  <c:v>Boursin</c:v>
                </c:pt>
                <c:pt idx="843">
                  <c:v>Saint Agur</c:v>
                </c:pt>
                <c:pt idx="844">
                  <c:v>All Others</c:v>
                </c:pt>
                <c:pt idx="845">
                  <c:v>All Others</c:v>
                </c:pt>
                <c:pt idx="846">
                  <c:v>Savencia: A</c:v>
                </c:pt>
                <c:pt idx="847">
                  <c:v>All Others</c:v>
                </c:pt>
                <c:pt idx="848">
                  <c:v>Savencia: A</c:v>
                </c:pt>
                <c:pt idx="849">
                  <c:v>All Others</c:v>
                </c:pt>
                <c:pt idx="850">
                  <c:v>All Others</c:v>
                </c:pt>
                <c:pt idx="851">
                  <c:v>All Others</c:v>
                </c:pt>
                <c:pt idx="852">
                  <c:v>Private Lab</c:v>
                </c:pt>
                <c:pt idx="853">
                  <c:v>All Others</c:v>
                </c:pt>
                <c:pt idx="854">
                  <c:v>L'Ortolan</c:v>
                </c:pt>
                <c:pt idx="855">
                  <c:v>Nurishh</c:v>
                </c:pt>
                <c:pt idx="856">
                  <c:v>Entremont</c:v>
                </c:pt>
                <c:pt idx="857">
                  <c:v>All Others</c:v>
                </c:pt>
                <c:pt idx="858">
                  <c:v>Richesmonts</c:v>
                </c:pt>
                <c:pt idx="859">
                  <c:v>O'Tapas Ape</c:v>
                </c:pt>
                <c:pt idx="860">
                  <c:v>All Others</c:v>
                </c:pt>
                <c:pt idx="861">
                  <c:v>Boursin</c:v>
                </c:pt>
                <c:pt idx="862">
                  <c:v>Salakis</c:v>
                </c:pt>
                <c:pt idx="863">
                  <c:v>All Others</c:v>
                </c:pt>
                <c:pt idx="864">
                  <c:v>Violife</c:v>
                </c:pt>
                <c:pt idx="865">
                  <c:v>All Others</c:v>
                </c:pt>
                <c:pt idx="866">
                  <c:v>Private Lab</c:v>
                </c:pt>
                <c:pt idx="867">
                  <c:v>All Others</c:v>
                </c:pt>
                <c:pt idx="868">
                  <c:v>All Others</c:v>
                </c:pt>
                <c:pt idx="869">
                  <c:v>Nurishh</c:v>
                </c:pt>
                <c:pt idx="870">
                  <c:v>Coeur De Li</c:v>
                </c:pt>
                <c:pt idx="871">
                  <c:v>Le Coq Crem</c:v>
                </c:pt>
                <c:pt idx="872">
                  <c:v>La Belle Et</c:v>
                </c:pt>
                <c:pt idx="873">
                  <c:v>All Others</c:v>
                </c:pt>
                <c:pt idx="874">
                  <c:v>All Others</c:v>
                </c:pt>
                <c:pt idx="875">
                  <c:v>All Others</c:v>
                </c:pt>
                <c:pt idx="876">
                  <c:v>Lactalis: A</c:v>
                </c:pt>
                <c:pt idx="877">
                  <c:v>Pave D'Affi</c:v>
                </c:pt>
                <c:pt idx="878">
                  <c:v>All Others</c:v>
                </c:pt>
                <c:pt idx="879">
                  <c:v>All Others</c:v>
                </c:pt>
                <c:pt idx="880">
                  <c:v>President</c:v>
                </c:pt>
                <c:pt idx="881">
                  <c:v>Triballat R</c:v>
                </c:pt>
                <c:pt idx="882">
                  <c:v>Galbani</c:v>
                </c:pt>
                <c:pt idx="883">
                  <c:v>Paysan Bret</c:v>
                </c:pt>
                <c:pt idx="884">
                  <c:v>Private Lab</c:v>
                </c:pt>
                <c:pt idx="885">
                  <c:v>Savencia: A</c:v>
                </c:pt>
                <c:pt idx="886">
                  <c:v>All Others</c:v>
                </c:pt>
                <c:pt idx="887">
                  <c:v>All Others</c:v>
                </c:pt>
                <c:pt idx="888">
                  <c:v>All Others</c:v>
                </c:pt>
                <c:pt idx="889">
                  <c:v>All Others</c:v>
                </c:pt>
                <c:pt idx="890">
                  <c:v>All Others</c:v>
                </c:pt>
                <c:pt idx="891">
                  <c:v>Casa Azzurr</c:v>
                </c:pt>
                <c:pt idx="892">
                  <c:v>All Others</c:v>
                </c:pt>
                <c:pt idx="893">
                  <c:v>Private Lab</c:v>
                </c:pt>
                <c:pt idx="894">
                  <c:v>All Others</c:v>
                </c:pt>
                <c:pt idx="895">
                  <c:v>All Others</c:v>
                </c:pt>
                <c:pt idx="896">
                  <c:v>All Others</c:v>
                </c:pt>
                <c:pt idx="897">
                  <c:v>Nurishh</c:v>
                </c:pt>
                <c:pt idx="898">
                  <c:v>All Others</c:v>
                </c:pt>
                <c:pt idx="899">
                  <c:v>Milleret: A</c:v>
                </c:pt>
                <c:pt idx="900">
                  <c:v>Violife</c:v>
                </c:pt>
                <c:pt idx="901">
                  <c:v>Private Lab</c:v>
                </c:pt>
                <c:pt idx="902">
                  <c:v>Tartare</c:v>
                </c:pt>
                <c:pt idx="903">
                  <c:v>All Others</c:v>
                </c:pt>
                <c:pt idx="904">
                  <c:v>All Others</c:v>
                </c:pt>
                <c:pt idx="905">
                  <c:v>Private Lab</c:v>
                </c:pt>
                <c:pt idx="906">
                  <c:v>All Others</c:v>
                </c:pt>
                <c:pt idx="907">
                  <c:v>President</c:v>
                </c:pt>
                <c:pt idx="908">
                  <c:v>Entremont</c:v>
                </c:pt>
                <c:pt idx="909">
                  <c:v>All Others</c:v>
                </c:pt>
                <c:pt idx="910">
                  <c:v>Galbani</c:v>
                </c:pt>
                <c:pt idx="911">
                  <c:v>Galbani</c:v>
                </c:pt>
                <c:pt idx="912">
                  <c:v>Triballat R</c:v>
                </c:pt>
                <c:pt idx="913">
                  <c:v>All Others</c:v>
                </c:pt>
                <c:pt idx="914">
                  <c:v>All Others</c:v>
                </c:pt>
                <c:pt idx="915">
                  <c:v>All Others</c:v>
                </c:pt>
                <c:pt idx="916">
                  <c:v>Savencia: A</c:v>
                </c:pt>
                <c:pt idx="917">
                  <c:v>All Others</c:v>
                </c:pt>
                <c:pt idx="918">
                  <c:v>All Others</c:v>
                </c:pt>
                <c:pt idx="919">
                  <c:v>Eurial Autr</c:v>
                </c:pt>
                <c:pt idx="920">
                  <c:v>Etorki</c:v>
                </c:pt>
                <c:pt idx="921">
                  <c:v>All Others</c:v>
                </c:pt>
                <c:pt idx="922">
                  <c:v>All Others</c:v>
                </c:pt>
                <c:pt idx="923">
                  <c:v>Paysan Bret</c:v>
                </c:pt>
                <c:pt idx="924">
                  <c:v>Lactalis: A</c:v>
                </c:pt>
                <c:pt idx="925">
                  <c:v>Triballat R</c:v>
                </c:pt>
                <c:pt idx="926">
                  <c:v>Tartare</c:v>
                </c:pt>
                <c:pt idx="927">
                  <c:v>Bresse Bleu</c:v>
                </c:pt>
                <c:pt idx="928">
                  <c:v>All Others</c:v>
                </c:pt>
                <c:pt idx="929">
                  <c:v>All Others</c:v>
                </c:pt>
                <c:pt idx="930">
                  <c:v>President</c:v>
                </c:pt>
                <c:pt idx="931">
                  <c:v>All Others</c:v>
                </c:pt>
                <c:pt idx="932">
                  <c:v>Nurishh</c:v>
                </c:pt>
                <c:pt idx="933">
                  <c:v>All Others</c:v>
                </c:pt>
                <c:pt idx="934">
                  <c:v>Private Lab</c:v>
                </c:pt>
                <c:pt idx="935">
                  <c:v>All Others</c:v>
                </c:pt>
                <c:pt idx="936">
                  <c:v>Boursin</c:v>
                </c:pt>
                <c:pt idx="937">
                  <c:v>All Others</c:v>
                </c:pt>
                <c:pt idx="938">
                  <c:v>All Others</c:v>
                </c:pt>
                <c:pt idx="939">
                  <c:v>Savencia: A</c:v>
                </c:pt>
                <c:pt idx="940">
                  <c:v>St Moret</c:v>
                </c:pt>
                <c:pt idx="941">
                  <c:v>Lactalis: A</c:v>
                </c:pt>
                <c:pt idx="942">
                  <c:v>Private Lab</c:v>
                </c:pt>
                <c:pt idx="943">
                  <c:v>All Others</c:v>
                </c:pt>
                <c:pt idx="944">
                  <c:v>All Others</c:v>
                </c:pt>
                <c:pt idx="945">
                  <c:v>Savencia: A</c:v>
                </c:pt>
                <c:pt idx="946">
                  <c:v>La Belle Et</c:v>
                </c:pt>
                <c:pt idx="947">
                  <c:v>All Others</c:v>
                </c:pt>
                <c:pt idx="948">
                  <c:v>All Others</c:v>
                </c:pt>
                <c:pt idx="949">
                  <c:v>All Others</c:v>
                </c:pt>
                <c:pt idx="950">
                  <c:v>Violife</c:v>
                </c:pt>
                <c:pt idx="951">
                  <c:v>All Others</c:v>
                </c:pt>
                <c:pt idx="952">
                  <c:v>All Others</c:v>
                </c:pt>
                <c:pt idx="953">
                  <c:v>President</c:v>
                </c:pt>
                <c:pt idx="954">
                  <c:v>Private Lab</c:v>
                </c:pt>
                <c:pt idx="955">
                  <c:v>Aperivrais</c:v>
                </c:pt>
                <c:pt idx="956">
                  <c:v>All Others</c:v>
                </c:pt>
                <c:pt idx="957">
                  <c:v>All Others</c:v>
                </c:pt>
                <c:pt idx="958">
                  <c:v>Apericube</c:v>
                </c:pt>
                <c:pt idx="959">
                  <c:v>All Others</c:v>
                </c:pt>
                <c:pt idx="960">
                  <c:v>All Others</c:v>
                </c:pt>
                <c:pt idx="961">
                  <c:v>Lactalis: A</c:v>
                </c:pt>
                <c:pt idx="962">
                  <c:v>All Others</c:v>
                </c:pt>
                <c:pt idx="963">
                  <c:v>Private Lab</c:v>
                </c:pt>
                <c:pt idx="964">
                  <c:v>Private Lab</c:v>
                </c:pt>
                <c:pt idx="965">
                  <c:v>Leerdammer</c:v>
                </c:pt>
                <c:pt idx="966">
                  <c:v>All Others</c:v>
                </c:pt>
                <c:pt idx="967">
                  <c:v>All Others</c:v>
                </c:pt>
                <c:pt idx="968">
                  <c:v>Private Lab</c:v>
                </c:pt>
                <c:pt idx="969">
                  <c:v>Petit Billy</c:v>
                </c:pt>
                <c:pt idx="970">
                  <c:v>Apericube</c:v>
                </c:pt>
                <c:pt idx="971">
                  <c:v>Private Lab</c:v>
                </c:pt>
                <c:pt idx="972">
                  <c:v>Boursin</c:v>
                </c:pt>
                <c:pt idx="973">
                  <c:v>Violife</c:v>
                </c:pt>
                <c:pt idx="974">
                  <c:v>Leerdammer</c:v>
                </c:pt>
                <c:pt idx="975">
                  <c:v>All Others</c:v>
                </c:pt>
                <c:pt idx="976">
                  <c:v>All Others</c:v>
                </c:pt>
                <c:pt idx="977">
                  <c:v>President</c:v>
                </c:pt>
                <c:pt idx="978">
                  <c:v>Mini Babybe</c:v>
                </c:pt>
                <c:pt idx="979">
                  <c:v>All Others</c:v>
                </c:pt>
                <c:pt idx="980">
                  <c:v>All Others</c:v>
                </c:pt>
                <c:pt idx="981">
                  <c:v>All Others</c:v>
                </c:pt>
                <c:pt idx="982">
                  <c:v>Chavroux</c:v>
                </c:pt>
                <c:pt idx="983">
                  <c:v>All Others</c:v>
                </c:pt>
                <c:pt idx="984">
                  <c:v>Entremont</c:v>
                </c:pt>
                <c:pt idx="985">
                  <c:v>All Others</c:v>
                </c:pt>
                <c:pt idx="986">
                  <c:v>Etoile Du V</c:v>
                </c:pt>
                <c:pt idx="987">
                  <c:v>All Others</c:v>
                </c:pt>
                <c:pt idx="988">
                  <c:v>Apericube</c:v>
                </c:pt>
                <c:pt idx="989">
                  <c:v>Private Lab</c:v>
                </c:pt>
                <c:pt idx="990">
                  <c:v>Lou Perac</c:v>
                </c:pt>
                <c:pt idx="991">
                  <c:v>Fol Epi</c:v>
                </c:pt>
                <c:pt idx="992">
                  <c:v>Eurial Autr</c:v>
                </c:pt>
                <c:pt idx="993">
                  <c:v>Private Lab</c:v>
                </c:pt>
                <c:pt idx="994">
                  <c:v>All Others</c:v>
                </c:pt>
                <c:pt idx="995">
                  <c:v>All Others</c:v>
                </c:pt>
                <c:pt idx="996">
                  <c:v>President</c:v>
                </c:pt>
                <c:pt idx="997">
                  <c:v>All Others</c:v>
                </c:pt>
                <c:pt idx="998">
                  <c:v>All Others</c:v>
                </c:pt>
                <c:pt idx="999">
                  <c:v>Richesmonts</c:v>
                </c:pt>
                <c:pt idx="1000">
                  <c:v>Eurial Autr</c:v>
                </c:pt>
                <c:pt idx="1001">
                  <c:v>All Others</c:v>
                </c:pt>
                <c:pt idx="1002">
                  <c:v>All Others</c:v>
                </c:pt>
                <c:pt idx="1003">
                  <c:v>All Others</c:v>
                </c:pt>
                <c:pt idx="1004">
                  <c:v>Savencia: A</c:v>
                </c:pt>
                <c:pt idx="1005">
                  <c:v>La Pointe P</c:v>
                </c:pt>
                <c:pt idx="1006">
                  <c:v>All Others</c:v>
                </c:pt>
                <c:pt idx="1007">
                  <c:v>All Others</c:v>
                </c:pt>
                <c:pt idx="1008">
                  <c:v>All Others</c:v>
                </c:pt>
                <c:pt idx="1009">
                  <c:v>All Others</c:v>
                </c:pt>
                <c:pt idx="1010">
                  <c:v>All Others</c:v>
                </c:pt>
                <c:pt idx="1011">
                  <c:v>All Others</c:v>
                </c:pt>
                <c:pt idx="1012">
                  <c:v>All Others</c:v>
                </c:pt>
                <c:pt idx="1013">
                  <c:v>All Others</c:v>
                </c:pt>
                <c:pt idx="1014">
                  <c:v>All Others</c:v>
                </c:pt>
                <c:pt idx="1015">
                  <c:v>Savencia: A</c:v>
                </c:pt>
                <c:pt idx="1016">
                  <c:v>All Others</c:v>
                </c:pt>
                <c:pt idx="1017">
                  <c:v>Private Lab</c:v>
                </c:pt>
                <c:pt idx="1018">
                  <c:v>President</c:v>
                </c:pt>
                <c:pt idx="1019">
                  <c:v>Lactalis: A</c:v>
                </c:pt>
                <c:pt idx="1020">
                  <c:v>All Others</c:v>
                </c:pt>
                <c:pt idx="1021">
                  <c:v>All Others</c:v>
                </c:pt>
                <c:pt idx="1022">
                  <c:v>All Others</c:v>
                </c:pt>
                <c:pt idx="1023">
                  <c:v>All Others</c:v>
                </c:pt>
                <c:pt idx="1024">
                  <c:v>Aperivrais</c:v>
                </c:pt>
                <c:pt idx="1025">
                  <c:v>All Others</c:v>
                </c:pt>
                <c:pt idx="1026">
                  <c:v>Violife</c:v>
                </c:pt>
                <c:pt idx="1027">
                  <c:v>Bresse Bleu</c:v>
                </c:pt>
                <c:pt idx="1028">
                  <c:v>Etoile Du V</c:v>
                </c:pt>
                <c:pt idx="1029">
                  <c:v>All Others</c:v>
                </c:pt>
                <c:pt idx="1030">
                  <c:v>Private Lab</c:v>
                </c:pt>
                <c:pt idx="1031">
                  <c:v>All Others</c:v>
                </c:pt>
                <c:pt idx="1032">
                  <c:v>Etoile Du Q</c:v>
                </c:pt>
                <c:pt idx="1033">
                  <c:v>All Others</c:v>
                </c:pt>
                <c:pt idx="1034">
                  <c:v>All Others</c:v>
                </c:pt>
                <c:pt idx="1035">
                  <c:v>Etoile Du V</c:v>
                </c:pt>
                <c:pt idx="1036">
                  <c:v>Societe</c:v>
                </c:pt>
                <c:pt idx="1037">
                  <c:v>Leerdammer</c:v>
                </c:pt>
                <c:pt idx="1038">
                  <c:v>All Others</c:v>
                </c:pt>
                <c:pt idx="1039">
                  <c:v>All Others</c:v>
                </c:pt>
                <c:pt idx="1040">
                  <c:v>Corsica</c:v>
                </c:pt>
                <c:pt idx="1041">
                  <c:v>Lactalis: A</c:v>
                </c:pt>
                <c:pt idx="1042">
                  <c:v>All Others</c:v>
                </c:pt>
                <c:pt idx="1043">
                  <c:v>Lactalis: A</c:v>
                </c:pt>
                <c:pt idx="1044">
                  <c:v>Private Lab</c:v>
                </c:pt>
                <c:pt idx="1045">
                  <c:v>President</c:v>
                </c:pt>
                <c:pt idx="1046">
                  <c:v>All Others</c:v>
                </c:pt>
                <c:pt idx="1047">
                  <c:v>All Others</c:v>
                </c:pt>
                <c:pt idx="1048">
                  <c:v>Tartare</c:v>
                </c:pt>
                <c:pt idx="1049">
                  <c:v>All Others</c:v>
                </c:pt>
                <c:pt idx="1050">
                  <c:v>All Others</c:v>
                </c:pt>
                <c:pt idx="1051">
                  <c:v>Leerdammer</c:v>
                </c:pt>
                <c:pt idx="1052">
                  <c:v>All Others</c:v>
                </c:pt>
                <c:pt idx="1053">
                  <c:v>All Others</c:v>
                </c:pt>
                <c:pt idx="1054">
                  <c:v>All Others</c:v>
                </c:pt>
                <c:pt idx="1055">
                  <c:v>All Others</c:v>
                </c:pt>
                <c:pt idx="1056">
                  <c:v>All Others</c:v>
                </c:pt>
                <c:pt idx="1057">
                  <c:v>L'Ortolan</c:v>
                </c:pt>
                <c:pt idx="1058">
                  <c:v>All Others</c:v>
                </c:pt>
                <c:pt idx="1059">
                  <c:v>All Others</c:v>
                </c:pt>
                <c:pt idx="1060">
                  <c:v>Apericube</c:v>
                </c:pt>
                <c:pt idx="1061">
                  <c:v>Entremont</c:v>
                </c:pt>
                <c:pt idx="1062">
                  <c:v>All Others</c:v>
                </c:pt>
                <c:pt idx="1063">
                  <c:v>Nurishh</c:v>
                </c:pt>
                <c:pt idx="1064">
                  <c:v>Nurishh</c:v>
                </c:pt>
                <c:pt idx="1065">
                  <c:v>Boursin</c:v>
                </c:pt>
                <c:pt idx="1066">
                  <c:v>Lactalis: A</c:v>
                </c:pt>
                <c:pt idx="1067">
                  <c:v>Private Lab</c:v>
                </c:pt>
                <c:pt idx="1068">
                  <c:v>All Others</c:v>
                </c:pt>
                <c:pt idx="1069">
                  <c:v>Carre Frais</c:v>
                </c:pt>
                <c:pt idx="1070">
                  <c:v>All Others</c:v>
                </c:pt>
                <c:pt idx="1071">
                  <c:v>All Others</c:v>
                </c:pt>
                <c:pt idx="1072">
                  <c:v>All Others</c:v>
                </c:pt>
                <c:pt idx="1073">
                  <c:v>All Others</c:v>
                </c:pt>
                <c:pt idx="1074">
                  <c:v>All Others</c:v>
                </c:pt>
                <c:pt idx="1075">
                  <c:v>Paysan Bret</c:v>
                </c:pt>
                <c:pt idx="1076">
                  <c:v>All Others</c:v>
                </c:pt>
                <c:pt idx="1077">
                  <c:v>All Others</c:v>
                </c:pt>
                <c:pt idx="1078">
                  <c:v>Eurial Autr</c:v>
                </c:pt>
                <c:pt idx="1079">
                  <c:v>All Others</c:v>
                </c:pt>
                <c:pt idx="1080">
                  <c:v>All Others</c:v>
                </c:pt>
                <c:pt idx="1081">
                  <c:v>Private Lab</c:v>
                </c:pt>
                <c:pt idx="1082">
                  <c:v>All Others</c:v>
                </c:pt>
                <c:pt idx="1083">
                  <c:v>All Others</c:v>
                </c:pt>
                <c:pt idx="1084">
                  <c:v>Boursin</c:v>
                </c:pt>
                <c:pt idx="1085">
                  <c:v>All Others</c:v>
                </c:pt>
                <c:pt idx="1086">
                  <c:v>All Others</c:v>
                </c:pt>
                <c:pt idx="1087">
                  <c:v>Private Lab</c:v>
                </c:pt>
                <c:pt idx="1088">
                  <c:v>All Others</c:v>
                </c:pt>
                <c:pt idx="1089">
                  <c:v>All Others</c:v>
                </c:pt>
                <c:pt idx="1090">
                  <c:v>Private Lab</c:v>
                </c:pt>
                <c:pt idx="1091">
                  <c:v>Nurishh</c:v>
                </c:pt>
                <c:pt idx="1092">
                  <c:v>All Others</c:v>
                </c:pt>
                <c:pt idx="1093">
                  <c:v>Triballat N</c:v>
                </c:pt>
                <c:pt idx="1094">
                  <c:v>All Others</c:v>
                </c:pt>
                <c:pt idx="1095">
                  <c:v>Lactalis: A</c:v>
                </c:pt>
                <c:pt idx="1096">
                  <c:v>All Others</c:v>
                </c:pt>
                <c:pt idx="1097">
                  <c:v>All Others</c:v>
                </c:pt>
                <c:pt idx="1098">
                  <c:v>All Others</c:v>
                </c:pt>
                <c:pt idx="1099">
                  <c:v>All Others</c:v>
                </c:pt>
                <c:pt idx="1100">
                  <c:v>Private Lab</c:v>
                </c:pt>
                <c:pt idx="1101">
                  <c:v>All Others</c:v>
                </c:pt>
                <c:pt idx="1102">
                  <c:v>All Others</c:v>
                </c:pt>
                <c:pt idx="1103">
                  <c:v>All Others</c:v>
                </c:pt>
                <c:pt idx="1104">
                  <c:v>Lactalis: A</c:v>
                </c:pt>
                <c:pt idx="1105">
                  <c:v>Casa Azzurr</c:v>
                </c:pt>
                <c:pt idx="1106">
                  <c:v>O'Tapas Ape</c:v>
                </c:pt>
                <c:pt idx="1107">
                  <c:v>All Others</c:v>
                </c:pt>
                <c:pt idx="1108">
                  <c:v>All Others</c:v>
                </c:pt>
                <c:pt idx="1109">
                  <c:v>All Others</c:v>
                </c:pt>
                <c:pt idx="1110">
                  <c:v>All Others</c:v>
                </c:pt>
                <c:pt idx="1111">
                  <c:v>All Others</c:v>
                </c:pt>
                <c:pt idx="1112">
                  <c:v>All Others</c:v>
                </c:pt>
                <c:pt idx="1113">
                  <c:v>All Others</c:v>
                </c:pt>
                <c:pt idx="1114">
                  <c:v>All Others</c:v>
                </c:pt>
                <c:pt idx="1115">
                  <c:v>Pave D'Affi</c:v>
                </c:pt>
                <c:pt idx="1116">
                  <c:v>All Others</c:v>
                </c:pt>
                <c:pt idx="1117">
                  <c:v>Eurial Autr</c:v>
                </c:pt>
                <c:pt idx="1118">
                  <c:v>All Others</c:v>
                </c:pt>
                <c:pt idx="1119">
                  <c:v>All Others</c:v>
                </c:pt>
                <c:pt idx="1120">
                  <c:v>All Others</c:v>
                </c:pt>
                <c:pt idx="1121">
                  <c:v>All Others</c:v>
                </c:pt>
                <c:pt idx="1122">
                  <c:v>Pochat</c:v>
                </c:pt>
                <c:pt idx="1123">
                  <c:v>Private Lab</c:v>
                </c:pt>
                <c:pt idx="1124">
                  <c:v>All Others</c:v>
                </c:pt>
                <c:pt idx="1125">
                  <c:v>Soignon</c:v>
                </c:pt>
                <c:pt idx="1126">
                  <c:v>Soignon</c:v>
                </c:pt>
                <c:pt idx="1127">
                  <c:v>P'Tit Louis</c:v>
                </c:pt>
                <c:pt idx="1128">
                  <c:v>All Others</c:v>
                </c:pt>
                <c:pt idx="1129">
                  <c:v>Private Lab</c:v>
                </c:pt>
                <c:pt idx="1130">
                  <c:v>Istara</c:v>
                </c:pt>
                <c:pt idx="1131">
                  <c:v>President</c:v>
                </c:pt>
                <c:pt idx="1132">
                  <c:v>All Others</c:v>
                </c:pt>
                <c:pt idx="1133">
                  <c:v>Private Lab</c:v>
                </c:pt>
                <c:pt idx="1134">
                  <c:v>All Others</c:v>
                </c:pt>
                <c:pt idx="1135">
                  <c:v>Savencia: A</c:v>
                </c:pt>
                <c:pt idx="1136">
                  <c:v>All Others</c:v>
                </c:pt>
                <c:pt idx="1137">
                  <c:v>Lactalis: A</c:v>
                </c:pt>
                <c:pt idx="1138">
                  <c:v>Salakis</c:v>
                </c:pt>
                <c:pt idx="1139">
                  <c:v>President</c:v>
                </c:pt>
                <c:pt idx="1140">
                  <c:v>All Others</c:v>
                </c:pt>
                <c:pt idx="1141">
                  <c:v>All Others</c:v>
                </c:pt>
                <c:pt idx="1142">
                  <c:v>Lactalis: A</c:v>
                </c:pt>
                <c:pt idx="1143">
                  <c:v>All Others</c:v>
                </c:pt>
                <c:pt idx="1144">
                  <c:v>Private Lab</c:v>
                </c:pt>
                <c:pt idx="1145">
                  <c:v>All Others</c:v>
                </c:pt>
                <c:pt idx="1146">
                  <c:v>All Others</c:v>
                </c:pt>
                <c:pt idx="1147">
                  <c:v>All Others</c:v>
                </c:pt>
                <c:pt idx="1148">
                  <c:v>All Others</c:v>
                </c:pt>
                <c:pt idx="1149">
                  <c:v>Lactalis: A</c:v>
                </c:pt>
                <c:pt idx="1150">
                  <c:v>Etoile Du V</c:v>
                </c:pt>
                <c:pt idx="1151">
                  <c:v>Private Lab</c:v>
                </c:pt>
                <c:pt idx="1152">
                  <c:v>Boursin</c:v>
                </c:pt>
                <c:pt idx="1153">
                  <c:v>All Others</c:v>
                </c:pt>
                <c:pt idx="1154">
                  <c:v>All Others</c:v>
                </c:pt>
                <c:pt idx="1155">
                  <c:v>All Others</c:v>
                </c:pt>
                <c:pt idx="1156">
                  <c:v>Lactalis: A</c:v>
                </c:pt>
                <c:pt idx="1157">
                  <c:v>Leerdammer</c:v>
                </c:pt>
                <c:pt idx="1158">
                  <c:v>All Others</c:v>
                </c:pt>
                <c:pt idx="1159">
                  <c:v>Richesmonts</c:v>
                </c:pt>
                <c:pt idx="1160">
                  <c:v>All Others</c:v>
                </c:pt>
                <c:pt idx="1161">
                  <c:v>All Others</c:v>
                </c:pt>
                <c:pt idx="1162">
                  <c:v>Bresse Bleu</c:v>
                </c:pt>
                <c:pt idx="1163">
                  <c:v>Boursin</c:v>
                </c:pt>
                <c:pt idx="1164">
                  <c:v>All Others</c:v>
                </c:pt>
                <c:pt idx="1165">
                  <c:v>All Others</c:v>
                </c:pt>
                <c:pt idx="1166">
                  <c:v>All Others</c:v>
                </c:pt>
                <c:pt idx="1167">
                  <c:v>All Others</c:v>
                </c:pt>
                <c:pt idx="1168">
                  <c:v>Etoile Du V</c:v>
                </c:pt>
                <c:pt idx="1169">
                  <c:v>Milleret: A</c:v>
                </c:pt>
                <c:pt idx="1170">
                  <c:v>Juraflore</c:v>
                </c:pt>
                <c:pt idx="1171">
                  <c:v>Apericube</c:v>
                </c:pt>
                <c:pt idx="1172">
                  <c:v>Le Saint Am</c:v>
                </c:pt>
                <c:pt idx="1173">
                  <c:v>Coeur De Li</c:v>
                </c:pt>
                <c:pt idx="1174">
                  <c:v>Salakis</c:v>
                </c:pt>
                <c:pt idx="1175">
                  <c:v>All Others</c:v>
                </c:pt>
                <c:pt idx="1176">
                  <c:v>All Others</c:v>
                </c:pt>
                <c:pt idx="1177">
                  <c:v>All Others</c:v>
                </c:pt>
                <c:pt idx="1178">
                  <c:v>All Others</c:v>
                </c:pt>
                <c:pt idx="1179">
                  <c:v>La Belle Et</c:v>
                </c:pt>
                <c:pt idx="1180">
                  <c:v>All Others</c:v>
                </c:pt>
                <c:pt idx="1181">
                  <c:v>Boursin</c:v>
                </c:pt>
                <c:pt idx="1182">
                  <c:v>Etoile Du V</c:v>
                </c:pt>
                <c:pt idx="1183">
                  <c:v>All Others</c:v>
                </c:pt>
                <c:pt idx="1184">
                  <c:v>All Others</c:v>
                </c:pt>
                <c:pt idx="1185">
                  <c:v>Le Saint Am</c:v>
                </c:pt>
                <c:pt idx="1186">
                  <c:v>All Others</c:v>
                </c:pt>
                <c:pt idx="1187">
                  <c:v>All Others</c:v>
                </c:pt>
                <c:pt idx="1188">
                  <c:v>All Others</c:v>
                </c:pt>
                <c:pt idx="1189">
                  <c:v>Boursin</c:v>
                </c:pt>
                <c:pt idx="1190">
                  <c:v>Etoile Du V</c:v>
                </c:pt>
                <c:pt idx="1191">
                  <c:v>Boursin</c:v>
                </c:pt>
                <c:pt idx="1192">
                  <c:v>Etoile Du V</c:v>
                </c:pt>
                <c:pt idx="1193">
                  <c:v>All Others</c:v>
                </c:pt>
                <c:pt idx="1194">
                  <c:v>Private Lab</c:v>
                </c:pt>
                <c:pt idx="1195">
                  <c:v>All Others</c:v>
                </c:pt>
                <c:pt idx="1196">
                  <c:v>Etoile Du V</c:v>
                </c:pt>
                <c:pt idx="1197">
                  <c:v>All Others</c:v>
                </c:pt>
                <c:pt idx="1198">
                  <c:v>All Others</c:v>
                </c:pt>
                <c:pt idx="1199">
                  <c:v>Private Lab</c:v>
                </c:pt>
                <c:pt idx="1200">
                  <c:v>Private Lab</c:v>
                </c:pt>
                <c:pt idx="1201">
                  <c:v>All Others</c:v>
                </c:pt>
                <c:pt idx="1202">
                  <c:v>All Others</c:v>
                </c:pt>
                <c:pt idx="1203">
                  <c:v>All Others</c:v>
                </c:pt>
                <c:pt idx="1204">
                  <c:v>All Others</c:v>
                </c:pt>
                <c:pt idx="1205">
                  <c:v>All Others</c:v>
                </c:pt>
                <c:pt idx="1206">
                  <c:v>All Others</c:v>
                </c:pt>
                <c:pt idx="1207">
                  <c:v>Private Lab</c:v>
                </c:pt>
                <c:pt idx="1208">
                  <c:v>All Others</c:v>
                </c:pt>
                <c:pt idx="1209">
                  <c:v>All Others</c:v>
                </c:pt>
                <c:pt idx="1210">
                  <c:v>All Others</c:v>
                </c:pt>
                <c:pt idx="1211">
                  <c:v>All Others</c:v>
                </c:pt>
                <c:pt idx="1212">
                  <c:v>Boursin</c:v>
                </c:pt>
                <c:pt idx="1213">
                  <c:v>Casa Azzurr</c:v>
                </c:pt>
                <c:pt idx="1214">
                  <c:v>Paysan Bret</c:v>
                </c:pt>
                <c:pt idx="1215">
                  <c:v>Private Lab</c:v>
                </c:pt>
                <c:pt idx="1216">
                  <c:v>All Others</c:v>
                </c:pt>
                <c:pt idx="1217">
                  <c:v>All Others</c:v>
                </c:pt>
                <c:pt idx="1218">
                  <c:v>Etoile Du V</c:v>
                </c:pt>
                <c:pt idx="1219">
                  <c:v>All Others</c:v>
                </c:pt>
                <c:pt idx="1220">
                  <c:v>All Others</c:v>
                </c:pt>
                <c:pt idx="1221">
                  <c:v>All Others</c:v>
                </c:pt>
                <c:pt idx="1222">
                  <c:v>All Others</c:v>
                </c:pt>
                <c:pt idx="1223">
                  <c:v>All Others</c:v>
                </c:pt>
                <c:pt idx="1224">
                  <c:v>All Others</c:v>
                </c:pt>
                <c:pt idx="1225">
                  <c:v>Tartare</c:v>
                </c:pt>
                <c:pt idx="1226">
                  <c:v>Carre Frais</c:v>
                </c:pt>
                <c:pt idx="1227">
                  <c:v>All Others</c:v>
                </c:pt>
                <c:pt idx="1228">
                  <c:v>All Others</c:v>
                </c:pt>
                <c:pt idx="1229">
                  <c:v>All Others</c:v>
                </c:pt>
                <c:pt idx="1230">
                  <c:v>Raguin</c:v>
                </c:pt>
                <c:pt idx="1231">
                  <c:v>Eurial Autr</c:v>
                </c:pt>
                <c:pt idx="1232">
                  <c:v>All Others</c:v>
                </c:pt>
                <c:pt idx="1233">
                  <c:v>All Others</c:v>
                </c:pt>
                <c:pt idx="1234">
                  <c:v>Pave D'Affi</c:v>
                </c:pt>
                <c:pt idx="1235">
                  <c:v>All Others</c:v>
                </c:pt>
                <c:pt idx="1236">
                  <c:v>Casa Azzurr</c:v>
                </c:pt>
                <c:pt idx="1237">
                  <c:v>Private Lab</c:v>
                </c:pt>
                <c:pt idx="1238">
                  <c:v>All Others</c:v>
                </c:pt>
                <c:pt idx="1239">
                  <c:v>All Others</c:v>
                </c:pt>
                <c:pt idx="1240">
                  <c:v>All Others</c:v>
                </c:pt>
                <c:pt idx="1241">
                  <c:v>All Others</c:v>
                </c:pt>
                <c:pt idx="1242">
                  <c:v>Philadelphi</c:v>
                </c:pt>
                <c:pt idx="1243">
                  <c:v>All Others</c:v>
                </c:pt>
                <c:pt idx="1244">
                  <c:v>Mini Babybe</c:v>
                </c:pt>
                <c:pt idx="1245">
                  <c:v>All Others</c:v>
                </c:pt>
                <c:pt idx="1246">
                  <c:v>All Others</c:v>
                </c:pt>
                <c:pt idx="1247">
                  <c:v>Private Lab</c:v>
                </c:pt>
                <c:pt idx="1248">
                  <c:v>All Others</c:v>
                </c:pt>
                <c:pt idx="1249">
                  <c:v>Pave D'Affi</c:v>
                </c:pt>
                <c:pt idx="1250">
                  <c:v>Etoile Du V</c:v>
                </c:pt>
                <c:pt idx="1251">
                  <c:v>Etoile Du Q</c:v>
                </c:pt>
                <c:pt idx="1252">
                  <c:v>All Others</c:v>
                </c:pt>
                <c:pt idx="1253">
                  <c:v>Private Lab</c:v>
                </c:pt>
                <c:pt idx="1254">
                  <c:v>All Others</c:v>
                </c:pt>
                <c:pt idx="1255">
                  <c:v>All Others</c:v>
                </c:pt>
                <c:pt idx="1256">
                  <c:v>All Others</c:v>
                </c:pt>
                <c:pt idx="1257">
                  <c:v>Saint Albra</c:v>
                </c:pt>
                <c:pt idx="1258">
                  <c:v>La Vache Qu</c:v>
                </c:pt>
                <c:pt idx="1259">
                  <c:v>Lactalis: A</c:v>
                </c:pt>
                <c:pt idx="1260">
                  <c:v>Pochat</c:v>
                </c:pt>
                <c:pt idx="1261">
                  <c:v>All Others</c:v>
                </c:pt>
                <c:pt idx="1262">
                  <c:v>All Others</c:v>
                </c:pt>
                <c:pt idx="1263">
                  <c:v>All Others</c:v>
                </c:pt>
                <c:pt idx="1264">
                  <c:v>All Others</c:v>
                </c:pt>
                <c:pt idx="1265">
                  <c:v>All Others</c:v>
                </c:pt>
                <c:pt idx="1266">
                  <c:v>Private Lab</c:v>
                </c:pt>
                <c:pt idx="1267">
                  <c:v>Lactalis: A</c:v>
                </c:pt>
                <c:pt idx="1268">
                  <c:v>All Others</c:v>
                </c:pt>
                <c:pt idx="1269">
                  <c:v>All Others</c:v>
                </c:pt>
                <c:pt idx="1270">
                  <c:v>Lactalis: A</c:v>
                </c:pt>
                <c:pt idx="1271">
                  <c:v>All Others</c:v>
                </c:pt>
                <c:pt idx="1272">
                  <c:v>All Others</c:v>
                </c:pt>
                <c:pt idx="1273">
                  <c:v>All Others</c:v>
                </c:pt>
                <c:pt idx="1274">
                  <c:v>Private Lab</c:v>
                </c:pt>
                <c:pt idx="1275">
                  <c:v>All Others</c:v>
                </c:pt>
                <c:pt idx="1276">
                  <c:v>All Others</c:v>
                </c:pt>
                <c:pt idx="1277">
                  <c:v>All Others</c:v>
                </c:pt>
                <c:pt idx="1278">
                  <c:v>All Others</c:v>
                </c:pt>
                <c:pt idx="1279">
                  <c:v>Private Lab</c:v>
                </c:pt>
                <c:pt idx="1280">
                  <c:v>Parmareggio</c:v>
                </c:pt>
                <c:pt idx="1281">
                  <c:v>All Others</c:v>
                </c:pt>
                <c:pt idx="1282">
                  <c:v>All Others</c:v>
                </c:pt>
                <c:pt idx="1283">
                  <c:v>Galbani</c:v>
                </c:pt>
                <c:pt idx="1284">
                  <c:v>All Others</c:v>
                </c:pt>
                <c:pt idx="1285">
                  <c:v>Milleret: A</c:v>
                </c:pt>
                <c:pt idx="1286">
                  <c:v>All Others</c:v>
                </c:pt>
                <c:pt idx="1287">
                  <c:v>All Others</c:v>
                </c:pt>
                <c:pt idx="1288">
                  <c:v>All Others</c:v>
                </c:pt>
                <c:pt idx="1289">
                  <c:v>All Others</c:v>
                </c:pt>
                <c:pt idx="1290">
                  <c:v>All Others</c:v>
                </c:pt>
                <c:pt idx="1291">
                  <c:v>Corsica</c:v>
                </c:pt>
                <c:pt idx="1292">
                  <c:v>All Others</c:v>
                </c:pt>
                <c:pt idx="1293">
                  <c:v>All Others</c:v>
                </c:pt>
                <c:pt idx="1294">
                  <c:v>Etoile Du V</c:v>
                </c:pt>
                <c:pt idx="1295">
                  <c:v>Raguin</c:v>
                </c:pt>
                <c:pt idx="1296">
                  <c:v>All Others</c:v>
                </c:pt>
                <c:pt idx="1297">
                  <c:v>All Others</c:v>
                </c:pt>
                <c:pt idx="1298">
                  <c:v>All Others</c:v>
                </c:pt>
                <c:pt idx="1299">
                  <c:v>All Others</c:v>
                </c:pt>
                <c:pt idx="1300">
                  <c:v>All Others</c:v>
                </c:pt>
                <c:pt idx="1301">
                  <c:v>All Others</c:v>
                </c:pt>
                <c:pt idx="1302">
                  <c:v>All Others</c:v>
                </c:pt>
                <c:pt idx="1303">
                  <c:v>Paysan Bret</c:v>
                </c:pt>
                <c:pt idx="1304">
                  <c:v>All Others</c:v>
                </c:pt>
                <c:pt idx="1305">
                  <c:v>Societe</c:v>
                </c:pt>
                <c:pt idx="1306">
                  <c:v>All Others</c:v>
                </c:pt>
                <c:pt idx="1307">
                  <c:v>All Others</c:v>
                </c:pt>
                <c:pt idx="1308">
                  <c:v>All Others</c:v>
                </c:pt>
                <c:pt idx="1309">
                  <c:v>All Others</c:v>
                </c:pt>
                <c:pt idx="1310">
                  <c:v>All Others</c:v>
                </c:pt>
                <c:pt idx="1311">
                  <c:v>All Others</c:v>
                </c:pt>
                <c:pt idx="1312">
                  <c:v>All Others</c:v>
                </c:pt>
                <c:pt idx="1313">
                  <c:v>Lactalis: A</c:v>
                </c:pt>
                <c:pt idx="1314">
                  <c:v>All Others</c:v>
                </c:pt>
                <c:pt idx="1315">
                  <c:v>All Others</c:v>
                </c:pt>
                <c:pt idx="1316">
                  <c:v>L'Ortolan</c:v>
                </c:pt>
                <c:pt idx="1317">
                  <c:v>All Others</c:v>
                </c:pt>
                <c:pt idx="1318">
                  <c:v>All Others</c:v>
                </c:pt>
                <c:pt idx="1319">
                  <c:v>All Others</c:v>
                </c:pt>
                <c:pt idx="1320">
                  <c:v>All Others</c:v>
                </c:pt>
                <c:pt idx="1321">
                  <c:v>Nurishh</c:v>
                </c:pt>
                <c:pt idx="1322">
                  <c:v>All Others</c:v>
                </c:pt>
                <c:pt idx="1323">
                  <c:v>Private Lab</c:v>
                </c:pt>
                <c:pt idx="1324">
                  <c:v>All Others</c:v>
                </c:pt>
                <c:pt idx="1325">
                  <c:v>All Others</c:v>
                </c:pt>
                <c:pt idx="1326">
                  <c:v>All Others</c:v>
                </c:pt>
                <c:pt idx="1327">
                  <c:v>Mini Babybe</c:v>
                </c:pt>
                <c:pt idx="1328">
                  <c:v>All Others</c:v>
                </c:pt>
                <c:pt idx="1329">
                  <c:v>All Others</c:v>
                </c:pt>
                <c:pt idx="1330">
                  <c:v>All Others</c:v>
                </c:pt>
                <c:pt idx="1331">
                  <c:v>All Others</c:v>
                </c:pt>
                <c:pt idx="1332">
                  <c:v>All Others</c:v>
                </c:pt>
                <c:pt idx="1333">
                  <c:v>All Others</c:v>
                </c:pt>
                <c:pt idx="1334">
                  <c:v>All Others</c:v>
                </c:pt>
                <c:pt idx="1335">
                  <c:v>All Others</c:v>
                </c:pt>
                <c:pt idx="1336">
                  <c:v>Richesmonts</c:v>
                </c:pt>
                <c:pt idx="1337">
                  <c:v>All Others</c:v>
                </c:pt>
                <c:pt idx="1338">
                  <c:v>All Others</c:v>
                </c:pt>
                <c:pt idx="1339">
                  <c:v>All Others</c:v>
                </c:pt>
                <c:pt idx="1340">
                  <c:v>All Others</c:v>
                </c:pt>
                <c:pt idx="1341">
                  <c:v>All Others</c:v>
                </c:pt>
                <c:pt idx="1342">
                  <c:v>All Others</c:v>
                </c:pt>
                <c:pt idx="1343">
                  <c:v>All Others</c:v>
                </c:pt>
                <c:pt idx="1344">
                  <c:v>All Others</c:v>
                </c:pt>
                <c:pt idx="1345">
                  <c:v>All Others</c:v>
                </c:pt>
                <c:pt idx="1346">
                  <c:v>All Others</c:v>
                </c:pt>
                <c:pt idx="1347">
                  <c:v>All Others</c:v>
                </c:pt>
                <c:pt idx="1348">
                  <c:v>Galbani</c:v>
                </c:pt>
                <c:pt idx="1349">
                  <c:v>All Others</c:v>
                </c:pt>
                <c:pt idx="1350">
                  <c:v>All Others</c:v>
                </c:pt>
                <c:pt idx="1351">
                  <c:v>All Others</c:v>
                </c:pt>
                <c:pt idx="1352">
                  <c:v>All Others</c:v>
                </c:pt>
                <c:pt idx="1353">
                  <c:v>All Others</c:v>
                </c:pt>
                <c:pt idx="1354">
                  <c:v>All Others</c:v>
                </c:pt>
                <c:pt idx="1355">
                  <c:v>Lactalis: A</c:v>
                </c:pt>
                <c:pt idx="1356">
                  <c:v>All Others</c:v>
                </c:pt>
                <c:pt idx="1357">
                  <c:v>All Others</c:v>
                </c:pt>
                <c:pt idx="1358">
                  <c:v>All Others</c:v>
                </c:pt>
                <c:pt idx="1359">
                  <c:v>All Others</c:v>
                </c:pt>
                <c:pt idx="1360">
                  <c:v>All Others</c:v>
                </c:pt>
                <c:pt idx="1361">
                  <c:v>Private Lab</c:v>
                </c:pt>
                <c:pt idx="1362">
                  <c:v>All Others</c:v>
                </c:pt>
                <c:pt idx="1363">
                  <c:v>All Others</c:v>
                </c:pt>
                <c:pt idx="1364">
                  <c:v>All Others</c:v>
                </c:pt>
                <c:pt idx="1365">
                  <c:v>All Others</c:v>
                </c:pt>
                <c:pt idx="1366">
                  <c:v>All Others</c:v>
                </c:pt>
                <c:pt idx="1367">
                  <c:v>All Others</c:v>
                </c:pt>
                <c:pt idx="1368">
                  <c:v>All Others</c:v>
                </c:pt>
                <c:pt idx="1369">
                  <c:v>All Others</c:v>
                </c:pt>
                <c:pt idx="1370">
                  <c:v>Casa Azzurr</c:v>
                </c:pt>
                <c:pt idx="1371">
                  <c:v>All Others</c:v>
                </c:pt>
                <c:pt idx="1372">
                  <c:v>All Others</c:v>
                </c:pt>
                <c:pt idx="1373">
                  <c:v>Fauquet</c:v>
                </c:pt>
                <c:pt idx="1374">
                  <c:v>All Others</c:v>
                </c:pt>
                <c:pt idx="1375">
                  <c:v>Private Lab</c:v>
                </c:pt>
                <c:pt idx="1376">
                  <c:v>Savencia: A</c:v>
                </c:pt>
                <c:pt idx="1377">
                  <c:v>All Others</c:v>
                </c:pt>
                <c:pt idx="1378">
                  <c:v>All Others</c:v>
                </c:pt>
                <c:pt idx="1379">
                  <c:v>All Others</c:v>
                </c:pt>
                <c:pt idx="1380">
                  <c:v>Nurishh</c:v>
                </c:pt>
                <c:pt idx="1381">
                  <c:v>Lactalis: A</c:v>
                </c:pt>
                <c:pt idx="1382">
                  <c:v>All Others</c:v>
                </c:pt>
                <c:pt idx="1383">
                  <c:v>All Others</c:v>
                </c:pt>
                <c:pt idx="1384">
                  <c:v>Savencia: A</c:v>
                </c:pt>
                <c:pt idx="1385">
                  <c:v>Lactalis: A</c:v>
                </c:pt>
                <c:pt idx="1386">
                  <c:v>Triballat N</c:v>
                </c:pt>
                <c:pt idx="1387">
                  <c:v>All Others</c:v>
                </c:pt>
                <c:pt idx="1388">
                  <c:v>All Others</c:v>
                </c:pt>
                <c:pt idx="1389">
                  <c:v>All Others</c:v>
                </c:pt>
                <c:pt idx="1390">
                  <c:v>Raguin</c:v>
                </c:pt>
                <c:pt idx="1391">
                  <c:v>All Others</c:v>
                </c:pt>
                <c:pt idx="1392">
                  <c:v>All Others</c:v>
                </c:pt>
                <c:pt idx="1393">
                  <c:v>All Others</c:v>
                </c:pt>
                <c:pt idx="1394">
                  <c:v>All Others</c:v>
                </c:pt>
                <c:pt idx="1395">
                  <c:v>La Vache Qu</c:v>
                </c:pt>
                <c:pt idx="1396">
                  <c:v>All Others</c:v>
                </c:pt>
                <c:pt idx="1397">
                  <c:v>Entremont</c:v>
                </c:pt>
                <c:pt idx="1398">
                  <c:v>All Others</c:v>
                </c:pt>
                <c:pt idx="1399">
                  <c:v>Lactalis: A</c:v>
                </c:pt>
                <c:pt idx="1400">
                  <c:v>All Others</c:v>
                </c:pt>
                <c:pt idx="1401">
                  <c:v>Private Lab</c:v>
                </c:pt>
                <c:pt idx="1402">
                  <c:v>Galbani</c:v>
                </c:pt>
                <c:pt idx="1403">
                  <c:v>Private Lab</c:v>
                </c:pt>
                <c:pt idx="1404">
                  <c:v>All Others</c:v>
                </c:pt>
                <c:pt idx="1405">
                  <c:v>All Others</c:v>
                </c:pt>
                <c:pt idx="1406">
                  <c:v>Lactalis: A</c:v>
                </c:pt>
                <c:pt idx="1407">
                  <c:v>All Others</c:v>
                </c:pt>
                <c:pt idx="1408">
                  <c:v>All Others</c:v>
                </c:pt>
                <c:pt idx="1409">
                  <c:v>Private Lab</c:v>
                </c:pt>
                <c:pt idx="1410">
                  <c:v>Lactalis: A</c:v>
                </c:pt>
                <c:pt idx="1411">
                  <c:v>All Others</c:v>
                </c:pt>
                <c:pt idx="1412">
                  <c:v>All Others</c:v>
                </c:pt>
                <c:pt idx="1413">
                  <c:v>All Others</c:v>
                </c:pt>
                <c:pt idx="1414">
                  <c:v>All Others</c:v>
                </c:pt>
                <c:pt idx="1415">
                  <c:v>All Others</c:v>
                </c:pt>
                <c:pt idx="1416">
                  <c:v>All Others</c:v>
                </c:pt>
                <c:pt idx="1417">
                  <c:v>All Others</c:v>
                </c:pt>
                <c:pt idx="1418">
                  <c:v>All Others</c:v>
                </c:pt>
                <c:pt idx="1419">
                  <c:v>St Moret</c:v>
                </c:pt>
                <c:pt idx="1420">
                  <c:v>President</c:v>
                </c:pt>
                <c:pt idx="1421">
                  <c:v>All Others</c:v>
                </c:pt>
                <c:pt idx="1422">
                  <c:v>All Others</c:v>
                </c:pt>
                <c:pt idx="1423">
                  <c:v>Savencia: A</c:v>
                </c:pt>
                <c:pt idx="1424">
                  <c:v>Pave D'Affi</c:v>
                </c:pt>
                <c:pt idx="1425">
                  <c:v>All Others</c:v>
                </c:pt>
                <c:pt idx="1426">
                  <c:v>All Others</c:v>
                </c:pt>
                <c:pt idx="1427">
                  <c:v>Nurishh</c:v>
                </c:pt>
                <c:pt idx="1428">
                  <c:v>All Others</c:v>
                </c:pt>
                <c:pt idx="1429">
                  <c:v>All Others</c:v>
                </c:pt>
                <c:pt idx="1430">
                  <c:v>Savencia: A</c:v>
                </c:pt>
                <c:pt idx="1431">
                  <c:v>All Others</c:v>
                </c:pt>
                <c:pt idx="1432">
                  <c:v>Eurial Autr</c:v>
                </c:pt>
                <c:pt idx="1433">
                  <c:v>All Others</c:v>
                </c:pt>
                <c:pt idx="1434">
                  <c:v>All Others</c:v>
                </c:pt>
                <c:pt idx="1435">
                  <c:v>All Others</c:v>
                </c:pt>
                <c:pt idx="1436">
                  <c:v>All Others</c:v>
                </c:pt>
                <c:pt idx="1437">
                  <c:v>Etoile Du V</c:v>
                </c:pt>
                <c:pt idx="1438">
                  <c:v>All Others</c:v>
                </c:pt>
                <c:pt idx="1439">
                  <c:v>Lactalis: A</c:v>
                </c:pt>
                <c:pt idx="1440">
                  <c:v>Etoile Du V</c:v>
                </c:pt>
                <c:pt idx="1441">
                  <c:v>La Vache Qu</c:v>
                </c:pt>
                <c:pt idx="1442">
                  <c:v>All Others</c:v>
                </c:pt>
                <c:pt idx="1443">
                  <c:v>All Others</c:v>
                </c:pt>
                <c:pt idx="1444">
                  <c:v>Private Lab</c:v>
                </c:pt>
                <c:pt idx="1445">
                  <c:v>All Others</c:v>
                </c:pt>
                <c:pt idx="1446">
                  <c:v>All Others</c:v>
                </c:pt>
                <c:pt idx="1447">
                  <c:v>All Others</c:v>
                </c:pt>
                <c:pt idx="1448">
                  <c:v>All Others</c:v>
                </c:pt>
                <c:pt idx="1449">
                  <c:v>All Others</c:v>
                </c:pt>
                <c:pt idx="1450">
                  <c:v>All Others</c:v>
                </c:pt>
                <c:pt idx="1451">
                  <c:v>All Others</c:v>
                </c:pt>
                <c:pt idx="1452">
                  <c:v>Nurishh</c:v>
                </c:pt>
                <c:pt idx="1453">
                  <c:v>All Others</c:v>
                </c:pt>
                <c:pt idx="1454">
                  <c:v>Triballat N</c:v>
                </c:pt>
                <c:pt idx="1455">
                  <c:v>Triballat R</c:v>
                </c:pt>
                <c:pt idx="1456">
                  <c:v>All Others</c:v>
                </c:pt>
                <c:pt idx="1457">
                  <c:v>Lactalis: A</c:v>
                </c:pt>
                <c:pt idx="1458">
                  <c:v>All Others</c:v>
                </c:pt>
                <c:pt idx="1459">
                  <c:v>All Others</c:v>
                </c:pt>
                <c:pt idx="1460">
                  <c:v>Etoile Du V</c:v>
                </c:pt>
                <c:pt idx="1461">
                  <c:v>All Others</c:v>
                </c:pt>
                <c:pt idx="1462">
                  <c:v>Lactalis: A</c:v>
                </c:pt>
                <c:pt idx="1463">
                  <c:v>All Others</c:v>
                </c:pt>
                <c:pt idx="1464">
                  <c:v>All Others</c:v>
                </c:pt>
                <c:pt idx="1465">
                  <c:v>All Others</c:v>
                </c:pt>
                <c:pt idx="1466">
                  <c:v>Entremont</c:v>
                </c:pt>
                <c:pt idx="1467">
                  <c:v>All Others</c:v>
                </c:pt>
                <c:pt idx="1468">
                  <c:v>All Others</c:v>
                </c:pt>
                <c:pt idx="1469">
                  <c:v>All Others</c:v>
                </c:pt>
                <c:pt idx="1470">
                  <c:v>All Others</c:v>
                </c:pt>
                <c:pt idx="1471">
                  <c:v>All Others</c:v>
                </c:pt>
                <c:pt idx="1472">
                  <c:v>Private Lab</c:v>
                </c:pt>
                <c:pt idx="1473">
                  <c:v>All Others</c:v>
                </c:pt>
                <c:pt idx="1474">
                  <c:v>Raguin</c:v>
                </c:pt>
                <c:pt idx="1475">
                  <c:v>Lactalis: A</c:v>
                </c:pt>
                <c:pt idx="1476">
                  <c:v>All Others</c:v>
                </c:pt>
                <c:pt idx="1477">
                  <c:v>Etoile Du V</c:v>
                </c:pt>
                <c:pt idx="1478">
                  <c:v>All Others</c:v>
                </c:pt>
                <c:pt idx="1479">
                  <c:v>Etoile Du V</c:v>
                </c:pt>
                <c:pt idx="1480">
                  <c:v>All Others</c:v>
                </c:pt>
                <c:pt idx="1481">
                  <c:v>Savencia: A</c:v>
                </c:pt>
                <c:pt idx="1482">
                  <c:v>All Others</c:v>
                </c:pt>
                <c:pt idx="1483">
                  <c:v>Juraflore</c:v>
                </c:pt>
                <c:pt idx="1484">
                  <c:v>All Others</c:v>
                </c:pt>
                <c:pt idx="1485">
                  <c:v>Savencia: A</c:v>
                </c:pt>
                <c:pt idx="1486">
                  <c:v>Private Lab</c:v>
                </c:pt>
                <c:pt idx="1487">
                  <c:v>La Vache Qu</c:v>
                </c:pt>
                <c:pt idx="1488">
                  <c:v>All Others</c:v>
                </c:pt>
                <c:pt idx="1489">
                  <c:v>All Others</c:v>
                </c:pt>
                <c:pt idx="1490">
                  <c:v>All Others</c:v>
                </c:pt>
                <c:pt idx="1491">
                  <c:v>All Others</c:v>
                </c:pt>
                <c:pt idx="1492">
                  <c:v>All Others</c:v>
                </c:pt>
                <c:pt idx="1493">
                  <c:v>All Others</c:v>
                </c:pt>
                <c:pt idx="1494">
                  <c:v>Private Lab</c:v>
                </c:pt>
                <c:pt idx="1495">
                  <c:v>All Others</c:v>
                </c:pt>
                <c:pt idx="1496">
                  <c:v>All Others</c:v>
                </c:pt>
                <c:pt idx="1497">
                  <c:v>All Others</c:v>
                </c:pt>
                <c:pt idx="1498">
                  <c:v>All Others</c:v>
                </c:pt>
                <c:pt idx="1499">
                  <c:v>All Others</c:v>
                </c:pt>
                <c:pt idx="1500">
                  <c:v>All Others</c:v>
                </c:pt>
                <c:pt idx="1501">
                  <c:v>Lactalis: A</c:v>
                </c:pt>
                <c:pt idx="1502">
                  <c:v>All Others</c:v>
                </c:pt>
                <c:pt idx="1503">
                  <c:v>Salakis</c:v>
                </c:pt>
                <c:pt idx="1504">
                  <c:v>Triballat N</c:v>
                </c:pt>
                <c:pt idx="1505">
                  <c:v>All Others</c:v>
                </c:pt>
                <c:pt idx="1506">
                  <c:v>All Others</c:v>
                </c:pt>
                <c:pt idx="1507">
                  <c:v>All Others</c:v>
                </c:pt>
                <c:pt idx="1508">
                  <c:v>All Others</c:v>
                </c:pt>
                <c:pt idx="1509">
                  <c:v>All Others</c:v>
                </c:pt>
                <c:pt idx="1510">
                  <c:v>All Others</c:v>
                </c:pt>
                <c:pt idx="1511">
                  <c:v>All Others</c:v>
                </c:pt>
                <c:pt idx="1512">
                  <c:v>All Others</c:v>
                </c:pt>
                <c:pt idx="1513">
                  <c:v>Private Lab</c:v>
                </c:pt>
                <c:pt idx="1514">
                  <c:v>All Others</c:v>
                </c:pt>
                <c:pt idx="1515">
                  <c:v>All Others</c:v>
                </c:pt>
                <c:pt idx="1516">
                  <c:v>Milleret: A</c:v>
                </c:pt>
                <c:pt idx="1517">
                  <c:v>All Others</c:v>
                </c:pt>
                <c:pt idx="1518">
                  <c:v>La Vache Qu</c:v>
                </c:pt>
                <c:pt idx="1519">
                  <c:v>La Belle Et</c:v>
                </c:pt>
                <c:pt idx="1520">
                  <c:v>All Others</c:v>
                </c:pt>
                <c:pt idx="1521">
                  <c:v>All Others</c:v>
                </c:pt>
                <c:pt idx="1522">
                  <c:v>All Others</c:v>
                </c:pt>
                <c:pt idx="1523">
                  <c:v>Private Lab</c:v>
                </c:pt>
                <c:pt idx="1524">
                  <c:v>All Others</c:v>
                </c:pt>
                <c:pt idx="1525">
                  <c:v>Savencia: A</c:v>
                </c:pt>
                <c:pt idx="1526">
                  <c:v>Societe</c:v>
                </c:pt>
                <c:pt idx="1527">
                  <c:v>La Belle Et</c:v>
                </c:pt>
                <c:pt idx="1528">
                  <c:v>All Others</c:v>
                </c:pt>
                <c:pt idx="1529">
                  <c:v>All Others</c:v>
                </c:pt>
                <c:pt idx="1530">
                  <c:v>All Others</c:v>
                </c:pt>
                <c:pt idx="1531">
                  <c:v>All Others</c:v>
                </c:pt>
                <c:pt idx="1532">
                  <c:v>All Others</c:v>
                </c:pt>
                <c:pt idx="1533">
                  <c:v>All Others</c:v>
                </c:pt>
                <c:pt idx="1534">
                  <c:v>Pochat</c:v>
                </c:pt>
                <c:pt idx="1535">
                  <c:v>All Others</c:v>
                </c:pt>
                <c:pt idx="1536">
                  <c:v>Savencia: A</c:v>
                </c:pt>
                <c:pt idx="1537">
                  <c:v>All Others</c:v>
                </c:pt>
                <c:pt idx="1538">
                  <c:v>All Others</c:v>
                </c:pt>
                <c:pt idx="1539">
                  <c:v>All Others</c:v>
                </c:pt>
                <c:pt idx="1540">
                  <c:v>All Others</c:v>
                </c:pt>
                <c:pt idx="1541">
                  <c:v>La Pointe P</c:v>
                </c:pt>
                <c:pt idx="1542">
                  <c:v>Petit Billy</c:v>
                </c:pt>
                <c:pt idx="1543">
                  <c:v>All Others</c:v>
                </c:pt>
                <c:pt idx="1544">
                  <c:v>All Others</c:v>
                </c:pt>
                <c:pt idx="1545">
                  <c:v>All Others</c:v>
                </c:pt>
                <c:pt idx="1546">
                  <c:v>All Others</c:v>
                </c:pt>
                <c:pt idx="1547">
                  <c:v>La Belle Et</c:v>
                </c:pt>
                <c:pt idx="1548">
                  <c:v>Juraflore</c:v>
                </c:pt>
                <c:pt idx="1549">
                  <c:v>All Others</c:v>
                </c:pt>
                <c:pt idx="1550">
                  <c:v>All Others</c:v>
                </c:pt>
                <c:pt idx="1551">
                  <c:v>All Others</c:v>
                </c:pt>
                <c:pt idx="1552">
                  <c:v>All Others</c:v>
                </c:pt>
                <c:pt idx="1553">
                  <c:v>All Others</c:v>
                </c:pt>
                <c:pt idx="1554">
                  <c:v>All Others</c:v>
                </c:pt>
                <c:pt idx="1555">
                  <c:v>All Others</c:v>
                </c:pt>
                <c:pt idx="1556">
                  <c:v>O'Tapas Ape</c:v>
                </c:pt>
                <c:pt idx="1557">
                  <c:v>Etoile Du Q</c:v>
                </c:pt>
                <c:pt idx="1558">
                  <c:v>All Others</c:v>
                </c:pt>
                <c:pt idx="1559">
                  <c:v>All Others</c:v>
                </c:pt>
                <c:pt idx="1560">
                  <c:v>All Others</c:v>
                </c:pt>
                <c:pt idx="1561">
                  <c:v>All Others</c:v>
                </c:pt>
                <c:pt idx="1562">
                  <c:v>All Others</c:v>
                </c:pt>
                <c:pt idx="1563">
                  <c:v>All Others</c:v>
                </c:pt>
                <c:pt idx="1564">
                  <c:v>Private Lab</c:v>
                </c:pt>
                <c:pt idx="1565">
                  <c:v>Pave D'Affi</c:v>
                </c:pt>
                <c:pt idx="1566">
                  <c:v>Etoile Du V</c:v>
                </c:pt>
                <c:pt idx="1567">
                  <c:v>Private Lab</c:v>
                </c:pt>
                <c:pt idx="1568">
                  <c:v>All Others</c:v>
                </c:pt>
                <c:pt idx="1569">
                  <c:v>Islos</c:v>
                </c:pt>
                <c:pt idx="1570">
                  <c:v>All Others</c:v>
                </c:pt>
                <c:pt idx="1571">
                  <c:v>All Others</c:v>
                </c:pt>
                <c:pt idx="1572">
                  <c:v>All Others</c:v>
                </c:pt>
                <c:pt idx="1573">
                  <c:v>All Others</c:v>
                </c:pt>
                <c:pt idx="1574">
                  <c:v>All Others</c:v>
                </c:pt>
                <c:pt idx="1575">
                  <c:v>Casa Azzurr</c:v>
                </c:pt>
                <c:pt idx="1576">
                  <c:v>La Belle Et</c:v>
                </c:pt>
                <c:pt idx="1577">
                  <c:v>All Others</c:v>
                </c:pt>
                <c:pt idx="1578">
                  <c:v>La Belle Et</c:v>
                </c:pt>
                <c:pt idx="1579">
                  <c:v>Pave D'Affi</c:v>
                </c:pt>
                <c:pt idx="1580">
                  <c:v>All Others</c:v>
                </c:pt>
                <c:pt idx="1581">
                  <c:v>All Others</c:v>
                </c:pt>
                <c:pt idx="1582">
                  <c:v>All Others</c:v>
                </c:pt>
                <c:pt idx="1583">
                  <c:v>Lactalis: A</c:v>
                </c:pt>
                <c:pt idx="1584">
                  <c:v>O'Tapas Ape</c:v>
                </c:pt>
                <c:pt idx="1585">
                  <c:v>All Others</c:v>
                </c:pt>
                <c:pt idx="1586">
                  <c:v>All Others</c:v>
                </c:pt>
                <c:pt idx="1587">
                  <c:v>All Others</c:v>
                </c:pt>
                <c:pt idx="1588">
                  <c:v>All Others</c:v>
                </c:pt>
                <c:pt idx="1589">
                  <c:v>All Others</c:v>
                </c:pt>
                <c:pt idx="1590">
                  <c:v>All Others</c:v>
                </c:pt>
                <c:pt idx="1591">
                  <c:v>All Others</c:v>
                </c:pt>
                <c:pt idx="1592">
                  <c:v>All Others</c:v>
                </c:pt>
                <c:pt idx="1593">
                  <c:v>All Others</c:v>
                </c:pt>
                <c:pt idx="1594">
                  <c:v>Lactalis: A</c:v>
                </c:pt>
                <c:pt idx="1595">
                  <c:v>All Others</c:v>
                </c:pt>
                <c:pt idx="1596">
                  <c:v>Entremont</c:v>
                </c:pt>
                <c:pt idx="1597">
                  <c:v>All Others</c:v>
                </c:pt>
                <c:pt idx="1598">
                  <c:v>All Others</c:v>
                </c:pt>
                <c:pt idx="1599">
                  <c:v>All Others</c:v>
                </c:pt>
                <c:pt idx="1600">
                  <c:v>Milleret: A</c:v>
                </c:pt>
                <c:pt idx="1601">
                  <c:v>All Others</c:v>
                </c:pt>
                <c:pt idx="1602">
                  <c:v>La Belle Et</c:v>
                </c:pt>
                <c:pt idx="1603">
                  <c:v>All Others</c:v>
                </c:pt>
                <c:pt idx="1604">
                  <c:v>All Others</c:v>
                </c:pt>
                <c:pt idx="1605">
                  <c:v>All Others</c:v>
                </c:pt>
                <c:pt idx="1606">
                  <c:v>Pave D'Affi</c:v>
                </c:pt>
                <c:pt idx="1607">
                  <c:v>L'Ortolan</c:v>
                </c:pt>
                <c:pt idx="1608">
                  <c:v>All Others</c:v>
                </c:pt>
                <c:pt idx="1609">
                  <c:v>All Others</c:v>
                </c:pt>
                <c:pt idx="1610">
                  <c:v>All Others</c:v>
                </c:pt>
                <c:pt idx="1611">
                  <c:v>Private Lab</c:v>
                </c:pt>
                <c:pt idx="1612">
                  <c:v>All Others</c:v>
                </c:pt>
                <c:pt idx="1613">
                  <c:v>All Others</c:v>
                </c:pt>
                <c:pt idx="1614">
                  <c:v>All Others</c:v>
                </c:pt>
                <c:pt idx="1615">
                  <c:v>Private Lab</c:v>
                </c:pt>
                <c:pt idx="1616">
                  <c:v>All Others</c:v>
                </c:pt>
                <c:pt idx="1617">
                  <c:v>All Others</c:v>
                </c:pt>
                <c:pt idx="1618">
                  <c:v>Lactalis: A</c:v>
                </c:pt>
                <c:pt idx="1619">
                  <c:v>Casa Azzurr</c:v>
                </c:pt>
                <c:pt idx="1620">
                  <c:v>All Others</c:v>
                </c:pt>
                <c:pt idx="1621">
                  <c:v>Savencia: A</c:v>
                </c:pt>
                <c:pt idx="1622">
                  <c:v>All Others</c:v>
                </c:pt>
                <c:pt idx="1623">
                  <c:v>All Others</c:v>
                </c:pt>
                <c:pt idx="1624">
                  <c:v>All Others</c:v>
                </c:pt>
                <c:pt idx="1625">
                  <c:v>All Others</c:v>
                </c:pt>
                <c:pt idx="1626">
                  <c:v>All Others</c:v>
                </c:pt>
                <c:pt idx="1627">
                  <c:v>La Belle Et</c:v>
                </c:pt>
                <c:pt idx="1628">
                  <c:v>All Others</c:v>
                </c:pt>
                <c:pt idx="1629">
                  <c:v>Private Lab</c:v>
                </c:pt>
                <c:pt idx="1630">
                  <c:v>All Others</c:v>
                </c:pt>
                <c:pt idx="1631">
                  <c:v>Private Lab</c:v>
                </c:pt>
                <c:pt idx="1632">
                  <c:v>All Others</c:v>
                </c:pt>
                <c:pt idx="1633">
                  <c:v>All Others</c:v>
                </c:pt>
                <c:pt idx="1634">
                  <c:v>All Others</c:v>
                </c:pt>
                <c:pt idx="1635">
                  <c:v>All Others</c:v>
                </c:pt>
                <c:pt idx="1636">
                  <c:v>All Others</c:v>
                </c:pt>
                <c:pt idx="1637">
                  <c:v>All Others</c:v>
                </c:pt>
                <c:pt idx="1638">
                  <c:v>All Others</c:v>
                </c:pt>
                <c:pt idx="1639">
                  <c:v>All Others</c:v>
                </c:pt>
                <c:pt idx="1640">
                  <c:v>All Others</c:v>
                </c:pt>
                <c:pt idx="1641">
                  <c:v>All Others</c:v>
                </c:pt>
                <c:pt idx="1642">
                  <c:v>Private Lab</c:v>
                </c:pt>
                <c:pt idx="1643">
                  <c:v>Private Lab</c:v>
                </c:pt>
                <c:pt idx="1644">
                  <c:v>All Others</c:v>
                </c:pt>
                <c:pt idx="1645">
                  <c:v>All Others</c:v>
                </c:pt>
                <c:pt idx="1646">
                  <c:v>All Others</c:v>
                </c:pt>
                <c:pt idx="1647">
                  <c:v>All Others</c:v>
                </c:pt>
                <c:pt idx="1648">
                  <c:v>All Others</c:v>
                </c:pt>
                <c:pt idx="1649">
                  <c:v>All Others</c:v>
                </c:pt>
                <c:pt idx="1650">
                  <c:v>All Others</c:v>
                </c:pt>
                <c:pt idx="1651">
                  <c:v>All Others</c:v>
                </c:pt>
                <c:pt idx="1652">
                  <c:v>All Others</c:v>
                </c:pt>
                <c:pt idx="1653">
                  <c:v>Private Lab</c:v>
                </c:pt>
                <c:pt idx="1654">
                  <c:v>All Others</c:v>
                </c:pt>
                <c:pt idx="1655">
                  <c:v>All Others</c:v>
                </c:pt>
                <c:pt idx="1656">
                  <c:v>All Others</c:v>
                </c:pt>
                <c:pt idx="1657">
                  <c:v>Pochat</c:v>
                </c:pt>
                <c:pt idx="1658">
                  <c:v>All Others</c:v>
                </c:pt>
                <c:pt idx="1659">
                  <c:v>All Others</c:v>
                </c:pt>
                <c:pt idx="1660">
                  <c:v>La Belle Et</c:v>
                </c:pt>
                <c:pt idx="1661">
                  <c:v>Paysan Bret</c:v>
                </c:pt>
                <c:pt idx="1662">
                  <c:v>Paysan Bret</c:v>
                </c:pt>
                <c:pt idx="1663">
                  <c:v>All Others</c:v>
                </c:pt>
                <c:pt idx="1664">
                  <c:v>All Others</c:v>
                </c:pt>
                <c:pt idx="1665">
                  <c:v>All Others</c:v>
                </c:pt>
                <c:pt idx="1666">
                  <c:v>All Others</c:v>
                </c:pt>
                <c:pt idx="1667">
                  <c:v>All Others</c:v>
                </c:pt>
                <c:pt idx="1668">
                  <c:v>Etoile Du V</c:v>
                </c:pt>
                <c:pt idx="1669">
                  <c:v>All Others</c:v>
                </c:pt>
                <c:pt idx="1670">
                  <c:v>All Others</c:v>
                </c:pt>
                <c:pt idx="1671">
                  <c:v>Etoile Du V</c:v>
                </c:pt>
                <c:pt idx="1672">
                  <c:v>Soignon</c:v>
                </c:pt>
                <c:pt idx="1673">
                  <c:v>Lactalis: A</c:v>
                </c:pt>
                <c:pt idx="1674">
                  <c:v>All Others</c:v>
                </c:pt>
                <c:pt idx="1675">
                  <c:v>All Others</c:v>
                </c:pt>
                <c:pt idx="1676">
                  <c:v>All Others</c:v>
                </c:pt>
                <c:pt idx="1677">
                  <c:v>All Others</c:v>
                </c:pt>
                <c:pt idx="1678">
                  <c:v>All Others</c:v>
                </c:pt>
                <c:pt idx="1679">
                  <c:v>All Others</c:v>
                </c:pt>
                <c:pt idx="1680">
                  <c:v>All Others</c:v>
                </c:pt>
                <c:pt idx="1681">
                  <c:v>All Others</c:v>
                </c:pt>
                <c:pt idx="1682">
                  <c:v>Kiri</c:v>
                </c:pt>
                <c:pt idx="1683">
                  <c:v>Lactalis: A</c:v>
                </c:pt>
                <c:pt idx="1684">
                  <c:v>All Others</c:v>
                </c:pt>
                <c:pt idx="1685">
                  <c:v>All Others</c:v>
                </c:pt>
                <c:pt idx="1686">
                  <c:v>All Others</c:v>
                </c:pt>
                <c:pt idx="1687">
                  <c:v>All Others</c:v>
                </c:pt>
                <c:pt idx="1688">
                  <c:v>All Others</c:v>
                </c:pt>
                <c:pt idx="1689">
                  <c:v>Entremont</c:v>
                </c:pt>
                <c:pt idx="1690">
                  <c:v>All Others</c:v>
                </c:pt>
                <c:pt idx="1691">
                  <c:v>All Others</c:v>
                </c:pt>
                <c:pt idx="1692">
                  <c:v>Etoile Du V</c:v>
                </c:pt>
                <c:pt idx="1693">
                  <c:v>Paysan Bret</c:v>
                </c:pt>
                <c:pt idx="1694">
                  <c:v>All Others</c:v>
                </c:pt>
                <c:pt idx="1695">
                  <c:v>All Others</c:v>
                </c:pt>
                <c:pt idx="1696">
                  <c:v>All Others</c:v>
                </c:pt>
                <c:pt idx="1697">
                  <c:v>All Others</c:v>
                </c:pt>
                <c:pt idx="1698">
                  <c:v>All Others</c:v>
                </c:pt>
                <c:pt idx="1699">
                  <c:v>Boursin</c:v>
                </c:pt>
                <c:pt idx="1700">
                  <c:v>Etoile Du V</c:v>
                </c:pt>
                <c:pt idx="1701">
                  <c:v>All Others</c:v>
                </c:pt>
                <c:pt idx="1702">
                  <c:v>All Others</c:v>
                </c:pt>
                <c:pt idx="1703">
                  <c:v>All Others</c:v>
                </c:pt>
                <c:pt idx="1704">
                  <c:v>Juraflore</c:v>
                </c:pt>
                <c:pt idx="1705">
                  <c:v>All Others</c:v>
                </c:pt>
                <c:pt idx="1706">
                  <c:v>All Others</c:v>
                </c:pt>
                <c:pt idx="1707">
                  <c:v>All Others</c:v>
                </c:pt>
                <c:pt idx="1708">
                  <c:v>All Others</c:v>
                </c:pt>
                <c:pt idx="1709">
                  <c:v>All Others</c:v>
                </c:pt>
                <c:pt idx="1710">
                  <c:v>All Others</c:v>
                </c:pt>
                <c:pt idx="1711">
                  <c:v>All Others</c:v>
                </c:pt>
                <c:pt idx="1712">
                  <c:v>Milleret: A</c:v>
                </c:pt>
                <c:pt idx="1713">
                  <c:v>Soignon</c:v>
                </c:pt>
                <c:pt idx="1714">
                  <c:v>Lactalis: A</c:v>
                </c:pt>
                <c:pt idx="1715">
                  <c:v>Mini Babybe</c:v>
                </c:pt>
                <c:pt idx="1716">
                  <c:v>All Others</c:v>
                </c:pt>
                <c:pt idx="1717">
                  <c:v>All Others</c:v>
                </c:pt>
                <c:pt idx="1718">
                  <c:v>All Others</c:v>
                </c:pt>
                <c:pt idx="1719">
                  <c:v>All Others</c:v>
                </c:pt>
                <c:pt idx="1720">
                  <c:v>All Others</c:v>
                </c:pt>
                <c:pt idx="1721">
                  <c:v>All Others</c:v>
                </c:pt>
                <c:pt idx="1722">
                  <c:v>Entremont</c:v>
                </c:pt>
                <c:pt idx="1723">
                  <c:v>All Others</c:v>
                </c:pt>
                <c:pt idx="1724">
                  <c:v>All Others</c:v>
                </c:pt>
                <c:pt idx="1725">
                  <c:v>Private Lab</c:v>
                </c:pt>
                <c:pt idx="1726">
                  <c:v>All Others</c:v>
                </c:pt>
                <c:pt idx="1727">
                  <c:v>All Others</c:v>
                </c:pt>
                <c:pt idx="1728">
                  <c:v>Eurial Autr</c:v>
                </c:pt>
                <c:pt idx="1729">
                  <c:v>La Belle Et</c:v>
                </c:pt>
                <c:pt idx="1730">
                  <c:v>All Others</c:v>
                </c:pt>
                <c:pt idx="1731">
                  <c:v>All Others</c:v>
                </c:pt>
                <c:pt idx="1732">
                  <c:v>All Others</c:v>
                </c:pt>
                <c:pt idx="1733">
                  <c:v>All Others</c:v>
                </c:pt>
                <c:pt idx="1734">
                  <c:v>Milleret: A</c:v>
                </c:pt>
                <c:pt idx="1735">
                  <c:v>All Others</c:v>
                </c:pt>
                <c:pt idx="1736">
                  <c:v>All Others</c:v>
                </c:pt>
                <c:pt idx="1737">
                  <c:v>Triballat R</c:v>
                </c:pt>
                <c:pt idx="1738">
                  <c:v>Entremont</c:v>
                </c:pt>
                <c:pt idx="1739">
                  <c:v>All Others</c:v>
                </c:pt>
                <c:pt idx="1740">
                  <c:v>All Others</c:v>
                </c:pt>
                <c:pt idx="1741">
                  <c:v>All Others</c:v>
                </c:pt>
                <c:pt idx="1742">
                  <c:v>All Others</c:v>
                </c:pt>
                <c:pt idx="1743">
                  <c:v>All Others</c:v>
                </c:pt>
                <c:pt idx="1744">
                  <c:v>All Others</c:v>
                </c:pt>
                <c:pt idx="1745">
                  <c:v>All Others</c:v>
                </c:pt>
                <c:pt idx="1746">
                  <c:v>Eurial Autr</c:v>
                </c:pt>
                <c:pt idx="1747">
                  <c:v>All Others</c:v>
                </c:pt>
                <c:pt idx="1748">
                  <c:v>All Others</c:v>
                </c:pt>
                <c:pt idx="1749">
                  <c:v>All Others</c:v>
                </c:pt>
                <c:pt idx="1750">
                  <c:v>All Others</c:v>
                </c:pt>
                <c:pt idx="1751">
                  <c:v>La Belle Et</c:v>
                </c:pt>
                <c:pt idx="1752">
                  <c:v>All Others</c:v>
                </c:pt>
                <c:pt idx="1753">
                  <c:v>All Others</c:v>
                </c:pt>
                <c:pt idx="1754">
                  <c:v>Eurial Autr</c:v>
                </c:pt>
                <c:pt idx="1755">
                  <c:v>All Others</c:v>
                </c:pt>
                <c:pt idx="1756">
                  <c:v>All Others</c:v>
                </c:pt>
                <c:pt idx="1757">
                  <c:v>All Others</c:v>
                </c:pt>
                <c:pt idx="1758">
                  <c:v>All Others</c:v>
                </c:pt>
                <c:pt idx="1759">
                  <c:v>All Others</c:v>
                </c:pt>
                <c:pt idx="1760">
                  <c:v>All Others</c:v>
                </c:pt>
                <c:pt idx="1761">
                  <c:v>All Others</c:v>
                </c:pt>
                <c:pt idx="1762">
                  <c:v>All Others</c:v>
                </c:pt>
                <c:pt idx="1763">
                  <c:v>All Others</c:v>
                </c:pt>
                <c:pt idx="1764">
                  <c:v>All Others</c:v>
                </c:pt>
                <c:pt idx="1765">
                  <c:v>All Others</c:v>
                </c:pt>
                <c:pt idx="1766">
                  <c:v>All Others</c:v>
                </c:pt>
                <c:pt idx="1767">
                  <c:v>All Others</c:v>
                </c:pt>
                <c:pt idx="1768">
                  <c:v>All Others</c:v>
                </c:pt>
                <c:pt idx="1769">
                  <c:v>All Others</c:v>
                </c:pt>
                <c:pt idx="1770">
                  <c:v>All Others</c:v>
                </c:pt>
                <c:pt idx="1771">
                  <c:v>All Others</c:v>
                </c:pt>
                <c:pt idx="1772">
                  <c:v>All Others</c:v>
                </c:pt>
                <c:pt idx="1773">
                  <c:v>Richesmonts</c:v>
                </c:pt>
                <c:pt idx="1774">
                  <c:v>All Others</c:v>
                </c:pt>
                <c:pt idx="1775">
                  <c:v>All Others</c:v>
                </c:pt>
                <c:pt idx="1776">
                  <c:v>All Others</c:v>
                </c:pt>
                <c:pt idx="1777">
                  <c:v>All Others</c:v>
                </c:pt>
                <c:pt idx="1778">
                  <c:v>All Others</c:v>
                </c:pt>
                <c:pt idx="1779">
                  <c:v>All Others</c:v>
                </c:pt>
                <c:pt idx="1780">
                  <c:v>Boursin</c:v>
                </c:pt>
                <c:pt idx="1781">
                  <c:v>All Others</c:v>
                </c:pt>
                <c:pt idx="1782">
                  <c:v>All Others</c:v>
                </c:pt>
                <c:pt idx="1783">
                  <c:v>All Others</c:v>
                </c:pt>
                <c:pt idx="1784">
                  <c:v>All Others</c:v>
                </c:pt>
                <c:pt idx="1785">
                  <c:v>All Others</c:v>
                </c:pt>
                <c:pt idx="1786">
                  <c:v>All Others</c:v>
                </c:pt>
                <c:pt idx="1787">
                  <c:v>All Others</c:v>
                </c:pt>
                <c:pt idx="1788">
                  <c:v>Lou Perac</c:v>
                </c:pt>
                <c:pt idx="1789">
                  <c:v>Etoile Du Q</c:v>
                </c:pt>
                <c:pt idx="1790">
                  <c:v>All Others</c:v>
                </c:pt>
                <c:pt idx="1791">
                  <c:v>All Others</c:v>
                </c:pt>
                <c:pt idx="1792">
                  <c:v>All Others</c:v>
                </c:pt>
                <c:pt idx="1793">
                  <c:v>All Others</c:v>
                </c:pt>
                <c:pt idx="1794">
                  <c:v>All Others</c:v>
                </c:pt>
                <c:pt idx="1795">
                  <c:v>All Others</c:v>
                </c:pt>
                <c:pt idx="1796">
                  <c:v>All Others</c:v>
                </c:pt>
                <c:pt idx="1797">
                  <c:v>All Others</c:v>
                </c:pt>
                <c:pt idx="1798">
                  <c:v>All Others</c:v>
                </c:pt>
                <c:pt idx="1799">
                  <c:v>All Others</c:v>
                </c:pt>
                <c:pt idx="1800">
                  <c:v>All Others</c:v>
                </c:pt>
                <c:pt idx="1801">
                  <c:v>Entremont</c:v>
                </c:pt>
                <c:pt idx="1802">
                  <c:v>All Others</c:v>
                </c:pt>
                <c:pt idx="1803">
                  <c:v>All Others</c:v>
                </c:pt>
                <c:pt idx="1804">
                  <c:v>All Others</c:v>
                </c:pt>
                <c:pt idx="1805">
                  <c:v>All Others</c:v>
                </c:pt>
                <c:pt idx="1806">
                  <c:v>All Others</c:v>
                </c:pt>
                <c:pt idx="1807">
                  <c:v>All Others</c:v>
                </c:pt>
                <c:pt idx="1808">
                  <c:v>All Others</c:v>
                </c:pt>
                <c:pt idx="1809">
                  <c:v>Juraflore</c:v>
                </c:pt>
                <c:pt idx="1810">
                  <c:v>All Others</c:v>
                </c:pt>
                <c:pt idx="1811">
                  <c:v>All Others</c:v>
                </c:pt>
                <c:pt idx="1812">
                  <c:v>All Others</c:v>
                </c:pt>
                <c:pt idx="1813">
                  <c:v>Etoile Du V</c:v>
                </c:pt>
                <c:pt idx="1814">
                  <c:v>All Others</c:v>
                </c:pt>
                <c:pt idx="1815">
                  <c:v>All Others</c:v>
                </c:pt>
                <c:pt idx="1816">
                  <c:v>All Others</c:v>
                </c:pt>
                <c:pt idx="1817">
                  <c:v>All Others</c:v>
                </c:pt>
                <c:pt idx="1818">
                  <c:v>All Others</c:v>
                </c:pt>
                <c:pt idx="1819">
                  <c:v>President</c:v>
                </c:pt>
                <c:pt idx="1820">
                  <c:v>Entremont</c:v>
                </c:pt>
                <c:pt idx="1821">
                  <c:v>Lactalis: A</c:v>
                </c:pt>
                <c:pt idx="1822">
                  <c:v>All Others</c:v>
                </c:pt>
                <c:pt idx="1823">
                  <c:v>All Others</c:v>
                </c:pt>
                <c:pt idx="1824">
                  <c:v>All Others</c:v>
                </c:pt>
                <c:pt idx="1825">
                  <c:v>All Others</c:v>
                </c:pt>
                <c:pt idx="1826">
                  <c:v>All Others</c:v>
                </c:pt>
                <c:pt idx="1827">
                  <c:v>Private Lab</c:v>
                </c:pt>
                <c:pt idx="1828">
                  <c:v>All Others</c:v>
                </c:pt>
                <c:pt idx="1829">
                  <c:v>All Others</c:v>
                </c:pt>
                <c:pt idx="1830">
                  <c:v>All Others</c:v>
                </c:pt>
                <c:pt idx="1831">
                  <c:v>All Others</c:v>
                </c:pt>
                <c:pt idx="1832">
                  <c:v>All Others</c:v>
                </c:pt>
                <c:pt idx="1833">
                  <c:v>Etoile Du V</c:v>
                </c:pt>
                <c:pt idx="1834">
                  <c:v>All Others</c:v>
                </c:pt>
                <c:pt idx="1835">
                  <c:v>All Others</c:v>
                </c:pt>
                <c:pt idx="1836">
                  <c:v>Tartare</c:v>
                </c:pt>
                <c:pt idx="1837">
                  <c:v>All Others</c:v>
                </c:pt>
                <c:pt idx="1838">
                  <c:v>All Others</c:v>
                </c:pt>
                <c:pt idx="1839">
                  <c:v>All Others</c:v>
                </c:pt>
                <c:pt idx="1840">
                  <c:v>All Others</c:v>
                </c:pt>
                <c:pt idx="1841">
                  <c:v>All Others</c:v>
                </c:pt>
                <c:pt idx="1842">
                  <c:v>All Others</c:v>
                </c:pt>
                <c:pt idx="1843">
                  <c:v>All Others</c:v>
                </c:pt>
                <c:pt idx="1844">
                  <c:v>President</c:v>
                </c:pt>
                <c:pt idx="1845">
                  <c:v>All Others</c:v>
                </c:pt>
                <c:pt idx="1846">
                  <c:v>All Others</c:v>
                </c:pt>
                <c:pt idx="1847">
                  <c:v>All Others</c:v>
                </c:pt>
                <c:pt idx="1848">
                  <c:v>All Others</c:v>
                </c:pt>
                <c:pt idx="1849">
                  <c:v>Triballat R</c:v>
                </c:pt>
                <c:pt idx="1850">
                  <c:v>All Others</c:v>
                </c:pt>
                <c:pt idx="1851">
                  <c:v>All Others</c:v>
                </c:pt>
                <c:pt idx="1852">
                  <c:v>All Others</c:v>
                </c:pt>
                <c:pt idx="1853">
                  <c:v>All Others</c:v>
                </c:pt>
                <c:pt idx="1854">
                  <c:v>Private Lab</c:v>
                </c:pt>
                <c:pt idx="1855">
                  <c:v>Entremont</c:v>
                </c:pt>
                <c:pt idx="1856">
                  <c:v>All Others</c:v>
                </c:pt>
                <c:pt idx="1857">
                  <c:v>All Others</c:v>
                </c:pt>
                <c:pt idx="1858">
                  <c:v>All Others</c:v>
                </c:pt>
                <c:pt idx="1859">
                  <c:v>All Others</c:v>
                </c:pt>
                <c:pt idx="1860">
                  <c:v>All Others</c:v>
                </c:pt>
                <c:pt idx="1861">
                  <c:v>All Others</c:v>
                </c:pt>
                <c:pt idx="1862">
                  <c:v>All Others</c:v>
                </c:pt>
                <c:pt idx="1863">
                  <c:v>All Others</c:v>
                </c:pt>
                <c:pt idx="1864">
                  <c:v>Triballat R</c:v>
                </c:pt>
                <c:pt idx="1865">
                  <c:v>All Others</c:v>
                </c:pt>
                <c:pt idx="1866">
                  <c:v>All Others</c:v>
                </c:pt>
                <c:pt idx="1867">
                  <c:v>All Others</c:v>
                </c:pt>
                <c:pt idx="1868">
                  <c:v>All Others</c:v>
                </c:pt>
                <c:pt idx="1869">
                  <c:v>All Others</c:v>
                </c:pt>
                <c:pt idx="1870">
                  <c:v>All Others</c:v>
                </c:pt>
                <c:pt idx="1871">
                  <c:v>Private Lab</c:v>
                </c:pt>
                <c:pt idx="1872">
                  <c:v>All Others</c:v>
                </c:pt>
                <c:pt idx="1873">
                  <c:v>All Others</c:v>
                </c:pt>
                <c:pt idx="1874">
                  <c:v>All Others</c:v>
                </c:pt>
                <c:pt idx="1875">
                  <c:v>Private Lab</c:v>
                </c:pt>
                <c:pt idx="1876">
                  <c:v>All Others</c:v>
                </c:pt>
                <c:pt idx="1877">
                  <c:v>Corsica</c:v>
                </c:pt>
                <c:pt idx="1878">
                  <c:v>All Others</c:v>
                </c:pt>
                <c:pt idx="1879">
                  <c:v>All Others</c:v>
                </c:pt>
                <c:pt idx="1880">
                  <c:v>All Others</c:v>
                </c:pt>
                <c:pt idx="1881">
                  <c:v>St Moret</c:v>
                </c:pt>
                <c:pt idx="1882">
                  <c:v>Savencia: A</c:v>
                </c:pt>
                <c:pt idx="1883">
                  <c:v>Saint Agur</c:v>
                </c:pt>
                <c:pt idx="1884">
                  <c:v>Lactalis: A</c:v>
                </c:pt>
                <c:pt idx="1885">
                  <c:v>All Others</c:v>
                </c:pt>
                <c:pt idx="1886">
                  <c:v>All Others</c:v>
                </c:pt>
                <c:pt idx="1887">
                  <c:v>All Others</c:v>
                </c:pt>
                <c:pt idx="1888">
                  <c:v>All Others</c:v>
                </c:pt>
                <c:pt idx="1889">
                  <c:v>Savencia: A</c:v>
                </c:pt>
                <c:pt idx="1890">
                  <c:v>All Others</c:v>
                </c:pt>
                <c:pt idx="1891">
                  <c:v>All Others</c:v>
                </c:pt>
                <c:pt idx="1892">
                  <c:v>All Others</c:v>
                </c:pt>
                <c:pt idx="1893">
                  <c:v>All Others</c:v>
                </c:pt>
                <c:pt idx="1894">
                  <c:v>Lactalis: A</c:v>
                </c:pt>
                <c:pt idx="1895">
                  <c:v>All Others</c:v>
                </c:pt>
                <c:pt idx="1896">
                  <c:v>All Others</c:v>
                </c:pt>
                <c:pt idx="1897">
                  <c:v>All Others</c:v>
                </c:pt>
                <c:pt idx="1898">
                  <c:v>All Others</c:v>
                </c:pt>
                <c:pt idx="1899">
                  <c:v>All Others</c:v>
                </c:pt>
                <c:pt idx="1900">
                  <c:v>All Others</c:v>
                </c:pt>
                <c:pt idx="1901">
                  <c:v>President</c:v>
                </c:pt>
                <c:pt idx="1902">
                  <c:v>All Others</c:v>
                </c:pt>
                <c:pt idx="1903">
                  <c:v>All Others</c:v>
                </c:pt>
                <c:pt idx="1904">
                  <c:v>All Others</c:v>
                </c:pt>
                <c:pt idx="1905">
                  <c:v>All Others</c:v>
                </c:pt>
                <c:pt idx="1906">
                  <c:v>Richesmonts</c:v>
                </c:pt>
                <c:pt idx="1907">
                  <c:v>All Others</c:v>
                </c:pt>
                <c:pt idx="1908">
                  <c:v>La Belle Et</c:v>
                </c:pt>
                <c:pt idx="1909">
                  <c:v>All Others</c:v>
                </c:pt>
                <c:pt idx="1910">
                  <c:v>All Others</c:v>
                </c:pt>
                <c:pt idx="1911">
                  <c:v>All Others</c:v>
                </c:pt>
                <c:pt idx="1912">
                  <c:v>All Others</c:v>
                </c:pt>
                <c:pt idx="1913">
                  <c:v>All Others</c:v>
                </c:pt>
                <c:pt idx="1914">
                  <c:v>All Others</c:v>
                </c:pt>
                <c:pt idx="1915">
                  <c:v>All Others</c:v>
                </c:pt>
                <c:pt idx="1916">
                  <c:v>All Others</c:v>
                </c:pt>
                <c:pt idx="1917">
                  <c:v>All Others</c:v>
                </c:pt>
                <c:pt idx="1918">
                  <c:v>All Others</c:v>
                </c:pt>
                <c:pt idx="1919">
                  <c:v>All Others</c:v>
                </c:pt>
                <c:pt idx="1920">
                  <c:v>All Others</c:v>
                </c:pt>
                <c:pt idx="1921">
                  <c:v>Private Lab</c:v>
                </c:pt>
                <c:pt idx="1922">
                  <c:v>All Others</c:v>
                </c:pt>
                <c:pt idx="1923">
                  <c:v>All Others</c:v>
                </c:pt>
                <c:pt idx="1924">
                  <c:v>Paysan Bret</c:v>
                </c:pt>
                <c:pt idx="1925">
                  <c:v>All Others</c:v>
                </c:pt>
                <c:pt idx="1926">
                  <c:v>Eurial Autr</c:v>
                </c:pt>
                <c:pt idx="1927">
                  <c:v>All Others</c:v>
                </c:pt>
                <c:pt idx="1928">
                  <c:v>Triballat R</c:v>
                </c:pt>
                <c:pt idx="1929">
                  <c:v>All Others</c:v>
                </c:pt>
                <c:pt idx="1930">
                  <c:v>All Others</c:v>
                </c:pt>
                <c:pt idx="1931">
                  <c:v>All Others</c:v>
                </c:pt>
                <c:pt idx="1932">
                  <c:v>La Belle Et</c:v>
                </c:pt>
                <c:pt idx="1933">
                  <c:v>All Others</c:v>
                </c:pt>
                <c:pt idx="1934">
                  <c:v>Cousteron</c:v>
                </c:pt>
                <c:pt idx="1935">
                  <c:v>All Others</c:v>
                </c:pt>
                <c:pt idx="1936">
                  <c:v>All Others</c:v>
                </c:pt>
                <c:pt idx="1937">
                  <c:v>All Others</c:v>
                </c:pt>
                <c:pt idx="1938">
                  <c:v>All Others</c:v>
                </c:pt>
                <c:pt idx="1939">
                  <c:v>La Belle Et</c:v>
                </c:pt>
                <c:pt idx="1940">
                  <c:v>All Others</c:v>
                </c:pt>
                <c:pt idx="1941">
                  <c:v>All Others</c:v>
                </c:pt>
                <c:pt idx="1942">
                  <c:v>All Others</c:v>
                </c:pt>
                <c:pt idx="1943">
                  <c:v>All Others</c:v>
                </c:pt>
                <c:pt idx="1944">
                  <c:v>Savencia: A</c:v>
                </c:pt>
                <c:pt idx="1945">
                  <c:v>Eurial Autr</c:v>
                </c:pt>
                <c:pt idx="1946">
                  <c:v>All Others</c:v>
                </c:pt>
                <c:pt idx="1947">
                  <c:v>All Others</c:v>
                </c:pt>
                <c:pt idx="1948">
                  <c:v>All Others</c:v>
                </c:pt>
                <c:pt idx="1949">
                  <c:v>All Others</c:v>
                </c:pt>
                <c:pt idx="1950">
                  <c:v>Entremont</c:v>
                </c:pt>
                <c:pt idx="1951">
                  <c:v>All Others</c:v>
                </c:pt>
                <c:pt idx="1952">
                  <c:v>All Others</c:v>
                </c:pt>
                <c:pt idx="1953">
                  <c:v>All Others</c:v>
                </c:pt>
                <c:pt idx="1954">
                  <c:v>All Others</c:v>
                </c:pt>
                <c:pt idx="1955">
                  <c:v>St Moret</c:v>
                </c:pt>
                <c:pt idx="1956">
                  <c:v>Pochat</c:v>
                </c:pt>
                <c:pt idx="1957">
                  <c:v>All Others</c:v>
                </c:pt>
                <c:pt idx="1958">
                  <c:v>All Others</c:v>
                </c:pt>
                <c:pt idx="1959">
                  <c:v>Savencia: A</c:v>
                </c:pt>
                <c:pt idx="1960">
                  <c:v>Private Lab</c:v>
                </c:pt>
                <c:pt idx="1961">
                  <c:v>All Others</c:v>
                </c:pt>
                <c:pt idx="1962">
                  <c:v>All Others</c:v>
                </c:pt>
                <c:pt idx="1963">
                  <c:v>All Others</c:v>
                </c:pt>
                <c:pt idx="1964">
                  <c:v>Fauquet</c:v>
                </c:pt>
                <c:pt idx="1965">
                  <c:v>All Others</c:v>
                </c:pt>
                <c:pt idx="1966">
                  <c:v>Lactalis: A</c:v>
                </c:pt>
                <c:pt idx="1967">
                  <c:v>Private Lab</c:v>
                </c:pt>
                <c:pt idx="1968">
                  <c:v>All Others</c:v>
                </c:pt>
                <c:pt idx="1969">
                  <c:v>All Others</c:v>
                </c:pt>
                <c:pt idx="1970">
                  <c:v>All Others</c:v>
                </c:pt>
                <c:pt idx="1971">
                  <c:v>All Others</c:v>
                </c:pt>
                <c:pt idx="1972">
                  <c:v>All Others</c:v>
                </c:pt>
                <c:pt idx="1973">
                  <c:v>All Others</c:v>
                </c:pt>
                <c:pt idx="1974">
                  <c:v>Entremont</c:v>
                </c:pt>
                <c:pt idx="1975">
                  <c:v>All Others</c:v>
                </c:pt>
                <c:pt idx="1976">
                  <c:v>All Others</c:v>
                </c:pt>
                <c:pt idx="1977">
                  <c:v>All Others</c:v>
                </c:pt>
                <c:pt idx="1978">
                  <c:v>All Others</c:v>
                </c:pt>
                <c:pt idx="1979">
                  <c:v>All Others</c:v>
                </c:pt>
                <c:pt idx="1980">
                  <c:v>Milleret: A</c:v>
                </c:pt>
                <c:pt idx="1981">
                  <c:v>All Others</c:v>
                </c:pt>
                <c:pt idx="1982">
                  <c:v>All Others</c:v>
                </c:pt>
                <c:pt idx="1983">
                  <c:v>All Others</c:v>
                </c:pt>
                <c:pt idx="1984">
                  <c:v>Savencia: A</c:v>
                </c:pt>
                <c:pt idx="1985">
                  <c:v>All Others</c:v>
                </c:pt>
                <c:pt idx="1986">
                  <c:v>All Others</c:v>
                </c:pt>
                <c:pt idx="1987">
                  <c:v>All Others</c:v>
                </c:pt>
                <c:pt idx="1988">
                  <c:v>All Others</c:v>
                </c:pt>
                <c:pt idx="1989">
                  <c:v>All Others</c:v>
                </c:pt>
                <c:pt idx="1990">
                  <c:v>All Others</c:v>
                </c:pt>
                <c:pt idx="1991">
                  <c:v>All Others</c:v>
                </c:pt>
                <c:pt idx="1992">
                  <c:v>All Others</c:v>
                </c:pt>
                <c:pt idx="1993">
                  <c:v>All Others</c:v>
                </c:pt>
                <c:pt idx="1994">
                  <c:v>All Others</c:v>
                </c:pt>
                <c:pt idx="1995">
                  <c:v>All Others</c:v>
                </c:pt>
                <c:pt idx="1996">
                  <c:v>All Others</c:v>
                </c:pt>
                <c:pt idx="1997">
                  <c:v>All Others</c:v>
                </c:pt>
                <c:pt idx="1998">
                  <c:v>Raguin</c:v>
                </c:pt>
                <c:pt idx="1999">
                  <c:v>All Others</c:v>
                </c:pt>
                <c:pt idx="2000">
                  <c:v>All Others</c:v>
                </c:pt>
                <c:pt idx="2001">
                  <c:v>All Others</c:v>
                </c:pt>
                <c:pt idx="2002">
                  <c:v>All Others</c:v>
                </c:pt>
                <c:pt idx="2003">
                  <c:v>All Others</c:v>
                </c:pt>
                <c:pt idx="2004">
                  <c:v>All Others</c:v>
                </c:pt>
                <c:pt idx="2005">
                  <c:v>All Others</c:v>
                </c:pt>
                <c:pt idx="2006">
                  <c:v>All Others</c:v>
                </c:pt>
                <c:pt idx="2007">
                  <c:v>All Others</c:v>
                </c:pt>
                <c:pt idx="2008">
                  <c:v>All Others</c:v>
                </c:pt>
                <c:pt idx="2009">
                  <c:v>All Others</c:v>
                </c:pt>
                <c:pt idx="2010">
                  <c:v>All Others</c:v>
                </c:pt>
                <c:pt idx="2011">
                  <c:v>All Others</c:v>
                </c:pt>
                <c:pt idx="2012">
                  <c:v>All Others</c:v>
                </c:pt>
                <c:pt idx="2013">
                  <c:v>All Others</c:v>
                </c:pt>
                <c:pt idx="2014">
                  <c:v>All Others</c:v>
                </c:pt>
                <c:pt idx="2015">
                  <c:v>All Others</c:v>
                </c:pt>
                <c:pt idx="2016">
                  <c:v>All Others</c:v>
                </c:pt>
                <c:pt idx="2017">
                  <c:v>Eurial Autr</c:v>
                </c:pt>
                <c:pt idx="2018">
                  <c:v>Eurial Autr</c:v>
                </c:pt>
                <c:pt idx="2019">
                  <c:v>All Others</c:v>
                </c:pt>
                <c:pt idx="2020">
                  <c:v>All Others</c:v>
                </c:pt>
                <c:pt idx="2021">
                  <c:v>All Others</c:v>
                </c:pt>
                <c:pt idx="2022">
                  <c:v>All Others</c:v>
                </c:pt>
                <c:pt idx="2023">
                  <c:v>All Others</c:v>
                </c:pt>
                <c:pt idx="2024">
                  <c:v>Milleret: A</c:v>
                </c:pt>
                <c:pt idx="2025">
                  <c:v>All Others</c:v>
                </c:pt>
                <c:pt idx="2026">
                  <c:v>All Others</c:v>
                </c:pt>
                <c:pt idx="2027">
                  <c:v>All Others</c:v>
                </c:pt>
                <c:pt idx="2028">
                  <c:v>All Others</c:v>
                </c:pt>
                <c:pt idx="2029">
                  <c:v>All Others</c:v>
                </c:pt>
                <c:pt idx="2030">
                  <c:v>Casa Azzurr</c:v>
                </c:pt>
                <c:pt idx="2031">
                  <c:v>All Others</c:v>
                </c:pt>
                <c:pt idx="2032">
                  <c:v>All Others</c:v>
                </c:pt>
                <c:pt idx="2033">
                  <c:v>All Others</c:v>
                </c:pt>
                <c:pt idx="2034">
                  <c:v>All Others</c:v>
                </c:pt>
                <c:pt idx="2035">
                  <c:v>All Others</c:v>
                </c:pt>
                <c:pt idx="2036">
                  <c:v>All Others</c:v>
                </c:pt>
                <c:pt idx="2037">
                  <c:v>All Others</c:v>
                </c:pt>
                <c:pt idx="2038">
                  <c:v>All Others</c:v>
                </c:pt>
                <c:pt idx="2039">
                  <c:v>Private Lab</c:v>
                </c:pt>
                <c:pt idx="2040">
                  <c:v>Savencia: A</c:v>
                </c:pt>
                <c:pt idx="2041">
                  <c:v>Lactalis: A</c:v>
                </c:pt>
                <c:pt idx="2042">
                  <c:v>All Others</c:v>
                </c:pt>
                <c:pt idx="2043">
                  <c:v>All Others</c:v>
                </c:pt>
                <c:pt idx="2044">
                  <c:v>All Others</c:v>
                </c:pt>
                <c:pt idx="2045">
                  <c:v>Eurial Autr</c:v>
                </c:pt>
                <c:pt idx="2046">
                  <c:v>All Others</c:v>
                </c:pt>
                <c:pt idx="2047">
                  <c:v>All Others</c:v>
                </c:pt>
                <c:pt idx="2048">
                  <c:v>All Others</c:v>
                </c:pt>
                <c:pt idx="2049">
                  <c:v>Lou Perac</c:v>
                </c:pt>
                <c:pt idx="2050">
                  <c:v>All Others</c:v>
                </c:pt>
                <c:pt idx="2051">
                  <c:v>All Others</c:v>
                </c:pt>
                <c:pt idx="2052">
                  <c:v>All Others</c:v>
                </c:pt>
                <c:pt idx="2053">
                  <c:v>All Others</c:v>
                </c:pt>
                <c:pt idx="2054">
                  <c:v>All Others</c:v>
                </c:pt>
                <c:pt idx="2055">
                  <c:v>Pave D'Affi</c:v>
                </c:pt>
                <c:pt idx="2056">
                  <c:v>Triballat N</c:v>
                </c:pt>
                <c:pt idx="2057">
                  <c:v>President</c:v>
                </c:pt>
                <c:pt idx="2058">
                  <c:v>All Others</c:v>
                </c:pt>
                <c:pt idx="2059">
                  <c:v>All Others</c:v>
                </c:pt>
                <c:pt idx="2060">
                  <c:v>All Others</c:v>
                </c:pt>
                <c:pt idx="2061">
                  <c:v>Raguin</c:v>
                </c:pt>
                <c:pt idx="2062">
                  <c:v>All Others</c:v>
                </c:pt>
                <c:pt idx="2063">
                  <c:v>All Others</c:v>
                </c:pt>
                <c:pt idx="2064">
                  <c:v>All Others</c:v>
                </c:pt>
                <c:pt idx="2065">
                  <c:v>All Others</c:v>
                </c:pt>
                <c:pt idx="2066">
                  <c:v>All Others</c:v>
                </c:pt>
                <c:pt idx="2067">
                  <c:v>President</c:v>
                </c:pt>
                <c:pt idx="2068">
                  <c:v>All Others</c:v>
                </c:pt>
                <c:pt idx="2069">
                  <c:v>All Others</c:v>
                </c:pt>
                <c:pt idx="2070">
                  <c:v>All Others</c:v>
                </c:pt>
                <c:pt idx="2071">
                  <c:v>All Others</c:v>
                </c:pt>
                <c:pt idx="2072">
                  <c:v>All Others</c:v>
                </c:pt>
                <c:pt idx="2073">
                  <c:v>All Others</c:v>
                </c:pt>
                <c:pt idx="2074">
                  <c:v>All Others</c:v>
                </c:pt>
                <c:pt idx="2075">
                  <c:v>All Others</c:v>
                </c:pt>
                <c:pt idx="2076">
                  <c:v>All Others</c:v>
                </c:pt>
                <c:pt idx="2077">
                  <c:v>All Others</c:v>
                </c:pt>
                <c:pt idx="2078">
                  <c:v>All Others</c:v>
                </c:pt>
                <c:pt idx="2079">
                  <c:v>All Others</c:v>
                </c:pt>
                <c:pt idx="2080">
                  <c:v>All Others</c:v>
                </c:pt>
                <c:pt idx="2081">
                  <c:v>All Others</c:v>
                </c:pt>
                <c:pt idx="2082">
                  <c:v>All Others</c:v>
                </c:pt>
                <c:pt idx="2083">
                  <c:v>All Others</c:v>
                </c:pt>
                <c:pt idx="2084">
                  <c:v>All Others</c:v>
                </c:pt>
                <c:pt idx="2085">
                  <c:v>All Others</c:v>
                </c:pt>
                <c:pt idx="2086">
                  <c:v>All Others</c:v>
                </c:pt>
                <c:pt idx="2087">
                  <c:v>All Others</c:v>
                </c:pt>
                <c:pt idx="2088">
                  <c:v>All Others</c:v>
                </c:pt>
                <c:pt idx="2089">
                  <c:v>All Others</c:v>
                </c:pt>
                <c:pt idx="2090">
                  <c:v>All Others</c:v>
                </c:pt>
                <c:pt idx="2091">
                  <c:v>All Others</c:v>
                </c:pt>
                <c:pt idx="2092">
                  <c:v>All Others</c:v>
                </c:pt>
                <c:pt idx="2093">
                  <c:v>All Others</c:v>
                </c:pt>
                <c:pt idx="2094">
                  <c:v>All Others</c:v>
                </c:pt>
                <c:pt idx="2095">
                  <c:v>All Others</c:v>
                </c:pt>
                <c:pt idx="2096">
                  <c:v>All Others</c:v>
                </c:pt>
                <c:pt idx="2097">
                  <c:v>All Others</c:v>
                </c:pt>
                <c:pt idx="2098">
                  <c:v>All Others</c:v>
                </c:pt>
                <c:pt idx="2099">
                  <c:v>All Others</c:v>
                </c:pt>
                <c:pt idx="2100">
                  <c:v>All Others</c:v>
                </c:pt>
                <c:pt idx="2101">
                  <c:v>Pochat</c:v>
                </c:pt>
                <c:pt idx="2102">
                  <c:v>All Others</c:v>
                </c:pt>
                <c:pt idx="2103">
                  <c:v>Triballat R</c:v>
                </c:pt>
                <c:pt idx="2104">
                  <c:v>All Others</c:v>
                </c:pt>
                <c:pt idx="2105">
                  <c:v>All Others</c:v>
                </c:pt>
                <c:pt idx="2106">
                  <c:v>All Others</c:v>
                </c:pt>
                <c:pt idx="2107">
                  <c:v>All Others</c:v>
                </c:pt>
                <c:pt idx="2108">
                  <c:v>Tartare</c:v>
                </c:pt>
                <c:pt idx="2109">
                  <c:v>All Others</c:v>
                </c:pt>
                <c:pt idx="2110">
                  <c:v>Savencia: A</c:v>
                </c:pt>
                <c:pt idx="2111">
                  <c:v>All Others</c:v>
                </c:pt>
                <c:pt idx="2112">
                  <c:v>All Others</c:v>
                </c:pt>
                <c:pt idx="2113">
                  <c:v>Vieux Pane</c:v>
                </c:pt>
                <c:pt idx="2114">
                  <c:v>All Others</c:v>
                </c:pt>
                <c:pt idx="2115">
                  <c:v>All Others</c:v>
                </c:pt>
                <c:pt idx="2116">
                  <c:v>All Others</c:v>
                </c:pt>
                <c:pt idx="2117">
                  <c:v>All Others</c:v>
                </c:pt>
                <c:pt idx="2118">
                  <c:v>All Others</c:v>
                </c:pt>
                <c:pt idx="2119">
                  <c:v>All Others</c:v>
                </c:pt>
                <c:pt idx="2120">
                  <c:v>Etoile Du V</c:v>
                </c:pt>
                <c:pt idx="2121">
                  <c:v>All Others</c:v>
                </c:pt>
                <c:pt idx="2122">
                  <c:v>All Others</c:v>
                </c:pt>
                <c:pt idx="2123">
                  <c:v>All Others</c:v>
                </c:pt>
                <c:pt idx="2124">
                  <c:v>All Others</c:v>
                </c:pt>
                <c:pt idx="2125">
                  <c:v>All Others</c:v>
                </c:pt>
                <c:pt idx="2126">
                  <c:v>All Others</c:v>
                </c:pt>
                <c:pt idx="2127">
                  <c:v>All Others</c:v>
                </c:pt>
                <c:pt idx="2128">
                  <c:v>All Others</c:v>
                </c:pt>
                <c:pt idx="2129">
                  <c:v>President</c:v>
                </c:pt>
                <c:pt idx="2130">
                  <c:v>All Others</c:v>
                </c:pt>
                <c:pt idx="2131">
                  <c:v>All Others</c:v>
                </c:pt>
                <c:pt idx="2132">
                  <c:v>Pochat</c:v>
                </c:pt>
                <c:pt idx="2133">
                  <c:v>All Others</c:v>
                </c:pt>
                <c:pt idx="2134">
                  <c:v>All Others</c:v>
                </c:pt>
                <c:pt idx="2135">
                  <c:v>All Others</c:v>
                </c:pt>
                <c:pt idx="2136">
                  <c:v>All Others</c:v>
                </c:pt>
                <c:pt idx="2137">
                  <c:v>All Others</c:v>
                </c:pt>
                <c:pt idx="2138">
                  <c:v>All Others</c:v>
                </c:pt>
                <c:pt idx="2139">
                  <c:v>All Others</c:v>
                </c:pt>
                <c:pt idx="2140">
                  <c:v>All Others</c:v>
                </c:pt>
                <c:pt idx="2141">
                  <c:v>Caprice Des</c:v>
                </c:pt>
                <c:pt idx="2142">
                  <c:v>All Others</c:v>
                </c:pt>
                <c:pt idx="2143">
                  <c:v>All Others</c:v>
                </c:pt>
                <c:pt idx="2144">
                  <c:v>All Others</c:v>
                </c:pt>
                <c:pt idx="2145">
                  <c:v>All Others</c:v>
                </c:pt>
                <c:pt idx="2146">
                  <c:v>All Others</c:v>
                </c:pt>
                <c:pt idx="2147">
                  <c:v>All Others</c:v>
                </c:pt>
                <c:pt idx="2148">
                  <c:v>Raguin</c:v>
                </c:pt>
                <c:pt idx="2149">
                  <c:v>All Others</c:v>
                </c:pt>
                <c:pt idx="2150">
                  <c:v>All Others</c:v>
                </c:pt>
                <c:pt idx="2151">
                  <c:v>All Others</c:v>
                </c:pt>
                <c:pt idx="2152">
                  <c:v>Pave D'Affi</c:v>
                </c:pt>
                <c:pt idx="2153">
                  <c:v>Savencia: A</c:v>
                </c:pt>
                <c:pt idx="2154">
                  <c:v>All Others</c:v>
                </c:pt>
                <c:pt idx="2155">
                  <c:v>All Others</c:v>
                </c:pt>
                <c:pt idx="2156">
                  <c:v>All Others</c:v>
                </c:pt>
                <c:pt idx="2157">
                  <c:v>Savencia: A</c:v>
                </c:pt>
                <c:pt idx="2158">
                  <c:v>All Others</c:v>
                </c:pt>
                <c:pt idx="2159">
                  <c:v>All Others</c:v>
                </c:pt>
                <c:pt idx="2160">
                  <c:v>Richesmonts</c:v>
                </c:pt>
                <c:pt idx="2161">
                  <c:v>All Others</c:v>
                </c:pt>
                <c:pt idx="2162">
                  <c:v>All Others</c:v>
                </c:pt>
                <c:pt idx="2163">
                  <c:v>All Others</c:v>
                </c:pt>
                <c:pt idx="2164">
                  <c:v>All Others</c:v>
                </c:pt>
                <c:pt idx="2165">
                  <c:v>All Others</c:v>
                </c:pt>
                <c:pt idx="2166">
                  <c:v>Savencia: A</c:v>
                </c:pt>
                <c:pt idx="2167">
                  <c:v>All Others</c:v>
                </c:pt>
                <c:pt idx="2168">
                  <c:v>All Others</c:v>
                </c:pt>
                <c:pt idx="2169">
                  <c:v>All Others</c:v>
                </c:pt>
                <c:pt idx="2170">
                  <c:v>All Others</c:v>
                </c:pt>
                <c:pt idx="2171">
                  <c:v>All Others</c:v>
                </c:pt>
                <c:pt idx="2172">
                  <c:v>All Others</c:v>
                </c:pt>
                <c:pt idx="2173">
                  <c:v>All Others</c:v>
                </c:pt>
                <c:pt idx="2174">
                  <c:v>Milleret: A</c:v>
                </c:pt>
                <c:pt idx="2175">
                  <c:v>All Others</c:v>
                </c:pt>
                <c:pt idx="2176">
                  <c:v>All Others</c:v>
                </c:pt>
                <c:pt idx="2177">
                  <c:v>All Others</c:v>
                </c:pt>
                <c:pt idx="2178">
                  <c:v>All Others</c:v>
                </c:pt>
                <c:pt idx="2179">
                  <c:v>Eurial Autr</c:v>
                </c:pt>
                <c:pt idx="2180">
                  <c:v>All Others</c:v>
                </c:pt>
                <c:pt idx="2181">
                  <c:v>All Others</c:v>
                </c:pt>
                <c:pt idx="2182">
                  <c:v>All Others</c:v>
                </c:pt>
                <c:pt idx="2183">
                  <c:v>All Others</c:v>
                </c:pt>
                <c:pt idx="2184">
                  <c:v>All Others</c:v>
                </c:pt>
                <c:pt idx="2185">
                  <c:v>Soignon</c:v>
                </c:pt>
                <c:pt idx="2186">
                  <c:v>Pochat</c:v>
                </c:pt>
                <c:pt idx="2187">
                  <c:v>All Others</c:v>
                </c:pt>
                <c:pt idx="2188">
                  <c:v>All Others</c:v>
                </c:pt>
                <c:pt idx="2189">
                  <c:v>All Others</c:v>
                </c:pt>
                <c:pt idx="2190">
                  <c:v>All Others</c:v>
                </c:pt>
                <c:pt idx="2191">
                  <c:v>Leerdammer</c:v>
                </c:pt>
                <c:pt idx="2192">
                  <c:v>All Others</c:v>
                </c:pt>
                <c:pt idx="2193">
                  <c:v>All Others</c:v>
                </c:pt>
                <c:pt idx="2194">
                  <c:v>All Others</c:v>
                </c:pt>
                <c:pt idx="2195">
                  <c:v>All Others</c:v>
                </c:pt>
                <c:pt idx="2196">
                  <c:v>All Others</c:v>
                </c:pt>
                <c:pt idx="2197">
                  <c:v>All Others</c:v>
                </c:pt>
                <c:pt idx="2198">
                  <c:v>All Others</c:v>
                </c:pt>
                <c:pt idx="2199">
                  <c:v>All Others</c:v>
                </c:pt>
                <c:pt idx="2200">
                  <c:v>All Others</c:v>
                </c:pt>
                <c:pt idx="2201">
                  <c:v>All Others</c:v>
                </c:pt>
                <c:pt idx="2202">
                  <c:v>All Others</c:v>
                </c:pt>
                <c:pt idx="2203">
                  <c:v>All Others</c:v>
                </c:pt>
                <c:pt idx="2204">
                  <c:v>All Others</c:v>
                </c:pt>
                <c:pt idx="2205">
                  <c:v>All Others</c:v>
                </c:pt>
                <c:pt idx="2206">
                  <c:v>All Others</c:v>
                </c:pt>
                <c:pt idx="2207">
                  <c:v>Raguin</c:v>
                </c:pt>
                <c:pt idx="2208">
                  <c:v>Etoile Du V</c:v>
                </c:pt>
                <c:pt idx="2209">
                  <c:v>La Belle Et</c:v>
                </c:pt>
                <c:pt idx="2210">
                  <c:v>All Others</c:v>
                </c:pt>
                <c:pt idx="2211">
                  <c:v>Private Lab</c:v>
                </c:pt>
                <c:pt idx="2212">
                  <c:v>All Others</c:v>
                </c:pt>
                <c:pt idx="2213">
                  <c:v>All Others</c:v>
                </c:pt>
                <c:pt idx="2214">
                  <c:v>All Others</c:v>
                </c:pt>
                <c:pt idx="2215">
                  <c:v>All Others</c:v>
                </c:pt>
                <c:pt idx="2216">
                  <c:v>All Others</c:v>
                </c:pt>
                <c:pt idx="2217">
                  <c:v>All Others</c:v>
                </c:pt>
                <c:pt idx="2218">
                  <c:v>All Others</c:v>
                </c:pt>
                <c:pt idx="2219">
                  <c:v>All Others</c:v>
                </c:pt>
                <c:pt idx="2220">
                  <c:v>Etoile Du V</c:v>
                </c:pt>
                <c:pt idx="2221">
                  <c:v>Paysan Bret</c:v>
                </c:pt>
                <c:pt idx="2222">
                  <c:v>Lou Perac</c:v>
                </c:pt>
                <c:pt idx="2223">
                  <c:v>All Others</c:v>
                </c:pt>
                <c:pt idx="2224">
                  <c:v>All Others</c:v>
                </c:pt>
                <c:pt idx="2225">
                  <c:v>All Others</c:v>
                </c:pt>
                <c:pt idx="2226">
                  <c:v>Milleret: A</c:v>
                </c:pt>
                <c:pt idx="2227">
                  <c:v>Petit Billy</c:v>
                </c:pt>
                <c:pt idx="2228">
                  <c:v>All Others</c:v>
                </c:pt>
                <c:pt idx="2229">
                  <c:v>All Others</c:v>
                </c:pt>
                <c:pt idx="2230">
                  <c:v>Lactalis: A</c:v>
                </c:pt>
                <c:pt idx="2231">
                  <c:v>All Others</c:v>
                </c:pt>
                <c:pt idx="2232">
                  <c:v>All Others</c:v>
                </c:pt>
                <c:pt idx="2233">
                  <c:v>All Others</c:v>
                </c:pt>
                <c:pt idx="2234">
                  <c:v>Eurial Autr</c:v>
                </c:pt>
                <c:pt idx="2235">
                  <c:v>All Others</c:v>
                </c:pt>
                <c:pt idx="2236">
                  <c:v>All Others</c:v>
                </c:pt>
                <c:pt idx="2237">
                  <c:v>President</c:v>
                </c:pt>
                <c:pt idx="2238">
                  <c:v>All Others</c:v>
                </c:pt>
                <c:pt idx="2239">
                  <c:v>All Others</c:v>
                </c:pt>
                <c:pt idx="2240">
                  <c:v>Eurial Autr</c:v>
                </c:pt>
                <c:pt idx="2241">
                  <c:v>Private Lab</c:v>
                </c:pt>
                <c:pt idx="2242">
                  <c:v>All Others</c:v>
                </c:pt>
                <c:pt idx="2243">
                  <c:v>All Others</c:v>
                </c:pt>
                <c:pt idx="2244">
                  <c:v>All Others</c:v>
                </c:pt>
                <c:pt idx="2245">
                  <c:v>All Others</c:v>
                </c:pt>
                <c:pt idx="2246">
                  <c:v>All Others</c:v>
                </c:pt>
                <c:pt idx="2247">
                  <c:v>All Others</c:v>
                </c:pt>
                <c:pt idx="2248">
                  <c:v>All Others</c:v>
                </c:pt>
                <c:pt idx="2249">
                  <c:v>All Others</c:v>
                </c:pt>
                <c:pt idx="2250">
                  <c:v>Private Lab</c:v>
                </c:pt>
                <c:pt idx="2251">
                  <c:v>All Others</c:v>
                </c:pt>
                <c:pt idx="2252">
                  <c:v>All Others</c:v>
                </c:pt>
                <c:pt idx="2253">
                  <c:v>All Others</c:v>
                </c:pt>
                <c:pt idx="2254">
                  <c:v>All Others</c:v>
                </c:pt>
                <c:pt idx="2255">
                  <c:v>All Others</c:v>
                </c:pt>
                <c:pt idx="2256">
                  <c:v>All Others</c:v>
                </c:pt>
                <c:pt idx="2257">
                  <c:v>All Others</c:v>
                </c:pt>
                <c:pt idx="2258">
                  <c:v>All Others</c:v>
                </c:pt>
                <c:pt idx="2259">
                  <c:v>All Others</c:v>
                </c:pt>
                <c:pt idx="2260">
                  <c:v>All Others</c:v>
                </c:pt>
                <c:pt idx="2261">
                  <c:v>All Others</c:v>
                </c:pt>
                <c:pt idx="2262">
                  <c:v>All Others</c:v>
                </c:pt>
                <c:pt idx="2263">
                  <c:v>All Others</c:v>
                </c:pt>
                <c:pt idx="2264">
                  <c:v>All Others</c:v>
                </c:pt>
                <c:pt idx="2265">
                  <c:v>All Others</c:v>
                </c:pt>
                <c:pt idx="2266">
                  <c:v>Soignon</c:v>
                </c:pt>
                <c:pt idx="2267">
                  <c:v>All Others</c:v>
                </c:pt>
                <c:pt idx="2268">
                  <c:v>All Others</c:v>
                </c:pt>
                <c:pt idx="2269">
                  <c:v>Leerdammer</c:v>
                </c:pt>
                <c:pt idx="2270">
                  <c:v>All Others</c:v>
                </c:pt>
                <c:pt idx="2271">
                  <c:v>All Others</c:v>
                </c:pt>
                <c:pt idx="2272">
                  <c:v>All Others</c:v>
                </c:pt>
                <c:pt idx="2273">
                  <c:v>All Others</c:v>
                </c:pt>
                <c:pt idx="2274">
                  <c:v>All Others</c:v>
                </c:pt>
                <c:pt idx="2275">
                  <c:v>All Others</c:v>
                </c:pt>
                <c:pt idx="2276">
                  <c:v>All Others</c:v>
                </c:pt>
                <c:pt idx="2277">
                  <c:v>La Belle Et</c:v>
                </c:pt>
                <c:pt idx="2278">
                  <c:v>All Others</c:v>
                </c:pt>
                <c:pt idx="2279">
                  <c:v>Private Lab</c:v>
                </c:pt>
                <c:pt idx="2280">
                  <c:v>Leerdammer</c:v>
                </c:pt>
                <c:pt idx="2281">
                  <c:v>All Others</c:v>
                </c:pt>
                <c:pt idx="2282">
                  <c:v>Paysan Bret</c:v>
                </c:pt>
                <c:pt idx="2283">
                  <c:v>All Others</c:v>
                </c:pt>
                <c:pt idx="2284">
                  <c:v>All Others</c:v>
                </c:pt>
                <c:pt idx="2285">
                  <c:v>All Others</c:v>
                </c:pt>
                <c:pt idx="2286">
                  <c:v>All Others</c:v>
                </c:pt>
                <c:pt idx="2287">
                  <c:v>All Others</c:v>
                </c:pt>
                <c:pt idx="2288">
                  <c:v>All Others</c:v>
                </c:pt>
                <c:pt idx="2289">
                  <c:v>Fol Epi</c:v>
                </c:pt>
                <c:pt idx="2290">
                  <c:v>All Others</c:v>
                </c:pt>
                <c:pt idx="2291">
                  <c:v>Fol Epi</c:v>
                </c:pt>
                <c:pt idx="2292">
                  <c:v>All Others</c:v>
                </c:pt>
                <c:pt idx="2293">
                  <c:v>All Others</c:v>
                </c:pt>
                <c:pt idx="2294">
                  <c:v>All Others</c:v>
                </c:pt>
                <c:pt idx="2295">
                  <c:v>All Others</c:v>
                </c:pt>
                <c:pt idx="2296">
                  <c:v>All Others</c:v>
                </c:pt>
                <c:pt idx="2297">
                  <c:v>All Others</c:v>
                </c:pt>
                <c:pt idx="2298">
                  <c:v>All Others</c:v>
                </c:pt>
                <c:pt idx="2299">
                  <c:v>All Others</c:v>
                </c:pt>
                <c:pt idx="2300">
                  <c:v>All Others</c:v>
                </c:pt>
                <c:pt idx="2301">
                  <c:v>All Others</c:v>
                </c:pt>
                <c:pt idx="2302">
                  <c:v>All Others</c:v>
                </c:pt>
                <c:pt idx="2303">
                  <c:v>All Others</c:v>
                </c:pt>
                <c:pt idx="2304">
                  <c:v>All Others</c:v>
                </c:pt>
                <c:pt idx="2305">
                  <c:v>All Others</c:v>
                </c:pt>
                <c:pt idx="2306">
                  <c:v>All Others</c:v>
                </c:pt>
                <c:pt idx="2307">
                  <c:v>All Others</c:v>
                </c:pt>
                <c:pt idx="2308">
                  <c:v>All Others</c:v>
                </c:pt>
                <c:pt idx="2309">
                  <c:v>All Others</c:v>
                </c:pt>
                <c:pt idx="2310">
                  <c:v>All Others</c:v>
                </c:pt>
                <c:pt idx="2311">
                  <c:v>All Others</c:v>
                </c:pt>
                <c:pt idx="2312">
                  <c:v>Pave D'Affi</c:v>
                </c:pt>
                <c:pt idx="2313">
                  <c:v>All Others</c:v>
                </c:pt>
                <c:pt idx="2314">
                  <c:v>All Others</c:v>
                </c:pt>
                <c:pt idx="2315">
                  <c:v>All Others</c:v>
                </c:pt>
                <c:pt idx="2316">
                  <c:v>All Others</c:v>
                </c:pt>
                <c:pt idx="2317">
                  <c:v>Eurial Autr</c:v>
                </c:pt>
                <c:pt idx="2318">
                  <c:v>All Others</c:v>
                </c:pt>
                <c:pt idx="2319">
                  <c:v>Richesmonts</c:v>
                </c:pt>
                <c:pt idx="2320">
                  <c:v>All Others</c:v>
                </c:pt>
                <c:pt idx="2321">
                  <c:v>All Others</c:v>
                </c:pt>
                <c:pt idx="2322">
                  <c:v>All Others</c:v>
                </c:pt>
                <c:pt idx="2323">
                  <c:v>Private Lab</c:v>
                </c:pt>
                <c:pt idx="2324">
                  <c:v>All Others</c:v>
                </c:pt>
                <c:pt idx="2325">
                  <c:v>All Others</c:v>
                </c:pt>
                <c:pt idx="2326">
                  <c:v>Private Lab</c:v>
                </c:pt>
                <c:pt idx="2327">
                  <c:v>All Others</c:v>
                </c:pt>
                <c:pt idx="2328">
                  <c:v>All Others</c:v>
                </c:pt>
                <c:pt idx="2329">
                  <c:v>All Others</c:v>
                </c:pt>
                <c:pt idx="2330">
                  <c:v>All Others</c:v>
                </c:pt>
                <c:pt idx="2331">
                  <c:v>Eurial Autr</c:v>
                </c:pt>
                <c:pt idx="2332">
                  <c:v>Lactalis: A</c:v>
                </c:pt>
                <c:pt idx="2333">
                  <c:v>All Others</c:v>
                </c:pt>
                <c:pt idx="2334">
                  <c:v>All Others</c:v>
                </c:pt>
                <c:pt idx="2335">
                  <c:v>All Others</c:v>
                </c:pt>
                <c:pt idx="2336">
                  <c:v>All Others</c:v>
                </c:pt>
                <c:pt idx="2337">
                  <c:v>All Others</c:v>
                </c:pt>
                <c:pt idx="2338">
                  <c:v>All Others</c:v>
                </c:pt>
                <c:pt idx="2339">
                  <c:v>Private Lab</c:v>
                </c:pt>
                <c:pt idx="2340">
                  <c:v>All Others</c:v>
                </c:pt>
                <c:pt idx="2341">
                  <c:v>All Others</c:v>
                </c:pt>
                <c:pt idx="2342">
                  <c:v>All Others</c:v>
                </c:pt>
                <c:pt idx="2343">
                  <c:v>All Others</c:v>
                </c:pt>
                <c:pt idx="2344">
                  <c:v>President</c:v>
                </c:pt>
                <c:pt idx="2345">
                  <c:v>All Others</c:v>
                </c:pt>
                <c:pt idx="2346">
                  <c:v>All Others</c:v>
                </c:pt>
                <c:pt idx="2347">
                  <c:v>Entremont</c:v>
                </c:pt>
                <c:pt idx="2348">
                  <c:v>All Others</c:v>
                </c:pt>
                <c:pt idx="2349">
                  <c:v>All Others</c:v>
                </c:pt>
                <c:pt idx="2350">
                  <c:v>All Others</c:v>
                </c:pt>
                <c:pt idx="2351">
                  <c:v>All Others</c:v>
                </c:pt>
                <c:pt idx="2352">
                  <c:v>All Others</c:v>
                </c:pt>
                <c:pt idx="2353">
                  <c:v>All Others</c:v>
                </c:pt>
                <c:pt idx="2354">
                  <c:v>All Others</c:v>
                </c:pt>
                <c:pt idx="2355">
                  <c:v>Lactalis: A</c:v>
                </c:pt>
                <c:pt idx="2356">
                  <c:v>All Others</c:v>
                </c:pt>
                <c:pt idx="2357">
                  <c:v>All Others</c:v>
                </c:pt>
                <c:pt idx="2358">
                  <c:v>All Others</c:v>
                </c:pt>
                <c:pt idx="2359">
                  <c:v>All Others</c:v>
                </c:pt>
                <c:pt idx="2360">
                  <c:v>All Others</c:v>
                </c:pt>
                <c:pt idx="2361">
                  <c:v>All Others</c:v>
                </c:pt>
                <c:pt idx="2362">
                  <c:v>All Others</c:v>
                </c:pt>
                <c:pt idx="2363">
                  <c:v>All Others</c:v>
                </c:pt>
                <c:pt idx="2364">
                  <c:v>All Others</c:v>
                </c:pt>
                <c:pt idx="2365">
                  <c:v>All Others</c:v>
                </c:pt>
                <c:pt idx="2366">
                  <c:v>All Others</c:v>
                </c:pt>
                <c:pt idx="2367">
                  <c:v>All Others</c:v>
                </c:pt>
                <c:pt idx="2368">
                  <c:v>All Others</c:v>
                </c:pt>
                <c:pt idx="2369">
                  <c:v>All Others</c:v>
                </c:pt>
                <c:pt idx="2370">
                  <c:v>All Others</c:v>
                </c:pt>
                <c:pt idx="2371">
                  <c:v>All Others</c:v>
                </c:pt>
                <c:pt idx="2372">
                  <c:v>All Others</c:v>
                </c:pt>
                <c:pt idx="2373">
                  <c:v>Pave D'Affi</c:v>
                </c:pt>
                <c:pt idx="2374">
                  <c:v>All Others</c:v>
                </c:pt>
                <c:pt idx="2375">
                  <c:v>Raguin</c:v>
                </c:pt>
                <c:pt idx="2376">
                  <c:v>All Others</c:v>
                </c:pt>
                <c:pt idx="2377">
                  <c:v>All Others</c:v>
                </c:pt>
                <c:pt idx="2378">
                  <c:v>Pave D'Affi</c:v>
                </c:pt>
                <c:pt idx="2379">
                  <c:v>All Others</c:v>
                </c:pt>
                <c:pt idx="2380">
                  <c:v>All Others</c:v>
                </c:pt>
                <c:pt idx="2381">
                  <c:v>All Others</c:v>
                </c:pt>
                <c:pt idx="2382">
                  <c:v>All Others</c:v>
                </c:pt>
                <c:pt idx="2383">
                  <c:v>Milleret: A</c:v>
                </c:pt>
                <c:pt idx="2384">
                  <c:v>All Others</c:v>
                </c:pt>
                <c:pt idx="2385">
                  <c:v>All Others</c:v>
                </c:pt>
                <c:pt idx="2386">
                  <c:v>All Others</c:v>
                </c:pt>
                <c:pt idx="2387">
                  <c:v>All Others</c:v>
                </c:pt>
                <c:pt idx="2388">
                  <c:v>All Others</c:v>
                </c:pt>
                <c:pt idx="2389">
                  <c:v>All Others</c:v>
                </c:pt>
                <c:pt idx="2390">
                  <c:v>All Others</c:v>
                </c:pt>
                <c:pt idx="2391">
                  <c:v>All Others</c:v>
                </c:pt>
                <c:pt idx="2392">
                  <c:v>All Others</c:v>
                </c:pt>
                <c:pt idx="2393">
                  <c:v>All Others</c:v>
                </c:pt>
                <c:pt idx="2394">
                  <c:v>All Others</c:v>
                </c:pt>
                <c:pt idx="2395">
                  <c:v>All Others</c:v>
                </c:pt>
                <c:pt idx="2396">
                  <c:v>All Others</c:v>
                </c:pt>
                <c:pt idx="2397">
                  <c:v>All Others</c:v>
                </c:pt>
                <c:pt idx="2398">
                  <c:v>All Others</c:v>
                </c:pt>
                <c:pt idx="2399">
                  <c:v>Raguin</c:v>
                </c:pt>
                <c:pt idx="2400">
                  <c:v>All Others</c:v>
                </c:pt>
                <c:pt idx="2401">
                  <c:v>Private Lab</c:v>
                </c:pt>
                <c:pt idx="2402">
                  <c:v>All Others</c:v>
                </c:pt>
                <c:pt idx="2403">
                  <c:v>Pave D'Affi</c:v>
                </c:pt>
                <c:pt idx="2404">
                  <c:v>All Others</c:v>
                </c:pt>
                <c:pt idx="2405">
                  <c:v>All Others</c:v>
                </c:pt>
                <c:pt idx="2406">
                  <c:v>All Others</c:v>
                </c:pt>
                <c:pt idx="2407">
                  <c:v>All Others</c:v>
                </c:pt>
                <c:pt idx="2408">
                  <c:v>All Others</c:v>
                </c:pt>
                <c:pt idx="2409">
                  <c:v>All Others</c:v>
                </c:pt>
                <c:pt idx="2410">
                  <c:v>All Others</c:v>
                </c:pt>
                <c:pt idx="2411">
                  <c:v>Lactalis: A</c:v>
                </c:pt>
                <c:pt idx="2412">
                  <c:v>All Others</c:v>
                </c:pt>
                <c:pt idx="2413">
                  <c:v>All Others</c:v>
                </c:pt>
                <c:pt idx="2414">
                  <c:v>All Others</c:v>
                </c:pt>
                <c:pt idx="2415">
                  <c:v>All Others</c:v>
                </c:pt>
                <c:pt idx="2416">
                  <c:v>All Others</c:v>
                </c:pt>
                <c:pt idx="2417">
                  <c:v>All Others</c:v>
                </c:pt>
                <c:pt idx="2418">
                  <c:v>All Others</c:v>
                </c:pt>
                <c:pt idx="2419">
                  <c:v>Savencia: A</c:v>
                </c:pt>
                <c:pt idx="2420">
                  <c:v>All Others</c:v>
                </c:pt>
                <c:pt idx="2421">
                  <c:v>Le Saint Am</c:v>
                </c:pt>
                <c:pt idx="2422">
                  <c:v>All Others</c:v>
                </c:pt>
                <c:pt idx="2423">
                  <c:v>All Others</c:v>
                </c:pt>
                <c:pt idx="2424">
                  <c:v>Private Lab</c:v>
                </c:pt>
                <c:pt idx="2425">
                  <c:v>All Others</c:v>
                </c:pt>
                <c:pt idx="2426">
                  <c:v>All Others</c:v>
                </c:pt>
                <c:pt idx="2427">
                  <c:v>All Others</c:v>
                </c:pt>
                <c:pt idx="2428">
                  <c:v>All Others</c:v>
                </c:pt>
                <c:pt idx="2429">
                  <c:v>Raguin</c:v>
                </c:pt>
                <c:pt idx="2430">
                  <c:v>All Others</c:v>
                </c:pt>
                <c:pt idx="2431">
                  <c:v>All Others</c:v>
                </c:pt>
                <c:pt idx="2432">
                  <c:v>All Others</c:v>
                </c:pt>
                <c:pt idx="2433">
                  <c:v>All Others</c:v>
                </c:pt>
                <c:pt idx="2434">
                  <c:v>All Others</c:v>
                </c:pt>
                <c:pt idx="2435">
                  <c:v>Lou Perac</c:v>
                </c:pt>
                <c:pt idx="2436">
                  <c:v>All Others</c:v>
                </c:pt>
                <c:pt idx="2437">
                  <c:v>All Others</c:v>
                </c:pt>
                <c:pt idx="2438">
                  <c:v>All Others</c:v>
                </c:pt>
                <c:pt idx="2439">
                  <c:v>All Others</c:v>
                </c:pt>
                <c:pt idx="2440">
                  <c:v>All Others</c:v>
                </c:pt>
                <c:pt idx="2441">
                  <c:v>All Others</c:v>
                </c:pt>
                <c:pt idx="2442">
                  <c:v>All Others</c:v>
                </c:pt>
                <c:pt idx="2443">
                  <c:v>Lactalis: A</c:v>
                </c:pt>
                <c:pt idx="2444">
                  <c:v>Private Lab</c:v>
                </c:pt>
                <c:pt idx="2445">
                  <c:v>All Others</c:v>
                </c:pt>
                <c:pt idx="2446">
                  <c:v>All Others</c:v>
                </c:pt>
                <c:pt idx="2447">
                  <c:v>Pochat</c:v>
                </c:pt>
                <c:pt idx="2448">
                  <c:v>All Others</c:v>
                </c:pt>
                <c:pt idx="2449">
                  <c:v>All Others</c:v>
                </c:pt>
                <c:pt idx="2450">
                  <c:v>All Others</c:v>
                </c:pt>
                <c:pt idx="2451">
                  <c:v>All Others</c:v>
                </c:pt>
                <c:pt idx="2452">
                  <c:v>All Others</c:v>
                </c:pt>
                <c:pt idx="2453">
                  <c:v>All Others</c:v>
                </c:pt>
                <c:pt idx="2454">
                  <c:v>Mini Babybe</c:v>
                </c:pt>
                <c:pt idx="2455">
                  <c:v>All Others</c:v>
                </c:pt>
                <c:pt idx="2456">
                  <c:v>All Others</c:v>
                </c:pt>
                <c:pt idx="2457">
                  <c:v>Lactalis: A</c:v>
                </c:pt>
                <c:pt idx="2458">
                  <c:v>All Others</c:v>
                </c:pt>
                <c:pt idx="2459">
                  <c:v>All Others</c:v>
                </c:pt>
                <c:pt idx="2460">
                  <c:v>Private Lab</c:v>
                </c:pt>
                <c:pt idx="2461">
                  <c:v>All Others</c:v>
                </c:pt>
                <c:pt idx="2462">
                  <c:v>Lactalis: A</c:v>
                </c:pt>
                <c:pt idx="2463">
                  <c:v>All Others</c:v>
                </c:pt>
                <c:pt idx="2464">
                  <c:v>All Others</c:v>
                </c:pt>
                <c:pt idx="2465">
                  <c:v>All Others</c:v>
                </c:pt>
                <c:pt idx="2466">
                  <c:v>All Others</c:v>
                </c:pt>
                <c:pt idx="2467">
                  <c:v>All Others</c:v>
                </c:pt>
                <c:pt idx="2468">
                  <c:v>All Others</c:v>
                </c:pt>
                <c:pt idx="2469">
                  <c:v>Port Salut</c:v>
                </c:pt>
                <c:pt idx="2470">
                  <c:v>All Others</c:v>
                </c:pt>
                <c:pt idx="2471">
                  <c:v>All Others</c:v>
                </c:pt>
                <c:pt idx="2472">
                  <c:v>All Others</c:v>
                </c:pt>
                <c:pt idx="2473">
                  <c:v>All Others</c:v>
                </c:pt>
                <c:pt idx="2474">
                  <c:v>All Others</c:v>
                </c:pt>
                <c:pt idx="2475">
                  <c:v>All Others</c:v>
                </c:pt>
                <c:pt idx="2476">
                  <c:v>All Others</c:v>
                </c:pt>
                <c:pt idx="2477">
                  <c:v>All Others</c:v>
                </c:pt>
                <c:pt idx="2478">
                  <c:v>Soignon</c:v>
                </c:pt>
                <c:pt idx="2479">
                  <c:v>All Others</c:v>
                </c:pt>
                <c:pt idx="2480">
                  <c:v>Richesmonts</c:v>
                </c:pt>
                <c:pt idx="2481">
                  <c:v>Private Lab</c:v>
                </c:pt>
                <c:pt idx="2482">
                  <c:v>All Others</c:v>
                </c:pt>
                <c:pt idx="2483">
                  <c:v>All Others</c:v>
                </c:pt>
                <c:pt idx="2484">
                  <c:v>All Others</c:v>
                </c:pt>
                <c:pt idx="2485">
                  <c:v>All Others</c:v>
                </c:pt>
                <c:pt idx="2486">
                  <c:v>All Others</c:v>
                </c:pt>
                <c:pt idx="2487">
                  <c:v>All Others</c:v>
                </c:pt>
                <c:pt idx="2488">
                  <c:v>All Others</c:v>
                </c:pt>
                <c:pt idx="2489">
                  <c:v>All Others</c:v>
                </c:pt>
                <c:pt idx="2490">
                  <c:v>All Others</c:v>
                </c:pt>
                <c:pt idx="2491">
                  <c:v>All Others</c:v>
                </c:pt>
                <c:pt idx="2492">
                  <c:v>All Others</c:v>
                </c:pt>
                <c:pt idx="2493">
                  <c:v>All Others</c:v>
                </c:pt>
                <c:pt idx="2494">
                  <c:v>All Others</c:v>
                </c:pt>
                <c:pt idx="2495">
                  <c:v>All Others</c:v>
                </c:pt>
                <c:pt idx="2496">
                  <c:v>All Others</c:v>
                </c:pt>
                <c:pt idx="2497">
                  <c:v>All Others</c:v>
                </c:pt>
                <c:pt idx="2498">
                  <c:v>All Others</c:v>
                </c:pt>
                <c:pt idx="2499">
                  <c:v>All Others</c:v>
                </c:pt>
                <c:pt idx="2500">
                  <c:v>Eurial Autr</c:v>
                </c:pt>
                <c:pt idx="2501">
                  <c:v>All Others</c:v>
                </c:pt>
                <c:pt idx="2502">
                  <c:v>All Others</c:v>
                </c:pt>
                <c:pt idx="2503">
                  <c:v>All Others</c:v>
                </c:pt>
                <c:pt idx="2504">
                  <c:v>All Others</c:v>
                </c:pt>
                <c:pt idx="2505">
                  <c:v>All Others</c:v>
                </c:pt>
                <c:pt idx="2506">
                  <c:v>All Others</c:v>
                </c:pt>
                <c:pt idx="2507">
                  <c:v>All Others</c:v>
                </c:pt>
                <c:pt idx="2508">
                  <c:v>All Others</c:v>
                </c:pt>
                <c:pt idx="2509">
                  <c:v>All Others</c:v>
                </c:pt>
                <c:pt idx="2510">
                  <c:v>All Others</c:v>
                </c:pt>
                <c:pt idx="2511">
                  <c:v>All Others</c:v>
                </c:pt>
                <c:pt idx="2512">
                  <c:v>All Others</c:v>
                </c:pt>
                <c:pt idx="2513">
                  <c:v>All Others</c:v>
                </c:pt>
                <c:pt idx="2514">
                  <c:v>All Others</c:v>
                </c:pt>
                <c:pt idx="2515">
                  <c:v>All Others</c:v>
                </c:pt>
                <c:pt idx="2516">
                  <c:v>All Others</c:v>
                </c:pt>
                <c:pt idx="2517">
                  <c:v>All Others</c:v>
                </c:pt>
                <c:pt idx="2518">
                  <c:v>All Others</c:v>
                </c:pt>
                <c:pt idx="2519">
                  <c:v>All Others</c:v>
                </c:pt>
                <c:pt idx="2520">
                  <c:v>All Others</c:v>
                </c:pt>
                <c:pt idx="2521">
                  <c:v>Limiano</c:v>
                </c:pt>
                <c:pt idx="2522">
                  <c:v>All Others</c:v>
                </c:pt>
                <c:pt idx="2523">
                  <c:v>All Others</c:v>
                </c:pt>
                <c:pt idx="2524">
                  <c:v>All Others</c:v>
                </c:pt>
                <c:pt idx="2525">
                  <c:v>All Others</c:v>
                </c:pt>
                <c:pt idx="2526">
                  <c:v>All Others</c:v>
                </c:pt>
                <c:pt idx="2527">
                  <c:v>All Others</c:v>
                </c:pt>
                <c:pt idx="2528">
                  <c:v>All Others</c:v>
                </c:pt>
                <c:pt idx="2529">
                  <c:v>Savencia: A</c:v>
                </c:pt>
                <c:pt idx="2530">
                  <c:v>All Others</c:v>
                </c:pt>
                <c:pt idx="2531">
                  <c:v>All Others</c:v>
                </c:pt>
                <c:pt idx="2532">
                  <c:v>All Others</c:v>
                </c:pt>
                <c:pt idx="2533">
                  <c:v>All Others</c:v>
                </c:pt>
                <c:pt idx="2534">
                  <c:v>All Others</c:v>
                </c:pt>
                <c:pt idx="2535">
                  <c:v>Private Lab</c:v>
                </c:pt>
                <c:pt idx="2536">
                  <c:v>All Others</c:v>
                </c:pt>
                <c:pt idx="2537">
                  <c:v>All Others</c:v>
                </c:pt>
                <c:pt idx="2538">
                  <c:v>All Others</c:v>
                </c:pt>
                <c:pt idx="2539">
                  <c:v>All Others</c:v>
                </c:pt>
                <c:pt idx="2540">
                  <c:v>All Others</c:v>
                </c:pt>
                <c:pt idx="2541">
                  <c:v>All Others</c:v>
                </c:pt>
                <c:pt idx="2542">
                  <c:v>All Others</c:v>
                </c:pt>
                <c:pt idx="2543">
                  <c:v>All Others</c:v>
                </c:pt>
                <c:pt idx="2544">
                  <c:v>All Others</c:v>
                </c:pt>
                <c:pt idx="2545">
                  <c:v>All Others</c:v>
                </c:pt>
                <c:pt idx="2546">
                  <c:v>All Others</c:v>
                </c:pt>
                <c:pt idx="2547">
                  <c:v>All Others</c:v>
                </c:pt>
                <c:pt idx="2548">
                  <c:v>All Others</c:v>
                </c:pt>
                <c:pt idx="2549">
                  <c:v>All Others</c:v>
                </c:pt>
                <c:pt idx="2550">
                  <c:v>All Others</c:v>
                </c:pt>
                <c:pt idx="2551">
                  <c:v>All Others</c:v>
                </c:pt>
                <c:pt idx="2552">
                  <c:v>Eurial Autr</c:v>
                </c:pt>
                <c:pt idx="2553">
                  <c:v>All Others</c:v>
                </c:pt>
                <c:pt idx="2554">
                  <c:v>All Others</c:v>
                </c:pt>
                <c:pt idx="2555">
                  <c:v>All Others</c:v>
                </c:pt>
                <c:pt idx="2556">
                  <c:v>All Others</c:v>
                </c:pt>
                <c:pt idx="2557">
                  <c:v>All Others</c:v>
                </c:pt>
                <c:pt idx="2558">
                  <c:v>Private Lab</c:v>
                </c:pt>
                <c:pt idx="2559">
                  <c:v>All Others</c:v>
                </c:pt>
                <c:pt idx="2560">
                  <c:v>All Others</c:v>
                </c:pt>
                <c:pt idx="2561">
                  <c:v>All Others</c:v>
                </c:pt>
                <c:pt idx="2562">
                  <c:v>All Others</c:v>
                </c:pt>
                <c:pt idx="2563">
                  <c:v>All Others</c:v>
                </c:pt>
                <c:pt idx="2564">
                  <c:v>All Others</c:v>
                </c:pt>
                <c:pt idx="2565">
                  <c:v>All Others</c:v>
                </c:pt>
                <c:pt idx="2566">
                  <c:v>All Others</c:v>
                </c:pt>
                <c:pt idx="2567">
                  <c:v>All Others</c:v>
                </c:pt>
                <c:pt idx="2568">
                  <c:v>All Others</c:v>
                </c:pt>
                <c:pt idx="2569">
                  <c:v>All Others</c:v>
                </c:pt>
                <c:pt idx="2570">
                  <c:v>All Others</c:v>
                </c:pt>
                <c:pt idx="2571">
                  <c:v>All Others</c:v>
                </c:pt>
                <c:pt idx="2572">
                  <c:v>All Others</c:v>
                </c:pt>
                <c:pt idx="2573">
                  <c:v>All Others</c:v>
                </c:pt>
                <c:pt idx="2574">
                  <c:v>Lactalis: A</c:v>
                </c:pt>
                <c:pt idx="2575">
                  <c:v>All Others</c:v>
                </c:pt>
                <c:pt idx="2576">
                  <c:v>All Others</c:v>
                </c:pt>
                <c:pt idx="2577">
                  <c:v>All Others</c:v>
                </c:pt>
                <c:pt idx="2578">
                  <c:v>All Others</c:v>
                </c:pt>
                <c:pt idx="2579">
                  <c:v>All Others</c:v>
                </c:pt>
                <c:pt idx="2580">
                  <c:v>All Others</c:v>
                </c:pt>
                <c:pt idx="2581">
                  <c:v>Raguin</c:v>
                </c:pt>
                <c:pt idx="2582">
                  <c:v>All Others</c:v>
                </c:pt>
                <c:pt idx="2583">
                  <c:v>All Others</c:v>
                </c:pt>
                <c:pt idx="2584">
                  <c:v>All Others</c:v>
                </c:pt>
                <c:pt idx="2585">
                  <c:v>All Others</c:v>
                </c:pt>
                <c:pt idx="2586">
                  <c:v>All Others</c:v>
                </c:pt>
                <c:pt idx="2587">
                  <c:v>All Others</c:v>
                </c:pt>
                <c:pt idx="2588">
                  <c:v>All Others</c:v>
                </c:pt>
                <c:pt idx="2589">
                  <c:v>All Others</c:v>
                </c:pt>
                <c:pt idx="2590">
                  <c:v>All Others</c:v>
                </c:pt>
                <c:pt idx="2591">
                  <c:v>All Others</c:v>
                </c:pt>
                <c:pt idx="2592">
                  <c:v>Private Lab</c:v>
                </c:pt>
                <c:pt idx="2593">
                  <c:v>All Others</c:v>
                </c:pt>
                <c:pt idx="2594">
                  <c:v>All Others</c:v>
                </c:pt>
                <c:pt idx="2595">
                  <c:v>All Others</c:v>
                </c:pt>
                <c:pt idx="2596">
                  <c:v>All Others</c:v>
                </c:pt>
                <c:pt idx="2597">
                  <c:v>All Others</c:v>
                </c:pt>
                <c:pt idx="2598">
                  <c:v>All Others</c:v>
                </c:pt>
                <c:pt idx="2599">
                  <c:v>President</c:v>
                </c:pt>
                <c:pt idx="2600">
                  <c:v>All Others</c:v>
                </c:pt>
                <c:pt idx="2601">
                  <c:v>All Others</c:v>
                </c:pt>
                <c:pt idx="2602">
                  <c:v>All Others</c:v>
                </c:pt>
                <c:pt idx="2603">
                  <c:v>All Others</c:v>
                </c:pt>
                <c:pt idx="2604">
                  <c:v>All Others</c:v>
                </c:pt>
                <c:pt idx="2605">
                  <c:v>All Others</c:v>
                </c:pt>
                <c:pt idx="2606">
                  <c:v>All Others</c:v>
                </c:pt>
                <c:pt idx="2607">
                  <c:v>All Others</c:v>
                </c:pt>
                <c:pt idx="2608">
                  <c:v>All Others</c:v>
                </c:pt>
                <c:pt idx="2609">
                  <c:v>All Others</c:v>
                </c:pt>
                <c:pt idx="2610">
                  <c:v>Lactalis: A</c:v>
                </c:pt>
                <c:pt idx="2611">
                  <c:v>All Others</c:v>
                </c:pt>
                <c:pt idx="2612">
                  <c:v>All Others</c:v>
                </c:pt>
                <c:pt idx="2613">
                  <c:v>All Others</c:v>
                </c:pt>
                <c:pt idx="2614">
                  <c:v>All Others</c:v>
                </c:pt>
                <c:pt idx="2615">
                  <c:v>All Others</c:v>
                </c:pt>
                <c:pt idx="2616">
                  <c:v>All Others</c:v>
                </c:pt>
                <c:pt idx="2617">
                  <c:v>All Others</c:v>
                </c:pt>
                <c:pt idx="2618">
                  <c:v>All Others</c:v>
                </c:pt>
                <c:pt idx="2619">
                  <c:v>All Others</c:v>
                </c:pt>
                <c:pt idx="2620">
                  <c:v>All Others</c:v>
                </c:pt>
                <c:pt idx="2621">
                  <c:v>All Others</c:v>
                </c:pt>
                <c:pt idx="2622">
                  <c:v>All Others</c:v>
                </c:pt>
                <c:pt idx="2623">
                  <c:v>All Others</c:v>
                </c:pt>
                <c:pt idx="2624">
                  <c:v>All Others</c:v>
                </c:pt>
                <c:pt idx="2625">
                  <c:v>President</c:v>
                </c:pt>
                <c:pt idx="2626">
                  <c:v>All Others</c:v>
                </c:pt>
                <c:pt idx="2627">
                  <c:v>All Others</c:v>
                </c:pt>
                <c:pt idx="2628">
                  <c:v>All Others</c:v>
                </c:pt>
                <c:pt idx="2629">
                  <c:v>All Others</c:v>
                </c:pt>
                <c:pt idx="2630">
                  <c:v>All Others</c:v>
                </c:pt>
                <c:pt idx="2631">
                  <c:v>All Others</c:v>
                </c:pt>
                <c:pt idx="2632">
                  <c:v>All Others</c:v>
                </c:pt>
                <c:pt idx="2633">
                  <c:v>All Others</c:v>
                </c:pt>
                <c:pt idx="2634">
                  <c:v>All Others</c:v>
                </c:pt>
                <c:pt idx="2635">
                  <c:v>All Others</c:v>
                </c:pt>
                <c:pt idx="2636">
                  <c:v>All Others</c:v>
                </c:pt>
                <c:pt idx="2637">
                  <c:v>Limiano</c:v>
                </c:pt>
                <c:pt idx="2638">
                  <c:v>All Others</c:v>
                </c:pt>
                <c:pt idx="2639">
                  <c:v>All Others</c:v>
                </c:pt>
                <c:pt idx="2640">
                  <c:v>All Others</c:v>
                </c:pt>
                <c:pt idx="2641">
                  <c:v>All Others</c:v>
                </c:pt>
                <c:pt idx="2642">
                  <c:v>All Others</c:v>
                </c:pt>
                <c:pt idx="2643">
                  <c:v>All Others</c:v>
                </c:pt>
                <c:pt idx="2644">
                  <c:v>Private Lab</c:v>
                </c:pt>
                <c:pt idx="2645">
                  <c:v>All Others</c:v>
                </c:pt>
                <c:pt idx="2646">
                  <c:v>All Others</c:v>
                </c:pt>
                <c:pt idx="2647">
                  <c:v>All Others</c:v>
                </c:pt>
                <c:pt idx="2648">
                  <c:v>All Others</c:v>
                </c:pt>
                <c:pt idx="2649">
                  <c:v>All Others</c:v>
                </c:pt>
                <c:pt idx="2650">
                  <c:v>All Others</c:v>
                </c:pt>
                <c:pt idx="2651">
                  <c:v>All Others</c:v>
                </c:pt>
                <c:pt idx="2652">
                  <c:v>All Others</c:v>
                </c:pt>
                <c:pt idx="2653">
                  <c:v>All Others</c:v>
                </c:pt>
                <c:pt idx="2654">
                  <c:v>All Others</c:v>
                </c:pt>
                <c:pt idx="2655">
                  <c:v>All Others</c:v>
                </c:pt>
                <c:pt idx="2656">
                  <c:v>Raguin</c:v>
                </c:pt>
                <c:pt idx="2657">
                  <c:v>All Others</c:v>
                </c:pt>
                <c:pt idx="2658">
                  <c:v>All Others</c:v>
                </c:pt>
                <c:pt idx="2659">
                  <c:v>All Others</c:v>
                </c:pt>
                <c:pt idx="2660">
                  <c:v>All Others</c:v>
                </c:pt>
                <c:pt idx="2661">
                  <c:v>Etorki</c:v>
                </c:pt>
                <c:pt idx="2662">
                  <c:v>Etoile Du V</c:v>
                </c:pt>
                <c:pt idx="2663">
                  <c:v>All Others</c:v>
                </c:pt>
                <c:pt idx="2664">
                  <c:v>All Others</c:v>
                </c:pt>
                <c:pt idx="2665">
                  <c:v>All Others</c:v>
                </c:pt>
                <c:pt idx="2666">
                  <c:v>All Others</c:v>
                </c:pt>
                <c:pt idx="2667">
                  <c:v>All Others</c:v>
                </c:pt>
                <c:pt idx="2668">
                  <c:v>All Others</c:v>
                </c:pt>
                <c:pt idx="2669">
                  <c:v>All Others</c:v>
                </c:pt>
                <c:pt idx="2670">
                  <c:v>All Others</c:v>
                </c:pt>
                <c:pt idx="2671">
                  <c:v>All Others</c:v>
                </c:pt>
                <c:pt idx="2672">
                  <c:v>All Others</c:v>
                </c:pt>
                <c:pt idx="2673">
                  <c:v>All Others</c:v>
                </c:pt>
                <c:pt idx="2674">
                  <c:v>All Others</c:v>
                </c:pt>
                <c:pt idx="2675">
                  <c:v>All Others</c:v>
                </c:pt>
                <c:pt idx="2676">
                  <c:v>All Others</c:v>
                </c:pt>
                <c:pt idx="2677">
                  <c:v>All Others</c:v>
                </c:pt>
                <c:pt idx="2678">
                  <c:v>All Others</c:v>
                </c:pt>
                <c:pt idx="2679">
                  <c:v>All Others</c:v>
                </c:pt>
                <c:pt idx="2680">
                  <c:v>All Others</c:v>
                </c:pt>
                <c:pt idx="2681">
                  <c:v>All Others</c:v>
                </c:pt>
                <c:pt idx="2682">
                  <c:v>All Others</c:v>
                </c:pt>
                <c:pt idx="2683">
                  <c:v>All Others</c:v>
                </c:pt>
                <c:pt idx="2684">
                  <c:v>All Others</c:v>
                </c:pt>
                <c:pt idx="2685">
                  <c:v>All Others</c:v>
                </c:pt>
                <c:pt idx="2686">
                  <c:v>All Others</c:v>
                </c:pt>
                <c:pt idx="2687">
                  <c:v>All Others</c:v>
                </c:pt>
                <c:pt idx="2688">
                  <c:v>All Others</c:v>
                </c:pt>
                <c:pt idx="2689">
                  <c:v>All Others</c:v>
                </c:pt>
                <c:pt idx="2690">
                  <c:v>All Others</c:v>
                </c:pt>
                <c:pt idx="2691">
                  <c:v>All Others</c:v>
                </c:pt>
                <c:pt idx="2692">
                  <c:v>All Others</c:v>
                </c:pt>
                <c:pt idx="2693">
                  <c:v>All Others</c:v>
                </c:pt>
                <c:pt idx="2694">
                  <c:v>All Others</c:v>
                </c:pt>
                <c:pt idx="2695">
                  <c:v>All Others</c:v>
                </c:pt>
                <c:pt idx="2696">
                  <c:v>All Others</c:v>
                </c:pt>
                <c:pt idx="2697">
                  <c:v>All Others</c:v>
                </c:pt>
                <c:pt idx="2698">
                  <c:v>All Others</c:v>
                </c:pt>
                <c:pt idx="2699">
                  <c:v>All Others</c:v>
                </c:pt>
                <c:pt idx="2700">
                  <c:v>All Others</c:v>
                </c:pt>
                <c:pt idx="2701">
                  <c:v>All Others</c:v>
                </c:pt>
                <c:pt idx="2702">
                  <c:v>All Others</c:v>
                </c:pt>
                <c:pt idx="2703">
                  <c:v>All Others</c:v>
                </c:pt>
                <c:pt idx="2704">
                  <c:v>All Others</c:v>
                </c:pt>
                <c:pt idx="2705">
                  <c:v>All Others</c:v>
                </c:pt>
                <c:pt idx="2706">
                  <c:v>All Others</c:v>
                </c:pt>
                <c:pt idx="2707">
                  <c:v>All Others</c:v>
                </c:pt>
                <c:pt idx="2708">
                  <c:v>All Others</c:v>
                </c:pt>
                <c:pt idx="2709">
                  <c:v>Private Lab</c:v>
                </c:pt>
                <c:pt idx="2710">
                  <c:v>All Others</c:v>
                </c:pt>
                <c:pt idx="2711">
                  <c:v>All Others</c:v>
                </c:pt>
                <c:pt idx="2712">
                  <c:v>All Others</c:v>
                </c:pt>
                <c:pt idx="2713">
                  <c:v>Rondele</c:v>
                </c:pt>
                <c:pt idx="2714">
                  <c:v>All Others</c:v>
                </c:pt>
                <c:pt idx="2715">
                  <c:v>Lactalis: A</c:v>
                </c:pt>
                <c:pt idx="2716">
                  <c:v>All Others</c:v>
                </c:pt>
                <c:pt idx="2717">
                  <c:v>All Others</c:v>
                </c:pt>
                <c:pt idx="2718">
                  <c:v>All Others</c:v>
                </c:pt>
                <c:pt idx="2719">
                  <c:v>All Others</c:v>
                </c:pt>
                <c:pt idx="2720">
                  <c:v>All Others</c:v>
                </c:pt>
                <c:pt idx="2721">
                  <c:v>Leerdammer</c:v>
                </c:pt>
                <c:pt idx="2722">
                  <c:v>All Others</c:v>
                </c:pt>
                <c:pt idx="2723">
                  <c:v>All Others</c:v>
                </c:pt>
                <c:pt idx="2724">
                  <c:v>All Others</c:v>
                </c:pt>
                <c:pt idx="2725">
                  <c:v>All Others</c:v>
                </c:pt>
                <c:pt idx="2726">
                  <c:v>All Others</c:v>
                </c:pt>
                <c:pt idx="2727">
                  <c:v>All Others</c:v>
                </c:pt>
                <c:pt idx="2728">
                  <c:v>All Others</c:v>
                </c:pt>
                <c:pt idx="2729">
                  <c:v>All Others</c:v>
                </c:pt>
                <c:pt idx="2730">
                  <c:v>All Others</c:v>
                </c:pt>
                <c:pt idx="2731">
                  <c:v>All Others</c:v>
                </c:pt>
                <c:pt idx="2732">
                  <c:v>All Others</c:v>
                </c:pt>
                <c:pt idx="2733">
                  <c:v>Violife</c:v>
                </c:pt>
                <c:pt idx="2734">
                  <c:v>All Others</c:v>
                </c:pt>
                <c:pt idx="2735">
                  <c:v>All Others</c:v>
                </c:pt>
                <c:pt idx="2736">
                  <c:v>All Others</c:v>
                </c:pt>
                <c:pt idx="2737">
                  <c:v>All Others</c:v>
                </c:pt>
                <c:pt idx="2738">
                  <c:v>All Others</c:v>
                </c:pt>
                <c:pt idx="2739">
                  <c:v>All Others</c:v>
                </c:pt>
                <c:pt idx="2740">
                  <c:v>All Others</c:v>
                </c:pt>
                <c:pt idx="2741">
                  <c:v>All Others</c:v>
                </c:pt>
                <c:pt idx="2742">
                  <c:v>All Others</c:v>
                </c:pt>
                <c:pt idx="2743">
                  <c:v>All Others</c:v>
                </c:pt>
                <c:pt idx="2744">
                  <c:v>All Others</c:v>
                </c:pt>
                <c:pt idx="2745">
                  <c:v>All Others</c:v>
                </c:pt>
                <c:pt idx="2746">
                  <c:v>All Others</c:v>
                </c:pt>
                <c:pt idx="2747">
                  <c:v>All Others</c:v>
                </c:pt>
                <c:pt idx="2748">
                  <c:v>All Others</c:v>
                </c:pt>
                <c:pt idx="2749">
                  <c:v>All Others</c:v>
                </c:pt>
                <c:pt idx="2750">
                  <c:v>All Others</c:v>
                </c:pt>
                <c:pt idx="2751">
                  <c:v>All Others</c:v>
                </c:pt>
                <c:pt idx="2752">
                  <c:v>All Others</c:v>
                </c:pt>
                <c:pt idx="2753">
                  <c:v>Rondele</c:v>
                </c:pt>
                <c:pt idx="2754">
                  <c:v>All Others</c:v>
                </c:pt>
                <c:pt idx="2755">
                  <c:v>All Others</c:v>
                </c:pt>
                <c:pt idx="2756">
                  <c:v>All Others</c:v>
                </c:pt>
                <c:pt idx="2757">
                  <c:v>All Others</c:v>
                </c:pt>
                <c:pt idx="2758">
                  <c:v>All Others</c:v>
                </c:pt>
                <c:pt idx="2759">
                  <c:v>All Others</c:v>
                </c:pt>
                <c:pt idx="2760">
                  <c:v>Private Lab</c:v>
                </c:pt>
                <c:pt idx="2761">
                  <c:v>All Others</c:v>
                </c:pt>
                <c:pt idx="2762">
                  <c:v>All Others</c:v>
                </c:pt>
                <c:pt idx="2763">
                  <c:v>O'Tapas Ape</c:v>
                </c:pt>
                <c:pt idx="2764">
                  <c:v>All Others</c:v>
                </c:pt>
                <c:pt idx="2765">
                  <c:v>All Others</c:v>
                </c:pt>
                <c:pt idx="2766">
                  <c:v>All Others</c:v>
                </c:pt>
                <c:pt idx="2767">
                  <c:v>All Others</c:v>
                </c:pt>
                <c:pt idx="2768">
                  <c:v>All Others</c:v>
                </c:pt>
                <c:pt idx="2769">
                  <c:v>All Others</c:v>
                </c:pt>
                <c:pt idx="2770">
                  <c:v>All Others</c:v>
                </c:pt>
                <c:pt idx="2771">
                  <c:v>Raguin</c:v>
                </c:pt>
                <c:pt idx="2772">
                  <c:v>All Others</c:v>
                </c:pt>
                <c:pt idx="2773">
                  <c:v>All Others</c:v>
                </c:pt>
                <c:pt idx="2774">
                  <c:v>All Others</c:v>
                </c:pt>
                <c:pt idx="2775">
                  <c:v>All Others</c:v>
                </c:pt>
                <c:pt idx="2776">
                  <c:v>All Others</c:v>
                </c:pt>
                <c:pt idx="2777">
                  <c:v>All Others</c:v>
                </c:pt>
                <c:pt idx="2778">
                  <c:v>All Others</c:v>
                </c:pt>
                <c:pt idx="2779">
                  <c:v>All Others</c:v>
                </c:pt>
                <c:pt idx="2780">
                  <c:v>All Others</c:v>
                </c:pt>
                <c:pt idx="2781">
                  <c:v>All Others</c:v>
                </c:pt>
                <c:pt idx="2782">
                  <c:v>All Others</c:v>
                </c:pt>
                <c:pt idx="2783">
                  <c:v>All Others</c:v>
                </c:pt>
                <c:pt idx="2784">
                  <c:v>All Others</c:v>
                </c:pt>
                <c:pt idx="2785">
                  <c:v>All Others</c:v>
                </c:pt>
                <c:pt idx="2786">
                  <c:v>Le Saint Am</c:v>
                </c:pt>
                <c:pt idx="2787">
                  <c:v>All Others</c:v>
                </c:pt>
                <c:pt idx="2788">
                  <c:v>All Others</c:v>
                </c:pt>
                <c:pt idx="2789">
                  <c:v>All Others</c:v>
                </c:pt>
                <c:pt idx="2790">
                  <c:v>All Others</c:v>
                </c:pt>
                <c:pt idx="2791">
                  <c:v>All Others</c:v>
                </c:pt>
                <c:pt idx="2792">
                  <c:v>All Others</c:v>
                </c:pt>
                <c:pt idx="2793">
                  <c:v>All Others</c:v>
                </c:pt>
                <c:pt idx="2794">
                  <c:v>All Others</c:v>
                </c:pt>
                <c:pt idx="2795">
                  <c:v>All Others</c:v>
                </c:pt>
                <c:pt idx="2796">
                  <c:v>All Others</c:v>
                </c:pt>
                <c:pt idx="2797">
                  <c:v>All Others</c:v>
                </c:pt>
                <c:pt idx="2798">
                  <c:v>All Others</c:v>
                </c:pt>
                <c:pt idx="2799">
                  <c:v>Lactalis: A</c:v>
                </c:pt>
                <c:pt idx="2800">
                  <c:v>All Others</c:v>
                </c:pt>
                <c:pt idx="2801">
                  <c:v>All Others</c:v>
                </c:pt>
                <c:pt idx="2802">
                  <c:v>All Others</c:v>
                </c:pt>
                <c:pt idx="2803">
                  <c:v>All Others</c:v>
                </c:pt>
                <c:pt idx="2804">
                  <c:v>All Others</c:v>
                </c:pt>
                <c:pt idx="2805">
                  <c:v>All Others</c:v>
                </c:pt>
                <c:pt idx="2806">
                  <c:v>All Others</c:v>
                </c:pt>
                <c:pt idx="2807">
                  <c:v>All Others</c:v>
                </c:pt>
                <c:pt idx="2808">
                  <c:v>All Others</c:v>
                </c:pt>
                <c:pt idx="2809">
                  <c:v>All Others</c:v>
                </c:pt>
                <c:pt idx="2810">
                  <c:v>All Others</c:v>
                </c:pt>
                <c:pt idx="2811">
                  <c:v>All Others</c:v>
                </c:pt>
                <c:pt idx="2812">
                  <c:v>All Others</c:v>
                </c:pt>
                <c:pt idx="2813">
                  <c:v>All Others</c:v>
                </c:pt>
                <c:pt idx="2814">
                  <c:v>All Others</c:v>
                </c:pt>
                <c:pt idx="2815">
                  <c:v>All Others</c:v>
                </c:pt>
                <c:pt idx="2816">
                  <c:v>All Others</c:v>
                </c:pt>
                <c:pt idx="2817">
                  <c:v>Raguin</c:v>
                </c:pt>
                <c:pt idx="2818">
                  <c:v>All Others</c:v>
                </c:pt>
                <c:pt idx="2819">
                  <c:v>All Others</c:v>
                </c:pt>
                <c:pt idx="2820">
                  <c:v>All Others</c:v>
                </c:pt>
                <c:pt idx="2821">
                  <c:v>All Others</c:v>
                </c:pt>
                <c:pt idx="2822">
                  <c:v>Le Saint Am</c:v>
                </c:pt>
                <c:pt idx="2823">
                  <c:v>All Others</c:v>
                </c:pt>
                <c:pt idx="2824">
                  <c:v>All Others</c:v>
                </c:pt>
                <c:pt idx="2825">
                  <c:v>All Others</c:v>
                </c:pt>
                <c:pt idx="2826">
                  <c:v>All Others</c:v>
                </c:pt>
                <c:pt idx="2827">
                  <c:v>All Others</c:v>
                </c:pt>
                <c:pt idx="2828">
                  <c:v>All Others</c:v>
                </c:pt>
                <c:pt idx="2829">
                  <c:v>All Others</c:v>
                </c:pt>
                <c:pt idx="2830">
                  <c:v>Raguin</c:v>
                </c:pt>
                <c:pt idx="2831">
                  <c:v>All Others</c:v>
                </c:pt>
                <c:pt idx="2832">
                  <c:v>All Others</c:v>
                </c:pt>
                <c:pt idx="2833">
                  <c:v>All Others</c:v>
                </c:pt>
                <c:pt idx="2834">
                  <c:v>Rondele</c:v>
                </c:pt>
                <c:pt idx="2835">
                  <c:v>All Others</c:v>
                </c:pt>
                <c:pt idx="2836">
                  <c:v>All Others</c:v>
                </c:pt>
                <c:pt idx="2837">
                  <c:v>All Others</c:v>
                </c:pt>
                <c:pt idx="2838">
                  <c:v>All Others</c:v>
                </c:pt>
                <c:pt idx="2839">
                  <c:v>All Others</c:v>
                </c:pt>
                <c:pt idx="2840">
                  <c:v>All Others</c:v>
                </c:pt>
                <c:pt idx="2841">
                  <c:v>All Others</c:v>
                </c:pt>
                <c:pt idx="2842">
                  <c:v>All Others</c:v>
                </c:pt>
                <c:pt idx="2843">
                  <c:v>All Others</c:v>
                </c:pt>
                <c:pt idx="2844">
                  <c:v>All Others</c:v>
                </c:pt>
                <c:pt idx="2845">
                  <c:v>All Others</c:v>
                </c:pt>
                <c:pt idx="2846">
                  <c:v>All Others</c:v>
                </c:pt>
                <c:pt idx="2847">
                  <c:v>All Others</c:v>
                </c:pt>
                <c:pt idx="2848">
                  <c:v>All Others</c:v>
                </c:pt>
                <c:pt idx="2849">
                  <c:v>All Others</c:v>
                </c:pt>
                <c:pt idx="2850">
                  <c:v>All Others</c:v>
                </c:pt>
                <c:pt idx="2851">
                  <c:v>All Others</c:v>
                </c:pt>
                <c:pt idx="2852">
                  <c:v>All Others</c:v>
                </c:pt>
                <c:pt idx="2853">
                  <c:v>All Others</c:v>
                </c:pt>
                <c:pt idx="2854">
                  <c:v>All Others</c:v>
                </c:pt>
                <c:pt idx="2855">
                  <c:v>All Others</c:v>
                </c:pt>
                <c:pt idx="2856">
                  <c:v>All Others</c:v>
                </c:pt>
                <c:pt idx="2857">
                  <c:v>All Others</c:v>
                </c:pt>
                <c:pt idx="2858">
                  <c:v>All Others</c:v>
                </c:pt>
                <c:pt idx="2859">
                  <c:v>All Others</c:v>
                </c:pt>
                <c:pt idx="2860">
                  <c:v>All Others</c:v>
                </c:pt>
                <c:pt idx="2861">
                  <c:v>All Others</c:v>
                </c:pt>
                <c:pt idx="2862">
                  <c:v>All Others</c:v>
                </c:pt>
                <c:pt idx="2863">
                  <c:v>All Others</c:v>
                </c:pt>
                <c:pt idx="2864">
                  <c:v>All Others</c:v>
                </c:pt>
                <c:pt idx="2865">
                  <c:v>All Others</c:v>
                </c:pt>
                <c:pt idx="2866">
                  <c:v>All Others</c:v>
                </c:pt>
                <c:pt idx="2867">
                  <c:v>All Others</c:v>
                </c:pt>
                <c:pt idx="2868">
                  <c:v>Lactalis: A</c:v>
                </c:pt>
                <c:pt idx="2869">
                  <c:v>All Others</c:v>
                </c:pt>
                <c:pt idx="2870">
                  <c:v>All Others</c:v>
                </c:pt>
                <c:pt idx="2871">
                  <c:v>All Others</c:v>
                </c:pt>
                <c:pt idx="2872">
                  <c:v>Private Lab</c:v>
                </c:pt>
                <c:pt idx="2873">
                  <c:v>All Others</c:v>
                </c:pt>
                <c:pt idx="2874">
                  <c:v>All Others</c:v>
                </c:pt>
                <c:pt idx="2875">
                  <c:v>All Others</c:v>
                </c:pt>
                <c:pt idx="2876">
                  <c:v>All Others</c:v>
                </c:pt>
                <c:pt idx="2877">
                  <c:v>All Others</c:v>
                </c:pt>
                <c:pt idx="2878">
                  <c:v>All Others</c:v>
                </c:pt>
                <c:pt idx="2879">
                  <c:v>All Others</c:v>
                </c:pt>
                <c:pt idx="2880">
                  <c:v>All Others</c:v>
                </c:pt>
                <c:pt idx="2881">
                  <c:v>All Others</c:v>
                </c:pt>
                <c:pt idx="2882">
                  <c:v>All Others</c:v>
                </c:pt>
                <c:pt idx="2883">
                  <c:v>All Others</c:v>
                </c:pt>
                <c:pt idx="2884">
                  <c:v>All Others</c:v>
                </c:pt>
                <c:pt idx="2885">
                  <c:v>All Others</c:v>
                </c:pt>
                <c:pt idx="2886">
                  <c:v>Private Lab</c:v>
                </c:pt>
                <c:pt idx="2887">
                  <c:v>Savencia: A</c:v>
                </c:pt>
                <c:pt idx="2888">
                  <c:v>Eurial Autr</c:v>
                </c:pt>
                <c:pt idx="2889">
                  <c:v>Lactalis: A</c:v>
                </c:pt>
                <c:pt idx="2890">
                  <c:v>All Others</c:v>
                </c:pt>
                <c:pt idx="2891">
                  <c:v>All Others</c:v>
                </c:pt>
                <c:pt idx="2892">
                  <c:v>All Others</c:v>
                </c:pt>
                <c:pt idx="2893">
                  <c:v>All Others</c:v>
                </c:pt>
                <c:pt idx="2894">
                  <c:v>All Others</c:v>
                </c:pt>
                <c:pt idx="2895">
                  <c:v>Private Lab</c:v>
                </c:pt>
                <c:pt idx="2896">
                  <c:v>All Others</c:v>
                </c:pt>
                <c:pt idx="2897">
                  <c:v>All Others</c:v>
                </c:pt>
                <c:pt idx="2898">
                  <c:v>Raguin</c:v>
                </c:pt>
                <c:pt idx="2899">
                  <c:v>All Others</c:v>
                </c:pt>
                <c:pt idx="2900">
                  <c:v>All Others</c:v>
                </c:pt>
                <c:pt idx="2901">
                  <c:v>All Others</c:v>
                </c:pt>
                <c:pt idx="2902">
                  <c:v>Raguin</c:v>
                </c:pt>
                <c:pt idx="2903">
                  <c:v>Savencia: A</c:v>
                </c:pt>
                <c:pt idx="2904">
                  <c:v>All Others</c:v>
                </c:pt>
                <c:pt idx="2905">
                  <c:v>All Others</c:v>
                </c:pt>
                <c:pt idx="2906">
                  <c:v>Raguin</c:v>
                </c:pt>
                <c:pt idx="2907">
                  <c:v>All Others</c:v>
                </c:pt>
                <c:pt idx="2908">
                  <c:v>All Others</c:v>
                </c:pt>
                <c:pt idx="2909">
                  <c:v>All Others</c:v>
                </c:pt>
                <c:pt idx="2910">
                  <c:v>All Others</c:v>
                </c:pt>
                <c:pt idx="2911">
                  <c:v>All Others</c:v>
                </c:pt>
                <c:pt idx="2912">
                  <c:v>All Others</c:v>
                </c:pt>
                <c:pt idx="2913">
                  <c:v>All Others</c:v>
                </c:pt>
                <c:pt idx="2914">
                  <c:v>All Others</c:v>
                </c:pt>
                <c:pt idx="2915">
                  <c:v>All Others</c:v>
                </c:pt>
                <c:pt idx="2916">
                  <c:v>All Others</c:v>
                </c:pt>
                <c:pt idx="2917">
                  <c:v>All Others</c:v>
                </c:pt>
                <c:pt idx="2918">
                  <c:v>All Others</c:v>
                </c:pt>
                <c:pt idx="2919">
                  <c:v>All Others</c:v>
                </c:pt>
                <c:pt idx="2920">
                  <c:v>All Others</c:v>
                </c:pt>
                <c:pt idx="2921">
                  <c:v>All Others</c:v>
                </c:pt>
                <c:pt idx="2922">
                  <c:v>All Others</c:v>
                </c:pt>
                <c:pt idx="2923">
                  <c:v>All Others</c:v>
                </c:pt>
                <c:pt idx="2924">
                  <c:v>All Others</c:v>
                </c:pt>
                <c:pt idx="2925">
                  <c:v>All Others</c:v>
                </c:pt>
                <c:pt idx="2926">
                  <c:v>All Others</c:v>
                </c:pt>
                <c:pt idx="2927">
                  <c:v>All Others</c:v>
                </c:pt>
                <c:pt idx="2928">
                  <c:v>All Others</c:v>
                </c:pt>
                <c:pt idx="2929">
                  <c:v>All Others</c:v>
                </c:pt>
                <c:pt idx="2930">
                  <c:v>All Others</c:v>
                </c:pt>
                <c:pt idx="2931">
                  <c:v>Raguin</c:v>
                </c:pt>
                <c:pt idx="2932">
                  <c:v>All Others</c:v>
                </c:pt>
                <c:pt idx="2933">
                  <c:v>All Others</c:v>
                </c:pt>
                <c:pt idx="2934">
                  <c:v>Casa Azzurr</c:v>
                </c:pt>
                <c:pt idx="2935">
                  <c:v>Eurial Autr</c:v>
                </c:pt>
                <c:pt idx="2936">
                  <c:v>All Others</c:v>
                </c:pt>
                <c:pt idx="2937">
                  <c:v>All Others</c:v>
                </c:pt>
                <c:pt idx="2938">
                  <c:v>All Others</c:v>
                </c:pt>
                <c:pt idx="2939">
                  <c:v>Pochat</c:v>
                </c:pt>
                <c:pt idx="2940">
                  <c:v>All Others</c:v>
                </c:pt>
                <c:pt idx="2941">
                  <c:v>All Others</c:v>
                </c:pt>
                <c:pt idx="2942">
                  <c:v>All Others</c:v>
                </c:pt>
                <c:pt idx="2943">
                  <c:v>All Others</c:v>
                </c:pt>
                <c:pt idx="2944">
                  <c:v>Private Lab</c:v>
                </c:pt>
                <c:pt idx="2945">
                  <c:v>All Others</c:v>
                </c:pt>
                <c:pt idx="2946">
                  <c:v>All Others</c:v>
                </c:pt>
                <c:pt idx="2947">
                  <c:v>All Others</c:v>
                </c:pt>
                <c:pt idx="2948">
                  <c:v>All Others</c:v>
                </c:pt>
                <c:pt idx="2949">
                  <c:v>Private Lab</c:v>
                </c:pt>
                <c:pt idx="2950">
                  <c:v>All Others</c:v>
                </c:pt>
                <c:pt idx="2951">
                  <c:v>All Others</c:v>
                </c:pt>
                <c:pt idx="2952">
                  <c:v>All Others</c:v>
                </c:pt>
                <c:pt idx="2953">
                  <c:v>All Others</c:v>
                </c:pt>
                <c:pt idx="2954">
                  <c:v>All Others</c:v>
                </c:pt>
                <c:pt idx="2955">
                  <c:v>All Others</c:v>
                </c:pt>
                <c:pt idx="2956">
                  <c:v>All Others</c:v>
                </c:pt>
                <c:pt idx="2957">
                  <c:v>All Others</c:v>
                </c:pt>
                <c:pt idx="2958">
                  <c:v>All Others</c:v>
                </c:pt>
                <c:pt idx="2959">
                  <c:v>Private Lab</c:v>
                </c:pt>
                <c:pt idx="2960">
                  <c:v>All Others</c:v>
                </c:pt>
                <c:pt idx="2961">
                  <c:v>Eurial Autr</c:v>
                </c:pt>
                <c:pt idx="2962">
                  <c:v>Lactalis: A</c:v>
                </c:pt>
                <c:pt idx="2963">
                  <c:v>All Others</c:v>
                </c:pt>
                <c:pt idx="2964">
                  <c:v>All Others</c:v>
                </c:pt>
                <c:pt idx="2965">
                  <c:v>All Others</c:v>
                </c:pt>
                <c:pt idx="2966">
                  <c:v>All Others</c:v>
                </c:pt>
                <c:pt idx="2967">
                  <c:v>All Others</c:v>
                </c:pt>
                <c:pt idx="2968">
                  <c:v>All Others</c:v>
                </c:pt>
                <c:pt idx="2969">
                  <c:v>All Others</c:v>
                </c:pt>
                <c:pt idx="2970">
                  <c:v>All Others</c:v>
                </c:pt>
                <c:pt idx="2971">
                  <c:v>All Others</c:v>
                </c:pt>
                <c:pt idx="2972">
                  <c:v>All Others</c:v>
                </c:pt>
                <c:pt idx="2973">
                  <c:v>All Others</c:v>
                </c:pt>
                <c:pt idx="2974">
                  <c:v>All Others</c:v>
                </c:pt>
                <c:pt idx="2975">
                  <c:v>All Others</c:v>
                </c:pt>
                <c:pt idx="2976">
                  <c:v>All Others</c:v>
                </c:pt>
                <c:pt idx="2977">
                  <c:v>All Others</c:v>
                </c:pt>
                <c:pt idx="2978">
                  <c:v>All Others</c:v>
                </c:pt>
                <c:pt idx="2979">
                  <c:v>All Others</c:v>
                </c:pt>
                <c:pt idx="2980">
                  <c:v>All Others</c:v>
                </c:pt>
                <c:pt idx="2981">
                  <c:v>All Others</c:v>
                </c:pt>
                <c:pt idx="2982">
                  <c:v>All Others</c:v>
                </c:pt>
                <c:pt idx="2983">
                  <c:v>All Others</c:v>
                </c:pt>
                <c:pt idx="2984">
                  <c:v>All Others</c:v>
                </c:pt>
                <c:pt idx="2985">
                  <c:v>All Others</c:v>
                </c:pt>
                <c:pt idx="2986">
                  <c:v>All Others</c:v>
                </c:pt>
                <c:pt idx="2987">
                  <c:v>All Others</c:v>
                </c:pt>
                <c:pt idx="2988">
                  <c:v>All Others</c:v>
                </c:pt>
                <c:pt idx="2989">
                  <c:v>All Others</c:v>
                </c:pt>
                <c:pt idx="2990">
                  <c:v>All Others</c:v>
                </c:pt>
                <c:pt idx="2991">
                  <c:v>All Others</c:v>
                </c:pt>
                <c:pt idx="2992">
                  <c:v>All Others</c:v>
                </c:pt>
                <c:pt idx="2993">
                  <c:v>All Others</c:v>
                </c:pt>
                <c:pt idx="2994">
                  <c:v>All Others</c:v>
                </c:pt>
                <c:pt idx="2995">
                  <c:v>All Others</c:v>
                </c:pt>
                <c:pt idx="2996">
                  <c:v>Galbani</c:v>
                </c:pt>
                <c:pt idx="2997">
                  <c:v>All Others</c:v>
                </c:pt>
                <c:pt idx="2998">
                  <c:v>All Others</c:v>
                </c:pt>
                <c:pt idx="2999">
                  <c:v>All Others</c:v>
                </c:pt>
                <c:pt idx="3000">
                  <c:v>All Others</c:v>
                </c:pt>
                <c:pt idx="3001">
                  <c:v>All Others</c:v>
                </c:pt>
                <c:pt idx="3002">
                  <c:v>All Others</c:v>
                </c:pt>
                <c:pt idx="3003">
                  <c:v>All Others</c:v>
                </c:pt>
                <c:pt idx="3004">
                  <c:v>All Others</c:v>
                </c:pt>
                <c:pt idx="3005">
                  <c:v>All Others</c:v>
                </c:pt>
                <c:pt idx="3006">
                  <c:v>All Others</c:v>
                </c:pt>
                <c:pt idx="3007">
                  <c:v>All Others</c:v>
                </c:pt>
                <c:pt idx="3008">
                  <c:v>All Others</c:v>
                </c:pt>
                <c:pt idx="3009">
                  <c:v>All Others</c:v>
                </c:pt>
                <c:pt idx="3010">
                  <c:v>All Others</c:v>
                </c:pt>
                <c:pt idx="3011">
                  <c:v>All Others</c:v>
                </c:pt>
                <c:pt idx="3012">
                  <c:v>All Others</c:v>
                </c:pt>
                <c:pt idx="3013">
                  <c:v>All Others</c:v>
                </c:pt>
                <c:pt idx="3014">
                  <c:v>All Others</c:v>
                </c:pt>
                <c:pt idx="3015">
                  <c:v>Private Lab</c:v>
                </c:pt>
                <c:pt idx="3016">
                  <c:v>All Others</c:v>
                </c:pt>
                <c:pt idx="3017">
                  <c:v>All Others</c:v>
                </c:pt>
                <c:pt idx="3018">
                  <c:v>All Others</c:v>
                </c:pt>
                <c:pt idx="3019">
                  <c:v>Societe</c:v>
                </c:pt>
                <c:pt idx="3020">
                  <c:v>Savencia: A</c:v>
                </c:pt>
                <c:pt idx="3021">
                  <c:v>All Others</c:v>
                </c:pt>
                <c:pt idx="3022">
                  <c:v>All Others</c:v>
                </c:pt>
                <c:pt idx="3023">
                  <c:v>All Others</c:v>
                </c:pt>
                <c:pt idx="3024">
                  <c:v>All Others</c:v>
                </c:pt>
                <c:pt idx="3025">
                  <c:v>All Others</c:v>
                </c:pt>
                <c:pt idx="3026">
                  <c:v>All Others</c:v>
                </c:pt>
                <c:pt idx="3027">
                  <c:v>All Others</c:v>
                </c:pt>
                <c:pt idx="3028">
                  <c:v>All Others</c:v>
                </c:pt>
                <c:pt idx="3029">
                  <c:v>All Others</c:v>
                </c:pt>
                <c:pt idx="3030">
                  <c:v>Casa Azzurr</c:v>
                </c:pt>
                <c:pt idx="3031">
                  <c:v>All Others</c:v>
                </c:pt>
                <c:pt idx="3032">
                  <c:v>All Others</c:v>
                </c:pt>
                <c:pt idx="3033">
                  <c:v>All Others</c:v>
                </c:pt>
                <c:pt idx="3034">
                  <c:v>All Others</c:v>
                </c:pt>
                <c:pt idx="3035">
                  <c:v>All Others</c:v>
                </c:pt>
                <c:pt idx="3036">
                  <c:v>All Others</c:v>
                </c:pt>
                <c:pt idx="3037">
                  <c:v>All Others</c:v>
                </c:pt>
                <c:pt idx="3038">
                  <c:v>All Others</c:v>
                </c:pt>
                <c:pt idx="3039">
                  <c:v>All Others</c:v>
                </c:pt>
                <c:pt idx="3040">
                  <c:v>All Others</c:v>
                </c:pt>
                <c:pt idx="3041">
                  <c:v>All Others</c:v>
                </c:pt>
                <c:pt idx="3042">
                  <c:v>All Others</c:v>
                </c:pt>
                <c:pt idx="3043">
                  <c:v>All Others</c:v>
                </c:pt>
                <c:pt idx="3044">
                  <c:v>All Others</c:v>
                </c:pt>
                <c:pt idx="3045">
                  <c:v>All Others</c:v>
                </c:pt>
                <c:pt idx="3046">
                  <c:v>All Others</c:v>
                </c:pt>
                <c:pt idx="3047">
                  <c:v>Fol Epi</c:v>
                </c:pt>
                <c:pt idx="3048">
                  <c:v>All Others</c:v>
                </c:pt>
                <c:pt idx="3049">
                  <c:v>Eurial Autr</c:v>
                </c:pt>
                <c:pt idx="3050">
                  <c:v>All Others</c:v>
                </c:pt>
                <c:pt idx="3051">
                  <c:v>All Others</c:v>
                </c:pt>
                <c:pt idx="3052">
                  <c:v>All Others</c:v>
                </c:pt>
                <c:pt idx="3053">
                  <c:v>All Others</c:v>
                </c:pt>
                <c:pt idx="3054">
                  <c:v>All Others</c:v>
                </c:pt>
                <c:pt idx="3055">
                  <c:v>All Others</c:v>
                </c:pt>
                <c:pt idx="3056">
                  <c:v>All Others</c:v>
                </c:pt>
                <c:pt idx="3057">
                  <c:v>All Others</c:v>
                </c:pt>
                <c:pt idx="3058">
                  <c:v>All Others</c:v>
                </c:pt>
                <c:pt idx="3059">
                  <c:v>All Others</c:v>
                </c:pt>
                <c:pt idx="3060">
                  <c:v>All Others</c:v>
                </c:pt>
                <c:pt idx="3061">
                  <c:v>All Others</c:v>
                </c:pt>
                <c:pt idx="3062">
                  <c:v>All Others</c:v>
                </c:pt>
                <c:pt idx="3063">
                  <c:v>All Others</c:v>
                </c:pt>
                <c:pt idx="3064">
                  <c:v>All Others</c:v>
                </c:pt>
                <c:pt idx="3065">
                  <c:v>All Others</c:v>
                </c:pt>
                <c:pt idx="3066">
                  <c:v>All Others</c:v>
                </c:pt>
                <c:pt idx="3067">
                  <c:v>All Others</c:v>
                </c:pt>
                <c:pt idx="3068">
                  <c:v>All Others</c:v>
                </c:pt>
                <c:pt idx="3069">
                  <c:v>All Others</c:v>
                </c:pt>
                <c:pt idx="3070">
                  <c:v>Entremont</c:v>
                </c:pt>
                <c:pt idx="3071">
                  <c:v>Entremont</c:v>
                </c:pt>
                <c:pt idx="3072">
                  <c:v>All Others</c:v>
                </c:pt>
                <c:pt idx="3073">
                  <c:v>All Others</c:v>
                </c:pt>
                <c:pt idx="3074">
                  <c:v>All Others</c:v>
                </c:pt>
                <c:pt idx="3075">
                  <c:v>All Others</c:v>
                </c:pt>
                <c:pt idx="3076">
                  <c:v>Private Lab</c:v>
                </c:pt>
                <c:pt idx="3077">
                  <c:v>All Others</c:v>
                </c:pt>
                <c:pt idx="3078">
                  <c:v>All Others</c:v>
                </c:pt>
                <c:pt idx="3079">
                  <c:v>All Others</c:v>
                </c:pt>
                <c:pt idx="3080">
                  <c:v>Savencia: A</c:v>
                </c:pt>
                <c:pt idx="3081">
                  <c:v>All Others</c:v>
                </c:pt>
                <c:pt idx="3082">
                  <c:v>All Others</c:v>
                </c:pt>
                <c:pt idx="3083">
                  <c:v>Eurial Autr</c:v>
                </c:pt>
                <c:pt idx="3084">
                  <c:v>All Others</c:v>
                </c:pt>
                <c:pt idx="3085">
                  <c:v>All Others</c:v>
                </c:pt>
                <c:pt idx="3086">
                  <c:v>All Others</c:v>
                </c:pt>
                <c:pt idx="3087">
                  <c:v>All Others</c:v>
                </c:pt>
                <c:pt idx="3088">
                  <c:v>All Others</c:v>
                </c:pt>
                <c:pt idx="3089">
                  <c:v>All Others</c:v>
                </c:pt>
                <c:pt idx="3090">
                  <c:v>All Others</c:v>
                </c:pt>
                <c:pt idx="3091">
                  <c:v>All Others</c:v>
                </c:pt>
                <c:pt idx="3092">
                  <c:v>All Others</c:v>
                </c:pt>
                <c:pt idx="3093">
                  <c:v>All Others</c:v>
                </c:pt>
                <c:pt idx="3094">
                  <c:v>All Others</c:v>
                </c:pt>
                <c:pt idx="3095">
                  <c:v>All Others</c:v>
                </c:pt>
                <c:pt idx="3096">
                  <c:v>All Others</c:v>
                </c:pt>
                <c:pt idx="3097">
                  <c:v>All Others</c:v>
                </c:pt>
                <c:pt idx="3098">
                  <c:v>All Others</c:v>
                </c:pt>
                <c:pt idx="3099">
                  <c:v>Private Lab</c:v>
                </c:pt>
                <c:pt idx="3100">
                  <c:v>All Others</c:v>
                </c:pt>
                <c:pt idx="3101">
                  <c:v>All Others</c:v>
                </c:pt>
                <c:pt idx="3102">
                  <c:v>All Others</c:v>
                </c:pt>
                <c:pt idx="3103">
                  <c:v>Private Lab</c:v>
                </c:pt>
                <c:pt idx="3104">
                  <c:v>Private Lab</c:v>
                </c:pt>
                <c:pt idx="3105">
                  <c:v>All Others</c:v>
                </c:pt>
                <c:pt idx="3106">
                  <c:v>All Others</c:v>
                </c:pt>
                <c:pt idx="3107">
                  <c:v>All Others</c:v>
                </c:pt>
                <c:pt idx="3108">
                  <c:v>All Others</c:v>
                </c:pt>
                <c:pt idx="3109">
                  <c:v>All Others</c:v>
                </c:pt>
                <c:pt idx="3110">
                  <c:v>All Others</c:v>
                </c:pt>
                <c:pt idx="3111">
                  <c:v>All Others</c:v>
                </c:pt>
                <c:pt idx="3112">
                  <c:v>All Others</c:v>
                </c:pt>
                <c:pt idx="3113">
                  <c:v>All Others</c:v>
                </c:pt>
                <c:pt idx="3114">
                  <c:v>All Others</c:v>
                </c:pt>
                <c:pt idx="3115">
                  <c:v>All Others</c:v>
                </c:pt>
                <c:pt idx="3116">
                  <c:v>All Others</c:v>
                </c:pt>
                <c:pt idx="3117">
                  <c:v>All Others</c:v>
                </c:pt>
                <c:pt idx="3118">
                  <c:v>All Others</c:v>
                </c:pt>
                <c:pt idx="3119">
                  <c:v>All Others</c:v>
                </c:pt>
                <c:pt idx="3120">
                  <c:v>Societe</c:v>
                </c:pt>
                <c:pt idx="3121">
                  <c:v>All Others</c:v>
                </c:pt>
                <c:pt idx="3122">
                  <c:v>All Others</c:v>
                </c:pt>
                <c:pt idx="3123">
                  <c:v>All Others</c:v>
                </c:pt>
                <c:pt idx="3124">
                  <c:v>All Others</c:v>
                </c:pt>
                <c:pt idx="3125">
                  <c:v>All Others</c:v>
                </c:pt>
                <c:pt idx="3126">
                  <c:v>All Others</c:v>
                </c:pt>
                <c:pt idx="3127">
                  <c:v>All Others</c:v>
                </c:pt>
                <c:pt idx="3128">
                  <c:v>All Others</c:v>
                </c:pt>
                <c:pt idx="3129">
                  <c:v>All Others</c:v>
                </c:pt>
                <c:pt idx="3130">
                  <c:v>All Others</c:v>
                </c:pt>
                <c:pt idx="3131">
                  <c:v>All Others</c:v>
                </c:pt>
                <c:pt idx="3132">
                  <c:v>All Others</c:v>
                </c:pt>
                <c:pt idx="3133">
                  <c:v>Private Lab</c:v>
                </c:pt>
                <c:pt idx="3134">
                  <c:v>All Others</c:v>
                </c:pt>
                <c:pt idx="3135">
                  <c:v>All Others</c:v>
                </c:pt>
                <c:pt idx="3136">
                  <c:v>All Others</c:v>
                </c:pt>
                <c:pt idx="3137">
                  <c:v>All Others</c:v>
                </c:pt>
                <c:pt idx="3138">
                  <c:v>All Others</c:v>
                </c:pt>
                <c:pt idx="3139">
                  <c:v>All Others</c:v>
                </c:pt>
                <c:pt idx="3140">
                  <c:v>All Others</c:v>
                </c:pt>
                <c:pt idx="3141">
                  <c:v>Private Lab</c:v>
                </c:pt>
                <c:pt idx="3142">
                  <c:v>All Others</c:v>
                </c:pt>
                <c:pt idx="3143">
                  <c:v>All Others</c:v>
                </c:pt>
                <c:pt idx="3144">
                  <c:v>President</c:v>
                </c:pt>
                <c:pt idx="3145">
                  <c:v>All Others</c:v>
                </c:pt>
                <c:pt idx="3146">
                  <c:v>All Others</c:v>
                </c:pt>
                <c:pt idx="3147">
                  <c:v>All Others</c:v>
                </c:pt>
                <c:pt idx="3148">
                  <c:v>All Others</c:v>
                </c:pt>
                <c:pt idx="3149">
                  <c:v>Private Lab</c:v>
                </c:pt>
                <c:pt idx="3150">
                  <c:v>All Others</c:v>
                </c:pt>
                <c:pt idx="3151">
                  <c:v>All Others</c:v>
                </c:pt>
                <c:pt idx="3152">
                  <c:v>All Others</c:v>
                </c:pt>
                <c:pt idx="3153">
                  <c:v>Private Lab</c:v>
                </c:pt>
                <c:pt idx="3154">
                  <c:v>All Others</c:v>
                </c:pt>
                <c:pt idx="3155">
                  <c:v>All Others</c:v>
                </c:pt>
                <c:pt idx="3156">
                  <c:v>All Others</c:v>
                </c:pt>
                <c:pt idx="3157">
                  <c:v>All Others</c:v>
                </c:pt>
                <c:pt idx="3158">
                  <c:v>All Others</c:v>
                </c:pt>
                <c:pt idx="3159">
                  <c:v>All Others</c:v>
                </c:pt>
                <c:pt idx="3160">
                  <c:v>Savencia: A</c:v>
                </c:pt>
                <c:pt idx="3161">
                  <c:v>All Others</c:v>
                </c:pt>
                <c:pt idx="3162">
                  <c:v>All Others</c:v>
                </c:pt>
                <c:pt idx="3163">
                  <c:v>All Others</c:v>
                </c:pt>
                <c:pt idx="3164">
                  <c:v>All Others</c:v>
                </c:pt>
                <c:pt idx="3165">
                  <c:v>All Others</c:v>
                </c:pt>
                <c:pt idx="3166">
                  <c:v>All Others</c:v>
                </c:pt>
                <c:pt idx="3167">
                  <c:v>All Others</c:v>
                </c:pt>
                <c:pt idx="3168">
                  <c:v>All Others</c:v>
                </c:pt>
                <c:pt idx="3169">
                  <c:v>All Others</c:v>
                </c:pt>
                <c:pt idx="3170">
                  <c:v>Limiano</c:v>
                </c:pt>
                <c:pt idx="3171">
                  <c:v>All Others</c:v>
                </c:pt>
                <c:pt idx="3172">
                  <c:v>All Others</c:v>
                </c:pt>
                <c:pt idx="3173">
                  <c:v>All Others</c:v>
                </c:pt>
                <c:pt idx="3174">
                  <c:v>All Others</c:v>
                </c:pt>
                <c:pt idx="3175">
                  <c:v>Private Lab</c:v>
                </c:pt>
                <c:pt idx="3176">
                  <c:v>All Others</c:v>
                </c:pt>
                <c:pt idx="3177">
                  <c:v>All Others</c:v>
                </c:pt>
                <c:pt idx="3178">
                  <c:v>All Others</c:v>
                </c:pt>
                <c:pt idx="3179">
                  <c:v>All Others</c:v>
                </c:pt>
                <c:pt idx="3180">
                  <c:v>All Others</c:v>
                </c:pt>
                <c:pt idx="3181">
                  <c:v>Private Lab</c:v>
                </c:pt>
                <c:pt idx="3182">
                  <c:v>All Others</c:v>
                </c:pt>
                <c:pt idx="3183">
                  <c:v>Private Lab</c:v>
                </c:pt>
                <c:pt idx="3184">
                  <c:v>Entremont</c:v>
                </c:pt>
                <c:pt idx="3185">
                  <c:v>All Others</c:v>
                </c:pt>
                <c:pt idx="3186">
                  <c:v>All Others</c:v>
                </c:pt>
                <c:pt idx="3187">
                  <c:v>All Others</c:v>
                </c:pt>
                <c:pt idx="3188">
                  <c:v>All Others</c:v>
                </c:pt>
                <c:pt idx="3189">
                  <c:v>All Others</c:v>
                </c:pt>
                <c:pt idx="3190">
                  <c:v>All Others</c:v>
                </c:pt>
                <c:pt idx="3191">
                  <c:v>All Others</c:v>
                </c:pt>
                <c:pt idx="3192">
                  <c:v>All Others</c:v>
                </c:pt>
                <c:pt idx="3193">
                  <c:v>Casa Azzurr</c:v>
                </c:pt>
                <c:pt idx="3194">
                  <c:v>All Others</c:v>
                </c:pt>
                <c:pt idx="3195">
                  <c:v>All Others</c:v>
                </c:pt>
                <c:pt idx="3196">
                  <c:v>All Others</c:v>
                </c:pt>
                <c:pt idx="3197">
                  <c:v>All Others</c:v>
                </c:pt>
                <c:pt idx="3198">
                  <c:v>All Others</c:v>
                </c:pt>
                <c:pt idx="3199">
                  <c:v>All Others</c:v>
                </c:pt>
                <c:pt idx="3200">
                  <c:v>All Others</c:v>
                </c:pt>
                <c:pt idx="3201">
                  <c:v>All Others</c:v>
                </c:pt>
                <c:pt idx="3202">
                  <c:v>All Others</c:v>
                </c:pt>
                <c:pt idx="3203">
                  <c:v>All Others</c:v>
                </c:pt>
                <c:pt idx="3204">
                  <c:v>All Others</c:v>
                </c:pt>
                <c:pt idx="3205">
                  <c:v>All Others</c:v>
                </c:pt>
                <c:pt idx="3206">
                  <c:v>All Others</c:v>
                </c:pt>
                <c:pt idx="3207">
                  <c:v>All Others</c:v>
                </c:pt>
                <c:pt idx="3208">
                  <c:v>Salakis</c:v>
                </c:pt>
                <c:pt idx="3209">
                  <c:v>Societe</c:v>
                </c:pt>
                <c:pt idx="3210">
                  <c:v>All Others</c:v>
                </c:pt>
                <c:pt idx="3211">
                  <c:v>All Others</c:v>
                </c:pt>
                <c:pt idx="3212">
                  <c:v>All Others</c:v>
                </c:pt>
                <c:pt idx="3213">
                  <c:v>All Others</c:v>
                </c:pt>
                <c:pt idx="3214">
                  <c:v>All Others</c:v>
                </c:pt>
                <c:pt idx="3215">
                  <c:v>All Others</c:v>
                </c:pt>
                <c:pt idx="3216">
                  <c:v>All Others</c:v>
                </c:pt>
                <c:pt idx="3217">
                  <c:v>All Others</c:v>
                </c:pt>
                <c:pt idx="3218">
                  <c:v>All Others</c:v>
                </c:pt>
                <c:pt idx="3219">
                  <c:v>All Others</c:v>
                </c:pt>
                <c:pt idx="3220">
                  <c:v>All Others</c:v>
                </c:pt>
                <c:pt idx="3221">
                  <c:v>All Others</c:v>
                </c:pt>
                <c:pt idx="3222">
                  <c:v>All Others</c:v>
                </c:pt>
                <c:pt idx="3223">
                  <c:v>All Others</c:v>
                </c:pt>
                <c:pt idx="3224">
                  <c:v>All Others</c:v>
                </c:pt>
                <c:pt idx="3225">
                  <c:v>All Others</c:v>
                </c:pt>
                <c:pt idx="3226">
                  <c:v>All Others</c:v>
                </c:pt>
                <c:pt idx="3227">
                  <c:v>All Others</c:v>
                </c:pt>
                <c:pt idx="3228">
                  <c:v>All Others</c:v>
                </c:pt>
                <c:pt idx="3229">
                  <c:v>All Others</c:v>
                </c:pt>
                <c:pt idx="3230">
                  <c:v>Juraflore</c:v>
                </c:pt>
                <c:pt idx="3231">
                  <c:v>All Others</c:v>
                </c:pt>
                <c:pt idx="3232">
                  <c:v>All Others</c:v>
                </c:pt>
                <c:pt idx="3233">
                  <c:v>All Others</c:v>
                </c:pt>
                <c:pt idx="3234">
                  <c:v>All Others</c:v>
                </c:pt>
                <c:pt idx="3235">
                  <c:v>All Others</c:v>
                </c:pt>
                <c:pt idx="3236">
                  <c:v>All Others</c:v>
                </c:pt>
                <c:pt idx="3237">
                  <c:v>All Others</c:v>
                </c:pt>
                <c:pt idx="3238">
                  <c:v>All Others</c:v>
                </c:pt>
                <c:pt idx="3239">
                  <c:v>Pave D'Affi</c:v>
                </c:pt>
                <c:pt idx="3240">
                  <c:v>All Others</c:v>
                </c:pt>
                <c:pt idx="3241">
                  <c:v>All Others</c:v>
                </c:pt>
                <c:pt idx="3242">
                  <c:v>All Others</c:v>
                </c:pt>
                <c:pt idx="3243">
                  <c:v>All Others</c:v>
                </c:pt>
                <c:pt idx="3244">
                  <c:v>All Others</c:v>
                </c:pt>
                <c:pt idx="3245">
                  <c:v>All Others</c:v>
                </c:pt>
                <c:pt idx="3246">
                  <c:v>All Others</c:v>
                </c:pt>
                <c:pt idx="3247">
                  <c:v>All Others</c:v>
                </c:pt>
                <c:pt idx="3248">
                  <c:v>All Others</c:v>
                </c:pt>
                <c:pt idx="3249">
                  <c:v>All Others</c:v>
                </c:pt>
                <c:pt idx="3250">
                  <c:v>All Others</c:v>
                </c:pt>
                <c:pt idx="3251">
                  <c:v>Lactalis: A</c:v>
                </c:pt>
                <c:pt idx="3252">
                  <c:v>All Others</c:v>
                </c:pt>
                <c:pt idx="3253">
                  <c:v>All Others</c:v>
                </c:pt>
                <c:pt idx="3254">
                  <c:v>All Others</c:v>
                </c:pt>
                <c:pt idx="3255">
                  <c:v>All Others</c:v>
                </c:pt>
                <c:pt idx="3256">
                  <c:v>All Others</c:v>
                </c:pt>
                <c:pt idx="3257">
                  <c:v>All Others</c:v>
                </c:pt>
                <c:pt idx="3258">
                  <c:v>All Others</c:v>
                </c:pt>
                <c:pt idx="3259">
                  <c:v>All Others</c:v>
                </c:pt>
                <c:pt idx="3260">
                  <c:v>All Others</c:v>
                </c:pt>
                <c:pt idx="3261">
                  <c:v>All Others</c:v>
                </c:pt>
                <c:pt idx="3262">
                  <c:v>All Others</c:v>
                </c:pt>
                <c:pt idx="3263">
                  <c:v>Private Lab</c:v>
                </c:pt>
                <c:pt idx="3264">
                  <c:v>All Others</c:v>
                </c:pt>
                <c:pt idx="3265">
                  <c:v>All Others</c:v>
                </c:pt>
                <c:pt idx="3266">
                  <c:v>All Others</c:v>
                </c:pt>
                <c:pt idx="3267">
                  <c:v>All Others</c:v>
                </c:pt>
                <c:pt idx="3268">
                  <c:v>All Others</c:v>
                </c:pt>
                <c:pt idx="3269">
                  <c:v>All Others</c:v>
                </c:pt>
                <c:pt idx="3270">
                  <c:v>All Others</c:v>
                </c:pt>
                <c:pt idx="3271">
                  <c:v>All Others</c:v>
                </c:pt>
                <c:pt idx="3272">
                  <c:v>All Others</c:v>
                </c:pt>
                <c:pt idx="3273">
                  <c:v>Lactalis: A</c:v>
                </c:pt>
                <c:pt idx="3274">
                  <c:v>All Others</c:v>
                </c:pt>
                <c:pt idx="3275">
                  <c:v>Lactalis: A</c:v>
                </c:pt>
                <c:pt idx="3276">
                  <c:v>All Others</c:v>
                </c:pt>
                <c:pt idx="3277">
                  <c:v>All Others</c:v>
                </c:pt>
                <c:pt idx="3278">
                  <c:v>Private Lab</c:v>
                </c:pt>
                <c:pt idx="3279">
                  <c:v>All Others</c:v>
                </c:pt>
                <c:pt idx="3280">
                  <c:v>All Others</c:v>
                </c:pt>
                <c:pt idx="3281">
                  <c:v>All Others</c:v>
                </c:pt>
                <c:pt idx="3282">
                  <c:v>All Others</c:v>
                </c:pt>
                <c:pt idx="3283">
                  <c:v>All Others</c:v>
                </c:pt>
                <c:pt idx="3284">
                  <c:v>All Others</c:v>
                </c:pt>
                <c:pt idx="3285">
                  <c:v>All Others</c:v>
                </c:pt>
                <c:pt idx="3286">
                  <c:v>Private Lab</c:v>
                </c:pt>
                <c:pt idx="3287">
                  <c:v>All Others</c:v>
                </c:pt>
                <c:pt idx="3288">
                  <c:v>All Others</c:v>
                </c:pt>
                <c:pt idx="3289">
                  <c:v>All Others</c:v>
                </c:pt>
                <c:pt idx="3290">
                  <c:v>All Others</c:v>
                </c:pt>
                <c:pt idx="3291">
                  <c:v>All Others</c:v>
                </c:pt>
                <c:pt idx="3292">
                  <c:v>All Others</c:v>
                </c:pt>
                <c:pt idx="3293">
                  <c:v>All Others</c:v>
                </c:pt>
                <c:pt idx="3294">
                  <c:v>All Others</c:v>
                </c:pt>
                <c:pt idx="3295">
                  <c:v>All Others</c:v>
                </c:pt>
                <c:pt idx="3296">
                  <c:v>All Others</c:v>
                </c:pt>
                <c:pt idx="3297">
                  <c:v>All Others</c:v>
                </c:pt>
                <c:pt idx="3298">
                  <c:v>All Others</c:v>
                </c:pt>
                <c:pt idx="3299">
                  <c:v>All Others</c:v>
                </c:pt>
                <c:pt idx="3300">
                  <c:v>All Others</c:v>
                </c:pt>
                <c:pt idx="3301">
                  <c:v>All Others</c:v>
                </c:pt>
                <c:pt idx="3302">
                  <c:v>All Others</c:v>
                </c:pt>
                <c:pt idx="3303">
                  <c:v>All Others</c:v>
                </c:pt>
                <c:pt idx="3304">
                  <c:v>All Others</c:v>
                </c:pt>
                <c:pt idx="3305">
                  <c:v>All Others</c:v>
                </c:pt>
                <c:pt idx="3306">
                  <c:v>All Others</c:v>
                </c:pt>
                <c:pt idx="3307">
                  <c:v>All Others</c:v>
                </c:pt>
                <c:pt idx="3308">
                  <c:v>All Others</c:v>
                </c:pt>
                <c:pt idx="3309">
                  <c:v>All Others</c:v>
                </c:pt>
                <c:pt idx="3310">
                  <c:v>All Others</c:v>
                </c:pt>
                <c:pt idx="3311">
                  <c:v>All Others</c:v>
                </c:pt>
                <c:pt idx="3312">
                  <c:v>All Others</c:v>
                </c:pt>
                <c:pt idx="3313">
                  <c:v>All Others</c:v>
                </c:pt>
                <c:pt idx="3314">
                  <c:v>All Others</c:v>
                </c:pt>
                <c:pt idx="3315">
                  <c:v>All Others</c:v>
                </c:pt>
                <c:pt idx="3316">
                  <c:v>All Others</c:v>
                </c:pt>
                <c:pt idx="3317">
                  <c:v>All Others</c:v>
                </c:pt>
                <c:pt idx="3318">
                  <c:v>All Others</c:v>
                </c:pt>
                <c:pt idx="3319">
                  <c:v>All Others</c:v>
                </c:pt>
                <c:pt idx="3320">
                  <c:v>All Others</c:v>
                </c:pt>
                <c:pt idx="3321">
                  <c:v>All Others</c:v>
                </c:pt>
                <c:pt idx="3322">
                  <c:v>All Others</c:v>
                </c:pt>
                <c:pt idx="3323">
                  <c:v>All Others</c:v>
                </c:pt>
                <c:pt idx="3324">
                  <c:v>Lactalis: A</c:v>
                </c:pt>
                <c:pt idx="3325">
                  <c:v>All Others</c:v>
                </c:pt>
                <c:pt idx="3326">
                  <c:v>All Others</c:v>
                </c:pt>
                <c:pt idx="3327">
                  <c:v>All Others</c:v>
                </c:pt>
                <c:pt idx="3328">
                  <c:v>All Others</c:v>
                </c:pt>
                <c:pt idx="3329">
                  <c:v>All Others</c:v>
                </c:pt>
                <c:pt idx="3330">
                  <c:v>All Others</c:v>
                </c:pt>
                <c:pt idx="3331">
                  <c:v>All Others</c:v>
                </c:pt>
                <c:pt idx="3332">
                  <c:v>All Others</c:v>
                </c:pt>
                <c:pt idx="3333">
                  <c:v>All Others</c:v>
                </c:pt>
                <c:pt idx="3334">
                  <c:v>All Others</c:v>
                </c:pt>
                <c:pt idx="3335">
                  <c:v>Lactalis: A</c:v>
                </c:pt>
                <c:pt idx="3336">
                  <c:v>All Others</c:v>
                </c:pt>
                <c:pt idx="3337">
                  <c:v>All Others</c:v>
                </c:pt>
                <c:pt idx="3338">
                  <c:v>All Others</c:v>
                </c:pt>
                <c:pt idx="3339">
                  <c:v>All Others</c:v>
                </c:pt>
                <c:pt idx="3340">
                  <c:v>All Others</c:v>
                </c:pt>
                <c:pt idx="3341">
                  <c:v>All Others</c:v>
                </c:pt>
                <c:pt idx="3342">
                  <c:v>All Others</c:v>
                </c:pt>
                <c:pt idx="3343">
                  <c:v>All Others</c:v>
                </c:pt>
                <c:pt idx="3344">
                  <c:v>All Others</c:v>
                </c:pt>
                <c:pt idx="3345">
                  <c:v>All Others</c:v>
                </c:pt>
                <c:pt idx="3346">
                  <c:v>All Others</c:v>
                </c:pt>
                <c:pt idx="3347">
                  <c:v>All Others</c:v>
                </c:pt>
                <c:pt idx="3348">
                  <c:v>All Others</c:v>
                </c:pt>
                <c:pt idx="3349">
                  <c:v>All Others</c:v>
                </c:pt>
                <c:pt idx="3350">
                  <c:v>All Others</c:v>
                </c:pt>
                <c:pt idx="3351">
                  <c:v>All Others</c:v>
                </c:pt>
                <c:pt idx="3352">
                  <c:v>All Others</c:v>
                </c:pt>
                <c:pt idx="3353">
                  <c:v>All Others</c:v>
                </c:pt>
                <c:pt idx="3354">
                  <c:v>All Others</c:v>
                </c:pt>
                <c:pt idx="3355">
                  <c:v>All Others</c:v>
                </c:pt>
                <c:pt idx="3356">
                  <c:v>Savencia: A</c:v>
                </c:pt>
                <c:pt idx="3357">
                  <c:v>All Others</c:v>
                </c:pt>
                <c:pt idx="3358">
                  <c:v>All Others</c:v>
                </c:pt>
                <c:pt idx="3359">
                  <c:v>All Others</c:v>
                </c:pt>
                <c:pt idx="3360">
                  <c:v>Private Lab</c:v>
                </c:pt>
                <c:pt idx="3361">
                  <c:v>All Others</c:v>
                </c:pt>
                <c:pt idx="3362">
                  <c:v>All Others</c:v>
                </c:pt>
                <c:pt idx="3363">
                  <c:v>All Others</c:v>
                </c:pt>
                <c:pt idx="3364">
                  <c:v>All Others</c:v>
                </c:pt>
                <c:pt idx="3365">
                  <c:v>All Others</c:v>
                </c:pt>
                <c:pt idx="3366">
                  <c:v>All Others</c:v>
                </c:pt>
                <c:pt idx="3367">
                  <c:v>All Others</c:v>
                </c:pt>
                <c:pt idx="3368">
                  <c:v>All Others</c:v>
                </c:pt>
                <c:pt idx="3369">
                  <c:v>All Others</c:v>
                </c:pt>
                <c:pt idx="3370">
                  <c:v>All Others</c:v>
                </c:pt>
                <c:pt idx="3371">
                  <c:v>All Others</c:v>
                </c:pt>
                <c:pt idx="3372">
                  <c:v>All Others</c:v>
                </c:pt>
                <c:pt idx="3373">
                  <c:v>All Others</c:v>
                </c:pt>
                <c:pt idx="3374">
                  <c:v>All Others</c:v>
                </c:pt>
                <c:pt idx="3375">
                  <c:v>Private Lab</c:v>
                </c:pt>
                <c:pt idx="3376">
                  <c:v>Private Lab</c:v>
                </c:pt>
                <c:pt idx="3377">
                  <c:v>All Others</c:v>
                </c:pt>
                <c:pt idx="3378">
                  <c:v>All Others</c:v>
                </c:pt>
                <c:pt idx="3379">
                  <c:v>All Others</c:v>
                </c:pt>
                <c:pt idx="3380">
                  <c:v>All Others</c:v>
                </c:pt>
                <c:pt idx="3381">
                  <c:v>All Others</c:v>
                </c:pt>
                <c:pt idx="3382">
                  <c:v>All Others</c:v>
                </c:pt>
                <c:pt idx="3383">
                  <c:v>Private Lab</c:v>
                </c:pt>
                <c:pt idx="3384">
                  <c:v>All Others</c:v>
                </c:pt>
                <c:pt idx="3385">
                  <c:v>All Others</c:v>
                </c:pt>
                <c:pt idx="3386">
                  <c:v>All Others</c:v>
                </c:pt>
                <c:pt idx="3387">
                  <c:v>All Others</c:v>
                </c:pt>
                <c:pt idx="3388">
                  <c:v>Private Lab</c:v>
                </c:pt>
                <c:pt idx="3389">
                  <c:v>All Others</c:v>
                </c:pt>
                <c:pt idx="3390">
                  <c:v>All Others</c:v>
                </c:pt>
                <c:pt idx="3391">
                  <c:v>All Others</c:v>
                </c:pt>
                <c:pt idx="3392">
                  <c:v>All Others</c:v>
                </c:pt>
                <c:pt idx="3393">
                  <c:v>All Others</c:v>
                </c:pt>
                <c:pt idx="3394">
                  <c:v>All Others</c:v>
                </c:pt>
                <c:pt idx="3395">
                  <c:v>All Others</c:v>
                </c:pt>
                <c:pt idx="3396">
                  <c:v>All Others</c:v>
                </c:pt>
                <c:pt idx="3397">
                  <c:v>All Others</c:v>
                </c:pt>
                <c:pt idx="3398">
                  <c:v>All Others</c:v>
                </c:pt>
                <c:pt idx="3399">
                  <c:v>All Others</c:v>
                </c:pt>
                <c:pt idx="3400">
                  <c:v>All Others</c:v>
                </c:pt>
                <c:pt idx="3401">
                  <c:v>Private Lab</c:v>
                </c:pt>
                <c:pt idx="3402">
                  <c:v>Private Lab</c:v>
                </c:pt>
                <c:pt idx="3403">
                  <c:v>All Others</c:v>
                </c:pt>
                <c:pt idx="3404">
                  <c:v>All Others</c:v>
                </c:pt>
                <c:pt idx="3405">
                  <c:v>Private Lab</c:v>
                </c:pt>
                <c:pt idx="3406">
                  <c:v>All Others</c:v>
                </c:pt>
                <c:pt idx="3407">
                  <c:v>All Others</c:v>
                </c:pt>
                <c:pt idx="3408">
                  <c:v>All Others</c:v>
                </c:pt>
                <c:pt idx="3409">
                  <c:v>All Others</c:v>
                </c:pt>
                <c:pt idx="3410">
                  <c:v>Private Lab</c:v>
                </c:pt>
                <c:pt idx="3411">
                  <c:v>All Others</c:v>
                </c:pt>
                <c:pt idx="3412">
                  <c:v>All Others</c:v>
                </c:pt>
                <c:pt idx="3413">
                  <c:v>Private Lab</c:v>
                </c:pt>
                <c:pt idx="3414">
                  <c:v>All Others</c:v>
                </c:pt>
                <c:pt idx="3415">
                  <c:v>All Others</c:v>
                </c:pt>
                <c:pt idx="3416">
                  <c:v>All Others</c:v>
                </c:pt>
                <c:pt idx="3417">
                  <c:v>All Others</c:v>
                </c:pt>
                <c:pt idx="3418">
                  <c:v>All Others</c:v>
                </c:pt>
                <c:pt idx="3419">
                  <c:v>All Others</c:v>
                </c:pt>
                <c:pt idx="3420">
                  <c:v>All Others</c:v>
                </c:pt>
                <c:pt idx="3421">
                  <c:v>All Others</c:v>
                </c:pt>
                <c:pt idx="3422">
                  <c:v>Milleret: A</c:v>
                </c:pt>
                <c:pt idx="3423">
                  <c:v>All Others</c:v>
                </c:pt>
                <c:pt idx="3424">
                  <c:v>All Others</c:v>
                </c:pt>
                <c:pt idx="3425">
                  <c:v>All Others</c:v>
                </c:pt>
                <c:pt idx="3426">
                  <c:v>All Others</c:v>
                </c:pt>
                <c:pt idx="3427">
                  <c:v>All Others</c:v>
                </c:pt>
                <c:pt idx="3428">
                  <c:v>All Others</c:v>
                </c:pt>
                <c:pt idx="3429">
                  <c:v>All Others</c:v>
                </c:pt>
                <c:pt idx="3430">
                  <c:v>All Others</c:v>
                </c:pt>
                <c:pt idx="3431">
                  <c:v>All Others</c:v>
                </c:pt>
                <c:pt idx="3432">
                  <c:v>Private Lab</c:v>
                </c:pt>
                <c:pt idx="3433">
                  <c:v>All Others</c:v>
                </c:pt>
                <c:pt idx="3434">
                  <c:v>All Others</c:v>
                </c:pt>
                <c:pt idx="3435">
                  <c:v>Private Lab</c:v>
                </c:pt>
                <c:pt idx="3436">
                  <c:v>All Others</c:v>
                </c:pt>
                <c:pt idx="3437">
                  <c:v>All Others</c:v>
                </c:pt>
                <c:pt idx="3438">
                  <c:v>Private Lab</c:v>
                </c:pt>
                <c:pt idx="3439">
                  <c:v>All Others</c:v>
                </c:pt>
                <c:pt idx="3440">
                  <c:v>All Others</c:v>
                </c:pt>
                <c:pt idx="3441">
                  <c:v>Nurishh</c:v>
                </c:pt>
                <c:pt idx="3442">
                  <c:v>All Others</c:v>
                </c:pt>
                <c:pt idx="3443">
                  <c:v>All Others</c:v>
                </c:pt>
                <c:pt idx="3444">
                  <c:v>All Others</c:v>
                </c:pt>
                <c:pt idx="3445">
                  <c:v>All Others</c:v>
                </c:pt>
                <c:pt idx="3446">
                  <c:v>All Others</c:v>
                </c:pt>
                <c:pt idx="3447">
                  <c:v>All Others</c:v>
                </c:pt>
                <c:pt idx="3448">
                  <c:v>All Others</c:v>
                </c:pt>
                <c:pt idx="3449">
                  <c:v>All Others</c:v>
                </c:pt>
                <c:pt idx="3450">
                  <c:v>All Others</c:v>
                </c:pt>
                <c:pt idx="3451">
                  <c:v>All Others</c:v>
                </c:pt>
                <c:pt idx="3452">
                  <c:v>All Others</c:v>
                </c:pt>
                <c:pt idx="3453">
                  <c:v>Nurishh</c:v>
                </c:pt>
                <c:pt idx="3454">
                  <c:v>All Others</c:v>
                </c:pt>
                <c:pt idx="3455">
                  <c:v>All Others</c:v>
                </c:pt>
                <c:pt idx="3456">
                  <c:v>All Others</c:v>
                </c:pt>
                <c:pt idx="3457">
                  <c:v>All Others</c:v>
                </c:pt>
                <c:pt idx="3458">
                  <c:v>All Others</c:v>
                </c:pt>
                <c:pt idx="3459">
                  <c:v>All Others</c:v>
                </c:pt>
                <c:pt idx="3460">
                  <c:v>All Others</c:v>
                </c:pt>
                <c:pt idx="3461">
                  <c:v>All Others</c:v>
                </c:pt>
                <c:pt idx="3462">
                  <c:v>All Others</c:v>
                </c:pt>
                <c:pt idx="3463">
                  <c:v>All Others</c:v>
                </c:pt>
                <c:pt idx="3464">
                  <c:v>All Others</c:v>
                </c:pt>
                <c:pt idx="3465">
                  <c:v>All Others</c:v>
                </c:pt>
                <c:pt idx="3466">
                  <c:v>All Others</c:v>
                </c:pt>
                <c:pt idx="3467">
                  <c:v>All Others</c:v>
                </c:pt>
                <c:pt idx="3468">
                  <c:v>All Others</c:v>
                </c:pt>
                <c:pt idx="3469">
                  <c:v>Private Lab</c:v>
                </c:pt>
                <c:pt idx="3470">
                  <c:v>All Others</c:v>
                </c:pt>
                <c:pt idx="3471">
                  <c:v>All Others</c:v>
                </c:pt>
                <c:pt idx="3472">
                  <c:v>All Others</c:v>
                </c:pt>
                <c:pt idx="3473">
                  <c:v>All Others</c:v>
                </c:pt>
                <c:pt idx="3474">
                  <c:v>All Others</c:v>
                </c:pt>
                <c:pt idx="3475">
                  <c:v>All Others</c:v>
                </c:pt>
                <c:pt idx="3476">
                  <c:v>All Others</c:v>
                </c:pt>
                <c:pt idx="3477">
                  <c:v>All Others</c:v>
                </c:pt>
                <c:pt idx="3478">
                  <c:v>Private Lab</c:v>
                </c:pt>
                <c:pt idx="3479">
                  <c:v>All Others</c:v>
                </c:pt>
                <c:pt idx="3480">
                  <c:v>All Others</c:v>
                </c:pt>
                <c:pt idx="3481">
                  <c:v>Private Lab</c:v>
                </c:pt>
                <c:pt idx="3482">
                  <c:v>All Others</c:v>
                </c:pt>
                <c:pt idx="3483">
                  <c:v>All Others</c:v>
                </c:pt>
                <c:pt idx="3484">
                  <c:v>All Others</c:v>
                </c:pt>
                <c:pt idx="3485">
                  <c:v>All Others</c:v>
                </c:pt>
                <c:pt idx="3486">
                  <c:v>All Others</c:v>
                </c:pt>
                <c:pt idx="3487">
                  <c:v>All Others</c:v>
                </c:pt>
                <c:pt idx="3488">
                  <c:v>All Others</c:v>
                </c:pt>
                <c:pt idx="3489">
                  <c:v>Private Lab</c:v>
                </c:pt>
                <c:pt idx="3490">
                  <c:v>All Others</c:v>
                </c:pt>
                <c:pt idx="3491">
                  <c:v>All Others</c:v>
                </c:pt>
                <c:pt idx="3492">
                  <c:v>All Others</c:v>
                </c:pt>
                <c:pt idx="3493">
                  <c:v>All Others</c:v>
                </c:pt>
                <c:pt idx="3494">
                  <c:v>All Others</c:v>
                </c:pt>
                <c:pt idx="3495">
                  <c:v>Lactalis: A</c:v>
                </c:pt>
                <c:pt idx="3496">
                  <c:v>Boursin</c:v>
                </c:pt>
                <c:pt idx="3497">
                  <c:v>All Others</c:v>
                </c:pt>
                <c:pt idx="3498">
                  <c:v>All Others</c:v>
                </c:pt>
                <c:pt idx="3499">
                  <c:v>Private Lab</c:v>
                </c:pt>
                <c:pt idx="3500">
                  <c:v>All Others</c:v>
                </c:pt>
                <c:pt idx="3501">
                  <c:v>All Others</c:v>
                </c:pt>
                <c:pt idx="3502">
                  <c:v>All Others</c:v>
                </c:pt>
                <c:pt idx="3503">
                  <c:v>Private Lab</c:v>
                </c:pt>
                <c:pt idx="3504">
                  <c:v>All Others</c:v>
                </c:pt>
                <c:pt idx="3505">
                  <c:v>All Others</c:v>
                </c:pt>
                <c:pt idx="3506">
                  <c:v>All Others</c:v>
                </c:pt>
                <c:pt idx="3507">
                  <c:v>Bresse Bleu</c:v>
                </c:pt>
                <c:pt idx="3508">
                  <c:v>All Others</c:v>
                </c:pt>
                <c:pt idx="3509">
                  <c:v>All Others</c:v>
                </c:pt>
                <c:pt idx="3510">
                  <c:v>All Others</c:v>
                </c:pt>
                <c:pt idx="3511">
                  <c:v>Casa Azzurr</c:v>
                </c:pt>
                <c:pt idx="3512">
                  <c:v>All Others</c:v>
                </c:pt>
                <c:pt idx="3513">
                  <c:v>All Others</c:v>
                </c:pt>
                <c:pt idx="3514">
                  <c:v>All Others</c:v>
                </c:pt>
                <c:pt idx="3515">
                  <c:v>All Others</c:v>
                </c:pt>
                <c:pt idx="3516">
                  <c:v>All Others</c:v>
                </c:pt>
                <c:pt idx="3517">
                  <c:v>All Others</c:v>
                </c:pt>
                <c:pt idx="3518">
                  <c:v>All Others</c:v>
                </c:pt>
                <c:pt idx="3519">
                  <c:v>All Others</c:v>
                </c:pt>
                <c:pt idx="3520">
                  <c:v>All Others</c:v>
                </c:pt>
                <c:pt idx="3521">
                  <c:v>All Others</c:v>
                </c:pt>
                <c:pt idx="3522">
                  <c:v>All Others</c:v>
                </c:pt>
                <c:pt idx="3523">
                  <c:v>All Others</c:v>
                </c:pt>
                <c:pt idx="3524">
                  <c:v>All Others</c:v>
                </c:pt>
                <c:pt idx="3525">
                  <c:v>All Others</c:v>
                </c:pt>
                <c:pt idx="3526">
                  <c:v>All Others</c:v>
                </c:pt>
                <c:pt idx="3527">
                  <c:v>Ficello</c:v>
                </c:pt>
                <c:pt idx="3528">
                  <c:v>All Others</c:v>
                </c:pt>
                <c:pt idx="3529">
                  <c:v>Private Lab</c:v>
                </c:pt>
                <c:pt idx="3530">
                  <c:v>Mini Babybe</c:v>
                </c:pt>
                <c:pt idx="3531">
                  <c:v>All Others</c:v>
                </c:pt>
                <c:pt idx="3532">
                  <c:v>All Others</c:v>
                </c:pt>
                <c:pt idx="3533">
                  <c:v>Savencia: A</c:v>
                </c:pt>
                <c:pt idx="3534">
                  <c:v>All Others</c:v>
                </c:pt>
                <c:pt idx="3535">
                  <c:v>All Others</c:v>
                </c:pt>
                <c:pt idx="3536">
                  <c:v>All Others</c:v>
                </c:pt>
                <c:pt idx="3537">
                  <c:v>All Others</c:v>
                </c:pt>
                <c:pt idx="3538">
                  <c:v>Savencia: A</c:v>
                </c:pt>
                <c:pt idx="3539">
                  <c:v>All Others</c:v>
                </c:pt>
                <c:pt idx="3540">
                  <c:v>All Others</c:v>
                </c:pt>
                <c:pt idx="3541">
                  <c:v>All Others</c:v>
                </c:pt>
                <c:pt idx="3542">
                  <c:v>All Others</c:v>
                </c:pt>
                <c:pt idx="3543">
                  <c:v>All Others</c:v>
                </c:pt>
                <c:pt idx="3544">
                  <c:v>Private Lab</c:v>
                </c:pt>
                <c:pt idx="3545">
                  <c:v>Private Lab</c:v>
                </c:pt>
              </c:strCache>
            </c:strRef>
          </c:cat>
          <c:val>
            <c:numRef>
              <c:f>Sheet1!$C$2:$C$3547</c:f>
              <c:numCache>
                <c:formatCode>General</c:formatCode>
                <c:ptCount val="3546"/>
                <c:pt idx="0">
                  <c:v>3.2218558854225483E-2</c:v>
                </c:pt>
                <c:pt idx="1">
                  <c:v>5.9163214438474762E-2</c:v>
                </c:pt>
                <c:pt idx="2">
                  <c:v>7.1270634711058892E-2</c:v>
                </c:pt>
                <c:pt idx="3">
                  <c:v>8.3088597286413296E-2</c:v>
                </c:pt>
                <c:pt idx="4">
                  <c:v>9.3967200840198883E-2</c:v>
                </c:pt>
                <c:pt idx="5">
                  <c:v>0.1036328428110358</c:v>
                </c:pt>
                <c:pt idx="6">
                  <c:v>0.11288889227523775</c:v>
                </c:pt>
                <c:pt idx="7">
                  <c:v>0.12193368256852677</c:v>
                </c:pt>
                <c:pt idx="8">
                  <c:v>0.13095098708755368</c:v>
                </c:pt>
                <c:pt idx="9">
                  <c:v>0.13990721156379124</c:v>
                </c:pt>
                <c:pt idx="10">
                  <c:v>0.1486819500621529</c:v>
                </c:pt>
                <c:pt idx="11">
                  <c:v>0.15701744617402894</c:v>
                </c:pt>
                <c:pt idx="12">
                  <c:v>0.16510712847356965</c:v>
                </c:pt>
                <c:pt idx="13">
                  <c:v>0.17290536781524449</c:v>
                </c:pt>
                <c:pt idx="14">
                  <c:v>0.18052538040372421</c:v>
                </c:pt>
                <c:pt idx="15">
                  <c:v>0.19505817995755587</c:v>
                </c:pt>
                <c:pt idx="16">
                  <c:v>0.20832704058385187</c:v>
                </c:pt>
                <c:pt idx="17">
                  <c:v>0.21455661941489113</c:v>
                </c:pt>
                <c:pt idx="18">
                  <c:v>0.22074925328863715</c:v>
                </c:pt>
                <c:pt idx="19">
                  <c:v>0.22668914494558995</c:v>
                </c:pt>
                <c:pt idx="20">
                  <c:v>0.23261407160823686</c:v>
                </c:pt>
                <c:pt idx="21">
                  <c:v>0.23844318392507599</c:v>
                </c:pt>
                <c:pt idx="22">
                  <c:v>0.2442155566599572</c:v>
                </c:pt>
                <c:pt idx="23">
                  <c:v>0.24990411236042753</c:v>
                </c:pt>
                <c:pt idx="24">
                  <c:v>0.25524457535187206</c:v>
                </c:pt>
                <c:pt idx="25">
                  <c:v>0.26043391599181387</c:v>
                </c:pt>
                <c:pt idx="26">
                  <c:v>0.26561443606403407</c:v>
                </c:pt>
                <c:pt idx="27">
                  <c:v>0.27078584157683011</c:v>
                </c:pt>
                <c:pt idx="28">
                  <c:v>0.27553407379961836</c:v>
                </c:pt>
                <c:pt idx="29">
                  <c:v>0.28453113209005965</c:v>
                </c:pt>
                <c:pt idx="30">
                  <c:v>0.28897730090472562</c:v>
                </c:pt>
                <c:pt idx="31">
                  <c:v>0.2934152657176019</c:v>
                </c:pt>
                <c:pt idx="32">
                  <c:v>0.29762710354584992</c:v>
                </c:pt>
                <c:pt idx="33">
                  <c:v>0.31015308878850356</c:v>
                </c:pt>
                <c:pt idx="34">
                  <c:v>0.31426629975032228</c:v>
                </c:pt>
                <c:pt idx="35">
                  <c:v>0.31828610954822539</c:v>
                </c:pt>
                <c:pt idx="36">
                  <c:v>0.32616240042036571</c:v>
                </c:pt>
                <c:pt idx="37">
                  <c:v>0.33001956094209334</c:v>
                </c:pt>
                <c:pt idx="38">
                  <c:v>0.3338343703257744</c:v>
                </c:pt>
                <c:pt idx="39">
                  <c:v>0.34136764392897684</c:v>
                </c:pt>
                <c:pt idx="40">
                  <c:v>0.34509575597620518</c:v>
                </c:pt>
                <c:pt idx="41">
                  <c:v>0.35233560462748004</c:v>
                </c:pt>
                <c:pt idx="42">
                  <c:v>0.35938088303682619</c:v>
                </c:pt>
                <c:pt idx="43">
                  <c:v>0.3628388738744196</c:v>
                </c:pt>
                <c:pt idx="44">
                  <c:v>0.36622999139939527</c:v>
                </c:pt>
                <c:pt idx="45">
                  <c:v>0.36961961283326211</c:v>
                </c:pt>
                <c:pt idx="46">
                  <c:v>0.37296830653890917</c:v>
                </c:pt>
                <c:pt idx="47">
                  <c:v>0.37626131004964786</c:v>
                </c:pt>
                <c:pt idx="48">
                  <c:v>0.37945261693059595</c:v>
                </c:pt>
                <c:pt idx="49">
                  <c:v>0.38889060642652556</c:v>
                </c:pt>
                <c:pt idx="50">
                  <c:v>0.39192863910003656</c:v>
                </c:pt>
                <c:pt idx="51">
                  <c:v>0.39494431778778305</c:v>
                </c:pt>
                <c:pt idx="52">
                  <c:v>0.39795675276707754</c:v>
                </c:pt>
                <c:pt idx="53">
                  <c:v>0.403858884456406</c:v>
                </c:pt>
                <c:pt idx="54">
                  <c:v>0.40676816999691284</c:v>
                </c:pt>
                <c:pt idx="55">
                  <c:v>0.40965758088168042</c:v>
                </c:pt>
                <c:pt idx="56">
                  <c:v>0.41247234890644541</c:v>
                </c:pt>
                <c:pt idx="57">
                  <c:v>0.41527608570921404</c:v>
                </c:pt>
                <c:pt idx="58">
                  <c:v>0.41805165320701199</c:v>
                </c:pt>
                <c:pt idx="59">
                  <c:v>0.4207650055273911</c:v>
                </c:pt>
                <c:pt idx="60">
                  <c:v>0.42347074999582185</c:v>
                </c:pt>
                <c:pt idx="61">
                  <c:v>0.42617259417433145</c:v>
                </c:pt>
                <c:pt idx="62">
                  <c:v>0.42885264376795507</c:v>
                </c:pt>
                <c:pt idx="63">
                  <c:v>0.43152372661464944</c:v>
                </c:pt>
                <c:pt idx="64">
                  <c:v>0.43414188523837072</c:v>
                </c:pt>
                <c:pt idx="65">
                  <c:v>0.4367384705876266</c:v>
                </c:pt>
                <c:pt idx="66">
                  <c:v>0.43933441732157297</c:v>
                </c:pt>
                <c:pt idx="67">
                  <c:v>0.44191481761095719</c:v>
                </c:pt>
                <c:pt idx="68">
                  <c:v>0.44449273857031613</c:v>
                </c:pt>
                <c:pt idx="69">
                  <c:v>0.44961087441988851</c:v>
                </c:pt>
                <c:pt idx="70">
                  <c:v>0.45215470785797474</c:v>
                </c:pt>
                <c:pt idx="71">
                  <c:v>0.45468350525376028</c:v>
                </c:pt>
                <c:pt idx="72">
                  <c:v>0.45718744075122941</c:v>
                </c:pt>
                <c:pt idx="73">
                  <c:v>0.45968321389573336</c:v>
                </c:pt>
                <c:pt idx="74">
                  <c:v>0.46217857545185365</c:v>
                </c:pt>
                <c:pt idx="75">
                  <c:v>0.46466174288546502</c:v>
                </c:pt>
                <c:pt idx="76">
                  <c:v>0.46713310491892984</c:v>
                </c:pt>
                <c:pt idx="77">
                  <c:v>0.469599348230195</c:v>
                </c:pt>
                <c:pt idx="78">
                  <c:v>0.47205474488092147</c:v>
                </c:pt>
                <c:pt idx="79">
                  <c:v>0.47448786757695799</c:v>
                </c:pt>
                <c:pt idx="80">
                  <c:v>0.47689743990432915</c:v>
                </c:pt>
                <c:pt idx="81">
                  <c:v>0.47928530502768146</c:v>
                </c:pt>
                <c:pt idx="82">
                  <c:v>0.48401764781558787</c:v>
                </c:pt>
                <c:pt idx="83">
                  <c:v>0.48872653659877585</c:v>
                </c:pt>
                <c:pt idx="84">
                  <c:v>0.4933504936290139</c:v>
                </c:pt>
                <c:pt idx="85">
                  <c:v>0.49561705614258678</c:v>
                </c:pt>
                <c:pt idx="86">
                  <c:v>0.49787815531035301</c:v>
                </c:pt>
                <c:pt idx="87">
                  <c:v>0.50009986938969442</c:v>
                </c:pt>
                <c:pt idx="88">
                  <c:v>0.50231993384892681</c:v>
                </c:pt>
                <c:pt idx="89">
                  <c:v>0.50452024614896274</c:v>
                </c:pt>
                <c:pt idx="90">
                  <c:v>0.50671305594407701</c:v>
                </c:pt>
                <c:pt idx="91">
                  <c:v>0.50889752209134287</c:v>
                </c:pt>
                <c:pt idx="92">
                  <c:v>0.51107623825089199</c:v>
                </c:pt>
                <c:pt idx="93">
                  <c:v>0.51323543091145774</c:v>
                </c:pt>
                <c:pt idx="94">
                  <c:v>0.51539359623435166</c:v>
                </c:pt>
                <c:pt idx="95">
                  <c:v>0.51754161884350591</c:v>
                </c:pt>
                <c:pt idx="96">
                  <c:v>0.52177281520872643</c:v>
                </c:pt>
                <c:pt idx="97">
                  <c:v>0.5238738857096884</c:v>
                </c:pt>
                <c:pt idx="98">
                  <c:v>0.52592518259875676</c:v>
                </c:pt>
                <c:pt idx="99">
                  <c:v>0.52796166557258861</c:v>
                </c:pt>
                <c:pt idx="100">
                  <c:v>0.5299970599604773</c:v>
                </c:pt>
                <c:pt idx="101">
                  <c:v>0.5320117687655137</c:v>
                </c:pt>
                <c:pt idx="102">
                  <c:v>0.53594040520329211</c:v>
                </c:pt>
                <c:pt idx="103">
                  <c:v>0.53789848140668461</c:v>
                </c:pt>
                <c:pt idx="104">
                  <c:v>0.53984798693530267</c:v>
                </c:pt>
                <c:pt idx="105">
                  <c:v>0.54178582752647653</c:v>
                </c:pt>
                <c:pt idx="106">
                  <c:v>0.54371975149485685</c:v>
                </c:pt>
                <c:pt idx="107">
                  <c:v>0.54756703307873356</c:v>
                </c:pt>
                <c:pt idx="108">
                  <c:v>0.54946966081372872</c:v>
                </c:pt>
                <c:pt idx="109">
                  <c:v>0.55136145332119579</c:v>
                </c:pt>
                <c:pt idx="110">
                  <c:v>0.5532151069383997</c:v>
                </c:pt>
                <c:pt idx="111">
                  <c:v>0.55504113513528275</c:v>
                </c:pt>
                <c:pt idx="112">
                  <c:v>0.55686520992063071</c:v>
                </c:pt>
                <c:pt idx="113">
                  <c:v>0.56044220206628714</c:v>
                </c:pt>
                <c:pt idx="114">
                  <c:v>0.56221900706907535</c:v>
                </c:pt>
                <c:pt idx="115">
                  <c:v>0.56397696312050893</c:v>
                </c:pt>
                <c:pt idx="116">
                  <c:v>0.56572895277366697</c:v>
                </c:pt>
                <c:pt idx="117">
                  <c:v>0.56747659216627011</c:v>
                </c:pt>
                <c:pt idx="118">
                  <c:v>0.56922040721680867</c:v>
                </c:pt>
                <c:pt idx="119">
                  <c:v>0.57096226722252497</c:v>
                </c:pt>
                <c:pt idx="120">
                  <c:v>0.57268569721506279</c:v>
                </c:pt>
                <c:pt idx="121">
                  <c:v>0.57439122964606126</c:v>
                </c:pt>
                <c:pt idx="122">
                  <c:v>0.57609488134680675</c:v>
                </c:pt>
                <c:pt idx="123">
                  <c:v>0.57779803979480671</c:v>
                </c:pt>
                <c:pt idx="124">
                  <c:v>0.57950020683745407</c:v>
                </c:pt>
                <c:pt idx="125">
                  <c:v>0.58119038228520992</c:v>
                </c:pt>
                <c:pt idx="126">
                  <c:v>0.58285281634925101</c:v>
                </c:pt>
                <c:pt idx="127">
                  <c:v>0.58451500378691945</c:v>
                </c:pt>
                <c:pt idx="128">
                  <c:v>0.58616696602984275</c:v>
                </c:pt>
                <c:pt idx="129">
                  <c:v>0.58781371971976837</c:v>
                </c:pt>
                <c:pt idx="130">
                  <c:v>0.59108467221952499</c:v>
                </c:pt>
                <c:pt idx="131">
                  <c:v>0.59271294771429861</c:v>
                </c:pt>
                <c:pt idx="132">
                  <c:v>0.59433722410527334</c:v>
                </c:pt>
                <c:pt idx="133">
                  <c:v>0.59594685235966605</c:v>
                </c:pt>
                <c:pt idx="134">
                  <c:v>0.59754177857899793</c:v>
                </c:pt>
                <c:pt idx="135">
                  <c:v>0.59913607598274377</c:v>
                </c:pt>
                <c:pt idx="136">
                  <c:v>0.60072797082096441</c:v>
                </c:pt>
                <c:pt idx="137">
                  <c:v>0.60231109817329864</c:v>
                </c:pt>
                <c:pt idx="138">
                  <c:v>0.60388461199695798</c:v>
                </c:pt>
                <c:pt idx="139">
                  <c:v>0.60545728631097762</c:v>
                </c:pt>
                <c:pt idx="140">
                  <c:v>0.60702601051981542</c:v>
                </c:pt>
                <c:pt idx="141">
                  <c:v>0.60857882324439372</c:v>
                </c:pt>
                <c:pt idx="142">
                  <c:v>0.61012511506967959</c:v>
                </c:pt>
                <c:pt idx="143">
                  <c:v>0.61164736245691098</c:v>
                </c:pt>
                <c:pt idx="144">
                  <c:v>0.6131672138117662</c:v>
                </c:pt>
                <c:pt idx="145">
                  <c:v>0.61468262834184306</c:v>
                </c:pt>
                <c:pt idx="146">
                  <c:v>0.61619687915476384</c:v>
                </c:pt>
                <c:pt idx="147">
                  <c:v>0.61770162178603638</c:v>
                </c:pt>
                <c:pt idx="148">
                  <c:v>0.61920364172748543</c:v>
                </c:pt>
                <c:pt idx="149">
                  <c:v>0.62068473844278926</c:v>
                </c:pt>
                <c:pt idx="150">
                  <c:v>0.62216151184677759</c:v>
                </c:pt>
                <c:pt idx="151">
                  <c:v>0.62362513892179805</c:v>
                </c:pt>
                <c:pt idx="152">
                  <c:v>0.62508677991953876</c:v>
                </c:pt>
                <c:pt idx="153">
                  <c:v>0.62654417763703862</c:v>
                </c:pt>
                <c:pt idx="154">
                  <c:v>0.62799869995235835</c:v>
                </c:pt>
                <c:pt idx="155">
                  <c:v>0.62945086543419559</c:v>
                </c:pt>
                <c:pt idx="156">
                  <c:v>0.63088698876879434</c:v>
                </c:pt>
                <c:pt idx="157">
                  <c:v>0.63232129833791684</c:v>
                </c:pt>
                <c:pt idx="158">
                  <c:v>0.63375452585424497</c:v>
                </c:pt>
                <c:pt idx="159">
                  <c:v>0.63518620501427281</c:v>
                </c:pt>
                <c:pt idx="160">
                  <c:v>0.63661430074210335</c:v>
                </c:pt>
                <c:pt idx="161">
                  <c:v>0.63802843431399137</c:v>
                </c:pt>
                <c:pt idx="162">
                  <c:v>0.63944166957789916</c:v>
                </c:pt>
                <c:pt idx="163">
                  <c:v>0.640852962046639</c:v>
                </c:pt>
                <c:pt idx="164">
                  <c:v>0.64225921255767926</c:v>
                </c:pt>
                <c:pt idx="165">
                  <c:v>0.64362711430104635</c:v>
                </c:pt>
                <c:pt idx="166">
                  <c:v>0.64499041180769334</c:v>
                </c:pt>
                <c:pt idx="167">
                  <c:v>0.64634536974970991</c:v>
                </c:pt>
                <c:pt idx="168">
                  <c:v>0.64904623558916474</c:v>
                </c:pt>
                <c:pt idx="169">
                  <c:v>0.65039204467272516</c:v>
                </c:pt>
                <c:pt idx="170">
                  <c:v>0.65307167287824175</c:v>
                </c:pt>
                <c:pt idx="171">
                  <c:v>0.65440337525993919</c:v>
                </c:pt>
                <c:pt idx="172">
                  <c:v>0.65573285555435112</c:v>
                </c:pt>
                <c:pt idx="173">
                  <c:v>0.65705785247529847</c:v>
                </c:pt>
                <c:pt idx="174">
                  <c:v>0.6583432340143206</c:v>
                </c:pt>
                <c:pt idx="175">
                  <c:v>0.65959445045092635</c:v>
                </c:pt>
                <c:pt idx="176">
                  <c:v>0.66084407606576356</c:v>
                </c:pt>
                <c:pt idx="177">
                  <c:v>0.66209095939133045</c:v>
                </c:pt>
                <c:pt idx="178">
                  <c:v>0.66456338224485556</c:v>
                </c:pt>
                <c:pt idx="179">
                  <c:v>0.66578708269138531</c:v>
                </c:pt>
                <c:pt idx="180">
                  <c:v>0.66700270734917333</c:v>
                </c:pt>
                <c:pt idx="181">
                  <c:v>0.66821448724880628</c:v>
                </c:pt>
                <c:pt idx="182">
                  <c:v>0.66942397727973346</c:v>
                </c:pt>
                <c:pt idx="183">
                  <c:v>0.67062667201911252</c:v>
                </c:pt>
                <c:pt idx="184">
                  <c:v>0.67182732188287131</c:v>
                </c:pt>
                <c:pt idx="185">
                  <c:v>0.67302273706103655</c:v>
                </c:pt>
                <c:pt idx="186">
                  <c:v>0.67421641442158198</c:v>
                </c:pt>
                <c:pt idx="187">
                  <c:v>0.67779491654128876</c:v>
                </c:pt>
                <c:pt idx="188">
                  <c:v>0.67897613028693127</c:v>
                </c:pt>
                <c:pt idx="189">
                  <c:v>0.68013421831858989</c:v>
                </c:pt>
                <c:pt idx="190">
                  <c:v>0.68129054729989469</c:v>
                </c:pt>
                <c:pt idx="191">
                  <c:v>0.68244363583932188</c:v>
                </c:pt>
                <c:pt idx="192">
                  <c:v>0.68359547899723117</c:v>
                </c:pt>
                <c:pt idx="193">
                  <c:v>0.6847457476662443</c:v>
                </c:pt>
                <c:pt idx="194">
                  <c:v>0.68589328792892856</c:v>
                </c:pt>
                <c:pt idx="195">
                  <c:v>0.68703980085394101</c:v>
                </c:pt>
                <c:pt idx="196">
                  <c:v>0.6881840533094179</c:v>
                </c:pt>
                <c:pt idx="197">
                  <c:v>0.68930565860407123</c:v>
                </c:pt>
                <c:pt idx="198">
                  <c:v>0.69042063030261291</c:v>
                </c:pt>
                <c:pt idx="199">
                  <c:v>0.69263942569766246</c:v>
                </c:pt>
                <c:pt idx="200">
                  <c:v>0.69374116041979461</c:v>
                </c:pt>
                <c:pt idx="201">
                  <c:v>0.69592382260130758</c:v>
                </c:pt>
                <c:pt idx="202">
                  <c:v>0.69700754624843753</c:v>
                </c:pt>
                <c:pt idx="203">
                  <c:v>0.69808301362858616</c:v>
                </c:pt>
                <c:pt idx="204">
                  <c:v>0.69915832012994195</c:v>
                </c:pt>
                <c:pt idx="205">
                  <c:v>0.70023010199744107</c:v>
                </c:pt>
                <c:pt idx="206">
                  <c:v>0.7012998969710168</c:v>
                </c:pt>
                <c:pt idx="207">
                  <c:v>0.70235317532741182</c:v>
                </c:pt>
                <c:pt idx="208">
                  <c:v>0.70340225776889576</c:v>
                </c:pt>
                <c:pt idx="209">
                  <c:v>0.7044419618750668</c:v>
                </c:pt>
                <c:pt idx="210">
                  <c:v>0.7064933967769067</c:v>
                </c:pt>
                <c:pt idx="211">
                  <c:v>0.70750704505179141</c:v>
                </c:pt>
                <c:pt idx="212">
                  <c:v>0.70851708539517033</c:v>
                </c:pt>
                <c:pt idx="213">
                  <c:v>0.70951467518994416</c:v>
                </c:pt>
                <c:pt idx="214">
                  <c:v>0.71050678367275177</c:v>
                </c:pt>
                <c:pt idx="215">
                  <c:v>0.71149827722291481</c:v>
                </c:pt>
                <c:pt idx="216">
                  <c:v>0.71248800028971326</c:v>
                </c:pt>
                <c:pt idx="217">
                  <c:v>0.71347717130542576</c:v>
                </c:pt>
                <c:pt idx="218">
                  <c:v>0.71446583518545126</c:v>
                </c:pt>
                <c:pt idx="219">
                  <c:v>0.71542853469827561</c:v>
                </c:pt>
                <c:pt idx="220">
                  <c:v>0.71639119664549344</c:v>
                </c:pt>
                <c:pt idx="221">
                  <c:v>0.71735240496707064</c:v>
                </c:pt>
                <c:pt idx="222">
                  <c:v>0.71831015398628062</c:v>
                </c:pt>
                <c:pt idx="223">
                  <c:v>0.71926428854083591</c:v>
                </c:pt>
                <c:pt idx="224">
                  <c:v>0.72115493366401928</c:v>
                </c:pt>
                <c:pt idx="225">
                  <c:v>0.72209787938435976</c:v>
                </c:pt>
                <c:pt idx="226">
                  <c:v>0.72303695094737497</c:v>
                </c:pt>
                <c:pt idx="227">
                  <c:v>0.72396559887124579</c:v>
                </c:pt>
                <c:pt idx="228">
                  <c:v>0.72489280296919945</c:v>
                </c:pt>
                <c:pt idx="229">
                  <c:v>0.72581720026303687</c:v>
                </c:pt>
                <c:pt idx="230">
                  <c:v>0.72674134521399625</c:v>
                </c:pt>
                <c:pt idx="231">
                  <c:v>0.72766352695369718</c:v>
                </c:pt>
                <c:pt idx="232">
                  <c:v>0.72858239802016933</c:v>
                </c:pt>
                <c:pt idx="233">
                  <c:v>0.72949625162825049</c:v>
                </c:pt>
                <c:pt idx="234">
                  <c:v>0.7304048182855466</c:v>
                </c:pt>
                <c:pt idx="235">
                  <c:v>0.7313103045631143</c:v>
                </c:pt>
                <c:pt idx="236">
                  <c:v>0.7322139991245834</c:v>
                </c:pt>
                <c:pt idx="237">
                  <c:v>0.73310627945819917</c:v>
                </c:pt>
                <c:pt idx="238">
                  <c:v>0.73399242026509226</c:v>
                </c:pt>
                <c:pt idx="239">
                  <c:v>0.73575545992304991</c:v>
                </c:pt>
                <c:pt idx="240">
                  <c:v>0.73662783783504338</c:v>
                </c:pt>
                <c:pt idx="241">
                  <c:v>0.73749989888931289</c:v>
                </c:pt>
                <c:pt idx="242">
                  <c:v>0.7383713735934645</c:v>
                </c:pt>
                <c:pt idx="243">
                  <c:v>0.7392417425621568</c:v>
                </c:pt>
                <c:pt idx="244">
                  <c:v>0.74011114625809227</c:v>
                </c:pt>
                <c:pt idx="245">
                  <c:v>0.7409754941133867</c:v>
                </c:pt>
                <c:pt idx="246">
                  <c:v>0.74268681981421358</c:v>
                </c:pt>
                <c:pt idx="247">
                  <c:v>0.74353452937242814</c:v>
                </c:pt>
                <c:pt idx="248">
                  <c:v>0.74437963547078745</c:v>
                </c:pt>
                <c:pt idx="249">
                  <c:v>0.74521583362055799</c:v>
                </c:pt>
                <c:pt idx="250">
                  <c:v>0.74604850386989741</c:v>
                </c:pt>
                <c:pt idx="251">
                  <c:v>0.74688097812476839</c:v>
                </c:pt>
                <c:pt idx="252">
                  <c:v>0.74771167372983871</c:v>
                </c:pt>
                <c:pt idx="253">
                  <c:v>0.74854129463190722</c:v>
                </c:pt>
                <c:pt idx="254">
                  <c:v>0.74936939004369674</c:v>
                </c:pt>
                <c:pt idx="255">
                  <c:v>0.75019546262924364</c:v>
                </c:pt>
                <c:pt idx="256">
                  <c:v>0.75101588730752622</c:v>
                </c:pt>
                <c:pt idx="257">
                  <c:v>0.75183551657492453</c:v>
                </c:pt>
                <c:pt idx="258">
                  <c:v>0.75265485511719465</c:v>
                </c:pt>
                <c:pt idx="259">
                  <c:v>0.75428987935483016</c:v>
                </c:pt>
                <c:pt idx="260">
                  <c:v>0.7551050840471043</c:v>
                </c:pt>
                <c:pt idx="261">
                  <c:v>0.75591984856846817</c:v>
                </c:pt>
                <c:pt idx="262">
                  <c:v>0.75673361515133042</c:v>
                </c:pt>
                <c:pt idx="263">
                  <c:v>0.7575458358278232</c:v>
                </c:pt>
                <c:pt idx="264">
                  <c:v>0.75835547019397676</c:v>
                </c:pt>
                <c:pt idx="265">
                  <c:v>0.75916274282678609</c:v>
                </c:pt>
                <c:pt idx="266">
                  <c:v>0.7599691481840728</c:v>
                </c:pt>
                <c:pt idx="267">
                  <c:v>0.76077034008850009</c:v>
                </c:pt>
                <c:pt idx="268">
                  <c:v>0.7615681715044379</c:v>
                </c:pt>
                <c:pt idx="269">
                  <c:v>0.76236373836762206</c:v>
                </c:pt>
                <c:pt idx="270">
                  <c:v>0.76315725382203703</c:v>
                </c:pt>
                <c:pt idx="271">
                  <c:v>0.76394880361526263</c:v>
                </c:pt>
                <c:pt idx="272">
                  <c:v>0.76473872583775693</c:v>
                </c:pt>
                <c:pt idx="273">
                  <c:v>0.76552555951408674</c:v>
                </c:pt>
                <c:pt idx="274">
                  <c:v>0.76709248874025149</c:v>
                </c:pt>
                <c:pt idx="275">
                  <c:v>0.76787104246693505</c:v>
                </c:pt>
                <c:pt idx="276">
                  <c:v>0.76864808866949919</c:v>
                </c:pt>
                <c:pt idx="277">
                  <c:v>0.76942228396919166</c:v>
                </c:pt>
                <c:pt idx="278">
                  <c:v>0.77019510404103086</c:v>
                </c:pt>
                <c:pt idx="279">
                  <c:v>0.77096235297010585</c:v>
                </c:pt>
                <c:pt idx="280">
                  <c:v>0.77172784284882701</c:v>
                </c:pt>
                <c:pt idx="281">
                  <c:v>0.77249200241509386</c:v>
                </c:pt>
                <c:pt idx="282">
                  <c:v>0.77324964679857366</c:v>
                </c:pt>
                <c:pt idx="283">
                  <c:v>0.77400479470251227</c:v>
                </c:pt>
                <c:pt idx="284">
                  <c:v>0.77475441392915478</c:v>
                </c:pt>
                <c:pt idx="285">
                  <c:v>0.77550388615994603</c:v>
                </c:pt>
                <c:pt idx="286">
                  <c:v>0.77625091580967476</c:v>
                </c:pt>
                <c:pt idx="287">
                  <c:v>0.77699278345509204</c:v>
                </c:pt>
                <c:pt idx="288">
                  <c:v>0.77772618985597985</c:v>
                </c:pt>
                <c:pt idx="289">
                  <c:v>0.77845698381393258</c:v>
                </c:pt>
                <c:pt idx="290">
                  <c:v>0.77991366370169191</c:v>
                </c:pt>
                <c:pt idx="291">
                  <c:v>0.78136656661271653</c:v>
                </c:pt>
                <c:pt idx="292">
                  <c:v>0.7820906061113021</c:v>
                </c:pt>
                <c:pt idx="293">
                  <c:v>0.7835307358994924</c:v>
                </c:pt>
                <c:pt idx="294">
                  <c:v>0.78424598422952663</c:v>
                </c:pt>
                <c:pt idx="295">
                  <c:v>0.78496007945877178</c:v>
                </c:pt>
                <c:pt idx="296">
                  <c:v>0.78567319798224944</c:v>
                </c:pt>
                <c:pt idx="297">
                  <c:v>0.7863843688106974</c:v>
                </c:pt>
                <c:pt idx="298">
                  <c:v>0.78709352906255703</c:v>
                </c:pt>
                <c:pt idx="299">
                  <c:v>0.78780218136208602</c:v>
                </c:pt>
                <c:pt idx="300">
                  <c:v>0.78850630700603863</c:v>
                </c:pt>
                <c:pt idx="301">
                  <c:v>0.78920464428002446</c:v>
                </c:pt>
                <c:pt idx="302">
                  <c:v>0.78990141114833223</c:v>
                </c:pt>
                <c:pt idx="303">
                  <c:v>0.79059663946006309</c:v>
                </c:pt>
                <c:pt idx="304">
                  <c:v>0.79129091638197857</c:v>
                </c:pt>
                <c:pt idx="305">
                  <c:v>0.7919847368001115</c:v>
                </c:pt>
                <c:pt idx="306">
                  <c:v>0.79267819871169598</c:v>
                </c:pt>
                <c:pt idx="307">
                  <c:v>0.79337164429040807</c:v>
                </c:pt>
                <c:pt idx="308">
                  <c:v>0.79406443083772016</c:v>
                </c:pt>
                <c:pt idx="309">
                  <c:v>0.79475674128180274</c:v>
                </c:pt>
                <c:pt idx="310">
                  <c:v>0.7954466279276261</c:v>
                </c:pt>
                <c:pt idx="311">
                  <c:v>0.79613119250698883</c:v>
                </c:pt>
                <c:pt idx="312">
                  <c:v>0.79681474444826483</c:v>
                </c:pt>
                <c:pt idx="313">
                  <c:v>0.79749755324384819</c:v>
                </c:pt>
                <c:pt idx="314">
                  <c:v>0.79816946311370129</c:v>
                </c:pt>
                <c:pt idx="315">
                  <c:v>0.79883715420262214</c:v>
                </c:pt>
                <c:pt idx="316">
                  <c:v>0.79950376242210508</c:v>
                </c:pt>
                <c:pt idx="317">
                  <c:v>0.80017013708151319</c:v>
                </c:pt>
                <c:pt idx="318">
                  <c:v>0.80083438275100827</c:v>
                </c:pt>
                <c:pt idx="319">
                  <c:v>0.80149568932012094</c:v>
                </c:pt>
                <c:pt idx="320">
                  <c:v>0.80215558636234841</c:v>
                </c:pt>
                <c:pt idx="321">
                  <c:v>0.80281520901232006</c:v>
                </c:pt>
                <c:pt idx="322">
                  <c:v>0.8034741513981577</c:v>
                </c:pt>
                <c:pt idx="323">
                  <c:v>0.8041303825271825</c:v>
                </c:pt>
                <c:pt idx="324">
                  <c:v>0.80478483745633744</c:v>
                </c:pt>
                <c:pt idx="325">
                  <c:v>0.80543696576782375</c:v>
                </c:pt>
                <c:pt idx="326">
                  <c:v>0.8060795417989064</c:v>
                </c:pt>
                <c:pt idx="327">
                  <c:v>0.80672118440633334</c:v>
                </c:pt>
                <c:pt idx="328">
                  <c:v>0.80736232559457866</c:v>
                </c:pt>
                <c:pt idx="329">
                  <c:v>0.80800248272726383</c:v>
                </c:pt>
                <c:pt idx="330">
                  <c:v>0.80863675104281729</c:v>
                </c:pt>
                <c:pt idx="331">
                  <c:v>0.80927047955693898</c:v>
                </c:pt>
                <c:pt idx="332">
                  <c:v>0.80989641484101094</c:v>
                </c:pt>
                <c:pt idx="333">
                  <c:v>0.81052144773388468</c:v>
                </c:pt>
                <c:pt idx="334">
                  <c:v>0.81114440471868066</c:v>
                </c:pt>
                <c:pt idx="335">
                  <c:v>0.81176176116154208</c:v>
                </c:pt>
                <c:pt idx="336">
                  <c:v>0.81237887751117976</c:v>
                </c:pt>
                <c:pt idx="337">
                  <c:v>0.81299451655251187</c:v>
                </c:pt>
                <c:pt idx="338">
                  <c:v>0.8136090710911188</c:v>
                </c:pt>
                <c:pt idx="339">
                  <c:v>0.81422261217499536</c:v>
                </c:pt>
                <c:pt idx="340">
                  <c:v>0.81483060416548547</c:v>
                </c:pt>
                <c:pt idx="341">
                  <c:v>0.81543853817427858</c:v>
                </c:pt>
                <c:pt idx="342">
                  <c:v>0.81604023792568936</c:v>
                </c:pt>
                <c:pt idx="343">
                  <c:v>0.81663866048625988</c:v>
                </c:pt>
                <c:pt idx="344">
                  <c:v>0.81723642973193567</c:v>
                </c:pt>
                <c:pt idx="345">
                  <c:v>0.81782898797468295</c:v>
                </c:pt>
                <c:pt idx="346">
                  <c:v>0.81841971775236877</c:v>
                </c:pt>
                <c:pt idx="347">
                  <c:v>0.81901012005596363</c:v>
                </c:pt>
                <c:pt idx="348">
                  <c:v>0.81959895848702935</c:v>
                </c:pt>
                <c:pt idx="349">
                  <c:v>0.82018621262947555</c:v>
                </c:pt>
                <c:pt idx="350">
                  <c:v>0.82077321932890535</c:v>
                </c:pt>
                <c:pt idx="351">
                  <c:v>0.82135941836779669</c:v>
                </c:pt>
                <c:pt idx="352">
                  <c:v>0.82194148845655368</c:v>
                </c:pt>
                <c:pt idx="353">
                  <c:v>0.82252140668937646</c:v>
                </c:pt>
                <c:pt idx="354">
                  <c:v>0.82310043723058601</c:v>
                </c:pt>
                <c:pt idx="355">
                  <c:v>0.82367824770622988</c:v>
                </c:pt>
                <c:pt idx="356">
                  <c:v>0.82425464130519588</c:v>
                </c:pt>
                <c:pt idx="357">
                  <c:v>0.82482649599893121</c:v>
                </c:pt>
                <c:pt idx="358">
                  <c:v>0.82539797258667125</c:v>
                </c:pt>
                <c:pt idx="359">
                  <c:v>0.82596743778117931</c:v>
                </c:pt>
                <c:pt idx="360">
                  <c:v>0.82653627416010134</c:v>
                </c:pt>
                <c:pt idx="361">
                  <c:v>0.82710402930287263</c:v>
                </c:pt>
                <c:pt idx="362">
                  <c:v>0.82767117196293027</c:v>
                </c:pt>
                <c:pt idx="363">
                  <c:v>0.82823806228010977</c:v>
                </c:pt>
                <c:pt idx="364">
                  <c:v>0.82880430009903827</c:v>
                </c:pt>
                <c:pt idx="365">
                  <c:v>0.82936715783003045</c:v>
                </c:pt>
                <c:pt idx="366">
                  <c:v>0.82992713444233723</c:v>
                </c:pt>
                <c:pt idx="367">
                  <c:v>0.83048686932813298</c:v>
                </c:pt>
                <c:pt idx="368">
                  <c:v>0.83104545192978319</c:v>
                </c:pt>
                <c:pt idx="369">
                  <c:v>0.83160243227665431</c:v>
                </c:pt>
                <c:pt idx="370">
                  <c:v>0.83215836323647585</c:v>
                </c:pt>
                <c:pt idx="371">
                  <c:v>0.8332685494034141</c:v>
                </c:pt>
                <c:pt idx="372">
                  <c:v>0.83381962460028103</c:v>
                </c:pt>
                <c:pt idx="373">
                  <c:v>0.83436903302752297</c:v>
                </c:pt>
                <c:pt idx="374">
                  <c:v>0.83491773097481692</c:v>
                </c:pt>
                <c:pt idx="375">
                  <c:v>0.83546415865285195</c:v>
                </c:pt>
                <c:pt idx="376">
                  <c:v>0.83600459951652106</c:v>
                </c:pt>
                <c:pt idx="377">
                  <c:v>0.83654103882646036</c:v>
                </c:pt>
                <c:pt idx="378">
                  <c:v>0.83707744138743678</c:v>
                </c:pt>
                <c:pt idx="379">
                  <c:v>0.83814552875920645</c:v>
                </c:pt>
                <c:pt idx="380">
                  <c:v>0.83867770845603251</c:v>
                </c:pt>
                <c:pt idx="381">
                  <c:v>0.83920749375376957</c:v>
                </c:pt>
                <c:pt idx="382">
                  <c:v>0.83973292552437739</c:v>
                </c:pt>
                <c:pt idx="383">
                  <c:v>0.84025830666308088</c:v>
                </c:pt>
                <c:pt idx="384">
                  <c:v>0.84078356122202347</c:v>
                </c:pt>
                <c:pt idx="385">
                  <c:v>0.84130712696196341</c:v>
                </c:pt>
                <c:pt idx="386">
                  <c:v>0.84183036196123784</c:v>
                </c:pt>
                <c:pt idx="387">
                  <c:v>0.84235255900647343</c:v>
                </c:pt>
                <c:pt idx="388">
                  <c:v>0.84287323137807357</c:v>
                </c:pt>
                <c:pt idx="389">
                  <c:v>0.8433899707940079</c:v>
                </c:pt>
                <c:pt idx="390">
                  <c:v>0.84390463756843881</c:v>
                </c:pt>
                <c:pt idx="391">
                  <c:v>0.84441874984185294</c:v>
                </c:pt>
                <c:pt idx="392">
                  <c:v>0.84493142318921155</c:v>
                </c:pt>
                <c:pt idx="393">
                  <c:v>0.84544337870682962</c:v>
                </c:pt>
                <c:pt idx="394">
                  <c:v>0.8459504310961633</c:v>
                </c:pt>
                <c:pt idx="395">
                  <c:v>0.84645664479250093</c:v>
                </c:pt>
                <c:pt idx="396">
                  <c:v>0.84696189974923064</c:v>
                </c:pt>
                <c:pt idx="397">
                  <c:v>0.84746586930890511</c:v>
                </c:pt>
                <c:pt idx="398">
                  <c:v>0.84796716762730406</c:v>
                </c:pt>
                <c:pt idx="399">
                  <c:v>0.84846410098556302</c:v>
                </c:pt>
                <c:pt idx="400">
                  <c:v>0.8489495343683886</c:v>
                </c:pt>
                <c:pt idx="401">
                  <c:v>0.84943446878196338</c:v>
                </c:pt>
                <c:pt idx="402">
                  <c:v>0.84991898425736201</c:v>
                </c:pt>
                <c:pt idx="403">
                  <c:v>0.8504029231823661</c:v>
                </c:pt>
                <c:pt idx="404">
                  <c:v>0.85088336033953482</c:v>
                </c:pt>
                <c:pt idx="405">
                  <c:v>0.85136336304229854</c:v>
                </c:pt>
                <c:pt idx="406">
                  <c:v>0.85184093949687223</c:v>
                </c:pt>
                <c:pt idx="407">
                  <c:v>0.85231636246222431</c:v>
                </c:pt>
                <c:pt idx="408">
                  <c:v>0.85279170784643266</c:v>
                </c:pt>
                <c:pt idx="409">
                  <c:v>0.85326437545621658</c:v>
                </c:pt>
                <c:pt idx="410">
                  <c:v>0.85373479321283197</c:v>
                </c:pt>
                <c:pt idx="411">
                  <c:v>0.85420013961257757</c:v>
                </c:pt>
                <c:pt idx="412">
                  <c:v>0.85466325984181957</c:v>
                </c:pt>
                <c:pt idx="413">
                  <c:v>0.8551247222845163</c:v>
                </c:pt>
                <c:pt idx="414">
                  <c:v>0.85558589155215414</c:v>
                </c:pt>
                <c:pt idx="415">
                  <c:v>0.85604360151742465</c:v>
                </c:pt>
                <c:pt idx="416">
                  <c:v>0.85649963001348506</c:v>
                </c:pt>
                <c:pt idx="417">
                  <c:v>0.85695482389976751</c:v>
                </c:pt>
                <c:pt idx="418">
                  <c:v>0.85740933833855959</c:v>
                </c:pt>
                <c:pt idx="419">
                  <c:v>0.85786383236126118</c:v>
                </c:pt>
                <c:pt idx="420">
                  <c:v>0.85831681232669432</c:v>
                </c:pt>
                <c:pt idx="421">
                  <c:v>0.85876942970236092</c:v>
                </c:pt>
                <c:pt idx="422">
                  <c:v>0.8592216142569099</c:v>
                </c:pt>
                <c:pt idx="423">
                  <c:v>0.85966716113212904</c:v>
                </c:pt>
                <c:pt idx="424">
                  <c:v>0.86011143077672914</c:v>
                </c:pt>
                <c:pt idx="425">
                  <c:v>0.86055554035918003</c:v>
                </c:pt>
                <c:pt idx="426">
                  <c:v>0.86099762466545748</c:v>
                </c:pt>
                <c:pt idx="427">
                  <c:v>0.86143682948633671</c:v>
                </c:pt>
                <c:pt idx="428">
                  <c:v>0.86187588567807738</c:v>
                </c:pt>
                <c:pt idx="429">
                  <c:v>0.86274313833472216</c:v>
                </c:pt>
                <c:pt idx="430">
                  <c:v>0.86317523672283469</c:v>
                </c:pt>
                <c:pt idx="431">
                  <c:v>0.86360403668737273</c:v>
                </c:pt>
                <c:pt idx="432">
                  <c:v>0.86403254837671351</c:v>
                </c:pt>
                <c:pt idx="433">
                  <c:v>0.8644571777422928</c:v>
                </c:pt>
                <c:pt idx="434">
                  <c:v>0.86488094799878557</c:v>
                </c:pt>
                <c:pt idx="435">
                  <c:v>0.86529979389425982</c:v>
                </c:pt>
                <c:pt idx="436">
                  <c:v>0.865716483033938</c:v>
                </c:pt>
                <c:pt idx="437">
                  <c:v>0.86613291983073815</c:v>
                </c:pt>
                <c:pt idx="438">
                  <c:v>0.86654704879267297</c:v>
                </c:pt>
                <c:pt idx="439">
                  <c:v>0.86696065673597922</c:v>
                </c:pt>
                <c:pt idx="440">
                  <c:v>0.86737411605014691</c:v>
                </c:pt>
                <c:pt idx="441">
                  <c:v>0.8677853010118376</c:v>
                </c:pt>
                <c:pt idx="442">
                  <c:v>0.86819519485996777</c:v>
                </c:pt>
                <c:pt idx="443">
                  <c:v>0.86860169310393287</c:v>
                </c:pt>
                <c:pt idx="444">
                  <c:v>0.86900656622709749</c:v>
                </c:pt>
                <c:pt idx="445">
                  <c:v>0.86941031156542525</c:v>
                </c:pt>
                <c:pt idx="446">
                  <c:v>0.86981174008580775</c:v>
                </c:pt>
                <c:pt idx="447">
                  <c:v>0.87020980975098805</c:v>
                </c:pt>
                <c:pt idx="448">
                  <c:v>0.87060708890514582</c:v>
                </c:pt>
                <c:pt idx="449">
                  <c:v>0.87100368452859511</c:v>
                </c:pt>
                <c:pt idx="450">
                  <c:v>0.87139964153673477</c:v>
                </c:pt>
                <c:pt idx="451">
                  <c:v>0.8717941677852552</c:v>
                </c:pt>
                <c:pt idx="452">
                  <c:v>0.87218718732629974</c:v>
                </c:pt>
                <c:pt idx="453">
                  <c:v>0.87257689292754115</c:v>
                </c:pt>
                <c:pt idx="454">
                  <c:v>0.87296478068008809</c:v>
                </c:pt>
                <c:pt idx="455">
                  <c:v>0.87335090203248866</c:v>
                </c:pt>
                <c:pt idx="456">
                  <c:v>0.87373581965219582</c:v>
                </c:pt>
                <c:pt idx="457">
                  <c:v>0.87411931631200701</c:v>
                </c:pt>
                <c:pt idx="458">
                  <c:v>0.8744967142772766</c:v>
                </c:pt>
                <c:pt idx="459">
                  <c:v>0.87487330294872034</c:v>
                </c:pt>
                <c:pt idx="460">
                  <c:v>0.87524614812581769</c:v>
                </c:pt>
                <c:pt idx="461">
                  <c:v>0.87561791941655698</c:v>
                </c:pt>
                <c:pt idx="462">
                  <c:v>0.87598956004431727</c:v>
                </c:pt>
                <c:pt idx="463">
                  <c:v>0.87636043302707634</c:v>
                </c:pt>
                <c:pt idx="464">
                  <c:v>0.87673101855128177</c:v>
                </c:pt>
                <c:pt idx="465">
                  <c:v>0.87709992423956429</c:v>
                </c:pt>
                <c:pt idx="466">
                  <c:v>0.87746841262295783</c:v>
                </c:pt>
                <c:pt idx="467">
                  <c:v>0.87783634732197813</c:v>
                </c:pt>
                <c:pt idx="468">
                  <c:v>0.87820427467120588</c:v>
                </c:pt>
                <c:pt idx="469">
                  <c:v>0.87857135189442692</c:v>
                </c:pt>
                <c:pt idx="470">
                  <c:v>0.87893809347712093</c:v>
                </c:pt>
                <c:pt idx="471">
                  <c:v>0.87930412049664886</c:v>
                </c:pt>
                <c:pt idx="472">
                  <c:v>0.87966970652862286</c:v>
                </c:pt>
                <c:pt idx="473">
                  <c:v>0.88003521171287868</c:v>
                </c:pt>
                <c:pt idx="474">
                  <c:v>0.88039852910888095</c:v>
                </c:pt>
                <c:pt idx="475">
                  <c:v>0.88076131976974947</c:v>
                </c:pt>
                <c:pt idx="476">
                  <c:v>0.88112372007496842</c:v>
                </c:pt>
                <c:pt idx="477">
                  <c:v>0.88148543439954796</c:v>
                </c:pt>
                <c:pt idx="478">
                  <c:v>0.88184700417820705</c:v>
                </c:pt>
                <c:pt idx="479">
                  <c:v>0.88220558830779749</c:v>
                </c:pt>
                <c:pt idx="480">
                  <c:v>0.88256330597850896</c:v>
                </c:pt>
                <c:pt idx="481">
                  <c:v>0.88292015392376688</c:v>
                </c:pt>
                <c:pt idx="482">
                  <c:v>0.88327654618188578</c:v>
                </c:pt>
                <c:pt idx="483">
                  <c:v>0.88362975516318043</c:v>
                </c:pt>
                <c:pt idx="484">
                  <c:v>0.88398100338314745</c:v>
                </c:pt>
                <c:pt idx="485">
                  <c:v>0.88433090985764951</c:v>
                </c:pt>
                <c:pt idx="486">
                  <c:v>0.88467557511340911</c:v>
                </c:pt>
                <c:pt idx="487">
                  <c:v>0.88501530375849591</c:v>
                </c:pt>
                <c:pt idx="488">
                  <c:v>0.88535462979827895</c:v>
                </c:pt>
                <c:pt idx="489">
                  <c:v>0.88569274475557602</c:v>
                </c:pt>
                <c:pt idx="490">
                  <c:v>0.88603004470254199</c:v>
                </c:pt>
                <c:pt idx="491">
                  <c:v>0.88636710292299692</c:v>
                </c:pt>
                <c:pt idx="492">
                  <c:v>0.88670405579642508</c:v>
                </c:pt>
                <c:pt idx="493">
                  <c:v>0.8870365677618568</c:v>
                </c:pt>
                <c:pt idx="494">
                  <c:v>0.88736898417998511</c:v>
                </c:pt>
                <c:pt idx="495">
                  <c:v>0.88770089346242642</c:v>
                </c:pt>
                <c:pt idx="496">
                  <c:v>0.88802742432999748</c:v>
                </c:pt>
                <c:pt idx="497">
                  <c:v>0.88835131498875042</c:v>
                </c:pt>
                <c:pt idx="498">
                  <c:v>0.88867493860504021</c:v>
                </c:pt>
                <c:pt idx="499">
                  <c:v>0.8889984625908085</c:v>
                </c:pt>
                <c:pt idx="500">
                  <c:v>0.88932165665255503</c:v>
                </c:pt>
                <c:pt idx="501">
                  <c:v>0.8896439205572203</c:v>
                </c:pt>
                <c:pt idx="502">
                  <c:v>0.88996480106759612</c:v>
                </c:pt>
                <c:pt idx="503">
                  <c:v>0.89028532797128523</c:v>
                </c:pt>
                <c:pt idx="504">
                  <c:v>0.89060494840055793</c:v>
                </c:pt>
                <c:pt idx="505">
                  <c:v>0.89092355782503119</c:v>
                </c:pt>
                <c:pt idx="506">
                  <c:v>0.89123943149338303</c:v>
                </c:pt>
                <c:pt idx="507">
                  <c:v>0.89155342361483825</c:v>
                </c:pt>
                <c:pt idx="508">
                  <c:v>0.89218045401800239</c:v>
                </c:pt>
                <c:pt idx="509">
                  <c:v>0.89249341308528041</c:v>
                </c:pt>
                <c:pt idx="510">
                  <c:v>0.89280484829556661</c:v>
                </c:pt>
                <c:pt idx="511">
                  <c:v>0.89311601074688429</c:v>
                </c:pt>
                <c:pt idx="512">
                  <c:v>0.89342685797376531</c:v>
                </c:pt>
                <c:pt idx="513">
                  <c:v>0.89373748634015659</c:v>
                </c:pt>
                <c:pt idx="514">
                  <c:v>0.89404699345485994</c:v>
                </c:pt>
                <c:pt idx="515">
                  <c:v>0.8943559354521794</c:v>
                </c:pt>
                <c:pt idx="516">
                  <c:v>0.89466318699720893</c:v>
                </c:pt>
                <c:pt idx="517">
                  <c:v>0.89497032421213185</c:v>
                </c:pt>
                <c:pt idx="518">
                  <c:v>0.89527738057933659</c:v>
                </c:pt>
                <c:pt idx="519">
                  <c:v>0.89558319074837978</c:v>
                </c:pt>
                <c:pt idx="520">
                  <c:v>0.89588844804969336</c:v>
                </c:pt>
                <c:pt idx="521">
                  <c:v>0.89619278662693624</c:v>
                </c:pt>
                <c:pt idx="522">
                  <c:v>0.89649701985715236</c:v>
                </c:pt>
                <c:pt idx="523">
                  <c:v>0.8968006985863517</c:v>
                </c:pt>
                <c:pt idx="524">
                  <c:v>0.89710221157667525</c:v>
                </c:pt>
                <c:pt idx="525">
                  <c:v>0.89740341260913659</c:v>
                </c:pt>
                <c:pt idx="526">
                  <c:v>0.89770346952388858</c:v>
                </c:pt>
                <c:pt idx="527">
                  <c:v>0.89800155342765875</c:v>
                </c:pt>
                <c:pt idx="528">
                  <c:v>0.89829859039431015</c:v>
                </c:pt>
                <c:pt idx="529">
                  <c:v>0.89859527457091848</c:v>
                </c:pt>
                <c:pt idx="530">
                  <c:v>0.89889030341091247</c:v>
                </c:pt>
                <c:pt idx="531">
                  <c:v>0.89918487329719288</c:v>
                </c:pt>
                <c:pt idx="532">
                  <c:v>0.89947943338374992</c:v>
                </c:pt>
                <c:pt idx="533">
                  <c:v>0.89977339323724748</c:v>
                </c:pt>
                <c:pt idx="534">
                  <c:v>0.90006718322887247</c:v>
                </c:pt>
                <c:pt idx="535">
                  <c:v>0.90036096423741763</c:v>
                </c:pt>
                <c:pt idx="536">
                  <c:v>0.90065400536684459</c:v>
                </c:pt>
                <c:pt idx="537">
                  <c:v>0.9009469019503511</c:v>
                </c:pt>
                <c:pt idx="538">
                  <c:v>0.90123746783297087</c:v>
                </c:pt>
                <c:pt idx="539">
                  <c:v>0.90152796266759583</c:v>
                </c:pt>
                <c:pt idx="540">
                  <c:v>0.90181808756266169</c:v>
                </c:pt>
                <c:pt idx="541">
                  <c:v>0.90239551993231026</c:v>
                </c:pt>
                <c:pt idx="542">
                  <c:v>0.90268308219970184</c:v>
                </c:pt>
                <c:pt idx="543">
                  <c:v>0.9029675493877799</c:v>
                </c:pt>
                <c:pt idx="544">
                  <c:v>0.90325152903961781</c:v>
                </c:pt>
                <c:pt idx="545">
                  <c:v>0.90353367940975071</c:v>
                </c:pt>
                <c:pt idx="546">
                  <c:v>0.90381547780648408</c:v>
                </c:pt>
                <c:pt idx="547">
                  <c:v>0.90409698302815855</c:v>
                </c:pt>
                <c:pt idx="548">
                  <c:v>0.90437596727098324</c:v>
                </c:pt>
                <c:pt idx="549">
                  <c:v>0.90465390539333279</c:v>
                </c:pt>
                <c:pt idx="550">
                  <c:v>0.90493112731922909</c:v>
                </c:pt>
                <c:pt idx="551">
                  <c:v>0.90520790580764066</c:v>
                </c:pt>
                <c:pt idx="552">
                  <c:v>0.90548406201361498</c:v>
                </c:pt>
                <c:pt idx="553">
                  <c:v>0.90575989972857818</c:v>
                </c:pt>
                <c:pt idx="554">
                  <c:v>0.90603464559102365</c:v>
                </c:pt>
                <c:pt idx="555">
                  <c:v>0.90630924119104339</c:v>
                </c:pt>
                <c:pt idx="556">
                  <c:v>0.9065829776819766</c:v>
                </c:pt>
                <c:pt idx="557">
                  <c:v>0.90685538386045561</c:v>
                </c:pt>
                <c:pt idx="558">
                  <c:v>0.90712184650668037</c:v>
                </c:pt>
                <c:pt idx="559">
                  <c:v>0.90738800699476641</c:v>
                </c:pt>
                <c:pt idx="560">
                  <c:v>0.90765287310271736</c:v>
                </c:pt>
                <c:pt idx="561">
                  <c:v>0.90791573353394173</c:v>
                </c:pt>
                <c:pt idx="562">
                  <c:v>0.90817843961952216</c:v>
                </c:pt>
                <c:pt idx="563">
                  <c:v>0.90843444841078869</c:v>
                </c:pt>
                <c:pt idx="564">
                  <c:v>0.9086892159037554</c:v>
                </c:pt>
                <c:pt idx="565">
                  <c:v>0.90894324106767299</c:v>
                </c:pt>
                <c:pt idx="566">
                  <c:v>0.90919710535279785</c:v>
                </c:pt>
                <c:pt idx="567">
                  <c:v>0.90945038737102279</c:v>
                </c:pt>
                <c:pt idx="568">
                  <c:v>0.90970353709298157</c:v>
                </c:pt>
                <c:pt idx="569">
                  <c:v>0.90995659616749869</c:v>
                </c:pt>
                <c:pt idx="570">
                  <c:v>0.91020790272481089</c:v>
                </c:pt>
                <c:pt idx="571">
                  <c:v>0.91045880749346286</c:v>
                </c:pt>
                <c:pt idx="572">
                  <c:v>0.91070902628147543</c:v>
                </c:pt>
                <c:pt idx="573">
                  <c:v>0.91095887757985983</c:v>
                </c:pt>
                <c:pt idx="574">
                  <c:v>0.91120853615035025</c:v>
                </c:pt>
                <c:pt idx="575">
                  <c:v>0.91145790481235611</c:v>
                </c:pt>
                <c:pt idx="576">
                  <c:v>0.91170648704655755</c:v>
                </c:pt>
                <c:pt idx="577">
                  <c:v>0.91195486266992354</c:v>
                </c:pt>
                <c:pt idx="578">
                  <c:v>0.91220269767521422</c:v>
                </c:pt>
                <c:pt idx="579">
                  <c:v>0.91244995776339766</c:v>
                </c:pt>
                <c:pt idx="580">
                  <c:v>0.91269652533779266</c:v>
                </c:pt>
                <c:pt idx="581">
                  <c:v>0.91294187692983997</c:v>
                </c:pt>
                <c:pt idx="582">
                  <c:v>0.91318663482197682</c:v>
                </c:pt>
                <c:pt idx="583">
                  <c:v>0.91343128001729434</c:v>
                </c:pt>
                <c:pt idx="584">
                  <c:v>0.91367508896954663</c:v>
                </c:pt>
                <c:pt idx="585">
                  <c:v>0.91391792693253671</c:v>
                </c:pt>
                <c:pt idx="586">
                  <c:v>0.91415879106790132</c:v>
                </c:pt>
                <c:pt idx="587">
                  <c:v>0.91439726325410786</c:v>
                </c:pt>
                <c:pt idx="588">
                  <c:v>0.9146352511706487</c:v>
                </c:pt>
                <c:pt idx="589">
                  <c:v>0.91487301696012535</c:v>
                </c:pt>
                <c:pt idx="590">
                  <c:v>0.9151105663390432</c:v>
                </c:pt>
                <c:pt idx="591">
                  <c:v>0.915346566545017</c:v>
                </c:pt>
                <c:pt idx="592">
                  <c:v>0.91558213474651673</c:v>
                </c:pt>
                <c:pt idx="593">
                  <c:v>0.91581560744049184</c:v>
                </c:pt>
                <c:pt idx="594">
                  <c:v>0.91604805606336959</c:v>
                </c:pt>
                <c:pt idx="595">
                  <c:v>0.91627972560823545</c:v>
                </c:pt>
                <c:pt idx="596">
                  <c:v>0.91651030901708896</c:v>
                </c:pt>
                <c:pt idx="597">
                  <c:v>0.91674040652298949</c:v>
                </c:pt>
                <c:pt idx="598">
                  <c:v>0.91697044114733139</c:v>
                </c:pt>
                <c:pt idx="599">
                  <c:v>0.91719939780209714</c:v>
                </c:pt>
                <c:pt idx="600">
                  <c:v>0.91742678895104657</c:v>
                </c:pt>
                <c:pt idx="601">
                  <c:v>0.91765284652096724</c:v>
                </c:pt>
                <c:pt idx="602">
                  <c:v>0.91787876117825473</c:v>
                </c:pt>
                <c:pt idx="603">
                  <c:v>0.91810414420054665</c:v>
                </c:pt>
                <c:pt idx="604">
                  <c:v>0.91832866566382121</c:v>
                </c:pt>
                <c:pt idx="605">
                  <c:v>0.91855295356702094</c:v>
                </c:pt>
                <c:pt idx="606">
                  <c:v>0.91877565473167033</c:v>
                </c:pt>
                <c:pt idx="607">
                  <c:v>0.91899773933038786</c:v>
                </c:pt>
                <c:pt idx="608">
                  <c:v>0.91921924982864167</c:v>
                </c:pt>
                <c:pt idx="609">
                  <c:v>0.91944069091218794</c:v>
                </c:pt>
                <c:pt idx="610">
                  <c:v>0.91987739190373341</c:v>
                </c:pt>
                <c:pt idx="611">
                  <c:v>0.92009483715005524</c:v>
                </c:pt>
                <c:pt idx="612">
                  <c:v>0.92031149596857253</c:v>
                </c:pt>
                <c:pt idx="613">
                  <c:v>0.92052813600428662</c:v>
                </c:pt>
                <c:pt idx="614">
                  <c:v>0.92074326198273237</c:v>
                </c:pt>
                <c:pt idx="615">
                  <c:v>0.92095611850856274</c:v>
                </c:pt>
                <c:pt idx="616">
                  <c:v>0.92116806692668951</c:v>
                </c:pt>
                <c:pt idx="617">
                  <c:v>0.9213794959594751</c:v>
                </c:pt>
                <c:pt idx="618">
                  <c:v>0.92159074696395182</c:v>
                </c:pt>
                <c:pt idx="619">
                  <c:v>0.92180081383518198</c:v>
                </c:pt>
                <c:pt idx="620">
                  <c:v>0.92201046993467217</c:v>
                </c:pt>
                <c:pt idx="621">
                  <c:v>0.92221983694232146</c:v>
                </c:pt>
                <c:pt idx="622">
                  <c:v>0.92242824847693727</c:v>
                </c:pt>
                <c:pt idx="623">
                  <c:v>0.92263563675709936</c:v>
                </c:pt>
                <c:pt idx="624">
                  <c:v>0.92325232600212459</c:v>
                </c:pt>
                <c:pt idx="625">
                  <c:v>0.92345774617116649</c:v>
                </c:pt>
                <c:pt idx="626">
                  <c:v>0.92366252119174985</c:v>
                </c:pt>
                <c:pt idx="627">
                  <c:v>0.92386720801482247</c:v>
                </c:pt>
                <c:pt idx="628">
                  <c:v>0.92407181317353326</c:v>
                </c:pt>
                <c:pt idx="629">
                  <c:v>0.92427635218411097</c:v>
                </c:pt>
                <c:pt idx="630">
                  <c:v>0.92448088629482694</c:v>
                </c:pt>
                <c:pt idx="631">
                  <c:v>0.92468508721494669</c:v>
                </c:pt>
                <c:pt idx="632">
                  <c:v>0.92488900965959253</c:v>
                </c:pt>
                <c:pt idx="633">
                  <c:v>0.92509168345614601</c:v>
                </c:pt>
                <c:pt idx="634">
                  <c:v>0.92529319516883057</c:v>
                </c:pt>
                <c:pt idx="635">
                  <c:v>0.92549382000654568</c:v>
                </c:pt>
                <c:pt idx="636">
                  <c:v>0.9256942790656062</c:v>
                </c:pt>
                <c:pt idx="637">
                  <c:v>0.92589284514475945</c:v>
                </c:pt>
                <c:pt idx="638">
                  <c:v>0.92628924395709666</c:v>
                </c:pt>
                <c:pt idx="639">
                  <c:v>0.9264848374534792</c:v>
                </c:pt>
                <c:pt idx="640">
                  <c:v>0.9266803198863296</c:v>
                </c:pt>
                <c:pt idx="641">
                  <c:v>0.92687462471908244</c:v>
                </c:pt>
                <c:pt idx="642">
                  <c:v>0.92706876703975516</c:v>
                </c:pt>
                <c:pt idx="643">
                  <c:v>0.92726278604724155</c:v>
                </c:pt>
                <c:pt idx="644">
                  <c:v>0.92745470628062887</c:v>
                </c:pt>
                <c:pt idx="645">
                  <c:v>0.92764644113591477</c:v>
                </c:pt>
                <c:pt idx="646">
                  <c:v>0.9278364349070064</c:v>
                </c:pt>
                <c:pt idx="647">
                  <c:v>0.92802563245057013</c:v>
                </c:pt>
                <c:pt idx="648">
                  <c:v>0.92821441187260134</c:v>
                </c:pt>
                <c:pt idx="649">
                  <c:v>0.92840293568517995</c:v>
                </c:pt>
                <c:pt idx="650">
                  <c:v>0.92877960683762917</c:v>
                </c:pt>
                <c:pt idx="651">
                  <c:v>0.92896691630114736</c:v>
                </c:pt>
                <c:pt idx="652">
                  <c:v>0.92915416696632502</c:v>
                </c:pt>
                <c:pt idx="653">
                  <c:v>0.92934109342398619</c:v>
                </c:pt>
                <c:pt idx="654">
                  <c:v>0.92952630737997977</c:v>
                </c:pt>
                <c:pt idx="655">
                  <c:v>0.92971065732702507</c:v>
                </c:pt>
                <c:pt idx="656">
                  <c:v>0.92989392440463248</c:v>
                </c:pt>
                <c:pt idx="657">
                  <c:v>0.93007687462451605</c:v>
                </c:pt>
                <c:pt idx="658">
                  <c:v>0.93025981586131978</c:v>
                </c:pt>
                <c:pt idx="659">
                  <c:v>0.93044237735884094</c:v>
                </c:pt>
                <c:pt idx="660">
                  <c:v>0.93062179396178801</c:v>
                </c:pt>
                <c:pt idx="661">
                  <c:v>0.9308011819822084</c:v>
                </c:pt>
                <c:pt idx="662">
                  <c:v>0.93098048833826696</c:v>
                </c:pt>
                <c:pt idx="663">
                  <c:v>0.93115918874476067</c:v>
                </c:pt>
                <c:pt idx="664">
                  <c:v>0.93133743754733345</c:v>
                </c:pt>
                <c:pt idx="665">
                  <c:v>0.93151501588549557</c:v>
                </c:pt>
                <c:pt idx="666">
                  <c:v>0.9316921017875559</c:v>
                </c:pt>
                <c:pt idx="667">
                  <c:v>0.93186857684018976</c:v>
                </c:pt>
                <c:pt idx="668">
                  <c:v>0.93222028564715753</c:v>
                </c:pt>
                <c:pt idx="669">
                  <c:v>0.93239557411661389</c:v>
                </c:pt>
                <c:pt idx="670">
                  <c:v>0.93257046814720257</c:v>
                </c:pt>
                <c:pt idx="671">
                  <c:v>0.93274506900273235</c:v>
                </c:pt>
                <c:pt idx="672">
                  <c:v>0.9329195236790544</c:v>
                </c:pt>
                <c:pt idx="673">
                  <c:v>0.93309389179115287</c:v>
                </c:pt>
                <c:pt idx="674">
                  <c:v>0.93326808677480433</c:v>
                </c:pt>
                <c:pt idx="675">
                  <c:v>0.93344197796702977</c:v>
                </c:pt>
                <c:pt idx="676">
                  <c:v>0.9336150084168815</c:v>
                </c:pt>
                <c:pt idx="677">
                  <c:v>0.93378752764782813</c:v>
                </c:pt>
                <c:pt idx="678">
                  <c:v>0.93395993254866816</c:v>
                </c:pt>
                <c:pt idx="679">
                  <c:v>0.93413211042258226</c:v>
                </c:pt>
                <c:pt idx="680">
                  <c:v>0.93430408576887902</c:v>
                </c:pt>
                <c:pt idx="681">
                  <c:v>0.9344754502657493</c:v>
                </c:pt>
                <c:pt idx="682">
                  <c:v>0.93464668899950232</c:v>
                </c:pt>
                <c:pt idx="683">
                  <c:v>0.93481757085999417</c:v>
                </c:pt>
                <c:pt idx="684">
                  <c:v>0.93498791455234154</c:v>
                </c:pt>
                <c:pt idx="685">
                  <c:v>0.93515443226933703</c:v>
                </c:pt>
                <c:pt idx="686">
                  <c:v>0.93532063149532141</c:v>
                </c:pt>
                <c:pt idx="687">
                  <c:v>0.93548670985805027</c:v>
                </c:pt>
                <c:pt idx="688">
                  <c:v>0.93565097772187733</c:v>
                </c:pt>
                <c:pt idx="689">
                  <c:v>0.93581408268519184</c:v>
                </c:pt>
                <c:pt idx="690">
                  <c:v>0.93597658578215959</c:v>
                </c:pt>
                <c:pt idx="691">
                  <c:v>0.93613875732181839</c:v>
                </c:pt>
                <c:pt idx="692">
                  <c:v>0.93630055728863082</c:v>
                </c:pt>
                <c:pt idx="693">
                  <c:v>0.93646233847264004</c:v>
                </c:pt>
                <c:pt idx="694">
                  <c:v>0.93662354228961109</c:v>
                </c:pt>
                <c:pt idx="695">
                  <c:v>0.93678463585969363</c:v>
                </c:pt>
                <c:pt idx="696">
                  <c:v>0.93694426600441216</c:v>
                </c:pt>
                <c:pt idx="697">
                  <c:v>0.93710314075378376</c:v>
                </c:pt>
                <c:pt idx="698">
                  <c:v>0.93726118252666457</c:v>
                </c:pt>
                <c:pt idx="699">
                  <c:v>0.93741879392835858</c:v>
                </c:pt>
                <c:pt idx="700">
                  <c:v>0.93757491495544909</c:v>
                </c:pt>
                <c:pt idx="701">
                  <c:v>0.93773006825985195</c:v>
                </c:pt>
                <c:pt idx="702">
                  <c:v>0.93788494390542454</c:v>
                </c:pt>
                <c:pt idx="703">
                  <c:v>0.93803976320258753</c:v>
                </c:pt>
                <c:pt idx="704">
                  <c:v>0.93819400676599951</c:v>
                </c:pt>
                <c:pt idx="705">
                  <c:v>0.93834755944891046</c:v>
                </c:pt>
                <c:pt idx="706">
                  <c:v>0.93850104516704469</c:v>
                </c:pt>
                <c:pt idx="707">
                  <c:v>0.93865422627710926</c:v>
                </c:pt>
                <c:pt idx="708">
                  <c:v>0.93880485292593574</c:v>
                </c:pt>
                <c:pt idx="709">
                  <c:v>0.93895498468872951</c:v>
                </c:pt>
                <c:pt idx="710">
                  <c:v>0.93910494250643251</c:v>
                </c:pt>
                <c:pt idx="711">
                  <c:v>0.93925445443671995</c:v>
                </c:pt>
                <c:pt idx="712">
                  <c:v>0.93940287124791522</c:v>
                </c:pt>
                <c:pt idx="713">
                  <c:v>0.93955122272762104</c:v>
                </c:pt>
                <c:pt idx="714">
                  <c:v>0.93969907033821432</c:v>
                </c:pt>
                <c:pt idx="715">
                  <c:v>0.939846741553786</c:v>
                </c:pt>
                <c:pt idx="716">
                  <c:v>0.93999428863952772</c:v>
                </c:pt>
                <c:pt idx="717">
                  <c:v>0.94014103541452343</c:v>
                </c:pt>
                <c:pt idx="718">
                  <c:v>0.94028771359145524</c:v>
                </c:pt>
                <c:pt idx="719">
                  <c:v>0.94043400467931193</c:v>
                </c:pt>
                <c:pt idx="720">
                  <c:v>0.94058004669086503</c:v>
                </c:pt>
                <c:pt idx="721">
                  <c:v>0.94072605766996065</c:v>
                </c:pt>
                <c:pt idx="722">
                  <c:v>0.94101689794483623</c:v>
                </c:pt>
                <c:pt idx="723">
                  <c:v>0.94116176317293532</c:v>
                </c:pt>
                <c:pt idx="724">
                  <c:v>0.94130622252915608</c:v>
                </c:pt>
                <c:pt idx="725">
                  <c:v>0.9414505977710842</c:v>
                </c:pt>
                <c:pt idx="726">
                  <c:v>0.9415940787882503</c:v>
                </c:pt>
                <c:pt idx="727">
                  <c:v>0.94173623439282383</c:v>
                </c:pt>
                <c:pt idx="728">
                  <c:v>0.94187833609891858</c:v>
                </c:pt>
                <c:pt idx="729">
                  <c:v>0.94202035777393867</c:v>
                </c:pt>
                <c:pt idx="730">
                  <c:v>0.94216237046587892</c:v>
                </c:pt>
                <c:pt idx="731">
                  <c:v>0.9423041716471221</c:v>
                </c:pt>
                <c:pt idx="732">
                  <c:v>0.94244562657147113</c:v>
                </c:pt>
                <c:pt idx="733">
                  <c:v>0.94258610397340892</c:v>
                </c:pt>
                <c:pt idx="734">
                  <c:v>0.94272655115953286</c:v>
                </c:pt>
                <c:pt idx="735">
                  <c:v>0.94286650835948582</c:v>
                </c:pt>
                <c:pt idx="736">
                  <c:v>0.94300645412642814</c:v>
                </c:pt>
                <c:pt idx="737">
                  <c:v>0.94314627576354049</c:v>
                </c:pt>
                <c:pt idx="738">
                  <c:v>0.94328549553430607</c:v>
                </c:pt>
                <c:pt idx="739">
                  <c:v>0.94342441233028929</c:v>
                </c:pt>
                <c:pt idx="740">
                  <c:v>0.94356242510178701</c:v>
                </c:pt>
                <c:pt idx="741">
                  <c:v>0.94383727876119017</c:v>
                </c:pt>
                <c:pt idx="742">
                  <c:v>0.9439743981245694</c:v>
                </c:pt>
                <c:pt idx="743">
                  <c:v>0.94411141377420915</c:v>
                </c:pt>
                <c:pt idx="744">
                  <c:v>0.9442482840612848</c:v>
                </c:pt>
                <c:pt idx="745">
                  <c:v>0.94438459494748195</c:v>
                </c:pt>
                <c:pt idx="746">
                  <c:v>0.94452083641897155</c:v>
                </c:pt>
                <c:pt idx="747">
                  <c:v>0.94465654543882194</c:v>
                </c:pt>
                <c:pt idx="748">
                  <c:v>0.94479224302566167</c:v>
                </c:pt>
                <c:pt idx="749">
                  <c:v>0.94492791366326201</c:v>
                </c:pt>
                <c:pt idx="750">
                  <c:v>0.94506286565447817</c:v>
                </c:pt>
                <c:pt idx="751">
                  <c:v>0.94519743545648105</c:v>
                </c:pt>
                <c:pt idx="752">
                  <c:v>0.94533191787761672</c:v>
                </c:pt>
                <c:pt idx="753">
                  <c:v>0.94546632108432138</c:v>
                </c:pt>
                <c:pt idx="754">
                  <c:v>0.94560057892846205</c:v>
                </c:pt>
                <c:pt idx="755">
                  <c:v>0.94573478287412382</c:v>
                </c:pt>
                <c:pt idx="756">
                  <c:v>0.94586830165578983</c:v>
                </c:pt>
                <c:pt idx="757">
                  <c:v>0.94600104135944396</c:v>
                </c:pt>
                <c:pt idx="758">
                  <c:v>0.94613367244949687</c:v>
                </c:pt>
                <c:pt idx="759">
                  <c:v>0.94626627985688483</c:v>
                </c:pt>
                <c:pt idx="760">
                  <c:v>0.94639837359543688</c:v>
                </c:pt>
                <c:pt idx="761">
                  <c:v>0.94653045100111655</c:v>
                </c:pt>
                <c:pt idx="762">
                  <c:v>0.94666184487608773</c:v>
                </c:pt>
                <c:pt idx="763">
                  <c:v>0.94679280756322837</c:v>
                </c:pt>
                <c:pt idx="764">
                  <c:v>0.94692329578042678</c:v>
                </c:pt>
                <c:pt idx="765">
                  <c:v>0.9470530130860495</c:v>
                </c:pt>
                <c:pt idx="766">
                  <c:v>0.94718252786405488</c:v>
                </c:pt>
                <c:pt idx="767">
                  <c:v>0.94731203774219852</c:v>
                </c:pt>
                <c:pt idx="768">
                  <c:v>0.94744128057787902</c:v>
                </c:pt>
                <c:pt idx="769">
                  <c:v>0.94757042214975085</c:v>
                </c:pt>
                <c:pt idx="770">
                  <c:v>0.9476993856933138</c:v>
                </c:pt>
                <c:pt idx="771">
                  <c:v>0.9478281360928924</c:v>
                </c:pt>
                <c:pt idx="772">
                  <c:v>0.94795668478149731</c:v>
                </c:pt>
                <c:pt idx="773">
                  <c:v>0.94808498521044227</c:v>
                </c:pt>
                <c:pt idx="774">
                  <c:v>0.94821277033726403</c:v>
                </c:pt>
                <c:pt idx="775">
                  <c:v>0.94833962530700455</c:v>
                </c:pt>
                <c:pt idx="776">
                  <c:v>0.94846629734857457</c:v>
                </c:pt>
                <c:pt idx="777">
                  <c:v>0.94859263456626097</c:v>
                </c:pt>
                <c:pt idx="778">
                  <c:v>0.94871891625218141</c:v>
                </c:pt>
                <c:pt idx="779">
                  <c:v>0.9488441077188714</c:v>
                </c:pt>
                <c:pt idx="780">
                  <c:v>0.94896913259026316</c:v>
                </c:pt>
                <c:pt idx="781">
                  <c:v>0.94909340941610054</c:v>
                </c:pt>
                <c:pt idx="782">
                  <c:v>0.94921762826024103</c:v>
                </c:pt>
                <c:pt idx="783">
                  <c:v>0.9493413832508063</c:v>
                </c:pt>
                <c:pt idx="784">
                  <c:v>0.94946505494372258</c:v>
                </c:pt>
                <c:pt idx="785">
                  <c:v>0.94958848817670227</c:v>
                </c:pt>
                <c:pt idx="786">
                  <c:v>0.94971168539967621</c:v>
                </c:pt>
                <c:pt idx="787">
                  <c:v>0.94983458781430397</c:v>
                </c:pt>
                <c:pt idx="788">
                  <c:v>0.94995670380112729</c:v>
                </c:pt>
                <c:pt idx="789">
                  <c:v>0.95007802846028444</c:v>
                </c:pt>
                <c:pt idx="790">
                  <c:v>0.95019905667780813</c:v>
                </c:pt>
                <c:pt idx="791">
                  <c:v>0.95032005957937971</c:v>
                </c:pt>
                <c:pt idx="792">
                  <c:v>0.95044094815084468</c:v>
                </c:pt>
                <c:pt idx="793">
                  <c:v>0.95056161214531465</c:v>
                </c:pt>
                <c:pt idx="794">
                  <c:v>0.95068212914393324</c:v>
                </c:pt>
                <c:pt idx="795">
                  <c:v>0.95080193239602939</c:v>
                </c:pt>
                <c:pt idx="796">
                  <c:v>0.95092113949828416</c:v>
                </c:pt>
                <c:pt idx="797">
                  <c:v>0.9510399219458574</c:v>
                </c:pt>
                <c:pt idx="798">
                  <c:v>0.95115764439001405</c:v>
                </c:pt>
                <c:pt idx="799">
                  <c:v>0.95127502792706908</c:v>
                </c:pt>
                <c:pt idx="800">
                  <c:v>0.95139156623797916</c:v>
                </c:pt>
                <c:pt idx="801">
                  <c:v>0.95173901624847734</c:v>
                </c:pt>
                <c:pt idx="802">
                  <c:v>0.95185390412263482</c:v>
                </c:pt>
                <c:pt idx="803">
                  <c:v>0.95196878464699974</c:v>
                </c:pt>
                <c:pt idx="804">
                  <c:v>0.9520830943374754</c:v>
                </c:pt>
                <c:pt idx="805">
                  <c:v>0.95219713208562617</c:v>
                </c:pt>
                <c:pt idx="806">
                  <c:v>0.95231110858550561</c:v>
                </c:pt>
                <c:pt idx="807">
                  <c:v>0.95242430029086778</c:v>
                </c:pt>
                <c:pt idx="808">
                  <c:v>0.95253735480010204</c:v>
                </c:pt>
                <c:pt idx="809">
                  <c:v>0.95265037092708627</c:v>
                </c:pt>
                <c:pt idx="810">
                  <c:v>0.95276297546568689</c:v>
                </c:pt>
                <c:pt idx="811">
                  <c:v>0.95287543954158516</c:v>
                </c:pt>
                <c:pt idx="812">
                  <c:v>0.95298785216893545</c:v>
                </c:pt>
                <c:pt idx="813">
                  <c:v>0.95310007533496632</c:v>
                </c:pt>
                <c:pt idx="814">
                  <c:v>0.95321229278449182</c:v>
                </c:pt>
                <c:pt idx="815">
                  <c:v>0.95332437712110751</c:v>
                </c:pt>
                <c:pt idx="816">
                  <c:v>0.95343633406131878</c:v>
                </c:pt>
                <c:pt idx="817">
                  <c:v>0.95354815053882769</c:v>
                </c:pt>
                <c:pt idx="818">
                  <c:v>0.95365991883436318</c:v>
                </c:pt>
                <c:pt idx="819">
                  <c:v>0.9537714609196164</c:v>
                </c:pt>
                <c:pt idx="820">
                  <c:v>0.95388281599348101</c:v>
                </c:pt>
                <c:pt idx="821">
                  <c:v>0.95399232136955003</c:v>
                </c:pt>
                <c:pt idx="822">
                  <c:v>0.95410108114999559</c:v>
                </c:pt>
                <c:pt idx="823">
                  <c:v>0.95420961063694076</c:v>
                </c:pt>
                <c:pt idx="824">
                  <c:v>0.95431812215772627</c:v>
                </c:pt>
                <c:pt idx="825">
                  <c:v>0.9544264491170541</c:v>
                </c:pt>
                <c:pt idx="826">
                  <c:v>0.95453468706222755</c:v>
                </c:pt>
                <c:pt idx="827">
                  <c:v>0.95464285804262428</c:v>
                </c:pt>
                <c:pt idx="828">
                  <c:v>0.95475083874505795</c:v>
                </c:pt>
                <c:pt idx="829">
                  <c:v>0.95485857690433695</c:v>
                </c:pt>
                <c:pt idx="830">
                  <c:v>0.95496625299870097</c:v>
                </c:pt>
                <c:pt idx="831">
                  <c:v>0.95507379189693709</c:v>
                </c:pt>
                <c:pt idx="832">
                  <c:v>0.95518130139600299</c:v>
                </c:pt>
                <c:pt idx="833">
                  <c:v>0.95539502274742516</c:v>
                </c:pt>
                <c:pt idx="834">
                  <c:v>0.95550145917677654</c:v>
                </c:pt>
                <c:pt idx="835">
                  <c:v>0.95560706834614251</c:v>
                </c:pt>
                <c:pt idx="836">
                  <c:v>0.9557123827071623</c:v>
                </c:pt>
                <c:pt idx="837">
                  <c:v>0.95581760968731488</c:v>
                </c:pt>
                <c:pt idx="838">
                  <c:v>0.95592268232182365</c:v>
                </c:pt>
                <c:pt idx="839">
                  <c:v>0.95602601142220733</c:v>
                </c:pt>
                <c:pt idx="840">
                  <c:v>0.95623245647899024</c:v>
                </c:pt>
                <c:pt idx="841">
                  <c:v>0.95633566226618749</c:v>
                </c:pt>
                <c:pt idx="842">
                  <c:v>0.95643871289109728</c:v>
                </c:pt>
                <c:pt idx="843">
                  <c:v>0.95654103833647397</c:v>
                </c:pt>
                <c:pt idx="844">
                  <c:v>0.95664332458295698</c:v>
                </c:pt>
                <c:pt idx="845">
                  <c:v>0.95674540911846628</c:v>
                </c:pt>
                <c:pt idx="846">
                  <c:v>0.95684728132663477</c:v>
                </c:pt>
                <c:pt idx="847">
                  <c:v>0.95694915108487244</c:v>
                </c:pt>
                <c:pt idx="848">
                  <c:v>0.95705099879373245</c:v>
                </c:pt>
                <c:pt idx="849">
                  <c:v>0.95715279505404449</c:v>
                </c:pt>
                <c:pt idx="850">
                  <c:v>0.95725456926497887</c:v>
                </c:pt>
                <c:pt idx="851">
                  <c:v>0.9573563050936631</c:v>
                </c:pt>
                <c:pt idx="852">
                  <c:v>0.95745771018168191</c:v>
                </c:pt>
                <c:pt idx="853">
                  <c:v>0.95755839254009856</c:v>
                </c:pt>
                <c:pt idx="854">
                  <c:v>0.95765764495553951</c:v>
                </c:pt>
                <c:pt idx="855">
                  <c:v>0.9577568524555814</c:v>
                </c:pt>
                <c:pt idx="856">
                  <c:v>0.95785597747461793</c:v>
                </c:pt>
                <c:pt idx="857">
                  <c:v>0.95795491303233493</c:v>
                </c:pt>
                <c:pt idx="858">
                  <c:v>0.95805349253343441</c:v>
                </c:pt>
                <c:pt idx="859">
                  <c:v>0.95815201731941146</c:v>
                </c:pt>
                <c:pt idx="860">
                  <c:v>0.95825045799109576</c:v>
                </c:pt>
                <c:pt idx="861">
                  <c:v>0.95834872635097657</c:v>
                </c:pt>
                <c:pt idx="862">
                  <c:v>0.95844687711417642</c:v>
                </c:pt>
                <c:pt idx="863">
                  <c:v>0.95854474613532792</c:v>
                </c:pt>
                <c:pt idx="864">
                  <c:v>0.95864259392374529</c:v>
                </c:pt>
                <c:pt idx="865">
                  <c:v>0.95873975736481054</c:v>
                </c:pt>
                <c:pt idx="866">
                  <c:v>0.95883663008074771</c:v>
                </c:pt>
                <c:pt idx="867">
                  <c:v>0.95893331986851438</c:v>
                </c:pt>
                <c:pt idx="868">
                  <c:v>0.95902997862382344</c:v>
                </c:pt>
                <c:pt idx="869">
                  <c:v>0.95912593588226447</c:v>
                </c:pt>
                <c:pt idx="870">
                  <c:v>0.95922151830128466</c:v>
                </c:pt>
                <c:pt idx="871">
                  <c:v>0.95931699945649618</c:v>
                </c:pt>
                <c:pt idx="872">
                  <c:v>0.95941219641972852</c:v>
                </c:pt>
                <c:pt idx="873">
                  <c:v>0.95950738603316832</c:v>
                </c:pt>
                <c:pt idx="874">
                  <c:v>0.95960246294978868</c:v>
                </c:pt>
                <c:pt idx="875">
                  <c:v>0.9596972809903821</c:v>
                </c:pt>
                <c:pt idx="876">
                  <c:v>0.95979187772055496</c:v>
                </c:pt>
                <c:pt idx="877">
                  <c:v>0.95988638380328617</c:v>
                </c:pt>
                <c:pt idx="878">
                  <c:v>0.95997985846512746</c:v>
                </c:pt>
                <c:pt idx="879">
                  <c:v>0.96007318123125573</c:v>
                </c:pt>
                <c:pt idx="880">
                  <c:v>0.96016638558405931</c:v>
                </c:pt>
                <c:pt idx="881">
                  <c:v>0.96025942660813923</c:v>
                </c:pt>
                <c:pt idx="882">
                  <c:v>0.96035205767712273</c:v>
                </c:pt>
                <c:pt idx="883">
                  <c:v>0.96044457359935609</c:v>
                </c:pt>
                <c:pt idx="884">
                  <c:v>0.96053634882582761</c:v>
                </c:pt>
                <c:pt idx="885">
                  <c:v>0.96062735150743617</c:v>
                </c:pt>
                <c:pt idx="886">
                  <c:v>0.96080911596078589</c:v>
                </c:pt>
                <c:pt idx="887">
                  <c:v>0.96089981158439397</c:v>
                </c:pt>
                <c:pt idx="888">
                  <c:v>0.96099042309370941</c:v>
                </c:pt>
                <c:pt idx="889">
                  <c:v>0.96108079369315735</c:v>
                </c:pt>
                <c:pt idx="890">
                  <c:v>0.96117082293557288</c:v>
                </c:pt>
                <c:pt idx="891">
                  <c:v>0.96126084237826492</c:v>
                </c:pt>
                <c:pt idx="892">
                  <c:v>0.96135039306752013</c:v>
                </c:pt>
                <c:pt idx="893">
                  <c:v>0.96143993477369549</c:v>
                </c:pt>
                <c:pt idx="894">
                  <c:v>0.96152926578581732</c:v>
                </c:pt>
                <c:pt idx="895">
                  <c:v>0.96161839263703464</c:v>
                </c:pt>
                <c:pt idx="896">
                  <c:v>0.96170745089018794</c:v>
                </c:pt>
                <c:pt idx="897">
                  <c:v>0.96179624373416528</c:v>
                </c:pt>
                <c:pt idx="898">
                  <c:v>0.96188481853429653</c:v>
                </c:pt>
                <c:pt idx="899">
                  <c:v>0.96197314180819338</c:v>
                </c:pt>
                <c:pt idx="900">
                  <c:v>0.96206139240080812</c:v>
                </c:pt>
                <c:pt idx="901">
                  <c:v>0.96214943719923107</c:v>
                </c:pt>
                <c:pt idx="902">
                  <c:v>0.96223745913163272</c:v>
                </c:pt>
                <c:pt idx="903">
                  <c:v>0.96232517237274662</c:v>
                </c:pt>
                <c:pt idx="904">
                  <c:v>0.96241219636664666</c:v>
                </c:pt>
                <c:pt idx="905">
                  <c:v>0.9624990480487432</c:v>
                </c:pt>
                <c:pt idx="906">
                  <c:v>0.96258534196324852</c:v>
                </c:pt>
                <c:pt idx="907">
                  <c:v>0.96267143171684921</c:v>
                </c:pt>
                <c:pt idx="908">
                  <c:v>0.96275746430539666</c:v>
                </c:pt>
                <c:pt idx="909">
                  <c:v>0.96284325435078943</c:v>
                </c:pt>
                <c:pt idx="910">
                  <c:v>0.9629288549348628</c:v>
                </c:pt>
                <c:pt idx="911">
                  <c:v>0.963014265240973</c:v>
                </c:pt>
                <c:pt idx="912">
                  <c:v>0.96309954488410432</c:v>
                </c:pt>
                <c:pt idx="913">
                  <c:v>0.96309954488410432</c:v>
                </c:pt>
                <c:pt idx="914">
                  <c:v>0.96318450930279897</c:v>
                </c:pt>
                <c:pt idx="915">
                  <c:v>0.96326940185685517</c:v>
                </c:pt>
                <c:pt idx="916">
                  <c:v>0.96335374562639986</c:v>
                </c:pt>
                <c:pt idx="917">
                  <c:v>0.96343789013490166</c:v>
                </c:pt>
                <c:pt idx="918">
                  <c:v>0.96352200524423326</c:v>
                </c:pt>
                <c:pt idx="919">
                  <c:v>0.96360550705420744</c:v>
                </c:pt>
                <c:pt idx="920">
                  <c:v>0.96368893046639426</c:v>
                </c:pt>
                <c:pt idx="921">
                  <c:v>0.96377234326221406</c:v>
                </c:pt>
                <c:pt idx="922">
                  <c:v>0.96385572094235827</c:v>
                </c:pt>
                <c:pt idx="923">
                  <c:v>0.96393891079447025</c:v>
                </c:pt>
                <c:pt idx="924">
                  <c:v>0.96402166537553369</c:v>
                </c:pt>
                <c:pt idx="925">
                  <c:v>0.96410397325253794</c:v>
                </c:pt>
                <c:pt idx="926">
                  <c:v>0.96418611371760043</c:v>
                </c:pt>
                <c:pt idx="927">
                  <c:v>0.96426764169994916</c:v>
                </c:pt>
                <c:pt idx="928">
                  <c:v>0.96434916396579251</c:v>
                </c:pt>
                <c:pt idx="929">
                  <c:v>0.96443039305657696</c:v>
                </c:pt>
                <c:pt idx="930">
                  <c:v>0.96451140982002059</c:v>
                </c:pt>
                <c:pt idx="931">
                  <c:v>0.96459230082034697</c:v>
                </c:pt>
                <c:pt idx="932">
                  <c:v>0.96467298275990709</c:v>
                </c:pt>
                <c:pt idx="933">
                  <c:v>0.96475344583897749</c:v>
                </c:pt>
                <c:pt idx="934">
                  <c:v>0.96483326948609471</c:v>
                </c:pt>
                <c:pt idx="935">
                  <c:v>0.96491261458005162</c:v>
                </c:pt>
                <c:pt idx="936">
                  <c:v>0.96499077390747467</c:v>
                </c:pt>
                <c:pt idx="937">
                  <c:v>0.96506871274112083</c:v>
                </c:pt>
                <c:pt idx="938">
                  <c:v>0.96514632410067602</c:v>
                </c:pt>
                <c:pt idx="939">
                  <c:v>0.96522390932763547</c:v>
                </c:pt>
                <c:pt idx="940">
                  <c:v>0.96530126834431262</c:v>
                </c:pt>
                <c:pt idx="941">
                  <c:v>0.96537829172046263</c:v>
                </c:pt>
                <c:pt idx="942">
                  <c:v>0.96545528733072961</c:v>
                </c:pt>
                <c:pt idx="943">
                  <c:v>0.96553212941199629</c:v>
                </c:pt>
                <c:pt idx="944">
                  <c:v>0.96560886206301821</c:v>
                </c:pt>
                <c:pt idx="945">
                  <c:v>0.9656852010918161</c:v>
                </c:pt>
                <c:pt idx="946">
                  <c:v>0.96576127389479438</c:v>
                </c:pt>
                <c:pt idx="947">
                  <c:v>0.96583728218292675</c:v>
                </c:pt>
                <c:pt idx="948">
                  <c:v>0.96591287888267552</c:v>
                </c:pt>
                <c:pt idx="949">
                  <c:v>0.96598846251612636</c:v>
                </c:pt>
                <c:pt idx="950">
                  <c:v>0.9660639922510984</c:v>
                </c:pt>
                <c:pt idx="951">
                  <c:v>0.96613905976578252</c:v>
                </c:pt>
                <c:pt idx="952">
                  <c:v>0.96621407501527501</c:v>
                </c:pt>
                <c:pt idx="953">
                  <c:v>0.96628908863148033</c:v>
                </c:pt>
                <c:pt idx="954">
                  <c:v>0.96636409244796218</c:v>
                </c:pt>
                <c:pt idx="955">
                  <c:v>0.96643909218122592</c:v>
                </c:pt>
                <c:pt idx="956">
                  <c:v>0.96651405516552691</c:v>
                </c:pt>
                <c:pt idx="957">
                  <c:v>0.9665887233414816</c:v>
                </c:pt>
                <c:pt idx="958">
                  <c:v>0.96666307629299963</c:v>
                </c:pt>
                <c:pt idx="959">
                  <c:v>0.96673742679458685</c:v>
                </c:pt>
                <c:pt idx="960">
                  <c:v>0.96681175279686549</c:v>
                </c:pt>
                <c:pt idx="961">
                  <c:v>0.96688555369729756</c:v>
                </c:pt>
                <c:pt idx="962">
                  <c:v>0.96695888992751078</c:v>
                </c:pt>
                <c:pt idx="963">
                  <c:v>0.96703171820539346</c:v>
                </c:pt>
                <c:pt idx="964">
                  <c:v>0.96710444276953655</c:v>
                </c:pt>
                <c:pt idx="965">
                  <c:v>0.96717697950564741</c:v>
                </c:pt>
                <c:pt idx="966">
                  <c:v>0.96724935617960905</c:v>
                </c:pt>
                <c:pt idx="967">
                  <c:v>0.9673215540086183</c:v>
                </c:pt>
                <c:pt idx="968">
                  <c:v>0.96739369793914876</c:v>
                </c:pt>
                <c:pt idx="969">
                  <c:v>0.96746530451817836</c:v>
                </c:pt>
                <c:pt idx="970">
                  <c:v>0.96753687271495792</c:v>
                </c:pt>
                <c:pt idx="971">
                  <c:v>0.96760812977051891</c:v>
                </c:pt>
                <c:pt idx="972">
                  <c:v>0.9676792226807126</c:v>
                </c:pt>
                <c:pt idx="973">
                  <c:v>0.96775019636093806</c:v>
                </c:pt>
                <c:pt idx="974">
                  <c:v>0.96782104264475899</c:v>
                </c:pt>
                <c:pt idx="975">
                  <c:v>0.96789113761645107</c:v>
                </c:pt>
                <c:pt idx="976">
                  <c:v>0.96796113459090893</c:v>
                </c:pt>
                <c:pt idx="977">
                  <c:v>0.96803076734231308</c:v>
                </c:pt>
                <c:pt idx="978">
                  <c:v>0.96810033394558415</c:v>
                </c:pt>
                <c:pt idx="979">
                  <c:v>0.96816965637241326</c:v>
                </c:pt>
                <c:pt idx="980">
                  <c:v>0.96823889305166244</c:v>
                </c:pt>
                <c:pt idx="981">
                  <c:v>0.96830803010039024</c:v>
                </c:pt>
                <c:pt idx="982">
                  <c:v>0.96837683232523453</c:v>
                </c:pt>
                <c:pt idx="983">
                  <c:v>0.96844535934117948</c:v>
                </c:pt>
                <c:pt idx="984">
                  <c:v>0.96851384062508172</c:v>
                </c:pt>
                <c:pt idx="985">
                  <c:v>0.96858225494420724</c:v>
                </c:pt>
                <c:pt idx="986">
                  <c:v>0.96865046428578461</c:v>
                </c:pt>
                <c:pt idx="987">
                  <c:v>0.96871864341154812</c:v>
                </c:pt>
                <c:pt idx="988">
                  <c:v>0.9687868053877956</c:v>
                </c:pt>
                <c:pt idx="989">
                  <c:v>0.96885481955154817</c:v>
                </c:pt>
                <c:pt idx="990">
                  <c:v>0.96892274306785908</c:v>
                </c:pt>
                <c:pt idx="991">
                  <c:v>0.96899061840219658</c:v>
                </c:pt>
                <c:pt idx="992">
                  <c:v>0.96905841697203388</c:v>
                </c:pt>
                <c:pt idx="993">
                  <c:v>0.96912620002564243</c:v>
                </c:pt>
                <c:pt idx="994">
                  <c:v>0.96919389733167105</c:v>
                </c:pt>
                <c:pt idx="995">
                  <c:v>0.96926158647126359</c:v>
                </c:pt>
                <c:pt idx="996">
                  <c:v>0.96932909431597281</c:v>
                </c:pt>
                <c:pt idx="997">
                  <c:v>0.969396287752889</c:v>
                </c:pt>
                <c:pt idx="998">
                  <c:v>0.96946348118980519</c:v>
                </c:pt>
                <c:pt idx="999">
                  <c:v>0.96953041411740715</c:v>
                </c:pt>
                <c:pt idx="1000">
                  <c:v>0.9695972514977057</c:v>
                </c:pt>
                <c:pt idx="1001">
                  <c:v>0.9695972514977057</c:v>
                </c:pt>
                <c:pt idx="1002">
                  <c:v>0.96966401129686053</c:v>
                </c:pt>
                <c:pt idx="1003">
                  <c:v>0.96973038727351479</c:v>
                </c:pt>
                <c:pt idx="1004">
                  <c:v>0.96979669955196679</c:v>
                </c:pt>
                <c:pt idx="1005">
                  <c:v>0.96986281991916845</c:v>
                </c:pt>
                <c:pt idx="1006">
                  <c:v>0.96992878675736993</c:v>
                </c:pt>
                <c:pt idx="1007">
                  <c:v>0.96999467111456594</c:v>
                </c:pt>
                <c:pt idx="1008">
                  <c:v>0.97005999607088333</c:v>
                </c:pt>
                <c:pt idx="1009">
                  <c:v>0.97012522547989744</c:v>
                </c:pt>
                <c:pt idx="1010">
                  <c:v>0.97019040180707627</c:v>
                </c:pt>
                <c:pt idx="1011">
                  <c:v>0.9702553551905474</c:v>
                </c:pt>
                <c:pt idx="1012">
                  <c:v>0.97032002928190098</c:v>
                </c:pt>
                <c:pt idx="1013">
                  <c:v>0.97038463640847794</c:v>
                </c:pt>
                <c:pt idx="1014">
                  <c:v>0.97044901324155453</c:v>
                </c:pt>
                <c:pt idx="1015">
                  <c:v>0.97051337782497682</c:v>
                </c:pt>
                <c:pt idx="1016">
                  <c:v>0.97057772852545754</c:v>
                </c:pt>
                <c:pt idx="1017">
                  <c:v>0.9706420236941723</c:v>
                </c:pt>
                <c:pt idx="1018">
                  <c:v>0.97070601833803549</c:v>
                </c:pt>
                <c:pt idx="1019">
                  <c:v>0.97076998603265929</c:v>
                </c:pt>
                <c:pt idx="1020">
                  <c:v>0.97083342535886197</c:v>
                </c:pt>
                <c:pt idx="1021">
                  <c:v>0.97089686305177747</c:v>
                </c:pt>
                <c:pt idx="1022">
                  <c:v>0.97096009086728308</c:v>
                </c:pt>
                <c:pt idx="1023">
                  <c:v>0.97102310145558612</c:v>
                </c:pt>
                <c:pt idx="1024">
                  <c:v>0.97108540319722847</c:v>
                </c:pt>
                <c:pt idx="1025">
                  <c:v>0.97114760449170578</c:v>
                </c:pt>
                <c:pt idx="1026">
                  <c:v>0.97120974698784257</c:v>
                </c:pt>
                <c:pt idx="1027">
                  <c:v>0.97127187641768142</c:v>
                </c:pt>
                <c:pt idx="1028">
                  <c:v>0.97133371267246138</c:v>
                </c:pt>
                <c:pt idx="1029">
                  <c:v>0.97139500177601701</c:v>
                </c:pt>
                <c:pt idx="1030">
                  <c:v>0.97145615613337566</c:v>
                </c:pt>
                <c:pt idx="1031">
                  <c:v>0.97151717166131912</c:v>
                </c:pt>
                <c:pt idx="1032">
                  <c:v>0.97157816105666683</c:v>
                </c:pt>
                <c:pt idx="1033">
                  <c:v>0.97163871354767872</c:v>
                </c:pt>
                <c:pt idx="1034">
                  <c:v>0.97169902921204132</c:v>
                </c:pt>
                <c:pt idx="1035">
                  <c:v>0.97175921176349411</c:v>
                </c:pt>
                <c:pt idx="1036">
                  <c:v>0.97181931183394143</c:v>
                </c:pt>
                <c:pt idx="1037">
                  <c:v>0.97187939067165474</c:v>
                </c:pt>
                <c:pt idx="1038">
                  <c:v>0.97193903668825032</c:v>
                </c:pt>
                <c:pt idx="1039">
                  <c:v>0.97199863860609048</c:v>
                </c:pt>
                <c:pt idx="1040">
                  <c:v>0.97205791468312697</c:v>
                </c:pt>
                <c:pt idx="1041">
                  <c:v>0.97211695230022688</c:v>
                </c:pt>
                <c:pt idx="1042">
                  <c:v>0.97217587558722018</c:v>
                </c:pt>
                <c:pt idx="1043">
                  <c:v>0.97223479397435186</c:v>
                </c:pt>
                <c:pt idx="1044">
                  <c:v>0.97229293001689709</c:v>
                </c:pt>
                <c:pt idx="1045">
                  <c:v>0.97235095254597936</c:v>
                </c:pt>
                <c:pt idx="1046">
                  <c:v>0.97240888197768915</c:v>
                </c:pt>
                <c:pt idx="1047">
                  <c:v>0.97246601681515832</c:v>
                </c:pt>
                <c:pt idx="1048">
                  <c:v>0.97252303487259006</c:v>
                </c:pt>
                <c:pt idx="1049">
                  <c:v>0.97257995901600569</c:v>
                </c:pt>
                <c:pt idx="1050">
                  <c:v>0.97263658426785704</c:v>
                </c:pt>
                <c:pt idx="1051">
                  <c:v>0.97269305272413364</c:v>
                </c:pt>
                <c:pt idx="1052">
                  <c:v>0.9727493725512717</c:v>
                </c:pt>
                <c:pt idx="1053">
                  <c:v>0.97280555436563831</c:v>
                </c:pt>
                <c:pt idx="1054">
                  <c:v>0.97286160470038241</c:v>
                </c:pt>
                <c:pt idx="1055">
                  <c:v>0.97291762645259983</c:v>
                </c:pt>
                <c:pt idx="1056">
                  <c:v>0.97297360002284372</c:v>
                </c:pt>
                <c:pt idx="1057">
                  <c:v>0.9730293694321831</c:v>
                </c:pt>
                <c:pt idx="1058">
                  <c:v>0.97308495346342105</c:v>
                </c:pt>
                <c:pt idx="1059">
                  <c:v>0.97314052116178673</c:v>
                </c:pt>
                <c:pt idx="1060">
                  <c:v>0.97319587326623713</c:v>
                </c:pt>
                <c:pt idx="1061">
                  <c:v>0.97325116167248527</c:v>
                </c:pt>
                <c:pt idx="1062">
                  <c:v>0.97330616833668515</c:v>
                </c:pt>
                <c:pt idx="1063">
                  <c:v>0.97336102637174648</c:v>
                </c:pt>
                <c:pt idx="1064">
                  <c:v>0.97341575537711611</c:v>
                </c:pt>
                <c:pt idx="1065">
                  <c:v>0.97347039373504407</c:v>
                </c:pt>
                <c:pt idx="1066">
                  <c:v>0.97357939034213892</c:v>
                </c:pt>
                <c:pt idx="1067">
                  <c:v>0.97363354933026292</c:v>
                </c:pt>
                <c:pt idx="1068">
                  <c:v>0.97368755478938662</c:v>
                </c:pt>
                <c:pt idx="1069">
                  <c:v>0.97374154473228158</c:v>
                </c:pt>
                <c:pt idx="1070">
                  <c:v>0.9737954962929265</c:v>
                </c:pt>
                <c:pt idx="1071">
                  <c:v>0.97384906729764531</c:v>
                </c:pt>
                <c:pt idx="1072">
                  <c:v>0.9739026129864119</c:v>
                </c:pt>
                <c:pt idx="1073">
                  <c:v>0.97395604026185389</c:v>
                </c:pt>
                <c:pt idx="1074">
                  <c:v>0.97400935239054565</c:v>
                </c:pt>
                <c:pt idx="1075">
                  <c:v>0.9740625959211735</c:v>
                </c:pt>
                <c:pt idx="1076">
                  <c:v>0.97411575207093415</c:v>
                </c:pt>
                <c:pt idx="1077">
                  <c:v>0.97416879062401385</c:v>
                </c:pt>
                <c:pt idx="1078">
                  <c:v>0.97422173117985933</c:v>
                </c:pt>
                <c:pt idx="1079">
                  <c:v>0.97427456638867804</c:v>
                </c:pt>
                <c:pt idx="1080">
                  <c:v>0.97432708310648564</c:v>
                </c:pt>
                <c:pt idx="1081">
                  <c:v>0.97437937606394176</c:v>
                </c:pt>
                <c:pt idx="1082">
                  <c:v>0.97443137339640806</c:v>
                </c:pt>
                <c:pt idx="1083">
                  <c:v>0.97448328988115618</c:v>
                </c:pt>
                <c:pt idx="1084">
                  <c:v>0.97453511490181899</c:v>
                </c:pt>
                <c:pt idx="1085">
                  <c:v>0.97458674311136984</c:v>
                </c:pt>
                <c:pt idx="1086">
                  <c:v>0.97463836233784085</c:v>
                </c:pt>
                <c:pt idx="1087">
                  <c:v>0.97468971615513589</c:v>
                </c:pt>
                <c:pt idx="1088">
                  <c:v>0.97474097850834562</c:v>
                </c:pt>
                <c:pt idx="1089">
                  <c:v>0.97479223351176281</c:v>
                </c:pt>
                <c:pt idx="1090">
                  <c:v>0.97484342400033419</c:v>
                </c:pt>
                <c:pt idx="1091">
                  <c:v>0.9748943531629477</c:v>
                </c:pt>
                <c:pt idx="1092">
                  <c:v>0.97494519086147591</c:v>
                </c:pt>
                <c:pt idx="1093">
                  <c:v>0.97499599589425945</c:v>
                </c:pt>
                <c:pt idx="1094">
                  <c:v>0.97504650611869681</c:v>
                </c:pt>
                <c:pt idx="1095">
                  <c:v>0.97509695346157554</c:v>
                </c:pt>
                <c:pt idx="1096">
                  <c:v>0.97514731832344881</c:v>
                </c:pt>
                <c:pt idx="1097">
                  <c:v>0.97519767583552952</c:v>
                </c:pt>
                <c:pt idx="1098">
                  <c:v>0.97524800639837084</c:v>
                </c:pt>
                <c:pt idx="1099">
                  <c:v>0.97529828306273325</c:v>
                </c:pt>
                <c:pt idx="1100">
                  <c:v>0.97534848459588286</c:v>
                </c:pt>
                <c:pt idx="1101">
                  <c:v>0.97539830802303717</c:v>
                </c:pt>
                <c:pt idx="1102">
                  <c:v>0.97544805795226586</c:v>
                </c:pt>
                <c:pt idx="1103">
                  <c:v>0.9754977613328083</c:v>
                </c:pt>
                <c:pt idx="1104">
                  <c:v>0.975547449197122</c:v>
                </c:pt>
                <c:pt idx="1105">
                  <c:v>0.97559699006558431</c:v>
                </c:pt>
                <c:pt idx="1106">
                  <c:v>0.97564648683529132</c:v>
                </c:pt>
                <c:pt idx="1107">
                  <c:v>0.97569595338918436</c:v>
                </c:pt>
                <c:pt idx="1108">
                  <c:v>0.9757447984772839</c:v>
                </c:pt>
                <c:pt idx="1109">
                  <c:v>0.97579359864998438</c:v>
                </c:pt>
                <c:pt idx="1110">
                  <c:v>0.97584209666454613</c:v>
                </c:pt>
                <c:pt idx="1111">
                  <c:v>0.97589048769879383</c:v>
                </c:pt>
                <c:pt idx="1112">
                  <c:v>0.97593858882455709</c:v>
                </c:pt>
                <c:pt idx="1113">
                  <c:v>0.97598639759190498</c:v>
                </c:pt>
                <c:pt idx="1114">
                  <c:v>0.97603419329295493</c:v>
                </c:pt>
                <c:pt idx="1115">
                  <c:v>0.97608174073434495</c:v>
                </c:pt>
                <c:pt idx="1116">
                  <c:v>0.97612926939293176</c:v>
                </c:pt>
                <c:pt idx="1117">
                  <c:v>0.97617676456913016</c:v>
                </c:pt>
                <c:pt idx="1118">
                  <c:v>0.97622403435168992</c:v>
                </c:pt>
                <c:pt idx="1119">
                  <c:v>0.9762711840876378</c:v>
                </c:pt>
                <c:pt idx="1120">
                  <c:v>0.9763183134074952</c:v>
                </c:pt>
                <c:pt idx="1121">
                  <c:v>0.9763654116948951</c:v>
                </c:pt>
                <c:pt idx="1122">
                  <c:v>0.9764123164377575</c:v>
                </c:pt>
                <c:pt idx="1123">
                  <c:v>0.97645921954733261</c:v>
                </c:pt>
                <c:pt idx="1124">
                  <c:v>0.97650610060753007</c:v>
                </c:pt>
                <c:pt idx="1125">
                  <c:v>0.97655283548851979</c:v>
                </c:pt>
                <c:pt idx="1126">
                  <c:v>0.97659952545411055</c:v>
                </c:pt>
                <c:pt idx="1127">
                  <c:v>0.97664617948738208</c:v>
                </c:pt>
                <c:pt idx="1128">
                  <c:v>0.97669257301133938</c:v>
                </c:pt>
                <c:pt idx="1129">
                  <c:v>0.97673874195830168</c:v>
                </c:pt>
                <c:pt idx="1130">
                  <c:v>0.97678458179788574</c:v>
                </c:pt>
                <c:pt idx="1131">
                  <c:v>0.9768303383398208</c:v>
                </c:pt>
                <c:pt idx="1132">
                  <c:v>0.97692151169994557</c:v>
                </c:pt>
                <c:pt idx="1133">
                  <c:v>0.97696685747014056</c:v>
                </c:pt>
                <c:pt idx="1134">
                  <c:v>0.97701206686085129</c:v>
                </c:pt>
                <c:pt idx="1135">
                  <c:v>0.97705725583547154</c:v>
                </c:pt>
                <c:pt idx="1136">
                  <c:v>0.97710225208219792</c:v>
                </c:pt>
                <c:pt idx="1137">
                  <c:v>0.97714709153334955</c:v>
                </c:pt>
                <c:pt idx="1138">
                  <c:v>0.97719188361917131</c:v>
                </c:pt>
                <c:pt idx="1139">
                  <c:v>0.97728037593829709</c:v>
                </c:pt>
                <c:pt idx="1140">
                  <c:v>0.97732439711254315</c:v>
                </c:pt>
                <c:pt idx="1141">
                  <c:v>0.97736830395668262</c:v>
                </c:pt>
                <c:pt idx="1142">
                  <c:v>0.97741214955255074</c:v>
                </c:pt>
                <c:pt idx="1143">
                  <c:v>0.97745581712011009</c:v>
                </c:pt>
                <c:pt idx="1144">
                  <c:v>0.97749946018836087</c:v>
                </c:pt>
                <c:pt idx="1145">
                  <c:v>0.97754281824798883</c:v>
                </c:pt>
                <c:pt idx="1146">
                  <c:v>0.9775861640579625</c:v>
                </c:pt>
                <c:pt idx="1147">
                  <c:v>0.97762936123879762</c:v>
                </c:pt>
                <c:pt idx="1148">
                  <c:v>0.97767246450561673</c:v>
                </c:pt>
                <c:pt idx="1149">
                  <c:v>0.97771548447478673</c:v>
                </c:pt>
                <c:pt idx="1150">
                  <c:v>0.97775840318014806</c:v>
                </c:pt>
                <c:pt idx="1151">
                  <c:v>0.97780125247080185</c:v>
                </c:pt>
                <c:pt idx="1152">
                  <c:v>0.97784405439612576</c:v>
                </c:pt>
                <c:pt idx="1153">
                  <c:v>0.97788681058940707</c:v>
                </c:pt>
                <c:pt idx="1154">
                  <c:v>0.97792955943289572</c:v>
                </c:pt>
                <c:pt idx="1155">
                  <c:v>0.97797219639620869</c:v>
                </c:pt>
                <c:pt idx="1156">
                  <c:v>0.97801479416062798</c:v>
                </c:pt>
                <c:pt idx="1157">
                  <c:v>0.97805728004487158</c:v>
                </c:pt>
                <c:pt idx="1158">
                  <c:v>0.97809955278513083</c:v>
                </c:pt>
                <c:pt idx="1159">
                  <c:v>0.97814181735895389</c:v>
                </c:pt>
                <c:pt idx="1160">
                  <c:v>0.97818403865066517</c:v>
                </c:pt>
                <c:pt idx="1161">
                  <c:v>0.97826822562463511</c:v>
                </c:pt>
                <c:pt idx="1162">
                  <c:v>0.9783100916763724</c:v>
                </c:pt>
                <c:pt idx="1163">
                  <c:v>0.97835174050090723</c:v>
                </c:pt>
                <c:pt idx="1164">
                  <c:v>0.97839338115900587</c:v>
                </c:pt>
                <c:pt idx="1165">
                  <c:v>0.97843497281848735</c:v>
                </c:pt>
                <c:pt idx="1166">
                  <c:v>0.97847643789820804</c:v>
                </c:pt>
                <c:pt idx="1167">
                  <c:v>0.97851784172965739</c:v>
                </c:pt>
                <c:pt idx="1168">
                  <c:v>0.97855914266401078</c:v>
                </c:pt>
                <c:pt idx="1169">
                  <c:v>0.97860043053206625</c:v>
                </c:pt>
                <c:pt idx="1170">
                  <c:v>0.97864170206724943</c:v>
                </c:pt>
                <c:pt idx="1171">
                  <c:v>0.97868271064318746</c:v>
                </c:pt>
                <c:pt idx="1172">
                  <c:v>0.97872364653784349</c:v>
                </c:pt>
                <c:pt idx="1173">
                  <c:v>0.9787643864380311</c:v>
                </c:pt>
                <c:pt idx="1174">
                  <c:v>0.97880508713932501</c:v>
                </c:pt>
                <c:pt idx="1175">
                  <c:v>0.97884564247805483</c:v>
                </c:pt>
                <c:pt idx="1176">
                  <c:v>0.97888616515103999</c:v>
                </c:pt>
                <c:pt idx="1177">
                  <c:v>0.97892648447976416</c:v>
                </c:pt>
                <c:pt idx="1178">
                  <c:v>0.97896677114274355</c:v>
                </c:pt>
                <c:pt idx="1179">
                  <c:v>0.97904692879710065</c:v>
                </c:pt>
                <c:pt idx="1180">
                  <c:v>0.97908692391830832</c:v>
                </c:pt>
                <c:pt idx="1181">
                  <c:v>0.97912685615795736</c:v>
                </c:pt>
                <c:pt idx="1182">
                  <c:v>0.97916671734961169</c:v>
                </c:pt>
                <c:pt idx="1183">
                  <c:v>0.97920656710825538</c:v>
                </c:pt>
                <c:pt idx="1184">
                  <c:v>0.97924631641973392</c:v>
                </c:pt>
                <c:pt idx="1185">
                  <c:v>0.97928600121636666</c:v>
                </c:pt>
                <c:pt idx="1186">
                  <c:v>0.9793255757661109</c:v>
                </c:pt>
                <c:pt idx="1187">
                  <c:v>0.9793649437050197</c:v>
                </c:pt>
                <c:pt idx="1188">
                  <c:v>0.97940429449441258</c:v>
                </c:pt>
                <c:pt idx="1189">
                  <c:v>0.97944363793401279</c:v>
                </c:pt>
                <c:pt idx="1190">
                  <c:v>0.97948281722824582</c:v>
                </c:pt>
                <c:pt idx="1191">
                  <c:v>0.97952199243926075</c:v>
                </c:pt>
                <c:pt idx="1192">
                  <c:v>0.97956087365857303</c:v>
                </c:pt>
                <c:pt idx="1193">
                  <c:v>0.9795997483447364</c:v>
                </c:pt>
                <c:pt idx="1194">
                  <c:v>0.97963858301536244</c:v>
                </c:pt>
                <c:pt idx="1195">
                  <c:v>0.97967716615975409</c:v>
                </c:pt>
                <c:pt idx="1196">
                  <c:v>0.97971571990497541</c:v>
                </c:pt>
                <c:pt idx="1197">
                  <c:v>0.9797542540507499</c:v>
                </c:pt>
                <c:pt idx="1198">
                  <c:v>0.97979269183257744</c:v>
                </c:pt>
                <c:pt idx="1199">
                  <c:v>0.97983109694866022</c:v>
                </c:pt>
                <c:pt idx="1200">
                  <c:v>0.97986942121702481</c:v>
                </c:pt>
                <c:pt idx="1201">
                  <c:v>0.97990763768843181</c:v>
                </c:pt>
                <c:pt idx="1202">
                  <c:v>0.97994582721059942</c:v>
                </c:pt>
                <c:pt idx="1203">
                  <c:v>0.97998395711778286</c:v>
                </c:pt>
                <c:pt idx="1204">
                  <c:v>0.9800219873944449</c:v>
                </c:pt>
                <c:pt idx="1205">
                  <c:v>0.98006000868802712</c:v>
                </c:pt>
                <c:pt idx="1206">
                  <c:v>0.98009795485039641</c:v>
                </c:pt>
                <c:pt idx="1207">
                  <c:v>0.9801358177151166</c:v>
                </c:pt>
                <c:pt idx="1208">
                  <c:v>0.98017334493930974</c:v>
                </c:pt>
                <c:pt idx="1209">
                  <c:v>0.98021070475156113</c:v>
                </c:pt>
                <c:pt idx="1210">
                  <c:v>0.98024803271471139</c:v>
                </c:pt>
                <c:pt idx="1211">
                  <c:v>0.98028532801211687</c:v>
                </c:pt>
                <c:pt idx="1212">
                  <c:v>0.98032260697664997</c:v>
                </c:pt>
                <c:pt idx="1213">
                  <c:v>0.9803598720582416</c:v>
                </c:pt>
                <c:pt idx="1214">
                  <c:v>0.98039706690848205</c:v>
                </c:pt>
                <c:pt idx="1215">
                  <c:v>0.98043423480948311</c:v>
                </c:pt>
                <c:pt idx="1216">
                  <c:v>0.98047120834930301</c:v>
                </c:pt>
                <c:pt idx="1217">
                  <c:v>0.98050810349133555</c:v>
                </c:pt>
                <c:pt idx="1218">
                  <c:v>0.98054494391824565</c:v>
                </c:pt>
                <c:pt idx="1219">
                  <c:v>0.98058170676401202</c:v>
                </c:pt>
                <c:pt idx="1220">
                  <c:v>0.98061837242918781</c:v>
                </c:pt>
                <c:pt idx="1221">
                  <c:v>0.98065491804775173</c:v>
                </c:pt>
                <c:pt idx="1222">
                  <c:v>0.98072782472342168</c:v>
                </c:pt>
                <c:pt idx="1223">
                  <c:v>0.98076415148149587</c:v>
                </c:pt>
                <c:pt idx="1224">
                  <c:v>0.98080047497299561</c:v>
                </c:pt>
                <c:pt idx="1225">
                  <c:v>0.98083664248556424</c:v>
                </c:pt>
                <c:pt idx="1226">
                  <c:v>0.98087277651574445</c:v>
                </c:pt>
                <c:pt idx="1227">
                  <c:v>0.98090872680111052</c:v>
                </c:pt>
                <c:pt idx="1228">
                  <c:v>0.98094451865761467</c:v>
                </c:pt>
                <c:pt idx="1229">
                  <c:v>0.98098025579899639</c:v>
                </c:pt>
                <c:pt idx="1230">
                  <c:v>0.9810158867767077</c:v>
                </c:pt>
                <c:pt idx="1231">
                  <c:v>0.98105126214496652</c:v>
                </c:pt>
                <c:pt idx="1232">
                  <c:v>0.98108647581778885</c:v>
                </c:pt>
                <c:pt idx="1233">
                  <c:v>0.98112163150891429</c:v>
                </c:pt>
                <c:pt idx="1234">
                  <c:v>0.98115655527325218</c:v>
                </c:pt>
                <c:pt idx="1235">
                  <c:v>0.98119140962288254</c:v>
                </c:pt>
                <c:pt idx="1236">
                  <c:v>0.98122602959579441</c:v>
                </c:pt>
                <c:pt idx="1237">
                  <c:v>0.98126042662499846</c:v>
                </c:pt>
                <c:pt idx="1238">
                  <c:v>0.98129475097292052</c:v>
                </c:pt>
                <c:pt idx="1239">
                  <c:v>0.98132902223900731</c:v>
                </c:pt>
                <c:pt idx="1240">
                  <c:v>0.98136325267291324</c:v>
                </c:pt>
                <c:pt idx="1241">
                  <c:v>0.98139740634231898</c:v>
                </c:pt>
                <c:pt idx="1242">
                  <c:v>0.98143154776207053</c:v>
                </c:pt>
                <c:pt idx="1243">
                  <c:v>0.98146568264867307</c:v>
                </c:pt>
                <c:pt idx="1244">
                  <c:v>0.98149959214163696</c:v>
                </c:pt>
                <c:pt idx="1245">
                  <c:v>0.98153293896714788</c:v>
                </c:pt>
                <c:pt idx="1246">
                  <c:v>0.98156620494494051</c:v>
                </c:pt>
                <c:pt idx="1247">
                  <c:v>0.98159944152356293</c:v>
                </c:pt>
                <c:pt idx="1248">
                  <c:v>0.98163263073685547</c:v>
                </c:pt>
                <c:pt idx="1249">
                  <c:v>0.98166578075125432</c:v>
                </c:pt>
                <c:pt idx="1250">
                  <c:v>0.98169892913236589</c:v>
                </c:pt>
                <c:pt idx="1251">
                  <c:v>0.98173205709738709</c:v>
                </c:pt>
                <c:pt idx="1252">
                  <c:v>0.98176517444604117</c:v>
                </c:pt>
                <c:pt idx="1253">
                  <c:v>0.98179826566209949</c:v>
                </c:pt>
                <c:pt idx="1254">
                  <c:v>0.98183127684708327</c:v>
                </c:pt>
                <c:pt idx="1255">
                  <c:v>0.98186423740016271</c:v>
                </c:pt>
                <c:pt idx="1256">
                  <c:v>0.98189715793770482</c:v>
                </c:pt>
                <c:pt idx="1257">
                  <c:v>0.9819300735753852</c:v>
                </c:pt>
                <c:pt idx="1258">
                  <c:v>0.98196297288019319</c:v>
                </c:pt>
                <c:pt idx="1259">
                  <c:v>0.9819958517689108</c:v>
                </c:pt>
                <c:pt idx="1260">
                  <c:v>0.98202870207510173</c:v>
                </c:pt>
                <c:pt idx="1261">
                  <c:v>0.98206153686506392</c:v>
                </c:pt>
                <c:pt idx="1262">
                  <c:v>0.98209411032906824</c:v>
                </c:pt>
                <c:pt idx="1263">
                  <c:v>0.98212667562663636</c:v>
                </c:pt>
                <c:pt idx="1264">
                  <c:v>0.98215915762655537</c:v>
                </c:pt>
                <c:pt idx="1265">
                  <c:v>0.98219157756155939</c:v>
                </c:pt>
                <c:pt idx="1266">
                  <c:v>0.98222381946825466</c:v>
                </c:pt>
                <c:pt idx="1267">
                  <c:v>0.98225585966397622</c:v>
                </c:pt>
                <c:pt idx="1268">
                  <c:v>0.98228772428131983</c:v>
                </c:pt>
                <c:pt idx="1269">
                  <c:v>0.98231953990004639</c:v>
                </c:pt>
                <c:pt idx="1270">
                  <c:v>0.98235133428603882</c:v>
                </c:pt>
                <c:pt idx="1271">
                  <c:v>0.98238302332500449</c:v>
                </c:pt>
                <c:pt idx="1272">
                  <c:v>0.98241461436673594</c:v>
                </c:pt>
                <c:pt idx="1273">
                  <c:v>0.98244608454521187</c:v>
                </c:pt>
                <c:pt idx="1274">
                  <c:v>0.98247753594088461</c:v>
                </c:pt>
                <c:pt idx="1275">
                  <c:v>0.98250888198953057</c:v>
                </c:pt>
                <c:pt idx="1276">
                  <c:v>0.98254003367699538</c:v>
                </c:pt>
                <c:pt idx="1277">
                  <c:v>0.98257116903158781</c:v>
                </c:pt>
                <c:pt idx="1278">
                  <c:v>0.9826331661651605</c:v>
                </c:pt>
                <c:pt idx="1279">
                  <c:v>0.98266412675801862</c:v>
                </c:pt>
                <c:pt idx="1280">
                  <c:v>0.98269507918444055</c:v>
                </c:pt>
                <c:pt idx="1281">
                  <c:v>0.98272602752764437</c:v>
                </c:pt>
                <c:pt idx="1282">
                  <c:v>0.98275682152520438</c:v>
                </c:pt>
                <c:pt idx="1283">
                  <c:v>0.98278759837324836</c:v>
                </c:pt>
                <c:pt idx="1284">
                  <c:v>0.98281831478966464</c:v>
                </c:pt>
                <c:pt idx="1285">
                  <c:v>0.98284894872507544</c:v>
                </c:pt>
                <c:pt idx="1286">
                  <c:v>0.98287949119640095</c:v>
                </c:pt>
                <c:pt idx="1287">
                  <c:v>0.98290998711904021</c:v>
                </c:pt>
                <c:pt idx="1288">
                  <c:v>0.98294044955929116</c:v>
                </c:pt>
                <c:pt idx="1289">
                  <c:v>0.98297071192185559</c:v>
                </c:pt>
                <c:pt idx="1290">
                  <c:v>0.98300090323642519</c:v>
                </c:pt>
                <c:pt idx="1291">
                  <c:v>0.9830310757681916</c:v>
                </c:pt>
                <c:pt idx="1292">
                  <c:v>0.98306121400092605</c:v>
                </c:pt>
                <c:pt idx="1293">
                  <c:v>0.98309131956791573</c:v>
                </c:pt>
                <c:pt idx="1294">
                  <c:v>0.98312139900230966</c:v>
                </c:pt>
                <c:pt idx="1295">
                  <c:v>0.98315144985417691</c:v>
                </c:pt>
                <c:pt idx="1296">
                  <c:v>0.98318144925749629</c:v>
                </c:pt>
                <c:pt idx="1297">
                  <c:v>0.98321139312904959</c:v>
                </c:pt>
                <c:pt idx="1298">
                  <c:v>0.98324130678478905</c:v>
                </c:pt>
                <c:pt idx="1299">
                  <c:v>0.98327111101028364</c:v>
                </c:pt>
                <c:pt idx="1300">
                  <c:v>0.98330077313978859</c:v>
                </c:pt>
                <c:pt idx="1301">
                  <c:v>0.98333042383628289</c:v>
                </c:pt>
                <c:pt idx="1302">
                  <c:v>0.98336002390087285</c:v>
                </c:pt>
                <c:pt idx="1303">
                  <c:v>0.98338939367196243</c:v>
                </c:pt>
                <c:pt idx="1304">
                  <c:v>0.98341849476730159</c:v>
                </c:pt>
                <c:pt idx="1305">
                  <c:v>0.98344757544655026</c:v>
                </c:pt>
                <c:pt idx="1306">
                  <c:v>0.98347650749666049</c:v>
                </c:pt>
                <c:pt idx="1307">
                  <c:v>0.98350537421528117</c:v>
                </c:pt>
                <c:pt idx="1308">
                  <c:v>0.98353421153473164</c:v>
                </c:pt>
                <c:pt idx="1309">
                  <c:v>0.98356301700508098</c:v>
                </c:pt>
                <c:pt idx="1310">
                  <c:v>0.98359164281383427</c:v>
                </c:pt>
                <c:pt idx="1311">
                  <c:v>0.98362023677348642</c:v>
                </c:pt>
                <c:pt idx="1312">
                  <c:v>0.98364880215061201</c:v>
                </c:pt>
                <c:pt idx="1313">
                  <c:v>0.98367730709610979</c:v>
                </c:pt>
                <c:pt idx="1314">
                  <c:v>0.98370575569319796</c:v>
                </c:pt>
                <c:pt idx="1315">
                  <c:v>0.98373419939042439</c:v>
                </c:pt>
                <c:pt idx="1316">
                  <c:v>0.98376250507487928</c:v>
                </c:pt>
                <c:pt idx="1317">
                  <c:v>0.98379068499621702</c:v>
                </c:pt>
                <c:pt idx="1318">
                  <c:v>0.98381874895416088</c:v>
                </c:pt>
                <c:pt idx="1319">
                  <c:v>0.98384679086272708</c:v>
                </c:pt>
                <c:pt idx="1320">
                  <c:v>0.98387472742426652</c:v>
                </c:pt>
                <c:pt idx="1321">
                  <c:v>0.98390261172061433</c:v>
                </c:pt>
                <c:pt idx="1322">
                  <c:v>0.98393046008464302</c:v>
                </c:pt>
                <c:pt idx="1323">
                  <c:v>0.98395811653742138</c:v>
                </c:pt>
                <c:pt idx="1324">
                  <c:v>0.98398577135691245</c:v>
                </c:pt>
                <c:pt idx="1325">
                  <c:v>0.98401341637668016</c:v>
                </c:pt>
                <c:pt idx="1326">
                  <c:v>0.98404105731322977</c:v>
                </c:pt>
                <c:pt idx="1327">
                  <c:v>0.98406868436683792</c:v>
                </c:pt>
                <c:pt idx="1328">
                  <c:v>0.98409622158964805</c:v>
                </c:pt>
                <c:pt idx="1329">
                  <c:v>0.98412374002965486</c:v>
                </c:pt>
                <c:pt idx="1330">
                  <c:v>0.98415122743720418</c:v>
                </c:pt>
                <c:pt idx="1331">
                  <c:v>0.98423339730143689</c:v>
                </c:pt>
                <c:pt idx="1332">
                  <c:v>0.98426069851424125</c:v>
                </c:pt>
                <c:pt idx="1333">
                  <c:v>0.98428791234617852</c:v>
                </c:pt>
                <c:pt idx="1334">
                  <c:v>0.98431508207936036</c:v>
                </c:pt>
                <c:pt idx="1335">
                  <c:v>0.98434222649658998</c:v>
                </c:pt>
                <c:pt idx="1336">
                  <c:v>0.98436934886444194</c:v>
                </c:pt>
                <c:pt idx="1337">
                  <c:v>0.98439646061592689</c:v>
                </c:pt>
                <c:pt idx="1338">
                  <c:v>0.98442353725173626</c:v>
                </c:pt>
                <c:pt idx="1339">
                  <c:v>0.98445059755467323</c:v>
                </c:pt>
                <c:pt idx="1340">
                  <c:v>0.98447765704096657</c:v>
                </c:pt>
                <c:pt idx="1341">
                  <c:v>0.98450466262878111</c:v>
                </c:pt>
                <c:pt idx="1342">
                  <c:v>0.98453165433365419</c:v>
                </c:pt>
                <c:pt idx="1343">
                  <c:v>0.98455860765627712</c:v>
                </c:pt>
                <c:pt idx="1344">
                  <c:v>0.98458536090121362</c:v>
                </c:pt>
                <c:pt idx="1345">
                  <c:v>0.98461207658054362</c:v>
                </c:pt>
                <c:pt idx="1346">
                  <c:v>0.98463878899329915</c:v>
                </c:pt>
                <c:pt idx="1347">
                  <c:v>0.98466545567401209</c:v>
                </c:pt>
                <c:pt idx="1348">
                  <c:v>0.98469204804015575</c:v>
                </c:pt>
                <c:pt idx="1349">
                  <c:v>0.98471854077577803</c:v>
                </c:pt>
                <c:pt idx="1350">
                  <c:v>0.98474498859600124</c:v>
                </c:pt>
                <c:pt idx="1351">
                  <c:v>0.98477142498321379</c:v>
                </c:pt>
                <c:pt idx="1352">
                  <c:v>0.98479784013769234</c:v>
                </c:pt>
                <c:pt idx="1353">
                  <c:v>0.9848242307928623</c:v>
                </c:pt>
                <c:pt idx="1354">
                  <c:v>0.98485057653263319</c:v>
                </c:pt>
                <c:pt idx="1355">
                  <c:v>0.98487689695645197</c:v>
                </c:pt>
                <c:pt idx="1356">
                  <c:v>0.98490320921383456</c:v>
                </c:pt>
                <c:pt idx="1357">
                  <c:v>0.98492948063903618</c:v>
                </c:pt>
                <c:pt idx="1358">
                  <c:v>0.98495571123205694</c:v>
                </c:pt>
                <c:pt idx="1359">
                  <c:v>0.98498189854296592</c:v>
                </c:pt>
                <c:pt idx="1360">
                  <c:v>0.98500804420505039</c:v>
                </c:pt>
                <c:pt idx="1361">
                  <c:v>0.98503413923523053</c:v>
                </c:pt>
                <c:pt idx="1362">
                  <c:v>0.98506015015111792</c:v>
                </c:pt>
                <c:pt idx="1363">
                  <c:v>0.98508614555077656</c:v>
                </c:pt>
                <c:pt idx="1364">
                  <c:v>0.98511209113517451</c:v>
                </c:pt>
                <c:pt idx="1365">
                  <c:v>0.98513798608766812</c:v>
                </c:pt>
                <c:pt idx="1366">
                  <c:v>0.98516382959161375</c:v>
                </c:pt>
                <c:pt idx="1367">
                  <c:v>0.98518965594604346</c:v>
                </c:pt>
                <c:pt idx="1368">
                  <c:v>0.98521547413403698</c:v>
                </c:pt>
                <c:pt idx="1369">
                  <c:v>0.98524128007237621</c:v>
                </c:pt>
                <c:pt idx="1370">
                  <c:v>0.98526706886119941</c:v>
                </c:pt>
                <c:pt idx="1371">
                  <c:v>0.98529282906749605</c:v>
                </c:pt>
                <c:pt idx="1372">
                  <c:v>0.98531852230901595</c:v>
                </c:pt>
                <c:pt idx="1373">
                  <c:v>0.98534409550392399</c:v>
                </c:pt>
                <c:pt idx="1374">
                  <c:v>0.98536955926858716</c:v>
                </c:pt>
                <c:pt idx="1375">
                  <c:v>0.98539502139996304</c:v>
                </c:pt>
                <c:pt idx="1376">
                  <c:v>0.98542036920123233</c:v>
                </c:pt>
                <c:pt idx="1377">
                  <c:v>0.98544565330429945</c:v>
                </c:pt>
                <c:pt idx="1378">
                  <c:v>0.98547091127477082</c:v>
                </c:pt>
                <c:pt idx="1379">
                  <c:v>0.98549610881361438</c:v>
                </c:pt>
                <c:pt idx="1380">
                  <c:v>0.98552130226923984</c:v>
                </c:pt>
                <c:pt idx="1381">
                  <c:v>0.98554642549351412</c:v>
                </c:pt>
                <c:pt idx="1382">
                  <c:v>0.98557142213802762</c:v>
                </c:pt>
                <c:pt idx="1383">
                  <c:v>0.98559641061610492</c:v>
                </c:pt>
                <c:pt idx="1384">
                  <c:v>0.98562134519570344</c:v>
                </c:pt>
                <c:pt idx="1385">
                  <c:v>0.98564626670900402</c:v>
                </c:pt>
                <c:pt idx="1386">
                  <c:v>0.98567117842258112</c:v>
                </c:pt>
                <c:pt idx="1387">
                  <c:v>0.98572074869021364</c:v>
                </c:pt>
                <c:pt idx="1388">
                  <c:v>0.9857454390933702</c:v>
                </c:pt>
                <c:pt idx="1389">
                  <c:v>0.98577011398029801</c:v>
                </c:pt>
                <c:pt idx="1390">
                  <c:v>0.98579478315072055</c:v>
                </c:pt>
                <c:pt idx="1391">
                  <c:v>0.98581945150449946</c:v>
                </c:pt>
                <c:pt idx="1392">
                  <c:v>0.98584411005855488</c:v>
                </c:pt>
                <c:pt idx="1393">
                  <c:v>0.98586874492994536</c:v>
                </c:pt>
                <c:pt idx="1394">
                  <c:v>0.98589329895361766</c:v>
                </c:pt>
                <c:pt idx="1395">
                  <c:v>0.98591783582777404</c:v>
                </c:pt>
                <c:pt idx="1396">
                  <c:v>0.98594236616878139</c:v>
                </c:pt>
                <c:pt idx="1397">
                  <c:v>0.98596687854362919</c:v>
                </c:pt>
                <c:pt idx="1398">
                  <c:v>0.98599133048684917</c:v>
                </c:pt>
                <c:pt idx="1399">
                  <c:v>0.98601578161342562</c:v>
                </c:pt>
                <c:pt idx="1400">
                  <c:v>0.98604022375692224</c:v>
                </c:pt>
                <c:pt idx="1401">
                  <c:v>0.98606464711761566</c:v>
                </c:pt>
                <c:pt idx="1402">
                  <c:v>0.98608904107913875</c:v>
                </c:pt>
                <c:pt idx="1403">
                  <c:v>0.9861133697091724</c:v>
                </c:pt>
                <c:pt idx="1404">
                  <c:v>0.98613765505709428</c:v>
                </c:pt>
                <c:pt idx="1405">
                  <c:v>0.98616191427242039</c:v>
                </c:pt>
                <c:pt idx="1406">
                  <c:v>0.98618616613795396</c:v>
                </c:pt>
                <c:pt idx="1407">
                  <c:v>0.98621036900487036</c:v>
                </c:pt>
                <c:pt idx="1408">
                  <c:v>0.986234545739191</c:v>
                </c:pt>
                <c:pt idx="1409">
                  <c:v>0.9862586775581127</c:v>
                </c:pt>
                <c:pt idx="1410">
                  <c:v>0.98628278324443852</c:v>
                </c:pt>
                <c:pt idx="1411">
                  <c:v>0.98630686116488131</c:v>
                </c:pt>
                <c:pt idx="1412">
                  <c:v>0.98633090070307405</c:v>
                </c:pt>
                <c:pt idx="1413">
                  <c:v>0.98635490349230404</c:v>
                </c:pt>
                <c:pt idx="1414">
                  <c:v>0.98637864740550696</c:v>
                </c:pt>
                <c:pt idx="1415">
                  <c:v>0.98640234232009283</c:v>
                </c:pt>
                <c:pt idx="1416">
                  <c:v>0.98642593270429557</c:v>
                </c:pt>
                <c:pt idx="1417">
                  <c:v>0.9864495124721312</c:v>
                </c:pt>
                <c:pt idx="1418">
                  <c:v>0.98647301465882309</c:v>
                </c:pt>
                <c:pt idx="1419">
                  <c:v>0.98649647927990858</c:v>
                </c:pt>
                <c:pt idx="1420">
                  <c:v>0.98651987121971196</c:v>
                </c:pt>
                <c:pt idx="1421">
                  <c:v>0.98654326070958454</c:v>
                </c:pt>
                <c:pt idx="1422">
                  <c:v>0.98656659548433467</c:v>
                </c:pt>
                <c:pt idx="1423">
                  <c:v>0.98658985022801027</c:v>
                </c:pt>
                <c:pt idx="1424">
                  <c:v>0.98663617107068557</c:v>
                </c:pt>
                <c:pt idx="1425">
                  <c:v>0.98665927391864816</c:v>
                </c:pt>
                <c:pt idx="1426">
                  <c:v>0.98668236370031281</c:v>
                </c:pt>
                <c:pt idx="1427">
                  <c:v>0.98670543061595617</c:v>
                </c:pt>
                <c:pt idx="1428">
                  <c:v>0.98672845424948774</c:v>
                </c:pt>
                <c:pt idx="1429">
                  <c:v>0.98675144603391818</c:v>
                </c:pt>
                <c:pt idx="1430">
                  <c:v>0.9867743169550931</c:v>
                </c:pt>
                <c:pt idx="1431">
                  <c:v>0.98679716419360308</c:v>
                </c:pt>
                <c:pt idx="1432">
                  <c:v>0.98681984402017131</c:v>
                </c:pt>
                <c:pt idx="1433">
                  <c:v>0.98684244463230864</c:v>
                </c:pt>
                <c:pt idx="1434">
                  <c:v>0.98686504442780232</c:v>
                </c:pt>
                <c:pt idx="1435">
                  <c:v>0.98688763442357252</c:v>
                </c:pt>
                <c:pt idx="1436">
                  <c:v>0.98691021298633208</c:v>
                </c:pt>
                <c:pt idx="1437">
                  <c:v>0.98693272540095855</c:v>
                </c:pt>
                <c:pt idx="1438">
                  <c:v>0.98695522638257438</c:v>
                </c:pt>
                <c:pt idx="1439">
                  <c:v>0.98697772409761575</c:v>
                </c:pt>
                <c:pt idx="1440">
                  <c:v>0.98700008543317286</c:v>
                </c:pt>
                <c:pt idx="1441">
                  <c:v>0.98702230875595842</c:v>
                </c:pt>
                <c:pt idx="1442">
                  <c:v>0.98704448797998867</c:v>
                </c:pt>
                <c:pt idx="1443">
                  <c:v>0.987066664754088</c:v>
                </c:pt>
                <c:pt idx="1444">
                  <c:v>0.98708870351541589</c:v>
                </c:pt>
                <c:pt idx="1445">
                  <c:v>0.98711066551224358</c:v>
                </c:pt>
                <c:pt idx="1446">
                  <c:v>0.98713262342585317</c:v>
                </c:pt>
                <c:pt idx="1447">
                  <c:v>0.98715456500659049</c:v>
                </c:pt>
                <c:pt idx="1448">
                  <c:v>0.9871764339060457</c:v>
                </c:pt>
                <c:pt idx="1449">
                  <c:v>0.98719829953892646</c:v>
                </c:pt>
                <c:pt idx="1450">
                  <c:v>0.98722015782201467</c:v>
                </c:pt>
                <c:pt idx="1451">
                  <c:v>0.98724201528845923</c:v>
                </c:pt>
                <c:pt idx="1452">
                  <c:v>0.98726372167583443</c:v>
                </c:pt>
                <c:pt idx="1453">
                  <c:v>0.98728541173033724</c:v>
                </c:pt>
                <c:pt idx="1454">
                  <c:v>0.98730709525169114</c:v>
                </c:pt>
                <c:pt idx="1455">
                  <c:v>0.98732872895778434</c:v>
                </c:pt>
                <c:pt idx="1456">
                  <c:v>0.98735034143114342</c:v>
                </c:pt>
                <c:pt idx="1457">
                  <c:v>0.98737192858855038</c:v>
                </c:pt>
                <c:pt idx="1458">
                  <c:v>0.98739351247938278</c:v>
                </c:pt>
                <c:pt idx="1459">
                  <c:v>0.987415084120561</c:v>
                </c:pt>
                <c:pt idx="1460">
                  <c:v>0.98743664351208493</c:v>
                </c:pt>
                <c:pt idx="1461">
                  <c:v>0.98745818493744919</c:v>
                </c:pt>
                <c:pt idx="1462">
                  <c:v>0.98747971737973372</c:v>
                </c:pt>
                <c:pt idx="1463">
                  <c:v>0.98750122532270967</c:v>
                </c:pt>
                <c:pt idx="1464">
                  <c:v>0.98752263200187695</c:v>
                </c:pt>
                <c:pt idx="1465">
                  <c:v>0.98754399866550691</c:v>
                </c:pt>
                <c:pt idx="1466">
                  <c:v>0.98756535144619539</c:v>
                </c:pt>
                <c:pt idx="1467">
                  <c:v>0.98758659969650076</c:v>
                </c:pt>
                <c:pt idx="1468">
                  <c:v>0.98760781609770498</c:v>
                </c:pt>
                <c:pt idx="1469">
                  <c:v>0.98762902678240383</c:v>
                </c:pt>
                <c:pt idx="1470">
                  <c:v>0.98765016641910797</c:v>
                </c:pt>
                <c:pt idx="1471">
                  <c:v>0.98767124970740239</c:v>
                </c:pt>
                <c:pt idx="1472">
                  <c:v>0.9876923182961117</c:v>
                </c:pt>
                <c:pt idx="1473">
                  <c:v>0.9877133844348901</c:v>
                </c:pt>
                <c:pt idx="1474">
                  <c:v>0.98773443914065784</c:v>
                </c:pt>
                <c:pt idx="1475">
                  <c:v>0.98775547261369157</c:v>
                </c:pt>
                <c:pt idx="1476">
                  <c:v>0.98777643912194857</c:v>
                </c:pt>
                <c:pt idx="1477">
                  <c:v>0.98779737704767889</c:v>
                </c:pt>
                <c:pt idx="1478">
                  <c:v>0.98783923738291091</c:v>
                </c:pt>
                <c:pt idx="1479">
                  <c:v>0.98786001606313567</c:v>
                </c:pt>
                <c:pt idx="1480">
                  <c:v>0.98788068939633367</c:v>
                </c:pt>
                <c:pt idx="1481">
                  <c:v>0.98790133823022308</c:v>
                </c:pt>
                <c:pt idx="1482">
                  <c:v>0.98794248645221983</c:v>
                </c:pt>
                <c:pt idx="1483">
                  <c:v>0.9879630095229921</c:v>
                </c:pt>
                <c:pt idx="1484">
                  <c:v>0.98798346154576955</c:v>
                </c:pt>
                <c:pt idx="1485">
                  <c:v>0.98800389723567461</c:v>
                </c:pt>
                <c:pt idx="1486">
                  <c:v>0.98802431577606376</c:v>
                </c:pt>
                <c:pt idx="1487">
                  <c:v>0.98804470410063894</c:v>
                </c:pt>
                <c:pt idx="1488">
                  <c:v>0.98808538928570411</c:v>
                </c:pt>
                <c:pt idx="1489">
                  <c:v>0.98810565348044932</c:v>
                </c:pt>
                <c:pt idx="1490">
                  <c:v>0.98812590297560943</c:v>
                </c:pt>
                <c:pt idx="1491">
                  <c:v>0.98816615043969525</c:v>
                </c:pt>
                <c:pt idx="1492">
                  <c:v>0.9881862553889349</c:v>
                </c:pt>
                <c:pt idx="1493">
                  <c:v>0.98820635870488727</c:v>
                </c:pt>
                <c:pt idx="1494">
                  <c:v>0.98824645917312171</c:v>
                </c:pt>
                <c:pt idx="1495">
                  <c:v>0.98826643019280791</c:v>
                </c:pt>
                <c:pt idx="1496">
                  <c:v>0.98828623543383964</c:v>
                </c:pt>
                <c:pt idx="1497">
                  <c:v>0.98830602107542453</c:v>
                </c:pt>
                <c:pt idx="1498">
                  <c:v>0.98832579936721687</c:v>
                </c:pt>
                <c:pt idx="1499">
                  <c:v>0.98836530776882803</c:v>
                </c:pt>
                <c:pt idx="1500">
                  <c:v>0.98838496928058295</c:v>
                </c:pt>
                <c:pt idx="1501">
                  <c:v>0.98840462589247613</c:v>
                </c:pt>
                <c:pt idx="1502">
                  <c:v>0.98842428087108214</c:v>
                </c:pt>
                <c:pt idx="1503">
                  <c:v>0.98844390808380511</c:v>
                </c:pt>
                <c:pt idx="1504">
                  <c:v>0.98846352794673553</c:v>
                </c:pt>
                <c:pt idx="1505">
                  <c:v>0.98848312657693183</c:v>
                </c:pt>
                <c:pt idx="1506">
                  <c:v>0.98850265252584613</c:v>
                </c:pt>
                <c:pt idx="1507">
                  <c:v>0.98852217112496787</c:v>
                </c:pt>
                <c:pt idx="1508">
                  <c:v>0.98854166604142468</c:v>
                </c:pt>
                <c:pt idx="1509">
                  <c:v>0.98856110134289732</c:v>
                </c:pt>
                <c:pt idx="1510">
                  <c:v>0.98858052276142838</c:v>
                </c:pt>
                <c:pt idx="1511">
                  <c:v>0.98859992213058179</c:v>
                </c:pt>
                <c:pt idx="1512">
                  <c:v>0.98861930271693199</c:v>
                </c:pt>
                <c:pt idx="1513">
                  <c:v>0.98863866207054807</c:v>
                </c:pt>
                <c:pt idx="1514">
                  <c:v>0.98865798385855774</c:v>
                </c:pt>
                <c:pt idx="1515">
                  <c:v>0.98867721418248222</c:v>
                </c:pt>
                <c:pt idx="1516">
                  <c:v>0.98869643062346513</c:v>
                </c:pt>
                <c:pt idx="1517">
                  <c:v>0.9887156380813682</c:v>
                </c:pt>
                <c:pt idx="1518">
                  <c:v>0.98873483818947872</c:v>
                </c:pt>
                <c:pt idx="1519">
                  <c:v>0.98875395010007849</c:v>
                </c:pt>
                <c:pt idx="1520">
                  <c:v>0.98877301954521013</c:v>
                </c:pt>
                <c:pt idx="1521">
                  <c:v>0.98879206612432047</c:v>
                </c:pt>
                <c:pt idx="1522">
                  <c:v>0.98881110862021271</c:v>
                </c:pt>
                <c:pt idx="1523">
                  <c:v>0.98883015029946131</c:v>
                </c:pt>
                <c:pt idx="1524">
                  <c:v>0.98884913563030019</c:v>
                </c:pt>
                <c:pt idx="1525">
                  <c:v>0.98886809564518696</c:v>
                </c:pt>
                <c:pt idx="1526">
                  <c:v>0.98888702626090341</c:v>
                </c:pt>
                <c:pt idx="1527">
                  <c:v>0.98890593972710394</c:v>
                </c:pt>
                <c:pt idx="1528">
                  <c:v>0.98892479031174585</c:v>
                </c:pt>
                <c:pt idx="1529">
                  <c:v>0.98894362374687173</c:v>
                </c:pt>
                <c:pt idx="1530">
                  <c:v>0.98896244493234342</c:v>
                </c:pt>
                <c:pt idx="1531">
                  <c:v>0.98898124080186289</c:v>
                </c:pt>
                <c:pt idx="1532">
                  <c:v>0.98900000563892487</c:v>
                </c:pt>
                <c:pt idx="1533">
                  <c:v>0.98901874679332191</c:v>
                </c:pt>
                <c:pt idx="1534">
                  <c:v>0.98903747733135194</c:v>
                </c:pt>
                <c:pt idx="1535">
                  <c:v>0.98905620541945105</c:v>
                </c:pt>
                <c:pt idx="1536">
                  <c:v>0.98907488205900229</c:v>
                </c:pt>
                <c:pt idx="1537">
                  <c:v>0.98909352521616511</c:v>
                </c:pt>
                <c:pt idx="1538">
                  <c:v>0.9891121675566843</c:v>
                </c:pt>
                <c:pt idx="1539">
                  <c:v>0.98913077804810245</c:v>
                </c:pt>
                <c:pt idx="1540">
                  <c:v>0.98914936404021203</c:v>
                </c:pt>
                <c:pt idx="1541">
                  <c:v>0.98916794594910351</c:v>
                </c:pt>
                <c:pt idx="1542">
                  <c:v>0.98918652132484608</c:v>
                </c:pt>
                <c:pt idx="1543">
                  <c:v>0.98920508281764707</c:v>
                </c:pt>
                <c:pt idx="1544">
                  <c:v>0.98922362961086296</c:v>
                </c:pt>
                <c:pt idx="1545">
                  <c:v>0.98924213720518517</c:v>
                </c:pt>
                <c:pt idx="1546">
                  <c:v>0.98927912054472844</c:v>
                </c:pt>
                <c:pt idx="1547">
                  <c:v>0.98929758649022614</c:v>
                </c:pt>
                <c:pt idx="1548">
                  <c:v>0.98931598465430348</c:v>
                </c:pt>
                <c:pt idx="1549">
                  <c:v>0.98933437710187555</c:v>
                </c:pt>
                <c:pt idx="1550">
                  <c:v>0.989352717284256</c:v>
                </c:pt>
                <c:pt idx="1551">
                  <c:v>0.98937104930020026</c:v>
                </c:pt>
                <c:pt idx="1552">
                  <c:v>0.98938937804957006</c:v>
                </c:pt>
                <c:pt idx="1553">
                  <c:v>0.98940768801613665</c:v>
                </c:pt>
                <c:pt idx="1554">
                  <c:v>0.98942598491640532</c:v>
                </c:pt>
                <c:pt idx="1555">
                  <c:v>0.98944427691681225</c:v>
                </c:pt>
                <c:pt idx="1556">
                  <c:v>0.98946253298490006</c:v>
                </c:pt>
                <c:pt idx="1557">
                  <c:v>0.98948071392177495</c:v>
                </c:pt>
                <c:pt idx="1558">
                  <c:v>0.98949887689249016</c:v>
                </c:pt>
                <c:pt idx="1559">
                  <c:v>0.98951699494780643</c:v>
                </c:pt>
                <c:pt idx="1560">
                  <c:v>0.98953506400450564</c:v>
                </c:pt>
                <c:pt idx="1561">
                  <c:v>0.98955309957881643</c:v>
                </c:pt>
                <c:pt idx="1562">
                  <c:v>0.98957108207129207</c:v>
                </c:pt>
                <c:pt idx="1563">
                  <c:v>0.9895890269981612</c:v>
                </c:pt>
                <c:pt idx="1564">
                  <c:v>0.9896068567782802</c:v>
                </c:pt>
                <c:pt idx="1565">
                  <c:v>0.98962461959362247</c:v>
                </c:pt>
                <c:pt idx="1566">
                  <c:v>0.98964235137650725</c:v>
                </c:pt>
                <c:pt idx="1567">
                  <c:v>0.98966003334413133</c:v>
                </c:pt>
                <c:pt idx="1568">
                  <c:v>0.98967755769953702</c:v>
                </c:pt>
                <c:pt idx="1569">
                  <c:v>0.9896950649054268</c:v>
                </c:pt>
                <c:pt idx="1570">
                  <c:v>0.98971254107885909</c:v>
                </c:pt>
                <c:pt idx="1571">
                  <c:v>0.9897299200717008</c:v>
                </c:pt>
                <c:pt idx="1572">
                  <c:v>0.98974728599824457</c:v>
                </c:pt>
                <c:pt idx="1573">
                  <c:v>0.98978194190347568</c:v>
                </c:pt>
                <c:pt idx="1574">
                  <c:v>0.98979924903167893</c:v>
                </c:pt>
                <c:pt idx="1575">
                  <c:v>0.98981653411050452</c:v>
                </c:pt>
                <c:pt idx="1576">
                  <c:v>0.98983378979015979</c:v>
                </c:pt>
                <c:pt idx="1577">
                  <c:v>0.98985103567009169</c:v>
                </c:pt>
                <c:pt idx="1578">
                  <c:v>0.98986826358386393</c:v>
                </c:pt>
                <c:pt idx="1579">
                  <c:v>0.9898854735314766</c:v>
                </c:pt>
                <c:pt idx="1580">
                  <c:v>0.98990268347908927</c:v>
                </c:pt>
                <c:pt idx="1581">
                  <c:v>0.98991985422780826</c:v>
                </c:pt>
                <c:pt idx="1582">
                  <c:v>0.98993700211050595</c:v>
                </c:pt>
                <c:pt idx="1583">
                  <c:v>0.98995409364479392</c:v>
                </c:pt>
                <c:pt idx="1584">
                  <c:v>0.98997117292942771</c:v>
                </c:pt>
                <c:pt idx="1585">
                  <c:v>0.98998815013360919</c:v>
                </c:pt>
                <c:pt idx="1586">
                  <c:v>0.99000512162128529</c:v>
                </c:pt>
                <c:pt idx="1587">
                  <c:v>0.99002208820909976</c:v>
                </c:pt>
                <c:pt idx="1588">
                  <c:v>0.99003905316362695</c:v>
                </c:pt>
                <c:pt idx="1589">
                  <c:v>0.99005601566822332</c:v>
                </c:pt>
                <c:pt idx="1590">
                  <c:v>0.99007297572288877</c:v>
                </c:pt>
                <c:pt idx="1591">
                  <c:v>0.99008992352789993</c:v>
                </c:pt>
                <c:pt idx="1592">
                  <c:v>0.99010686561640582</c:v>
                </c:pt>
                <c:pt idx="1593">
                  <c:v>0.99012373094041162</c:v>
                </c:pt>
                <c:pt idx="1594">
                  <c:v>0.99014059463113013</c:v>
                </c:pt>
                <c:pt idx="1595">
                  <c:v>0.99015745178869974</c:v>
                </c:pt>
                <c:pt idx="1596">
                  <c:v>0.99017425178121599</c:v>
                </c:pt>
                <c:pt idx="1597">
                  <c:v>0.99019104605722696</c:v>
                </c:pt>
                <c:pt idx="1598">
                  <c:v>0.99020781991714746</c:v>
                </c:pt>
                <c:pt idx="1599">
                  <c:v>0.9902245864272754</c:v>
                </c:pt>
                <c:pt idx="1600">
                  <c:v>0.99024132108830221</c:v>
                </c:pt>
                <c:pt idx="1601">
                  <c:v>0.99025798306804702</c:v>
                </c:pt>
                <c:pt idx="1602">
                  <c:v>0.99027463443142472</c:v>
                </c:pt>
                <c:pt idx="1603">
                  <c:v>0.99029127109521731</c:v>
                </c:pt>
                <c:pt idx="1604">
                  <c:v>0.99030785549381839</c:v>
                </c:pt>
                <c:pt idx="1605">
                  <c:v>0.99032441130989279</c:v>
                </c:pt>
                <c:pt idx="1606">
                  <c:v>0.99034085769572233</c:v>
                </c:pt>
                <c:pt idx="1607">
                  <c:v>0.99035729101525394</c:v>
                </c:pt>
                <c:pt idx="1608">
                  <c:v>0.99037366471980148</c:v>
                </c:pt>
                <c:pt idx="1609">
                  <c:v>0.99039002780798191</c:v>
                </c:pt>
                <c:pt idx="1610">
                  <c:v>0.99040636803014104</c:v>
                </c:pt>
                <c:pt idx="1611">
                  <c:v>0.99042266987005012</c:v>
                </c:pt>
                <c:pt idx="1612">
                  <c:v>0.99043896517681029</c:v>
                </c:pt>
                <c:pt idx="1613">
                  <c:v>0.99045524496734172</c:v>
                </c:pt>
                <c:pt idx="1614">
                  <c:v>0.99047148719226663</c:v>
                </c:pt>
                <c:pt idx="1615">
                  <c:v>0.99048762488680842</c:v>
                </c:pt>
                <c:pt idx="1616">
                  <c:v>0.99050375441491401</c:v>
                </c:pt>
                <c:pt idx="1617">
                  <c:v>0.99051987251000895</c:v>
                </c:pt>
                <c:pt idx="1618">
                  <c:v>0.99053598897181672</c:v>
                </c:pt>
                <c:pt idx="1619">
                  <c:v>0.99055208828410846</c:v>
                </c:pt>
                <c:pt idx="1620">
                  <c:v>0.99056813533120869</c:v>
                </c:pt>
                <c:pt idx="1621">
                  <c:v>0.99058417911173435</c:v>
                </c:pt>
                <c:pt idx="1622">
                  <c:v>0.99060016817713759</c:v>
                </c:pt>
                <c:pt idx="1623">
                  <c:v>0.99061613192658871</c:v>
                </c:pt>
                <c:pt idx="1624">
                  <c:v>0.99063200012873642</c:v>
                </c:pt>
                <c:pt idx="1625">
                  <c:v>0.99064782259884154</c:v>
                </c:pt>
                <c:pt idx="1626">
                  <c:v>0.99066363445257966</c:v>
                </c:pt>
                <c:pt idx="1627">
                  <c:v>0.99067940629078044</c:v>
                </c:pt>
                <c:pt idx="1628">
                  <c:v>0.99069515689624721</c:v>
                </c:pt>
                <c:pt idx="1629">
                  <c:v>0.99071087565261284</c:v>
                </c:pt>
                <c:pt idx="1630">
                  <c:v>0.99072658379261136</c:v>
                </c:pt>
                <c:pt idx="1631">
                  <c:v>0.99074227069987586</c:v>
                </c:pt>
                <c:pt idx="1632">
                  <c:v>0.99075794127426797</c:v>
                </c:pt>
                <c:pt idx="1633">
                  <c:v>0.99077358571606433</c:v>
                </c:pt>
                <c:pt idx="1634">
                  <c:v>0.990789190958967</c:v>
                </c:pt>
                <c:pt idx="1635">
                  <c:v>0.99082038592854349</c:v>
                </c:pt>
                <c:pt idx="1636">
                  <c:v>0.99083596013898867</c:v>
                </c:pt>
                <c:pt idx="1637">
                  <c:v>0.99085152454971037</c:v>
                </c:pt>
                <c:pt idx="1638">
                  <c:v>0.99086708651050126</c:v>
                </c:pt>
                <c:pt idx="1639">
                  <c:v>0.99089813611751376</c:v>
                </c:pt>
                <c:pt idx="1640">
                  <c:v>0.99091365071297477</c:v>
                </c:pt>
                <c:pt idx="1641">
                  <c:v>0.99092913917584002</c:v>
                </c:pt>
                <c:pt idx="1642">
                  <c:v>0.99094459007309887</c:v>
                </c:pt>
                <c:pt idx="1643">
                  <c:v>0.99095983844274027</c:v>
                </c:pt>
                <c:pt idx="1644">
                  <c:v>0.99097505251334972</c:v>
                </c:pt>
                <c:pt idx="1645">
                  <c:v>0.9909902527010177</c:v>
                </c:pt>
                <c:pt idx="1646">
                  <c:v>0.99102043421586383</c:v>
                </c:pt>
                <c:pt idx="1647">
                  <c:v>0.9910505185501195</c:v>
                </c:pt>
                <c:pt idx="1648">
                  <c:v>0.9910655300931116</c:v>
                </c:pt>
                <c:pt idx="1649">
                  <c:v>0.99108050570378459</c:v>
                </c:pt>
                <c:pt idx="1650">
                  <c:v>0.99109543803234579</c:v>
                </c:pt>
                <c:pt idx="1651">
                  <c:v>0.99111030666270472</c:v>
                </c:pt>
                <c:pt idx="1652">
                  <c:v>0.99112514099403171</c:v>
                </c:pt>
                <c:pt idx="1653">
                  <c:v>0.99115450913183412</c:v>
                </c:pt>
                <c:pt idx="1654">
                  <c:v>0.99116913930225647</c:v>
                </c:pt>
                <c:pt idx="1655">
                  <c:v>0.99118376702274802</c:v>
                </c:pt>
                <c:pt idx="1656">
                  <c:v>0.99119835554434588</c:v>
                </c:pt>
                <c:pt idx="1657">
                  <c:v>0.99121293834943835</c:v>
                </c:pt>
                <c:pt idx="1658">
                  <c:v>0.99122751870460002</c:v>
                </c:pt>
                <c:pt idx="1659">
                  <c:v>0.99124208109360212</c:v>
                </c:pt>
                <c:pt idx="1660">
                  <c:v>0.99125663531616803</c:v>
                </c:pt>
                <c:pt idx="1661">
                  <c:v>0.9912711846388722</c:v>
                </c:pt>
                <c:pt idx="1662">
                  <c:v>0.99128571681206035</c:v>
                </c:pt>
                <c:pt idx="1663">
                  <c:v>0.99130009545624831</c:v>
                </c:pt>
                <c:pt idx="1664">
                  <c:v>0.99131445695092024</c:v>
                </c:pt>
                <c:pt idx="1665">
                  <c:v>0.99132880782922517</c:v>
                </c:pt>
                <c:pt idx="1666">
                  <c:v>0.99134315299102471</c:v>
                </c:pt>
                <c:pt idx="1667">
                  <c:v>0.99137165875316613</c:v>
                </c:pt>
                <c:pt idx="1668">
                  <c:v>0.99138580465392279</c:v>
                </c:pt>
                <c:pt idx="1669">
                  <c:v>0.99139993258851988</c:v>
                </c:pt>
                <c:pt idx="1670">
                  <c:v>0.99141404582353188</c:v>
                </c:pt>
                <c:pt idx="1671">
                  <c:v>0.99142815415868213</c:v>
                </c:pt>
                <c:pt idx="1672">
                  <c:v>0.99144223309466217</c:v>
                </c:pt>
                <c:pt idx="1673">
                  <c:v>0.99145630468084966</c:v>
                </c:pt>
                <c:pt idx="1674">
                  <c:v>0.99147036156745194</c:v>
                </c:pt>
                <c:pt idx="1675">
                  <c:v>0.99148441028761802</c:v>
                </c:pt>
                <c:pt idx="1676">
                  <c:v>0.9914984402249809</c:v>
                </c:pt>
                <c:pt idx="1677">
                  <c:v>0.99151244811296613</c:v>
                </c:pt>
                <c:pt idx="1678">
                  <c:v>0.9915264527343769</c:v>
                </c:pt>
                <c:pt idx="1679">
                  <c:v>0.99154044755606419</c:v>
                </c:pt>
                <c:pt idx="1680">
                  <c:v>0.99156840943355584</c:v>
                </c:pt>
                <c:pt idx="1681">
                  <c:v>0.99158234300697179</c:v>
                </c:pt>
                <c:pt idx="1682">
                  <c:v>0.9915962528977228</c:v>
                </c:pt>
                <c:pt idx="1683">
                  <c:v>0.99161014563895777</c:v>
                </c:pt>
                <c:pt idx="1684">
                  <c:v>0.99162393384980962</c:v>
                </c:pt>
                <c:pt idx="1685">
                  <c:v>0.99163764121294329</c:v>
                </c:pt>
                <c:pt idx="1686">
                  <c:v>0.99165132162683756</c:v>
                </c:pt>
                <c:pt idx="1687">
                  <c:v>0.99166497019163069</c:v>
                </c:pt>
                <c:pt idx="1688">
                  <c:v>0.99167857220773759</c:v>
                </c:pt>
                <c:pt idx="1689">
                  <c:v>0.99169216605740829</c:v>
                </c:pt>
                <c:pt idx="1690">
                  <c:v>0.99170575174064279</c:v>
                </c:pt>
                <c:pt idx="1691">
                  <c:v>0.9917193333406592</c:v>
                </c:pt>
                <c:pt idx="1692">
                  <c:v>0.9917328937079416</c:v>
                </c:pt>
                <c:pt idx="1693">
                  <c:v>0.99174638629380363</c:v>
                </c:pt>
                <c:pt idx="1694">
                  <c:v>0.9917598339642667</c:v>
                </c:pt>
                <c:pt idx="1695">
                  <c:v>0.99177322691960734</c:v>
                </c:pt>
                <c:pt idx="1696">
                  <c:v>0.99178661905830434</c:v>
                </c:pt>
                <c:pt idx="1697">
                  <c:v>0.99180000956371406</c:v>
                </c:pt>
                <c:pt idx="1698">
                  <c:v>0.991826676244427</c:v>
                </c:pt>
                <c:pt idx="1699">
                  <c:v>0.99183997446910788</c:v>
                </c:pt>
                <c:pt idx="1700">
                  <c:v>0.99185323349489507</c:v>
                </c:pt>
                <c:pt idx="1701">
                  <c:v>0.9918664827209589</c:v>
                </c:pt>
                <c:pt idx="1702">
                  <c:v>0.99187972623051734</c:v>
                </c:pt>
                <c:pt idx="1703">
                  <c:v>0.99189296974007579</c:v>
                </c:pt>
                <c:pt idx="1704">
                  <c:v>0.99190614710150116</c:v>
                </c:pt>
                <c:pt idx="1705">
                  <c:v>0.99193244302601136</c:v>
                </c:pt>
                <c:pt idx="1706">
                  <c:v>0.99194547420822909</c:v>
                </c:pt>
                <c:pt idx="1707">
                  <c:v>0.99195850539044683</c:v>
                </c:pt>
                <c:pt idx="1708">
                  <c:v>0.99198446567442999</c:v>
                </c:pt>
                <c:pt idx="1709">
                  <c:v>0.99201037124329072</c:v>
                </c:pt>
                <c:pt idx="1710">
                  <c:v>0.99202325624630072</c:v>
                </c:pt>
                <c:pt idx="1711">
                  <c:v>0.99204897807034731</c:v>
                </c:pt>
                <c:pt idx="1712">
                  <c:v>0.99206181162480933</c:v>
                </c:pt>
                <c:pt idx="1713">
                  <c:v>0.99207453983224458</c:v>
                </c:pt>
                <c:pt idx="1714">
                  <c:v>0.99208725823995647</c:v>
                </c:pt>
                <c:pt idx="1715">
                  <c:v>0.99209997501438107</c:v>
                </c:pt>
                <c:pt idx="1716">
                  <c:v>0.99212533588194829</c:v>
                </c:pt>
                <c:pt idx="1717">
                  <c:v>0.99213794649270248</c:v>
                </c:pt>
                <c:pt idx="1718">
                  <c:v>0.99215050320497788</c:v>
                </c:pt>
                <c:pt idx="1719">
                  <c:v>0.99216303786787563</c:v>
                </c:pt>
                <c:pt idx="1720">
                  <c:v>0.99217556926419892</c:v>
                </c:pt>
                <c:pt idx="1721">
                  <c:v>0.99218809576066047</c:v>
                </c:pt>
                <c:pt idx="1722">
                  <c:v>0.99220059367459534</c:v>
                </c:pt>
                <c:pt idx="1723">
                  <c:v>0.99221307198908337</c:v>
                </c:pt>
                <c:pt idx="1724">
                  <c:v>0.99222551763782674</c:v>
                </c:pt>
                <c:pt idx="1725">
                  <c:v>0.99225035912005266</c:v>
                </c:pt>
                <c:pt idx="1726">
                  <c:v>0.99226271412135436</c:v>
                </c:pt>
                <c:pt idx="1727">
                  <c:v>0.99227504870656558</c:v>
                </c:pt>
                <c:pt idx="1728">
                  <c:v>0.99228731877693099</c:v>
                </c:pt>
                <c:pt idx="1729">
                  <c:v>0.99229957741428576</c:v>
                </c:pt>
                <c:pt idx="1730">
                  <c:v>0.99231182788520433</c:v>
                </c:pt>
                <c:pt idx="1731">
                  <c:v>0.99232405467345797</c:v>
                </c:pt>
                <c:pt idx="1732">
                  <c:v>0.9923362773784935</c:v>
                </c:pt>
                <c:pt idx="1733">
                  <c:v>0.99234849763359823</c:v>
                </c:pt>
                <c:pt idx="1734">
                  <c:v>0.9923607023724742</c:v>
                </c:pt>
                <c:pt idx="1735">
                  <c:v>0.99237289649498306</c:v>
                </c:pt>
                <c:pt idx="1736">
                  <c:v>0.9923850653015398</c:v>
                </c:pt>
                <c:pt idx="1737">
                  <c:v>0.99239715652695282</c:v>
                </c:pt>
                <c:pt idx="1738">
                  <c:v>0.99240923958592964</c:v>
                </c:pt>
                <c:pt idx="1739">
                  <c:v>0.99242130957860852</c:v>
                </c:pt>
                <c:pt idx="1740">
                  <c:v>0.99244537116617892</c:v>
                </c:pt>
                <c:pt idx="1741">
                  <c:v>0.99245734234498006</c:v>
                </c:pt>
                <c:pt idx="1742">
                  <c:v>0.99246930209077056</c:v>
                </c:pt>
                <c:pt idx="1743">
                  <c:v>0.99248125040355029</c:v>
                </c:pt>
                <c:pt idx="1744">
                  <c:v>0.99249313093490976</c:v>
                </c:pt>
                <c:pt idx="1745">
                  <c:v>0.99250499676668413</c:v>
                </c:pt>
                <c:pt idx="1746">
                  <c:v>0.99250499676668413</c:v>
                </c:pt>
                <c:pt idx="1747">
                  <c:v>0.9925168168664158</c:v>
                </c:pt>
                <c:pt idx="1748">
                  <c:v>0.99252861736670062</c:v>
                </c:pt>
                <c:pt idx="1749">
                  <c:v>0.99254040970054924</c:v>
                </c:pt>
                <c:pt idx="1750">
                  <c:v>0.99255217590180211</c:v>
                </c:pt>
                <c:pt idx="1751">
                  <c:v>0.9925639176037464</c:v>
                </c:pt>
                <c:pt idx="1752">
                  <c:v>0.99257563725631304</c:v>
                </c:pt>
                <c:pt idx="1753">
                  <c:v>0.9925873471091563</c:v>
                </c:pt>
                <c:pt idx="1754">
                  <c:v>0.9925873471091563</c:v>
                </c:pt>
                <c:pt idx="1755">
                  <c:v>0.9925990349126218</c:v>
                </c:pt>
                <c:pt idx="1756">
                  <c:v>0.99261069576684791</c:v>
                </c:pt>
                <c:pt idx="1757">
                  <c:v>0.99262234110484526</c:v>
                </c:pt>
                <c:pt idx="1758">
                  <c:v>0.99263395704367241</c:v>
                </c:pt>
                <c:pt idx="1759">
                  <c:v>0.99264557216585592</c:v>
                </c:pt>
                <c:pt idx="1760">
                  <c:v>0.99265717993824687</c:v>
                </c:pt>
                <c:pt idx="1761">
                  <c:v>0.99266875259496223</c:v>
                </c:pt>
                <c:pt idx="1762">
                  <c:v>0.99268032443503396</c:v>
                </c:pt>
                <c:pt idx="1763">
                  <c:v>0.99269184809313216</c:v>
                </c:pt>
                <c:pt idx="1764">
                  <c:v>0.99270336766801226</c:v>
                </c:pt>
                <c:pt idx="1765">
                  <c:v>0.99271487907645628</c:v>
                </c:pt>
                <c:pt idx="1766">
                  <c:v>0.99272638558503856</c:v>
                </c:pt>
                <c:pt idx="1767">
                  <c:v>0.99273785861123243</c:v>
                </c:pt>
                <c:pt idx="1768">
                  <c:v>0.99274933000413912</c:v>
                </c:pt>
                <c:pt idx="1769">
                  <c:v>0.99276079323060962</c:v>
                </c:pt>
                <c:pt idx="1770">
                  <c:v>0.9927836943675985</c:v>
                </c:pt>
                <c:pt idx="1771">
                  <c:v>0.9927951347280477</c:v>
                </c:pt>
                <c:pt idx="1772">
                  <c:v>0.99280656365548625</c:v>
                </c:pt>
                <c:pt idx="1773">
                  <c:v>0.99281799013299388</c:v>
                </c:pt>
                <c:pt idx="1774">
                  <c:v>0.99282941007735259</c:v>
                </c:pt>
                <c:pt idx="1775">
                  <c:v>0.992840796539323</c:v>
                </c:pt>
                <c:pt idx="1776">
                  <c:v>0.99285215278547945</c:v>
                </c:pt>
                <c:pt idx="1777">
                  <c:v>0.99286344533343374</c:v>
                </c:pt>
                <c:pt idx="1778">
                  <c:v>0.99287472971495183</c:v>
                </c:pt>
                <c:pt idx="1779">
                  <c:v>0.99288600674667737</c:v>
                </c:pt>
                <c:pt idx="1780">
                  <c:v>0.99289728132847199</c:v>
                </c:pt>
                <c:pt idx="1781">
                  <c:v>0.99290855427697944</c:v>
                </c:pt>
                <c:pt idx="1782">
                  <c:v>0.99291981987569433</c:v>
                </c:pt>
                <c:pt idx="1783">
                  <c:v>0.99293107077482401</c:v>
                </c:pt>
                <c:pt idx="1784">
                  <c:v>0.99294231105758668</c:v>
                </c:pt>
                <c:pt idx="1785">
                  <c:v>0.99295347294256198</c:v>
                </c:pt>
                <c:pt idx="1786">
                  <c:v>0.99296462584445755</c:v>
                </c:pt>
                <c:pt idx="1787">
                  <c:v>0.9929757762964222</c:v>
                </c:pt>
                <c:pt idx="1788">
                  <c:v>0.99298691939859429</c:v>
                </c:pt>
                <c:pt idx="1789">
                  <c:v>0.9929980502511121</c:v>
                </c:pt>
                <c:pt idx="1790">
                  <c:v>0.99300916722068844</c:v>
                </c:pt>
                <c:pt idx="1791">
                  <c:v>0.99302028010704668</c:v>
                </c:pt>
                <c:pt idx="1792">
                  <c:v>0.99303136114430379</c:v>
                </c:pt>
                <c:pt idx="1793">
                  <c:v>0.9930424086991726</c:v>
                </c:pt>
                <c:pt idx="1794">
                  <c:v>0.993053429304802</c:v>
                </c:pt>
                <c:pt idx="1795">
                  <c:v>0.99306443031098457</c:v>
                </c:pt>
                <c:pt idx="1796">
                  <c:v>0.99307542723394904</c:v>
                </c:pt>
                <c:pt idx="1797">
                  <c:v>0.99308637924151444</c:v>
                </c:pt>
                <c:pt idx="1798">
                  <c:v>0.99309732063271283</c:v>
                </c:pt>
                <c:pt idx="1799">
                  <c:v>0.99310819342584722</c:v>
                </c:pt>
                <c:pt idx="1800">
                  <c:v>0.99311906131911998</c:v>
                </c:pt>
                <c:pt idx="1801">
                  <c:v>0.99312985898104156</c:v>
                </c:pt>
                <c:pt idx="1802">
                  <c:v>0.9931406288770801</c:v>
                </c:pt>
                <c:pt idx="1803">
                  <c:v>0.99315137345716642</c:v>
                </c:pt>
                <c:pt idx="1804">
                  <c:v>0.99316211313739111</c:v>
                </c:pt>
                <c:pt idx="1805">
                  <c:v>0.99317282015187103</c:v>
                </c:pt>
                <c:pt idx="1806">
                  <c:v>0.99318349041738807</c:v>
                </c:pt>
                <c:pt idx="1807">
                  <c:v>0.99319413291702219</c:v>
                </c:pt>
                <c:pt idx="1808">
                  <c:v>0.99320475091734772</c:v>
                </c:pt>
                <c:pt idx="1809">
                  <c:v>0.99321534850158277</c:v>
                </c:pt>
                <c:pt idx="1810">
                  <c:v>0.99322590362034968</c:v>
                </c:pt>
                <c:pt idx="1811">
                  <c:v>0.99323644158960056</c:v>
                </c:pt>
                <c:pt idx="1812">
                  <c:v>0.99324692566037265</c:v>
                </c:pt>
                <c:pt idx="1813">
                  <c:v>0.99325735583266594</c:v>
                </c:pt>
                <c:pt idx="1814">
                  <c:v>0.99328854426909363</c:v>
                </c:pt>
                <c:pt idx="1815">
                  <c:v>0.99329892870934433</c:v>
                </c:pt>
                <c:pt idx="1816">
                  <c:v>0.99330927068412689</c:v>
                </c:pt>
                <c:pt idx="1817">
                  <c:v>0.99331960775904771</c:v>
                </c:pt>
                <c:pt idx="1818">
                  <c:v>0.99334024270999566</c:v>
                </c:pt>
                <c:pt idx="1819">
                  <c:v>0.99335053895273551</c:v>
                </c:pt>
                <c:pt idx="1820">
                  <c:v>0.99336082702903927</c:v>
                </c:pt>
                <c:pt idx="1821">
                  <c:v>0.99337111102212494</c:v>
                </c:pt>
                <c:pt idx="1822">
                  <c:v>0.99338138521548713</c:v>
                </c:pt>
                <c:pt idx="1823">
                  <c:v>0.99339164960912596</c:v>
                </c:pt>
                <c:pt idx="1824">
                  <c:v>0.99340187643715827</c:v>
                </c:pt>
                <c:pt idx="1825">
                  <c:v>0.99341208284910021</c:v>
                </c:pt>
                <c:pt idx="1826">
                  <c:v>0.99342228354453677</c:v>
                </c:pt>
                <c:pt idx="1827">
                  <c:v>0.9934426604361013</c:v>
                </c:pt>
                <c:pt idx="1828">
                  <c:v>0.99345282601586227</c:v>
                </c:pt>
                <c:pt idx="1829">
                  <c:v>0.99346297199617639</c:v>
                </c:pt>
                <c:pt idx="1830">
                  <c:v>0.99347308939396384</c:v>
                </c:pt>
                <c:pt idx="1831">
                  <c:v>0.99348317657593743</c:v>
                </c:pt>
                <c:pt idx="1832">
                  <c:v>0.99350327090880997</c:v>
                </c:pt>
                <c:pt idx="1833">
                  <c:v>0.99351329194265048</c:v>
                </c:pt>
                <c:pt idx="1834">
                  <c:v>0.99352327132766649</c:v>
                </c:pt>
                <c:pt idx="1835">
                  <c:v>0.99353324172960267</c:v>
                </c:pt>
                <c:pt idx="1836">
                  <c:v>0.99354319824859738</c:v>
                </c:pt>
                <c:pt idx="1837">
                  <c:v>0.99355313843471971</c:v>
                </c:pt>
                <c:pt idx="1838">
                  <c:v>0.99356307127104948</c:v>
                </c:pt>
                <c:pt idx="1839">
                  <c:v>0.9935729967575867</c:v>
                </c:pt>
                <c:pt idx="1840">
                  <c:v>0.99358291407768773</c:v>
                </c:pt>
                <c:pt idx="1841">
                  <c:v>0.99360268501968751</c:v>
                </c:pt>
                <c:pt idx="1842">
                  <c:v>0.9936224208460116</c:v>
                </c:pt>
                <c:pt idx="1843">
                  <c:v>0.99363228181770291</c:v>
                </c:pt>
                <c:pt idx="1844">
                  <c:v>0.99364212155666021</c:v>
                </c:pt>
                <c:pt idx="1845">
                  <c:v>0.99365191311364398</c:v>
                </c:pt>
                <c:pt idx="1846">
                  <c:v>0.99366168588782455</c:v>
                </c:pt>
                <c:pt idx="1847">
                  <c:v>0.99367145131221257</c:v>
                </c:pt>
                <c:pt idx="1848">
                  <c:v>0.9936812044869463</c:v>
                </c:pt>
                <c:pt idx="1849">
                  <c:v>0.99369093887887683</c:v>
                </c:pt>
                <c:pt idx="1850">
                  <c:v>0.99370065857122214</c:v>
                </c:pt>
                <c:pt idx="1851">
                  <c:v>0.99371033906467376</c:v>
                </c:pt>
                <c:pt idx="1852">
                  <c:v>0.9937200154749074</c:v>
                </c:pt>
                <c:pt idx="1853">
                  <c:v>0.99372968616863566</c:v>
                </c:pt>
                <c:pt idx="1854">
                  <c:v>0.99373934052949153</c:v>
                </c:pt>
                <c:pt idx="1855">
                  <c:v>0.99374899080712931</c:v>
                </c:pt>
                <c:pt idx="1856">
                  <c:v>0.99375863291833089</c:v>
                </c:pt>
                <c:pt idx="1857">
                  <c:v>0.99376825379679845</c:v>
                </c:pt>
                <c:pt idx="1858">
                  <c:v>0.9937778411928776</c:v>
                </c:pt>
                <c:pt idx="1859">
                  <c:v>0.99378741470601528</c:v>
                </c:pt>
                <c:pt idx="1860">
                  <c:v>0.99379695881998265</c:v>
                </c:pt>
                <c:pt idx="1861">
                  <c:v>0.99380649721744474</c:v>
                </c:pt>
                <c:pt idx="1862">
                  <c:v>0.99381602336525254</c:v>
                </c:pt>
                <c:pt idx="1863">
                  <c:v>0.9938255192972465</c:v>
                </c:pt>
                <c:pt idx="1864">
                  <c:v>0.99383497358041595</c:v>
                </c:pt>
                <c:pt idx="1865">
                  <c:v>0.99384441316400018</c:v>
                </c:pt>
                <c:pt idx="1866">
                  <c:v>0.99385379639917482</c:v>
                </c:pt>
                <c:pt idx="1867">
                  <c:v>0.99386317555113135</c:v>
                </c:pt>
                <c:pt idx="1868">
                  <c:v>0.99387255470308788</c:v>
                </c:pt>
                <c:pt idx="1869">
                  <c:v>0.99388193058846996</c:v>
                </c:pt>
                <c:pt idx="1870">
                  <c:v>0.99389130320727759</c:v>
                </c:pt>
                <c:pt idx="1871">
                  <c:v>0.99390066929293619</c:v>
                </c:pt>
                <c:pt idx="1872">
                  <c:v>0.99391003211202034</c:v>
                </c:pt>
                <c:pt idx="1873">
                  <c:v>0.99391938186480655</c:v>
                </c:pt>
                <c:pt idx="1874">
                  <c:v>0.9939287259010875</c:v>
                </c:pt>
                <c:pt idx="1875">
                  <c:v>0.9939380691207248</c:v>
                </c:pt>
                <c:pt idx="1876">
                  <c:v>0.9939474123403621</c:v>
                </c:pt>
                <c:pt idx="1877">
                  <c:v>0.99395674576027604</c:v>
                </c:pt>
                <c:pt idx="1878">
                  <c:v>0.9939660652972484</c:v>
                </c:pt>
                <c:pt idx="1879">
                  <c:v>0.9939753750344974</c:v>
                </c:pt>
                <c:pt idx="1880">
                  <c:v>0.9939846766053102</c:v>
                </c:pt>
                <c:pt idx="1881">
                  <c:v>0.99399395531010171</c:v>
                </c:pt>
                <c:pt idx="1882">
                  <c:v>0.99401248985366331</c:v>
                </c:pt>
                <c:pt idx="1883">
                  <c:v>0.99402173344277922</c:v>
                </c:pt>
                <c:pt idx="1884">
                  <c:v>0.99403096314895356</c:v>
                </c:pt>
                <c:pt idx="1885">
                  <c:v>0.99404933028057341</c:v>
                </c:pt>
                <c:pt idx="1886">
                  <c:v>0.99405850037176358</c:v>
                </c:pt>
                <c:pt idx="1887">
                  <c:v>0.99406766229651766</c:v>
                </c:pt>
                <c:pt idx="1888">
                  <c:v>0.99407681115497382</c:v>
                </c:pt>
                <c:pt idx="1889">
                  <c:v>0.99408594694713204</c:v>
                </c:pt>
                <c:pt idx="1890">
                  <c:v>0.99409508192264673</c:v>
                </c:pt>
                <c:pt idx="1891">
                  <c:v>0.99411333227422916</c:v>
                </c:pt>
                <c:pt idx="1892">
                  <c:v>0.99412240191825429</c:v>
                </c:pt>
                <c:pt idx="1893">
                  <c:v>0.99413143481331667</c:v>
                </c:pt>
                <c:pt idx="1894">
                  <c:v>0.99414044157578318</c:v>
                </c:pt>
                <c:pt idx="1895">
                  <c:v>0.9941494442550316</c:v>
                </c:pt>
                <c:pt idx="1896">
                  <c:v>0.99415841508517899</c:v>
                </c:pt>
                <c:pt idx="1897">
                  <c:v>0.99416738509868274</c:v>
                </c:pt>
                <c:pt idx="1898">
                  <c:v>0.99417634776239394</c:v>
                </c:pt>
                <c:pt idx="1899">
                  <c:v>0.99418530797617422</c:v>
                </c:pt>
                <c:pt idx="1900">
                  <c:v>0.99420316143895815</c:v>
                </c:pt>
                <c:pt idx="1901">
                  <c:v>0.99421207755398311</c:v>
                </c:pt>
                <c:pt idx="1902">
                  <c:v>0.9942209716196303</c:v>
                </c:pt>
                <c:pt idx="1903">
                  <c:v>0.99422986486863396</c:v>
                </c:pt>
                <c:pt idx="1904">
                  <c:v>0.99423873851819078</c:v>
                </c:pt>
                <c:pt idx="1905">
                  <c:v>0.99424759583487521</c:v>
                </c:pt>
                <c:pt idx="1906">
                  <c:v>0.9942564441684798</c:v>
                </c:pt>
                <c:pt idx="1907">
                  <c:v>0.99426523942024925</c:v>
                </c:pt>
                <c:pt idx="1908">
                  <c:v>0.99427399710641218</c:v>
                </c:pt>
                <c:pt idx="1909">
                  <c:v>0.99428272294347408</c:v>
                </c:pt>
                <c:pt idx="1910">
                  <c:v>0.99429144551396142</c:v>
                </c:pt>
                <c:pt idx="1911">
                  <c:v>0.99430016318458714</c:v>
                </c:pt>
                <c:pt idx="1912">
                  <c:v>0.99430887268877666</c:v>
                </c:pt>
                <c:pt idx="1913">
                  <c:v>0.99432622064916087</c:v>
                </c:pt>
                <c:pt idx="1914">
                  <c:v>0.99433489013781307</c:v>
                </c:pt>
                <c:pt idx="1915">
                  <c:v>0.99434354002701841</c:v>
                </c:pt>
                <c:pt idx="1916">
                  <c:v>0.99436079407338651</c:v>
                </c:pt>
                <c:pt idx="1917">
                  <c:v>0.99437799912113745</c:v>
                </c:pt>
                <c:pt idx="1918">
                  <c:v>0.99438656571269368</c:v>
                </c:pt>
                <c:pt idx="1919">
                  <c:v>0.99439510372172335</c:v>
                </c:pt>
                <c:pt idx="1920">
                  <c:v>0.9944121511572559</c:v>
                </c:pt>
                <c:pt idx="1921">
                  <c:v>0.99442064670081742</c:v>
                </c:pt>
                <c:pt idx="1922">
                  <c:v>0.99442914142773531</c:v>
                </c:pt>
                <c:pt idx="1923">
                  <c:v>0.994437627988217</c:v>
                </c:pt>
                <c:pt idx="1924">
                  <c:v>0.99444611373205505</c:v>
                </c:pt>
                <c:pt idx="1925">
                  <c:v>0.99445459702596228</c:v>
                </c:pt>
                <c:pt idx="1926">
                  <c:v>0.99446307460336414</c:v>
                </c:pt>
                <c:pt idx="1927">
                  <c:v>0.99447154973083518</c:v>
                </c:pt>
                <c:pt idx="1928">
                  <c:v>0.99448846650338885</c:v>
                </c:pt>
                <c:pt idx="1929">
                  <c:v>0.99449690324860984</c:v>
                </c:pt>
                <c:pt idx="1930">
                  <c:v>0.994505320394384</c:v>
                </c:pt>
                <c:pt idx="1931">
                  <c:v>0.99451371140756228</c:v>
                </c:pt>
                <c:pt idx="1932">
                  <c:v>0.99452208935444275</c:v>
                </c:pt>
                <c:pt idx="1933">
                  <c:v>0.99453045178509447</c:v>
                </c:pt>
                <c:pt idx="1934">
                  <c:v>0.99453880931588445</c:v>
                </c:pt>
                <c:pt idx="1935">
                  <c:v>0.9945471537803765</c:v>
                </c:pt>
                <c:pt idx="1936">
                  <c:v>0.99456382065998294</c:v>
                </c:pt>
                <c:pt idx="1937">
                  <c:v>0.99457214960824625</c:v>
                </c:pt>
                <c:pt idx="1938">
                  <c:v>0.99458047284000428</c:v>
                </c:pt>
                <c:pt idx="1939">
                  <c:v>0.99458879362183139</c:v>
                </c:pt>
                <c:pt idx="1940">
                  <c:v>0.99459708663777557</c:v>
                </c:pt>
                <c:pt idx="1941">
                  <c:v>0.99461362612097759</c:v>
                </c:pt>
                <c:pt idx="1942">
                  <c:v>0.99462188810446428</c:v>
                </c:pt>
                <c:pt idx="1943">
                  <c:v>0.99463013048850413</c:v>
                </c:pt>
                <c:pt idx="1944">
                  <c:v>0.99463837123925669</c:v>
                </c:pt>
                <c:pt idx="1945">
                  <c:v>0.99464658504076986</c:v>
                </c:pt>
                <c:pt idx="1946">
                  <c:v>0.99465479230913412</c:v>
                </c:pt>
                <c:pt idx="1947">
                  <c:v>0.99466299957749837</c:v>
                </c:pt>
                <c:pt idx="1948">
                  <c:v>0.99467120276264454</c:v>
                </c:pt>
                <c:pt idx="1949">
                  <c:v>0.99468758055041018</c:v>
                </c:pt>
                <c:pt idx="1950">
                  <c:v>0.99469575433638602</c:v>
                </c:pt>
                <c:pt idx="1951">
                  <c:v>0.99470391260613311</c:v>
                </c:pt>
                <c:pt idx="1952">
                  <c:v>0.9947201915800209</c:v>
                </c:pt>
                <c:pt idx="1953">
                  <c:v>0.99472832943367751</c:v>
                </c:pt>
                <c:pt idx="1954">
                  <c:v>0.99473641992200434</c:v>
                </c:pt>
                <c:pt idx="1955">
                  <c:v>0.9947444940774588</c:v>
                </c:pt>
                <c:pt idx="1956">
                  <c:v>0.99475256659962596</c:v>
                </c:pt>
                <c:pt idx="1957">
                  <c:v>0.99476060563940483</c:v>
                </c:pt>
                <c:pt idx="1958">
                  <c:v>0.99476861528001337</c:v>
                </c:pt>
                <c:pt idx="1959">
                  <c:v>0.99478458637925704</c:v>
                </c:pt>
                <c:pt idx="1960">
                  <c:v>0.9947925486545357</c:v>
                </c:pt>
                <c:pt idx="1961">
                  <c:v>0.99480050602995274</c:v>
                </c:pt>
                <c:pt idx="1962">
                  <c:v>0.99480846013879531</c:v>
                </c:pt>
                <c:pt idx="1963">
                  <c:v>0.99481640689784523</c:v>
                </c:pt>
                <c:pt idx="1964">
                  <c:v>0.99482434712374623</c:v>
                </c:pt>
                <c:pt idx="1965">
                  <c:v>0.99483226040040784</c:v>
                </c:pt>
                <c:pt idx="1966">
                  <c:v>0.99484015571090989</c:v>
                </c:pt>
                <c:pt idx="1967">
                  <c:v>0.99484803713847036</c:v>
                </c:pt>
                <c:pt idx="1968">
                  <c:v>0.99485585650111585</c:v>
                </c:pt>
                <c:pt idx="1969">
                  <c:v>0.99487140131239071</c:v>
                </c:pt>
                <c:pt idx="1970">
                  <c:v>0.9948791332941691</c:v>
                </c:pt>
                <c:pt idx="1971">
                  <c:v>0.99488686364266021</c:v>
                </c:pt>
                <c:pt idx="1972">
                  <c:v>0.99490229412382858</c:v>
                </c:pt>
                <c:pt idx="1973">
                  <c:v>0.9949099811902079</c:v>
                </c:pt>
                <c:pt idx="1974">
                  <c:v>0.99491765682357658</c:v>
                </c:pt>
                <c:pt idx="1975">
                  <c:v>0.99492531694071651</c:v>
                </c:pt>
                <c:pt idx="1976">
                  <c:v>0.99493295909169688</c:v>
                </c:pt>
                <c:pt idx="1977">
                  <c:v>0.99494823032735968</c:v>
                </c:pt>
                <c:pt idx="1978">
                  <c:v>0.99495585287889321</c:v>
                </c:pt>
                <c:pt idx="1979">
                  <c:v>0.99496345011447451</c:v>
                </c:pt>
                <c:pt idx="1980">
                  <c:v>0.99497104653341217</c:v>
                </c:pt>
                <c:pt idx="1981">
                  <c:v>0.99497863968577538</c:v>
                </c:pt>
                <c:pt idx="1982">
                  <c:v>0.99500124601441797</c:v>
                </c:pt>
                <c:pt idx="1983">
                  <c:v>0.9950087191201693</c:v>
                </c:pt>
                <c:pt idx="1984">
                  <c:v>0.99501618079290999</c:v>
                </c:pt>
                <c:pt idx="1985">
                  <c:v>0.99502362939935274</c:v>
                </c:pt>
                <c:pt idx="1986">
                  <c:v>0.99503106657278484</c:v>
                </c:pt>
                <c:pt idx="1987">
                  <c:v>0.99503850129628613</c:v>
                </c:pt>
                <c:pt idx="1988">
                  <c:v>0.99504592540342041</c:v>
                </c:pt>
                <c:pt idx="1989">
                  <c:v>0.99506075401824212</c:v>
                </c:pt>
                <c:pt idx="1990">
                  <c:v>0.99506815444271146</c:v>
                </c:pt>
                <c:pt idx="1991">
                  <c:v>0.99507550178534554</c:v>
                </c:pt>
                <c:pt idx="1992">
                  <c:v>0.99508283687832533</c:v>
                </c:pt>
                <c:pt idx="1993">
                  <c:v>0.99509016788808702</c:v>
                </c:pt>
                <c:pt idx="1994">
                  <c:v>0.99509749154805616</c:v>
                </c:pt>
                <c:pt idx="1995">
                  <c:v>0.9951048111248072</c:v>
                </c:pt>
                <c:pt idx="1996">
                  <c:v>0.99511211355204232</c:v>
                </c:pt>
                <c:pt idx="1997">
                  <c:v>0.99512668655741143</c:v>
                </c:pt>
                <c:pt idx="1998">
                  <c:v>0.99513396366869433</c:v>
                </c:pt>
                <c:pt idx="1999">
                  <c:v>0.99514123506347196</c:v>
                </c:pt>
                <c:pt idx="2000">
                  <c:v>0.99514850645824959</c:v>
                </c:pt>
                <c:pt idx="2001">
                  <c:v>0.99515577621973994</c:v>
                </c:pt>
                <c:pt idx="2002">
                  <c:v>0.99516303209828882</c:v>
                </c:pt>
                <c:pt idx="2003">
                  <c:v>0.99517028062704516</c:v>
                </c:pt>
                <c:pt idx="2004">
                  <c:v>0.99517751853943437</c:v>
                </c:pt>
                <c:pt idx="2005">
                  <c:v>0.99518475481853641</c:v>
                </c:pt>
                <c:pt idx="2006">
                  <c:v>0.99519198048127144</c:v>
                </c:pt>
                <c:pt idx="2007">
                  <c:v>0.99519920206078838</c:v>
                </c:pt>
                <c:pt idx="2008">
                  <c:v>0.99520641792379994</c:v>
                </c:pt>
                <c:pt idx="2009">
                  <c:v>0.99521362480373166</c:v>
                </c:pt>
                <c:pt idx="2010">
                  <c:v>0.99522082760044528</c:v>
                </c:pt>
                <c:pt idx="2011">
                  <c:v>0.9952280116143557</c:v>
                </c:pt>
                <c:pt idx="2012">
                  <c:v>0.99523516051259053</c:v>
                </c:pt>
                <c:pt idx="2013">
                  <c:v>0.99524228164494233</c:v>
                </c:pt>
                <c:pt idx="2014">
                  <c:v>0.99524939542750157</c:v>
                </c:pt>
                <c:pt idx="2015">
                  <c:v>0.99525650431019919</c:v>
                </c:pt>
                <c:pt idx="2016">
                  <c:v>0.99527065674410486</c:v>
                </c:pt>
                <c:pt idx="2017">
                  <c:v>0.99527771662818532</c:v>
                </c:pt>
                <c:pt idx="2018">
                  <c:v>0.99528477487897848</c:v>
                </c:pt>
                <c:pt idx="2019">
                  <c:v>0.99529183149648448</c:v>
                </c:pt>
                <c:pt idx="2020">
                  <c:v>0.99529887749762347</c:v>
                </c:pt>
                <c:pt idx="2021">
                  <c:v>0.99530591778225708</c:v>
                </c:pt>
                <c:pt idx="2022">
                  <c:v>0.99531295561695987</c:v>
                </c:pt>
                <c:pt idx="2023">
                  <c:v>0.99531999100173174</c:v>
                </c:pt>
                <c:pt idx="2024">
                  <c:v>0.9953270051537696</c:v>
                </c:pt>
                <c:pt idx="2025">
                  <c:v>0.99534099180902069</c:v>
                </c:pt>
                <c:pt idx="2026">
                  <c:v>0.99536183663737854</c:v>
                </c:pt>
                <c:pt idx="2027">
                  <c:v>0.99536873809259707</c:v>
                </c:pt>
                <c:pt idx="2028">
                  <c:v>0.99537563709788468</c:v>
                </c:pt>
                <c:pt idx="2029">
                  <c:v>0.99538252140358718</c:v>
                </c:pt>
                <c:pt idx="2030">
                  <c:v>0.99538940244271523</c:v>
                </c:pt>
                <c:pt idx="2031">
                  <c:v>0.99539626714897089</c:v>
                </c:pt>
                <c:pt idx="2032">
                  <c:v>0.99540312777200846</c:v>
                </c:pt>
                <c:pt idx="2033">
                  <c:v>0.99540998594511521</c:v>
                </c:pt>
                <c:pt idx="2034">
                  <c:v>0.99541684166829103</c:v>
                </c:pt>
                <c:pt idx="2035">
                  <c:v>0.99542369575817968</c:v>
                </c:pt>
                <c:pt idx="2036">
                  <c:v>0.99543054331491942</c:v>
                </c:pt>
                <c:pt idx="2037">
                  <c:v>0.99543738678844107</c:v>
                </c:pt>
                <c:pt idx="2038">
                  <c:v>0.99545102228693627</c:v>
                </c:pt>
                <c:pt idx="2039">
                  <c:v>0.99545781839512804</c:v>
                </c:pt>
                <c:pt idx="2040">
                  <c:v>0.99546461368667616</c:v>
                </c:pt>
                <c:pt idx="2041">
                  <c:v>0.99547137304590505</c:v>
                </c:pt>
                <c:pt idx="2042">
                  <c:v>0.99547813077184677</c:v>
                </c:pt>
                <c:pt idx="2043">
                  <c:v>0.99548484439903306</c:v>
                </c:pt>
                <c:pt idx="2044">
                  <c:v>0.99549155557628854</c:v>
                </c:pt>
                <c:pt idx="2045">
                  <c:v>0.99549825123731528</c:v>
                </c:pt>
                <c:pt idx="2046">
                  <c:v>0.9955049281155387</c:v>
                </c:pt>
                <c:pt idx="2047">
                  <c:v>0.99551159029417702</c:v>
                </c:pt>
                <c:pt idx="2048">
                  <c:v>0.99551825083952816</c:v>
                </c:pt>
                <c:pt idx="2049">
                  <c:v>0.99552489015214518</c:v>
                </c:pt>
                <c:pt idx="2050">
                  <c:v>0.99553152701483139</c:v>
                </c:pt>
                <c:pt idx="2051">
                  <c:v>0.99554475827473554</c:v>
                </c:pt>
                <c:pt idx="2052">
                  <c:v>0.99555131673963437</c:v>
                </c:pt>
                <c:pt idx="2053">
                  <c:v>0.99555786948802782</c:v>
                </c:pt>
                <c:pt idx="2054">
                  <c:v>0.99556441243669791</c:v>
                </c:pt>
                <c:pt idx="2055">
                  <c:v>0.99557094803557544</c:v>
                </c:pt>
                <c:pt idx="2056">
                  <c:v>0.99557746893486776</c:v>
                </c:pt>
                <c:pt idx="2057">
                  <c:v>0.9955839694180697</c:v>
                </c:pt>
                <c:pt idx="2058">
                  <c:v>0.99559046500140991</c:v>
                </c:pt>
                <c:pt idx="2059">
                  <c:v>0.99560344391843603</c:v>
                </c:pt>
                <c:pt idx="2060">
                  <c:v>0.99560992316890384</c:v>
                </c:pt>
                <c:pt idx="2061">
                  <c:v>0.99562282777136069</c:v>
                </c:pt>
                <c:pt idx="2062">
                  <c:v>0.99563566867561526</c:v>
                </c:pt>
                <c:pt idx="2063">
                  <c:v>0.9956484319987261</c:v>
                </c:pt>
                <c:pt idx="2064">
                  <c:v>0.99565480671881079</c:v>
                </c:pt>
                <c:pt idx="2065">
                  <c:v>0.99566117898896467</c:v>
                </c:pt>
                <c:pt idx="2066">
                  <c:v>0.99566753655953333</c:v>
                </c:pt>
                <c:pt idx="2067">
                  <c:v>0.99567389086352753</c:v>
                </c:pt>
                <c:pt idx="2068">
                  <c:v>0.99568022720136218</c:v>
                </c:pt>
                <c:pt idx="2069">
                  <c:v>0.9956865610892659</c:v>
                </c:pt>
                <c:pt idx="2070">
                  <c:v>0.99569287619436642</c:v>
                </c:pt>
                <c:pt idx="2071">
                  <c:v>0.99569918394967438</c:v>
                </c:pt>
                <c:pt idx="2072">
                  <c:v>0.99570546802231741</c:v>
                </c:pt>
                <c:pt idx="2073">
                  <c:v>0.99571173331215723</c:v>
                </c:pt>
                <c:pt idx="2074">
                  <c:v>0.99571798471905559</c:v>
                </c:pt>
                <c:pt idx="2075">
                  <c:v>0.99572422550958684</c:v>
                </c:pt>
                <c:pt idx="2076">
                  <c:v>0.99573044915060216</c:v>
                </c:pt>
                <c:pt idx="2077">
                  <c:v>0.9957366711583302</c:v>
                </c:pt>
                <c:pt idx="2078">
                  <c:v>0.99574288581626569</c:v>
                </c:pt>
                <c:pt idx="2079">
                  <c:v>0.99574908414132879</c:v>
                </c:pt>
                <c:pt idx="2080">
                  <c:v>0.99575527919981743</c:v>
                </c:pt>
                <c:pt idx="2081">
                  <c:v>0.99576146854180081</c:v>
                </c:pt>
                <c:pt idx="2082">
                  <c:v>0.99577996715304318</c:v>
                </c:pt>
                <c:pt idx="2083">
                  <c:v>0.9957860682975157</c:v>
                </c:pt>
                <c:pt idx="2084">
                  <c:v>0.99580416348681056</c:v>
                </c:pt>
                <c:pt idx="2085">
                  <c:v>0.99581018623349571</c:v>
                </c:pt>
                <c:pt idx="2086">
                  <c:v>0.99581620898018086</c:v>
                </c:pt>
                <c:pt idx="2087">
                  <c:v>0.99582222192714265</c:v>
                </c:pt>
                <c:pt idx="2088">
                  <c:v>0.99582823324081715</c:v>
                </c:pt>
                <c:pt idx="2089">
                  <c:v>0.99583423312148101</c:v>
                </c:pt>
                <c:pt idx="2090">
                  <c:v>0.99584023055221405</c:v>
                </c:pt>
                <c:pt idx="2091">
                  <c:v>0.99584621654993644</c:v>
                </c:pt>
                <c:pt idx="2092">
                  <c:v>0.99585219193129171</c:v>
                </c:pt>
                <c:pt idx="2093">
                  <c:v>0.99586413534420981</c:v>
                </c:pt>
                <c:pt idx="2094">
                  <c:v>0.99587008949283107</c:v>
                </c:pt>
                <c:pt idx="2095">
                  <c:v>0.99587603955823423</c:v>
                </c:pt>
                <c:pt idx="2096">
                  <c:v>0.99588783842523187</c:v>
                </c:pt>
                <c:pt idx="2097">
                  <c:v>0.99589372642572005</c:v>
                </c:pt>
                <c:pt idx="2098">
                  <c:v>0.99590547302752608</c:v>
                </c:pt>
                <c:pt idx="2099">
                  <c:v>0.99591719104680554</c:v>
                </c:pt>
                <c:pt idx="2100">
                  <c:v>0.99592304801483622</c:v>
                </c:pt>
                <c:pt idx="2101">
                  <c:v>0.99594054052114089</c:v>
                </c:pt>
                <c:pt idx="2102">
                  <c:v>0.99594635829027789</c:v>
                </c:pt>
                <c:pt idx="2103">
                  <c:v>0.99595215074346266</c:v>
                </c:pt>
                <c:pt idx="2104">
                  <c:v>0.9959637250334652</c:v>
                </c:pt>
                <c:pt idx="2105">
                  <c:v>0.99596950115377769</c:v>
                </c:pt>
                <c:pt idx="2106">
                  <c:v>0.99598093253114717</c:v>
                </c:pt>
                <c:pt idx="2107">
                  <c:v>0.99598662535381055</c:v>
                </c:pt>
                <c:pt idx="2108">
                  <c:v>0.99599799139969036</c:v>
                </c:pt>
                <c:pt idx="2109">
                  <c:v>0.99600366625619419</c:v>
                </c:pt>
                <c:pt idx="2110">
                  <c:v>0.99600934029605437</c:v>
                </c:pt>
                <c:pt idx="2111">
                  <c:v>0.99601501106934009</c:v>
                </c:pt>
                <c:pt idx="2112">
                  <c:v>0.9960206793926949</c:v>
                </c:pt>
                <c:pt idx="2113">
                  <c:v>0.99602630770051237</c:v>
                </c:pt>
                <c:pt idx="2114">
                  <c:v>0.99603193274175539</c:v>
                </c:pt>
                <c:pt idx="2115">
                  <c:v>0.9960375512498495</c:v>
                </c:pt>
                <c:pt idx="2116">
                  <c:v>0.99604315995822024</c:v>
                </c:pt>
                <c:pt idx="2117">
                  <c:v>0.99604876784994734</c:v>
                </c:pt>
                <c:pt idx="2118">
                  <c:v>0.99605437247509998</c:v>
                </c:pt>
                <c:pt idx="2119">
                  <c:v>0.99605996566724198</c:v>
                </c:pt>
                <c:pt idx="2120">
                  <c:v>0.99607111121934488</c:v>
                </c:pt>
                <c:pt idx="2121">
                  <c:v>0.99607667746224737</c:v>
                </c:pt>
                <c:pt idx="2122">
                  <c:v>0.99608223145549568</c:v>
                </c:pt>
                <c:pt idx="2123">
                  <c:v>0.9960877731990897</c:v>
                </c:pt>
                <c:pt idx="2124">
                  <c:v>0.99609331085946562</c:v>
                </c:pt>
                <c:pt idx="2125">
                  <c:v>0.99610438454693018</c:v>
                </c:pt>
                <c:pt idx="2126">
                  <c:v>0.99610991649080072</c:v>
                </c:pt>
                <c:pt idx="2127">
                  <c:v>0.99611543455172979</c:v>
                </c:pt>
                <c:pt idx="2128">
                  <c:v>0.99612645679064638</c:v>
                </c:pt>
                <c:pt idx="2129">
                  <c:v>0.99613194626904877</c:v>
                </c:pt>
                <c:pt idx="2130">
                  <c:v>0.99613742349779688</c:v>
                </c:pt>
                <c:pt idx="2131">
                  <c:v>0.99614289664332689</c:v>
                </c:pt>
                <c:pt idx="2132">
                  <c:v>0.99615925401500194</c:v>
                </c:pt>
                <c:pt idx="2133">
                  <c:v>0.9961646928615</c:v>
                </c:pt>
                <c:pt idx="2134">
                  <c:v>0.99617012599149279</c:v>
                </c:pt>
                <c:pt idx="2135">
                  <c:v>0.99617555177169292</c:v>
                </c:pt>
                <c:pt idx="2136">
                  <c:v>0.99619180379634131</c:v>
                </c:pt>
                <c:pt idx="2137">
                  <c:v>0.99620797905648961</c:v>
                </c:pt>
                <c:pt idx="2138">
                  <c:v>0.99621335583807269</c:v>
                </c:pt>
                <c:pt idx="2139">
                  <c:v>0.99621873180301213</c:v>
                </c:pt>
                <c:pt idx="2140">
                  <c:v>0.99622410123480265</c:v>
                </c:pt>
                <c:pt idx="2141">
                  <c:v>0.99622946658337508</c:v>
                </c:pt>
                <c:pt idx="2142">
                  <c:v>0.99623483111530386</c:v>
                </c:pt>
                <c:pt idx="2143">
                  <c:v>0.99624019319730184</c:v>
                </c:pt>
                <c:pt idx="2144">
                  <c:v>0.99624553812978378</c:v>
                </c:pt>
                <c:pt idx="2145">
                  <c:v>0.99625087979569127</c:v>
                </c:pt>
                <c:pt idx="2146">
                  <c:v>0.99625621982831147</c:v>
                </c:pt>
                <c:pt idx="2147">
                  <c:v>0.99626155659435722</c:v>
                </c:pt>
                <c:pt idx="2148">
                  <c:v>0.9962668917271158</c:v>
                </c:pt>
                <c:pt idx="2149">
                  <c:v>0.99627754157654247</c:v>
                </c:pt>
                <c:pt idx="2150">
                  <c:v>0.99628285629321056</c:v>
                </c:pt>
                <c:pt idx="2151">
                  <c:v>0.99628816937659137</c:v>
                </c:pt>
                <c:pt idx="2152">
                  <c:v>0.9962934661270999</c:v>
                </c:pt>
                <c:pt idx="2153">
                  <c:v>0.99630933269596045</c:v>
                </c:pt>
                <c:pt idx="2154">
                  <c:v>0.99631460739709121</c:v>
                </c:pt>
                <c:pt idx="2155">
                  <c:v>0.99631988209822198</c:v>
                </c:pt>
                <c:pt idx="2156">
                  <c:v>0.99632515434942193</c:v>
                </c:pt>
                <c:pt idx="2157">
                  <c:v>0.99633042251740378</c:v>
                </c:pt>
                <c:pt idx="2158">
                  <c:v>0.99634094170385146</c:v>
                </c:pt>
                <c:pt idx="2159">
                  <c:v>0.99634619435560456</c:v>
                </c:pt>
                <c:pt idx="2160">
                  <c:v>0.99635668740945649</c:v>
                </c:pt>
                <c:pt idx="2161">
                  <c:v>0.99636193107812976</c:v>
                </c:pt>
                <c:pt idx="2162">
                  <c:v>0.99636717229687222</c:v>
                </c:pt>
                <c:pt idx="2163">
                  <c:v>0.99637240453253484</c:v>
                </c:pt>
                <c:pt idx="2164">
                  <c:v>0.99637763595155382</c:v>
                </c:pt>
                <c:pt idx="2165">
                  <c:v>0.99638285757084943</c:v>
                </c:pt>
                <c:pt idx="2166">
                  <c:v>0.99638807347363967</c:v>
                </c:pt>
                <c:pt idx="2167">
                  <c:v>0.99639326977698306</c:v>
                </c:pt>
                <c:pt idx="2168">
                  <c:v>0.99639846036382118</c:v>
                </c:pt>
                <c:pt idx="2169">
                  <c:v>0.99640365013401566</c:v>
                </c:pt>
                <c:pt idx="2170">
                  <c:v>0.99640883010448678</c:v>
                </c:pt>
                <c:pt idx="2171">
                  <c:v>0.99641400925831425</c:v>
                </c:pt>
                <c:pt idx="2172">
                  <c:v>0.9964191859622108</c:v>
                </c:pt>
                <c:pt idx="2173">
                  <c:v>0.99642434469994778</c:v>
                </c:pt>
                <c:pt idx="2174">
                  <c:v>0.99642950343768477</c:v>
                </c:pt>
                <c:pt idx="2175">
                  <c:v>0.99643461236016106</c:v>
                </c:pt>
                <c:pt idx="2176">
                  <c:v>0.99643971393284481</c:v>
                </c:pt>
                <c:pt idx="2177">
                  <c:v>0.99644991299499408</c:v>
                </c:pt>
                <c:pt idx="2178">
                  <c:v>0.99646009245769662</c:v>
                </c:pt>
                <c:pt idx="2179">
                  <c:v>0.99646517116435906</c:v>
                </c:pt>
                <c:pt idx="2180">
                  <c:v>0.99647530897823711</c:v>
                </c:pt>
                <c:pt idx="2181">
                  <c:v>0.99648036400223461</c:v>
                </c:pt>
                <c:pt idx="2182">
                  <c:v>0.99648541575965754</c:v>
                </c:pt>
                <c:pt idx="2183">
                  <c:v>0.99649046016728793</c:v>
                </c:pt>
                <c:pt idx="2184">
                  <c:v>0.99649549885841304</c:v>
                </c:pt>
                <c:pt idx="2185">
                  <c:v>0.99650053183303278</c:v>
                </c:pt>
                <c:pt idx="2186">
                  <c:v>0.99650556072443441</c:v>
                </c:pt>
                <c:pt idx="2187">
                  <c:v>0.99651058879919252</c:v>
                </c:pt>
                <c:pt idx="2188">
                  <c:v>0.99651561687395063</c:v>
                </c:pt>
                <c:pt idx="2189">
                  <c:v>0.99652063923220335</c:v>
                </c:pt>
                <c:pt idx="2190">
                  <c:v>0.99652566077381244</c:v>
                </c:pt>
                <c:pt idx="2191">
                  <c:v>0.99653068231542152</c:v>
                </c:pt>
                <c:pt idx="2192">
                  <c:v>0.99653570140709979</c:v>
                </c:pt>
                <c:pt idx="2193">
                  <c:v>0.99654071151569823</c:v>
                </c:pt>
                <c:pt idx="2194">
                  <c:v>0.99654571672443493</c:v>
                </c:pt>
                <c:pt idx="2195">
                  <c:v>0.99655572550862126</c:v>
                </c:pt>
                <c:pt idx="2196">
                  <c:v>0.9965607274507835</c:v>
                </c:pt>
                <c:pt idx="2197">
                  <c:v>0.99657070601915587</c:v>
                </c:pt>
                <c:pt idx="2198">
                  <c:v>0.99657569244508937</c:v>
                </c:pt>
                <c:pt idx="2199">
                  <c:v>0.99658067152123031</c:v>
                </c:pt>
                <c:pt idx="2200">
                  <c:v>0.99658564896408408</c:v>
                </c:pt>
                <c:pt idx="2201">
                  <c:v>0.99660050779471954</c:v>
                </c:pt>
                <c:pt idx="2202">
                  <c:v>0.99660544848861043</c:v>
                </c:pt>
                <c:pt idx="2203">
                  <c:v>0.99661530129386555</c:v>
                </c:pt>
                <c:pt idx="2204">
                  <c:v>0.99662021748844787</c:v>
                </c:pt>
                <c:pt idx="2205">
                  <c:v>0.99662513204974301</c:v>
                </c:pt>
                <c:pt idx="2206">
                  <c:v>0.99663004007788913</c:v>
                </c:pt>
                <c:pt idx="2207">
                  <c:v>0.99663494238952999</c:v>
                </c:pt>
                <c:pt idx="2208">
                  <c:v>0.99663984470117084</c:v>
                </c:pt>
                <c:pt idx="2209">
                  <c:v>0.9966447429295936</c:v>
                </c:pt>
                <c:pt idx="2210">
                  <c:v>0.99664961175884603</c:v>
                </c:pt>
                <c:pt idx="2211">
                  <c:v>0.99665933716769672</c:v>
                </c:pt>
                <c:pt idx="2212">
                  <c:v>0.99666419701386944</c:v>
                </c:pt>
                <c:pt idx="2213">
                  <c:v>0.99666904461038786</c:v>
                </c:pt>
                <c:pt idx="2214">
                  <c:v>0.99667872837041405</c:v>
                </c:pt>
                <c:pt idx="2215">
                  <c:v>0.99668356126734736</c:v>
                </c:pt>
                <c:pt idx="2216">
                  <c:v>0.99668838599784448</c:v>
                </c:pt>
                <c:pt idx="2217">
                  <c:v>0.99670282752359107</c:v>
                </c:pt>
                <c:pt idx="2218">
                  <c:v>0.99670763510457216</c:v>
                </c:pt>
                <c:pt idx="2219">
                  <c:v>0.99671244023562244</c:v>
                </c:pt>
                <c:pt idx="2220">
                  <c:v>0.99672204396457398</c:v>
                </c:pt>
                <c:pt idx="2221">
                  <c:v>0.99672684337911888</c:v>
                </c:pt>
                <c:pt idx="2222">
                  <c:v>0.99673163299394041</c:v>
                </c:pt>
                <c:pt idx="2223">
                  <c:v>0.99674120977365255</c:v>
                </c:pt>
                <c:pt idx="2224">
                  <c:v>0.99675551328662759</c:v>
                </c:pt>
                <c:pt idx="2225">
                  <c:v>0.99676504025107893</c:v>
                </c:pt>
                <c:pt idx="2226">
                  <c:v>0.99676980291666106</c:v>
                </c:pt>
                <c:pt idx="2227">
                  <c:v>0.99677932498125077</c:v>
                </c:pt>
                <c:pt idx="2228">
                  <c:v>0.99678407948039671</c:v>
                </c:pt>
                <c:pt idx="2229">
                  <c:v>0.9967888266297501</c:v>
                </c:pt>
                <c:pt idx="2230">
                  <c:v>0.99679355907951828</c:v>
                </c:pt>
                <c:pt idx="2231">
                  <c:v>0.9967982841794939</c:v>
                </c:pt>
                <c:pt idx="2232">
                  <c:v>0.99680300846282599</c:v>
                </c:pt>
                <c:pt idx="2233">
                  <c:v>0.99680772621300906</c:v>
                </c:pt>
                <c:pt idx="2234">
                  <c:v>0.99681242681367621</c:v>
                </c:pt>
                <c:pt idx="2235">
                  <c:v>0.99683120308374884</c:v>
                </c:pt>
                <c:pt idx="2236">
                  <c:v>0.99683588490161268</c:v>
                </c:pt>
                <c:pt idx="2237">
                  <c:v>0.99684056671947652</c:v>
                </c:pt>
                <c:pt idx="2238">
                  <c:v>0.99684524853734036</c:v>
                </c:pt>
                <c:pt idx="2239">
                  <c:v>0.99684992953856066</c:v>
                </c:pt>
                <c:pt idx="2240">
                  <c:v>0.99685460808985005</c:v>
                </c:pt>
                <c:pt idx="2241">
                  <c:v>0.99685926785833623</c:v>
                </c:pt>
                <c:pt idx="2242">
                  <c:v>0.99686391782709904</c:v>
                </c:pt>
                <c:pt idx="2243">
                  <c:v>0.99687318754881071</c:v>
                </c:pt>
                <c:pt idx="2244">
                  <c:v>0.99687780240189794</c:v>
                </c:pt>
                <c:pt idx="2245">
                  <c:v>0.99688701740848717</c:v>
                </c:pt>
                <c:pt idx="2246">
                  <c:v>0.99689161429541473</c:v>
                </c:pt>
                <c:pt idx="2247">
                  <c:v>0.99689620056597528</c:v>
                </c:pt>
                <c:pt idx="2248">
                  <c:v>0.99690078112003044</c:v>
                </c:pt>
                <c:pt idx="2249">
                  <c:v>0.99690988669637481</c:v>
                </c:pt>
                <c:pt idx="2250">
                  <c:v>0.99691441825181293</c:v>
                </c:pt>
                <c:pt idx="2251">
                  <c:v>0.99691894654067659</c:v>
                </c:pt>
                <c:pt idx="2252">
                  <c:v>0.99692347237960932</c:v>
                </c:pt>
                <c:pt idx="2253">
                  <c:v>0.99692797290258994</c:v>
                </c:pt>
                <c:pt idx="2254">
                  <c:v>0.99693246607577801</c:v>
                </c:pt>
                <c:pt idx="2255">
                  <c:v>0.99693695516574798</c:v>
                </c:pt>
                <c:pt idx="2256">
                  <c:v>0.99694591374624109</c:v>
                </c:pt>
                <c:pt idx="2257">
                  <c:v>0.99695485517721816</c:v>
                </c:pt>
                <c:pt idx="2258">
                  <c:v>0.99695932058452319</c:v>
                </c:pt>
                <c:pt idx="2259">
                  <c:v>0.99696823833283532</c:v>
                </c:pt>
                <c:pt idx="2260">
                  <c:v>0.99697269312377335</c:v>
                </c:pt>
                <c:pt idx="2261">
                  <c:v>0.99697714791471137</c:v>
                </c:pt>
                <c:pt idx="2262">
                  <c:v>0.99698158310620255</c:v>
                </c:pt>
                <c:pt idx="2263">
                  <c:v>0.99698601748105009</c:v>
                </c:pt>
                <c:pt idx="2264">
                  <c:v>0.99699044777267953</c:v>
                </c:pt>
                <c:pt idx="2265">
                  <c:v>0.99699487806430898</c:v>
                </c:pt>
                <c:pt idx="2266">
                  <c:v>0.99699930753929478</c:v>
                </c:pt>
                <c:pt idx="2267">
                  <c:v>0.99700373701428058</c:v>
                </c:pt>
                <c:pt idx="2268">
                  <c:v>0.99700816240604828</c:v>
                </c:pt>
                <c:pt idx="2269">
                  <c:v>0.99701258534788517</c:v>
                </c:pt>
                <c:pt idx="2270">
                  <c:v>0.99701700175657315</c:v>
                </c:pt>
                <c:pt idx="2271">
                  <c:v>0.99702141734861749</c:v>
                </c:pt>
                <c:pt idx="2272">
                  <c:v>0.9970258304907309</c:v>
                </c:pt>
                <c:pt idx="2273">
                  <c:v>0.99703023546640812</c:v>
                </c:pt>
                <c:pt idx="2274">
                  <c:v>0.99703462900907469</c:v>
                </c:pt>
                <c:pt idx="2275">
                  <c:v>0.99704779085427131</c:v>
                </c:pt>
                <c:pt idx="2276">
                  <c:v>0.99705217296392723</c:v>
                </c:pt>
                <c:pt idx="2277">
                  <c:v>0.9970565518070087</c:v>
                </c:pt>
                <c:pt idx="2278">
                  <c:v>0.99706091921707951</c:v>
                </c:pt>
                <c:pt idx="2279">
                  <c:v>0.99706528417721951</c:v>
                </c:pt>
                <c:pt idx="2280">
                  <c:v>0.99707835619161811</c:v>
                </c:pt>
                <c:pt idx="2281">
                  <c:v>0.99708703956321176</c:v>
                </c:pt>
                <c:pt idx="2282">
                  <c:v>0.99709137920739954</c:v>
                </c:pt>
                <c:pt idx="2283">
                  <c:v>0.99709571150179477</c:v>
                </c:pt>
                <c:pt idx="2284">
                  <c:v>0.99710004379618999</c:v>
                </c:pt>
                <c:pt idx="2285">
                  <c:v>0.99711299086411498</c:v>
                </c:pt>
                <c:pt idx="2286">
                  <c:v>0.99711730029248891</c:v>
                </c:pt>
                <c:pt idx="2287">
                  <c:v>0.99712585708432178</c:v>
                </c:pt>
                <c:pt idx="2288">
                  <c:v>0.99713012159729675</c:v>
                </c:pt>
                <c:pt idx="2289">
                  <c:v>0.9971343836603408</c:v>
                </c:pt>
                <c:pt idx="2290">
                  <c:v>0.99713864164016675</c:v>
                </c:pt>
                <c:pt idx="2291">
                  <c:v>0.99714289880334905</c:v>
                </c:pt>
                <c:pt idx="2292">
                  <c:v>0.9971471420835899</c:v>
                </c:pt>
                <c:pt idx="2293">
                  <c:v>0.99715138046396901</c:v>
                </c:pt>
                <c:pt idx="2294">
                  <c:v>0.99715561884434811</c:v>
                </c:pt>
                <c:pt idx="2295">
                  <c:v>0.99715984987493467</c:v>
                </c:pt>
                <c:pt idx="2296">
                  <c:v>0.99716407927223405</c:v>
                </c:pt>
                <c:pt idx="2297">
                  <c:v>0.9971682996864536</c:v>
                </c:pt>
                <c:pt idx="2298">
                  <c:v>0.99717252010067314</c:v>
                </c:pt>
                <c:pt idx="2299">
                  <c:v>0.99717673398174378</c:v>
                </c:pt>
                <c:pt idx="2300">
                  <c:v>0.99718094541288349</c:v>
                </c:pt>
                <c:pt idx="2301">
                  <c:v>0.99718515521073603</c:v>
                </c:pt>
                <c:pt idx="2302">
                  <c:v>0.99718936255865764</c:v>
                </c:pt>
                <c:pt idx="2303">
                  <c:v>0.99719356419007399</c:v>
                </c:pt>
                <c:pt idx="2304">
                  <c:v>0.99719775928834131</c:v>
                </c:pt>
                <c:pt idx="2305">
                  <c:v>0.99720195438660864</c:v>
                </c:pt>
                <c:pt idx="2306">
                  <c:v>0.99720613315200368</c:v>
                </c:pt>
                <c:pt idx="2307">
                  <c:v>0.99721860003348106</c:v>
                </c:pt>
                <c:pt idx="2308">
                  <c:v>0.99722274613313133</c:v>
                </c:pt>
                <c:pt idx="2309">
                  <c:v>0.99723099586696362</c:v>
                </c:pt>
                <c:pt idx="2310">
                  <c:v>0.99723510195107656</c:v>
                </c:pt>
                <c:pt idx="2311">
                  <c:v>0.99723920640190233</c:v>
                </c:pt>
                <c:pt idx="2312">
                  <c:v>0.99724330595286637</c:v>
                </c:pt>
                <c:pt idx="2313">
                  <c:v>0.99725149688835812</c:v>
                </c:pt>
                <c:pt idx="2314">
                  <c:v>0.99725557765651895</c:v>
                </c:pt>
                <c:pt idx="2315">
                  <c:v>0.99726777586224591</c:v>
                </c:pt>
                <c:pt idx="2316">
                  <c:v>0.99727586226735465</c:v>
                </c:pt>
                <c:pt idx="2317">
                  <c:v>0.99727989240361115</c:v>
                </c:pt>
                <c:pt idx="2318">
                  <c:v>0.99728392008993672</c:v>
                </c:pt>
                <c:pt idx="2319">
                  <c:v>0.99728794695961875</c:v>
                </c:pt>
                <c:pt idx="2320">
                  <c:v>0.99729196892943905</c:v>
                </c:pt>
                <c:pt idx="2321">
                  <c:v>0.99729598844932843</c:v>
                </c:pt>
                <c:pt idx="2322">
                  <c:v>0.99730000470264335</c:v>
                </c:pt>
                <c:pt idx="2323">
                  <c:v>0.99731196199850292</c:v>
                </c:pt>
                <c:pt idx="2324">
                  <c:v>0.99731591945347731</c:v>
                </c:pt>
                <c:pt idx="2325">
                  <c:v>0.99731987527516452</c:v>
                </c:pt>
                <c:pt idx="2326">
                  <c:v>0.99732382946356446</c:v>
                </c:pt>
                <c:pt idx="2327">
                  <c:v>0.99733172477406651</c:v>
                </c:pt>
                <c:pt idx="2328">
                  <c:v>0.99733959313532905</c:v>
                </c:pt>
                <c:pt idx="2329">
                  <c:v>0.99734351792455878</c:v>
                </c:pt>
                <c:pt idx="2330">
                  <c:v>0.99734743944721405</c:v>
                </c:pt>
                <c:pt idx="2331">
                  <c:v>0.99735135851993839</c:v>
                </c:pt>
                <c:pt idx="2332">
                  <c:v>0.99735526942622654</c:v>
                </c:pt>
                <c:pt idx="2333">
                  <c:v>0.99735917298272214</c:v>
                </c:pt>
                <c:pt idx="2334">
                  <c:v>0.997363071639356</c:v>
                </c:pt>
                <c:pt idx="2335">
                  <c:v>0.9973669564130484</c:v>
                </c:pt>
                <c:pt idx="2336">
                  <c:v>0.9973708330203046</c:v>
                </c:pt>
                <c:pt idx="2337">
                  <c:v>0.99737470554434271</c:v>
                </c:pt>
                <c:pt idx="2338">
                  <c:v>0.99737857398516272</c:v>
                </c:pt>
                <c:pt idx="2339">
                  <c:v>0.99738242609311034</c:v>
                </c:pt>
                <c:pt idx="2340">
                  <c:v>0.99738627003462177</c:v>
                </c:pt>
                <c:pt idx="2341">
                  <c:v>0.99740152902063028</c:v>
                </c:pt>
                <c:pt idx="2342">
                  <c:v>0.99740532641345547</c:v>
                </c:pt>
                <c:pt idx="2343">
                  <c:v>0.99741290649952086</c:v>
                </c:pt>
                <c:pt idx="2344">
                  <c:v>0.9974166924593354</c:v>
                </c:pt>
                <c:pt idx="2345">
                  <c:v>0.99742047760250641</c:v>
                </c:pt>
                <c:pt idx="2346">
                  <c:v>0.99742425702917203</c:v>
                </c:pt>
                <c:pt idx="2347">
                  <c:v>0.99742803400590685</c:v>
                </c:pt>
                <c:pt idx="2348">
                  <c:v>0.99743180689942357</c:v>
                </c:pt>
                <c:pt idx="2349">
                  <c:v>0.99743557897629664</c:v>
                </c:pt>
                <c:pt idx="2350">
                  <c:v>0.99743934860323891</c:v>
                </c:pt>
                <c:pt idx="2351">
                  <c:v>0.99744311251367579</c:v>
                </c:pt>
                <c:pt idx="2352">
                  <c:v>0.99744687070760729</c:v>
                </c:pt>
                <c:pt idx="2353">
                  <c:v>0.99745061910181543</c:v>
                </c:pt>
                <c:pt idx="2354">
                  <c:v>0.99745435687965656</c:v>
                </c:pt>
                <c:pt idx="2355">
                  <c:v>0.9974618177357536</c:v>
                </c:pt>
                <c:pt idx="2356">
                  <c:v>0.99746554408058408</c:v>
                </c:pt>
                <c:pt idx="2357">
                  <c:v>0.99746926715883999</c:v>
                </c:pt>
                <c:pt idx="2358">
                  <c:v>0.99747670678220302</c:v>
                </c:pt>
                <c:pt idx="2359">
                  <c:v>0.99748042332731002</c:v>
                </c:pt>
                <c:pt idx="2360">
                  <c:v>0.99748413742248621</c:v>
                </c:pt>
                <c:pt idx="2361">
                  <c:v>0.99749154764667891</c:v>
                </c:pt>
                <c:pt idx="2362">
                  <c:v>0.99749524704226999</c:v>
                </c:pt>
                <c:pt idx="2363">
                  <c:v>0.99749893990471206</c:v>
                </c:pt>
                <c:pt idx="2364">
                  <c:v>0.99751366807236863</c:v>
                </c:pt>
                <c:pt idx="2365">
                  <c:v>0.99751733480221494</c:v>
                </c:pt>
                <c:pt idx="2366">
                  <c:v>0.99752098928240696</c:v>
                </c:pt>
                <c:pt idx="2367">
                  <c:v>0.9975246380460937</c:v>
                </c:pt>
                <c:pt idx="2368">
                  <c:v>0.99752827945998779</c:v>
                </c:pt>
                <c:pt idx="2369">
                  <c:v>0.99753554922147813</c:v>
                </c:pt>
                <c:pt idx="2370">
                  <c:v>0.99755363134447528</c:v>
                </c:pt>
                <c:pt idx="2371">
                  <c:v>0.99755723682605024</c:v>
                </c:pt>
                <c:pt idx="2372">
                  <c:v>0.99756082842468363</c:v>
                </c:pt>
                <c:pt idx="2373">
                  <c:v>0.99756799937229612</c:v>
                </c:pt>
                <c:pt idx="2374">
                  <c:v>0.99757157382141359</c:v>
                </c:pt>
                <c:pt idx="2375">
                  <c:v>0.99758225633658504</c:v>
                </c:pt>
                <c:pt idx="2376">
                  <c:v>0.99758579567002692</c:v>
                </c:pt>
                <c:pt idx="2377">
                  <c:v>0.99759281227199559</c:v>
                </c:pt>
                <c:pt idx="2378">
                  <c:v>0.99759630750668205</c:v>
                </c:pt>
                <c:pt idx="2379">
                  <c:v>0.99759979947479405</c:v>
                </c:pt>
                <c:pt idx="2380">
                  <c:v>0.9976067785111562</c:v>
                </c:pt>
                <c:pt idx="2381">
                  <c:v>0.99761026557940646</c:v>
                </c:pt>
                <c:pt idx="2382">
                  <c:v>0.99761374774779499</c:v>
                </c:pt>
                <c:pt idx="2383">
                  <c:v>0.99761722419967824</c:v>
                </c:pt>
                <c:pt idx="2384">
                  <c:v>0.99762069493505612</c:v>
                </c:pt>
                <c:pt idx="2385">
                  <c:v>0.99762416403714682</c:v>
                </c:pt>
                <c:pt idx="2386">
                  <c:v>0.99762763313923752</c:v>
                </c:pt>
                <c:pt idx="2387">
                  <c:v>0.99763454847739752</c:v>
                </c:pt>
                <c:pt idx="2388">
                  <c:v>0.99763799389682328</c:v>
                </c:pt>
                <c:pt idx="2389">
                  <c:v>0.99764143196645649</c:v>
                </c:pt>
                <c:pt idx="2390">
                  <c:v>0.99764829258949417</c:v>
                </c:pt>
                <c:pt idx="2391">
                  <c:v>0.9976517167761858</c:v>
                </c:pt>
                <c:pt idx="2392">
                  <c:v>0.99765513851294663</c:v>
                </c:pt>
                <c:pt idx="2393">
                  <c:v>0.99765854391683506</c:v>
                </c:pt>
                <c:pt idx="2394">
                  <c:v>0.9976619452375054</c:v>
                </c:pt>
                <c:pt idx="2395">
                  <c:v>0.99766534655817574</c:v>
                </c:pt>
                <c:pt idx="2396">
                  <c:v>0.99766874379562798</c:v>
                </c:pt>
                <c:pt idx="2397">
                  <c:v>0.99767213776650576</c:v>
                </c:pt>
                <c:pt idx="2398">
                  <c:v>0.99767891345860704</c:v>
                </c:pt>
                <c:pt idx="2399">
                  <c:v>0.99768904065611796</c:v>
                </c:pt>
                <c:pt idx="2400">
                  <c:v>0.99769578613240528</c:v>
                </c:pt>
                <c:pt idx="2401">
                  <c:v>0.99769915478733084</c:v>
                </c:pt>
                <c:pt idx="2402">
                  <c:v>0.99770588964725127</c:v>
                </c:pt>
                <c:pt idx="2403">
                  <c:v>0.99770925258567156</c:v>
                </c:pt>
                <c:pt idx="2404">
                  <c:v>0.99771261144087375</c:v>
                </c:pt>
                <c:pt idx="2405">
                  <c:v>0.99771596702950149</c:v>
                </c:pt>
                <c:pt idx="2406">
                  <c:v>0.99771932180148559</c:v>
                </c:pt>
                <c:pt idx="2407">
                  <c:v>0.99772267167360795</c:v>
                </c:pt>
                <c:pt idx="2408">
                  <c:v>0.99772602154573031</c:v>
                </c:pt>
                <c:pt idx="2409">
                  <c:v>0.99773604421285811</c:v>
                </c:pt>
                <c:pt idx="2410">
                  <c:v>0.99773937856875172</c:v>
                </c:pt>
                <c:pt idx="2411">
                  <c:v>0.99774270475820914</c:v>
                </c:pt>
                <c:pt idx="2412">
                  <c:v>0.99774934815404426</c:v>
                </c:pt>
                <c:pt idx="2413">
                  <c:v>0.99775930303975158</c:v>
                </c:pt>
                <c:pt idx="2414">
                  <c:v>0.99776593091935795</c:v>
                </c:pt>
                <c:pt idx="2415">
                  <c:v>0.99776924159258662</c:v>
                </c:pt>
                <c:pt idx="2416">
                  <c:v>0.99777255226581529</c:v>
                </c:pt>
                <c:pt idx="2417">
                  <c:v>0.99777915972933118</c:v>
                </c:pt>
                <c:pt idx="2418">
                  <c:v>0.99778244916982584</c:v>
                </c:pt>
                <c:pt idx="2419">
                  <c:v>0.99778573534374604</c:v>
                </c:pt>
                <c:pt idx="2420">
                  <c:v>0.9977890207010226</c:v>
                </c:pt>
                <c:pt idx="2421">
                  <c:v>0.99779229707521933</c:v>
                </c:pt>
                <c:pt idx="2422">
                  <c:v>0.99779555874983095</c:v>
                </c:pt>
                <c:pt idx="2423">
                  <c:v>0.99779881062471909</c:v>
                </c:pt>
                <c:pt idx="2424">
                  <c:v>0.99780530702470283</c:v>
                </c:pt>
                <c:pt idx="2425">
                  <c:v>0.99780854175007505</c:v>
                </c:pt>
                <c:pt idx="2426">
                  <c:v>0.99781177402551635</c:v>
                </c:pt>
                <c:pt idx="2427">
                  <c:v>0.9978181748781968</c:v>
                </c:pt>
                <c:pt idx="2428">
                  <c:v>0.9978213655048136</c:v>
                </c:pt>
                <c:pt idx="2429">
                  <c:v>0.99782773124181845</c:v>
                </c:pt>
                <c:pt idx="2430">
                  <c:v>0.99783091125206824</c:v>
                </c:pt>
                <c:pt idx="2431">
                  <c:v>0.99783408554581265</c:v>
                </c:pt>
                <c:pt idx="2432">
                  <c:v>0.99783725902291354</c:v>
                </c:pt>
                <c:pt idx="2433">
                  <c:v>0.99784043086672713</c:v>
                </c:pt>
                <c:pt idx="2434">
                  <c:v>0.99784360107725345</c:v>
                </c:pt>
                <c:pt idx="2435">
                  <c:v>0.99784676393798721</c:v>
                </c:pt>
                <c:pt idx="2436">
                  <c:v>0.99784992271550288</c:v>
                </c:pt>
                <c:pt idx="2437">
                  <c:v>0.99785307659315692</c:v>
                </c:pt>
                <c:pt idx="2438">
                  <c:v>0.99785622475430558</c:v>
                </c:pt>
                <c:pt idx="2439">
                  <c:v>0.99785936964887978</c:v>
                </c:pt>
                <c:pt idx="2440">
                  <c:v>0.9978625129101667</c:v>
                </c:pt>
                <c:pt idx="2441">
                  <c:v>0.99786565208823552</c:v>
                </c:pt>
                <c:pt idx="2442">
                  <c:v>0.99787504185655918</c:v>
                </c:pt>
                <c:pt idx="2443">
                  <c:v>0.99787816388511208</c:v>
                </c:pt>
                <c:pt idx="2444">
                  <c:v>0.99788439814249441</c:v>
                </c:pt>
                <c:pt idx="2445">
                  <c:v>0.99789061770029153</c:v>
                </c:pt>
                <c:pt idx="2446">
                  <c:v>0.99789371931275395</c:v>
                </c:pt>
                <c:pt idx="2447">
                  <c:v>0.99790299393432735</c:v>
                </c:pt>
                <c:pt idx="2448">
                  <c:v>0.99790608084720467</c:v>
                </c:pt>
                <c:pt idx="2449">
                  <c:v>0.99790916531015106</c:v>
                </c:pt>
                <c:pt idx="2450">
                  <c:v>0.99791224813981028</c:v>
                </c:pt>
                <c:pt idx="2451">
                  <c:v>0.99791532606960776</c:v>
                </c:pt>
                <c:pt idx="2452">
                  <c:v>0.99791840073283078</c:v>
                </c:pt>
                <c:pt idx="2453">
                  <c:v>0.99792147457941016</c:v>
                </c:pt>
                <c:pt idx="2454">
                  <c:v>0.99792761818935083</c:v>
                </c:pt>
                <c:pt idx="2455">
                  <c:v>0.99793068713606847</c:v>
                </c:pt>
                <c:pt idx="2456">
                  <c:v>0.99793682012964213</c:v>
                </c:pt>
                <c:pt idx="2457">
                  <c:v>0.99793988417649815</c:v>
                </c:pt>
                <c:pt idx="2458">
                  <c:v>0.99795205134976772</c:v>
                </c:pt>
                <c:pt idx="2459">
                  <c:v>0.99795505659828321</c:v>
                </c:pt>
                <c:pt idx="2460">
                  <c:v>0.99795805449700614</c:v>
                </c:pt>
                <c:pt idx="2461">
                  <c:v>0.99796999382670615</c:v>
                </c:pt>
                <c:pt idx="2462">
                  <c:v>0.99797591449293899</c:v>
                </c:pt>
                <c:pt idx="2463">
                  <c:v>0.99797886992619367</c:v>
                </c:pt>
                <c:pt idx="2464">
                  <c:v>0.99798182454280482</c:v>
                </c:pt>
                <c:pt idx="2465">
                  <c:v>0.99798477834277233</c:v>
                </c:pt>
                <c:pt idx="2466">
                  <c:v>0.99798772152637283</c:v>
                </c:pt>
                <c:pt idx="2467">
                  <c:v>0.99799066307668605</c:v>
                </c:pt>
                <c:pt idx="2468">
                  <c:v>0.99799360381035562</c:v>
                </c:pt>
                <c:pt idx="2469">
                  <c:v>0.99799654291073803</c:v>
                </c:pt>
                <c:pt idx="2470">
                  <c:v>0.99799947874454598</c:v>
                </c:pt>
                <c:pt idx="2471">
                  <c:v>0.99800825684679939</c:v>
                </c:pt>
                <c:pt idx="2472">
                  <c:v>0.99801700473323884</c:v>
                </c:pt>
                <c:pt idx="2473">
                  <c:v>0.99801991280116376</c:v>
                </c:pt>
                <c:pt idx="2474">
                  <c:v>0.99802281270265247</c:v>
                </c:pt>
                <c:pt idx="2475">
                  <c:v>0.99802571015421027</c:v>
                </c:pt>
                <c:pt idx="2476">
                  <c:v>0.9980286043391936</c:v>
                </c:pt>
                <c:pt idx="2477">
                  <c:v>0.99803149689088977</c:v>
                </c:pt>
                <c:pt idx="2478">
                  <c:v>0.99803438699265501</c:v>
                </c:pt>
                <c:pt idx="2479">
                  <c:v>0.99803727137791498</c:v>
                </c:pt>
                <c:pt idx="2480">
                  <c:v>0.99804015412988767</c:v>
                </c:pt>
                <c:pt idx="2481">
                  <c:v>0.99804303606521672</c:v>
                </c:pt>
                <c:pt idx="2482">
                  <c:v>0.99804591391732767</c:v>
                </c:pt>
                <c:pt idx="2483">
                  <c:v>0.99804878850286416</c:v>
                </c:pt>
                <c:pt idx="2484">
                  <c:v>0.99805166145511348</c:v>
                </c:pt>
                <c:pt idx="2485">
                  <c:v>0.99805453277407552</c:v>
                </c:pt>
                <c:pt idx="2486">
                  <c:v>0.99806025499590911</c:v>
                </c:pt>
                <c:pt idx="2487">
                  <c:v>0.99806310834871159</c:v>
                </c:pt>
                <c:pt idx="2488">
                  <c:v>0.99806595435172152</c:v>
                </c:pt>
                <c:pt idx="2489">
                  <c:v>0.99807163900794871</c:v>
                </c:pt>
                <c:pt idx="2490">
                  <c:v>0.99807447684452244</c:v>
                </c:pt>
                <c:pt idx="2491">
                  <c:v>0.99807731059787808</c:v>
                </c:pt>
                <c:pt idx="2492">
                  <c:v>0.99808014271794643</c:v>
                </c:pt>
                <c:pt idx="2493">
                  <c:v>0.99808297320472761</c:v>
                </c:pt>
                <c:pt idx="2494">
                  <c:v>0.9980857873586364</c:v>
                </c:pt>
                <c:pt idx="2495">
                  <c:v>0.99809139770029431</c:v>
                </c:pt>
                <c:pt idx="2496">
                  <c:v>0.99809698435928729</c:v>
                </c:pt>
                <c:pt idx="2497">
                  <c:v>0.9980997699306694</c:v>
                </c:pt>
                <c:pt idx="2498">
                  <c:v>0.99810533862350281</c:v>
                </c:pt>
                <c:pt idx="2499">
                  <c:v>0.99811365205553737</c:v>
                </c:pt>
                <c:pt idx="2500">
                  <c:v>0.99811917664961536</c:v>
                </c:pt>
                <c:pt idx="2501">
                  <c:v>0.99812193363847079</c:v>
                </c:pt>
                <c:pt idx="2502">
                  <c:v>0.99812468491082096</c:v>
                </c:pt>
                <c:pt idx="2503">
                  <c:v>0.99812743209995303</c:v>
                </c:pt>
                <c:pt idx="2504">
                  <c:v>0.99813017683915428</c:v>
                </c:pt>
                <c:pt idx="2505">
                  <c:v>0.99813291994506825</c:v>
                </c:pt>
                <c:pt idx="2506">
                  <c:v>0.99813566060105141</c:v>
                </c:pt>
                <c:pt idx="2507">
                  <c:v>0.99813838819073664</c:v>
                </c:pt>
                <c:pt idx="2508">
                  <c:v>0.9981465415606221</c:v>
                </c:pt>
                <c:pt idx="2509">
                  <c:v>0.99815196244096061</c:v>
                </c:pt>
                <c:pt idx="2510">
                  <c:v>0.99815467124784263</c:v>
                </c:pt>
                <c:pt idx="2511">
                  <c:v>0.99815737597150656</c:v>
                </c:pt>
                <c:pt idx="2512">
                  <c:v>0.9981600790618832</c:v>
                </c:pt>
                <c:pt idx="2513">
                  <c:v>0.99816278215225984</c:v>
                </c:pt>
                <c:pt idx="2514">
                  <c:v>0.99816547870948757</c:v>
                </c:pt>
                <c:pt idx="2515">
                  <c:v>0.99816817445007167</c:v>
                </c:pt>
                <c:pt idx="2516">
                  <c:v>0.9981762339059409</c:v>
                </c:pt>
                <c:pt idx="2517">
                  <c:v>0.99817890759714734</c:v>
                </c:pt>
                <c:pt idx="2518">
                  <c:v>0.99818158047171013</c:v>
                </c:pt>
                <c:pt idx="2519">
                  <c:v>0.99818424599648037</c:v>
                </c:pt>
                <c:pt idx="2520">
                  <c:v>0.99818955417999944</c:v>
                </c:pt>
                <c:pt idx="2521">
                  <c:v>0.9981922058218281</c:v>
                </c:pt>
                <c:pt idx="2522">
                  <c:v>0.9981948517471515</c:v>
                </c:pt>
                <c:pt idx="2523">
                  <c:v>0.99819749522254408</c:v>
                </c:pt>
                <c:pt idx="2524">
                  <c:v>0.99820013788129303</c:v>
                </c:pt>
                <c:pt idx="2525">
                  <c:v>0.99820277809011104</c:v>
                </c:pt>
                <c:pt idx="2526">
                  <c:v>0.9982080421748748</c:v>
                </c:pt>
                <c:pt idx="2527">
                  <c:v>0.99821067258396945</c:v>
                </c:pt>
                <c:pt idx="2528">
                  <c:v>0.9982133029930641</c:v>
                </c:pt>
                <c:pt idx="2529">
                  <c:v>0.99821592686900984</c:v>
                </c:pt>
                <c:pt idx="2530">
                  <c:v>0.99821854992831194</c:v>
                </c:pt>
                <c:pt idx="2531">
                  <c:v>0.99822378788047994</c:v>
                </c:pt>
                <c:pt idx="2532">
                  <c:v>0.99822639787348411</c:v>
                </c:pt>
                <c:pt idx="2533">
                  <c:v>0.99822900459991382</c:v>
                </c:pt>
                <c:pt idx="2534">
                  <c:v>0.99823161050969988</c:v>
                </c:pt>
                <c:pt idx="2535">
                  <c:v>0.99823421233626786</c:v>
                </c:pt>
                <c:pt idx="2536">
                  <c:v>0.99823681007961773</c:v>
                </c:pt>
                <c:pt idx="2537">
                  <c:v>0.99823940700632396</c:v>
                </c:pt>
                <c:pt idx="2538">
                  <c:v>0.99824459840980562</c:v>
                </c:pt>
                <c:pt idx="2539">
                  <c:v>0.99824718227021403</c:v>
                </c:pt>
                <c:pt idx="2540">
                  <c:v>0.9982523238584351</c:v>
                </c:pt>
                <c:pt idx="2541">
                  <c:v>0.99825488893604031</c:v>
                </c:pt>
                <c:pt idx="2542">
                  <c:v>0.99826257273584518</c:v>
                </c:pt>
                <c:pt idx="2543">
                  <c:v>0.9982676677753799</c:v>
                </c:pt>
                <c:pt idx="2544">
                  <c:v>0.99827021407018179</c:v>
                </c:pt>
                <c:pt idx="2545">
                  <c:v>0.99827275791505288</c:v>
                </c:pt>
                <c:pt idx="2546">
                  <c:v>0.99827529767670586</c:v>
                </c:pt>
                <c:pt idx="2547">
                  <c:v>0.99828036005049592</c:v>
                </c:pt>
                <c:pt idx="2548">
                  <c:v>0.99828288837913826</c:v>
                </c:pt>
                <c:pt idx="2549">
                  <c:v>0.99829045621554935</c:v>
                </c:pt>
                <c:pt idx="2550">
                  <c:v>0.99829549572331799</c:v>
                </c:pt>
                <c:pt idx="2551">
                  <c:v>0.9982980150688805</c:v>
                </c:pt>
                <c:pt idx="2552">
                  <c:v>0.99830304396028213</c:v>
                </c:pt>
                <c:pt idx="2553">
                  <c:v>0.99830555105619045</c:v>
                </c:pt>
                <c:pt idx="2554">
                  <c:v>0.99830805651881149</c:v>
                </c:pt>
                <c:pt idx="2555">
                  <c:v>0.99831055871485808</c:v>
                </c:pt>
                <c:pt idx="2556">
                  <c:v>0.99831306009426102</c:v>
                </c:pt>
                <c:pt idx="2557">
                  <c:v>0.99831556065702032</c:v>
                </c:pt>
                <c:pt idx="2558">
                  <c:v>0.99832305009564404</c:v>
                </c:pt>
                <c:pt idx="2559">
                  <c:v>0.99833048481914521</c:v>
                </c:pt>
                <c:pt idx="2560">
                  <c:v>0.99833789096011982</c:v>
                </c:pt>
                <c:pt idx="2561">
                  <c:v>0.99834527341842938</c:v>
                </c:pt>
                <c:pt idx="2562">
                  <c:v>0.99834772089935353</c:v>
                </c:pt>
                <c:pt idx="2563">
                  <c:v>0.99835016756363404</c:v>
                </c:pt>
                <c:pt idx="2564">
                  <c:v>0.99835261259462726</c:v>
                </c:pt>
                <c:pt idx="2565">
                  <c:v>0.99835505517568968</c:v>
                </c:pt>
                <c:pt idx="2566">
                  <c:v>0.99835749367353399</c:v>
                </c:pt>
                <c:pt idx="2567">
                  <c:v>0.99836236250278643</c:v>
                </c:pt>
                <c:pt idx="2568">
                  <c:v>0.99836479446748183</c:v>
                </c:pt>
                <c:pt idx="2569">
                  <c:v>0.99837449047716231</c:v>
                </c:pt>
                <c:pt idx="2570">
                  <c:v>0.99837690039247995</c:v>
                </c:pt>
                <c:pt idx="2571">
                  <c:v>0.99838171777318452</c:v>
                </c:pt>
                <c:pt idx="2572">
                  <c:v>0.99838653025402735</c:v>
                </c:pt>
                <c:pt idx="2573">
                  <c:v>0.99838893118626526</c:v>
                </c:pt>
                <c:pt idx="2574">
                  <c:v>0.99839133130185953</c:v>
                </c:pt>
                <c:pt idx="2575">
                  <c:v>0.99839612173332459</c:v>
                </c:pt>
                <c:pt idx="2576">
                  <c:v>0.99839850633269012</c:v>
                </c:pt>
                <c:pt idx="2577">
                  <c:v>0.998400890115412</c:v>
                </c:pt>
                <c:pt idx="2578">
                  <c:v>0.99840327308149024</c:v>
                </c:pt>
                <c:pt idx="2579">
                  <c:v>0.99840565114770685</c:v>
                </c:pt>
                <c:pt idx="2580">
                  <c:v>0.99840802839727982</c:v>
                </c:pt>
                <c:pt idx="2581">
                  <c:v>0.99841040074699106</c:v>
                </c:pt>
                <c:pt idx="2582">
                  <c:v>0.99841276983012783</c:v>
                </c:pt>
                <c:pt idx="2583">
                  <c:v>0.99841513564669016</c:v>
                </c:pt>
                <c:pt idx="2584">
                  <c:v>0.99841750064660884</c:v>
                </c:pt>
                <c:pt idx="2585">
                  <c:v>0.99842222166336636</c:v>
                </c:pt>
                <c:pt idx="2586">
                  <c:v>0.99842691654752813</c:v>
                </c:pt>
                <c:pt idx="2587">
                  <c:v>0.99843157958258888</c:v>
                </c:pt>
                <c:pt idx="2588">
                  <c:v>0.99843623526785696</c:v>
                </c:pt>
                <c:pt idx="2589">
                  <c:v>0.99843856025223832</c:v>
                </c:pt>
                <c:pt idx="2590">
                  <c:v>0.99844086890374728</c:v>
                </c:pt>
                <c:pt idx="2591">
                  <c:v>0.99844548212354722</c:v>
                </c:pt>
                <c:pt idx="2592">
                  <c:v>0.99844778342526364</c:v>
                </c:pt>
                <c:pt idx="2593">
                  <c:v>0.99845007737718749</c:v>
                </c:pt>
                <c:pt idx="2594">
                  <c:v>0.99845237051246771</c:v>
                </c:pt>
                <c:pt idx="2595">
                  <c:v>0.99845465466466821</c:v>
                </c:pt>
                <c:pt idx="2596">
                  <c:v>0.9984569388168687</c:v>
                </c:pt>
                <c:pt idx="2597">
                  <c:v>0.99845922296906919</c:v>
                </c:pt>
                <c:pt idx="2598">
                  <c:v>0.9984615054879824</c:v>
                </c:pt>
                <c:pt idx="2599">
                  <c:v>0.99846378719025197</c:v>
                </c:pt>
                <c:pt idx="2600">
                  <c:v>0.99846606889252154</c:v>
                </c:pt>
                <c:pt idx="2601">
                  <c:v>0.99846835059479111</c:v>
                </c:pt>
                <c:pt idx="2602">
                  <c:v>0.99847518263530199</c:v>
                </c:pt>
                <c:pt idx="2603">
                  <c:v>0.99847972399046359</c:v>
                </c:pt>
                <c:pt idx="2604">
                  <c:v>0.99848198854321724</c:v>
                </c:pt>
                <c:pt idx="2605">
                  <c:v>0.9984842514626836</c:v>
                </c:pt>
                <c:pt idx="2606">
                  <c:v>0.99848650948228823</c:v>
                </c:pt>
                <c:pt idx="2607">
                  <c:v>0.99848876750189286</c:v>
                </c:pt>
                <c:pt idx="2608">
                  <c:v>0.99849327945788413</c:v>
                </c:pt>
                <c:pt idx="2609">
                  <c:v>0.99849552767776539</c:v>
                </c:pt>
                <c:pt idx="2610">
                  <c:v>0.99849777344771584</c:v>
                </c:pt>
                <c:pt idx="2611">
                  <c:v>0.99850000615136836</c:v>
                </c:pt>
                <c:pt idx="2612">
                  <c:v>0.99850446910874247</c:v>
                </c:pt>
                <c:pt idx="2613">
                  <c:v>0.99850669446260243</c:v>
                </c:pt>
                <c:pt idx="2614">
                  <c:v>0.99850891981646239</c:v>
                </c:pt>
                <c:pt idx="2615">
                  <c:v>0.99851336317438977</c:v>
                </c:pt>
                <c:pt idx="2616">
                  <c:v>0.99851558199510082</c:v>
                </c:pt>
                <c:pt idx="2617">
                  <c:v>0.99851779836588095</c:v>
                </c:pt>
                <c:pt idx="2618">
                  <c:v>0.99852664098298016</c:v>
                </c:pt>
                <c:pt idx="2619">
                  <c:v>0.99852884347081883</c:v>
                </c:pt>
                <c:pt idx="2620">
                  <c:v>0.99853104269208304</c:v>
                </c:pt>
                <c:pt idx="2621">
                  <c:v>0.99853762810622126</c:v>
                </c:pt>
                <c:pt idx="2622">
                  <c:v>0.99853981426118754</c:v>
                </c:pt>
                <c:pt idx="2623">
                  <c:v>0.998544182487902</c:v>
                </c:pt>
                <c:pt idx="2624">
                  <c:v>0.99854853928160581</c:v>
                </c:pt>
                <c:pt idx="2625">
                  <c:v>0.99855288055908087</c:v>
                </c:pt>
                <c:pt idx="2626">
                  <c:v>0.99855505038117476</c:v>
                </c:pt>
                <c:pt idx="2627">
                  <c:v>0.99855721285347609</c:v>
                </c:pt>
                <c:pt idx="2628">
                  <c:v>0.99855937450913379</c:v>
                </c:pt>
                <c:pt idx="2629">
                  <c:v>0.99856153289821703</c:v>
                </c:pt>
                <c:pt idx="2630">
                  <c:v>0.99856369047065663</c:v>
                </c:pt>
                <c:pt idx="2631">
                  <c:v>0.9985658431432346</c:v>
                </c:pt>
                <c:pt idx="2632">
                  <c:v>0.99856799009930719</c:v>
                </c:pt>
                <c:pt idx="2633">
                  <c:v>0.99857012970558723</c:v>
                </c:pt>
                <c:pt idx="2634">
                  <c:v>0.99857226849522362</c:v>
                </c:pt>
                <c:pt idx="2635">
                  <c:v>0.99857440565157274</c:v>
                </c:pt>
                <c:pt idx="2636">
                  <c:v>0.99857654199127832</c:v>
                </c:pt>
                <c:pt idx="2637">
                  <c:v>0.99857867343112217</c:v>
                </c:pt>
                <c:pt idx="2638">
                  <c:v>0.99858079915446063</c:v>
                </c:pt>
                <c:pt idx="2639">
                  <c:v>0.99858292242786828</c:v>
                </c:pt>
                <c:pt idx="2640">
                  <c:v>0.99858504488463229</c:v>
                </c:pt>
                <c:pt idx="2641">
                  <c:v>0.9985935216453905</c:v>
                </c:pt>
                <c:pt idx="2642">
                  <c:v>0.99859563675236196</c:v>
                </c:pt>
                <c:pt idx="2643">
                  <c:v>0.99859774614282815</c:v>
                </c:pt>
                <c:pt idx="2644">
                  <c:v>0.99859985308336341</c:v>
                </c:pt>
                <c:pt idx="2645">
                  <c:v>0.99860195757396786</c:v>
                </c:pt>
                <c:pt idx="2646">
                  <c:v>0.99860405879799785</c:v>
                </c:pt>
                <c:pt idx="2647">
                  <c:v>0.99860825879612691</c:v>
                </c:pt>
                <c:pt idx="2648">
                  <c:v>0.99861035348700788</c:v>
                </c:pt>
                <c:pt idx="2649">
                  <c:v>0.99861243429494739</c:v>
                </c:pt>
                <c:pt idx="2650">
                  <c:v>0.99861451428624326</c:v>
                </c:pt>
                <c:pt idx="2651">
                  <c:v>0.99861866936897337</c:v>
                </c:pt>
                <c:pt idx="2652">
                  <c:v>0.99862074446040749</c:v>
                </c:pt>
                <c:pt idx="2653">
                  <c:v>0.99862281791855445</c:v>
                </c:pt>
                <c:pt idx="2654">
                  <c:v>0.99862695340183771</c:v>
                </c:pt>
                <c:pt idx="2655">
                  <c:v>0.99863108235197195</c:v>
                </c:pt>
                <c:pt idx="2656">
                  <c:v>0.99863314437710826</c:v>
                </c:pt>
                <c:pt idx="2657">
                  <c:v>0.99863520476895729</c:v>
                </c:pt>
                <c:pt idx="2658">
                  <c:v>0.99863726434416267</c:v>
                </c:pt>
                <c:pt idx="2659">
                  <c:v>0.9986454838621811</c:v>
                </c:pt>
                <c:pt idx="2660">
                  <c:v>0.99864958831300676</c:v>
                </c:pt>
                <c:pt idx="2661">
                  <c:v>0.99865164053841959</c:v>
                </c:pt>
                <c:pt idx="2662">
                  <c:v>0.99865574008938363</c:v>
                </c:pt>
                <c:pt idx="2663">
                  <c:v>0.998657789048222</c:v>
                </c:pt>
                <c:pt idx="2664">
                  <c:v>0.99866186981638272</c:v>
                </c:pt>
                <c:pt idx="2665">
                  <c:v>0.99866797259414242</c:v>
                </c:pt>
                <c:pt idx="2666">
                  <c:v>0.99867000603675204</c:v>
                </c:pt>
                <c:pt idx="2667">
                  <c:v>0.99867203212956912</c:v>
                </c:pt>
                <c:pt idx="2668">
                  <c:v>0.99867607533212344</c:v>
                </c:pt>
                <c:pt idx="2669">
                  <c:v>0.99867809325850432</c:v>
                </c:pt>
                <c:pt idx="2670">
                  <c:v>0.99868212421140445</c:v>
                </c:pt>
                <c:pt idx="2671">
                  <c:v>0.9986841372379236</c:v>
                </c:pt>
                <c:pt idx="2672">
                  <c:v>0.9986881551245258</c:v>
                </c:pt>
                <c:pt idx="2673">
                  <c:v>0.99869015671803429</c:v>
                </c:pt>
                <c:pt idx="2674">
                  <c:v>0.99869215749489915</c:v>
                </c:pt>
                <c:pt idx="2675">
                  <c:v>0.99869614679897467</c:v>
                </c:pt>
                <c:pt idx="2676">
                  <c:v>0.99870212054704277</c:v>
                </c:pt>
                <c:pt idx="2677">
                  <c:v>0.99870609923475118</c:v>
                </c:pt>
                <c:pt idx="2678">
                  <c:v>0.99871006240623095</c:v>
                </c:pt>
                <c:pt idx="2679">
                  <c:v>0.99871203950043097</c:v>
                </c:pt>
                <c:pt idx="2680">
                  <c:v>0.99871598878896928</c:v>
                </c:pt>
                <c:pt idx="2681">
                  <c:v>0.99871992664449682</c:v>
                </c:pt>
                <c:pt idx="2682">
                  <c:v>0.9987218923056862</c:v>
                </c:pt>
                <c:pt idx="2683">
                  <c:v>0.99872385715023193</c:v>
                </c:pt>
                <c:pt idx="2684">
                  <c:v>0.99872777948953084</c:v>
                </c:pt>
                <c:pt idx="2685">
                  <c:v>0.99873169202910628</c:v>
                </c:pt>
                <c:pt idx="2686">
                  <c:v>0.99873364462399772</c:v>
                </c:pt>
                <c:pt idx="2687">
                  <c:v>0.99873559313567106</c:v>
                </c:pt>
                <c:pt idx="2688">
                  <c:v>0.99873947709271982</c:v>
                </c:pt>
                <c:pt idx="2689">
                  <c:v>0.99874332348416217</c:v>
                </c:pt>
                <c:pt idx="2690">
                  <c:v>0.99874524178002166</c:v>
                </c:pt>
                <c:pt idx="2691">
                  <c:v>0.99874906857201717</c:v>
                </c:pt>
                <c:pt idx="2692">
                  <c:v>0.99875098115137129</c:v>
                </c:pt>
                <c:pt idx="2693">
                  <c:v>0.9987528896475073</c:v>
                </c:pt>
                <c:pt idx="2694">
                  <c:v>0.99875479732699968</c:v>
                </c:pt>
                <c:pt idx="2695">
                  <c:v>0.9987586037029047</c:v>
                </c:pt>
                <c:pt idx="2696">
                  <c:v>0.99876238394621397</c:v>
                </c:pt>
                <c:pt idx="2697">
                  <c:v>0.99876427039297233</c:v>
                </c:pt>
                <c:pt idx="2698">
                  <c:v>0.99876991585030583</c:v>
                </c:pt>
                <c:pt idx="2699">
                  <c:v>0.99877179086405354</c:v>
                </c:pt>
                <c:pt idx="2700">
                  <c:v>0.99877366342787033</c:v>
                </c:pt>
                <c:pt idx="2701">
                  <c:v>0.9987792623365177</c:v>
                </c:pt>
                <c:pt idx="2702">
                  <c:v>0.99878112591725476</c:v>
                </c:pt>
                <c:pt idx="2703">
                  <c:v>0.99878484817886704</c:v>
                </c:pt>
                <c:pt idx="2704">
                  <c:v>0.99878856554061768</c:v>
                </c:pt>
                <c:pt idx="2705">
                  <c:v>0.99879227718586294</c:v>
                </c:pt>
                <c:pt idx="2706">
                  <c:v>0.99879413096687653</c:v>
                </c:pt>
                <c:pt idx="2707">
                  <c:v>0.99879782137938777</c:v>
                </c:pt>
                <c:pt idx="2708">
                  <c:v>0.99879966209410354</c:v>
                </c:pt>
                <c:pt idx="2709">
                  <c:v>0.99880150035888837</c:v>
                </c:pt>
                <c:pt idx="2710">
                  <c:v>0.99880333780702957</c:v>
                </c:pt>
                <c:pt idx="2711">
                  <c:v>0.99880517525517076</c:v>
                </c:pt>
                <c:pt idx="2712">
                  <c:v>0.9988106549338498</c:v>
                </c:pt>
                <c:pt idx="2713">
                  <c:v>0.99881247768240589</c:v>
                </c:pt>
                <c:pt idx="2714">
                  <c:v>0.99881429961431833</c:v>
                </c:pt>
                <c:pt idx="2715">
                  <c:v>0.99881612072958725</c:v>
                </c:pt>
                <c:pt idx="2716">
                  <c:v>0.99882337824142331</c:v>
                </c:pt>
                <c:pt idx="2717">
                  <c:v>0.99883059982094013</c:v>
                </c:pt>
                <c:pt idx="2718">
                  <c:v>0.99883240133676221</c:v>
                </c:pt>
                <c:pt idx="2719">
                  <c:v>0.998834201219297</c:v>
                </c:pt>
                <c:pt idx="2720">
                  <c:v>0.99883599783525734</c:v>
                </c:pt>
                <c:pt idx="2721">
                  <c:v>0.99883958861724709</c:v>
                </c:pt>
                <c:pt idx="2722">
                  <c:v>0.99884316959951347</c:v>
                </c:pt>
                <c:pt idx="2723">
                  <c:v>0.99884674813184904</c:v>
                </c:pt>
                <c:pt idx="2724">
                  <c:v>0.99884853331479873</c:v>
                </c:pt>
                <c:pt idx="2725">
                  <c:v>0.99885031359788667</c:v>
                </c:pt>
                <c:pt idx="2726">
                  <c:v>0.99885209306433098</c:v>
                </c:pt>
                <c:pt idx="2727">
                  <c:v>0.99885742166394065</c:v>
                </c:pt>
                <c:pt idx="2728">
                  <c:v>0.99885919541387969</c:v>
                </c:pt>
                <c:pt idx="2729">
                  <c:v>0.99886096834717508</c:v>
                </c:pt>
                <c:pt idx="2730">
                  <c:v>0.99886274128047048</c:v>
                </c:pt>
                <c:pt idx="2731">
                  <c:v>0.99886450686397332</c:v>
                </c:pt>
                <c:pt idx="2732">
                  <c:v>0.99886627081418888</c:v>
                </c:pt>
                <c:pt idx="2733">
                  <c:v>0.99886803476440444</c:v>
                </c:pt>
                <c:pt idx="2734">
                  <c:v>0.99886979871462001</c:v>
                </c:pt>
                <c:pt idx="2735">
                  <c:v>0.99887156266483557</c:v>
                </c:pt>
                <c:pt idx="2736">
                  <c:v>0.99887332661505113</c:v>
                </c:pt>
                <c:pt idx="2737">
                  <c:v>0.99887508893197952</c:v>
                </c:pt>
                <c:pt idx="2738">
                  <c:v>0.99887685043226426</c:v>
                </c:pt>
                <c:pt idx="2739">
                  <c:v>0.99888212513339503</c:v>
                </c:pt>
                <c:pt idx="2740">
                  <c:v>0.99888388091717439</c:v>
                </c:pt>
                <c:pt idx="2741">
                  <c:v>0.99888563343437931</c:v>
                </c:pt>
                <c:pt idx="2742">
                  <c:v>0.99889262145382141</c:v>
                </c:pt>
                <c:pt idx="2743">
                  <c:v>0.99889436253801567</c:v>
                </c:pt>
                <c:pt idx="2744">
                  <c:v>0.99889610117227912</c:v>
                </c:pt>
                <c:pt idx="2745">
                  <c:v>0.99889783490668083</c:v>
                </c:pt>
                <c:pt idx="2746">
                  <c:v>0.99889956864108254</c:v>
                </c:pt>
                <c:pt idx="2747">
                  <c:v>0.99890130074219696</c:v>
                </c:pt>
                <c:pt idx="2748">
                  <c:v>0.99890303202666786</c:v>
                </c:pt>
                <c:pt idx="2749">
                  <c:v>0.99890476086120783</c:v>
                </c:pt>
                <c:pt idx="2750">
                  <c:v>0.99890993674846085</c:v>
                </c:pt>
                <c:pt idx="2751">
                  <c:v>0.99891165659992109</c:v>
                </c:pt>
                <c:pt idx="2752">
                  <c:v>0.9989133756347377</c:v>
                </c:pt>
                <c:pt idx="2753">
                  <c:v>0.99891508813640528</c:v>
                </c:pt>
                <c:pt idx="2754">
                  <c:v>0.99892021665832842</c:v>
                </c:pt>
                <c:pt idx="2755">
                  <c:v>0.99892192181020345</c:v>
                </c:pt>
                <c:pt idx="2756">
                  <c:v>0.99892362532879131</c:v>
                </c:pt>
                <c:pt idx="2757">
                  <c:v>0.99892702664946165</c:v>
                </c:pt>
                <c:pt idx="2758">
                  <c:v>0.99893041408719041</c:v>
                </c:pt>
                <c:pt idx="2759">
                  <c:v>0.99893210453948034</c:v>
                </c:pt>
                <c:pt idx="2760">
                  <c:v>0.99893716936320121</c:v>
                </c:pt>
                <c:pt idx="2761">
                  <c:v>0.99893885491562939</c:v>
                </c:pt>
                <c:pt idx="2762">
                  <c:v>0.99894053965141405</c:v>
                </c:pt>
                <c:pt idx="2763">
                  <c:v>0.99894222357055507</c:v>
                </c:pt>
                <c:pt idx="2764">
                  <c:v>0.99895058110134505</c:v>
                </c:pt>
                <c:pt idx="2765">
                  <c:v>0.99895224950425732</c:v>
                </c:pt>
                <c:pt idx="2766">
                  <c:v>0.9989539162738823</c:v>
                </c:pt>
                <c:pt idx="2767">
                  <c:v>0.99895558304350729</c:v>
                </c:pt>
                <c:pt idx="2768">
                  <c:v>0.99895724736320146</c:v>
                </c:pt>
                <c:pt idx="2769">
                  <c:v>0.99896057436930252</c:v>
                </c:pt>
                <c:pt idx="2770">
                  <c:v>0.99896223705570941</c:v>
                </c:pt>
                <c:pt idx="2771">
                  <c:v>0.99896721204863226</c:v>
                </c:pt>
                <c:pt idx="2772">
                  <c:v>0.99896886738524659</c:v>
                </c:pt>
                <c:pt idx="2773">
                  <c:v>0.99897052108857376</c:v>
                </c:pt>
                <c:pt idx="2774">
                  <c:v>0.9989721682587519</c:v>
                </c:pt>
                <c:pt idx="2775">
                  <c:v>0.99897381542893005</c:v>
                </c:pt>
                <c:pt idx="2776">
                  <c:v>0.99897546178246455</c:v>
                </c:pt>
                <c:pt idx="2777">
                  <c:v>0.99897710160285014</c:v>
                </c:pt>
                <c:pt idx="2778">
                  <c:v>0.99897874142323573</c:v>
                </c:pt>
                <c:pt idx="2779">
                  <c:v>0.99898037797704686</c:v>
                </c:pt>
                <c:pt idx="2780">
                  <c:v>0.99898201289757071</c:v>
                </c:pt>
                <c:pt idx="2781">
                  <c:v>0.99898364781809457</c:v>
                </c:pt>
                <c:pt idx="2782">
                  <c:v>0.99898691030934983</c:v>
                </c:pt>
                <c:pt idx="2783">
                  <c:v>0.99899016381752526</c:v>
                </c:pt>
                <c:pt idx="2784">
                  <c:v>0.9989917881216821</c:v>
                </c:pt>
                <c:pt idx="2785">
                  <c:v>0.99899341079255177</c:v>
                </c:pt>
                <c:pt idx="2786">
                  <c:v>0.99899503183013416</c:v>
                </c:pt>
                <c:pt idx="2787">
                  <c:v>0.99899664960114209</c:v>
                </c:pt>
                <c:pt idx="2788">
                  <c:v>0.99900310353565769</c:v>
                </c:pt>
                <c:pt idx="2789">
                  <c:v>0.99900470987365497</c:v>
                </c:pt>
                <c:pt idx="2790">
                  <c:v>0.99900951990456688</c:v>
                </c:pt>
                <c:pt idx="2791">
                  <c:v>0.99901111970941514</c:v>
                </c:pt>
                <c:pt idx="2792">
                  <c:v>0.99901271624768895</c:v>
                </c:pt>
                <c:pt idx="2793">
                  <c:v>0.99901750177929227</c:v>
                </c:pt>
                <c:pt idx="2794">
                  <c:v>0.99901909341770445</c:v>
                </c:pt>
                <c:pt idx="2795">
                  <c:v>0.99902068505611663</c:v>
                </c:pt>
                <c:pt idx="2796">
                  <c:v>0.9990270262938129</c:v>
                </c:pt>
                <c:pt idx="2797">
                  <c:v>0.99902860731585796</c:v>
                </c:pt>
                <c:pt idx="2798">
                  <c:v>0.99903018507132857</c:v>
                </c:pt>
                <c:pt idx="2799">
                  <c:v>0.99903176282679917</c:v>
                </c:pt>
                <c:pt idx="2800">
                  <c:v>0.99903333813233897</c:v>
                </c:pt>
                <c:pt idx="2801">
                  <c:v>0.99904120159373988</c:v>
                </c:pt>
                <c:pt idx="2802">
                  <c:v>0.99904431872243105</c:v>
                </c:pt>
                <c:pt idx="2803">
                  <c:v>0.99904898584070989</c:v>
                </c:pt>
                <c:pt idx="2804">
                  <c:v>0.99905053909687191</c:v>
                </c:pt>
                <c:pt idx="2805">
                  <c:v>0.9990536439759089</c:v>
                </c:pt>
                <c:pt idx="2806">
                  <c:v>0.99905519641542739</c:v>
                </c:pt>
                <c:pt idx="2807">
                  <c:v>0.99905674395508415</c:v>
                </c:pt>
                <c:pt idx="2808">
                  <c:v>0.99905828251166107</c:v>
                </c:pt>
                <c:pt idx="2809">
                  <c:v>0.99906135390830952</c:v>
                </c:pt>
                <c:pt idx="2810">
                  <c:v>0.99906288511509389</c:v>
                </c:pt>
                <c:pt idx="2811">
                  <c:v>0.99906441632187826</c:v>
                </c:pt>
                <c:pt idx="2812">
                  <c:v>0.99906747465222889</c:v>
                </c:pt>
                <c:pt idx="2813">
                  <c:v>0.99906900014250788</c:v>
                </c:pt>
                <c:pt idx="2814">
                  <c:v>0.99907357498005778</c:v>
                </c:pt>
                <c:pt idx="2815">
                  <c:v>0.99907661861082331</c:v>
                </c:pt>
                <c:pt idx="2816">
                  <c:v>0.99907965570843993</c:v>
                </c:pt>
                <c:pt idx="2817">
                  <c:v>0.99908117058235191</c:v>
                </c:pt>
                <c:pt idx="2818">
                  <c:v>0.99908420033017586</c:v>
                </c:pt>
                <c:pt idx="2819">
                  <c:v>0.99908722436149455</c:v>
                </c:pt>
                <c:pt idx="2820">
                  <c:v>0.99909022389350466</c:v>
                </c:pt>
                <c:pt idx="2821">
                  <c:v>0.99909319892620618</c:v>
                </c:pt>
                <c:pt idx="2822">
                  <c:v>0.99909468603423512</c:v>
                </c:pt>
                <c:pt idx="2823">
                  <c:v>0.99909617314226407</c:v>
                </c:pt>
                <c:pt idx="2824">
                  <c:v>0.99909914572503489</c:v>
                </c:pt>
                <c:pt idx="2825">
                  <c:v>0.99910062874984573</c:v>
                </c:pt>
                <c:pt idx="2826">
                  <c:v>0.99910210769143848</c:v>
                </c:pt>
                <c:pt idx="2827">
                  <c:v>0.99910358418310041</c:v>
                </c:pt>
                <c:pt idx="2828">
                  <c:v>0.99910505904147506</c:v>
                </c:pt>
                <c:pt idx="2829">
                  <c:v>0.99911092825916004</c:v>
                </c:pt>
                <c:pt idx="2830">
                  <c:v>0.99911384204359022</c:v>
                </c:pt>
                <c:pt idx="2831">
                  <c:v>0.99911819638736321</c:v>
                </c:pt>
                <c:pt idx="2832">
                  <c:v>0.99912109138899019</c:v>
                </c:pt>
                <c:pt idx="2833">
                  <c:v>0.99912253684819463</c:v>
                </c:pt>
                <c:pt idx="2834">
                  <c:v>0.99912397740753733</c:v>
                </c:pt>
                <c:pt idx="2835">
                  <c:v>0.99912685689293546</c:v>
                </c:pt>
                <c:pt idx="2836">
                  <c:v>0.99912972821189749</c:v>
                </c:pt>
                <c:pt idx="2837">
                  <c:v>0.99913115570494238</c:v>
                </c:pt>
                <c:pt idx="2838">
                  <c:v>0.99913400007466502</c:v>
                </c:pt>
                <c:pt idx="2839">
                  <c:v>0.99913683872788239</c:v>
                </c:pt>
                <c:pt idx="2840">
                  <c:v>0.99913967248123803</c:v>
                </c:pt>
                <c:pt idx="2841">
                  <c:v>0.99914108527469769</c:v>
                </c:pt>
                <c:pt idx="2842">
                  <c:v>0.99914531548864061</c:v>
                </c:pt>
                <c:pt idx="2843">
                  <c:v>0.99914953916943472</c:v>
                </c:pt>
                <c:pt idx="2844">
                  <c:v>0.99915374651735644</c:v>
                </c:pt>
                <c:pt idx="2845">
                  <c:v>0.9991565329053822</c:v>
                </c:pt>
                <c:pt idx="2846">
                  <c:v>0.99915791874960247</c:v>
                </c:pt>
                <c:pt idx="2847">
                  <c:v>0.99915930377717921</c:v>
                </c:pt>
                <c:pt idx="2848">
                  <c:v>0.99916068798811231</c:v>
                </c:pt>
                <c:pt idx="2849">
                  <c:v>0.99916206403260921</c:v>
                </c:pt>
                <c:pt idx="2850">
                  <c:v>0.99916480305530508</c:v>
                </c:pt>
                <c:pt idx="2851">
                  <c:v>0.9991661668501477</c:v>
                </c:pt>
                <c:pt idx="2852">
                  <c:v>0.99916888790668401</c:v>
                </c:pt>
                <c:pt idx="2853">
                  <c:v>0.99917024761830853</c:v>
                </c:pt>
                <c:pt idx="2854">
                  <c:v>0.99917160569664576</c:v>
                </c:pt>
                <c:pt idx="2855">
                  <c:v>0.99917431777010224</c:v>
                </c:pt>
                <c:pt idx="2856">
                  <c:v>0.9991756701319342</c:v>
                </c:pt>
                <c:pt idx="2857">
                  <c:v>0.99917702167712252</c:v>
                </c:pt>
                <c:pt idx="2858">
                  <c:v>0.99917971823435026</c:v>
                </c:pt>
                <c:pt idx="2859">
                  <c:v>0.99918106569632048</c:v>
                </c:pt>
                <c:pt idx="2860">
                  <c:v>0.99918510808223115</c:v>
                </c:pt>
                <c:pt idx="2861">
                  <c:v>0.99918645472755774</c:v>
                </c:pt>
                <c:pt idx="2862">
                  <c:v>0.99918779728966622</c:v>
                </c:pt>
                <c:pt idx="2863">
                  <c:v>0.99918913985177471</c:v>
                </c:pt>
                <c:pt idx="2864">
                  <c:v>0.99919182252606098</c:v>
                </c:pt>
                <c:pt idx="2865">
                  <c:v>0.99919449540062377</c:v>
                </c:pt>
                <c:pt idx="2866">
                  <c:v>0.9991984953210663</c:v>
                </c:pt>
                <c:pt idx="2867">
                  <c:v>0.99919982563352061</c:v>
                </c:pt>
                <c:pt idx="2868">
                  <c:v>0.99920513218375262</c:v>
                </c:pt>
                <c:pt idx="2869">
                  <c:v>0.9992064559630579</c:v>
                </c:pt>
                <c:pt idx="2870">
                  <c:v>0.99920777892571955</c:v>
                </c:pt>
                <c:pt idx="2871">
                  <c:v>0.99920910107173766</c:v>
                </c:pt>
                <c:pt idx="2872">
                  <c:v>0.99921042240111213</c:v>
                </c:pt>
                <c:pt idx="2873">
                  <c:v>0.99921173719733769</c:v>
                </c:pt>
                <c:pt idx="2874">
                  <c:v>0.99921304546041423</c:v>
                </c:pt>
                <c:pt idx="2875">
                  <c:v>0.99921565627006204</c:v>
                </c:pt>
                <c:pt idx="2876">
                  <c:v>0.99921695718334602</c:v>
                </c:pt>
                <c:pt idx="2877">
                  <c:v>0.99921955329340861</c:v>
                </c:pt>
                <c:pt idx="2878">
                  <c:v>0.99922084767354369</c:v>
                </c:pt>
                <c:pt idx="2879">
                  <c:v>0.99922214205367876</c:v>
                </c:pt>
                <c:pt idx="2880">
                  <c:v>0.9992234356171702</c:v>
                </c:pt>
                <c:pt idx="2881">
                  <c:v>0.99922472918066163</c:v>
                </c:pt>
                <c:pt idx="2882">
                  <c:v>0.99922602274415306</c:v>
                </c:pt>
                <c:pt idx="2883">
                  <c:v>0.99923119046496978</c:v>
                </c:pt>
                <c:pt idx="2884">
                  <c:v>0.99923504420620457</c:v>
                </c:pt>
                <c:pt idx="2885">
                  <c:v>0.999241423826151</c:v>
                </c:pt>
                <c:pt idx="2886">
                  <c:v>0.99924396440444763</c:v>
                </c:pt>
                <c:pt idx="2887">
                  <c:v>0.99924650089952627</c:v>
                </c:pt>
                <c:pt idx="2888">
                  <c:v>0.9992490333113867</c:v>
                </c:pt>
                <c:pt idx="2889">
                  <c:v>0.99925156164002904</c:v>
                </c:pt>
                <c:pt idx="2890">
                  <c:v>0.99925782447993805</c:v>
                </c:pt>
                <c:pt idx="2891">
                  <c:v>0.9992590706780996</c:v>
                </c:pt>
                <c:pt idx="2892">
                  <c:v>0.9992603136096867</c:v>
                </c:pt>
                <c:pt idx="2893">
                  <c:v>0.99926155327469934</c:v>
                </c:pt>
                <c:pt idx="2894">
                  <c:v>0.99926526573658814</c:v>
                </c:pt>
                <c:pt idx="2895">
                  <c:v>0.99926650131838268</c:v>
                </c:pt>
                <c:pt idx="2896">
                  <c:v>0.99926773690017723</c:v>
                </c:pt>
                <c:pt idx="2897">
                  <c:v>0.9992738927597723</c:v>
                </c:pt>
                <c:pt idx="2898">
                  <c:v>0.99927634024069645</c:v>
                </c:pt>
                <c:pt idx="2899">
                  <c:v>0.99927999472088858</c:v>
                </c:pt>
                <c:pt idx="2900">
                  <c:v>0.99928120906994899</c:v>
                </c:pt>
                <c:pt idx="2901">
                  <c:v>0.99928242260236588</c:v>
                </c:pt>
                <c:pt idx="2902">
                  <c:v>0.99928725386601203</c:v>
                </c:pt>
                <c:pt idx="2903">
                  <c:v>0.9992884567820618</c:v>
                </c:pt>
                <c:pt idx="2904">
                  <c:v>0.9992908577142996</c:v>
                </c:pt>
                <c:pt idx="2905">
                  <c:v>0.9992932521133886</c:v>
                </c:pt>
                <c:pt idx="2906">
                  <c:v>0.99929444767964581</c:v>
                </c:pt>
                <c:pt idx="2907">
                  <c:v>0.99929563344617967</c:v>
                </c:pt>
                <c:pt idx="2908">
                  <c:v>0.99929798374651324</c:v>
                </c:pt>
                <c:pt idx="2909">
                  <c:v>0.99930031771397443</c:v>
                </c:pt>
                <c:pt idx="2910">
                  <c:v>0.99930264514828659</c:v>
                </c:pt>
                <c:pt idx="2911">
                  <c:v>0.99930611833359528</c:v>
                </c:pt>
                <c:pt idx="2912">
                  <c:v>0.99930726898445355</c:v>
                </c:pt>
                <c:pt idx="2913">
                  <c:v>0.99930956456966469</c:v>
                </c:pt>
                <c:pt idx="2914">
                  <c:v>0.999311851171796</c:v>
                </c:pt>
                <c:pt idx="2915">
                  <c:v>0.99931413369070921</c:v>
                </c:pt>
                <c:pt idx="2916">
                  <c:v>0.99931641049311704</c:v>
                </c:pt>
                <c:pt idx="2917">
                  <c:v>0.99931754481110291</c:v>
                </c:pt>
                <c:pt idx="2918">
                  <c:v>0.99931867667915797</c:v>
                </c:pt>
                <c:pt idx="2919">
                  <c:v>0.99931980854721303</c:v>
                </c:pt>
                <c:pt idx="2920">
                  <c:v>0.99932658097273974</c:v>
                </c:pt>
                <c:pt idx="2921">
                  <c:v>0.99932770630764578</c:v>
                </c:pt>
                <c:pt idx="2922">
                  <c:v>0.99932883164255182</c:v>
                </c:pt>
                <c:pt idx="2923">
                  <c:v>0.99932995616081421</c:v>
                </c:pt>
                <c:pt idx="2924">
                  <c:v>0.99933107496257134</c:v>
                </c:pt>
                <c:pt idx="2925">
                  <c:v>0.99933219294768483</c:v>
                </c:pt>
                <c:pt idx="2926">
                  <c:v>0.99933330766622386</c:v>
                </c:pt>
                <c:pt idx="2927">
                  <c:v>0.99933553465337099</c:v>
                </c:pt>
                <c:pt idx="2928">
                  <c:v>0.99933664528869193</c:v>
                </c:pt>
                <c:pt idx="2929">
                  <c:v>0.99933775510736922</c:v>
                </c:pt>
                <c:pt idx="2930">
                  <c:v>0.99934107149710316</c:v>
                </c:pt>
                <c:pt idx="2931">
                  <c:v>0.9993421739659879</c:v>
                </c:pt>
                <c:pt idx="2932">
                  <c:v>0.99934767977726269</c:v>
                </c:pt>
                <c:pt idx="2933">
                  <c:v>0.99935096921775735</c:v>
                </c:pt>
                <c:pt idx="2934">
                  <c:v>0.99935639581460123</c:v>
                </c:pt>
                <c:pt idx="2935">
                  <c:v>0.99935747460082103</c:v>
                </c:pt>
                <c:pt idx="2936">
                  <c:v>0.99935855338704083</c:v>
                </c:pt>
                <c:pt idx="2937">
                  <c:v>0.9993628636320584</c:v>
                </c:pt>
                <c:pt idx="2938">
                  <c:v>0.99936500813820017</c:v>
                </c:pt>
                <c:pt idx="2939">
                  <c:v>0.99936607957462742</c:v>
                </c:pt>
                <c:pt idx="2940">
                  <c:v>0.99936821346440208</c:v>
                </c:pt>
                <c:pt idx="2941">
                  <c:v>0.99937034163767147</c:v>
                </c:pt>
                <c:pt idx="2942">
                  <c:v>0.99937140490766252</c:v>
                </c:pt>
                <c:pt idx="2943">
                  <c:v>0.99937246817765357</c:v>
                </c:pt>
                <c:pt idx="2944">
                  <c:v>0.99937353063100098</c:v>
                </c:pt>
                <c:pt idx="2945">
                  <c:v>0.99937459145106122</c:v>
                </c:pt>
                <c:pt idx="2946">
                  <c:v>0.99937564818790336</c:v>
                </c:pt>
                <c:pt idx="2947">
                  <c:v>0.99937670084152741</c:v>
                </c:pt>
                <c:pt idx="2948">
                  <c:v>0.99938089593979473</c:v>
                </c:pt>
                <c:pt idx="2949">
                  <c:v>0.99938194206026987</c:v>
                </c:pt>
                <c:pt idx="2950">
                  <c:v>0.99938609959293079</c:v>
                </c:pt>
                <c:pt idx="2951">
                  <c:v>0.99939022935970867</c:v>
                </c:pt>
                <c:pt idx="2952">
                  <c:v>0.99939227668525976</c:v>
                </c:pt>
                <c:pt idx="2953">
                  <c:v>0.99939431747766205</c:v>
                </c:pt>
                <c:pt idx="2954">
                  <c:v>0.99939635173691532</c:v>
                </c:pt>
                <c:pt idx="2955">
                  <c:v>0.99939838191295038</c:v>
                </c:pt>
                <c:pt idx="2956">
                  <c:v>0.99940444222524194</c:v>
                </c:pt>
                <c:pt idx="2957">
                  <c:v>0.99940743522410314</c:v>
                </c:pt>
                <c:pt idx="2958">
                  <c:v>0.99940843152931746</c:v>
                </c:pt>
                <c:pt idx="2959">
                  <c:v>0.9994104151566664</c:v>
                </c:pt>
                <c:pt idx="2960">
                  <c:v>0.9994114065620191</c:v>
                </c:pt>
                <c:pt idx="2961">
                  <c:v>0.99941535176733931</c:v>
                </c:pt>
                <c:pt idx="2962">
                  <c:v>0.99941633582289935</c:v>
                </c:pt>
                <c:pt idx="2963">
                  <c:v>0.99941731987845939</c:v>
                </c:pt>
                <c:pt idx="2964">
                  <c:v>0.99942026632863434</c:v>
                </c:pt>
                <c:pt idx="2965">
                  <c:v>0.99942320379572946</c:v>
                </c:pt>
                <c:pt idx="2966">
                  <c:v>0.99942515965719536</c:v>
                </c:pt>
                <c:pt idx="2967">
                  <c:v>0.99942613717960649</c:v>
                </c:pt>
                <c:pt idx="2968">
                  <c:v>0.99942711470201762</c:v>
                </c:pt>
                <c:pt idx="2969">
                  <c:v>0.99943004236938937</c:v>
                </c:pt>
                <c:pt idx="2970">
                  <c:v>0.99943198679784462</c:v>
                </c:pt>
                <c:pt idx="2971">
                  <c:v>0.99943295778710683</c:v>
                </c:pt>
                <c:pt idx="2972">
                  <c:v>0.99943875514015335</c:v>
                </c:pt>
                <c:pt idx="2973">
                  <c:v>0.99943971877962301</c:v>
                </c:pt>
                <c:pt idx="2974">
                  <c:v>0.99944164360863141</c:v>
                </c:pt>
                <c:pt idx="2975">
                  <c:v>0.99944260561481379</c:v>
                </c:pt>
                <c:pt idx="2976">
                  <c:v>0.99944452717724774</c:v>
                </c:pt>
                <c:pt idx="2977">
                  <c:v>0.99944548591685567</c:v>
                </c:pt>
                <c:pt idx="2978">
                  <c:v>0.9994464405732455</c:v>
                </c:pt>
                <c:pt idx="2979">
                  <c:v>0.99944739522963533</c:v>
                </c:pt>
                <c:pt idx="2980">
                  <c:v>0.99944834825273787</c:v>
                </c:pt>
                <c:pt idx="2981">
                  <c:v>0.99945025348229943</c:v>
                </c:pt>
                <c:pt idx="2982">
                  <c:v>0.99945215626193018</c:v>
                </c:pt>
                <c:pt idx="2983">
                  <c:v>0.99945405087512473</c:v>
                </c:pt>
                <c:pt idx="2984">
                  <c:v>0.99945593813852673</c:v>
                </c:pt>
                <c:pt idx="2985">
                  <c:v>0.99946064037248117</c:v>
                </c:pt>
                <c:pt idx="2986">
                  <c:v>0.99946530912404719</c:v>
                </c:pt>
                <c:pt idx="2987">
                  <c:v>0.99946623928112843</c:v>
                </c:pt>
                <c:pt idx="2988">
                  <c:v>0.99946716862156604</c:v>
                </c:pt>
                <c:pt idx="2989">
                  <c:v>0.99946809714536011</c:v>
                </c:pt>
                <c:pt idx="2990">
                  <c:v>0.9994690240358669</c:v>
                </c:pt>
                <c:pt idx="2991">
                  <c:v>0.99947364378881576</c:v>
                </c:pt>
                <c:pt idx="2992">
                  <c:v>0.99947456332953</c:v>
                </c:pt>
                <c:pt idx="2993">
                  <c:v>0.99947548205360059</c:v>
                </c:pt>
                <c:pt idx="2994">
                  <c:v>0.99947823087601995</c:v>
                </c:pt>
                <c:pt idx="2995">
                  <c:v>0.99947914633351609</c:v>
                </c:pt>
                <c:pt idx="2996">
                  <c:v>0.99948006097436859</c:v>
                </c:pt>
                <c:pt idx="2997">
                  <c:v>0.99948097153200299</c:v>
                </c:pt>
                <c:pt idx="2998">
                  <c:v>0.99948278938069746</c:v>
                </c:pt>
                <c:pt idx="2999">
                  <c:v>0.99948369748840105</c:v>
                </c:pt>
                <c:pt idx="3000">
                  <c:v>0.99948638832912329</c:v>
                </c:pt>
                <c:pt idx="3001">
                  <c:v>0.99948728010395449</c:v>
                </c:pt>
                <c:pt idx="3002">
                  <c:v>0.99949260870356416</c:v>
                </c:pt>
                <c:pt idx="3003">
                  <c:v>0.99949349231195916</c:v>
                </c:pt>
                <c:pt idx="3004">
                  <c:v>0.99949437510371053</c:v>
                </c:pt>
                <c:pt idx="3005">
                  <c:v>0.9994952578954619</c:v>
                </c:pt>
                <c:pt idx="3006">
                  <c:v>0.99949702184567757</c:v>
                </c:pt>
                <c:pt idx="3007">
                  <c:v>0.99949877762945705</c:v>
                </c:pt>
                <c:pt idx="3008">
                  <c:v>0.99949965470470314</c:v>
                </c:pt>
                <c:pt idx="3009">
                  <c:v>0.99950140558862077</c:v>
                </c:pt>
                <c:pt idx="3010">
                  <c:v>0.99950490327323815</c:v>
                </c:pt>
                <c:pt idx="3011">
                  <c:v>0.99950664762400687</c:v>
                </c:pt>
                <c:pt idx="3012">
                  <c:v>0.99950751326624232</c:v>
                </c:pt>
                <c:pt idx="3013">
                  <c:v>0.99950837890847777</c:v>
                </c:pt>
                <c:pt idx="3014">
                  <c:v>0.99950924373406957</c:v>
                </c:pt>
                <c:pt idx="3015">
                  <c:v>0.99951183657755771</c:v>
                </c:pt>
                <c:pt idx="3016">
                  <c:v>0.99951699204872024</c:v>
                </c:pt>
                <c:pt idx="3017">
                  <c:v>0.99951870128381348</c:v>
                </c:pt>
                <c:pt idx="3018">
                  <c:v>0.99951955304310736</c:v>
                </c:pt>
                <c:pt idx="3019">
                  <c:v>0.9995204039857577</c:v>
                </c:pt>
                <c:pt idx="3020">
                  <c:v>0.99952125247847712</c:v>
                </c:pt>
                <c:pt idx="3021">
                  <c:v>0.99952294538069786</c:v>
                </c:pt>
                <c:pt idx="3022">
                  <c:v>0.99952547697591454</c:v>
                </c:pt>
                <c:pt idx="3023">
                  <c:v>0.99952800285462606</c:v>
                </c:pt>
                <c:pt idx="3024">
                  <c:v>0.99952884236426576</c:v>
                </c:pt>
                <c:pt idx="3025">
                  <c:v>0.99952968187390545</c:v>
                </c:pt>
                <c:pt idx="3026">
                  <c:v>0.99953135925989756</c:v>
                </c:pt>
                <c:pt idx="3027">
                  <c:v>0.99953386227258767</c:v>
                </c:pt>
                <c:pt idx="3028">
                  <c:v>0.99953469279914753</c:v>
                </c:pt>
                <c:pt idx="3029">
                  <c:v>0.99953552332570739</c:v>
                </c:pt>
                <c:pt idx="3030">
                  <c:v>0.99953717866232172</c:v>
                </c:pt>
                <c:pt idx="3031">
                  <c:v>0.9995380034723762</c:v>
                </c:pt>
                <c:pt idx="3032">
                  <c:v>0.99954047218603437</c:v>
                </c:pt>
                <c:pt idx="3033">
                  <c:v>0.99954128801300912</c:v>
                </c:pt>
                <c:pt idx="3034">
                  <c:v>0.99954372732749697</c:v>
                </c:pt>
                <c:pt idx="3035">
                  <c:v>0.99954534754843571</c:v>
                </c:pt>
                <c:pt idx="3036">
                  <c:v>0.99954696531944365</c:v>
                </c:pt>
                <c:pt idx="3037">
                  <c:v>0.99954777379662585</c:v>
                </c:pt>
                <c:pt idx="3038">
                  <c:v>0.99955098973919487</c:v>
                </c:pt>
                <c:pt idx="3039">
                  <c:v>0.99955259281061759</c:v>
                </c:pt>
                <c:pt idx="3040">
                  <c:v>0.99955578343723439</c:v>
                </c:pt>
                <c:pt idx="3041">
                  <c:v>0.99955737017578483</c:v>
                </c:pt>
                <c:pt idx="3042">
                  <c:v>0.999558161503451</c:v>
                </c:pt>
                <c:pt idx="3043">
                  <c:v>0.99955895201447353</c:v>
                </c:pt>
                <c:pt idx="3044">
                  <c:v>0.99955974252549606</c:v>
                </c:pt>
                <c:pt idx="3045">
                  <c:v>0.99956131946432314</c:v>
                </c:pt>
                <c:pt idx="3046">
                  <c:v>0.99956210670877121</c:v>
                </c:pt>
                <c:pt idx="3047">
                  <c:v>0.99956289395321929</c:v>
                </c:pt>
                <c:pt idx="3048">
                  <c:v>0.99956446517554098</c:v>
                </c:pt>
                <c:pt idx="3049">
                  <c:v>0.99956836954868022</c:v>
                </c:pt>
                <c:pt idx="3050">
                  <c:v>0.99957145319498297</c:v>
                </c:pt>
                <c:pt idx="3051">
                  <c:v>0.99957298603505451</c:v>
                </c:pt>
                <c:pt idx="3052">
                  <c:v>0.99957375123012493</c:v>
                </c:pt>
                <c:pt idx="3053">
                  <c:v>0.99957451642519535</c:v>
                </c:pt>
                <c:pt idx="3054">
                  <c:v>0.99957604436540526</c:v>
                </c:pt>
                <c:pt idx="3055">
                  <c:v>0.99957755678938642</c:v>
                </c:pt>
                <c:pt idx="3056">
                  <c:v>0.99957906594679302</c:v>
                </c:pt>
                <c:pt idx="3057">
                  <c:v>0.99958281352435763</c:v>
                </c:pt>
                <c:pt idx="3058">
                  <c:v>0.99958356156991202</c:v>
                </c:pt>
                <c:pt idx="3059">
                  <c:v>0.9995850494945846</c:v>
                </c:pt>
                <c:pt idx="3060">
                  <c:v>0.99958726913193918</c:v>
                </c:pt>
                <c:pt idx="3061">
                  <c:v>0.9995902253818375</c:v>
                </c:pt>
                <c:pt idx="3062">
                  <c:v>0.99959096281102489</c:v>
                </c:pt>
                <c:pt idx="3063">
                  <c:v>0.99959389864483272</c:v>
                </c:pt>
                <c:pt idx="3064">
                  <c:v>0.99959535962026591</c:v>
                </c:pt>
                <c:pt idx="3065">
                  <c:v>0.9995960888830171</c:v>
                </c:pt>
                <c:pt idx="3066">
                  <c:v>0.999596816512481</c:v>
                </c:pt>
                <c:pt idx="3067">
                  <c:v>0.99959754332530126</c:v>
                </c:pt>
                <c:pt idx="3068">
                  <c:v>0.99959827013812153</c:v>
                </c:pt>
                <c:pt idx="3069">
                  <c:v>0.99959972294711852</c:v>
                </c:pt>
                <c:pt idx="3070">
                  <c:v>0.99960044894329525</c:v>
                </c:pt>
                <c:pt idx="3071">
                  <c:v>0.99960117412282834</c:v>
                </c:pt>
                <c:pt idx="3072">
                  <c:v>0.99960406830781168</c:v>
                </c:pt>
                <c:pt idx="3073">
                  <c:v>0.99960551050044166</c:v>
                </c:pt>
                <c:pt idx="3074">
                  <c:v>0.99960622669689492</c:v>
                </c:pt>
                <c:pt idx="3075">
                  <c:v>0.99961050672609864</c:v>
                </c:pt>
                <c:pt idx="3076">
                  <c:v>0.99961121883933379</c:v>
                </c:pt>
                <c:pt idx="3077">
                  <c:v>0.99961193013592531</c:v>
                </c:pt>
                <c:pt idx="3078">
                  <c:v>0.99961335109582128</c:v>
                </c:pt>
                <c:pt idx="3079">
                  <c:v>0.99961406075912562</c:v>
                </c:pt>
                <c:pt idx="3080">
                  <c:v>0.9996168912459068</c:v>
                </c:pt>
                <c:pt idx="3081">
                  <c:v>0.99961759519270577</c:v>
                </c:pt>
                <c:pt idx="3082">
                  <c:v>0.99962109287732304</c:v>
                </c:pt>
                <c:pt idx="3083">
                  <c:v>0.99962457096249357</c:v>
                </c:pt>
                <c:pt idx="3084">
                  <c:v>0.99962665095378944</c:v>
                </c:pt>
                <c:pt idx="3085">
                  <c:v>0.99962734346757776</c:v>
                </c:pt>
                <c:pt idx="3086">
                  <c:v>0.9996287268618671</c:v>
                </c:pt>
                <c:pt idx="3087">
                  <c:v>0.99963010862286927</c:v>
                </c:pt>
                <c:pt idx="3088">
                  <c:v>0.99963217718115449</c:v>
                </c:pt>
                <c:pt idx="3089">
                  <c:v>0.99963286561172471</c:v>
                </c:pt>
                <c:pt idx="3090">
                  <c:v>0.99963355240900775</c:v>
                </c:pt>
                <c:pt idx="3091">
                  <c:v>0.99963423838964716</c:v>
                </c:pt>
                <c:pt idx="3092">
                  <c:v>0.99963492437028656</c:v>
                </c:pt>
                <c:pt idx="3093">
                  <c:v>0.99963560626770787</c:v>
                </c:pt>
                <c:pt idx="3094">
                  <c:v>0.99963628653184189</c:v>
                </c:pt>
                <c:pt idx="3095">
                  <c:v>0.99963764461017923</c:v>
                </c:pt>
                <c:pt idx="3096">
                  <c:v>0.9996396707029962</c:v>
                </c:pt>
                <c:pt idx="3097">
                  <c:v>0.99964034443398131</c:v>
                </c:pt>
                <c:pt idx="3098">
                  <c:v>0.99964168617944615</c:v>
                </c:pt>
                <c:pt idx="3099">
                  <c:v>0.99964368940624193</c:v>
                </c:pt>
                <c:pt idx="3100">
                  <c:v>0.99964435578743449</c:v>
                </c:pt>
                <c:pt idx="3101">
                  <c:v>0.99964502053533977</c:v>
                </c:pt>
                <c:pt idx="3102">
                  <c:v>0.99964634921450679</c:v>
                </c:pt>
                <c:pt idx="3103">
                  <c:v>0.99964833774171746</c:v>
                </c:pt>
                <c:pt idx="3104">
                  <c:v>0.99964899840640464</c:v>
                </c:pt>
                <c:pt idx="3105">
                  <c:v>0.99965163616529196</c:v>
                </c:pt>
                <c:pt idx="3106">
                  <c:v>0.99965295177816105</c:v>
                </c:pt>
                <c:pt idx="3107">
                  <c:v>0.99965491498941961</c:v>
                </c:pt>
                <c:pt idx="3108">
                  <c:v>0.99965556585438342</c:v>
                </c:pt>
                <c:pt idx="3109">
                  <c:v>0.99965621671934723</c:v>
                </c:pt>
                <c:pt idx="3110">
                  <c:v>0.99965816196444623</c:v>
                </c:pt>
                <c:pt idx="3111">
                  <c:v>0.99965880956283559</c:v>
                </c:pt>
                <c:pt idx="3112">
                  <c:v>0.99965945634458131</c:v>
                </c:pt>
                <c:pt idx="3113">
                  <c:v>0.99966074664149829</c:v>
                </c:pt>
                <c:pt idx="3114">
                  <c:v>0.99966138689009509</c:v>
                </c:pt>
                <c:pt idx="3115">
                  <c:v>0.99966582698144801</c:v>
                </c:pt>
                <c:pt idx="3116">
                  <c:v>0.99966645498039053</c:v>
                </c:pt>
                <c:pt idx="3117">
                  <c:v>0.9996670821626894</c:v>
                </c:pt>
                <c:pt idx="3118">
                  <c:v>0.99966833081078188</c:v>
                </c:pt>
                <c:pt idx="3119">
                  <c:v>0.9996689547265063</c:v>
                </c:pt>
                <c:pt idx="3120">
                  <c:v>0.99967206695533573</c:v>
                </c:pt>
                <c:pt idx="3121">
                  <c:v>0.99967268842112933</c:v>
                </c:pt>
                <c:pt idx="3122">
                  <c:v>0.99967516203464912</c:v>
                </c:pt>
                <c:pt idx="3123">
                  <c:v>0.9996776266650893</c:v>
                </c:pt>
                <c:pt idx="3124">
                  <c:v>0.99967884999722956</c:v>
                </c:pt>
                <c:pt idx="3125">
                  <c:v>0.99967946166329968</c:v>
                </c:pt>
                <c:pt idx="3126">
                  <c:v>0.99968068254550901</c:v>
                </c:pt>
                <c:pt idx="3127">
                  <c:v>0.99968129176164833</c:v>
                </c:pt>
                <c:pt idx="3128">
                  <c:v>0.99968372209305645</c:v>
                </c:pt>
                <c:pt idx="3129">
                  <c:v>0.9996843280426212</c:v>
                </c:pt>
                <c:pt idx="3130">
                  <c:v>0.99968493317554241</c:v>
                </c:pt>
                <c:pt idx="3131">
                  <c:v>0.99968553830846363</c:v>
                </c:pt>
                <c:pt idx="3132">
                  <c:v>0.99968735289058364</c:v>
                </c:pt>
                <c:pt idx="3133">
                  <c:v>0.99968795720686121</c:v>
                </c:pt>
                <c:pt idx="3134">
                  <c:v>0.99968916502277272</c:v>
                </c:pt>
                <c:pt idx="3135">
                  <c:v>0.99968976770576301</c:v>
                </c:pt>
                <c:pt idx="3136">
                  <c:v>0.99969096817188197</c:v>
                </c:pt>
                <c:pt idx="3137">
                  <c:v>0.99969691497071067</c:v>
                </c:pt>
                <c:pt idx="3138">
                  <c:v>0.99969750295411586</c:v>
                </c:pt>
                <c:pt idx="3139">
                  <c:v>0.99969867565435189</c:v>
                </c:pt>
                <c:pt idx="3140">
                  <c:v>0.99970332480647117</c:v>
                </c:pt>
                <c:pt idx="3141">
                  <c:v>0.99970560324216629</c:v>
                </c:pt>
                <c:pt idx="3142">
                  <c:v>0.99970616917619382</c:v>
                </c:pt>
                <c:pt idx="3143">
                  <c:v>0.9997078628950582</c:v>
                </c:pt>
                <c:pt idx="3144">
                  <c:v>0.99970898578003342</c:v>
                </c:pt>
                <c:pt idx="3145">
                  <c:v>0.99971010621507772</c:v>
                </c:pt>
                <c:pt idx="3146">
                  <c:v>0.99971066561595623</c:v>
                </c:pt>
                <c:pt idx="3147">
                  <c:v>0.99971122501683474</c:v>
                </c:pt>
                <c:pt idx="3148">
                  <c:v>0.99971177870120798</c:v>
                </c:pt>
                <c:pt idx="3149">
                  <c:v>0.99971398853883908</c:v>
                </c:pt>
                <c:pt idx="3150">
                  <c:v>0.99971673001146566</c:v>
                </c:pt>
                <c:pt idx="3151">
                  <c:v>0.9997216257899576</c:v>
                </c:pt>
                <c:pt idx="3152">
                  <c:v>0.99972216477474574</c:v>
                </c:pt>
                <c:pt idx="3153">
                  <c:v>0.99972270294289023</c:v>
                </c:pt>
                <c:pt idx="3154">
                  <c:v>0.99972538643382014</c:v>
                </c:pt>
                <c:pt idx="3155">
                  <c:v>0.99972698378873759</c:v>
                </c:pt>
                <c:pt idx="3156">
                  <c:v>0.99972751542373317</c:v>
                </c:pt>
                <c:pt idx="3157">
                  <c:v>0.99972910787878899</c:v>
                </c:pt>
                <c:pt idx="3158">
                  <c:v>0.99972963869714093</c:v>
                </c:pt>
                <c:pt idx="3159">
                  <c:v>0.99973069380069579</c:v>
                </c:pt>
                <c:pt idx="3160">
                  <c:v>0.9997317415544581</c:v>
                </c:pt>
                <c:pt idx="3161">
                  <c:v>0.9997338305288338</c:v>
                </c:pt>
                <c:pt idx="3162">
                  <c:v>0.99973435073081862</c:v>
                </c:pt>
                <c:pt idx="3163">
                  <c:v>0.99973487011615991</c:v>
                </c:pt>
                <c:pt idx="3164">
                  <c:v>0.99973538868485756</c:v>
                </c:pt>
                <c:pt idx="3165">
                  <c:v>0.99973693704115796</c:v>
                </c:pt>
                <c:pt idx="3166">
                  <c:v>0.9997384780476658</c:v>
                </c:pt>
                <c:pt idx="3167">
                  <c:v>0.99973899008321454</c:v>
                </c:pt>
                <c:pt idx="3168">
                  <c:v>0.99974051802342445</c:v>
                </c:pt>
                <c:pt idx="3169">
                  <c:v>0.99974203779719817</c:v>
                </c:pt>
                <c:pt idx="3170">
                  <c:v>0.99974254329959789</c:v>
                </c:pt>
                <c:pt idx="3171">
                  <c:v>0.99974354450467395</c:v>
                </c:pt>
                <c:pt idx="3172">
                  <c:v>0.99974453835995747</c:v>
                </c:pt>
                <c:pt idx="3173">
                  <c:v>0.99974553139859745</c:v>
                </c:pt>
                <c:pt idx="3174">
                  <c:v>0.99974800664540464</c:v>
                </c:pt>
                <c:pt idx="3175">
                  <c:v>0.99974849826486289</c:v>
                </c:pt>
                <c:pt idx="3176">
                  <c:v>0.99974898743439022</c:v>
                </c:pt>
                <c:pt idx="3177">
                  <c:v>0.99975045004311069</c:v>
                </c:pt>
                <c:pt idx="3178">
                  <c:v>0.99975190448539497</c:v>
                </c:pt>
                <c:pt idx="3179">
                  <c:v>0.99975334994459941</c:v>
                </c:pt>
                <c:pt idx="3180">
                  <c:v>0.99975383013104702</c:v>
                </c:pt>
                <c:pt idx="3181">
                  <c:v>0.99975478968729858</c:v>
                </c:pt>
                <c:pt idx="3182">
                  <c:v>0.99975526905710255</c:v>
                </c:pt>
                <c:pt idx="3183">
                  <c:v>0.99975574761026287</c:v>
                </c:pt>
                <c:pt idx="3184">
                  <c:v>0.99975718000316949</c:v>
                </c:pt>
                <c:pt idx="3185">
                  <c:v>0.99975765528975535</c:v>
                </c:pt>
                <c:pt idx="3186">
                  <c:v>0.99975907869958203</c:v>
                </c:pt>
                <c:pt idx="3187">
                  <c:v>0.99975955153623708</c:v>
                </c:pt>
                <c:pt idx="3188">
                  <c:v>0.99976049475961626</c:v>
                </c:pt>
                <c:pt idx="3189">
                  <c:v>0.99976143226649017</c:v>
                </c:pt>
                <c:pt idx="3190">
                  <c:v>0.99976190101992712</c:v>
                </c:pt>
                <c:pt idx="3191">
                  <c:v>0.99976236977336408</c:v>
                </c:pt>
                <c:pt idx="3192">
                  <c:v>0.99976424315382462</c:v>
                </c:pt>
                <c:pt idx="3193">
                  <c:v>0.99976470864068712</c:v>
                </c:pt>
                <c:pt idx="3194">
                  <c:v>0.99976609938476912</c:v>
                </c:pt>
                <c:pt idx="3195">
                  <c:v>0.99976702464198863</c:v>
                </c:pt>
                <c:pt idx="3196">
                  <c:v>0.99976976203139734</c:v>
                </c:pt>
                <c:pt idx="3197">
                  <c:v>0.99977066523923919</c:v>
                </c:pt>
                <c:pt idx="3198">
                  <c:v>0.99977111684316011</c:v>
                </c:pt>
                <c:pt idx="3199">
                  <c:v>0.9997729167256949</c:v>
                </c:pt>
                <c:pt idx="3200">
                  <c:v>0.99977381340038785</c:v>
                </c:pt>
                <c:pt idx="3201">
                  <c:v>0.99977426092109067</c:v>
                </c:pt>
                <c:pt idx="3202">
                  <c:v>0.9997747084417935</c:v>
                </c:pt>
                <c:pt idx="3203">
                  <c:v>0.99977515514585269</c:v>
                </c:pt>
                <c:pt idx="3204">
                  <c:v>0.99977648954152509</c:v>
                </c:pt>
                <c:pt idx="3205">
                  <c:v>0.99977693297900982</c:v>
                </c:pt>
                <c:pt idx="3206">
                  <c:v>0.99977737641649456</c:v>
                </c:pt>
                <c:pt idx="3207">
                  <c:v>0.99977826165817674</c:v>
                </c:pt>
                <c:pt idx="3208">
                  <c:v>0.99977870427901783</c:v>
                </c:pt>
                <c:pt idx="3209">
                  <c:v>0.99977914608321539</c:v>
                </c:pt>
                <c:pt idx="3210">
                  <c:v>0.9997822207464383</c:v>
                </c:pt>
                <c:pt idx="3211">
                  <c:v>0.99978309537175358</c:v>
                </c:pt>
                <c:pt idx="3212">
                  <c:v>0.99978440608476105</c:v>
                </c:pt>
                <c:pt idx="3213">
                  <c:v>0.99978614798559884</c:v>
                </c:pt>
                <c:pt idx="3214">
                  <c:v>0.99978701689440863</c:v>
                </c:pt>
                <c:pt idx="3215">
                  <c:v>0.99978744971552636</c:v>
                </c:pt>
                <c:pt idx="3216">
                  <c:v>0.99978787927006962</c:v>
                </c:pt>
                <c:pt idx="3217">
                  <c:v>0.99978830882461289</c:v>
                </c:pt>
                <c:pt idx="3218">
                  <c:v>0.99978916711705579</c:v>
                </c:pt>
                <c:pt idx="3219">
                  <c:v>0.99979130345676126</c:v>
                </c:pt>
                <c:pt idx="3220">
                  <c:v>0.99979215194948068</c:v>
                </c:pt>
                <c:pt idx="3221">
                  <c:v>0.99979299962555646</c:v>
                </c:pt>
                <c:pt idx="3222">
                  <c:v>0.9997934226469507</c:v>
                </c:pt>
                <c:pt idx="3223">
                  <c:v>0.99979384566834495</c:v>
                </c:pt>
                <c:pt idx="3224">
                  <c:v>0.99979468599462817</c:v>
                </c:pt>
                <c:pt idx="3225">
                  <c:v>0.99979676843585497</c:v>
                </c:pt>
                <c:pt idx="3226">
                  <c:v>0.99979718247416949</c:v>
                </c:pt>
                <c:pt idx="3227">
                  <c:v>0.99979759569584037</c:v>
                </c:pt>
                <c:pt idx="3228">
                  <c:v>0.99979800891751125</c:v>
                </c:pt>
                <c:pt idx="3229">
                  <c:v>0.99979842132253849</c:v>
                </c:pt>
                <c:pt idx="3230">
                  <c:v>0.99979883291092209</c:v>
                </c:pt>
                <c:pt idx="3231">
                  <c:v>0.99979924368266215</c:v>
                </c:pt>
                <c:pt idx="3232">
                  <c:v>0.99980087451996802</c:v>
                </c:pt>
                <c:pt idx="3233">
                  <c:v>0.99980208315252317</c:v>
                </c:pt>
                <c:pt idx="3234">
                  <c:v>0.99980288591319999</c:v>
                </c:pt>
                <c:pt idx="3235">
                  <c:v>0.99980328688521658</c:v>
                </c:pt>
                <c:pt idx="3236">
                  <c:v>0.99980368704058953</c:v>
                </c:pt>
                <c:pt idx="3237">
                  <c:v>0.99980687113405753</c:v>
                </c:pt>
                <c:pt idx="3238">
                  <c:v>0.99980884822825766</c:v>
                </c:pt>
                <c:pt idx="3239">
                  <c:v>0.99981121159488917</c:v>
                </c:pt>
                <c:pt idx="3240">
                  <c:v>0.99981199393947562</c:v>
                </c:pt>
                <c:pt idx="3241">
                  <c:v>0.99981238511176884</c:v>
                </c:pt>
                <c:pt idx="3242">
                  <c:v>0.99981277546741842</c:v>
                </c:pt>
                <c:pt idx="3243">
                  <c:v>0.99981355209549938</c:v>
                </c:pt>
                <c:pt idx="3244">
                  <c:v>0.99981661532571175</c:v>
                </c:pt>
                <c:pt idx="3245">
                  <c:v>0.99981736827112788</c:v>
                </c:pt>
                <c:pt idx="3246">
                  <c:v>0.99981774392719236</c:v>
                </c:pt>
                <c:pt idx="3247">
                  <c:v>0.9998181187666132</c:v>
                </c:pt>
                <c:pt idx="3248">
                  <c:v>0.99981886844545487</c:v>
                </c:pt>
                <c:pt idx="3249">
                  <c:v>0.99981924165158842</c:v>
                </c:pt>
                <c:pt idx="3250">
                  <c:v>0.99981961404107833</c:v>
                </c:pt>
                <c:pt idx="3251">
                  <c:v>0.99981998643056824</c:v>
                </c:pt>
                <c:pt idx="3252">
                  <c:v>0.99982073039290453</c:v>
                </c:pt>
                <c:pt idx="3253">
                  <c:v>0.99982184347815639</c:v>
                </c:pt>
                <c:pt idx="3254">
                  <c:v>0.99982221341771549</c:v>
                </c:pt>
                <c:pt idx="3255">
                  <c:v>0.99982258335727459</c:v>
                </c:pt>
                <c:pt idx="3256">
                  <c:v>0.99982295248019004</c:v>
                </c:pt>
                <c:pt idx="3257">
                  <c:v>0.99982405903229277</c:v>
                </c:pt>
                <c:pt idx="3258">
                  <c:v>0.99982552980744932</c:v>
                </c:pt>
                <c:pt idx="3259">
                  <c:v>0.99982662737647232</c:v>
                </c:pt>
                <c:pt idx="3260">
                  <c:v>0.99982772249556451</c:v>
                </c:pt>
                <c:pt idx="3261">
                  <c:v>0.99982808508533105</c:v>
                </c:pt>
                <c:pt idx="3262">
                  <c:v>0.9998284476750976</c:v>
                </c:pt>
                <c:pt idx="3263">
                  <c:v>0.99983061259732975</c:v>
                </c:pt>
                <c:pt idx="3264">
                  <c:v>0.99983133206035757</c:v>
                </c:pt>
                <c:pt idx="3265">
                  <c:v>0.99983204825681082</c:v>
                </c:pt>
                <c:pt idx="3266">
                  <c:v>0.99983347493321206</c:v>
                </c:pt>
                <c:pt idx="3267">
                  <c:v>0.99983593139721583</c:v>
                </c:pt>
                <c:pt idx="3268">
                  <c:v>0.99983697751769107</c:v>
                </c:pt>
                <c:pt idx="3269">
                  <c:v>0.99983801955494811</c:v>
                </c:pt>
                <c:pt idx="3270">
                  <c:v>0.99984042375376048</c:v>
                </c:pt>
                <c:pt idx="3271">
                  <c:v>0.99984144210835257</c:v>
                </c:pt>
                <c:pt idx="3272">
                  <c:v>0.99984245556308282</c:v>
                </c:pt>
                <c:pt idx="3273">
                  <c:v>0.99984312684413712</c:v>
                </c:pt>
                <c:pt idx="3274">
                  <c:v>0.99984446205645305</c:v>
                </c:pt>
                <c:pt idx="3275">
                  <c:v>0.99984611657642375</c:v>
                </c:pt>
                <c:pt idx="3276">
                  <c:v>0.99984644650044552</c:v>
                </c:pt>
                <c:pt idx="3277">
                  <c:v>0.99984743218929295</c:v>
                </c:pt>
                <c:pt idx="3278">
                  <c:v>0.99984841461156582</c:v>
                </c:pt>
                <c:pt idx="3279">
                  <c:v>0.99984906547652963</c:v>
                </c:pt>
                <c:pt idx="3280">
                  <c:v>0.99984938968404613</c:v>
                </c:pt>
                <c:pt idx="3281">
                  <c:v>0.99984971389156263</c:v>
                </c:pt>
                <c:pt idx="3282">
                  <c:v>0.99985165342015614</c:v>
                </c:pt>
                <c:pt idx="3283">
                  <c:v>0.9998561196441047</c:v>
                </c:pt>
                <c:pt idx="3284">
                  <c:v>0.99985737890856419</c:v>
                </c:pt>
                <c:pt idx="3285">
                  <c:v>0.99985800445757589</c:v>
                </c:pt>
                <c:pt idx="3286">
                  <c:v>0.99985893869787523</c:v>
                </c:pt>
                <c:pt idx="3287">
                  <c:v>0.99985955934702508</c:v>
                </c:pt>
                <c:pt idx="3288">
                  <c:v>0.99986172100268278</c:v>
                </c:pt>
                <c:pt idx="3289">
                  <c:v>0.99986233185210938</c:v>
                </c:pt>
                <c:pt idx="3290">
                  <c:v>0.99986263646017903</c:v>
                </c:pt>
                <c:pt idx="3291">
                  <c:v>0.99986324404303106</c:v>
                </c:pt>
                <c:pt idx="3292">
                  <c:v>0.99986445512551692</c:v>
                </c:pt>
                <c:pt idx="3293">
                  <c:v>0.99986475646701212</c:v>
                </c:pt>
                <c:pt idx="3294">
                  <c:v>0.99986655961612148</c:v>
                </c:pt>
                <c:pt idx="3295">
                  <c:v>0.99986775354909141</c:v>
                </c:pt>
                <c:pt idx="3296">
                  <c:v>0.99986804999072487</c:v>
                </c:pt>
                <c:pt idx="3297">
                  <c:v>0.99986864042406087</c:v>
                </c:pt>
                <c:pt idx="3298">
                  <c:v>0.99986952239916871</c:v>
                </c:pt>
                <c:pt idx="3299">
                  <c:v>0.99986981475758407</c:v>
                </c:pt>
                <c:pt idx="3300">
                  <c:v>0.99987010711599944</c:v>
                </c:pt>
                <c:pt idx="3301">
                  <c:v>0.99987185636662979</c:v>
                </c:pt>
                <c:pt idx="3302">
                  <c:v>0.99987214709175787</c:v>
                </c:pt>
                <c:pt idx="3303">
                  <c:v>0.99987330672569597</c:v>
                </c:pt>
                <c:pt idx="3304">
                  <c:v>0.99987359500089323</c:v>
                </c:pt>
                <c:pt idx="3305">
                  <c:v>0.99987473993524612</c:v>
                </c:pt>
                <c:pt idx="3306">
                  <c:v>0.99987502576051257</c:v>
                </c:pt>
                <c:pt idx="3307">
                  <c:v>0.99987673172903124</c:v>
                </c:pt>
                <c:pt idx="3308">
                  <c:v>0.99987729602977149</c:v>
                </c:pt>
                <c:pt idx="3309">
                  <c:v>0.99987785706393728</c:v>
                </c:pt>
                <c:pt idx="3310">
                  <c:v>0.99987869167371524</c:v>
                </c:pt>
                <c:pt idx="3311">
                  <c:v>0.99987896769925821</c:v>
                </c:pt>
                <c:pt idx="3312">
                  <c:v>0.99988006935149931</c:v>
                </c:pt>
                <c:pt idx="3313">
                  <c:v>0.99988061731936728</c:v>
                </c:pt>
                <c:pt idx="3314">
                  <c:v>0.99988143396298557</c:v>
                </c:pt>
                <c:pt idx="3315">
                  <c:v>0.99988224080688048</c:v>
                </c:pt>
                <c:pt idx="3316">
                  <c:v>0.99988250948263091</c:v>
                </c:pt>
                <c:pt idx="3317">
                  <c:v>0.9998833138765949</c:v>
                </c:pt>
                <c:pt idx="3318">
                  <c:v>0.99988358173570169</c:v>
                </c:pt>
                <c:pt idx="3319">
                  <c:v>0.9998846482722672</c:v>
                </c:pt>
                <c:pt idx="3320">
                  <c:v>0.99988491449808681</c:v>
                </c:pt>
                <c:pt idx="3321">
                  <c:v>0.99988517990726278</c:v>
                </c:pt>
                <c:pt idx="3322">
                  <c:v>0.99988571072561472</c:v>
                </c:pt>
                <c:pt idx="3323">
                  <c:v>0.99988623909403573</c:v>
                </c:pt>
                <c:pt idx="3324">
                  <c:v>0.99988650205328089</c:v>
                </c:pt>
                <c:pt idx="3325">
                  <c:v>0.99988754817375602</c:v>
                </c:pt>
                <c:pt idx="3326">
                  <c:v>0.99989267587903552</c:v>
                </c:pt>
                <c:pt idx="3327">
                  <c:v>0.99989368525054767</c:v>
                </c:pt>
                <c:pt idx="3328">
                  <c:v>0.9998964250898873</c:v>
                </c:pt>
                <c:pt idx="3329">
                  <c:v>0.99989838421792765</c:v>
                </c:pt>
                <c:pt idx="3330">
                  <c:v>0.99989887093752428</c:v>
                </c:pt>
                <c:pt idx="3331">
                  <c:v>0.99990055975652703</c:v>
                </c:pt>
                <c:pt idx="3332">
                  <c:v>0.99990174715634805</c:v>
                </c:pt>
                <c:pt idx="3333">
                  <c:v>0.99990292557308924</c:v>
                </c:pt>
                <c:pt idx="3334">
                  <c:v>0.99990339595981348</c:v>
                </c:pt>
                <c:pt idx="3335">
                  <c:v>0.99990362951988832</c:v>
                </c:pt>
                <c:pt idx="3336">
                  <c:v>0.99990386307996315</c:v>
                </c:pt>
                <c:pt idx="3337">
                  <c:v>0.99990502271390114</c:v>
                </c:pt>
                <c:pt idx="3338">
                  <c:v>0.99990708555568109</c:v>
                </c:pt>
                <c:pt idx="3339">
                  <c:v>0.99990910348206208</c:v>
                </c:pt>
                <c:pt idx="3340">
                  <c:v>0.99990932479248262</c:v>
                </c:pt>
                <c:pt idx="3341">
                  <c:v>0.99990976578003654</c:v>
                </c:pt>
                <c:pt idx="3342">
                  <c:v>0.99991042481143666</c:v>
                </c:pt>
                <c:pt idx="3343">
                  <c:v>0.99991151584731075</c:v>
                </c:pt>
                <c:pt idx="3344">
                  <c:v>0.99991238312283326</c:v>
                </c:pt>
                <c:pt idx="3345">
                  <c:v>0.99991302990457909</c:v>
                </c:pt>
                <c:pt idx="3346">
                  <c:v>0.999913460275766</c:v>
                </c:pt>
                <c:pt idx="3347">
                  <c:v>0.99991388983030927</c:v>
                </c:pt>
                <c:pt idx="3348">
                  <c:v>0.99991453252883689</c:v>
                </c:pt>
                <c:pt idx="3349">
                  <c:v>0.9999153785716256</c:v>
                </c:pt>
                <c:pt idx="3350">
                  <c:v>0.99991558926567914</c:v>
                </c:pt>
                <c:pt idx="3351">
                  <c:v>0.9999166402860159</c:v>
                </c:pt>
                <c:pt idx="3352">
                  <c:v>0.9999168501634258</c:v>
                </c:pt>
                <c:pt idx="3353">
                  <c:v>0.99991705922419205</c:v>
                </c:pt>
                <c:pt idx="3354">
                  <c:v>0.99991747652908103</c:v>
                </c:pt>
                <c:pt idx="3355">
                  <c:v>0.99991830378906643</c:v>
                </c:pt>
                <c:pt idx="3356">
                  <c:v>0.99991851039990187</c:v>
                </c:pt>
                <c:pt idx="3357">
                  <c:v>0.99991871701073731</c:v>
                </c:pt>
                <c:pt idx="3358">
                  <c:v>0.99991953855421722</c:v>
                </c:pt>
                <c:pt idx="3359">
                  <c:v>0.99992015185357452</c:v>
                </c:pt>
                <c:pt idx="3360">
                  <c:v>0.99992116530830488</c:v>
                </c:pt>
                <c:pt idx="3361">
                  <c:v>0.99992136701927858</c:v>
                </c:pt>
                <c:pt idx="3362">
                  <c:v>0.999921766358008</c:v>
                </c:pt>
                <c:pt idx="3363">
                  <c:v>0.99992196561905089</c:v>
                </c:pt>
                <c:pt idx="3364">
                  <c:v>0.99992216488009378</c:v>
                </c:pt>
                <c:pt idx="3365">
                  <c:v>0.99992335309655833</c:v>
                </c:pt>
                <c:pt idx="3366">
                  <c:v>0.99992355072431394</c:v>
                </c:pt>
                <c:pt idx="3367">
                  <c:v>0.99992529915830064</c:v>
                </c:pt>
                <c:pt idx="3368">
                  <c:v>0.99992549025290733</c:v>
                </c:pt>
                <c:pt idx="3369">
                  <c:v>0.99992568134751403</c:v>
                </c:pt>
                <c:pt idx="3370">
                  <c:v>0.99992701084332458</c:v>
                </c:pt>
                <c:pt idx="3371">
                  <c:v>0.99992719948800046</c:v>
                </c:pt>
                <c:pt idx="3372">
                  <c:v>0.99992776215545354</c:v>
                </c:pt>
                <c:pt idx="3373">
                  <c:v>0.99992794916684213</c:v>
                </c:pt>
                <c:pt idx="3374">
                  <c:v>0.99992832318961933</c:v>
                </c:pt>
                <c:pt idx="3375">
                  <c:v>0.99992906470202469</c:v>
                </c:pt>
                <c:pt idx="3376">
                  <c:v>0.99992924844683884</c:v>
                </c:pt>
                <c:pt idx="3377">
                  <c:v>0.99992961593646712</c:v>
                </c:pt>
                <c:pt idx="3378">
                  <c:v>0.99992979886463762</c:v>
                </c:pt>
                <c:pt idx="3379">
                  <c:v>0.99993124759041641</c:v>
                </c:pt>
                <c:pt idx="3380">
                  <c:v>0.99993142561872517</c:v>
                </c:pt>
                <c:pt idx="3381">
                  <c:v>0.99993231004376404</c:v>
                </c:pt>
                <c:pt idx="3382">
                  <c:v>0.99993369833791546</c:v>
                </c:pt>
                <c:pt idx="3383">
                  <c:v>0.99993573994696139</c:v>
                </c:pt>
                <c:pt idx="3384">
                  <c:v>0.99993623973285573</c:v>
                </c:pt>
                <c:pt idx="3385">
                  <c:v>0.99993640632815384</c:v>
                </c:pt>
                <c:pt idx="3386">
                  <c:v>0.99993723440478277</c:v>
                </c:pt>
                <c:pt idx="3387">
                  <c:v>0.99993739936679371</c:v>
                </c:pt>
                <c:pt idx="3388">
                  <c:v>0.99993756432880465</c:v>
                </c:pt>
                <c:pt idx="3389">
                  <c:v>0.99993789180289561</c:v>
                </c:pt>
                <c:pt idx="3390">
                  <c:v>0.99993854430114659</c:v>
                </c:pt>
                <c:pt idx="3391">
                  <c:v>0.99993983214813287</c:v>
                </c:pt>
                <c:pt idx="3392">
                  <c:v>0.99994030825136238</c:v>
                </c:pt>
                <c:pt idx="3393">
                  <c:v>0.99994154791637502</c:v>
                </c:pt>
                <c:pt idx="3394">
                  <c:v>0.99994261690287156</c:v>
                </c:pt>
                <c:pt idx="3395">
                  <c:v>0.99994276798194093</c:v>
                </c:pt>
                <c:pt idx="3396">
                  <c:v>0.99994291906101029</c:v>
                </c:pt>
                <c:pt idx="3397">
                  <c:v>0.99994307014007966</c:v>
                </c:pt>
                <c:pt idx="3398">
                  <c:v>0.99994322121914903</c:v>
                </c:pt>
                <c:pt idx="3399">
                  <c:v>0.99994337148157475</c:v>
                </c:pt>
                <c:pt idx="3400">
                  <c:v>0.9999436720064262</c:v>
                </c:pt>
                <c:pt idx="3401">
                  <c:v>0.99994545228951404</c:v>
                </c:pt>
                <c:pt idx="3402">
                  <c:v>0.99994603618970102</c:v>
                </c:pt>
                <c:pt idx="3403">
                  <c:v>0.99994632691482921</c:v>
                </c:pt>
                <c:pt idx="3404">
                  <c:v>0.99994661682331376</c:v>
                </c:pt>
                <c:pt idx="3405">
                  <c:v>0.99994690591515467</c:v>
                </c:pt>
                <c:pt idx="3406">
                  <c:v>0.99994847877076365</c:v>
                </c:pt>
                <c:pt idx="3407">
                  <c:v>0.99994988584771816</c:v>
                </c:pt>
                <c:pt idx="3408">
                  <c:v>0.99995002549377687</c:v>
                </c:pt>
                <c:pt idx="3409">
                  <c:v>0.99995167348059866</c:v>
                </c:pt>
                <c:pt idx="3410">
                  <c:v>0.99995221573196114</c:v>
                </c:pt>
                <c:pt idx="3411">
                  <c:v>0.9999526158873342</c:v>
                </c:pt>
                <c:pt idx="3412">
                  <c:v>0.999952749000244</c:v>
                </c:pt>
                <c:pt idx="3413">
                  <c:v>0.99995432430578335</c:v>
                </c:pt>
                <c:pt idx="3414">
                  <c:v>0.99995445496876223</c:v>
                </c:pt>
                <c:pt idx="3415">
                  <c:v>0.99995458481509758</c:v>
                </c:pt>
                <c:pt idx="3416">
                  <c:v>0.99995471466143293</c:v>
                </c:pt>
                <c:pt idx="3417">
                  <c:v>0.99995648596144127</c:v>
                </c:pt>
                <c:pt idx="3418">
                  <c:v>0.99995660845798406</c:v>
                </c:pt>
                <c:pt idx="3419">
                  <c:v>0.99995709844415526</c:v>
                </c:pt>
                <c:pt idx="3420">
                  <c:v>0.99995722094069805</c:v>
                </c:pt>
                <c:pt idx="3421">
                  <c:v>0.99995806861677394</c:v>
                </c:pt>
                <c:pt idx="3422">
                  <c:v>0.99995996731318659</c:v>
                </c:pt>
                <c:pt idx="3423">
                  <c:v>0.99996008409322401</c:v>
                </c:pt>
                <c:pt idx="3424">
                  <c:v>0.99996101098373058</c:v>
                </c:pt>
                <c:pt idx="3425">
                  <c:v>0.99996124046058732</c:v>
                </c:pt>
                <c:pt idx="3426">
                  <c:v>0.99996269000300964</c:v>
                </c:pt>
                <c:pt idx="3427">
                  <c:v>0.99996312609070181</c:v>
                </c:pt>
                <c:pt idx="3428">
                  <c:v>0.99996387821947441</c:v>
                </c:pt>
                <c:pt idx="3429">
                  <c:v>0.99996440740453918</c:v>
                </c:pt>
                <c:pt idx="3430">
                  <c:v>0.99996461809859272</c:v>
                </c:pt>
                <c:pt idx="3431">
                  <c:v>0.99996493413967302</c:v>
                </c:pt>
                <c:pt idx="3432">
                  <c:v>0.99996514320043928</c:v>
                </c:pt>
                <c:pt idx="3433">
                  <c:v>0.99996535226120553</c:v>
                </c:pt>
                <c:pt idx="3434">
                  <c:v>0.99996637959887757</c:v>
                </c:pt>
                <c:pt idx="3435">
                  <c:v>0.9999665837597822</c:v>
                </c:pt>
                <c:pt idx="3436">
                  <c:v>0.99996738570381516</c:v>
                </c:pt>
                <c:pt idx="3437">
                  <c:v>0.99996778095932648</c:v>
                </c:pt>
                <c:pt idx="3438">
                  <c:v>0.99996826849556664</c:v>
                </c:pt>
                <c:pt idx="3439">
                  <c:v>0.99996836567615721</c:v>
                </c:pt>
                <c:pt idx="3440">
                  <c:v>0.99996903777385482</c:v>
                </c:pt>
                <c:pt idx="3441">
                  <c:v>0.99997016882526635</c:v>
                </c:pt>
                <c:pt idx="3442">
                  <c:v>0.99997044321752226</c:v>
                </c:pt>
                <c:pt idx="3443">
                  <c:v>0.9999713554084444</c:v>
                </c:pt>
                <c:pt idx="3444">
                  <c:v>0.99997252402546233</c:v>
                </c:pt>
                <c:pt idx="3445">
                  <c:v>0.99997331861970262</c:v>
                </c:pt>
                <c:pt idx="3446">
                  <c:v>0.9999734950147241</c:v>
                </c:pt>
                <c:pt idx="3447">
                  <c:v>0.99997409851435815</c:v>
                </c:pt>
                <c:pt idx="3448">
                  <c:v>0.99997418426193807</c:v>
                </c:pt>
                <c:pt idx="3449">
                  <c:v>0.99997435494045428</c:v>
                </c:pt>
                <c:pt idx="3450">
                  <c:v>0.99997486452607198</c:v>
                </c:pt>
                <c:pt idx="3451">
                  <c:v>0.99997553744041334</c:v>
                </c:pt>
                <c:pt idx="3452">
                  <c:v>0.9999760331430898</c:v>
                </c:pt>
                <c:pt idx="3453">
                  <c:v>0.99997627976946257</c:v>
                </c:pt>
                <c:pt idx="3454">
                  <c:v>0.99997652476254806</c:v>
                </c:pt>
                <c:pt idx="3455">
                  <c:v>0.99997668645798443</c:v>
                </c:pt>
                <c:pt idx="3456">
                  <c:v>0.9999772450422193</c:v>
                </c:pt>
                <c:pt idx="3457">
                  <c:v>0.99997748268551234</c:v>
                </c:pt>
                <c:pt idx="3458">
                  <c:v>0.99997880074831214</c:v>
                </c:pt>
                <c:pt idx="3459">
                  <c:v>0.99997887751281223</c:v>
                </c:pt>
                <c:pt idx="3460">
                  <c:v>0.99997925561880774</c:v>
                </c:pt>
                <c:pt idx="3461">
                  <c:v>0.99997970640608524</c:v>
                </c:pt>
                <c:pt idx="3462">
                  <c:v>0.99998000366436235</c:v>
                </c:pt>
                <c:pt idx="3463">
                  <c:v>0.99998029847270853</c:v>
                </c:pt>
                <c:pt idx="3464">
                  <c:v>0.99998059246441107</c:v>
                </c:pt>
                <c:pt idx="3465">
                  <c:v>0.99998124496266194</c:v>
                </c:pt>
                <c:pt idx="3466">
                  <c:v>0.99998160428585425</c:v>
                </c:pt>
                <c:pt idx="3467">
                  <c:v>0.99998174801513118</c:v>
                </c:pt>
                <c:pt idx="3468">
                  <c:v>0.99998189092776446</c:v>
                </c:pt>
                <c:pt idx="3469">
                  <c:v>0.99998224616773856</c:v>
                </c:pt>
                <c:pt idx="3470">
                  <c:v>0.99998301136280887</c:v>
                </c:pt>
                <c:pt idx="3471">
                  <c:v>0.99998314529236232</c:v>
                </c:pt>
                <c:pt idx="3472">
                  <c:v>0.99998354054787353</c:v>
                </c:pt>
                <c:pt idx="3473">
                  <c:v>0.99998360587936297</c:v>
                </c:pt>
                <c:pt idx="3474">
                  <c:v>0.99998367121085241</c:v>
                </c:pt>
                <c:pt idx="3475">
                  <c:v>0.99998462341731131</c:v>
                </c:pt>
                <c:pt idx="3476">
                  <c:v>0.99998487004368397</c:v>
                </c:pt>
                <c:pt idx="3477">
                  <c:v>0.99998493047531167</c:v>
                </c:pt>
                <c:pt idx="3478">
                  <c:v>0.99998528653192942</c:v>
                </c:pt>
                <c:pt idx="3479">
                  <c:v>0.99998546047702008</c:v>
                </c:pt>
                <c:pt idx="3480">
                  <c:v>0.99998575038550452</c:v>
                </c:pt>
                <c:pt idx="3481">
                  <c:v>0.99998580755055777</c:v>
                </c:pt>
                <c:pt idx="3482">
                  <c:v>0.99998586471561102</c:v>
                </c:pt>
                <c:pt idx="3483">
                  <c:v>0.99998625752119163</c:v>
                </c:pt>
                <c:pt idx="3484">
                  <c:v>0.99998642248320257</c:v>
                </c:pt>
                <c:pt idx="3485">
                  <c:v>0.99998712643000143</c:v>
                </c:pt>
                <c:pt idx="3486">
                  <c:v>0.99998733712405496</c:v>
                </c:pt>
                <c:pt idx="3487">
                  <c:v>0.99998806312023214</c:v>
                </c:pt>
                <c:pt idx="3488">
                  <c:v>0.99998811375213648</c:v>
                </c:pt>
                <c:pt idx="3489">
                  <c:v>0.99998816438404081</c:v>
                </c:pt>
                <c:pt idx="3490">
                  <c:v>0.99998870826869024</c:v>
                </c:pt>
                <c:pt idx="3491">
                  <c:v>0.99998875726730729</c:v>
                </c:pt>
                <c:pt idx="3492">
                  <c:v>0.99998909780769607</c:v>
                </c:pt>
                <c:pt idx="3493">
                  <c:v>0.99998924153697299</c:v>
                </c:pt>
                <c:pt idx="3494">
                  <c:v>0.99998952491230864</c:v>
                </c:pt>
                <c:pt idx="3495">
                  <c:v>0.99998966455836735</c:v>
                </c:pt>
                <c:pt idx="3496">
                  <c:v>0.99998975765573983</c:v>
                </c:pt>
                <c:pt idx="3497">
                  <c:v>0.99998989485186762</c:v>
                </c:pt>
                <c:pt idx="3498">
                  <c:v>0.9999903521722936</c:v>
                </c:pt>
                <c:pt idx="3499">
                  <c:v>0.99999039790433619</c:v>
                </c:pt>
                <c:pt idx="3500">
                  <c:v>0.99999189154551427</c:v>
                </c:pt>
                <c:pt idx="3501">
                  <c:v>0.99999213163873824</c:v>
                </c:pt>
                <c:pt idx="3502">
                  <c:v>0.99999225005206294</c:v>
                </c:pt>
                <c:pt idx="3503">
                  <c:v>0.99999248524542506</c:v>
                </c:pt>
                <c:pt idx="3504">
                  <c:v>0.99999264040771252</c:v>
                </c:pt>
                <c:pt idx="3505">
                  <c:v>0.99999271717221261</c:v>
                </c:pt>
                <c:pt idx="3506">
                  <c:v>0.99999275555446265</c:v>
                </c:pt>
                <c:pt idx="3507">
                  <c:v>0.99999279312006906</c:v>
                </c:pt>
                <c:pt idx="3508">
                  <c:v>0.99999286825128186</c:v>
                </c:pt>
                <c:pt idx="3509">
                  <c:v>0.99999294338249467</c:v>
                </c:pt>
                <c:pt idx="3510">
                  <c:v>0.99999312794395256</c:v>
                </c:pt>
                <c:pt idx="3511">
                  <c:v>0.99999375839282589</c:v>
                </c:pt>
                <c:pt idx="3512">
                  <c:v>0.99999452277125256</c:v>
                </c:pt>
                <c:pt idx="3513">
                  <c:v>0.99999455462035369</c:v>
                </c:pt>
                <c:pt idx="3514">
                  <c:v>0.99999474326502957</c:v>
                </c:pt>
                <c:pt idx="3515">
                  <c:v>0.99999486739485954</c:v>
                </c:pt>
                <c:pt idx="3516">
                  <c:v>0.99999501929057244</c:v>
                </c:pt>
                <c:pt idx="3517">
                  <c:v>0.99999507972220014</c:v>
                </c:pt>
                <c:pt idx="3518">
                  <c:v>0.99999510993801399</c:v>
                </c:pt>
                <c:pt idx="3519">
                  <c:v>0.99999537534718952</c:v>
                </c:pt>
                <c:pt idx="3520">
                  <c:v>0.99999612502603119</c:v>
                </c:pt>
                <c:pt idx="3521">
                  <c:v>0.99999636021939298</c:v>
                </c:pt>
                <c:pt idx="3522">
                  <c:v>0.99999641248458448</c:v>
                </c:pt>
                <c:pt idx="3523">
                  <c:v>0.9999965170149675</c:v>
                </c:pt>
                <c:pt idx="3524">
                  <c:v>0.99999681917310679</c:v>
                </c:pt>
                <c:pt idx="3525">
                  <c:v>0.99999689267103253</c:v>
                </c:pt>
                <c:pt idx="3526">
                  <c:v>0.9999970143509318</c:v>
                </c:pt>
                <c:pt idx="3527">
                  <c:v>0.99999718012958638</c:v>
                </c:pt>
                <c:pt idx="3528">
                  <c:v>0.99999727322695886</c:v>
                </c:pt>
                <c:pt idx="3529">
                  <c:v>0.99999741042308665</c:v>
                </c:pt>
                <c:pt idx="3530">
                  <c:v>0.99999743328910795</c:v>
                </c:pt>
                <c:pt idx="3531">
                  <c:v>0.9999975696685921</c:v>
                </c:pt>
                <c:pt idx="3532">
                  <c:v>0.99999759171796976</c:v>
                </c:pt>
                <c:pt idx="3533">
                  <c:v>0.99999765786610273</c:v>
                </c:pt>
                <c:pt idx="3534">
                  <c:v>0.99999770196485804</c:v>
                </c:pt>
                <c:pt idx="3535">
                  <c:v>0.99999787019344377</c:v>
                </c:pt>
                <c:pt idx="3536">
                  <c:v>0.99999803352216765</c:v>
                </c:pt>
                <c:pt idx="3537">
                  <c:v>0.99999815275213599</c:v>
                </c:pt>
                <c:pt idx="3538">
                  <c:v>0.99999821155047652</c:v>
                </c:pt>
                <c:pt idx="3539">
                  <c:v>0.99999834711331714</c:v>
                </c:pt>
                <c:pt idx="3540">
                  <c:v>0.99999851289197139</c:v>
                </c:pt>
                <c:pt idx="3541">
                  <c:v>0.99999858475660963</c:v>
                </c:pt>
                <c:pt idx="3542">
                  <c:v>0.99999868928699287</c:v>
                </c:pt>
                <c:pt idx="3543">
                  <c:v>0.99999874073554096</c:v>
                </c:pt>
                <c:pt idx="3544">
                  <c:v>0.99999877503457302</c:v>
                </c:pt>
                <c:pt idx="3545">
                  <c:v>0.999999416099813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597</c:f>
              <c:strCache>
                <c:ptCount val="1596"/>
                <c:pt idx="0">
                  <c:v>Private Lab</c:v>
                </c:pt>
                <c:pt idx="1">
                  <c:v>Private Lab</c:v>
                </c:pt>
                <c:pt idx="2">
                  <c:v>Private Lab</c:v>
                </c:pt>
                <c:pt idx="3">
                  <c:v>Private Lab</c:v>
                </c:pt>
                <c:pt idx="4">
                  <c:v>Private Lab</c:v>
                </c:pt>
                <c:pt idx="5">
                  <c:v>Caprice Des</c:v>
                </c:pt>
                <c:pt idx="6">
                  <c:v>Private Lab</c:v>
                </c:pt>
                <c:pt idx="7">
                  <c:v>Private Lab</c:v>
                </c:pt>
                <c:pt idx="8">
                  <c:v>Private Lab</c:v>
                </c:pt>
                <c:pt idx="9">
                  <c:v>Private Lab</c:v>
                </c:pt>
                <c:pt idx="10">
                  <c:v>Private Lab</c:v>
                </c:pt>
                <c:pt idx="11">
                  <c:v>Private Lab</c:v>
                </c:pt>
                <c:pt idx="12">
                  <c:v>Private Lab</c:v>
                </c:pt>
                <c:pt idx="13">
                  <c:v>Private Lab</c:v>
                </c:pt>
                <c:pt idx="14">
                  <c:v>Private Lab</c:v>
                </c:pt>
                <c:pt idx="15">
                  <c:v>Coeur De Li</c:v>
                </c:pt>
                <c:pt idx="16">
                  <c:v>President</c:v>
                </c:pt>
                <c:pt idx="17">
                  <c:v>Private Lab</c:v>
                </c:pt>
                <c:pt idx="18">
                  <c:v>Mini Babybe</c:v>
                </c:pt>
                <c:pt idx="19">
                  <c:v>Soignon</c:v>
                </c:pt>
                <c:pt idx="20">
                  <c:v>Private Lab</c:v>
                </c:pt>
                <c:pt idx="21">
                  <c:v>Private Lab</c:v>
                </c:pt>
                <c:pt idx="22">
                  <c:v>Entremont</c:v>
                </c:pt>
                <c:pt idx="23">
                  <c:v>Richesmonts</c:v>
                </c:pt>
                <c:pt idx="24">
                  <c:v>Chaussee Au</c:v>
                </c:pt>
                <c:pt idx="25">
                  <c:v>Caprice Des</c:v>
                </c:pt>
                <c:pt idx="26">
                  <c:v>President</c:v>
                </c:pt>
                <c:pt idx="27">
                  <c:v>President</c:v>
                </c:pt>
                <c:pt idx="28">
                  <c:v>Private Lab</c:v>
                </c:pt>
                <c:pt idx="29">
                  <c:v>President</c:v>
                </c:pt>
                <c:pt idx="30">
                  <c:v>La Vache Qu</c:v>
                </c:pt>
                <c:pt idx="31">
                  <c:v>Entremont</c:v>
                </c:pt>
                <c:pt idx="32">
                  <c:v>Private Lab</c:v>
                </c:pt>
                <c:pt idx="33">
                  <c:v>President</c:v>
                </c:pt>
                <c:pt idx="34">
                  <c:v>Private Lab</c:v>
                </c:pt>
                <c:pt idx="35">
                  <c:v>Private Lab</c:v>
                </c:pt>
                <c:pt idx="36">
                  <c:v>Soignon</c:v>
                </c:pt>
                <c:pt idx="37">
                  <c:v>Le Rustique</c:v>
                </c:pt>
                <c:pt idx="38">
                  <c:v>Private Lab</c:v>
                </c:pt>
                <c:pt idx="39">
                  <c:v>Private Lab</c:v>
                </c:pt>
                <c:pt idx="40">
                  <c:v>Private Lab</c:v>
                </c:pt>
                <c:pt idx="41">
                  <c:v>St Moret</c:v>
                </c:pt>
                <c:pt idx="42">
                  <c:v>Private Lab</c:v>
                </c:pt>
                <c:pt idx="43">
                  <c:v>St Moret</c:v>
                </c:pt>
                <c:pt idx="44">
                  <c:v>La Vache Qu</c:v>
                </c:pt>
                <c:pt idx="45">
                  <c:v>Private Lab</c:v>
                </c:pt>
                <c:pt idx="46">
                  <c:v>President</c:v>
                </c:pt>
                <c:pt idx="47">
                  <c:v>Private Lab</c:v>
                </c:pt>
                <c:pt idx="48">
                  <c:v>Societe</c:v>
                </c:pt>
                <c:pt idx="49">
                  <c:v>Leerdammer</c:v>
                </c:pt>
                <c:pt idx="50">
                  <c:v>Private Lab</c:v>
                </c:pt>
                <c:pt idx="51">
                  <c:v>President</c:v>
                </c:pt>
                <c:pt idx="52">
                  <c:v>Private Lab</c:v>
                </c:pt>
                <c:pt idx="53">
                  <c:v>Private Lab</c:v>
                </c:pt>
                <c:pt idx="54">
                  <c:v>Private Lab</c:v>
                </c:pt>
                <c:pt idx="55">
                  <c:v>St Moret</c:v>
                </c:pt>
                <c:pt idx="56">
                  <c:v>President</c:v>
                </c:pt>
                <c:pt idx="57">
                  <c:v>Private Lab</c:v>
                </c:pt>
                <c:pt idx="58">
                  <c:v>Private Lab</c:v>
                </c:pt>
                <c:pt idx="59">
                  <c:v>Private Lab</c:v>
                </c:pt>
                <c:pt idx="60">
                  <c:v>Private Lab</c:v>
                </c:pt>
                <c:pt idx="61">
                  <c:v>Galbani</c:v>
                </c:pt>
                <c:pt idx="62">
                  <c:v>Saint Agur</c:v>
                </c:pt>
                <c:pt idx="63">
                  <c:v>Mini Babybe</c:v>
                </c:pt>
                <c:pt idx="64">
                  <c:v>Tartare</c:v>
                </c:pt>
                <c:pt idx="65">
                  <c:v>Leerdammer</c:v>
                </c:pt>
                <c:pt idx="66">
                  <c:v>Private Lab</c:v>
                </c:pt>
                <c:pt idx="67">
                  <c:v>Chaussee Au</c:v>
                </c:pt>
                <c:pt idx="68">
                  <c:v>Private Lab</c:v>
                </c:pt>
                <c:pt idx="69">
                  <c:v>La Vache Qu</c:v>
                </c:pt>
                <c:pt idx="70">
                  <c:v>Private Lab</c:v>
                </c:pt>
                <c:pt idx="71">
                  <c:v>Coeur De Li</c:v>
                </c:pt>
                <c:pt idx="72">
                  <c:v>Entremont</c:v>
                </c:pt>
                <c:pt idx="73">
                  <c:v>St Moret</c:v>
                </c:pt>
                <c:pt idx="74">
                  <c:v>Entremont</c:v>
                </c:pt>
                <c:pt idx="75">
                  <c:v>Entremont</c:v>
                </c:pt>
                <c:pt idx="76">
                  <c:v>Private Lab</c:v>
                </c:pt>
                <c:pt idx="77">
                  <c:v>Private Lab</c:v>
                </c:pt>
                <c:pt idx="78">
                  <c:v>Salakis</c:v>
                </c:pt>
                <c:pt idx="79">
                  <c:v>President</c:v>
                </c:pt>
                <c:pt idx="80">
                  <c:v>Leerdammer</c:v>
                </c:pt>
                <c:pt idx="81">
                  <c:v>Kiri</c:v>
                </c:pt>
                <c:pt idx="82">
                  <c:v>Soignon</c:v>
                </c:pt>
                <c:pt idx="83">
                  <c:v>Private Lab</c:v>
                </c:pt>
                <c:pt idx="84">
                  <c:v>All Others</c:v>
                </c:pt>
                <c:pt idx="85">
                  <c:v>Entremont</c:v>
                </c:pt>
                <c:pt idx="86">
                  <c:v>Private Lab</c:v>
                </c:pt>
                <c:pt idx="87">
                  <c:v>Entremont</c:v>
                </c:pt>
                <c:pt idx="88">
                  <c:v>Juraflore</c:v>
                </c:pt>
                <c:pt idx="89">
                  <c:v>Private Lab</c:v>
                </c:pt>
                <c:pt idx="90">
                  <c:v>Private Lab</c:v>
                </c:pt>
                <c:pt idx="91">
                  <c:v>Private Lab</c:v>
                </c:pt>
                <c:pt idx="92">
                  <c:v>Private Lab</c:v>
                </c:pt>
                <c:pt idx="93">
                  <c:v>Private Lab</c:v>
                </c:pt>
                <c:pt idx="94">
                  <c:v>Private Lab</c:v>
                </c:pt>
                <c:pt idx="95">
                  <c:v>Bresse Bleu</c:v>
                </c:pt>
                <c:pt idx="96">
                  <c:v>Private Lab</c:v>
                </c:pt>
                <c:pt idx="97">
                  <c:v>Private Lab</c:v>
                </c:pt>
                <c:pt idx="98">
                  <c:v>Apericube</c:v>
                </c:pt>
                <c:pt idx="99">
                  <c:v>Saint Albra</c:v>
                </c:pt>
                <c:pt idx="100">
                  <c:v>Private Lab</c:v>
                </c:pt>
                <c:pt idx="101">
                  <c:v>Galbani</c:v>
                </c:pt>
                <c:pt idx="102">
                  <c:v>Private Lab</c:v>
                </c:pt>
                <c:pt idx="103">
                  <c:v>Saint Agur</c:v>
                </c:pt>
                <c:pt idx="104">
                  <c:v>President</c:v>
                </c:pt>
                <c:pt idx="105">
                  <c:v>Kiri</c:v>
                </c:pt>
                <c:pt idx="106">
                  <c:v>Entremont</c:v>
                </c:pt>
                <c:pt idx="107">
                  <c:v>Private Lab</c:v>
                </c:pt>
                <c:pt idx="108">
                  <c:v>President</c:v>
                </c:pt>
                <c:pt idx="109">
                  <c:v>L'Ortolan</c:v>
                </c:pt>
                <c:pt idx="110">
                  <c:v>Private Lab</c:v>
                </c:pt>
                <c:pt idx="111">
                  <c:v>Private Lab</c:v>
                </c:pt>
                <c:pt idx="112">
                  <c:v>Private Lab</c:v>
                </c:pt>
                <c:pt idx="113">
                  <c:v>President</c:v>
                </c:pt>
                <c:pt idx="114">
                  <c:v>Galbani</c:v>
                </c:pt>
                <c:pt idx="115">
                  <c:v>Apericube</c:v>
                </c:pt>
                <c:pt idx="116">
                  <c:v>Private Lab</c:v>
                </c:pt>
                <c:pt idx="117">
                  <c:v>Private Lab</c:v>
                </c:pt>
                <c:pt idx="118">
                  <c:v>Private Lab</c:v>
                </c:pt>
                <c:pt idx="119">
                  <c:v>Richesmonts</c:v>
                </c:pt>
                <c:pt idx="120">
                  <c:v>Istara</c:v>
                </c:pt>
                <c:pt idx="121">
                  <c:v>Private Lab</c:v>
                </c:pt>
                <c:pt idx="122">
                  <c:v>Parmareggio</c:v>
                </c:pt>
                <c:pt idx="123">
                  <c:v>Leerdammer</c:v>
                </c:pt>
                <c:pt idx="124">
                  <c:v>Paysan Bret</c:v>
                </c:pt>
                <c:pt idx="125">
                  <c:v>Paysan Bret</c:v>
                </c:pt>
                <c:pt idx="126">
                  <c:v>Richesmonts</c:v>
                </c:pt>
                <c:pt idx="127">
                  <c:v>Private Lab</c:v>
                </c:pt>
                <c:pt idx="128">
                  <c:v>Private Lab</c:v>
                </c:pt>
                <c:pt idx="129">
                  <c:v>Apericube</c:v>
                </c:pt>
                <c:pt idx="130">
                  <c:v>Ficello</c:v>
                </c:pt>
                <c:pt idx="131">
                  <c:v>Casa Azzurr</c:v>
                </c:pt>
                <c:pt idx="132">
                  <c:v>Private Lab</c:v>
                </c:pt>
                <c:pt idx="133">
                  <c:v>Pochat</c:v>
                </c:pt>
                <c:pt idx="134">
                  <c:v>Private Lab</c:v>
                </c:pt>
                <c:pt idx="135">
                  <c:v>Tartare</c:v>
                </c:pt>
                <c:pt idx="136">
                  <c:v>Saint Albra</c:v>
                </c:pt>
                <c:pt idx="137">
                  <c:v>Leerdammer</c:v>
                </c:pt>
                <c:pt idx="138">
                  <c:v>L'Ortolan</c:v>
                </c:pt>
                <c:pt idx="139">
                  <c:v>Boursin</c:v>
                </c:pt>
                <c:pt idx="140">
                  <c:v>Entremont</c:v>
                </c:pt>
                <c:pt idx="141">
                  <c:v>Leerdammer</c:v>
                </c:pt>
                <c:pt idx="142">
                  <c:v>President</c:v>
                </c:pt>
                <c:pt idx="143">
                  <c:v>Boursin</c:v>
                </c:pt>
                <c:pt idx="144">
                  <c:v>Private Lab</c:v>
                </c:pt>
                <c:pt idx="145">
                  <c:v>Lou Perac</c:v>
                </c:pt>
                <c:pt idx="146">
                  <c:v>Private Lab</c:v>
                </c:pt>
                <c:pt idx="147">
                  <c:v>Galbani</c:v>
                </c:pt>
                <c:pt idx="148">
                  <c:v>Private Lab</c:v>
                </c:pt>
                <c:pt idx="149">
                  <c:v>Kiri</c:v>
                </c:pt>
                <c:pt idx="150">
                  <c:v>Galbani</c:v>
                </c:pt>
                <c:pt idx="151">
                  <c:v>Galbani</c:v>
                </c:pt>
                <c:pt idx="152">
                  <c:v>Private Lab</c:v>
                </c:pt>
                <c:pt idx="153">
                  <c:v>Kiri</c:v>
                </c:pt>
                <c:pt idx="154">
                  <c:v>Private Lab</c:v>
                </c:pt>
                <c:pt idx="155">
                  <c:v>St Moret</c:v>
                </c:pt>
                <c:pt idx="156">
                  <c:v>Carre Frais</c:v>
                </c:pt>
                <c:pt idx="157">
                  <c:v>Private Lab</c:v>
                </c:pt>
                <c:pt idx="158">
                  <c:v>Private Lab</c:v>
                </c:pt>
                <c:pt idx="159">
                  <c:v>Lepetit</c:v>
                </c:pt>
                <c:pt idx="160">
                  <c:v>President</c:v>
                </c:pt>
                <c:pt idx="161">
                  <c:v>Entremont</c:v>
                </c:pt>
                <c:pt idx="162">
                  <c:v>Boursin</c:v>
                </c:pt>
                <c:pt idx="163">
                  <c:v>Islos</c:v>
                </c:pt>
                <c:pt idx="164">
                  <c:v>Caprice Des</c:v>
                </c:pt>
                <c:pt idx="165">
                  <c:v>Apericube</c:v>
                </c:pt>
                <c:pt idx="166">
                  <c:v>President</c:v>
                </c:pt>
                <c:pt idx="167">
                  <c:v>Private Lab</c:v>
                </c:pt>
                <c:pt idx="168">
                  <c:v>All Others</c:v>
                </c:pt>
                <c:pt idx="169">
                  <c:v>Salakis</c:v>
                </c:pt>
                <c:pt idx="170">
                  <c:v>Carre Frais</c:v>
                </c:pt>
                <c:pt idx="171">
                  <c:v>Coeur De Li</c:v>
                </c:pt>
                <c:pt idx="172">
                  <c:v>President</c:v>
                </c:pt>
                <c:pt idx="173">
                  <c:v>Port Salut</c:v>
                </c:pt>
                <c:pt idx="174">
                  <c:v>Philadelphi</c:v>
                </c:pt>
                <c:pt idx="175">
                  <c:v>President</c:v>
                </c:pt>
                <c:pt idx="176">
                  <c:v>Private Lab</c:v>
                </c:pt>
                <c:pt idx="177">
                  <c:v>Leerdammer</c:v>
                </c:pt>
                <c:pt idx="178">
                  <c:v>Private Lab</c:v>
                </c:pt>
                <c:pt idx="179">
                  <c:v>Boursin</c:v>
                </c:pt>
                <c:pt idx="180">
                  <c:v>Entremont</c:v>
                </c:pt>
                <c:pt idx="181">
                  <c:v>Private Lab</c:v>
                </c:pt>
                <c:pt idx="182">
                  <c:v>Private Lab</c:v>
                </c:pt>
                <c:pt idx="183">
                  <c:v>Entremont</c:v>
                </c:pt>
                <c:pt idx="184">
                  <c:v>Entremont</c:v>
                </c:pt>
                <c:pt idx="185">
                  <c:v>Apericube</c:v>
                </c:pt>
                <c:pt idx="186">
                  <c:v>Private Lab</c:v>
                </c:pt>
                <c:pt idx="187">
                  <c:v>Richesmonts</c:v>
                </c:pt>
                <c:pt idx="188">
                  <c:v>Coeur De Li</c:v>
                </c:pt>
                <c:pt idx="189">
                  <c:v>President</c:v>
                </c:pt>
                <c:pt idx="190">
                  <c:v>Galbani</c:v>
                </c:pt>
                <c:pt idx="191">
                  <c:v>Kiri</c:v>
                </c:pt>
                <c:pt idx="192">
                  <c:v>Galbani</c:v>
                </c:pt>
                <c:pt idx="193">
                  <c:v>St Moret</c:v>
                </c:pt>
                <c:pt idx="194">
                  <c:v>All Others</c:v>
                </c:pt>
                <c:pt idx="195">
                  <c:v>Soignon</c:v>
                </c:pt>
                <c:pt idx="196">
                  <c:v>Private Lab</c:v>
                </c:pt>
                <c:pt idx="197">
                  <c:v>Pave D'Affi</c:v>
                </c:pt>
                <c:pt idx="198">
                  <c:v>President</c:v>
                </c:pt>
                <c:pt idx="199">
                  <c:v>Private Lab</c:v>
                </c:pt>
                <c:pt idx="200">
                  <c:v>Private Lab</c:v>
                </c:pt>
                <c:pt idx="201">
                  <c:v>President</c:v>
                </c:pt>
                <c:pt idx="202">
                  <c:v>Private Lab</c:v>
                </c:pt>
                <c:pt idx="203">
                  <c:v>Coeur De Li</c:v>
                </c:pt>
                <c:pt idx="204">
                  <c:v>Societe</c:v>
                </c:pt>
                <c:pt idx="205">
                  <c:v>Mini Babybe</c:v>
                </c:pt>
                <c:pt idx="206">
                  <c:v>President</c:v>
                </c:pt>
                <c:pt idx="207">
                  <c:v>Private Lab</c:v>
                </c:pt>
                <c:pt idx="208">
                  <c:v>All Others</c:v>
                </c:pt>
                <c:pt idx="209">
                  <c:v>Le Rustique</c:v>
                </c:pt>
                <c:pt idx="210">
                  <c:v>Petit Billy</c:v>
                </c:pt>
                <c:pt idx="211">
                  <c:v>Richesmonts</c:v>
                </c:pt>
                <c:pt idx="212">
                  <c:v>Entremont</c:v>
                </c:pt>
                <c:pt idx="213">
                  <c:v>Private Lab</c:v>
                </c:pt>
                <c:pt idx="214">
                  <c:v>Private Lab</c:v>
                </c:pt>
                <c:pt idx="215">
                  <c:v>Private Lab</c:v>
                </c:pt>
                <c:pt idx="216">
                  <c:v>Private Lab</c:v>
                </c:pt>
                <c:pt idx="217">
                  <c:v>Vieux Pane</c:v>
                </c:pt>
                <c:pt idx="218">
                  <c:v>Private Lab</c:v>
                </c:pt>
                <c:pt idx="219">
                  <c:v>Istara</c:v>
                </c:pt>
                <c:pt idx="220">
                  <c:v>Private Lab</c:v>
                </c:pt>
                <c:pt idx="221">
                  <c:v>Private Lab</c:v>
                </c:pt>
                <c:pt idx="222">
                  <c:v>President</c:v>
                </c:pt>
                <c:pt idx="223">
                  <c:v>Apericube</c:v>
                </c:pt>
                <c:pt idx="224">
                  <c:v>Private Lab</c:v>
                </c:pt>
                <c:pt idx="225">
                  <c:v>Private Lab</c:v>
                </c:pt>
                <c:pt idx="226">
                  <c:v>Saint Agur</c:v>
                </c:pt>
                <c:pt idx="227">
                  <c:v>Babybel</c:v>
                </c:pt>
                <c:pt idx="228">
                  <c:v>President</c:v>
                </c:pt>
                <c:pt idx="229">
                  <c:v>Private Lab</c:v>
                </c:pt>
                <c:pt idx="230">
                  <c:v>Philadelphi</c:v>
                </c:pt>
                <c:pt idx="231">
                  <c:v>Pochat</c:v>
                </c:pt>
                <c:pt idx="232">
                  <c:v>Apericube</c:v>
                </c:pt>
                <c:pt idx="233">
                  <c:v>Ficello</c:v>
                </c:pt>
                <c:pt idx="234">
                  <c:v>Private Lab</c:v>
                </c:pt>
                <c:pt idx="235">
                  <c:v>Aperivrais</c:v>
                </c:pt>
                <c:pt idx="236">
                  <c:v>Private Lab</c:v>
                </c:pt>
                <c:pt idx="237">
                  <c:v>Private Lab</c:v>
                </c:pt>
                <c:pt idx="238">
                  <c:v>Private Lab</c:v>
                </c:pt>
                <c:pt idx="239">
                  <c:v>President</c:v>
                </c:pt>
                <c:pt idx="240">
                  <c:v>Saint Agur</c:v>
                </c:pt>
                <c:pt idx="241">
                  <c:v>Entremont</c:v>
                </c:pt>
                <c:pt idx="242">
                  <c:v>Private Lab</c:v>
                </c:pt>
                <c:pt idx="243">
                  <c:v>Private Lab</c:v>
                </c:pt>
                <c:pt idx="244">
                  <c:v>Private Lab</c:v>
                </c:pt>
                <c:pt idx="245">
                  <c:v>Private Lab</c:v>
                </c:pt>
                <c:pt idx="246">
                  <c:v>Private Lab</c:v>
                </c:pt>
                <c:pt idx="247">
                  <c:v>Cousteron</c:v>
                </c:pt>
                <c:pt idx="248">
                  <c:v>Soignon</c:v>
                </c:pt>
                <c:pt idx="249">
                  <c:v>All Others</c:v>
                </c:pt>
                <c:pt idx="250">
                  <c:v>Le Rustique</c:v>
                </c:pt>
                <c:pt idx="251">
                  <c:v>Soignon</c:v>
                </c:pt>
                <c:pt idx="252">
                  <c:v>Etorki</c:v>
                </c:pt>
                <c:pt idx="253">
                  <c:v>Private Lab</c:v>
                </c:pt>
                <c:pt idx="254">
                  <c:v>Private Lab</c:v>
                </c:pt>
                <c:pt idx="255">
                  <c:v>Apericube</c:v>
                </c:pt>
                <c:pt idx="256">
                  <c:v>Private Lab</c:v>
                </c:pt>
                <c:pt idx="257">
                  <c:v>Casa Azzurr</c:v>
                </c:pt>
                <c:pt idx="258">
                  <c:v>Private Lab</c:v>
                </c:pt>
                <c:pt idx="259">
                  <c:v>Private Lab</c:v>
                </c:pt>
                <c:pt idx="260">
                  <c:v>St Moret</c:v>
                </c:pt>
                <c:pt idx="261">
                  <c:v>Private Lab</c:v>
                </c:pt>
                <c:pt idx="262">
                  <c:v>Private Lab</c:v>
                </c:pt>
                <c:pt idx="263">
                  <c:v>Saint Agur</c:v>
                </c:pt>
                <c:pt idx="264">
                  <c:v>Private Lab</c:v>
                </c:pt>
                <c:pt idx="265">
                  <c:v>Soignon</c:v>
                </c:pt>
                <c:pt idx="266">
                  <c:v>All Others</c:v>
                </c:pt>
                <c:pt idx="267">
                  <c:v>Private Lab</c:v>
                </c:pt>
                <c:pt idx="268">
                  <c:v>Private Lab</c:v>
                </c:pt>
                <c:pt idx="269">
                  <c:v>All Others</c:v>
                </c:pt>
                <c:pt idx="270">
                  <c:v>Societe</c:v>
                </c:pt>
                <c:pt idx="271">
                  <c:v>Richesmonts</c:v>
                </c:pt>
                <c:pt idx="272">
                  <c:v>Lactalis: A</c:v>
                </c:pt>
                <c:pt idx="273">
                  <c:v>Casa Azzurr</c:v>
                </c:pt>
                <c:pt idx="274">
                  <c:v>Private Lab</c:v>
                </c:pt>
                <c:pt idx="275">
                  <c:v>Tartare</c:v>
                </c:pt>
                <c:pt idx="276">
                  <c:v>Private Lab</c:v>
                </c:pt>
                <c:pt idx="277">
                  <c:v>Private Lab</c:v>
                </c:pt>
                <c:pt idx="278">
                  <c:v>Private Lab</c:v>
                </c:pt>
                <c:pt idx="279">
                  <c:v>Leerdammer</c:v>
                </c:pt>
                <c:pt idx="280">
                  <c:v>La Vache Qu</c:v>
                </c:pt>
                <c:pt idx="281">
                  <c:v>All Others</c:v>
                </c:pt>
                <c:pt idx="282">
                  <c:v>Societe</c:v>
                </c:pt>
                <c:pt idx="283">
                  <c:v>Caprice Des</c:v>
                </c:pt>
                <c:pt idx="284">
                  <c:v>Private Lab</c:v>
                </c:pt>
                <c:pt idx="285">
                  <c:v>Boursin</c:v>
                </c:pt>
                <c:pt idx="286">
                  <c:v>Soignon</c:v>
                </c:pt>
                <c:pt idx="287">
                  <c:v>Parmareggio</c:v>
                </c:pt>
                <c:pt idx="288">
                  <c:v>Apericube</c:v>
                </c:pt>
                <c:pt idx="289">
                  <c:v>Private Lab</c:v>
                </c:pt>
                <c:pt idx="290">
                  <c:v>Private Lab</c:v>
                </c:pt>
                <c:pt idx="291">
                  <c:v>Ficello</c:v>
                </c:pt>
                <c:pt idx="292">
                  <c:v>Richesmonts</c:v>
                </c:pt>
                <c:pt idx="293">
                  <c:v>Fol Epi</c:v>
                </c:pt>
                <c:pt idx="294">
                  <c:v>President</c:v>
                </c:pt>
                <c:pt idx="295">
                  <c:v>Entremont</c:v>
                </c:pt>
                <c:pt idx="296">
                  <c:v>Private Lab</c:v>
                </c:pt>
                <c:pt idx="297">
                  <c:v>P'Tit Louis</c:v>
                </c:pt>
                <c:pt idx="298">
                  <c:v>Coeur De Li</c:v>
                </c:pt>
                <c:pt idx="299">
                  <c:v>Leerdammer</c:v>
                </c:pt>
                <c:pt idx="300">
                  <c:v>Casa Azzurr</c:v>
                </c:pt>
                <c:pt idx="301">
                  <c:v>La Vache Qu</c:v>
                </c:pt>
                <c:pt idx="302">
                  <c:v>Private Lab</c:v>
                </c:pt>
                <c:pt idx="303">
                  <c:v>Soignon</c:v>
                </c:pt>
                <c:pt idx="304">
                  <c:v>All Others</c:v>
                </c:pt>
                <c:pt idx="305">
                  <c:v>All Others</c:v>
                </c:pt>
                <c:pt idx="306">
                  <c:v>Private Lab</c:v>
                </c:pt>
                <c:pt idx="307">
                  <c:v>All Others</c:v>
                </c:pt>
                <c:pt idx="308">
                  <c:v>Private Lab</c:v>
                </c:pt>
                <c:pt idx="309">
                  <c:v>Pave D'Affi</c:v>
                </c:pt>
                <c:pt idx="310">
                  <c:v>Chavroux</c:v>
                </c:pt>
                <c:pt idx="311">
                  <c:v>Boursin</c:v>
                </c:pt>
                <c:pt idx="312">
                  <c:v>Private Lab</c:v>
                </c:pt>
                <c:pt idx="313">
                  <c:v>Private Lab</c:v>
                </c:pt>
                <c:pt idx="314">
                  <c:v>Private Lab</c:v>
                </c:pt>
                <c:pt idx="315">
                  <c:v>Lactalis: A</c:v>
                </c:pt>
                <c:pt idx="316">
                  <c:v>President</c:v>
                </c:pt>
                <c:pt idx="317">
                  <c:v>Paysan Bret</c:v>
                </c:pt>
                <c:pt idx="318">
                  <c:v>Salakis</c:v>
                </c:pt>
                <c:pt idx="319">
                  <c:v>Le Brebiou</c:v>
                </c:pt>
                <c:pt idx="320">
                  <c:v>Private Lab</c:v>
                </c:pt>
                <c:pt idx="321">
                  <c:v>Bresse Bleu</c:v>
                </c:pt>
                <c:pt idx="322">
                  <c:v>Private Lab</c:v>
                </c:pt>
                <c:pt idx="323">
                  <c:v>Richesmonts</c:v>
                </c:pt>
                <c:pt idx="324">
                  <c:v>President</c:v>
                </c:pt>
                <c:pt idx="325">
                  <c:v>Private Lab</c:v>
                </c:pt>
                <c:pt idx="326">
                  <c:v>Private Lab</c:v>
                </c:pt>
                <c:pt idx="327">
                  <c:v>Boursin</c:v>
                </c:pt>
                <c:pt idx="328">
                  <c:v>Private Lab</c:v>
                </c:pt>
                <c:pt idx="329">
                  <c:v>St Moret</c:v>
                </c:pt>
                <c:pt idx="330">
                  <c:v>Private Lab</c:v>
                </c:pt>
                <c:pt idx="331">
                  <c:v>Boursin</c:v>
                </c:pt>
                <c:pt idx="332">
                  <c:v>Galbani</c:v>
                </c:pt>
                <c:pt idx="333">
                  <c:v>Savencia: A</c:v>
                </c:pt>
                <c:pt idx="334">
                  <c:v>Apericube</c:v>
                </c:pt>
                <c:pt idx="335">
                  <c:v>Private Lab</c:v>
                </c:pt>
                <c:pt idx="336">
                  <c:v>Private Lab</c:v>
                </c:pt>
                <c:pt idx="337">
                  <c:v>Savencia: A</c:v>
                </c:pt>
                <c:pt idx="338">
                  <c:v>Entremont</c:v>
                </c:pt>
                <c:pt idx="339">
                  <c:v>Soignon</c:v>
                </c:pt>
                <c:pt idx="340">
                  <c:v>Boursin</c:v>
                </c:pt>
                <c:pt idx="341">
                  <c:v>President</c:v>
                </c:pt>
                <c:pt idx="342">
                  <c:v>Les Mousque</c:v>
                </c:pt>
                <c:pt idx="343">
                  <c:v>Private Lab</c:v>
                </c:pt>
                <c:pt idx="344">
                  <c:v>Soignon</c:v>
                </c:pt>
                <c:pt idx="345">
                  <c:v>Private Lab</c:v>
                </c:pt>
                <c:pt idx="346">
                  <c:v>Casa Azzurr</c:v>
                </c:pt>
                <c:pt idx="347">
                  <c:v>Galbani</c:v>
                </c:pt>
                <c:pt idx="348">
                  <c:v>All Others</c:v>
                </c:pt>
                <c:pt idx="349">
                  <c:v>Casa Azzurr</c:v>
                </c:pt>
                <c:pt idx="350">
                  <c:v>Paysan Bret</c:v>
                </c:pt>
                <c:pt idx="351">
                  <c:v>Private Lab</c:v>
                </c:pt>
                <c:pt idx="352">
                  <c:v>Aperivrais</c:v>
                </c:pt>
                <c:pt idx="353">
                  <c:v>Private Lab</c:v>
                </c:pt>
                <c:pt idx="354">
                  <c:v>Milleret: A</c:v>
                </c:pt>
                <c:pt idx="355">
                  <c:v>Aperivrais</c:v>
                </c:pt>
                <c:pt idx="356">
                  <c:v>Private Lab</c:v>
                </c:pt>
                <c:pt idx="357">
                  <c:v>Le Rustique</c:v>
                </c:pt>
                <c:pt idx="358">
                  <c:v>Pave D'Affi</c:v>
                </c:pt>
                <c:pt idx="359">
                  <c:v>Private Lab</c:v>
                </c:pt>
                <c:pt idx="360">
                  <c:v>Private Lab</c:v>
                </c:pt>
                <c:pt idx="361">
                  <c:v>Private Lab</c:v>
                </c:pt>
                <c:pt idx="362">
                  <c:v>Fauquet</c:v>
                </c:pt>
                <c:pt idx="363">
                  <c:v>All Others</c:v>
                </c:pt>
                <c:pt idx="364">
                  <c:v>Savencia: A</c:v>
                </c:pt>
                <c:pt idx="365">
                  <c:v>All Others</c:v>
                </c:pt>
                <c:pt idx="366">
                  <c:v>Paysan Bret</c:v>
                </c:pt>
                <c:pt idx="367">
                  <c:v>Galbani</c:v>
                </c:pt>
                <c:pt idx="368">
                  <c:v>Private Lab</c:v>
                </c:pt>
                <c:pt idx="369">
                  <c:v>Private Lab</c:v>
                </c:pt>
                <c:pt idx="370">
                  <c:v>Private Lab</c:v>
                </c:pt>
                <c:pt idx="371">
                  <c:v>Salakis</c:v>
                </c:pt>
                <c:pt idx="372">
                  <c:v>Entremont</c:v>
                </c:pt>
                <c:pt idx="373">
                  <c:v>Soignon</c:v>
                </c:pt>
                <c:pt idx="374">
                  <c:v>President</c:v>
                </c:pt>
                <c:pt idx="375">
                  <c:v>La Vache Qu</c:v>
                </c:pt>
                <c:pt idx="376">
                  <c:v>Casa Azzurr</c:v>
                </c:pt>
                <c:pt idx="377">
                  <c:v>Private Lab</c:v>
                </c:pt>
                <c:pt idx="378">
                  <c:v>Galbani</c:v>
                </c:pt>
                <c:pt idx="379">
                  <c:v>Casa Azzurr</c:v>
                </c:pt>
                <c:pt idx="380">
                  <c:v>Lou Perac</c:v>
                </c:pt>
                <c:pt idx="381">
                  <c:v>Carre Frais</c:v>
                </c:pt>
                <c:pt idx="382">
                  <c:v>Private Lab</c:v>
                </c:pt>
                <c:pt idx="383">
                  <c:v>Paysan Bret</c:v>
                </c:pt>
                <c:pt idx="384">
                  <c:v>Galbani</c:v>
                </c:pt>
                <c:pt idx="385">
                  <c:v>Private Lab</c:v>
                </c:pt>
                <c:pt idx="386">
                  <c:v>Galbani</c:v>
                </c:pt>
                <c:pt idx="387">
                  <c:v>Boursin</c:v>
                </c:pt>
                <c:pt idx="388">
                  <c:v>Private Lab</c:v>
                </c:pt>
                <c:pt idx="389">
                  <c:v>Societe</c:v>
                </c:pt>
                <c:pt idx="390">
                  <c:v>Private Lab</c:v>
                </c:pt>
                <c:pt idx="391">
                  <c:v>Richesmonts</c:v>
                </c:pt>
                <c:pt idx="392">
                  <c:v>All Others</c:v>
                </c:pt>
                <c:pt idx="393">
                  <c:v>Tartare</c:v>
                </c:pt>
                <c:pt idx="394">
                  <c:v>Entremont</c:v>
                </c:pt>
                <c:pt idx="395">
                  <c:v>Private Lab</c:v>
                </c:pt>
                <c:pt idx="396">
                  <c:v>Chavroux</c:v>
                </c:pt>
                <c:pt idx="397">
                  <c:v>Casa Azzurr</c:v>
                </c:pt>
                <c:pt idx="398">
                  <c:v>Private Lab</c:v>
                </c:pt>
                <c:pt idx="399">
                  <c:v>L'Ortolan</c:v>
                </c:pt>
                <c:pt idx="400">
                  <c:v>Lactalis: A</c:v>
                </c:pt>
                <c:pt idx="401">
                  <c:v>Soignon</c:v>
                </c:pt>
                <c:pt idx="402">
                  <c:v>Private Lab</c:v>
                </c:pt>
                <c:pt idx="403">
                  <c:v>Galbani</c:v>
                </c:pt>
                <c:pt idx="404">
                  <c:v>Private Lab</c:v>
                </c:pt>
                <c:pt idx="405">
                  <c:v>Pave D'Affi</c:v>
                </c:pt>
                <c:pt idx="406">
                  <c:v>Private Lab</c:v>
                </c:pt>
                <c:pt idx="407">
                  <c:v>Societe</c:v>
                </c:pt>
                <c:pt idx="408">
                  <c:v>Private Lab</c:v>
                </c:pt>
                <c:pt idx="409">
                  <c:v>Private Lab</c:v>
                </c:pt>
                <c:pt idx="410">
                  <c:v>Private Lab</c:v>
                </c:pt>
                <c:pt idx="411">
                  <c:v>All Others</c:v>
                </c:pt>
                <c:pt idx="412">
                  <c:v>Private Lab</c:v>
                </c:pt>
                <c:pt idx="413">
                  <c:v>Boursin</c:v>
                </c:pt>
                <c:pt idx="414">
                  <c:v>Private Lab</c:v>
                </c:pt>
                <c:pt idx="415">
                  <c:v>Private Lab</c:v>
                </c:pt>
                <c:pt idx="416">
                  <c:v>Private Lab</c:v>
                </c:pt>
                <c:pt idx="417">
                  <c:v>Boursin</c:v>
                </c:pt>
                <c:pt idx="418">
                  <c:v>All Others</c:v>
                </c:pt>
                <c:pt idx="419">
                  <c:v>Paysan Bret</c:v>
                </c:pt>
                <c:pt idx="420">
                  <c:v>Private Lab</c:v>
                </c:pt>
                <c:pt idx="421">
                  <c:v>All Others</c:v>
                </c:pt>
                <c:pt idx="422">
                  <c:v>Caprice Des</c:v>
                </c:pt>
                <c:pt idx="423">
                  <c:v>Eurial Autr</c:v>
                </c:pt>
                <c:pt idx="424">
                  <c:v>All Others</c:v>
                </c:pt>
                <c:pt idx="425">
                  <c:v>Casa Azzurr</c:v>
                </c:pt>
                <c:pt idx="426">
                  <c:v>Boursin</c:v>
                </c:pt>
                <c:pt idx="427">
                  <c:v>President</c:v>
                </c:pt>
                <c:pt idx="428">
                  <c:v>Mini Babybe</c:v>
                </c:pt>
                <c:pt idx="429">
                  <c:v>All Others</c:v>
                </c:pt>
                <c:pt idx="430">
                  <c:v>Private Lab</c:v>
                </c:pt>
                <c:pt idx="431">
                  <c:v>Private Lab</c:v>
                </c:pt>
                <c:pt idx="432">
                  <c:v>President</c:v>
                </c:pt>
                <c:pt idx="433">
                  <c:v>Boursin</c:v>
                </c:pt>
                <c:pt idx="434">
                  <c:v>Societe</c:v>
                </c:pt>
                <c:pt idx="435">
                  <c:v>Salakis</c:v>
                </c:pt>
                <c:pt idx="436">
                  <c:v>St Moret</c:v>
                </c:pt>
                <c:pt idx="437">
                  <c:v>Private Lab</c:v>
                </c:pt>
                <c:pt idx="438">
                  <c:v>Leerdammer</c:v>
                </c:pt>
                <c:pt idx="439">
                  <c:v>Private Lab</c:v>
                </c:pt>
                <c:pt idx="440">
                  <c:v>Les Mousque</c:v>
                </c:pt>
                <c:pt idx="441">
                  <c:v>Juraflore</c:v>
                </c:pt>
                <c:pt idx="442">
                  <c:v>Private Lab</c:v>
                </c:pt>
                <c:pt idx="443">
                  <c:v>La Belle Et</c:v>
                </c:pt>
                <c:pt idx="444">
                  <c:v>Richesmonts</c:v>
                </c:pt>
                <c:pt idx="445">
                  <c:v>Private Lab</c:v>
                </c:pt>
                <c:pt idx="446">
                  <c:v>Savencia: A</c:v>
                </c:pt>
                <c:pt idx="447">
                  <c:v>Private Lab</c:v>
                </c:pt>
                <c:pt idx="448">
                  <c:v>Richesmonts</c:v>
                </c:pt>
                <c:pt idx="449">
                  <c:v>Tartare</c:v>
                </c:pt>
                <c:pt idx="450">
                  <c:v>Mini Babybe</c:v>
                </c:pt>
                <c:pt idx="451">
                  <c:v>St Moret</c:v>
                </c:pt>
                <c:pt idx="452">
                  <c:v>Private Lab</c:v>
                </c:pt>
                <c:pt idx="453">
                  <c:v>Etorki</c:v>
                </c:pt>
                <c:pt idx="454">
                  <c:v>Lactalis: A</c:v>
                </c:pt>
                <c:pt idx="455">
                  <c:v>Galbani</c:v>
                </c:pt>
                <c:pt idx="456">
                  <c:v>Lou Perac</c:v>
                </c:pt>
                <c:pt idx="457">
                  <c:v>Private Lab</c:v>
                </c:pt>
                <c:pt idx="458">
                  <c:v>President</c:v>
                </c:pt>
                <c:pt idx="459">
                  <c:v>Private Lab</c:v>
                </c:pt>
                <c:pt idx="460">
                  <c:v>Savencia: A</c:v>
                </c:pt>
                <c:pt idx="461">
                  <c:v>Entremont</c:v>
                </c:pt>
                <c:pt idx="462">
                  <c:v>Private Lab</c:v>
                </c:pt>
                <c:pt idx="463">
                  <c:v>St Moret</c:v>
                </c:pt>
                <c:pt idx="464">
                  <c:v>Eurial Autr</c:v>
                </c:pt>
                <c:pt idx="465">
                  <c:v>Private Lab</c:v>
                </c:pt>
                <c:pt idx="466">
                  <c:v>Paysan Bret</c:v>
                </c:pt>
                <c:pt idx="467">
                  <c:v>Saint Agur</c:v>
                </c:pt>
                <c:pt idx="468">
                  <c:v>Pave D'Affi</c:v>
                </c:pt>
                <c:pt idx="469">
                  <c:v>Caprice Des</c:v>
                </c:pt>
                <c:pt idx="470">
                  <c:v>Kiri</c:v>
                </c:pt>
                <c:pt idx="471">
                  <c:v>Salakis</c:v>
                </c:pt>
                <c:pt idx="472">
                  <c:v>Lou Perac</c:v>
                </c:pt>
                <c:pt idx="473">
                  <c:v>Caprice Des</c:v>
                </c:pt>
                <c:pt idx="474">
                  <c:v>Apericube</c:v>
                </c:pt>
                <c:pt idx="475">
                  <c:v>All Others</c:v>
                </c:pt>
                <c:pt idx="476">
                  <c:v>President</c:v>
                </c:pt>
                <c:pt idx="477">
                  <c:v>Tartare</c:v>
                </c:pt>
                <c:pt idx="478">
                  <c:v>Private Lab</c:v>
                </c:pt>
                <c:pt idx="479">
                  <c:v>Aperivrais</c:v>
                </c:pt>
                <c:pt idx="480">
                  <c:v>Casa Azzurr</c:v>
                </c:pt>
                <c:pt idx="481">
                  <c:v>Private Lab</c:v>
                </c:pt>
                <c:pt idx="482">
                  <c:v>Private Lab</c:v>
                </c:pt>
                <c:pt idx="483">
                  <c:v>Aperivrais</c:v>
                </c:pt>
                <c:pt idx="484">
                  <c:v>St Moret</c:v>
                </c:pt>
                <c:pt idx="485">
                  <c:v>Boursin</c:v>
                </c:pt>
                <c:pt idx="486">
                  <c:v>Casa Azzurr</c:v>
                </c:pt>
                <c:pt idx="487">
                  <c:v>Tartare</c:v>
                </c:pt>
                <c:pt idx="488">
                  <c:v>La Vache Qu</c:v>
                </c:pt>
                <c:pt idx="489">
                  <c:v>Vieux Pane</c:v>
                </c:pt>
                <c:pt idx="490">
                  <c:v>La Belle Et</c:v>
                </c:pt>
                <c:pt idx="491">
                  <c:v>Paysan Bret</c:v>
                </c:pt>
                <c:pt idx="492">
                  <c:v>Tartare</c:v>
                </c:pt>
                <c:pt idx="493">
                  <c:v>Etoile Du V</c:v>
                </c:pt>
                <c:pt idx="494">
                  <c:v>Pochat</c:v>
                </c:pt>
                <c:pt idx="495">
                  <c:v>Vieux Pane</c:v>
                </c:pt>
                <c:pt idx="496">
                  <c:v>Le Rustique</c:v>
                </c:pt>
                <c:pt idx="497">
                  <c:v>Private Lab</c:v>
                </c:pt>
                <c:pt idx="498">
                  <c:v>Juraflore</c:v>
                </c:pt>
                <c:pt idx="499">
                  <c:v>Soignon</c:v>
                </c:pt>
                <c:pt idx="500">
                  <c:v>Kiri</c:v>
                </c:pt>
                <c:pt idx="501">
                  <c:v>All Others</c:v>
                </c:pt>
                <c:pt idx="502">
                  <c:v>Private Lab</c:v>
                </c:pt>
                <c:pt idx="503">
                  <c:v>Private Lab</c:v>
                </c:pt>
                <c:pt idx="504">
                  <c:v>Private Lab</c:v>
                </c:pt>
                <c:pt idx="505">
                  <c:v>All Others</c:v>
                </c:pt>
                <c:pt idx="506">
                  <c:v>Entremont</c:v>
                </c:pt>
                <c:pt idx="507">
                  <c:v>Istara</c:v>
                </c:pt>
                <c:pt idx="508">
                  <c:v>L'Ortolan</c:v>
                </c:pt>
                <c:pt idx="509">
                  <c:v>All Others</c:v>
                </c:pt>
                <c:pt idx="510">
                  <c:v>L'Ortolan</c:v>
                </c:pt>
                <c:pt idx="511">
                  <c:v>Bresse Bleu</c:v>
                </c:pt>
                <c:pt idx="512">
                  <c:v>Entremont</c:v>
                </c:pt>
                <c:pt idx="513">
                  <c:v>Galbani</c:v>
                </c:pt>
                <c:pt idx="514">
                  <c:v>Soignon</c:v>
                </c:pt>
                <c:pt idx="515">
                  <c:v>Private Lab</c:v>
                </c:pt>
                <c:pt idx="516">
                  <c:v>All Others</c:v>
                </c:pt>
                <c:pt idx="517">
                  <c:v>Le Coq Crem</c:v>
                </c:pt>
                <c:pt idx="518">
                  <c:v>Soignon</c:v>
                </c:pt>
                <c:pt idx="519">
                  <c:v>All Others</c:v>
                </c:pt>
                <c:pt idx="520">
                  <c:v>Kiri</c:v>
                </c:pt>
                <c:pt idx="521">
                  <c:v>President</c:v>
                </c:pt>
                <c:pt idx="522">
                  <c:v>All Others</c:v>
                </c:pt>
                <c:pt idx="523">
                  <c:v>St Moret</c:v>
                </c:pt>
                <c:pt idx="524">
                  <c:v>All Others</c:v>
                </c:pt>
                <c:pt idx="525">
                  <c:v>Galbani</c:v>
                </c:pt>
                <c:pt idx="526">
                  <c:v>All Others</c:v>
                </c:pt>
                <c:pt idx="527">
                  <c:v>Casa Azzurr</c:v>
                </c:pt>
                <c:pt idx="528">
                  <c:v>Entremont</c:v>
                </c:pt>
                <c:pt idx="529">
                  <c:v>Savencia: A</c:v>
                </c:pt>
                <c:pt idx="530">
                  <c:v>All Others</c:v>
                </c:pt>
                <c:pt idx="531">
                  <c:v>Private Lab</c:v>
                </c:pt>
                <c:pt idx="532">
                  <c:v>Les Mousque</c:v>
                </c:pt>
                <c:pt idx="533">
                  <c:v>Mini Babybe</c:v>
                </c:pt>
                <c:pt idx="534">
                  <c:v>Apericube</c:v>
                </c:pt>
                <c:pt idx="535">
                  <c:v>All Others</c:v>
                </c:pt>
                <c:pt idx="536">
                  <c:v>Soignon</c:v>
                </c:pt>
                <c:pt idx="537">
                  <c:v>Private Lab</c:v>
                </c:pt>
                <c:pt idx="538">
                  <c:v>All Others</c:v>
                </c:pt>
                <c:pt idx="539">
                  <c:v>Paysan Bret</c:v>
                </c:pt>
                <c:pt idx="540">
                  <c:v>All Others</c:v>
                </c:pt>
                <c:pt idx="541">
                  <c:v>Pochat</c:v>
                </c:pt>
                <c:pt idx="542">
                  <c:v>Casa Azzurr</c:v>
                </c:pt>
                <c:pt idx="543">
                  <c:v>Private Lab</c:v>
                </c:pt>
                <c:pt idx="544">
                  <c:v>Leerdammer</c:v>
                </c:pt>
                <c:pt idx="545">
                  <c:v>All Others</c:v>
                </c:pt>
                <c:pt idx="546">
                  <c:v>Le Saint Am</c:v>
                </c:pt>
                <c:pt idx="547">
                  <c:v>Entremont</c:v>
                </c:pt>
                <c:pt idx="548">
                  <c:v>Coeur De Li</c:v>
                </c:pt>
                <c:pt idx="549">
                  <c:v>Corsica</c:v>
                </c:pt>
                <c:pt idx="550">
                  <c:v>Casa Azzurr</c:v>
                </c:pt>
                <c:pt idx="551">
                  <c:v>All Others</c:v>
                </c:pt>
                <c:pt idx="552">
                  <c:v>Private Lab</c:v>
                </c:pt>
                <c:pt idx="553">
                  <c:v>Islos</c:v>
                </c:pt>
                <c:pt idx="554">
                  <c:v>All Others</c:v>
                </c:pt>
                <c:pt idx="555">
                  <c:v>Soignon</c:v>
                </c:pt>
                <c:pt idx="556">
                  <c:v>Les Mousque</c:v>
                </c:pt>
                <c:pt idx="557">
                  <c:v>Les Mousque</c:v>
                </c:pt>
                <c:pt idx="558">
                  <c:v>All Others</c:v>
                </c:pt>
                <c:pt idx="559">
                  <c:v>Richesmonts</c:v>
                </c:pt>
                <c:pt idx="560">
                  <c:v>Eurial Autr</c:v>
                </c:pt>
                <c:pt idx="561">
                  <c:v>Lactalis: A</c:v>
                </c:pt>
                <c:pt idx="562">
                  <c:v>Entremont</c:v>
                </c:pt>
                <c:pt idx="563">
                  <c:v>Paysan Bret</c:v>
                </c:pt>
                <c:pt idx="564">
                  <c:v>Private Lab</c:v>
                </c:pt>
                <c:pt idx="565">
                  <c:v>La Belle Et</c:v>
                </c:pt>
                <c:pt idx="566">
                  <c:v>Mini Babybe</c:v>
                </c:pt>
                <c:pt idx="567">
                  <c:v>Fol Epi</c:v>
                </c:pt>
                <c:pt idx="568">
                  <c:v>Milleret: A</c:v>
                </c:pt>
                <c:pt idx="569">
                  <c:v>Raguin</c:v>
                </c:pt>
                <c:pt idx="570">
                  <c:v>All Others</c:v>
                </c:pt>
                <c:pt idx="571">
                  <c:v>Boursin</c:v>
                </c:pt>
                <c:pt idx="572">
                  <c:v>Kiri</c:v>
                </c:pt>
                <c:pt idx="573">
                  <c:v>Savencia: A</c:v>
                </c:pt>
                <c:pt idx="574">
                  <c:v>Societe</c:v>
                </c:pt>
                <c:pt idx="575">
                  <c:v>Soignon</c:v>
                </c:pt>
                <c:pt idx="576">
                  <c:v>Kiri</c:v>
                </c:pt>
                <c:pt idx="577">
                  <c:v>All Others</c:v>
                </c:pt>
                <c:pt idx="578">
                  <c:v>La Belle Et</c:v>
                </c:pt>
                <c:pt idx="579">
                  <c:v>Paysan Bret</c:v>
                </c:pt>
                <c:pt idx="580">
                  <c:v>Raguin</c:v>
                </c:pt>
                <c:pt idx="581">
                  <c:v>Private Lab</c:v>
                </c:pt>
                <c:pt idx="582">
                  <c:v>Private Lab</c:v>
                </c:pt>
                <c:pt idx="583">
                  <c:v>Milleret: A</c:v>
                </c:pt>
                <c:pt idx="584">
                  <c:v>Lactalis: A</c:v>
                </c:pt>
                <c:pt idx="585">
                  <c:v>All Others</c:v>
                </c:pt>
                <c:pt idx="586">
                  <c:v>Private Lab</c:v>
                </c:pt>
                <c:pt idx="587">
                  <c:v>All Others</c:v>
                </c:pt>
                <c:pt idx="588">
                  <c:v>P'Tit Louis</c:v>
                </c:pt>
                <c:pt idx="589">
                  <c:v>All Others</c:v>
                </c:pt>
                <c:pt idx="590">
                  <c:v>All Others</c:v>
                </c:pt>
                <c:pt idx="591">
                  <c:v>All Others</c:v>
                </c:pt>
                <c:pt idx="592">
                  <c:v>Etoile Du Q</c:v>
                </c:pt>
                <c:pt idx="593">
                  <c:v>Galbani</c:v>
                </c:pt>
                <c:pt idx="594">
                  <c:v>All Others</c:v>
                </c:pt>
                <c:pt idx="595">
                  <c:v>Caprice Des</c:v>
                </c:pt>
                <c:pt idx="596">
                  <c:v>Triballat N</c:v>
                </c:pt>
                <c:pt idx="597">
                  <c:v>Lactalis: A</c:v>
                </c:pt>
                <c:pt idx="598">
                  <c:v>Salakis</c:v>
                </c:pt>
                <c:pt idx="599">
                  <c:v>Soignon</c:v>
                </c:pt>
                <c:pt idx="600">
                  <c:v>Entremont</c:v>
                </c:pt>
                <c:pt idx="601">
                  <c:v>Violife</c:v>
                </c:pt>
                <c:pt idx="602">
                  <c:v>All Others</c:v>
                </c:pt>
                <c:pt idx="603">
                  <c:v>Private Lab</c:v>
                </c:pt>
                <c:pt idx="604">
                  <c:v>Bresse Bleu</c:v>
                </c:pt>
                <c:pt idx="605">
                  <c:v>Galbani</c:v>
                </c:pt>
                <c:pt idx="606">
                  <c:v>Mini Babybe</c:v>
                </c:pt>
                <c:pt idx="607">
                  <c:v>Saint Albra</c:v>
                </c:pt>
                <c:pt idx="608">
                  <c:v>La Belle Et</c:v>
                </c:pt>
                <c:pt idx="609">
                  <c:v>Lactalis: A</c:v>
                </c:pt>
                <c:pt idx="610">
                  <c:v>All Others</c:v>
                </c:pt>
                <c:pt idx="611">
                  <c:v>Savencia: A</c:v>
                </c:pt>
                <c:pt idx="612">
                  <c:v>All Others</c:v>
                </c:pt>
                <c:pt idx="613">
                  <c:v>Etoile Du V</c:v>
                </c:pt>
                <c:pt idx="614">
                  <c:v>L'Ortolan</c:v>
                </c:pt>
                <c:pt idx="615">
                  <c:v>President</c:v>
                </c:pt>
                <c:pt idx="616">
                  <c:v>Private Lab</c:v>
                </c:pt>
                <c:pt idx="617">
                  <c:v>All Others</c:v>
                </c:pt>
                <c:pt idx="618">
                  <c:v>Raguin</c:v>
                </c:pt>
                <c:pt idx="619">
                  <c:v>Raguin</c:v>
                </c:pt>
                <c:pt idx="620">
                  <c:v>All Others</c:v>
                </c:pt>
                <c:pt idx="621">
                  <c:v>Lactalis: A</c:v>
                </c:pt>
                <c:pt idx="622">
                  <c:v>All Others</c:v>
                </c:pt>
                <c:pt idx="623">
                  <c:v>Lactalis: A</c:v>
                </c:pt>
                <c:pt idx="624">
                  <c:v>All Others</c:v>
                </c:pt>
                <c:pt idx="625">
                  <c:v>Le Brebiou</c:v>
                </c:pt>
                <c:pt idx="626">
                  <c:v>Galbani</c:v>
                </c:pt>
                <c:pt idx="627">
                  <c:v>All Others</c:v>
                </c:pt>
                <c:pt idx="628">
                  <c:v>Boursin</c:v>
                </c:pt>
                <c:pt idx="629">
                  <c:v>Etoile Du V</c:v>
                </c:pt>
                <c:pt idx="630">
                  <c:v>Saint Agur</c:v>
                </c:pt>
                <c:pt idx="631">
                  <c:v>All Others</c:v>
                </c:pt>
                <c:pt idx="632">
                  <c:v>Pochat</c:v>
                </c:pt>
                <c:pt idx="633">
                  <c:v>Entremont</c:v>
                </c:pt>
                <c:pt idx="634">
                  <c:v>Paysan Bret</c:v>
                </c:pt>
                <c:pt idx="635">
                  <c:v>Savencia: A</c:v>
                </c:pt>
                <c:pt idx="636">
                  <c:v>All Others</c:v>
                </c:pt>
                <c:pt idx="637">
                  <c:v>Paysan Bret</c:v>
                </c:pt>
                <c:pt idx="638">
                  <c:v>All Others</c:v>
                </c:pt>
                <c:pt idx="639">
                  <c:v>Savencia: A</c:v>
                </c:pt>
                <c:pt idx="640">
                  <c:v>Paysan Bret</c:v>
                </c:pt>
                <c:pt idx="641">
                  <c:v>All Others</c:v>
                </c:pt>
                <c:pt idx="642">
                  <c:v>Private Lab</c:v>
                </c:pt>
                <c:pt idx="643">
                  <c:v>Eurial Autr</c:v>
                </c:pt>
                <c:pt idx="644">
                  <c:v>Entremont</c:v>
                </c:pt>
                <c:pt idx="645">
                  <c:v>Lactalis: A</c:v>
                </c:pt>
                <c:pt idx="646">
                  <c:v>All Others</c:v>
                </c:pt>
                <c:pt idx="647">
                  <c:v>Milleret: A</c:v>
                </c:pt>
                <c:pt idx="648">
                  <c:v>Milleret: A</c:v>
                </c:pt>
                <c:pt idx="649">
                  <c:v>Salakis</c:v>
                </c:pt>
                <c:pt idx="650">
                  <c:v>Savencia: A</c:v>
                </c:pt>
                <c:pt idx="651">
                  <c:v>All Others</c:v>
                </c:pt>
                <c:pt idx="652">
                  <c:v>Etorki</c:v>
                </c:pt>
                <c:pt idx="653">
                  <c:v>Saint Agur</c:v>
                </c:pt>
                <c:pt idx="654">
                  <c:v>Islos</c:v>
                </c:pt>
                <c:pt idx="655">
                  <c:v>Carre Frais</c:v>
                </c:pt>
                <c:pt idx="656">
                  <c:v>All Others</c:v>
                </c:pt>
                <c:pt idx="657">
                  <c:v>Milleret: A</c:v>
                </c:pt>
                <c:pt idx="658">
                  <c:v>All Others</c:v>
                </c:pt>
                <c:pt idx="659">
                  <c:v>Milleret: A</c:v>
                </c:pt>
                <c:pt idx="660">
                  <c:v>All Others</c:v>
                </c:pt>
                <c:pt idx="661">
                  <c:v>All Others</c:v>
                </c:pt>
                <c:pt idx="662">
                  <c:v>All Others</c:v>
                </c:pt>
                <c:pt idx="663">
                  <c:v>All Others</c:v>
                </c:pt>
                <c:pt idx="664">
                  <c:v>Entremont</c:v>
                </c:pt>
                <c:pt idx="665">
                  <c:v>Casa Azzurr</c:v>
                </c:pt>
                <c:pt idx="666">
                  <c:v>All Others</c:v>
                </c:pt>
                <c:pt idx="667">
                  <c:v>Triballat N</c:v>
                </c:pt>
                <c:pt idx="668">
                  <c:v>Galbani</c:v>
                </c:pt>
                <c:pt idx="669">
                  <c:v>Apericube</c:v>
                </c:pt>
                <c:pt idx="670">
                  <c:v>Pochat</c:v>
                </c:pt>
                <c:pt idx="671">
                  <c:v>Nurishh</c:v>
                </c:pt>
                <c:pt idx="672">
                  <c:v>All Others</c:v>
                </c:pt>
                <c:pt idx="673">
                  <c:v>Private Lab</c:v>
                </c:pt>
                <c:pt idx="674">
                  <c:v>Entremont</c:v>
                </c:pt>
                <c:pt idx="675">
                  <c:v>Entremont</c:v>
                </c:pt>
                <c:pt idx="676">
                  <c:v>Entremont</c:v>
                </c:pt>
                <c:pt idx="677">
                  <c:v>Richesmonts</c:v>
                </c:pt>
                <c:pt idx="678">
                  <c:v>All Others</c:v>
                </c:pt>
                <c:pt idx="679">
                  <c:v>All Others</c:v>
                </c:pt>
                <c:pt idx="680">
                  <c:v>All Others</c:v>
                </c:pt>
                <c:pt idx="681">
                  <c:v>Paysan Bret</c:v>
                </c:pt>
                <c:pt idx="682">
                  <c:v>All Others</c:v>
                </c:pt>
                <c:pt idx="683">
                  <c:v>All Others</c:v>
                </c:pt>
                <c:pt idx="684">
                  <c:v>All Others</c:v>
                </c:pt>
                <c:pt idx="685">
                  <c:v>Savencia: A</c:v>
                </c:pt>
                <c:pt idx="686">
                  <c:v>Entremont</c:v>
                </c:pt>
                <c:pt idx="687">
                  <c:v>All Others</c:v>
                </c:pt>
                <c:pt idx="688">
                  <c:v>Lactalis: A</c:v>
                </c:pt>
                <c:pt idx="689">
                  <c:v>All Others</c:v>
                </c:pt>
                <c:pt idx="690">
                  <c:v>All Others</c:v>
                </c:pt>
                <c:pt idx="691">
                  <c:v>La Belle Et</c:v>
                </c:pt>
                <c:pt idx="692">
                  <c:v>Istara</c:v>
                </c:pt>
                <c:pt idx="693">
                  <c:v>Triballat N</c:v>
                </c:pt>
                <c:pt idx="694">
                  <c:v>All Others</c:v>
                </c:pt>
                <c:pt idx="695">
                  <c:v>All Others</c:v>
                </c:pt>
                <c:pt idx="696">
                  <c:v>Apericube</c:v>
                </c:pt>
                <c:pt idx="697">
                  <c:v>Casa Azzurr</c:v>
                </c:pt>
                <c:pt idx="698">
                  <c:v>President</c:v>
                </c:pt>
                <c:pt idx="699">
                  <c:v>All Others</c:v>
                </c:pt>
                <c:pt idx="700">
                  <c:v>All Others</c:v>
                </c:pt>
                <c:pt idx="701">
                  <c:v>Etoile Du V</c:v>
                </c:pt>
                <c:pt idx="702">
                  <c:v>All Others</c:v>
                </c:pt>
                <c:pt idx="703">
                  <c:v>Nurishh</c:v>
                </c:pt>
                <c:pt idx="704">
                  <c:v>All Others</c:v>
                </c:pt>
                <c:pt idx="705">
                  <c:v>Savencia: A</c:v>
                </c:pt>
                <c:pt idx="706">
                  <c:v>Private Lab</c:v>
                </c:pt>
                <c:pt idx="707">
                  <c:v>All Others</c:v>
                </c:pt>
                <c:pt idx="708">
                  <c:v>All Others</c:v>
                </c:pt>
                <c:pt idx="709">
                  <c:v>Casa Azzurr</c:v>
                </c:pt>
                <c:pt idx="710">
                  <c:v>All Others</c:v>
                </c:pt>
                <c:pt idx="711">
                  <c:v>Boursin</c:v>
                </c:pt>
                <c:pt idx="712">
                  <c:v>Violife</c:v>
                </c:pt>
                <c:pt idx="713">
                  <c:v>All Others</c:v>
                </c:pt>
                <c:pt idx="714">
                  <c:v>Chavroux</c:v>
                </c:pt>
                <c:pt idx="715">
                  <c:v>All Others</c:v>
                </c:pt>
                <c:pt idx="716">
                  <c:v>All Others</c:v>
                </c:pt>
                <c:pt idx="717">
                  <c:v>All Others</c:v>
                </c:pt>
                <c:pt idx="718">
                  <c:v>Etoile Du V</c:v>
                </c:pt>
                <c:pt idx="719">
                  <c:v>Aperivrais</c:v>
                </c:pt>
                <c:pt idx="720">
                  <c:v>All Others</c:v>
                </c:pt>
                <c:pt idx="721">
                  <c:v>All Others</c:v>
                </c:pt>
                <c:pt idx="722">
                  <c:v>President</c:v>
                </c:pt>
                <c:pt idx="723">
                  <c:v>Richesmonts</c:v>
                </c:pt>
                <c:pt idx="724">
                  <c:v>All Others</c:v>
                </c:pt>
                <c:pt idx="725">
                  <c:v>All Others</c:v>
                </c:pt>
                <c:pt idx="726">
                  <c:v>All Others</c:v>
                </c:pt>
                <c:pt idx="727">
                  <c:v>Fol Epi</c:v>
                </c:pt>
                <c:pt idx="728">
                  <c:v>President</c:v>
                </c:pt>
                <c:pt idx="729">
                  <c:v>Tartare</c:v>
                </c:pt>
                <c:pt idx="730">
                  <c:v>All Others</c:v>
                </c:pt>
                <c:pt idx="731">
                  <c:v>Lactalis: A</c:v>
                </c:pt>
                <c:pt idx="732">
                  <c:v>All Others</c:v>
                </c:pt>
                <c:pt idx="733">
                  <c:v>Casa Azzurr</c:v>
                </c:pt>
                <c:pt idx="734">
                  <c:v>All Others</c:v>
                </c:pt>
                <c:pt idx="735">
                  <c:v>All Others</c:v>
                </c:pt>
                <c:pt idx="736">
                  <c:v>Entremont</c:v>
                </c:pt>
                <c:pt idx="737">
                  <c:v>Lactalis: A</c:v>
                </c:pt>
                <c:pt idx="738">
                  <c:v>All Others</c:v>
                </c:pt>
                <c:pt idx="739">
                  <c:v>All Others</c:v>
                </c:pt>
                <c:pt idx="740">
                  <c:v>All Others</c:v>
                </c:pt>
                <c:pt idx="741">
                  <c:v>All Others</c:v>
                </c:pt>
                <c:pt idx="742">
                  <c:v>Fauquet</c:v>
                </c:pt>
                <c:pt idx="743">
                  <c:v>All Others</c:v>
                </c:pt>
                <c:pt idx="744">
                  <c:v>Etoile Du V</c:v>
                </c:pt>
                <c:pt idx="745">
                  <c:v>L'Ortolan</c:v>
                </c:pt>
                <c:pt idx="746">
                  <c:v>All Others</c:v>
                </c:pt>
                <c:pt idx="747">
                  <c:v>All Others</c:v>
                </c:pt>
                <c:pt idx="748">
                  <c:v>Lactalis: A</c:v>
                </c:pt>
                <c:pt idx="749">
                  <c:v>Private Lab</c:v>
                </c:pt>
                <c:pt idx="750">
                  <c:v>All Others</c:v>
                </c:pt>
                <c:pt idx="751">
                  <c:v>Boursin</c:v>
                </c:pt>
                <c:pt idx="752">
                  <c:v>Boursin</c:v>
                </c:pt>
                <c:pt idx="753">
                  <c:v>All Others</c:v>
                </c:pt>
                <c:pt idx="754">
                  <c:v>All Others</c:v>
                </c:pt>
                <c:pt idx="755">
                  <c:v>All Others</c:v>
                </c:pt>
                <c:pt idx="756">
                  <c:v>La Belle Et</c:v>
                </c:pt>
                <c:pt idx="757">
                  <c:v>All Others</c:v>
                </c:pt>
                <c:pt idx="758">
                  <c:v>All Others</c:v>
                </c:pt>
                <c:pt idx="759">
                  <c:v>Triballat N</c:v>
                </c:pt>
                <c:pt idx="760">
                  <c:v>All Others</c:v>
                </c:pt>
                <c:pt idx="761">
                  <c:v>Pochat</c:v>
                </c:pt>
                <c:pt idx="762">
                  <c:v>Violife</c:v>
                </c:pt>
                <c:pt idx="763">
                  <c:v>All Others</c:v>
                </c:pt>
                <c:pt idx="764">
                  <c:v>Tartare</c:v>
                </c:pt>
                <c:pt idx="765">
                  <c:v>Mini Babybe</c:v>
                </c:pt>
                <c:pt idx="766">
                  <c:v>Pave D'Affi</c:v>
                </c:pt>
                <c:pt idx="767">
                  <c:v>All Others</c:v>
                </c:pt>
                <c:pt idx="768">
                  <c:v>All Others</c:v>
                </c:pt>
                <c:pt idx="769">
                  <c:v>All Others</c:v>
                </c:pt>
                <c:pt idx="770">
                  <c:v>Entremont</c:v>
                </c:pt>
                <c:pt idx="771">
                  <c:v>All Others</c:v>
                </c:pt>
                <c:pt idx="772">
                  <c:v>Nurishh</c:v>
                </c:pt>
                <c:pt idx="773">
                  <c:v>All Others</c:v>
                </c:pt>
                <c:pt idx="774">
                  <c:v>All Others</c:v>
                </c:pt>
                <c:pt idx="775">
                  <c:v>All Others</c:v>
                </c:pt>
                <c:pt idx="776">
                  <c:v>All Others</c:v>
                </c:pt>
                <c:pt idx="777">
                  <c:v>All Others</c:v>
                </c:pt>
                <c:pt idx="778">
                  <c:v>All Others</c:v>
                </c:pt>
                <c:pt idx="779">
                  <c:v>Les Mousque</c:v>
                </c:pt>
                <c:pt idx="780">
                  <c:v>Les Mousque</c:v>
                </c:pt>
                <c:pt idx="781">
                  <c:v>All Others</c:v>
                </c:pt>
                <c:pt idx="782">
                  <c:v>Apericube</c:v>
                </c:pt>
                <c:pt idx="783">
                  <c:v>Savencia: A</c:v>
                </c:pt>
                <c:pt idx="784">
                  <c:v>Entremont</c:v>
                </c:pt>
                <c:pt idx="785">
                  <c:v>Milleret: A</c:v>
                </c:pt>
                <c:pt idx="786">
                  <c:v>All Others</c:v>
                </c:pt>
                <c:pt idx="787">
                  <c:v>All Others</c:v>
                </c:pt>
                <c:pt idx="788">
                  <c:v>All Others</c:v>
                </c:pt>
                <c:pt idx="789">
                  <c:v>All Others</c:v>
                </c:pt>
                <c:pt idx="790">
                  <c:v>All Others</c:v>
                </c:pt>
                <c:pt idx="791">
                  <c:v>All Others</c:v>
                </c:pt>
                <c:pt idx="792">
                  <c:v>All Others</c:v>
                </c:pt>
                <c:pt idx="793">
                  <c:v>All Others</c:v>
                </c:pt>
                <c:pt idx="794">
                  <c:v>All Others</c:v>
                </c:pt>
                <c:pt idx="795">
                  <c:v>Chavroux</c:v>
                </c:pt>
                <c:pt idx="796">
                  <c:v>Nurishh</c:v>
                </c:pt>
                <c:pt idx="797">
                  <c:v>All Others</c:v>
                </c:pt>
                <c:pt idx="798">
                  <c:v>All Others</c:v>
                </c:pt>
                <c:pt idx="799">
                  <c:v>All Others</c:v>
                </c:pt>
                <c:pt idx="800">
                  <c:v>Nurishh</c:v>
                </c:pt>
                <c:pt idx="801">
                  <c:v>All Others</c:v>
                </c:pt>
                <c:pt idx="802">
                  <c:v>All Others</c:v>
                </c:pt>
                <c:pt idx="803">
                  <c:v>All Others</c:v>
                </c:pt>
                <c:pt idx="804">
                  <c:v>Nurishh</c:v>
                </c:pt>
                <c:pt idx="805">
                  <c:v>All Others</c:v>
                </c:pt>
                <c:pt idx="806">
                  <c:v>All Others</c:v>
                </c:pt>
                <c:pt idx="807">
                  <c:v>All Others</c:v>
                </c:pt>
                <c:pt idx="808">
                  <c:v>All Others</c:v>
                </c:pt>
                <c:pt idx="809">
                  <c:v>Etoile Du V</c:v>
                </c:pt>
                <c:pt idx="810">
                  <c:v>Paysan Bret</c:v>
                </c:pt>
                <c:pt idx="811">
                  <c:v>Entremont</c:v>
                </c:pt>
                <c:pt idx="812">
                  <c:v>Apericube</c:v>
                </c:pt>
                <c:pt idx="813">
                  <c:v>All Others</c:v>
                </c:pt>
                <c:pt idx="814">
                  <c:v>All Others</c:v>
                </c:pt>
                <c:pt idx="815">
                  <c:v>All Others</c:v>
                </c:pt>
                <c:pt idx="816">
                  <c:v>All Others</c:v>
                </c:pt>
                <c:pt idx="817">
                  <c:v>All Others</c:v>
                </c:pt>
                <c:pt idx="818">
                  <c:v>Aperivrais</c:v>
                </c:pt>
                <c:pt idx="819">
                  <c:v>La Belle Et</c:v>
                </c:pt>
                <c:pt idx="820">
                  <c:v>All Others</c:v>
                </c:pt>
                <c:pt idx="821">
                  <c:v>Savencia: A</c:v>
                </c:pt>
                <c:pt idx="822">
                  <c:v>All Others</c:v>
                </c:pt>
                <c:pt idx="823">
                  <c:v>All Others</c:v>
                </c:pt>
                <c:pt idx="824">
                  <c:v>All Others</c:v>
                </c:pt>
                <c:pt idx="825">
                  <c:v>All Others</c:v>
                </c:pt>
                <c:pt idx="826">
                  <c:v>All Others</c:v>
                </c:pt>
                <c:pt idx="827">
                  <c:v>Boursin</c:v>
                </c:pt>
                <c:pt idx="828">
                  <c:v>La Belle Et</c:v>
                </c:pt>
                <c:pt idx="829">
                  <c:v>All Others</c:v>
                </c:pt>
                <c:pt idx="830">
                  <c:v>Soignon</c:v>
                </c:pt>
                <c:pt idx="831">
                  <c:v>Milleret: A</c:v>
                </c:pt>
                <c:pt idx="832">
                  <c:v>Aperivrais</c:v>
                </c:pt>
                <c:pt idx="833">
                  <c:v>All Others</c:v>
                </c:pt>
                <c:pt idx="834">
                  <c:v>All Others</c:v>
                </c:pt>
                <c:pt idx="835">
                  <c:v>La Belle Et</c:v>
                </c:pt>
                <c:pt idx="836">
                  <c:v>All Others</c:v>
                </c:pt>
                <c:pt idx="837">
                  <c:v>All Others</c:v>
                </c:pt>
                <c:pt idx="838">
                  <c:v>La Belle Et</c:v>
                </c:pt>
                <c:pt idx="839">
                  <c:v>All Others</c:v>
                </c:pt>
                <c:pt idx="840">
                  <c:v>All Others</c:v>
                </c:pt>
                <c:pt idx="841">
                  <c:v>All Others</c:v>
                </c:pt>
                <c:pt idx="842">
                  <c:v>Chaussee Au</c:v>
                </c:pt>
                <c:pt idx="843">
                  <c:v>All Others</c:v>
                </c:pt>
                <c:pt idx="844">
                  <c:v>La Belle Et</c:v>
                </c:pt>
                <c:pt idx="845">
                  <c:v>All Others</c:v>
                </c:pt>
                <c:pt idx="846">
                  <c:v>All Others</c:v>
                </c:pt>
                <c:pt idx="847">
                  <c:v>Entremont</c:v>
                </c:pt>
                <c:pt idx="848">
                  <c:v>All Others</c:v>
                </c:pt>
                <c:pt idx="849">
                  <c:v>All Others</c:v>
                </c:pt>
                <c:pt idx="850">
                  <c:v>All Others</c:v>
                </c:pt>
                <c:pt idx="851">
                  <c:v>L'Ortolan</c:v>
                </c:pt>
                <c:pt idx="852">
                  <c:v>All Others</c:v>
                </c:pt>
                <c:pt idx="853">
                  <c:v>All Others</c:v>
                </c:pt>
                <c:pt idx="854">
                  <c:v>All Others</c:v>
                </c:pt>
                <c:pt idx="855">
                  <c:v>La Belle Et</c:v>
                </c:pt>
                <c:pt idx="856">
                  <c:v>All Others</c:v>
                </c:pt>
                <c:pt idx="857">
                  <c:v>All Others</c:v>
                </c:pt>
                <c:pt idx="858">
                  <c:v>All Others</c:v>
                </c:pt>
                <c:pt idx="859">
                  <c:v>Boursin</c:v>
                </c:pt>
                <c:pt idx="860">
                  <c:v>All Others</c:v>
                </c:pt>
                <c:pt idx="861">
                  <c:v>All Others</c:v>
                </c:pt>
                <c:pt idx="862">
                  <c:v>All Others</c:v>
                </c:pt>
                <c:pt idx="863">
                  <c:v>Chavroux</c:v>
                </c:pt>
                <c:pt idx="864">
                  <c:v>Boursin</c:v>
                </c:pt>
                <c:pt idx="865">
                  <c:v>All Others</c:v>
                </c:pt>
                <c:pt idx="866">
                  <c:v>All Others</c:v>
                </c:pt>
                <c:pt idx="867">
                  <c:v>All Others</c:v>
                </c:pt>
                <c:pt idx="868">
                  <c:v>All Others</c:v>
                </c:pt>
                <c:pt idx="869">
                  <c:v>All Others</c:v>
                </c:pt>
                <c:pt idx="870">
                  <c:v>Societe</c:v>
                </c:pt>
                <c:pt idx="871">
                  <c:v>All Others</c:v>
                </c:pt>
                <c:pt idx="872">
                  <c:v>All Others</c:v>
                </c:pt>
                <c:pt idx="873">
                  <c:v>Boursin</c:v>
                </c:pt>
                <c:pt idx="874">
                  <c:v>All Others</c:v>
                </c:pt>
                <c:pt idx="875">
                  <c:v>Salakis</c:v>
                </c:pt>
                <c:pt idx="876">
                  <c:v>All Others</c:v>
                </c:pt>
                <c:pt idx="877">
                  <c:v>All Others</c:v>
                </c:pt>
                <c:pt idx="878">
                  <c:v>All Others</c:v>
                </c:pt>
                <c:pt idx="879">
                  <c:v>All Others</c:v>
                </c:pt>
                <c:pt idx="880">
                  <c:v>All Others</c:v>
                </c:pt>
                <c:pt idx="881">
                  <c:v>Savencia: A</c:v>
                </c:pt>
                <c:pt idx="882">
                  <c:v>Lactalis: A</c:v>
                </c:pt>
                <c:pt idx="883">
                  <c:v>All Others</c:v>
                </c:pt>
                <c:pt idx="884">
                  <c:v>All Others</c:v>
                </c:pt>
                <c:pt idx="885">
                  <c:v>All Others</c:v>
                </c:pt>
                <c:pt idx="886">
                  <c:v>All Others</c:v>
                </c:pt>
                <c:pt idx="887">
                  <c:v>Milleret: A</c:v>
                </c:pt>
                <c:pt idx="888">
                  <c:v>All Others</c:v>
                </c:pt>
                <c:pt idx="889">
                  <c:v>President</c:v>
                </c:pt>
                <c:pt idx="890">
                  <c:v>All Others</c:v>
                </c:pt>
                <c:pt idx="891">
                  <c:v>Private Lab</c:v>
                </c:pt>
                <c:pt idx="892">
                  <c:v>All Others</c:v>
                </c:pt>
                <c:pt idx="893">
                  <c:v>All Others</c:v>
                </c:pt>
                <c:pt idx="894">
                  <c:v>All Others</c:v>
                </c:pt>
                <c:pt idx="895">
                  <c:v>All Others</c:v>
                </c:pt>
                <c:pt idx="896">
                  <c:v>All Others</c:v>
                </c:pt>
                <c:pt idx="897">
                  <c:v>All Others</c:v>
                </c:pt>
                <c:pt idx="898">
                  <c:v>La Belle Et</c:v>
                </c:pt>
                <c:pt idx="899">
                  <c:v>All Others</c:v>
                </c:pt>
                <c:pt idx="900">
                  <c:v>All Others</c:v>
                </c:pt>
                <c:pt idx="901">
                  <c:v>All Others</c:v>
                </c:pt>
                <c:pt idx="902">
                  <c:v>All Others</c:v>
                </c:pt>
                <c:pt idx="903">
                  <c:v>All Others</c:v>
                </c:pt>
                <c:pt idx="904">
                  <c:v>All Others</c:v>
                </c:pt>
                <c:pt idx="905">
                  <c:v>All Others</c:v>
                </c:pt>
                <c:pt idx="906">
                  <c:v>All Others</c:v>
                </c:pt>
                <c:pt idx="907">
                  <c:v>All Others</c:v>
                </c:pt>
                <c:pt idx="908">
                  <c:v>Petit Billy</c:v>
                </c:pt>
                <c:pt idx="909">
                  <c:v>All Others</c:v>
                </c:pt>
                <c:pt idx="910">
                  <c:v>Lactalis: A</c:v>
                </c:pt>
                <c:pt idx="911">
                  <c:v>All Others</c:v>
                </c:pt>
                <c:pt idx="912">
                  <c:v>All Others</c:v>
                </c:pt>
                <c:pt idx="913">
                  <c:v>La Table M</c:v>
                </c:pt>
                <c:pt idx="914">
                  <c:v>All Others</c:v>
                </c:pt>
                <c:pt idx="915">
                  <c:v>All Others</c:v>
                </c:pt>
                <c:pt idx="916">
                  <c:v>Salakis</c:v>
                </c:pt>
                <c:pt idx="917">
                  <c:v>Etoile Du V</c:v>
                </c:pt>
                <c:pt idx="918">
                  <c:v>All Others</c:v>
                </c:pt>
                <c:pt idx="919">
                  <c:v>All Others</c:v>
                </c:pt>
                <c:pt idx="920">
                  <c:v>All Others</c:v>
                </c:pt>
                <c:pt idx="921">
                  <c:v>All Others</c:v>
                </c:pt>
                <c:pt idx="922">
                  <c:v>All Others</c:v>
                </c:pt>
                <c:pt idx="923">
                  <c:v>All Others</c:v>
                </c:pt>
                <c:pt idx="924">
                  <c:v>All Others</c:v>
                </c:pt>
                <c:pt idx="925">
                  <c:v>All Others</c:v>
                </c:pt>
                <c:pt idx="926">
                  <c:v>Galbani</c:v>
                </c:pt>
                <c:pt idx="927">
                  <c:v>All Others</c:v>
                </c:pt>
                <c:pt idx="928">
                  <c:v>Chavroux</c:v>
                </c:pt>
                <c:pt idx="929">
                  <c:v>All Others</c:v>
                </c:pt>
                <c:pt idx="930">
                  <c:v>All Others</c:v>
                </c:pt>
                <c:pt idx="931">
                  <c:v>Entremont</c:v>
                </c:pt>
                <c:pt idx="932">
                  <c:v>All Others</c:v>
                </c:pt>
                <c:pt idx="933">
                  <c:v>All Others</c:v>
                </c:pt>
                <c:pt idx="934">
                  <c:v>All Others</c:v>
                </c:pt>
                <c:pt idx="935">
                  <c:v>All Others</c:v>
                </c:pt>
                <c:pt idx="936">
                  <c:v>Lactalis: A</c:v>
                </c:pt>
                <c:pt idx="937">
                  <c:v>All Others</c:v>
                </c:pt>
                <c:pt idx="938">
                  <c:v>All Others</c:v>
                </c:pt>
                <c:pt idx="939">
                  <c:v>All Others</c:v>
                </c:pt>
                <c:pt idx="940">
                  <c:v>All Others</c:v>
                </c:pt>
                <c:pt idx="941">
                  <c:v>All Others</c:v>
                </c:pt>
                <c:pt idx="942">
                  <c:v>Lactalis: A</c:v>
                </c:pt>
                <c:pt idx="943">
                  <c:v>All Others</c:v>
                </c:pt>
                <c:pt idx="944">
                  <c:v>La Vache Qu</c:v>
                </c:pt>
                <c:pt idx="945">
                  <c:v>Lactalis: A</c:v>
                </c:pt>
                <c:pt idx="946">
                  <c:v>All Others</c:v>
                </c:pt>
                <c:pt idx="947">
                  <c:v>All Others</c:v>
                </c:pt>
                <c:pt idx="948">
                  <c:v>All Others</c:v>
                </c:pt>
                <c:pt idx="949">
                  <c:v>All Others</c:v>
                </c:pt>
                <c:pt idx="950">
                  <c:v>All Others</c:v>
                </c:pt>
                <c:pt idx="951">
                  <c:v>La Belle Et</c:v>
                </c:pt>
                <c:pt idx="952">
                  <c:v>All Others</c:v>
                </c:pt>
                <c:pt idx="953">
                  <c:v>Entremont</c:v>
                </c:pt>
                <c:pt idx="954">
                  <c:v>Private Lab</c:v>
                </c:pt>
                <c:pt idx="955">
                  <c:v>All Others</c:v>
                </c:pt>
                <c:pt idx="956">
                  <c:v>All Others</c:v>
                </c:pt>
                <c:pt idx="957">
                  <c:v>All Others</c:v>
                </c:pt>
                <c:pt idx="958">
                  <c:v>All Others</c:v>
                </c:pt>
                <c:pt idx="959">
                  <c:v>All Others</c:v>
                </c:pt>
                <c:pt idx="960">
                  <c:v>All Others</c:v>
                </c:pt>
                <c:pt idx="961">
                  <c:v>All Others</c:v>
                </c:pt>
                <c:pt idx="962">
                  <c:v>Chavroux</c:v>
                </c:pt>
                <c:pt idx="963">
                  <c:v>Mini Babybe</c:v>
                </c:pt>
                <c:pt idx="964">
                  <c:v>All Others</c:v>
                </c:pt>
                <c:pt idx="965">
                  <c:v>All Others</c:v>
                </c:pt>
                <c:pt idx="966">
                  <c:v>All Others</c:v>
                </c:pt>
                <c:pt idx="967">
                  <c:v>La Belle Et</c:v>
                </c:pt>
                <c:pt idx="968">
                  <c:v>All Others</c:v>
                </c:pt>
                <c:pt idx="969">
                  <c:v>All Others</c:v>
                </c:pt>
                <c:pt idx="970">
                  <c:v>All Others</c:v>
                </c:pt>
                <c:pt idx="971">
                  <c:v>All Others</c:v>
                </c:pt>
                <c:pt idx="972">
                  <c:v>All Others</c:v>
                </c:pt>
                <c:pt idx="973">
                  <c:v>All Others</c:v>
                </c:pt>
                <c:pt idx="974">
                  <c:v>All Others</c:v>
                </c:pt>
                <c:pt idx="975">
                  <c:v>All Others</c:v>
                </c:pt>
                <c:pt idx="976">
                  <c:v>All Others</c:v>
                </c:pt>
                <c:pt idx="977">
                  <c:v>All Others</c:v>
                </c:pt>
                <c:pt idx="978">
                  <c:v>Lactalis: A</c:v>
                </c:pt>
                <c:pt idx="979">
                  <c:v>Paysan Bret</c:v>
                </c:pt>
                <c:pt idx="980">
                  <c:v>All Others</c:v>
                </c:pt>
                <c:pt idx="981">
                  <c:v>All Others</c:v>
                </c:pt>
                <c:pt idx="982">
                  <c:v>All Others</c:v>
                </c:pt>
                <c:pt idx="983">
                  <c:v>All Others</c:v>
                </c:pt>
                <c:pt idx="984">
                  <c:v>All Others</c:v>
                </c:pt>
                <c:pt idx="985">
                  <c:v>All Others</c:v>
                </c:pt>
                <c:pt idx="986">
                  <c:v>All Others</c:v>
                </c:pt>
                <c:pt idx="987">
                  <c:v>All Others</c:v>
                </c:pt>
                <c:pt idx="988">
                  <c:v>All Others</c:v>
                </c:pt>
                <c:pt idx="989">
                  <c:v>Mini Babybe</c:v>
                </c:pt>
                <c:pt idx="990">
                  <c:v>All Others</c:v>
                </c:pt>
                <c:pt idx="991">
                  <c:v>All Others</c:v>
                </c:pt>
                <c:pt idx="992">
                  <c:v>All Others</c:v>
                </c:pt>
                <c:pt idx="993">
                  <c:v>All Others</c:v>
                </c:pt>
                <c:pt idx="994">
                  <c:v>All Others</c:v>
                </c:pt>
                <c:pt idx="995">
                  <c:v>All Others</c:v>
                </c:pt>
                <c:pt idx="996">
                  <c:v>All Others</c:v>
                </c:pt>
                <c:pt idx="997">
                  <c:v>All Others</c:v>
                </c:pt>
                <c:pt idx="998">
                  <c:v>All Others</c:v>
                </c:pt>
                <c:pt idx="999">
                  <c:v>All Others</c:v>
                </c:pt>
                <c:pt idx="1000">
                  <c:v>All Others</c:v>
                </c:pt>
                <c:pt idx="1001">
                  <c:v>All Others</c:v>
                </c:pt>
                <c:pt idx="1002">
                  <c:v>All Others</c:v>
                </c:pt>
                <c:pt idx="1003">
                  <c:v>All Others</c:v>
                </c:pt>
                <c:pt idx="1004">
                  <c:v>Richesmonts</c:v>
                </c:pt>
                <c:pt idx="1005">
                  <c:v>Savencia: A</c:v>
                </c:pt>
                <c:pt idx="1006">
                  <c:v>La Belle Et</c:v>
                </c:pt>
                <c:pt idx="1007">
                  <c:v>All Others</c:v>
                </c:pt>
                <c:pt idx="1008">
                  <c:v>All Others</c:v>
                </c:pt>
                <c:pt idx="1009">
                  <c:v>All Others</c:v>
                </c:pt>
                <c:pt idx="1010">
                  <c:v>Casa Azzurr</c:v>
                </c:pt>
                <c:pt idx="1011">
                  <c:v>All Others</c:v>
                </c:pt>
                <c:pt idx="1012">
                  <c:v>Corsica</c:v>
                </c:pt>
                <c:pt idx="1013">
                  <c:v>All Others</c:v>
                </c:pt>
                <c:pt idx="1014">
                  <c:v>La Belle Et</c:v>
                </c:pt>
                <c:pt idx="1015">
                  <c:v>All Others</c:v>
                </c:pt>
                <c:pt idx="1016">
                  <c:v>All Others</c:v>
                </c:pt>
                <c:pt idx="1017">
                  <c:v>All Others</c:v>
                </c:pt>
                <c:pt idx="1018">
                  <c:v>All Others</c:v>
                </c:pt>
                <c:pt idx="1019">
                  <c:v>All Others</c:v>
                </c:pt>
                <c:pt idx="1020">
                  <c:v>All Others</c:v>
                </c:pt>
                <c:pt idx="1021">
                  <c:v>Savencia: A</c:v>
                </c:pt>
                <c:pt idx="1022">
                  <c:v>Savencia: A</c:v>
                </c:pt>
                <c:pt idx="1023">
                  <c:v>All Others</c:v>
                </c:pt>
                <c:pt idx="1024">
                  <c:v>All Others</c:v>
                </c:pt>
                <c:pt idx="1025">
                  <c:v>All Others</c:v>
                </c:pt>
                <c:pt idx="1026">
                  <c:v>Rians</c:v>
                </c:pt>
                <c:pt idx="1027">
                  <c:v>Raguin</c:v>
                </c:pt>
                <c:pt idx="1028">
                  <c:v>All Others</c:v>
                </c:pt>
                <c:pt idx="1029">
                  <c:v>Lactalis: A</c:v>
                </c:pt>
                <c:pt idx="1030">
                  <c:v>All Others</c:v>
                </c:pt>
                <c:pt idx="1031">
                  <c:v>All Others</c:v>
                </c:pt>
                <c:pt idx="1032">
                  <c:v>All Others</c:v>
                </c:pt>
                <c:pt idx="1033">
                  <c:v>All Others</c:v>
                </c:pt>
                <c:pt idx="1034">
                  <c:v>All Others</c:v>
                </c:pt>
                <c:pt idx="1035">
                  <c:v>All Others</c:v>
                </c:pt>
                <c:pt idx="1036">
                  <c:v>All Others</c:v>
                </c:pt>
                <c:pt idx="1037">
                  <c:v>Richesmonts</c:v>
                </c:pt>
                <c:pt idx="1038">
                  <c:v>All Others</c:v>
                </c:pt>
                <c:pt idx="1039">
                  <c:v>Raguin</c:v>
                </c:pt>
                <c:pt idx="1040">
                  <c:v>All Others</c:v>
                </c:pt>
                <c:pt idx="1041">
                  <c:v>All Others</c:v>
                </c:pt>
                <c:pt idx="1042">
                  <c:v>All Others</c:v>
                </c:pt>
                <c:pt idx="1043">
                  <c:v>Lactalis: A</c:v>
                </c:pt>
                <c:pt idx="1044">
                  <c:v>All Others</c:v>
                </c:pt>
                <c:pt idx="1045">
                  <c:v>All Others</c:v>
                </c:pt>
                <c:pt idx="1046">
                  <c:v>All Others</c:v>
                </c:pt>
                <c:pt idx="1047">
                  <c:v>Fol Epi</c:v>
                </c:pt>
                <c:pt idx="1048">
                  <c:v>All Others</c:v>
                </c:pt>
                <c:pt idx="1049">
                  <c:v>All Others</c:v>
                </c:pt>
                <c:pt idx="1050">
                  <c:v>All Others</c:v>
                </c:pt>
                <c:pt idx="1051">
                  <c:v>All Others</c:v>
                </c:pt>
                <c:pt idx="1052">
                  <c:v>All Others</c:v>
                </c:pt>
                <c:pt idx="1053">
                  <c:v>All Others</c:v>
                </c:pt>
                <c:pt idx="1054">
                  <c:v>Etoile Du V</c:v>
                </c:pt>
                <c:pt idx="1055">
                  <c:v>All Others</c:v>
                </c:pt>
                <c:pt idx="1056">
                  <c:v>All Others</c:v>
                </c:pt>
                <c:pt idx="1057">
                  <c:v>All Others</c:v>
                </c:pt>
                <c:pt idx="1058">
                  <c:v>Raguin</c:v>
                </c:pt>
                <c:pt idx="1059">
                  <c:v>All Others</c:v>
                </c:pt>
                <c:pt idx="1060">
                  <c:v>Paysan Bret</c:v>
                </c:pt>
                <c:pt idx="1061">
                  <c:v>All Others</c:v>
                </c:pt>
                <c:pt idx="1062">
                  <c:v>All Others</c:v>
                </c:pt>
                <c:pt idx="1063">
                  <c:v>All Others</c:v>
                </c:pt>
                <c:pt idx="1064">
                  <c:v>Entremont</c:v>
                </c:pt>
                <c:pt idx="1065">
                  <c:v>All Others</c:v>
                </c:pt>
                <c:pt idx="1066">
                  <c:v>Raguin</c:v>
                </c:pt>
                <c:pt idx="1067">
                  <c:v>All Others</c:v>
                </c:pt>
                <c:pt idx="1068">
                  <c:v>Private Lab</c:v>
                </c:pt>
                <c:pt idx="1069">
                  <c:v>All Others</c:v>
                </c:pt>
                <c:pt idx="1070">
                  <c:v>All Others</c:v>
                </c:pt>
                <c:pt idx="1071">
                  <c:v>All Others</c:v>
                </c:pt>
                <c:pt idx="1072">
                  <c:v>All Others</c:v>
                </c:pt>
                <c:pt idx="1073">
                  <c:v>All Others</c:v>
                </c:pt>
                <c:pt idx="1074">
                  <c:v>All Others</c:v>
                </c:pt>
                <c:pt idx="1075">
                  <c:v>All Others</c:v>
                </c:pt>
                <c:pt idx="1076">
                  <c:v>Kiri</c:v>
                </c:pt>
                <c:pt idx="1077">
                  <c:v>All Others</c:v>
                </c:pt>
                <c:pt idx="1078">
                  <c:v>Raguin</c:v>
                </c:pt>
                <c:pt idx="1079">
                  <c:v>All Others</c:v>
                </c:pt>
                <c:pt idx="1080">
                  <c:v>All Others</c:v>
                </c:pt>
                <c:pt idx="1081">
                  <c:v>All Others</c:v>
                </c:pt>
                <c:pt idx="1082">
                  <c:v>All Others</c:v>
                </c:pt>
                <c:pt idx="1083">
                  <c:v>All Others</c:v>
                </c:pt>
                <c:pt idx="1084">
                  <c:v>All Others</c:v>
                </c:pt>
                <c:pt idx="1085">
                  <c:v>All Others</c:v>
                </c:pt>
                <c:pt idx="1086">
                  <c:v>All Others</c:v>
                </c:pt>
                <c:pt idx="1087">
                  <c:v>All Others</c:v>
                </c:pt>
                <c:pt idx="1088">
                  <c:v>La Belle Et</c:v>
                </c:pt>
                <c:pt idx="1089">
                  <c:v>All Others</c:v>
                </c:pt>
                <c:pt idx="1090">
                  <c:v>All Others</c:v>
                </c:pt>
                <c:pt idx="1091">
                  <c:v>All Others</c:v>
                </c:pt>
                <c:pt idx="1092">
                  <c:v>All Others</c:v>
                </c:pt>
                <c:pt idx="1093">
                  <c:v>Juraflore</c:v>
                </c:pt>
                <c:pt idx="1094">
                  <c:v>All Others</c:v>
                </c:pt>
                <c:pt idx="1095">
                  <c:v>All Others</c:v>
                </c:pt>
                <c:pt idx="1096">
                  <c:v>All Others</c:v>
                </c:pt>
                <c:pt idx="1097">
                  <c:v>Pave D'Affi</c:v>
                </c:pt>
                <c:pt idx="1098">
                  <c:v>All Others</c:v>
                </c:pt>
                <c:pt idx="1099">
                  <c:v>Etoile Du V</c:v>
                </c:pt>
                <c:pt idx="1100">
                  <c:v>All Others</c:v>
                </c:pt>
                <c:pt idx="1101">
                  <c:v>All Others</c:v>
                </c:pt>
                <c:pt idx="1102">
                  <c:v>All Others</c:v>
                </c:pt>
                <c:pt idx="1103">
                  <c:v>All Others</c:v>
                </c:pt>
                <c:pt idx="1104">
                  <c:v>All Others</c:v>
                </c:pt>
                <c:pt idx="1105">
                  <c:v>All Others</c:v>
                </c:pt>
                <c:pt idx="1106">
                  <c:v>All Others</c:v>
                </c:pt>
                <c:pt idx="1107">
                  <c:v>All Others</c:v>
                </c:pt>
                <c:pt idx="1108">
                  <c:v>All Others</c:v>
                </c:pt>
                <c:pt idx="1109">
                  <c:v>All Others</c:v>
                </c:pt>
                <c:pt idx="1110">
                  <c:v>All Others</c:v>
                </c:pt>
                <c:pt idx="1111">
                  <c:v>All Others</c:v>
                </c:pt>
                <c:pt idx="1112">
                  <c:v>All Others</c:v>
                </c:pt>
                <c:pt idx="1113">
                  <c:v>All Others</c:v>
                </c:pt>
                <c:pt idx="1114">
                  <c:v>All Others</c:v>
                </c:pt>
                <c:pt idx="1115">
                  <c:v>Violife</c:v>
                </c:pt>
                <c:pt idx="1116">
                  <c:v>Lactalis: A</c:v>
                </c:pt>
                <c:pt idx="1117">
                  <c:v>All Others</c:v>
                </c:pt>
                <c:pt idx="1118">
                  <c:v>All Others</c:v>
                </c:pt>
                <c:pt idx="1119">
                  <c:v>All Others</c:v>
                </c:pt>
                <c:pt idx="1120">
                  <c:v>All Others</c:v>
                </c:pt>
                <c:pt idx="1121">
                  <c:v>All Others</c:v>
                </c:pt>
                <c:pt idx="1122">
                  <c:v>All Others</c:v>
                </c:pt>
                <c:pt idx="1123">
                  <c:v>All Others</c:v>
                </c:pt>
                <c:pt idx="1124">
                  <c:v>All Others</c:v>
                </c:pt>
                <c:pt idx="1125">
                  <c:v>All Others</c:v>
                </c:pt>
                <c:pt idx="1126">
                  <c:v>All Others</c:v>
                </c:pt>
                <c:pt idx="1127">
                  <c:v>All Others</c:v>
                </c:pt>
                <c:pt idx="1128">
                  <c:v>All Others</c:v>
                </c:pt>
                <c:pt idx="1129">
                  <c:v>All Others</c:v>
                </c:pt>
                <c:pt idx="1130">
                  <c:v>All Others</c:v>
                </c:pt>
                <c:pt idx="1131">
                  <c:v>All Others</c:v>
                </c:pt>
                <c:pt idx="1132">
                  <c:v>All Others</c:v>
                </c:pt>
                <c:pt idx="1133">
                  <c:v>All Others</c:v>
                </c:pt>
                <c:pt idx="1134">
                  <c:v>All Others</c:v>
                </c:pt>
                <c:pt idx="1135">
                  <c:v>All Others</c:v>
                </c:pt>
                <c:pt idx="1136">
                  <c:v>All Others</c:v>
                </c:pt>
                <c:pt idx="1137">
                  <c:v>All Others</c:v>
                </c:pt>
                <c:pt idx="1138">
                  <c:v>Milleret</c:v>
                </c:pt>
                <c:pt idx="1139">
                  <c:v>All Others</c:v>
                </c:pt>
                <c:pt idx="1140">
                  <c:v>All Others</c:v>
                </c:pt>
                <c:pt idx="1141">
                  <c:v>All Others</c:v>
                </c:pt>
                <c:pt idx="1142">
                  <c:v>All Others</c:v>
                </c:pt>
                <c:pt idx="1143">
                  <c:v>All Others</c:v>
                </c:pt>
                <c:pt idx="1144">
                  <c:v>All Others</c:v>
                </c:pt>
                <c:pt idx="1145">
                  <c:v>All Others</c:v>
                </c:pt>
                <c:pt idx="1146">
                  <c:v>All Others</c:v>
                </c:pt>
                <c:pt idx="1147">
                  <c:v>All Others</c:v>
                </c:pt>
                <c:pt idx="1148">
                  <c:v>All Others</c:v>
                </c:pt>
                <c:pt idx="1149">
                  <c:v>Lindahls Pr</c:v>
                </c:pt>
                <c:pt idx="1150">
                  <c:v>All Others</c:v>
                </c:pt>
                <c:pt idx="1151">
                  <c:v>All Others</c:v>
                </c:pt>
                <c:pt idx="1152">
                  <c:v>All Others</c:v>
                </c:pt>
                <c:pt idx="1153">
                  <c:v>All Others</c:v>
                </c:pt>
                <c:pt idx="1154">
                  <c:v>All Others</c:v>
                </c:pt>
                <c:pt idx="1155">
                  <c:v>All Others</c:v>
                </c:pt>
                <c:pt idx="1156">
                  <c:v>All Others</c:v>
                </c:pt>
                <c:pt idx="1157">
                  <c:v>Raguin</c:v>
                </c:pt>
                <c:pt idx="1158">
                  <c:v>All Others</c:v>
                </c:pt>
                <c:pt idx="1159">
                  <c:v>All Others</c:v>
                </c:pt>
                <c:pt idx="1160">
                  <c:v>All Others</c:v>
                </c:pt>
                <c:pt idx="1161">
                  <c:v>All Others</c:v>
                </c:pt>
                <c:pt idx="1162">
                  <c:v>All Others</c:v>
                </c:pt>
                <c:pt idx="1163">
                  <c:v>Paysan Bret</c:v>
                </c:pt>
                <c:pt idx="1164">
                  <c:v>All Others</c:v>
                </c:pt>
                <c:pt idx="1165">
                  <c:v>Other Suppl</c:v>
                </c:pt>
                <c:pt idx="1166">
                  <c:v>All Others</c:v>
                </c:pt>
                <c:pt idx="1167">
                  <c:v>All Others</c:v>
                </c:pt>
                <c:pt idx="1168">
                  <c:v>All Others</c:v>
                </c:pt>
                <c:pt idx="1169">
                  <c:v>Limiano</c:v>
                </c:pt>
                <c:pt idx="1170">
                  <c:v>All Others</c:v>
                </c:pt>
                <c:pt idx="1171">
                  <c:v>All Others</c:v>
                </c:pt>
                <c:pt idx="1172">
                  <c:v>All Others</c:v>
                </c:pt>
                <c:pt idx="1173">
                  <c:v>All Others</c:v>
                </c:pt>
                <c:pt idx="1174">
                  <c:v>All Others</c:v>
                </c:pt>
                <c:pt idx="1175">
                  <c:v>All Others</c:v>
                </c:pt>
                <c:pt idx="1176">
                  <c:v>All Others</c:v>
                </c:pt>
                <c:pt idx="1177">
                  <c:v>All Others</c:v>
                </c:pt>
                <c:pt idx="1178">
                  <c:v>Raguin</c:v>
                </c:pt>
                <c:pt idx="1179">
                  <c:v>All Others</c:v>
                </c:pt>
                <c:pt idx="1180">
                  <c:v>All Others</c:v>
                </c:pt>
                <c:pt idx="1181">
                  <c:v>All Others</c:v>
                </c:pt>
                <c:pt idx="1182">
                  <c:v>All Others</c:v>
                </c:pt>
                <c:pt idx="1183">
                  <c:v>All Others</c:v>
                </c:pt>
                <c:pt idx="1184">
                  <c:v>All Others</c:v>
                </c:pt>
                <c:pt idx="1185">
                  <c:v>All Others</c:v>
                </c:pt>
                <c:pt idx="1186">
                  <c:v>Raguin</c:v>
                </c:pt>
                <c:pt idx="1187">
                  <c:v>All Others</c:v>
                </c:pt>
                <c:pt idx="1188">
                  <c:v>All Others</c:v>
                </c:pt>
                <c:pt idx="1189">
                  <c:v>All Others</c:v>
                </c:pt>
                <c:pt idx="1190">
                  <c:v>All Others</c:v>
                </c:pt>
                <c:pt idx="1191">
                  <c:v>All Others</c:v>
                </c:pt>
                <c:pt idx="1192">
                  <c:v>All Others</c:v>
                </c:pt>
                <c:pt idx="1193">
                  <c:v>All Others</c:v>
                </c:pt>
                <c:pt idx="1194">
                  <c:v>All Others</c:v>
                </c:pt>
                <c:pt idx="1195">
                  <c:v>All Others</c:v>
                </c:pt>
                <c:pt idx="1196">
                  <c:v>All Others</c:v>
                </c:pt>
                <c:pt idx="1197">
                  <c:v>All Others</c:v>
                </c:pt>
                <c:pt idx="1198">
                  <c:v>Etoile Du V</c:v>
                </c:pt>
                <c:pt idx="1199">
                  <c:v>All Others</c:v>
                </c:pt>
                <c:pt idx="1200">
                  <c:v>All Others</c:v>
                </c:pt>
                <c:pt idx="1201">
                  <c:v>All Others</c:v>
                </c:pt>
                <c:pt idx="1202">
                  <c:v>All Others</c:v>
                </c:pt>
                <c:pt idx="1203">
                  <c:v>All Others</c:v>
                </c:pt>
                <c:pt idx="1204">
                  <c:v>Baillon</c:v>
                </c:pt>
                <c:pt idx="1205">
                  <c:v>All Others</c:v>
                </c:pt>
                <c:pt idx="1206">
                  <c:v>All Others</c:v>
                </c:pt>
                <c:pt idx="1207">
                  <c:v>All Others</c:v>
                </c:pt>
                <c:pt idx="1208">
                  <c:v>Etoile Du V</c:v>
                </c:pt>
                <c:pt idx="1209">
                  <c:v>All Others</c:v>
                </c:pt>
                <c:pt idx="1210">
                  <c:v>All Others</c:v>
                </c:pt>
                <c:pt idx="1211">
                  <c:v>All Others</c:v>
                </c:pt>
                <c:pt idx="1212">
                  <c:v>Lactalis: A</c:v>
                </c:pt>
                <c:pt idx="1213">
                  <c:v>All Others</c:v>
                </c:pt>
                <c:pt idx="1214">
                  <c:v>Raguin</c:v>
                </c:pt>
                <c:pt idx="1215">
                  <c:v>All Others</c:v>
                </c:pt>
                <c:pt idx="1216">
                  <c:v>All Others</c:v>
                </c:pt>
                <c:pt idx="1217">
                  <c:v>All Others</c:v>
                </c:pt>
                <c:pt idx="1218">
                  <c:v>All Others</c:v>
                </c:pt>
                <c:pt idx="1219">
                  <c:v>All Others</c:v>
                </c:pt>
                <c:pt idx="1220">
                  <c:v>All Others</c:v>
                </c:pt>
                <c:pt idx="1221">
                  <c:v>All Others</c:v>
                </c:pt>
                <c:pt idx="1222">
                  <c:v>Raguin</c:v>
                </c:pt>
                <c:pt idx="1223">
                  <c:v>All Others</c:v>
                </c:pt>
                <c:pt idx="1224">
                  <c:v>All Others</c:v>
                </c:pt>
                <c:pt idx="1225">
                  <c:v>All Others</c:v>
                </c:pt>
                <c:pt idx="1226">
                  <c:v>All Others</c:v>
                </c:pt>
                <c:pt idx="1227">
                  <c:v>All Others</c:v>
                </c:pt>
                <c:pt idx="1228">
                  <c:v>All Others</c:v>
                </c:pt>
                <c:pt idx="1229">
                  <c:v>All Others</c:v>
                </c:pt>
                <c:pt idx="1230">
                  <c:v>Raguin</c:v>
                </c:pt>
                <c:pt idx="1231">
                  <c:v>All Others</c:v>
                </c:pt>
                <c:pt idx="1232">
                  <c:v>All Others</c:v>
                </c:pt>
                <c:pt idx="1233">
                  <c:v>All Others</c:v>
                </c:pt>
                <c:pt idx="1234">
                  <c:v>All Others</c:v>
                </c:pt>
                <c:pt idx="1235">
                  <c:v>All Others</c:v>
                </c:pt>
                <c:pt idx="1236">
                  <c:v>All Others</c:v>
                </c:pt>
                <c:pt idx="1237">
                  <c:v>All Others</c:v>
                </c:pt>
                <c:pt idx="1238">
                  <c:v>All Others</c:v>
                </c:pt>
                <c:pt idx="1239">
                  <c:v>All Others</c:v>
                </c:pt>
                <c:pt idx="1240">
                  <c:v>All Others</c:v>
                </c:pt>
                <c:pt idx="1241">
                  <c:v>All Others</c:v>
                </c:pt>
                <c:pt idx="1242">
                  <c:v>Other Suppl</c:v>
                </c:pt>
                <c:pt idx="1243">
                  <c:v>Raguin</c:v>
                </c:pt>
                <c:pt idx="1244">
                  <c:v>All Others</c:v>
                </c:pt>
                <c:pt idx="1245">
                  <c:v>All Others</c:v>
                </c:pt>
                <c:pt idx="1246">
                  <c:v>All Others</c:v>
                </c:pt>
                <c:pt idx="1247">
                  <c:v>All Others</c:v>
                </c:pt>
                <c:pt idx="1248">
                  <c:v>Raguin</c:v>
                </c:pt>
                <c:pt idx="1249">
                  <c:v>All Others</c:v>
                </c:pt>
                <c:pt idx="1250">
                  <c:v>All Others</c:v>
                </c:pt>
                <c:pt idx="1251">
                  <c:v>All Others</c:v>
                </c:pt>
                <c:pt idx="1252">
                  <c:v>All Others</c:v>
                </c:pt>
                <c:pt idx="1253">
                  <c:v>Gillot</c:v>
                </c:pt>
                <c:pt idx="1254">
                  <c:v>All Others</c:v>
                </c:pt>
                <c:pt idx="1255">
                  <c:v>All Others</c:v>
                </c:pt>
                <c:pt idx="1256">
                  <c:v>All Others</c:v>
                </c:pt>
                <c:pt idx="1257">
                  <c:v>Limiano</c:v>
                </c:pt>
                <c:pt idx="1258">
                  <c:v>All Others</c:v>
                </c:pt>
                <c:pt idx="1259">
                  <c:v>All Others</c:v>
                </c:pt>
                <c:pt idx="1260">
                  <c:v>All Others</c:v>
                </c:pt>
                <c:pt idx="1261">
                  <c:v>Etoile Du V</c:v>
                </c:pt>
                <c:pt idx="1262">
                  <c:v>Pave D'Affi</c:v>
                </c:pt>
                <c:pt idx="1263">
                  <c:v>All Others</c:v>
                </c:pt>
                <c:pt idx="1264">
                  <c:v>All Others</c:v>
                </c:pt>
                <c:pt idx="1265">
                  <c:v>All Others</c:v>
                </c:pt>
                <c:pt idx="1266">
                  <c:v>All Others</c:v>
                </c:pt>
                <c:pt idx="1267">
                  <c:v>All Others</c:v>
                </c:pt>
                <c:pt idx="1268">
                  <c:v>All Others</c:v>
                </c:pt>
                <c:pt idx="1269">
                  <c:v>Raguin</c:v>
                </c:pt>
                <c:pt idx="1270">
                  <c:v>All Others</c:v>
                </c:pt>
                <c:pt idx="1271">
                  <c:v>All Others</c:v>
                </c:pt>
                <c:pt idx="1272">
                  <c:v>All Others</c:v>
                </c:pt>
                <c:pt idx="1273">
                  <c:v>All Others</c:v>
                </c:pt>
                <c:pt idx="1274">
                  <c:v>All Others</c:v>
                </c:pt>
                <c:pt idx="1275">
                  <c:v>All Others</c:v>
                </c:pt>
                <c:pt idx="1276">
                  <c:v>All Others</c:v>
                </c:pt>
                <c:pt idx="1277">
                  <c:v>All Others</c:v>
                </c:pt>
                <c:pt idx="1278">
                  <c:v>All Others</c:v>
                </c:pt>
                <c:pt idx="1279">
                  <c:v>All Others</c:v>
                </c:pt>
                <c:pt idx="1280">
                  <c:v>All Others</c:v>
                </c:pt>
                <c:pt idx="1281">
                  <c:v>Other Suppl</c:v>
                </c:pt>
                <c:pt idx="1282">
                  <c:v>All Others</c:v>
                </c:pt>
                <c:pt idx="1283">
                  <c:v>All Others</c:v>
                </c:pt>
                <c:pt idx="1284">
                  <c:v>All Others</c:v>
                </c:pt>
                <c:pt idx="1285">
                  <c:v>All Others</c:v>
                </c:pt>
                <c:pt idx="1286">
                  <c:v>All Others</c:v>
                </c:pt>
                <c:pt idx="1287">
                  <c:v>All Others</c:v>
                </c:pt>
                <c:pt idx="1288">
                  <c:v>All Others</c:v>
                </c:pt>
                <c:pt idx="1289">
                  <c:v>All Others</c:v>
                </c:pt>
                <c:pt idx="1290">
                  <c:v>All Others</c:v>
                </c:pt>
                <c:pt idx="1291">
                  <c:v>All Others</c:v>
                </c:pt>
                <c:pt idx="1292">
                  <c:v>All Others</c:v>
                </c:pt>
                <c:pt idx="1293">
                  <c:v>Raguin</c:v>
                </c:pt>
                <c:pt idx="1294">
                  <c:v>All Others</c:v>
                </c:pt>
                <c:pt idx="1295">
                  <c:v>All Others</c:v>
                </c:pt>
                <c:pt idx="1296">
                  <c:v>Savencia: A</c:v>
                </c:pt>
                <c:pt idx="1297">
                  <c:v>All Others</c:v>
                </c:pt>
                <c:pt idx="1298">
                  <c:v>Lincet</c:v>
                </c:pt>
                <c:pt idx="1299">
                  <c:v>All Others</c:v>
                </c:pt>
                <c:pt idx="1300">
                  <c:v>All Others</c:v>
                </c:pt>
                <c:pt idx="1301">
                  <c:v>All Others</c:v>
                </c:pt>
                <c:pt idx="1302">
                  <c:v>All Others</c:v>
                </c:pt>
                <c:pt idx="1303">
                  <c:v>All Others</c:v>
                </c:pt>
                <c:pt idx="1304">
                  <c:v>All Others</c:v>
                </c:pt>
                <c:pt idx="1305">
                  <c:v>All Others</c:v>
                </c:pt>
                <c:pt idx="1306">
                  <c:v>All Others</c:v>
                </c:pt>
                <c:pt idx="1307">
                  <c:v>Dodin</c:v>
                </c:pt>
                <c:pt idx="1308">
                  <c:v>All Others</c:v>
                </c:pt>
                <c:pt idx="1309">
                  <c:v>All Others</c:v>
                </c:pt>
                <c:pt idx="1310">
                  <c:v>All Others</c:v>
                </c:pt>
                <c:pt idx="1311">
                  <c:v>All Others</c:v>
                </c:pt>
                <c:pt idx="1312">
                  <c:v>All Others</c:v>
                </c:pt>
                <c:pt idx="1313">
                  <c:v>Gillot</c:v>
                </c:pt>
                <c:pt idx="1314">
                  <c:v>Pave D'Affi</c:v>
                </c:pt>
                <c:pt idx="1315">
                  <c:v>All Others</c:v>
                </c:pt>
                <c:pt idx="1316">
                  <c:v>All Others</c:v>
                </c:pt>
                <c:pt idx="1317">
                  <c:v>All Others</c:v>
                </c:pt>
                <c:pt idx="1318">
                  <c:v>All Others</c:v>
                </c:pt>
                <c:pt idx="1319">
                  <c:v>All Others</c:v>
                </c:pt>
                <c:pt idx="1320">
                  <c:v>All Others</c:v>
                </c:pt>
                <c:pt idx="1321">
                  <c:v>All Others</c:v>
                </c:pt>
                <c:pt idx="1322">
                  <c:v>Other Suppl</c:v>
                </c:pt>
                <c:pt idx="1323">
                  <c:v>All Others</c:v>
                </c:pt>
                <c:pt idx="1324">
                  <c:v>All Others</c:v>
                </c:pt>
                <c:pt idx="1325">
                  <c:v>Other Suppl</c:v>
                </c:pt>
                <c:pt idx="1326">
                  <c:v>All Others</c:v>
                </c:pt>
                <c:pt idx="1327">
                  <c:v>All Others</c:v>
                </c:pt>
                <c:pt idx="1328">
                  <c:v>All Others</c:v>
                </c:pt>
                <c:pt idx="1329">
                  <c:v>All Others</c:v>
                </c:pt>
                <c:pt idx="1330">
                  <c:v>All Others</c:v>
                </c:pt>
                <c:pt idx="1331">
                  <c:v>All Others</c:v>
                </c:pt>
                <c:pt idx="1332">
                  <c:v>All Others</c:v>
                </c:pt>
                <c:pt idx="1333">
                  <c:v>All Others</c:v>
                </c:pt>
                <c:pt idx="1334">
                  <c:v>All Others</c:v>
                </c:pt>
                <c:pt idx="1335">
                  <c:v>All Others</c:v>
                </c:pt>
                <c:pt idx="1336">
                  <c:v>All Others</c:v>
                </c:pt>
                <c:pt idx="1337">
                  <c:v>All Others</c:v>
                </c:pt>
                <c:pt idx="1338">
                  <c:v>All Others</c:v>
                </c:pt>
                <c:pt idx="1339">
                  <c:v>All Others</c:v>
                </c:pt>
                <c:pt idx="1340">
                  <c:v>All Others</c:v>
                </c:pt>
                <c:pt idx="1341">
                  <c:v>All Others</c:v>
                </c:pt>
                <c:pt idx="1342">
                  <c:v>All Others</c:v>
                </c:pt>
                <c:pt idx="1343">
                  <c:v>All Others</c:v>
                </c:pt>
                <c:pt idx="1344">
                  <c:v>All Others</c:v>
                </c:pt>
                <c:pt idx="1345">
                  <c:v>All Others</c:v>
                </c:pt>
                <c:pt idx="1346">
                  <c:v>All Others</c:v>
                </c:pt>
                <c:pt idx="1347">
                  <c:v>All Others</c:v>
                </c:pt>
                <c:pt idx="1348">
                  <c:v>All Others</c:v>
                </c:pt>
                <c:pt idx="1349">
                  <c:v>All Others</c:v>
                </c:pt>
                <c:pt idx="1350">
                  <c:v>All Others</c:v>
                </c:pt>
                <c:pt idx="1351">
                  <c:v>All Others</c:v>
                </c:pt>
                <c:pt idx="1352">
                  <c:v>All Others</c:v>
                </c:pt>
                <c:pt idx="1353">
                  <c:v>All Others</c:v>
                </c:pt>
                <c:pt idx="1354">
                  <c:v>All Others</c:v>
                </c:pt>
                <c:pt idx="1355">
                  <c:v>All Others</c:v>
                </c:pt>
                <c:pt idx="1356">
                  <c:v>Raguin</c:v>
                </c:pt>
                <c:pt idx="1357">
                  <c:v>All Others</c:v>
                </c:pt>
                <c:pt idx="1358">
                  <c:v>All Others</c:v>
                </c:pt>
                <c:pt idx="1359">
                  <c:v>All Others</c:v>
                </c:pt>
                <c:pt idx="1360">
                  <c:v>All Others</c:v>
                </c:pt>
                <c:pt idx="1361">
                  <c:v>All Others</c:v>
                </c:pt>
                <c:pt idx="1362">
                  <c:v>All Others</c:v>
                </c:pt>
                <c:pt idx="1363">
                  <c:v>All Others</c:v>
                </c:pt>
                <c:pt idx="1364">
                  <c:v>All Others</c:v>
                </c:pt>
                <c:pt idx="1365">
                  <c:v>All Others</c:v>
                </c:pt>
                <c:pt idx="1366">
                  <c:v>All Others</c:v>
                </c:pt>
                <c:pt idx="1367">
                  <c:v>All Others</c:v>
                </c:pt>
                <c:pt idx="1368">
                  <c:v>All Others</c:v>
                </c:pt>
                <c:pt idx="1369">
                  <c:v>All Others</c:v>
                </c:pt>
                <c:pt idx="1370">
                  <c:v>All Others</c:v>
                </c:pt>
                <c:pt idx="1371">
                  <c:v>All Others</c:v>
                </c:pt>
                <c:pt idx="1372">
                  <c:v>All Others</c:v>
                </c:pt>
                <c:pt idx="1373">
                  <c:v>All Others</c:v>
                </c:pt>
                <c:pt idx="1374">
                  <c:v>All Others</c:v>
                </c:pt>
                <c:pt idx="1375">
                  <c:v>All Others</c:v>
                </c:pt>
                <c:pt idx="1376">
                  <c:v>All Others</c:v>
                </c:pt>
                <c:pt idx="1377">
                  <c:v>All Others</c:v>
                </c:pt>
                <c:pt idx="1378">
                  <c:v>All Others</c:v>
                </c:pt>
                <c:pt idx="1379">
                  <c:v>All Others</c:v>
                </c:pt>
                <c:pt idx="1380">
                  <c:v>All Others</c:v>
                </c:pt>
                <c:pt idx="1381">
                  <c:v>All Others</c:v>
                </c:pt>
                <c:pt idx="1382">
                  <c:v>All Others</c:v>
                </c:pt>
                <c:pt idx="1383">
                  <c:v>Raguin</c:v>
                </c:pt>
                <c:pt idx="1384">
                  <c:v>Raguin</c:v>
                </c:pt>
                <c:pt idx="1385">
                  <c:v>All Others</c:v>
                </c:pt>
                <c:pt idx="1386">
                  <c:v>All Others</c:v>
                </c:pt>
                <c:pt idx="1387">
                  <c:v>All Others</c:v>
                </c:pt>
                <c:pt idx="1388">
                  <c:v>All Others</c:v>
                </c:pt>
                <c:pt idx="1389">
                  <c:v>All Others</c:v>
                </c:pt>
                <c:pt idx="1390">
                  <c:v>All Others</c:v>
                </c:pt>
                <c:pt idx="1391">
                  <c:v>All Others</c:v>
                </c:pt>
                <c:pt idx="1392">
                  <c:v>All Others</c:v>
                </c:pt>
                <c:pt idx="1393">
                  <c:v>All Others</c:v>
                </c:pt>
                <c:pt idx="1394">
                  <c:v>All Others</c:v>
                </c:pt>
                <c:pt idx="1395">
                  <c:v>All Others</c:v>
                </c:pt>
                <c:pt idx="1396">
                  <c:v>All Others</c:v>
                </c:pt>
                <c:pt idx="1397">
                  <c:v>All Others</c:v>
                </c:pt>
                <c:pt idx="1398">
                  <c:v>All Others</c:v>
                </c:pt>
                <c:pt idx="1399">
                  <c:v>All Others</c:v>
                </c:pt>
                <c:pt idx="1400">
                  <c:v>All Others</c:v>
                </c:pt>
                <c:pt idx="1401">
                  <c:v>All Others</c:v>
                </c:pt>
                <c:pt idx="1402">
                  <c:v>All Others</c:v>
                </c:pt>
                <c:pt idx="1403">
                  <c:v>All Others</c:v>
                </c:pt>
                <c:pt idx="1404">
                  <c:v>All Others</c:v>
                </c:pt>
                <c:pt idx="1405">
                  <c:v>All Others</c:v>
                </c:pt>
                <c:pt idx="1406">
                  <c:v>All Others</c:v>
                </c:pt>
                <c:pt idx="1407">
                  <c:v>All Others</c:v>
                </c:pt>
                <c:pt idx="1408">
                  <c:v>Other Suppl</c:v>
                </c:pt>
                <c:pt idx="1409">
                  <c:v>All Others</c:v>
                </c:pt>
                <c:pt idx="1410">
                  <c:v>All Others</c:v>
                </c:pt>
                <c:pt idx="1411">
                  <c:v>Savencia: A</c:v>
                </c:pt>
                <c:pt idx="1412">
                  <c:v>All Others</c:v>
                </c:pt>
                <c:pt idx="1413">
                  <c:v>Lactalis: A</c:v>
                </c:pt>
                <c:pt idx="1414">
                  <c:v>All Others</c:v>
                </c:pt>
                <c:pt idx="1415">
                  <c:v>All Others</c:v>
                </c:pt>
                <c:pt idx="1416">
                  <c:v>All Others</c:v>
                </c:pt>
                <c:pt idx="1417">
                  <c:v>All Others</c:v>
                </c:pt>
                <c:pt idx="1418">
                  <c:v>All Others</c:v>
                </c:pt>
                <c:pt idx="1419">
                  <c:v>All Others</c:v>
                </c:pt>
                <c:pt idx="1420">
                  <c:v>All Others</c:v>
                </c:pt>
                <c:pt idx="1421">
                  <c:v>All Others</c:v>
                </c:pt>
                <c:pt idx="1422">
                  <c:v>All Others</c:v>
                </c:pt>
                <c:pt idx="1423">
                  <c:v>All Others</c:v>
                </c:pt>
                <c:pt idx="1424">
                  <c:v>All Others</c:v>
                </c:pt>
                <c:pt idx="1425">
                  <c:v>All Others</c:v>
                </c:pt>
                <c:pt idx="1426">
                  <c:v>All Others</c:v>
                </c:pt>
                <c:pt idx="1427">
                  <c:v>All Others</c:v>
                </c:pt>
                <c:pt idx="1428">
                  <c:v>All Others</c:v>
                </c:pt>
                <c:pt idx="1429">
                  <c:v>Caprice Des</c:v>
                </c:pt>
                <c:pt idx="1430">
                  <c:v>Private Lab</c:v>
                </c:pt>
                <c:pt idx="1431">
                  <c:v>All Others</c:v>
                </c:pt>
                <c:pt idx="1432">
                  <c:v>All Others</c:v>
                </c:pt>
                <c:pt idx="1433">
                  <c:v>All Others</c:v>
                </c:pt>
                <c:pt idx="1434">
                  <c:v>All Others</c:v>
                </c:pt>
                <c:pt idx="1435">
                  <c:v>All Others</c:v>
                </c:pt>
                <c:pt idx="1436">
                  <c:v>All Others</c:v>
                </c:pt>
                <c:pt idx="1437">
                  <c:v>Lactalis: A</c:v>
                </c:pt>
                <c:pt idx="1438">
                  <c:v>All Others</c:v>
                </c:pt>
                <c:pt idx="1439">
                  <c:v>All Others</c:v>
                </c:pt>
                <c:pt idx="1440">
                  <c:v>Pochat</c:v>
                </c:pt>
                <c:pt idx="1441">
                  <c:v>All Others</c:v>
                </c:pt>
                <c:pt idx="1442">
                  <c:v>All Others</c:v>
                </c:pt>
                <c:pt idx="1443">
                  <c:v>Richesmonts</c:v>
                </c:pt>
                <c:pt idx="1444">
                  <c:v>All Others</c:v>
                </c:pt>
                <c:pt idx="1445">
                  <c:v>All Others</c:v>
                </c:pt>
                <c:pt idx="1446">
                  <c:v>All Others</c:v>
                </c:pt>
                <c:pt idx="1447">
                  <c:v>Milleret: A</c:v>
                </c:pt>
                <c:pt idx="1448">
                  <c:v>All Others</c:v>
                </c:pt>
                <c:pt idx="1449">
                  <c:v>All Others</c:v>
                </c:pt>
                <c:pt idx="1450">
                  <c:v>All Others</c:v>
                </c:pt>
                <c:pt idx="1451">
                  <c:v>All Others</c:v>
                </c:pt>
                <c:pt idx="1452">
                  <c:v>All Others</c:v>
                </c:pt>
                <c:pt idx="1453">
                  <c:v>Private Lab</c:v>
                </c:pt>
                <c:pt idx="1454">
                  <c:v>All Others</c:v>
                </c:pt>
                <c:pt idx="1455">
                  <c:v>All Others</c:v>
                </c:pt>
                <c:pt idx="1456">
                  <c:v>All Others</c:v>
                </c:pt>
                <c:pt idx="1457">
                  <c:v>Pochat</c:v>
                </c:pt>
                <c:pt idx="1458">
                  <c:v>All Others</c:v>
                </c:pt>
                <c:pt idx="1459">
                  <c:v>All Others</c:v>
                </c:pt>
                <c:pt idx="1460">
                  <c:v>All Others</c:v>
                </c:pt>
                <c:pt idx="1461">
                  <c:v>Private Lab</c:v>
                </c:pt>
                <c:pt idx="1462">
                  <c:v>Lactalis: A</c:v>
                </c:pt>
                <c:pt idx="1463">
                  <c:v>Private Lab</c:v>
                </c:pt>
                <c:pt idx="1464">
                  <c:v>All Others</c:v>
                </c:pt>
                <c:pt idx="1465">
                  <c:v>Lactalis: A</c:v>
                </c:pt>
                <c:pt idx="1466">
                  <c:v>Laiteries H</c:v>
                </c:pt>
                <c:pt idx="1467">
                  <c:v>All Others</c:v>
                </c:pt>
                <c:pt idx="1468">
                  <c:v>All Others</c:v>
                </c:pt>
                <c:pt idx="1469">
                  <c:v>All Others</c:v>
                </c:pt>
                <c:pt idx="1470">
                  <c:v>All Others</c:v>
                </c:pt>
                <c:pt idx="1471">
                  <c:v>Private Lab</c:v>
                </c:pt>
                <c:pt idx="1472">
                  <c:v>All Others</c:v>
                </c:pt>
                <c:pt idx="1473">
                  <c:v>La Vache Qu</c:v>
                </c:pt>
                <c:pt idx="1474">
                  <c:v>All Others</c:v>
                </c:pt>
                <c:pt idx="1475">
                  <c:v>All Others</c:v>
                </c:pt>
                <c:pt idx="1476">
                  <c:v>All Others</c:v>
                </c:pt>
                <c:pt idx="1477">
                  <c:v>All Others</c:v>
                </c:pt>
                <c:pt idx="1478">
                  <c:v>All Others</c:v>
                </c:pt>
                <c:pt idx="1479">
                  <c:v>All Others</c:v>
                </c:pt>
                <c:pt idx="1480">
                  <c:v>All Others</c:v>
                </c:pt>
                <c:pt idx="1481">
                  <c:v>Gillot</c:v>
                </c:pt>
                <c:pt idx="1482">
                  <c:v>All Others</c:v>
                </c:pt>
                <c:pt idx="1483">
                  <c:v>All Others</c:v>
                </c:pt>
                <c:pt idx="1484">
                  <c:v>All Others</c:v>
                </c:pt>
                <c:pt idx="1485">
                  <c:v>Private Lab</c:v>
                </c:pt>
                <c:pt idx="1486">
                  <c:v>All Others</c:v>
                </c:pt>
                <c:pt idx="1487">
                  <c:v>Private Lab</c:v>
                </c:pt>
                <c:pt idx="1488">
                  <c:v>All Others</c:v>
                </c:pt>
                <c:pt idx="1489">
                  <c:v>All Others</c:v>
                </c:pt>
                <c:pt idx="1490">
                  <c:v>Lactalis: A</c:v>
                </c:pt>
                <c:pt idx="1491">
                  <c:v>Private Lab</c:v>
                </c:pt>
                <c:pt idx="1492">
                  <c:v>All Others</c:v>
                </c:pt>
                <c:pt idx="1493">
                  <c:v>Other Suppl</c:v>
                </c:pt>
                <c:pt idx="1494">
                  <c:v>All Others</c:v>
                </c:pt>
                <c:pt idx="1495">
                  <c:v>All Others</c:v>
                </c:pt>
                <c:pt idx="1496">
                  <c:v>All Others</c:v>
                </c:pt>
                <c:pt idx="1497">
                  <c:v>Private Lab</c:v>
                </c:pt>
                <c:pt idx="1498">
                  <c:v>All Others</c:v>
                </c:pt>
                <c:pt idx="1499">
                  <c:v>All Others</c:v>
                </c:pt>
                <c:pt idx="1500">
                  <c:v>All Others</c:v>
                </c:pt>
                <c:pt idx="1501">
                  <c:v>Private Lab</c:v>
                </c:pt>
                <c:pt idx="1502">
                  <c:v>All Others</c:v>
                </c:pt>
                <c:pt idx="1503">
                  <c:v>Etoile Du V</c:v>
                </c:pt>
                <c:pt idx="1504">
                  <c:v>Gillot</c:v>
                </c:pt>
                <c:pt idx="1505">
                  <c:v>All Others</c:v>
                </c:pt>
                <c:pt idx="1506">
                  <c:v>All Others</c:v>
                </c:pt>
                <c:pt idx="1507">
                  <c:v>All Others</c:v>
                </c:pt>
                <c:pt idx="1508">
                  <c:v>All Others</c:v>
                </c:pt>
                <c:pt idx="1509">
                  <c:v>Private Lab</c:v>
                </c:pt>
                <c:pt idx="1510">
                  <c:v>Leerdammer</c:v>
                </c:pt>
                <c:pt idx="1511">
                  <c:v>All Others</c:v>
                </c:pt>
                <c:pt idx="1512">
                  <c:v>All Others</c:v>
                </c:pt>
                <c:pt idx="1513">
                  <c:v>Lactalis: A</c:v>
                </c:pt>
                <c:pt idx="1514">
                  <c:v>All Others</c:v>
                </c:pt>
                <c:pt idx="1515">
                  <c:v>Other Suppl</c:v>
                </c:pt>
                <c:pt idx="1516">
                  <c:v>Pochat</c:v>
                </c:pt>
                <c:pt idx="1517">
                  <c:v>Pave D'Affi</c:v>
                </c:pt>
                <c:pt idx="1518">
                  <c:v>All Others</c:v>
                </c:pt>
                <c:pt idx="1519">
                  <c:v>All Others</c:v>
                </c:pt>
                <c:pt idx="1520">
                  <c:v>All Others</c:v>
                </c:pt>
                <c:pt idx="1521">
                  <c:v>Private Lab</c:v>
                </c:pt>
                <c:pt idx="1522">
                  <c:v>All Others</c:v>
                </c:pt>
                <c:pt idx="1523">
                  <c:v>All Others</c:v>
                </c:pt>
                <c:pt idx="1524">
                  <c:v>All Others</c:v>
                </c:pt>
                <c:pt idx="1525">
                  <c:v>Private Lab</c:v>
                </c:pt>
                <c:pt idx="1526">
                  <c:v>All Others</c:v>
                </c:pt>
                <c:pt idx="1527">
                  <c:v>All Others</c:v>
                </c:pt>
                <c:pt idx="1528">
                  <c:v>All Others</c:v>
                </c:pt>
                <c:pt idx="1529">
                  <c:v>Netto</c:v>
                </c:pt>
                <c:pt idx="1530">
                  <c:v>All Others</c:v>
                </c:pt>
                <c:pt idx="1531">
                  <c:v>All Others</c:v>
                </c:pt>
                <c:pt idx="1532">
                  <c:v>All Others</c:v>
                </c:pt>
                <c:pt idx="1533">
                  <c:v>Private Lab</c:v>
                </c:pt>
                <c:pt idx="1534">
                  <c:v>La Vache Qu</c:v>
                </c:pt>
                <c:pt idx="1535">
                  <c:v>Private Lab</c:v>
                </c:pt>
                <c:pt idx="1536">
                  <c:v>All Others</c:v>
                </c:pt>
                <c:pt idx="1537">
                  <c:v>Private Lab</c:v>
                </c:pt>
                <c:pt idx="1538">
                  <c:v>All Others</c:v>
                </c:pt>
                <c:pt idx="1539">
                  <c:v>All Others</c:v>
                </c:pt>
                <c:pt idx="1540">
                  <c:v>All Others</c:v>
                </c:pt>
                <c:pt idx="1541">
                  <c:v>All Others</c:v>
                </c:pt>
                <c:pt idx="1542">
                  <c:v>All Others</c:v>
                </c:pt>
                <c:pt idx="1543">
                  <c:v>All Others</c:v>
                </c:pt>
                <c:pt idx="1544">
                  <c:v>Private Lab</c:v>
                </c:pt>
                <c:pt idx="1545">
                  <c:v>Private Lab</c:v>
                </c:pt>
                <c:pt idx="1546">
                  <c:v>Private Lab</c:v>
                </c:pt>
                <c:pt idx="1547">
                  <c:v>Gillot</c:v>
                </c:pt>
                <c:pt idx="1548">
                  <c:v>All Others</c:v>
                </c:pt>
                <c:pt idx="1549">
                  <c:v>All Others</c:v>
                </c:pt>
                <c:pt idx="1550">
                  <c:v>All Others</c:v>
                </c:pt>
                <c:pt idx="1551">
                  <c:v>All Others</c:v>
                </c:pt>
                <c:pt idx="1552">
                  <c:v>Private Lab</c:v>
                </c:pt>
                <c:pt idx="1553">
                  <c:v>Private Lab</c:v>
                </c:pt>
                <c:pt idx="1554">
                  <c:v>Private Lab</c:v>
                </c:pt>
                <c:pt idx="1555">
                  <c:v>All Others</c:v>
                </c:pt>
                <c:pt idx="1556">
                  <c:v>All Others</c:v>
                </c:pt>
                <c:pt idx="1557">
                  <c:v>All Others</c:v>
                </c:pt>
                <c:pt idx="1558">
                  <c:v>All Others</c:v>
                </c:pt>
                <c:pt idx="1559">
                  <c:v>O'Tapas Ape</c:v>
                </c:pt>
                <c:pt idx="1560">
                  <c:v>All Others</c:v>
                </c:pt>
                <c:pt idx="1561">
                  <c:v>All Others</c:v>
                </c:pt>
                <c:pt idx="1562">
                  <c:v>All Others</c:v>
                </c:pt>
                <c:pt idx="1563">
                  <c:v>All Others</c:v>
                </c:pt>
                <c:pt idx="1564">
                  <c:v>Private Lab</c:v>
                </c:pt>
                <c:pt idx="1565">
                  <c:v>All Others</c:v>
                </c:pt>
                <c:pt idx="1566">
                  <c:v>Private Lab</c:v>
                </c:pt>
                <c:pt idx="1567">
                  <c:v>All Others</c:v>
                </c:pt>
                <c:pt idx="1568">
                  <c:v>Private Lab</c:v>
                </c:pt>
                <c:pt idx="1569">
                  <c:v>O'Tapas Ape</c:v>
                </c:pt>
                <c:pt idx="1570">
                  <c:v>Private Lab</c:v>
                </c:pt>
                <c:pt idx="1571">
                  <c:v>All Others</c:v>
                </c:pt>
                <c:pt idx="1572">
                  <c:v>All Others</c:v>
                </c:pt>
                <c:pt idx="1573">
                  <c:v>Apericube</c:v>
                </c:pt>
                <c:pt idx="1574">
                  <c:v>All Others</c:v>
                </c:pt>
                <c:pt idx="1575">
                  <c:v>La Vache Qu</c:v>
                </c:pt>
                <c:pt idx="1576">
                  <c:v>Societe</c:v>
                </c:pt>
                <c:pt idx="1577">
                  <c:v>Private Lab</c:v>
                </c:pt>
                <c:pt idx="1578">
                  <c:v>All Others</c:v>
                </c:pt>
                <c:pt idx="1579">
                  <c:v>Lactalis: A</c:v>
                </c:pt>
                <c:pt idx="1580">
                  <c:v>La Vache Qu</c:v>
                </c:pt>
                <c:pt idx="1581">
                  <c:v>Les Mousque</c:v>
                </c:pt>
                <c:pt idx="1582">
                  <c:v>All Others</c:v>
                </c:pt>
                <c:pt idx="1583">
                  <c:v>All Others</c:v>
                </c:pt>
                <c:pt idx="1584">
                  <c:v>All Others</c:v>
                </c:pt>
                <c:pt idx="1585">
                  <c:v>All Others</c:v>
                </c:pt>
                <c:pt idx="1586">
                  <c:v>All Others</c:v>
                </c:pt>
                <c:pt idx="1587">
                  <c:v>Lactalis: A</c:v>
                </c:pt>
                <c:pt idx="1588">
                  <c:v>All Others</c:v>
                </c:pt>
                <c:pt idx="1589">
                  <c:v>President</c:v>
                </c:pt>
                <c:pt idx="1590">
                  <c:v>Les Mousque</c:v>
                </c:pt>
                <c:pt idx="1591">
                  <c:v>Netto</c:v>
                </c:pt>
                <c:pt idx="1592">
                  <c:v>President</c:v>
                </c:pt>
                <c:pt idx="1593">
                  <c:v>Lactalis: A</c:v>
                </c:pt>
                <c:pt idx="1594">
                  <c:v>All Others</c:v>
                </c:pt>
                <c:pt idx="1595">
                  <c:v>Les Mousque</c:v>
                </c:pt>
              </c:strCache>
            </c:strRef>
          </c:cat>
          <c:val>
            <c:numRef>
              <c:f>Sheet1!$B$2:$B$1597</c:f>
              <c:numCache>
                <c:formatCode>General</c:formatCode>
                <c:ptCount val="1596"/>
                <c:pt idx="0">
                  <c:v>0.999</c:v>
                </c:pt>
                <c:pt idx="1">
                  <c:v>0.998</c:v>
                </c:pt>
                <c:pt idx="2">
                  <c:v>0.998</c:v>
                </c:pt>
                <c:pt idx="3">
                  <c:v>0.999</c:v>
                </c:pt>
                <c:pt idx="4">
                  <c:v>1</c:v>
                </c:pt>
                <c:pt idx="5">
                  <c:v>0.99199999999999999</c:v>
                </c:pt>
                <c:pt idx="6">
                  <c:v>0.96699999999999997</c:v>
                </c:pt>
                <c:pt idx="7">
                  <c:v>0.999</c:v>
                </c:pt>
                <c:pt idx="8">
                  <c:v>1</c:v>
                </c:pt>
                <c:pt idx="9">
                  <c:v>0.98899999999999999</c:v>
                </c:pt>
                <c:pt idx="10">
                  <c:v>1</c:v>
                </c:pt>
                <c:pt idx="11">
                  <c:v>0.80300000000000005</c:v>
                </c:pt>
                <c:pt idx="12">
                  <c:v>0.995</c:v>
                </c:pt>
                <c:pt idx="13">
                  <c:v>0.998</c:v>
                </c:pt>
                <c:pt idx="14">
                  <c:v>0.99099999999999999</c:v>
                </c:pt>
                <c:pt idx="15">
                  <c:v>0.998</c:v>
                </c:pt>
                <c:pt idx="16">
                  <c:v>0.999</c:v>
                </c:pt>
                <c:pt idx="17">
                  <c:v>0.99</c:v>
                </c:pt>
                <c:pt idx="18">
                  <c:v>0.98599999999999999</c:v>
                </c:pt>
                <c:pt idx="19">
                  <c:v>0.999</c:v>
                </c:pt>
                <c:pt idx="20">
                  <c:v>1</c:v>
                </c:pt>
                <c:pt idx="21">
                  <c:v>0.97699999999999998</c:v>
                </c:pt>
                <c:pt idx="22">
                  <c:v>0.94</c:v>
                </c:pt>
                <c:pt idx="23">
                  <c:v>0.98399999999999999</c:v>
                </c:pt>
                <c:pt idx="24">
                  <c:v>0.999</c:v>
                </c:pt>
                <c:pt idx="25">
                  <c:v>0.98199999999999998</c:v>
                </c:pt>
                <c:pt idx="26">
                  <c:v>0.998</c:v>
                </c:pt>
                <c:pt idx="27">
                  <c:v>0.998</c:v>
                </c:pt>
                <c:pt idx="28">
                  <c:v>0.999</c:v>
                </c:pt>
                <c:pt idx="29">
                  <c:v>0.98099999999999998</c:v>
                </c:pt>
                <c:pt idx="30">
                  <c:v>0.94699999999999995</c:v>
                </c:pt>
                <c:pt idx="31">
                  <c:v>0.98599999999999999</c:v>
                </c:pt>
                <c:pt idx="32">
                  <c:v>0.997</c:v>
                </c:pt>
                <c:pt idx="33">
                  <c:v>0.997</c:v>
                </c:pt>
                <c:pt idx="34">
                  <c:v>0.999</c:v>
                </c:pt>
                <c:pt idx="35">
                  <c:v>0.99299999999999999</c:v>
                </c:pt>
                <c:pt idx="36">
                  <c:v>0.98699999999999999</c:v>
                </c:pt>
                <c:pt idx="37">
                  <c:v>0.997</c:v>
                </c:pt>
                <c:pt idx="38">
                  <c:v>0.98899999999999999</c:v>
                </c:pt>
                <c:pt idx="39">
                  <c:v>0.998</c:v>
                </c:pt>
                <c:pt idx="40">
                  <c:v>0.98899999999999999</c:v>
                </c:pt>
                <c:pt idx="41">
                  <c:v>0.95699999999999996</c:v>
                </c:pt>
                <c:pt idx="42">
                  <c:v>0.96699999999999997</c:v>
                </c:pt>
                <c:pt idx="43">
                  <c:v>0.97899999999999998</c:v>
                </c:pt>
                <c:pt idx="44">
                  <c:v>0.998</c:v>
                </c:pt>
                <c:pt idx="45">
                  <c:v>0.98399999999999999</c:v>
                </c:pt>
                <c:pt idx="46">
                  <c:v>0.99299999999999999</c:v>
                </c:pt>
                <c:pt idx="47">
                  <c:v>0.96599999999999997</c:v>
                </c:pt>
                <c:pt idx="48">
                  <c:v>0.998</c:v>
                </c:pt>
                <c:pt idx="49">
                  <c:v>0.96299999999999997</c:v>
                </c:pt>
                <c:pt idx="50">
                  <c:v>0.997</c:v>
                </c:pt>
                <c:pt idx="51">
                  <c:v>0.99</c:v>
                </c:pt>
                <c:pt idx="52">
                  <c:v>0.92800000000000005</c:v>
                </c:pt>
                <c:pt idx="53">
                  <c:v>0.999</c:v>
                </c:pt>
                <c:pt idx="54">
                  <c:v>0.999</c:v>
                </c:pt>
                <c:pt idx="55">
                  <c:v>0.999</c:v>
                </c:pt>
                <c:pt idx="56">
                  <c:v>0.98699999999999999</c:v>
                </c:pt>
                <c:pt idx="57">
                  <c:v>0.91800000000000004</c:v>
                </c:pt>
                <c:pt idx="58">
                  <c:v>0.96</c:v>
                </c:pt>
                <c:pt idx="59">
                  <c:v>0.998</c:v>
                </c:pt>
                <c:pt idx="60">
                  <c:v>0.98899999999999999</c:v>
                </c:pt>
                <c:pt idx="61">
                  <c:v>0.995</c:v>
                </c:pt>
                <c:pt idx="62">
                  <c:v>0.98899999999999999</c:v>
                </c:pt>
                <c:pt idx="63">
                  <c:v>0.998</c:v>
                </c:pt>
                <c:pt idx="64">
                  <c:v>0.99199999999999999</c:v>
                </c:pt>
                <c:pt idx="65">
                  <c:v>0.98899999999999999</c:v>
                </c:pt>
                <c:pt idx="66">
                  <c:v>0.93200000000000005</c:v>
                </c:pt>
                <c:pt idx="67">
                  <c:v>0.94299999999999995</c:v>
                </c:pt>
                <c:pt idx="68">
                  <c:v>0.93600000000000005</c:v>
                </c:pt>
                <c:pt idx="69">
                  <c:v>0.94099999999999995</c:v>
                </c:pt>
                <c:pt idx="70">
                  <c:v>0.88800000000000001</c:v>
                </c:pt>
                <c:pt idx="71">
                  <c:v>0.98899999999999999</c:v>
                </c:pt>
                <c:pt idx="72">
                  <c:v>0.96399999999999997</c:v>
                </c:pt>
                <c:pt idx="73">
                  <c:v>0.997</c:v>
                </c:pt>
                <c:pt idx="74">
                  <c:v>0.89600000000000002</c:v>
                </c:pt>
                <c:pt idx="75">
                  <c:v>0.96599999999999997</c:v>
                </c:pt>
                <c:pt idx="76">
                  <c:v>0.999</c:v>
                </c:pt>
                <c:pt idx="77">
                  <c:v>0.97699999999999998</c:v>
                </c:pt>
                <c:pt idx="78">
                  <c:v>0.98399999999999999</c:v>
                </c:pt>
                <c:pt idx="79">
                  <c:v>0.98099999999999998</c:v>
                </c:pt>
                <c:pt idx="80">
                  <c:v>0.94499999999999995</c:v>
                </c:pt>
                <c:pt idx="81">
                  <c:v>0.97499999999999998</c:v>
                </c:pt>
                <c:pt idx="82">
                  <c:v>0.90900000000000003</c:v>
                </c:pt>
                <c:pt idx="83">
                  <c:v>0.996</c:v>
                </c:pt>
                <c:pt idx="84">
                  <c:v>0.98</c:v>
                </c:pt>
                <c:pt idx="85">
                  <c:v>0.97599999999999998</c:v>
                </c:pt>
                <c:pt idx="86">
                  <c:v>0.98699999999999999</c:v>
                </c:pt>
                <c:pt idx="87">
                  <c:v>0.93</c:v>
                </c:pt>
                <c:pt idx="88">
                  <c:v>0.95599999999999996</c:v>
                </c:pt>
                <c:pt idx="89">
                  <c:v>0.96499999999999997</c:v>
                </c:pt>
                <c:pt idx="90">
                  <c:v>0.96699999999999997</c:v>
                </c:pt>
                <c:pt idx="91">
                  <c:v>0.99199999999999999</c:v>
                </c:pt>
                <c:pt idx="92">
                  <c:v>0.99</c:v>
                </c:pt>
                <c:pt idx="93">
                  <c:v>0.999</c:v>
                </c:pt>
                <c:pt idx="94">
                  <c:v>0.998</c:v>
                </c:pt>
                <c:pt idx="95">
                  <c:v>0.92400000000000004</c:v>
                </c:pt>
                <c:pt idx="96">
                  <c:v>0.98799999999999999</c:v>
                </c:pt>
                <c:pt idx="97">
                  <c:v>0.997</c:v>
                </c:pt>
                <c:pt idx="98">
                  <c:v>0.95599999999999996</c:v>
                </c:pt>
                <c:pt idx="99">
                  <c:v>0.995</c:v>
                </c:pt>
                <c:pt idx="100">
                  <c:v>0.98399999999999999</c:v>
                </c:pt>
                <c:pt idx="101">
                  <c:v>0.95299999999999996</c:v>
                </c:pt>
                <c:pt idx="102">
                  <c:v>0.98599999999999999</c:v>
                </c:pt>
                <c:pt idx="103">
                  <c:v>0.99299999999999999</c:v>
                </c:pt>
                <c:pt idx="104">
                  <c:v>0.95899999999999996</c:v>
                </c:pt>
                <c:pt idx="105">
                  <c:v>0.86099999999999999</c:v>
                </c:pt>
                <c:pt idx="106">
                  <c:v>0.92600000000000005</c:v>
                </c:pt>
                <c:pt idx="107">
                  <c:v>0.997</c:v>
                </c:pt>
                <c:pt idx="108">
                  <c:v>0.77800000000000002</c:v>
                </c:pt>
                <c:pt idx="109">
                  <c:v>0.91100000000000003</c:v>
                </c:pt>
                <c:pt idx="110">
                  <c:v>0.98099999999999998</c:v>
                </c:pt>
                <c:pt idx="111">
                  <c:v>0.96499999999999997</c:v>
                </c:pt>
                <c:pt idx="112">
                  <c:v>0.91</c:v>
                </c:pt>
                <c:pt idx="113">
                  <c:v>0.97099999999999997</c:v>
                </c:pt>
                <c:pt idx="114">
                  <c:v>0.93200000000000005</c:v>
                </c:pt>
                <c:pt idx="115">
                  <c:v>0.96399999999999997</c:v>
                </c:pt>
                <c:pt idx="116">
                  <c:v>0.89</c:v>
                </c:pt>
                <c:pt idx="117">
                  <c:v>0.98499999999999999</c:v>
                </c:pt>
                <c:pt idx="118">
                  <c:v>0.99</c:v>
                </c:pt>
                <c:pt idx="119">
                  <c:v>0.94699999999999995</c:v>
                </c:pt>
                <c:pt idx="120">
                  <c:v>0.96299999999999997</c:v>
                </c:pt>
                <c:pt idx="121">
                  <c:v>0.98699999999999999</c:v>
                </c:pt>
                <c:pt idx="122">
                  <c:v>0.96799999999999997</c:v>
                </c:pt>
                <c:pt idx="123">
                  <c:v>0.94099999999999995</c:v>
                </c:pt>
                <c:pt idx="124">
                  <c:v>0.98399999999999999</c:v>
                </c:pt>
                <c:pt idx="125">
                  <c:v>0.92400000000000004</c:v>
                </c:pt>
                <c:pt idx="126">
                  <c:v>0.94399999999999995</c:v>
                </c:pt>
                <c:pt idx="127">
                  <c:v>0.98799999999999999</c:v>
                </c:pt>
                <c:pt idx="128">
                  <c:v>0.99199999999999999</c:v>
                </c:pt>
                <c:pt idx="129">
                  <c:v>0.93500000000000005</c:v>
                </c:pt>
                <c:pt idx="130">
                  <c:v>0.70799999999999996</c:v>
                </c:pt>
                <c:pt idx="131">
                  <c:v>0.93899999999999995</c:v>
                </c:pt>
                <c:pt idx="132">
                  <c:v>0.73699999999999999</c:v>
                </c:pt>
                <c:pt idx="133">
                  <c:v>0.70399999999999996</c:v>
                </c:pt>
                <c:pt idx="134">
                  <c:v>0.99399999999999999</c:v>
                </c:pt>
                <c:pt idx="135">
                  <c:v>0.96599999999999997</c:v>
                </c:pt>
                <c:pt idx="136">
                  <c:v>0.93200000000000005</c:v>
                </c:pt>
                <c:pt idx="137">
                  <c:v>0.94499999999999995</c:v>
                </c:pt>
                <c:pt idx="138">
                  <c:v>0.80200000000000005</c:v>
                </c:pt>
                <c:pt idx="139">
                  <c:v>0.98</c:v>
                </c:pt>
                <c:pt idx="140">
                  <c:v>0.91900000000000004</c:v>
                </c:pt>
                <c:pt idx="141">
                  <c:v>0.97799999999999998</c:v>
                </c:pt>
                <c:pt idx="142">
                  <c:v>0.93899999999999995</c:v>
                </c:pt>
                <c:pt idx="143">
                  <c:v>0.98099999999999998</c:v>
                </c:pt>
                <c:pt idx="144">
                  <c:v>0.96799999999999997</c:v>
                </c:pt>
                <c:pt idx="145">
                  <c:v>0.97299999999999998</c:v>
                </c:pt>
                <c:pt idx="146">
                  <c:v>0.998</c:v>
                </c:pt>
                <c:pt idx="147">
                  <c:v>0.98299999999999998</c:v>
                </c:pt>
                <c:pt idx="148">
                  <c:v>0.998</c:v>
                </c:pt>
                <c:pt idx="149">
                  <c:v>0.93200000000000005</c:v>
                </c:pt>
                <c:pt idx="150">
                  <c:v>0.96599999999999997</c:v>
                </c:pt>
                <c:pt idx="151">
                  <c:v>0.92700000000000005</c:v>
                </c:pt>
                <c:pt idx="152">
                  <c:v>0.88300000000000001</c:v>
                </c:pt>
                <c:pt idx="153">
                  <c:v>0.98299999999999998</c:v>
                </c:pt>
                <c:pt idx="154">
                  <c:v>0.998</c:v>
                </c:pt>
                <c:pt idx="155">
                  <c:v>0.85899999999999999</c:v>
                </c:pt>
                <c:pt idx="156">
                  <c:v>0.98199999999999998</c:v>
                </c:pt>
                <c:pt idx="157">
                  <c:v>0.97299999999999998</c:v>
                </c:pt>
                <c:pt idx="158">
                  <c:v>0.995</c:v>
                </c:pt>
                <c:pt idx="159">
                  <c:v>0.94099999999999995</c:v>
                </c:pt>
                <c:pt idx="160">
                  <c:v>0.88600000000000001</c:v>
                </c:pt>
                <c:pt idx="161">
                  <c:v>0.96799999999999997</c:v>
                </c:pt>
                <c:pt idx="162">
                  <c:v>0.998</c:v>
                </c:pt>
                <c:pt idx="163">
                  <c:v>0.92500000000000004</c:v>
                </c:pt>
                <c:pt idx="164">
                  <c:v>0.94599999999999995</c:v>
                </c:pt>
                <c:pt idx="165">
                  <c:v>0.93400000000000005</c:v>
                </c:pt>
                <c:pt idx="166">
                  <c:v>0.85499999999999998</c:v>
                </c:pt>
                <c:pt idx="167">
                  <c:v>0.96199999999999997</c:v>
                </c:pt>
                <c:pt idx="168">
                  <c:v>0.69199999999999995</c:v>
                </c:pt>
                <c:pt idx="169">
                  <c:v>0.995</c:v>
                </c:pt>
                <c:pt idx="170">
                  <c:v>0.94599999999999995</c:v>
                </c:pt>
                <c:pt idx="171">
                  <c:v>0.97799999999999998</c:v>
                </c:pt>
                <c:pt idx="172">
                  <c:v>0.97499999999999998</c:v>
                </c:pt>
                <c:pt idx="173">
                  <c:v>0.97099999999999997</c:v>
                </c:pt>
                <c:pt idx="174">
                  <c:v>0.89400000000000002</c:v>
                </c:pt>
                <c:pt idx="175">
                  <c:v>0.95899999999999996</c:v>
                </c:pt>
                <c:pt idx="176">
                  <c:v>0.98699999999999999</c:v>
                </c:pt>
                <c:pt idx="177">
                  <c:v>0.90700000000000003</c:v>
                </c:pt>
                <c:pt idx="178">
                  <c:v>0.95399999999999996</c:v>
                </c:pt>
                <c:pt idx="179">
                  <c:v>0.96599999999999997</c:v>
                </c:pt>
                <c:pt idx="180">
                  <c:v>0.85599999999999998</c:v>
                </c:pt>
                <c:pt idx="181">
                  <c:v>0.95699999999999996</c:v>
                </c:pt>
                <c:pt idx="182">
                  <c:v>0.95799999999999996</c:v>
                </c:pt>
                <c:pt idx="183">
                  <c:v>0.85799999999999998</c:v>
                </c:pt>
                <c:pt idx="184">
                  <c:v>0.876</c:v>
                </c:pt>
                <c:pt idx="185">
                  <c:v>0.86499999999999999</c:v>
                </c:pt>
                <c:pt idx="186">
                  <c:v>0.80500000000000005</c:v>
                </c:pt>
                <c:pt idx="187">
                  <c:v>0.95599999999999996</c:v>
                </c:pt>
                <c:pt idx="188">
                  <c:v>0.95499999999999996</c:v>
                </c:pt>
                <c:pt idx="189">
                  <c:v>0.89200000000000002</c:v>
                </c:pt>
                <c:pt idx="190">
                  <c:v>0.92700000000000005</c:v>
                </c:pt>
                <c:pt idx="191">
                  <c:v>0.98099999999999998</c:v>
                </c:pt>
                <c:pt idx="192">
                  <c:v>0.87</c:v>
                </c:pt>
                <c:pt idx="193">
                  <c:v>0.94899999999999995</c:v>
                </c:pt>
                <c:pt idx="194">
                  <c:v>0.93300000000000005</c:v>
                </c:pt>
                <c:pt idx="195">
                  <c:v>0.91300000000000003</c:v>
                </c:pt>
                <c:pt idx="196">
                  <c:v>0.94699999999999995</c:v>
                </c:pt>
                <c:pt idx="197">
                  <c:v>0.97699999999999998</c:v>
                </c:pt>
                <c:pt idx="198">
                  <c:v>0.96099999999999997</c:v>
                </c:pt>
                <c:pt idx="199">
                  <c:v>0.97799999999999998</c:v>
                </c:pt>
                <c:pt idx="200">
                  <c:v>0.98299999999999998</c:v>
                </c:pt>
                <c:pt idx="201">
                  <c:v>0.96199999999999997</c:v>
                </c:pt>
                <c:pt idx="202">
                  <c:v>0.874</c:v>
                </c:pt>
                <c:pt idx="203">
                  <c:v>0.88900000000000001</c:v>
                </c:pt>
                <c:pt idx="204">
                  <c:v>0.96699999999999997</c:v>
                </c:pt>
                <c:pt idx="205">
                  <c:v>0.85199999999999998</c:v>
                </c:pt>
                <c:pt idx="206">
                  <c:v>0.79500000000000004</c:v>
                </c:pt>
                <c:pt idx="207">
                  <c:v>0.95299999999999996</c:v>
                </c:pt>
                <c:pt idx="208">
                  <c:v>0.497</c:v>
                </c:pt>
                <c:pt idx="209">
                  <c:v>0.93400000000000005</c:v>
                </c:pt>
                <c:pt idx="210">
                  <c:v>0.93200000000000005</c:v>
                </c:pt>
                <c:pt idx="211">
                  <c:v>0.91600000000000004</c:v>
                </c:pt>
                <c:pt idx="212">
                  <c:v>0.40300000000000002</c:v>
                </c:pt>
                <c:pt idx="213">
                  <c:v>0.99</c:v>
                </c:pt>
                <c:pt idx="214">
                  <c:v>0.92</c:v>
                </c:pt>
                <c:pt idx="215">
                  <c:v>0.96</c:v>
                </c:pt>
                <c:pt idx="216">
                  <c:v>0.90600000000000003</c:v>
                </c:pt>
                <c:pt idx="217">
                  <c:v>0.97599999999999998</c:v>
                </c:pt>
                <c:pt idx="218">
                  <c:v>0.997</c:v>
                </c:pt>
                <c:pt idx="219">
                  <c:v>0.78</c:v>
                </c:pt>
                <c:pt idx="220">
                  <c:v>0.97</c:v>
                </c:pt>
                <c:pt idx="221">
                  <c:v>0.96399999999999997</c:v>
                </c:pt>
                <c:pt idx="222">
                  <c:v>0.96599999999999997</c:v>
                </c:pt>
                <c:pt idx="223">
                  <c:v>0.88400000000000001</c:v>
                </c:pt>
                <c:pt idx="224">
                  <c:v>0.97399999999999998</c:v>
                </c:pt>
                <c:pt idx="225">
                  <c:v>0.93600000000000005</c:v>
                </c:pt>
                <c:pt idx="226">
                  <c:v>0.86799999999999999</c:v>
                </c:pt>
                <c:pt idx="227">
                  <c:v>0.98399999999999999</c:v>
                </c:pt>
                <c:pt idx="228">
                  <c:v>0.97499999999999998</c:v>
                </c:pt>
                <c:pt idx="229">
                  <c:v>0.82799999999999996</c:v>
                </c:pt>
                <c:pt idx="230">
                  <c:v>0.97399999999999998</c:v>
                </c:pt>
                <c:pt idx="231">
                  <c:v>0.83499999999999996</c:v>
                </c:pt>
                <c:pt idx="232">
                  <c:v>0.94</c:v>
                </c:pt>
                <c:pt idx="233">
                  <c:v>0.94899999999999995</c:v>
                </c:pt>
                <c:pt idx="234">
                  <c:v>0.83599999999999997</c:v>
                </c:pt>
                <c:pt idx="235">
                  <c:v>0.98099999999999998</c:v>
                </c:pt>
                <c:pt idx="236">
                  <c:v>0.90500000000000003</c:v>
                </c:pt>
                <c:pt idx="237">
                  <c:v>0.84799999999999998</c:v>
                </c:pt>
                <c:pt idx="238">
                  <c:v>0.98399999999999999</c:v>
                </c:pt>
                <c:pt idx="239">
                  <c:v>0.98399999999999999</c:v>
                </c:pt>
                <c:pt idx="240">
                  <c:v>0.86899999999999999</c:v>
                </c:pt>
                <c:pt idx="241">
                  <c:v>0.92600000000000005</c:v>
                </c:pt>
                <c:pt idx="242">
                  <c:v>0.84199999999999997</c:v>
                </c:pt>
                <c:pt idx="243">
                  <c:v>0.63900000000000001</c:v>
                </c:pt>
                <c:pt idx="244">
                  <c:v>0.97199999999999998</c:v>
                </c:pt>
                <c:pt idx="245">
                  <c:v>0.72399999999999998</c:v>
                </c:pt>
                <c:pt idx="246">
                  <c:v>0.96</c:v>
                </c:pt>
                <c:pt idx="247">
                  <c:v>0.95599999999999996</c:v>
                </c:pt>
                <c:pt idx="248">
                  <c:v>0.96</c:v>
                </c:pt>
                <c:pt idx="249">
                  <c:v>0.748</c:v>
                </c:pt>
                <c:pt idx="250">
                  <c:v>0.90700000000000003</c:v>
                </c:pt>
                <c:pt idx="251">
                  <c:v>0.93200000000000005</c:v>
                </c:pt>
                <c:pt idx="252">
                  <c:v>0.89200000000000002</c:v>
                </c:pt>
                <c:pt idx="253">
                  <c:v>0.89900000000000002</c:v>
                </c:pt>
                <c:pt idx="254">
                  <c:v>0.92300000000000004</c:v>
                </c:pt>
                <c:pt idx="255">
                  <c:v>0.86799999999999999</c:v>
                </c:pt>
                <c:pt idx="256">
                  <c:v>0.79500000000000004</c:v>
                </c:pt>
                <c:pt idx="257">
                  <c:v>0.89800000000000002</c:v>
                </c:pt>
                <c:pt idx="258">
                  <c:v>0.89900000000000002</c:v>
                </c:pt>
                <c:pt idx="259">
                  <c:v>0.84199999999999997</c:v>
                </c:pt>
                <c:pt idx="260">
                  <c:v>0.878</c:v>
                </c:pt>
                <c:pt idx="261">
                  <c:v>0.90500000000000003</c:v>
                </c:pt>
                <c:pt idx="262">
                  <c:v>0.83899999999999997</c:v>
                </c:pt>
                <c:pt idx="263">
                  <c:v>0.80700000000000005</c:v>
                </c:pt>
                <c:pt idx="264">
                  <c:v>0.97399999999999998</c:v>
                </c:pt>
                <c:pt idx="265">
                  <c:v>0.875</c:v>
                </c:pt>
                <c:pt idx="266">
                  <c:v>0.86</c:v>
                </c:pt>
                <c:pt idx="267">
                  <c:v>0.92900000000000005</c:v>
                </c:pt>
                <c:pt idx="268">
                  <c:v>0.93700000000000006</c:v>
                </c:pt>
                <c:pt idx="269">
                  <c:v>0.91300000000000003</c:v>
                </c:pt>
                <c:pt idx="270">
                  <c:v>0.89800000000000002</c:v>
                </c:pt>
                <c:pt idx="271">
                  <c:v>0.93500000000000005</c:v>
                </c:pt>
                <c:pt idx="272">
                  <c:v>0.82899999999999996</c:v>
                </c:pt>
                <c:pt idx="273">
                  <c:v>0.93500000000000005</c:v>
                </c:pt>
                <c:pt idx="274">
                  <c:v>0.91200000000000003</c:v>
                </c:pt>
                <c:pt idx="275">
                  <c:v>0.94199999999999995</c:v>
                </c:pt>
                <c:pt idx="276">
                  <c:v>0.92800000000000005</c:v>
                </c:pt>
                <c:pt idx="277">
                  <c:v>0.96099999999999997</c:v>
                </c:pt>
                <c:pt idx="278">
                  <c:v>0.85699999999999998</c:v>
                </c:pt>
                <c:pt idx="279">
                  <c:v>0.85799999999999998</c:v>
                </c:pt>
                <c:pt idx="280">
                  <c:v>0.95499999999999996</c:v>
                </c:pt>
                <c:pt idx="281">
                  <c:v>0.92500000000000004</c:v>
                </c:pt>
                <c:pt idx="282">
                  <c:v>0.89500000000000002</c:v>
                </c:pt>
                <c:pt idx="283">
                  <c:v>0.88300000000000001</c:v>
                </c:pt>
                <c:pt idx="284">
                  <c:v>0.89800000000000002</c:v>
                </c:pt>
                <c:pt idx="285">
                  <c:v>0.91100000000000003</c:v>
                </c:pt>
                <c:pt idx="286">
                  <c:v>0.91700000000000004</c:v>
                </c:pt>
                <c:pt idx="287">
                  <c:v>0.622</c:v>
                </c:pt>
                <c:pt idx="288">
                  <c:v>0.92</c:v>
                </c:pt>
                <c:pt idx="289">
                  <c:v>0.79900000000000004</c:v>
                </c:pt>
                <c:pt idx="290">
                  <c:v>0.84899999999999998</c:v>
                </c:pt>
                <c:pt idx="291">
                  <c:v>0.89700000000000002</c:v>
                </c:pt>
                <c:pt idx="292">
                  <c:v>0.91800000000000004</c:v>
                </c:pt>
                <c:pt idx="293">
                  <c:v>0.92400000000000004</c:v>
                </c:pt>
                <c:pt idx="294">
                  <c:v>0.93</c:v>
                </c:pt>
                <c:pt idx="295">
                  <c:v>0.96799999999999997</c:v>
                </c:pt>
                <c:pt idx="296">
                  <c:v>0.93400000000000005</c:v>
                </c:pt>
                <c:pt idx="297">
                  <c:v>0.90800000000000003</c:v>
                </c:pt>
                <c:pt idx="298">
                  <c:v>0.88500000000000001</c:v>
                </c:pt>
                <c:pt idx="299">
                  <c:v>0.85199999999999998</c:v>
                </c:pt>
                <c:pt idx="300">
                  <c:v>0.86499999999999999</c:v>
                </c:pt>
                <c:pt idx="301">
                  <c:v>0.84799999999999998</c:v>
                </c:pt>
                <c:pt idx="302">
                  <c:v>0.76</c:v>
                </c:pt>
                <c:pt idx="303">
                  <c:v>0.85399999999999998</c:v>
                </c:pt>
                <c:pt idx="304">
                  <c:v>0.84699999999999998</c:v>
                </c:pt>
                <c:pt idx="305">
                  <c:v>0.58699999999999997</c:v>
                </c:pt>
                <c:pt idx="306">
                  <c:v>0.89800000000000002</c:v>
                </c:pt>
                <c:pt idx="307">
                  <c:v>0.91200000000000003</c:v>
                </c:pt>
                <c:pt idx="308">
                  <c:v>0.90200000000000002</c:v>
                </c:pt>
                <c:pt idx="309">
                  <c:v>0.874</c:v>
                </c:pt>
                <c:pt idx="310">
                  <c:v>0.98199999999999998</c:v>
                </c:pt>
                <c:pt idx="311">
                  <c:v>0.95399999999999996</c:v>
                </c:pt>
                <c:pt idx="312">
                  <c:v>0.86099999999999999</c:v>
                </c:pt>
                <c:pt idx="313">
                  <c:v>0.96</c:v>
                </c:pt>
                <c:pt idx="314">
                  <c:v>0.85499999999999998</c:v>
                </c:pt>
                <c:pt idx="315">
                  <c:v>0.624</c:v>
                </c:pt>
                <c:pt idx="316">
                  <c:v>0.93300000000000005</c:v>
                </c:pt>
                <c:pt idx="317">
                  <c:v>0.69499999999999995</c:v>
                </c:pt>
                <c:pt idx="318">
                  <c:v>0.85699999999999998</c:v>
                </c:pt>
                <c:pt idx="319">
                  <c:v>0.872</c:v>
                </c:pt>
                <c:pt idx="320">
                  <c:v>0.86799999999999999</c:v>
                </c:pt>
                <c:pt idx="321">
                  <c:v>0.754</c:v>
                </c:pt>
                <c:pt idx="322">
                  <c:v>0.61499999999999999</c:v>
                </c:pt>
                <c:pt idx="323">
                  <c:v>0.89600000000000002</c:v>
                </c:pt>
                <c:pt idx="324">
                  <c:v>0.94599999999999995</c:v>
                </c:pt>
                <c:pt idx="325">
                  <c:v>0.89800000000000002</c:v>
                </c:pt>
                <c:pt idx="326">
                  <c:v>0.67600000000000005</c:v>
                </c:pt>
                <c:pt idx="327">
                  <c:v>0.96799999999999997</c:v>
                </c:pt>
                <c:pt idx="328">
                  <c:v>0.74199999999999999</c:v>
                </c:pt>
                <c:pt idx="329">
                  <c:v>0.92600000000000005</c:v>
                </c:pt>
                <c:pt idx="330">
                  <c:v>0.93899999999999995</c:v>
                </c:pt>
                <c:pt idx="331">
                  <c:v>0.93899999999999995</c:v>
                </c:pt>
                <c:pt idx="332">
                  <c:v>0.83899999999999997</c:v>
                </c:pt>
                <c:pt idx="333">
                  <c:v>0.77</c:v>
                </c:pt>
                <c:pt idx="334">
                  <c:v>0.83599999999999997</c:v>
                </c:pt>
                <c:pt idx="335">
                  <c:v>0.71799999999999997</c:v>
                </c:pt>
                <c:pt idx="336">
                  <c:v>0.88400000000000001</c:v>
                </c:pt>
                <c:pt idx="337">
                  <c:v>0.71299999999999997</c:v>
                </c:pt>
                <c:pt idx="338">
                  <c:v>0.44</c:v>
                </c:pt>
                <c:pt idx="339">
                  <c:v>0.84199999999999997</c:v>
                </c:pt>
                <c:pt idx="340">
                  <c:v>0.98</c:v>
                </c:pt>
                <c:pt idx="341">
                  <c:v>0.84499999999999997</c:v>
                </c:pt>
                <c:pt idx="342">
                  <c:v>0.91300000000000003</c:v>
                </c:pt>
                <c:pt idx="343">
                  <c:v>0.95899999999999996</c:v>
                </c:pt>
                <c:pt idx="344">
                  <c:v>0.84399999999999997</c:v>
                </c:pt>
                <c:pt idx="345">
                  <c:v>0.77800000000000002</c:v>
                </c:pt>
                <c:pt idx="346">
                  <c:v>0.75700000000000001</c:v>
                </c:pt>
                <c:pt idx="347">
                  <c:v>0.59</c:v>
                </c:pt>
                <c:pt idx="348">
                  <c:v>0.89100000000000001</c:v>
                </c:pt>
                <c:pt idx="349">
                  <c:v>0.80400000000000005</c:v>
                </c:pt>
                <c:pt idx="350">
                  <c:v>0.65800000000000003</c:v>
                </c:pt>
                <c:pt idx="351">
                  <c:v>0.75</c:v>
                </c:pt>
                <c:pt idx="352">
                  <c:v>0.94799999999999995</c:v>
                </c:pt>
                <c:pt idx="353">
                  <c:v>0.84099999999999997</c:v>
                </c:pt>
                <c:pt idx="354">
                  <c:v>0.77300000000000002</c:v>
                </c:pt>
                <c:pt idx="355">
                  <c:v>0.95799999999999996</c:v>
                </c:pt>
                <c:pt idx="356">
                  <c:v>0.755</c:v>
                </c:pt>
                <c:pt idx="357">
                  <c:v>0.92300000000000004</c:v>
                </c:pt>
                <c:pt idx="358">
                  <c:v>0.90700000000000003</c:v>
                </c:pt>
                <c:pt idx="359">
                  <c:v>0.69599999999999995</c:v>
                </c:pt>
                <c:pt idx="360">
                  <c:v>0.92100000000000004</c:v>
                </c:pt>
                <c:pt idx="361">
                  <c:v>0.92</c:v>
                </c:pt>
                <c:pt idx="362">
                  <c:v>0.57499999999999996</c:v>
                </c:pt>
                <c:pt idx="363">
                  <c:v>0.93400000000000005</c:v>
                </c:pt>
                <c:pt idx="364">
                  <c:v>0.85299999999999998</c:v>
                </c:pt>
                <c:pt idx="365">
                  <c:v>0.9</c:v>
                </c:pt>
                <c:pt idx="366">
                  <c:v>0.51900000000000002</c:v>
                </c:pt>
                <c:pt idx="367">
                  <c:v>0.91300000000000003</c:v>
                </c:pt>
                <c:pt idx="368">
                  <c:v>0.78500000000000003</c:v>
                </c:pt>
                <c:pt idx="369">
                  <c:v>0.65800000000000003</c:v>
                </c:pt>
                <c:pt idx="370">
                  <c:v>0.54500000000000004</c:v>
                </c:pt>
                <c:pt idx="371">
                  <c:v>0.94699999999999995</c:v>
                </c:pt>
                <c:pt idx="372">
                  <c:v>0.41099999999999998</c:v>
                </c:pt>
                <c:pt idx="373">
                  <c:v>0.89300000000000002</c:v>
                </c:pt>
                <c:pt idx="374">
                  <c:v>0.92600000000000005</c:v>
                </c:pt>
                <c:pt idx="375">
                  <c:v>0.84099999999999997</c:v>
                </c:pt>
                <c:pt idx="376">
                  <c:v>0.83599999999999997</c:v>
                </c:pt>
                <c:pt idx="377">
                  <c:v>0.77900000000000003</c:v>
                </c:pt>
                <c:pt idx="378">
                  <c:v>0.56799999999999995</c:v>
                </c:pt>
                <c:pt idx="379">
                  <c:v>0.249</c:v>
                </c:pt>
                <c:pt idx="380">
                  <c:v>0.76300000000000001</c:v>
                </c:pt>
                <c:pt idx="381">
                  <c:v>0.76300000000000001</c:v>
                </c:pt>
                <c:pt idx="382">
                  <c:v>0.69099999999999995</c:v>
                </c:pt>
                <c:pt idx="383">
                  <c:v>0.42199999999999999</c:v>
                </c:pt>
                <c:pt idx="384">
                  <c:v>0.83299999999999996</c:v>
                </c:pt>
                <c:pt idx="385">
                  <c:v>0.79900000000000004</c:v>
                </c:pt>
                <c:pt idx="386">
                  <c:v>0.85299999999999998</c:v>
                </c:pt>
                <c:pt idx="387">
                  <c:v>0.97299999999999998</c:v>
                </c:pt>
                <c:pt idx="388">
                  <c:v>0.70299999999999996</c:v>
                </c:pt>
                <c:pt idx="389">
                  <c:v>0.84499999999999997</c:v>
                </c:pt>
                <c:pt idx="390">
                  <c:v>0.92</c:v>
                </c:pt>
                <c:pt idx="391">
                  <c:v>0.871</c:v>
                </c:pt>
                <c:pt idx="392">
                  <c:v>0.76600000000000001</c:v>
                </c:pt>
                <c:pt idx="393">
                  <c:v>0.93799999999999994</c:v>
                </c:pt>
                <c:pt idx="394">
                  <c:v>0.41199999999999998</c:v>
                </c:pt>
                <c:pt idx="395">
                  <c:v>0.73</c:v>
                </c:pt>
                <c:pt idx="396">
                  <c:v>0.82799999999999996</c:v>
                </c:pt>
                <c:pt idx="397">
                  <c:v>0.90300000000000002</c:v>
                </c:pt>
                <c:pt idx="398">
                  <c:v>0.83599999999999997</c:v>
                </c:pt>
                <c:pt idx="399">
                  <c:v>0.66600000000000004</c:v>
                </c:pt>
                <c:pt idx="400">
                  <c:v>0.59</c:v>
                </c:pt>
                <c:pt idx="401">
                  <c:v>0.78300000000000003</c:v>
                </c:pt>
                <c:pt idx="402">
                  <c:v>0.73199999999999998</c:v>
                </c:pt>
                <c:pt idx="403">
                  <c:v>0.86099999999999999</c:v>
                </c:pt>
                <c:pt idx="404">
                  <c:v>0.73699999999999999</c:v>
                </c:pt>
                <c:pt idx="405">
                  <c:v>0.75800000000000001</c:v>
                </c:pt>
                <c:pt idx="406">
                  <c:v>0.78</c:v>
                </c:pt>
                <c:pt idx="407">
                  <c:v>0.748</c:v>
                </c:pt>
                <c:pt idx="408">
                  <c:v>0.75600000000000001</c:v>
                </c:pt>
                <c:pt idx="409">
                  <c:v>0.82</c:v>
                </c:pt>
                <c:pt idx="410">
                  <c:v>0.57199999999999995</c:v>
                </c:pt>
                <c:pt idx="411">
                  <c:v>0.73599999999999999</c:v>
                </c:pt>
                <c:pt idx="412">
                  <c:v>0.89300000000000002</c:v>
                </c:pt>
                <c:pt idx="413">
                  <c:v>0.86</c:v>
                </c:pt>
                <c:pt idx="414">
                  <c:v>0.51900000000000002</c:v>
                </c:pt>
                <c:pt idx="415">
                  <c:v>0.80800000000000005</c:v>
                </c:pt>
                <c:pt idx="416">
                  <c:v>0.91300000000000003</c:v>
                </c:pt>
                <c:pt idx="417">
                  <c:v>0.873</c:v>
                </c:pt>
                <c:pt idx="418">
                  <c:v>0.58799999999999997</c:v>
                </c:pt>
                <c:pt idx="419">
                  <c:v>0.55500000000000005</c:v>
                </c:pt>
                <c:pt idx="420">
                  <c:v>0.86399999999999999</c:v>
                </c:pt>
                <c:pt idx="421">
                  <c:v>0.42699999999999999</c:v>
                </c:pt>
                <c:pt idx="422">
                  <c:v>0.87</c:v>
                </c:pt>
                <c:pt idx="423">
                  <c:v>0.40899999999999997</c:v>
                </c:pt>
                <c:pt idx="424">
                  <c:v>0.249</c:v>
                </c:pt>
                <c:pt idx="425">
                  <c:v>0.67200000000000004</c:v>
                </c:pt>
                <c:pt idx="426">
                  <c:v>0.94</c:v>
                </c:pt>
                <c:pt idx="427">
                  <c:v>0.92100000000000004</c:v>
                </c:pt>
                <c:pt idx="428">
                  <c:v>0.78500000000000003</c:v>
                </c:pt>
                <c:pt idx="429">
                  <c:v>0.19700000000000001</c:v>
                </c:pt>
                <c:pt idx="430">
                  <c:v>0.80700000000000005</c:v>
                </c:pt>
                <c:pt idx="431">
                  <c:v>0.85099999999999998</c:v>
                </c:pt>
                <c:pt idx="432">
                  <c:v>0.82299999999999995</c:v>
                </c:pt>
                <c:pt idx="433">
                  <c:v>0.873</c:v>
                </c:pt>
                <c:pt idx="434">
                  <c:v>0.74099999999999999</c:v>
                </c:pt>
                <c:pt idx="435">
                  <c:v>0.57599999999999996</c:v>
                </c:pt>
                <c:pt idx="436">
                  <c:v>0.86</c:v>
                </c:pt>
                <c:pt idx="437">
                  <c:v>0.63500000000000001</c:v>
                </c:pt>
                <c:pt idx="438">
                  <c:v>0.91700000000000004</c:v>
                </c:pt>
                <c:pt idx="439">
                  <c:v>0.76200000000000001</c:v>
                </c:pt>
                <c:pt idx="440">
                  <c:v>0.876</c:v>
                </c:pt>
                <c:pt idx="441">
                  <c:v>0.76</c:v>
                </c:pt>
                <c:pt idx="442">
                  <c:v>0.88400000000000001</c:v>
                </c:pt>
                <c:pt idx="443">
                  <c:v>6.2E-2</c:v>
                </c:pt>
                <c:pt idx="444">
                  <c:v>0.85299999999999998</c:v>
                </c:pt>
                <c:pt idx="445">
                  <c:v>0.65700000000000003</c:v>
                </c:pt>
                <c:pt idx="446">
                  <c:v>0.67700000000000005</c:v>
                </c:pt>
                <c:pt idx="447">
                  <c:v>0.625</c:v>
                </c:pt>
                <c:pt idx="448">
                  <c:v>0.70199999999999996</c:v>
                </c:pt>
                <c:pt idx="449">
                  <c:v>0.86399999999999999</c:v>
                </c:pt>
                <c:pt idx="450">
                  <c:v>0.81</c:v>
                </c:pt>
                <c:pt idx="451">
                  <c:v>0.86699999999999999</c:v>
                </c:pt>
                <c:pt idx="452">
                  <c:v>0.77100000000000002</c:v>
                </c:pt>
                <c:pt idx="453">
                  <c:v>0.46899999999999997</c:v>
                </c:pt>
                <c:pt idx="454">
                  <c:v>0.626</c:v>
                </c:pt>
                <c:pt idx="455">
                  <c:v>0.45300000000000001</c:v>
                </c:pt>
                <c:pt idx="456">
                  <c:v>0.76</c:v>
                </c:pt>
                <c:pt idx="457">
                  <c:v>0.67100000000000004</c:v>
                </c:pt>
                <c:pt idx="458">
                  <c:v>0.56799999999999995</c:v>
                </c:pt>
                <c:pt idx="459">
                  <c:v>0.64500000000000002</c:v>
                </c:pt>
                <c:pt idx="460">
                  <c:v>0.86299999999999999</c:v>
                </c:pt>
                <c:pt idx="461">
                  <c:v>0.91400000000000003</c:v>
                </c:pt>
                <c:pt idx="462">
                  <c:v>0.60099999999999998</c:v>
                </c:pt>
                <c:pt idx="463">
                  <c:v>0.25700000000000001</c:v>
                </c:pt>
                <c:pt idx="464">
                  <c:v>0.746</c:v>
                </c:pt>
                <c:pt idx="465">
                  <c:v>0.59499999999999997</c:v>
                </c:pt>
                <c:pt idx="466">
                  <c:v>0.248</c:v>
                </c:pt>
                <c:pt idx="467">
                  <c:v>0.83299999999999996</c:v>
                </c:pt>
                <c:pt idx="468">
                  <c:v>0.5</c:v>
                </c:pt>
                <c:pt idx="469">
                  <c:v>0.84099999999999997</c:v>
                </c:pt>
                <c:pt idx="470">
                  <c:v>0.83699999999999997</c:v>
                </c:pt>
                <c:pt idx="471">
                  <c:v>0.92400000000000004</c:v>
                </c:pt>
                <c:pt idx="472">
                  <c:v>0.53900000000000003</c:v>
                </c:pt>
                <c:pt idx="473">
                  <c:v>0.81899999999999995</c:v>
                </c:pt>
                <c:pt idx="474">
                  <c:v>0.76700000000000002</c:v>
                </c:pt>
                <c:pt idx="475">
                  <c:v>7.0999999999999994E-2</c:v>
                </c:pt>
                <c:pt idx="476">
                  <c:v>0.90500000000000003</c:v>
                </c:pt>
                <c:pt idx="477">
                  <c:v>0.77300000000000002</c:v>
                </c:pt>
                <c:pt idx="478">
                  <c:v>0.80900000000000005</c:v>
                </c:pt>
                <c:pt idx="479">
                  <c:v>0.86099999999999999</c:v>
                </c:pt>
                <c:pt idx="480">
                  <c:v>0.34100000000000003</c:v>
                </c:pt>
                <c:pt idx="481">
                  <c:v>0.71499999999999997</c:v>
                </c:pt>
                <c:pt idx="482">
                  <c:v>0.443</c:v>
                </c:pt>
                <c:pt idx="483">
                  <c:v>0.86199999999999999</c:v>
                </c:pt>
                <c:pt idx="484">
                  <c:v>0.65900000000000003</c:v>
                </c:pt>
                <c:pt idx="485">
                  <c:v>0.80800000000000005</c:v>
                </c:pt>
                <c:pt idx="486">
                  <c:v>0.36099999999999999</c:v>
                </c:pt>
                <c:pt idx="487">
                  <c:v>0.88600000000000001</c:v>
                </c:pt>
                <c:pt idx="488">
                  <c:v>0.67900000000000005</c:v>
                </c:pt>
                <c:pt idx="489">
                  <c:v>0.60099999999999998</c:v>
                </c:pt>
                <c:pt idx="490">
                  <c:v>5.8999999999999997E-2</c:v>
                </c:pt>
                <c:pt idx="491">
                  <c:v>0.53900000000000003</c:v>
                </c:pt>
                <c:pt idx="492">
                  <c:v>0.84599999999999997</c:v>
                </c:pt>
                <c:pt idx="493">
                  <c:v>0.46700000000000003</c:v>
                </c:pt>
                <c:pt idx="494">
                  <c:v>0.47599999999999998</c:v>
                </c:pt>
                <c:pt idx="495">
                  <c:v>0.85199999999999998</c:v>
                </c:pt>
                <c:pt idx="496">
                  <c:v>0.59899999999999998</c:v>
                </c:pt>
                <c:pt idx="497">
                  <c:v>0.75900000000000001</c:v>
                </c:pt>
                <c:pt idx="498">
                  <c:v>0.42099999999999999</c:v>
                </c:pt>
                <c:pt idx="499">
                  <c:v>0.71</c:v>
                </c:pt>
                <c:pt idx="500">
                  <c:v>0.60299999999999998</c:v>
                </c:pt>
                <c:pt idx="501">
                  <c:v>0.47399999999999998</c:v>
                </c:pt>
                <c:pt idx="502">
                  <c:v>0.45100000000000001</c:v>
                </c:pt>
                <c:pt idx="503">
                  <c:v>0.38100000000000001</c:v>
                </c:pt>
                <c:pt idx="504">
                  <c:v>0.44800000000000001</c:v>
                </c:pt>
                <c:pt idx="505">
                  <c:v>0.40200000000000002</c:v>
                </c:pt>
                <c:pt idx="506">
                  <c:v>0.67200000000000004</c:v>
                </c:pt>
                <c:pt idx="507">
                  <c:v>0.38100000000000001</c:v>
                </c:pt>
                <c:pt idx="508">
                  <c:v>0.25800000000000001</c:v>
                </c:pt>
                <c:pt idx="509">
                  <c:v>0.88500000000000001</c:v>
                </c:pt>
                <c:pt idx="510">
                  <c:v>0.46100000000000002</c:v>
                </c:pt>
                <c:pt idx="511">
                  <c:v>0.55800000000000005</c:v>
                </c:pt>
                <c:pt idx="512">
                  <c:v>0.65700000000000003</c:v>
                </c:pt>
                <c:pt idx="513">
                  <c:v>0.36</c:v>
                </c:pt>
                <c:pt idx="514">
                  <c:v>0.86</c:v>
                </c:pt>
                <c:pt idx="515">
                  <c:v>0.46800000000000003</c:v>
                </c:pt>
                <c:pt idx="516">
                  <c:v>0.433</c:v>
                </c:pt>
                <c:pt idx="517">
                  <c:v>0.57799999999999996</c:v>
                </c:pt>
                <c:pt idx="518">
                  <c:v>0.84499999999999997</c:v>
                </c:pt>
                <c:pt idx="519">
                  <c:v>0.247</c:v>
                </c:pt>
                <c:pt idx="520">
                  <c:v>0.67200000000000004</c:v>
                </c:pt>
                <c:pt idx="521">
                  <c:v>0.502</c:v>
                </c:pt>
                <c:pt idx="522">
                  <c:v>8.0000000000000002E-3</c:v>
                </c:pt>
                <c:pt idx="523">
                  <c:v>0.82</c:v>
                </c:pt>
                <c:pt idx="524">
                  <c:v>0.318</c:v>
                </c:pt>
                <c:pt idx="525">
                  <c:v>0.5</c:v>
                </c:pt>
                <c:pt idx="526">
                  <c:v>0.252</c:v>
                </c:pt>
                <c:pt idx="527">
                  <c:v>0.8</c:v>
                </c:pt>
                <c:pt idx="528">
                  <c:v>0.88500000000000001</c:v>
                </c:pt>
                <c:pt idx="529">
                  <c:v>0.42199999999999999</c:v>
                </c:pt>
                <c:pt idx="530">
                  <c:v>0.191</c:v>
                </c:pt>
                <c:pt idx="531">
                  <c:v>0.55100000000000005</c:v>
                </c:pt>
                <c:pt idx="532">
                  <c:v>0.69399999999999995</c:v>
                </c:pt>
                <c:pt idx="533">
                  <c:v>0.71</c:v>
                </c:pt>
                <c:pt idx="534">
                  <c:v>0.76700000000000002</c:v>
                </c:pt>
                <c:pt idx="535">
                  <c:v>0.39</c:v>
                </c:pt>
                <c:pt idx="536">
                  <c:v>0.73</c:v>
                </c:pt>
                <c:pt idx="537">
                  <c:v>0.69899999999999995</c:v>
                </c:pt>
                <c:pt idx="538">
                  <c:v>0.82599999999999996</c:v>
                </c:pt>
                <c:pt idx="539">
                  <c:v>0.47699999999999998</c:v>
                </c:pt>
                <c:pt idx="540">
                  <c:v>6.2E-2</c:v>
                </c:pt>
                <c:pt idx="541">
                  <c:v>0.378</c:v>
                </c:pt>
                <c:pt idx="542">
                  <c:v>0.33900000000000002</c:v>
                </c:pt>
                <c:pt idx="543">
                  <c:v>0.92500000000000004</c:v>
                </c:pt>
                <c:pt idx="544">
                  <c:v>0.88200000000000001</c:v>
                </c:pt>
                <c:pt idx="545">
                  <c:v>0.1</c:v>
                </c:pt>
                <c:pt idx="546">
                  <c:v>0.38700000000000001</c:v>
                </c:pt>
                <c:pt idx="547">
                  <c:v>0.41799999999999998</c:v>
                </c:pt>
                <c:pt idx="548">
                  <c:v>0.76400000000000001</c:v>
                </c:pt>
                <c:pt idx="549">
                  <c:v>0.255</c:v>
                </c:pt>
                <c:pt idx="550">
                  <c:v>0.77600000000000002</c:v>
                </c:pt>
                <c:pt idx="551">
                  <c:v>0.17499999999999999</c:v>
                </c:pt>
                <c:pt idx="552">
                  <c:v>0.28699999999999998</c:v>
                </c:pt>
                <c:pt idx="553">
                  <c:v>0.66900000000000004</c:v>
                </c:pt>
                <c:pt idx="554">
                  <c:v>0.24199999999999999</c:v>
                </c:pt>
                <c:pt idx="555">
                  <c:v>0.65300000000000002</c:v>
                </c:pt>
                <c:pt idx="556">
                  <c:v>0.875</c:v>
                </c:pt>
                <c:pt idx="557">
                  <c:v>0.79900000000000004</c:v>
                </c:pt>
                <c:pt idx="558">
                  <c:v>0.34799999999999998</c:v>
                </c:pt>
                <c:pt idx="559">
                  <c:v>0.72699999999999998</c:v>
                </c:pt>
                <c:pt idx="560">
                  <c:v>0.52600000000000002</c:v>
                </c:pt>
                <c:pt idx="561">
                  <c:v>0.109</c:v>
                </c:pt>
                <c:pt idx="562">
                  <c:v>0.34200000000000003</c:v>
                </c:pt>
                <c:pt idx="563">
                  <c:v>0.22700000000000001</c:v>
                </c:pt>
                <c:pt idx="564">
                  <c:v>0.42199999999999999</c:v>
                </c:pt>
                <c:pt idx="565">
                  <c:v>0.10299999999999999</c:v>
                </c:pt>
                <c:pt idx="566">
                  <c:v>0.876</c:v>
                </c:pt>
                <c:pt idx="567">
                  <c:v>0.84499999999999997</c:v>
                </c:pt>
                <c:pt idx="568">
                  <c:v>0.14000000000000001</c:v>
                </c:pt>
                <c:pt idx="569">
                  <c:v>4.9000000000000002E-2</c:v>
                </c:pt>
                <c:pt idx="570">
                  <c:v>0.109</c:v>
                </c:pt>
                <c:pt idx="571">
                  <c:v>0.82299999999999995</c:v>
                </c:pt>
                <c:pt idx="572">
                  <c:v>0.81699999999999995</c:v>
                </c:pt>
                <c:pt idx="573">
                  <c:v>0.126</c:v>
                </c:pt>
                <c:pt idx="574">
                  <c:v>0.73799999999999999</c:v>
                </c:pt>
                <c:pt idx="575">
                  <c:v>0.67300000000000004</c:v>
                </c:pt>
                <c:pt idx="576">
                  <c:v>0.89500000000000002</c:v>
                </c:pt>
                <c:pt idx="577">
                  <c:v>0.17399999999999999</c:v>
                </c:pt>
                <c:pt idx="578">
                  <c:v>0.1</c:v>
                </c:pt>
                <c:pt idx="579">
                  <c:v>0.221</c:v>
                </c:pt>
                <c:pt idx="580">
                  <c:v>6.9000000000000006E-2</c:v>
                </c:pt>
                <c:pt idx="581">
                  <c:v>0.627</c:v>
                </c:pt>
                <c:pt idx="582">
                  <c:v>0.35799999999999998</c:v>
                </c:pt>
                <c:pt idx="583">
                  <c:v>0.312</c:v>
                </c:pt>
                <c:pt idx="584">
                  <c:v>9.7000000000000003E-2</c:v>
                </c:pt>
                <c:pt idx="585">
                  <c:v>0.20100000000000001</c:v>
                </c:pt>
                <c:pt idx="586">
                  <c:v>0.495</c:v>
                </c:pt>
                <c:pt idx="587">
                  <c:v>4.1000000000000002E-2</c:v>
                </c:pt>
                <c:pt idx="588">
                  <c:v>0.375</c:v>
                </c:pt>
                <c:pt idx="589">
                  <c:v>0.122</c:v>
                </c:pt>
                <c:pt idx="590">
                  <c:v>0.14699999999999999</c:v>
                </c:pt>
                <c:pt idx="591">
                  <c:v>0.36</c:v>
                </c:pt>
                <c:pt idx="592">
                  <c:v>0.20399999999999999</c:v>
                </c:pt>
                <c:pt idx="593">
                  <c:v>0.55100000000000005</c:v>
                </c:pt>
                <c:pt idx="594">
                  <c:v>0.17699999999999999</c:v>
                </c:pt>
                <c:pt idx="595">
                  <c:v>0.14599999999999999</c:v>
                </c:pt>
                <c:pt idx="596">
                  <c:v>0.60799999999999998</c:v>
                </c:pt>
                <c:pt idx="597">
                  <c:v>0.32200000000000001</c:v>
                </c:pt>
                <c:pt idx="598">
                  <c:v>0.438</c:v>
                </c:pt>
                <c:pt idx="599">
                  <c:v>0.46899999999999997</c:v>
                </c:pt>
                <c:pt idx="600">
                  <c:v>0.86299999999999999</c:v>
                </c:pt>
                <c:pt idx="601">
                  <c:v>0.28699999999999998</c:v>
                </c:pt>
                <c:pt idx="602">
                  <c:v>0.13600000000000001</c:v>
                </c:pt>
                <c:pt idx="603">
                  <c:v>0.49299999999999999</c:v>
                </c:pt>
                <c:pt idx="604">
                  <c:v>0.14099999999999999</c:v>
                </c:pt>
                <c:pt idx="605">
                  <c:v>0.39700000000000002</c:v>
                </c:pt>
                <c:pt idx="606">
                  <c:v>0.73899999999999999</c:v>
                </c:pt>
                <c:pt idx="607">
                  <c:v>0.38500000000000001</c:v>
                </c:pt>
                <c:pt idx="608">
                  <c:v>0.04</c:v>
                </c:pt>
                <c:pt idx="609">
                  <c:v>0.42899999999999999</c:v>
                </c:pt>
                <c:pt idx="610">
                  <c:v>0.17199999999999999</c:v>
                </c:pt>
                <c:pt idx="611">
                  <c:v>0.56200000000000006</c:v>
                </c:pt>
                <c:pt idx="612">
                  <c:v>0.114</c:v>
                </c:pt>
                <c:pt idx="613">
                  <c:v>0.251</c:v>
                </c:pt>
                <c:pt idx="614">
                  <c:v>0.26200000000000001</c:v>
                </c:pt>
                <c:pt idx="615">
                  <c:v>0.46</c:v>
                </c:pt>
                <c:pt idx="616">
                  <c:v>0.39600000000000002</c:v>
                </c:pt>
                <c:pt idx="617">
                  <c:v>0.17599999999999999</c:v>
                </c:pt>
                <c:pt idx="618">
                  <c:v>0.04</c:v>
                </c:pt>
                <c:pt idx="619">
                  <c:v>6.9000000000000006E-2</c:v>
                </c:pt>
                <c:pt idx="620">
                  <c:v>0.20699999999999999</c:v>
                </c:pt>
                <c:pt idx="621">
                  <c:v>0.187</c:v>
                </c:pt>
                <c:pt idx="622">
                  <c:v>0.13200000000000001</c:v>
                </c:pt>
                <c:pt idx="623">
                  <c:v>0.20599999999999999</c:v>
                </c:pt>
                <c:pt idx="624">
                  <c:v>0.17899999999999999</c:v>
                </c:pt>
                <c:pt idx="625">
                  <c:v>0.86199999999999999</c:v>
                </c:pt>
                <c:pt idx="626">
                  <c:v>0.30099999999999999</c:v>
                </c:pt>
                <c:pt idx="627">
                  <c:v>0.31</c:v>
                </c:pt>
                <c:pt idx="628">
                  <c:v>0.84499999999999997</c:v>
                </c:pt>
                <c:pt idx="629">
                  <c:v>9.9000000000000005E-2</c:v>
                </c:pt>
                <c:pt idx="630">
                  <c:v>0.72199999999999998</c:v>
                </c:pt>
                <c:pt idx="631">
                  <c:v>0.126</c:v>
                </c:pt>
                <c:pt idx="632">
                  <c:v>0.13600000000000001</c:v>
                </c:pt>
                <c:pt idx="633">
                  <c:v>0.33</c:v>
                </c:pt>
                <c:pt idx="634">
                  <c:v>0.187</c:v>
                </c:pt>
                <c:pt idx="635">
                  <c:v>0.33</c:v>
                </c:pt>
                <c:pt idx="636">
                  <c:v>2.3E-2</c:v>
                </c:pt>
                <c:pt idx="637">
                  <c:v>9.4E-2</c:v>
                </c:pt>
                <c:pt idx="638">
                  <c:v>9.0999999999999998E-2</c:v>
                </c:pt>
                <c:pt idx="639">
                  <c:v>0.20499999999999999</c:v>
                </c:pt>
                <c:pt idx="640">
                  <c:v>5.7000000000000002E-2</c:v>
                </c:pt>
                <c:pt idx="641">
                  <c:v>0.22900000000000001</c:v>
                </c:pt>
                <c:pt idx="642">
                  <c:v>0.29499999999999998</c:v>
                </c:pt>
                <c:pt idx="643">
                  <c:v>0.53100000000000003</c:v>
                </c:pt>
                <c:pt idx="644">
                  <c:v>0.88500000000000001</c:v>
                </c:pt>
                <c:pt idx="645">
                  <c:v>6.9000000000000006E-2</c:v>
                </c:pt>
                <c:pt idx="646">
                  <c:v>0.23100000000000001</c:v>
                </c:pt>
                <c:pt idx="647">
                  <c:v>0.28199999999999997</c:v>
                </c:pt>
                <c:pt idx="648">
                  <c:v>0.23499999999999999</c:v>
                </c:pt>
                <c:pt idx="649">
                  <c:v>0.437</c:v>
                </c:pt>
                <c:pt idx="650">
                  <c:v>0.23300000000000001</c:v>
                </c:pt>
                <c:pt idx="651">
                  <c:v>5.0999999999999997E-2</c:v>
                </c:pt>
                <c:pt idx="652">
                  <c:v>0.42</c:v>
                </c:pt>
                <c:pt idx="653">
                  <c:v>0.80100000000000005</c:v>
                </c:pt>
                <c:pt idx="654">
                  <c:v>0.54400000000000004</c:v>
                </c:pt>
                <c:pt idx="655">
                  <c:v>0.28499999999999998</c:v>
                </c:pt>
                <c:pt idx="656">
                  <c:v>0.254</c:v>
                </c:pt>
                <c:pt idx="657">
                  <c:v>0.25900000000000001</c:v>
                </c:pt>
                <c:pt idx="658">
                  <c:v>0.16600000000000001</c:v>
                </c:pt>
                <c:pt idx="659">
                  <c:v>0.11899999999999999</c:v>
                </c:pt>
                <c:pt idx="660">
                  <c:v>0.14199999999999999</c:v>
                </c:pt>
                <c:pt idx="661">
                  <c:v>0.14399999999999999</c:v>
                </c:pt>
                <c:pt idx="662">
                  <c:v>0.32200000000000001</c:v>
                </c:pt>
                <c:pt idx="663">
                  <c:v>0.311</c:v>
                </c:pt>
                <c:pt idx="664">
                  <c:v>0.41199999999999998</c:v>
                </c:pt>
                <c:pt idx="665">
                  <c:v>0.17199999999999999</c:v>
                </c:pt>
                <c:pt idx="666">
                  <c:v>0.23300000000000001</c:v>
                </c:pt>
                <c:pt idx="667">
                  <c:v>0.53400000000000003</c:v>
                </c:pt>
                <c:pt idx="668">
                  <c:v>0.56699999999999995</c:v>
                </c:pt>
                <c:pt idx="669">
                  <c:v>0.501</c:v>
                </c:pt>
                <c:pt idx="670">
                  <c:v>0.20599999999999999</c:v>
                </c:pt>
                <c:pt idx="671">
                  <c:v>0.74399999999999999</c:v>
                </c:pt>
                <c:pt idx="672">
                  <c:v>5.2999999999999999E-2</c:v>
                </c:pt>
                <c:pt idx="673">
                  <c:v>0.67300000000000004</c:v>
                </c:pt>
                <c:pt idx="674">
                  <c:v>0.88300000000000001</c:v>
                </c:pt>
                <c:pt idx="675">
                  <c:v>0.313</c:v>
                </c:pt>
                <c:pt idx="676">
                  <c:v>0.27200000000000002</c:v>
                </c:pt>
                <c:pt idx="677">
                  <c:v>0.25800000000000001</c:v>
                </c:pt>
                <c:pt idx="678">
                  <c:v>0.16200000000000001</c:v>
                </c:pt>
                <c:pt idx="679">
                  <c:v>3.3000000000000002E-2</c:v>
                </c:pt>
                <c:pt idx="680">
                  <c:v>6.6000000000000003E-2</c:v>
                </c:pt>
                <c:pt idx="681">
                  <c:v>0.128</c:v>
                </c:pt>
                <c:pt idx="682">
                  <c:v>0.26300000000000001</c:v>
                </c:pt>
                <c:pt idx="683">
                  <c:v>1.9E-2</c:v>
                </c:pt>
                <c:pt idx="684">
                  <c:v>6.0999999999999999E-2</c:v>
                </c:pt>
                <c:pt idx="685">
                  <c:v>0.317</c:v>
                </c:pt>
                <c:pt idx="686">
                  <c:v>0.84199999999999997</c:v>
                </c:pt>
                <c:pt idx="687">
                  <c:v>0.161</c:v>
                </c:pt>
                <c:pt idx="688">
                  <c:v>0.39500000000000002</c:v>
                </c:pt>
                <c:pt idx="689">
                  <c:v>7.5999999999999998E-2</c:v>
                </c:pt>
                <c:pt idx="690">
                  <c:v>0.127</c:v>
                </c:pt>
                <c:pt idx="691">
                  <c:v>2.7E-2</c:v>
                </c:pt>
                <c:pt idx="692">
                  <c:v>0.14799999999999999</c:v>
                </c:pt>
                <c:pt idx="693">
                  <c:v>0.24099999999999999</c:v>
                </c:pt>
                <c:pt idx="694">
                  <c:v>0.27700000000000002</c:v>
                </c:pt>
                <c:pt idx="695">
                  <c:v>0.16200000000000001</c:v>
                </c:pt>
                <c:pt idx="696">
                  <c:v>0.66700000000000004</c:v>
                </c:pt>
                <c:pt idx="697">
                  <c:v>0.28799999999999998</c:v>
                </c:pt>
                <c:pt idx="698">
                  <c:v>0.38100000000000001</c:v>
                </c:pt>
                <c:pt idx="699">
                  <c:v>0.14699999999999999</c:v>
                </c:pt>
                <c:pt idx="700">
                  <c:v>8.2000000000000003E-2</c:v>
                </c:pt>
                <c:pt idx="701">
                  <c:v>6.9000000000000006E-2</c:v>
                </c:pt>
                <c:pt idx="702">
                  <c:v>0.17499999999999999</c:v>
                </c:pt>
                <c:pt idx="703">
                  <c:v>0.31900000000000001</c:v>
                </c:pt>
                <c:pt idx="704">
                  <c:v>7.0999999999999994E-2</c:v>
                </c:pt>
                <c:pt idx="705">
                  <c:v>0.16500000000000001</c:v>
                </c:pt>
                <c:pt idx="706">
                  <c:v>0.246</c:v>
                </c:pt>
                <c:pt idx="707">
                  <c:v>3.9E-2</c:v>
                </c:pt>
                <c:pt idx="708">
                  <c:v>0.22500000000000001</c:v>
                </c:pt>
                <c:pt idx="709">
                  <c:v>0.32200000000000001</c:v>
                </c:pt>
                <c:pt idx="710">
                  <c:v>0.16700000000000001</c:v>
                </c:pt>
                <c:pt idx="711">
                  <c:v>0.66</c:v>
                </c:pt>
                <c:pt idx="712">
                  <c:v>0.28499999999999998</c:v>
                </c:pt>
                <c:pt idx="713">
                  <c:v>7.0999999999999994E-2</c:v>
                </c:pt>
                <c:pt idx="714">
                  <c:v>0.77600000000000002</c:v>
                </c:pt>
                <c:pt idx="715">
                  <c:v>0.214</c:v>
                </c:pt>
                <c:pt idx="716">
                  <c:v>0.13400000000000001</c:v>
                </c:pt>
                <c:pt idx="717">
                  <c:v>0.193</c:v>
                </c:pt>
                <c:pt idx="718">
                  <c:v>4.3999999999999997E-2</c:v>
                </c:pt>
                <c:pt idx="719">
                  <c:v>0.313</c:v>
                </c:pt>
                <c:pt idx="720">
                  <c:v>8.1000000000000003E-2</c:v>
                </c:pt>
                <c:pt idx="721">
                  <c:v>0.307</c:v>
                </c:pt>
                <c:pt idx="722">
                  <c:v>0.19500000000000001</c:v>
                </c:pt>
                <c:pt idx="723">
                  <c:v>0.32500000000000001</c:v>
                </c:pt>
                <c:pt idx="724">
                  <c:v>0.129</c:v>
                </c:pt>
                <c:pt idx="725">
                  <c:v>0.21</c:v>
                </c:pt>
                <c:pt idx="726">
                  <c:v>4.5999999999999999E-2</c:v>
                </c:pt>
                <c:pt idx="727">
                  <c:v>0.77400000000000002</c:v>
                </c:pt>
                <c:pt idx="728">
                  <c:v>0.374</c:v>
                </c:pt>
                <c:pt idx="729">
                  <c:v>0.48599999999999999</c:v>
                </c:pt>
                <c:pt idx="730">
                  <c:v>0.186</c:v>
                </c:pt>
                <c:pt idx="731">
                  <c:v>9.1999999999999998E-2</c:v>
                </c:pt>
                <c:pt idx="732">
                  <c:v>4.5999999999999999E-2</c:v>
                </c:pt>
                <c:pt idx="733">
                  <c:v>0.24099999999999999</c:v>
                </c:pt>
                <c:pt idx="734">
                  <c:v>0.16500000000000001</c:v>
                </c:pt>
                <c:pt idx="735">
                  <c:v>0.113</c:v>
                </c:pt>
                <c:pt idx="736">
                  <c:v>0.33300000000000002</c:v>
                </c:pt>
                <c:pt idx="737">
                  <c:v>5.8999999999999997E-2</c:v>
                </c:pt>
                <c:pt idx="738">
                  <c:v>9.2999999999999999E-2</c:v>
                </c:pt>
                <c:pt idx="739">
                  <c:v>2.8000000000000001E-2</c:v>
                </c:pt>
                <c:pt idx="740">
                  <c:v>0.14199999999999999</c:v>
                </c:pt>
                <c:pt idx="741">
                  <c:v>0.2</c:v>
                </c:pt>
                <c:pt idx="742">
                  <c:v>8.5000000000000006E-2</c:v>
                </c:pt>
                <c:pt idx="743">
                  <c:v>9.8000000000000004E-2</c:v>
                </c:pt>
                <c:pt idx="744">
                  <c:v>7.0999999999999994E-2</c:v>
                </c:pt>
                <c:pt idx="745">
                  <c:v>0.111</c:v>
                </c:pt>
                <c:pt idx="746">
                  <c:v>4.3999999999999997E-2</c:v>
                </c:pt>
                <c:pt idx="747">
                  <c:v>4.7E-2</c:v>
                </c:pt>
                <c:pt idx="748">
                  <c:v>0.3</c:v>
                </c:pt>
                <c:pt idx="749">
                  <c:v>0.32100000000000001</c:v>
                </c:pt>
                <c:pt idx="750">
                  <c:v>0.14299999999999999</c:v>
                </c:pt>
                <c:pt idx="751">
                  <c:v>0.32500000000000001</c:v>
                </c:pt>
                <c:pt idx="752">
                  <c:v>0.80300000000000005</c:v>
                </c:pt>
                <c:pt idx="753">
                  <c:v>6.8000000000000005E-2</c:v>
                </c:pt>
                <c:pt idx="754">
                  <c:v>0.16900000000000001</c:v>
                </c:pt>
                <c:pt idx="755">
                  <c:v>0.03</c:v>
                </c:pt>
                <c:pt idx="756">
                  <c:v>5.1999999999999998E-2</c:v>
                </c:pt>
                <c:pt idx="757">
                  <c:v>9.2999999999999999E-2</c:v>
                </c:pt>
                <c:pt idx="758">
                  <c:v>7.0000000000000007E-2</c:v>
                </c:pt>
                <c:pt idx="759">
                  <c:v>0.26100000000000001</c:v>
                </c:pt>
                <c:pt idx="760">
                  <c:v>0.122</c:v>
                </c:pt>
                <c:pt idx="761">
                  <c:v>0.151</c:v>
                </c:pt>
                <c:pt idx="762">
                  <c:v>0.22900000000000001</c:v>
                </c:pt>
                <c:pt idx="763">
                  <c:v>0.14799999999999999</c:v>
                </c:pt>
                <c:pt idx="764">
                  <c:v>0.57099999999999995</c:v>
                </c:pt>
                <c:pt idx="765">
                  <c:v>0.58499999999999996</c:v>
                </c:pt>
                <c:pt idx="766">
                  <c:v>0.8</c:v>
                </c:pt>
                <c:pt idx="767">
                  <c:v>0.03</c:v>
                </c:pt>
                <c:pt idx="768">
                  <c:v>0.2</c:v>
                </c:pt>
                <c:pt idx="769">
                  <c:v>8.9999999999999993E-3</c:v>
                </c:pt>
                <c:pt idx="770">
                  <c:v>0.496</c:v>
                </c:pt>
                <c:pt idx="771">
                  <c:v>0.121</c:v>
                </c:pt>
                <c:pt idx="772">
                  <c:v>0.254</c:v>
                </c:pt>
                <c:pt idx="773">
                  <c:v>7.5999999999999998E-2</c:v>
                </c:pt>
                <c:pt idx="774">
                  <c:v>9.2999999999999999E-2</c:v>
                </c:pt>
                <c:pt idx="775">
                  <c:v>0.17199999999999999</c:v>
                </c:pt>
                <c:pt idx="776">
                  <c:v>9.7000000000000003E-2</c:v>
                </c:pt>
                <c:pt idx="777">
                  <c:v>6.7000000000000004E-2</c:v>
                </c:pt>
                <c:pt idx="778">
                  <c:v>7.0000000000000007E-2</c:v>
                </c:pt>
                <c:pt idx="779">
                  <c:v>0.46400000000000002</c:v>
                </c:pt>
                <c:pt idx="780">
                  <c:v>0.56599999999999995</c:v>
                </c:pt>
                <c:pt idx="781">
                  <c:v>0.15</c:v>
                </c:pt>
                <c:pt idx="782">
                  <c:v>0.28399999999999997</c:v>
                </c:pt>
                <c:pt idx="783">
                  <c:v>0.42599999999999999</c:v>
                </c:pt>
                <c:pt idx="784">
                  <c:v>0.78200000000000003</c:v>
                </c:pt>
                <c:pt idx="785">
                  <c:v>0.14499999999999999</c:v>
                </c:pt>
                <c:pt idx="786">
                  <c:v>0.104</c:v>
                </c:pt>
                <c:pt idx="787">
                  <c:v>8.1000000000000003E-2</c:v>
                </c:pt>
                <c:pt idx="788">
                  <c:v>5.2999999999999999E-2</c:v>
                </c:pt>
                <c:pt idx="789">
                  <c:v>0.11899999999999999</c:v>
                </c:pt>
                <c:pt idx="790">
                  <c:v>6.0999999999999999E-2</c:v>
                </c:pt>
                <c:pt idx="791">
                  <c:v>0.13400000000000001</c:v>
                </c:pt>
                <c:pt idx="792">
                  <c:v>0.114</c:v>
                </c:pt>
                <c:pt idx="793">
                  <c:v>5.1999999999999998E-2</c:v>
                </c:pt>
                <c:pt idx="794">
                  <c:v>0.105</c:v>
                </c:pt>
                <c:pt idx="795">
                  <c:v>0.28999999999999998</c:v>
                </c:pt>
                <c:pt idx="796">
                  <c:v>0.215</c:v>
                </c:pt>
                <c:pt idx="797">
                  <c:v>0.06</c:v>
                </c:pt>
                <c:pt idx="798">
                  <c:v>2.9000000000000001E-2</c:v>
                </c:pt>
                <c:pt idx="799">
                  <c:v>0.21299999999999999</c:v>
                </c:pt>
                <c:pt idx="800">
                  <c:v>0.21099999999999999</c:v>
                </c:pt>
                <c:pt idx="801">
                  <c:v>0.65200000000000002</c:v>
                </c:pt>
                <c:pt idx="802">
                  <c:v>0.12</c:v>
                </c:pt>
                <c:pt idx="803">
                  <c:v>3.3000000000000002E-2</c:v>
                </c:pt>
                <c:pt idx="804">
                  <c:v>0.64800000000000002</c:v>
                </c:pt>
                <c:pt idx="805">
                  <c:v>7.4999999999999997E-2</c:v>
                </c:pt>
                <c:pt idx="806">
                  <c:v>5.7000000000000002E-2</c:v>
                </c:pt>
                <c:pt idx="807">
                  <c:v>0.111</c:v>
                </c:pt>
                <c:pt idx="808">
                  <c:v>0.106</c:v>
                </c:pt>
                <c:pt idx="809">
                  <c:v>5.8999999999999997E-2</c:v>
                </c:pt>
                <c:pt idx="810">
                  <c:v>6.8000000000000005E-2</c:v>
                </c:pt>
                <c:pt idx="811">
                  <c:v>0.80600000000000005</c:v>
                </c:pt>
                <c:pt idx="812">
                  <c:v>0.27100000000000002</c:v>
                </c:pt>
                <c:pt idx="813">
                  <c:v>0.13700000000000001</c:v>
                </c:pt>
                <c:pt idx="814">
                  <c:v>8.6999999999999994E-2</c:v>
                </c:pt>
                <c:pt idx="815">
                  <c:v>7.1999999999999995E-2</c:v>
                </c:pt>
                <c:pt idx="816">
                  <c:v>5.8000000000000003E-2</c:v>
                </c:pt>
                <c:pt idx="817">
                  <c:v>4.5999999999999999E-2</c:v>
                </c:pt>
                <c:pt idx="818">
                  <c:v>0.73499999999999999</c:v>
                </c:pt>
                <c:pt idx="819">
                  <c:v>4.5999999999999999E-2</c:v>
                </c:pt>
                <c:pt idx="820">
                  <c:v>4.9000000000000002E-2</c:v>
                </c:pt>
                <c:pt idx="821">
                  <c:v>4.4999999999999998E-2</c:v>
                </c:pt>
                <c:pt idx="822">
                  <c:v>0.151</c:v>
                </c:pt>
                <c:pt idx="823">
                  <c:v>4.7E-2</c:v>
                </c:pt>
                <c:pt idx="824">
                  <c:v>0.03</c:v>
                </c:pt>
                <c:pt idx="825">
                  <c:v>7.0999999999999994E-2</c:v>
                </c:pt>
                <c:pt idx="826">
                  <c:v>5.7000000000000002E-2</c:v>
                </c:pt>
                <c:pt idx="827">
                  <c:v>0.75</c:v>
                </c:pt>
                <c:pt idx="828">
                  <c:v>4.2999999999999997E-2</c:v>
                </c:pt>
                <c:pt idx="829">
                  <c:v>0.04</c:v>
                </c:pt>
                <c:pt idx="830">
                  <c:v>0.54600000000000004</c:v>
                </c:pt>
                <c:pt idx="831">
                  <c:v>0.13300000000000001</c:v>
                </c:pt>
                <c:pt idx="832">
                  <c:v>0.72199999999999998</c:v>
                </c:pt>
                <c:pt idx="833">
                  <c:v>3.2000000000000001E-2</c:v>
                </c:pt>
                <c:pt idx="834">
                  <c:v>0.27300000000000002</c:v>
                </c:pt>
                <c:pt idx="835">
                  <c:v>4.5999999999999999E-2</c:v>
                </c:pt>
                <c:pt idx="836">
                  <c:v>0.25800000000000001</c:v>
                </c:pt>
                <c:pt idx="837">
                  <c:v>7.4999999999999997E-2</c:v>
                </c:pt>
                <c:pt idx="838">
                  <c:v>4.5999999999999999E-2</c:v>
                </c:pt>
                <c:pt idx="839">
                  <c:v>1.4999999999999999E-2</c:v>
                </c:pt>
                <c:pt idx="840">
                  <c:v>0.121</c:v>
                </c:pt>
                <c:pt idx="841">
                  <c:v>0.154</c:v>
                </c:pt>
                <c:pt idx="842">
                  <c:v>0.30199999999999999</c:v>
                </c:pt>
                <c:pt idx="843">
                  <c:v>3.9E-2</c:v>
                </c:pt>
                <c:pt idx="844">
                  <c:v>5.6000000000000001E-2</c:v>
                </c:pt>
                <c:pt idx="845">
                  <c:v>0.08</c:v>
                </c:pt>
                <c:pt idx="846">
                  <c:v>0.112</c:v>
                </c:pt>
                <c:pt idx="847">
                  <c:v>0.28699999999999998</c:v>
                </c:pt>
                <c:pt idx="848">
                  <c:v>6.5000000000000002E-2</c:v>
                </c:pt>
                <c:pt idx="849">
                  <c:v>8.3000000000000004E-2</c:v>
                </c:pt>
                <c:pt idx="850">
                  <c:v>6.8000000000000005E-2</c:v>
                </c:pt>
                <c:pt idx="851">
                  <c:v>0.157</c:v>
                </c:pt>
                <c:pt idx="852">
                  <c:v>4.2999999999999997E-2</c:v>
                </c:pt>
                <c:pt idx="853">
                  <c:v>8.1000000000000003E-2</c:v>
                </c:pt>
                <c:pt idx="854">
                  <c:v>7.0999999999999994E-2</c:v>
                </c:pt>
                <c:pt idx="855">
                  <c:v>5.1999999999999998E-2</c:v>
                </c:pt>
                <c:pt idx="856">
                  <c:v>0.09</c:v>
                </c:pt>
                <c:pt idx="857">
                  <c:v>0.157</c:v>
                </c:pt>
                <c:pt idx="858">
                  <c:v>4.4999999999999998E-2</c:v>
                </c:pt>
                <c:pt idx="859">
                  <c:v>0.66100000000000003</c:v>
                </c:pt>
                <c:pt idx="860">
                  <c:v>0.11700000000000001</c:v>
                </c:pt>
                <c:pt idx="861">
                  <c:v>5.0999999999999997E-2</c:v>
                </c:pt>
                <c:pt idx="862">
                  <c:v>4.9000000000000002E-2</c:v>
                </c:pt>
                <c:pt idx="863">
                  <c:v>0.31</c:v>
                </c:pt>
                <c:pt idx="864">
                  <c:v>0.41399999999999998</c:v>
                </c:pt>
                <c:pt idx="865">
                  <c:v>2.1000000000000001E-2</c:v>
                </c:pt>
                <c:pt idx="866">
                  <c:v>8.6999999999999994E-2</c:v>
                </c:pt>
                <c:pt idx="867">
                  <c:v>0.104</c:v>
                </c:pt>
                <c:pt idx="868">
                  <c:v>3.6999999999999998E-2</c:v>
                </c:pt>
                <c:pt idx="869">
                  <c:v>6.2E-2</c:v>
                </c:pt>
                <c:pt idx="870">
                  <c:v>0.373</c:v>
                </c:pt>
                <c:pt idx="871">
                  <c:v>5.8000000000000003E-2</c:v>
                </c:pt>
                <c:pt idx="872">
                  <c:v>6.9000000000000006E-2</c:v>
                </c:pt>
                <c:pt idx="873">
                  <c:v>0.68700000000000006</c:v>
                </c:pt>
                <c:pt idx="874">
                  <c:v>0.01</c:v>
                </c:pt>
                <c:pt idx="875">
                  <c:v>0.25</c:v>
                </c:pt>
                <c:pt idx="876">
                  <c:v>3.4000000000000002E-2</c:v>
                </c:pt>
                <c:pt idx="877">
                  <c:v>9.0999999999999998E-2</c:v>
                </c:pt>
                <c:pt idx="878">
                  <c:v>1.4999999999999999E-2</c:v>
                </c:pt>
                <c:pt idx="879">
                  <c:v>2.1999999999999999E-2</c:v>
                </c:pt>
                <c:pt idx="880">
                  <c:v>6.4000000000000001E-2</c:v>
                </c:pt>
                <c:pt idx="881">
                  <c:v>6.2E-2</c:v>
                </c:pt>
                <c:pt idx="882">
                  <c:v>0.127</c:v>
                </c:pt>
                <c:pt idx="883">
                  <c:v>9.2999999999999999E-2</c:v>
                </c:pt>
                <c:pt idx="884">
                  <c:v>0.42699999999999999</c:v>
                </c:pt>
                <c:pt idx="885">
                  <c:v>2.1999999999999999E-2</c:v>
                </c:pt>
                <c:pt idx="886">
                  <c:v>3.5000000000000003E-2</c:v>
                </c:pt>
                <c:pt idx="887">
                  <c:v>0.157</c:v>
                </c:pt>
                <c:pt idx="888">
                  <c:v>3.2000000000000001E-2</c:v>
                </c:pt>
                <c:pt idx="889">
                  <c:v>0.40200000000000002</c:v>
                </c:pt>
                <c:pt idx="890">
                  <c:v>0.155</c:v>
                </c:pt>
                <c:pt idx="891">
                  <c:v>0.19900000000000001</c:v>
                </c:pt>
                <c:pt idx="892">
                  <c:v>1.2E-2</c:v>
                </c:pt>
                <c:pt idx="893">
                  <c:v>4.0000000000000001E-3</c:v>
                </c:pt>
                <c:pt idx="894">
                  <c:v>5.1999999999999998E-2</c:v>
                </c:pt>
                <c:pt idx="895">
                  <c:v>4.4999999999999998E-2</c:v>
                </c:pt>
                <c:pt idx="896">
                  <c:v>9.6000000000000002E-2</c:v>
                </c:pt>
                <c:pt idx="897">
                  <c:v>5.8999999999999997E-2</c:v>
                </c:pt>
                <c:pt idx="898">
                  <c:v>7.9000000000000001E-2</c:v>
                </c:pt>
                <c:pt idx="899">
                  <c:v>6.9000000000000006E-2</c:v>
                </c:pt>
                <c:pt idx="900">
                  <c:v>4.5999999999999999E-2</c:v>
                </c:pt>
                <c:pt idx="901">
                  <c:v>4.2000000000000003E-2</c:v>
                </c:pt>
                <c:pt idx="902">
                  <c:v>4.8000000000000001E-2</c:v>
                </c:pt>
                <c:pt idx="903">
                  <c:v>8.0000000000000002E-3</c:v>
                </c:pt>
                <c:pt idx="904">
                  <c:v>0.104</c:v>
                </c:pt>
                <c:pt idx="905">
                  <c:v>0.13800000000000001</c:v>
                </c:pt>
                <c:pt idx="906">
                  <c:v>0.11799999999999999</c:v>
                </c:pt>
                <c:pt idx="907">
                  <c:v>9.6000000000000002E-2</c:v>
                </c:pt>
                <c:pt idx="908">
                  <c:v>0.159</c:v>
                </c:pt>
                <c:pt idx="909">
                  <c:v>0.122</c:v>
                </c:pt>
                <c:pt idx="910">
                  <c:v>0.14499999999999999</c:v>
                </c:pt>
                <c:pt idx="911">
                  <c:v>7.0000000000000007E-2</c:v>
                </c:pt>
                <c:pt idx="912">
                  <c:v>4.2000000000000003E-2</c:v>
                </c:pt>
                <c:pt idx="913">
                  <c:v>3.3000000000000002E-2</c:v>
                </c:pt>
                <c:pt idx="914">
                  <c:v>2.1999999999999999E-2</c:v>
                </c:pt>
                <c:pt idx="915">
                  <c:v>9.0999999999999998E-2</c:v>
                </c:pt>
                <c:pt idx="916">
                  <c:v>0.23499999999999999</c:v>
                </c:pt>
                <c:pt idx="917">
                  <c:v>8.2000000000000003E-2</c:v>
                </c:pt>
                <c:pt idx="918">
                  <c:v>7.6999999999999999E-2</c:v>
                </c:pt>
                <c:pt idx="919">
                  <c:v>5.3999999999999999E-2</c:v>
                </c:pt>
                <c:pt idx="920">
                  <c:v>7.8E-2</c:v>
                </c:pt>
                <c:pt idx="921">
                  <c:v>6.4000000000000001E-2</c:v>
                </c:pt>
                <c:pt idx="922">
                  <c:v>8.4000000000000005E-2</c:v>
                </c:pt>
                <c:pt idx="923">
                  <c:v>0.11600000000000001</c:v>
                </c:pt>
                <c:pt idx="924">
                  <c:v>4.2000000000000003E-2</c:v>
                </c:pt>
                <c:pt idx="925">
                  <c:v>7.1999999999999995E-2</c:v>
                </c:pt>
                <c:pt idx="926">
                  <c:v>0.13300000000000001</c:v>
                </c:pt>
                <c:pt idx="927">
                  <c:v>0.106</c:v>
                </c:pt>
                <c:pt idx="928">
                  <c:v>0.66100000000000003</c:v>
                </c:pt>
                <c:pt idx="929">
                  <c:v>3.4000000000000002E-2</c:v>
                </c:pt>
                <c:pt idx="930">
                  <c:v>5.6000000000000001E-2</c:v>
                </c:pt>
                <c:pt idx="931">
                  <c:v>0.38900000000000001</c:v>
                </c:pt>
                <c:pt idx="932">
                  <c:v>8.0000000000000002E-3</c:v>
                </c:pt>
                <c:pt idx="933">
                  <c:v>2.4E-2</c:v>
                </c:pt>
                <c:pt idx="934">
                  <c:v>6.2E-2</c:v>
                </c:pt>
                <c:pt idx="935">
                  <c:v>0.109</c:v>
                </c:pt>
                <c:pt idx="936">
                  <c:v>2.7E-2</c:v>
                </c:pt>
                <c:pt idx="937">
                  <c:v>4.5999999999999999E-2</c:v>
                </c:pt>
                <c:pt idx="938">
                  <c:v>7.4999999999999997E-2</c:v>
                </c:pt>
                <c:pt idx="939">
                  <c:v>5.6000000000000001E-2</c:v>
                </c:pt>
                <c:pt idx="940">
                  <c:v>0.11799999999999999</c:v>
                </c:pt>
                <c:pt idx="941">
                  <c:v>9.9000000000000005E-2</c:v>
                </c:pt>
                <c:pt idx="942">
                  <c:v>0.14099999999999999</c:v>
                </c:pt>
                <c:pt idx="943">
                  <c:v>8.9999999999999993E-3</c:v>
                </c:pt>
                <c:pt idx="944">
                  <c:v>0.23100000000000001</c:v>
                </c:pt>
                <c:pt idx="945">
                  <c:v>0.04</c:v>
                </c:pt>
                <c:pt idx="946">
                  <c:v>1.7999999999999999E-2</c:v>
                </c:pt>
                <c:pt idx="947">
                  <c:v>7.3999999999999996E-2</c:v>
                </c:pt>
                <c:pt idx="948">
                  <c:v>0.106</c:v>
                </c:pt>
                <c:pt idx="949">
                  <c:v>4.8000000000000001E-2</c:v>
                </c:pt>
                <c:pt idx="950">
                  <c:v>1.4E-2</c:v>
                </c:pt>
                <c:pt idx="951">
                  <c:v>3.3000000000000002E-2</c:v>
                </c:pt>
                <c:pt idx="952">
                  <c:v>7.4999999999999997E-2</c:v>
                </c:pt>
                <c:pt idx="953">
                  <c:v>0.4</c:v>
                </c:pt>
                <c:pt idx="954">
                  <c:v>0.17</c:v>
                </c:pt>
                <c:pt idx="955">
                  <c:v>4.2000000000000003E-2</c:v>
                </c:pt>
                <c:pt idx="956">
                  <c:v>2.3E-2</c:v>
                </c:pt>
                <c:pt idx="957">
                  <c:v>1.9E-2</c:v>
                </c:pt>
                <c:pt idx="958">
                  <c:v>2.1999999999999999E-2</c:v>
                </c:pt>
                <c:pt idx="959">
                  <c:v>0.06</c:v>
                </c:pt>
                <c:pt idx="960">
                  <c:v>1.2999999999999999E-2</c:v>
                </c:pt>
                <c:pt idx="961">
                  <c:v>0.112</c:v>
                </c:pt>
                <c:pt idx="962">
                  <c:v>0.60399999999999998</c:v>
                </c:pt>
                <c:pt idx="963">
                  <c:v>0.114</c:v>
                </c:pt>
                <c:pt idx="964">
                  <c:v>0.104</c:v>
                </c:pt>
                <c:pt idx="965">
                  <c:v>1.0999999999999999E-2</c:v>
                </c:pt>
                <c:pt idx="966">
                  <c:v>9.4E-2</c:v>
                </c:pt>
                <c:pt idx="967">
                  <c:v>4.3999999999999997E-2</c:v>
                </c:pt>
                <c:pt idx="968">
                  <c:v>8.4000000000000005E-2</c:v>
                </c:pt>
                <c:pt idx="969">
                  <c:v>7.6999999999999999E-2</c:v>
                </c:pt>
                <c:pt idx="970">
                  <c:v>0.111</c:v>
                </c:pt>
                <c:pt idx="971">
                  <c:v>0.14000000000000001</c:v>
                </c:pt>
                <c:pt idx="972">
                  <c:v>2.1999999999999999E-2</c:v>
                </c:pt>
                <c:pt idx="973">
                  <c:v>3.3000000000000002E-2</c:v>
                </c:pt>
                <c:pt idx="974">
                  <c:v>6.5000000000000002E-2</c:v>
                </c:pt>
                <c:pt idx="975">
                  <c:v>1.4E-2</c:v>
                </c:pt>
                <c:pt idx="976">
                  <c:v>3.2000000000000001E-2</c:v>
                </c:pt>
                <c:pt idx="977">
                  <c:v>9.5000000000000001E-2</c:v>
                </c:pt>
                <c:pt idx="978">
                  <c:v>0.128</c:v>
                </c:pt>
                <c:pt idx="979">
                  <c:v>3.9E-2</c:v>
                </c:pt>
                <c:pt idx="980">
                  <c:v>4.4999999999999998E-2</c:v>
                </c:pt>
                <c:pt idx="981">
                  <c:v>9.8000000000000004E-2</c:v>
                </c:pt>
                <c:pt idx="982">
                  <c:v>0.06</c:v>
                </c:pt>
                <c:pt idx="983">
                  <c:v>1.4E-2</c:v>
                </c:pt>
                <c:pt idx="984">
                  <c:v>7.6999999999999999E-2</c:v>
                </c:pt>
                <c:pt idx="985">
                  <c:v>0.108</c:v>
                </c:pt>
                <c:pt idx="986">
                  <c:v>6.6000000000000003E-2</c:v>
                </c:pt>
                <c:pt idx="987">
                  <c:v>6.4000000000000001E-2</c:v>
                </c:pt>
                <c:pt idx="988">
                  <c:v>0.129</c:v>
                </c:pt>
                <c:pt idx="989">
                  <c:v>0.312</c:v>
                </c:pt>
                <c:pt idx="990">
                  <c:v>9.0999999999999998E-2</c:v>
                </c:pt>
                <c:pt idx="991">
                  <c:v>6.7000000000000004E-2</c:v>
                </c:pt>
                <c:pt idx="992">
                  <c:v>2.7E-2</c:v>
                </c:pt>
                <c:pt idx="993">
                  <c:v>2.8000000000000001E-2</c:v>
                </c:pt>
                <c:pt idx="994">
                  <c:v>5.8999999999999997E-2</c:v>
                </c:pt>
                <c:pt idx="995">
                  <c:v>0.35699999999999998</c:v>
                </c:pt>
                <c:pt idx="996">
                  <c:v>0.10100000000000001</c:v>
                </c:pt>
                <c:pt idx="997">
                  <c:v>5.6000000000000001E-2</c:v>
                </c:pt>
                <c:pt idx="998">
                  <c:v>8.8999999999999996E-2</c:v>
                </c:pt>
                <c:pt idx="999">
                  <c:v>2.9000000000000001E-2</c:v>
                </c:pt>
                <c:pt idx="1000">
                  <c:v>8.6999999999999994E-2</c:v>
                </c:pt>
                <c:pt idx="1001">
                  <c:v>1.0999999999999999E-2</c:v>
                </c:pt>
                <c:pt idx="1002">
                  <c:v>0.10199999999999999</c:v>
                </c:pt>
                <c:pt idx="1003">
                  <c:v>2.3E-2</c:v>
                </c:pt>
                <c:pt idx="1004">
                  <c:v>0.247</c:v>
                </c:pt>
                <c:pt idx="1005">
                  <c:v>0.29499999999999998</c:v>
                </c:pt>
                <c:pt idx="1006">
                  <c:v>3.3000000000000002E-2</c:v>
                </c:pt>
                <c:pt idx="1007">
                  <c:v>8.8999999999999996E-2</c:v>
                </c:pt>
                <c:pt idx="1008">
                  <c:v>0.04</c:v>
                </c:pt>
                <c:pt idx="1009">
                  <c:v>1.2999999999999999E-2</c:v>
                </c:pt>
                <c:pt idx="1010">
                  <c:v>8.2000000000000003E-2</c:v>
                </c:pt>
                <c:pt idx="1011">
                  <c:v>0.12</c:v>
                </c:pt>
                <c:pt idx="1012">
                  <c:v>7.4999999999999997E-2</c:v>
                </c:pt>
                <c:pt idx="1013">
                  <c:v>2.1999999999999999E-2</c:v>
                </c:pt>
                <c:pt idx="1014">
                  <c:v>3.6999999999999998E-2</c:v>
                </c:pt>
                <c:pt idx="1015">
                  <c:v>9.5000000000000001E-2</c:v>
                </c:pt>
                <c:pt idx="1016">
                  <c:v>8.2000000000000003E-2</c:v>
                </c:pt>
                <c:pt idx="1017">
                  <c:v>3.0000000000000001E-3</c:v>
                </c:pt>
                <c:pt idx="1018">
                  <c:v>1.4999999999999999E-2</c:v>
                </c:pt>
                <c:pt idx="1019">
                  <c:v>2.5999999999999999E-2</c:v>
                </c:pt>
                <c:pt idx="1020">
                  <c:v>6.5000000000000002E-2</c:v>
                </c:pt>
                <c:pt idx="1021">
                  <c:v>0.27600000000000002</c:v>
                </c:pt>
                <c:pt idx="1022">
                  <c:v>0.255</c:v>
                </c:pt>
                <c:pt idx="1023">
                  <c:v>3.0000000000000001E-3</c:v>
                </c:pt>
                <c:pt idx="1024">
                  <c:v>0.01</c:v>
                </c:pt>
                <c:pt idx="1025">
                  <c:v>0.01</c:v>
                </c:pt>
                <c:pt idx="1026">
                  <c:v>0.26400000000000001</c:v>
                </c:pt>
                <c:pt idx="1027">
                  <c:v>3.2000000000000001E-2</c:v>
                </c:pt>
                <c:pt idx="1028">
                  <c:v>0.03</c:v>
                </c:pt>
                <c:pt idx="1029">
                  <c:v>0.13300000000000001</c:v>
                </c:pt>
                <c:pt idx="1030">
                  <c:v>0.09</c:v>
                </c:pt>
                <c:pt idx="1031">
                  <c:v>6.8000000000000005E-2</c:v>
                </c:pt>
                <c:pt idx="1032">
                  <c:v>5.3999999999999999E-2</c:v>
                </c:pt>
                <c:pt idx="1033">
                  <c:v>4.3999999999999997E-2</c:v>
                </c:pt>
                <c:pt idx="1034">
                  <c:v>2.3E-2</c:v>
                </c:pt>
                <c:pt idx="1035">
                  <c:v>5.6000000000000001E-2</c:v>
                </c:pt>
                <c:pt idx="1036">
                  <c:v>4.8000000000000001E-2</c:v>
                </c:pt>
                <c:pt idx="1037">
                  <c:v>0.154</c:v>
                </c:pt>
                <c:pt idx="1038">
                  <c:v>0.09</c:v>
                </c:pt>
                <c:pt idx="1039">
                  <c:v>2.3E-2</c:v>
                </c:pt>
                <c:pt idx="1040">
                  <c:v>0.10299999999999999</c:v>
                </c:pt>
                <c:pt idx="1041">
                  <c:v>8.9999999999999993E-3</c:v>
                </c:pt>
                <c:pt idx="1042">
                  <c:v>0.125</c:v>
                </c:pt>
                <c:pt idx="1043">
                  <c:v>0.16800000000000001</c:v>
                </c:pt>
                <c:pt idx="1044">
                  <c:v>6.2E-2</c:v>
                </c:pt>
                <c:pt idx="1045">
                  <c:v>3.6999999999999998E-2</c:v>
                </c:pt>
                <c:pt idx="1046">
                  <c:v>3.2000000000000001E-2</c:v>
                </c:pt>
                <c:pt idx="1047">
                  <c:v>0.19700000000000001</c:v>
                </c:pt>
                <c:pt idx="1048">
                  <c:v>1.9E-2</c:v>
                </c:pt>
                <c:pt idx="1049">
                  <c:v>2.5999999999999999E-2</c:v>
                </c:pt>
                <c:pt idx="1050">
                  <c:v>2.8000000000000001E-2</c:v>
                </c:pt>
                <c:pt idx="1051">
                  <c:v>0.13600000000000001</c:v>
                </c:pt>
                <c:pt idx="1052">
                  <c:v>6.7000000000000004E-2</c:v>
                </c:pt>
                <c:pt idx="1053">
                  <c:v>1.4999999999999999E-2</c:v>
                </c:pt>
                <c:pt idx="1054">
                  <c:v>0.01</c:v>
                </c:pt>
                <c:pt idx="1055">
                  <c:v>6.8000000000000005E-2</c:v>
                </c:pt>
                <c:pt idx="1056">
                  <c:v>7.4999999999999997E-2</c:v>
                </c:pt>
                <c:pt idx="1057">
                  <c:v>6.7000000000000004E-2</c:v>
                </c:pt>
                <c:pt idx="1058">
                  <c:v>4.0000000000000001E-3</c:v>
                </c:pt>
                <c:pt idx="1059">
                  <c:v>6.5000000000000002E-2</c:v>
                </c:pt>
                <c:pt idx="1060">
                  <c:v>3.3000000000000002E-2</c:v>
                </c:pt>
                <c:pt idx="1061">
                  <c:v>0.08</c:v>
                </c:pt>
                <c:pt idx="1062">
                  <c:v>0.156</c:v>
                </c:pt>
                <c:pt idx="1063">
                  <c:v>6.0999999999999999E-2</c:v>
                </c:pt>
                <c:pt idx="1064">
                  <c:v>0.33400000000000002</c:v>
                </c:pt>
                <c:pt idx="1065">
                  <c:v>0.115</c:v>
                </c:pt>
                <c:pt idx="1066">
                  <c:v>0.01</c:v>
                </c:pt>
                <c:pt idx="1067">
                  <c:v>1.7999999999999999E-2</c:v>
                </c:pt>
                <c:pt idx="1068">
                  <c:v>0.12</c:v>
                </c:pt>
                <c:pt idx="1069">
                  <c:v>0.01</c:v>
                </c:pt>
                <c:pt idx="1070">
                  <c:v>7.1999999999999995E-2</c:v>
                </c:pt>
                <c:pt idx="1071">
                  <c:v>9.2999999999999999E-2</c:v>
                </c:pt>
                <c:pt idx="1072">
                  <c:v>8.6999999999999994E-2</c:v>
                </c:pt>
                <c:pt idx="1073">
                  <c:v>4.9000000000000002E-2</c:v>
                </c:pt>
                <c:pt idx="1074">
                  <c:v>0.111</c:v>
                </c:pt>
                <c:pt idx="1075">
                  <c:v>1E-3</c:v>
                </c:pt>
                <c:pt idx="1076">
                  <c:v>0.372</c:v>
                </c:pt>
                <c:pt idx="1077">
                  <c:v>6.9000000000000006E-2</c:v>
                </c:pt>
                <c:pt idx="1078">
                  <c:v>4.0000000000000001E-3</c:v>
                </c:pt>
                <c:pt idx="1079">
                  <c:v>1.4999999999999999E-2</c:v>
                </c:pt>
                <c:pt idx="1080">
                  <c:v>1.4E-2</c:v>
                </c:pt>
                <c:pt idx="1081">
                  <c:v>7.9000000000000001E-2</c:v>
                </c:pt>
                <c:pt idx="1082">
                  <c:v>7.4999999999999997E-2</c:v>
                </c:pt>
                <c:pt idx="1083">
                  <c:v>2.9000000000000001E-2</c:v>
                </c:pt>
                <c:pt idx="1084">
                  <c:v>2.1999999999999999E-2</c:v>
                </c:pt>
                <c:pt idx="1085">
                  <c:v>0.09</c:v>
                </c:pt>
                <c:pt idx="1086">
                  <c:v>9.6000000000000002E-2</c:v>
                </c:pt>
                <c:pt idx="1087">
                  <c:v>0.107</c:v>
                </c:pt>
                <c:pt idx="1088">
                  <c:v>3.3000000000000002E-2</c:v>
                </c:pt>
                <c:pt idx="1089">
                  <c:v>5.1999999999999998E-2</c:v>
                </c:pt>
                <c:pt idx="1090">
                  <c:v>0.04</c:v>
                </c:pt>
                <c:pt idx="1091">
                  <c:v>0.111</c:v>
                </c:pt>
                <c:pt idx="1092">
                  <c:v>9.4E-2</c:v>
                </c:pt>
                <c:pt idx="1093">
                  <c:v>1.4E-2</c:v>
                </c:pt>
                <c:pt idx="1094">
                  <c:v>2.1999999999999999E-2</c:v>
                </c:pt>
                <c:pt idx="1095">
                  <c:v>0.10199999999999999</c:v>
                </c:pt>
                <c:pt idx="1096">
                  <c:v>6.8000000000000005E-2</c:v>
                </c:pt>
                <c:pt idx="1097">
                  <c:v>0.154</c:v>
                </c:pt>
                <c:pt idx="1098">
                  <c:v>5.0000000000000001E-3</c:v>
                </c:pt>
                <c:pt idx="1099">
                  <c:v>1E-3</c:v>
                </c:pt>
                <c:pt idx="1100">
                  <c:v>4.3999999999999997E-2</c:v>
                </c:pt>
                <c:pt idx="1101">
                  <c:v>2.4E-2</c:v>
                </c:pt>
                <c:pt idx="1102">
                  <c:v>7.3999999999999996E-2</c:v>
                </c:pt>
                <c:pt idx="1103">
                  <c:v>1.0999999999999999E-2</c:v>
                </c:pt>
                <c:pt idx="1104">
                  <c:v>4.0000000000000001E-3</c:v>
                </c:pt>
                <c:pt idx="1105">
                  <c:v>4.9000000000000002E-2</c:v>
                </c:pt>
                <c:pt idx="1106">
                  <c:v>5.8000000000000003E-2</c:v>
                </c:pt>
                <c:pt idx="1107">
                  <c:v>5.0999999999999997E-2</c:v>
                </c:pt>
                <c:pt idx="1108">
                  <c:v>0.12</c:v>
                </c:pt>
                <c:pt idx="1109">
                  <c:v>2.5000000000000001E-2</c:v>
                </c:pt>
                <c:pt idx="1110">
                  <c:v>1.2999999999999999E-2</c:v>
                </c:pt>
                <c:pt idx="1111">
                  <c:v>1.9E-2</c:v>
                </c:pt>
                <c:pt idx="1112">
                  <c:v>8.0000000000000002E-3</c:v>
                </c:pt>
                <c:pt idx="1113">
                  <c:v>9.4E-2</c:v>
                </c:pt>
                <c:pt idx="1114">
                  <c:v>8.0000000000000002E-3</c:v>
                </c:pt>
                <c:pt idx="1115">
                  <c:v>0.14299999999999999</c:v>
                </c:pt>
                <c:pt idx="1116">
                  <c:v>8.0000000000000002E-3</c:v>
                </c:pt>
                <c:pt idx="1117">
                  <c:v>1.4E-2</c:v>
                </c:pt>
                <c:pt idx="1118">
                  <c:v>0.01</c:v>
                </c:pt>
                <c:pt idx="1119">
                  <c:v>0.02</c:v>
                </c:pt>
                <c:pt idx="1120">
                  <c:v>2.4E-2</c:v>
                </c:pt>
                <c:pt idx="1121">
                  <c:v>1.4E-2</c:v>
                </c:pt>
                <c:pt idx="1122">
                  <c:v>1.0999999999999999E-2</c:v>
                </c:pt>
                <c:pt idx="1123">
                  <c:v>8.9999999999999993E-3</c:v>
                </c:pt>
                <c:pt idx="1124">
                  <c:v>1.2E-2</c:v>
                </c:pt>
                <c:pt idx="1125">
                  <c:v>1.6E-2</c:v>
                </c:pt>
                <c:pt idx="1126">
                  <c:v>1.7000000000000001E-2</c:v>
                </c:pt>
                <c:pt idx="1127">
                  <c:v>1.2E-2</c:v>
                </c:pt>
                <c:pt idx="1128">
                  <c:v>1.2999999999999999E-2</c:v>
                </c:pt>
                <c:pt idx="1129">
                  <c:v>2.1999999999999999E-2</c:v>
                </c:pt>
                <c:pt idx="1130">
                  <c:v>2.9000000000000001E-2</c:v>
                </c:pt>
                <c:pt idx="1131">
                  <c:v>1.2999999999999999E-2</c:v>
                </c:pt>
                <c:pt idx="1132">
                  <c:v>0.01</c:v>
                </c:pt>
                <c:pt idx="1133">
                  <c:v>3.2000000000000001E-2</c:v>
                </c:pt>
                <c:pt idx="1134">
                  <c:v>3.0000000000000001E-3</c:v>
                </c:pt>
                <c:pt idx="1135">
                  <c:v>0.10299999999999999</c:v>
                </c:pt>
                <c:pt idx="1136">
                  <c:v>2.8000000000000001E-2</c:v>
                </c:pt>
                <c:pt idx="1137">
                  <c:v>1.4E-2</c:v>
                </c:pt>
                <c:pt idx="1138">
                  <c:v>0.111</c:v>
                </c:pt>
                <c:pt idx="1139">
                  <c:v>3.5000000000000003E-2</c:v>
                </c:pt>
                <c:pt idx="1140">
                  <c:v>6.4000000000000001E-2</c:v>
                </c:pt>
                <c:pt idx="1141">
                  <c:v>0.189</c:v>
                </c:pt>
                <c:pt idx="1142">
                  <c:v>9.4E-2</c:v>
                </c:pt>
                <c:pt idx="1143">
                  <c:v>3.3000000000000002E-2</c:v>
                </c:pt>
                <c:pt idx="1144">
                  <c:v>5.1999999999999998E-2</c:v>
                </c:pt>
                <c:pt idx="1145">
                  <c:v>1.0999999999999999E-2</c:v>
                </c:pt>
                <c:pt idx="1146">
                  <c:v>1.2E-2</c:v>
                </c:pt>
                <c:pt idx="1147">
                  <c:v>1.7999999999999999E-2</c:v>
                </c:pt>
                <c:pt idx="1148">
                  <c:v>6.7000000000000004E-2</c:v>
                </c:pt>
                <c:pt idx="1149">
                  <c:v>0.14499999999999999</c:v>
                </c:pt>
                <c:pt idx="1150">
                  <c:v>1.0999999999999999E-2</c:v>
                </c:pt>
                <c:pt idx="1151">
                  <c:v>8.9999999999999993E-3</c:v>
                </c:pt>
                <c:pt idx="1152">
                  <c:v>0.01</c:v>
                </c:pt>
                <c:pt idx="1153">
                  <c:v>5.8000000000000003E-2</c:v>
                </c:pt>
                <c:pt idx="1154">
                  <c:v>8.9999999999999993E-3</c:v>
                </c:pt>
                <c:pt idx="1155">
                  <c:v>0.03</c:v>
                </c:pt>
                <c:pt idx="1156">
                  <c:v>2.4E-2</c:v>
                </c:pt>
                <c:pt idx="1157">
                  <c:v>2.1999999999999999E-2</c:v>
                </c:pt>
                <c:pt idx="1158">
                  <c:v>0.08</c:v>
                </c:pt>
                <c:pt idx="1159">
                  <c:v>1.2999999999999999E-2</c:v>
                </c:pt>
                <c:pt idx="1160">
                  <c:v>1E-3</c:v>
                </c:pt>
                <c:pt idx="1161">
                  <c:v>2.7E-2</c:v>
                </c:pt>
                <c:pt idx="1162">
                  <c:v>8.9999999999999993E-3</c:v>
                </c:pt>
                <c:pt idx="1163">
                  <c:v>0.13300000000000001</c:v>
                </c:pt>
                <c:pt idx="1164">
                  <c:v>2.5000000000000001E-2</c:v>
                </c:pt>
                <c:pt idx="1165">
                  <c:v>3.5000000000000003E-2</c:v>
                </c:pt>
                <c:pt idx="1166">
                  <c:v>1.9E-2</c:v>
                </c:pt>
                <c:pt idx="1167">
                  <c:v>0.01</c:v>
                </c:pt>
                <c:pt idx="1168">
                  <c:v>2.8000000000000001E-2</c:v>
                </c:pt>
                <c:pt idx="1169">
                  <c:v>0.01</c:v>
                </c:pt>
                <c:pt idx="1170">
                  <c:v>7.6999999999999999E-2</c:v>
                </c:pt>
                <c:pt idx="1171">
                  <c:v>0.05</c:v>
                </c:pt>
                <c:pt idx="1172">
                  <c:v>8.9999999999999993E-3</c:v>
                </c:pt>
                <c:pt idx="1173">
                  <c:v>2.3E-2</c:v>
                </c:pt>
                <c:pt idx="1174">
                  <c:v>2.9000000000000001E-2</c:v>
                </c:pt>
                <c:pt idx="1175">
                  <c:v>3.0000000000000001E-3</c:v>
                </c:pt>
                <c:pt idx="1176">
                  <c:v>1.0999999999999999E-2</c:v>
                </c:pt>
                <c:pt idx="1177">
                  <c:v>0.113</c:v>
                </c:pt>
                <c:pt idx="1178">
                  <c:v>3.0000000000000001E-3</c:v>
                </c:pt>
                <c:pt idx="1179">
                  <c:v>0.01</c:v>
                </c:pt>
                <c:pt idx="1180">
                  <c:v>0.10299999999999999</c:v>
                </c:pt>
                <c:pt idx="1181">
                  <c:v>2.8000000000000001E-2</c:v>
                </c:pt>
                <c:pt idx="1182">
                  <c:v>0.01</c:v>
                </c:pt>
                <c:pt idx="1183">
                  <c:v>1.4E-2</c:v>
                </c:pt>
                <c:pt idx="1184">
                  <c:v>1.9E-2</c:v>
                </c:pt>
                <c:pt idx="1185">
                  <c:v>3.5000000000000003E-2</c:v>
                </c:pt>
                <c:pt idx="1186">
                  <c:v>1.4E-2</c:v>
                </c:pt>
                <c:pt idx="1187">
                  <c:v>1.4999999999999999E-2</c:v>
                </c:pt>
                <c:pt idx="1188">
                  <c:v>1.4E-2</c:v>
                </c:pt>
                <c:pt idx="1189">
                  <c:v>2.5000000000000001E-2</c:v>
                </c:pt>
                <c:pt idx="1190">
                  <c:v>9.2999999999999999E-2</c:v>
                </c:pt>
                <c:pt idx="1191">
                  <c:v>5.0999999999999997E-2</c:v>
                </c:pt>
                <c:pt idx="1192">
                  <c:v>0.01</c:v>
                </c:pt>
                <c:pt idx="1193">
                  <c:v>1.2999999999999999E-2</c:v>
                </c:pt>
                <c:pt idx="1194">
                  <c:v>7.0000000000000007E-2</c:v>
                </c:pt>
                <c:pt idx="1195">
                  <c:v>1.7000000000000001E-2</c:v>
                </c:pt>
                <c:pt idx="1196">
                  <c:v>2.3E-2</c:v>
                </c:pt>
                <c:pt idx="1197">
                  <c:v>0.12</c:v>
                </c:pt>
                <c:pt idx="1198">
                  <c:v>1E-3</c:v>
                </c:pt>
                <c:pt idx="1199">
                  <c:v>0.04</c:v>
                </c:pt>
                <c:pt idx="1200">
                  <c:v>6.7000000000000004E-2</c:v>
                </c:pt>
                <c:pt idx="1201">
                  <c:v>5.3999999999999999E-2</c:v>
                </c:pt>
                <c:pt idx="1202">
                  <c:v>9.4E-2</c:v>
                </c:pt>
                <c:pt idx="1203">
                  <c:v>1.9E-2</c:v>
                </c:pt>
                <c:pt idx="1204">
                  <c:v>0.02</c:v>
                </c:pt>
                <c:pt idx="1205">
                  <c:v>0.01</c:v>
                </c:pt>
                <c:pt idx="1206">
                  <c:v>1.6E-2</c:v>
                </c:pt>
                <c:pt idx="1207">
                  <c:v>2.3E-2</c:v>
                </c:pt>
                <c:pt idx="1208">
                  <c:v>2.9000000000000001E-2</c:v>
                </c:pt>
                <c:pt idx="1209">
                  <c:v>3.7999999999999999E-2</c:v>
                </c:pt>
                <c:pt idx="1210">
                  <c:v>4.5999999999999999E-2</c:v>
                </c:pt>
                <c:pt idx="1211">
                  <c:v>7.8E-2</c:v>
                </c:pt>
                <c:pt idx="1212">
                  <c:v>0.03</c:v>
                </c:pt>
                <c:pt idx="1213">
                  <c:v>4.5999999999999999E-2</c:v>
                </c:pt>
                <c:pt idx="1214">
                  <c:v>1.2999999999999999E-2</c:v>
                </c:pt>
                <c:pt idx="1215">
                  <c:v>1.4999999999999999E-2</c:v>
                </c:pt>
                <c:pt idx="1216">
                  <c:v>9.8000000000000004E-2</c:v>
                </c:pt>
                <c:pt idx="1217">
                  <c:v>0.01</c:v>
                </c:pt>
                <c:pt idx="1218">
                  <c:v>0.27100000000000002</c:v>
                </c:pt>
                <c:pt idx="1219">
                  <c:v>0.01</c:v>
                </c:pt>
                <c:pt idx="1220">
                  <c:v>0.01</c:v>
                </c:pt>
                <c:pt idx="1221">
                  <c:v>2.1000000000000001E-2</c:v>
                </c:pt>
                <c:pt idx="1222">
                  <c:v>1.4E-2</c:v>
                </c:pt>
                <c:pt idx="1223">
                  <c:v>2.7E-2</c:v>
                </c:pt>
                <c:pt idx="1224">
                  <c:v>1E-3</c:v>
                </c:pt>
                <c:pt idx="1225">
                  <c:v>6.4000000000000001E-2</c:v>
                </c:pt>
                <c:pt idx="1226">
                  <c:v>3.3000000000000002E-2</c:v>
                </c:pt>
                <c:pt idx="1227">
                  <c:v>1.2E-2</c:v>
                </c:pt>
                <c:pt idx="1228">
                  <c:v>2.1999999999999999E-2</c:v>
                </c:pt>
                <c:pt idx="1229">
                  <c:v>3.5999999999999997E-2</c:v>
                </c:pt>
                <c:pt idx="1230">
                  <c:v>2.3E-2</c:v>
                </c:pt>
                <c:pt idx="1231">
                  <c:v>2.5000000000000001E-2</c:v>
                </c:pt>
                <c:pt idx="1232">
                  <c:v>1.7999999999999999E-2</c:v>
                </c:pt>
                <c:pt idx="1233">
                  <c:v>3.7999999999999999E-2</c:v>
                </c:pt>
                <c:pt idx="1234">
                  <c:v>3.2000000000000001E-2</c:v>
                </c:pt>
                <c:pt idx="1235">
                  <c:v>5.0999999999999997E-2</c:v>
                </c:pt>
                <c:pt idx="1236">
                  <c:v>0.18099999999999999</c:v>
                </c:pt>
                <c:pt idx="1237">
                  <c:v>3.9E-2</c:v>
                </c:pt>
                <c:pt idx="1238">
                  <c:v>7.3999999999999996E-2</c:v>
                </c:pt>
                <c:pt idx="1239">
                  <c:v>0.01</c:v>
                </c:pt>
                <c:pt idx="1240">
                  <c:v>1.4999999999999999E-2</c:v>
                </c:pt>
                <c:pt idx="1241">
                  <c:v>1E-3</c:v>
                </c:pt>
                <c:pt idx="1242">
                  <c:v>4.8000000000000001E-2</c:v>
                </c:pt>
                <c:pt idx="1243">
                  <c:v>4.0000000000000001E-3</c:v>
                </c:pt>
                <c:pt idx="1244">
                  <c:v>2.8000000000000001E-2</c:v>
                </c:pt>
                <c:pt idx="1245">
                  <c:v>1.0999999999999999E-2</c:v>
                </c:pt>
                <c:pt idx="1246">
                  <c:v>9.7000000000000003E-2</c:v>
                </c:pt>
                <c:pt idx="1247">
                  <c:v>8.9999999999999993E-3</c:v>
                </c:pt>
                <c:pt idx="1248">
                  <c:v>1.4E-2</c:v>
                </c:pt>
                <c:pt idx="1249">
                  <c:v>8.9999999999999993E-3</c:v>
                </c:pt>
                <c:pt idx="1250">
                  <c:v>2.9000000000000001E-2</c:v>
                </c:pt>
                <c:pt idx="1251">
                  <c:v>1.2E-2</c:v>
                </c:pt>
                <c:pt idx="1252">
                  <c:v>3.3000000000000002E-2</c:v>
                </c:pt>
                <c:pt idx="1253">
                  <c:v>4.9000000000000002E-2</c:v>
                </c:pt>
                <c:pt idx="1254">
                  <c:v>7.0000000000000001E-3</c:v>
                </c:pt>
                <c:pt idx="1255">
                  <c:v>8.0000000000000002E-3</c:v>
                </c:pt>
                <c:pt idx="1256">
                  <c:v>1.7000000000000001E-2</c:v>
                </c:pt>
                <c:pt idx="1257">
                  <c:v>1.2E-2</c:v>
                </c:pt>
                <c:pt idx="1258">
                  <c:v>1.0999999999999999E-2</c:v>
                </c:pt>
                <c:pt idx="1259">
                  <c:v>1.9E-2</c:v>
                </c:pt>
                <c:pt idx="1260">
                  <c:v>5.8999999999999997E-2</c:v>
                </c:pt>
                <c:pt idx="1261">
                  <c:v>8.6999999999999994E-2</c:v>
                </c:pt>
                <c:pt idx="1262">
                  <c:v>0.09</c:v>
                </c:pt>
                <c:pt idx="1263">
                  <c:v>0.01</c:v>
                </c:pt>
                <c:pt idx="1264">
                  <c:v>1E-3</c:v>
                </c:pt>
                <c:pt idx="1265">
                  <c:v>1.2999999999999999E-2</c:v>
                </c:pt>
                <c:pt idx="1266">
                  <c:v>4.4999999999999998E-2</c:v>
                </c:pt>
                <c:pt idx="1267">
                  <c:v>8.9999999999999993E-3</c:v>
                </c:pt>
                <c:pt idx="1268">
                  <c:v>1.4E-2</c:v>
                </c:pt>
                <c:pt idx="1269">
                  <c:v>4.0000000000000001E-3</c:v>
                </c:pt>
                <c:pt idx="1270">
                  <c:v>0.02</c:v>
                </c:pt>
                <c:pt idx="1271">
                  <c:v>8.0000000000000002E-3</c:v>
                </c:pt>
                <c:pt idx="1272">
                  <c:v>1.4999999999999999E-2</c:v>
                </c:pt>
                <c:pt idx="1273">
                  <c:v>1E-3</c:v>
                </c:pt>
                <c:pt idx="1274">
                  <c:v>1.9E-2</c:v>
                </c:pt>
                <c:pt idx="1275">
                  <c:v>1.0999999999999999E-2</c:v>
                </c:pt>
                <c:pt idx="1276">
                  <c:v>1E-3</c:v>
                </c:pt>
                <c:pt idx="1277">
                  <c:v>2.1999999999999999E-2</c:v>
                </c:pt>
                <c:pt idx="1278">
                  <c:v>4.5999999999999999E-2</c:v>
                </c:pt>
                <c:pt idx="1279">
                  <c:v>8.9999999999999993E-3</c:v>
                </c:pt>
                <c:pt idx="1280">
                  <c:v>4.2999999999999997E-2</c:v>
                </c:pt>
                <c:pt idx="1281">
                  <c:v>8.9999999999999993E-3</c:v>
                </c:pt>
                <c:pt idx="1282">
                  <c:v>0.03</c:v>
                </c:pt>
                <c:pt idx="1283">
                  <c:v>1E-3</c:v>
                </c:pt>
                <c:pt idx="1284">
                  <c:v>0.01</c:v>
                </c:pt>
                <c:pt idx="1285">
                  <c:v>8.9999999999999993E-3</c:v>
                </c:pt>
                <c:pt idx="1286">
                  <c:v>8.0000000000000002E-3</c:v>
                </c:pt>
                <c:pt idx="1287">
                  <c:v>3.5999999999999997E-2</c:v>
                </c:pt>
                <c:pt idx="1288">
                  <c:v>8.9999999999999993E-3</c:v>
                </c:pt>
                <c:pt idx="1289">
                  <c:v>1E-3</c:v>
                </c:pt>
                <c:pt idx="1290">
                  <c:v>1.4999999999999999E-2</c:v>
                </c:pt>
                <c:pt idx="1291">
                  <c:v>0.01</c:v>
                </c:pt>
                <c:pt idx="1292">
                  <c:v>8.9999999999999993E-3</c:v>
                </c:pt>
                <c:pt idx="1293">
                  <c:v>4.0000000000000001E-3</c:v>
                </c:pt>
                <c:pt idx="1294">
                  <c:v>6.0999999999999999E-2</c:v>
                </c:pt>
                <c:pt idx="1295">
                  <c:v>3.4000000000000002E-2</c:v>
                </c:pt>
                <c:pt idx="1296">
                  <c:v>1.7999999999999999E-2</c:v>
                </c:pt>
                <c:pt idx="1297">
                  <c:v>1.4E-2</c:v>
                </c:pt>
                <c:pt idx="1298">
                  <c:v>0.03</c:v>
                </c:pt>
                <c:pt idx="1299">
                  <c:v>3.1E-2</c:v>
                </c:pt>
                <c:pt idx="1300">
                  <c:v>0.01</c:v>
                </c:pt>
                <c:pt idx="1301">
                  <c:v>1.2999999999999999E-2</c:v>
                </c:pt>
                <c:pt idx="1302">
                  <c:v>0.03</c:v>
                </c:pt>
                <c:pt idx="1303">
                  <c:v>1.4E-2</c:v>
                </c:pt>
                <c:pt idx="1304">
                  <c:v>2.3E-2</c:v>
                </c:pt>
                <c:pt idx="1305">
                  <c:v>2E-3</c:v>
                </c:pt>
                <c:pt idx="1306">
                  <c:v>1.2999999999999999E-2</c:v>
                </c:pt>
                <c:pt idx="1307">
                  <c:v>0.08</c:v>
                </c:pt>
                <c:pt idx="1308">
                  <c:v>1.2999999999999999E-2</c:v>
                </c:pt>
                <c:pt idx="1309">
                  <c:v>1.2E-2</c:v>
                </c:pt>
                <c:pt idx="1310">
                  <c:v>5.1999999999999998E-2</c:v>
                </c:pt>
                <c:pt idx="1311">
                  <c:v>8.0000000000000002E-3</c:v>
                </c:pt>
                <c:pt idx="1312">
                  <c:v>4.0000000000000001E-3</c:v>
                </c:pt>
                <c:pt idx="1313">
                  <c:v>0.04</c:v>
                </c:pt>
                <c:pt idx="1314">
                  <c:v>7.1999999999999995E-2</c:v>
                </c:pt>
                <c:pt idx="1315">
                  <c:v>3.3000000000000002E-2</c:v>
                </c:pt>
                <c:pt idx="1316">
                  <c:v>1.2999999999999999E-2</c:v>
                </c:pt>
                <c:pt idx="1317">
                  <c:v>1.2E-2</c:v>
                </c:pt>
                <c:pt idx="1318">
                  <c:v>5.0999999999999997E-2</c:v>
                </c:pt>
                <c:pt idx="1319">
                  <c:v>1E-3</c:v>
                </c:pt>
                <c:pt idx="1320">
                  <c:v>5.1999999999999998E-2</c:v>
                </c:pt>
                <c:pt idx="1321">
                  <c:v>1.7000000000000001E-2</c:v>
                </c:pt>
                <c:pt idx="1322">
                  <c:v>0.04</c:v>
                </c:pt>
                <c:pt idx="1323">
                  <c:v>1.9E-2</c:v>
                </c:pt>
                <c:pt idx="1324">
                  <c:v>1.2999999999999999E-2</c:v>
                </c:pt>
                <c:pt idx="1325">
                  <c:v>2.9000000000000001E-2</c:v>
                </c:pt>
                <c:pt idx="1326">
                  <c:v>3.0000000000000001E-3</c:v>
                </c:pt>
                <c:pt idx="1327">
                  <c:v>1E-3</c:v>
                </c:pt>
                <c:pt idx="1328">
                  <c:v>5.5E-2</c:v>
                </c:pt>
                <c:pt idx="1329">
                  <c:v>1.7999999999999999E-2</c:v>
                </c:pt>
                <c:pt idx="1330">
                  <c:v>1.9E-2</c:v>
                </c:pt>
                <c:pt idx="1331">
                  <c:v>1E-3</c:v>
                </c:pt>
                <c:pt idx="1332">
                  <c:v>8.9999999999999993E-3</c:v>
                </c:pt>
                <c:pt idx="1333">
                  <c:v>5.5E-2</c:v>
                </c:pt>
                <c:pt idx="1334">
                  <c:v>8.0000000000000002E-3</c:v>
                </c:pt>
                <c:pt idx="1335">
                  <c:v>8.0000000000000002E-3</c:v>
                </c:pt>
                <c:pt idx="1336">
                  <c:v>8.9999999999999993E-3</c:v>
                </c:pt>
                <c:pt idx="1337">
                  <c:v>8.0000000000000002E-3</c:v>
                </c:pt>
                <c:pt idx="1338">
                  <c:v>2.4E-2</c:v>
                </c:pt>
                <c:pt idx="1339">
                  <c:v>1E-3</c:v>
                </c:pt>
                <c:pt idx="1340">
                  <c:v>0.02</c:v>
                </c:pt>
                <c:pt idx="1341">
                  <c:v>8.9999999999999993E-3</c:v>
                </c:pt>
                <c:pt idx="1342">
                  <c:v>5.0999999999999997E-2</c:v>
                </c:pt>
                <c:pt idx="1343">
                  <c:v>8.0000000000000002E-3</c:v>
                </c:pt>
                <c:pt idx="1344">
                  <c:v>0.01</c:v>
                </c:pt>
                <c:pt idx="1345">
                  <c:v>8.0000000000000002E-3</c:v>
                </c:pt>
                <c:pt idx="1346">
                  <c:v>1E-3</c:v>
                </c:pt>
                <c:pt idx="1347">
                  <c:v>8.0000000000000002E-3</c:v>
                </c:pt>
                <c:pt idx="1348">
                  <c:v>5.2999999999999999E-2</c:v>
                </c:pt>
                <c:pt idx="1349">
                  <c:v>0.01</c:v>
                </c:pt>
                <c:pt idx="1350">
                  <c:v>8.9999999999999993E-3</c:v>
                </c:pt>
                <c:pt idx="1351">
                  <c:v>2.9000000000000001E-2</c:v>
                </c:pt>
                <c:pt idx="1352">
                  <c:v>8.0000000000000002E-3</c:v>
                </c:pt>
                <c:pt idx="1353">
                  <c:v>4.2000000000000003E-2</c:v>
                </c:pt>
                <c:pt idx="1354">
                  <c:v>8.0000000000000002E-3</c:v>
                </c:pt>
                <c:pt idx="1355">
                  <c:v>0.02</c:v>
                </c:pt>
                <c:pt idx="1356">
                  <c:v>1.4E-2</c:v>
                </c:pt>
                <c:pt idx="1357">
                  <c:v>1.0999999999999999E-2</c:v>
                </c:pt>
                <c:pt idx="1358">
                  <c:v>0.01</c:v>
                </c:pt>
                <c:pt idx="1359">
                  <c:v>0.02</c:v>
                </c:pt>
                <c:pt idx="1360">
                  <c:v>4.8000000000000001E-2</c:v>
                </c:pt>
                <c:pt idx="1361">
                  <c:v>1.2999999999999999E-2</c:v>
                </c:pt>
                <c:pt idx="1362">
                  <c:v>1E-3</c:v>
                </c:pt>
                <c:pt idx="1363">
                  <c:v>1.2999999999999999E-2</c:v>
                </c:pt>
                <c:pt idx="1364">
                  <c:v>1.0999999999999999E-2</c:v>
                </c:pt>
                <c:pt idx="1365">
                  <c:v>2.1999999999999999E-2</c:v>
                </c:pt>
                <c:pt idx="1366">
                  <c:v>5.0000000000000001E-3</c:v>
                </c:pt>
                <c:pt idx="1367">
                  <c:v>1.4999999999999999E-2</c:v>
                </c:pt>
                <c:pt idx="1368">
                  <c:v>8.9999999999999993E-3</c:v>
                </c:pt>
                <c:pt idx="1369">
                  <c:v>4.0000000000000001E-3</c:v>
                </c:pt>
                <c:pt idx="1370">
                  <c:v>8.9999999999999993E-3</c:v>
                </c:pt>
                <c:pt idx="1371">
                  <c:v>1E-3</c:v>
                </c:pt>
                <c:pt idx="1372">
                  <c:v>8.0000000000000002E-3</c:v>
                </c:pt>
                <c:pt idx="1373">
                  <c:v>1.2999999999999999E-2</c:v>
                </c:pt>
                <c:pt idx="1374">
                  <c:v>3.0000000000000001E-3</c:v>
                </c:pt>
                <c:pt idx="1375">
                  <c:v>1.9E-2</c:v>
                </c:pt>
                <c:pt idx="1376">
                  <c:v>1.7999999999999999E-2</c:v>
                </c:pt>
                <c:pt idx="1377">
                  <c:v>1.7999999999999999E-2</c:v>
                </c:pt>
                <c:pt idx="1378">
                  <c:v>4.1000000000000002E-2</c:v>
                </c:pt>
                <c:pt idx="1379">
                  <c:v>0.01</c:v>
                </c:pt>
                <c:pt idx="1380">
                  <c:v>1.2E-2</c:v>
                </c:pt>
                <c:pt idx="1381">
                  <c:v>0.01</c:v>
                </c:pt>
                <c:pt idx="1382">
                  <c:v>8.0000000000000002E-3</c:v>
                </c:pt>
                <c:pt idx="1383">
                  <c:v>4.0000000000000001E-3</c:v>
                </c:pt>
                <c:pt idx="1384">
                  <c:v>1E-3</c:v>
                </c:pt>
                <c:pt idx="1385">
                  <c:v>4.0000000000000001E-3</c:v>
                </c:pt>
                <c:pt idx="1386">
                  <c:v>0.02</c:v>
                </c:pt>
                <c:pt idx="1387">
                  <c:v>1E-3</c:v>
                </c:pt>
                <c:pt idx="1388">
                  <c:v>4.2000000000000003E-2</c:v>
                </c:pt>
                <c:pt idx="1389">
                  <c:v>0.01</c:v>
                </c:pt>
                <c:pt idx="1390">
                  <c:v>1E-3</c:v>
                </c:pt>
                <c:pt idx="1391">
                  <c:v>8.9999999999999993E-3</c:v>
                </c:pt>
                <c:pt idx="1392">
                  <c:v>1.9E-2</c:v>
                </c:pt>
                <c:pt idx="1393">
                  <c:v>1.2E-2</c:v>
                </c:pt>
                <c:pt idx="1394">
                  <c:v>1.9E-2</c:v>
                </c:pt>
                <c:pt idx="1395">
                  <c:v>0.01</c:v>
                </c:pt>
                <c:pt idx="1396">
                  <c:v>3.2000000000000001E-2</c:v>
                </c:pt>
                <c:pt idx="1397">
                  <c:v>3.2000000000000001E-2</c:v>
                </c:pt>
                <c:pt idx="1398">
                  <c:v>1.6E-2</c:v>
                </c:pt>
                <c:pt idx="1399">
                  <c:v>0.01</c:v>
                </c:pt>
                <c:pt idx="1400">
                  <c:v>7.0000000000000001E-3</c:v>
                </c:pt>
                <c:pt idx="1401">
                  <c:v>0.01</c:v>
                </c:pt>
                <c:pt idx="1402">
                  <c:v>2.4E-2</c:v>
                </c:pt>
                <c:pt idx="1403">
                  <c:v>8.0000000000000002E-3</c:v>
                </c:pt>
                <c:pt idx="1404">
                  <c:v>1E-3</c:v>
                </c:pt>
                <c:pt idx="1405">
                  <c:v>8.0000000000000002E-3</c:v>
                </c:pt>
                <c:pt idx="1406">
                  <c:v>1E-3</c:v>
                </c:pt>
                <c:pt idx="1407">
                  <c:v>8.9999999999999993E-3</c:v>
                </c:pt>
                <c:pt idx="1408">
                  <c:v>4.5999999999999999E-2</c:v>
                </c:pt>
                <c:pt idx="1409">
                  <c:v>2.4E-2</c:v>
                </c:pt>
                <c:pt idx="1410">
                  <c:v>1.2E-2</c:v>
                </c:pt>
                <c:pt idx="1411">
                  <c:v>1.4999999999999999E-2</c:v>
                </c:pt>
                <c:pt idx="1412">
                  <c:v>3.0000000000000001E-3</c:v>
                </c:pt>
                <c:pt idx="1413">
                  <c:v>1.4999999999999999E-2</c:v>
                </c:pt>
                <c:pt idx="1414">
                  <c:v>8.9999999999999993E-3</c:v>
                </c:pt>
                <c:pt idx="1415">
                  <c:v>1.4E-2</c:v>
                </c:pt>
                <c:pt idx="1416">
                  <c:v>8.0000000000000002E-3</c:v>
                </c:pt>
                <c:pt idx="1417">
                  <c:v>3.0000000000000001E-3</c:v>
                </c:pt>
                <c:pt idx="1418">
                  <c:v>4.0000000000000001E-3</c:v>
                </c:pt>
                <c:pt idx="1419">
                  <c:v>4.0000000000000001E-3</c:v>
                </c:pt>
                <c:pt idx="1420">
                  <c:v>8.0000000000000002E-3</c:v>
                </c:pt>
                <c:pt idx="1421">
                  <c:v>8.9999999999999993E-3</c:v>
                </c:pt>
                <c:pt idx="1422">
                  <c:v>1.2E-2</c:v>
                </c:pt>
                <c:pt idx="1423">
                  <c:v>2.7E-2</c:v>
                </c:pt>
                <c:pt idx="1424">
                  <c:v>8.9999999999999993E-3</c:v>
                </c:pt>
                <c:pt idx="1425">
                  <c:v>3.5000000000000003E-2</c:v>
                </c:pt>
                <c:pt idx="1426">
                  <c:v>5.0000000000000001E-3</c:v>
                </c:pt>
                <c:pt idx="1427">
                  <c:v>2.1000000000000001E-2</c:v>
                </c:pt>
                <c:pt idx="1428">
                  <c:v>2.1000000000000001E-2</c:v>
                </c:pt>
                <c:pt idx="1429">
                  <c:v>0.03</c:v>
                </c:pt>
                <c:pt idx="1430">
                  <c:v>2.1999999999999999E-2</c:v>
                </c:pt>
                <c:pt idx="1431">
                  <c:v>2.1999999999999999E-2</c:v>
                </c:pt>
                <c:pt idx="1432">
                  <c:v>8.9999999999999993E-3</c:v>
                </c:pt>
                <c:pt idx="1433">
                  <c:v>0.01</c:v>
                </c:pt>
                <c:pt idx="1434">
                  <c:v>1.4999999999999999E-2</c:v>
                </c:pt>
                <c:pt idx="1435">
                  <c:v>1E-3</c:v>
                </c:pt>
                <c:pt idx="1436">
                  <c:v>8.0000000000000002E-3</c:v>
                </c:pt>
                <c:pt idx="1437">
                  <c:v>1.0999999999999999E-2</c:v>
                </c:pt>
                <c:pt idx="1438">
                  <c:v>2.1999999999999999E-2</c:v>
                </c:pt>
                <c:pt idx="1439">
                  <c:v>1.2E-2</c:v>
                </c:pt>
                <c:pt idx="1440">
                  <c:v>1E-3</c:v>
                </c:pt>
                <c:pt idx="1441">
                  <c:v>0.01</c:v>
                </c:pt>
                <c:pt idx="1442">
                  <c:v>7.0000000000000001E-3</c:v>
                </c:pt>
                <c:pt idx="1443">
                  <c:v>2.1000000000000001E-2</c:v>
                </c:pt>
                <c:pt idx="1444">
                  <c:v>3.0000000000000001E-3</c:v>
                </c:pt>
                <c:pt idx="1445">
                  <c:v>1.2999999999999999E-2</c:v>
                </c:pt>
                <c:pt idx="1446">
                  <c:v>4.3999999999999997E-2</c:v>
                </c:pt>
                <c:pt idx="1447">
                  <c:v>0.02</c:v>
                </c:pt>
                <c:pt idx="1448">
                  <c:v>8.0000000000000002E-3</c:v>
                </c:pt>
                <c:pt idx="1449">
                  <c:v>0.01</c:v>
                </c:pt>
                <c:pt idx="1450">
                  <c:v>8.9999999999999993E-3</c:v>
                </c:pt>
                <c:pt idx="1451">
                  <c:v>8.0000000000000002E-3</c:v>
                </c:pt>
                <c:pt idx="1452">
                  <c:v>1.2E-2</c:v>
                </c:pt>
                <c:pt idx="1453">
                  <c:v>1E-3</c:v>
                </c:pt>
                <c:pt idx="1454">
                  <c:v>3.0000000000000001E-3</c:v>
                </c:pt>
                <c:pt idx="1455">
                  <c:v>1.2999999999999999E-2</c:v>
                </c:pt>
                <c:pt idx="1456">
                  <c:v>1.2999999999999999E-2</c:v>
                </c:pt>
                <c:pt idx="1457">
                  <c:v>1E-3</c:v>
                </c:pt>
                <c:pt idx="1458">
                  <c:v>1E-3</c:v>
                </c:pt>
                <c:pt idx="1459">
                  <c:v>2.5000000000000001E-2</c:v>
                </c:pt>
                <c:pt idx="1460">
                  <c:v>0.01</c:v>
                </c:pt>
                <c:pt idx="1461">
                  <c:v>3.0000000000000001E-3</c:v>
                </c:pt>
                <c:pt idx="1462">
                  <c:v>0.01</c:v>
                </c:pt>
                <c:pt idx="1463">
                  <c:v>1E-3</c:v>
                </c:pt>
                <c:pt idx="1464">
                  <c:v>3.0000000000000001E-3</c:v>
                </c:pt>
                <c:pt idx="1465">
                  <c:v>3.0000000000000001E-3</c:v>
                </c:pt>
                <c:pt idx="1466">
                  <c:v>4.0000000000000001E-3</c:v>
                </c:pt>
                <c:pt idx="1467">
                  <c:v>1.0999999999999999E-2</c:v>
                </c:pt>
                <c:pt idx="1468">
                  <c:v>0.01</c:v>
                </c:pt>
                <c:pt idx="1469">
                  <c:v>1.2999999999999999E-2</c:v>
                </c:pt>
                <c:pt idx="1470">
                  <c:v>1E-3</c:v>
                </c:pt>
                <c:pt idx="1471">
                  <c:v>2.8000000000000001E-2</c:v>
                </c:pt>
                <c:pt idx="1472">
                  <c:v>1.2E-2</c:v>
                </c:pt>
                <c:pt idx="1473">
                  <c:v>0.112</c:v>
                </c:pt>
                <c:pt idx="1474">
                  <c:v>1.2999999999999999E-2</c:v>
                </c:pt>
                <c:pt idx="1475">
                  <c:v>8.0000000000000002E-3</c:v>
                </c:pt>
                <c:pt idx="1476">
                  <c:v>1E-3</c:v>
                </c:pt>
                <c:pt idx="1477">
                  <c:v>1.7999999999999999E-2</c:v>
                </c:pt>
                <c:pt idx="1478">
                  <c:v>3.0000000000000001E-3</c:v>
                </c:pt>
                <c:pt idx="1479">
                  <c:v>2E-3</c:v>
                </c:pt>
                <c:pt idx="1480">
                  <c:v>8.0000000000000002E-3</c:v>
                </c:pt>
                <c:pt idx="1481">
                  <c:v>1E-3</c:v>
                </c:pt>
                <c:pt idx="1482">
                  <c:v>1E-3</c:v>
                </c:pt>
                <c:pt idx="1483">
                  <c:v>7.0000000000000001E-3</c:v>
                </c:pt>
                <c:pt idx="1484">
                  <c:v>3.0000000000000001E-3</c:v>
                </c:pt>
                <c:pt idx="1485">
                  <c:v>8.9999999999999993E-3</c:v>
                </c:pt>
                <c:pt idx="1486">
                  <c:v>1.2E-2</c:v>
                </c:pt>
                <c:pt idx="1487">
                  <c:v>1E-3</c:v>
                </c:pt>
                <c:pt idx="1488">
                  <c:v>4.4999999999999998E-2</c:v>
                </c:pt>
                <c:pt idx="1489">
                  <c:v>8.0000000000000002E-3</c:v>
                </c:pt>
                <c:pt idx="1490">
                  <c:v>8.9999999999999993E-3</c:v>
                </c:pt>
                <c:pt idx="1491">
                  <c:v>2E-3</c:v>
                </c:pt>
                <c:pt idx="1492">
                  <c:v>1.4E-2</c:v>
                </c:pt>
                <c:pt idx="1493">
                  <c:v>1.2999999999999999E-2</c:v>
                </c:pt>
                <c:pt idx="1494">
                  <c:v>8.9999999999999993E-3</c:v>
                </c:pt>
                <c:pt idx="1495">
                  <c:v>8.9999999999999993E-3</c:v>
                </c:pt>
                <c:pt idx="1496">
                  <c:v>0.03</c:v>
                </c:pt>
                <c:pt idx="1497">
                  <c:v>8.9999999999999993E-3</c:v>
                </c:pt>
                <c:pt idx="1498">
                  <c:v>4.0000000000000001E-3</c:v>
                </c:pt>
                <c:pt idx="1499">
                  <c:v>5.0000000000000001E-3</c:v>
                </c:pt>
                <c:pt idx="1500">
                  <c:v>1E-3</c:v>
                </c:pt>
                <c:pt idx="1501">
                  <c:v>4.0000000000000001E-3</c:v>
                </c:pt>
                <c:pt idx="1502">
                  <c:v>1.0999999999999999E-2</c:v>
                </c:pt>
                <c:pt idx="1503">
                  <c:v>8.0000000000000002E-3</c:v>
                </c:pt>
                <c:pt idx="1504">
                  <c:v>0.01</c:v>
                </c:pt>
                <c:pt idx="1505">
                  <c:v>0.03</c:v>
                </c:pt>
                <c:pt idx="1506">
                  <c:v>4.0000000000000001E-3</c:v>
                </c:pt>
                <c:pt idx="1507">
                  <c:v>1E-3</c:v>
                </c:pt>
                <c:pt idx="1508">
                  <c:v>8.9999999999999993E-3</c:v>
                </c:pt>
                <c:pt idx="1509">
                  <c:v>1E-3</c:v>
                </c:pt>
                <c:pt idx="1510">
                  <c:v>1E-3</c:v>
                </c:pt>
                <c:pt idx="1511">
                  <c:v>2E-3</c:v>
                </c:pt>
                <c:pt idx="1512">
                  <c:v>0.01</c:v>
                </c:pt>
                <c:pt idx="1513">
                  <c:v>1E-3</c:v>
                </c:pt>
                <c:pt idx="1514">
                  <c:v>5.0000000000000001E-3</c:v>
                </c:pt>
                <c:pt idx="1515">
                  <c:v>4.0000000000000001E-3</c:v>
                </c:pt>
                <c:pt idx="1516">
                  <c:v>1E-3</c:v>
                </c:pt>
                <c:pt idx="1517">
                  <c:v>1.2E-2</c:v>
                </c:pt>
                <c:pt idx="1518">
                  <c:v>8.0000000000000002E-3</c:v>
                </c:pt>
                <c:pt idx="1519">
                  <c:v>5.0000000000000001E-3</c:v>
                </c:pt>
                <c:pt idx="1520">
                  <c:v>1E-3</c:v>
                </c:pt>
                <c:pt idx="1521">
                  <c:v>8.9999999999999993E-3</c:v>
                </c:pt>
                <c:pt idx="1522">
                  <c:v>8.0000000000000002E-3</c:v>
                </c:pt>
                <c:pt idx="1523">
                  <c:v>1.4999999999999999E-2</c:v>
                </c:pt>
                <c:pt idx="1524">
                  <c:v>4.0000000000000001E-3</c:v>
                </c:pt>
                <c:pt idx="1525">
                  <c:v>8.0000000000000002E-3</c:v>
                </c:pt>
                <c:pt idx="1526">
                  <c:v>3.0000000000000001E-3</c:v>
                </c:pt>
                <c:pt idx="1527">
                  <c:v>1.4E-2</c:v>
                </c:pt>
                <c:pt idx="1528">
                  <c:v>8.0000000000000002E-3</c:v>
                </c:pt>
                <c:pt idx="1529">
                  <c:v>1E-3</c:v>
                </c:pt>
                <c:pt idx="1530">
                  <c:v>8.0000000000000002E-3</c:v>
                </c:pt>
                <c:pt idx="1531">
                  <c:v>0.01</c:v>
                </c:pt>
                <c:pt idx="1532">
                  <c:v>1E-3</c:v>
                </c:pt>
                <c:pt idx="1533">
                  <c:v>8.9999999999999993E-3</c:v>
                </c:pt>
                <c:pt idx="1534">
                  <c:v>1E-3</c:v>
                </c:pt>
                <c:pt idx="1535">
                  <c:v>1E-3</c:v>
                </c:pt>
                <c:pt idx="1536">
                  <c:v>1E-3</c:v>
                </c:pt>
                <c:pt idx="1537">
                  <c:v>1E-3</c:v>
                </c:pt>
                <c:pt idx="1538">
                  <c:v>1E-3</c:v>
                </c:pt>
                <c:pt idx="1539">
                  <c:v>2E-3</c:v>
                </c:pt>
                <c:pt idx="1540">
                  <c:v>2.3E-2</c:v>
                </c:pt>
                <c:pt idx="1541">
                  <c:v>8.0000000000000002E-3</c:v>
                </c:pt>
                <c:pt idx="1542">
                  <c:v>1E-3</c:v>
                </c:pt>
                <c:pt idx="1543">
                  <c:v>1.2999999999999999E-2</c:v>
                </c:pt>
                <c:pt idx="1544">
                  <c:v>3.0000000000000001E-3</c:v>
                </c:pt>
                <c:pt idx="1545">
                  <c:v>2E-3</c:v>
                </c:pt>
                <c:pt idx="1546">
                  <c:v>1E-3</c:v>
                </c:pt>
                <c:pt idx="1547">
                  <c:v>1E-3</c:v>
                </c:pt>
                <c:pt idx="1548">
                  <c:v>1E-3</c:v>
                </c:pt>
                <c:pt idx="1549">
                  <c:v>1E-3</c:v>
                </c:pt>
                <c:pt idx="1550">
                  <c:v>1E-3</c:v>
                </c:pt>
                <c:pt idx="1551">
                  <c:v>8.0000000000000002E-3</c:v>
                </c:pt>
                <c:pt idx="1552">
                  <c:v>0.02</c:v>
                </c:pt>
                <c:pt idx="1553">
                  <c:v>3.0000000000000001E-3</c:v>
                </c:pt>
                <c:pt idx="1554">
                  <c:v>1E-3</c:v>
                </c:pt>
                <c:pt idx="1555">
                  <c:v>1E-3</c:v>
                </c:pt>
                <c:pt idx="1556">
                  <c:v>3.0000000000000001E-3</c:v>
                </c:pt>
                <c:pt idx="1557">
                  <c:v>4.0000000000000001E-3</c:v>
                </c:pt>
                <c:pt idx="1558">
                  <c:v>0.01</c:v>
                </c:pt>
                <c:pt idx="1559">
                  <c:v>1.9E-2</c:v>
                </c:pt>
                <c:pt idx="1560">
                  <c:v>8.0000000000000002E-3</c:v>
                </c:pt>
                <c:pt idx="1561">
                  <c:v>1E-3</c:v>
                </c:pt>
                <c:pt idx="1562">
                  <c:v>0.01</c:v>
                </c:pt>
                <c:pt idx="1563">
                  <c:v>3.0000000000000001E-3</c:v>
                </c:pt>
                <c:pt idx="1564">
                  <c:v>1.2E-2</c:v>
                </c:pt>
                <c:pt idx="1565">
                  <c:v>5.0000000000000001E-3</c:v>
                </c:pt>
                <c:pt idx="1566">
                  <c:v>1E-3</c:v>
                </c:pt>
                <c:pt idx="1567">
                  <c:v>1E-3</c:v>
                </c:pt>
                <c:pt idx="1568">
                  <c:v>1E-3</c:v>
                </c:pt>
                <c:pt idx="1569">
                  <c:v>1.4999999999999999E-2</c:v>
                </c:pt>
                <c:pt idx="1570">
                  <c:v>1E-3</c:v>
                </c:pt>
                <c:pt idx="1571">
                  <c:v>8.9999999999999993E-3</c:v>
                </c:pt>
                <c:pt idx="1572">
                  <c:v>1E-3</c:v>
                </c:pt>
                <c:pt idx="1573">
                  <c:v>1E-3</c:v>
                </c:pt>
                <c:pt idx="1574">
                  <c:v>3.0000000000000001E-3</c:v>
                </c:pt>
                <c:pt idx="1575">
                  <c:v>1E-3</c:v>
                </c:pt>
                <c:pt idx="1576">
                  <c:v>3.0000000000000001E-3</c:v>
                </c:pt>
                <c:pt idx="1577">
                  <c:v>1E-3</c:v>
                </c:pt>
                <c:pt idx="1578">
                  <c:v>8.0000000000000002E-3</c:v>
                </c:pt>
                <c:pt idx="1579">
                  <c:v>1E-3</c:v>
                </c:pt>
                <c:pt idx="1580">
                  <c:v>1E-3</c:v>
                </c:pt>
                <c:pt idx="1581">
                  <c:v>1E-3</c:v>
                </c:pt>
                <c:pt idx="1582">
                  <c:v>1E-3</c:v>
                </c:pt>
                <c:pt idx="1583">
                  <c:v>1E-3</c:v>
                </c:pt>
                <c:pt idx="1584">
                  <c:v>8.0000000000000002E-3</c:v>
                </c:pt>
                <c:pt idx="1585">
                  <c:v>3.0000000000000001E-3</c:v>
                </c:pt>
                <c:pt idx="1586">
                  <c:v>3.0000000000000001E-3</c:v>
                </c:pt>
                <c:pt idx="1587">
                  <c:v>1E-3</c:v>
                </c:pt>
                <c:pt idx="1588">
                  <c:v>1E-3</c:v>
                </c:pt>
                <c:pt idx="1589">
                  <c:v>3.0000000000000001E-3</c:v>
                </c:pt>
                <c:pt idx="1590">
                  <c:v>1E-3</c:v>
                </c:pt>
                <c:pt idx="1591">
                  <c:v>1E-3</c:v>
                </c:pt>
                <c:pt idx="1592">
                  <c:v>1E-3</c:v>
                </c:pt>
                <c:pt idx="1593">
                  <c:v>1E-3</c:v>
                </c:pt>
                <c:pt idx="1594">
                  <c:v>1E-3</c:v>
                </c:pt>
                <c:pt idx="1595">
                  <c:v>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00A097"/>
              </a:solidFill>
            </c:spPr>
            <c:extLst>
              <c:ext xmlns:c16="http://schemas.microsoft.com/office/drawing/2014/chart" uri="{C3380CC4-5D6E-409C-BE32-E72D297353CC}">
                <c16:uniqueId val="{00000119-2993-41DE-A2CB-63102DE87051}"/>
              </c:ext>
            </c:extLst>
          </c:dPt>
          <c:dPt>
            <c:idx val="140"/>
            <c:invertIfNegative val="1"/>
            <c:bubble3D val="0"/>
            <c:spPr>
              <a:solidFill>
                <a:srgbClr val="00A097"/>
              </a:solidFill>
            </c:spPr>
            <c:extLst>
              <c:ext xmlns:c16="http://schemas.microsoft.com/office/drawing/2014/chart" uri="{C3380CC4-5D6E-409C-BE32-E72D297353CC}">
                <c16:uniqueId val="{0000011B-2993-41DE-A2CB-63102DE87051}"/>
              </c:ext>
            </c:extLst>
          </c:dPt>
          <c:dPt>
            <c:idx val="141"/>
            <c:invertIfNegative val="1"/>
            <c:bubble3D val="0"/>
            <c:spPr>
              <a:solidFill>
                <a:srgbClr val="00A097"/>
              </a:solidFill>
            </c:spPr>
            <c:extLst>
              <c:ext xmlns:c16="http://schemas.microsoft.com/office/drawing/2014/chart" uri="{C3380CC4-5D6E-409C-BE32-E72D297353CC}">
                <c16:uniqueId val="{0000011D-2993-41DE-A2CB-63102DE87051}"/>
              </c:ext>
            </c:extLst>
          </c:dPt>
          <c:dPt>
            <c:idx val="142"/>
            <c:invertIfNegative val="1"/>
            <c:bubble3D val="0"/>
            <c:spPr>
              <a:solidFill>
                <a:srgbClr val="00A097"/>
              </a:solidFill>
            </c:spPr>
            <c:extLst>
              <c:ext xmlns:c16="http://schemas.microsoft.com/office/drawing/2014/chart" uri="{C3380CC4-5D6E-409C-BE32-E72D297353CC}">
                <c16:uniqueId val="{0000011F-2993-41DE-A2CB-63102DE87051}"/>
              </c:ext>
            </c:extLst>
          </c:dPt>
          <c:dPt>
            <c:idx val="143"/>
            <c:invertIfNegative val="1"/>
            <c:bubble3D val="0"/>
            <c:spPr>
              <a:solidFill>
                <a:srgbClr val="00A097"/>
              </a:solidFill>
            </c:spPr>
            <c:extLst>
              <c:ext xmlns:c16="http://schemas.microsoft.com/office/drawing/2014/chart" uri="{C3380CC4-5D6E-409C-BE32-E72D297353CC}">
                <c16:uniqueId val="{00000121-2993-41DE-A2CB-63102DE87051}"/>
              </c:ext>
            </c:extLst>
          </c:dPt>
          <c:dPt>
            <c:idx val="144"/>
            <c:invertIfNegative val="1"/>
            <c:bubble3D val="0"/>
            <c:spPr>
              <a:solidFill>
                <a:srgbClr val="00A097"/>
              </a:solidFill>
            </c:spPr>
            <c:extLst>
              <c:ext xmlns:c16="http://schemas.microsoft.com/office/drawing/2014/chart" uri="{C3380CC4-5D6E-409C-BE32-E72D297353CC}">
                <c16:uniqueId val="{00000123-2993-41DE-A2CB-63102DE87051}"/>
              </c:ext>
            </c:extLst>
          </c:dPt>
          <c:dPt>
            <c:idx val="145"/>
            <c:invertIfNegative val="1"/>
            <c:bubble3D val="0"/>
            <c:spPr>
              <a:solidFill>
                <a:srgbClr val="00A097"/>
              </a:solidFill>
            </c:spPr>
            <c:extLst>
              <c:ext xmlns:c16="http://schemas.microsoft.com/office/drawing/2014/chart" uri="{C3380CC4-5D6E-409C-BE32-E72D297353CC}">
                <c16:uniqueId val="{00000125-2993-41DE-A2CB-63102DE87051}"/>
              </c:ext>
            </c:extLst>
          </c:dPt>
          <c:dPt>
            <c:idx val="146"/>
            <c:invertIfNegative val="1"/>
            <c:bubble3D val="0"/>
            <c:spPr>
              <a:solidFill>
                <a:srgbClr val="00A097"/>
              </a:solidFill>
            </c:spPr>
            <c:extLst>
              <c:ext xmlns:c16="http://schemas.microsoft.com/office/drawing/2014/chart" uri="{C3380CC4-5D6E-409C-BE32-E72D297353CC}">
                <c16:uniqueId val="{00000127-2993-41DE-A2CB-63102DE87051}"/>
              </c:ext>
            </c:extLst>
          </c:dPt>
          <c:dPt>
            <c:idx val="147"/>
            <c:invertIfNegative val="1"/>
            <c:bubble3D val="0"/>
            <c:spPr>
              <a:solidFill>
                <a:srgbClr val="00A097"/>
              </a:solidFill>
            </c:spPr>
            <c:extLst>
              <c:ext xmlns:c16="http://schemas.microsoft.com/office/drawing/2014/chart" uri="{C3380CC4-5D6E-409C-BE32-E72D297353CC}">
                <c16:uniqueId val="{00000129-2993-41DE-A2CB-63102DE87051}"/>
              </c:ext>
            </c:extLst>
          </c:dPt>
          <c:dPt>
            <c:idx val="148"/>
            <c:invertIfNegative val="1"/>
            <c:bubble3D val="0"/>
            <c:spPr>
              <a:solidFill>
                <a:srgbClr val="00A097"/>
              </a:solidFill>
            </c:spPr>
            <c:extLst>
              <c:ext xmlns:c16="http://schemas.microsoft.com/office/drawing/2014/chart" uri="{C3380CC4-5D6E-409C-BE32-E72D297353CC}">
                <c16:uniqueId val="{0000012B-2993-41DE-A2CB-63102DE87051}"/>
              </c:ext>
            </c:extLst>
          </c:dPt>
          <c:dPt>
            <c:idx val="149"/>
            <c:invertIfNegative val="1"/>
            <c:bubble3D val="0"/>
            <c:spPr>
              <a:solidFill>
                <a:srgbClr val="00A097"/>
              </a:solidFill>
            </c:spPr>
            <c:extLst>
              <c:ext xmlns:c16="http://schemas.microsoft.com/office/drawing/2014/chart" uri="{C3380CC4-5D6E-409C-BE32-E72D297353CC}">
                <c16:uniqueId val="{0000012D-2993-41DE-A2CB-63102DE87051}"/>
              </c:ext>
            </c:extLst>
          </c:dPt>
          <c:dPt>
            <c:idx val="150"/>
            <c:invertIfNegative val="1"/>
            <c:bubble3D val="0"/>
            <c:spPr>
              <a:solidFill>
                <a:srgbClr val="00A097"/>
              </a:solidFill>
            </c:spPr>
            <c:extLst>
              <c:ext xmlns:c16="http://schemas.microsoft.com/office/drawing/2014/chart" uri="{C3380CC4-5D6E-409C-BE32-E72D297353CC}">
                <c16:uniqueId val="{0000012F-2993-41DE-A2CB-63102DE87051}"/>
              </c:ext>
            </c:extLst>
          </c:dPt>
          <c:dPt>
            <c:idx val="151"/>
            <c:invertIfNegative val="1"/>
            <c:bubble3D val="0"/>
            <c:spPr>
              <a:solidFill>
                <a:srgbClr val="00A097"/>
              </a:solidFill>
            </c:spPr>
            <c:extLst>
              <c:ext xmlns:c16="http://schemas.microsoft.com/office/drawing/2014/chart" uri="{C3380CC4-5D6E-409C-BE32-E72D297353CC}">
                <c16:uniqueId val="{00000131-2993-41DE-A2CB-63102DE87051}"/>
              </c:ext>
            </c:extLst>
          </c:dPt>
          <c:dPt>
            <c:idx val="152"/>
            <c:invertIfNegative val="1"/>
            <c:bubble3D val="0"/>
            <c:spPr>
              <a:solidFill>
                <a:srgbClr val="00A097"/>
              </a:solidFill>
            </c:spPr>
            <c:extLst>
              <c:ext xmlns:c16="http://schemas.microsoft.com/office/drawing/2014/chart" uri="{C3380CC4-5D6E-409C-BE32-E72D297353CC}">
                <c16:uniqueId val="{00000133-2993-41DE-A2CB-63102DE87051}"/>
              </c:ext>
            </c:extLst>
          </c:dPt>
          <c:dPt>
            <c:idx val="153"/>
            <c:invertIfNegative val="1"/>
            <c:bubble3D val="0"/>
            <c:spPr>
              <a:solidFill>
                <a:srgbClr val="00A097"/>
              </a:solidFill>
            </c:spPr>
            <c:extLst>
              <c:ext xmlns:c16="http://schemas.microsoft.com/office/drawing/2014/chart" uri="{C3380CC4-5D6E-409C-BE32-E72D297353CC}">
                <c16:uniqueId val="{00000135-2993-41DE-A2CB-63102DE87051}"/>
              </c:ext>
            </c:extLst>
          </c:dPt>
          <c:dPt>
            <c:idx val="154"/>
            <c:invertIfNegative val="1"/>
            <c:bubble3D val="0"/>
            <c:spPr>
              <a:solidFill>
                <a:srgbClr val="00A097"/>
              </a:solidFill>
            </c:spPr>
            <c:extLst>
              <c:ext xmlns:c16="http://schemas.microsoft.com/office/drawing/2014/chart" uri="{C3380CC4-5D6E-409C-BE32-E72D297353CC}">
                <c16:uniqueId val="{00000137-2993-41DE-A2CB-63102DE87051}"/>
              </c:ext>
            </c:extLst>
          </c:dPt>
          <c:dPt>
            <c:idx val="155"/>
            <c:invertIfNegative val="1"/>
            <c:bubble3D val="0"/>
            <c:spPr>
              <a:solidFill>
                <a:srgbClr val="00A097"/>
              </a:solidFill>
            </c:spPr>
            <c:extLst>
              <c:ext xmlns:c16="http://schemas.microsoft.com/office/drawing/2014/chart" uri="{C3380CC4-5D6E-409C-BE32-E72D297353CC}">
                <c16:uniqueId val="{00000139-2993-41DE-A2CB-63102DE87051}"/>
              </c:ext>
            </c:extLst>
          </c:dPt>
          <c:dPt>
            <c:idx val="156"/>
            <c:invertIfNegative val="1"/>
            <c:bubble3D val="0"/>
            <c:spPr>
              <a:solidFill>
                <a:srgbClr val="00A097"/>
              </a:solidFill>
            </c:spPr>
            <c:extLst>
              <c:ext xmlns:c16="http://schemas.microsoft.com/office/drawing/2014/chart" uri="{C3380CC4-5D6E-409C-BE32-E72D297353CC}">
                <c16:uniqueId val="{0000013B-2993-41DE-A2CB-63102DE87051}"/>
              </c:ext>
            </c:extLst>
          </c:dPt>
          <c:dPt>
            <c:idx val="157"/>
            <c:invertIfNegative val="1"/>
            <c:bubble3D val="0"/>
            <c:spPr>
              <a:solidFill>
                <a:srgbClr val="00A097"/>
              </a:solidFill>
            </c:spPr>
            <c:extLst>
              <c:ext xmlns:c16="http://schemas.microsoft.com/office/drawing/2014/chart" uri="{C3380CC4-5D6E-409C-BE32-E72D297353CC}">
                <c16:uniqueId val="{0000013D-2993-41DE-A2CB-63102DE87051}"/>
              </c:ext>
            </c:extLst>
          </c:dPt>
          <c:dPt>
            <c:idx val="158"/>
            <c:invertIfNegative val="1"/>
            <c:bubble3D val="0"/>
            <c:spPr>
              <a:solidFill>
                <a:srgbClr val="00A097"/>
              </a:solidFill>
            </c:spPr>
            <c:extLst>
              <c:ext xmlns:c16="http://schemas.microsoft.com/office/drawing/2014/chart" uri="{C3380CC4-5D6E-409C-BE32-E72D297353CC}">
                <c16:uniqueId val="{0000013F-2993-41DE-A2CB-63102DE87051}"/>
              </c:ext>
            </c:extLst>
          </c:dPt>
          <c:dPt>
            <c:idx val="159"/>
            <c:invertIfNegative val="1"/>
            <c:bubble3D val="0"/>
            <c:spPr>
              <a:solidFill>
                <a:srgbClr val="00A097"/>
              </a:solidFill>
            </c:spPr>
            <c:extLst>
              <c:ext xmlns:c16="http://schemas.microsoft.com/office/drawing/2014/chart" uri="{C3380CC4-5D6E-409C-BE32-E72D297353CC}">
                <c16:uniqueId val="{00000141-2993-41DE-A2CB-63102DE87051}"/>
              </c:ext>
            </c:extLst>
          </c:dPt>
          <c:dPt>
            <c:idx val="160"/>
            <c:invertIfNegative val="1"/>
            <c:bubble3D val="0"/>
            <c:spPr>
              <a:solidFill>
                <a:srgbClr val="00A097"/>
              </a:solidFill>
            </c:spPr>
            <c:extLst>
              <c:ext xmlns:c16="http://schemas.microsoft.com/office/drawing/2014/chart" uri="{C3380CC4-5D6E-409C-BE32-E72D297353CC}">
                <c16:uniqueId val="{00000143-2993-41DE-A2CB-63102DE87051}"/>
              </c:ext>
            </c:extLst>
          </c:dPt>
          <c:dPt>
            <c:idx val="161"/>
            <c:invertIfNegative val="1"/>
            <c:bubble3D val="0"/>
            <c:spPr>
              <a:solidFill>
                <a:srgbClr val="00A097"/>
              </a:solidFill>
            </c:spPr>
            <c:extLst>
              <c:ext xmlns:c16="http://schemas.microsoft.com/office/drawing/2014/chart" uri="{C3380CC4-5D6E-409C-BE32-E72D297353CC}">
                <c16:uniqueId val="{00000145-2993-41DE-A2CB-63102DE87051}"/>
              </c:ext>
            </c:extLst>
          </c:dPt>
          <c:dPt>
            <c:idx val="162"/>
            <c:invertIfNegative val="1"/>
            <c:bubble3D val="0"/>
            <c:spPr>
              <a:solidFill>
                <a:srgbClr val="00A097"/>
              </a:solidFill>
            </c:spPr>
            <c:extLst>
              <c:ext xmlns:c16="http://schemas.microsoft.com/office/drawing/2014/chart" uri="{C3380CC4-5D6E-409C-BE32-E72D297353CC}">
                <c16:uniqueId val="{00000147-2993-41DE-A2CB-63102DE87051}"/>
              </c:ext>
            </c:extLst>
          </c:dPt>
          <c:dPt>
            <c:idx val="163"/>
            <c:invertIfNegative val="1"/>
            <c:bubble3D val="0"/>
            <c:spPr>
              <a:solidFill>
                <a:srgbClr val="00A097"/>
              </a:solidFill>
            </c:spPr>
            <c:extLst>
              <c:ext xmlns:c16="http://schemas.microsoft.com/office/drawing/2014/chart" uri="{C3380CC4-5D6E-409C-BE32-E72D297353CC}">
                <c16:uniqueId val="{00000149-2993-41DE-A2CB-63102DE87051}"/>
              </c:ext>
            </c:extLst>
          </c:dPt>
          <c:dPt>
            <c:idx val="164"/>
            <c:invertIfNegative val="1"/>
            <c:bubble3D val="0"/>
            <c:spPr>
              <a:solidFill>
                <a:srgbClr val="00A097"/>
              </a:solidFill>
            </c:spPr>
            <c:extLst>
              <c:ext xmlns:c16="http://schemas.microsoft.com/office/drawing/2014/chart" uri="{C3380CC4-5D6E-409C-BE32-E72D297353CC}">
                <c16:uniqueId val="{0000014B-2993-41DE-A2CB-63102DE87051}"/>
              </c:ext>
            </c:extLst>
          </c:dPt>
          <c:dPt>
            <c:idx val="165"/>
            <c:invertIfNegative val="1"/>
            <c:bubble3D val="0"/>
            <c:spPr>
              <a:solidFill>
                <a:srgbClr val="00A097"/>
              </a:solidFill>
            </c:spPr>
            <c:extLst>
              <c:ext xmlns:c16="http://schemas.microsoft.com/office/drawing/2014/chart" uri="{C3380CC4-5D6E-409C-BE32-E72D297353CC}">
                <c16:uniqueId val="{0000014D-2993-41DE-A2CB-63102DE87051}"/>
              </c:ext>
            </c:extLst>
          </c:dPt>
          <c:dPt>
            <c:idx val="166"/>
            <c:invertIfNegative val="1"/>
            <c:bubble3D val="0"/>
            <c:spPr>
              <a:solidFill>
                <a:srgbClr val="00A097"/>
              </a:solidFill>
            </c:spPr>
            <c:extLst>
              <c:ext xmlns:c16="http://schemas.microsoft.com/office/drawing/2014/chart" uri="{C3380CC4-5D6E-409C-BE32-E72D297353CC}">
                <c16:uniqueId val="{0000014F-2993-41DE-A2CB-63102DE87051}"/>
              </c:ext>
            </c:extLst>
          </c:dPt>
          <c:dPt>
            <c:idx val="167"/>
            <c:invertIfNegative val="1"/>
            <c:bubble3D val="0"/>
            <c:spPr>
              <a:solidFill>
                <a:srgbClr val="00A097"/>
              </a:solidFill>
            </c:spPr>
            <c:extLst>
              <c:ext xmlns:c16="http://schemas.microsoft.com/office/drawing/2014/chart" uri="{C3380CC4-5D6E-409C-BE32-E72D297353CC}">
                <c16:uniqueId val="{00000151-2993-41DE-A2CB-63102DE87051}"/>
              </c:ext>
            </c:extLst>
          </c:dPt>
          <c:dPt>
            <c:idx val="168"/>
            <c:invertIfNegative val="1"/>
            <c:bubble3D val="0"/>
            <c:spPr>
              <a:solidFill>
                <a:srgbClr val="00A097"/>
              </a:solidFill>
            </c:spPr>
            <c:extLst>
              <c:ext xmlns:c16="http://schemas.microsoft.com/office/drawing/2014/chart" uri="{C3380CC4-5D6E-409C-BE32-E72D297353CC}">
                <c16:uniqueId val="{00000153-2993-41DE-A2CB-63102DE87051}"/>
              </c:ext>
            </c:extLst>
          </c:dPt>
          <c:dPt>
            <c:idx val="169"/>
            <c:invertIfNegative val="1"/>
            <c:bubble3D val="0"/>
            <c:spPr>
              <a:solidFill>
                <a:srgbClr val="00A097"/>
              </a:solidFill>
            </c:spPr>
            <c:extLst>
              <c:ext xmlns:c16="http://schemas.microsoft.com/office/drawing/2014/chart" uri="{C3380CC4-5D6E-409C-BE32-E72D297353CC}">
                <c16:uniqueId val="{00000155-2993-41DE-A2CB-63102DE87051}"/>
              </c:ext>
            </c:extLst>
          </c:dPt>
          <c:dPt>
            <c:idx val="170"/>
            <c:invertIfNegative val="1"/>
            <c:bubble3D val="0"/>
            <c:spPr>
              <a:solidFill>
                <a:srgbClr val="00A097"/>
              </a:solidFill>
            </c:spPr>
            <c:extLst>
              <c:ext xmlns:c16="http://schemas.microsoft.com/office/drawing/2014/chart" uri="{C3380CC4-5D6E-409C-BE32-E72D297353CC}">
                <c16:uniqueId val="{00000157-2993-41DE-A2CB-63102DE87051}"/>
              </c:ext>
            </c:extLst>
          </c:dPt>
          <c:dPt>
            <c:idx val="171"/>
            <c:invertIfNegative val="1"/>
            <c:bubble3D val="0"/>
            <c:spPr>
              <a:solidFill>
                <a:srgbClr val="00A097"/>
              </a:solidFill>
            </c:spPr>
            <c:extLst>
              <c:ext xmlns:c16="http://schemas.microsoft.com/office/drawing/2014/chart" uri="{C3380CC4-5D6E-409C-BE32-E72D297353CC}">
                <c16:uniqueId val="{00000159-2993-41DE-A2CB-63102DE87051}"/>
              </c:ext>
            </c:extLst>
          </c:dPt>
          <c:dPt>
            <c:idx val="172"/>
            <c:invertIfNegative val="1"/>
            <c:bubble3D val="0"/>
            <c:spPr>
              <a:solidFill>
                <a:srgbClr val="00A097"/>
              </a:solidFill>
            </c:spPr>
            <c:extLst>
              <c:ext xmlns:c16="http://schemas.microsoft.com/office/drawing/2014/chart" uri="{C3380CC4-5D6E-409C-BE32-E72D297353CC}">
                <c16:uniqueId val="{0000015B-2993-41DE-A2CB-63102DE87051}"/>
              </c:ext>
            </c:extLst>
          </c:dPt>
          <c:dPt>
            <c:idx val="173"/>
            <c:invertIfNegative val="1"/>
            <c:bubble3D val="0"/>
            <c:spPr>
              <a:solidFill>
                <a:srgbClr val="00A097"/>
              </a:solidFill>
            </c:spPr>
            <c:extLst>
              <c:ext xmlns:c16="http://schemas.microsoft.com/office/drawing/2014/chart" uri="{C3380CC4-5D6E-409C-BE32-E72D297353CC}">
                <c16:uniqueId val="{0000015D-2993-41DE-A2CB-63102DE87051}"/>
              </c:ext>
            </c:extLst>
          </c:dPt>
          <c:dPt>
            <c:idx val="174"/>
            <c:invertIfNegative val="1"/>
            <c:bubble3D val="0"/>
            <c:spPr>
              <a:solidFill>
                <a:srgbClr val="00A097"/>
              </a:solidFill>
            </c:spPr>
            <c:extLst>
              <c:ext xmlns:c16="http://schemas.microsoft.com/office/drawing/2014/chart" uri="{C3380CC4-5D6E-409C-BE32-E72D297353CC}">
                <c16:uniqueId val="{0000015F-2993-41DE-A2CB-63102DE87051}"/>
              </c:ext>
            </c:extLst>
          </c:dPt>
          <c:dPt>
            <c:idx val="175"/>
            <c:invertIfNegative val="1"/>
            <c:bubble3D val="0"/>
            <c:spPr>
              <a:solidFill>
                <a:srgbClr val="00A097"/>
              </a:solidFill>
            </c:spPr>
            <c:extLst>
              <c:ext xmlns:c16="http://schemas.microsoft.com/office/drawing/2014/chart" uri="{C3380CC4-5D6E-409C-BE32-E72D297353CC}">
                <c16:uniqueId val="{00000161-2993-41DE-A2CB-63102DE87051}"/>
              </c:ext>
            </c:extLst>
          </c:dPt>
          <c:dPt>
            <c:idx val="176"/>
            <c:invertIfNegative val="1"/>
            <c:bubble3D val="0"/>
            <c:spPr>
              <a:solidFill>
                <a:srgbClr val="00A097"/>
              </a:solidFill>
            </c:spPr>
            <c:extLst>
              <c:ext xmlns:c16="http://schemas.microsoft.com/office/drawing/2014/chart" uri="{C3380CC4-5D6E-409C-BE32-E72D297353CC}">
                <c16:uniqueId val="{00000163-2993-41DE-A2CB-63102DE87051}"/>
              </c:ext>
            </c:extLst>
          </c:dPt>
          <c:dPt>
            <c:idx val="177"/>
            <c:invertIfNegative val="1"/>
            <c:bubble3D val="0"/>
            <c:spPr>
              <a:solidFill>
                <a:srgbClr val="00A097"/>
              </a:solidFill>
            </c:spPr>
            <c:extLst>
              <c:ext xmlns:c16="http://schemas.microsoft.com/office/drawing/2014/chart" uri="{C3380CC4-5D6E-409C-BE32-E72D297353CC}">
                <c16:uniqueId val="{00000165-2993-41DE-A2CB-63102DE87051}"/>
              </c:ext>
            </c:extLst>
          </c:dPt>
          <c:dPt>
            <c:idx val="178"/>
            <c:invertIfNegative val="1"/>
            <c:bubble3D val="0"/>
            <c:spPr>
              <a:solidFill>
                <a:srgbClr val="00A097"/>
              </a:solidFill>
            </c:spPr>
            <c:extLst>
              <c:ext xmlns:c16="http://schemas.microsoft.com/office/drawing/2014/chart" uri="{C3380CC4-5D6E-409C-BE32-E72D297353CC}">
                <c16:uniqueId val="{00000167-2993-41DE-A2CB-63102DE87051}"/>
              </c:ext>
            </c:extLst>
          </c:dPt>
          <c:dPt>
            <c:idx val="179"/>
            <c:invertIfNegative val="1"/>
            <c:bubble3D val="0"/>
            <c:spPr>
              <a:solidFill>
                <a:srgbClr val="00A097"/>
              </a:solidFill>
            </c:spPr>
            <c:extLst>
              <c:ext xmlns:c16="http://schemas.microsoft.com/office/drawing/2014/chart" uri="{C3380CC4-5D6E-409C-BE32-E72D297353CC}">
                <c16:uniqueId val="{00000169-2993-41DE-A2CB-63102DE87051}"/>
              </c:ext>
            </c:extLst>
          </c:dPt>
          <c:dPt>
            <c:idx val="180"/>
            <c:invertIfNegative val="1"/>
            <c:bubble3D val="0"/>
            <c:spPr>
              <a:solidFill>
                <a:srgbClr val="00A097"/>
              </a:solidFill>
            </c:spPr>
            <c:extLst>
              <c:ext xmlns:c16="http://schemas.microsoft.com/office/drawing/2014/chart" uri="{C3380CC4-5D6E-409C-BE32-E72D297353CC}">
                <c16:uniqueId val="{0000016B-2993-41DE-A2CB-63102DE87051}"/>
              </c:ext>
            </c:extLst>
          </c:dPt>
          <c:dPt>
            <c:idx val="181"/>
            <c:invertIfNegative val="1"/>
            <c:bubble3D val="0"/>
            <c:spPr>
              <a:solidFill>
                <a:srgbClr val="00A097"/>
              </a:solidFill>
            </c:spPr>
            <c:extLst>
              <c:ext xmlns:c16="http://schemas.microsoft.com/office/drawing/2014/chart" uri="{C3380CC4-5D6E-409C-BE32-E72D297353CC}">
                <c16:uniqueId val="{0000016D-2993-41DE-A2CB-63102DE87051}"/>
              </c:ext>
            </c:extLst>
          </c:dPt>
          <c:dPt>
            <c:idx val="182"/>
            <c:invertIfNegative val="1"/>
            <c:bubble3D val="0"/>
            <c:spPr>
              <a:solidFill>
                <a:srgbClr val="00A097"/>
              </a:solidFill>
            </c:spPr>
            <c:extLst>
              <c:ext xmlns:c16="http://schemas.microsoft.com/office/drawing/2014/chart" uri="{C3380CC4-5D6E-409C-BE32-E72D297353CC}">
                <c16:uniqueId val="{0000016F-2993-41DE-A2CB-63102DE87051}"/>
              </c:ext>
            </c:extLst>
          </c:dPt>
          <c:dPt>
            <c:idx val="183"/>
            <c:invertIfNegative val="1"/>
            <c:bubble3D val="0"/>
            <c:spPr>
              <a:solidFill>
                <a:srgbClr val="00A097"/>
              </a:solidFill>
            </c:spPr>
            <c:extLst>
              <c:ext xmlns:c16="http://schemas.microsoft.com/office/drawing/2014/chart" uri="{C3380CC4-5D6E-409C-BE32-E72D297353CC}">
                <c16:uniqueId val="{00000171-2993-41DE-A2CB-63102DE87051}"/>
              </c:ext>
            </c:extLst>
          </c:dPt>
          <c:dPt>
            <c:idx val="184"/>
            <c:invertIfNegative val="1"/>
            <c:bubble3D val="0"/>
            <c:spPr>
              <a:solidFill>
                <a:srgbClr val="00A097"/>
              </a:solidFill>
            </c:spPr>
            <c:extLst>
              <c:ext xmlns:c16="http://schemas.microsoft.com/office/drawing/2014/chart" uri="{C3380CC4-5D6E-409C-BE32-E72D297353CC}">
                <c16:uniqueId val="{00000173-2993-41DE-A2CB-63102DE87051}"/>
              </c:ext>
            </c:extLst>
          </c:dPt>
          <c:dPt>
            <c:idx val="185"/>
            <c:invertIfNegative val="1"/>
            <c:bubble3D val="0"/>
            <c:spPr>
              <a:solidFill>
                <a:srgbClr val="00A097"/>
              </a:solidFill>
            </c:spPr>
            <c:extLst>
              <c:ext xmlns:c16="http://schemas.microsoft.com/office/drawing/2014/chart" uri="{C3380CC4-5D6E-409C-BE32-E72D297353CC}">
                <c16:uniqueId val="{00000175-2993-41DE-A2CB-63102DE87051}"/>
              </c:ext>
            </c:extLst>
          </c:dPt>
          <c:dPt>
            <c:idx val="186"/>
            <c:invertIfNegative val="1"/>
            <c:bubble3D val="0"/>
            <c:spPr>
              <a:solidFill>
                <a:srgbClr val="00A097"/>
              </a:solidFill>
            </c:spPr>
            <c:extLst>
              <c:ext xmlns:c16="http://schemas.microsoft.com/office/drawing/2014/chart" uri="{C3380CC4-5D6E-409C-BE32-E72D297353CC}">
                <c16:uniqueId val="{00000177-2993-41DE-A2CB-63102DE87051}"/>
              </c:ext>
            </c:extLst>
          </c:dPt>
          <c:dPt>
            <c:idx val="187"/>
            <c:invertIfNegative val="1"/>
            <c:bubble3D val="0"/>
            <c:spPr>
              <a:solidFill>
                <a:srgbClr val="00A097"/>
              </a:solidFill>
            </c:spPr>
            <c:extLst>
              <c:ext xmlns:c16="http://schemas.microsoft.com/office/drawing/2014/chart" uri="{C3380CC4-5D6E-409C-BE32-E72D297353CC}">
                <c16:uniqueId val="{00000179-2993-41DE-A2CB-63102DE87051}"/>
              </c:ext>
            </c:extLst>
          </c:dPt>
          <c:dPt>
            <c:idx val="188"/>
            <c:invertIfNegative val="1"/>
            <c:bubble3D val="0"/>
            <c:spPr>
              <a:solidFill>
                <a:srgbClr val="00A097"/>
              </a:solidFill>
            </c:spPr>
            <c:extLst>
              <c:ext xmlns:c16="http://schemas.microsoft.com/office/drawing/2014/chart" uri="{C3380CC4-5D6E-409C-BE32-E72D297353CC}">
                <c16:uniqueId val="{0000017B-2993-41DE-A2CB-63102DE87051}"/>
              </c:ext>
            </c:extLst>
          </c:dPt>
          <c:dPt>
            <c:idx val="189"/>
            <c:invertIfNegative val="1"/>
            <c:bubble3D val="0"/>
            <c:spPr>
              <a:solidFill>
                <a:srgbClr val="00A097"/>
              </a:solidFill>
            </c:spPr>
            <c:extLst>
              <c:ext xmlns:c16="http://schemas.microsoft.com/office/drawing/2014/chart" uri="{C3380CC4-5D6E-409C-BE32-E72D297353CC}">
                <c16:uniqueId val="{0000017D-2993-41DE-A2CB-63102DE87051}"/>
              </c:ext>
            </c:extLst>
          </c:dPt>
          <c:dPt>
            <c:idx val="190"/>
            <c:invertIfNegative val="1"/>
            <c:bubble3D val="0"/>
            <c:spPr>
              <a:solidFill>
                <a:srgbClr val="00A097"/>
              </a:solidFill>
            </c:spPr>
            <c:extLst>
              <c:ext xmlns:c16="http://schemas.microsoft.com/office/drawing/2014/chart" uri="{C3380CC4-5D6E-409C-BE32-E72D297353CC}">
                <c16:uniqueId val="{0000017F-2993-41DE-A2CB-63102DE87051}"/>
              </c:ext>
            </c:extLst>
          </c:dPt>
          <c:dPt>
            <c:idx val="191"/>
            <c:invertIfNegative val="1"/>
            <c:bubble3D val="0"/>
            <c:spPr>
              <a:solidFill>
                <a:srgbClr val="00A097"/>
              </a:solidFill>
            </c:spPr>
            <c:extLst>
              <c:ext xmlns:c16="http://schemas.microsoft.com/office/drawing/2014/chart" uri="{C3380CC4-5D6E-409C-BE32-E72D297353CC}">
                <c16:uniqueId val="{00000181-2993-41DE-A2CB-63102DE87051}"/>
              </c:ext>
            </c:extLst>
          </c:dPt>
          <c:dPt>
            <c:idx val="192"/>
            <c:invertIfNegative val="1"/>
            <c:bubble3D val="0"/>
            <c:spPr>
              <a:solidFill>
                <a:srgbClr val="00A097"/>
              </a:solidFill>
            </c:spPr>
            <c:extLst>
              <c:ext xmlns:c16="http://schemas.microsoft.com/office/drawing/2014/chart" uri="{C3380CC4-5D6E-409C-BE32-E72D297353CC}">
                <c16:uniqueId val="{00000183-2993-41DE-A2CB-63102DE87051}"/>
              </c:ext>
            </c:extLst>
          </c:dPt>
          <c:dPt>
            <c:idx val="193"/>
            <c:invertIfNegative val="1"/>
            <c:bubble3D val="0"/>
            <c:spPr>
              <a:solidFill>
                <a:srgbClr val="00A097"/>
              </a:solidFill>
            </c:spPr>
            <c:extLst>
              <c:ext xmlns:c16="http://schemas.microsoft.com/office/drawing/2014/chart" uri="{C3380CC4-5D6E-409C-BE32-E72D297353CC}">
                <c16:uniqueId val="{00000185-2993-41DE-A2CB-63102DE87051}"/>
              </c:ext>
            </c:extLst>
          </c:dPt>
          <c:dPt>
            <c:idx val="194"/>
            <c:invertIfNegative val="1"/>
            <c:bubble3D val="0"/>
            <c:spPr>
              <a:solidFill>
                <a:srgbClr val="00A097"/>
              </a:solidFill>
            </c:spPr>
            <c:extLst>
              <c:ext xmlns:c16="http://schemas.microsoft.com/office/drawing/2014/chart" uri="{C3380CC4-5D6E-409C-BE32-E72D297353CC}">
                <c16:uniqueId val="{00000187-2993-41DE-A2CB-63102DE87051}"/>
              </c:ext>
            </c:extLst>
          </c:dPt>
          <c:dPt>
            <c:idx val="195"/>
            <c:invertIfNegative val="1"/>
            <c:bubble3D val="0"/>
            <c:spPr>
              <a:solidFill>
                <a:srgbClr val="00A097"/>
              </a:solidFill>
            </c:spPr>
            <c:extLst>
              <c:ext xmlns:c16="http://schemas.microsoft.com/office/drawing/2014/chart" uri="{C3380CC4-5D6E-409C-BE32-E72D297353CC}">
                <c16:uniqueId val="{00000189-2993-41DE-A2CB-63102DE87051}"/>
              </c:ext>
            </c:extLst>
          </c:dPt>
          <c:dPt>
            <c:idx val="196"/>
            <c:invertIfNegative val="1"/>
            <c:bubble3D val="0"/>
            <c:spPr>
              <a:solidFill>
                <a:srgbClr val="00A097"/>
              </a:solidFill>
            </c:spPr>
            <c:extLst>
              <c:ext xmlns:c16="http://schemas.microsoft.com/office/drawing/2014/chart" uri="{C3380CC4-5D6E-409C-BE32-E72D297353CC}">
                <c16:uniqueId val="{0000018B-2993-41DE-A2CB-63102DE87051}"/>
              </c:ext>
            </c:extLst>
          </c:dPt>
          <c:dPt>
            <c:idx val="197"/>
            <c:invertIfNegative val="1"/>
            <c:bubble3D val="0"/>
            <c:spPr>
              <a:solidFill>
                <a:srgbClr val="00A097"/>
              </a:solidFill>
            </c:spPr>
            <c:extLst>
              <c:ext xmlns:c16="http://schemas.microsoft.com/office/drawing/2014/chart" uri="{C3380CC4-5D6E-409C-BE32-E72D297353CC}">
                <c16:uniqueId val="{0000018D-2993-41DE-A2CB-63102DE87051}"/>
              </c:ext>
            </c:extLst>
          </c:dPt>
          <c:dPt>
            <c:idx val="198"/>
            <c:invertIfNegative val="1"/>
            <c:bubble3D val="0"/>
            <c:spPr>
              <a:solidFill>
                <a:srgbClr val="00A097"/>
              </a:solidFill>
            </c:spPr>
            <c:extLst>
              <c:ext xmlns:c16="http://schemas.microsoft.com/office/drawing/2014/chart" uri="{C3380CC4-5D6E-409C-BE32-E72D297353CC}">
                <c16:uniqueId val="{0000018F-2993-41DE-A2CB-63102DE87051}"/>
              </c:ext>
            </c:extLst>
          </c:dPt>
          <c:dPt>
            <c:idx val="199"/>
            <c:invertIfNegative val="1"/>
            <c:bubble3D val="0"/>
            <c:spPr>
              <a:solidFill>
                <a:srgbClr val="00A097"/>
              </a:solidFill>
            </c:spPr>
            <c:extLst>
              <c:ext xmlns:c16="http://schemas.microsoft.com/office/drawing/2014/chart" uri="{C3380CC4-5D6E-409C-BE32-E72D297353CC}">
                <c16:uniqueId val="{00000191-2993-41DE-A2CB-63102DE87051}"/>
              </c:ext>
            </c:extLst>
          </c:dPt>
          <c:dPt>
            <c:idx val="200"/>
            <c:invertIfNegative val="1"/>
            <c:bubble3D val="0"/>
            <c:spPr>
              <a:solidFill>
                <a:srgbClr val="00A097"/>
              </a:solidFill>
            </c:spPr>
            <c:extLst>
              <c:ext xmlns:c16="http://schemas.microsoft.com/office/drawing/2014/chart" uri="{C3380CC4-5D6E-409C-BE32-E72D297353CC}">
                <c16:uniqueId val="{00000193-2993-41DE-A2CB-63102DE87051}"/>
              </c:ext>
            </c:extLst>
          </c:dPt>
          <c:dPt>
            <c:idx val="201"/>
            <c:invertIfNegative val="1"/>
            <c:bubble3D val="0"/>
            <c:spPr>
              <a:solidFill>
                <a:srgbClr val="00A097"/>
              </a:solidFill>
            </c:spPr>
            <c:extLst>
              <c:ext xmlns:c16="http://schemas.microsoft.com/office/drawing/2014/chart" uri="{C3380CC4-5D6E-409C-BE32-E72D297353CC}">
                <c16:uniqueId val="{00000195-2993-41DE-A2CB-63102DE87051}"/>
              </c:ext>
            </c:extLst>
          </c:dPt>
          <c:dPt>
            <c:idx val="202"/>
            <c:invertIfNegative val="1"/>
            <c:bubble3D val="0"/>
            <c:spPr>
              <a:solidFill>
                <a:srgbClr val="00A097"/>
              </a:solidFill>
            </c:spPr>
            <c:extLst>
              <c:ext xmlns:c16="http://schemas.microsoft.com/office/drawing/2014/chart" uri="{C3380CC4-5D6E-409C-BE32-E72D297353CC}">
                <c16:uniqueId val="{00000197-2993-41DE-A2CB-63102DE87051}"/>
              </c:ext>
            </c:extLst>
          </c:dPt>
          <c:dPt>
            <c:idx val="203"/>
            <c:invertIfNegative val="1"/>
            <c:bubble3D val="0"/>
            <c:spPr>
              <a:solidFill>
                <a:srgbClr val="00A097"/>
              </a:solidFill>
            </c:spPr>
            <c:extLst>
              <c:ext xmlns:c16="http://schemas.microsoft.com/office/drawing/2014/chart" uri="{C3380CC4-5D6E-409C-BE32-E72D297353CC}">
                <c16:uniqueId val="{00000199-2993-41DE-A2CB-63102DE87051}"/>
              </c:ext>
            </c:extLst>
          </c:dPt>
          <c:dPt>
            <c:idx val="204"/>
            <c:invertIfNegative val="1"/>
            <c:bubble3D val="0"/>
            <c:spPr>
              <a:solidFill>
                <a:srgbClr val="00A097"/>
              </a:solidFill>
            </c:spPr>
            <c:extLst>
              <c:ext xmlns:c16="http://schemas.microsoft.com/office/drawing/2014/chart" uri="{C3380CC4-5D6E-409C-BE32-E72D297353CC}">
                <c16:uniqueId val="{0000019B-2993-41DE-A2CB-63102DE87051}"/>
              </c:ext>
            </c:extLst>
          </c:dPt>
          <c:dPt>
            <c:idx val="205"/>
            <c:invertIfNegative val="1"/>
            <c:bubble3D val="0"/>
            <c:spPr>
              <a:solidFill>
                <a:srgbClr val="00A097"/>
              </a:solidFill>
            </c:spPr>
            <c:extLst>
              <c:ext xmlns:c16="http://schemas.microsoft.com/office/drawing/2014/chart" uri="{C3380CC4-5D6E-409C-BE32-E72D297353CC}">
                <c16:uniqueId val="{0000019D-2993-41DE-A2CB-63102DE87051}"/>
              </c:ext>
            </c:extLst>
          </c:dPt>
          <c:dPt>
            <c:idx val="206"/>
            <c:invertIfNegative val="1"/>
            <c:bubble3D val="0"/>
            <c:spPr>
              <a:solidFill>
                <a:srgbClr val="00A097"/>
              </a:solidFill>
            </c:spPr>
            <c:extLst>
              <c:ext xmlns:c16="http://schemas.microsoft.com/office/drawing/2014/chart" uri="{C3380CC4-5D6E-409C-BE32-E72D297353CC}">
                <c16:uniqueId val="{0000019F-2993-41DE-A2CB-63102DE87051}"/>
              </c:ext>
            </c:extLst>
          </c:dPt>
          <c:dPt>
            <c:idx val="207"/>
            <c:invertIfNegative val="1"/>
            <c:bubble3D val="0"/>
            <c:spPr>
              <a:solidFill>
                <a:srgbClr val="00A097"/>
              </a:solidFill>
            </c:spPr>
            <c:extLst>
              <c:ext xmlns:c16="http://schemas.microsoft.com/office/drawing/2014/chart" uri="{C3380CC4-5D6E-409C-BE32-E72D297353CC}">
                <c16:uniqueId val="{000001A1-2993-41DE-A2CB-63102DE87051}"/>
              </c:ext>
            </c:extLst>
          </c:dPt>
          <c:dPt>
            <c:idx val="208"/>
            <c:invertIfNegative val="1"/>
            <c:bubble3D val="0"/>
            <c:spPr>
              <a:solidFill>
                <a:srgbClr val="00A097"/>
              </a:solidFill>
            </c:spPr>
            <c:extLst>
              <c:ext xmlns:c16="http://schemas.microsoft.com/office/drawing/2014/chart" uri="{C3380CC4-5D6E-409C-BE32-E72D297353CC}">
                <c16:uniqueId val="{000001A3-2993-41DE-A2CB-63102DE87051}"/>
              </c:ext>
            </c:extLst>
          </c:dPt>
          <c:dPt>
            <c:idx val="209"/>
            <c:invertIfNegative val="1"/>
            <c:bubble3D val="0"/>
            <c:spPr>
              <a:solidFill>
                <a:srgbClr val="00A097"/>
              </a:solidFill>
            </c:spPr>
            <c:extLst>
              <c:ext xmlns:c16="http://schemas.microsoft.com/office/drawing/2014/chart" uri="{C3380CC4-5D6E-409C-BE32-E72D297353CC}">
                <c16:uniqueId val="{000001A5-2993-41DE-A2CB-63102DE87051}"/>
              </c:ext>
            </c:extLst>
          </c:dPt>
          <c:dPt>
            <c:idx val="210"/>
            <c:invertIfNegative val="1"/>
            <c:bubble3D val="0"/>
            <c:spPr>
              <a:solidFill>
                <a:srgbClr val="00A097"/>
              </a:solidFill>
            </c:spPr>
            <c:extLst>
              <c:ext xmlns:c16="http://schemas.microsoft.com/office/drawing/2014/chart" uri="{C3380CC4-5D6E-409C-BE32-E72D297353CC}">
                <c16:uniqueId val="{000001A7-26BF-40B0-8A43-EC10D791E60B}"/>
              </c:ext>
            </c:extLst>
          </c:dPt>
          <c:dPt>
            <c:idx val="211"/>
            <c:invertIfNegative val="1"/>
            <c:bubble3D val="0"/>
            <c:spPr>
              <a:solidFill>
                <a:srgbClr val="00A097"/>
              </a:solidFill>
            </c:spPr>
            <c:extLst>
              <c:ext xmlns:c16="http://schemas.microsoft.com/office/drawing/2014/chart" uri="{C3380CC4-5D6E-409C-BE32-E72D297353CC}">
                <c16:uniqueId val="{000001A9-26BF-40B0-8A43-EC10D791E60B}"/>
              </c:ext>
            </c:extLst>
          </c:dPt>
          <c:dPt>
            <c:idx val="212"/>
            <c:invertIfNegative val="1"/>
            <c:bubble3D val="0"/>
            <c:spPr>
              <a:solidFill>
                <a:srgbClr val="00A097"/>
              </a:solidFill>
            </c:spPr>
            <c:extLst>
              <c:ext xmlns:c16="http://schemas.microsoft.com/office/drawing/2014/chart" uri="{C3380CC4-5D6E-409C-BE32-E72D297353CC}">
                <c16:uniqueId val="{000001AB-26BF-40B0-8A43-EC10D791E60B}"/>
              </c:ext>
            </c:extLst>
          </c:dPt>
          <c:dPt>
            <c:idx val="213"/>
            <c:invertIfNegative val="1"/>
            <c:bubble3D val="0"/>
            <c:spPr>
              <a:solidFill>
                <a:srgbClr val="00A097"/>
              </a:solidFill>
            </c:spPr>
            <c:extLst>
              <c:ext xmlns:c16="http://schemas.microsoft.com/office/drawing/2014/chart" uri="{C3380CC4-5D6E-409C-BE32-E72D297353CC}">
                <c16:uniqueId val="{000001AD-26BF-40B0-8A43-EC10D791E60B}"/>
              </c:ext>
            </c:extLst>
          </c:dPt>
          <c:dPt>
            <c:idx val="214"/>
            <c:invertIfNegative val="1"/>
            <c:bubble3D val="0"/>
            <c:spPr>
              <a:solidFill>
                <a:srgbClr val="00A097"/>
              </a:solidFill>
            </c:spPr>
            <c:extLst>
              <c:ext xmlns:c16="http://schemas.microsoft.com/office/drawing/2014/chart" uri="{C3380CC4-5D6E-409C-BE32-E72D297353CC}">
                <c16:uniqueId val="{000001AF-26BF-40B0-8A43-EC10D791E60B}"/>
              </c:ext>
            </c:extLst>
          </c:dPt>
          <c:dPt>
            <c:idx val="215"/>
            <c:invertIfNegative val="1"/>
            <c:bubble3D val="0"/>
            <c:spPr>
              <a:solidFill>
                <a:srgbClr val="00A097"/>
              </a:solidFill>
            </c:spPr>
            <c:extLst>
              <c:ext xmlns:c16="http://schemas.microsoft.com/office/drawing/2014/chart" uri="{C3380CC4-5D6E-409C-BE32-E72D297353CC}">
                <c16:uniqueId val="{000001B1-26BF-40B0-8A43-EC10D791E60B}"/>
              </c:ext>
            </c:extLst>
          </c:dPt>
          <c:dPt>
            <c:idx val="216"/>
            <c:invertIfNegative val="1"/>
            <c:bubble3D val="0"/>
            <c:spPr>
              <a:solidFill>
                <a:srgbClr val="00A097"/>
              </a:solidFill>
            </c:spPr>
            <c:extLst>
              <c:ext xmlns:c16="http://schemas.microsoft.com/office/drawing/2014/chart" uri="{C3380CC4-5D6E-409C-BE32-E72D297353CC}">
                <c16:uniqueId val="{000001B3-26BF-40B0-8A43-EC10D791E60B}"/>
              </c:ext>
            </c:extLst>
          </c:dPt>
          <c:dPt>
            <c:idx val="217"/>
            <c:invertIfNegative val="1"/>
            <c:bubble3D val="0"/>
            <c:spPr>
              <a:solidFill>
                <a:srgbClr val="00A097"/>
              </a:solidFill>
            </c:spPr>
            <c:extLst>
              <c:ext xmlns:c16="http://schemas.microsoft.com/office/drawing/2014/chart" uri="{C3380CC4-5D6E-409C-BE32-E72D297353CC}">
                <c16:uniqueId val="{000001B5-26BF-40B0-8A43-EC10D791E60B}"/>
              </c:ext>
            </c:extLst>
          </c:dPt>
          <c:dPt>
            <c:idx val="218"/>
            <c:invertIfNegative val="1"/>
            <c:bubble3D val="0"/>
            <c:spPr>
              <a:solidFill>
                <a:srgbClr val="00A097"/>
              </a:solidFill>
            </c:spPr>
            <c:extLst>
              <c:ext xmlns:c16="http://schemas.microsoft.com/office/drawing/2014/chart" uri="{C3380CC4-5D6E-409C-BE32-E72D297353CC}">
                <c16:uniqueId val="{000001B7-26BF-40B0-8A43-EC10D791E60B}"/>
              </c:ext>
            </c:extLst>
          </c:dPt>
          <c:dPt>
            <c:idx val="219"/>
            <c:invertIfNegative val="1"/>
            <c:bubble3D val="0"/>
            <c:spPr>
              <a:solidFill>
                <a:srgbClr val="00A097"/>
              </a:solidFill>
            </c:spPr>
            <c:extLst>
              <c:ext xmlns:c16="http://schemas.microsoft.com/office/drawing/2014/chart" uri="{C3380CC4-5D6E-409C-BE32-E72D297353CC}">
                <c16:uniqueId val="{000001B9-26BF-40B0-8A43-EC10D791E60B}"/>
              </c:ext>
            </c:extLst>
          </c:dPt>
          <c:dPt>
            <c:idx val="220"/>
            <c:invertIfNegative val="1"/>
            <c:bubble3D val="0"/>
            <c:spPr>
              <a:solidFill>
                <a:srgbClr val="00A097"/>
              </a:solidFill>
            </c:spPr>
            <c:extLst>
              <c:ext xmlns:c16="http://schemas.microsoft.com/office/drawing/2014/chart" uri="{C3380CC4-5D6E-409C-BE32-E72D297353CC}">
                <c16:uniqueId val="{000001BB-26BF-40B0-8A43-EC10D791E60B}"/>
              </c:ext>
            </c:extLst>
          </c:dPt>
          <c:dPt>
            <c:idx val="221"/>
            <c:invertIfNegative val="1"/>
            <c:bubble3D val="0"/>
            <c:spPr>
              <a:solidFill>
                <a:srgbClr val="00A097"/>
              </a:solidFill>
            </c:spPr>
            <c:extLst>
              <c:ext xmlns:c16="http://schemas.microsoft.com/office/drawing/2014/chart" uri="{C3380CC4-5D6E-409C-BE32-E72D297353CC}">
                <c16:uniqueId val="{000001BD-26BF-40B0-8A43-EC10D791E60B}"/>
              </c:ext>
            </c:extLst>
          </c:dPt>
          <c:dPt>
            <c:idx val="222"/>
            <c:invertIfNegative val="1"/>
            <c:bubble3D val="0"/>
            <c:spPr>
              <a:solidFill>
                <a:srgbClr val="00A097"/>
              </a:solidFill>
            </c:spPr>
            <c:extLst>
              <c:ext xmlns:c16="http://schemas.microsoft.com/office/drawing/2014/chart" uri="{C3380CC4-5D6E-409C-BE32-E72D297353CC}">
                <c16:uniqueId val="{000001BF-26BF-40B0-8A43-EC10D791E60B}"/>
              </c:ext>
            </c:extLst>
          </c:dPt>
          <c:dPt>
            <c:idx val="223"/>
            <c:invertIfNegative val="1"/>
            <c:bubble3D val="0"/>
            <c:spPr>
              <a:solidFill>
                <a:srgbClr val="00A097"/>
              </a:solidFill>
            </c:spPr>
            <c:extLst>
              <c:ext xmlns:c16="http://schemas.microsoft.com/office/drawing/2014/chart" uri="{C3380CC4-5D6E-409C-BE32-E72D297353CC}">
                <c16:uniqueId val="{000001C1-26BF-40B0-8A43-EC10D791E60B}"/>
              </c:ext>
            </c:extLst>
          </c:dPt>
          <c:dPt>
            <c:idx val="224"/>
            <c:invertIfNegative val="1"/>
            <c:bubble3D val="0"/>
            <c:spPr>
              <a:solidFill>
                <a:srgbClr val="00A097"/>
              </a:solidFill>
            </c:spPr>
            <c:extLst>
              <c:ext xmlns:c16="http://schemas.microsoft.com/office/drawing/2014/chart" uri="{C3380CC4-5D6E-409C-BE32-E72D297353CC}">
                <c16:uniqueId val="{000001C3-26BF-40B0-8A43-EC10D791E60B}"/>
              </c:ext>
            </c:extLst>
          </c:dPt>
          <c:dPt>
            <c:idx val="225"/>
            <c:invertIfNegative val="1"/>
            <c:bubble3D val="0"/>
            <c:spPr>
              <a:solidFill>
                <a:srgbClr val="00A097"/>
              </a:solidFill>
            </c:spPr>
            <c:extLst>
              <c:ext xmlns:c16="http://schemas.microsoft.com/office/drawing/2014/chart" uri="{C3380CC4-5D6E-409C-BE32-E72D297353CC}">
                <c16:uniqueId val="{000001C5-26BF-40B0-8A43-EC10D791E60B}"/>
              </c:ext>
            </c:extLst>
          </c:dPt>
          <c:dPt>
            <c:idx val="226"/>
            <c:invertIfNegative val="1"/>
            <c:bubble3D val="0"/>
            <c:spPr>
              <a:solidFill>
                <a:srgbClr val="00A097"/>
              </a:solidFill>
            </c:spPr>
            <c:extLst>
              <c:ext xmlns:c16="http://schemas.microsoft.com/office/drawing/2014/chart" uri="{C3380CC4-5D6E-409C-BE32-E72D297353CC}">
                <c16:uniqueId val="{000001C7-26BF-40B0-8A43-EC10D791E60B}"/>
              </c:ext>
            </c:extLst>
          </c:dPt>
          <c:dPt>
            <c:idx val="227"/>
            <c:invertIfNegative val="1"/>
            <c:bubble3D val="0"/>
            <c:spPr>
              <a:solidFill>
                <a:srgbClr val="00A097"/>
              </a:solidFill>
            </c:spPr>
            <c:extLst>
              <c:ext xmlns:c16="http://schemas.microsoft.com/office/drawing/2014/chart" uri="{C3380CC4-5D6E-409C-BE32-E72D297353CC}">
                <c16:uniqueId val="{000001C9-26BF-40B0-8A43-EC10D791E60B}"/>
              </c:ext>
            </c:extLst>
          </c:dPt>
          <c:dPt>
            <c:idx val="228"/>
            <c:invertIfNegative val="1"/>
            <c:bubble3D val="0"/>
            <c:spPr>
              <a:solidFill>
                <a:srgbClr val="00A097"/>
              </a:solidFill>
            </c:spPr>
            <c:extLst>
              <c:ext xmlns:c16="http://schemas.microsoft.com/office/drawing/2014/chart" uri="{C3380CC4-5D6E-409C-BE32-E72D297353CC}">
                <c16:uniqueId val="{000001CB-26BF-40B0-8A43-EC10D791E60B}"/>
              </c:ext>
            </c:extLst>
          </c:dPt>
          <c:dPt>
            <c:idx val="229"/>
            <c:invertIfNegative val="1"/>
            <c:bubble3D val="0"/>
            <c:spPr>
              <a:solidFill>
                <a:srgbClr val="00A097"/>
              </a:solidFill>
            </c:spPr>
            <c:extLst>
              <c:ext xmlns:c16="http://schemas.microsoft.com/office/drawing/2014/chart" uri="{C3380CC4-5D6E-409C-BE32-E72D297353CC}">
                <c16:uniqueId val="{000001CD-26BF-40B0-8A43-EC10D791E60B}"/>
              </c:ext>
            </c:extLst>
          </c:dPt>
          <c:dPt>
            <c:idx val="230"/>
            <c:invertIfNegative val="1"/>
            <c:bubble3D val="0"/>
            <c:spPr>
              <a:solidFill>
                <a:srgbClr val="00A097"/>
              </a:solidFill>
            </c:spPr>
            <c:extLst>
              <c:ext xmlns:c16="http://schemas.microsoft.com/office/drawing/2014/chart" uri="{C3380CC4-5D6E-409C-BE32-E72D297353CC}">
                <c16:uniqueId val="{000001CF-26BF-40B0-8A43-EC10D791E60B}"/>
              </c:ext>
            </c:extLst>
          </c:dPt>
          <c:dPt>
            <c:idx val="231"/>
            <c:invertIfNegative val="1"/>
            <c:bubble3D val="0"/>
            <c:spPr>
              <a:solidFill>
                <a:srgbClr val="00A097"/>
              </a:solidFill>
            </c:spPr>
            <c:extLst>
              <c:ext xmlns:c16="http://schemas.microsoft.com/office/drawing/2014/chart" uri="{C3380CC4-5D6E-409C-BE32-E72D297353CC}">
                <c16:uniqueId val="{000001D1-26BF-40B0-8A43-EC10D791E60B}"/>
              </c:ext>
            </c:extLst>
          </c:dPt>
          <c:dPt>
            <c:idx val="232"/>
            <c:invertIfNegative val="1"/>
            <c:bubble3D val="0"/>
            <c:spPr>
              <a:solidFill>
                <a:srgbClr val="00A097"/>
              </a:solidFill>
            </c:spPr>
            <c:extLst>
              <c:ext xmlns:c16="http://schemas.microsoft.com/office/drawing/2014/chart" uri="{C3380CC4-5D6E-409C-BE32-E72D297353CC}">
                <c16:uniqueId val="{000001D3-26BF-40B0-8A43-EC10D791E60B}"/>
              </c:ext>
            </c:extLst>
          </c:dPt>
          <c:dPt>
            <c:idx val="233"/>
            <c:invertIfNegative val="1"/>
            <c:bubble3D val="0"/>
            <c:spPr>
              <a:solidFill>
                <a:srgbClr val="00A097"/>
              </a:solidFill>
            </c:spPr>
            <c:extLst>
              <c:ext xmlns:c16="http://schemas.microsoft.com/office/drawing/2014/chart" uri="{C3380CC4-5D6E-409C-BE32-E72D297353CC}">
                <c16:uniqueId val="{000001D5-26BF-40B0-8A43-EC10D791E60B}"/>
              </c:ext>
            </c:extLst>
          </c:dPt>
          <c:dPt>
            <c:idx val="234"/>
            <c:invertIfNegative val="1"/>
            <c:bubble3D val="0"/>
            <c:spPr>
              <a:solidFill>
                <a:srgbClr val="00A097"/>
              </a:solidFill>
            </c:spPr>
            <c:extLst>
              <c:ext xmlns:c16="http://schemas.microsoft.com/office/drawing/2014/chart" uri="{C3380CC4-5D6E-409C-BE32-E72D297353CC}">
                <c16:uniqueId val="{000001D7-26BF-40B0-8A43-EC10D791E60B}"/>
              </c:ext>
            </c:extLst>
          </c:dPt>
          <c:dPt>
            <c:idx val="235"/>
            <c:invertIfNegative val="1"/>
            <c:bubble3D val="0"/>
            <c:spPr>
              <a:solidFill>
                <a:srgbClr val="00A097"/>
              </a:solidFill>
            </c:spPr>
            <c:extLst>
              <c:ext xmlns:c16="http://schemas.microsoft.com/office/drawing/2014/chart" uri="{C3380CC4-5D6E-409C-BE32-E72D297353CC}">
                <c16:uniqueId val="{000001D9-26BF-40B0-8A43-EC10D791E60B}"/>
              </c:ext>
            </c:extLst>
          </c:dPt>
          <c:dPt>
            <c:idx val="236"/>
            <c:invertIfNegative val="1"/>
            <c:bubble3D val="0"/>
            <c:spPr>
              <a:solidFill>
                <a:srgbClr val="00A097"/>
              </a:solidFill>
            </c:spPr>
            <c:extLst>
              <c:ext xmlns:c16="http://schemas.microsoft.com/office/drawing/2014/chart" uri="{C3380CC4-5D6E-409C-BE32-E72D297353CC}">
                <c16:uniqueId val="{000001DB-26BF-40B0-8A43-EC10D791E60B}"/>
              </c:ext>
            </c:extLst>
          </c:dPt>
          <c:dPt>
            <c:idx val="237"/>
            <c:invertIfNegative val="1"/>
            <c:bubble3D val="0"/>
            <c:spPr>
              <a:solidFill>
                <a:srgbClr val="00A097"/>
              </a:solidFill>
            </c:spPr>
            <c:extLst>
              <c:ext xmlns:c16="http://schemas.microsoft.com/office/drawing/2014/chart" uri="{C3380CC4-5D6E-409C-BE32-E72D297353CC}">
                <c16:uniqueId val="{000001DD-26BF-40B0-8A43-EC10D791E60B}"/>
              </c:ext>
            </c:extLst>
          </c:dPt>
          <c:dPt>
            <c:idx val="238"/>
            <c:invertIfNegative val="1"/>
            <c:bubble3D val="0"/>
            <c:spPr>
              <a:solidFill>
                <a:srgbClr val="00A097"/>
              </a:solidFill>
            </c:spPr>
            <c:extLst>
              <c:ext xmlns:c16="http://schemas.microsoft.com/office/drawing/2014/chart" uri="{C3380CC4-5D6E-409C-BE32-E72D297353CC}">
                <c16:uniqueId val="{000001DF-26BF-40B0-8A43-EC10D791E60B}"/>
              </c:ext>
            </c:extLst>
          </c:dPt>
          <c:dPt>
            <c:idx val="239"/>
            <c:invertIfNegative val="1"/>
            <c:bubble3D val="0"/>
            <c:spPr>
              <a:solidFill>
                <a:srgbClr val="00A097"/>
              </a:solidFill>
            </c:spPr>
            <c:extLst>
              <c:ext xmlns:c16="http://schemas.microsoft.com/office/drawing/2014/chart" uri="{C3380CC4-5D6E-409C-BE32-E72D297353CC}">
                <c16:uniqueId val="{000001E1-26BF-40B0-8A43-EC10D791E60B}"/>
              </c:ext>
            </c:extLst>
          </c:dPt>
          <c:dPt>
            <c:idx val="240"/>
            <c:invertIfNegative val="1"/>
            <c:bubble3D val="0"/>
            <c:spPr>
              <a:solidFill>
                <a:srgbClr val="00A097"/>
              </a:solidFill>
            </c:spPr>
            <c:extLst>
              <c:ext xmlns:c16="http://schemas.microsoft.com/office/drawing/2014/chart" uri="{C3380CC4-5D6E-409C-BE32-E72D297353CC}">
                <c16:uniqueId val="{000001E3-26BF-40B0-8A43-EC10D791E60B}"/>
              </c:ext>
            </c:extLst>
          </c:dPt>
          <c:dPt>
            <c:idx val="241"/>
            <c:invertIfNegative val="1"/>
            <c:bubble3D val="0"/>
            <c:spPr>
              <a:solidFill>
                <a:srgbClr val="00A097"/>
              </a:solidFill>
            </c:spPr>
            <c:extLst>
              <c:ext xmlns:c16="http://schemas.microsoft.com/office/drawing/2014/chart" uri="{C3380CC4-5D6E-409C-BE32-E72D297353CC}">
                <c16:uniqueId val="{000001E5-26BF-40B0-8A43-EC10D791E60B}"/>
              </c:ext>
            </c:extLst>
          </c:dPt>
          <c:dPt>
            <c:idx val="242"/>
            <c:invertIfNegative val="1"/>
            <c:bubble3D val="0"/>
            <c:spPr>
              <a:solidFill>
                <a:srgbClr val="00A097"/>
              </a:solidFill>
            </c:spPr>
            <c:extLst>
              <c:ext xmlns:c16="http://schemas.microsoft.com/office/drawing/2014/chart" uri="{C3380CC4-5D6E-409C-BE32-E72D297353CC}">
                <c16:uniqueId val="{000001E7-26BF-40B0-8A43-EC10D791E60B}"/>
              </c:ext>
            </c:extLst>
          </c:dPt>
          <c:dPt>
            <c:idx val="243"/>
            <c:invertIfNegative val="1"/>
            <c:bubble3D val="0"/>
            <c:spPr>
              <a:solidFill>
                <a:srgbClr val="00A097"/>
              </a:solidFill>
            </c:spPr>
            <c:extLst>
              <c:ext xmlns:c16="http://schemas.microsoft.com/office/drawing/2014/chart" uri="{C3380CC4-5D6E-409C-BE32-E72D297353CC}">
                <c16:uniqueId val="{000001E9-26BF-40B0-8A43-EC10D791E60B}"/>
              </c:ext>
            </c:extLst>
          </c:dPt>
          <c:dPt>
            <c:idx val="244"/>
            <c:invertIfNegative val="1"/>
            <c:bubble3D val="0"/>
            <c:spPr>
              <a:solidFill>
                <a:srgbClr val="00A097"/>
              </a:solidFill>
            </c:spPr>
            <c:extLst>
              <c:ext xmlns:c16="http://schemas.microsoft.com/office/drawing/2014/chart" uri="{C3380CC4-5D6E-409C-BE32-E72D297353CC}">
                <c16:uniqueId val="{000001EB-26BF-40B0-8A43-EC10D791E60B}"/>
              </c:ext>
            </c:extLst>
          </c:dPt>
          <c:dPt>
            <c:idx val="245"/>
            <c:invertIfNegative val="1"/>
            <c:bubble3D val="0"/>
            <c:spPr>
              <a:solidFill>
                <a:srgbClr val="00A097"/>
              </a:solidFill>
            </c:spPr>
            <c:extLst>
              <c:ext xmlns:c16="http://schemas.microsoft.com/office/drawing/2014/chart" uri="{C3380CC4-5D6E-409C-BE32-E72D297353CC}">
                <c16:uniqueId val="{000001ED-26BF-40B0-8A43-EC10D791E60B}"/>
              </c:ext>
            </c:extLst>
          </c:dPt>
          <c:dPt>
            <c:idx val="246"/>
            <c:invertIfNegative val="1"/>
            <c:bubble3D val="0"/>
            <c:spPr>
              <a:solidFill>
                <a:srgbClr val="00A097"/>
              </a:solidFill>
            </c:spPr>
            <c:extLst>
              <c:ext xmlns:c16="http://schemas.microsoft.com/office/drawing/2014/chart" uri="{C3380CC4-5D6E-409C-BE32-E72D297353CC}">
                <c16:uniqueId val="{000001EF-26BF-40B0-8A43-EC10D791E60B}"/>
              </c:ext>
            </c:extLst>
          </c:dPt>
          <c:dPt>
            <c:idx val="247"/>
            <c:invertIfNegative val="1"/>
            <c:bubble3D val="0"/>
            <c:spPr>
              <a:solidFill>
                <a:srgbClr val="00A097"/>
              </a:solidFill>
            </c:spPr>
            <c:extLst>
              <c:ext xmlns:c16="http://schemas.microsoft.com/office/drawing/2014/chart" uri="{C3380CC4-5D6E-409C-BE32-E72D297353CC}">
                <c16:uniqueId val="{000001F1-26BF-40B0-8A43-EC10D791E60B}"/>
              </c:ext>
            </c:extLst>
          </c:dPt>
          <c:dPt>
            <c:idx val="248"/>
            <c:invertIfNegative val="1"/>
            <c:bubble3D val="0"/>
            <c:spPr>
              <a:solidFill>
                <a:srgbClr val="00A097"/>
              </a:solidFill>
            </c:spPr>
            <c:extLst>
              <c:ext xmlns:c16="http://schemas.microsoft.com/office/drawing/2014/chart" uri="{C3380CC4-5D6E-409C-BE32-E72D297353CC}">
                <c16:uniqueId val="{000001F3-26BF-40B0-8A43-EC10D791E60B}"/>
              </c:ext>
            </c:extLst>
          </c:dPt>
          <c:dPt>
            <c:idx val="249"/>
            <c:invertIfNegative val="1"/>
            <c:bubble3D val="0"/>
            <c:spPr>
              <a:solidFill>
                <a:srgbClr val="00A097"/>
              </a:solidFill>
            </c:spPr>
            <c:extLst>
              <c:ext xmlns:c16="http://schemas.microsoft.com/office/drawing/2014/chart" uri="{C3380CC4-5D6E-409C-BE32-E72D297353CC}">
                <c16:uniqueId val="{000001F5-26BF-40B0-8A43-EC10D791E60B}"/>
              </c:ext>
            </c:extLst>
          </c:dPt>
          <c:dPt>
            <c:idx val="250"/>
            <c:invertIfNegative val="1"/>
            <c:bubble3D val="0"/>
            <c:spPr>
              <a:solidFill>
                <a:srgbClr val="00A097"/>
              </a:solidFill>
            </c:spPr>
            <c:extLst>
              <c:ext xmlns:c16="http://schemas.microsoft.com/office/drawing/2014/chart" uri="{C3380CC4-5D6E-409C-BE32-E72D297353CC}">
                <c16:uniqueId val="{000001F7-26BF-40B0-8A43-EC10D791E60B}"/>
              </c:ext>
            </c:extLst>
          </c:dPt>
          <c:dPt>
            <c:idx val="251"/>
            <c:invertIfNegative val="1"/>
            <c:bubble3D val="0"/>
            <c:spPr>
              <a:solidFill>
                <a:srgbClr val="00A097"/>
              </a:solidFill>
            </c:spPr>
            <c:extLst>
              <c:ext xmlns:c16="http://schemas.microsoft.com/office/drawing/2014/chart" uri="{C3380CC4-5D6E-409C-BE32-E72D297353CC}">
                <c16:uniqueId val="{000001F9-26BF-40B0-8A43-EC10D791E60B}"/>
              </c:ext>
            </c:extLst>
          </c:dPt>
          <c:dPt>
            <c:idx val="252"/>
            <c:invertIfNegative val="1"/>
            <c:bubble3D val="0"/>
            <c:spPr>
              <a:solidFill>
                <a:srgbClr val="00A097"/>
              </a:solidFill>
            </c:spPr>
            <c:extLst>
              <c:ext xmlns:c16="http://schemas.microsoft.com/office/drawing/2014/chart" uri="{C3380CC4-5D6E-409C-BE32-E72D297353CC}">
                <c16:uniqueId val="{000001FB-26BF-40B0-8A43-EC10D791E60B}"/>
              </c:ext>
            </c:extLst>
          </c:dPt>
          <c:dPt>
            <c:idx val="253"/>
            <c:invertIfNegative val="1"/>
            <c:bubble3D val="0"/>
            <c:spPr>
              <a:solidFill>
                <a:srgbClr val="00A097"/>
              </a:solidFill>
            </c:spPr>
            <c:extLst>
              <c:ext xmlns:c16="http://schemas.microsoft.com/office/drawing/2014/chart" uri="{C3380CC4-5D6E-409C-BE32-E72D297353CC}">
                <c16:uniqueId val="{000001FD-26BF-40B0-8A43-EC10D791E60B}"/>
              </c:ext>
            </c:extLst>
          </c:dPt>
          <c:dPt>
            <c:idx val="254"/>
            <c:invertIfNegative val="1"/>
            <c:bubble3D val="0"/>
            <c:spPr>
              <a:solidFill>
                <a:srgbClr val="00A097"/>
              </a:solidFill>
            </c:spPr>
            <c:extLst>
              <c:ext xmlns:c16="http://schemas.microsoft.com/office/drawing/2014/chart" uri="{C3380CC4-5D6E-409C-BE32-E72D297353CC}">
                <c16:uniqueId val="{000001FF-26BF-40B0-8A43-EC10D791E60B}"/>
              </c:ext>
            </c:extLst>
          </c:dPt>
          <c:dPt>
            <c:idx val="255"/>
            <c:invertIfNegative val="1"/>
            <c:bubble3D val="0"/>
            <c:spPr>
              <a:solidFill>
                <a:srgbClr val="00A097"/>
              </a:solidFill>
            </c:spPr>
            <c:extLst>
              <c:ext xmlns:c16="http://schemas.microsoft.com/office/drawing/2014/chart" uri="{C3380CC4-5D6E-409C-BE32-E72D297353CC}">
                <c16:uniqueId val="{00000201-26BF-40B0-8A43-EC10D791E60B}"/>
              </c:ext>
            </c:extLst>
          </c:dPt>
          <c:dPt>
            <c:idx val="256"/>
            <c:invertIfNegative val="1"/>
            <c:bubble3D val="0"/>
            <c:spPr>
              <a:solidFill>
                <a:srgbClr val="00A097"/>
              </a:solidFill>
            </c:spPr>
            <c:extLst>
              <c:ext xmlns:c16="http://schemas.microsoft.com/office/drawing/2014/chart" uri="{C3380CC4-5D6E-409C-BE32-E72D297353CC}">
                <c16:uniqueId val="{00000203-26BF-40B0-8A43-EC10D791E60B}"/>
              </c:ext>
            </c:extLst>
          </c:dPt>
          <c:dPt>
            <c:idx val="257"/>
            <c:invertIfNegative val="1"/>
            <c:bubble3D val="0"/>
            <c:spPr>
              <a:solidFill>
                <a:srgbClr val="00A097"/>
              </a:solidFill>
            </c:spPr>
            <c:extLst>
              <c:ext xmlns:c16="http://schemas.microsoft.com/office/drawing/2014/chart" uri="{C3380CC4-5D6E-409C-BE32-E72D297353CC}">
                <c16:uniqueId val="{00000205-26BF-40B0-8A43-EC10D791E60B}"/>
              </c:ext>
            </c:extLst>
          </c:dPt>
          <c:dPt>
            <c:idx val="258"/>
            <c:invertIfNegative val="1"/>
            <c:bubble3D val="0"/>
            <c:spPr>
              <a:solidFill>
                <a:srgbClr val="00A097"/>
              </a:solidFill>
            </c:spPr>
            <c:extLst>
              <c:ext xmlns:c16="http://schemas.microsoft.com/office/drawing/2014/chart" uri="{C3380CC4-5D6E-409C-BE32-E72D297353CC}">
                <c16:uniqueId val="{00000207-26BF-40B0-8A43-EC10D791E60B}"/>
              </c:ext>
            </c:extLst>
          </c:dPt>
          <c:dPt>
            <c:idx val="259"/>
            <c:invertIfNegative val="1"/>
            <c:bubble3D val="0"/>
            <c:spPr>
              <a:solidFill>
                <a:srgbClr val="00A097"/>
              </a:solidFill>
            </c:spPr>
            <c:extLst>
              <c:ext xmlns:c16="http://schemas.microsoft.com/office/drawing/2014/chart" uri="{C3380CC4-5D6E-409C-BE32-E72D297353CC}">
                <c16:uniqueId val="{00000209-26BF-40B0-8A43-EC10D791E60B}"/>
              </c:ext>
            </c:extLst>
          </c:dPt>
          <c:dPt>
            <c:idx val="260"/>
            <c:invertIfNegative val="1"/>
            <c:bubble3D val="0"/>
            <c:spPr>
              <a:solidFill>
                <a:srgbClr val="00A097"/>
              </a:solidFill>
            </c:spPr>
            <c:extLst>
              <c:ext xmlns:c16="http://schemas.microsoft.com/office/drawing/2014/chart" uri="{C3380CC4-5D6E-409C-BE32-E72D297353CC}">
                <c16:uniqueId val="{0000020B-26BF-40B0-8A43-EC10D791E60B}"/>
              </c:ext>
            </c:extLst>
          </c:dPt>
          <c:dPt>
            <c:idx val="261"/>
            <c:invertIfNegative val="1"/>
            <c:bubble3D val="0"/>
            <c:spPr>
              <a:solidFill>
                <a:srgbClr val="00A097"/>
              </a:solidFill>
            </c:spPr>
            <c:extLst>
              <c:ext xmlns:c16="http://schemas.microsoft.com/office/drawing/2014/chart" uri="{C3380CC4-5D6E-409C-BE32-E72D297353CC}">
                <c16:uniqueId val="{0000020D-26BF-40B0-8A43-EC10D791E60B}"/>
              </c:ext>
            </c:extLst>
          </c:dPt>
          <c:dPt>
            <c:idx val="262"/>
            <c:invertIfNegative val="1"/>
            <c:bubble3D val="0"/>
            <c:spPr>
              <a:solidFill>
                <a:srgbClr val="7ECAC4"/>
              </a:solidFill>
            </c:spPr>
            <c:extLst>
              <c:ext xmlns:c16="http://schemas.microsoft.com/office/drawing/2014/chart" uri="{C3380CC4-5D6E-409C-BE32-E72D297353CC}">
                <c16:uniqueId val="{0000020F-26BF-40B0-8A43-EC10D791E60B}"/>
              </c:ext>
            </c:extLst>
          </c:dPt>
          <c:dPt>
            <c:idx val="263"/>
            <c:invertIfNegative val="1"/>
            <c:bubble3D val="0"/>
            <c:spPr>
              <a:solidFill>
                <a:srgbClr val="7ECAC4"/>
              </a:solidFill>
            </c:spPr>
            <c:extLst>
              <c:ext xmlns:c16="http://schemas.microsoft.com/office/drawing/2014/chart" uri="{C3380CC4-5D6E-409C-BE32-E72D297353CC}">
                <c16:uniqueId val="{00000211-26BF-40B0-8A43-EC10D791E60B}"/>
              </c:ext>
            </c:extLst>
          </c:dPt>
          <c:dPt>
            <c:idx val="264"/>
            <c:invertIfNegative val="1"/>
            <c:bubble3D val="0"/>
            <c:spPr>
              <a:solidFill>
                <a:srgbClr val="7ECAC4"/>
              </a:solidFill>
            </c:spPr>
            <c:extLst>
              <c:ext xmlns:c16="http://schemas.microsoft.com/office/drawing/2014/chart" uri="{C3380CC4-5D6E-409C-BE32-E72D297353CC}">
                <c16:uniqueId val="{00000213-26BF-40B0-8A43-EC10D791E60B}"/>
              </c:ext>
            </c:extLst>
          </c:dPt>
          <c:dPt>
            <c:idx val="265"/>
            <c:invertIfNegative val="1"/>
            <c:bubble3D val="0"/>
            <c:spPr>
              <a:solidFill>
                <a:srgbClr val="7ECAC4"/>
              </a:solidFill>
            </c:spPr>
            <c:extLst>
              <c:ext xmlns:c16="http://schemas.microsoft.com/office/drawing/2014/chart" uri="{C3380CC4-5D6E-409C-BE32-E72D297353CC}">
                <c16:uniqueId val="{00000215-26BF-40B0-8A43-EC10D791E60B}"/>
              </c:ext>
            </c:extLst>
          </c:dPt>
          <c:dPt>
            <c:idx val="266"/>
            <c:invertIfNegative val="1"/>
            <c:bubble3D val="0"/>
            <c:spPr>
              <a:solidFill>
                <a:srgbClr val="7ECAC4"/>
              </a:solidFill>
            </c:spPr>
            <c:extLst>
              <c:ext xmlns:c16="http://schemas.microsoft.com/office/drawing/2014/chart" uri="{C3380CC4-5D6E-409C-BE32-E72D297353CC}">
                <c16:uniqueId val="{00000217-26BF-40B0-8A43-EC10D791E60B}"/>
              </c:ext>
            </c:extLst>
          </c:dPt>
          <c:dPt>
            <c:idx val="267"/>
            <c:invertIfNegative val="1"/>
            <c:bubble3D val="0"/>
            <c:spPr>
              <a:solidFill>
                <a:srgbClr val="7ECAC4"/>
              </a:solidFill>
            </c:spPr>
            <c:extLst>
              <c:ext xmlns:c16="http://schemas.microsoft.com/office/drawing/2014/chart" uri="{C3380CC4-5D6E-409C-BE32-E72D297353CC}">
                <c16:uniqueId val="{00000219-26BF-40B0-8A43-EC10D791E60B}"/>
              </c:ext>
            </c:extLst>
          </c:dPt>
          <c:dPt>
            <c:idx val="268"/>
            <c:invertIfNegative val="1"/>
            <c:bubble3D val="0"/>
            <c:spPr>
              <a:solidFill>
                <a:srgbClr val="7ECAC4"/>
              </a:solidFill>
            </c:spPr>
            <c:extLst>
              <c:ext xmlns:c16="http://schemas.microsoft.com/office/drawing/2014/chart" uri="{C3380CC4-5D6E-409C-BE32-E72D297353CC}">
                <c16:uniqueId val="{0000021B-26BF-40B0-8A43-EC10D791E60B}"/>
              </c:ext>
            </c:extLst>
          </c:dPt>
          <c:dPt>
            <c:idx val="269"/>
            <c:invertIfNegative val="1"/>
            <c:bubble3D val="0"/>
            <c:spPr>
              <a:solidFill>
                <a:srgbClr val="7ECAC4"/>
              </a:solidFill>
            </c:spPr>
            <c:extLst>
              <c:ext xmlns:c16="http://schemas.microsoft.com/office/drawing/2014/chart" uri="{C3380CC4-5D6E-409C-BE32-E72D297353CC}">
                <c16:uniqueId val="{0000021D-26BF-40B0-8A43-EC10D791E60B}"/>
              </c:ext>
            </c:extLst>
          </c:dPt>
          <c:dPt>
            <c:idx val="270"/>
            <c:invertIfNegative val="1"/>
            <c:bubble3D val="0"/>
            <c:spPr>
              <a:solidFill>
                <a:srgbClr val="7ECAC4"/>
              </a:solidFill>
            </c:spPr>
            <c:extLst>
              <c:ext xmlns:c16="http://schemas.microsoft.com/office/drawing/2014/chart" uri="{C3380CC4-5D6E-409C-BE32-E72D297353CC}">
                <c16:uniqueId val="{0000021F-26BF-40B0-8A43-EC10D791E60B}"/>
              </c:ext>
            </c:extLst>
          </c:dPt>
          <c:dPt>
            <c:idx val="271"/>
            <c:invertIfNegative val="1"/>
            <c:bubble3D val="0"/>
            <c:spPr>
              <a:solidFill>
                <a:srgbClr val="7ECAC4"/>
              </a:solidFill>
            </c:spPr>
            <c:extLst>
              <c:ext xmlns:c16="http://schemas.microsoft.com/office/drawing/2014/chart" uri="{C3380CC4-5D6E-409C-BE32-E72D297353CC}">
                <c16:uniqueId val="{00000221-26BF-40B0-8A43-EC10D791E60B}"/>
              </c:ext>
            </c:extLst>
          </c:dPt>
          <c:dPt>
            <c:idx val="272"/>
            <c:invertIfNegative val="1"/>
            <c:bubble3D val="0"/>
            <c:spPr>
              <a:solidFill>
                <a:srgbClr val="7ECAC4"/>
              </a:solidFill>
            </c:spPr>
            <c:extLst>
              <c:ext xmlns:c16="http://schemas.microsoft.com/office/drawing/2014/chart" uri="{C3380CC4-5D6E-409C-BE32-E72D297353CC}">
                <c16:uniqueId val="{00000223-26BF-40B0-8A43-EC10D791E60B}"/>
              </c:ext>
            </c:extLst>
          </c:dPt>
          <c:dPt>
            <c:idx val="273"/>
            <c:invertIfNegative val="1"/>
            <c:bubble3D val="0"/>
            <c:spPr>
              <a:solidFill>
                <a:srgbClr val="7ECAC4"/>
              </a:solidFill>
            </c:spPr>
            <c:extLst>
              <c:ext xmlns:c16="http://schemas.microsoft.com/office/drawing/2014/chart" uri="{C3380CC4-5D6E-409C-BE32-E72D297353CC}">
                <c16:uniqueId val="{00000225-26BF-40B0-8A43-EC10D791E60B}"/>
              </c:ext>
            </c:extLst>
          </c:dPt>
          <c:dPt>
            <c:idx val="274"/>
            <c:invertIfNegative val="1"/>
            <c:bubble3D val="0"/>
            <c:spPr>
              <a:solidFill>
                <a:srgbClr val="7ECAC4"/>
              </a:solidFill>
            </c:spPr>
            <c:extLst>
              <c:ext xmlns:c16="http://schemas.microsoft.com/office/drawing/2014/chart" uri="{C3380CC4-5D6E-409C-BE32-E72D297353CC}">
                <c16:uniqueId val="{00000227-26BF-40B0-8A43-EC10D791E60B}"/>
              </c:ext>
            </c:extLst>
          </c:dPt>
          <c:dPt>
            <c:idx val="275"/>
            <c:invertIfNegative val="1"/>
            <c:bubble3D val="0"/>
            <c:spPr>
              <a:solidFill>
                <a:srgbClr val="7ECAC4"/>
              </a:solidFill>
            </c:spPr>
            <c:extLst>
              <c:ext xmlns:c16="http://schemas.microsoft.com/office/drawing/2014/chart" uri="{C3380CC4-5D6E-409C-BE32-E72D297353CC}">
                <c16:uniqueId val="{00000229-26BF-40B0-8A43-EC10D791E60B}"/>
              </c:ext>
            </c:extLst>
          </c:dPt>
          <c:dPt>
            <c:idx val="276"/>
            <c:invertIfNegative val="1"/>
            <c:bubble3D val="0"/>
            <c:spPr>
              <a:solidFill>
                <a:srgbClr val="7ECAC4"/>
              </a:solidFill>
            </c:spPr>
            <c:extLst>
              <c:ext xmlns:c16="http://schemas.microsoft.com/office/drawing/2014/chart" uri="{C3380CC4-5D6E-409C-BE32-E72D297353CC}">
                <c16:uniqueId val="{0000022B-26BF-40B0-8A43-EC10D791E60B}"/>
              </c:ext>
            </c:extLst>
          </c:dPt>
          <c:dPt>
            <c:idx val="277"/>
            <c:invertIfNegative val="1"/>
            <c:bubble3D val="0"/>
            <c:spPr>
              <a:solidFill>
                <a:srgbClr val="7ECAC4"/>
              </a:solidFill>
            </c:spPr>
            <c:extLst>
              <c:ext xmlns:c16="http://schemas.microsoft.com/office/drawing/2014/chart" uri="{C3380CC4-5D6E-409C-BE32-E72D297353CC}">
                <c16:uniqueId val="{0000022D-26BF-40B0-8A43-EC10D791E60B}"/>
              </c:ext>
            </c:extLst>
          </c:dPt>
          <c:dPt>
            <c:idx val="278"/>
            <c:invertIfNegative val="1"/>
            <c:bubble3D val="0"/>
            <c:spPr>
              <a:solidFill>
                <a:srgbClr val="7ECAC4"/>
              </a:solidFill>
            </c:spPr>
            <c:extLst>
              <c:ext xmlns:c16="http://schemas.microsoft.com/office/drawing/2014/chart" uri="{C3380CC4-5D6E-409C-BE32-E72D297353CC}">
                <c16:uniqueId val="{0000022F-26BF-40B0-8A43-EC10D791E60B}"/>
              </c:ext>
            </c:extLst>
          </c:dPt>
          <c:dPt>
            <c:idx val="279"/>
            <c:invertIfNegative val="1"/>
            <c:bubble3D val="0"/>
            <c:spPr>
              <a:solidFill>
                <a:srgbClr val="7ECAC4"/>
              </a:solidFill>
            </c:spPr>
            <c:extLst>
              <c:ext xmlns:c16="http://schemas.microsoft.com/office/drawing/2014/chart" uri="{C3380CC4-5D6E-409C-BE32-E72D297353CC}">
                <c16:uniqueId val="{00000231-26BF-40B0-8A43-EC10D791E60B}"/>
              </c:ext>
            </c:extLst>
          </c:dPt>
          <c:dPt>
            <c:idx val="280"/>
            <c:invertIfNegative val="1"/>
            <c:bubble3D val="0"/>
            <c:spPr>
              <a:solidFill>
                <a:srgbClr val="7ECAC4"/>
              </a:solidFill>
            </c:spPr>
            <c:extLst>
              <c:ext xmlns:c16="http://schemas.microsoft.com/office/drawing/2014/chart" uri="{C3380CC4-5D6E-409C-BE32-E72D297353CC}">
                <c16:uniqueId val="{00000233-26BF-40B0-8A43-EC10D791E60B}"/>
              </c:ext>
            </c:extLst>
          </c:dPt>
          <c:dPt>
            <c:idx val="281"/>
            <c:invertIfNegative val="1"/>
            <c:bubble3D val="0"/>
            <c:spPr>
              <a:solidFill>
                <a:srgbClr val="7ECAC4"/>
              </a:solidFill>
            </c:spPr>
            <c:extLst>
              <c:ext xmlns:c16="http://schemas.microsoft.com/office/drawing/2014/chart" uri="{C3380CC4-5D6E-409C-BE32-E72D297353CC}">
                <c16:uniqueId val="{00000235-26BF-40B0-8A43-EC10D791E60B}"/>
              </c:ext>
            </c:extLst>
          </c:dPt>
          <c:dPt>
            <c:idx val="282"/>
            <c:invertIfNegative val="1"/>
            <c:bubble3D val="0"/>
            <c:spPr>
              <a:solidFill>
                <a:srgbClr val="7ECAC4"/>
              </a:solidFill>
            </c:spPr>
            <c:extLst>
              <c:ext xmlns:c16="http://schemas.microsoft.com/office/drawing/2014/chart" uri="{C3380CC4-5D6E-409C-BE32-E72D297353CC}">
                <c16:uniqueId val="{00000237-26BF-40B0-8A43-EC10D791E60B}"/>
              </c:ext>
            </c:extLst>
          </c:dPt>
          <c:dPt>
            <c:idx val="283"/>
            <c:invertIfNegative val="1"/>
            <c:bubble3D val="0"/>
            <c:spPr>
              <a:solidFill>
                <a:srgbClr val="7ECAC4"/>
              </a:solidFill>
            </c:spPr>
            <c:extLst>
              <c:ext xmlns:c16="http://schemas.microsoft.com/office/drawing/2014/chart" uri="{C3380CC4-5D6E-409C-BE32-E72D297353CC}">
                <c16:uniqueId val="{00000239-26BF-40B0-8A43-EC10D791E60B}"/>
              </c:ext>
            </c:extLst>
          </c:dPt>
          <c:dPt>
            <c:idx val="284"/>
            <c:invertIfNegative val="1"/>
            <c:bubble3D val="0"/>
            <c:spPr>
              <a:solidFill>
                <a:srgbClr val="7ECAC4"/>
              </a:solidFill>
            </c:spPr>
            <c:extLst>
              <c:ext xmlns:c16="http://schemas.microsoft.com/office/drawing/2014/chart" uri="{C3380CC4-5D6E-409C-BE32-E72D297353CC}">
                <c16:uniqueId val="{0000023B-26BF-40B0-8A43-EC10D791E60B}"/>
              </c:ext>
            </c:extLst>
          </c:dPt>
          <c:dPt>
            <c:idx val="285"/>
            <c:invertIfNegative val="1"/>
            <c:bubble3D val="0"/>
            <c:spPr>
              <a:solidFill>
                <a:srgbClr val="7ECAC4"/>
              </a:solidFill>
            </c:spPr>
            <c:extLst>
              <c:ext xmlns:c16="http://schemas.microsoft.com/office/drawing/2014/chart" uri="{C3380CC4-5D6E-409C-BE32-E72D297353CC}">
                <c16:uniqueId val="{0000023D-26BF-40B0-8A43-EC10D791E60B}"/>
              </c:ext>
            </c:extLst>
          </c:dPt>
          <c:dPt>
            <c:idx val="286"/>
            <c:invertIfNegative val="1"/>
            <c:bubble3D val="0"/>
            <c:spPr>
              <a:solidFill>
                <a:srgbClr val="7ECAC4"/>
              </a:solidFill>
            </c:spPr>
            <c:extLst>
              <c:ext xmlns:c16="http://schemas.microsoft.com/office/drawing/2014/chart" uri="{C3380CC4-5D6E-409C-BE32-E72D297353CC}">
                <c16:uniqueId val="{0000023F-26BF-40B0-8A43-EC10D791E60B}"/>
              </c:ext>
            </c:extLst>
          </c:dPt>
          <c:dPt>
            <c:idx val="287"/>
            <c:invertIfNegative val="1"/>
            <c:bubble3D val="0"/>
            <c:spPr>
              <a:solidFill>
                <a:srgbClr val="7ECAC4"/>
              </a:solidFill>
            </c:spPr>
            <c:extLst>
              <c:ext xmlns:c16="http://schemas.microsoft.com/office/drawing/2014/chart" uri="{C3380CC4-5D6E-409C-BE32-E72D297353CC}">
                <c16:uniqueId val="{00000241-26BF-40B0-8A43-EC10D791E60B}"/>
              </c:ext>
            </c:extLst>
          </c:dPt>
          <c:dPt>
            <c:idx val="288"/>
            <c:invertIfNegative val="1"/>
            <c:bubble3D val="0"/>
            <c:spPr>
              <a:solidFill>
                <a:srgbClr val="7ECAC4"/>
              </a:solidFill>
            </c:spPr>
            <c:extLst>
              <c:ext xmlns:c16="http://schemas.microsoft.com/office/drawing/2014/chart" uri="{C3380CC4-5D6E-409C-BE32-E72D297353CC}">
                <c16:uniqueId val="{00000243-26BF-40B0-8A43-EC10D791E60B}"/>
              </c:ext>
            </c:extLst>
          </c:dPt>
          <c:dPt>
            <c:idx val="289"/>
            <c:invertIfNegative val="1"/>
            <c:bubble3D val="0"/>
            <c:spPr>
              <a:solidFill>
                <a:srgbClr val="7ECAC4"/>
              </a:solidFill>
            </c:spPr>
            <c:extLst>
              <c:ext xmlns:c16="http://schemas.microsoft.com/office/drawing/2014/chart" uri="{C3380CC4-5D6E-409C-BE32-E72D297353CC}">
                <c16:uniqueId val="{00000245-26BF-40B0-8A43-EC10D791E60B}"/>
              </c:ext>
            </c:extLst>
          </c:dPt>
          <c:dPt>
            <c:idx val="290"/>
            <c:invertIfNegative val="1"/>
            <c:bubble3D val="0"/>
            <c:spPr>
              <a:solidFill>
                <a:srgbClr val="7ECAC4"/>
              </a:solidFill>
            </c:spPr>
            <c:extLst>
              <c:ext xmlns:c16="http://schemas.microsoft.com/office/drawing/2014/chart" uri="{C3380CC4-5D6E-409C-BE32-E72D297353CC}">
                <c16:uniqueId val="{00000247-26BF-40B0-8A43-EC10D791E60B}"/>
              </c:ext>
            </c:extLst>
          </c:dPt>
          <c:dPt>
            <c:idx val="291"/>
            <c:invertIfNegative val="1"/>
            <c:bubble3D val="0"/>
            <c:spPr>
              <a:solidFill>
                <a:srgbClr val="7ECAC4"/>
              </a:solidFill>
            </c:spPr>
            <c:extLst>
              <c:ext xmlns:c16="http://schemas.microsoft.com/office/drawing/2014/chart" uri="{C3380CC4-5D6E-409C-BE32-E72D297353CC}">
                <c16:uniqueId val="{00000249-26BF-40B0-8A43-EC10D791E60B}"/>
              </c:ext>
            </c:extLst>
          </c:dPt>
          <c:dPt>
            <c:idx val="292"/>
            <c:invertIfNegative val="1"/>
            <c:bubble3D val="0"/>
            <c:spPr>
              <a:solidFill>
                <a:srgbClr val="7ECAC4"/>
              </a:solidFill>
            </c:spPr>
            <c:extLst>
              <c:ext xmlns:c16="http://schemas.microsoft.com/office/drawing/2014/chart" uri="{C3380CC4-5D6E-409C-BE32-E72D297353CC}">
                <c16:uniqueId val="{0000024B-26BF-40B0-8A43-EC10D791E60B}"/>
              </c:ext>
            </c:extLst>
          </c:dPt>
          <c:dPt>
            <c:idx val="293"/>
            <c:invertIfNegative val="1"/>
            <c:bubble3D val="0"/>
            <c:spPr>
              <a:solidFill>
                <a:srgbClr val="7ECAC4"/>
              </a:solidFill>
            </c:spPr>
            <c:extLst>
              <c:ext xmlns:c16="http://schemas.microsoft.com/office/drawing/2014/chart" uri="{C3380CC4-5D6E-409C-BE32-E72D297353CC}">
                <c16:uniqueId val="{0000024D-26BF-40B0-8A43-EC10D791E60B}"/>
              </c:ext>
            </c:extLst>
          </c:dPt>
          <c:dPt>
            <c:idx val="294"/>
            <c:invertIfNegative val="1"/>
            <c:bubble3D val="0"/>
            <c:spPr>
              <a:solidFill>
                <a:srgbClr val="7ECAC4"/>
              </a:solidFill>
            </c:spPr>
            <c:extLst>
              <c:ext xmlns:c16="http://schemas.microsoft.com/office/drawing/2014/chart" uri="{C3380CC4-5D6E-409C-BE32-E72D297353CC}">
                <c16:uniqueId val="{0000024F-26BF-40B0-8A43-EC10D791E60B}"/>
              </c:ext>
            </c:extLst>
          </c:dPt>
          <c:dPt>
            <c:idx val="295"/>
            <c:invertIfNegative val="1"/>
            <c:bubble3D val="0"/>
            <c:spPr>
              <a:solidFill>
                <a:srgbClr val="7ECAC4"/>
              </a:solidFill>
            </c:spPr>
            <c:extLst>
              <c:ext xmlns:c16="http://schemas.microsoft.com/office/drawing/2014/chart" uri="{C3380CC4-5D6E-409C-BE32-E72D297353CC}">
                <c16:uniqueId val="{00000251-26BF-40B0-8A43-EC10D791E60B}"/>
              </c:ext>
            </c:extLst>
          </c:dPt>
          <c:dPt>
            <c:idx val="296"/>
            <c:invertIfNegative val="1"/>
            <c:bubble3D val="0"/>
            <c:spPr>
              <a:solidFill>
                <a:srgbClr val="7ECAC4"/>
              </a:solidFill>
            </c:spPr>
            <c:extLst>
              <c:ext xmlns:c16="http://schemas.microsoft.com/office/drawing/2014/chart" uri="{C3380CC4-5D6E-409C-BE32-E72D297353CC}">
                <c16:uniqueId val="{00000253-26BF-40B0-8A43-EC10D791E60B}"/>
              </c:ext>
            </c:extLst>
          </c:dPt>
          <c:dPt>
            <c:idx val="297"/>
            <c:invertIfNegative val="1"/>
            <c:bubble3D val="0"/>
            <c:spPr>
              <a:solidFill>
                <a:srgbClr val="7ECAC4"/>
              </a:solidFill>
            </c:spPr>
            <c:extLst>
              <c:ext xmlns:c16="http://schemas.microsoft.com/office/drawing/2014/chart" uri="{C3380CC4-5D6E-409C-BE32-E72D297353CC}">
                <c16:uniqueId val="{00000255-26BF-40B0-8A43-EC10D791E60B}"/>
              </c:ext>
            </c:extLst>
          </c:dPt>
          <c:dPt>
            <c:idx val="298"/>
            <c:invertIfNegative val="1"/>
            <c:bubble3D val="0"/>
            <c:spPr>
              <a:solidFill>
                <a:srgbClr val="7ECAC4"/>
              </a:solidFill>
            </c:spPr>
            <c:extLst>
              <c:ext xmlns:c16="http://schemas.microsoft.com/office/drawing/2014/chart" uri="{C3380CC4-5D6E-409C-BE32-E72D297353CC}">
                <c16:uniqueId val="{00000257-26BF-40B0-8A43-EC10D791E60B}"/>
              </c:ext>
            </c:extLst>
          </c:dPt>
          <c:dPt>
            <c:idx val="299"/>
            <c:invertIfNegative val="1"/>
            <c:bubble3D val="0"/>
            <c:spPr>
              <a:solidFill>
                <a:srgbClr val="7ECAC4"/>
              </a:solidFill>
            </c:spPr>
            <c:extLst>
              <c:ext xmlns:c16="http://schemas.microsoft.com/office/drawing/2014/chart" uri="{C3380CC4-5D6E-409C-BE32-E72D297353CC}">
                <c16:uniqueId val="{00000259-26BF-40B0-8A43-EC10D791E60B}"/>
              </c:ext>
            </c:extLst>
          </c:dPt>
          <c:dPt>
            <c:idx val="300"/>
            <c:invertIfNegative val="1"/>
            <c:bubble3D val="0"/>
            <c:spPr>
              <a:solidFill>
                <a:srgbClr val="7ECAC4"/>
              </a:solidFill>
            </c:spPr>
            <c:extLst>
              <c:ext xmlns:c16="http://schemas.microsoft.com/office/drawing/2014/chart" uri="{C3380CC4-5D6E-409C-BE32-E72D297353CC}">
                <c16:uniqueId val="{0000025B-26BF-40B0-8A43-EC10D791E60B}"/>
              </c:ext>
            </c:extLst>
          </c:dPt>
          <c:dPt>
            <c:idx val="301"/>
            <c:invertIfNegative val="1"/>
            <c:bubble3D val="0"/>
            <c:spPr>
              <a:solidFill>
                <a:srgbClr val="7ECAC4"/>
              </a:solidFill>
            </c:spPr>
            <c:extLst>
              <c:ext xmlns:c16="http://schemas.microsoft.com/office/drawing/2014/chart" uri="{C3380CC4-5D6E-409C-BE32-E72D297353CC}">
                <c16:uniqueId val="{0000025D-26BF-40B0-8A43-EC10D791E60B}"/>
              </c:ext>
            </c:extLst>
          </c:dPt>
          <c:dPt>
            <c:idx val="302"/>
            <c:invertIfNegative val="1"/>
            <c:bubble3D val="0"/>
            <c:spPr>
              <a:solidFill>
                <a:srgbClr val="7ECAC4"/>
              </a:solidFill>
            </c:spPr>
            <c:extLst>
              <c:ext xmlns:c16="http://schemas.microsoft.com/office/drawing/2014/chart" uri="{C3380CC4-5D6E-409C-BE32-E72D297353CC}">
                <c16:uniqueId val="{0000025F-26BF-40B0-8A43-EC10D791E60B}"/>
              </c:ext>
            </c:extLst>
          </c:dPt>
          <c:dPt>
            <c:idx val="303"/>
            <c:invertIfNegative val="1"/>
            <c:bubble3D val="0"/>
            <c:spPr>
              <a:solidFill>
                <a:srgbClr val="7ECAC4"/>
              </a:solidFill>
            </c:spPr>
            <c:extLst>
              <c:ext xmlns:c16="http://schemas.microsoft.com/office/drawing/2014/chart" uri="{C3380CC4-5D6E-409C-BE32-E72D297353CC}">
                <c16:uniqueId val="{00000261-26BF-40B0-8A43-EC10D791E60B}"/>
              </c:ext>
            </c:extLst>
          </c:dPt>
          <c:dPt>
            <c:idx val="304"/>
            <c:invertIfNegative val="1"/>
            <c:bubble3D val="0"/>
            <c:spPr>
              <a:solidFill>
                <a:srgbClr val="7ECAC4"/>
              </a:solidFill>
            </c:spPr>
            <c:extLst>
              <c:ext xmlns:c16="http://schemas.microsoft.com/office/drawing/2014/chart" uri="{C3380CC4-5D6E-409C-BE32-E72D297353CC}">
                <c16:uniqueId val="{00000263-26BF-40B0-8A43-EC10D791E60B}"/>
              </c:ext>
            </c:extLst>
          </c:dPt>
          <c:dPt>
            <c:idx val="305"/>
            <c:invertIfNegative val="1"/>
            <c:bubble3D val="0"/>
            <c:spPr>
              <a:solidFill>
                <a:srgbClr val="7ECAC4"/>
              </a:solidFill>
            </c:spPr>
            <c:extLst>
              <c:ext xmlns:c16="http://schemas.microsoft.com/office/drawing/2014/chart" uri="{C3380CC4-5D6E-409C-BE32-E72D297353CC}">
                <c16:uniqueId val="{00000265-26BF-40B0-8A43-EC10D791E60B}"/>
              </c:ext>
            </c:extLst>
          </c:dPt>
          <c:dPt>
            <c:idx val="306"/>
            <c:invertIfNegative val="1"/>
            <c:bubble3D val="0"/>
            <c:spPr>
              <a:solidFill>
                <a:srgbClr val="7ECAC4"/>
              </a:solidFill>
            </c:spPr>
            <c:extLst>
              <c:ext xmlns:c16="http://schemas.microsoft.com/office/drawing/2014/chart" uri="{C3380CC4-5D6E-409C-BE32-E72D297353CC}">
                <c16:uniqueId val="{00000267-26BF-40B0-8A43-EC10D791E60B}"/>
              </c:ext>
            </c:extLst>
          </c:dPt>
          <c:dPt>
            <c:idx val="307"/>
            <c:invertIfNegative val="1"/>
            <c:bubble3D val="0"/>
            <c:spPr>
              <a:solidFill>
                <a:srgbClr val="7ECAC4"/>
              </a:solidFill>
            </c:spPr>
            <c:extLst>
              <c:ext xmlns:c16="http://schemas.microsoft.com/office/drawing/2014/chart" uri="{C3380CC4-5D6E-409C-BE32-E72D297353CC}">
                <c16:uniqueId val="{00000269-26BF-40B0-8A43-EC10D791E60B}"/>
              </c:ext>
            </c:extLst>
          </c:dPt>
          <c:dPt>
            <c:idx val="308"/>
            <c:invertIfNegative val="1"/>
            <c:bubble3D val="0"/>
            <c:spPr>
              <a:solidFill>
                <a:srgbClr val="7ECAC4"/>
              </a:solidFill>
            </c:spPr>
            <c:extLst>
              <c:ext xmlns:c16="http://schemas.microsoft.com/office/drawing/2014/chart" uri="{C3380CC4-5D6E-409C-BE32-E72D297353CC}">
                <c16:uniqueId val="{0000026B-26BF-40B0-8A43-EC10D791E60B}"/>
              </c:ext>
            </c:extLst>
          </c:dPt>
          <c:dPt>
            <c:idx val="309"/>
            <c:invertIfNegative val="1"/>
            <c:bubble3D val="0"/>
            <c:spPr>
              <a:solidFill>
                <a:srgbClr val="7ECAC4"/>
              </a:solidFill>
            </c:spPr>
            <c:extLst>
              <c:ext xmlns:c16="http://schemas.microsoft.com/office/drawing/2014/chart" uri="{C3380CC4-5D6E-409C-BE32-E72D297353CC}">
                <c16:uniqueId val="{0000026D-26BF-40B0-8A43-EC10D791E60B}"/>
              </c:ext>
            </c:extLst>
          </c:dPt>
          <c:dPt>
            <c:idx val="310"/>
            <c:invertIfNegative val="1"/>
            <c:bubble3D val="0"/>
            <c:spPr>
              <a:solidFill>
                <a:srgbClr val="7ECAC4"/>
              </a:solidFill>
            </c:spPr>
            <c:extLst>
              <c:ext xmlns:c16="http://schemas.microsoft.com/office/drawing/2014/chart" uri="{C3380CC4-5D6E-409C-BE32-E72D297353CC}">
                <c16:uniqueId val="{0000026F-26BF-40B0-8A43-EC10D791E60B}"/>
              </c:ext>
            </c:extLst>
          </c:dPt>
          <c:dPt>
            <c:idx val="311"/>
            <c:invertIfNegative val="1"/>
            <c:bubble3D val="0"/>
            <c:spPr>
              <a:solidFill>
                <a:srgbClr val="7ECAC4"/>
              </a:solidFill>
            </c:spPr>
            <c:extLst>
              <c:ext xmlns:c16="http://schemas.microsoft.com/office/drawing/2014/chart" uri="{C3380CC4-5D6E-409C-BE32-E72D297353CC}">
                <c16:uniqueId val="{00000271-26BF-40B0-8A43-EC10D791E60B}"/>
              </c:ext>
            </c:extLst>
          </c:dPt>
          <c:dPt>
            <c:idx val="312"/>
            <c:invertIfNegative val="1"/>
            <c:bubble3D val="0"/>
            <c:spPr>
              <a:solidFill>
                <a:srgbClr val="7ECAC4"/>
              </a:solidFill>
            </c:spPr>
            <c:extLst>
              <c:ext xmlns:c16="http://schemas.microsoft.com/office/drawing/2014/chart" uri="{C3380CC4-5D6E-409C-BE32-E72D297353CC}">
                <c16:uniqueId val="{00000273-26BF-40B0-8A43-EC10D791E60B}"/>
              </c:ext>
            </c:extLst>
          </c:dPt>
          <c:dPt>
            <c:idx val="313"/>
            <c:invertIfNegative val="1"/>
            <c:bubble3D val="0"/>
            <c:spPr>
              <a:solidFill>
                <a:srgbClr val="7ECAC4"/>
              </a:solidFill>
            </c:spPr>
            <c:extLst>
              <c:ext xmlns:c16="http://schemas.microsoft.com/office/drawing/2014/chart" uri="{C3380CC4-5D6E-409C-BE32-E72D297353CC}">
                <c16:uniqueId val="{00000275-26BF-40B0-8A43-EC10D791E60B}"/>
              </c:ext>
            </c:extLst>
          </c:dPt>
          <c:dPt>
            <c:idx val="314"/>
            <c:invertIfNegative val="1"/>
            <c:bubble3D val="0"/>
            <c:spPr>
              <a:solidFill>
                <a:srgbClr val="7ECAC4"/>
              </a:solidFill>
            </c:spPr>
            <c:extLst>
              <c:ext xmlns:c16="http://schemas.microsoft.com/office/drawing/2014/chart" uri="{C3380CC4-5D6E-409C-BE32-E72D297353CC}">
                <c16:uniqueId val="{00000277-26BF-40B0-8A43-EC10D791E60B}"/>
              </c:ext>
            </c:extLst>
          </c:dPt>
          <c:dPt>
            <c:idx val="315"/>
            <c:invertIfNegative val="1"/>
            <c:bubble3D val="0"/>
            <c:spPr>
              <a:solidFill>
                <a:srgbClr val="7ECAC4"/>
              </a:solidFill>
            </c:spPr>
            <c:extLst>
              <c:ext xmlns:c16="http://schemas.microsoft.com/office/drawing/2014/chart" uri="{C3380CC4-5D6E-409C-BE32-E72D297353CC}">
                <c16:uniqueId val="{00000279-26BF-40B0-8A43-EC10D791E60B}"/>
              </c:ext>
            </c:extLst>
          </c:dPt>
          <c:dPt>
            <c:idx val="316"/>
            <c:invertIfNegative val="1"/>
            <c:bubble3D val="0"/>
            <c:spPr>
              <a:solidFill>
                <a:srgbClr val="7ECAC4"/>
              </a:solidFill>
            </c:spPr>
            <c:extLst>
              <c:ext xmlns:c16="http://schemas.microsoft.com/office/drawing/2014/chart" uri="{C3380CC4-5D6E-409C-BE32-E72D297353CC}">
                <c16:uniqueId val="{0000027B-26BF-40B0-8A43-EC10D791E60B}"/>
              </c:ext>
            </c:extLst>
          </c:dPt>
          <c:dPt>
            <c:idx val="317"/>
            <c:invertIfNegative val="1"/>
            <c:bubble3D val="0"/>
            <c:spPr>
              <a:solidFill>
                <a:srgbClr val="7ECAC4"/>
              </a:solidFill>
            </c:spPr>
            <c:extLst>
              <c:ext xmlns:c16="http://schemas.microsoft.com/office/drawing/2014/chart" uri="{C3380CC4-5D6E-409C-BE32-E72D297353CC}">
                <c16:uniqueId val="{0000027D-26BF-40B0-8A43-EC10D791E60B}"/>
              </c:ext>
            </c:extLst>
          </c:dPt>
          <c:dPt>
            <c:idx val="318"/>
            <c:invertIfNegative val="1"/>
            <c:bubble3D val="0"/>
            <c:spPr>
              <a:solidFill>
                <a:srgbClr val="7ECAC4"/>
              </a:solidFill>
            </c:spPr>
            <c:extLst>
              <c:ext xmlns:c16="http://schemas.microsoft.com/office/drawing/2014/chart" uri="{C3380CC4-5D6E-409C-BE32-E72D297353CC}">
                <c16:uniqueId val="{0000027F-26BF-40B0-8A43-EC10D791E60B}"/>
              </c:ext>
            </c:extLst>
          </c:dPt>
          <c:dPt>
            <c:idx val="319"/>
            <c:invertIfNegative val="1"/>
            <c:bubble3D val="0"/>
            <c:spPr>
              <a:solidFill>
                <a:srgbClr val="7ECAC4"/>
              </a:solidFill>
            </c:spPr>
            <c:extLst>
              <c:ext xmlns:c16="http://schemas.microsoft.com/office/drawing/2014/chart" uri="{C3380CC4-5D6E-409C-BE32-E72D297353CC}">
                <c16:uniqueId val="{00000281-26BF-40B0-8A43-EC10D791E60B}"/>
              </c:ext>
            </c:extLst>
          </c:dPt>
          <c:dPt>
            <c:idx val="320"/>
            <c:invertIfNegative val="1"/>
            <c:bubble3D val="0"/>
            <c:spPr>
              <a:solidFill>
                <a:srgbClr val="7ECAC4"/>
              </a:solidFill>
            </c:spPr>
            <c:extLst>
              <c:ext xmlns:c16="http://schemas.microsoft.com/office/drawing/2014/chart" uri="{C3380CC4-5D6E-409C-BE32-E72D297353CC}">
                <c16:uniqueId val="{00000283-26BF-40B0-8A43-EC10D791E60B}"/>
              </c:ext>
            </c:extLst>
          </c:dPt>
          <c:dPt>
            <c:idx val="321"/>
            <c:invertIfNegative val="1"/>
            <c:bubble3D val="0"/>
            <c:spPr>
              <a:solidFill>
                <a:srgbClr val="7ECAC4"/>
              </a:solidFill>
            </c:spPr>
            <c:extLst>
              <c:ext xmlns:c16="http://schemas.microsoft.com/office/drawing/2014/chart" uri="{C3380CC4-5D6E-409C-BE32-E72D297353CC}">
                <c16:uniqueId val="{00000285-26BF-40B0-8A43-EC10D791E60B}"/>
              </c:ext>
            </c:extLst>
          </c:dPt>
          <c:dPt>
            <c:idx val="322"/>
            <c:invertIfNegative val="1"/>
            <c:bubble3D val="0"/>
            <c:spPr>
              <a:solidFill>
                <a:srgbClr val="7ECAC4"/>
              </a:solidFill>
            </c:spPr>
            <c:extLst>
              <c:ext xmlns:c16="http://schemas.microsoft.com/office/drawing/2014/chart" uri="{C3380CC4-5D6E-409C-BE32-E72D297353CC}">
                <c16:uniqueId val="{00000287-26BF-40B0-8A43-EC10D791E60B}"/>
              </c:ext>
            </c:extLst>
          </c:dPt>
          <c:dPt>
            <c:idx val="323"/>
            <c:invertIfNegative val="1"/>
            <c:bubble3D val="0"/>
            <c:spPr>
              <a:solidFill>
                <a:srgbClr val="7ECAC4"/>
              </a:solidFill>
            </c:spPr>
            <c:extLst>
              <c:ext xmlns:c16="http://schemas.microsoft.com/office/drawing/2014/chart" uri="{C3380CC4-5D6E-409C-BE32-E72D297353CC}">
                <c16:uniqueId val="{00000289-26BF-40B0-8A43-EC10D791E60B}"/>
              </c:ext>
            </c:extLst>
          </c:dPt>
          <c:dPt>
            <c:idx val="324"/>
            <c:invertIfNegative val="1"/>
            <c:bubble3D val="0"/>
            <c:spPr>
              <a:solidFill>
                <a:srgbClr val="7ECAC4"/>
              </a:solidFill>
            </c:spPr>
            <c:extLst>
              <c:ext xmlns:c16="http://schemas.microsoft.com/office/drawing/2014/chart" uri="{C3380CC4-5D6E-409C-BE32-E72D297353CC}">
                <c16:uniqueId val="{0000028B-26BF-40B0-8A43-EC10D791E60B}"/>
              </c:ext>
            </c:extLst>
          </c:dPt>
          <c:dPt>
            <c:idx val="325"/>
            <c:invertIfNegative val="1"/>
            <c:bubble3D val="0"/>
            <c:spPr>
              <a:solidFill>
                <a:srgbClr val="7ECAC4"/>
              </a:solidFill>
            </c:spPr>
            <c:extLst>
              <c:ext xmlns:c16="http://schemas.microsoft.com/office/drawing/2014/chart" uri="{C3380CC4-5D6E-409C-BE32-E72D297353CC}">
                <c16:uniqueId val="{0000028D-26BF-40B0-8A43-EC10D791E60B}"/>
              </c:ext>
            </c:extLst>
          </c:dPt>
          <c:dPt>
            <c:idx val="326"/>
            <c:invertIfNegative val="1"/>
            <c:bubble3D val="0"/>
            <c:spPr>
              <a:solidFill>
                <a:srgbClr val="7ECAC4"/>
              </a:solidFill>
            </c:spPr>
            <c:extLst>
              <c:ext xmlns:c16="http://schemas.microsoft.com/office/drawing/2014/chart" uri="{C3380CC4-5D6E-409C-BE32-E72D297353CC}">
                <c16:uniqueId val="{0000028F-26BF-40B0-8A43-EC10D791E60B}"/>
              </c:ext>
            </c:extLst>
          </c:dPt>
          <c:dPt>
            <c:idx val="327"/>
            <c:invertIfNegative val="1"/>
            <c:bubble3D val="0"/>
            <c:spPr>
              <a:solidFill>
                <a:srgbClr val="7ECAC4"/>
              </a:solidFill>
            </c:spPr>
            <c:extLst>
              <c:ext xmlns:c16="http://schemas.microsoft.com/office/drawing/2014/chart" uri="{C3380CC4-5D6E-409C-BE32-E72D297353CC}">
                <c16:uniqueId val="{00000291-26BF-40B0-8A43-EC10D791E60B}"/>
              </c:ext>
            </c:extLst>
          </c:dPt>
          <c:dPt>
            <c:idx val="328"/>
            <c:invertIfNegative val="1"/>
            <c:bubble3D val="0"/>
            <c:spPr>
              <a:solidFill>
                <a:srgbClr val="7ECAC4"/>
              </a:solidFill>
            </c:spPr>
            <c:extLst>
              <c:ext xmlns:c16="http://schemas.microsoft.com/office/drawing/2014/chart" uri="{C3380CC4-5D6E-409C-BE32-E72D297353CC}">
                <c16:uniqueId val="{00000293-26BF-40B0-8A43-EC10D791E60B}"/>
              </c:ext>
            </c:extLst>
          </c:dPt>
          <c:dPt>
            <c:idx val="329"/>
            <c:invertIfNegative val="1"/>
            <c:bubble3D val="0"/>
            <c:spPr>
              <a:solidFill>
                <a:srgbClr val="7ECAC4"/>
              </a:solidFill>
            </c:spPr>
            <c:extLst>
              <c:ext xmlns:c16="http://schemas.microsoft.com/office/drawing/2014/chart" uri="{C3380CC4-5D6E-409C-BE32-E72D297353CC}">
                <c16:uniqueId val="{00000295-26BF-40B0-8A43-EC10D791E60B}"/>
              </c:ext>
            </c:extLst>
          </c:dPt>
          <c:dPt>
            <c:idx val="330"/>
            <c:invertIfNegative val="1"/>
            <c:bubble3D val="0"/>
            <c:spPr>
              <a:solidFill>
                <a:srgbClr val="7ECAC4"/>
              </a:solidFill>
            </c:spPr>
            <c:extLst>
              <c:ext xmlns:c16="http://schemas.microsoft.com/office/drawing/2014/chart" uri="{C3380CC4-5D6E-409C-BE32-E72D297353CC}">
                <c16:uniqueId val="{00000297-26BF-40B0-8A43-EC10D791E60B}"/>
              </c:ext>
            </c:extLst>
          </c:dPt>
          <c:dPt>
            <c:idx val="331"/>
            <c:invertIfNegative val="1"/>
            <c:bubble3D val="0"/>
            <c:spPr>
              <a:solidFill>
                <a:srgbClr val="7ECAC4"/>
              </a:solidFill>
            </c:spPr>
            <c:extLst>
              <c:ext xmlns:c16="http://schemas.microsoft.com/office/drawing/2014/chart" uri="{C3380CC4-5D6E-409C-BE32-E72D297353CC}">
                <c16:uniqueId val="{00000299-26BF-40B0-8A43-EC10D791E60B}"/>
              </c:ext>
            </c:extLst>
          </c:dPt>
          <c:dPt>
            <c:idx val="332"/>
            <c:invertIfNegative val="1"/>
            <c:bubble3D val="0"/>
            <c:spPr>
              <a:solidFill>
                <a:srgbClr val="7ECAC4"/>
              </a:solidFill>
            </c:spPr>
            <c:extLst>
              <c:ext xmlns:c16="http://schemas.microsoft.com/office/drawing/2014/chart" uri="{C3380CC4-5D6E-409C-BE32-E72D297353CC}">
                <c16:uniqueId val="{0000029B-26BF-40B0-8A43-EC10D791E60B}"/>
              </c:ext>
            </c:extLst>
          </c:dPt>
          <c:dPt>
            <c:idx val="333"/>
            <c:invertIfNegative val="1"/>
            <c:bubble3D val="0"/>
            <c:spPr>
              <a:solidFill>
                <a:srgbClr val="7ECAC4"/>
              </a:solidFill>
            </c:spPr>
            <c:extLst>
              <c:ext xmlns:c16="http://schemas.microsoft.com/office/drawing/2014/chart" uri="{C3380CC4-5D6E-409C-BE32-E72D297353CC}">
                <c16:uniqueId val="{0000029D-26BF-40B0-8A43-EC10D791E60B}"/>
              </c:ext>
            </c:extLst>
          </c:dPt>
          <c:dPt>
            <c:idx val="334"/>
            <c:invertIfNegative val="1"/>
            <c:bubble3D val="0"/>
            <c:spPr>
              <a:solidFill>
                <a:srgbClr val="7ECAC4"/>
              </a:solidFill>
            </c:spPr>
            <c:extLst>
              <c:ext xmlns:c16="http://schemas.microsoft.com/office/drawing/2014/chart" uri="{C3380CC4-5D6E-409C-BE32-E72D297353CC}">
                <c16:uniqueId val="{0000029F-26BF-40B0-8A43-EC10D791E60B}"/>
              </c:ext>
            </c:extLst>
          </c:dPt>
          <c:dPt>
            <c:idx val="335"/>
            <c:invertIfNegative val="1"/>
            <c:bubble3D val="0"/>
            <c:spPr>
              <a:solidFill>
                <a:srgbClr val="7ECAC4"/>
              </a:solidFill>
            </c:spPr>
            <c:extLst>
              <c:ext xmlns:c16="http://schemas.microsoft.com/office/drawing/2014/chart" uri="{C3380CC4-5D6E-409C-BE32-E72D297353CC}">
                <c16:uniqueId val="{000002A1-26BF-40B0-8A43-EC10D791E60B}"/>
              </c:ext>
            </c:extLst>
          </c:dPt>
          <c:dPt>
            <c:idx val="336"/>
            <c:invertIfNegative val="1"/>
            <c:bubble3D val="0"/>
            <c:spPr>
              <a:solidFill>
                <a:srgbClr val="7ECAC4"/>
              </a:solidFill>
            </c:spPr>
            <c:extLst>
              <c:ext xmlns:c16="http://schemas.microsoft.com/office/drawing/2014/chart" uri="{C3380CC4-5D6E-409C-BE32-E72D297353CC}">
                <c16:uniqueId val="{000002A3-26BF-40B0-8A43-EC10D791E60B}"/>
              </c:ext>
            </c:extLst>
          </c:dPt>
          <c:dPt>
            <c:idx val="337"/>
            <c:invertIfNegative val="1"/>
            <c:bubble3D val="0"/>
            <c:spPr>
              <a:solidFill>
                <a:srgbClr val="7ECAC4"/>
              </a:solidFill>
            </c:spPr>
            <c:extLst>
              <c:ext xmlns:c16="http://schemas.microsoft.com/office/drawing/2014/chart" uri="{C3380CC4-5D6E-409C-BE32-E72D297353CC}">
                <c16:uniqueId val="{000002A5-26BF-40B0-8A43-EC10D791E60B}"/>
              </c:ext>
            </c:extLst>
          </c:dPt>
          <c:dPt>
            <c:idx val="338"/>
            <c:invertIfNegative val="1"/>
            <c:bubble3D val="0"/>
            <c:spPr>
              <a:solidFill>
                <a:srgbClr val="7ECAC4"/>
              </a:solidFill>
            </c:spPr>
            <c:extLst>
              <c:ext xmlns:c16="http://schemas.microsoft.com/office/drawing/2014/chart" uri="{C3380CC4-5D6E-409C-BE32-E72D297353CC}">
                <c16:uniqueId val="{000002A7-26BF-40B0-8A43-EC10D791E60B}"/>
              </c:ext>
            </c:extLst>
          </c:dPt>
          <c:dPt>
            <c:idx val="339"/>
            <c:invertIfNegative val="1"/>
            <c:bubble3D val="0"/>
            <c:spPr>
              <a:solidFill>
                <a:srgbClr val="7ECAC4"/>
              </a:solidFill>
            </c:spPr>
            <c:extLst>
              <c:ext xmlns:c16="http://schemas.microsoft.com/office/drawing/2014/chart" uri="{C3380CC4-5D6E-409C-BE32-E72D297353CC}">
                <c16:uniqueId val="{000002A9-26BF-40B0-8A43-EC10D791E60B}"/>
              </c:ext>
            </c:extLst>
          </c:dPt>
          <c:dPt>
            <c:idx val="340"/>
            <c:invertIfNegative val="1"/>
            <c:bubble3D val="0"/>
            <c:spPr>
              <a:solidFill>
                <a:srgbClr val="7ECAC4"/>
              </a:solidFill>
            </c:spPr>
            <c:extLst>
              <c:ext xmlns:c16="http://schemas.microsoft.com/office/drawing/2014/chart" uri="{C3380CC4-5D6E-409C-BE32-E72D297353CC}">
                <c16:uniqueId val="{000002AB-26BF-40B0-8A43-EC10D791E60B}"/>
              </c:ext>
            </c:extLst>
          </c:dPt>
          <c:dPt>
            <c:idx val="341"/>
            <c:invertIfNegative val="1"/>
            <c:bubble3D val="0"/>
            <c:spPr>
              <a:solidFill>
                <a:srgbClr val="7ECAC4"/>
              </a:solidFill>
            </c:spPr>
            <c:extLst>
              <c:ext xmlns:c16="http://schemas.microsoft.com/office/drawing/2014/chart" uri="{C3380CC4-5D6E-409C-BE32-E72D297353CC}">
                <c16:uniqueId val="{000002AD-26BF-40B0-8A43-EC10D791E60B}"/>
              </c:ext>
            </c:extLst>
          </c:dPt>
          <c:dPt>
            <c:idx val="342"/>
            <c:invertIfNegative val="1"/>
            <c:bubble3D val="0"/>
            <c:spPr>
              <a:solidFill>
                <a:srgbClr val="7ECAC4"/>
              </a:solidFill>
            </c:spPr>
            <c:extLst>
              <c:ext xmlns:c16="http://schemas.microsoft.com/office/drawing/2014/chart" uri="{C3380CC4-5D6E-409C-BE32-E72D297353CC}">
                <c16:uniqueId val="{000002AF-26BF-40B0-8A43-EC10D791E60B}"/>
              </c:ext>
            </c:extLst>
          </c:dPt>
          <c:dPt>
            <c:idx val="343"/>
            <c:invertIfNegative val="1"/>
            <c:bubble3D val="0"/>
            <c:spPr>
              <a:solidFill>
                <a:srgbClr val="7ECAC4"/>
              </a:solidFill>
            </c:spPr>
            <c:extLst>
              <c:ext xmlns:c16="http://schemas.microsoft.com/office/drawing/2014/chart" uri="{C3380CC4-5D6E-409C-BE32-E72D297353CC}">
                <c16:uniqueId val="{000002B1-26BF-40B0-8A43-EC10D791E60B}"/>
              </c:ext>
            </c:extLst>
          </c:dPt>
          <c:dPt>
            <c:idx val="344"/>
            <c:invertIfNegative val="1"/>
            <c:bubble3D val="0"/>
            <c:spPr>
              <a:solidFill>
                <a:srgbClr val="7ECAC4"/>
              </a:solidFill>
            </c:spPr>
            <c:extLst>
              <c:ext xmlns:c16="http://schemas.microsoft.com/office/drawing/2014/chart" uri="{C3380CC4-5D6E-409C-BE32-E72D297353CC}">
                <c16:uniqueId val="{000002B3-26BF-40B0-8A43-EC10D791E60B}"/>
              </c:ext>
            </c:extLst>
          </c:dPt>
          <c:dPt>
            <c:idx val="345"/>
            <c:invertIfNegative val="1"/>
            <c:bubble3D val="0"/>
            <c:spPr>
              <a:solidFill>
                <a:srgbClr val="7ECAC4"/>
              </a:solidFill>
            </c:spPr>
            <c:extLst>
              <c:ext xmlns:c16="http://schemas.microsoft.com/office/drawing/2014/chart" uri="{C3380CC4-5D6E-409C-BE32-E72D297353CC}">
                <c16:uniqueId val="{000002B5-26BF-40B0-8A43-EC10D791E60B}"/>
              </c:ext>
            </c:extLst>
          </c:dPt>
          <c:dPt>
            <c:idx val="346"/>
            <c:invertIfNegative val="1"/>
            <c:bubble3D val="0"/>
            <c:spPr>
              <a:solidFill>
                <a:srgbClr val="7ECAC4"/>
              </a:solidFill>
            </c:spPr>
            <c:extLst>
              <c:ext xmlns:c16="http://schemas.microsoft.com/office/drawing/2014/chart" uri="{C3380CC4-5D6E-409C-BE32-E72D297353CC}">
                <c16:uniqueId val="{000002B7-26BF-40B0-8A43-EC10D791E60B}"/>
              </c:ext>
            </c:extLst>
          </c:dPt>
          <c:dPt>
            <c:idx val="347"/>
            <c:invertIfNegative val="1"/>
            <c:bubble3D val="0"/>
            <c:spPr>
              <a:solidFill>
                <a:srgbClr val="7ECAC4"/>
              </a:solidFill>
            </c:spPr>
            <c:extLst>
              <c:ext xmlns:c16="http://schemas.microsoft.com/office/drawing/2014/chart" uri="{C3380CC4-5D6E-409C-BE32-E72D297353CC}">
                <c16:uniqueId val="{000002B9-26BF-40B0-8A43-EC10D791E60B}"/>
              </c:ext>
            </c:extLst>
          </c:dPt>
          <c:dPt>
            <c:idx val="348"/>
            <c:invertIfNegative val="1"/>
            <c:bubble3D val="0"/>
            <c:spPr>
              <a:solidFill>
                <a:srgbClr val="7ECAC4"/>
              </a:solidFill>
            </c:spPr>
            <c:extLst>
              <c:ext xmlns:c16="http://schemas.microsoft.com/office/drawing/2014/chart" uri="{C3380CC4-5D6E-409C-BE32-E72D297353CC}">
                <c16:uniqueId val="{000002BB-26BF-40B0-8A43-EC10D791E60B}"/>
              </c:ext>
            </c:extLst>
          </c:dPt>
          <c:dPt>
            <c:idx val="349"/>
            <c:invertIfNegative val="1"/>
            <c:bubble3D val="0"/>
            <c:spPr>
              <a:solidFill>
                <a:srgbClr val="7ECAC4"/>
              </a:solidFill>
            </c:spPr>
            <c:extLst>
              <c:ext xmlns:c16="http://schemas.microsoft.com/office/drawing/2014/chart" uri="{C3380CC4-5D6E-409C-BE32-E72D297353CC}">
                <c16:uniqueId val="{000002BD-26BF-40B0-8A43-EC10D791E60B}"/>
              </c:ext>
            </c:extLst>
          </c:dPt>
          <c:dPt>
            <c:idx val="350"/>
            <c:invertIfNegative val="1"/>
            <c:bubble3D val="0"/>
            <c:spPr>
              <a:solidFill>
                <a:srgbClr val="7ECAC4"/>
              </a:solidFill>
            </c:spPr>
            <c:extLst>
              <c:ext xmlns:c16="http://schemas.microsoft.com/office/drawing/2014/chart" uri="{C3380CC4-5D6E-409C-BE32-E72D297353CC}">
                <c16:uniqueId val="{000002BF-26BF-40B0-8A43-EC10D791E60B}"/>
              </c:ext>
            </c:extLst>
          </c:dPt>
          <c:dPt>
            <c:idx val="351"/>
            <c:invertIfNegative val="1"/>
            <c:bubble3D val="0"/>
            <c:spPr>
              <a:solidFill>
                <a:srgbClr val="7ECAC4"/>
              </a:solidFill>
            </c:spPr>
            <c:extLst>
              <c:ext xmlns:c16="http://schemas.microsoft.com/office/drawing/2014/chart" uri="{C3380CC4-5D6E-409C-BE32-E72D297353CC}">
                <c16:uniqueId val="{000002C1-26BF-40B0-8A43-EC10D791E60B}"/>
              </c:ext>
            </c:extLst>
          </c:dPt>
          <c:dPt>
            <c:idx val="352"/>
            <c:invertIfNegative val="1"/>
            <c:bubble3D val="0"/>
            <c:spPr>
              <a:solidFill>
                <a:srgbClr val="7ECAC4"/>
              </a:solidFill>
            </c:spPr>
            <c:extLst>
              <c:ext xmlns:c16="http://schemas.microsoft.com/office/drawing/2014/chart" uri="{C3380CC4-5D6E-409C-BE32-E72D297353CC}">
                <c16:uniqueId val="{000002C3-26BF-40B0-8A43-EC10D791E60B}"/>
              </c:ext>
            </c:extLst>
          </c:dPt>
          <c:dPt>
            <c:idx val="353"/>
            <c:invertIfNegative val="1"/>
            <c:bubble3D val="0"/>
            <c:spPr>
              <a:solidFill>
                <a:srgbClr val="7ECAC4"/>
              </a:solidFill>
            </c:spPr>
            <c:extLst>
              <c:ext xmlns:c16="http://schemas.microsoft.com/office/drawing/2014/chart" uri="{C3380CC4-5D6E-409C-BE32-E72D297353CC}">
                <c16:uniqueId val="{000002C5-26BF-40B0-8A43-EC10D791E60B}"/>
              </c:ext>
            </c:extLst>
          </c:dPt>
          <c:dPt>
            <c:idx val="354"/>
            <c:invertIfNegative val="1"/>
            <c:bubble3D val="0"/>
            <c:spPr>
              <a:solidFill>
                <a:srgbClr val="7ECAC4"/>
              </a:solidFill>
            </c:spPr>
            <c:extLst>
              <c:ext xmlns:c16="http://schemas.microsoft.com/office/drawing/2014/chart" uri="{C3380CC4-5D6E-409C-BE32-E72D297353CC}">
                <c16:uniqueId val="{000002C7-26BF-40B0-8A43-EC10D791E60B}"/>
              </c:ext>
            </c:extLst>
          </c:dPt>
          <c:dPt>
            <c:idx val="355"/>
            <c:invertIfNegative val="1"/>
            <c:bubble3D val="0"/>
            <c:spPr>
              <a:solidFill>
                <a:srgbClr val="7ECAC4"/>
              </a:solidFill>
            </c:spPr>
            <c:extLst>
              <c:ext xmlns:c16="http://schemas.microsoft.com/office/drawing/2014/chart" uri="{C3380CC4-5D6E-409C-BE32-E72D297353CC}">
                <c16:uniqueId val="{000002C9-26BF-40B0-8A43-EC10D791E60B}"/>
              </c:ext>
            </c:extLst>
          </c:dPt>
          <c:dPt>
            <c:idx val="356"/>
            <c:invertIfNegative val="1"/>
            <c:bubble3D val="0"/>
            <c:spPr>
              <a:solidFill>
                <a:srgbClr val="7ECAC4"/>
              </a:solidFill>
            </c:spPr>
            <c:extLst>
              <c:ext xmlns:c16="http://schemas.microsoft.com/office/drawing/2014/chart" uri="{C3380CC4-5D6E-409C-BE32-E72D297353CC}">
                <c16:uniqueId val="{000002CB-26BF-40B0-8A43-EC10D791E60B}"/>
              </c:ext>
            </c:extLst>
          </c:dPt>
          <c:dPt>
            <c:idx val="357"/>
            <c:invertIfNegative val="1"/>
            <c:bubble3D val="0"/>
            <c:spPr>
              <a:solidFill>
                <a:srgbClr val="7ECAC4"/>
              </a:solidFill>
            </c:spPr>
            <c:extLst>
              <c:ext xmlns:c16="http://schemas.microsoft.com/office/drawing/2014/chart" uri="{C3380CC4-5D6E-409C-BE32-E72D297353CC}">
                <c16:uniqueId val="{000002CD-26BF-40B0-8A43-EC10D791E60B}"/>
              </c:ext>
            </c:extLst>
          </c:dPt>
          <c:dPt>
            <c:idx val="358"/>
            <c:invertIfNegative val="1"/>
            <c:bubble3D val="0"/>
            <c:spPr>
              <a:solidFill>
                <a:srgbClr val="7ECAC4"/>
              </a:solidFill>
            </c:spPr>
            <c:extLst>
              <c:ext xmlns:c16="http://schemas.microsoft.com/office/drawing/2014/chart" uri="{C3380CC4-5D6E-409C-BE32-E72D297353CC}">
                <c16:uniqueId val="{000002CF-26BF-40B0-8A43-EC10D791E60B}"/>
              </c:ext>
            </c:extLst>
          </c:dPt>
          <c:dPt>
            <c:idx val="359"/>
            <c:invertIfNegative val="1"/>
            <c:bubble3D val="0"/>
            <c:spPr>
              <a:solidFill>
                <a:srgbClr val="7ECAC4"/>
              </a:solidFill>
            </c:spPr>
            <c:extLst>
              <c:ext xmlns:c16="http://schemas.microsoft.com/office/drawing/2014/chart" uri="{C3380CC4-5D6E-409C-BE32-E72D297353CC}">
                <c16:uniqueId val="{000002D1-26BF-40B0-8A43-EC10D791E60B}"/>
              </c:ext>
            </c:extLst>
          </c:dPt>
          <c:dPt>
            <c:idx val="360"/>
            <c:invertIfNegative val="1"/>
            <c:bubble3D val="0"/>
            <c:spPr>
              <a:solidFill>
                <a:srgbClr val="7ECAC4"/>
              </a:solidFill>
            </c:spPr>
            <c:extLst>
              <c:ext xmlns:c16="http://schemas.microsoft.com/office/drawing/2014/chart" uri="{C3380CC4-5D6E-409C-BE32-E72D297353CC}">
                <c16:uniqueId val="{000002D3-26BF-40B0-8A43-EC10D791E60B}"/>
              </c:ext>
            </c:extLst>
          </c:dPt>
          <c:dPt>
            <c:idx val="361"/>
            <c:invertIfNegative val="1"/>
            <c:bubble3D val="0"/>
            <c:spPr>
              <a:solidFill>
                <a:srgbClr val="7ECAC4"/>
              </a:solidFill>
            </c:spPr>
            <c:extLst>
              <c:ext xmlns:c16="http://schemas.microsoft.com/office/drawing/2014/chart" uri="{C3380CC4-5D6E-409C-BE32-E72D297353CC}">
                <c16:uniqueId val="{000002D5-26BF-40B0-8A43-EC10D791E60B}"/>
              </c:ext>
            </c:extLst>
          </c:dPt>
          <c:dPt>
            <c:idx val="362"/>
            <c:invertIfNegative val="1"/>
            <c:bubble3D val="0"/>
            <c:spPr>
              <a:solidFill>
                <a:srgbClr val="7ECAC4"/>
              </a:solidFill>
            </c:spPr>
            <c:extLst>
              <c:ext xmlns:c16="http://schemas.microsoft.com/office/drawing/2014/chart" uri="{C3380CC4-5D6E-409C-BE32-E72D297353CC}">
                <c16:uniqueId val="{000002D7-26BF-40B0-8A43-EC10D791E60B}"/>
              </c:ext>
            </c:extLst>
          </c:dPt>
          <c:dPt>
            <c:idx val="363"/>
            <c:invertIfNegative val="1"/>
            <c:bubble3D val="0"/>
            <c:spPr>
              <a:solidFill>
                <a:srgbClr val="7ECAC4"/>
              </a:solidFill>
            </c:spPr>
            <c:extLst>
              <c:ext xmlns:c16="http://schemas.microsoft.com/office/drawing/2014/chart" uri="{C3380CC4-5D6E-409C-BE32-E72D297353CC}">
                <c16:uniqueId val="{000002D9-26BF-40B0-8A43-EC10D791E60B}"/>
              </c:ext>
            </c:extLst>
          </c:dPt>
          <c:dPt>
            <c:idx val="364"/>
            <c:invertIfNegative val="1"/>
            <c:bubble3D val="0"/>
            <c:spPr>
              <a:solidFill>
                <a:srgbClr val="7ECAC4"/>
              </a:solidFill>
            </c:spPr>
            <c:extLst>
              <c:ext xmlns:c16="http://schemas.microsoft.com/office/drawing/2014/chart" uri="{C3380CC4-5D6E-409C-BE32-E72D297353CC}">
                <c16:uniqueId val="{000002DB-26BF-40B0-8A43-EC10D791E60B}"/>
              </c:ext>
            </c:extLst>
          </c:dPt>
          <c:dPt>
            <c:idx val="365"/>
            <c:invertIfNegative val="1"/>
            <c:bubble3D val="0"/>
            <c:spPr>
              <a:solidFill>
                <a:srgbClr val="7ECAC4"/>
              </a:solidFill>
            </c:spPr>
            <c:extLst>
              <c:ext xmlns:c16="http://schemas.microsoft.com/office/drawing/2014/chart" uri="{C3380CC4-5D6E-409C-BE32-E72D297353CC}">
                <c16:uniqueId val="{000002DD-26BF-40B0-8A43-EC10D791E60B}"/>
              </c:ext>
            </c:extLst>
          </c:dPt>
          <c:dPt>
            <c:idx val="366"/>
            <c:invertIfNegative val="1"/>
            <c:bubble3D val="0"/>
            <c:spPr>
              <a:solidFill>
                <a:srgbClr val="7ECAC4"/>
              </a:solidFill>
            </c:spPr>
            <c:extLst>
              <c:ext xmlns:c16="http://schemas.microsoft.com/office/drawing/2014/chart" uri="{C3380CC4-5D6E-409C-BE32-E72D297353CC}">
                <c16:uniqueId val="{000002DF-26BF-40B0-8A43-EC10D791E60B}"/>
              </c:ext>
            </c:extLst>
          </c:dPt>
          <c:dPt>
            <c:idx val="367"/>
            <c:invertIfNegative val="1"/>
            <c:bubble3D val="0"/>
            <c:spPr>
              <a:solidFill>
                <a:srgbClr val="7ECAC4"/>
              </a:solidFill>
            </c:spPr>
            <c:extLst>
              <c:ext xmlns:c16="http://schemas.microsoft.com/office/drawing/2014/chart" uri="{C3380CC4-5D6E-409C-BE32-E72D297353CC}">
                <c16:uniqueId val="{000002E1-26BF-40B0-8A43-EC10D791E60B}"/>
              </c:ext>
            </c:extLst>
          </c:dPt>
          <c:dPt>
            <c:idx val="368"/>
            <c:invertIfNegative val="1"/>
            <c:bubble3D val="0"/>
            <c:spPr>
              <a:solidFill>
                <a:srgbClr val="7ECAC4"/>
              </a:solidFill>
            </c:spPr>
            <c:extLst>
              <c:ext xmlns:c16="http://schemas.microsoft.com/office/drawing/2014/chart" uri="{C3380CC4-5D6E-409C-BE32-E72D297353CC}">
                <c16:uniqueId val="{000002E3-26BF-40B0-8A43-EC10D791E60B}"/>
              </c:ext>
            </c:extLst>
          </c:dPt>
          <c:dPt>
            <c:idx val="369"/>
            <c:invertIfNegative val="1"/>
            <c:bubble3D val="0"/>
            <c:spPr>
              <a:solidFill>
                <a:srgbClr val="7ECAC4"/>
              </a:solidFill>
            </c:spPr>
            <c:extLst>
              <c:ext xmlns:c16="http://schemas.microsoft.com/office/drawing/2014/chart" uri="{C3380CC4-5D6E-409C-BE32-E72D297353CC}">
                <c16:uniqueId val="{000002E5-26BF-40B0-8A43-EC10D791E60B}"/>
              </c:ext>
            </c:extLst>
          </c:dPt>
          <c:dPt>
            <c:idx val="370"/>
            <c:invertIfNegative val="1"/>
            <c:bubble3D val="0"/>
            <c:spPr>
              <a:solidFill>
                <a:srgbClr val="7ECAC4"/>
              </a:solidFill>
            </c:spPr>
            <c:extLst>
              <c:ext xmlns:c16="http://schemas.microsoft.com/office/drawing/2014/chart" uri="{C3380CC4-5D6E-409C-BE32-E72D297353CC}">
                <c16:uniqueId val="{000002E7-26BF-40B0-8A43-EC10D791E60B}"/>
              </c:ext>
            </c:extLst>
          </c:dPt>
          <c:dPt>
            <c:idx val="371"/>
            <c:invertIfNegative val="1"/>
            <c:bubble3D val="0"/>
            <c:spPr>
              <a:solidFill>
                <a:srgbClr val="7ECAC4"/>
              </a:solidFill>
            </c:spPr>
            <c:extLst>
              <c:ext xmlns:c16="http://schemas.microsoft.com/office/drawing/2014/chart" uri="{C3380CC4-5D6E-409C-BE32-E72D297353CC}">
                <c16:uniqueId val="{000002E9-26BF-40B0-8A43-EC10D791E60B}"/>
              </c:ext>
            </c:extLst>
          </c:dPt>
          <c:dPt>
            <c:idx val="372"/>
            <c:invertIfNegative val="1"/>
            <c:bubble3D val="0"/>
            <c:spPr>
              <a:solidFill>
                <a:srgbClr val="7ECAC4"/>
              </a:solidFill>
            </c:spPr>
            <c:extLst>
              <c:ext xmlns:c16="http://schemas.microsoft.com/office/drawing/2014/chart" uri="{C3380CC4-5D6E-409C-BE32-E72D297353CC}">
                <c16:uniqueId val="{000002EB-26BF-40B0-8A43-EC10D791E60B}"/>
              </c:ext>
            </c:extLst>
          </c:dPt>
          <c:dPt>
            <c:idx val="373"/>
            <c:invertIfNegative val="1"/>
            <c:bubble3D val="0"/>
            <c:spPr>
              <a:solidFill>
                <a:srgbClr val="7ECAC4"/>
              </a:solidFill>
            </c:spPr>
            <c:extLst>
              <c:ext xmlns:c16="http://schemas.microsoft.com/office/drawing/2014/chart" uri="{C3380CC4-5D6E-409C-BE32-E72D297353CC}">
                <c16:uniqueId val="{000002ED-26BF-40B0-8A43-EC10D791E60B}"/>
              </c:ext>
            </c:extLst>
          </c:dPt>
          <c:dPt>
            <c:idx val="374"/>
            <c:invertIfNegative val="1"/>
            <c:bubble3D val="0"/>
            <c:spPr>
              <a:solidFill>
                <a:srgbClr val="7ECAC4"/>
              </a:solidFill>
            </c:spPr>
            <c:extLst>
              <c:ext xmlns:c16="http://schemas.microsoft.com/office/drawing/2014/chart" uri="{C3380CC4-5D6E-409C-BE32-E72D297353CC}">
                <c16:uniqueId val="{000002EF-26BF-40B0-8A43-EC10D791E60B}"/>
              </c:ext>
            </c:extLst>
          </c:dPt>
          <c:dPt>
            <c:idx val="375"/>
            <c:invertIfNegative val="1"/>
            <c:bubble3D val="0"/>
            <c:spPr>
              <a:solidFill>
                <a:srgbClr val="7ECAC4"/>
              </a:solidFill>
            </c:spPr>
            <c:extLst>
              <c:ext xmlns:c16="http://schemas.microsoft.com/office/drawing/2014/chart" uri="{C3380CC4-5D6E-409C-BE32-E72D297353CC}">
                <c16:uniqueId val="{000002F1-26BF-40B0-8A43-EC10D791E60B}"/>
              </c:ext>
            </c:extLst>
          </c:dPt>
          <c:dPt>
            <c:idx val="376"/>
            <c:invertIfNegative val="1"/>
            <c:bubble3D val="0"/>
            <c:spPr>
              <a:solidFill>
                <a:srgbClr val="7ECAC4"/>
              </a:solidFill>
            </c:spPr>
            <c:extLst>
              <c:ext xmlns:c16="http://schemas.microsoft.com/office/drawing/2014/chart" uri="{C3380CC4-5D6E-409C-BE32-E72D297353CC}">
                <c16:uniqueId val="{000002F3-26BF-40B0-8A43-EC10D791E60B}"/>
              </c:ext>
            </c:extLst>
          </c:dPt>
          <c:dPt>
            <c:idx val="377"/>
            <c:invertIfNegative val="1"/>
            <c:bubble3D val="0"/>
            <c:spPr>
              <a:solidFill>
                <a:srgbClr val="7ECAC4"/>
              </a:solidFill>
            </c:spPr>
            <c:extLst>
              <c:ext xmlns:c16="http://schemas.microsoft.com/office/drawing/2014/chart" uri="{C3380CC4-5D6E-409C-BE32-E72D297353CC}">
                <c16:uniqueId val="{000002F5-26BF-40B0-8A43-EC10D791E60B}"/>
              </c:ext>
            </c:extLst>
          </c:dPt>
          <c:dPt>
            <c:idx val="378"/>
            <c:invertIfNegative val="1"/>
            <c:bubble3D val="0"/>
            <c:spPr>
              <a:solidFill>
                <a:srgbClr val="7ECAC4"/>
              </a:solidFill>
            </c:spPr>
            <c:extLst>
              <c:ext xmlns:c16="http://schemas.microsoft.com/office/drawing/2014/chart" uri="{C3380CC4-5D6E-409C-BE32-E72D297353CC}">
                <c16:uniqueId val="{000002F7-26BF-40B0-8A43-EC10D791E60B}"/>
              </c:ext>
            </c:extLst>
          </c:dPt>
          <c:dPt>
            <c:idx val="379"/>
            <c:invertIfNegative val="1"/>
            <c:bubble3D val="0"/>
            <c:spPr>
              <a:solidFill>
                <a:srgbClr val="7ECAC4"/>
              </a:solidFill>
            </c:spPr>
            <c:extLst>
              <c:ext xmlns:c16="http://schemas.microsoft.com/office/drawing/2014/chart" uri="{C3380CC4-5D6E-409C-BE32-E72D297353CC}">
                <c16:uniqueId val="{000002F9-26BF-40B0-8A43-EC10D791E60B}"/>
              </c:ext>
            </c:extLst>
          </c:dPt>
          <c:dPt>
            <c:idx val="380"/>
            <c:invertIfNegative val="1"/>
            <c:bubble3D val="0"/>
            <c:spPr>
              <a:solidFill>
                <a:srgbClr val="7ECAC4"/>
              </a:solidFill>
            </c:spPr>
            <c:extLst>
              <c:ext xmlns:c16="http://schemas.microsoft.com/office/drawing/2014/chart" uri="{C3380CC4-5D6E-409C-BE32-E72D297353CC}">
                <c16:uniqueId val="{000002FB-26BF-40B0-8A43-EC10D791E60B}"/>
              </c:ext>
            </c:extLst>
          </c:dPt>
          <c:dPt>
            <c:idx val="381"/>
            <c:invertIfNegative val="1"/>
            <c:bubble3D val="0"/>
            <c:spPr>
              <a:solidFill>
                <a:srgbClr val="7ECAC4"/>
              </a:solidFill>
            </c:spPr>
            <c:extLst>
              <c:ext xmlns:c16="http://schemas.microsoft.com/office/drawing/2014/chart" uri="{C3380CC4-5D6E-409C-BE32-E72D297353CC}">
                <c16:uniqueId val="{000002FD-26BF-40B0-8A43-EC10D791E60B}"/>
              </c:ext>
            </c:extLst>
          </c:dPt>
          <c:dPt>
            <c:idx val="382"/>
            <c:invertIfNegative val="1"/>
            <c:bubble3D val="0"/>
            <c:spPr>
              <a:solidFill>
                <a:srgbClr val="7ECAC4"/>
              </a:solidFill>
            </c:spPr>
            <c:extLst>
              <c:ext xmlns:c16="http://schemas.microsoft.com/office/drawing/2014/chart" uri="{C3380CC4-5D6E-409C-BE32-E72D297353CC}">
                <c16:uniqueId val="{000002FF-26BF-40B0-8A43-EC10D791E60B}"/>
              </c:ext>
            </c:extLst>
          </c:dPt>
          <c:dPt>
            <c:idx val="383"/>
            <c:invertIfNegative val="1"/>
            <c:bubble3D val="0"/>
            <c:spPr>
              <a:solidFill>
                <a:srgbClr val="7ECAC4"/>
              </a:solidFill>
            </c:spPr>
            <c:extLst>
              <c:ext xmlns:c16="http://schemas.microsoft.com/office/drawing/2014/chart" uri="{C3380CC4-5D6E-409C-BE32-E72D297353CC}">
                <c16:uniqueId val="{00000301-26BF-40B0-8A43-EC10D791E60B}"/>
              </c:ext>
            </c:extLst>
          </c:dPt>
          <c:dPt>
            <c:idx val="384"/>
            <c:invertIfNegative val="1"/>
            <c:bubble3D val="0"/>
            <c:spPr>
              <a:solidFill>
                <a:srgbClr val="7ECAC4"/>
              </a:solidFill>
            </c:spPr>
            <c:extLst>
              <c:ext xmlns:c16="http://schemas.microsoft.com/office/drawing/2014/chart" uri="{C3380CC4-5D6E-409C-BE32-E72D297353CC}">
                <c16:uniqueId val="{00000303-26BF-40B0-8A43-EC10D791E60B}"/>
              </c:ext>
            </c:extLst>
          </c:dPt>
          <c:dPt>
            <c:idx val="385"/>
            <c:invertIfNegative val="1"/>
            <c:bubble3D val="0"/>
            <c:spPr>
              <a:solidFill>
                <a:srgbClr val="7ECAC4"/>
              </a:solidFill>
            </c:spPr>
            <c:extLst>
              <c:ext xmlns:c16="http://schemas.microsoft.com/office/drawing/2014/chart" uri="{C3380CC4-5D6E-409C-BE32-E72D297353CC}">
                <c16:uniqueId val="{00000305-26BF-40B0-8A43-EC10D791E60B}"/>
              </c:ext>
            </c:extLst>
          </c:dPt>
          <c:dPt>
            <c:idx val="386"/>
            <c:invertIfNegative val="1"/>
            <c:bubble3D val="0"/>
            <c:spPr>
              <a:solidFill>
                <a:srgbClr val="7ECAC4"/>
              </a:solidFill>
            </c:spPr>
            <c:extLst>
              <c:ext xmlns:c16="http://schemas.microsoft.com/office/drawing/2014/chart" uri="{C3380CC4-5D6E-409C-BE32-E72D297353CC}">
                <c16:uniqueId val="{00000307-26BF-40B0-8A43-EC10D791E60B}"/>
              </c:ext>
            </c:extLst>
          </c:dPt>
          <c:dPt>
            <c:idx val="387"/>
            <c:invertIfNegative val="1"/>
            <c:bubble3D val="0"/>
            <c:spPr>
              <a:solidFill>
                <a:srgbClr val="7ECAC4"/>
              </a:solidFill>
            </c:spPr>
            <c:extLst>
              <c:ext xmlns:c16="http://schemas.microsoft.com/office/drawing/2014/chart" uri="{C3380CC4-5D6E-409C-BE32-E72D297353CC}">
                <c16:uniqueId val="{00000309-26BF-40B0-8A43-EC10D791E60B}"/>
              </c:ext>
            </c:extLst>
          </c:dPt>
          <c:dPt>
            <c:idx val="388"/>
            <c:invertIfNegative val="1"/>
            <c:bubble3D val="0"/>
            <c:spPr>
              <a:solidFill>
                <a:srgbClr val="7ECAC4"/>
              </a:solidFill>
            </c:spPr>
            <c:extLst>
              <c:ext xmlns:c16="http://schemas.microsoft.com/office/drawing/2014/chart" uri="{C3380CC4-5D6E-409C-BE32-E72D297353CC}">
                <c16:uniqueId val="{0000030B-26BF-40B0-8A43-EC10D791E60B}"/>
              </c:ext>
            </c:extLst>
          </c:dPt>
          <c:dPt>
            <c:idx val="389"/>
            <c:invertIfNegative val="1"/>
            <c:bubble3D val="0"/>
            <c:spPr>
              <a:solidFill>
                <a:srgbClr val="7ECAC4"/>
              </a:solidFill>
            </c:spPr>
            <c:extLst>
              <c:ext xmlns:c16="http://schemas.microsoft.com/office/drawing/2014/chart" uri="{C3380CC4-5D6E-409C-BE32-E72D297353CC}">
                <c16:uniqueId val="{0000030D-26BF-40B0-8A43-EC10D791E60B}"/>
              </c:ext>
            </c:extLst>
          </c:dPt>
          <c:dPt>
            <c:idx val="390"/>
            <c:invertIfNegative val="1"/>
            <c:bubble3D val="0"/>
            <c:spPr>
              <a:solidFill>
                <a:srgbClr val="7ECAC4"/>
              </a:solidFill>
            </c:spPr>
            <c:extLst>
              <c:ext xmlns:c16="http://schemas.microsoft.com/office/drawing/2014/chart" uri="{C3380CC4-5D6E-409C-BE32-E72D297353CC}">
                <c16:uniqueId val="{0000030F-26BF-40B0-8A43-EC10D791E60B}"/>
              </c:ext>
            </c:extLst>
          </c:dPt>
          <c:dPt>
            <c:idx val="391"/>
            <c:invertIfNegative val="1"/>
            <c:bubble3D val="0"/>
            <c:spPr>
              <a:solidFill>
                <a:srgbClr val="7ECAC4"/>
              </a:solidFill>
            </c:spPr>
            <c:extLst>
              <c:ext xmlns:c16="http://schemas.microsoft.com/office/drawing/2014/chart" uri="{C3380CC4-5D6E-409C-BE32-E72D297353CC}">
                <c16:uniqueId val="{00000311-26BF-40B0-8A43-EC10D791E60B}"/>
              </c:ext>
            </c:extLst>
          </c:dPt>
          <c:dPt>
            <c:idx val="392"/>
            <c:invertIfNegative val="1"/>
            <c:bubble3D val="0"/>
            <c:spPr>
              <a:solidFill>
                <a:srgbClr val="7ECAC4"/>
              </a:solidFill>
            </c:spPr>
            <c:extLst>
              <c:ext xmlns:c16="http://schemas.microsoft.com/office/drawing/2014/chart" uri="{C3380CC4-5D6E-409C-BE32-E72D297353CC}">
                <c16:uniqueId val="{00000313-26BF-40B0-8A43-EC10D791E60B}"/>
              </c:ext>
            </c:extLst>
          </c:dPt>
          <c:dPt>
            <c:idx val="393"/>
            <c:invertIfNegative val="1"/>
            <c:bubble3D val="0"/>
            <c:spPr>
              <a:solidFill>
                <a:srgbClr val="7ECAC4"/>
              </a:solidFill>
            </c:spPr>
            <c:extLst>
              <c:ext xmlns:c16="http://schemas.microsoft.com/office/drawing/2014/chart" uri="{C3380CC4-5D6E-409C-BE32-E72D297353CC}">
                <c16:uniqueId val="{00000315-26BF-40B0-8A43-EC10D791E60B}"/>
              </c:ext>
            </c:extLst>
          </c:dPt>
          <c:dPt>
            <c:idx val="394"/>
            <c:invertIfNegative val="1"/>
            <c:bubble3D val="0"/>
            <c:spPr>
              <a:solidFill>
                <a:srgbClr val="7ECAC4"/>
              </a:solidFill>
            </c:spPr>
            <c:extLst>
              <c:ext xmlns:c16="http://schemas.microsoft.com/office/drawing/2014/chart" uri="{C3380CC4-5D6E-409C-BE32-E72D297353CC}">
                <c16:uniqueId val="{00000317-26BF-40B0-8A43-EC10D791E60B}"/>
              </c:ext>
            </c:extLst>
          </c:dPt>
          <c:dPt>
            <c:idx val="395"/>
            <c:invertIfNegative val="1"/>
            <c:bubble3D val="0"/>
            <c:spPr>
              <a:solidFill>
                <a:srgbClr val="7ECAC4"/>
              </a:solidFill>
            </c:spPr>
            <c:extLst>
              <c:ext xmlns:c16="http://schemas.microsoft.com/office/drawing/2014/chart" uri="{C3380CC4-5D6E-409C-BE32-E72D297353CC}">
                <c16:uniqueId val="{00000319-26BF-40B0-8A43-EC10D791E60B}"/>
              </c:ext>
            </c:extLst>
          </c:dPt>
          <c:dPt>
            <c:idx val="396"/>
            <c:invertIfNegative val="1"/>
            <c:bubble3D val="0"/>
            <c:spPr>
              <a:solidFill>
                <a:srgbClr val="7ECAC4"/>
              </a:solidFill>
            </c:spPr>
            <c:extLst>
              <c:ext xmlns:c16="http://schemas.microsoft.com/office/drawing/2014/chart" uri="{C3380CC4-5D6E-409C-BE32-E72D297353CC}">
                <c16:uniqueId val="{0000031B-26BF-40B0-8A43-EC10D791E60B}"/>
              </c:ext>
            </c:extLst>
          </c:dPt>
          <c:dPt>
            <c:idx val="397"/>
            <c:invertIfNegative val="1"/>
            <c:bubble3D val="0"/>
            <c:spPr>
              <a:solidFill>
                <a:srgbClr val="7ECAC4"/>
              </a:solidFill>
            </c:spPr>
            <c:extLst>
              <c:ext xmlns:c16="http://schemas.microsoft.com/office/drawing/2014/chart" uri="{C3380CC4-5D6E-409C-BE32-E72D297353CC}">
                <c16:uniqueId val="{0000031D-26BF-40B0-8A43-EC10D791E60B}"/>
              </c:ext>
            </c:extLst>
          </c:dPt>
          <c:dPt>
            <c:idx val="398"/>
            <c:invertIfNegative val="1"/>
            <c:bubble3D val="0"/>
            <c:spPr>
              <a:solidFill>
                <a:srgbClr val="7ECAC4"/>
              </a:solidFill>
            </c:spPr>
            <c:extLst>
              <c:ext xmlns:c16="http://schemas.microsoft.com/office/drawing/2014/chart" uri="{C3380CC4-5D6E-409C-BE32-E72D297353CC}">
                <c16:uniqueId val="{0000031F-26BF-40B0-8A43-EC10D791E60B}"/>
              </c:ext>
            </c:extLst>
          </c:dPt>
          <c:dPt>
            <c:idx val="399"/>
            <c:invertIfNegative val="1"/>
            <c:bubble3D val="0"/>
            <c:spPr>
              <a:solidFill>
                <a:srgbClr val="7ECAC4"/>
              </a:solidFill>
            </c:spPr>
            <c:extLst>
              <c:ext xmlns:c16="http://schemas.microsoft.com/office/drawing/2014/chart" uri="{C3380CC4-5D6E-409C-BE32-E72D297353CC}">
                <c16:uniqueId val="{00000321-26BF-40B0-8A43-EC10D791E60B}"/>
              </c:ext>
            </c:extLst>
          </c:dPt>
          <c:dPt>
            <c:idx val="400"/>
            <c:invertIfNegative val="1"/>
            <c:bubble3D val="0"/>
            <c:spPr>
              <a:solidFill>
                <a:srgbClr val="7ECAC4"/>
              </a:solidFill>
            </c:spPr>
            <c:extLst>
              <c:ext xmlns:c16="http://schemas.microsoft.com/office/drawing/2014/chart" uri="{C3380CC4-5D6E-409C-BE32-E72D297353CC}">
                <c16:uniqueId val="{00000323-26BF-40B0-8A43-EC10D791E60B}"/>
              </c:ext>
            </c:extLst>
          </c:dPt>
          <c:dPt>
            <c:idx val="401"/>
            <c:invertIfNegative val="1"/>
            <c:bubble3D val="0"/>
            <c:spPr>
              <a:solidFill>
                <a:srgbClr val="7ECAC4"/>
              </a:solidFill>
            </c:spPr>
            <c:extLst>
              <c:ext xmlns:c16="http://schemas.microsoft.com/office/drawing/2014/chart" uri="{C3380CC4-5D6E-409C-BE32-E72D297353CC}">
                <c16:uniqueId val="{00000325-26BF-40B0-8A43-EC10D791E60B}"/>
              </c:ext>
            </c:extLst>
          </c:dPt>
          <c:dPt>
            <c:idx val="402"/>
            <c:invertIfNegative val="1"/>
            <c:bubble3D val="0"/>
            <c:spPr>
              <a:solidFill>
                <a:srgbClr val="7ECAC4"/>
              </a:solidFill>
            </c:spPr>
            <c:extLst>
              <c:ext xmlns:c16="http://schemas.microsoft.com/office/drawing/2014/chart" uri="{C3380CC4-5D6E-409C-BE32-E72D297353CC}">
                <c16:uniqueId val="{00000327-26BF-40B0-8A43-EC10D791E60B}"/>
              </c:ext>
            </c:extLst>
          </c:dPt>
          <c:dPt>
            <c:idx val="403"/>
            <c:invertIfNegative val="1"/>
            <c:bubble3D val="0"/>
            <c:spPr>
              <a:solidFill>
                <a:srgbClr val="7ECAC4"/>
              </a:solidFill>
            </c:spPr>
            <c:extLst>
              <c:ext xmlns:c16="http://schemas.microsoft.com/office/drawing/2014/chart" uri="{C3380CC4-5D6E-409C-BE32-E72D297353CC}">
                <c16:uniqueId val="{00000329-26BF-40B0-8A43-EC10D791E60B}"/>
              </c:ext>
            </c:extLst>
          </c:dPt>
          <c:dPt>
            <c:idx val="404"/>
            <c:invertIfNegative val="1"/>
            <c:bubble3D val="0"/>
            <c:spPr>
              <a:solidFill>
                <a:srgbClr val="7ECAC4"/>
              </a:solidFill>
            </c:spPr>
            <c:extLst>
              <c:ext xmlns:c16="http://schemas.microsoft.com/office/drawing/2014/chart" uri="{C3380CC4-5D6E-409C-BE32-E72D297353CC}">
                <c16:uniqueId val="{0000032B-26BF-40B0-8A43-EC10D791E60B}"/>
              </c:ext>
            </c:extLst>
          </c:dPt>
          <c:dPt>
            <c:idx val="405"/>
            <c:invertIfNegative val="1"/>
            <c:bubble3D val="0"/>
            <c:spPr>
              <a:solidFill>
                <a:srgbClr val="7ECAC4"/>
              </a:solidFill>
            </c:spPr>
            <c:extLst>
              <c:ext xmlns:c16="http://schemas.microsoft.com/office/drawing/2014/chart" uri="{C3380CC4-5D6E-409C-BE32-E72D297353CC}">
                <c16:uniqueId val="{0000032D-26BF-40B0-8A43-EC10D791E60B}"/>
              </c:ext>
            </c:extLst>
          </c:dPt>
          <c:dPt>
            <c:idx val="406"/>
            <c:invertIfNegative val="1"/>
            <c:bubble3D val="0"/>
            <c:spPr>
              <a:solidFill>
                <a:srgbClr val="7ECAC4"/>
              </a:solidFill>
            </c:spPr>
            <c:extLst>
              <c:ext xmlns:c16="http://schemas.microsoft.com/office/drawing/2014/chart" uri="{C3380CC4-5D6E-409C-BE32-E72D297353CC}">
                <c16:uniqueId val="{0000032F-26BF-40B0-8A43-EC10D791E60B}"/>
              </c:ext>
            </c:extLst>
          </c:dPt>
          <c:dPt>
            <c:idx val="407"/>
            <c:invertIfNegative val="1"/>
            <c:bubble3D val="0"/>
            <c:spPr>
              <a:solidFill>
                <a:srgbClr val="7ECAC4"/>
              </a:solidFill>
            </c:spPr>
            <c:extLst>
              <c:ext xmlns:c16="http://schemas.microsoft.com/office/drawing/2014/chart" uri="{C3380CC4-5D6E-409C-BE32-E72D297353CC}">
                <c16:uniqueId val="{00000331-26BF-40B0-8A43-EC10D791E60B}"/>
              </c:ext>
            </c:extLst>
          </c:dPt>
          <c:dPt>
            <c:idx val="408"/>
            <c:invertIfNegative val="1"/>
            <c:bubble3D val="0"/>
            <c:spPr>
              <a:solidFill>
                <a:srgbClr val="7ECAC4"/>
              </a:solidFill>
            </c:spPr>
            <c:extLst>
              <c:ext xmlns:c16="http://schemas.microsoft.com/office/drawing/2014/chart" uri="{C3380CC4-5D6E-409C-BE32-E72D297353CC}">
                <c16:uniqueId val="{00000333-26BF-40B0-8A43-EC10D791E60B}"/>
              </c:ext>
            </c:extLst>
          </c:dPt>
          <c:dPt>
            <c:idx val="409"/>
            <c:invertIfNegative val="1"/>
            <c:bubble3D val="0"/>
            <c:spPr>
              <a:solidFill>
                <a:srgbClr val="7ECAC4"/>
              </a:solidFill>
            </c:spPr>
            <c:extLst>
              <c:ext xmlns:c16="http://schemas.microsoft.com/office/drawing/2014/chart" uri="{C3380CC4-5D6E-409C-BE32-E72D297353CC}">
                <c16:uniqueId val="{00000335-26BF-40B0-8A43-EC10D791E60B}"/>
              </c:ext>
            </c:extLst>
          </c:dPt>
          <c:dPt>
            <c:idx val="410"/>
            <c:invertIfNegative val="1"/>
            <c:bubble3D val="0"/>
            <c:spPr>
              <a:solidFill>
                <a:srgbClr val="7ECAC4"/>
              </a:solidFill>
            </c:spPr>
            <c:extLst>
              <c:ext xmlns:c16="http://schemas.microsoft.com/office/drawing/2014/chart" uri="{C3380CC4-5D6E-409C-BE32-E72D297353CC}">
                <c16:uniqueId val="{00000337-26BF-40B0-8A43-EC10D791E60B}"/>
              </c:ext>
            </c:extLst>
          </c:dPt>
          <c:dPt>
            <c:idx val="411"/>
            <c:invertIfNegative val="1"/>
            <c:bubble3D val="0"/>
            <c:spPr>
              <a:solidFill>
                <a:srgbClr val="7ECAC4"/>
              </a:solidFill>
            </c:spPr>
            <c:extLst>
              <c:ext xmlns:c16="http://schemas.microsoft.com/office/drawing/2014/chart" uri="{C3380CC4-5D6E-409C-BE32-E72D297353CC}">
                <c16:uniqueId val="{00000339-26BF-40B0-8A43-EC10D791E60B}"/>
              </c:ext>
            </c:extLst>
          </c:dPt>
          <c:dPt>
            <c:idx val="412"/>
            <c:invertIfNegative val="1"/>
            <c:bubble3D val="0"/>
            <c:spPr>
              <a:solidFill>
                <a:srgbClr val="7ECAC4"/>
              </a:solidFill>
            </c:spPr>
            <c:extLst>
              <c:ext xmlns:c16="http://schemas.microsoft.com/office/drawing/2014/chart" uri="{C3380CC4-5D6E-409C-BE32-E72D297353CC}">
                <c16:uniqueId val="{0000033B-26BF-40B0-8A43-EC10D791E60B}"/>
              </c:ext>
            </c:extLst>
          </c:dPt>
          <c:dPt>
            <c:idx val="413"/>
            <c:invertIfNegative val="1"/>
            <c:bubble3D val="0"/>
            <c:spPr>
              <a:solidFill>
                <a:srgbClr val="7ECAC4"/>
              </a:solidFill>
            </c:spPr>
            <c:extLst>
              <c:ext xmlns:c16="http://schemas.microsoft.com/office/drawing/2014/chart" uri="{C3380CC4-5D6E-409C-BE32-E72D297353CC}">
                <c16:uniqueId val="{0000033D-26BF-40B0-8A43-EC10D791E60B}"/>
              </c:ext>
            </c:extLst>
          </c:dPt>
          <c:dPt>
            <c:idx val="414"/>
            <c:invertIfNegative val="1"/>
            <c:bubble3D val="0"/>
            <c:spPr>
              <a:solidFill>
                <a:srgbClr val="7ECAC4"/>
              </a:solidFill>
            </c:spPr>
            <c:extLst>
              <c:ext xmlns:c16="http://schemas.microsoft.com/office/drawing/2014/chart" uri="{C3380CC4-5D6E-409C-BE32-E72D297353CC}">
                <c16:uniqueId val="{0000033F-26BF-40B0-8A43-EC10D791E60B}"/>
              </c:ext>
            </c:extLst>
          </c:dPt>
          <c:dPt>
            <c:idx val="415"/>
            <c:invertIfNegative val="1"/>
            <c:bubble3D val="0"/>
            <c:spPr>
              <a:solidFill>
                <a:srgbClr val="7ECAC4"/>
              </a:solidFill>
            </c:spPr>
            <c:extLst>
              <c:ext xmlns:c16="http://schemas.microsoft.com/office/drawing/2014/chart" uri="{C3380CC4-5D6E-409C-BE32-E72D297353CC}">
                <c16:uniqueId val="{00000341-26BF-40B0-8A43-EC10D791E60B}"/>
              </c:ext>
            </c:extLst>
          </c:dPt>
          <c:dPt>
            <c:idx val="416"/>
            <c:invertIfNegative val="1"/>
            <c:bubble3D val="0"/>
            <c:spPr>
              <a:solidFill>
                <a:srgbClr val="7ECAC4"/>
              </a:solidFill>
            </c:spPr>
            <c:extLst>
              <c:ext xmlns:c16="http://schemas.microsoft.com/office/drawing/2014/chart" uri="{C3380CC4-5D6E-409C-BE32-E72D297353CC}">
                <c16:uniqueId val="{00000343-26BF-40B0-8A43-EC10D791E60B}"/>
              </c:ext>
            </c:extLst>
          </c:dPt>
          <c:dPt>
            <c:idx val="417"/>
            <c:invertIfNegative val="1"/>
            <c:bubble3D val="0"/>
            <c:spPr>
              <a:solidFill>
                <a:srgbClr val="7ECAC4"/>
              </a:solidFill>
            </c:spPr>
            <c:extLst>
              <c:ext xmlns:c16="http://schemas.microsoft.com/office/drawing/2014/chart" uri="{C3380CC4-5D6E-409C-BE32-E72D297353CC}">
                <c16:uniqueId val="{00000345-26BF-40B0-8A43-EC10D791E60B}"/>
              </c:ext>
            </c:extLst>
          </c:dPt>
          <c:dPt>
            <c:idx val="418"/>
            <c:invertIfNegative val="1"/>
            <c:bubble3D val="0"/>
            <c:spPr>
              <a:solidFill>
                <a:srgbClr val="7ECAC4"/>
              </a:solidFill>
            </c:spPr>
            <c:extLst>
              <c:ext xmlns:c16="http://schemas.microsoft.com/office/drawing/2014/chart" uri="{C3380CC4-5D6E-409C-BE32-E72D297353CC}">
                <c16:uniqueId val="{00000347-26BF-40B0-8A43-EC10D791E60B}"/>
              </c:ext>
            </c:extLst>
          </c:dPt>
          <c:dPt>
            <c:idx val="419"/>
            <c:invertIfNegative val="1"/>
            <c:bubble3D val="0"/>
            <c:spPr>
              <a:solidFill>
                <a:srgbClr val="7ECAC4"/>
              </a:solidFill>
            </c:spPr>
            <c:extLst>
              <c:ext xmlns:c16="http://schemas.microsoft.com/office/drawing/2014/chart" uri="{C3380CC4-5D6E-409C-BE32-E72D297353CC}">
                <c16:uniqueId val="{00000349-26BF-40B0-8A43-EC10D791E60B}"/>
              </c:ext>
            </c:extLst>
          </c:dPt>
          <c:dPt>
            <c:idx val="420"/>
            <c:invertIfNegative val="1"/>
            <c:bubble3D val="0"/>
            <c:spPr>
              <a:solidFill>
                <a:srgbClr val="7ECAC4"/>
              </a:solidFill>
            </c:spPr>
            <c:extLst>
              <c:ext xmlns:c16="http://schemas.microsoft.com/office/drawing/2014/chart" uri="{C3380CC4-5D6E-409C-BE32-E72D297353CC}">
                <c16:uniqueId val="{0000034B-26BF-40B0-8A43-EC10D791E60B}"/>
              </c:ext>
            </c:extLst>
          </c:dPt>
          <c:dPt>
            <c:idx val="421"/>
            <c:invertIfNegative val="1"/>
            <c:bubble3D val="0"/>
            <c:spPr>
              <a:solidFill>
                <a:srgbClr val="7ECAC4"/>
              </a:solidFill>
            </c:spPr>
            <c:extLst>
              <c:ext xmlns:c16="http://schemas.microsoft.com/office/drawing/2014/chart" uri="{C3380CC4-5D6E-409C-BE32-E72D297353CC}">
                <c16:uniqueId val="{0000034D-26BF-40B0-8A43-EC10D791E60B}"/>
              </c:ext>
            </c:extLst>
          </c:dPt>
          <c:dPt>
            <c:idx val="422"/>
            <c:invertIfNegative val="1"/>
            <c:bubble3D val="0"/>
            <c:spPr>
              <a:solidFill>
                <a:srgbClr val="7ECAC4"/>
              </a:solidFill>
            </c:spPr>
            <c:extLst>
              <c:ext xmlns:c16="http://schemas.microsoft.com/office/drawing/2014/chart" uri="{C3380CC4-5D6E-409C-BE32-E72D297353CC}">
                <c16:uniqueId val="{0000034F-26BF-40B0-8A43-EC10D791E60B}"/>
              </c:ext>
            </c:extLst>
          </c:dPt>
          <c:dPt>
            <c:idx val="423"/>
            <c:invertIfNegative val="1"/>
            <c:bubble3D val="0"/>
            <c:spPr>
              <a:solidFill>
                <a:srgbClr val="7ECAC4"/>
              </a:solidFill>
            </c:spPr>
            <c:extLst>
              <c:ext xmlns:c16="http://schemas.microsoft.com/office/drawing/2014/chart" uri="{C3380CC4-5D6E-409C-BE32-E72D297353CC}">
                <c16:uniqueId val="{00000351-26BF-40B0-8A43-EC10D791E60B}"/>
              </c:ext>
            </c:extLst>
          </c:dPt>
          <c:dPt>
            <c:idx val="424"/>
            <c:invertIfNegative val="1"/>
            <c:bubble3D val="0"/>
            <c:spPr>
              <a:solidFill>
                <a:srgbClr val="7ECAC4"/>
              </a:solidFill>
            </c:spPr>
            <c:extLst>
              <c:ext xmlns:c16="http://schemas.microsoft.com/office/drawing/2014/chart" uri="{C3380CC4-5D6E-409C-BE32-E72D297353CC}">
                <c16:uniqueId val="{00000353-26BF-40B0-8A43-EC10D791E60B}"/>
              </c:ext>
            </c:extLst>
          </c:dPt>
          <c:dPt>
            <c:idx val="425"/>
            <c:invertIfNegative val="1"/>
            <c:bubble3D val="0"/>
            <c:spPr>
              <a:solidFill>
                <a:srgbClr val="7ECAC4"/>
              </a:solidFill>
            </c:spPr>
            <c:extLst>
              <c:ext xmlns:c16="http://schemas.microsoft.com/office/drawing/2014/chart" uri="{C3380CC4-5D6E-409C-BE32-E72D297353CC}">
                <c16:uniqueId val="{00000355-26BF-40B0-8A43-EC10D791E60B}"/>
              </c:ext>
            </c:extLst>
          </c:dPt>
          <c:dPt>
            <c:idx val="426"/>
            <c:invertIfNegative val="1"/>
            <c:bubble3D val="0"/>
            <c:spPr>
              <a:solidFill>
                <a:srgbClr val="7ECAC4"/>
              </a:solidFill>
            </c:spPr>
            <c:extLst>
              <c:ext xmlns:c16="http://schemas.microsoft.com/office/drawing/2014/chart" uri="{C3380CC4-5D6E-409C-BE32-E72D297353CC}">
                <c16:uniqueId val="{00000357-26BF-40B0-8A43-EC10D791E60B}"/>
              </c:ext>
            </c:extLst>
          </c:dPt>
          <c:dPt>
            <c:idx val="427"/>
            <c:invertIfNegative val="1"/>
            <c:bubble3D val="0"/>
            <c:spPr>
              <a:solidFill>
                <a:srgbClr val="7ECAC4"/>
              </a:solidFill>
            </c:spPr>
            <c:extLst>
              <c:ext xmlns:c16="http://schemas.microsoft.com/office/drawing/2014/chart" uri="{C3380CC4-5D6E-409C-BE32-E72D297353CC}">
                <c16:uniqueId val="{00000359-26BF-40B0-8A43-EC10D791E60B}"/>
              </c:ext>
            </c:extLst>
          </c:dPt>
          <c:dPt>
            <c:idx val="428"/>
            <c:invertIfNegative val="1"/>
            <c:bubble3D val="0"/>
            <c:spPr>
              <a:solidFill>
                <a:srgbClr val="7ECAC4"/>
              </a:solidFill>
            </c:spPr>
            <c:extLst>
              <c:ext xmlns:c16="http://schemas.microsoft.com/office/drawing/2014/chart" uri="{C3380CC4-5D6E-409C-BE32-E72D297353CC}">
                <c16:uniqueId val="{0000035B-26BF-40B0-8A43-EC10D791E60B}"/>
              </c:ext>
            </c:extLst>
          </c:dPt>
          <c:dPt>
            <c:idx val="429"/>
            <c:invertIfNegative val="1"/>
            <c:bubble3D val="0"/>
            <c:spPr>
              <a:solidFill>
                <a:srgbClr val="7ECAC4"/>
              </a:solidFill>
            </c:spPr>
            <c:extLst>
              <c:ext xmlns:c16="http://schemas.microsoft.com/office/drawing/2014/chart" uri="{C3380CC4-5D6E-409C-BE32-E72D297353CC}">
                <c16:uniqueId val="{0000035D-26BF-40B0-8A43-EC10D791E60B}"/>
              </c:ext>
            </c:extLst>
          </c:dPt>
          <c:dPt>
            <c:idx val="430"/>
            <c:invertIfNegative val="1"/>
            <c:bubble3D val="0"/>
            <c:spPr>
              <a:solidFill>
                <a:srgbClr val="7ECAC4"/>
              </a:solidFill>
            </c:spPr>
            <c:extLst>
              <c:ext xmlns:c16="http://schemas.microsoft.com/office/drawing/2014/chart" uri="{C3380CC4-5D6E-409C-BE32-E72D297353CC}">
                <c16:uniqueId val="{0000035F-26BF-40B0-8A43-EC10D791E60B}"/>
              </c:ext>
            </c:extLst>
          </c:dPt>
          <c:dPt>
            <c:idx val="431"/>
            <c:invertIfNegative val="1"/>
            <c:bubble3D val="0"/>
            <c:spPr>
              <a:solidFill>
                <a:srgbClr val="7ECAC4"/>
              </a:solidFill>
            </c:spPr>
            <c:extLst>
              <c:ext xmlns:c16="http://schemas.microsoft.com/office/drawing/2014/chart" uri="{C3380CC4-5D6E-409C-BE32-E72D297353CC}">
                <c16:uniqueId val="{00000361-26BF-40B0-8A43-EC10D791E60B}"/>
              </c:ext>
            </c:extLst>
          </c:dPt>
          <c:dPt>
            <c:idx val="432"/>
            <c:invertIfNegative val="1"/>
            <c:bubble3D val="0"/>
            <c:spPr>
              <a:solidFill>
                <a:srgbClr val="7ECAC4"/>
              </a:solidFill>
            </c:spPr>
            <c:extLst>
              <c:ext xmlns:c16="http://schemas.microsoft.com/office/drawing/2014/chart" uri="{C3380CC4-5D6E-409C-BE32-E72D297353CC}">
                <c16:uniqueId val="{00000363-26BF-40B0-8A43-EC10D791E60B}"/>
              </c:ext>
            </c:extLst>
          </c:dPt>
          <c:dPt>
            <c:idx val="433"/>
            <c:invertIfNegative val="1"/>
            <c:bubble3D val="0"/>
            <c:spPr>
              <a:solidFill>
                <a:srgbClr val="7ECAC4"/>
              </a:solidFill>
            </c:spPr>
            <c:extLst>
              <c:ext xmlns:c16="http://schemas.microsoft.com/office/drawing/2014/chart" uri="{C3380CC4-5D6E-409C-BE32-E72D297353CC}">
                <c16:uniqueId val="{00000365-26BF-40B0-8A43-EC10D791E60B}"/>
              </c:ext>
            </c:extLst>
          </c:dPt>
          <c:dPt>
            <c:idx val="434"/>
            <c:invertIfNegative val="1"/>
            <c:bubble3D val="0"/>
            <c:spPr>
              <a:solidFill>
                <a:srgbClr val="7ECAC4"/>
              </a:solidFill>
            </c:spPr>
            <c:extLst>
              <c:ext xmlns:c16="http://schemas.microsoft.com/office/drawing/2014/chart" uri="{C3380CC4-5D6E-409C-BE32-E72D297353CC}">
                <c16:uniqueId val="{00000367-26BF-40B0-8A43-EC10D791E60B}"/>
              </c:ext>
            </c:extLst>
          </c:dPt>
          <c:dPt>
            <c:idx val="435"/>
            <c:invertIfNegative val="1"/>
            <c:bubble3D val="0"/>
            <c:spPr>
              <a:solidFill>
                <a:srgbClr val="7ECAC4"/>
              </a:solidFill>
            </c:spPr>
            <c:extLst>
              <c:ext xmlns:c16="http://schemas.microsoft.com/office/drawing/2014/chart" uri="{C3380CC4-5D6E-409C-BE32-E72D297353CC}">
                <c16:uniqueId val="{00000369-26BF-40B0-8A43-EC10D791E60B}"/>
              </c:ext>
            </c:extLst>
          </c:dPt>
          <c:dPt>
            <c:idx val="436"/>
            <c:invertIfNegative val="1"/>
            <c:bubble3D val="0"/>
            <c:spPr>
              <a:solidFill>
                <a:srgbClr val="7ECAC4"/>
              </a:solidFill>
            </c:spPr>
            <c:extLst>
              <c:ext xmlns:c16="http://schemas.microsoft.com/office/drawing/2014/chart" uri="{C3380CC4-5D6E-409C-BE32-E72D297353CC}">
                <c16:uniqueId val="{0000036B-26BF-40B0-8A43-EC10D791E60B}"/>
              </c:ext>
            </c:extLst>
          </c:dPt>
          <c:dPt>
            <c:idx val="437"/>
            <c:invertIfNegative val="1"/>
            <c:bubble3D val="0"/>
            <c:spPr>
              <a:solidFill>
                <a:srgbClr val="7ECAC4"/>
              </a:solidFill>
            </c:spPr>
            <c:extLst>
              <c:ext xmlns:c16="http://schemas.microsoft.com/office/drawing/2014/chart" uri="{C3380CC4-5D6E-409C-BE32-E72D297353CC}">
                <c16:uniqueId val="{0000036D-26BF-40B0-8A43-EC10D791E60B}"/>
              </c:ext>
            </c:extLst>
          </c:dPt>
          <c:dPt>
            <c:idx val="438"/>
            <c:invertIfNegative val="1"/>
            <c:bubble3D val="0"/>
            <c:spPr>
              <a:solidFill>
                <a:srgbClr val="7ECAC4"/>
              </a:solidFill>
            </c:spPr>
            <c:extLst>
              <c:ext xmlns:c16="http://schemas.microsoft.com/office/drawing/2014/chart" uri="{C3380CC4-5D6E-409C-BE32-E72D297353CC}">
                <c16:uniqueId val="{0000036F-26BF-40B0-8A43-EC10D791E60B}"/>
              </c:ext>
            </c:extLst>
          </c:dPt>
          <c:dPt>
            <c:idx val="439"/>
            <c:invertIfNegative val="1"/>
            <c:bubble3D val="0"/>
            <c:spPr>
              <a:solidFill>
                <a:srgbClr val="7ECAC4"/>
              </a:solidFill>
            </c:spPr>
            <c:extLst>
              <c:ext xmlns:c16="http://schemas.microsoft.com/office/drawing/2014/chart" uri="{C3380CC4-5D6E-409C-BE32-E72D297353CC}">
                <c16:uniqueId val="{00000371-26BF-40B0-8A43-EC10D791E60B}"/>
              </c:ext>
            </c:extLst>
          </c:dPt>
          <c:dPt>
            <c:idx val="440"/>
            <c:invertIfNegative val="1"/>
            <c:bubble3D val="0"/>
            <c:spPr>
              <a:solidFill>
                <a:srgbClr val="7ECAC4"/>
              </a:solidFill>
            </c:spPr>
            <c:extLst>
              <c:ext xmlns:c16="http://schemas.microsoft.com/office/drawing/2014/chart" uri="{C3380CC4-5D6E-409C-BE32-E72D297353CC}">
                <c16:uniqueId val="{00000373-26BF-40B0-8A43-EC10D791E60B}"/>
              </c:ext>
            </c:extLst>
          </c:dPt>
          <c:dPt>
            <c:idx val="441"/>
            <c:invertIfNegative val="1"/>
            <c:bubble3D val="0"/>
            <c:spPr>
              <a:solidFill>
                <a:srgbClr val="7ECAC4"/>
              </a:solidFill>
            </c:spPr>
            <c:extLst>
              <c:ext xmlns:c16="http://schemas.microsoft.com/office/drawing/2014/chart" uri="{C3380CC4-5D6E-409C-BE32-E72D297353CC}">
                <c16:uniqueId val="{00000375-26BF-40B0-8A43-EC10D791E60B}"/>
              </c:ext>
            </c:extLst>
          </c:dPt>
          <c:dPt>
            <c:idx val="442"/>
            <c:invertIfNegative val="1"/>
            <c:bubble3D val="0"/>
            <c:spPr>
              <a:solidFill>
                <a:srgbClr val="7ECAC4"/>
              </a:solidFill>
            </c:spPr>
            <c:extLst>
              <c:ext xmlns:c16="http://schemas.microsoft.com/office/drawing/2014/chart" uri="{C3380CC4-5D6E-409C-BE32-E72D297353CC}">
                <c16:uniqueId val="{00000377-26BF-40B0-8A43-EC10D791E60B}"/>
              </c:ext>
            </c:extLst>
          </c:dPt>
          <c:dPt>
            <c:idx val="443"/>
            <c:invertIfNegative val="1"/>
            <c:bubble3D val="0"/>
            <c:spPr>
              <a:solidFill>
                <a:srgbClr val="7ECAC4"/>
              </a:solidFill>
            </c:spPr>
            <c:extLst>
              <c:ext xmlns:c16="http://schemas.microsoft.com/office/drawing/2014/chart" uri="{C3380CC4-5D6E-409C-BE32-E72D297353CC}">
                <c16:uniqueId val="{00000379-26BF-40B0-8A43-EC10D791E60B}"/>
              </c:ext>
            </c:extLst>
          </c:dPt>
          <c:dPt>
            <c:idx val="444"/>
            <c:invertIfNegative val="1"/>
            <c:bubble3D val="0"/>
            <c:spPr>
              <a:solidFill>
                <a:srgbClr val="7ECAC4"/>
              </a:solidFill>
            </c:spPr>
            <c:extLst>
              <c:ext xmlns:c16="http://schemas.microsoft.com/office/drawing/2014/chart" uri="{C3380CC4-5D6E-409C-BE32-E72D297353CC}">
                <c16:uniqueId val="{0000037B-26BF-40B0-8A43-EC10D791E60B}"/>
              </c:ext>
            </c:extLst>
          </c:dPt>
          <c:dPt>
            <c:idx val="445"/>
            <c:invertIfNegative val="1"/>
            <c:bubble3D val="0"/>
            <c:spPr>
              <a:solidFill>
                <a:srgbClr val="7ECAC4"/>
              </a:solidFill>
            </c:spPr>
            <c:extLst>
              <c:ext xmlns:c16="http://schemas.microsoft.com/office/drawing/2014/chart" uri="{C3380CC4-5D6E-409C-BE32-E72D297353CC}">
                <c16:uniqueId val="{0000037D-26BF-40B0-8A43-EC10D791E60B}"/>
              </c:ext>
            </c:extLst>
          </c:dPt>
          <c:dPt>
            <c:idx val="446"/>
            <c:invertIfNegative val="1"/>
            <c:bubble3D val="0"/>
            <c:spPr>
              <a:solidFill>
                <a:srgbClr val="7ECAC4"/>
              </a:solidFill>
            </c:spPr>
            <c:extLst>
              <c:ext xmlns:c16="http://schemas.microsoft.com/office/drawing/2014/chart" uri="{C3380CC4-5D6E-409C-BE32-E72D297353CC}">
                <c16:uniqueId val="{0000037F-26BF-40B0-8A43-EC10D791E60B}"/>
              </c:ext>
            </c:extLst>
          </c:dPt>
          <c:dPt>
            <c:idx val="447"/>
            <c:invertIfNegative val="1"/>
            <c:bubble3D val="0"/>
            <c:spPr>
              <a:solidFill>
                <a:srgbClr val="7ECAC4"/>
              </a:solidFill>
            </c:spPr>
            <c:extLst>
              <c:ext xmlns:c16="http://schemas.microsoft.com/office/drawing/2014/chart" uri="{C3380CC4-5D6E-409C-BE32-E72D297353CC}">
                <c16:uniqueId val="{00000381-26BF-40B0-8A43-EC10D791E60B}"/>
              </c:ext>
            </c:extLst>
          </c:dPt>
          <c:dPt>
            <c:idx val="448"/>
            <c:invertIfNegative val="1"/>
            <c:bubble3D val="0"/>
            <c:spPr>
              <a:solidFill>
                <a:srgbClr val="7ECAC4"/>
              </a:solidFill>
            </c:spPr>
            <c:extLst>
              <c:ext xmlns:c16="http://schemas.microsoft.com/office/drawing/2014/chart" uri="{C3380CC4-5D6E-409C-BE32-E72D297353CC}">
                <c16:uniqueId val="{00000383-26BF-40B0-8A43-EC10D791E60B}"/>
              </c:ext>
            </c:extLst>
          </c:dPt>
          <c:dPt>
            <c:idx val="449"/>
            <c:invertIfNegative val="1"/>
            <c:bubble3D val="0"/>
            <c:spPr>
              <a:solidFill>
                <a:srgbClr val="7ECAC4"/>
              </a:solidFill>
            </c:spPr>
            <c:extLst>
              <c:ext xmlns:c16="http://schemas.microsoft.com/office/drawing/2014/chart" uri="{C3380CC4-5D6E-409C-BE32-E72D297353CC}">
                <c16:uniqueId val="{00000385-26BF-40B0-8A43-EC10D791E60B}"/>
              </c:ext>
            </c:extLst>
          </c:dPt>
          <c:dPt>
            <c:idx val="450"/>
            <c:invertIfNegative val="1"/>
            <c:bubble3D val="0"/>
            <c:spPr>
              <a:solidFill>
                <a:srgbClr val="7ECAC4"/>
              </a:solidFill>
            </c:spPr>
            <c:extLst>
              <c:ext xmlns:c16="http://schemas.microsoft.com/office/drawing/2014/chart" uri="{C3380CC4-5D6E-409C-BE32-E72D297353CC}">
                <c16:uniqueId val="{00000387-26BF-40B0-8A43-EC10D791E60B}"/>
              </c:ext>
            </c:extLst>
          </c:dPt>
          <c:dPt>
            <c:idx val="451"/>
            <c:invertIfNegative val="1"/>
            <c:bubble3D val="0"/>
            <c:spPr>
              <a:solidFill>
                <a:srgbClr val="7ECAC4"/>
              </a:solidFill>
            </c:spPr>
            <c:extLst>
              <c:ext xmlns:c16="http://schemas.microsoft.com/office/drawing/2014/chart" uri="{C3380CC4-5D6E-409C-BE32-E72D297353CC}">
                <c16:uniqueId val="{00000389-26BF-40B0-8A43-EC10D791E60B}"/>
              </c:ext>
            </c:extLst>
          </c:dPt>
          <c:dPt>
            <c:idx val="452"/>
            <c:invertIfNegative val="1"/>
            <c:bubble3D val="0"/>
            <c:spPr>
              <a:solidFill>
                <a:srgbClr val="7ECAC4"/>
              </a:solidFill>
            </c:spPr>
            <c:extLst>
              <c:ext xmlns:c16="http://schemas.microsoft.com/office/drawing/2014/chart" uri="{C3380CC4-5D6E-409C-BE32-E72D297353CC}">
                <c16:uniqueId val="{0000038B-26BF-40B0-8A43-EC10D791E60B}"/>
              </c:ext>
            </c:extLst>
          </c:dPt>
          <c:dPt>
            <c:idx val="453"/>
            <c:invertIfNegative val="1"/>
            <c:bubble3D val="0"/>
            <c:spPr>
              <a:solidFill>
                <a:srgbClr val="7ECAC4"/>
              </a:solidFill>
            </c:spPr>
            <c:extLst>
              <c:ext xmlns:c16="http://schemas.microsoft.com/office/drawing/2014/chart" uri="{C3380CC4-5D6E-409C-BE32-E72D297353CC}">
                <c16:uniqueId val="{0000038D-26BF-40B0-8A43-EC10D791E60B}"/>
              </c:ext>
            </c:extLst>
          </c:dPt>
          <c:dPt>
            <c:idx val="454"/>
            <c:invertIfNegative val="1"/>
            <c:bubble3D val="0"/>
            <c:spPr>
              <a:solidFill>
                <a:srgbClr val="7ECAC4"/>
              </a:solidFill>
            </c:spPr>
            <c:extLst>
              <c:ext xmlns:c16="http://schemas.microsoft.com/office/drawing/2014/chart" uri="{C3380CC4-5D6E-409C-BE32-E72D297353CC}">
                <c16:uniqueId val="{0000038F-26BF-40B0-8A43-EC10D791E60B}"/>
              </c:ext>
            </c:extLst>
          </c:dPt>
          <c:dPt>
            <c:idx val="455"/>
            <c:invertIfNegative val="1"/>
            <c:bubble3D val="0"/>
            <c:spPr>
              <a:solidFill>
                <a:srgbClr val="7ECAC4"/>
              </a:solidFill>
            </c:spPr>
            <c:extLst>
              <c:ext xmlns:c16="http://schemas.microsoft.com/office/drawing/2014/chart" uri="{C3380CC4-5D6E-409C-BE32-E72D297353CC}">
                <c16:uniqueId val="{00000391-26BF-40B0-8A43-EC10D791E60B}"/>
              </c:ext>
            </c:extLst>
          </c:dPt>
          <c:dPt>
            <c:idx val="456"/>
            <c:invertIfNegative val="1"/>
            <c:bubble3D val="0"/>
            <c:spPr>
              <a:solidFill>
                <a:srgbClr val="7ECAC4"/>
              </a:solidFill>
            </c:spPr>
            <c:extLst>
              <c:ext xmlns:c16="http://schemas.microsoft.com/office/drawing/2014/chart" uri="{C3380CC4-5D6E-409C-BE32-E72D297353CC}">
                <c16:uniqueId val="{00000393-26BF-40B0-8A43-EC10D791E60B}"/>
              </c:ext>
            </c:extLst>
          </c:dPt>
          <c:dPt>
            <c:idx val="457"/>
            <c:invertIfNegative val="1"/>
            <c:bubble3D val="0"/>
            <c:spPr>
              <a:solidFill>
                <a:srgbClr val="7ECAC4"/>
              </a:solidFill>
            </c:spPr>
            <c:extLst>
              <c:ext xmlns:c16="http://schemas.microsoft.com/office/drawing/2014/chart" uri="{C3380CC4-5D6E-409C-BE32-E72D297353CC}">
                <c16:uniqueId val="{00000395-26BF-40B0-8A43-EC10D791E60B}"/>
              </c:ext>
            </c:extLst>
          </c:dPt>
          <c:dPt>
            <c:idx val="458"/>
            <c:invertIfNegative val="1"/>
            <c:bubble3D val="0"/>
            <c:spPr>
              <a:solidFill>
                <a:srgbClr val="7ECAC4"/>
              </a:solidFill>
            </c:spPr>
            <c:extLst>
              <c:ext xmlns:c16="http://schemas.microsoft.com/office/drawing/2014/chart" uri="{C3380CC4-5D6E-409C-BE32-E72D297353CC}">
                <c16:uniqueId val="{00000397-26BF-40B0-8A43-EC10D791E60B}"/>
              </c:ext>
            </c:extLst>
          </c:dPt>
          <c:dPt>
            <c:idx val="459"/>
            <c:invertIfNegative val="1"/>
            <c:bubble3D val="0"/>
            <c:spPr>
              <a:solidFill>
                <a:srgbClr val="7ECAC4"/>
              </a:solidFill>
            </c:spPr>
            <c:extLst>
              <c:ext xmlns:c16="http://schemas.microsoft.com/office/drawing/2014/chart" uri="{C3380CC4-5D6E-409C-BE32-E72D297353CC}">
                <c16:uniqueId val="{00000399-26BF-40B0-8A43-EC10D791E60B}"/>
              </c:ext>
            </c:extLst>
          </c:dPt>
          <c:dPt>
            <c:idx val="460"/>
            <c:invertIfNegative val="1"/>
            <c:bubble3D val="0"/>
            <c:spPr>
              <a:solidFill>
                <a:srgbClr val="7ECAC4"/>
              </a:solidFill>
            </c:spPr>
            <c:extLst>
              <c:ext xmlns:c16="http://schemas.microsoft.com/office/drawing/2014/chart" uri="{C3380CC4-5D6E-409C-BE32-E72D297353CC}">
                <c16:uniqueId val="{0000039B-26BF-40B0-8A43-EC10D791E60B}"/>
              </c:ext>
            </c:extLst>
          </c:dPt>
          <c:dPt>
            <c:idx val="461"/>
            <c:invertIfNegative val="1"/>
            <c:bubble3D val="0"/>
            <c:spPr>
              <a:solidFill>
                <a:srgbClr val="7ECAC4"/>
              </a:solidFill>
            </c:spPr>
            <c:extLst>
              <c:ext xmlns:c16="http://schemas.microsoft.com/office/drawing/2014/chart" uri="{C3380CC4-5D6E-409C-BE32-E72D297353CC}">
                <c16:uniqueId val="{0000039D-26BF-40B0-8A43-EC10D791E60B}"/>
              </c:ext>
            </c:extLst>
          </c:dPt>
          <c:dPt>
            <c:idx val="462"/>
            <c:invertIfNegative val="1"/>
            <c:bubble3D val="0"/>
            <c:spPr>
              <a:solidFill>
                <a:srgbClr val="7ECAC4"/>
              </a:solidFill>
            </c:spPr>
            <c:extLst>
              <c:ext xmlns:c16="http://schemas.microsoft.com/office/drawing/2014/chart" uri="{C3380CC4-5D6E-409C-BE32-E72D297353CC}">
                <c16:uniqueId val="{0000039F-26BF-40B0-8A43-EC10D791E60B}"/>
              </c:ext>
            </c:extLst>
          </c:dPt>
          <c:dPt>
            <c:idx val="463"/>
            <c:invertIfNegative val="1"/>
            <c:bubble3D val="0"/>
            <c:spPr>
              <a:solidFill>
                <a:srgbClr val="7ECAC4"/>
              </a:solidFill>
            </c:spPr>
            <c:extLst>
              <c:ext xmlns:c16="http://schemas.microsoft.com/office/drawing/2014/chart" uri="{C3380CC4-5D6E-409C-BE32-E72D297353CC}">
                <c16:uniqueId val="{000003A1-26BF-40B0-8A43-EC10D791E60B}"/>
              </c:ext>
            </c:extLst>
          </c:dPt>
          <c:dPt>
            <c:idx val="464"/>
            <c:invertIfNegative val="1"/>
            <c:bubble3D val="0"/>
            <c:spPr>
              <a:solidFill>
                <a:srgbClr val="7ECAC4"/>
              </a:solidFill>
            </c:spPr>
            <c:extLst>
              <c:ext xmlns:c16="http://schemas.microsoft.com/office/drawing/2014/chart" uri="{C3380CC4-5D6E-409C-BE32-E72D297353CC}">
                <c16:uniqueId val="{000003A3-26BF-40B0-8A43-EC10D791E60B}"/>
              </c:ext>
            </c:extLst>
          </c:dPt>
          <c:dPt>
            <c:idx val="465"/>
            <c:invertIfNegative val="1"/>
            <c:bubble3D val="0"/>
            <c:spPr>
              <a:solidFill>
                <a:srgbClr val="7ECAC4"/>
              </a:solidFill>
            </c:spPr>
            <c:extLst>
              <c:ext xmlns:c16="http://schemas.microsoft.com/office/drawing/2014/chart" uri="{C3380CC4-5D6E-409C-BE32-E72D297353CC}">
                <c16:uniqueId val="{000003A5-26BF-40B0-8A43-EC10D791E60B}"/>
              </c:ext>
            </c:extLst>
          </c:dPt>
          <c:dPt>
            <c:idx val="466"/>
            <c:invertIfNegative val="1"/>
            <c:bubble3D val="0"/>
            <c:spPr>
              <a:solidFill>
                <a:srgbClr val="7ECAC4"/>
              </a:solidFill>
            </c:spPr>
            <c:extLst>
              <c:ext xmlns:c16="http://schemas.microsoft.com/office/drawing/2014/chart" uri="{C3380CC4-5D6E-409C-BE32-E72D297353CC}">
                <c16:uniqueId val="{000003A7-26BF-40B0-8A43-EC10D791E60B}"/>
              </c:ext>
            </c:extLst>
          </c:dPt>
          <c:dPt>
            <c:idx val="467"/>
            <c:invertIfNegative val="1"/>
            <c:bubble3D val="0"/>
            <c:spPr>
              <a:solidFill>
                <a:srgbClr val="7ECAC4"/>
              </a:solidFill>
            </c:spPr>
            <c:extLst>
              <c:ext xmlns:c16="http://schemas.microsoft.com/office/drawing/2014/chart" uri="{C3380CC4-5D6E-409C-BE32-E72D297353CC}">
                <c16:uniqueId val="{000003A9-26BF-40B0-8A43-EC10D791E60B}"/>
              </c:ext>
            </c:extLst>
          </c:dPt>
          <c:dPt>
            <c:idx val="468"/>
            <c:invertIfNegative val="1"/>
            <c:bubble3D val="0"/>
            <c:spPr>
              <a:solidFill>
                <a:srgbClr val="7ECAC4"/>
              </a:solidFill>
            </c:spPr>
            <c:extLst>
              <c:ext xmlns:c16="http://schemas.microsoft.com/office/drawing/2014/chart" uri="{C3380CC4-5D6E-409C-BE32-E72D297353CC}">
                <c16:uniqueId val="{000003AB-26BF-40B0-8A43-EC10D791E60B}"/>
              </c:ext>
            </c:extLst>
          </c:dPt>
          <c:dPt>
            <c:idx val="469"/>
            <c:invertIfNegative val="1"/>
            <c:bubble3D val="0"/>
            <c:spPr>
              <a:solidFill>
                <a:srgbClr val="7ECAC4"/>
              </a:solidFill>
            </c:spPr>
            <c:extLst>
              <c:ext xmlns:c16="http://schemas.microsoft.com/office/drawing/2014/chart" uri="{C3380CC4-5D6E-409C-BE32-E72D297353CC}">
                <c16:uniqueId val="{000003AD-26BF-40B0-8A43-EC10D791E60B}"/>
              </c:ext>
            </c:extLst>
          </c:dPt>
          <c:dPt>
            <c:idx val="470"/>
            <c:invertIfNegative val="1"/>
            <c:bubble3D val="0"/>
            <c:spPr>
              <a:solidFill>
                <a:srgbClr val="7ECAC4"/>
              </a:solidFill>
            </c:spPr>
            <c:extLst>
              <c:ext xmlns:c16="http://schemas.microsoft.com/office/drawing/2014/chart" uri="{C3380CC4-5D6E-409C-BE32-E72D297353CC}">
                <c16:uniqueId val="{000003AF-26BF-40B0-8A43-EC10D791E60B}"/>
              </c:ext>
            </c:extLst>
          </c:dPt>
          <c:dPt>
            <c:idx val="471"/>
            <c:invertIfNegative val="1"/>
            <c:bubble3D val="0"/>
            <c:spPr>
              <a:solidFill>
                <a:srgbClr val="7ECAC4"/>
              </a:solidFill>
            </c:spPr>
            <c:extLst>
              <c:ext xmlns:c16="http://schemas.microsoft.com/office/drawing/2014/chart" uri="{C3380CC4-5D6E-409C-BE32-E72D297353CC}">
                <c16:uniqueId val="{000003B1-26BF-40B0-8A43-EC10D791E60B}"/>
              </c:ext>
            </c:extLst>
          </c:dPt>
          <c:dPt>
            <c:idx val="472"/>
            <c:invertIfNegative val="1"/>
            <c:bubble3D val="0"/>
            <c:spPr>
              <a:solidFill>
                <a:srgbClr val="7ECAC4"/>
              </a:solidFill>
            </c:spPr>
            <c:extLst>
              <c:ext xmlns:c16="http://schemas.microsoft.com/office/drawing/2014/chart" uri="{C3380CC4-5D6E-409C-BE32-E72D297353CC}">
                <c16:uniqueId val="{000003B3-26BF-40B0-8A43-EC10D791E60B}"/>
              </c:ext>
            </c:extLst>
          </c:dPt>
          <c:dPt>
            <c:idx val="473"/>
            <c:invertIfNegative val="1"/>
            <c:bubble3D val="0"/>
            <c:spPr>
              <a:solidFill>
                <a:srgbClr val="7ECAC4"/>
              </a:solidFill>
            </c:spPr>
            <c:extLst>
              <c:ext xmlns:c16="http://schemas.microsoft.com/office/drawing/2014/chart" uri="{C3380CC4-5D6E-409C-BE32-E72D297353CC}">
                <c16:uniqueId val="{000003B5-26BF-40B0-8A43-EC10D791E60B}"/>
              </c:ext>
            </c:extLst>
          </c:dPt>
          <c:dPt>
            <c:idx val="474"/>
            <c:invertIfNegative val="1"/>
            <c:bubble3D val="0"/>
            <c:spPr>
              <a:solidFill>
                <a:srgbClr val="7ECAC4"/>
              </a:solidFill>
            </c:spPr>
            <c:extLst>
              <c:ext xmlns:c16="http://schemas.microsoft.com/office/drawing/2014/chart" uri="{C3380CC4-5D6E-409C-BE32-E72D297353CC}">
                <c16:uniqueId val="{000003B7-26BF-40B0-8A43-EC10D791E60B}"/>
              </c:ext>
            </c:extLst>
          </c:dPt>
          <c:dPt>
            <c:idx val="475"/>
            <c:invertIfNegative val="1"/>
            <c:bubble3D val="0"/>
            <c:spPr>
              <a:solidFill>
                <a:srgbClr val="7ECAC4"/>
              </a:solidFill>
            </c:spPr>
            <c:extLst>
              <c:ext xmlns:c16="http://schemas.microsoft.com/office/drawing/2014/chart" uri="{C3380CC4-5D6E-409C-BE32-E72D297353CC}">
                <c16:uniqueId val="{000003B9-26BF-40B0-8A43-EC10D791E60B}"/>
              </c:ext>
            </c:extLst>
          </c:dPt>
          <c:dPt>
            <c:idx val="476"/>
            <c:invertIfNegative val="1"/>
            <c:bubble3D val="0"/>
            <c:spPr>
              <a:solidFill>
                <a:srgbClr val="7ECAC4"/>
              </a:solidFill>
            </c:spPr>
            <c:extLst>
              <c:ext xmlns:c16="http://schemas.microsoft.com/office/drawing/2014/chart" uri="{C3380CC4-5D6E-409C-BE32-E72D297353CC}">
                <c16:uniqueId val="{000003BB-26BF-40B0-8A43-EC10D791E60B}"/>
              </c:ext>
            </c:extLst>
          </c:dPt>
          <c:dPt>
            <c:idx val="477"/>
            <c:invertIfNegative val="1"/>
            <c:bubble3D val="0"/>
            <c:spPr>
              <a:solidFill>
                <a:srgbClr val="7ECAC4"/>
              </a:solidFill>
            </c:spPr>
            <c:extLst>
              <c:ext xmlns:c16="http://schemas.microsoft.com/office/drawing/2014/chart" uri="{C3380CC4-5D6E-409C-BE32-E72D297353CC}">
                <c16:uniqueId val="{000003BD-26BF-40B0-8A43-EC10D791E60B}"/>
              </c:ext>
            </c:extLst>
          </c:dPt>
          <c:dPt>
            <c:idx val="478"/>
            <c:invertIfNegative val="1"/>
            <c:bubble3D val="0"/>
            <c:spPr>
              <a:solidFill>
                <a:srgbClr val="7ECAC4"/>
              </a:solidFill>
            </c:spPr>
            <c:extLst>
              <c:ext xmlns:c16="http://schemas.microsoft.com/office/drawing/2014/chart" uri="{C3380CC4-5D6E-409C-BE32-E72D297353CC}">
                <c16:uniqueId val="{000003BF-26BF-40B0-8A43-EC10D791E60B}"/>
              </c:ext>
            </c:extLst>
          </c:dPt>
          <c:dPt>
            <c:idx val="479"/>
            <c:invertIfNegative val="1"/>
            <c:bubble3D val="0"/>
            <c:spPr>
              <a:solidFill>
                <a:srgbClr val="7ECAC4"/>
              </a:solidFill>
            </c:spPr>
            <c:extLst>
              <c:ext xmlns:c16="http://schemas.microsoft.com/office/drawing/2014/chart" uri="{C3380CC4-5D6E-409C-BE32-E72D297353CC}">
                <c16:uniqueId val="{000003C1-26BF-40B0-8A43-EC10D791E60B}"/>
              </c:ext>
            </c:extLst>
          </c:dPt>
          <c:dPt>
            <c:idx val="480"/>
            <c:invertIfNegative val="1"/>
            <c:bubble3D val="0"/>
            <c:spPr>
              <a:solidFill>
                <a:srgbClr val="7ECAC4"/>
              </a:solidFill>
            </c:spPr>
            <c:extLst>
              <c:ext xmlns:c16="http://schemas.microsoft.com/office/drawing/2014/chart" uri="{C3380CC4-5D6E-409C-BE32-E72D297353CC}">
                <c16:uniqueId val="{000003C3-26BF-40B0-8A43-EC10D791E60B}"/>
              </c:ext>
            </c:extLst>
          </c:dPt>
          <c:dPt>
            <c:idx val="481"/>
            <c:invertIfNegative val="1"/>
            <c:bubble3D val="0"/>
            <c:spPr>
              <a:solidFill>
                <a:srgbClr val="7ECAC4"/>
              </a:solidFill>
            </c:spPr>
            <c:extLst>
              <c:ext xmlns:c16="http://schemas.microsoft.com/office/drawing/2014/chart" uri="{C3380CC4-5D6E-409C-BE32-E72D297353CC}">
                <c16:uniqueId val="{000003C5-26BF-40B0-8A43-EC10D791E60B}"/>
              </c:ext>
            </c:extLst>
          </c:dPt>
          <c:dPt>
            <c:idx val="482"/>
            <c:invertIfNegative val="1"/>
            <c:bubble3D val="0"/>
            <c:spPr>
              <a:solidFill>
                <a:srgbClr val="7ECAC4"/>
              </a:solidFill>
            </c:spPr>
            <c:extLst>
              <c:ext xmlns:c16="http://schemas.microsoft.com/office/drawing/2014/chart" uri="{C3380CC4-5D6E-409C-BE32-E72D297353CC}">
                <c16:uniqueId val="{000003C7-26BF-40B0-8A43-EC10D791E60B}"/>
              </c:ext>
            </c:extLst>
          </c:dPt>
          <c:dPt>
            <c:idx val="483"/>
            <c:invertIfNegative val="1"/>
            <c:bubble3D val="0"/>
            <c:spPr>
              <a:solidFill>
                <a:srgbClr val="7ECAC4"/>
              </a:solidFill>
            </c:spPr>
            <c:extLst>
              <c:ext xmlns:c16="http://schemas.microsoft.com/office/drawing/2014/chart" uri="{C3380CC4-5D6E-409C-BE32-E72D297353CC}">
                <c16:uniqueId val="{000003C9-26BF-40B0-8A43-EC10D791E60B}"/>
              </c:ext>
            </c:extLst>
          </c:dPt>
          <c:dPt>
            <c:idx val="484"/>
            <c:invertIfNegative val="1"/>
            <c:bubble3D val="0"/>
            <c:spPr>
              <a:solidFill>
                <a:srgbClr val="7ECAC4"/>
              </a:solidFill>
            </c:spPr>
            <c:extLst>
              <c:ext xmlns:c16="http://schemas.microsoft.com/office/drawing/2014/chart" uri="{C3380CC4-5D6E-409C-BE32-E72D297353CC}">
                <c16:uniqueId val="{000003CB-26BF-40B0-8A43-EC10D791E60B}"/>
              </c:ext>
            </c:extLst>
          </c:dPt>
          <c:dPt>
            <c:idx val="485"/>
            <c:invertIfNegative val="1"/>
            <c:bubble3D val="0"/>
            <c:spPr>
              <a:solidFill>
                <a:srgbClr val="7ECAC4"/>
              </a:solidFill>
            </c:spPr>
            <c:extLst>
              <c:ext xmlns:c16="http://schemas.microsoft.com/office/drawing/2014/chart" uri="{C3380CC4-5D6E-409C-BE32-E72D297353CC}">
                <c16:uniqueId val="{000003CD-26BF-40B0-8A43-EC10D791E60B}"/>
              </c:ext>
            </c:extLst>
          </c:dPt>
          <c:dPt>
            <c:idx val="486"/>
            <c:invertIfNegative val="1"/>
            <c:bubble3D val="0"/>
            <c:spPr>
              <a:solidFill>
                <a:srgbClr val="7ECAC4"/>
              </a:solidFill>
            </c:spPr>
            <c:extLst>
              <c:ext xmlns:c16="http://schemas.microsoft.com/office/drawing/2014/chart" uri="{C3380CC4-5D6E-409C-BE32-E72D297353CC}">
                <c16:uniqueId val="{000003CF-26BF-40B0-8A43-EC10D791E60B}"/>
              </c:ext>
            </c:extLst>
          </c:dPt>
          <c:dPt>
            <c:idx val="487"/>
            <c:invertIfNegative val="1"/>
            <c:bubble3D val="0"/>
            <c:spPr>
              <a:solidFill>
                <a:srgbClr val="7ECAC4"/>
              </a:solidFill>
            </c:spPr>
            <c:extLst>
              <c:ext xmlns:c16="http://schemas.microsoft.com/office/drawing/2014/chart" uri="{C3380CC4-5D6E-409C-BE32-E72D297353CC}">
                <c16:uniqueId val="{000003D1-26BF-40B0-8A43-EC10D791E60B}"/>
              </c:ext>
            </c:extLst>
          </c:dPt>
          <c:dPt>
            <c:idx val="488"/>
            <c:invertIfNegative val="1"/>
            <c:bubble3D val="0"/>
            <c:spPr>
              <a:solidFill>
                <a:srgbClr val="7ECAC4"/>
              </a:solidFill>
            </c:spPr>
            <c:extLst>
              <c:ext xmlns:c16="http://schemas.microsoft.com/office/drawing/2014/chart" uri="{C3380CC4-5D6E-409C-BE32-E72D297353CC}">
                <c16:uniqueId val="{000003D3-26BF-40B0-8A43-EC10D791E60B}"/>
              </c:ext>
            </c:extLst>
          </c:dPt>
          <c:dPt>
            <c:idx val="489"/>
            <c:invertIfNegative val="1"/>
            <c:bubble3D val="0"/>
            <c:spPr>
              <a:solidFill>
                <a:srgbClr val="7ECAC4"/>
              </a:solidFill>
            </c:spPr>
            <c:extLst>
              <c:ext xmlns:c16="http://schemas.microsoft.com/office/drawing/2014/chart" uri="{C3380CC4-5D6E-409C-BE32-E72D297353CC}">
                <c16:uniqueId val="{000003D5-26BF-40B0-8A43-EC10D791E60B}"/>
              </c:ext>
            </c:extLst>
          </c:dPt>
          <c:dPt>
            <c:idx val="490"/>
            <c:invertIfNegative val="1"/>
            <c:bubble3D val="0"/>
            <c:spPr>
              <a:solidFill>
                <a:srgbClr val="7ECAC4"/>
              </a:solidFill>
            </c:spPr>
            <c:extLst>
              <c:ext xmlns:c16="http://schemas.microsoft.com/office/drawing/2014/chart" uri="{C3380CC4-5D6E-409C-BE32-E72D297353CC}">
                <c16:uniqueId val="{000003D7-26BF-40B0-8A43-EC10D791E60B}"/>
              </c:ext>
            </c:extLst>
          </c:dPt>
          <c:dPt>
            <c:idx val="491"/>
            <c:invertIfNegative val="1"/>
            <c:bubble3D val="0"/>
            <c:spPr>
              <a:solidFill>
                <a:srgbClr val="7ECAC4"/>
              </a:solidFill>
            </c:spPr>
            <c:extLst>
              <c:ext xmlns:c16="http://schemas.microsoft.com/office/drawing/2014/chart" uri="{C3380CC4-5D6E-409C-BE32-E72D297353CC}">
                <c16:uniqueId val="{000003D9-26BF-40B0-8A43-EC10D791E60B}"/>
              </c:ext>
            </c:extLst>
          </c:dPt>
          <c:dPt>
            <c:idx val="492"/>
            <c:invertIfNegative val="1"/>
            <c:bubble3D val="0"/>
            <c:spPr>
              <a:solidFill>
                <a:srgbClr val="7ECAC4"/>
              </a:solidFill>
            </c:spPr>
            <c:extLst>
              <c:ext xmlns:c16="http://schemas.microsoft.com/office/drawing/2014/chart" uri="{C3380CC4-5D6E-409C-BE32-E72D297353CC}">
                <c16:uniqueId val="{000003DB-26BF-40B0-8A43-EC10D791E60B}"/>
              </c:ext>
            </c:extLst>
          </c:dPt>
          <c:dPt>
            <c:idx val="493"/>
            <c:invertIfNegative val="1"/>
            <c:bubble3D val="0"/>
            <c:spPr>
              <a:solidFill>
                <a:srgbClr val="7ECAC4"/>
              </a:solidFill>
            </c:spPr>
            <c:extLst>
              <c:ext xmlns:c16="http://schemas.microsoft.com/office/drawing/2014/chart" uri="{C3380CC4-5D6E-409C-BE32-E72D297353CC}">
                <c16:uniqueId val="{000003DD-26BF-40B0-8A43-EC10D791E60B}"/>
              </c:ext>
            </c:extLst>
          </c:dPt>
          <c:dPt>
            <c:idx val="494"/>
            <c:invertIfNegative val="1"/>
            <c:bubble3D val="0"/>
            <c:spPr>
              <a:solidFill>
                <a:srgbClr val="7ECAC4"/>
              </a:solidFill>
            </c:spPr>
            <c:extLst>
              <c:ext xmlns:c16="http://schemas.microsoft.com/office/drawing/2014/chart" uri="{C3380CC4-5D6E-409C-BE32-E72D297353CC}">
                <c16:uniqueId val="{000003DF-26BF-40B0-8A43-EC10D791E60B}"/>
              </c:ext>
            </c:extLst>
          </c:dPt>
          <c:dPt>
            <c:idx val="495"/>
            <c:invertIfNegative val="1"/>
            <c:bubble3D val="0"/>
            <c:spPr>
              <a:solidFill>
                <a:srgbClr val="7ECAC4"/>
              </a:solidFill>
            </c:spPr>
            <c:extLst>
              <c:ext xmlns:c16="http://schemas.microsoft.com/office/drawing/2014/chart" uri="{C3380CC4-5D6E-409C-BE32-E72D297353CC}">
                <c16:uniqueId val="{000003E1-26BF-40B0-8A43-EC10D791E60B}"/>
              </c:ext>
            </c:extLst>
          </c:dPt>
          <c:dPt>
            <c:idx val="496"/>
            <c:invertIfNegative val="1"/>
            <c:bubble3D val="0"/>
            <c:spPr>
              <a:solidFill>
                <a:srgbClr val="7ECAC4"/>
              </a:solidFill>
            </c:spPr>
            <c:extLst>
              <c:ext xmlns:c16="http://schemas.microsoft.com/office/drawing/2014/chart" uri="{C3380CC4-5D6E-409C-BE32-E72D297353CC}">
                <c16:uniqueId val="{000003E3-26BF-40B0-8A43-EC10D791E60B}"/>
              </c:ext>
            </c:extLst>
          </c:dPt>
          <c:dPt>
            <c:idx val="497"/>
            <c:invertIfNegative val="1"/>
            <c:bubble3D val="0"/>
            <c:spPr>
              <a:solidFill>
                <a:srgbClr val="AEABAB"/>
              </a:solidFill>
            </c:spPr>
            <c:extLst>
              <c:ext xmlns:c16="http://schemas.microsoft.com/office/drawing/2014/chart" uri="{C3380CC4-5D6E-409C-BE32-E72D297353CC}">
                <c16:uniqueId val="{000003E5-26BF-40B0-8A43-EC10D791E60B}"/>
              </c:ext>
            </c:extLst>
          </c:dPt>
          <c:dPt>
            <c:idx val="498"/>
            <c:invertIfNegative val="1"/>
            <c:bubble3D val="0"/>
            <c:spPr>
              <a:solidFill>
                <a:srgbClr val="AEABAB"/>
              </a:solidFill>
            </c:spPr>
            <c:extLst>
              <c:ext xmlns:c16="http://schemas.microsoft.com/office/drawing/2014/chart" uri="{C3380CC4-5D6E-409C-BE32-E72D297353CC}">
                <c16:uniqueId val="{000003E7-26BF-40B0-8A43-EC10D791E60B}"/>
              </c:ext>
            </c:extLst>
          </c:dPt>
          <c:dPt>
            <c:idx val="499"/>
            <c:invertIfNegative val="1"/>
            <c:bubble3D val="0"/>
            <c:spPr>
              <a:solidFill>
                <a:srgbClr val="AEABAB"/>
              </a:solidFill>
            </c:spPr>
            <c:extLst>
              <c:ext xmlns:c16="http://schemas.microsoft.com/office/drawing/2014/chart" uri="{C3380CC4-5D6E-409C-BE32-E72D297353CC}">
                <c16:uniqueId val="{000003E9-26BF-40B0-8A43-EC10D791E60B}"/>
              </c:ext>
            </c:extLst>
          </c:dPt>
          <c:dPt>
            <c:idx val="500"/>
            <c:invertIfNegative val="1"/>
            <c:bubble3D val="0"/>
            <c:spPr>
              <a:solidFill>
                <a:srgbClr val="AEABAB"/>
              </a:solidFill>
            </c:spPr>
            <c:extLst>
              <c:ext xmlns:c16="http://schemas.microsoft.com/office/drawing/2014/chart" uri="{C3380CC4-5D6E-409C-BE32-E72D297353CC}">
                <c16:uniqueId val="{000003EB-26BF-40B0-8A43-EC10D791E60B}"/>
              </c:ext>
            </c:extLst>
          </c:dPt>
          <c:dPt>
            <c:idx val="501"/>
            <c:invertIfNegative val="1"/>
            <c:bubble3D val="0"/>
            <c:spPr>
              <a:solidFill>
                <a:srgbClr val="AEABAB"/>
              </a:solidFill>
            </c:spPr>
            <c:extLst>
              <c:ext xmlns:c16="http://schemas.microsoft.com/office/drawing/2014/chart" uri="{C3380CC4-5D6E-409C-BE32-E72D297353CC}">
                <c16:uniqueId val="{000003ED-26BF-40B0-8A43-EC10D791E60B}"/>
              </c:ext>
            </c:extLst>
          </c:dPt>
          <c:dPt>
            <c:idx val="502"/>
            <c:invertIfNegative val="1"/>
            <c:bubble3D val="0"/>
            <c:spPr>
              <a:solidFill>
                <a:srgbClr val="AEABAB"/>
              </a:solidFill>
            </c:spPr>
            <c:extLst>
              <c:ext xmlns:c16="http://schemas.microsoft.com/office/drawing/2014/chart" uri="{C3380CC4-5D6E-409C-BE32-E72D297353CC}">
                <c16:uniqueId val="{000003EF-26BF-40B0-8A43-EC10D791E60B}"/>
              </c:ext>
            </c:extLst>
          </c:dPt>
          <c:dPt>
            <c:idx val="503"/>
            <c:invertIfNegative val="1"/>
            <c:bubble3D val="0"/>
            <c:spPr>
              <a:solidFill>
                <a:srgbClr val="AEABAB"/>
              </a:solidFill>
            </c:spPr>
            <c:extLst>
              <c:ext xmlns:c16="http://schemas.microsoft.com/office/drawing/2014/chart" uri="{C3380CC4-5D6E-409C-BE32-E72D297353CC}">
                <c16:uniqueId val="{000003F1-26BF-40B0-8A43-EC10D791E60B}"/>
              </c:ext>
            </c:extLst>
          </c:dPt>
          <c:dPt>
            <c:idx val="504"/>
            <c:invertIfNegative val="1"/>
            <c:bubble3D val="0"/>
            <c:spPr>
              <a:solidFill>
                <a:srgbClr val="AEABAB"/>
              </a:solidFill>
            </c:spPr>
            <c:extLst>
              <c:ext xmlns:c16="http://schemas.microsoft.com/office/drawing/2014/chart" uri="{C3380CC4-5D6E-409C-BE32-E72D297353CC}">
                <c16:uniqueId val="{000003F3-26BF-40B0-8A43-EC10D791E60B}"/>
              </c:ext>
            </c:extLst>
          </c:dPt>
          <c:dPt>
            <c:idx val="505"/>
            <c:invertIfNegative val="1"/>
            <c:bubble3D val="0"/>
            <c:spPr>
              <a:solidFill>
                <a:srgbClr val="AEABAB"/>
              </a:solidFill>
            </c:spPr>
            <c:extLst>
              <c:ext xmlns:c16="http://schemas.microsoft.com/office/drawing/2014/chart" uri="{C3380CC4-5D6E-409C-BE32-E72D297353CC}">
                <c16:uniqueId val="{000003F5-26BF-40B0-8A43-EC10D791E60B}"/>
              </c:ext>
            </c:extLst>
          </c:dPt>
          <c:dPt>
            <c:idx val="506"/>
            <c:invertIfNegative val="1"/>
            <c:bubble3D val="0"/>
            <c:spPr>
              <a:solidFill>
                <a:srgbClr val="AEABAB"/>
              </a:solidFill>
            </c:spPr>
            <c:extLst>
              <c:ext xmlns:c16="http://schemas.microsoft.com/office/drawing/2014/chart" uri="{C3380CC4-5D6E-409C-BE32-E72D297353CC}">
                <c16:uniqueId val="{000003F7-26BF-40B0-8A43-EC10D791E60B}"/>
              </c:ext>
            </c:extLst>
          </c:dPt>
          <c:dPt>
            <c:idx val="507"/>
            <c:invertIfNegative val="1"/>
            <c:bubble3D val="0"/>
            <c:spPr>
              <a:solidFill>
                <a:srgbClr val="AEABAB"/>
              </a:solidFill>
            </c:spPr>
            <c:extLst>
              <c:ext xmlns:c16="http://schemas.microsoft.com/office/drawing/2014/chart" uri="{C3380CC4-5D6E-409C-BE32-E72D297353CC}">
                <c16:uniqueId val="{000003F9-26BF-40B0-8A43-EC10D791E60B}"/>
              </c:ext>
            </c:extLst>
          </c:dPt>
          <c:dPt>
            <c:idx val="508"/>
            <c:invertIfNegative val="1"/>
            <c:bubble3D val="0"/>
            <c:spPr>
              <a:solidFill>
                <a:srgbClr val="AEABAB"/>
              </a:solidFill>
            </c:spPr>
            <c:extLst>
              <c:ext xmlns:c16="http://schemas.microsoft.com/office/drawing/2014/chart" uri="{C3380CC4-5D6E-409C-BE32-E72D297353CC}">
                <c16:uniqueId val="{000003FB-26BF-40B0-8A43-EC10D791E60B}"/>
              </c:ext>
            </c:extLst>
          </c:dPt>
          <c:dPt>
            <c:idx val="509"/>
            <c:invertIfNegative val="1"/>
            <c:bubble3D val="0"/>
            <c:spPr>
              <a:solidFill>
                <a:srgbClr val="AEABAB"/>
              </a:solidFill>
            </c:spPr>
            <c:extLst>
              <c:ext xmlns:c16="http://schemas.microsoft.com/office/drawing/2014/chart" uri="{C3380CC4-5D6E-409C-BE32-E72D297353CC}">
                <c16:uniqueId val="{000003FD-26BF-40B0-8A43-EC10D791E60B}"/>
              </c:ext>
            </c:extLst>
          </c:dPt>
          <c:dPt>
            <c:idx val="510"/>
            <c:invertIfNegative val="1"/>
            <c:bubble3D val="0"/>
            <c:spPr>
              <a:solidFill>
                <a:srgbClr val="AEABAB"/>
              </a:solidFill>
            </c:spPr>
            <c:extLst>
              <c:ext xmlns:c16="http://schemas.microsoft.com/office/drawing/2014/chart" uri="{C3380CC4-5D6E-409C-BE32-E72D297353CC}">
                <c16:uniqueId val="{000003FF-26BF-40B0-8A43-EC10D791E60B}"/>
              </c:ext>
            </c:extLst>
          </c:dPt>
          <c:dPt>
            <c:idx val="511"/>
            <c:invertIfNegative val="1"/>
            <c:bubble3D val="0"/>
            <c:spPr>
              <a:solidFill>
                <a:srgbClr val="AEABAB"/>
              </a:solidFill>
            </c:spPr>
            <c:extLst>
              <c:ext xmlns:c16="http://schemas.microsoft.com/office/drawing/2014/chart" uri="{C3380CC4-5D6E-409C-BE32-E72D297353CC}">
                <c16:uniqueId val="{00000401-26BF-40B0-8A43-EC10D791E60B}"/>
              </c:ext>
            </c:extLst>
          </c:dPt>
          <c:dPt>
            <c:idx val="512"/>
            <c:invertIfNegative val="1"/>
            <c:bubble3D val="0"/>
            <c:spPr>
              <a:solidFill>
                <a:srgbClr val="AEABAB"/>
              </a:solidFill>
            </c:spPr>
            <c:extLst>
              <c:ext xmlns:c16="http://schemas.microsoft.com/office/drawing/2014/chart" uri="{C3380CC4-5D6E-409C-BE32-E72D297353CC}">
                <c16:uniqueId val="{00000403-26BF-40B0-8A43-EC10D791E60B}"/>
              </c:ext>
            </c:extLst>
          </c:dPt>
          <c:dPt>
            <c:idx val="513"/>
            <c:invertIfNegative val="1"/>
            <c:bubble3D val="0"/>
            <c:spPr>
              <a:solidFill>
                <a:srgbClr val="AEABAB"/>
              </a:solidFill>
            </c:spPr>
            <c:extLst>
              <c:ext xmlns:c16="http://schemas.microsoft.com/office/drawing/2014/chart" uri="{C3380CC4-5D6E-409C-BE32-E72D297353CC}">
                <c16:uniqueId val="{00000405-26BF-40B0-8A43-EC10D791E60B}"/>
              </c:ext>
            </c:extLst>
          </c:dPt>
          <c:dPt>
            <c:idx val="514"/>
            <c:invertIfNegative val="1"/>
            <c:bubble3D val="0"/>
            <c:spPr>
              <a:solidFill>
                <a:srgbClr val="AEABAB"/>
              </a:solidFill>
            </c:spPr>
            <c:extLst>
              <c:ext xmlns:c16="http://schemas.microsoft.com/office/drawing/2014/chart" uri="{C3380CC4-5D6E-409C-BE32-E72D297353CC}">
                <c16:uniqueId val="{00000407-26BF-40B0-8A43-EC10D791E60B}"/>
              </c:ext>
            </c:extLst>
          </c:dPt>
          <c:dPt>
            <c:idx val="515"/>
            <c:invertIfNegative val="1"/>
            <c:bubble3D val="0"/>
            <c:spPr>
              <a:solidFill>
                <a:srgbClr val="AEABAB"/>
              </a:solidFill>
            </c:spPr>
            <c:extLst>
              <c:ext xmlns:c16="http://schemas.microsoft.com/office/drawing/2014/chart" uri="{C3380CC4-5D6E-409C-BE32-E72D297353CC}">
                <c16:uniqueId val="{00000409-26BF-40B0-8A43-EC10D791E60B}"/>
              </c:ext>
            </c:extLst>
          </c:dPt>
          <c:dPt>
            <c:idx val="516"/>
            <c:invertIfNegative val="1"/>
            <c:bubble3D val="0"/>
            <c:spPr>
              <a:solidFill>
                <a:srgbClr val="AEABAB"/>
              </a:solidFill>
            </c:spPr>
            <c:extLst>
              <c:ext xmlns:c16="http://schemas.microsoft.com/office/drawing/2014/chart" uri="{C3380CC4-5D6E-409C-BE32-E72D297353CC}">
                <c16:uniqueId val="{0000040B-26BF-40B0-8A43-EC10D791E60B}"/>
              </c:ext>
            </c:extLst>
          </c:dPt>
          <c:dPt>
            <c:idx val="517"/>
            <c:invertIfNegative val="1"/>
            <c:bubble3D val="0"/>
            <c:spPr>
              <a:solidFill>
                <a:srgbClr val="AEABAB"/>
              </a:solidFill>
            </c:spPr>
            <c:extLst>
              <c:ext xmlns:c16="http://schemas.microsoft.com/office/drawing/2014/chart" uri="{C3380CC4-5D6E-409C-BE32-E72D297353CC}">
                <c16:uniqueId val="{0000040D-26BF-40B0-8A43-EC10D791E60B}"/>
              </c:ext>
            </c:extLst>
          </c:dPt>
          <c:dPt>
            <c:idx val="518"/>
            <c:invertIfNegative val="1"/>
            <c:bubble3D val="0"/>
            <c:spPr>
              <a:solidFill>
                <a:srgbClr val="AEABAB"/>
              </a:solidFill>
            </c:spPr>
            <c:extLst>
              <c:ext xmlns:c16="http://schemas.microsoft.com/office/drawing/2014/chart" uri="{C3380CC4-5D6E-409C-BE32-E72D297353CC}">
                <c16:uniqueId val="{0000040F-26BF-40B0-8A43-EC10D791E60B}"/>
              </c:ext>
            </c:extLst>
          </c:dPt>
          <c:dPt>
            <c:idx val="519"/>
            <c:invertIfNegative val="1"/>
            <c:bubble3D val="0"/>
            <c:spPr>
              <a:solidFill>
                <a:srgbClr val="AEABAB"/>
              </a:solidFill>
            </c:spPr>
            <c:extLst>
              <c:ext xmlns:c16="http://schemas.microsoft.com/office/drawing/2014/chart" uri="{C3380CC4-5D6E-409C-BE32-E72D297353CC}">
                <c16:uniqueId val="{00000411-26BF-40B0-8A43-EC10D791E60B}"/>
              </c:ext>
            </c:extLst>
          </c:dPt>
          <c:dPt>
            <c:idx val="520"/>
            <c:invertIfNegative val="1"/>
            <c:bubble3D val="0"/>
            <c:spPr>
              <a:solidFill>
                <a:srgbClr val="AEABAB"/>
              </a:solidFill>
            </c:spPr>
            <c:extLst>
              <c:ext xmlns:c16="http://schemas.microsoft.com/office/drawing/2014/chart" uri="{C3380CC4-5D6E-409C-BE32-E72D297353CC}">
                <c16:uniqueId val="{00000413-26BF-40B0-8A43-EC10D791E60B}"/>
              </c:ext>
            </c:extLst>
          </c:dPt>
          <c:dPt>
            <c:idx val="521"/>
            <c:invertIfNegative val="1"/>
            <c:bubble3D val="0"/>
            <c:spPr>
              <a:solidFill>
                <a:srgbClr val="AEABAB"/>
              </a:solidFill>
            </c:spPr>
            <c:extLst>
              <c:ext xmlns:c16="http://schemas.microsoft.com/office/drawing/2014/chart" uri="{C3380CC4-5D6E-409C-BE32-E72D297353CC}">
                <c16:uniqueId val="{00000415-26BF-40B0-8A43-EC10D791E60B}"/>
              </c:ext>
            </c:extLst>
          </c:dPt>
          <c:dPt>
            <c:idx val="522"/>
            <c:invertIfNegative val="1"/>
            <c:bubble3D val="0"/>
            <c:spPr>
              <a:solidFill>
                <a:srgbClr val="AEABAB"/>
              </a:solidFill>
            </c:spPr>
            <c:extLst>
              <c:ext xmlns:c16="http://schemas.microsoft.com/office/drawing/2014/chart" uri="{C3380CC4-5D6E-409C-BE32-E72D297353CC}">
                <c16:uniqueId val="{00000417-26BF-40B0-8A43-EC10D791E60B}"/>
              </c:ext>
            </c:extLst>
          </c:dPt>
          <c:dPt>
            <c:idx val="523"/>
            <c:invertIfNegative val="1"/>
            <c:bubble3D val="0"/>
            <c:spPr>
              <a:solidFill>
                <a:srgbClr val="AEABAB"/>
              </a:solidFill>
            </c:spPr>
            <c:extLst>
              <c:ext xmlns:c16="http://schemas.microsoft.com/office/drawing/2014/chart" uri="{C3380CC4-5D6E-409C-BE32-E72D297353CC}">
                <c16:uniqueId val="{00000419-26BF-40B0-8A43-EC10D791E60B}"/>
              </c:ext>
            </c:extLst>
          </c:dPt>
          <c:dPt>
            <c:idx val="524"/>
            <c:invertIfNegative val="1"/>
            <c:bubble3D val="0"/>
            <c:spPr>
              <a:solidFill>
                <a:srgbClr val="AEABAB"/>
              </a:solidFill>
            </c:spPr>
            <c:extLst>
              <c:ext xmlns:c16="http://schemas.microsoft.com/office/drawing/2014/chart" uri="{C3380CC4-5D6E-409C-BE32-E72D297353CC}">
                <c16:uniqueId val="{0000041B-26BF-40B0-8A43-EC10D791E60B}"/>
              </c:ext>
            </c:extLst>
          </c:dPt>
          <c:dPt>
            <c:idx val="525"/>
            <c:invertIfNegative val="1"/>
            <c:bubble3D val="0"/>
            <c:spPr>
              <a:solidFill>
                <a:srgbClr val="AEABAB"/>
              </a:solidFill>
            </c:spPr>
            <c:extLst>
              <c:ext xmlns:c16="http://schemas.microsoft.com/office/drawing/2014/chart" uri="{C3380CC4-5D6E-409C-BE32-E72D297353CC}">
                <c16:uniqueId val="{0000041D-26BF-40B0-8A43-EC10D791E60B}"/>
              </c:ext>
            </c:extLst>
          </c:dPt>
          <c:dPt>
            <c:idx val="526"/>
            <c:invertIfNegative val="1"/>
            <c:bubble3D val="0"/>
            <c:spPr>
              <a:solidFill>
                <a:srgbClr val="AEABAB"/>
              </a:solidFill>
            </c:spPr>
            <c:extLst>
              <c:ext xmlns:c16="http://schemas.microsoft.com/office/drawing/2014/chart" uri="{C3380CC4-5D6E-409C-BE32-E72D297353CC}">
                <c16:uniqueId val="{0000041F-26BF-40B0-8A43-EC10D791E60B}"/>
              </c:ext>
            </c:extLst>
          </c:dPt>
          <c:dPt>
            <c:idx val="527"/>
            <c:invertIfNegative val="1"/>
            <c:bubble3D val="0"/>
            <c:spPr>
              <a:solidFill>
                <a:srgbClr val="AEABAB"/>
              </a:solidFill>
            </c:spPr>
            <c:extLst>
              <c:ext xmlns:c16="http://schemas.microsoft.com/office/drawing/2014/chart" uri="{C3380CC4-5D6E-409C-BE32-E72D297353CC}">
                <c16:uniqueId val="{00000421-26BF-40B0-8A43-EC10D791E60B}"/>
              </c:ext>
            </c:extLst>
          </c:dPt>
          <c:dPt>
            <c:idx val="528"/>
            <c:invertIfNegative val="1"/>
            <c:bubble3D val="0"/>
            <c:spPr>
              <a:solidFill>
                <a:srgbClr val="AEABAB"/>
              </a:solidFill>
            </c:spPr>
            <c:extLst>
              <c:ext xmlns:c16="http://schemas.microsoft.com/office/drawing/2014/chart" uri="{C3380CC4-5D6E-409C-BE32-E72D297353CC}">
                <c16:uniqueId val="{00000423-26BF-40B0-8A43-EC10D791E60B}"/>
              </c:ext>
            </c:extLst>
          </c:dPt>
          <c:dPt>
            <c:idx val="529"/>
            <c:invertIfNegative val="1"/>
            <c:bubble3D val="0"/>
            <c:spPr>
              <a:solidFill>
                <a:srgbClr val="AEABAB"/>
              </a:solidFill>
            </c:spPr>
            <c:extLst>
              <c:ext xmlns:c16="http://schemas.microsoft.com/office/drawing/2014/chart" uri="{C3380CC4-5D6E-409C-BE32-E72D297353CC}">
                <c16:uniqueId val="{00000425-26BF-40B0-8A43-EC10D791E60B}"/>
              </c:ext>
            </c:extLst>
          </c:dPt>
          <c:dPt>
            <c:idx val="530"/>
            <c:invertIfNegative val="1"/>
            <c:bubble3D val="0"/>
            <c:spPr>
              <a:solidFill>
                <a:srgbClr val="AEABAB"/>
              </a:solidFill>
            </c:spPr>
            <c:extLst>
              <c:ext xmlns:c16="http://schemas.microsoft.com/office/drawing/2014/chart" uri="{C3380CC4-5D6E-409C-BE32-E72D297353CC}">
                <c16:uniqueId val="{00000427-26BF-40B0-8A43-EC10D791E60B}"/>
              </c:ext>
            </c:extLst>
          </c:dPt>
          <c:dPt>
            <c:idx val="531"/>
            <c:invertIfNegative val="1"/>
            <c:bubble3D val="0"/>
            <c:spPr>
              <a:solidFill>
                <a:srgbClr val="AEABAB"/>
              </a:solidFill>
            </c:spPr>
            <c:extLst>
              <c:ext xmlns:c16="http://schemas.microsoft.com/office/drawing/2014/chart" uri="{C3380CC4-5D6E-409C-BE32-E72D297353CC}">
                <c16:uniqueId val="{00000429-26BF-40B0-8A43-EC10D791E60B}"/>
              </c:ext>
            </c:extLst>
          </c:dPt>
          <c:dPt>
            <c:idx val="532"/>
            <c:invertIfNegative val="1"/>
            <c:bubble3D val="0"/>
            <c:spPr>
              <a:solidFill>
                <a:srgbClr val="AEABAB"/>
              </a:solidFill>
            </c:spPr>
            <c:extLst>
              <c:ext xmlns:c16="http://schemas.microsoft.com/office/drawing/2014/chart" uri="{C3380CC4-5D6E-409C-BE32-E72D297353CC}">
                <c16:uniqueId val="{0000042B-26BF-40B0-8A43-EC10D791E60B}"/>
              </c:ext>
            </c:extLst>
          </c:dPt>
          <c:dPt>
            <c:idx val="533"/>
            <c:invertIfNegative val="1"/>
            <c:bubble3D val="0"/>
            <c:spPr>
              <a:solidFill>
                <a:srgbClr val="AEABAB"/>
              </a:solidFill>
            </c:spPr>
            <c:extLst>
              <c:ext xmlns:c16="http://schemas.microsoft.com/office/drawing/2014/chart" uri="{C3380CC4-5D6E-409C-BE32-E72D297353CC}">
                <c16:uniqueId val="{0000042D-26BF-40B0-8A43-EC10D791E60B}"/>
              </c:ext>
            </c:extLst>
          </c:dPt>
          <c:dPt>
            <c:idx val="534"/>
            <c:invertIfNegative val="1"/>
            <c:bubble3D val="0"/>
            <c:spPr>
              <a:solidFill>
                <a:srgbClr val="AEABAB"/>
              </a:solidFill>
            </c:spPr>
            <c:extLst>
              <c:ext xmlns:c16="http://schemas.microsoft.com/office/drawing/2014/chart" uri="{C3380CC4-5D6E-409C-BE32-E72D297353CC}">
                <c16:uniqueId val="{0000042F-26BF-40B0-8A43-EC10D791E60B}"/>
              </c:ext>
            </c:extLst>
          </c:dPt>
          <c:dPt>
            <c:idx val="535"/>
            <c:invertIfNegative val="1"/>
            <c:bubble3D val="0"/>
            <c:spPr>
              <a:solidFill>
                <a:srgbClr val="AEABAB"/>
              </a:solidFill>
            </c:spPr>
            <c:extLst>
              <c:ext xmlns:c16="http://schemas.microsoft.com/office/drawing/2014/chart" uri="{C3380CC4-5D6E-409C-BE32-E72D297353CC}">
                <c16:uniqueId val="{00000431-26BF-40B0-8A43-EC10D791E60B}"/>
              </c:ext>
            </c:extLst>
          </c:dPt>
          <c:dPt>
            <c:idx val="536"/>
            <c:invertIfNegative val="1"/>
            <c:bubble3D val="0"/>
            <c:spPr>
              <a:solidFill>
                <a:srgbClr val="AEABAB"/>
              </a:solidFill>
            </c:spPr>
            <c:extLst>
              <c:ext xmlns:c16="http://schemas.microsoft.com/office/drawing/2014/chart" uri="{C3380CC4-5D6E-409C-BE32-E72D297353CC}">
                <c16:uniqueId val="{00000433-26BF-40B0-8A43-EC10D791E60B}"/>
              </c:ext>
            </c:extLst>
          </c:dPt>
          <c:dPt>
            <c:idx val="537"/>
            <c:invertIfNegative val="1"/>
            <c:bubble3D val="0"/>
            <c:spPr>
              <a:solidFill>
                <a:srgbClr val="AEABAB"/>
              </a:solidFill>
            </c:spPr>
            <c:extLst>
              <c:ext xmlns:c16="http://schemas.microsoft.com/office/drawing/2014/chart" uri="{C3380CC4-5D6E-409C-BE32-E72D297353CC}">
                <c16:uniqueId val="{00000435-26BF-40B0-8A43-EC10D791E60B}"/>
              </c:ext>
            </c:extLst>
          </c:dPt>
          <c:dPt>
            <c:idx val="538"/>
            <c:invertIfNegative val="1"/>
            <c:bubble3D val="0"/>
            <c:spPr>
              <a:solidFill>
                <a:srgbClr val="AEABAB"/>
              </a:solidFill>
            </c:spPr>
            <c:extLst>
              <c:ext xmlns:c16="http://schemas.microsoft.com/office/drawing/2014/chart" uri="{C3380CC4-5D6E-409C-BE32-E72D297353CC}">
                <c16:uniqueId val="{00000437-26BF-40B0-8A43-EC10D791E60B}"/>
              </c:ext>
            </c:extLst>
          </c:dPt>
          <c:dPt>
            <c:idx val="539"/>
            <c:invertIfNegative val="1"/>
            <c:bubble3D val="0"/>
            <c:spPr>
              <a:solidFill>
                <a:srgbClr val="AEABAB"/>
              </a:solidFill>
            </c:spPr>
            <c:extLst>
              <c:ext xmlns:c16="http://schemas.microsoft.com/office/drawing/2014/chart" uri="{C3380CC4-5D6E-409C-BE32-E72D297353CC}">
                <c16:uniqueId val="{00000439-26BF-40B0-8A43-EC10D791E60B}"/>
              </c:ext>
            </c:extLst>
          </c:dPt>
          <c:dPt>
            <c:idx val="540"/>
            <c:invertIfNegative val="1"/>
            <c:bubble3D val="0"/>
            <c:spPr>
              <a:solidFill>
                <a:srgbClr val="AEABAB"/>
              </a:solidFill>
            </c:spPr>
            <c:extLst>
              <c:ext xmlns:c16="http://schemas.microsoft.com/office/drawing/2014/chart" uri="{C3380CC4-5D6E-409C-BE32-E72D297353CC}">
                <c16:uniqueId val="{0000043B-26BF-40B0-8A43-EC10D791E60B}"/>
              </c:ext>
            </c:extLst>
          </c:dPt>
          <c:dPt>
            <c:idx val="541"/>
            <c:invertIfNegative val="1"/>
            <c:bubble3D val="0"/>
            <c:spPr>
              <a:solidFill>
                <a:srgbClr val="AEABAB"/>
              </a:solidFill>
            </c:spPr>
            <c:extLst>
              <c:ext xmlns:c16="http://schemas.microsoft.com/office/drawing/2014/chart" uri="{C3380CC4-5D6E-409C-BE32-E72D297353CC}">
                <c16:uniqueId val="{0000043D-26BF-40B0-8A43-EC10D791E60B}"/>
              </c:ext>
            </c:extLst>
          </c:dPt>
          <c:dPt>
            <c:idx val="542"/>
            <c:invertIfNegative val="1"/>
            <c:bubble3D val="0"/>
            <c:spPr>
              <a:solidFill>
                <a:srgbClr val="AEABAB"/>
              </a:solidFill>
            </c:spPr>
            <c:extLst>
              <c:ext xmlns:c16="http://schemas.microsoft.com/office/drawing/2014/chart" uri="{C3380CC4-5D6E-409C-BE32-E72D297353CC}">
                <c16:uniqueId val="{0000043F-26BF-40B0-8A43-EC10D791E60B}"/>
              </c:ext>
            </c:extLst>
          </c:dPt>
          <c:dPt>
            <c:idx val="543"/>
            <c:invertIfNegative val="1"/>
            <c:bubble3D val="0"/>
            <c:spPr>
              <a:solidFill>
                <a:srgbClr val="AEABAB"/>
              </a:solidFill>
            </c:spPr>
            <c:extLst>
              <c:ext xmlns:c16="http://schemas.microsoft.com/office/drawing/2014/chart" uri="{C3380CC4-5D6E-409C-BE32-E72D297353CC}">
                <c16:uniqueId val="{00000441-26BF-40B0-8A43-EC10D791E60B}"/>
              </c:ext>
            </c:extLst>
          </c:dPt>
          <c:dPt>
            <c:idx val="544"/>
            <c:invertIfNegative val="1"/>
            <c:bubble3D val="0"/>
            <c:spPr>
              <a:solidFill>
                <a:srgbClr val="AEABAB"/>
              </a:solidFill>
            </c:spPr>
            <c:extLst>
              <c:ext xmlns:c16="http://schemas.microsoft.com/office/drawing/2014/chart" uri="{C3380CC4-5D6E-409C-BE32-E72D297353CC}">
                <c16:uniqueId val="{00000443-26BF-40B0-8A43-EC10D791E60B}"/>
              </c:ext>
            </c:extLst>
          </c:dPt>
          <c:dPt>
            <c:idx val="545"/>
            <c:invertIfNegative val="1"/>
            <c:bubble3D val="0"/>
            <c:spPr>
              <a:solidFill>
                <a:srgbClr val="AEABAB"/>
              </a:solidFill>
            </c:spPr>
            <c:extLst>
              <c:ext xmlns:c16="http://schemas.microsoft.com/office/drawing/2014/chart" uri="{C3380CC4-5D6E-409C-BE32-E72D297353CC}">
                <c16:uniqueId val="{00000445-26BF-40B0-8A43-EC10D791E60B}"/>
              </c:ext>
            </c:extLst>
          </c:dPt>
          <c:dPt>
            <c:idx val="546"/>
            <c:invertIfNegative val="1"/>
            <c:bubble3D val="0"/>
            <c:spPr>
              <a:solidFill>
                <a:srgbClr val="AEABAB"/>
              </a:solidFill>
            </c:spPr>
            <c:extLst>
              <c:ext xmlns:c16="http://schemas.microsoft.com/office/drawing/2014/chart" uri="{C3380CC4-5D6E-409C-BE32-E72D297353CC}">
                <c16:uniqueId val="{00000447-26BF-40B0-8A43-EC10D791E60B}"/>
              </c:ext>
            </c:extLst>
          </c:dPt>
          <c:dPt>
            <c:idx val="547"/>
            <c:invertIfNegative val="1"/>
            <c:bubble3D val="0"/>
            <c:spPr>
              <a:solidFill>
                <a:srgbClr val="AEABAB"/>
              </a:solidFill>
            </c:spPr>
            <c:extLst>
              <c:ext xmlns:c16="http://schemas.microsoft.com/office/drawing/2014/chart" uri="{C3380CC4-5D6E-409C-BE32-E72D297353CC}">
                <c16:uniqueId val="{00000449-26BF-40B0-8A43-EC10D791E60B}"/>
              </c:ext>
            </c:extLst>
          </c:dPt>
          <c:dPt>
            <c:idx val="548"/>
            <c:invertIfNegative val="1"/>
            <c:bubble3D val="0"/>
            <c:spPr>
              <a:solidFill>
                <a:srgbClr val="AEABAB"/>
              </a:solidFill>
            </c:spPr>
            <c:extLst>
              <c:ext xmlns:c16="http://schemas.microsoft.com/office/drawing/2014/chart" uri="{C3380CC4-5D6E-409C-BE32-E72D297353CC}">
                <c16:uniqueId val="{0000044B-26BF-40B0-8A43-EC10D791E60B}"/>
              </c:ext>
            </c:extLst>
          </c:dPt>
          <c:dPt>
            <c:idx val="549"/>
            <c:invertIfNegative val="1"/>
            <c:bubble3D val="0"/>
            <c:spPr>
              <a:solidFill>
                <a:srgbClr val="AEABAB"/>
              </a:solidFill>
            </c:spPr>
            <c:extLst>
              <c:ext xmlns:c16="http://schemas.microsoft.com/office/drawing/2014/chart" uri="{C3380CC4-5D6E-409C-BE32-E72D297353CC}">
                <c16:uniqueId val="{0000044D-26BF-40B0-8A43-EC10D791E60B}"/>
              </c:ext>
            </c:extLst>
          </c:dPt>
          <c:dPt>
            <c:idx val="550"/>
            <c:invertIfNegative val="1"/>
            <c:bubble3D val="0"/>
            <c:spPr>
              <a:solidFill>
                <a:srgbClr val="AEABAB"/>
              </a:solidFill>
            </c:spPr>
            <c:extLst>
              <c:ext xmlns:c16="http://schemas.microsoft.com/office/drawing/2014/chart" uri="{C3380CC4-5D6E-409C-BE32-E72D297353CC}">
                <c16:uniqueId val="{0000044F-26BF-40B0-8A43-EC10D791E60B}"/>
              </c:ext>
            </c:extLst>
          </c:dPt>
          <c:dPt>
            <c:idx val="551"/>
            <c:invertIfNegative val="1"/>
            <c:bubble3D val="0"/>
            <c:spPr>
              <a:solidFill>
                <a:srgbClr val="AEABAB"/>
              </a:solidFill>
            </c:spPr>
            <c:extLst>
              <c:ext xmlns:c16="http://schemas.microsoft.com/office/drawing/2014/chart" uri="{C3380CC4-5D6E-409C-BE32-E72D297353CC}">
                <c16:uniqueId val="{00000451-26BF-40B0-8A43-EC10D791E60B}"/>
              </c:ext>
            </c:extLst>
          </c:dPt>
          <c:dPt>
            <c:idx val="552"/>
            <c:invertIfNegative val="1"/>
            <c:bubble3D val="0"/>
            <c:spPr>
              <a:solidFill>
                <a:srgbClr val="AEABAB"/>
              </a:solidFill>
            </c:spPr>
            <c:extLst>
              <c:ext xmlns:c16="http://schemas.microsoft.com/office/drawing/2014/chart" uri="{C3380CC4-5D6E-409C-BE32-E72D297353CC}">
                <c16:uniqueId val="{00000453-26BF-40B0-8A43-EC10D791E60B}"/>
              </c:ext>
            </c:extLst>
          </c:dPt>
          <c:dPt>
            <c:idx val="553"/>
            <c:invertIfNegative val="1"/>
            <c:bubble3D val="0"/>
            <c:spPr>
              <a:solidFill>
                <a:srgbClr val="AEABAB"/>
              </a:solidFill>
            </c:spPr>
            <c:extLst>
              <c:ext xmlns:c16="http://schemas.microsoft.com/office/drawing/2014/chart" uri="{C3380CC4-5D6E-409C-BE32-E72D297353CC}">
                <c16:uniqueId val="{00000455-26BF-40B0-8A43-EC10D791E60B}"/>
              </c:ext>
            </c:extLst>
          </c:dPt>
          <c:dPt>
            <c:idx val="554"/>
            <c:invertIfNegative val="1"/>
            <c:bubble3D val="0"/>
            <c:spPr>
              <a:solidFill>
                <a:srgbClr val="AEABAB"/>
              </a:solidFill>
            </c:spPr>
            <c:extLst>
              <c:ext xmlns:c16="http://schemas.microsoft.com/office/drawing/2014/chart" uri="{C3380CC4-5D6E-409C-BE32-E72D297353CC}">
                <c16:uniqueId val="{00000457-26BF-40B0-8A43-EC10D791E60B}"/>
              </c:ext>
            </c:extLst>
          </c:dPt>
          <c:dPt>
            <c:idx val="555"/>
            <c:invertIfNegative val="1"/>
            <c:bubble3D val="0"/>
            <c:spPr>
              <a:solidFill>
                <a:srgbClr val="AEABAB"/>
              </a:solidFill>
            </c:spPr>
            <c:extLst>
              <c:ext xmlns:c16="http://schemas.microsoft.com/office/drawing/2014/chart" uri="{C3380CC4-5D6E-409C-BE32-E72D297353CC}">
                <c16:uniqueId val="{00000459-26BF-40B0-8A43-EC10D791E60B}"/>
              </c:ext>
            </c:extLst>
          </c:dPt>
          <c:dPt>
            <c:idx val="556"/>
            <c:invertIfNegative val="1"/>
            <c:bubble3D val="0"/>
            <c:spPr>
              <a:solidFill>
                <a:srgbClr val="AEABAB"/>
              </a:solidFill>
            </c:spPr>
            <c:extLst>
              <c:ext xmlns:c16="http://schemas.microsoft.com/office/drawing/2014/chart" uri="{C3380CC4-5D6E-409C-BE32-E72D297353CC}">
                <c16:uniqueId val="{0000045B-26BF-40B0-8A43-EC10D791E60B}"/>
              </c:ext>
            </c:extLst>
          </c:dPt>
          <c:dPt>
            <c:idx val="557"/>
            <c:invertIfNegative val="1"/>
            <c:bubble3D val="0"/>
            <c:spPr>
              <a:solidFill>
                <a:srgbClr val="AEABAB"/>
              </a:solidFill>
            </c:spPr>
            <c:extLst>
              <c:ext xmlns:c16="http://schemas.microsoft.com/office/drawing/2014/chart" uri="{C3380CC4-5D6E-409C-BE32-E72D297353CC}">
                <c16:uniqueId val="{0000045D-26BF-40B0-8A43-EC10D791E60B}"/>
              </c:ext>
            </c:extLst>
          </c:dPt>
          <c:dPt>
            <c:idx val="558"/>
            <c:invertIfNegative val="1"/>
            <c:bubble3D val="0"/>
            <c:spPr>
              <a:solidFill>
                <a:srgbClr val="AEABAB"/>
              </a:solidFill>
            </c:spPr>
            <c:extLst>
              <c:ext xmlns:c16="http://schemas.microsoft.com/office/drawing/2014/chart" uri="{C3380CC4-5D6E-409C-BE32-E72D297353CC}">
                <c16:uniqueId val="{0000045F-26BF-40B0-8A43-EC10D791E60B}"/>
              </c:ext>
            </c:extLst>
          </c:dPt>
          <c:dPt>
            <c:idx val="559"/>
            <c:invertIfNegative val="1"/>
            <c:bubble3D val="0"/>
            <c:spPr>
              <a:solidFill>
                <a:srgbClr val="AEABAB"/>
              </a:solidFill>
            </c:spPr>
            <c:extLst>
              <c:ext xmlns:c16="http://schemas.microsoft.com/office/drawing/2014/chart" uri="{C3380CC4-5D6E-409C-BE32-E72D297353CC}">
                <c16:uniqueId val="{00000461-26BF-40B0-8A43-EC10D791E60B}"/>
              </c:ext>
            </c:extLst>
          </c:dPt>
          <c:dPt>
            <c:idx val="560"/>
            <c:invertIfNegative val="1"/>
            <c:bubble3D val="0"/>
            <c:spPr>
              <a:solidFill>
                <a:srgbClr val="AEABAB"/>
              </a:solidFill>
            </c:spPr>
            <c:extLst>
              <c:ext xmlns:c16="http://schemas.microsoft.com/office/drawing/2014/chart" uri="{C3380CC4-5D6E-409C-BE32-E72D297353CC}">
                <c16:uniqueId val="{00000463-26BF-40B0-8A43-EC10D791E60B}"/>
              </c:ext>
            </c:extLst>
          </c:dPt>
          <c:dPt>
            <c:idx val="561"/>
            <c:invertIfNegative val="1"/>
            <c:bubble3D val="0"/>
            <c:spPr>
              <a:solidFill>
                <a:srgbClr val="AEABAB"/>
              </a:solidFill>
            </c:spPr>
            <c:extLst>
              <c:ext xmlns:c16="http://schemas.microsoft.com/office/drawing/2014/chart" uri="{C3380CC4-5D6E-409C-BE32-E72D297353CC}">
                <c16:uniqueId val="{00000465-26BF-40B0-8A43-EC10D791E60B}"/>
              </c:ext>
            </c:extLst>
          </c:dPt>
          <c:dPt>
            <c:idx val="562"/>
            <c:invertIfNegative val="1"/>
            <c:bubble3D val="0"/>
            <c:spPr>
              <a:solidFill>
                <a:srgbClr val="AEABAB"/>
              </a:solidFill>
            </c:spPr>
            <c:extLst>
              <c:ext xmlns:c16="http://schemas.microsoft.com/office/drawing/2014/chart" uri="{C3380CC4-5D6E-409C-BE32-E72D297353CC}">
                <c16:uniqueId val="{00000467-26BF-40B0-8A43-EC10D791E60B}"/>
              </c:ext>
            </c:extLst>
          </c:dPt>
          <c:dPt>
            <c:idx val="563"/>
            <c:invertIfNegative val="1"/>
            <c:bubble3D val="0"/>
            <c:spPr>
              <a:solidFill>
                <a:srgbClr val="AEABAB"/>
              </a:solidFill>
            </c:spPr>
            <c:extLst>
              <c:ext xmlns:c16="http://schemas.microsoft.com/office/drawing/2014/chart" uri="{C3380CC4-5D6E-409C-BE32-E72D297353CC}">
                <c16:uniqueId val="{00000469-26BF-40B0-8A43-EC10D791E60B}"/>
              </c:ext>
            </c:extLst>
          </c:dPt>
          <c:dPt>
            <c:idx val="564"/>
            <c:invertIfNegative val="1"/>
            <c:bubble3D val="0"/>
            <c:spPr>
              <a:solidFill>
                <a:srgbClr val="AEABAB"/>
              </a:solidFill>
            </c:spPr>
            <c:extLst>
              <c:ext xmlns:c16="http://schemas.microsoft.com/office/drawing/2014/chart" uri="{C3380CC4-5D6E-409C-BE32-E72D297353CC}">
                <c16:uniqueId val="{0000046B-26BF-40B0-8A43-EC10D791E60B}"/>
              </c:ext>
            </c:extLst>
          </c:dPt>
          <c:dPt>
            <c:idx val="565"/>
            <c:invertIfNegative val="1"/>
            <c:bubble3D val="0"/>
            <c:spPr>
              <a:solidFill>
                <a:srgbClr val="AEABAB"/>
              </a:solidFill>
            </c:spPr>
            <c:extLst>
              <c:ext xmlns:c16="http://schemas.microsoft.com/office/drawing/2014/chart" uri="{C3380CC4-5D6E-409C-BE32-E72D297353CC}">
                <c16:uniqueId val="{0000046D-26BF-40B0-8A43-EC10D791E60B}"/>
              </c:ext>
            </c:extLst>
          </c:dPt>
          <c:dPt>
            <c:idx val="566"/>
            <c:invertIfNegative val="1"/>
            <c:bubble3D val="0"/>
            <c:spPr>
              <a:solidFill>
                <a:srgbClr val="AEABAB"/>
              </a:solidFill>
            </c:spPr>
            <c:extLst>
              <c:ext xmlns:c16="http://schemas.microsoft.com/office/drawing/2014/chart" uri="{C3380CC4-5D6E-409C-BE32-E72D297353CC}">
                <c16:uniqueId val="{0000046F-26BF-40B0-8A43-EC10D791E60B}"/>
              </c:ext>
            </c:extLst>
          </c:dPt>
          <c:dPt>
            <c:idx val="567"/>
            <c:invertIfNegative val="1"/>
            <c:bubble3D val="0"/>
            <c:spPr>
              <a:solidFill>
                <a:srgbClr val="AEABAB"/>
              </a:solidFill>
            </c:spPr>
            <c:extLst>
              <c:ext xmlns:c16="http://schemas.microsoft.com/office/drawing/2014/chart" uri="{C3380CC4-5D6E-409C-BE32-E72D297353CC}">
                <c16:uniqueId val="{00000471-26BF-40B0-8A43-EC10D791E60B}"/>
              </c:ext>
            </c:extLst>
          </c:dPt>
          <c:dPt>
            <c:idx val="568"/>
            <c:invertIfNegative val="1"/>
            <c:bubble3D val="0"/>
            <c:spPr>
              <a:solidFill>
                <a:srgbClr val="AEABAB"/>
              </a:solidFill>
            </c:spPr>
            <c:extLst>
              <c:ext xmlns:c16="http://schemas.microsoft.com/office/drawing/2014/chart" uri="{C3380CC4-5D6E-409C-BE32-E72D297353CC}">
                <c16:uniqueId val="{00000473-26BF-40B0-8A43-EC10D791E60B}"/>
              </c:ext>
            </c:extLst>
          </c:dPt>
          <c:dPt>
            <c:idx val="569"/>
            <c:invertIfNegative val="1"/>
            <c:bubble3D val="0"/>
            <c:spPr>
              <a:solidFill>
                <a:srgbClr val="AEABAB"/>
              </a:solidFill>
            </c:spPr>
            <c:extLst>
              <c:ext xmlns:c16="http://schemas.microsoft.com/office/drawing/2014/chart" uri="{C3380CC4-5D6E-409C-BE32-E72D297353CC}">
                <c16:uniqueId val="{00000475-26BF-40B0-8A43-EC10D791E60B}"/>
              </c:ext>
            </c:extLst>
          </c:dPt>
          <c:dPt>
            <c:idx val="570"/>
            <c:invertIfNegative val="1"/>
            <c:bubble3D val="0"/>
            <c:spPr>
              <a:solidFill>
                <a:srgbClr val="AEABAB"/>
              </a:solidFill>
            </c:spPr>
            <c:extLst>
              <c:ext xmlns:c16="http://schemas.microsoft.com/office/drawing/2014/chart" uri="{C3380CC4-5D6E-409C-BE32-E72D297353CC}">
                <c16:uniqueId val="{00000477-26BF-40B0-8A43-EC10D791E60B}"/>
              </c:ext>
            </c:extLst>
          </c:dPt>
          <c:dPt>
            <c:idx val="571"/>
            <c:invertIfNegative val="1"/>
            <c:bubble3D val="0"/>
            <c:spPr>
              <a:solidFill>
                <a:srgbClr val="AEABAB"/>
              </a:solidFill>
            </c:spPr>
            <c:extLst>
              <c:ext xmlns:c16="http://schemas.microsoft.com/office/drawing/2014/chart" uri="{C3380CC4-5D6E-409C-BE32-E72D297353CC}">
                <c16:uniqueId val="{00000479-26BF-40B0-8A43-EC10D791E60B}"/>
              </c:ext>
            </c:extLst>
          </c:dPt>
          <c:dPt>
            <c:idx val="572"/>
            <c:invertIfNegative val="1"/>
            <c:bubble3D val="0"/>
            <c:spPr>
              <a:solidFill>
                <a:srgbClr val="AEABAB"/>
              </a:solidFill>
            </c:spPr>
            <c:extLst>
              <c:ext xmlns:c16="http://schemas.microsoft.com/office/drawing/2014/chart" uri="{C3380CC4-5D6E-409C-BE32-E72D297353CC}">
                <c16:uniqueId val="{0000047B-26BF-40B0-8A43-EC10D791E60B}"/>
              </c:ext>
            </c:extLst>
          </c:dPt>
          <c:dPt>
            <c:idx val="573"/>
            <c:invertIfNegative val="1"/>
            <c:bubble3D val="0"/>
            <c:spPr>
              <a:solidFill>
                <a:srgbClr val="AEABAB"/>
              </a:solidFill>
            </c:spPr>
            <c:extLst>
              <c:ext xmlns:c16="http://schemas.microsoft.com/office/drawing/2014/chart" uri="{C3380CC4-5D6E-409C-BE32-E72D297353CC}">
                <c16:uniqueId val="{0000047D-26BF-40B0-8A43-EC10D791E60B}"/>
              </c:ext>
            </c:extLst>
          </c:dPt>
          <c:dPt>
            <c:idx val="574"/>
            <c:invertIfNegative val="1"/>
            <c:bubble3D val="0"/>
            <c:spPr>
              <a:solidFill>
                <a:srgbClr val="AEABAB"/>
              </a:solidFill>
            </c:spPr>
            <c:extLst>
              <c:ext xmlns:c16="http://schemas.microsoft.com/office/drawing/2014/chart" uri="{C3380CC4-5D6E-409C-BE32-E72D297353CC}">
                <c16:uniqueId val="{0000047F-26BF-40B0-8A43-EC10D791E60B}"/>
              </c:ext>
            </c:extLst>
          </c:dPt>
          <c:dPt>
            <c:idx val="575"/>
            <c:invertIfNegative val="1"/>
            <c:bubble3D val="0"/>
            <c:spPr>
              <a:solidFill>
                <a:srgbClr val="AEABAB"/>
              </a:solidFill>
            </c:spPr>
            <c:extLst>
              <c:ext xmlns:c16="http://schemas.microsoft.com/office/drawing/2014/chart" uri="{C3380CC4-5D6E-409C-BE32-E72D297353CC}">
                <c16:uniqueId val="{00000481-26BF-40B0-8A43-EC10D791E60B}"/>
              </c:ext>
            </c:extLst>
          </c:dPt>
          <c:dPt>
            <c:idx val="576"/>
            <c:invertIfNegative val="1"/>
            <c:bubble3D val="0"/>
            <c:spPr>
              <a:solidFill>
                <a:srgbClr val="AEABAB"/>
              </a:solidFill>
            </c:spPr>
            <c:extLst>
              <c:ext xmlns:c16="http://schemas.microsoft.com/office/drawing/2014/chart" uri="{C3380CC4-5D6E-409C-BE32-E72D297353CC}">
                <c16:uniqueId val="{00000483-26BF-40B0-8A43-EC10D791E60B}"/>
              </c:ext>
            </c:extLst>
          </c:dPt>
          <c:dPt>
            <c:idx val="577"/>
            <c:invertIfNegative val="1"/>
            <c:bubble3D val="0"/>
            <c:spPr>
              <a:solidFill>
                <a:srgbClr val="AEABAB"/>
              </a:solidFill>
            </c:spPr>
            <c:extLst>
              <c:ext xmlns:c16="http://schemas.microsoft.com/office/drawing/2014/chart" uri="{C3380CC4-5D6E-409C-BE32-E72D297353CC}">
                <c16:uniqueId val="{00000485-26BF-40B0-8A43-EC10D791E60B}"/>
              </c:ext>
            </c:extLst>
          </c:dPt>
          <c:dPt>
            <c:idx val="578"/>
            <c:invertIfNegative val="1"/>
            <c:bubble3D val="0"/>
            <c:spPr>
              <a:solidFill>
                <a:srgbClr val="AEABAB"/>
              </a:solidFill>
            </c:spPr>
            <c:extLst>
              <c:ext xmlns:c16="http://schemas.microsoft.com/office/drawing/2014/chart" uri="{C3380CC4-5D6E-409C-BE32-E72D297353CC}">
                <c16:uniqueId val="{00000487-26BF-40B0-8A43-EC10D791E60B}"/>
              </c:ext>
            </c:extLst>
          </c:dPt>
          <c:dPt>
            <c:idx val="579"/>
            <c:invertIfNegative val="1"/>
            <c:bubble3D val="0"/>
            <c:spPr>
              <a:solidFill>
                <a:srgbClr val="AEABAB"/>
              </a:solidFill>
            </c:spPr>
            <c:extLst>
              <c:ext xmlns:c16="http://schemas.microsoft.com/office/drawing/2014/chart" uri="{C3380CC4-5D6E-409C-BE32-E72D297353CC}">
                <c16:uniqueId val="{00000489-26BF-40B0-8A43-EC10D791E60B}"/>
              </c:ext>
            </c:extLst>
          </c:dPt>
          <c:dPt>
            <c:idx val="580"/>
            <c:invertIfNegative val="1"/>
            <c:bubble3D val="0"/>
            <c:spPr>
              <a:solidFill>
                <a:srgbClr val="AEABAB"/>
              </a:solidFill>
            </c:spPr>
            <c:extLst>
              <c:ext xmlns:c16="http://schemas.microsoft.com/office/drawing/2014/chart" uri="{C3380CC4-5D6E-409C-BE32-E72D297353CC}">
                <c16:uniqueId val="{0000048B-26BF-40B0-8A43-EC10D791E60B}"/>
              </c:ext>
            </c:extLst>
          </c:dPt>
          <c:dPt>
            <c:idx val="581"/>
            <c:invertIfNegative val="1"/>
            <c:bubble3D val="0"/>
            <c:spPr>
              <a:solidFill>
                <a:srgbClr val="AEABAB"/>
              </a:solidFill>
            </c:spPr>
            <c:extLst>
              <c:ext xmlns:c16="http://schemas.microsoft.com/office/drawing/2014/chart" uri="{C3380CC4-5D6E-409C-BE32-E72D297353CC}">
                <c16:uniqueId val="{0000048D-26BF-40B0-8A43-EC10D791E60B}"/>
              </c:ext>
            </c:extLst>
          </c:dPt>
          <c:dPt>
            <c:idx val="582"/>
            <c:invertIfNegative val="1"/>
            <c:bubble3D val="0"/>
            <c:spPr>
              <a:solidFill>
                <a:srgbClr val="AEABAB"/>
              </a:solidFill>
            </c:spPr>
            <c:extLst>
              <c:ext xmlns:c16="http://schemas.microsoft.com/office/drawing/2014/chart" uri="{C3380CC4-5D6E-409C-BE32-E72D297353CC}">
                <c16:uniqueId val="{0000048F-26BF-40B0-8A43-EC10D791E60B}"/>
              </c:ext>
            </c:extLst>
          </c:dPt>
          <c:dPt>
            <c:idx val="583"/>
            <c:invertIfNegative val="1"/>
            <c:bubble3D val="0"/>
            <c:spPr>
              <a:solidFill>
                <a:srgbClr val="AEABAB"/>
              </a:solidFill>
            </c:spPr>
            <c:extLst>
              <c:ext xmlns:c16="http://schemas.microsoft.com/office/drawing/2014/chart" uri="{C3380CC4-5D6E-409C-BE32-E72D297353CC}">
                <c16:uniqueId val="{00000491-26BF-40B0-8A43-EC10D791E60B}"/>
              </c:ext>
            </c:extLst>
          </c:dPt>
          <c:dPt>
            <c:idx val="584"/>
            <c:invertIfNegative val="1"/>
            <c:bubble3D val="0"/>
            <c:spPr>
              <a:solidFill>
                <a:srgbClr val="AEABAB"/>
              </a:solidFill>
            </c:spPr>
            <c:extLst>
              <c:ext xmlns:c16="http://schemas.microsoft.com/office/drawing/2014/chart" uri="{C3380CC4-5D6E-409C-BE32-E72D297353CC}">
                <c16:uniqueId val="{00000493-26BF-40B0-8A43-EC10D791E60B}"/>
              </c:ext>
            </c:extLst>
          </c:dPt>
          <c:dPt>
            <c:idx val="585"/>
            <c:invertIfNegative val="1"/>
            <c:bubble3D val="0"/>
            <c:spPr>
              <a:solidFill>
                <a:srgbClr val="AEABAB"/>
              </a:solidFill>
            </c:spPr>
            <c:extLst>
              <c:ext xmlns:c16="http://schemas.microsoft.com/office/drawing/2014/chart" uri="{C3380CC4-5D6E-409C-BE32-E72D297353CC}">
                <c16:uniqueId val="{00000495-26BF-40B0-8A43-EC10D791E60B}"/>
              </c:ext>
            </c:extLst>
          </c:dPt>
          <c:dPt>
            <c:idx val="586"/>
            <c:invertIfNegative val="1"/>
            <c:bubble3D val="0"/>
            <c:spPr>
              <a:solidFill>
                <a:srgbClr val="AEABAB"/>
              </a:solidFill>
            </c:spPr>
            <c:extLst>
              <c:ext xmlns:c16="http://schemas.microsoft.com/office/drawing/2014/chart" uri="{C3380CC4-5D6E-409C-BE32-E72D297353CC}">
                <c16:uniqueId val="{00000497-26BF-40B0-8A43-EC10D791E60B}"/>
              </c:ext>
            </c:extLst>
          </c:dPt>
          <c:dPt>
            <c:idx val="587"/>
            <c:invertIfNegative val="1"/>
            <c:bubble3D val="0"/>
            <c:spPr>
              <a:solidFill>
                <a:srgbClr val="AEABAB"/>
              </a:solidFill>
            </c:spPr>
            <c:extLst>
              <c:ext xmlns:c16="http://schemas.microsoft.com/office/drawing/2014/chart" uri="{C3380CC4-5D6E-409C-BE32-E72D297353CC}">
                <c16:uniqueId val="{00000499-26BF-40B0-8A43-EC10D791E60B}"/>
              </c:ext>
            </c:extLst>
          </c:dPt>
          <c:dPt>
            <c:idx val="588"/>
            <c:invertIfNegative val="1"/>
            <c:bubble3D val="0"/>
            <c:spPr>
              <a:solidFill>
                <a:srgbClr val="AEABAB"/>
              </a:solidFill>
            </c:spPr>
            <c:extLst>
              <c:ext xmlns:c16="http://schemas.microsoft.com/office/drawing/2014/chart" uri="{C3380CC4-5D6E-409C-BE32-E72D297353CC}">
                <c16:uniqueId val="{0000049B-26BF-40B0-8A43-EC10D791E60B}"/>
              </c:ext>
            </c:extLst>
          </c:dPt>
          <c:dPt>
            <c:idx val="589"/>
            <c:invertIfNegative val="1"/>
            <c:bubble3D val="0"/>
            <c:spPr>
              <a:solidFill>
                <a:srgbClr val="AEABAB"/>
              </a:solidFill>
            </c:spPr>
            <c:extLst>
              <c:ext xmlns:c16="http://schemas.microsoft.com/office/drawing/2014/chart" uri="{C3380CC4-5D6E-409C-BE32-E72D297353CC}">
                <c16:uniqueId val="{0000049D-26BF-40B0-8A43-EC10D791E60B}"/>
              </c:ext>
            </c:extLst>
          </c:dPt>
          <c:dPt>
            <c:idx val="590"/>
            <c:invertIfNegative val="1"/>
            <c:bubble3D val="0"/>
            <c:spPr>
              <a:solidFill>
                <a:srgbClr val="AEABAB"/>
              </a:solidFill>
            </c:spPr>
            <c:extLst>
              <c:ext xmlns:c16="http://schemas.microsoft.com/office/drawing/2014/chart" uri="{C3380CC4-5D6E-409C-BE32-E72D297353CC}">
                <c16:uniqueId val="{0000049F-26BF-40B0-8A43-EC10D791E60B}"/>
              </c:ext>
            </c:extLst>
          </c:dPt>
          <c:dPt>
            <c:idx val="591"/>
            <c:invertIfNegative val="1"/>
            <c:bubble3D val="0"/>
            <c:spPr>
              <a:solidFill>
                <a:srgbClr val="AEABAB"/>
              </a:solidFill>
            </c:spPr>
            <c:extLst>
              <c:ext xmlns:c16="http://schemas.microsoft.com/office/drawing/2014/chart" uri="{C3380CC4-5D6E-409C-BE32-E72D297353CC}">
                <c16:uniqueId val="{000004A1-26BF-40B0-8A43-EC10D791E60B}"/>
              </c:ext>
            </c:extLst>
          </c:dPt>
          <c:dPt>
            <c:idx val="592"/>
            <c:invertIfNegative val="1"/>
            <c:bubble3D val="0"/>
            <c:spPr>
              <a:solidFill>
                <a:srgbClr val="AEABAB"/>
              </a:solidFill>
            </c:spPr>
            <c:extLst>
              <c:ext xmlns:c16="http://schemas.microsoft.com/office/drawing/2014/chart" uri="{C3380CC4-5D6E-409C-BE32-E72D297353CC}">
                <c16:uniqueId val="{000004A3-26BF-40B0-8A43-EC10D791E60B}"/>
              </c:ext>
            </c:extLst>
          </c:dPt>
          <c:dPt>
            <c:idx val="593"/>
            <c:invertIfNegative val="1"/>
            <c:bubble3D val="0"/>
            <c:spPr>
              <a:solidFill>
                <a:srgbClr val="AEABAB"/>
              </a:solidFill>
            </c:spPr>
            <c:extLst>
              <c:ext xmlns:c16="http://schemas.microsoft.com/office/drawing/2014/chart" uri="{C3380CC4-5D6E-409C-BE32-E72D297353CC}">
                <c16:uniqueId val="{000004A5-26BF-40B0-8A43-EC10D791E60B}"/>
              </c:ext>
            </c:extLst>
          </c:dPt>
          <c:dPt>
            <c:idx val="594"/>
            <c:invertIfNegative val="1"/>
            <c:bubble3D val="0"/>
            <c:spPr>
              <a:solidFill>
                <a:srgbClr val="AEABAB"/>
              </a:solidFill>
            </c:spPr>
            <c:extLst>
              <c:ext xmlns:c16="http://schemas.microsoft.com/office/drawing/2014/chart" uri="{C3380CC4-5D6E-409C-BE32-E72D297353CC}">
                <c16:uniqueId val="{000004A7-26BF-40B0-8A43-EC10D791E60B}"/>
              </c:ext>
            </c:extLst>
          </c:dPt>
          <c:dPt>
            <c:idx val="595"/>
            <c:invertIfNegative val="1"/>
            <c:bubble3D val="0"/>
            <c:spPr>
              <a:solidFill>
                <a:srgbClr val="AEABAB"/>
              </a:solidFill>
            </c:spPr>
            <c:extLst>
              <c:ext xmlns:c16="http://schemas.microsoft.com/office/drawing/2014/chart" uri="{C3380CC4-5D6E-409C-BE32-E72D297353CC}">
                <c16:uniqueId val="{000004A9-26BF-40B0-8A43-EC10D791E60B}"/>
              </c:ext>
            </c:extLst>
          </c:dPt>
          <c:dPt>
            <c:idx val="596"/>
            <c:invertIfNegative val="1"/>
            <c:bubble3D val="0"/>
            <c:spPr>
              <a:solidFill>
                <a:srgbClr val="AEABAB"/>
              </a:solidFill>
            </c:spPr>
            <c:extLst>
              <c:ext xmlns:c16="http://schemas.microsoft.com/office/drawing/2014/chart" uri="{C3380CC4-5D6E-409C-BE32-E72D297353CC}">
                <c16:uniqueId val="{000004AB-26BF-40B0-8A43-EC10D791E60B}"/>
              </c:ext>
            </c:extLst>
          </c:dPt>
          <c:dPt>
            <c:idx val="597"/>
            <c:invertIfNegative val="1"/>
            <c:bubble3D val="0"/>
            <c:spPr>
              <a:solidFill>
                <a:srgbClr val="AEABAB"/>
              </a:solidFill>
            </c:spPr>
            <c:extLst>
              <c:ext xmlns:c16="http://schemas.microsoft.com/office/drawing/2014/chart" uri="{C3380CC4-5D6E-409C-BE32-E72D297353CC}">
                <c16:uniqueId val="{000004AD-26BF-40B0-8A43-EC10D791E60B}"/>
              </c:ext>
            </c:extLst>
          </c:dPt>
          <c:dPt>
            <c:idx val="598"/>
            <c:invertIfNegative val="1"/>
            <c:bubble3D val="0"/>
            <c:spPr>
              <a:solidFill>
                <a:srgbClr val="AEABAB"/>
              </a:solidFill>
            </c:spPr>
            <c:extLst>
              <c:ext xmlns:c16="http://schemas.microsoft.com/office/drawing/2014/chart" uri="{C3380CC4-5D6E-409C-BE32-E72D297353CC}">
                <c16:uniqueId val="{000004AF-26BF-40B0-8A43-EC10D791E60B}"/>
              </c:ext>
            </c:extLst>
          </c:dPt>
          <c:dPt>
            <c:idx val="599"/>
            <c:invertIfNegative val="1"/>
            <c:bubble3D val="0"/>
            <c:spPr>
              <a:solidFill>
                <a:srgbClr val="AEABAB"/>
              </a:solidFill>
            </c:spPr>
            <c:extLst>
              <c:ext xmlns:c16="http://schemas.microsoft.com/office/drawing/2014/chart" uri="{C3380CC4-5D6E-409C-BE32-E72D297353CC}">
                <c16:uniqueId val="{000004B1-26BF-40B0-8A43-EC10D791E60B}"/>
              </c:ext>
            </c:extLst>
          </c:dPt>
          <c:dPt>
            <c:idx val="600"/>
            <c:invertIfNegative val="1"/>
            <c:bubble3D val="0"/>
            <c:spPr>
              <a:solidFill>
                <a:srgbClr val="AEABAB"/>
              </a:solidFill>
            </c:spPr>
            <c:extLst>
              <c:ext xmlns:c16="http://schemas.microsoft.com/office/drawing/2014/chart" uri="{C3380CC4-5D6E-409C-BE32-E72D297353CC}">
                <c16:uniqueId val="{000004B3-26BF-40B0-8A43-EC10D791E60B}"/>
              </c:ext>
            </c:extLst>
          </c:dPt>
          <c:dPt>
            <c:idx val="601"/>
            <c:invertIfNegative val="1"/>
            <c:bubble3D val="0"/>
            <c:spPr>
              <a:solidFill>
                <a:srgbClr val="AEABAB"/>
              </a:solidFill>
            </c:spPr>
            <c:extLst>
              <c:ext xmlns:c16="http://schemas.microsoft.com/office/drawing/2014/chart" uri="{C3380CC4-5D6E-409C-BE32-E72D297353CC}">
                <c16:uniqueId val="{000004B5-26BF-40B0-8A43-EC10D791E60B}"/>
              </c:ext>
            </c:extLst>
          </c:dPt>
          <c:dPt>
            <c:idx val="602"/>
            <c:invertIfNegative val="1"/>
            <c:bubble3D val="0"/>
            <c:spPr>
              <a:solidFill>
                <a:srgbClr val="AEABAB"/>
              </a:solidFill>
            </c:spPr>
            <c:extLst>
              <c:ext xmlns:c16="http://schemas.microsoft.com/office/drawing/2014/chart" uri="{C3380CC4-5D6E-409C-BE32-E72D297353CC}">
                <c16:uniqueId val="{000004B7-26BF-40B0-8A43-EC10D791E60B}"/>
              </c:ext>
            </c:extLst>
          </c:dPt>
          <c:dPt>
            <c:idx val="603"/>
            <c:invertIfNegative val="1"/>
            <c:bubble3D val="0"/>
            <c:spPr>
              <a:solidFill>
                <a:srgbClr val="AEABAB"/>
              </a:solidFill>
            </c:spPr>
            <c:extLst>
              <c:ext xmlns:c16="http://schemas.microsoft.com/office/drawing/2014/chart" uri="{C3380CC4-5D6E-409C-BE32-E72D297353CC}">
                <c16:uniqueId val="{000004B9-26BF-40B0-8A43-EC10D791E60B}"/>
              </c:ext>
            </c:extLst>
          </c:dPt>
          <c:dPt>
            <c:idx val="604"/>
            <c:invertIfNegative val="1"/>
            <c:bubble3D val="0"/>
            <c:spPr>
              <a:solidFill>
                <a:srgbClr val="AEABAB"/>
              </a:solidFill>
            </c:spPr>
            <c:extLst>
              <c:ext xmlns:c16="http://schemas.microsoft.com/office/drawing/2014/chart" uri="{C3380CC4-5D6E-409C-BE32-E72D297353CC}">
                <c16:uniqueId val="{000004BB-26BF-40B0-8A43-EC10D791E60B}"/>
              </c:ext>
            </c:extLst>
          </c:dPt>
          <c:dPt>
            <c:idx val="605"/>
            <c:invertIfNegative val="1"/>
            <c:bubble3D val="0"/>
            <c:spPr>
              <a:solidFill>
                <a:srgbClr val="AEABAB"/>
              </a:solidFill>
            </c:spPr>
            <c:extLst>
              <c:ext xmlns:c16="http://schemas.microsoft.com/office/drawing/2014/chart" uri="{C3380CC4-5D6E-409C-BE32-E72D297353CC}">
                <c16:uniqueId val="{000004BD-26BF-40B0-8A43-EC10D791E60B}"/>
              </c:ext>
            </c:extLst>
          </c:dPt>
          <c:dPt>
            <c:idx val="606"/>
            <c:invertIfNegative val="1"/>
            <c:bubble3D val="0"/>
            <c:spPr>
              <a:solidFill>
                <a:srgbClr val="AEABAB"/>
              </a:solidFill>
            </c:spPr>
            <c:extLst>
              <c:ext xmlns:c16="http://schemas.microsoft.com/office/drawing/2014/chart" uri="{C3380CC4-5D6E-409C-BE32-E72D297353CC}">
                <c16:uniqueId val="{000004BF-26BF-40B0-8A43-EC10D791E60B}"/>
              </c:ext>
            </c:extLst>
          </c:dPt>
          <c:dPt>
            <c:idx val="607"/>
            <c:invertIfNegative val="1"/>
            <c:bubble3D val="0"/>
            <c:spPr>
              <a:solidFill>
                <a:srgbClr val="AEABAB"/>
              </a:solidFill>
            </c:spPr>
            <c:extLst>
              <c:ext xmlns:c16="http://schemas.microsoft.com/office/drawing/2014/chart" uri="{C3380CC4-5D6E-409C-BE32-E72D297353CC}">
                <c16:uniqueId val="{000004C1-26BF-40B0-8A43-EC10D791E60B}"/>
              </c:ext>
            </c:extLst>
          </c:dPt>
          <c:dPt>
            <c:idx val="608"/>
            <c:invertIfNegative val="1"/>
            <c:bubble3D val="0"/>
            <c:spPr>
              <a:solidFill>
                <a:srgbClr val="AEABAB"/>
              </a:solidFill>
            </c:spPr>
            <c:extLst>
              <c:ext xmlns:c16="http://schemas.microsoft.com/office/drawing/2014/chart" uri="{C3380CC4-5D6E-409C-BE32-E72D297353CC}">
                <c16:uniqueId val="{000004C3-26BF-40B0-8A43-EC10D791E60B}"/>
              </c:ext>
            </c:extLst>
          </c:dPt>
          <c:dPt>
            <c:idx val="609"/>
            <c:invertIfNegative val="1"/>
            <c:bubble3D val="0"/>
            <c:spPr>
              <a:solidFill>
                <a:srgbClr val="AEABAB"/>
              </a:solidFill>
            </c:spPr>
            <c:extLst>
              <c:ext xmlns:c16="http://schemas.microsoft.com/office/drawing/2014/chart" uri="{C3380CC4-5D6E-409C-BE32-E72D297353CC}">
                <c16:uniqueId val="{000004C5-26BF-40B0-8A43-EC10D791E60B}"/>
              </c:ext>
            </c:extLst>
          </c:dPt>
          <c:dPt>
            <c:idx val="610"/>
            <c:invertIfNegative val="1"/>
            <c:bubble3D val="0"/>
            <c:spPr>
              <a:solidFill>
                <a:srgbClr val="AEABAB"/>
              </a:solidFill>
            </c:spPr>
            <c:extLst>
              <c:ext xmlns:c16="http://schemas.microsoft.com/office/drawing/2014/chart" uri="{C3380CC4-5D6E-409C-BE32-E72D297353CC}">
                <c16:uniqueId val="{000004C7-26BF-40B0-8A43-EC10D791E60B}"/>
              </c:ext>
            </c:extLst>
          </c:dPt>
          <c:dPt>
            <c:idx val="611"/>
            <c:invertIfNegative val="1"/>
            <c:bubble3D val="0"/>
            <c:spPr>
              <a:solidFill>
                <a:srgbClr val="AEABAB"/>
              </a:solidFill>
            </c:spPr>
            <c:extLst>
              <c:ext xmlns:c16="http://schemas.microsoft.com/office/drawing/2014/chart" uri="{C3380CC4-5D6E-409C-BE32-E72D297353CC}">
                <c16:uniqueId val="{000004C9-26BF-40B0-8A43-EC10D791E60B}"/>
              </c:ext>
            </c:extLst>
          </c:dPt>
          <c:dPt>
            <c:idx val="612"/>
            <c:invertIfNegative val="1"/>
            <c:bubble3D val="0"/>
            <c:spPr>
              <a:solidFill>
                <a:srgbClr val="AEABAB"/>
              </a:solidFill>
            </c:spPr>
            <c:extLst>
              <c:ext xmlns:c16="http://schemas.microsoft.com/office/drawing/2014/chart" uri="{C3380CC4-5D6E-409C-BE32-E72D297353CC}">
                <c16:uniqueId val="{000004CB-26BF-40B0-8A43-EC10D791E60B}"/>
              </c:ext>
            </c:extLst>
          </c:dPt>
          <c:dPt>
            <c:idx val="613"/>
            <c:invertIfNegative val="1"/>
            <c:bubble3D val="0"/>
            <c:spPr>
              <a:solidFill>
                <a:srgbClr val="AEABAB"/>
              </a:solidFill>
            </c:spPr>
            <c:extLst>
              <c:ext xmlns:c16="http://schemas.microsoft.com/office/drawing/2014/chart" uri="{C3380CC4-5D6E-409C-BE32-E72D297353CC}">
                <c16:uniqueId val="{000004CD-26BF-40B0-8A43-EC10D791E60B}"/>
              </c:ext>
            </c:extLst>
          </c:dPt>
          <c:dPt>
            <c:idx val="614"/>
            <c:invertIfNegative val="1"/>
            <c:bubble3D val="0"/>
            <c:spPr>
              <a:solidFill>
                <a:srgbClr val="AEABAB"/>
              </a:solidFill>
            </c:spPr>
            <c:extLst>
              <c:ext xmlns:c16="http://schemas.microsoft.com/office/drawing/2014/chart" uri="{C3380CC4-5D6E-409C-BE32-E72D297353CC}">
                <c16:uniqueId val="{000004CF-26BF-40B0-8A43-EC10D791E60B}"/>
              </c:ext>
            </c:extLst>
          </c:dPt>
          <c:dPt>
            <c:idx val="615"/>
            <c:invertIfNegative val="1"/>
            <c:bubble3D val="0"/>
            <c:spPr>
              <a:solidFill>
                <a:srgbClr val="AEABAB"/>
              </a:solidFill>
            </c:spPr>
            <c:extLst>
              <c:ext xmlns:c16="http://schemas.microsoft.com/office/drawing/2014/chart" uri="{C3380CC4-5D6E-409C-BE32-E72D297353CC}">
                <c16:uniqueId val="{000004D1-26BF-40B0-8A43-EC10D791E60B}"/>
              </c:ext>
            </c:extLst>
          </c:dPt>
          <c:dPt>
            <c:idx val="616"/>
            <c:invertIfNegative val="1"/>
            <c:bubble3D val="0"/>
            <c:spPr>
              <a:solidFill>
                <a:srgbClr val="AEABAB"/>
              </a:solidFill>
            </c:spPr>
            <c:extLst>
              <c:ext xmlns:c16="http://schemas.microsoft.com/office/drawing/2014/chart" uri="{C3380CC4-5D6E-409C-BE32-E72D297353CC}">
                <c16:uniqueId val="{000004D3-26BF-40B0-8A43-EC10D791E60B}"/>
              </c:ext>
            </c:extLst>
          </c:dPt>
          <c:dPt>
            <c:idx val="617"/>
            <c:invertIfNegative val="1"/>
            <c:bubble3D val="0"/>
            <c:spPr>
              <a:solidFill>
                <a:srgbClr val="AEABAB"/>
              </a:solidFill>
            </c:spPr>
            <c:extLst>
              <c:ext xmlns:c16="http://schemas.microsoft.com/office/drawing/2014/chart" uri="{C3380CC4-5D6E-409C-BE32-E72D297353CC}">
                <c16:uniqueId val="{000004D5-26BF-40B0-8A43-EC10D791E60B}"/>
              </c:ext>
            </c:extLst>
          </c:dPt>
          <c:dPt>
            <c:idx val="618"/>
            <c:invertIfNegative val="1"/>
            <c:bubble3D val="0"/>
            <c:spPr>
              <a:solidFill>
                <a:srgbClr val="AEABAB"/>
              </a:solidFill>
            </c:spPr>
            <c:extLst>
              <c:ext xmlns:c16="http://schemas.microsoft.com/office/drawing/2014/chart" uri="{C3380CC4-5D6E-409C-BE32-E72D297353CC}">
                <c16:uniqueId val="{000004D7-26BF-40B0-8A43-EC10D791E60B}"/>
              </c:ext>
            </c:extLst>
          </c:dPt>
          <c:dPt>
            <c:idx val="619"/>
            <c:invertIfNegative val="1"/>
            <c:bubble3D val="0"/>
            <c:spPr>
              <a:solidFill>
                <a:srgbClr val="AEABAB"/>
              </a:solidFill>
            </c:spPr>
            <c:extLst>
              <c:ext xmlns:c16="http://schemas.microsoft.com/office/drawing/2014/chart" uri="{C3380CC4-5D6E-409C-BE32-E72D297353CC}">
                <c16:uniqueId val="{000004D9-26BF-40B0-8A43-EC10D791E60B}"/>
              </c:ext>
            </c:extLst>
          </c:dPt>
          <c:dPt>
            <c:idx val="620"/>
            <c:invertIfNegative val="1"/>
            <c:bubble3D val="0"/>
            <c:spPr>
              <a:solidFill>
                <a:srgbClr val="AEABAB"/>
              </a:solidFill>
            </c:spPr>
            <c:extLst>
              <c:ext xmlns:c16="http://schemas.microsoft.com/office/drawing/2014/chart" uri="{C3380CC4-5D6E-409C-BE32-E72D297353CC}">
                <c16:uniqueId val="{000004DB-26BF-40B0-8A43-EC10D791E60B}"/>
              </c:ext>
            </c:extLst>
          </c:dPt>
          <c:dPt>
            <c:idx val="621"/>
            <c:invertIfNegative val="1"/>
            <c:bubble3D val="0"/>
            <c:spPr>
              <a:solidFill>
                <a:srgbClr val="AEABAB"/>
              </a:solidFill>
            </c:spPr>
            <c:extLst>
              <c:ext xmlns:c16="http://schemas.microsoft.com/office/drawing/2014/chart" uri="{C3380CC4-5D6E-409C-BE32-E72D297353CC}">
                <c16:uniqueId val="{000004DD-26BF-40B0-8A43-EC10D791E60B}"/>
              </c:ext>
            </c:extLst>
          </c:dPt>
          <c:dPt>
            <c:idx val="622"/>
            <c:invertIfNegative val="1"/>
            <c:bubble3D val="0"/>
            <c:spPr>
              <a:solidFill>
                <a:srgbClr val="AEABAB"/>
              </a:solidFill>
            </c:spPr>
            <c:extLst>
              <c:ext xmlns:c16="http://schemas.microsoft.com/office/drawing/2014/chart" uri="{C3380CC4-5D6E-409C-BE32-E72D297353CC}">
                <c16:uniqueId val="{000004DF-26BF-40B0-8A43-EC10D791E60B}"/>
              </c:ext>
            </c:extLst>
          </c:dPt>
          <c:dPt>
            <c:idx val="623"/>
            <c:invertIfNegative val="1"/>
            <c:bubble3D val="0"/>
            <c:spPr>
              <a:solidFill>
                <a:srgbClr val="AEABAB"/>
              </a:solidFill>
            </c:spPr>
            <c:extLst>
              <c:ext xmlns:c16="http://schemas.microsoft.com/office/drawing/2014/chart" uri="{C3380CC4-5D6E-409C-BE32-E72D297353CC}">
                <c16:uniqueId val="{000004E1-26BF-40B0-8A43-EC10D791E60B}"/>
              </c:ext>
            </c:extLst>
          </c:dPt>
          <c:dPt>
            <c:idx val="624"/>
            <c:invertIfNegative val="1"/>
            <c:bubble3D val="0"/>
            <c:spPr>
              <a:solidFill>
                <a:srgbClr val="AEABAB"/>
              </a:solidFill>
            </c:spPr>
            <c:extLst>
              <c:ext xmlns:c16="http://schemas.microsoft.com/office/drawing/2014/chart" uri="{C3380CC4-5D6E-409C-BE32-E72D297353CC}">
                <c16:uniqueId val="{000004E3-26BF-40B0-8A43-EC10D791E60B}"/>
              </c:ext>
            </c:extLst>
          </c:dPt>
          <c:dPt>
            <c:idx val="625"/>
            <c:invertIfNegative val="1"/>
            <c:bubble3D val="0"/>
            <c:spPr>
              <a:solidFill>
                <a:srgbClr val="AEABAB"/>
              </a:solidFill>
            </c:spPr>
            <c:extLst>
              <c:ext xmlns:c16="http://schemas.microsoft.com/office/drawing/2014/chart" uri="{C3380CC4-5D6E-409C-BE32-E72D297353CC}">
                <c16:uniqueId val="{000004E5-26BF-40B0-8A43-EC10D791E60B}"/>
              </c:ext>
            </c:extLst>
          </c:dPt>
          <c:dPt>
            <c:idx val="626"/>
            <c:invertIfNegative val="1"/>
            <c:bubble3D val="0"/>
            <c:spPr>
              <a:solidFill>
                <a:srgbClr val="AEABAB"/>
              </a:solidFill>
            </c:spPr>
            <c:extLst>
              <c:ext xmlns:c16="http://schemas.microsoft.com/office/drawing/2014/chart" uri="{C3380CC4-5D6E-409C-BE32-E72D297353CC}">
                <c16:uniqueId val="{000004E7-26BF-40B0-8A43-EC10D791E60B}"/>
              </c:ext>
            </c:extLst>
          </c:dPt>
          <c:dPt>
            <c:idx val="627"/>
            <c:invertIfNegative val="1"/>
            <c:bubble3D val="0"/>
            <c:spPr>
              <a:solidFill>
                <a:srgbClr val="AEABAB"/>
              </a:solidFill>
            </c:spPr>
            <c:extLst>
              <c:ext xmlns:c16="http://schemas.microsoft.com/office/drawing/2014/chart" uri="{C3380CC4-5D6E-409C-BE32-E72D297353CC}">
                <c16:uniqueId val="{000004E9-26BF-40B0-8A43-EC10D791E60B}"/>
              </c:ext>
            </c:extLst>
          </c:dPt>
          <c:dPt>
            <c:idx val="628"/>
            <c:invertIfNegative val="1"/>
            <c:bubble3D val="0"/>
            <c:spPr>
              <a:solidFill>
                <a:srgbClr val="AEABAB"/>
              </a:solidFill>
            </c:spPr>
            <c:extLst>
              <c:ext xmlns:c16="http://schemas.microsoft.com/office/drawing/2014/chart" uri="{C3380CC4-5D6E-409C-BE32-E72D297353CC}">
                <c16:uniqueId val="{000004EB-26BF-40B0-8A43-EC10D791E60B}"/>
              </c:ext>
            </c:extLst>
          </c:dPt>
          <c:dPt>
            <c:idx val="629"/>
            <c:invertIfNegative val="1"/>
            <c:bubble3D val="0"/>
            <c:spPr>
              <a:solidFill>
                <a:srgbClr val="AEABAB"/>
              </a:solidFill>
            </c:spPr>
            <c:extLst>
              <c:ext xmlns:c16="http://schemas.microsoft.com/office/drawing/2014/chart" uri="{C3380CC4-5D6E-409C-BE32-E72D297353CC}">
                <c16:uniqueId val="{000004ED-26BF-40B0-8A43-EC10D791E60B}"/>
              </c:ext>
            </c:extLst>
          </c:dPt>
          <c:dPt>
            <c:idx val="630"/>
            <c:invertIfNegative val="1"/>
            <c:bubble3D val="0"/>
            <c:spPr>
              <a:solidFill>
                <a:srgbClr val="AEABAB"/>
              </a:solidFill>
            </c:spPr>
            <c:extLst>
              <c:ext xmlns:c16="http://schemas.microsoft.com/office/drawing/2014/chart" uri="{C3380CC4-5D6E-409C-BE32-E72D297353CC}">
                <c16:uniqueId val="{000004EF-26BF-40B0-8A43-EC10D791E60B}"/>
              </c:ext>
            </c:extLst>
          </c:dPt>
          <c:dPt>
            <c:idx val="631"/>
            <c:invertIfNegative val="1"/>
            <c:bubble3D val="0"/>
            <c:spPr>
              <a:solidFill>
                <a:srgbClr val="AEABAB"/>
              </a:solidFill>
            </c:spPr>
            <c:extLst>
              <c:ext xmlns:c16="http://schemas.microsoft.com/office/drawing/2014/chart" uri="{C3380CC4-5D6E-409C-BE32-E72D297353CC}">
                <c16:uniqueId val="{000004F1-26BF-40B0-8A43-EC10D791E60B}"/>
              </c:ext>
            </c:extLst>
          </c:dPt>
          <c:dPt>
            <c:idx val="632"/>
            <c:invertIfNegative val="1"/>
            <c:bubble3D val="0"/>
            <c:spPr>
              <a:solidFill>
                <a:srgbClr val="AEABAB"/>
              </a:solidFill>
            </c:spPr>
            <c:extLst>
              <c:ext xmlns:c16="http://schemas.microsoft.com/office/drawing/2014/chart" uri="{C3380CC4-5D6E-409C-BE32-E72D297353CC}">
                <c16:uniqueId val="{000004F3-26BF-40B0-8A43-EC10D791E60B}"/>
              </c:ext>
            </c:extLst>
          </c:dPt>
          <c:dPt>
            <c:idx val="633"/>
            <c:invertIfNegative val="1"/>
            <c:bubble3D val="0"/>
            <c:spPr>
              <a:solidFill>
                <a:srgbClr val="AEABAB"/>
              </a:solidFill>
            </c:spPr>
            <c:extLst>
              <c:ext xmlns:c16="http://schemas.microsoft.com/office/drawing/2014/chart" uri="{C3380CC4-5D6E-409C-BE32-E72D297353CC}">
                <c16:uniqueId val="{000004F5-26BF-40B0-8A43-EC10D791E60B}"/>
              </c:ext>
            </c:extLst>
          </c:dPt>
          <c:dPt>
            <c:idx val="634"/>
            <c:invertIfNegative val="1"/>
            <c:bubble3D val="0"/>
            <c:spPr>
              <a:solidFill>
                <a:srgbClr val="AEABAB"/>
              </a:solidFill>
            </c:spPr>
            <c:extLst>
              <c:ext xmlns:c16="http://schemas.microsoft.com/office/drawing/2014/chart" uri="{C3380CC4-5D6E-409C-BE32-E72D297353CC}">
                <c16:uniqueId val="{000004F7-26BF-40B0-8A43-EC10D791E60B}"/>
              </c:ext>
            </c:extLst>
          </c:dPt>
          <c:dPt>
            <c:idx val="635"/>
            <c:invertIfNegative val="1"/>
            <c:bubble3D val="0"/>
            <c:spPr>
              <a:solidFill>
                <a:srgbClr val="AEABAB"/>
              </a:solidFill>
            </c:spPr>
            <c:extLst>
              <c:ext xmlns:c16="http://schemas.microsoft.com/office/drawing/2014/chart" uri="{C3380CC4-5D6E-409C-BE32-E72D297353CC}">
                <c16:uniqueId val="{000004F9-26BF-40B0-8A43-EC10D791E60B}"/>
              </c:ext>
            </c:extLst>
          </c:dPt>
          <c:dPt>
            <c:idx val="636"/>
            <c:invertIfNegative val="1"/>
            <c:bubble3D val="0"/>
            <c:spPr>
              <a:solidFill>
                <a:srgbClr val="AEABAB"/>
              </a:solidFill>
            </c:spPr>
            <c:extLst>
              <c:ext xmlns:c16="http://schemas.microsoft.com/office/drawing/2014/chart" uri="{C3380CC4-5D6E-409C-BE32-E72D297353CC}">
                <c16:uniqueId val="{000004FB-26BF-40B0-8A43-EC10D791E60B}"/>
              </c:ext>
            </c:extLst>
          </c:dPt>
          <c:dPt>
            <c:idx val="637"/>
            <c:invertIfNegative val="1"/>
            <c:bubble3D val="0"/>
            <c:spPr>
              <a:solidFill>
                <a:srgbClr val="AEABAB"/>
              </a:solidFill>
            </c:spPr>
            <c:extLst>
              <c:ext xmlns:c16="http://schemas.microsoft.com/office/drawing/2014/chart" uri="{C3380CC4-5D6E-409C-BE32-E72D297353CC}">
                <c16:uniqueId val="{000004FD-26BF-40B0-8A43-EC10D791E60B}"/>
              </c:ext>
            </c:extLst>
          </c:dPt>
          <c:dPt>
            <c:idx val="638"/>
            <c:invertIfNegative val="1"/>
            <c:bubble3D val="0"/>
            <c:spPr>
              <a:solidFill>
                <a:srgbClr val="AEABAB"/>
              </a:solidFill>
            </c:spPr>
            <c:extLst>
              <c:ext xmlns:c16="http://schemas.microsoft.com/office/drawing/2014/chart" uri="{C3380CC4-5D6E-409C-BE32-E72D297353CC}">
                <c16:uniqueId val="{000004FF-26BF-40B0-8A43-EC10D791E60B}"/>
              </c:ext>
            </c:extLst>
          </c:dPt>
          <c:dPt>
            <c:idx val="639"/>
            <c:invertIfNegative val="1"/>
            <c:bubble3D val="0"/>
            <c:spPr>
              <a:solidFill>
                <a:srgbClr val="AEABAB"/>
              </a:solidFill>
            </c:spPr>
            <c:extLst>
              <c:ext xmlns:c16="http://schemas.microsoft.com/office/drawing/2014/chart" uri="{C3380CC4-5D6E-409C-BE32-E72D297353CC}">
                <c16:uniqueId val="{00000501-26BF-40B0-8A43-EC10D791E60B}"/>
              </c:ext>
            </c:extLst>
          </c:dPt>
          <c:dPt>
            <c:idx val="640"/>
            <c:invertIfNegative val="1"/>
            <c:bubble3D val="0"/>
            <c:spPr>
              <a:solidFill>
                <a:srgbClr val="AEABAB"/>
              </a:solidFill>
            </c:spPr>
            <c:extLst>
              <c:ext xmlns:c16="http://schemas.microsoft.com/office/drawing/2014/chart" uri="{C3380CC4-5D6E-409C-BE32-E72D297353CC}">
                <c16:uniqueId val="{00000503-26BF-40B0-8A43-EC10D791E60B}"/>
              </c:ext>
            </c:extLst>
          </c:dPt>
          <c:dPt>
            <c:idx val="641"/>
            <c:invertIfNegative val="1"/>
            <c:bubble3D val="0"/>
            <c:spPr>
              <a:solidFill>
                <a:srgbClr val="AEABAB"/>
              </a:solidFill>
            </c:spPr>
            <c:extLst>
              <c:ext xmlns:c16="http://schemas.microsoft.com/office/drawing/2014/chart" uri="{C3380CC4-5D6E-409C-BE32-E72D297353CC}">
                <c16:uniqueId val="{00000505-26BF-40B0-8A43-EC10D791E60B}"/>
              </c:ext>
            </c:extLst>
          </c:dPt>
          <c:dPt>
            <c:idx val="642"/>
            <c:invertIfNegative val="1"/>
            <c:bubble3D val="0"/>
            <c:spPr>
              <a:solidFill>
                <a:srgbClr val="AEABAB"/>
              </a:solidFill>
            </c:spPr>
            <c:extLst>
              <c:ext xmlns:c16="http://schemas.microsoft.com/office/drawing/2014/chart" uri="{C3380CC4-5D6E-409C-BE32-E72D297353CC}">
                <c16:uniqueId val="{00000507-26BF-40B0-8A43-EC10D791E60B}"/>
              </c:ext>
            </c:extLst>
          </c:dPt>
          <c:dPt>
            <c:idx val="643"/>
            <c:invertIfNegative val="1"/>
            <c:bubble3D val="0"/>
            <c:spPr>
              <a:solidFill>
                <a:srgbClr val="AEABAB"/>
              </a:solidFill>
            </c:spPr>
            <c:extLst>
              <c:ext xmlns:c16="http://schemas.microsoft.com/office/drawing/2014/chart" uri="{C3380CC4-5D6E-409C-BE32-E72D297353CC}">
                <c16:uniqueId val="{00000509-26BF-40B0-8A43-EC10D791E60B}"/>
              </c:ext>
            </c:extLst>
          </c:dPt>
          <c:dPt>
            <c:idx val="644"/>
            <c:invertIfNegative val="1"/>
            <c:bubble3D val="0"/>
            <c:spPr>
              <a:solidFill>
                <a:srgbClr val="AEABAB"/>
              </a:solidFill>
            </c:spPr>
            <c:extLst>
              <c:ext xmlns:c16="http://schemas.microsoft.com/office/drawing/2014/chart" uri="{C3380CC4-5D6E-409C-BE32-E72D297353CC}">
                <c16:uniqueId val="{0000050B-26BF-40B0-8A43-EC10D791E60B}"/>
              </c:ext>
            </c:extLst>
          </c:dPt>
          <c:dPt>
            <c:idx val="645"/>
            <c:invertIfNegative val="1"/>
            <c:bubble3D val="0"/>
            <c:spPr>
              <a:solidFill>
                <a:srgbClr val="AEABAB"/>
              </a:solidFill>
            </c:spPr>
            <c:extLst>
              <c:ext xmlns:c16="http://schemas.microsoft.com/office/drawing/2014/chart" uri="{C3380CC4-5D6E-409C-BE32-E72D297353CC}">
                <c16:uniqueId val="{0000050D-26BF-40B0-8A43-EC10D791E60B}"/>
              </c:ext>
            </c:extLst>
          </c:dPt>
          <c:dPt>
            <c:idx val="646"/>
            <c:invertIfNegative val="1"/>
            <c:bubble3D val="0"/>
            <c:spPr>
              <a:solidFill>
                <a:srgbClr val="AEABAB"/>
              </a:solidFill>
            </c:spPr>
            <c:extLst>
              <c:ext xmlns:c16="http://schemas.microsoft.com/office/drawing/2014/chart" uri="{C3380CC4-5D6E-409C-BE32-E72D297353CC}">
                <c16:uniqueId val="{0000050F-26BF-40B0-8A43-EC10D791E60B}"/>
              </c:ext>
            </c:extLst>
          </c:dPt>
          <c:dPt>
            <c:idx val="647"/>
            <c:invertIfNegative val="1"/>
            <c:bubble3D val="0"/>
            <c:spPr>
              <a:solidFill>
                <a:srgbClr val="AEABAB"/>
              </a:solidFill>
            </c:spPr>
            <c:extLst>
              <c:ext xmlns:c16="http://schemas.microsoft.com/office/drawing/2014/chart" uri="{C3380CC4-5D6E-409C-BE32-E72D297353CC}">
                <c16:uniqueId val="{00000511-26BF-40B0-8A43-EC10D791E60B}"/>
              </c:ext>
            </c:extLst>
          </c:dPt>
          <c:dPt>
            <c:idx val="648"/>
            <c:invertIfNegative val="1"/>
            <c:bubble3D val="0"/>
            <c:spPr>
              <a:solidFill>
                <a:srgbClr val="AEABAB"/>
              </a:solidFill>
            </c:spPr>
            <c:extLst>
              <c:ext xmlns:c16="http://schemas.microsoft.com/office/drawing/2014/chart" uri="{C3380CC4-5D6E-409C-BE32-E72D297353CC}">
                <c16:uniqueId val="{00000513-26BF-40B0-8A43-EC10D791E60B}"/>
              </c:ext>
            </c:extLst>
          </c:dPt>
          <c:dPt>
            <c:idx val="649"/>
            <c:invertIfNegative val="1"/>
            <c:bubble3D val="0"/>
            <c:spPr>
              <a:solidFill>
                <a:srgbClr val="AEABAB"/>
              </a:solidFill>
            </c:spPr>
            <c:extLst>
              <c:ext xmlns:c16="http://schemas.microsoft.com/office/drawing/2014/chart" uri="{C3380CC4-5D6E-409C-BE32-E72D297353CC}">
                <c16:uniqueId val="{00000515-26BF-40B0-8A43-EC10D791E60B}"/>
              </c:ext>
            </c:extLst>
          </c:dPt>
          <c:dPt>
            <c:idx val="650"/>
            <c:invertIfNegative val="1"/>
            <c:bubble3D val="0"/>
            <c:spPr>
              <a:solidFill>
                <a:srgbClr val="AEABAB"/>
              </a:solidFill>
            </c:spPr>
            <c:extLst>
              <c:ext xmlns:c16="http://schemas.microsoft.com/office/drawing/2014/chart" uri="{C3380CC4-5D6E-409C-BE32-E72D297353CC}">
                <c16:uniqueId val="{00000517-26BF-40B0-8A43-EC10D791E60B}"/>
              </c:ext>
            </c:extLst>
          </c:dPt>
          <c:dPt>
            <c:idx val="651"/>
            <c:invertIfNegative val="1"/>
            <c:bubble3D val="0"/>
            <c:spPr>
              <a:solidFill>
                <a:srgbClr val="AEABAB"/>
              </a:solidFill>
            </c:spPr>
            <c:extLst>
              <c:ext xmlns:c16="http://schemas.microsoft.com/office/drawing/2014/chart" uri="{C3380CC4-5D6E-409C-BE32-E72D297353CC}">
                <c16:uniqueId val="{00000519-26BF-40B0-8A43-EC10D791E60B}"/>
              </c:ext>
            </c:extLst>
          </c:dPt>
          <c:dPt>
            <c:idx val="652"/>
            <c:invertIfNegative val="1"/>
            <c:bubble3D val="0"/>
            <c:spPr>
              <a:solidFill>
                <a:srgbClr val="AEABAB"/>
              </a:solidFill>
            </c:spPr>
            <c:extLst>
              <c:ext xmlns:c16="http://schemas.microsoft.com/office/drawing/2014/chart" uri="{C3380CC4-5D6E-409C-BE32-E72D297353CC}">
                <c16:uniqueId val="{0000051B-26BF-40B0-8A43-EC10D791E60B}"/>
              </c:ext>
            </c:extLst>
          </c:dPt>
          <c:dPt>
            <c:idx val="653"/>
            <c:invertIfNegative val="1"/>
            <c:bubble3D val="0"/>
            <c:spPr>
              <a:solidFill>
                <a:srgbClr val="AEABAB"/>
              </a:solidFill>
            </c:spPr>
            <c:extLst>
              <c:ext xmlns:c16="http://schemas.microsoft.com/office/drawing/2014/chart" uri="{C3380CC4-5D6E-409C-BE32-E72D297353CC}">
                <c16:uniqueId val="{0000051D-26BF-40B0-8A43-EC10D791E60B}"/>
              </c:ext>
            </c:extLst>
          </c:dPt>
          <c:dPt>
            <c:idx val="654"/>
            <c:invertIfNegative val="1"/>
            <c:bubble3D val="0"/>
            <c:spPr>
              <a:solidFill>
                <a:srgbClr val="AEABAB"/>
              </a:solidFill>
            </c:spPr>
            <c:extLst>
              <c:ext xmlns:c16="http://schemas.microsoft.com/office/drawing/2014/chart" uri="{C3380CC4-5D6E-409C-BE32-E72D297353CC}">
                <c16:uniqueId val="{0000051F-26BF-40B0-8A43-EC10D791E60B}"/>
              </c:ext>
            </c:extLst>
          </c:dPt>
          <c:dPt>
            <c:idx val="655"/>
            <c:invertIfNegative val="1"/>
            <c:bubble3D val="0"/>
            <c:spPr>
              <a:solidFill>
                <a:srgbClr val="AEABAB"/>
              </a:solidFill>
            </c:spPr>
            <c:extLst>
              <c:ext xmlns:c16="http://schemas.microsoft.com/office/drawing/2014/chart" uri="{C3380CC4-5D6E-409C-BE32-E72D297353CC}">
                <c16:uniqueId val="{00000521-26BF-40B0-8A43-EC10D791E60B}"/>
              </c:ext>
            </c:extLst>
          </c:dPt>
          <c:dPt>
            <c:idx val="656"/>
            <c:invertIfNegative val="1"/>
            <c:bubble3D val="0"/>
            <c:spPr>
              <a:solidFill>
                <a:srgbClr val="AEABAB"/>
              </a:solidFill>
            </c:spPr>
            <c:extLst>
              <c:ext xmlns:c16="http://schemas.microsoft.com/office/drawing/2014/chart" uri="{C3380CC4-5D6E-409C-BE32-E72D297353CC}">
                <c16:uniqueId val="{00000523-26BF-40B0-8A43-EC10D791E60B}"/>
              </c:ext>
            </c:extLst>
          </c:dPt>
          <c:dPt>
            <c:idx val="657"/>
            <c:invertIfNegative val="1"/>
            <c:bubble3D val="0"/>
            <c:spPr>
              <a:solidFill>
                <a:srgbClr val="AEABAB"/>
              </a:solidFill>
            </c:spPr>
            <c:extLst>
              <c:ext xmlns:c16="http://schemas.microsoft.com/office/drawing/2014/chart" uri="{C3380CC4-5D6E-409C-BE32-E72D297353CC}">
                <c16:uniqueId val="{00000525-26BF-40B0-8A43-EC10D791E60B}"/>
              </c:ext>
            </c:extLst>
          </c:dPt>
          <c:dPt>
            <c:idx val="658"/>
            <c:invertIfNegative val="1"/>
            <c:bubble3D val="0"/>
            <c:spPr>
              <a:solidFill>
                <a:srgbClr val="AEABAB"/>
              </a:solidFill>
            </c:spPr>
            <c:extLst>
              <c:ext xmlns:c16="http://schemas.microsoft.com/office/drawing/2014/chart" uri="{C3380CC4-5D6E-409C-BE32-E72D297353CC}">
                <c16:uniqueId val="{00000527-26BF-40B0-8A43-EC10D791E60B}"/>
              </c:ext>
            </c:extLst>
          </c:dPt>
          <c:dPt>
            <c:idx val="659"/>
            <c:invertIfNegative val="1"/>
            <c:bubble3D val="0"/>
            <c:spPr>
              <a:solidFill>
                <a:srgbClr val="AEABAB"/>
              </a:solidFill>
            </c:spPr>
            <c:extLst>
              <c:ext xmlns:c16="http://schemas.microsoft.com/office/drawing/2014/chart" uri="{C3380CC4-5D6E-409C-BE32-E72D297353CC}">
                <c16:uniqueId val="{00000529-26BF-40B0-8A43-EC10D791E60B}"/>
              </c:ext>
            </c:extLst>
          </c:dPt>
          <c:dPt>
            <c:idx val="660"/>
            <c:invertIfNegative val="1"/>
            <c:bubble3D val="0"/>
            <c:spPr>
              <a:solidFill>
                <a:srgbClr val="AEABAB"/>
              </a:solidFill>
            </c:spPr>
            <c:extLst>
              <c:ext xmlns:c16="http://schemas.microsoft.com/office/drawing/2014/chart" uri="{C3380CC4-5D6E-409C-BE32-E72D297353CC}">
                <c16:uniqueId val="{0000052B-26BF-40B0-8A43-EC10D791E60B}"/>
              </c:ext>
            </c:extLst>
          </c:dPt>
          <c:dPt>
            <c:idx val="661"/>
            <c:invertIfNegative val="1"/>
            <c:bubble3D val="0"/>
            <c:spPr>
              <a:solidFill>
                <a:srgbClr val="AEABAB"/>
              </a:solidFill>
            </c:spPr>
            <c:extLst>
              <c:ext xmlns:c16="http://schemas.microsoft.com/office/drawing/2014/chart" uri="{C3380CC4-5D6E-409C-BE32-E72D297353CC}">
                <c16:uniqueId val="{0000052D-26BF-40B0-8A43-EC10D791E60B}"/>
              </c:ext>
            </c:extLst>
          </c:dPt>
          <c:dPt>
            <c:idx val="662"/>
            <c:invertIfNegative val="1"/>
            <c:bubble3D val="0"/>
            <c:spPr>
              <a:solidFill>
                <a:srgbClr val="AEABAB"/>
              </a:solidFill>
            </c:spPr>
            <c:extLst>
              <c:ext xmlns:c16="http://schemas.microsoft.com/office/drawing/2014/chart" uri="{C3380CC4-5D6E-409C-BE32-E72D297353CC}">
                <c16:uniqueId val="{0000052F-26BF-40B0-8A43-EC10D791E60B}"/>
              </c:ext>
            </c:extLst>
          </c:dPt>
          <c:dPt>
            <c:idx val="663"/>
            <c:invertIfNegative val="1"/>
            <c:bubble3D val="0"/>
            <c:spPr>
              <a:solidFill>
                <a:srgbClr val="AEABAB"/>
              </a:solidFill>
            </c:spPr>
            <c:extLst>
              <c:ext xmlns:c16="http://schemas.microsoft.com/office/drawing/2014/chart" uri="{C3380CC4-5D6E-409C-BE32-E72D297353CC}">
                <c16:uniqueId val="{00000531-26BF-40B0-8A43-EC10D791E60B}"/>
              </c:ext>
            </c:extLst>
          </c:dPt>
          <c:dPt>
            <c:idx val="664"/>
            <c:invertIfNegative val="1"/>
            <c:bubble3D val="0"/>
            <c:spPr>
              <a:solidFill>
                <a:srgbClr val="AEABAB"/>
              </a:solidFill>
            </c:spPr>
            <c:extLst>
              <c:ext xmlns:c16="http://schemas.microsoft.com/office/drawing/2014/chart" uri="{C3380CC4-5D6E-409C-BE32-E72D297353CC}">
                <c16:uniqueId val="{00000533-26BF-40B0-8A43-EC10D791E60B}"/>
              </c:ext>
            </c:extLst>
          </c:dPt>
          <c:dPt>
            <c:idx val="665"/>
            <c:invertIfNegative val="1"/>
            <c:bubble3D val="0"/>
            <c:spPr>
              <a:solidFill>
                <a:srgbClr val="AEABAB"/>
              </a:solidFill>
            </c:spPr>
            <c:extLst>
              <c:ext xmlns:c16="http://schemas.microsoft.com/office/drawing/2014/chart" uri="{C3380CC4-5D6E-409C-BE32-E72D297353CC}">
                <c16:uniqueId val="{00000535-26BF-40B0-8A43-EC10D791E60B}"/>
              </c:ext>
            </c:extLst>
          </c:dPt>
          <c:dPt>
            <c:idx val="666"/>
            <c:invertIfNegative val="1"/>
            <c:bubble3D val="0"/>
            <c:spPr>
              <a:solidFill>
                <a:srgbClr val="AEABAB"/>
              </a:solidFill>
            </c:spPr>
            <c:extLst>
              <c:ext xmlns:c16="http://schemas.microsoft.com/office/drawing/2014/chart" uri="{C3380CC4-5D6E-409C-BE32-E72D297353CC}">
                <c16:uniqueId val="{00000537-26BF-40B0-8A43-EC10D791E60B}"/>
              </c:ext>
            </c:extLst>
          </c:dPt>
          <c:dPt>
            <c:idx val="667"/>
            <c:invertIfNegative val="1"/>
            <c:bubble3D val="0"/>
            <c:spPr>
              <a:solidFill>
                <a:srgbClr val="AEABAB"/>
              </a:solidFill>
            </c:spPr>
            <c:extLst>
              <c:ext xmlns:c16="http://schemas.microsoft.com/office/drawing/2014/chart" uri="{C3380CC4-5D6E-409C-BE32-E72D297353CC}">
                <c16:uniqueId val="{00000539-26BF-40B0-8A43-EC10D791E60B}"/>
              </c:ext>
            </c:extLst>
          </c:dPt>
          <c:dPt>
            <c:idx val="668"/>
            <c:invertIfNegative val="1"/>
            <c:bubble3D val="0"/>
            <c:spPr>
              <a:solidFill>
                <a:srgbClr val="AEABAB"/>
              </a:solidFill>
            </c:spPr>
            <c:extLst>
              <c:ext xmlns:c16="http://schemas.microsoft.com/office/drawing/2014/chart" uri="{C3380CC4-5D6E-409C-BE32-E72D297353CC}">
                <c16:uniqueId val="{0000053B-26BF-40B0-8A43-EC10D791E60B}"/>
              </c:ext>
            </c:extLst>
          </c:dPt>
          <c:dPt>
            <c:idx val="669"/>
            <c:invertIfNegative val="1"/>
            <c:bubble3D val="0"/>
            <c:spPr>
              <a:solidFill>
                <a:srgbClr val="AEABAB"/>
              </a:solidFill>
            </c:spPr>
            <c:extLst>
              <c:ext xmlns:c16="http://schemas.microsoft.com/office/drawing/2014/chart" uri="{C3380CC4-5D6E-409C-BE32-E72D297353CC}">
                <c16:uniqueId val="{0000053D-26BF-40B0-8A43-EC10D791E60B}"/>
              </c:ext>
            </c:extLst>
          </c:dPt>
          <c:dPt>
            <c:idx val="670"/>
            <c:invertIfNegative val="1"/>
            <c:bubble3D val="0"/>
            <c:spPr>
              <a:solidFill>
                <a:srgbClr val="AEABAB"/>
              </a:solidFill>
            </c:spPr>
            <c:extLst>
              <c:ext xmlns:c16="http://schemas.microsoft.com/office/drawing/2014/chart" uri="{C3380CC4-5D6E-409C-BE32-E72D297353CC}">
                <c16:uniqueId val="{0000053F-26BF-40B0-8A43-EC10D791E60B}"/>
              </c:ext>
            </c:extLst>
          </c:dPt>
          <c:dPt>
            <c:idx val="671"/>
            <c:invertIfNegative val="1"/>
            <c:bubble3D val="0"/>
            <c:spPr>
              <a:solidFill>
                <a:srgbClr val="AEABAB"/>
              </a:solidFill>
            </c:spPr>
            <c:extLst>
              <c:ext xmlns:c16="http://schemas.microsoft.com/office/drawing/2014/chart" uri="{C3380CC4-5D6E-409C-BE32-E72D297353CC}">
                <c16:uniqueId val="{00000541-26BF-40B0-8A43-EC10D791E60B}"/>
              </c:ext>
            </c:extLst>
          </c:dPt>
          <c:dPt>
            <c:idx val="672"/>
            <c:invertIfNegative val="1"/>
            <c:bubble3D val="0"/>
            <c:spPr>
              <a:solidFill>
                <a:srgbClr val="AEABAB"/>
              </a:solidFill>
            </c:spPr>
            <c:extLst>
              <c:ext xmlns:c16="http://schemas.microsoft.com/office/drawing/2014/chart" uri="{C3380CC4-5D6E-409C-BE32-E72D297353CC}">
                <c16:uniqueId val="{00000543-26BF-40B0-8A43-EC10D791E60B}"/>
              </c:ext>
            </c:extLst>
          </c:dPt>
          <c:dPt>
            <c:idx val="673"/>
            <c:invertIfNegative val="1"/>
            <c:bubble3D val="0"/>
            <c:spPr>
              <a:solidFill>
                <a:srgbClr val="AEABAB"/>
              </a:solidFill>
            </c:spPr>
            <c:extLst>
              <c:ext xmlns:c16="http://schemas.microsoft.com/office/drawing/2014/chart" uri="{C3380CC4-5D6E-409C-BE32-E72D297353CC}">
                <c16:uniqueId val="{00000545-26BF-40B0-8A43-EC10D791E60B}"/>
              </c:ext>
            </c:extLst>
          </c:dPt>
          <c:dPt>
            <c:idx val="674"/>
            <c:invertIfNegative val="1"/>
            <c:bubble3D val="0"/>
            <c:spPr>
              <a:solidFill>
                <a:srgbClr val="AEABAB"/>
              </a:solidFill>
            </c:spPr>
            <c:extLst>
              <c:ext xmlns:c16="http://schemas.microsoft.com/office/drawing/2014/chart" uri="{C3380CC4-5D6E-409C-BE32-E72D297353CC}">
                <c16:uniqueId val="{00000547-26BF-40B0-8A43-EC10D791E60B}"/>
              </c:ext>
            </c:extLst>
          </c:dPt>
          <c:dPt>
            <c:idx val="675"/>
            <c:invertIfNegative val="1"/>
            <c:bubble3D val="0"/>
            <c:spPr>
              <a:solidFill>
                <a:srgbClr val="AEABAB"/>
              </a:solidFill>
            </c:spPr>
            <c:extLst>
              <c:ext xmlns:c16="http://schemas.microsoft.com/office/drawing/2014/chart" uri="{C3380CC4-5D6E-409C-BE32-E72D297353CC}">
                <c16:uniqueId val="{00000549-26BF-40B0-8A43-EC10D791E60B}"/>
              </c:ext>
            </c:extLst>
          </c:dPt>
          <c:dPt>
            <c:idx val="676"/>
            <c:invertIfNegative val="1"/>
            <c:bubble3D val="0"/>
            <c:spPr>
              <a:solidFill>
                <a:srgbClr val="AEABAB"/>
              </a:solidFill>
            </c:spPr>
            <c:extLst>
              <c:ext xmlns:c16="http://schemas.microsoft.com/office/drawing/2014/chart" uri="{C3380CC4-5D6E-409C-BE32-E72D297353CC}">
                <c16:uniqueId val="{0000054B-26BF-40B0-8A43-EC10D791E60B}"/>
              </c:ext>
            </c:extLst>
          </c:dPt>
          <c:dPt>
            <c:idx val="677"/>
            <c:invertIfNegative val="1"/>
            <c:bubble3D val="0"/>
            <c:spPr>
              <a:solidFill>
                <a:srgbClr val="AEABAB"/>
              </a:solidFill>
            </c:spPr>
            <c:extLst>
              <c:ext xmlns:c16="http://schemas.microsoft.com/office/drawing/2014/chart" uri="{C3380CC4-5D6E-409C-BE32-E72D297353CC}">
                <c16:uniqueId val="{0000054D-26BF-40B0-8A43-EC10D791E60B}"/>
              </c:ext>
            </c:extLst>
          </c:dPt>
          <c:dPt>
            <c:idx val="678"/>
            <c:invertIfNegative val="1"/>
            <c:bubble3D val="0"/>
            <c:spPr>
              <a:solidFill>
                <a:srgbClr val="AEABAB"/>
              </a:solidFill>
            </c:spPr>
            <c:extLst>
              <c:ext xmlns:c16="http://schemas.microsoft.com/office/drawing/2014/chart" uri="{C3380CC4-5D6E-409C-BE32-E72D297353CC}">
                <c16:uniqueId val="{0000054F-26BF-40B0-8A43-EC10D791E60B}"/>
              </c:ext>
            </c:extLst>
          </c:dPt>
          <c:dPt>
            <c:idx val="679"/>
            <c:invertIfNegative val="1"/>
            <c:bubble3D val="0"/>
            <c:spPr>
              <a:solidFill>
                <a:srgbClr val="AEABAB"/>
              </a:solidFill>
            </c:spPr>
            <c:extLst>
              <c:ext xmlns:c16="http://schemas.microsoft.com/office/drawing/2014/chart" uri="{C3380CC4-5D6E-409C-BE32-E72D297353CC}">
                <c16:uniqueId val="{00000551-26BF-40B0-8A43-EC10D791E60B}"/>
              </c:ext>
            </c:extLst>
          </c:dPt>
          <c:dPt>
            <c:idx val="680"/>
            <c:invertIfNegative val="1"/>
            <c:bubble3D val="0"/>
            <c:spPr>
              <a:solidFill>
                <a:srgbClr val="AEABAB"/>
              </a:solidFill>
            </c:spPr>
            <c:extLst>
              <c:ext xmlns:c16="http://schemas.microsoft.com/office/drawing/2014/chart" uri="{C3380CC4-5D6E-409C-BE32-E72D297353CC}">
                <c16:uniqueId val="{00000553-26BF-40B0-8A43-EC10D791E60B}"/>
              </c:ext>
            </c:extLst>
          </c:dPt>
          <c:dPt>
            <c:idx val="681"/>
            <c:invertIfNegative val="1"/>
            <c:bubble3D val="0"/>
            <c:spPr>
              <a:solidFill>
                <a:srgbClr val="AEABAB"/>
              </a:solidFill>
            </c:spPr>
            <c:extLst>
              <c:ext xmlns:c16="http://schemas.microsoft.com/office/drawing/2014/chart" uri="{C3380CC4-5D6E-409C-BE32-E72D297353CC}">
                <c16:uniqueId val="{00000555-26BF-40B0-8A43-EC10D791E60B}"/>
              </c:ext>
            </c:extLst>
          </c:dPt>
          <c:dPt>
            <c:idx val="682"/>
            <c:invertIfNegative val="1"/>
            <c:bubble3D val="0"/>
            <c:spPr>
              <a:solidFill>
                <a:srgbClr val="AEABAB"/>
              </a:solidFill>
            </c:spPr>
            <c:extLst>
              <c:ext xmlns:c16="http://schemas.microsoft.com/office/drawing/2014/chart" uri="{C3380CC4-5D6E-409C-BE32-E72D297353CC}">
                <c16:uniqueId val="{00000557-26BF-40B0-8A43-EC10D791E60B}"/>
              </c:ext>
            </c:extLst>
          </c:dPt>
          <c:dPt>
            <c:idx val="683"/>
            <c:invertIfNegative val="1"/>
            <c:bubble3D val="0"/>
            <c:spPr>
              <a:solidFill>
                <a:srgbClr val="AEABAB"/>
              </a:solidFill>
            </c:spPr>
            <c:extLst>
              <c:ext xmlns:c16="http://schemas.microsoft.com/office/drawing/2014/chart" uri="{C3380CC4-5D6E-409C-BE32-E72D297353CC}">
                <c16:uniqueId val="{00000559-26BF-40B0-8A43-EC10D791E60B}"/>
              </c:ext>
            </c:extLst>
          </c:dPt>
          <c:dPt>
            <c:idx val="684"/>
            <c:invertIfNegative val="1"/>
            <c:bubble3D val="0"/>
            <c:spPr>
              <a:solidFill>
                <a:srgbClr val="AEABAB"/>
              </a:solidFill>
            </c:spPr>
            <c:extLst>
              <c:ext xmlns:c16="http://schemas.microsoft.com/office/drawing/2014/chart" uri="{C3380CC4-5D6E-409C-BE32-E72D297353CC}">
                <c16:uniqueId val="{0000055B-26BF-40B0-8A43-EC10D791E60B}"/>
              </c:ext>
            </c:extLst>
          </c:dPt>
          <c:dPt>
            <c:idx val="685"/>
            <c:invertIfNegative val="1"/>
            <c:bubble3D val="0"/>
            <c:spPr>
              <a:solidFill>
                <a:srgbClr val="AEABAB"/>
              </a:solidFill>
            </c:spPr>
            <c:extLst>
              <c:ext xmlns:c16="http://schemas.microsoft.com/office/drawing/2014/chart" uri="{C3380CC4-5D6E-409C-BE32-E72D297353CC}">
                <c16:uniqueId val="{0000055D-26BF-40B0-8A43-EC10D791E60B}"/>
              </c:ext>
            </c:extLst>
          </c:dPt>
          <c:dPt>
            <c:idx val="686"/>
            <c:invertIfNegative val="1"/>
            <c:bubble3D val="0"/>
            <c:spPr>
              <a:solidFill>
                <a:srgbClr val="AEABAB"/>
              </a:solidFill>
            </c:spPr>
            <c:extLst>
              <c:ext xmlns:c16="http://schemas.microsoft.com/office/drawing/2014/chart" uri="{C3380CC4-5D6E-409C-BE32-E72D297353CC}">
                <c16:uniqueId val="{0000055F-26BF-40B0-8A43-EC10D791E60B}"/>
              </c:ext>
            </c:extLst>
          </c:dPt>
          <c:dPt>
            <c:idx val="687"/>
            <c:invertIfNegative val="1"/>
            <c:bubble3D val="0"/>
            <c:spPr>
              <a:solidFill>
                <a:srgbClr val="AEABAB"/>
              </a:solidFill>
            </c:spPr>
            <c:extLst>
              <c:ext xmlns:c16="http://schemas.microsoft.com/office/drawing/2014/chart" uri="{C3380CC4-5D6E-409C-BE32-E72D297353CC}">
                <c16:uniqueId val="{00000561-26BF-40B0-8A43-EC10D791E60B}"/>
              </c:ext>
            </c:extLst>
          </c:dPt>
          <c:dPt>
            <c:idx val="688"/>
            <c:invertIfNegative val="1"/>
            <c:bubble3D val="0"/>
            <c:spPr>
              <a:solidFill>
                <a:srgbClr val="AEABAB"/>
              </a:solidFill>
            </c:spPr>
            <c:extLst>
              <c:ext xmlns:c16="http://schemas.microsoft.com/office/drawing/2014/chart" uri="{C3380CC4-5D6E-409C-BE32-E72D297353CC}">
                <c16:uniqueId val="{00000563-26BF-40B0-8A43-EC10D791E60B}"/>
              </c:ext>
            </c:extLst>
          </c:dPt>
          <c:dPt>
            <c:idx val="689"/>
            <c:invertIfNegative val="1"/>
            <c:bubble3D val="0"/>
            <c:spPr>
              <a:solidFill>
                <a:srgbClr val="AEABAB"/>
              </a:solidFill>
            </c:spPr>
            <c:extLst>
              <c:ext xmlns:c16="http://schemas.microsoft.com/office/drawing/2014/chart" uri="{C3380CC4-5D6E-409C-BE32-E72D297353CC}">
                <c16:uniqueId val="{00000565-26BF-40B0-8A43-EC10D791E60B}"/>
              </c:ext>
            </c:extLst>
          </c:dPt>
          <c:dPt>
            <c:idx val="690"/>
            <c:invertIfNegative val="1"/>
            <c:bubble3D val="0"/>
            <c:spPr>
              <a:solidFill>
                <a:srgbClr val="AEABAB"/>
              </a:solidFill>
            </c:spPr>
            <c:extLst>
              <c:ext xmlns:c16="http://schemas.microsoft.com/office/drawing/2014/chart" uri="{C3380CC4-5D6E-409C-BE32-E72D297353CC}">
                <c16:uniqueId val="{00000567-26BF-40B0-8A43-EC10D791E60B}"/>
              </c:ext>
            </c:extLst>
          </c:dPt>
          <c:dPt>
            <c:idx val="691"/>
            <c:invertIfNegative val="1"/>
            <c:bubble3D val="0"/>
            <c:spPr>
              <a:solidFill>
                <a:srgbClr val="AEABAB"/>
              </a:solidFill>
            </c:spPr>
            <c:extLst>
              <c:ext xmlns:c16="http://schemas.microsoft.com/office/drawing/2014/chart" uri="{C3380CC4-5D6E-409C-BE32-E72D297353CC}">
                <c16:uniqueId val="{00000569-26BF-40B0-8A43-EC10D791E60B}"/>
              </c:ext>
            </c:extLst>
          </c:dPt>
          <c:dPt>
            <c:idx val="692"/>
            <c:invertIfNegative val="1"/>
            <c:bubble3D val="0"/>
            <c:spPr>
              <a:solidFill>
                <a:srgbClr val="AEABAB"/>
              </a:solidFill>
            </c:spPr>
            <c:extLst>
              <c:ext xmlns:c16="http://schemas.microsoft.com/office/drawing/2014/chart" uri="{C3380CC4-5D6E-409C-BE32-E72D297353CC}">
                <c16:uniqueId val="{0000056B-26BF-40B0-8A43-EC10D791E60B}"/>
              </c:ext>
            </c:extLst>
          </c:dPt>
          <c:dPt>
            <c:idx val="693"/>
            <c:invertIfNegative val="1"/>
            <c:bubble3D val="0"/>
            <c:spPr>
              <a:solidFill>
                <a:srgbClr val="AEABAB"/>
              </a:solidFill>
            </c:spPr>
            <c:extLst>
              <c:ext xmlns:c16="http://schemas.microsoft.com/office/drawing/2014/chart" uri="{C3380CC4-5D6E-409C-BE32-E72D297353CC}">
                <c16:uniqueId val="{0000056D-26BF-40B0-8A43-EC10D791E60B}"/>
              </c:ext>
            </c:extLst>
          </c:dPt>
          <c:dPt>
            <c:idx val="694"/>
            <c:invertIfNegative val="1"/>
            <c:bubble3D val="0"/>
            <c:spPr>
              <a:solidFill>
                <a:srgbClr val="AEABAB"/>
              </a:solidFill>
            </c:spPr>
            <c:extLst>
              <c:ext xmlns:c16="http://schemas.microsoft.com/office/drawing/2014/chart" uri="{C3380CC4-5D6E-409C-BE32-E72D297353CC}">
                <c16:uniqueId val="{0000056F-26BF-40B0-8A43-EC10D791E60B}"/>
              </c:ext>
            </c:extLst>
          </c:dPt>
          <c:dPt>
            <c:idx val="695"/>
            <c:invertIfNegative val="1"/>
            <c:bubble3D val="0"/>
            <c:spPr>
              <a:solidFill>
                <a:srgbClr val="AEABAB"/>
              </a:solidFill>
            </c:spPr>
            <c:extLst>
              <c:ext xmlns:c16="http://schemas.microsoft.com/office/drawing/2014/chart" uri="{C3380CC4-5D6E-409C-BE32-E72D297353CC}">
                <c16:uniqueId val="{00000571-26BF-40B0-8A43-EC10D791E60B}"/>
              </c:ext>
            </c:extLst>
          </c:dPt>
          <c:dPt>
            <c:idx val="696"/>
            <c:invertIfNegative val="1"/>
            <c:bubble3D val="0"/>
            <c:spPr>
              <a:solidFill>
                <a:srgbClr val="AEABAB"/>
              </a:solidFill>
            </c:spPr>
            <c:extLst>
              <c:ext xmlns:c16="http://schemas.microsoft.com/office/drawing/2014/chart" uri="{C3380CC4-5D6E-409C-BE32-E72D297353CC}">
                <c16:uniqueId val="{00000573-26BF-40B0-8A43-EC10D791E60B}"/>
              </c:ext>
            </c:extLst>
          </c:dPt>
          <c:dPt>
            <c:idx val="697"/>
            <c:invertIfNegative val="1"/>
            <c:bubble3D val="0"/>
            <c:spPr>
              <a:solidFill>
                <a:srgbClr val="AEABAB"/>
              </a:solidFill>
            </c:spPr>
            <c:extLst>
              <c:ext xmlns:c16="http://schemas.microsoft.com/office/drawing/2014/chart" uri="{C3380CC4-5D6E-409C-BE32-E72D297353CC}">
                <c16:uniqueId val="{00000575-26BF-40B0-8A43-EC10D791E60B}"/>
              </c:ext>
            </c:extLst>
          </c:dPt>
          <c:dPt>
            <c:idx val="698"/>
            <c:invertIfNegative val="1"/>
            <c:bubble3D val="0"/>
            <c:spPr>
              <a:solidFill>
                <a:srgbClr val="AEABAB"/>
              </a:solidFill>
            </c:spPr>
            <c:extLst>
              <c:ext xmlns:c16="http://schemas.microsoft.com/office/drawing/2014/chart" uri="{C3380CC4-5D6E-409C-BE32-E72D297353CC}">
                <c16:uniqueId val="{00000577-26BF-40B0-8A43-EC10D791E60B}"/>
              </c:ext>
            </c:extLst>
          </c:dPt>
          <c:dPt>
            <c:idx val="699"/>
            <c:invertIfNegative val="1"/>
            <c:bubble3D val="0"/>
            <c:spPr>
              <a:solidFill>
                <a:srgbClr val="AEABAB"/>
              </a:solidFill>
            </c:spPr>
            <c:extLst>
              <c:ext xmlns:c16="http://schemas.microsoft.com/office/drawing/2014/chart" uri="{C3380CC4-5D6E-409C-BE32-E72D297353CC}">
                <c16:uniqueId val="{00000579-26BF-40B0-8A43-EC10D791E60B}"/>
              </c:ext>
            </c:extLst>
          </c:dPt>
          <c:dPt>
            <c:idx val="700"/>
            <c:invertIfNegative val="1"/>
            <c:bubble3D val="0"/>
            <c:spPr>
              <a:solidFill>
                <a:srgbClr val="AEABAB"/>
              </a:solidFill>
            </c:spPr>
            <c:extLst>
              <c:ext xmlns:c16="http://schemas.microsoft.com/office/drawing/2014/chart" uri="{C3380CC4-5D6E-409C-BE32-E72D297353CC}">
                <c16:uniqueId val="{0000057B-26BF-40B0-8A43-EC10D791E60B}"/>
              </c:ext>
            </c:extLst>
          </c:dPt>
          <c:dPt>
            <c:idx val="701"/>
            <c:invertIfNegative val="1"/>
            <c:bubble3D val="0"/>
            <c:spPr>
              <a:solidFill>
                <a:srgbClr val="AEABAB"/>
              </a:solidFill>
            </c:spPr>
            <c:extLst>
              <c:ext xmlns:c16="http://schemas.microsoft.com/office/drawing/2014/chart" uri="{C3380CC4-5D6E-409C-BE32-E72D297353CC}">
                <c16:uniqueId val="{0000057D-26BF-40B0-8A43-EC10D791E60B}"/>
              </c:ext>
            </c:extLst>
          </c:dPt>
          <c:dPt>
            <c:idx val="702"/>
            <c:invertIfNegative val="1"/>
            <c:bubble3D val="0"/>
            <c:spPr>
              <a:solidFill>
                <a:srgbClr val="AEABAB"/>
              </a:solidFill>
            </c:spPr>
            <c:extLst>
              <c:ext xmlns:c16="http://schemas.microsoft.com/office/drawing/2014/chart" uri="{C3380CC4-5D6E-409C-BE32-E72D297353CC}">
                <c16:uniqueId val="{0000057F-26BF-40B0-8A43-EC10D791E60B}"/>
              </c:ext>
            </c:extLst>
          </c:dPt>
          <c:dPt>
            <c:idx val="703"/>
            <c:invertIfNegative val="1"/>
            <c:bubble3D val="0"/>
            <c:spPr>
              <a:solidFill>
                <a:srgbClr val="AEABAB"/>
              </a:solidFill>
            </c:spPr>
            <c:extLst>
              <c:ext xmlns:c16="http://schemas.microsoft.com/office/drawing/2014/chart" uri="{C3380CC4-5D6E-409C-BE32-E72D297353CC}">
                <c16:uniqueId val="{00000581-26BF-40B0-8A43-EC10D791E60B}"/>
              </c:ext>
            </c:extLst>
          </c:dPt>
          <c:dPt>
            <c:idx val="704"/>
            <c:invertIfNegative val="1"/>
            <c:bubble3D val="0"/>
            <c:spPr>
              <a:solidFill>
                <a:srgbClr val="AEABAB"/>
              </a:solidFill>
            </c:spPr>
            <c:extLst>
              <c:ext xmlns:c16="http://schemas.microsoft.com/office/drawing/2014/chart" uri="{C3380CC4-5D6E-409C-BE32-E72D297353CC}">
                <c16:uniqueId val="{00000583-26BF-40B0-8A43-EC10D791E60B}"/>
              </c:ext>
            </c:extLst>
          </c:dPt>
          <c:dPt>
            <c:idx val="705"/>
            <c:invertIfNegative val="1"/>
            <c:bubble3D val="0"/>
            <c:spPr>
              <a:solidFill>
                <a:srgbClr val="AEABAB"/>
              </a:solidFill>
            </c:spPr>
            <c:extLst>
              <c:ext xmlns:c16="http://schemas.microsoft.com/office/drawing/2014/chart" uri="{C3380CC4-5D6E-409C-BE32-E72D297353CC}">
                <c16:uniqueId val="{00000585-26BF-40B0-8A43-EC10D791E60B}"/>
              </c:ext>
            </c:extLst>
          </c:dPt>
          <c:dPt>
            <c:idx val="706"/>
            <c:invertIfNegative val="1"/>
            <c:bubble3D val="0"/>
            <c:spPr>
              <a:solidFill>
                <a:srgbClr val="AEABAB"/>
              </a:solidFill>
            </c:spPr>
            <c:extLst>
              <c:ext xmlns:c16="http://schemas.microsoft.com/office/drawing/2014/chart" uri="{C3380CC4-5D6E-409C-BE32-E72D297353CC}">
                <c16:uniqueId val="{00000587-26BF-40B0-8A43-EC10D791E60B}"/>
              </c:ext>
            </c:extLst>
          </c:dPt>
          <c:dPt>
            <c:idx val="707"/>
            <c:invertIfNegative val="1"/>
            <c:bubble3D val="0"/>
            <c:spPr>
              <a:solidFill>
                <a:srgbClr val="AEABAB"/>
              </a:solidFill>
            </c:spPr>
            <c:extLst>
              <c:ext xmlns:c16="http://schemas.microsoft.com/office/drawing/2014/chart" uri="{C3380CC4-5D6E-409C-BE32-E72D297353CC}">
                <c16:uniqueId val="{00000589-26BF-40B0-8A43-EC10D791E60B}"/>
              </c:ext>
            </c:extLst>
          </c:dPt>
          <c:dPt>
            <c:idx val="708"/>
            <c:invertIfNegative val="1"/>
            <c:bubble3D val="0"/>
            <c:spPr>
              <a:solidFill>
                <a:srgbClr val="AEABAB"/>
              </a:solidFill>
            </c:spPr>
            <c:extLst>
              <c:ext xmlns:c16="http://schemas.microsoft.com/office/drawing/2014/chart" uri="{C3380CC4-5D6E-409C-BE32-E72D297353CC}">
                <c16:uniqueId val="{0000058B-26BF-40B0-8A43-EC10D791E60B}"/>
              </c:ext>
            </c:extLst>
          </c:dPt>
          <c:dPt>
            <c:idx val="709"/>
            <c:invertIfNegative val="1"/>
            <c:bubble3D val="0"/>
            <c:spPr>
              <a:solidFill>
                <a:srgbClr val="AEABAB"/>
              </a:solidFill>
            </c:spPr>
            <c:extLst>
              <c:ext xmlns:c16="http://schemas.microsoft.com/office/drawing/2014/chart" uri="{C3380CC4-5D6E-409C-BE32-E72D297353CC}">
                <c16:uniqueId val="{0000058D-26BF-40B0-8A43-EC10D791E60B}"/>
              </c:ext>
            </c:extLst>
          </c:dPt>
          <c:dPt>
            <c:idx val="710"/>
            <c:invertIfNegative val="1"/>
            <c:bubble3D val="0"/>
            <c:spPr>
              <a:solidFill>
                <a:srgbClr val="AEABAB"/>
              </a:solidFill>
            </c:spPr>
            <c:extLst>
              <c:ext xmlns:c16="http://schemas.microsoft.com/office/drawing/2014/chart" uri="{C3380CC4-5D6E-409C-BE32-E72D297353CC}">
                <c16:uniqueId val="{0000058F-26BF-40B0-8A43-EC10D791E60B}"/>
              </c:ext>
            </c:extLst>
          </c:dPt>
          <c:dPt>
            <c:idx val="711"/>
            <c:invertIfNegative val="1"/>
            <c:bubble3D val="0"/>
            <c:spPr>
              <a:solidFill>
                <a:srgbClr val="AEABAB"/>
              </a:solidFill>
            </c:spPr>
            <c:extLst>
              <c:ext xmlns:c16="http://schemas.microsoft.com/office/drawing/2014/chart" uri="{C3380CC4-5D6E-409C-BE32-E72D297353CC}">
                <c16:uniqueId val="{00000591-26BF-40B0-8A43-EC10D791E60B}"/>
              </c:ext>
            </c:extLst>
          </c:dPt>
          <c:dPt>
            <c:idx val="712"/>
            <c:invertIfNegative val="1"/>
            <c:bubble3D val="0"/>
            <c:spPr>
              <a:solidFill>
                <a:srgbClr val="AEABAB"/>
              </a:solidFill>
            </c:spPr>
            <c:extLst>
              <c:ext xmlns:c16="http://schemas.microsoft.com/office/drawing/2014/chart" uri="{C3380CC4-5D6E-409C-BE32-E72D297353CC}">
                <c16:uniqueId val="{00000593-26BF-40B0-8A43-EC10D791E60B}"/>
              </c:ext>
            </c:extLst>
          </c:dPt>
          <c:dPt>
            <c:idx val="713"/>
            <c:invertIfNegative val="1"/>
            <c:bubble3D val="0"/>
            <c:spPr>
              <a:solidFill>
                <a:srgbClr val="AEABAB"/>
              </a:solidFill>
            </c:spPr>
            <c:extLst>
              <c:ext xmlns:c16="http://schemas.microsoft.com/office/drawing/2014/chart" uri="{C3380CC4-5D6E-409C-BE32-E72D297353CC}">
                <c16:uniqueId val="{00000595-26BF-40B0-8A43-EC10D791E60B}"/>
              </c:ext>
            </c:extLst>
          </c:dPt>
          <c:dPt>
            <c:idx val="714"/>
            <c:invertIfNegative val="1"/>
            <c:bubble3D val="0"/>
            <c:spPr>
              <a:solidFill>
                <a:srgbClr val="AEABAB"/>
              </a:solidFill>
            </c:spPr>
            <c:extLst>
              <c:ext xmlns:c16="http://schemas.microsoft.com/office/drawing/2014/chart" uri="{C3380CC4-5D6E-409C-BE32-E72D297353CC}">
                <c16:uniqueId val="{00000597-26BF-40B0-8A43-EC10D791E60B}"/>
              </c:ext>
            </c:extLst>
          </c:dPt>
          <c:dPt>
            <c:idx val="715"/>
            <c:invertIfNegative val="1"/>
            <c:bubble3D val="0"/>
            <c:spPr>
              <a:solidFill>
                <a:srgbClr val="AEABAB"/>
              </a:solidFill>
            </c:spPr>
            <c:extLst>
              <c:ext xmlns:c16="http://schemas.microsoft.com/office/drawing/2014/chart" uri="{C3380CC4-5D6E-409C-BE32-E72D297353CC}">
                <c16:uniqueId val="{00000599-26BF-40B0-8A43-EC10D791E60B}"/>
              </c:ext>
            </c:extLst>
          </c:dPt>
          <c:dPt>
            <c:idx val="716"/>
            <c:invertIfNegative val="1"/>
            <c:bubble3D val="0"/>
            <c:spPr>
              <a:solidFill>
                <a:srgbClr val="AEABAB"/>
              </a:solidFill>
            </c:spPr>
            <c:extLst>
              <c:ext xmlns:c16="http://schemas.microsoft.com/office/drawing/2014/chart" uri="{C3380CC4-5D6E-409C-BE32-E72D297353CC}">
                <c16:uniqueId val="{0000059B-26BF-40B0-8A43-EC10D791E60B}"/>
              </c:ext>
            </c:extLst>
          </c:dPt>
          <c:dPt>
            <c:idx val="717"/>
            <c:invertIfNegative val="1"/>
            <c:bubble3D val="0"/>
            <c:spPr>
              <a:solidFill>
                <a:srgbClr val="AEABAB"/>
              </a:solidFill>
            </c:spPr>
            <c:extLst>
              <c:ext xmlns:c16="http://schemas.microsoft.com/office/drawing/2014/chart" uri="{C3380CC4-5D6E-409C-BE32-E72D297353CC}">
                <c16:uniqueId val="{0000059D-26BF-40B0-8A43-EC10D791E60B}"/>
              </c:ext>
            </c:extLst>
          </c:dPt>
          <c:dPt>
            <c:idx val="718"/>
            <c:invertIfNegative val="1"/>
            <c:bubble3D val="0"/>
            <c:spPr>
              <a:solidFill>
                <a:srgbClr val="AEABAB"/>
              </a:solidFill>
            </c:spPr>
            <c:extLst>
              <c:ext xmlns:c16="http://schemas.microsoft.com/office/drawing/2014/chart" uri="{C3380CC4-5D6E-409C-BE32-E72D297353CC}">
                <c16:uniqueId val="{0000059F-26BF-40B0-8A43-EC10D791E60B}"/>
              </c:ext>
            </c:extLst>
          </c:dPt>
          <c:dPt>
            <c:idx val="719"/>
            <c:invertIfNegative val="1"/>
            <c:bubble3D val="0"/>
            <c:spPr>
              <a:solidFill>
                <a:srgbClr val="AEABAB"/>
              </a:solidFill>
            </c:spPr>
            <c:extLst>
              <c:ext xmlns:c16="http://schemas.microsoft.com/office/drawing/2014/chart" uri="{C3380CC4-5D6E-409C-BE32-E72D297353CC}">
                <c16:uniqueId val="{000005A1-26BF-40B0-8A43-EC10D791E60B}"/>
              </c:ext>
            </c:extLst>
          </c:dPt>
          <c:dPt>
            <c:idx val="720"/>
            <c:invertIfNegative val="1"/>
            <c:bubble3D val="0"/>
            <c:spPr>
              <a:solidFill>
                <a:srgbClr val="AEABAB"/>
              </a:solidFill>
            </c:spPr>
            <c:extLst>
              <c:ext xmlns:c16="http://schemas.microsoft.com/office/drawing/2014/chart" uri="{C3380CC4-5D6E-409C-BE32-E72D297353CC}">
                <c16:uniqueId val="{000005A3-26BF-40B0-8A43-EC10D791E60B}"/>
              </c:ext>
            </c:extLst>
          </c:dPt>
          <c:dPt>
            <c:idx val="721"/>
            <c:invertIfNegative val="1"/>
            <c:bubble3D val="0"/>
            <c:spPr>
              <a:solidFill>
                <a:srgbClr val="AEABAB"/>
              </a:solidFill>
            </c:spPr>
            <c:extLst>
              <c:ext xmlns:c16="http://schemas.microsoft.com/office/drawing/2014/chart" uri="{C3380CC4-5D6E-409C-BE32-E72D297353CC}">
                <c16:uniqueId val="{000005A5-26BF-40B0-8A43-EC10D791E60B}"/>
              </c:ext>
            </c:extLst>
          </c:dPt>
          <c:dPt>
            <c:idx val="722"/>
            <c:invertIfNegative val="1"/>
            <c:bubble3D val="0"/>
            <c:spPr>
              <a:solidFill>
                <a:srgbClr val="AEABAB"/>
              </a:solidFill>
            </c:spPr>
            <c:extLst>
              <c:ext xmlns:c16="http://schemas.microsoft.com/office/drawing/2014/chart" uri="{C3380CC4-5D6E-409C-BE32-E72D297353CC}">
                <c16:uniqueId val="{000005A7-26BF-40B0-8A43-EC10D791E60B}"/>
              </c:ext>
            </c:extLst>
          </c:dPt>
          <c:dPt>
            <c:idx val="723"/>
            <c:invertIfNegative val="1"/>
            <c:bubble3D val="0"/>
            <c:spPr>
              <a:solidFill>
                <a:srgbClr val="AEABAB"/>
              </a:solidFill>
            </c:spPr>
            <c:extLst>
              <c:ext xmlns:c16="http://schemas.microsoft.com/office/drawing/2014/chart" uri="{C3380CC4-5D6E-409C-BE32-E72D297353CC}">
                <c16:uniqueId val="{000005A9-26BF-40B0-8A43-EC10D791E60B}"/>
              </c:ext>
            </c:extLst>
          </c:dPt>
          <c:dPt>
            <c:idx val="724"/>
            <c:invertIfNegative val="1"/>
            <c:bubble3D val="0"/>
            <c:spPr>
              <a:solidFill>
                <a:srgbClr val="AEABAB"/>
              </a:solidFill>
            </c:spPr>
            <c:extLst>
              <c:ext xmlns:c16="http://schemas.microsoft.com/office/drawing/2014/chart" uri="{C3380CC4-5D6E-409C-BE32-E72D297353CC}">
                <c16:uniqueId val="{000005AB-26BF-40B0-8A43-EC10D791E60B}"/>
              </c:ext>
            </c:extLst>
          </c:dPt>
          <c:dPt>
            <c:idx val="725"/>
            <c:invertIfNegative val="1"/>
            <c:bubble3D val="0"/>
            <c:spPr>
              <a:solidFill>
                <a:srgbClr val="AEABAB"/>
              </a:solidFill>
            </c:spPr>
            <c:extLst>
              <c:ext xmlns:c16="http://schemas.microsoft.com/office/drawing/2014/chart" uri="{C3380CC4-5D6E-409C-BE32-E72D297353CC}">
                <c16:uniqueId val="{000005AD-26BF-40B0-8A43-EC10D791E60B}"/>
              </c:ext>
            </c:extLst>
          </c:dPt>
          <c:dPt>
            <c:idx val="726"/>
            <c:invertIfNegative val="1"/>
            <c:bubble3D val="0"/>
            <c:spPr>
              <a:solidFill>
                <a:srgbClr val="AEABAB"/>
              </a:solidFill>
            </c:spPr>
            <c:extLst>
              <c:ext xmlns:c16="http://schemas.microsoft.com/office/drawing/2014/chart" uri="{C3380CC4-5D6E-409C-BE32-E72D297353CC}">
                <c16:uniqueId val="{000005AF-26BF-40B0-8A43-EC10D791E60B}"/>
              </c:ext>
            </c:extLst>
          </c:dPt>
          <c:dPt>
            <c:idx val="727"/>
            <c:invertIfNegative val="1"/>
            <c:bubble3D val="0"/>
            <c:spPr>
              <a:solidFill>
                <a:srgbClr val="AEABAB"/>
              </a:solidFill>
            </c:spPr>
            <c:extLst>
              <c:ext xmlns:c16="http://schemas.microsoft.com/office/drawing/2014/chart" uri="{C3380CC4-5D6E-409C-BE32-E72D297353CC}">
                <c16:uniqueId val="{000005B1-26BF-40B0-8A43-EC10D791E60B}"/>
              </c:ext>
            </c:extLst>
          </c:dPt>
          <c:dPt>
            <c:idx val="728"/>
            <c:invertIfNegative val="1"/>
            <c:bubble3D val="0"/>
            <c:spPr>
              <a:solidFill>
                <a:srgbClr val="AEABAB"/>
              </a:solidFill>
            </c:spPr>
            <c:extLst>
              <c:ext xmlns:c16="http://schemas.microsoft.com/office/drawing/2014/chart" uri="{C3380CC4-5D6E-409C-BE32-E72D297353CC}">
                <c16:uniqueId val="{000005B3-26BF-40B0-8A43-EC10D791E60B}"/>
              </c:ext>
            </c:extLst>
          </c:dPt>
          <c:dPt>
            <c:idx val="729"/>
            <c:invertIfNegative val="1"/>
            <c:bubble3D val="0"/>
            <c:spPr>
              <a:solidFill>
                <a:srgbClr val="AEABAB"/>
              </a:solidFill>
            </c:spPr>
            <c:extLst>
              <c:ext xmlns:c16="http://schemas.microsoft.com/office/drawing/2014/chart" uri="{C3380CC4-5D6E-409C-BE32-E72D297353CC}">
                <c16:uniqueId val="{000005B5-26BF-40B0-8A43-EC10D791E60B}"/>
              </c:ext>
            </c:extLst>
          </c:dPt>
          <c:dPt>
            <c:idx val="730"/>
            <c:invertIfNegative val="1"/>
            <c:bubble3D val="0"/>
            <c:spPr>
              <a:solidFill>
                <a:srgbClr val="AEABAB"/>
              </a:solidFill>
            </c:spPr>
            <c:extLst>
              <c:ext xmlns:c16="http://schemas.microsoft.com/office/drawing/2014/chart" uri="{C3380CC4-5D6E-409C-BE32-E72D297353CC}">
                <c16:uniqueId val="{000005B7-26BF-40B0-8A43-EC10D791E60B}"/>
              </c:ext>
            </c:extLst>
          </c:dPt>
          <c:dPt>
            <c:idx val="731"/>
            <c:invertIfNegative val="1"/>
            <c:bubble3D val="0"/>
            <c:spPr>
              <a:solidFill>
                <a:srgbClr val="AEABAB"/>
              </a:solidFill>
            </c:spPr>
            <c:extLst>
              <c:ext xmlns:c16="http://schemas.microsoft.com/office/drawing/2014/chart" uri="{C3380CC4-5D6E-409C-BE32-E72D297353CC}">
                <c16:uniqueId val="{000005B9-26BF-40B0-8A43-EC10D791E60B}"/>
              </c:ext>
            </c:extLst>
          </c:dPt>
          <c:dPt>
            <c:idx val="732"/>
            <c:invertIfNegative val="1"/>
            <c:bubble3D val="0"/>
            <c:spPr>
              <a:solidFill>
                <a:srgbClr val="AEABAB"/>
              </a:solidFill>
            </c:spPr>
            <c:extLst>
              <c:ext xmlns:c16="http://schemas.microsoft.com/office/drawing/2014/chart" uri="{C3380CC4-5D6E-409C-BE32-E72D297353CC}">
                <c16:uniqueId val="{000005BB-26BF-40B0-8A43-EC10D791E60B}"/>
              </c:ext>
            </c:extLst>
          </c:dPt>
          <c:dPt>
            <c:idx val="733"/>
            <c:invertIfNegative val="1"/>
            <c:bubble3D val="0"/>
            <c:spPr>
              <a:solidFill>
                <a:srgbClr val="AEABAB"/>
              </a:solidFill>
            </c:spPr>
            <c:extLst>
              <c:ext xmlns:c16="http://schemas.microsoft.com/office/drawing/2014/chart" uri="{C3380CC4-5D6E-409C-BE32-E72D297353CC}">
                <c16:uniqueId val="{000005BD-26BF-40B0-8A43-EC10D791E60B}"/>
              </c:ext>
            </c:extLst>
          </c:dPt>
          <c:dPt>
            <c:idx val="734"/>
            <c:invertIfNegative val="1"/>
            <c:bubble3D val="0"/>
            <c:spPr>
              <a:solidFill>
                <a:srgbClr val="AEABAB"/>
              </a:solidFill>
            </c:spPr>
            <c:extLst>
              <c:ext xmlns:c16="http://schemas.microsoft.com/office/drawing/2014/chart" uri="{C3380CC4-5D6E-409C-BE32-E72D297353CC}">
                <c16:uniqueId val="{000005BF-26BF-40B0-8A43-EC10D791E60B}"/>
              </c:ext>
            </c:extLst>
          </c:dPt>
          <c:dPt>
            <c:idx val="735"/>
            <c:invertIfNegative val="1"/>
            <c:bubble3D val="0"/>
            <c:spPr>
              <a:solidFill>
                <a:srgbClr val="AEABAB"/>
              </a:solidFill>
            </c:spPr>
            <c:extLst>
              <c:ext xmlns:c16="http://schemas.microsoft.com/office/drawing/2014/chart" uri="{C3380CC4-5D6E-409C-BE32-E72D297353CC}">
                <c16:uniqueId val="{000005C1-26BF-40B0-8A43-EC10D791E60B}"/>
              </c:ext>
            </c:extLst>
          </c:dPt>
          <c:dPt>
            <c:idx val="736"/>
            <c:invertIfNegative val="1"/>
            <c:bubble3D val="0"/>
            <c:spPr>
              <a:solidFill>
                <a:srgbClr val="AEABAB"/>
              </a:solidFill>
            </c:spPr>
            <c:extLst>
              <c:ext xmlns:c16="http://schemas.microsoft.com/office/drawing/2014/chart" uri="{C3380CC4-5D6E-409C-BE32-E72D297353CC}">
                <c16:uniqueId val="{000005C3-26BF-40B0-8A43-EC10D791E60B}"/>
              </c:ext>
            </c:extLst>
          </c:dPt>
          <c:dPt>
            <c:idx val="737"/>
            <c:invertIfNegative val="1"/>
            <c:bubble3D val="0"/>
            <c:spPr>
              <a:solidFill>
                <a:srgbClr val="AEABAB"/>
              </a:solidFill>
            </c:spPr>
            <c:extLst>
              <c:ext xmlns:c16="http://schemas.microsoft.com/office/drawing/2014/chart" uri="{C3380CC4-5D6E-409C-BE32-E72D297353CC}">
                <c16:uniqueId val="{000005C5-26BF-40B0-8A43-EC10D791E60B}"/>
              </c:ext>
            </c:extLst>
          </c:dPt>
          <c:dPt>
            <c:idx val="738"/>
            <c:invertIfNegative val="1"/>
            <c:bubble3D val="0"/>
            <c:spPr>
              <a:solidFill>
                <a:srgbClr val="AEABAB"/>
              </a:solidFill>
            </c:spPr>
            <c:extLst>
              <c:ext xmlns:c16="http://schemas.microsoft.com/office/drawing/2014/chart" uri="{C3380CC4-5D6E-409C-BE32-E72D297353CC}">
                <c16:uniqueId val="{000005C7-26BF-40B0-8A43-EC10D791E60B}"/>
              </c:ext>
            </c:extLst>
          </c:dPt>
          <c:dPt>
            <c:idx val="739"/>
            <c:invertIfNegative val="1"/>
            <c:bubble3D val="0"/>
            <c:spPr>
              <a:solidFill>
                <a:srgbClr val="AEABAB"/>
              </a:solidFill>
            </c:spPr>
            <c:extLst>
              <c:ext xmlns:c16="http://schemas.microsoft.com/office/drawing/2014/chart" uri="{C3380CC4-5D6E-409C-BE32-E72D297353CC}">
                <c16:uniqueId val="{000005C9-26BF-40B0-8A43-EC10D791E60B}"/>
              </c:ext>
            </c:extLst>
          </c:dPt>
          <c:dPt>
            <c:idx val="740"/>
            <c:invertIfNegative val="1"/>
            <c:bubble3D val="0"/>
            <c:spPr>
              <a:solidFill>
                <a:srgbClr val="AEABAB"/>
              </a:solidFill>
            </c:spPr>
            <c:extLst>
              <c:ext xmlns:c16="http://schemas.microsoft.com/office/drawing/2014/chart" uri="{C3380CC4-5D6E-409C-BE32-E72D297353CC}">
                <c16:uniqueId val="{000005CB-26BF-40B0-8A43-EC10D791E60B}"/>
              </c:ext>
            </c:extLst>
          </c:dPt>
          <c:dPt>
            <c:idx val="741"/>
            <c:invertIfNegative val="1"/>
            <c:bubble3D val="0"/>
            <c:spPr>
              <a:solidFill>
                <a:srgbClr val="AEABAB"/>
              </a:solidFill>
            </c:spPr>
            <c:extLst>
              <c:ext xmlns:c16="http://schemas.microsoft.com/office/drawing/2014/chart" uri="{C3380CC4-5D6E-409C-BE32-E72D297353CC}">
                <c16:uniqueId val="{000005CD-26BF-40B0-8A43-EC10D791E60B}"/>
              </c:ext>
            </c:extLst>
          </c:dPt>
          <c:dPt>
            <c:idx val="742"/>
            <c:invertIfNegative val="1"/>
            <c:bubble3D val="0"/>
            <c:spPr>
              <a:solidFill>
                <a:srgbClr val="AEABAB"/>
              </a:solidFill>
            </c:spPr>
            <c:extLst>
              <c:ext xmlns:c16="http://schemas.microsoft.com/office/drawing/2014/chart" uri="{C3380CC4-5D6E-409C-BE32-E72D297353CC}">
                <c16:uniqueId val="{000005CF-26BF-40B0-8A43-EC10D791E60B}"/>
              </c:ext>
            </c:extLst>
          </c:dPt>
          <c:dPt>
            <c:idx val="743"/>
            <c:invertIfNegative val="1"/>
            <c:bubble3D val="0"/>
            <c:spPr>
              <a:solidFill>
                <a:srgbClr val="AEABAB"/>
              </a:solidFill>
            </c:spPr>
            <c:extLst>
              <c:ext xmlns:c16="http://schemas.microsoft.com/office/drawing/2014/chart" uri="{C3380CC4-5D6E-409C-BE32-E72D297353CC}">
                <c16:uniqueId val="{000005D1-26BF-40B0-8A43-EC10D791E60B}"/>
              </c:ext>
            </c:extLst>
          </c:dPt>
          <c:dPt>
            <c:idx val="744"/>
            <c:invertIfNegative val="1"/>
            <c:bubble3D val="0"/>
            <c:spPr>
              <a:solidFill>
                <a:srgbClr val="AEABAB"/>
              </a:solidFill>
            </c:spPr>
            <c:extLst>
              <c:ext xmlns:c16="http://schemas.microsoft.com/office/drawing/2014/chart" uri="{C3380CC4-5D6E-409C-BE32-E72D297353CC}">
                <c16:uniqueId val="{000005D3-26BF-40B0-8A43-EC10D791E60B}"/>
              </c:ext>
            </c:extLst>
          </c:dPt>
          <c:dPt>
            <c:idx val="745"/>
            <c:invertIfNegative val="1"/>
            <c:bubble3D val="0"/>
            <c:spPr>
              <a:solidFill>
                <a:srgbClr val="AEABAB"/>
              </a:solidFill>
            </c:spPr>
            <c:extLst>
              <c:ext xmlns:c16="http://schemas.microsoft.com/office/drawing/2014/chart" uri="{C3380CC4-5D6E-409C-BE32-E72D297353CC}">
                <c16:uniqueId val="{000005D5-26BF-40B0-8A43-EC10D791E60B}"/>
              </c:ext>
            </c:extLst>
          </c:dPt>
          <c:dPt>
            <c:idx val="746"/>
            <c:invertIfNegative val="1"/>
            <c:bubble3D val="0"/>
            <c:spPr>
              <a:solidFill>
                <a:srgbClr val="AEABAB"/>
              </a:solidFill>
            </c:spPr>
            <c:extLst>
              <c:ext xmlns:c16="http://schemas.microsoft.com/office/drawing/2014/chart" uri="{C3380CC4-5D6E-409C-BE32-E72D297353CC}">
                <c16:uniqueId val="{000005D7-26BF-40B0-8A43-EC10D791E60B}"/>
              </c:ext>
            </c:extLst>
          </c:dPt>
          <c:dPt>
            <c:idx val="747"/>
            <c:invertIfNegative val="1"/>
            <c:bubble3D val="0"/>
            <c:spPr>
              <a:solidFill>
                <a:srgbClr val="AEABAB"/>
              </a:solidFill>
            </c:spPr>
            <c:extLst>
              <c:ext xmlns:c16="http://schemas.microsoft.com/office/drawing/2014/chart" uri="{C3380CC4-5D6E-409C-BE32-E72D297353CC}">
                <c16:uniqueId val="{000005D9-26BF-40B0-8A43-EC10D791E60B}"/>
              </c:ext>
            </c:extLst>
          </c:dPt>
          <c:dPt>
            <c:idx val="748"/>
            <c:invertIfNegative val="1"/>
            <c:bubble3D val="0"/>
            <c:spPr>
              <a:solidFill>
                <a:srgbClr val="AEABAB"/>
              </a:solidFill>
            </c:spPr>
            <c:extLst>
              <c:ext xmlns:c16="http://schemas.microsoft.com/office/drawing/2014/chart" uri="{C3380CC4-5D6E-409C-BE32-E72D297353CC}">
                <c16:uniqueId val="{000005DB-26BF-40B0-8A43-EC10D791E60B}"/>
              </c:ext>
            </c:extLst>
          </c:dPt>
          <c:dPt>
            <c:idx val="749"/>
            <c:invertIfNegative val="1"/>
            <c:bubble3D val="0"/>
            <c:spPr>
              <a:solidFill>
                <a:srgbClr val="AEABAB"/>
              </a:solidFill>
            </c:spPr>
            <c:extLst>
              <c:ext xmlns:c16="http://schemas.microsoft.com/office/drawing/2014/chart" uri="{C3380CC4-5D6E-409C-BE32-E72D297353CC}">
                <c16:uniqueId val="{000005DD-26BF-40B0-8A43-EC10D791E60B}"/>
              </c:ext>
            </c:extLst>
          </c:dPt>
          <c:dPt>
            <c:idx val="750"/>
            <c:invertIfNegative val="1"/>
            <c:bubble3D val="0"/>
            <c:spPr>
              <a:solidFill>
                <a:srgbClr val="AEABAB"/>
              </a:solidFill>
            </c:spPr>
            <c:extLst>
              <c:ext xmlns:c16="http://schemas.microsoft.com/office/drawing/2014/chart" uri="{C3380CC4-5D6E-409C-BE32-E72D297353CC}">
                <c16:uniqueId val="{000005DF-26BF-40B0-8A43-EC10D791E60B}"/>
              </c:ext>
            </c:extLst>
          </c:dPt>
          <c:dPt>
            <c:idx val="751"/>
            <c:invertIfNegative val="1"/>
            <c:bubble3D val="0"/>
            <c:spPr>
              <a:solidFill>
                <a:srgbClr val="AEABAB"/>
              </a:solidFill>
            </c:spPr>
            <c:extLst>
              <c:ext xmlns:c16="http://schemas.microsoft.com/office/drawing/2014/chart" uri="{C3380CC4-5D6E-409C-BE32-E72D297353CC}">
                <c16:uniqueId val="{000005E1-26BF-40B0-8A43-EC10D791E60B}"/>
              </c:ext>
            </c:extLst>
          </c:dPt>
          <c:dPt>
            <c:idx val="752"/>
            <c:invertIfNegative val="1"/>
            <c:bubble3D val="0"/>
            <c:spPr>
              <a:solidFill>
                <a:srgbClr val="AEABAB"/>
              </a:solidFill>
            </c:spPr>
            <c:extLst>
              <c:ext xmlns:c16="http://schemas.microsoft.com/office/drawing/2014/chart" uri="{C3380CC4-5D6E-409C-BE32-E72D297353CC}">
                <c16:uniqueId val="{000005E3-26BF-40B0-8A43-EC10D791E60B}"/>
              </c:ext>
            </c:extLst>
          </c:dPt>
          <c:dPt>
            <c:idx val="753"/>
            <c:invertIfNegative val="1"/>
            <c:bubble3D val="0"/>
            <c:spPr>
              <a:solidFill>
                <a:srgbClr val="AEABAB"/>
              </a:solidFill>
            </c:spPr>
            <c:extLst>
              <c:ext xmlns:c16="http://schemas.microsoft.com/office/drawing/2014/chart" uri="{C3380CC4-5D6E-409C-BE32-E72D297353CC}">
                <c16:uniqueId val="{000005E5-26BF-40B0-8A43-EC10D791E60B}"/>
              </c:ext>
            </c:extLst>
          </c:dPt>
          <c:dPt>
            <c:idx val="754"/>
            <c:invertIfNegative val="1"/>
            <c:bubble3D val="0"/>
            <c:spPr>
              <a:solidFill>
                <a:srgbClr val="AEABAB"/>
              </a:solidFill>
            </c:spPr>
            <c:extLst>
              <c:ext xmlns:c16="http://schemas.microsoft.com/office/drawing/2014/chart" uri="{C3380CC4-5D6E-409C-BE32-E72D297353CC}">
                <c16:uniqueId val="{000005E7-26BF-40B0-8A43-EC10D791E60B}"/>
              </c:ext>
            </c:extLst>
          </c:dPt>
          <c:dPt>
            <c:idx val="755"/>
            <c:invertIfNegative val="1"/>
            <c:bubble3D val="0"/>
            <c:spPr>
              <a:solidFill>
                <a:srgbClr val="AEABAB"/>
              </a:solidFill>
            </c:spPr>
            <c:extLst>
              <c:ext xmlns:c16="http://schemas.microsoft.com/office/drawing/2014/chart" uri="{C3380CC4-5D6E-409C-BE32-E72D297353CC}">
                <c16:uniqueId val="{000005E9-26BF-40B0-8A43-EC10D791E60B}"/>
              </c:ext>
            </c:extLst>
          </c:dPt>
          <c:dPt>
            <c:idx val="756"/>
            <c:invertIfNegative val="1"/>
            <c:bubble3D val="0"/>
            <c:spPr>
              <a:solidFill>
                <a:srgbClr val="AEABAB"/>
              </a:solidFill>
            </c:spPr>
            <c:extLst>
              <c:ext xmlns:c16="http://schemas.microsoft.com/office/drawing/2014/chart" uri="{C3380CC4-5D6E-409C-BE32-E72D297353CC}">
                <c16:uniqueId val="{000005EB-26BF-40B0-8A43-EC10D791E60B}"/>
              </c:ext>
            </c:extLst>
          </c:dPt>
          <c:dPt>
            <c:idx val="757"/>
            <c:invertIfNegative val="1"/>
            <c:bubble3D val="0"/>
            <c:spPr>
              <a:solidFill>
                <a:srgbClr val="AEABAB"/>
              </a:solidFill>
            </c:spPr>
            <c:extLst>
              <c:ext xmlns:c16="http://schemas.microsoft.com/office/drawing/2014/chart" uri="{C3380CC4-5D6E-409C-BE32-E72D297353CC}">
                <c16:uniqueId val="{000005ED-26BF-40B0-8A43-EC10D791E60B}"/>
              </c:ext>
            </c:extLst>
          </c:dPt>
          <c:dPt>
            <c:idx val="758"/>
            <c:invertIfNegative val="1"/>
            <c:bubble3D val="0"/>
            <c:spPr>
              <a:solidFill>
                <a:srgbClr val="AEABAB"/>
              </a:solidFill>
            </c:spPr>
            <c:extLst>
              <c:ext xmlns:c16="http://schemas.microsoft.com/office/drawing/2014/chart" uri="{C3380CC4-5D6E-409C-BE32-E72D297353CC}">
                <c16:uniqueId val="{000005EF-26BF-40B0-8A43-EC10D791E60B}"/>
              </c:ext>
            </c:extLst>
          </c:dPt>
          <c:dPt>
            <c:idx val="759"/>
            <c:invertIfNegative val="1"/>
            <c:bubble3D val="0"/>
            <c:spPr>
              <a:solidFill>
                <a:srgbClr val="AEABAB"/>
              </a:solidFill>
            </c:spPr>
            <c:extLst>
              <c:ext xmlns:c16="http://schemas.microsoft.com/office/drawing/2014/chart" uri="{C3380CC4-5D6E-409C-BE32-E72D297353CC}">
                <c16:uniqueId val="{000005F1-26BF-40B0-8A43-EC10D791E60B}"/>
              </c:ext>
            </c:extLst>
          </c:dPt>
          <c:dPt>
            <c:idx val="760"/>
            <c:invertIfNegative val="1"/>
            <c:bubble3D val="0"/>
            <c:spPr>
              <a:solidFill>
                <a:srgbClr val="AEABAB"/>
              </a:solidFill>
            </c:spPr>
            <c:extLst>
              <c:ext xmlns:c16="http://schemas.microsoft.com/office/drawing/2014/chart" uri="{C3380CC4-5D6E-409C-BE32-E72D297353CC}">
                <c16:uniqueId val="{000005F3-26BF-40B0-8A43-EC10D791E60B}"/>
              </c:ext>
            </c:extLst>
          </c:dPt>
          <c:dPt>
            <c:idx val="761"/>
            <c:invertIfNegative val="1"/>
            <c:bubble3D val="0"/>
            <c:spPr>
              <a:solidFill>
                <a:srgbClr val="AEABAB"/>
              </a:solidFill>
            </c:spPr>
            <c:extLst>
              <c:ext xmlns:c16="http://schemas.microsoft.com/office/drawing/2014/chart" uri="{C3380CC4-5D6E-409C-BE32-E72D297353CC}">
                <c16:uniqueId val="{000005F5-26BF-40B0-8A43-EC10D791E60B}"/>
              </c:ext>
            </c:extLst>
          </c:dPt>
          <c:dPt>
            <c:idx val="762"/>
            <c:invertIfNegative val="1"/>
            <c:bubble3D val="0"/>
            <c:spPr>
              <a:solidFill>
                <a:srgbClr val="AEABAB"/>
              </a:solidFill>
            </c:spPr>
            <c:extLst>
              <c:ext xmlns:c16="http://schemas.microsoft.com/office/drawing/2014/chart" uri="{C3380CC4-5D6E-409C-BE32-E72D297353CC}">
                <c16:uniqueId val="{000005F7-26BF-40B0-8A43-EC10D791E60B}"/>
              </c:ext>
            </c:extLst>
          </c:dPt>
          <c:dPt>
            <c:idx val="763"/>
            <c:invertIfNegative val="1"/>
            <c:bubble3D val="0"/>
            <c:spPr>
              <a:solidFill>
                <a:srgbClr val="AEABAB"/>
              </a:solidFill>
            </c:spPr>
            <c:extLst>
              <c:ext xmlns:c16="http://schemas.microsoft.com/office/drawing/2014/chart" uri="{C3380CC4-5D6E-409C-BE32-E72D297353CC}">
                <c16:uniqueId val="{000005F9-26BF-40B0-8A43-EC10D791E60B}"/>
              </c:ext>
            </c:extLst>
          </c:dPt>
          <c:dPt>
            <c:idx val="764"/>
            <c:invertIfNegative val="1"/>
            <c:bubble3D val="0"/>
            <c:spPr>
              <a:solidFill>
                <a:srgbClr val="AEABAB"/>
              </a:solidFill>
            </c:spPr>
            <c:extLst>
              <c:ext xmlns:c16="http://schemas.microsoft.com/office/drawing/2014/chart" uri="{C3380CC4-5D6E-409C-BE32-E72D297353CC}">
                <c16:uniqueId val="{000005FB-26BF-40B0-8A43-EC10D791E60B}"/>
              </c:ext>
            </c:extLst>
          </c:dPt>
          <c:dPt>
            <c:idx val="765"/>
            <c:invertIfNegative val="1"/>
            <c:bubble3D val="0"/>
            <c:spPr>
              <a:solidFill>
                <a:srgbClr val="AEABAB"/>
              </a:solidFill>
            </c:spPr>
            <c:extLst>
              <c:ext xmlns:c16="http://schemas.microsoft.com/office/drawing/2014/chart" uri="{C3380CC4-5D6E-409C-BE32-E72D297353CC}">
                <c16:uniqueId val="{000005FD-26BF-40B0-8A43-EC10D791E60B}"/>
              </c:ext>
            </c:extLst>
          </c:dPt>
          <c:dPt>
            <c:idx val="766"/>
            <c:invertIfNegative val="1"/>
            <c:bubble3D val="0"/>
            <c:spPr>
              <a:solidFill>
                <a:srgbClr val="AEABAB"/>
              </a:solidFill>
            </c:spPr>
            <c:extLst>
              <c:ext xmlns:c16="http://schemas.microsoft.com/office/drawing/2014/chart" uri="{C3380CC4-5D6E-409C-BE32-E72D297353CC}">
                <c16:uniqueId val="{000005FF-26BF-40B0-8A43-EC10D791E60B}"/>
              </c:ext>
            </c:extLst>
          </c:dPt>
          <c:dPt>
            <c:idx val="767"/>
            <c:invertIfNegative val="1"/>
            <c:bubble3D val="0"/>
            <c:spPr>
              <a:solidFill>
                <a:srgbClr val="AEABAB"/>
              </a:solidFill>
            </c:spPr>
            <c:extLst>
              <c:ext xmlns:c16="http://schemas.microsoft.com/office/drawing/2014/chart" uri="{C3380CC4-5D6E-409C-BE32-E72D297353CC}">
                <c16:uniqueId val="{00000601-26BF-40B0-8A43-EC10D791E60B}"/>
              </c:ext>
            </c:extLst>
          </c:dPt>
          <c:dPt>
            <c:idx val="768"/>
            <c:invertIfNegative val="1"/>
            <c:bubble3D val="0"/>
            <c:spPr>
              <a:solidFill>
                <a:srgbClr val="AEABAB"/>
              </a:solidFill>
            </c:spPr>
            <c:extLst>
              <c:ext xmlns:c16="http://schemas.microsoft.com/office/drawing/2014/chart" uri="{C3380CC4-5D6E-409C-BE32-E72D297353CC}">
                <c16:uniqueId val="{00000603-26BF-40B0-8A43-EC10D791E60B}"/>
              </c:ext>
            </c:extLst>
          </c:dPt>
          <c:dPt>
            <c:idx val="769"/>
            <c:invertIfNegative val="1"/>
            <c:bubble3D val="0"/>
            <c:spPr>
              <a:solidFill>
                <a:srgbClr val="AEABAB"/>
              </a:solidFill>
            </c:spPr>
            <c:extLst>
              <c:ext xmlns:c16="http://schemas.microsoft.com/office/drawing/2014/chart" uri="{C3380CC4-5D6E-409C-BE32-E72D297353CC}">
                <c16:uniqueId val="{00000605-26BF-40B0-8A43-EC10D791E60B}"/>
              </c:ext>
            </c:extLst>
          </c:dPt>
          <c:dPt>
            <c:idx val="770"/>
            <c:invertIfNegative val="1"/>
            <c:bubble3D val="0"/>
            <c:spPr>
              <a:solidFill>
                <a:srgbClr val="AEABAB"/>
              </a:solidFill>
            </c:spPr>
            <c:extLst>
              <c:ext xmlns:c16="http://schemas.microsoft.com/office/drawing/2014/chart" uri="{C3380CC4-5D6E-409C-BE32-E72D297353CC}">
                <c16:uniqueId val="{00000607-26BF-40B0-8A43-EC10D791E60B}"/>
              </c:ext>
            </c:extLst>
          </c:dPt>
          <c:dPt>
            <c:idx val="771"/>
            <c:invertIfNegative val="1"/>
            <c:bubble3D val="0"/>
            <c:spPr>
              <a:solidFill>
                <a:srgbClr val="AEABAB"/>
              </a:solidFill>
            </c:spPr>
            <c:extLst>
              <c:ext xmlns:c16="http://schemas.microsoft.com/office/drawing/2014/chart" uri="{C3380CC4-5D6E-409C-BE32-E72D297353CC}">
                <c16:uniqueId val="{00000609-26BF-40B0-8A43-EC10D791E60B}"/>
              </c:ext>
            </c:extLst>
          </c:dPt>
          <c:dPt>
            <c:idx val="772"/>
            <c:invertIfNegative val="1"/>
            <c:bubble3D val="0"/>
            <c:spPr>
              <a:solidFill>
                <a:srgbClr val="AEABAB"/>
              </a:solidFill>
            </c:spPr>
            <c:extLst>
              <c:ext xmlns:c16="http://schemas.microsoft.com/office/drawing/2014/chart" uri="{C3380CC4-5D6E-409C-BE32-E72D297353CC}">
                <c16:uniqueId val="{0000060B-26BF-40B0-8A43-EC10D791E60B}"/>
              </c:ext>
            </c:extLst>
          </c:dPt>
          <c:dPt>
            <c:idx val="773"/>
            <c:invertIfNegative val="1"/>
            <c:bubble3D val="0"/>
            <c:spPr>
              <a:solidFill>
                <a:srgbClr val="AEABAB"/>
              </a:solidFill>
            </c:spPr>
            <c:extLst>
              <c:ext xmlns:c16="http://schemas.microsoft.com/office/drawing/2014/chart" uri="{C3380CC4-5D6E-409C-BE32-E72D297353CC}">
                <c16:uniqueId val="{0000060D-26BF-40B0-8A43-EC10D791E60B}"/>
              </c:ext>
            </c:extLst>
          </c:dPt>
          <c:dPt>
            <c:idx val="774"/>
            <c:invertIfNegative val="1"/>
            <c:bubble3D val="0"/>
            <c:spPr>
              <a:solidFill>
                <a:srgbClr val="AEABAB"/>
              </a:solidFill>
            </c:spPr>
            <c:extLst>
              <c:ext xmlns:c16="http://schemas.microsoft.com/office/drawing/2014/chart" uri="{C3380CC4-5D6E-409C-BE32-E72D297353CC}">
                <c16:uniqueId val="{0000060F-26BF-40B0-8A43-EC10D791E60B}"/>
              </c:ext>
            </c:extLst>
          </c:dPt>
          <c:dPt>
            <c:idx val="775"/>
            <c:invertIfNegative val="1"/>
            <c:bubble3D val="0"/>
            <c:spPr>
              <a:solidFill>
                <a:srgbClr val="AEABAB"/>
              </a:solidFill>
            </c:spPr>
            <c:extLst>
              <c:ext xmlns:c16="http://schemas.microsoft.com/office/drawing/2014/chart" uri="{C3380CC4-5D6E-409C-BE32-E72D297353CC}">
                <c16:uniqueId val="{00000611-26BF-40B0-8A43-EC10D791E60B}"/>
              </c:ext>
            </c:extLst>
          </c:dPt>
          <c:dPt>
            <c:idx val="776"/>
            <c:invertIfNegative val="1"/>
            <c:bubble3D val="0"/>
            <c:spPr>
              <a:solidFill>
                <a:srgbClr val="AEABAB"/>
              </a:solidFill>
            </c:spPr>
            <c:extLst>
              <c:ext xmlns:c16="http://schemas.microsoft.com/office/drawing/2014/chart" uri="{C3380CC4-5D6E-409C-BE32-E72D297353CC}">
                <c16:uniqueId val="{00000613-26BF-40B0-8A43-EC10D791E60B}"/>
              </c:ext>
            </c:extLst>
          </c:dPt>
          <c:dPt>
            <c:idx val="777"/>
            <c:invertIfNegative val="1"/>
            <c:bubble3D val="0"/>
            <c:spPr>
              <a:solidFill>
                <a:srgbClr val="AEABAB"/>
              </a:solidFill>
            </c:spPr>
            <c:extLst>
              <c:ext xmlns:c16="http://schemas.microsoft.com/office/drawing/2014/chart" uri="{C3380CC4-5D6E-409C-BE32-E72D297353CC}">
                <c16:uniqueId val="{00000615-26BF-40B0-8A43-EC10D791E60B}"/>
              </c:ext>
            </c:extLst>
          </c:dPt>
          <c:dPt>
            <c:idx val="778"/>
            <c:invertIfNegative val="1"/>
            <c:bubble3D val="0"/>
            <c:spPr>
              <a:solidFill>
                <a:srgbClr val="AEABAB"/>
              </a:solidFill>
            </c:spPr>
            <c:extLst>
              <c:ext xmlns:c16="http://schemas.microsoft.com/office/drawing/2014/chart" uri="{C3380CC4-5D6E-409C-BE32-E72D297353CC}">
                <c16:uniqueId val="{00000617-26BF-40B0-8A43-EC10D791E60B}"/>
              </c:ext>
            </c:extLst>
          </c:dPt>
          <c:dPt>
            <c:idx val="779"/>
            <c:invertIfNegative val="1"/>
            <c:bubble3D val="0"/>
            <c:spPr>
              <a:solidFill>
                <a:srgbClr val="AEABAB"/>
              </a:solidFill>
            </c:spPr>
            <c:extLst>
              <c:ext xmlns:c16="http://schemas.microsoft.com/office/drawing/2014/chart" uri="{C3380CC4-5D6E-409C-BE32-E72D297353CC}">
                <c16:uniqueId val="{00000619-26BF-40B0-8A43-EC10D791E60B}"/>
              </c:ext>
            </c:extLst>
          </c:dPt>
          <c:dPt>
            <c:idx val="780"/>
            <c:invertIfNegative val="1"/>
            <c:bubble3D val="0"/>
            <c:spPr>
              <a:solidFill>
                <a:srgbClr val="AEABAB"/>
              </a:solidFill>
            </c:spPr>
            <c:extLst>
              <c:ext xmlns:c16="http://schemas.microsoft.com/office/drawing/2014/chart" uri="{C3380CC4-5D6E-409C-BE32-E72D297353CC}">
                <c16:uniqueId val="{0000061B-26BF-40B0-8A43-EC10D791E60B}"/>
              </c:ext>
            </c:extLst>
          </c:dPt>
          <c:dPt>
            <c:idx val="781"/>
            <c:invertIfNegative val="1"/>
            <c:bubble3D val="0"/>
            <c:spPr>
              <a:solidFill>
                <a:srgbClr val="AEABAB"/>
              </a:solidFill>
            </c:spPr>
            <c:extLst>
              <c:ext xmlns:c16="http://schemas.microsoft.com/office/drawing/2014/chart" uri="{C3380CC4-5D6E-409C-BE32-E72D297353CC}">
                <c16:uniqueId val="{0000061D-26BF-40B0-8A43-EC10D791E60B}"/>
              </c:ext>
            </c:extLst>
          </c:dPt>
          <c:dPt>
            <c:idx val="782"/>
            <c:invertIfNegative val="1"/>
            <c:bubble3D val="0"/>
            <c:spPr>
              <a:solidFill>
                <a:srgbClr val="AEABAB"/>
              </a:solidFill>
            </c:spPr>
            <c:extLst>
              <c:ext xmlns:c16="http://schemas.microsoft.com/office/drawing/2014/chart" uri="{C3380CC4-5D6E-409C-BE32-E72D297353CC}">
                <c16:uniqueId val="{0000061F-26BF-40B0-8A43-EC10D791E60B}"/>
              </c:ext>
            </c:extLst>
          </c:dPt>
          <c:dPt>
            <c:idx val="783"/>
            <c:invertIfNegative val="1"/>
            <c:bubble3D val="0"/>
            <c:spPr>
              <a:solidFill>
                <a:srgbClr val="AEABAB"/>
              </a:solidFill>
            </c:spPr>
            <c:extLst>
              <c:ext xmlns:c16="http://schemas.microsoft.com/office/drawing/2014/chart" uri="{C3380CC4-5D6E-409C-BE32-E72D297353CC}">
                <c16:uniqueId val="{00000621-26BF-40B0-8A43-EC10D791E60B}"/>
              </c:ext>
            </c:extLst>
          </c:dPt>
          <c:dPt>
            <c:idx val="784"/>
            <c:invertIfNegative val="1"/>
            <c:bubble3D val="0"/>
            <c:spPr>
              <a:solidFill>
                <a:srgbClr val="AEABAB"/>
              </a:solidFill>
            </c:spPr>
            <c:extLst>
              <c:ext xmlns:c16="http://schemas.microsoft.com/office/drawing/2014/chart" uri="{C3380CC4-5D6E-409C-BE32-E72D297353CC}">
                <c16:uniqueId val="{00000623-26BF-40B0-8A43-EC10D791E60B}"/>
              </c:ext>
            </c:extLst>
          </c:dPt>
          <c:dPt>
            <c:idx val="785"/>
            <c:invertIfNegative val="1"/>
            <c:bubble3D val="0"/>
            <c:spPr>
              <a:solidFill>
                <a:srgbClr val="AEABAB"/>
              </a:solidFill>
            </c:spPr>
            <c:extLst>
              <c:ext xmlns:c16="http://schemas.microsoft.com/office/drawing/2014/chart" uri="{C3380CC4-5D6E-409C-BE32-E72D297353CC}">
                <c16:uniqueId val="{00000625-26BF-40B0-8A43-EC10D791E60B}"/>
              </c:ext>
            </c:extLst>
          </c:dPt>
          <c:dPt>
            <c:idx val="786"/>
            <c:invertIfNegative val="1"/>
            <c:bubble3D val="0"/>
            <c:spPr>
              <a:solidFill>
                <a:srgbClr val="AEABAB"/>
              </a:solidFill>
            </c:spPr>
            <c:extLst>
              <c:ext xmlns:c16="http://schemas.microsoft.com/office/drawing/2014/chart" uri="{C3380CC4-5D6E-409C-BE32-E72D297353CC}">
                <c16:uniqueId val="{00000627-26BF-40B0-8A43-EC10D791E60B}"/>
              </c:ext>
            </c:extLst>
          </c:dPt>
          <c:dPt>
            <c:idx val="787"/>
            <c:invertIfNegative val="1"/>
            <c:bubble3D val="0"/>
            <c:spPr>
              <a:solidFill>
                <a:srgbClr val="AEABAB"/>
              </a:solidFill>
            </c:spPr>
            <c:extLst>
              <c:ext xmlns:c16="http://schemas.microsoft.com/office/drawing/2014/chart" uri="{C3380CC4-5D6E-409C-BE32-E72D297353CC}">
                <c16:uniqueId val="{00000629-26BF-40B0-8A43-EC10D791E60B}"/>
              </c:ext>
            </c:extLst>
          </c:dPt>
          <c:dPt>
            <c:idx val="788"/>
            <c:invertIfNegative val="1"/>
            <c:bubble3D val="0"/>
            <c:spPr>
              <a:solidFill>
                <a:srgbClr val="AEABAB"/>
              </a:solidFill>
            </c:spPr>
            <c:extLst>
              <c:ext xmlns:c16="http://schemas.microsoft.com/office/drawing/2014/chart" uri="{C3380CC4-5D6E-409C-BE32-E72D297353CC}">
                <c16:uniqueId val="{0000062B-26BF-40B0-8A43-EC10D791E60B}"/>
              </c:ext>
            </c:extLst>
          </c:dPt>
          <c:dPt>
            <c:idx val="789"/>
            <c:invertIfNegative val="1"/>
            <c:bubble3D val="0"/>
            <c:spPr>
              <a:solidFill>
                <a:srgbClr val="AEABAB"/>
              </a:solidFill>
            </c:spPr>
            <c:extLst>
              <c:ext xmlns:c16="http://schemas.microsoft.com/office/drawing/2014/chart" uri="{C3380CC4-5D6E-409C-BE32-E72D297353CC}">
                <c16:uniqueId val="{0000062D-26BF-40B0-8A43-EC10D791E60B}"/>
              </c:ext>
            </c:extLst>
          </c:dPt>
          <c:dPt>
            <c:idx val="790"/>
            <c:invertIfNegative val="1"/>
            <c:bubble3D val="0"/>
            <c:spPr>
              <a:solidFill>
                <a:srgbClr val="AEABAB"/>
              </a:solidFill>
            </c:spPr>
            <c:extLst>
              <c:ext xmlns:c16="http://schemas.microsoft.com/office/drawing/2014/chart" uri="{C3380CC4-5D6E-409C-BE32-E72D297353CC}">
                <c16:uniqueId val="{0000062F-26BF-40B0-8A43-EC10D791E60B}"/>
              </c:ext>
            </c:extLst>
          </c:dPt>
          <c:dPt>
            <c:idx val="791"/>
            <c:invertIfNegative val="1"/>
            <c:bubble3D val="0"/>
            <c:spPr>
              <a:solidFill>
                <a:srgbClr val="AEABAB"/>
              </a:solidFill>
            </c:spPr>
            <c:extLst>
              <c:ext xmlns:c16="http://schemas.microsoft.com/office/drawing/2014/chart" uri="{C3380CC4-5D6E-409C-BE32-E72D297353CC}">
                <c16:uniqueId val="{00000631-26BF-40B0-8A43-EC10D791E60B}"/>
              </c:ext>
            </c:extLst>
          </c:dPt>
          <c:dPt>
            <c:idx val="792"/>
            <c:invertIfNegative val="1"/>
            <c:bubble3D val="0"/>
            <c:spPr>
              <a:solidFill>
                <a:srgbClr val="AEABAB"/>
              </a:solidFill>
            </c:spPr>
            <c:extLst>
              <c:ext xmlns:c16="http://schemas.microsoft.com/office/drawing/2014/chart" uri="{C3380CC4-5D6E-409C-BE32-E72D297353CC}">
                <c16:uniqueId val="{00000633-26BF-40B0-8A43-EC10D791E60B}"/>
              </c:ext>
            </c:extLst>
          </c:dPt>
          <c:dPt>
            <c:idx val="793"/>
            <c:invertIfNegative val="1"/>
            <c:bubble3D val="0"/>
            <c:spPr>
              <a:solidFill>
                <a:srgbClr val="AEABAB"/>
              </a:solidFill>
            </c:spPr>
            <c:extLst>
              <c:ext xmlns:c16="http://schemas.microsoft.com/office/drawing/2014/chart" uri="{C3380CC4-5D6E-409C-BE32-E72D297353CC}">
                <c16:uniqueId val="{00000635-26BF-40B0-8A43-EC10D791E60B}"/>
              </c:ext>
            </c:extLst>
          </c:dPt>
          <c:dPt>
            <c:idx val="794"/>
            <c:invertIfNegative val="1"/>
            <c:bubble3D val="0"/>
            <c:spPr>
              <a:solidFill>
                <a:srgbClr val="AEABAB"/>
              </a:solidFill>
            </c:spPr>
            <c:extLst>
              <c:ext xmlns:c16="http://schemas.microsoft.com/office/drawing/2014/chart" uri="{C3380CC4-5D6E-409C-BE32-E72D297353CC}">
                <c16:uniqueId val="{00000637-26BF-40B0-8A43-EC10D791E60B}"/>
              </c:ext>
            </c:extLst>
          </c:dPt>
          <c:dPt>
            <c:idx val="795"/>
            <c:invertIfNegative val="1"/>
            <c:bubble3D val="0"/>
            <c:spPr>
              <a:solidFill>
                <a:srgbClr val="AEABAB"/>
              </a:solidFill>
            </c:spPr>
            <c:extLst>
              <c:ext xmlns:c16="http://schemas.microsoft.com/office/drawing/2014/chart" uri="{C3380CC4-5D6E-409C-BE32-E72D297353CC}">
                <c16:uniqueId val="{00000639-26BF-40B0-8A43-EC10D791E60B}"/>
              </c:ext>
            </c:extLst>
          </c:dPt>
          <c:dPt>
            <c:idx val="796"/>
            <c:invertIfNegative val="1"/>
            <c:bubble3D val="0"/>
            <c:spPr>
              <a:solidFill>
                <a:srgbClr val="AEABAB"/>
              </a:solidFill>
            </c:spPr>
            <c:extLst>
              <c:ext xmlns:c16="http://schemas.microsoft.com/office/drawing/2014/chart" uri="{C3380CC4-5D6E-409C-BE32-E72D297353CC}">
                <c16:uniqueId val="{0000063B-26BF-40B0-8A43-EC10D791E60B}"/>
              </c:ext>
            </c:extLst>
          </c:dPt>
          <c:dPt>
            <c:idx val="797"/>
            <c:invertIfNegative val="1"/>
            <c:bubble3D val="0"/>
            <c:spPr>
              <a:solidFill>
                <a:srgbClr val="AEABAB"/>
              </a:solidFill>
            </c:spPr>
            <c:extLst>
              <c:ext xmlns:c16="http://schemas.microsoft.com/office/drawing/2014/chart" uri="{C3380CC4-5D6E-409C-BE32-E72D297353CC}">
                <c16:uniqueId val="{0000063D-26BF-40B0-8A43-EC10D791E60B}"/>
              </c:ext>
            </c:extLst>
          </c:dPt>
          <c:dPt>
            <c:idx val="798"/>
            <c:invertIfNegative val="1"/>
            <c:bubble3D val="0"/>
            <c:spPr>
              <a:solidFill>
                <a:srgbClr val="AEABAB"/>
              </a:solidFill>
            </c:spPr>
            <c:extLst>
              <c:ext xmlns:c16="http://schemas.microsoft.com/office/drawing/2014/chart" uri="{C3380CC4-5D6E-409C-BE32-E72D297353CC}">
                <c16:uniqueId val="{0000063F-26BF-40B0-8A43-EC10D791E60B}"/>
              </c:ext>
            </c:extLst>
          </c:dPt>
          <c:dPt>
            <c:idx val="799"/>
            <c:invertIfNegative val="1"/>
            <c:bubble3D val="0"/>
            <c:spPr>
              <a:solidFill>
                <a:srgbClr val="AEABAB"/>
              </a:solidFill>
            </c:spPr>
            <c:extLst>
              <c:ext xmlns:c16="http://schemas.microsoft.com/office/drawing/2014/chart" uri="{C3380CC4-5D6E-409C-BE32-E72D297353CC}">
                <c16:uniqueId val="{00000641-26BF-40B0-8A43-EC10D791E60B}"/>
              </c:ext>
            </c:extLst>
          </c:dPt>
          <c:dPt>
            <c:idx val="800"/>
            <c:invertIfNegative val="1"/>
            <c:bubble3D val="0"/>
            <c:spPr>
              <a:solidFill>
                <a:srgbClr val="AEABAB"/>
              </a:solidFill>
            </c:spPr>
            <c:extLst>
              <c:ext xmlns:c16="http://schemas.microsoft.com/office/drawing/2014/chart" uri="{C3380CC4-5D6E-409C-BE32-E72D297353CC}">
                <c16:uniqueId val="{00000643-26BF-40B0-8A43-EC10D791E60B}"/>
              </c:ext>
            </c:extLst>
          </c:dPt>
          <c:dPt>
            <c:idx val="801"/>
            <c:invertIfNegative val="1"/>
            <c:bubble3D val="0"/>
            <c:spPr>
              <a:solidFill>
                <a:srgbClr val="AEABAB"/>
              </a:solidFill>
            </c:spPr>
            <c:extLst>
              <c:ext xmlns:c16="http://schemas.microsoft.com/office/drawing/2014/chart" uri="{C3380CC4-5D6E-409C-BE32-E72D297353CC}">
                <c16:uniqueId val="{00000645-26BF-40B0-8A43-EC10D791E60B}"/>
              </c:ext>
            </c:extLst>
          </c:dPt>
          <c:dPt>
            <c:idx val="802"/>
            <c:invertIfNegative val="1"/>
            <c:bubble3D val="0"/>
            <c:spPr>
              <a:solidFill>
                <a:srgbClr val="AEABAB"/>
              </a:solidFill>
            </c:spPr>
            <c:extLst>
              <c:ext xmlns:c16="http://schemas.microsoft.com/office/drawing/2014/chart" uri="{C3380CC4-5D6E-409C-BE32-E72D297353CC}">
                <c16:uniqueId val="{00000647-26BF-40B0-8A43-EC10D791E60B}"/>
              </c:ext>
            </c:extLst>
          </c:dPt>
          <c:dPt>
            <c:idx val="803"/>
            <c:invertIfNegative val="1"/>
            <c:bubble3D val="0"/>
            <c:spPr>
              <a:solidFill>
                <a:srgbClr val="AEABAB"/>
              </a:solidFill>
            </c:spPr>
            <c:extLst>
              <c:ext xmlns:c16="http://schemas.microsoft.com/office/drawing/2014/chart" uri="{C3380CC4-5D6E-409C-BE32-E72D297353CC}">
                <c16:uniqueId val="{00000649-26BF-40B0-8A43-EC10D791E60B}"/>
              </c:ext>
            </c:extLst>
          </c:dPt>
          <c:dPt>
            <c:idx val="804"/>
            <c:invertIfNegative val="1"/>
            <c:bubble3D val="0"/>
            <c:spPr>
              <a:solidFill>
                <a:srgbClr val="AEABAB"/>
              </a:solidFill>
            </c:spPr>
            <c:extLst>
              <c:ext xmlns:c16="http://schemas.microsoft.com/office/drawing/2014/chart" uri="{C3380CC4-5D6E-409C-BE32-E72D297353CC}">
                <c16:uniqueId val="{0000064B-26BF-40B0-8A43-EC10D791E60B}"/>
              </c:ext>
            </c:extLst>
          </c:dPt>
          <c:dPt>
            <c:idx val="805"/>
            <c:invertIfNegative val="1"/>
            <c:bubble3D val="0"/>
            <c:spPr>
              <a:solidFill>
                <a:srgbClr val="AEABAB"/>
              </a:solidFill>
            </c:spPr>
            <c:extLst>
              <c:ext xmlns:c16="http://schemas.microsoft.com/office/drawing/2014/chart" uri="{C3380CC4-5D6E-409C-BE32-E72D297353CC}">
                <c16:uniqueId val="{0000064D-26BF-40B0-8A43-EC10D791E60B}"/>
              </c:ext>
            </c:extLst>
          </c:dPt>
          <c:dPt>
            <c:idx val="806"/>
            <c:invertIfNegative val="1"/>
            <c:bubble3D val="0"/>
            <c:spPr>
              <a:solidFill>
                <a:srgbClr val="AEABAB"/>
              </a:solidFill>
            </c:spPr>
            <c:extLst>
              <c:ext xmlns:c16="http://schemas.microsoft.com/office/drawing/2014/chart" uri="{C3380CC4-5D6E-409C-BE32-E72D297353CC}">
                <c16:uniqueId val="{0000064F-26BF-40B0-8A43-EC10D791E60B}"/>
              </c:ext>
            </c:extLst>
          </c:dPt>
          <c:dPt>
            <c:idx val="807"/>
            <c:invertIfNegative val="1"/>
            <c:bubble3D val="0"/>
            <c:spPr>
              <a:solidFill>
                <a:srgbClr val="AEABAB"/>
              </a:solidFill>
            </c:spPr>
            <c:extLst>
              <c:ext xmlns:c16="http://schemas.microsoft.com/office/drawing/2014/chart" uri="{C3380CC4-5D6E-409C-BE32-E72D297353CC}">
                <c16:uniqueId val="{00000651-26BF-40B0-8A43-EC10D791E60B}"/>
              </c:ext>
            </c:extLst>
          </c:dPt>
          <c:dPt>
            <c:idx val="808"/>
            <c:invertIfNegative val="1"/>
            <c:bubble3D val="0"/>
            <c:spPr>
              <a:solidFill>
                <a:srgbClr val="AEABAB"/>
              </a:solidFill>
            </c:spPr>
            <c:extLst>
              <c:ext xmlns:c16="http://schemas.microsoft.com/office/drawing/2014/chart" uri="{C3380CC4-5D6E-409C-BE32-E72D297353CC}">
                <c16:uniqueId val="{00000653-26BF-40B0-8A43-EC10D791E60B}"/>
              </c:ext>
            </c:extLst>
          </c:dPt>
          <c:dPt>
            <c:idx val="809"/>
            <c:invertIfNegative val="1"/>
            <c:bubble3D val="0"/>
            <c:spPr>
              <a:solidFill>
                <a:srgbClr val="AEABAB"/>
              </a:solidFill>
            </c:spPr>
            <c:extLst>
              <c:ext xmlns:c16="http://schemas.microsoft.com/office/drawing/2014/chart" uri="{C3380CC4-5D6E-409C-BE32-E72D297353CC}">
                <c16:uniqueId val="{00000655-26BF-40B0-8A43-EC10D791E60B}"/>
              </c:ext>
            </c:extLst>
          </c:dPt>
          <c:dPt>
            <c:idx val="810"/>
            <c:invertIfNegative val="1"/>
            <c:bubble3D val="0"/>
            <c:spPr>
              <a:solidFill>
                <a:srgbClr val="AEABAB"/>
              </a:solidFill>
            </c:spPr>
            <c:extLst>
              <c:ext xmlns:c16="http://schemas.microsoft.com/office/drawing/2014/chart" uri="{C3380CC4-5D6E-409C-BE32-E72D297353CC}">
                <c16:uniqueId val="{00000657-26BF-40B0-8A43-EC10D791E60B}"/>
              </c:ext>
            </c:extLst>
          </c:dPt>
          <c:dPt>
            <c:idx val="811"/>
            <c:invertIfNegative val="1"/>
            <c:bubble3D val="0"/>
            <c:spPr>
              <a:solidFill>
                <a:srgbClr val="AEABAB"/>
              </a:solidFill>
            </c:spPr>
            <c:extLst>
              <c:ext xmlns:c16="http://schemas.microsoft.com/office/drawing/2014/chart" uri="{C3380CC4-5D6E-409C-BE32-E72D297353CC}">
                <c16:uniqueId val="{00000659-26BF-40B0-8A43-EC10D791E60B}"/>
              </c:ext>
            </c:extLst>
          </c:dPt>
          <c:dPt>
            <c:idx val="812"/>
            <c:invertIfNegative val="1"/>
            <c:bubble3D val="0"/>
            <c:spPr>
              <a:solidFill>
                <a:srgbClr val="AEABAB"/>
              </a:solidFill>
            </c:spPr>
            <c:extLst>
              <c:ext xmlns:c16="http://schemas.microsoft.com/office/drawing/2014/chart" uri="{C3380CC4-5D6E-409C-BE32-E72D297353CC}">
                <c16:uniqueId val="{0000065B-26BF-40B0-8A43-EC10D791E60B}"/>
              </c:ext>
            </c:extLst>
          </c:dPt>
          <c:dPt>
            <c:idx val="813"/>
            <c:invertIfNegative val="1"/>
            <c:bubble3D val="0"/>
            <c:spPr>
              <a:solidFill>
                <a:srgbClr val="AEABAB"/>
              </a:solidFill>
            </c:spPr>
            <c:extLst>
              <c:ext xmlns:c16="http://schemas.microsoft.com/office/drawing/2014/chart" uri="{C3380CC4-5D6E-409C-BE32-E72D297353CC}">
                <c16:uniqueId val="{0000065D-26BF-40B0-8A43-EC10D791E60B}"/>
              </c:ext>
            </c:extLst>
          </c:dPt>
          <c:dPt>
            <c:idx val="814"/>
            <c:invertIfNegative val="1"/>
            <c:bubble3D val="0"/>
            <c:spPr>
              <a:solidFill>
                <a:srgbClr val="AEABAB"/>
              </a:solidFill>
            </c:spPr>
            <c:extLst>
              <c:ext xmlns:c16="http://schemas.microsoft.com/office/drawing/2014/chart" uri="{C3380CC4-5D6E-409C-BE32-E72D297353CC}">
                <c16:uniqueId val="{0000065F-26BF-40B0-8A43-EC10D791E60B}"/>
              </c:ext>
            </c:extLst>
          </c:dPt>
          <c:dPt>
            <c:idx val="815"/>
            <c:invertIfNegative val="1"/>
            <c:bubble3D val="0"/>
            <c:spPr>
              <a:solidFill>
                <a:srgbClr val="AEABAB"/>
              </a:solidFill>
            </c:spPr>
            <c:extLst>
              <c:ext xmlns:c16="http://schemas.microsoft.com/office/drawing/2014/chart" uri="{C3380CC4-5D6E-409C-BE32-E72D297353CC}">
                <c16:uniqueId val="{00000661-26BF-40B0-8A43-EC10D791E60B}"/>
              </c:ext>
            </c:extLst>
          </c:dPt>
          <c:dPt>
            <c:idx val="816"/>
            <c:invertIfNegative val="1"/>
            <c:bubble3D val="0"/>
            <c:spPr>
              <a:solidFill>
                <a:srgbClr val="AEABAB"/>
              </a:solidFill>
            </c:spPr>
            <c:extLst>
              <c:ext xmlns:c16="http://schemas.microsoft.com/office/drawing/2014/chart" uri="{C3380CC4-5D6E-409C-BE32-E72D297353CC}">
                <c16:uniqueId val="{00000663-26BF-40B0-8A43-EC10D791E60B}"/>
              </c:ext>
            </c:extLst>
          </c:dPt>
          <c:dPt>
            <c:idx val="817"/>
            <c:invertIfNegative val="1"/>
            <c:bubble3D val="0"/>
            <c:spPr>
              <a:solidFill>
                <a:srgbClr val="AEABAB"/>
              </a:solidFill>
            </c:spPr>
            <c:extLst>
              <c:ext xmlns:c16="http://schemas.microsoft.com/office/drawing/2014/chart" uri="{C3380CC4-5D6E-409C-BE32-E72D297353CC}">
                <c16:uniqueId val="{00000665-26BF-40B0-8A43-EC10D791E60B}"/>
              </c:ext>
            </c:extLst>
          </c:dPt>
          <c:dPt>
            <c:idx val="818"/>
            <c:invertIfNegative val="1"/>
            <c:bubble3D val="0"/>
            <c:spPr>
              <a:solidFill>
                <a:srgbClr val="AEABAB"/>
              </a:solidFill>
            </c:spPr>
            <c:extLst>
              <c:ext xmlns:c16="http://schemas.microsoft.com/office/drawing/2014/chart" uri="{C3380CC4-5D6E-409C-BE32-E72D297353CC}">
                <c16:uniqueId val="{00000667-26BF-40B0-8A43-EC10D791E60B}"/>
              </c:ext>
            </c:extLst>
          </c:dPt>
          <c:dPt>
            <c:idx val="819"/>
            <c:invertIfNegative val="1"/>
            <c:bubble3D val="0"/>
            <c:spPr>
              <a:solidFill>
                <a:srgbClr val="AEABAB"/>
              </a:solidFill>
            </c:spPr>
            <c:extLst>
              <c:ext xmlns:c16="http://schemas.microsoft.com/office/drawing/2014/chart" uri="{C3380CC4-5D6E-409C-BE32-E72D297353CC}">
                <c16:uniqueId val="{00000669-26BF-40B0-8A43-EC10D791E60B}"/>
              </c:ext>
            </c:extLst>
          </c:dPt>
          <c:dPt>
            <c:idx val="820"/>
            <c:invertIfNegative val="1"/>
            <c:bubble3D val="0"/>
            <c:spPr>
              <a:solidFill>
                <a:srgbClr val="AEABAB"/>
              </a:solidFill>
            </c:spPr>
            <c:extLst>
              <c:ext xmlns:c16="http://schemas.microsoft.com/office/drawing/2014/chart" uri="{C3380CC4-5D6E-409C-BE32-E72D297353CC}">
                <c16:uniqueId val="{0000066B-26BF-40B0-8A43-EC10D791E60B}"/>
              </c:ext>
            </c:extLst>
          </c:dPt>
          <c:dPt>
            <c:idx val="821"/>
            <c:invertIfNegative val="1"/>
            <c:bubble3D val="0"/>
            <c:spPr>
              <a:solidFill>
                <a:srgbClr val="AEABAB"/>
              </a:solidFill>
            </c:spPr>
            <c:extLst>
              <c:ext xmlns:c16="http://schemas.microsoft.com/office/drawing/2014/chart" uri="{C3380CC4-5D6E-409C-BE32-E72D297353CC}">
                <c16:uniqueId val="{0000066D-26BF-40B0-8A43-EC10D791E60B}"/>
              </c:ext>
            </c:extLst>
          </c:dPt>
          <c:dPt>
            <c:idx val="822"/>
            <c:invertIfNegative val="1"/>
            <c:bubble3D val="0"/>
            <c:spPr>
              <a:solidFill>
                <a:srgbClr val="AEABAB"/>
              </a:solidFill>
            </c:spPr>
            <c:extLst>
              <c:ext xmlns:c16="http://schemas.microsoft.com/office/drawing/2014/chart" uri="{C3380CC4-5D6E-409C-BE32-E72D297353CC}">
                <c16:uniqueId val="{0000066F-26BF-40B0-8A43-EC10D791E60B}"/>
              </c:ext>
            </c:extLst>
          </c:dPt>
          <c:dPt>
            <c:idx val="823"/>
            <c:invertIfNegative val="1"/>
            <c:bubble3D val="0"/>
            <c:spPr>
              <a:solidFill>
                <a:srgbClr val="AEABAB"/>
              </a:solidFill>
            </c:spPr>
            <c:extLst>
              <c:ext xmlns:c16="http://schemas.microsoft.com/office/drawing/2014/chart" uri="{C3380CC4-5D6E-409C-BE32-E72D297353CC}">
                <c16:uniqueId val="{00000671-26BF-40B0-8A43-EC10D791E60B}"/>
              </c:ext>
            </c:extLst>
          </c:dPt>
          <c:dPt>
            <c:idx val="824"/>
            <c:invertIfNegative val="1"/>
            <c:bubble3D val="0"/>
            <c:spPr>
              <a:solidFill>
                <a:srgbClr val="AEABAB"/>
              </a:solidFill>
            </c:spPr>
            <c:extLst>
              <c:ext xmlns:c16="http://schemas.microsoft.com/office/drawing/2014/chart" uri="{C3380CC4-5D6E-409C-BE32-E72D297353CC}">
                <c16:uniqueId val="{00000673-26BF-40B0-8A43-EC10D791E60B}"/>
              </c:ext>
            </c:extLst>
          </c:dPt>
          <c:dPt>
            <c:idx val="825"/>
            <c:invertIfNegative val="1"/>
            <c:bubble3D val="0"/>
            <c:spPr>
              <a:solidFill>
                <a:srgbClr val="AEABAB"/>
              </a:solidFill>
            </c:spPr>
            <c:extLst>
              <c:ext xmlns:c16="http://schemas.microsoft.com/office/drawing/2014/chart" uri="{C3380CC4-5D6E-409C-BE32-E72D297353CC}">
                <c16:uniqueId val="{00000675-26BF-40B0-8A43-EC10D791E60B}"/>
              </c:ext>
            </c:extLst>
          </c:dPt>
          <c:dPt>
            <c:idx val="826"/>
            <c:invertIfNegative val="1"/>
            <c:bubble3D val="0"/>
            <c:spPr>
              <a:solidFill>
                <a:srgbClr val="AEABAB"/>
              </a:solidFill>
            </c:spPr>
            <c:extLst>
              <c:ext xmlns:c16="http://schemas.microsoft.com/office/drawing/2014/chart" uri="{C3380CC4-5D6E-409C-BE32-E72D297353CC}">
                <c16:uniqueId val="{00000677-26BF-40B0-8A43-EC10D791E60B}"/>
              </c:ext>
            </c:extLst>
          </c:dPt>
          <c:dPt>
            <c:idx val="827"/>
            <c:invertIfNegative val="1"/>
            <c:bubble3D val="0"/>
            <c:spPr>
              <a:solidFill>
                <a:srgbClr val="AEABAB"/>
              </a:solidFill>
            </c:spPr>
            <c:extLst>
              <c:ext xmlns:c16="http://schemas.microsoft.com/office/drawing/2014/chart" uri="{C3380CC4-5D6E-409C-BE32-E72D297353CC}">
                <c16:uniqueId val="{00000679-26BF-40B0-8A43-EC10D791E60B}"/>
              </c:ext>
            </c:extLst>
          </c:dPt>
          <c:dPt>
            <c:idx val="828"/>
            <c:invertIfNegative val="1"/>
            <c:bubble3D val="0"/>
            <c:spPr>
              <a:solidFill>
                <a:srgbClr val="AEABAB"/>
              </a:solidFill>
            </c:spPr>
            <c:extLst>
              <c:ext xmlns:c16="http://schemas.microsoft.com/office/drawing/2014/chart" uri="{C3380CC4-5D6E-409C-BE32-E72D297353CC}">
                <c16:uniqueId val="{0000067B-26BF-40B0-8A43-EC10D791E60B}"/>
              </c:ext>
            </c:extLst>
          </c:dPt>
          <c:dPt>
            <c:idx val="829"/>
            <c:invertIfNegative val="1"/>
            <c:bubble3D val="0"/>
            <c:spPr>
              <a:solidFill>
                <a:srgbClr val="AEABAB"/>
              </a:solidFill>
            </c:spPr>
            <c:extLst>
              <c:ext xmlns:c16="http://schemas.microsoft.com/office/drawing/2014/chart" uri="{C3380CC4-5D6E-409C-BE32-E72D297353CC}">
                <c16:uniqueId val="{0000067D-26BF-40B0-8A43-EC10D791E60B}"/>
              </c:ext>
            </c:extLst>
          </c:dPt>
          <c:dPt>
            <c:idx val="830"/>
            <c:invertIfNegative val="1"/>
            <c:bubble3D val="0"/>
            <c:spPr>
              <a:solidFill>
                <a:srgbClr val="AEABAB"/>
              </a:solidFill>
            </c:spPr>
            <c:extLst>
              <c:ext xmlns:c16="http://schemas.microsoft.com/office/drawing/2014/chart" uri="{C3380CC4-5D6E-409C-BE32-E72D297353CC}">
                <c16:uniqueId val="{0000067F-26BF-40B0-8A43-EC10D791E60B}"/>
              </c:ext>
            </c:extLst>
          </c:dPt>
          <c:dPt>
            <c:idx val="831"/>
            <c:invertIfNegative val="1"/>
            <c:bubble3D val="0"/>
            <c:spPr>
              <a:solidFill>
                <a:srgbClr val="AEABAB"/>
              </a:solidFill>
            </c:spPr>
            <c:extLst>
              <c:ext xmlns:c16="http://schemas.microsoft.com/office/drawing/2014/chart" uri="{C3380CC4-5D6E-409C-BE32-E72D297353CC}">
                <c16:uniqueId val="{00000681-26BF-40B0-8A43-EC10D791E60B}"/>
              </c:ext>
            </c:extLst>
          </c:dPt>
          <c:dPt>
            <c:idx val="832"/>
            <c:invertIfNegative val="1"/>
            <c:bubble3D val="0"/>
            <c:spPr>
              <a:solidFill>
                <a:srgbClr val="AEABAB"/>
              </a:solidFill>
            </c:spPr>
            <c:extLst>
              <c:ext xmlns:c16="http://schemas.microsoft.com/office/drawing/2014/chart" uri="{C3380CC4-5D6E-409C-BE32-E72D297353CC}">
                <c16:uniqueId val="{00000683-26BF-40B0-8A43-EC10D791E60B}"/>
              </c:ext>
            </c:extLst>
          </c:dPt>
          <c:dPt>
            <c:idx val="833"/>
            <c:invertIfNegative val="1"/>
            <c:bubble3D val="0"/>
            <c:spPr>
              <a:solidFill>
                <a:srgbClr val="AEABAB"/>
              </a:solidFill>
            </c:spPr>
            <c:extLst>
              <c:ext xmlns:c16="http://schemas.microsoft.com/office/drawing/2014/chart" uri="{C3380CC4-5D6E-409C-BE32-E72D297353CC}">
                <c16:uniqueId val="{00000685-26BF-40B0-8A43-EC10D791E60B}"/>
              </c:ext>
            </c:extLst>
          </c:dPt>
          <c:dPt>
            <c:idx val="834"/>
            <c:invertIfNegative val="1"/>
            <c:bubble3D val="0"/>
            <c:spPr>
              <a:solidFill>
                <a:srgbClr val="AEABAB"/>
              </a:solidFill>
            </c:spPr>
            <c:extLst>
              <c:ext xmlns:c16="http://schemas.microsoft.com/office/drawing/2014/chart" uri="{C3380CC4-5D6E-409C-BE32-E72D297353CC}">
                <c16:uniqueId val="{00000687-26BF-40B0-8A43-EC10D791E60B}"/>
              </c:ext>
            </c:extLst>
          </c:dPt>
          <c:dPt>
            <c:idx val="835"/>
            <c:invertIfNegative val="1"/>
            <c:bubble3D val="0"/>
            <c:spPr>
              <a:solidFill>
                <a:srgbClr val="AEABAB"/>
              </a:solidFill>
            </c:spPr>
            <c:extLst>
              <c:ext xmlns:c16="http://schemas.microsoft.com/office/drawing/2014/chart" uri="{C3380CC4-5D6E-409C-BE32-E72D297353CC}">
                <c16:uniqueId val="{00000689-26BF-40B0-8A43-EC10D791E60B}"/>
              </c:ext>
            </c:extLst>
          </c:dPt>
          <c:dPt>
            <c:idx val="836"/>
            <c:invertIfNegative val="1"/>
            <c:bubble3D val="0"/>
            <c:spPr>
              <a:solidFill>
                <a:srgbClr val="AEABAB"/>
              </a:solidFill>
            </c:spPr>
            <c:extLst>
              <c:ext xmlns:c16="http://schemas.microsoft.com/office/drawing/2014/chart" uri="{C3380CC4-5D6E-409C-BE32-E72D297353CC}">
                <c16:uniqueId val="{0000068B-26BF-40B0-8A43-EC10D791E60B}"/>
              </c:ext>
            </c:extLst>
          </c:dPt>
          <c:dPt>
            <c:idx val="837"/>
            <c:invertIfNegative val="1"/>
            <c:bubble3D val="0"/>
            <c:spPr>
              <a:solidFill>
                <a:srgbClr val="AEABAB"/>
              </a:solidFill>
            </c:spPr>
            <c:extLst>
              <c:ext xmlns:c16="http://schemas.microsoft.com/office/drawing/2014/chart" uri="{C3380CC4-5D6E-409C-BE32-E72D297353CC}">
                <c16:uniqueId val="{0000068D-26BF-40B0-8A43-EC10D791E60B}"/>
              </c:ext>
            </c:extLst>
          </c:dPt>
          <c:dPt>
            <c:idx val="838"/>
            <c:invertIfNegative val="1"/>
            <c:bubble3D val="0"/>
            <c:spPr>
              <a:solidFill>
                <a:srgbClr val="AEABAB"/>
              </a:solidFill>
            </c:spPr>
            <c:extLst>
              <c:ext xmlns:c16="http://schemas.microsoft.com/office/drawing/2014/chart" uri="{C3380CC4-5D6E-409C-BE32-E72D297353CC}">
                <c16:uniqueId val="{0000068F-26BF-40B0-8A43-EC10D791E60B}"/>
              </c:ext>
            </c:extLst>
          </c:dPt>
          <c:dPt>
            <c:idx val="839"/>
            <c:invertIfNegative val="1"/>
            <c:bubble3D val="0"/>
            <c:spPr>
              <a:solidFill>
                <a:srgbClr val="AEABAB"/>
              </a:solidFill>
            </c:spPr>
            <c:extLst>
              <c:ext xmlns:c16="http://schemas.microsoft.com/office/drawing/2014/chart" uri="{C3380CC4-5D6E-409C-BE32-E72D297353CC}">
                <c16:uniqueId val="{00000691-26BF-40B0-8A43-EC10D791E60B}"/>
              </c:ext>
            </c:extLst>
          </c:dPt>
          <c:dPt>
            <c:idx val="840"/>
            <c:invertIfNegative val="1"/>
            <c:bubble3D val="0"/>
            <c:spPr>
              <a:solidFill>
                <a:srgbClr val="AEABAB"/>
              </a:solidFill>
            </c:spPr>
            <c:extLst>
              <c:ext xmlns:c16="http://schemas.microsoft.com/office/drawing/2014/chart" uri="{C3380CC4-5D6E-409C-BE32-E72D297353CC}">
                <c16:uniqueId val="{00000693-26BF-40B0-8A43-EC10D791E60B}"/>
              </c:ext>
            </c:extLst>
          </c:dPt>
          <c:dPt>
            <c:idx val="841"/>
            <c:invertIfNegative val="1"/>
            <c:bubble3D val="0"/>
            <c:spPr>
              <a:solidFill>
                <a:srgbClr val="AEABAB"/>
              </a:solidFill>
            </c:spPr>
            <c:extLst>
              <c:ext xmlns:c16="http://schemas.microsoft.com/office/drawing/2014/chart" uri="{C3380CC4-5D6E-409C-BE32-E72D297353CC}">
                <c16:uniqueId val="{00000695-26BF-40B0-8A43-EC10D791E60B}"/>
              </c:ext>
            </c:extLst>
          </c:dPt>
          <c:dPt>
            <c:idx val="842"/>
            <c:invertIfNegative val="1"/>
            <c:bubble3D val="0"/>
            <c:spPr>
              <a:solidFill>
                <a:srgbClr val="AEABAB"/>
              </a:solidFill>
            </c:spPr>
            <c:extLst>
              <c:ext xmlns:c16="http://schemas.microsoft.com/office/drawing/2014/chart" uri="{C3380CC4-5D6E-409C-BE32-E72D297353CC}">
                <c16:uniqueId val="{00000697-26BF-40B0-8A43-EC10D791E60B}"/>
              </c:ext>
            </c:extLst>
          </c:dPt>
          <c:dPt>
            <c:idx val="843"/>
            <c:invertIfNegative val="1"/>
            <c:bubble3D val="0"/>
            <c:spPr>
              <a:solidFill>
                <a:srgbClr val="AEABAB"/>
              </a:solidFill>
            </c:spPr>
            <c:extLst>
              <c:ext xmlns:c16="http://schemas.microsoft.com/office/drawing/2014/chart" uri="{C3380CC4-5D6E-409C-BE32-E72D297353CC}">
                <c16:uniqueId val="{00000699-26BF-40B0-8A43-EC10D791E60B}"/>
              </c:ext>
            </c:extLst>
          </c:dPt>
          <c:dPt>
            <c:idx val="844"/>
            <c:invertIfNegative val="1"/>
            <c:bubble3D val="0"/>
            <c:spPr>
              <a:solidFill>
                <a:srgbClr val="AEABAB"/>
              </a:solidFill>
            </c:spPr>
            <c:extLst>
              <c:ext xmlns:c16="http://schemas.microsoft.com/office/drawing/2014/chart" uri="{C3380CC4-5D6E-409C-BE32-E72D297353CC}">
                <c16:uniqueId val="{0000069B-26BF-40B0-8A43-EC10D791E60B}"/>
              </c:ext>
            </c:extLst>
          </c:dPt>
          <c:dPt>
            <c:idx val="845"/>
            <c:invertIfNegative val="1"/>
            <c:bubble3D val="0"/>
            <c:spPr>
              <a:solidFill>
                <a:srgbClr val="AEABAB"/>
              </a:solidFill>
            </c:spPr>
            <c:extLst>
              <c:ext xmlns:c16="http://schemas.microsoft.com/office/drawing/2014/chart" uri="{C3380CC4-5D6E-409C-BE32-E72D297353CC}">
                <c16:uniqueId val="{0000069D-26BF-40B0-8A43-EC10D791E60B}"/>
              </c:ext>
            </c:extLst>
          </c:dPt>
          <c:dPt>
            <c:idx val="846"/>
            <c:invertIfNegative val="1"/>
            <c:bubble3D val="0"/>
            <c:spPr>
              <a:solidFill>
                <a:srgbClr val="AEABAB"/>
              </a:solidFill>
            </c:spPr>
            <c:extLst>
              <c:ext xmlns:c16="http://schemas.microsoft.com/office/drawing/2014/chart" uri="{C3380CC4-5D6E-409C-BE32-E72D297353CC}">
                <c16:uniqueId val="{0000069F-26BF-40B0-8A43-EC10D791E60B}"/>
              </c:ext>
            </c:extLst>
          </c:dPt>
          <c:dPt>
            <c:idx val="847"/>
            <c:invertIfNegative val="1"/>
            <c:bubble3D val="0"/>
            <c:spPr>
              <a:solidFill>
                <a:srgbClr val="AEABAB"/>
              </a:solidFill>
            </c:spPr>
            <c:extLst>
              <c:ext xmlns:c16="http://schemas.microsoft.com/office/drawing/2014/chart" uri="{C3380CC4-5D6E-409C-BE32-E72D297353CC}">
                <c16:uniqueId val="{000006A1-26BF-40B0-8A43-EC10D791E60B}"/>
              </c:ext>
            </c:extLst>
          </c:dPt>
          <c:dPt>
            <c:idx val="848"/>
            <c:invertIfNegative val="1"/>
            <c:bubble3D val="0"/>
            <c:spPr>
              <a:solidFill>
                <a:srgbClr val="AEABAB"/>
              </a:solidFill>
            </c:spPr>
            <c:extLst>
              <c:ext xmlns:c16="http://schemas.microsoft.com/office/drawing/2014/chart" uri="{C3380CC4-5D6E-409C-BE32-E72D297353CC}">
                <c16:uniqueId val="{000006A3-26BF-40B0-8A43-EC10D791E60B}"/>
              </c:ext>
            </c:extLst>
          </c:dPt>
          <c:dPt>
            <c:idx val="849"/>
            <c:invertIfNegative val="1"/>
            <c:bubble3D val="0"/>
            <c:spPr>
              <a:solidFill>
                <a:srgbClr val="AEABAB"/>
              </a:solidFill>
            </c:spPr>
            <c:extLst>
              <c:ext xmlns:c16="http://schemas.microsoft.com/office/drawing/2014/chart" uri="{C3380CC4-5D6E-409C-BE32-E72D297353CC}">
                <c16:uniqueId val="{000006A5-26BF-40B0-8A43-EC10D791E60B}"/>
              </c:ext>
            </c:extLst>
          </c:dPt>
          <c:dPt>
            <c:idx val="850"/>
            <c:invertIfNegative val="1"/>
            <c:bubble3D val="0"/>
            <c:spPr>
              <a:solidFill>
                <a:srgbClr val="AEABAB"/>
              </a:solidFill>
            </c:spPr>
            <c:extLst>
              <c:ext xmlns:c16="http://schemas.microsoft.com/office/drawing/2014/chart" uri="{C3380CC4-5D6E-409C-BE32-E72D297353CC}">
                <c16:uniqueId val="{000006A7-26BF-40B0-8A43-EC10D791E60B}"/>
              </c:ext>
            </c:extLst>
          </c:dPt>
          <c:dPt>
            <c:idx val="851"/>
            <c:invertIfNegative val="1"/>
            <c:bubble3D val="0"/>
            <c:spPr>
              <a:solidFill>
                <a:srgbClr val="AEABAB"/>
              </a:solidFill>
            </c:spPr>
            <c:extLst>
              <c:ext xmlns:c16="http://schemas.microsoft.com/office/drawing/2014/chart" uri="{C3380CC4-5D6E-409C-BE32-E72D297353CC}">
                <c16:uniqueId val="{000006A9-26BF-40B0-8A43-EC10D791E60B}"/>
              </c:ext>
            </c:extLst>
          </c:dPt>
          <c:dPt>
            <c:idx val="852"/>
            <c:invertIfNegative val="1"/>
            <c:bubble3D val="0"/>
            <c:spPr>
              <a:solidFill>
                <a:srgbClr val="AEABAB"/>
              </a:solidFill>
            </c:spPr>
            <c:extLst>
              <c:ext xmlns:c16="http://schemas.microsoft.com/office/drawing/2014/chart" uri="{C3380CC4-5D6E-409C-BE32-E72D297353CC}">
                <c16:uniqueId val="{000006AB-26BF-40B0-8A43-EC10D791E60B}"/>
              </c:ext>
            </c:extLst>
          </c:dPt>
          <c:dPt>
            <c:idx val="853"/>
            <c:invertIfNegative val="1"/>
            <c:bubble3D val="0"/>
            <c:spPr>
              <a:solidFill>
                <a:srgbClr val="AEABAB"/>
              </a:solidFill>
            </c:spPr>
            <c:extLst>
              <c:ext xmlns:c16="http://schemas.microsoft.com/office/drawing/2014/chart" uri="{C3380CC4-5D6E-409C-BE32-E72D297353CC}">
                <c16:uniqueId val="{000006AD-26BF-40B0-8A43-EC10D791E60B}"/>
              </c:ext>
            </c:extLst>
          </c:dPt>
          <c:dPt>
            <c:idx val="854"/>
            <c:invertIfNegative val="1"/>
            <c:bubble3D val="0"/>
            <c:spPr>
              <a:solidFill>
                <a:srgbClr val="AEABAB"/>
              </a:solidFill>
            </c:spPr>
            <c:extLst>
              <c:ext xmlns:c16="http://schemas.microsoft.com/office/drawing/2014/chart" uri="{C3380CC4-5D6E-409C-BE32-E72D297353CC}">
                <c16:uniqueId val="{000006AF-26BF-40B0-8A43-EC10D791E60B}"/>
              </c:ext>
            </c:extLst>
          </c:dPt>
          <c:dPt>
            <c:idx val="855"/>
            <c:invertIfNegative val="1"/>
            <c:bubble3D val="0"/>
            <c:spPr>
              <a:solidFill>
                <a:srgbClr val="AEABAB"/>
              </a:solidFill>
            </c:spPr>
            <c:extLst>
              <c:ext xmlns:c16="http://schemas.microsoft.com/office/drawing/2014/chart" uri="{C3380CC4-5D6E-409C-BE32-E72D297353CC}">
                <c16:uniqueId val="{000006B1-26BF-40B0-8A43-EC10D791E60B}"/>
              </c:ext>
            </c:extLst>
          </c:dPt>
          <c:dPt>
            <c:idx val="856"/>
            <c:invertIfNegative val="1"/>
            <c:bubble3D val="0"/>
            <c:spPr>
              <a:solidFill>
                <a:srgbClr val="AEABAB"/>
              </a:solidFill>
            </c:spPr>
            <c:extLst>
              <c:ext xmlns:c16="http://schemas.microsoft.com/office/drawing/2014/chart" uri="{C3380CC4-5D6E-409C-BE32-E72D297353CC}">
                <c16:uniqueId val="{000006B3-26BF-40B0-8A43-EC10D791E60B}"/>
              </c:ext>
            </c:extLst>
          </c:dPt>
          <c:dPt>
            <c:idx val="857"/>
            <c:invertIfNegative val="1"/>
            <c:bubble3D val="0"/>
            <c:spPr>
              <a:solidFill>
                <a:srgbClr val="AEABAB"/>
              </a:solidFill>
            </c:spPr>
            <c:extLst>
              <c:ext xmlns:c16="http://schemas.microsoft.com/office/drawing/2014/chart" uri="{C3380CC4-5D6E-409C-BE32-E72D297353CC}">
                <c16:uniqueId val="{000006B5-26BF-40B0-8A43-EC10D791E60B}"/>
              </c:ext>
            </c:extLst>
          </c:dPt>
          <c:dPt>
            <c:idx val="858"/>
            <c:invertIfNegative val="1"/>
            <c:bubble3D val="0"/>
            <c:spPr>
              <a:solidFill>
                <a:srgbClr val="AEABAB"/>
              </a:solidFill>
            </c:spPr>
            <c:extLst>
              <c:ext xmlns:c16="http://schemas.microsoft.com/office/drawing/2014/chart" uri="{C3380CC4-5D6E-409C-BE32-E72D297353CC}">
                <c16:uniqueId val="{000006B7-26BF-40B0-8A43-EC10D791E60B}"/>
              </c:ext>
            </c:extLst>
          </c:dPt>
          <c:dPt>
            <c:idx val="859"/>
            <c:invertIfNegative val="1"/>
            <c:bubble3D val="0"/>
            <c:spPr>
              <a:solidFill>
                <a:srgbClr val="AEABAB"/>
              </a:solidFill>
            </c:spPr>
            <c:extLst>
              <c:ext xmlns:c16="http://schemas.microsoft.com/office/drawing/2014/chart" uri="{C3380CC4-5D6E-409C-BE32-E72D297353CC}">
                <c16:uniqueId val="{000006B9-26BF-40B0-8A43-EC10D791E60B}"/>
              </c:ext>
            </c:extLst>
          </c:dPt>
          <c:dPt>
            <c:idx val="860"/>
            <c:invertIfNegative val="1"/>
            <c:bubble3D val="0"/>
            <c:spPr>
              <a:solidFill>
                <a:srgbClr val="AEABAB"/>
              </a:solidFill>
            </c:spPr>
            <c:extLst>
              <c:ext xmlns:c16="http://schemas.microsoft.com/office/drawing/2014/chart" uri="{C3380CC4-5D6E-409C-BE32-E72D297353CC}">
                <c16:uniqueId val="{000006BB-26BF-40B0-8A43-EC10D791E60B}"/>
              </c:ext>
            </c:extLst>
          </c:dPt>
          <c:dPt>
            <c:idx val="861"/>
            <c:invertIfNegative val="1"/>
            <c:bubble3D val="0"/>
            <c:spPr>
              <a:solidFill>
                <a:srgbClr val="AEABAB"/>
              </a:solidFill>
            </c:spPr>
            <c:extLst>
              <c:ext xmlns:c16="http://schemas.microsoft.com/office/drawing/2014/chart" uri="{C3380CC4-5D6E-409C-BE32-E72D297353CC}">
                <c16:uniqueId val="{000006BD-26BF-40B0-8A43-EC10D791E60B}"/>
              </c:ext>
            </c:extLst>
          </c:dPt>
          <c:dPt>
            <c:idx val="862"/>
            <c:invertIfNegative val="1"/>
            <c:bubble3D val="0"/>
            <c:spPr>
              <a:solidFill>
                <a:srgbClr val="AEABAB"/>
              </a:solidFill>
            </c:spPr>
            <c:extLst>
              <c:ext xmlns:c16="http://schemas.microsoft.com/office/drawing/2014/chart" uri="{C3380CC4-5D6E-409C-BE32-E72D297353CC}">
                <c16:uniqueId val="{000006BF-26BF-40B0-8A43-EC10D791E60B}"/>
              </c:ext>
            </c:extLst>
          </c:dPt>
          <c:dPt>
            <c:idx val="863"/>
            <c:invertIfNegative val="1"/>
            <c:bubble3D val="0"/>
            <c:spPr>
              <a:solidFill>
                <a:srgbClr val="AEABAB"/>
              </a:solidFill>
            </c:spPr>
            <c:extLst>
              <c:ext xmlns:c16="http://schemas.microsoft.com/office/drawing/2014/chart" uri="{C3380CC4-5D6E-409C-BE32-E72D297353CC}">
                <c16:uniqueId val="{000006C1-26BF-40B0-8A43-EC10D791E60B}"/>
              </c:ext>
            </c:extLst>
          </c:dPt>
          <c:dPt>
            <c:idx val="864"/>
            <c:invertIfNegative val="1"/>
            <c:bubble3D val="0"/>
            <c:spPr>
              <a:solidFill>
                <a:srgbClr val="AEABAB"/>
              </a:solidFill>
            </c:spPr>
            <c:extLst>
              <c:ext xmlns:c16="http://schemas.microsoft.com/office/drawing/2014/chart" uri="{C3380CC4-5D6E-409C-BE32-E72D297353CC}">
                <c16:uniqueId val="{000006C3-26BF-40B0-8A43-EC10D791E60B}"/>
              </c:ext>
            </c:extLst>
          </c:dPt>
          <c:dPt>
            <c:idx val="865"/>
            <c:invertIfNegative val="1"/>
            <c:bubble3D val="0"/>
            <c:spPr>
              <a:solidFill>
                <a:srgbClr val="AEABAB"/>
              </a:solidFill>
            </c:spPr>
            <c:extLst>
              <c:ext xmlns:c16="http://schemas.microsoft.com/office/drawing/2014/chart" uri="{C3380CC4-5D6E-409C-BE32-E72D297353CC}">
                <c16:uniqueId val="{000006C5-26BF-40B0-8A43-EC10D791E60B}"/>
              </c:ext>
            </c:extLst>
          </c:dPt>
          <c:dPt>
            <c:idx val="866"/>
            <c:invertIfNegative val="1"/>
            <c:bubble3D val="0"/>
            <c:spPr>
              <a:solidFill>
                <a:srgbClr val="AEABAB"/>
              </a:solidFill>
            </c:spPr>
            <c:extLst>
              <c:ext xmlns:c16="http://schemas.microsoft.com/office/drawing/2014/chart" uri="{C3380CC4-5D6E-409C-BE32-E72D297353CC}">
                <c16:uniqueId val="{000006C7-26BF-40B0-8A43-EC10D791E60B}"/>
              </c:ext>
            </c:extLst>
          </c:dPt>
          <c:dPt>
            <c:idx val="867"/>
            <c:invertIfNegative val="1"/>
            <c:bubble3D val="0"/>
            <c:spPr>
              <a:solidFill>
                <a:srgbClr val="AEABAB"/>
              </a:solidFill>
            </c:spPr>
            <c:extLst>
              <c:ext xmlns:c16="http://schemas.microsoft.com/office/drawing/2014/chart" uri="{C3380CC4-5D6E-409C-BE32-E72D297353CC}">
                <c16:uniqueId val="{000006C9-26BF-40B0-8A43-EC10D791E60B}"/>
              </c:ext>
            </c:extLst>
          </c:dPt>
          <c:dPt>
            <c:idx val="868"/>
            <c:invertIfNegative val="1"/>
            <c:bubble3D val="0"/>
            <c:spPr>
              <a:solidFill>
                <a:srgbClr val="AEABAB"/>
              </a:solidFill>
            </c:spPr>
            <c:extLst>
              <c:ext xmlns:c16="http://schemas.microsoft.com/office/drawing/2014/chart" uri="{C3380CC4-5D6E-409C-BE32-E72D297353CC}">
                <c16:uniqueId val="{000006CB-26BF-40B0-8A43-EC10D791E60B}"/>
              </c:ext>
            </c:extLst>
          </c:dPt>
          <c:dPt>
            <c:idx val="869"/>
            <c:invertIfNegative val="1"/>
            <c:bubble3D val="0"/>
            <c:spPr>
              <a:solidFill>
                <a:srgbClr val="AEABAB"/>
              </a:solidFill>
            </c:spPr>
            <c:extLst>
              <c:ext xmlns:c16="http://schemas.microsoft.com/office/drawing/2014/chart" uri="{C3380CC4-5D6E-409C-BE32-E72D297353CC}">
                <c16:uniqueId val="{000006CD-26BF-40B0-8A43-EC10D791E60B}"/>
              </c:ext>
            </c:extLst>
          </c:dPt>
          <c:dPt>
            <c:idx val="870"/>
            <c:invertIfNegative val="1"/>
            <c:bubble3D val="0"/>
            <c:spPr>
              <a:solidFill>
                <a:srgbClr val="AEABAB"/>
              </a:solidFill>
            </c:spPr>
            <c:extLst>
              <c:ext xmlns:c16="http://schemas.microsoft.com/office/drawing/2014/chart" uri="{C3380CC4-5D6E-409C-BE32-E72D297353CC}">
                <c16:uniqueId val="{000006CF-26BF-40B0-8A43-EC10D791E60B}"/>
              </c:ext>
            </c:extLst>
          </c:dPt>
          <c:dPt>
            <c:idx val="871"/>
            <c:invertIfNegative val="1"/>
            <c:bubble3D val="0"/>
            <c:spPr>
              <a:solidFill>
                <a:srgbClr val="AEABAB"/>
              </a:solidFill>
            </c:spPr>
            <c:extLst>
              <c:ext xmlns:c16="http://schemas.microsoft.com/office/drawing/2014/chart" uri="{C3380CC4-5D6E-409C-BE32-E72D297353CC}">
                <c16:uniqueId val="{000006D1-26BF-40B0-8A43-EC10D791E60B}"/>
              </c:ext>
            </c:extLst>
          </c:dPt>
          <c:dPt>
            <c:idx val="872"/>
            <c:invertIfNegative val="1"/>
            <c:bubble3D val="0"/>
            <c:spPr>
              <a:solidFill>
                <a:srgbClr val="AEABAB"/>
              </a:solidFill>
            </c:spPr>
            <c:extLst>
              <c:ext xmlns:c16="http://schemas.microsoft.com/office/drawing/2014/chart" uri="{C3380CC4-5D6E-409C-BE32-E72D297353CC}">
                <c16:uniqueId val="{000006D3-26BF-40B0-8A43-EC10D791E60B}"/>
              </c:ext>
            </c:extLst>
          </c:dPt>
          <c:dPt>
            <c:idx val="873"/>
            <c:invertIfNegative val="1"/>
            <c:bubble3D val="0"/>
            <c:spPr>
              <a:solidFill>
                <a:srgbClr val="AEABAB"/>
              </a:solidFill>
            </c:spPr>
            <c:extLst>
              <c:ext xmlns:c16="http://schemas.microsoft.com/office/drawing/2014/chart" uri="{C3380CC4-5D6E-409C-BE32-E72D297353CC}">
                <c16:uniqueId val="{000006D5-26BF-40B0-8A43-EC10D791E60B}"/>
              </c:ext>
            </c:extLst>
          </c:dPt>
          <c:dPt>
            <c:idx val="874"/>
            <c:invertIfNegative val="1"/>
            <c:bubble3D val="0"/>
            <c:spPr>
              <a:solidFill>
                <a:srgbClr val="AEABAB"/>
              </a:solidFill>
            </c:spPr>
            <c:extLst>
              <c:ext xmlns:c16="http://schemas.microsoft.com/office/drawing/2014/chart" uri="{C3380CC4-5D6E-409C-BE32-E72D297353CC}">
                <c16:uniqueId val="{000006D7-26BF-40B0-8A43-EC10D791E60B}"/>
              </c:ext>
            </c:extLst>
          </c:dPt>
          <c:dPt>
            <c:idx val="875"/>
            <c:invertIfNegative val="1"/>
            <c:bubble3D val="0"/>
            <c:spPr>
              <a:solidFill>
                <a:srgbClr val="AEABAB"/>
              </a:solidFill>
            </c:spPr>
            <c:extLst>
              <c:ext xmlns:c16="http://schemas.microsoft.com/office/drawing/2014/chart" uri="{C3380CC4-5D6E-409C-BE32-E72D297353CC}">
                <c16:uniqueId val="{000006D9-26BF-40B0-8A43-EC10D791E60B}"/>
              </c:ext>
            </c:extLst>
          </c:dPt>
          <c:dPt>
            <c:idx val="876"/>
            <c:invertIfNegative val="1"/>
            <c:bubble3D val="0"/>
            <c:spPr>
              <a:solidFill>
                <a:srgbClr val="AEABAB"/>
              </a:solidFill>
            </c:spPr>
            <c:extLst>
              <c:ext xmlns:c16="http://schemas.microsoft.com/office/drawing/2014/chart" uri="{C3380CC4-5D6E-409C-BE32-E72D297353CC}">
                <c16:uniqueId val="{000006DB-26BF-40B0-8A43-EC10D791E60B}"/>
              </c:ext>
            </c:extLst>
          </c:dPt>
          <c:dPt>
            <c:idx val="877"/>
            <c:invertIfNegative val="1"/>
            <c:bubble3D val="0"/>
            <c:spPr>
              <a:solidFill>
                <a:srgbClr val="AEABAB"/>
              </a:solidFill>
            </c:spPr>
            <c:extLst>
              <c:ext xmlns:c16="http://schemas.microsoft.com/office/drawing/2014/chart" uri="{C3380CC4-5D6E-409C-BE32-E72D297353CC}">
                <c16:uniqueId val="{000006DD-26BF-40B0-8A43-EC10D791E60B}"/>
              </c:ext>
            </c:extLst>
          </c:dPt>
          <c:dPt>
            <c:idx val="878"/>
            <c:invertIfNegative val="1"/>
            <c:bubble3D val="0"/>
            <c:spPr>
              <a:solidFill>
                <a:srgbClr val="AEABAB"/>
              </a:solidFill>
            </c:spPr>
            <c:extLst>
              <c:ext xmlns:c16="http://schemas.microsoft.com/office/drawing/2014/chart" uri="{C3380CC4-5D6E-409C-BE32-E72D297353CC}">
                <c16:uniqueId val="{000006DF-26BF-40B0-8A43-EC10D791E60B}"/>
              </c:ext>
            </c:extLst>
          </c:dPt>
          <c:dPt>
            <c:idx val="879"/>
            <c:invertIfNegative val="1"/>
            <c:bubble3D val="0"/>
            <c:spPr>
              <a:solidFill>
                <a:srgbClr val="AEABAB"/>
              </a:solidFill>
            </c:spPr>
            <c:extLst>
              <c:ext xmlns:c16="http://schemas.microsoft.com/office/drawing/2014/chart" uri="{C3380CC4-5D6E-409C-BE32-E72D297353CC}">
                <c16:uniqueId val="{000006E1-26BF-40B0-8A43-EC10D791E60B}"/>
              </c:ext>
            </c:extLst>
          </c:dPt>
          <c:dPt>
            <c:idx val="880"/>
            <c:invertIfNegative val="1"/>
            <c:bubble3D val="0"/>
            <c:spPr>
              <a:solidFill>
                <a:srgbClr val="AEABAB"/>
              </a:solidFill>
            </c:spPr>
            <c:extLst>
              <c:ext xmlns:c16="http://schemas.microsoft.com/office/drawing/2014/chart" uri="{C3380CC4-5D6E-409C-BE32-E72D297353CC}">
                <c16:uniqueId val="{000006E3-26BF-40B0-8A43-EC10D791E60B}"/>
              </c:ext>
            </c:extLst>
          </c:dPt>
          <c:dPt>
            <c:idx val="881"/>
            <c:invertIfNegative val="1"/>
            <c:bubble3D val="0"/>
            <c:spPr>
              <a:solidFill>
                <a:srgbClr val="AEABAB"/>
              </a:solidFill>
            </c:spPr>
            <c:extLst>
              <c:ext xmlns:c16="http://schemas.microsoft.com/office/drawing/2014/chart" uri="{C3380CC4-5D6E-409C-BE32-E72D297353CC}">
                <c16:uniqueId val="{000006E5-26BF-40B0-8A43-EC10D791E60B}"/>
              </c:ext>
            </c:extLst>
          </c:dPt>
          <c:dPt>
            <c:idx val="882"/>
            <c:invertIfNegative val="1"/>
            <c:bubble3D val="0"/>
            <c:spPr>
              <a:solidFill>
                <a:srgbClr val="AEABAB"/>
              </a:solidFill>
            </c:spPr>
            <c:extLst>
              <c:ext xmlns:c16="http://schemas.microsoft.com/office/drawing/2014/chart" uri="{C3380CC4-5D6E-409C-BE32-E72D297353CC}">
                <c16:uniqueId val="{000006E7-26BF-40B0-8A43-EC10D791E60B}"/>
              </c:ext>
            </c:extLst>
          </c:dPt>
          <c:dPt>
            <c:idx val="883"/>
            <c:invertIfNegative val="1"/>
            <c:bubble3D val="0"/>
            <c:spPr>
              <a:solidFill>
                <a:srgbClr val="AEABAB"/>
              </a:solidFill>
            </c:spPr>
            <c:extLst>
              <c:ext xmlns:c16="http://schemas.microsoft.com/office/drawing/2014/chart" uri="{C3380CC4-5D6E-409C-BE32-E72D297353CC}">
                <c16:uniqueId val="{000006E9-26BF-40B0-8A43-EC10D791E60B}"/>
              </c:ext>
            </c:extLst>
          </c:dPt>
          <c:dPt>
            <c:idx val="884"/>
            <c:invertIfNegative val="1"/>
            <c:bubble3D val="0"/>
            <c:spPr>
              <a:solidFill>
                <a:srgbClr val="AEABAB"/>
              </a:solidFill>
            </c:spPr>
            <c:extLst>
              <c:ext xmlns:c16="http://schemas.microsoft.com/office/drawing/2014/chart" uri="{C3380CC4-5D6E-409C-BE32-E72D297353CC}">
                <c16:uniqueId val="{000006EB-26BF-40B0-8A43-EC10D791E60B}"/>
              </c:ext>
            </c:extLst>
          </c:dPt>
          <c:dPt>
            <c:idx val="885"/>
            <c:invertIfNegative val="1"/>
            <c:bubble3D val="0"/>
            <c:spPr>
              <a:solidFill>
                <a:srgbClr val="AEABAB"/>
              </a:solidFill>
            </c:spPr>
            <c:extLst>
              <c:ext xmlns:c16="http://schemas.microsoft.com/office/drawing/2014/chart" uri="{C3380CC4-5D6E-409C-BE32-E72D297353CC}">
                <c16:uniqueId val="{000006ED-26BF-40B0-8A43-EC10D791E60B}"/>
              </c:ext>
            </c:extLst>
          </c:dPt>
          <c:dPt>
            <c:idx val="886"/>
            <c:invertIfNegative val="1"/>
            <c:bubble3D val="0"/>
            <c:spPr>
              <a:solidFill>
                <a:srgbClr val="AEABAB"/>
              </a:solidFill>
            </c:spPr>
            <c:extLst>
              <c:ext xmlns:c16="http://schemas.microsoft.com/office/drawing/2014/chart" uri="{C3380CC4-5D6E-409C-BE32-E72D297353CC}">
                <c16:uniqueId val="{000006EF-26BF-40B0-8A43-EC10D791E60B}"/>
              </c:ext>
            </c:extLst>
          </c:dPt>
          <c:dPt>
            <c:idx val="887"/>
            <c:invertIfNegative val="1"/>
            <c:bubble3D val="0"/>
            <c:spPr>
              <a:solidFill>
                <a:srgbClr val="AEABAB"/>
              </a:solidFill>
            </c:spPr>
            <c:extLst>
              <c:ext xmlns:c16="http://schemas.microsoft.com/office/drawing/2014/chart" uri="{C3380CC4-5D6E-409C-BE32-E72D297353CC}">
                <c16:uniqueId val="{000006F1-26BF-40B0-8A43-EC10D791E60B}"/>
              </c:ext>
            </c:extLst>
          </c:dPt>
          <c:dPt>
            <c:idx val="888"/>
            <c:invertIfNegative val="1"/>
            <c:bubble3D val="0"/>
            <c:spPr>
              <a:solidFill>
                <a:srgbClr val="AEABAB"/>
              </a:solidFill>
            </c:spPr>
            <c:extLst>
              <c:ext xmlns:c16="http://schemas.microsoft.com/office/drawing/2014/chart" uri="{C3380CC4-5D6E-409C-BE32-E72D297353CC}">
                <c16:uniqueId val="{000006F3-26BF-40B0-8A43-EC10D791E60B}"/>
              </c:ext>
            </c:extLst>
          </c:dPt>
          <c:dPt>
            <c:idx val="889"/>
            <c:invertIfNegative val="1"/>
            <c:bubble3D val="0"/>
            <c:spPr>
              <a:solidFill>
                <a:srgbClr val="AEABAB"/>
              </a:solidFill>
            </c:spPr>
            <c:extLst>
              <c:ext xmlns:c16="http://schemas.microsoft.com/office/drawing/2014/chart" uri="{C3380CC4-5D6E-409C-BE32-E72D297353CC}">
                <c16:uniqueId val="{000006F5-26BF-40B0-8A43-EC10D791E60B}"/>
              </c:ext>
            </c:extLst>
          </c:dPt>
          <c:dPt>
            <c:idx val="890"/>
            <c:invertIfNegative val="1"/>
            <c:bubble3D val="0"/>
            <c:spPr>
              <a:solidFill>
                <a:srgbClr val="AEABAB"/>
              </a:solidFill>
            </c:spPr>
            <c:extLst>
              <c:ext xmlns:c16="http://schemas.microsoft.com/office/drawing/2014/chart" uri="{C3380CC4-5D6E-409C-BE32-E72D297353CC}">
                <c16:uniqueId val="{000006F7-26BF-40B0-8A43-EC10D791E60B}"/>
              </c:ext>
            </c:extLst>
          </c:dPt>
          <c:dPt>
            <c:idx val="891"/>
            <c:invertIfNegative val="1"/>
            <c:bubble3D val="0"/>
            <c:spPr>
              <a:solidFill>
                <a:srgbClr val="AEABAB"/>
              </a:solidFill>
            </c:spPr>
            <c:extLst>
              <c:ext xmlns:c16="http://schemas.microsoft.com/office/drawing/2014/chart" uri="{C3380CC4-5D6E-409C-BE32-E72D297353CC}">
                <c16:uniqueId val="{000006F9-26BF-40B0-8A43-EC10D791E60B}"/>
              </c:ext>
            </c:extLst>
          </c:dPt>
          <c:dPt>
            <c:idx val="892"/>
            <c:invertIfNegative val="1"/>
            <c:bubble3D val="0"/>
            <c:spPr>
              <a:solidFill>
                <a:srgbClr val="AEABAB"/>
              </a:solidFill>
            </c:spPr>
            <c:extLst>
              <c:ext xmlns:c16="http://schemas.microsoft.com/office/drawing/2014/chart" uri="{C3380CC4-5D6E-409C-BE32-E72D297353CC}">
                <c16:uniqueId val="{000006FB-26BF-40B0-8A43-EC10D791E60B}"/>
              </c:ext>
            </c:extLst>
          </c:dPt>
          <c:dPt>
            <c:idx val="893"/>
            <c:invertIfNegative val="1"/>
            <c:bubble3D val="0"/>
            <c:spPr>
              <a:solidFill>
                <a:srgbClr val="AEABAB"/>
              </a:solidFill>
            </c:spPr>
            <c:extLst>
              <c:ext xmlns:c16="http://schemas.microsoft.com/office/drawing/2014/chart" uri="{C3380CC4-5D6E-409C-BE32-E72D297353CC}">
                <c16:uniqueId val="{000006FD-26BF-40B0-8A43-EC10D791E60B}"/>
              </c:ext>
            </c:extLst>
          </c:dPt>
          <c:dPt>
            <c:idx val="894"/>
            <c:invertIfNegative val="1"/>
            <c:bubble3D val="0"/>
            <c:spPr>
              <a:solidFill>
                <a:srgbClr val="AEABAB"/>
              </a:solidFill>
            </c:spPr>
            <c:extLst>
              <c:ext xmlns:c16="http://schemas.microsoft.com/office/drawing/2014/chart" uri="{C3380CC4-5D6E-409C-BE32-E72D297353CC}">
                <c16:uniqueId val="{000006FF-26BF-40B0-8A43-EC10D791E60B}"/>
              </c:ext>
            </c:extLst>
          </c:dPt>
          <c:dPt>
            <c:idx val="895"/>
            <c:invertIfNegative val="1"/>
            <c:bubble3D val="0"/>
            <c:spPr>
              <a:solidFill>
                <a:srgbClr val="AEABAB"/>
              </a:solidFill>
            </c:spPr>
            <c:extLst>
              <c:ext xmlns:c16="http://schemas.microsoft.com/office/drawing/2014/chart" uri="{C3380CC4-5D6E-409C-BE32-E72D297353CC}">
                <c16:uniqueId val="{00000701-26BF-40B0-8A43-EC10D791E60B}"/>
              </c:ext>
            </c:extLst>
          </c:dPt>
          <c:dPt>
            <c:idx val="896"/>
            <c:invertIfNegative val="1"/>
            <c:bubble3D val="0"/>
            <c:spPr>
              <a:solidFill>
                <a:srgbClr val="AEABAB"/>
              </a:solidFill>
            </c:spPr>
            <c:extLst>
              <c:ext xmlns:c16="http://schemas.microsoft.com/office/drawing/2014/chart" uri="{C3380CC4-5D6E-409C-BE32-E72D297353CC}">
                <c16:uniqueId val="{00000703-26BF-40B0-8A43-EC10D791E60B}"/>
              </c:ext>
            </c:extLst>
          </c:dPt>
          <c:dPt>
            <c:idx val="897"/>
            <c:invertIfNegative val="1"/>
            <c:bubble3D val="0"/>
            <c:spPr>
              <a:solidFill>
                <a:srgbClr val="AEABAB"/>
              </a:solidFill>
            </c:spPr>
            <c:extLst>
              <c:ext xmlns:c16="http://schemas.microsoft.com/office/drawing/2014/chart" uri="{C3380CC4-5D6E-409C-BE32-E72D297353CC}">
                <c16:uniqueId val="{00000705-26BF-40B0-8A43-EC10D791E60B}"/>
              </c:ext>
            </c:extLst>
          </c:dPt>
          <c:dPt>
            <c:idx val="898"/>
            <c:invertIfNegative val="1"/>
            <c:bubble3D val="0"/>
            <c:spPr>
              <a:solidFill>
                <a:srgbClr val="AEABAB"/>
              </a:solidFill>
            </c:spPr>
            <c:extLst>
              <c:ext xmlns:c16="http://schemas.microsoft.com/office/drawing/2014/chart" uri="{C3380CC4-5D6E-409C-BE32-E72D297353CC}">
                <c16:uniqueId val="{00000707-26BF-40B0-8A43-EC10D791E60B}"/>
              </c:ext>
            </c:extLst>
          </c:dPt>
          <c:dPt>
            <c:idx val="899"/>
            <c:invertIfNegative val="1"/>
            <c:bubble3D val="0"/>
            <c:spPr>
              <a:solidFill>
                <a:srgbClr val="AEABAB"/>
              </a:solidFill>
            </c:spPr>
            <c:extLst>
              <c:ext xmlns:c16="http://schemas.microsoft.com/office/drawing/2014/chart" uri="{C3380CC4-5D6E-409C-BE32-E72D297353CC}">
                <c16:uniqueId val="{00000709-26BF-40B0-8A43-EC10D791E60B}"/>
              </c:ext>
            </c:extLst>
          </c:dPt>
          <c:dPt>
            <c:idx val="900"/>
            <c:invertIfNegative val="1"/>
            <c:bubble3D val="0"/>
            <c:spPr>
              <a:solidFill>
                <a:srgbClr val="AEABAB"/>
              </a:solidFill>
            </c:spPr>
            <c:extLst>
              <c:ext xmlns:c16="http://schemas.microsoft.com/office/drawing/2014/chart" uri="{C3380CC4-5D6E-409C-BE32-E72D297353CC}">
                <c16:uniqueId val="{0000070B-26BF-40B0-8A43-EC10D791E60B}"/>
              </c:ext>
            </c:extLst>
          </c:dPt>
          <c:dPt>
            <c:idx val="901"/>
            <c:invertIfNegative val="1"/>
            <c:bubble3D val="0"/>
            <c:spPr>
              <a:solidFill>
                <a:srgbClr val="AEABAB"/>
              </a:solidFill>
            </c:spPr>
            <c:extLst>
              <c:ext xmlns:c16="http://schemas.microsoft.com/office/drawing/2014/chart" uri="{C3380CC4-5D6E-409C-BE32-E72D297353CC}">
                <c16:uniqueId val="{0000070D-26BF-40B0-8A43-EC10D791E60B}"/>
              </c:ext>
            </c:extLst>
          </c:dPt>
          <c:dPt>
            <c:idx val="902"/>
            <c:invertIfNegative val="1"/>
            <c:bubble3D val="0"/>
            <c:spPr>
              <a:solidFill>
                <a:srgbClr val="AEABAB"/>
              </a:solidFill>
            </c:spPr>
            <c:extLst>
              <c:ext xmlns:c16="http://schemas.microsoft.com/office/drawing/2014/chart" uri="{C3380CC4-5D6E-409C-BE32-E72D297353CC}">
                <c16:uniqueId val="{0000070F-26BF-40B0-8A43-EC10D791E60B}"/>
              </c:ext>
            </c:extLst>
          </c:dPt>
          <c:dPt>
            <c:idx val="903"/>
            <c:invertIfNegative val="1"/>
            <c:bubble3D val="0"/>
            <c:spPr>
              <a:solidFill>
                <a:srgbClr val="AEABAB"/>
              </a:solidFill>
            </c:spPr>
            <c:extLst>
              <c:ext xmlns:c16="http://schemas.microsoft.com/office/drawing/2014/chart" uri="{C3380CC4-5D6E-409C-BE32-E72D297353CC}">
                <c16:uniqueId val="{00000711-26BF-40B0-8A43-EC10D791E60B}"/>
              </c:ext>
            </c:extLst>
          </c:dPt>
          <c:dPt>
            <c:idx val="904"/>
            <c:invertIfNegative val="1"/>
            <c:bubble3D val="0"/>
            <c:spPr>
              <a:solidFill>
                <a:srgbClr val="AEABAB"/>
              </a:solidFill>
            </c:spPr>
            <c:extLst>
              <c:ext xmlns:c16="http://schemas.microsoft.com/office/drawing/2014/chart" uri="{C3380CC4-5D6E-409C-BE32-E72D297353CC}">
                <c16:uniqueId val="{00000713-26BF-40B0-8A43-EC10D791E60B}"/>
              </c:ext>
            </c:extLst>
          </c:dPt>
          <c:dPt>
            <c:idx val="905"/>
            <c:invertIfNegative val="1"/>
            <c:bubble3D val="0"/>
            <c:spPr>
              <a:solidFill>
                <a:srgbClr val="AEABAB"/>
              </a:solidFill>
            </c:spPr>
            <c:extLst>
              <c:ext xmlns:c16="http://schemas.microsoft.com/office/drawing/2014/chart" uri="{C3380CC4-5D6E-409C-BE32-E72D297353CC}">
                <c16:uniqueId val="{00000715-26BF-40B0-8A43-EC10D791E60B}"/>
              </c:ext>
            </c:extLst>
          </c:dPt>
          <c:dPt>
            <c:idx val="906"/>
            <c:invertIfNegative val="1"/>
            <c:bubble3D val="0"/>
            <c:spPr>
              <a:solidFill>
                <a:srgbClr val="AEABAB"/>
              </a:solidFill>
            </c:spPr>
            <c:extLst>
              <c:ext xmlns:c16="http://schemas.microsoft.com/office/drawing/2014/chart" uri="{C3380CC4-5D6E-409C-BE32-E72D297353CC}">
                <c16:uniqueId val="{00000717-26BF-40B0-8A43-EC10D791E60B}"/>
              </c:ext>
            </c:extLst>
          </c:dPt>
          <c:dPt>
            <c:idx val="907"/>
            <c:invertIfNegative val="1"/>
            <c:bubble3D val="0"/>
            <c:spPr>
              <a:solidFill>
                <a:srgbClr val="AEABAB"/>
              </a:solidFill>
            </c:spPr>
            <c:extLst>
              <c:ext xmlns:c16="http://schemas.microsoft.com/office/drawing/2014/chart" uri="{C3380CC4-5D6E-409C-BE32-E72D297353CC}">
                <c16:uniqueId val="{00000719-26BF-40B0-8A43-EC10D791E60B}"/>
              </c:ext>
            </c:extLst>
          </c:dPt>
          <c:dPt>
            <c:idx val="908"/>
            <c:invertIfNegative val="1"/>
            <c:bubble3D val="0"/>
            <c:spPr>
              <a:solidFill>
                <a:srgbClr val="AEABAB"/>
              </a:solidFill>
            </c:spPr>
            <c:extLst>
              <c:ext xmlns:c16="http://schemas.microsoft.com/office/drawing/2014/chart" uri="{C3380CC4-5D6E-409C-BE32-E72D297353CC}">
                <c16:uniqueId val="{0000071B-26BF-40B0-8A43-EC10D791E60B}"/>
              </c:ext>
            </c:extLst>
          </c:dPt>
          <c:dPt>
            <c:idx val="909"/>
            <c:invertIfNegative val="1"/>
            <c:bubble3D val="0"/>
            <c:spPr>
              <a:solidFill>
                <a:srgbClr val="AEABAB"/>
              </a:solidFill>
            </c:spPr>
            <c:extLst>
              <c:ext xmlns:c16="http://schemas.microsoft.com/office/drawing/2014/chart" uri="{C3380CC4-5D6E-409C-BE32-E72D297353CC}">
                <c16:uniqueId val="{0000071D-26BF-40B0-8A43-EC10D791E60B}"/>
              </c:ext>
            </c:extLst>
          </c:dPt>
          <c:dPt>
            <c:idx val="910"/>
            <c:invertIfNegative val="1"/>
            <c:bubble3D val="0"/>
            <c:spPr>
              <a:solidFill>
                <a:srgbClr val="AEABAB"/>
              </a:solidFill>
            </c:spPr>
            <c:extLst>
              <c:ext xmlns:c16="http://schemas.microsoft.com/office/drawing/2014/chart" uri="{C3380CC4-5D6E-409C-BE32-E72D297353CC}">
                <c16:uniqueId val="{0000071F-26BF-40B0-8A43-EC10D791E60B}"/>
              </c:ext>
            </c:extLst>
          </c:dPt>
          <c:dPt>
            <c:idx val="911"/>
            <c:invertIfNegative val="1"/>
            <c:bubble3D val="0"/>
            <c:spPr>
              <a:solidFill>
                <a:srgbClr val="AEABAB"/>
              </a:solidFill>
            </c:spPr>
            <c:extLst>
              <c:ext xmlns:c16="http://schemas.microsoft.com/office/drawing/2014/chart" uri="{C3380CC4-5D6E-409C-BE32-E72D297353CC}">
                <c16:uniqueId val="{00000721-26BF-40B0-8A43-EC10D791E60B}"/>
              </c:ext>
            </c:extLst>
          </c:dPt>
          <c:dPt>
            <c:idx val="912"/>
            <c:invertIfNegative val="1"/>
            <c:bubble3D val="0"/>
            <c:spPr>
              <a:solidFill>
                <a:srgbClr val="AEABAB"/>
              </a:solidFill>
            </c:spPr>
            <c:extLst>
              <c:ext xmlns:c16="http://schemas.microsoft.com/office/drawing/2014/chart" uri="{C3380CC4-5D6E-409C-BE32-E72D297353CC}">
                <c16:uniqueId val="{00000723-26BF-40B0-8A43-EC10D791E60B}"/>
              </c:ext>
            </c:extLst>
          </c:dPt>
          <c:dPt>
            <c:idx val="913"/>
            <c:invertIfNegative val="1"/>
            <c:bubble3D val="0"/>
            <c:spPr>
              <a:solidFill>
                <a:srgbClr val="AEABAB"/>
              </a:solidFill>
            </c:spPr>
            <c:extLst>
              <c:ext xmlns:c16="http://schemas.microsoft.com/office/drawing/2014/chart" uri="{C3380CC4-5D6E-409C-BE32-E72D297353CC}">
                <c16:uniqueId val="{00000725-26BF-40B0-8A43-EC10D791E60B}"/>
              </c:ext>
            </c:extLst>
          </c:dPt>
          <c:dPt>
            <c:idx val="914"/>
            <c:invertIfNegative val="1"/>
            <c:bubble3D val="0"/>
            <c:spPr>
              <a:solidFill>
                <a:srgbClr val="AEABAB"/>
              </a:solidFill>
            </c:spPr>
            <c:extLst>
              <c:ext xmlns:c16="http://schemas.microsoft.com/office/drawing/2014/chart" uri="{C3380CC4-5D6E-409C-BE32-E72D297353CC}">
                <c16:uniqueId val="{00000727-26BF-40B0-8A43-EC10D791E60B}"/>
              </c:ext>
            </c:extLst>
          </c:dPt>
          <c:dPt>
            <c:idx val="915"/>
            <c:invertIfNegative val="1"/>
            <c:bubble3D val="0"/>
            <c:spPr>
              <a:solidFill>
                <a:srgbClr val="AEABAB"/>
              </a:solidFill>
            </c:spPr>
            <c:extLst>
              <c:ext xmlns:c16="http://schemas.microsoft.com/office/drawing/2014/chart" uri="{C3380CC4-5D6E-409C-BE32-E72D297353CC}">
                <c16:uniqueId val="{00000729-26BF-40B0-8A43-EC10D791E60B}"/>
              </c:ext>
            </c:extLst>
          </c:dPt>
          <c:dPt>
            <c:idx val="916"/>
            <c:invertIfNegative val="1"/>
            <c:bubble3D val="0"/>
            <c:spPr>
              <a:solidFill>
                <a:srgbClr val="AEABAB"/>
              </a:solidFill>
            </c:spPr>
            <c:extLst>
              <c:ext xmlns:c16="http://schemas.microsoft.com/office/drawing/2014/chart" uri="{C3380CC4-5D6E-409C-BE32-E72D297353CC}">
                <c16:uniqueId val="{0000072B-26BF-40B0-8A43-EC10D791E60B}"/>
              </c:ext>
            </c:extLst>
          </c:dPt>
          <c:dPt>
            <c:idx val="917"/>
            <c:invertIfNegative val="1"/>
            <c:bubble3D val="0"/>
            <c:spPr>
              <a:solidFill>
                <a:srgbClr val="AEABAB"/>
              </a:solidFill>
            </c:spPr>
            <c:extLst>
              <c:ext xmlns:c16="http://schemas.microsoft.com/office/drawing/2014/chart" uri="{C3380CC4-5D6E-409C-BE32-E72D297353CC}">
                <c16:uniqueId val="{0000072D-26BF-40B0-8A43-EC10D791E60B}"/>
              </c:ext>
            </c:extLst>
          </c:dPt>
          <c:dPt>
            <c:idx val="918"/>
            <c:invertIfNegative val="1"/>
            <c:bubble3D val="0"/>
            <c:spPr>
              <a:solidFill>
                <a:srgbClr val="AEABAB"/>
              </a:solidFill>
            </c:spPr>
            <c:extLst>
              <c:ext xmlns:c16="http://schemas.microsoft.com/office/drawing/2014/chart" uri="{C3380CC4-5D6E-409C-BE32-E72D297353CC}">
                <c16:uniqueId val="{0000072F-26BF-40B0-8A43-EC10D791E60B}"/>
              </c:ext>
            </c:extLst>
          </c:dPt>
          <c:dPt>
            <c:idx val="919"/>
            <c:invertIfNegative val="1"/>
            <c:bubble3D val="0"/>
            <c:spPr>
              <a:solidFill>
                <a:srgbClr val="AEABAB"/>
              </a:solidFill>
            </c:spPr>
            <c:extLst>
              <c:ext xmlns:c16="http://schemas.microsoft.com/office/drawing/2014/chart" uri="{C3380CC4-5D6E-409C-BE32-E72D297353CC}">
                <c16:uniqueId val="{00000731-26BF-40B0-8A43-EC10D791E60B}"/>
              </c:ext>
            </c:extLst>
          </c:dPt>
          <c:dPt>
            <c:idx val="920"/>
            <c:invertIfNegative val="1"/>
            <c:bubble3D val="0"/>
            <c:spPr>
              <a:solidFill>
                <a:srgbClr val="AEABAB"/>
              </a:solidFill>
            </c:spPr>
            <c:extLst>
              <c:ext xmlns:c16="http://schemas.microsoft.com/office/drawing/2014/chart" uri="{C3380CC4-5D6E-409C-BE32-E72D297353CC}">
                <c16:uniqueId val="{00000733-26BF-40B0-8A43-EC10D791E60B}"/>
              </c:ext>
            </c:extLst>
          </c:dPt>
          <c:dPt>
            <c:idx val="921"/>
            <c:invertIfNegative val="1"/>
            <c:bubble3D val="0"/>
            <c:spPr>
              <a:solidFill>
                <a:srgbClr val="AEABAB"/>
              </a:solidFill>
            </c:spPr>
            <c:extLst>
              <c:ext xmlns:c16="http://schemas.microsoft.com/office/drawing/2014/chart" uri="{C3380CC4-5D6E-409C-BE32-E72D297353CC}">
                <c16:uniqueId val="{00000735-26BF-40B0-8A43-EC10D791E60B}"/>
              </c:ext>
            </c:extLst>
          </c:dPt>
          <c:dPt>
            <c:idx val="922"/>
            <c:invertIfNegative val="1"/>
            <c:bubble3D val="0"/>
            <c:spPr>
              <a:solidFill>
                <a:srgbClr val="AEABAB"/>
              </a:solidFill>
            </c:spPr>
            <c:extLst>
              <c:ext xmlns:c16="http://schemas.microsoft.com/office/drawing/2014/chart" uri="{C3380CC4-5D6E-409C-BE32-E72D297353CC}">
                <c16:uniqueId val="{00000737-26BF-40B0-8A43-EC10D791E60B}"/>
              </c:ext>
            </c:extLst>
          </c:dPt>
          <c:dPt>
            <c:idx val="923"/>
            <c:invertIfNegative val="1"/>
            <c:bubble3D val="0"/>
            <c:spPr>
              <a:solidFill>
                <a:srgbClr val="AEABAB"/>
              </a:solidFill>
            </c:spPr>
            <c:extLst>
              <c:ext xmlns:c16="http://schemas.microsoft.com/office/drawing/2014/chart" uri="{C3380CC4-5D6E-409C-BE32-E72D297353CC}">
                <c16:uniqueId val="{00000739-26BF-40B0-8A43-EC10D791E60B}"/>
              </c:ext>
            </c:extLst>
          </c:dPt>
          <c:dPt>
            <c:idx val="924"/>
            <c:invertIfNegative val="1"/>
            <c:bubble3D val="0"/>
            <c:spPr>
              <a:solidFill>
                <a:srgbClr val="AEABAB"/>
              </a:solidFill>
            </c:spPr>
            <c:extLst>
              <c:ext xmlns:c16="http://schemas.microsoft.com/office/drawing/2014/chart" uri="{C3380CC4-5D6E-409C-BE32-E72D297353CC}">
                <c16:uniqueId val="{0000073B-26BF-40B0-8A43-EC10D791E60B}"/>
              </c:ext>
            </c:extLst>
          </c:dPt>
          <c:dPt>
            <c:idx val="925"/>
            <c:invertIfNegative val="1"/>
            <c:bubble3D val="0"/>
            <c:spPr>
              <a:solidFill>
                <a:srgbClr val="AEABAB"/>
              </a:solidFill>
            </c:spPr>
            <c:extLst>
              <c:ext xmlns:c16="http://schemas.microsoft.com/office/drawing/2014/chart" uri="{C3380CC4-5D6E-409C-BE32-E72D297353CC}">
                <c16:uniqueId val="{0000073D-26BF-40B0-8A43-EC10D791E60B}"/>
              </c:ext>
            </c:extLst>
          </c:dPt>
          <c:dPt>
            <c:idx val="926"/>
            <c:invertIfNegative val="1"/>
            <c:bubble3D val="0"/>
            <c:spPr>
              <a:solidFill>
                <a:srgbClr val="AEABAB"/>
              </a:solidFill>
            </c:spPr>
            <c:extLst>
              <c:ext xmlns:c16="http://schemas.microsoft.com/office/drawing/2014/chart" uri="{C3380CC4-5D6E-409C-BE32-E72D297353CC}">
                <c16:uniqueId val="{0000073F-26BF-40B0-8A43-EC10D791E60B}"/>
              </c:ext>
            </c:extLst>
          </c:dPt>
          <c:dPt>
            <c:idx val="927"/>
            <c:invertIfNegative val="1"/>
            <c:bubble3D val="0"/>
            <c:spPr>
              <a:solidFill>
                <a:srgbClr val="AEABAB"/>
              </a:solidFill>
            </c:spPr>
            <c:extLst>
              <c:ext xmlns:c16="http://schemas.microsoft.com/office/drawing/2014/chart" uri="{C3380CC4-5D6E-409C-BE32-E72D297353CC}">
                <c16:uniqueId val="{00000741-26BF-40B0-8A43-EC10D791E60B}"/>
              </c:ext>
            </c:extLst>
          </c:dPt>
          <c:dPt>
            <c:idx val="928"/>
            <c:invertIfNegative val="1"/>
            <c:bubble3D val="0"/>
            <c:spPr>
              <a:solidFill>
                <a:srgbClr val="AEABAB"/>
              </a:solidFill>
            </c:spPr>
            <c:extLst>
              <c:ext xmlns:c16="http://schemas.microsoft.com/office/drawing/2014/chart" uri="{C3380CC4-5D6E-409C-BE32-E72D297353CC}">
                <c16:uniqueId val="{00000743-26BF-40B0-8A43-EC10D791E60B}"/>
              </c:ext>
            </c:extLst>
          </c:dPt>
          <c:dPt>
            <c:idx val="929"/>
            <c:invertIfNegative val="1"/>
            <c:bubble3D val="0"/>
            <c:spPr>
              <a:solidFill>
                <a:srgbClr val="AEABAB"/>
              </a:solidFill>
            </c:spPr>
            <c:extLst>
              <c:ext xmlns:c16="http://schemas.microsoft.com/office/drawing/2014/chart" uri="{C3380CC4-5D6E-409C-BE32-E72D297353CC}">
                <c16:uniqueId val="{00000745-26BF-40B0-8A43-EC10D791E60B}"/>
              </c:ext>
            </c:extLst>
          </c:dPt>
          <c:dPt>
            <c:idx val="930"/>
            <c:invertIfNegative val="1"/>
            <c:bubble3D val="0"/>
            <c:spPr>
              <a:solidFill>
                <a:srgbClr val="AEABAB"/>
              </a:solidFill>
            </c:spPr>
            <c:extLst>
              <c:ext xmlns:c16="http://schemas.microsoft.com/office/drawing/2014/chart" uri="{C3380CC4-5D6E-409C-BE32-E72D297353CC}">
                <c16:uniqueId val="{00000747-26BF-40B0-8A43-EC10D791E60B}"/>
              </c:ext>
            </c:extLst>
          </c:dPt>
          <c:dPt>
            <c:idx val="931"/>
            <c:invertIfNegative val="1"/>
            <c:bubble3D val="0"/>
            <c:spPr>
              <a:solidFill>
                <a:srgbClr val="AEABAB"/>
              </a:solidFill>
            </c:spPr>
            <c:extLst>
              <c:ext xmlns:c16="http://schemas.microsoft.com/office/drawing/2014/chart" uri="{C3380CC4-5D6E-409C-BE32-E72D297353CC}">
                <c16:uniqueId val="{00000749-26BF-40B0-8A43-EC10D791E60B}"/>
              </c:ext>
            </c:extLst>
          </c:dPt>
          <c:dPt>
            <c:idx val="932"/>
            <c:invertIfNegative val="1"/>
            <c:bubble3D val="0"/>
            <c:spPr>
              <a:solidFill>
                <a:srgbClr val="AEABAB"/>
              </a:solidFill>
            </c:spPr>
            <c:extLst>
              <c:ext xmlns:c16="http://schemas.microsoft.com/office/drawing/2014/chart" uri="{C3380CC4-5D6E-409C-BE32-E72D297353CC}">
                <c16:uniqueId val="{0000074B-26BF-40B0-8A43-EC10D791E60B}"/>
              </c:ext>
            </c:extLst>
          </c:dPt>
          <c:dPt>
            <c:idx val="933"/>
            <c:invertIfNegative val="1"/>
            <c:bubble3D val="0"/>
            <c:spPr>
              <a:solidFill>
                <a:srgbClr val="AEABAB"/>
              </a:solidFill>
            </c:spPr>
            <c:extLst>
              <c:ext xmlns:c16="http://schemas.microsoft.com/office/drawing/2014/chart" uri="{C3380CC4-5D6E-409C-BE32-E72D297353CC}">
                <c16:uniqueId val="{0000074D-26BF-40B0-8A43-EC10D791E60B}"/>
              </c:ext>
            </c:extLst>
          </c:dPt>
          <c:dPt>
            <c:idx val="934"/>
            <c:invertIfNegative val="1"/>
            <c:bubble3D val="0"/>
            <c:spPr>
              <a:solidFill>
                <a:srgbClr val="AEABAB"/>
              </a:solidFill>
            </c:spPr>
            <c:extLst>
              <c:ext xmlns:c16="http://schemas.microsoft.com/office/drawing/2014/chart" uri="{C3380CC4-5D6E-409C-BE32-E72D297353CC}">
                <c16:uniqueId val="{0000074F-26BF-40B0-8A43-EC10D791E60B}"/>
              </c:ext>
            </c:extLst>
          </c:dPt>
          <c:dPt>
            <c:idx val="935"/>
            <c:invertIfNegative val="1"/>
            <c:bubble3D val="0"/>
            <c:spPr>
              <a:solidFill>
                <a:srgbClr val="AEABAB"/>
              </a:solidFill>
            </c:spPr>
            <c:extLst>
              <c:ext xmlns:c16="http://schemas.microsoft.com/office/drawing/2014/chart" uri="{C3380CC4-5D6E-409C-BE32-E72D297353CC}">
                <c16:uniqueId val="{00000751-26BF-40B0-8A43-EC10D791E60B}"/>
              </c:ext>
            </c:extLst>
          </c:dPt>
          <c:dPt>
            <c:idx val="936"/>
            <c:invertIfNegative val="1"/>
            <c:bubble3D val="0"/>
            <c:spPr>
              <a:solidFill>
                <a:srgbClr val="AEABAB"/>
              </a:solidFill>
            </c:spPr>
            <c:extLst>
              <c:ext xmlns:c16="http://schemas.microsoft.com/office/drawing/2014/chart" uri="{C3380CC4-5D6E-409C-BE32-E72D297353CC}">
                <c16:uniqueId val="{00000753-26BF-40B0-8A43-EC10D791E60B}"/>
              </c:ext>
            </c:extLst>
          </c:dPt>
          <c:dPt>
            <c:idx val="937"/>
            <c:invertIfNegative val="1"/>
            <c:bubble3D val="0"/>
            <c:spPr>
              <a:solidFill>
                <a:srgbClr val="AEABAB"/>
              </a:solidFill>
            </c:spPr>
            <c:extLst>
              <c:ext xmlns:c16="http://schemas.microsoft.com/office/drawing/2014/chart" uri="{C3380CC4-5D6E-409C-BE32-E72D297353CC}">
                <c16:uniqueId val="{00000755-26BF-40B0-8A43-EC10D791E60B}"/>
              </c:ext>
            </c:extLst>
          </c:dPt>
          <c:dPt>
            <c:idx val="938"/>
            <c:invertIfNegative val="1"/>
            <c:bubble3D val="0"/>
            <c:spPr>
              <a:solidFill>
                <a:srgbClr val="AEABAB"/>
              </a:solidFill>
            </c:spPr>
            <c:extLst>
              <c:ext xmlns:c16="http://schemas.microsoft.com/office/drawing/2014/chart" uri="{C3380CC4-5D6E-409C-BE32-E72D297353CC}">
                <c16:uniqueId val="{00000757-26BF-40B0-8A43-EC10D791E60B}"/>
              </c:ext>
            </c:extLst>
          </c:dPt>
          <c:dPt>
            <c:idx val="939"/>
            <c:invertIfNegative val="1"/>
            <c:bubble3D val="0"/>
            <c:spPr>
              <a:solidFill>
                <a:srgbClr val="AEABAB"/>
              </a:solidFill>
            </c:spPr>
            <c:extLst>
              <c:ext xmlns:c16="http://schemas.microsoft.com/office/drawing/2014/chart" uri="{C3380CC4-5D6E-409C-BE32-E72D297353CC}">
                <c16:uniqueId val="{00000759-26BF-40B0-8A43-EC10D791E60B}"/>
              </c:ext>
            </c:extLst>
          </c:dPt>
          <c:dPt>
            <c:idx val="940"/>
            <c:invertIfNegative val="1"/>
            <c:bubble3D val="0"/>
            <c:spPr>
              <a:solidFill>
                <a:srgbClr val="AEABAB"/>
              </a:solidFill>
            </c:spPr>
            <c:extLst>
              <c:ext xmlns:c16="http://schemas.microsoft.com/office/drawing/2014/chart" uri="{C3380CC4-5D6E-409C-BE32-E72D297353CC}">
                <c16:uniqueId val="{0000075B-26BF-40B0-8A43-EC10D791E60B}"/>
              </c:ext>
            </c:extLst>
          </c:dPt>
          <c:dPt>
            <c:idx val="941"/>
            <c:invertIfNegative val="1"/>
            <c:bubble3D val="0"/>
            <c:spPr>
              <a:solidFill>
                <a:srgbClr val="AEABAB"/>
              </a:solidFill>
            </c:spPr>
            <c:extLst>
              <c:ext xmlns:c16="http://schemas.microsoft.com/office/drawing/2014/chart" uri="{C3380CC4-5D6E-409C-BE32-E72D297353CC}">
                <c16:uniqueId val="{0000075D-26BF-40B0-8A43-EC10D791E60B}"/>
              </c:ext>
            </c:extLst>
          </c:dPt>
          <c:dPt>
            <c:idx val="942"/>
            <c:invertIfNegative val="1"/>
            <c:bubble3D val="0"/>
            <c:spPr>
              <a:solidFill>
                <a:srgbClr val="AEABAB"/>
              </a:solidFill>
            </c:spPr>
            <c:extLst>
              <c:ext xmlns:c16="http://schemas.microsoft.com/office/drawing/2014/chart" uri="{C3380CC4-5D6E-409C-BE32-E72D297353CC}">
                <c16:uniqueId val="{0000075F-26BF-40B0-8A43-EC10D791E60B}"/>
              </c:ext>
            </c:extLst>
          </c:dPt>
          <c:dPt>
            <c:idx val="943"/>
            <c:invertIfNegative val="1"/>
            <c:bubble3D val="0"/>
            <c:spPr>
              <a:solidFill>
                <a:srgbClr val="AEABAB"/>
              </a:solidFill>
            </c:spPr>
            <c:extLst>
              <c:ext xmlns:c16="http://schemas.microsoft.com/office/drawing/2014/chart" uri="{C3380CC4-5D6E-409C-BE32-E72D297353CC}">
                <c16:uniqueId val="{00000761-26BF-40B0-8A43-EC10D791E60B}"/>
              </c:ext>
            </c:extLst>
          </c:dPt>
          <c:dPt>
            <c:idx val="944"/>
            <c:invertIfNegative val="1"/>
            <c:bubble3D val="0"/>
            <c:spPr>
              <a:solidFill>
                <a:srgbClr val="AEABAB"/>
              </a:solidFill>
            </c:spPr>
            <c:extLst>
              <c:ext xmlns:c16="http://schemas.microsoft.com/office/drawing/2014/chart" uri="{C3380CC4-5D6E-409C-BE32-E72D297353CC}">
                <c16:uniqueId val="{00000763-26BF-40B0-8A43-EC10D791E60B}"/>
              </c:ext>
            </c:extLst>
          </c:dPt>
          <c:dPt>
            <c:idx val="945"/>
            <c:invertIfNegative val="1"/>
            <c:bubble3D val="0"/>
            <c:spPr>
              <a:solidFill>
                <a:srgbClr val="AEABAB"/>
              </a:solidFill>
            </c:spPr>
            <c:extLst>
              <c:ext xmlns:c16="http://schemas.microsoft.com/office/drawing/2014/chart" uri="{C3380CC4-5D6E-409C-BE32-E72D297353CC}">
                <c16:uniqueId val="{00000765-26BF-40B0-8A43-EC10D791E60B}"/>
              </c:ext>
            </c:extLst>
          </c:dPt>
          <c:dPt>
            <c:idx val="946"/>
            <c:invertIfNegative val="1"/>
            <c:bubble3D val="0"/>
            <c:spPr>
              <a:solidFill>
                <a:srgbClr val="AEABAB"/>
              </a:solidFill>
            </c:spPr>
            <c:extLst>
              <c:ext xmlns:c16="http://schemas.microsoft.com/office/drawing/2014/chart" uri="{C3380CC4-5D6E-409C-BE32-E72D297353CC}">
                <c16:uniqueId val="{00000767-26BF-40B0-8A43-EC10D791E60B}"/>
              </c:ext>
            </c:extLst>
          </c:dPt>
          <c:dPt>
            <c:idx val="947"/>
            <c:invertIfNegative val="1"/>
            <c:bubble3D val="0"/>
            <c:spPr>
              <a:solidFill>
                <a:srgbClr val="AEABAB"/>
              </a:solidFill>
            </c:spPr>
            <c:extLst>
              <c:ext xmlns:c16="http://schemas.microsoft.com/office/drawing/2014/chart" uri="{C3380CC4-5D6E-409C-BE32-E72D297353CC}">
                <c16:uniqueId val="{00000769-26BF-40B0-8A43-EC10D791E60B}"/>
              </c:ext>
            </c:extLst>
          </c:dPt>
          <c:dPt>
            <c:idx val="948"/>
            <c:invertIfNegative val="1"/>
            <c:bubble3D val="0"/>
            <c:spPr>
              <a:solidFill>
                <a:srgbClr val="AEABAB"/>
              </a:solidFill>
            </c:spPr>
            <c:extLst>
              <c:ext xmlns:c16="http://schemas.microsoft.com/office/drawing/2014/chart" uri="{C3380CC4-5D6E-409C-BE32-E72D297353CC}">
                <c16:uniqueId val="{0000076B-26BF-40B0-8A43-EC10D791E60B}"/>
              </c:ext>
            </c:extLst>
          </c:dPt>
          <c:dPt>
            <c:idx val="949"/>
            <c:invertIfNegative val="1"/>
            <c:bubble3D val="0"/>
            <c:spPr>
              <a:solidFill>
                <a:srgbClr val="AEABAB"/>
              </a:solidFill>
            </c:spPr>
            <c:extLst>
              <c:ext xmlns:c16="http://schemas.microsoft.com/office/drawing/2014/chart" uri="{C3380CC4-5D6E-409C-BE32-E72D297353CC}">
                <c16:uniqueId val="{0000076D-26BF-40B0-8A43-EC10D791E60B}"/>
              </c:ext>
            </c:extLst>
          </c:dPt>
          <c:dPt>
            <c:idx val="950"/>
            <c:invertIfNegative val="1"/>
            <c:bubble3D val="0"/>
            <c:spPr>
              <a:solidFill>
                <a:srgbClr val="AEABAB"/>
              </a:solidFill>
            </c:spPr>
            <c:extLst>
              <c:ext xmlns:c16="http://schemas.microsoft.com/office/drawing/2014/chart" uri="{C3380CC4-5D6E-409C-BE32-E72D297353CC}">
                <c16:uniqueId val="{0000076F-26BF-40B0-8A43-EC10D791E60B}"/>
              </c:ext>
            </c:extLst>
          </c:dPt>
          <c:dPt>
            <c:idx val="951"/>
            <c:invertIfNegative val="1"/>
            <c:bubble3D val="0"/>
            <c:spPr>
              <a:solidFill>
                <a:srgbClr val="AEABAB"/>
              </a:solidFill>
            </c:spPr>
            <c:extLst>
              <c:ext xmlns:c16="http://schemas.microsoft.com/office/drawing/2014/chart" uri="{C3380CC4-5D6E-409C-BE32-E72D297353CC}">
                <c16:uniqueId val="{00000771-26BF-40B0-8A43-EC10D791E60B}"/>
              </c:ext>
            </c:extLst>
          </c:dPt>
          <c:dPt>
            <c:idx val="952"/>
            <c:invertIfNegative val="1"/>
            <c:bubble3D val="0"/>
            <c:spPr>
              <a:solidFill>
                <a:srgbClr val="AEABAB"/>
              </a:solidFill>
            </c:spPr>
            <c:extLst>
              <c:ext xmlns:c16="http://schemas.microsoft.com/office/drawing/2014/chart" uri="{C3380CC4-5D6E-409C-BE32-E72D297353CC}">
                <c16:uniqueId val="{00000773-26BF-40B0-8A43-EC10D791E60B}"/>
              </c:ext>
            </c:extLst>
          </c:dPt>
          <c:dPt>
            <c:idx val="953"/>
            <c:invertIfNegative val="1"/>
            <c:bubble3D val="0"/>
            <c:spPr>
              <a:solidFill>
                <a:srgbClr val="AEABAB"/>
              </a:solidFill>
            </c:spPr>
            <c:extLst>
              <c:ext xmlns:c16="http://schemas.microsoft.com/office/drawing/2014/chart" uri="{C3380CC4-5D6E-409C-BE32-E72D297353CC}">
                <c16:uniqueId val="{00000775-26BF-40B0-8A43-EC10D791E60B}"/>
              </c:ext>
            </c:extLst>
          </c:dPt>
          <c:dPt>
            <c:idx val="954"/>
            <c:invertIfNegative val="1"/>
            <c:bubble3D val="0"/>
            <c:spPr>
              <a:solidFill>
                <a:srgbClr val="AEABAB"/>
              </a:solidFill>
            </c:spPr>
            <c:extLst>
              <c:ext xmlns:c16="http://schemas.microsoft.com/office/drawing/2014/chart" uri="{C3380CC4-5D6E-409C-BE32-E72D297353CC}">
                <c16:uniqueId val="{00000777-26BF-40B0-8A43-EC10D791E60B}"/>
              </c:ext>
            </c:extLst>
          </c:dPt>
          <c:dPt>
            <c:idx val="955"/>
            <c:invertIfNegative val="1"/>
            <c:bubble3D val="0"/>
            <c:spPr>
              <a:solidFill>
                <a:srgbClr val="AEABAB"/>
              </a:solidFill>
            </c:spPr>
            <c:extLst>
              <c:ext xmlns:c16="http://schemas.microsoft.com/office/drawing/2014/chart" uri="{C3380CC4-5D6E-409C-BE32-E72D297353CC}">
                <c16:uniqueId val="{00000779-26BF-40B0-8A43-EC10D791E60B}"/>
              </c:ext>
            </c:extLst>
          </c:dPt>
          <c:dPt>
            <c:idx val="956"/>
            <c:invertIfNegative val="1"/>
            <c:bubble3D val="0"/>
            <c:spPr>
              <a:solidFill>
                <a:srgbClr val="AEABAB"/>
              </a:solidFill>
            </c:spPr>
            <c:extLst>
              <c:ext xmlns:c16="http://schemas.microsoft.com/office/drawing/2014/chart" uri="{C3380CC4-5D6E-409C-BE32-E72D297353CC}">
                <c16:uniqueId val="{0000077B-26BF-40B0-8A43-EC10D791E60B}"/>
              </c:ext>
            </c:extLst>
          </c:dPt>
          <c:dPt>
            <c:idx val="957"/>
            <c:invertIfNegative val="1"/>
            <c:bubble3D val="0"/>
            <c:spPr>
              <a:solidFill>
                <a:srgbClr val="AEABAB"/>
              </a:solidFill>
            </c:spPr>
            <c:extLst>
              <c:ext xmlns:c16="http://schemas.microsoft.com/office/drawing/2014/chart" uri="{C3380CC4-5D6E-409C-BE32-E72D297353CC}">
                <c16:uniqueId val="{0000077D-26BF-40B0-8A43-EC10D791E60B}"/>
              </c:ext>
            </c:extLst>
          </c:dPt>
          <c:dPt>
            <c:idx val="958"/>
            <c:invertIfNegative val="1"/>
            <c:bubble3D val="0"/>
            <c:spPr>
              <a:solidFill>
                <a:srgbClr val="AEABAB"/>
              </a:solidFill>
            </c:spPr>
            <c:extLst>
              <c:ext xmlns:c16="http://schemas.microsoft.com/office/drawing/2014/chart" uri="{C3380CC4-5D6E-409C-BE32-E72D297353CC}">
                <c16:uniqueId val="{0000077F-26BF-40B0-8A43-EC10D791E60B}"/>
              </c:ext>
            </c:extLst>
          </c:dPt>
          <c:dPt>
            <c:idx val="959"/>
            <c:invertIfNegative val="1"/>
            <c:bubble3D val="0"/>
            <c:spPr>
              <a:solidFill>
                <a:srgbClr val="AEABAB"/>
              </a:solidFill>
            </c:spPr>
            <c:extLst>
              <c:ext xmlns:c16="http://schemas.microsoft.com/office/drawing/2014/chart" uri="{C3380CC4-5D6E-409C-BE32-E72D297353CC}">
                <c16:uniqueId val="{00000781-26BF-40B0-8A43-EC10D791E60B}"/>
              </c:ext>
            </c:extLst>
          </c:dPt>
          <c:dPt>
            <c:idx val="960"/>
            <c:invertIfNegative val="1"/>
            <c:bubble3D val="0"/>
            <c:spPr>
              <a:solidFill>
                <a:srgbClr val="AEABAB"/>
              </a:solidFill>
            </c:spPr>
            <c:extLst>
              <c:ext xmlns:c16="http://schemas.microsoft.com/office/drawing/2014/chart" uri="{C3380CC4-5D6E-409C-BE32-E72D297353CC}">
                <c16:uniqueId val="{00000783-26BF-40B0-8A43-EC10D791E60B}"/>
              </c:ext>
            </c:extLst>
          </c:dPt>
          <c:dPt>
            <c:idx val="961"/>
            <c:invertIfNegative val="1"/>
            <c:bubble3D val="0"/>
            <c:spPr>
              <a:solidFill>
                <a:srgbClr val="AEABAB"/>
              </a:solidFill>
            </c:spPr>
            <c:extLst>
              <c:ext xmlns:c16="http://schemas.microsoft.com/office/drawing/2014/chart" uri="{C3380CC4-5D6E-409C-BE32-E72D297353CC}">
                <c16:uniqueId val="{00000785-26BF-40B0-8A43-EC10D791E60B}"/>
              </c:ext>
            </c:extLst>
          </c:dPt>
          <c:dPt>
            <c:idx val="962"/>
            <c:invertIfNegative val="1"/>
            <c:bubble3D val="0"/>
            <c:spPr>
              <a:solidFill>
                <a:srgbClr val="AEABAB"/>
              </a:solidFill>
            </c:spPr>
            <c:extLst>
              <c:ext xmlns:c16="http://schemas.microsoft.com/office/drawing/2014/chart" uri="{C3380CC4-5D6E-409C-BE32-E72D297353CC}">
                <c16:uniqueId val="{00000787-26BF-40B0-8A43-EC10D791E60B}"/>
              </c:ext>
            </c:extLst>
          </c:dPt>
          <c:dPt>
            <c:idx val="963"/>
            <c:invertIfNegative val="1"/>
            <c:bubble3D val="0"/>
            <c:spPr>
              <a:solidFill>
                <a:srgbClr val="AEABAB"/>
              </a:solidFill>
            </c:spPr>
            <c:extLst>
              <c:ext xmlns:c16="http://schemas.microsoft.com/office/drawing/2014/chart" uri="{C3380CC4-5D6E-409C-BE32-E72D297353CC}">
                <c16:uniqueId val="{00000789-26BF-40B0-8A43-EC10D791E60B}"/>
              </c:ext>
            </c:extLst>
          </c:dPt>
          <c:dPt>
            <c:idx val="964"/>
            <c:invertIfNegative val="1"/>
            <c:bubble3D val="0"/>
            <c:spPr>
              <a:solidFill>
                <a:srgbClr val="AEABAB"/>
              </a:solidFill>
            </c:spPr>
            <c:extLst>
              <c:ext xmlns:c16="http://schemas.microsoft.com/office/drawing/2014/chart" uri="{C3380CC4-5D6E-409C-BE32-E72D297353CC}">
                <c16:uniqueId val="{0000078B-26BF-40B0-8A43-EC10D791E60B}"/>
              </c:ext>
            </c:extLst>
          </c:dPt>
          <c:dPt>
            <c:idx val="965"/>
            <c:invertIfNegative val="1"/>
            <c:bubble3D val="0"/>
            <c:spPr>
              <a:solidFill>
                <a:srgbClr val="AEABAB"/>
              </a:solidFill>
            </c:spPr>
            <c:extLst>
              <c:ext xmlns:c16="http://schemas.microsoft.com/office/drawing/2014/chart" uri="{C3380CC4-5D6E-409C-BE32-E72D297353CC}">
                <c16:uniqueId val="{0000078D-26BF-40B0-8A43-EC10D791E60B}"/>
              </c:ext>
            </c:extLst>
          </c:dPt>
          <c:dPt>
            <c:idx val="966"/>
            <c:invertIfNegative val="1"/>
            <c:bubble3D val="0"/>
            <c:spPr>
              <a:solidFill>
                <a:srgbClr val="AEABAB"/>
              </a:solidFill>
            </c:spPr>
            <c:extLst>
              <c:ext xmlns:c16="http://schemas.microsoft.com/office/drawing/2014/chart" uri="{C3380CC4-5D6E-409C-BE32-E72D297353CC}">
                <c16:uniqueId val="{0000078F-26BF-40B0-8A43-EC10D791E60B}"/>
              </c:ext>
            </c:extLst>
          </c:dPt>
          <c:dPt>
            <c:idx val="967"/>
            <c:invertIfNegative val="1"/>
            <c:bubble3D val="0"/>
            <c:spPr>
              <a:solidFill>
                <a:srgbClr val="AEABAB"/>
              </a:solidFill>
            </c:spPr>
            <c:extLst>
              <c:ext xmlns:c16="http://schemas.microsoft.com/office/drawing/2014/chart" uri="{C3380CC4-5D6E-409C-BE32-E72D297353CC}">
                <c16:uniqueId val="{00000791-26BF-40B0-8A43-EC10D791E60B}"/>
              </c:ext>
            </c:extLst>
          </c:dPt>
          <c:dPt>
            <c:idx val="968"/>
            <c:invertIfNegative val="1"/>
            <c:bubble3D val="0"/>
            <c:spPr>
              <a:solidFill>
                <a:srgbClr val="AEABAB"/>
              </a:solidFill>
            </c:spPr>
            <c:extLst>
              <c:ext xmlns:c16="http://schemas.microsoft.com/office/drawing/2014/chart" uri="{C3380CC4-5D6E-409C-BE32-E72D297353CC}">
                <c16:uniqueId val="{00000793-26BF-40B0-8A43-EC10D791E60B}"/>
              </c:ext>
            </c:extLst>
          </c:dPt>
          <c:dPt>
            <c:idx val="969"/>
            <c:invertIfNegative val="1"/>
            <c:bubble3D val="0"/>
            <c:spPr>
              <a:solidFill>
                <a:srgbClr val="AEABAB"/>
              </a:solidFill>
            </c:spPr>
            <c:extLst>
              <c:ext xmlns:c16="http://schemas.microsoft.com/office/drawing/2014/chart" uri="{C3380CC4-5D6E-409C-BE32-E72D297353CC}">
                <c16:uniqueId val="{00000795-26BF-40B0-8A43-EC10D791E60B}"/>
              </c:ext>
            </c:extLst>
          </c:dPt>
          <c:dPt>
            <c:idx val="970"/>
            <c:invertIfNegative val="1"/>
            <c:bubble3D val="0"/>
            <c:spPr>
              <a:solidFill>
                <a:srgbClr val="AEABAB"/>
              </a:solidFill>
            </c:spPr>
            <c:extLst>
              <c:ext xmlns:c16="http://schemas.microsoft.com/office/drawing/2014/chart" uri="{C3380CC4-5D6E-409C-BE32-E72D297353CC}">
                <c16:uniqueId val="{00000797-26BF-40B0-8A43-EC10D791E60B}"/>
              </c:ext>
            </c:extLst>
          </c:dPt>
          <c:dPt>
            <c:idx val="971"/>
            <c:invertIfNegative val="1"/>
            <c:bubble3D val="0"/>
            <c:spPr>
              <a:solidFill>
                <a:srgbClr val="AEABAB"/>
              </a:solidFill>
            </c:spPr>
            <c:extLst>
              <c:ext xmlns:c16="http://schemas.microsoft.com/office/drawing/2014/chart" uri="{C3380CC4-5D6E-409C-BE32-E72D297353CC}">
                <c16:uniqueId val="{00000799-26BF-40B0-8A43-EC10D791E60B}"/>
              </c:ext>
            </c:extLst>
          </c:dPt>
          <c:dPt>
            <c:idx val="972"/>
            <c:invertIfNegative val="1"/>
            <c:bubble3D val="0"/>
            <c:spPr>
              <a:solidFill>
                <a:srgbClr val="AEABAB"/>
              </a:solidFill>
            </c:spPr>
            <c:extLst>
              <c:ext xmlns:c16="http://schemas.microsoft.com/office/drawing/2014/chart" uri="{C3380CC4-5D6E-409C-BE32-E72D297353CC}">
                <c16:uniqueId val="{0000079B-26BF-40B0-8A43-EC10D791E60B}"/>
              </c:ext>
            </c:extLst>
          </c:dPt>
          <c:dPt>
            <c:idx val="973"/>
            <c:invertIfNegative val="1"/>
            <c:bubble3D val="0"/>
            <c:spPr>
              <a:solidFill>
                <a:srgbClr val="AEABAB"/>
              </a:solidFill>
            </c:spPr>
            <c:extLst>
              <c:ext xmlns:c16="http://schemas.microsoft.com/office/drawing/2014/chart" uri="{C3380CC4-5D6E-409C-BE32-E72D297353CC}">
                <c16:uniqueId val="{0000079D-26BF-40B0-8A43-EC10D791E60B}"/>
              </c:ext>
            </c:extLst>
          </c:dPt>
          <c:dPt>
            <c:idx val="974"/>
            <c:invertIfNegative val="1"/>
            <c:bubble3D val="0"/>
            <c:spPr>
              <a:solidFill>
                <a:srgbClr val="AEABAB"/>
              </a:solidFill>
            </c:spPr>
            <c:extLst>
              <c:ext xmlns:c16="http://schemas.microsoft.com/office/drawing/2014/chart" uri="{C3380CC4-5D6E-409C-BE32-E72D297353CC}">
                <c16:uniqueId val="{0000079F-26BF-40B0-8A43-EC10D791E60B}"/>
              </c:ext>
            </c:extLst>
          </c:dPt>
          <c:dPt>
            <c:idx val="975"/>
            <c:invertIfNegative val="1"/>
            <c:bubble3D val="0"/>
            <c:spPr>
              <a:solidFill>
                <a:srgbClr val="AEABAB"/>
              </a:solidFill>
            </c:spPr>
            <c:extLst>
              <c:ext xmlns:c16="http://schemas.microsoft.com/office/drawing/2014/chart" uri="{C3380CC4-5D6E-409C-BE32-E72D297353CC}">
                <c16:uniqueId val="{000007A1-26BF-40B0-8A43-EC10D791E60B}"/>
              </c:ext>
            </c:extLst>
          </c:dPt>
          <c:dPt>
            <c:idx val="976"/>
            <c:invertIfNegative val="1"/>
            <c:bubble3D val="0"/>
            <c:spPr>
              <a:solidFill>
                <a:srgbClr val="AEABAB"/>
              </a:solidFill>
            </c:spPr>
            <c:extLst>
              <c:ext xmlns:c16="http://schemas.microsoft.com/office/drawing/2014/chart" uri="{C3380CC4-5D6E-409C-BE32-E72D297353CC}">
                <c16:uniqueId val="{000007A3-26BF-40B0-8A43-EC10D791E60B}"/>
              </c:ext>
            </c:extLst>
          </c:dPt>
          <c:dPt>
            <c:idx val="977"/>
            <c:invertIfNegative val="1"/>
            <c:bubble3D val="0"/>
            <c:spPr>
              <a:solidFill>
                <a:srgbClr val="AEABAB"/>
              </a:solidFill>
            </c:spPr>
            <c:extLst>
              <c:ext xmlns:c16="http://schemas.microsoft.com/office/drawing/2014/chart" uri="{C3380CC4-5D6E-409C-BE32-E72D297353CC}">
                <c16:uniqueId val="{000007A5-26BF-40B0-8A43-EC10D791E60B}"/>
              </c:ext>
            </c:extLst>
          </c:dPt>
          <c:dPt>
            <c:idx val="978"/>
            <c:invertIfNegative val="1"/>
            <c:bubble3D val="0"/>
            <c:spPr>
              <a:solidFill>
                <a:srgbClr val="AEABAB"/>
              </a:solidFill>
            </c:spPr>
            <c:extLst>
              <c:ext xmlns:c16="http://schemas.microsoft.com/office/drawing/2014/chart" uri="{C3380CC4-5D6E-409C-BE32-E72D297353CC}">
                <c16:uniqueId val="{000007A7-26BF-40B0-8A43-EC10D791E60B}"/>
              </c:ext>
            </c:extLst>
          </c:dPt>
          <c:dPt>
            <c:idx val="979"/>
            <c:invertIfNegative val="1"/>
            <c:bubble3D val="0"/>
            <c:spPr>
              <a:solidFill>
                <a:srgbClr val="AEABAB"/>
              </a:solidFill>
            </c:spPr>
            <c:extLst>
              <c:ext xmlns:c16="http://schemas.microsoft.com/office/drawing/2014/chart" uri="{C3380CC4-5D6E-409C-BE32-E72D297353CC}">
                <c16:uniqueId val="{000007A9-26BF-40B0-8A43-EC10D791E60B}"/>
              </c:ext>
            </c:extLst>
          </c:dPt>
          <c:dPt>
            <c:idx val="980"/>
            <c:invertIfNegative val="1"/>
            <c:bubble3D val="0"/>
            <c:spPr>
              <a:solidFill>
                <a:srgbClr val="AEABAB"/>
              </a:solidFill>
            </c:spPr>
            <c:extLst>
              <c:ext xmlns:c16="http://schemas.microsoft.com/office/drawing/2014/chart" uri="{C3380CC4-5D6E-409C-BE32-E72D297353CC}">
                <c16:uniqueId val="{000007AB-26BF-40B0-8A43-EC10D791E60B}"/>
              </c:ext>
            </c:extLst>
          </c:dPt>
          <c:dPt>
            <c:idx val="981"/>
            <c:invertIfNegative val="1"/>
            <c:bubble3D val="0"/>
            <c:spPr>
              <a:solidFill>
                <a:srgbClr val="AEABAB"/>
              </a:solidFill>
            </c:spPr>
            <c:extLst>
              <c:ext xmlns:c16="http://schemas.microsoft.com/office/drawing/2014/chart" uri="{C3380CC4-5D6E-409C-BE32-E72D297353CC}">
                <c16:uniqueId val="{000007AD-26BF-40B0-8A43-EC10D791E60B}"/>
              </c:ext>
            </c:extLst>
          </c:dPt>
          <c:dPt>
            <c:idx val="982"/>
            <c:invertIfNegative val="1"/>
            <c:bubble3D val="0"/>
            <c:spPr>
              <a:solidFill>
                <a:srgbClr val="AEABAB"/>
              </a:solidFill>
            </c:spPr>
            <c:extLst>
              <c:ext xmlns:c16="http://schemas.microsoft.com/office/drawing/2014/chart" uri="{C3380CC4-5D6E-409C-BE32-E72D297353CC}">
                <c16:uniqueId val="{000007AF-26BF-40B0-8A43-EC10D791E60B}"/>
              </c:ext>
            </c:extLst>
          </c:dPt>
          <c:dPt>
            <c:idx val="983"/>
            <c:invertIfNegative val="1"/>
            <c:bubble3D val="0"/>
            <c:spPr>
              <a:solidFill>
                <a:srgbClr val="AEABAB"/>
              </a:solidFill>
            </c:spPr>
            <c:extLst>
              <c:ext xmlns:c16="http://schemas.microsoft.com/office/drawing/2014/chart" uri="{C3380CC4-5D6E-409C-BE32-E72D297353CC}">
                <c16:uniqueId val="{000007B1-26BF-40B0-8A43-EC10D791E60B}"/>
              </c:ext>
            </c:extLst>
          </c:dPt>
          <c:dPt>
            <c:idx val="984"/>
            <c:invertIfNegative val="1"/>
            <c:bubble3D val="0"/>
            <c:spPr>
              <a:solidFill>
                <a:srgbClr val="AEABAB"/>
              </a:solidFill>
            </c:spPr>
            <c:extLst>
              <c:ext xmlns:c16="http://schemas.microsoft.com/office/drawing/2014/chart" uri="{C3380CC4-5D6E-409C-BE32-E72D297353CC}">
                <c16:uniqueId val="{000007B3-26BF-40B0-8A43-EC10D791E60B}"/>
              </c:ext>
            </c:extLst>
          </c:dPt>
          <c:dPt>
            <c:idx val="985"/>
            <c:invertIfNegative val="1"/>
            <c:bubble3D val="0"/>
            <c:spPr>
              <a:solidFill>
                <a:srgbClr val="AEABAB"/>
              </a:solidFill>
            </c:spPr>
            <c:extLst>
              <c:ext xmlns:c16="http://schemas.microsoft.com/office/drawing/2014/chart" uri="{C3380CC4-5D6E-409C-BE32-E72D297353CC}">
                <c16:uniqueId val="{000007B5-26BF-40B0-8A43-EC10D791E60B}"/>
              </c:ext>
            </c:extLst>
          </c:dPt>
          <c:dPt>
            <c:idx val="986"/>
            <c:invertIfNegative val="1"/>
            <c:bubble3D val="0"/>
            <c:spPr>
              <a:solidFill>
                <a:srgbClr val="AEABAB"/>
              </a:solidFill>
            </c:spPr>
            <c:extLst>
              <c:ext xmlns:c16="http://schemas.microsoft.com/office/drawing/2014/chart" uri="{C3380CC4-5D6E-409C-BE32-E72D297353CC}">
                <c16:uniqueId val="{000007B7-26BF-40B0-8A43-EC10D791E60B}"/>
              </c:ext>
            </c:extLst>
          </c:dPt>
          <c:dPt>
            <c:idx val="987"/>
            <c:invertIfNegative val="1"/>
            <c:bubble3D val="0"/>
            <c:spPr>
              <a:solidFill>
                <a:srgbClr val="AEABAB"/>
              </a:solidFill>
            </c:spPr>
            <c:extLst>
              <c:ext xmlns:c16="http://schemas.microsoft.com/office/drawing/2014/chart" uri="{C3380CC4-5D6E-409C-BE32-E72D297353CC}">
                <c16:uniqueId val="{000007B9-26BF-40B0-8A43-EC10D791E60B}"/>
              </c:ext>
            </c:extLst>
          </c:dPt>
          <c:dPt>
            <c:idx val="988"/>
            <c:invertIfNegative val="1"/>
            <c:bubble3D val="0"/>
            <c:spPr>
              <a:solidFill>
                <a:srgbClr val="AEABAB"/>
              </a:solidFill>
            </c:spPr>
            <c:extLst>
              <c:ext xmlns:c16="http://schemas.microsoft.com/office/drawing/2014/chart" uri="{C3380CC4-5D6E-409C-BE32-E72D297353CC}">
                <c16:uniqueId val="{000007BB-26BF-40B0-8A43-EC10D791E60B}"/>
              </c:ext>
            </c:extLst>
          </c:dPt>
          <c:dPt>
            <c:idx val="989"/>
            <c:invertIfNegative val="1"/>
            <c:bubble3D val="0"/>
            <c:spPr>
              <a:solidFill>
                <a:srgbClr val="AEABAB"/>
              </a:solidFill>
            </c:spPr>
            <c:extLst>
              <c:ext xmlns:c16="http://schemas.microsoft.com/office/drawing/2014/chart" uri="{C3380CC4-5D6E-409C-BE32-E72D297353CC}">
                <c16:uniqueId val="{000007BD-26BF-40B0-8A43-EC10D791E60B}"/>
              </c:ext>
            </c:extLst>
          </c:dPt>
          <c:dPt>
            <c:idx val="990"/>
            <c:invertIfNegative val="1"/>
            <c:bubble3D val="0"/>
            <c:spPr>
              <a:solidFill>
                <a:srgbClr val="AEABAB"/>
              </a:solidFill>
            </c:spPr>
            <c:extLst>
              <c:ext xmlns:c16="http://schemas.microsoft.com/office/drawing/2014/chart" uri="{C3380CC4-5D6E-409C-BE32-E72D297353CC}">
                <c16:uniqueId val="{000007BF-26BF-40B0-8A43-EC10D791E60B}"/>
              </c:ext>
            </c:extLst>
          </c:dPt>
          <c:dPt>
            <c:idx val="991"/>
            <c:invertIfNegative val="1"/>
            <c:bubble3D val="0"/>
            <c:spPr>
              <a:solidFill>
                <a:srgbClr val="AEABAB"/>
              </a:solidFill>
            </c:spPr>
            <c:extLst>
              <c:ext xmlns:c16="http://schemas.microsoft.com/office/drawing/2014/chart" uri="{C3380CC4-5D6E-409C-BE32-E72D297353CC}">
                <c16:uniqueId val="{000007C1-26BF-40B0-8A43-EC10D791E60B}"/>
              </c:ext>
            </c:extLst>
          </c:dPt>
          <c:dPt>
            <c:idx val="992"/>
            <c:invertIfNegative val="1"/>
            <c:bubble3D val="0"/>
            <c:spPr>
              <a:solidFill>
                <a:srgbClr val="AEABAB"/>
              </a:solidFill>
            </c:spPr>
            <c:extLst>
              <c:ext xmlns:c16="http://schemas.microsoft.com/office/drawing/2014/chart" uri="{C3380CC4-5D6E-409C-BE32-E72D297353CC}">
                <c16:uniqueId val="{000007C3-26BF-40B0-8A43-EC10D791E60B}"/>
              </c:ext>
            </c:extLst>
          </c:dPt>
          <c:dPt>
            <c:idx val="993"/>
            <c:invertIfNegative val="1"/>
            <c:bubble3D val="0"/>
            <c:spPr>
              <a:solidFill>
                <a:srgbClr val="AEABAB"/>
              </a:solidFill>
            </c:spPr>
            <c:extLst>
              <c:ext xmlns:c16="http://schemas.microsoft.com/office/drawing/2014/chart" uri="{C3380CC4-5D6E-409C-BE32-E72D297353CC}">
                <c16:uniqueId val="{000007C5-26BF-40B0-8A43-EC10D791E60B}"/>
              </c:ext>
            </c:extLst>
          </c:dPt>
          <c:dPt>
            <c:idx val="994"/>
            <c:invertIfNegative val="1"/>
            <c:bubble3D val="0"/>
            <c:spPr>
              <a:solidFill>
                <a:srgbClr val="AEABAB"/>
              </a:solidFill>
            </c:spPr>
            <c:extLst>
              <c:ext xmlns:c16="http://schemas.microsoft.com/office/drawing/2014/chart" uri="{C3380CC4-5D6E-409C-BE32-E72D297353CC}">
                <c16:uniqueId val="{000007C7-26BF-40B0-8A43-EC10D791E60B}"/>
              </c:ext>
            </c:extLst>
          </c:dPt>
          <c:dPt>
            <c:idx val="995"/>
            <c:invertIfNegative val="1"/>
            <c:bubble3D val="0"/>
            <c:spPr>
              <a:solidFill>
                <a:srgbClr val="AEABAB"/>
              </a:solidFill>
            </c:spPr>
            <c:extLst>
              <c:ext xmlns:c16="http://schemas.microsoft.com/office/drawing/2014/chart" uri="{C3380CC4-5D6E-409C-BE32-E72D297353CC}">
                <c16:uniqueId val="{000007C9-26BF-40B0-8A43-EC10D791E60B}"/>
              </c:ext>
            </c:extLst>
          </c:dPt>
          <c:dPt>
            <c:idx val="996"/>
            <c:invertIfNegative val="1"/>
            <c:bubble3D val="0"/>
            <c:spPr>
              <a:solidFill>
                <a:srgbClr val="AEABAB"/>
              </a:solidFill>
            </c:spPr>
            <c:extLst>
              <c:ext xmlns:c16="http://schemas.microsoft.com/office/drawing/2014/chart" uri="{C3380CC4-5D6E-409C-BE32-E72D297353CC}">
                <c16:uniqueId val="{000007CB-26BF-40B0-8A43-EC10D791E60B}"/>
              </c:ext>
            </c:extLst>
          </c:dPt>
          <c:dPt>
            <c:idx val="997"/>
            <c:invertIfNegative val="1"/>
            <c:bubble3D val="0"/>
            <c:spPr>
              <a:solidFill>
                <a:srgbClr val="AEABAB"/>
              </a:solidFill>
            </c:spPr>
            <c:extLst>
              <c:ext xmlns:c16="http://schemas.microsoft.com/office/drawing/2014/chart" uri="{C3380CC4-5D6E-409C-BE32-E72D297353CC}">
                <c16:uniqueId val="{000007CD-26BF-40B0-8A43-EC10D791E60B}"/>
              </c:ext>
            </c:extLst>
          </c:dPt>
          <c:dPt>
            <c:idx val="998"/>
            <c:invertIfNegative val="1"/>
            <c:bubble3D val="0"/>
            <c:spPr>
              <a:solidFill>
                <a:srgbClr val="AEABAB"/>
              </a:solidFill>
            </c:spPr>
            <c:extLst>
              <c:ext xmlns:c16="http://schemas.microsoft.com/office/drawing/2014/chart" uri="{C3380CC4-5D6E-409C-BE32-E72D297353CC}">
                <c16:uniqueId val="{000007CF-26BF-40B0-8A43-EC10D791E60B}"/>
              </c:ext>
            </c:extLst>
          </c:dPt>
          <c:dPt>
            <c:idx val="999"/>
            <c:invertIfNegative val="1"/>
            <c:bubble3D val="0"/>
            <c:spPr>
              <a:solidFill>
                <a:srgbClr val="AEABAB"/>
              </a:solidFill>
            </c:spPr>
            <c:extLst>
              <c:ext xmlns:c16="http://schemas.microsoft.com/office/drawing/2014/chart" uri="{C3380CC4-5D6E-409C-BE32-E72D297353CC}">
                <c16:uniqueId val="{000007D1-26BF-40B0-8A43-EC10D791E60B}"/>
              </c:ext>
            </c:extLst>
          </c:dPt>
          <c:dPt>
            <c:idx val="1000"/>
            <c:invertIfNegative val="1"/>
            <c:bubble3D val="0"/>
            <c:spPr>
              <a:solidFill>
                <a:srgbClr val="AEABAB"/>
              </a:solidFill>
            </c:spPr>
            <c:extLst>
              <c:ext xmlns:c16="http://schemas.microsoft.com/office/drawing/2014/chart" uri="{C3380CC4-5D6E-409C-BE32-E72D297353CC}">
                <c16:uniqueId val="{000007D3-26BF-40B0-8A43-EC10D791E60B}"/>
              </c:ext>
            </c:extLst>
          </c:dPt>
          <c:dPt>
            <c:idx val="1001"/>
            <c:invertIfNegative val="1"/>
            <c:bubble3D val="0"/>
            <c:spPr>
              <a:solidFill>
                <a:srgbClr val="AEABAB"/>
              </a:solidFill>
            </c:spPr>
            <c:extLst>
              <c:ext xmlns:c16="http://schemas.microsoft.com/office/drawing/2014/chart" uri="{C3380CC4-5D6E-409C-BE32-E72D297353CC}">
                <c16:uniqueId val="{000007D5-26BF-40B0-8A43-EC10D791E60B}"/>
              </c:ext>
            </c:extLst>
          </c:dPt>
          <c:dPt>
            <c:idx val="1002"/>
            <c:invertIfNegative val="1"/>
            <c:bubble3D val="0"/>
            <c:spPr>
              <a:solidFill>
                <a:srgbClr val="AEABAB"/>
              </a:solidFill>
            </c:spPr>
            <c:extLst>
              <c:ext xmlns:c16="http://schemas.microsoft.com/office/drawing/2014/chart" uri="{C3380CC4-5D6E-409C-BE32-E72D297353CC}">
                <c16:uniqueId val="{000007D7-26BF-40B0-8A43-EC10D791E60B}"/>
              </c:ext>
            </c:extLst>
          </c:dPt>
          <c:dPt>
            <c:idx val="1003"/>
            <c:invertIfNegative val="1"/>
            <c:bubble3D val="0"/>
            <c:spPr>
              <a:solidFill>
                <a:srgbClr val="AEABAB"/>
              </a:solidFill>
            </c:spPr>
            <c:extLst>
              <c:ext xmlns:c16="http://schemas.microsoft.com/office/drawing/2014/chart" uri="{C3380CC4-5D6E-409C-BE32-E72D297353CC}">
                <c16:uniqueId val="{000007D9-26BF-40B0-8A43-EC10D791E60B}"/>
              </c:ext>
            </c:extLst>
          </c:dPt>
          <c:dPt>
            <c:idx val="1004"/>
            <c:invertIfNegative val="1"/>
            <c:bubble3D val="0"/>
            <c:spPr>
              <a:solidFill>
                <a:srgbClr val="AEABAB"/>
              </a:solidFill>
            </c:spPr>
            <c:extLst>
              <c:ext xmlns:c16="http://schemas.microsoft.com/office/drawing/2014/chart" uri="{C3380CC4-5D6E-409C-BE32-E72D297353CC}">
                <c16:uniqueId val="{000007DB-26BF-40B0-8A43-EC10D791E60B}"/>
              </c:ext>
            </c:extLst>
          </c:dPt>
          <c:dPt>
            <c:idx val="1005"/>
            <c:invertIfNegative val="1"/>
            <c:bubble3D val="0"/>
            <c:spPr>
              <a:solidFill>
                <a:srgbClr val="AEABAB"/>
              </a:solidFill>
            </c:spPr>
            <c:extLst>
              <c:ext xmlns:c16="http://schemas.microsoft.com/office/drawing/2014/chart" uri="{C3380CC4-5D6E-409C-BE32-E72D297353CC}">
                <c16:uniqueId val="{000007DD-26BF-40B0-8A43-EC10D791E60B}"/>
              </c:ext>
            </c:extLst>
          </c:dPt>
          <c:dPt>
            <c:idx val="1006"/>
            <c:invertIfNegative val="1"/>
            <c:bubble3D val="0"/>
            <c:spPr>
              <a:solidFill>
                <a:srgbClr val="AEABAB"/>
              </a:solidFill>
            </c:spPr>
            <c:extLst>
              <c:ext xmlns:c16="http://schemas.microsoft.com/office/drawing/2014/chart" uri="{C3380CC4-5D6E-409C-BE32-E72D297353CC}">
                <c16:uniqueId val="{000007DF-26BF-40B0-8A43-EC10D791E60B}"/>
              </c:ext>
            </c:extLst>
          </c:dPt>
          <c:dPt>
            <c:idx val="1007"/>
            <c:invertIfNegative val="1"/>
            <c:bubble3D val="0"/>
            <c:spPr>
              <a:solidFill>
                <a:srgbClr val="AEABAB"/>
              </a:solidFill>
            </c:spPr>
            <c:extLst>
              <c:ext xmlns:c16="http://schemas.microsoft.com/office/drawing/2014/chart" uri="{C3380CC4-5D6E-409C-BE32-E72D297353CC}">
                <c16:uniqueId val="{000007E1-26BF-40B0-8A43-EC10D791E60B}"/>
              </c:ext>
            </c:extLst>
          </c:dPt>
          <c:dPt>
            <c:idx val="1008"/>
            <c:invertIfNegative val="1"/>
            <c:bubble3D val="0"/>
            <c:spPr>
              <a:solidFill>
                <a:srgbClr val="AEABAB"/>
              </a:solidFill>
            </c:spPr>
            <c:extLst>
              <c:ext xmlns:c16="http://schemas.microsoft.com/office/drawing/2014/chart" uri="{C3380CC4-5D6E-409C-BE32-E72D297353CC}">
                <c16:uniqueId val="{000007E3-26BF-40B0-8A43-EC10D791E60B}"/>
              </c:ext>
            </c:extLst>
          </c:dPt>
          <c:dPt>
            <c:idx val="1009"/>
            <c:invertIfNegative val="1"/>
            <c:bubble3D val="0"/>
            <c:spPr>
              <a:solidFill>
                <a:srgbClr val="AEABAB"/>
              </a:solidFill>
            </c:spPr>
            <c:extLst>
              <c:ext xmlns:c16="http://schemas.microsoft.com/office/drawing/2014/chart" uri="{C3380CC4-5D6E-409C-BE32-E72D297353CC}">
                <c16:uniqueId val="{000007E5-26BF-40B0-8A43-EC10D791E60B}"/>
              </c:ext>
            </c:extLst>
          </c:dPt>
          <c:dPt>
            <c:idx val="1010"/>
            <c:invertIfNegative val="1"/>
            <c:bubble3D val="0"/>
            <c:spPr>
              <a:solidFill>
                <a:srgbClr val="AEABAB"/>
              </a:solidFill>
            </c:spPr>
            <c:extLst>
              <c:ext xmlns:c16="http://schemas.microsoft.com/office/drawing/2014/chart" uri="{C3380CC4-5D6E-409C-BE32-E72D297353CC}">
                <c16:uniqueId val="{000007E7-26BF-40B0-8A43-EC10D791E60B}"/>
              </c:ext>
            </c:extLst>
          </c:dPt>
          <c:dPt>
            <c:idx val="1011"/>
            <c:invertIfNegative val="1"/>
            <c:bubble3D val="0"/>
            <c:spPr>
              <a:solidFill>
                <a:srgbClr val="AEABAB"/>
              </a:solidFill>
            </c:spPr>
            <c:extLst>
              <c:ext xmlns:c16="http://schemas.microsoft.com/office/drawing/2014/chart" uri="{C3380CC4-5D6E-409C-BE32-E72D297353CC}">
                <c16:uniqueId val="{000007E9-26BF-40B0-8A43-EC10D791E60B}"/>
              </c:ext>
            </c:extLst>
          </c:dPt>
          <c:dPt>
            <c:idx val="1012"/>
            <c:invertIfNegative val="1"/>
            <c:bubble3D val="0"/>
            <c:spPr>
              <a:solidFill>
                <a:srgbClr val="AEABAB"/>
              </a:solidFill>
            </c:spPr>
            <c:extLst>
              <c:ext xmlns:c16="http://schemas.microsoft.com/office/drawing/2014/chart" uri="{C3380CC4-5D6E-409C-BE32-E72D297353CC}">
                <c16:uniqueId val="{000007EB-26BF-40B0-8A43-EC10D791E60B}"/>
              </c:ext>
            </c:extLst>
          </c:dPt>
          <c:dPt>
            <c:idx val="1013"/>
            <c:invertIfNegative val="1"/>
            <c:bubble3D val="0"/>
            <c:spPr>
              <a:solidFill>
                <a:srgbClr val="AEABAB"/>
              </a:solidFill>
            </c:spPr>
            <c:extLst>
              <c:ext xmlns:c16="http://schemas.microsoft.com/office/drawing/2014/chart" uri="{C3380CC4-5D6E-409C-BE32-E72D297353CC}">
                <c16:uniqueId val="{000007ED-26BF-40B0-8A43-EC10D791E60B}"/>
              </c:ext>
            </c:extLst>
          </c:dPt>
          <c:dPt>
            <c:idx val="1014"/>
            <c:invertIfNegative val="1"/>
            <c:bubble3D val="0"/>
            <c:spPr>
              <a:solidFill>
                <a:srgbClr val="AEABAB"/>
              </a:solidFill>
            </c:spPr>
            <c:extLst>
              <c:ext xmlns:c16="http://schemas.microsoft.com/office/drawing/2014/chart" uri="{C3380CC4-5D6E-409C-BE32-E72D297353CC}">
                <c16:uniqueId val="{000007EF-26BF-40B0-8A43-EC10D791E60B}"/>
              </c:ext>
            </c:extLst>
          </c:dPt>
          <c:dPt>
            <c:idx val="1015"/>
            <c:invertIfNegative val="1"/>
            <c:bubble3D val="0"/>
            <c:spPr>
              <a:solidFill>
                <a:srgbClr val="AEABAB"/>
              </a:solidFill>
            </c:spPr>
            <c:extLst>
              <c:ext xmlns:c16="http://schemas.microsoft.com/office/drawing/2014/chart" uri="{C3380CC4-5D6E-409C-BE32-E72D297353CC}">
                <c16:uniqueId val="{000007F1-26BF-40B0-8A43-EC10D791E60B}"/>
              </c:ext>
            </c:extLst>
          </c:dPt>
          <c:dPt>
            <c:idx val="1016"/>
            <c:invertIfNegative val="1"/>
            <c:bubble3D val="0"/>
            <c:spPr>
              <a:solidFill>
                <a:srgbClr val="AEABAB"/>
              </a:solidFill>
            </c:spPr>
            <c:extLst>
              <c:ext xmlns:c16="http://schemas.microsoft.com/office/drawing/2014/chart" uri="{C3380CC4-5D6E-409C-BE32-E72D297353CC}">
                <c16:uniqueId val="{000007F3-26BF-40B0-8A43-EC10D791E60B}"/>
              </c:ext>
            </c:extLst>
          </c:dPt>
          <c:dPt>
            <c:idx val="1017"/>
            <c:invertIfNegative val="1"/>
            <c:bubble3D val="0"/>
            <c:spPr>
              <a:solidFill>
                <a:srgbClr val="AEABAB"/>
              </a:solidFill>
            </c:spPr>
            <c:extLst>
              <c:ext xmlns:c16="http://schemas.microsoft.com/office/drawing/2014/chart" uri="{C3380CC4-5D6E-409C-BE32-E72D297353CC}">
                <c16:uniqueId val="{000007F5-26BF-40B0-8A43-EC10D791E60B}"/>
              </c:ext>
            </c:extLst>
          </c:dPt>
          <c:dPt>
            <c:idx val="1018"/>
            <c:invertIfNegative val="1"/>
            <c:bubble3D val="0"/>
            <c:spPr>
              <a:solidFill>
                <a:srgbClr val="AEABAB"/>
              </a:solidFill>
            </c:spPr>
            <c:extLst>
              <c:ext xmlns:c16="http://schemas.microsoft.com/office/drawing/2014/chart" uri="{C3380CC4-5D6E-409C-BE32-E72D297353CC}">
                <c16:uniqueId val="{000007F7-26BF-40B0-8A43-EC10D791E60B}"/>
              </c:ext>
            </c:extLst>
          </c:dPt>
          <c:dPt>
            <c:idx val="1019"/>
            <c:invertIfNegative val="1"/>
            <c:bubble3D val="0"/>
            <c:spPr>
              <a:solidFill>
                <a:srgbClr val="AEABAB"/>
              </a:solidFill>
            </c:spPr>
            <c:extLst>
              <c:ext xmlns:c16="http://schemas.microsoft.com/office/drawing/2014/chart" uri="{C3380CC4-5D6E-409C-BE32-E72D297353CC}">
                <c16:uniqueId val="{000007F9-26BF-40B0-8A43-EC10D791E60B}"/>
              </c:ext>
            </c:extLst>
          </c:dPt>
          <c:dPt>
            <c:idx val="1020"/>
            <c:invertIfNegative val="1"/>
            <c:bubble3D val="0"/>
            <c:spPr>
              <a:solidFill>
                <a:srgbClr val="AEABAB"/>
              </a:solidFill>
            </c:spPr>
            <c:extLst>
              <c:ext xmlns:c16="http://schemas.microsoft.com/office/drawing/2014/chart" uri="{C3380CC4-5D6E-409C-BE32-E72D297353CC}">
                <c16:uniqueId val="{000007FB-26BF-40B0-8A43-EC10D791E60B}"/>
              </c:ext>
            </c:extLst>
          </c:dPt>
          <c:dPt>
            <c:idx val="1021"/>
            <c:invertIfNegative val="1"/>
            <c:bubble3D val="0"/>
            <c:spPr>
              <a:solidFill>
                <a:srgbClr val="AEABAB"/>
              </a:solidFill>
            </c:spPr>
            <c:extLst>
              <c:ext xmlns:c16="http://schemas.microsoft.com/office/drawing/2014/chart" uri="{C3380CC4-5D6E-409C-BE32-E72D297353CC}">
                <c16:uniqueId val="{000007FD-26BF-40B0-8A43-EC10D791E60B}"/>
              </c:ext>
            </c:extLst>
          </c:dPt>
          <c:dPt>
            <c:idx val="1022"/>
            <c:invertIfNegative val="1"/>
            <c:bubble3D val="0"/>
            <c:spPr>
              <a:solidFill>
                <a:srgbClr val="AEABAB"/>
              </a:solidFill>
            </c:spPr>
            <c:extLst>
              <c:ext xmlns:c16="http://schemas.microsoft.com/office/drawing/2014/chart" uri="{C3380CC4-5D6E-409C-BE32-E72D297353CC}">
                <c16:uniqueId val="{000007FF-26BF-40B0-8A43-EC10D791E60B}"/>
              </c:ext>
            </c:extLst>
          </c:dPt>
          <c:dPt>
            <c:idx val="1023"/>
            <c:invertIfNegative val="1"/>
            <c:bubble3D val="0"/>
            <c:spPr>
              <a:solidFill>
                <a:srgbClr val="AEABAB"/>
              </a:solidFill>
            </c:spPr>
            <c:extLst>
              <c:ext xmlns:c16="http://schemas.microsoft.com/office/drawing/2014/chart" uri="{C3380CC4-5D6E-409C-BE32-E72D297353CC}">
                <c16:uniqueId val="{00000801-26BF-40B0-8A43-EC10D791E60B}"/>
              </c:ext>
            </c:extLst>
          </c:dPt>
          <c:dPt>
            <c:idx val="1024"/>
            <c:invertIfNegative val="1"/>
            <c:bubble3D val="0"/>
            <c:spPr>
              <a:solidFill>
                <a:srgbClr val="AEABAB"/>
              </a:solidFill>
            </c:spPr>
            <c:extLst>
              <c:ext xmlns:c16="http://schemas.microsoft.com/office/drawing/2014/chart" uri="{C3380CC4-5D6E-409C-BE32-E72D297353CC}">
                <c16:uniqueId val="{00000803-26BF-40B0-8A43-EC10D791E60B}"/>
              </c:ext>
            </c:extLst>
          </c:dPt>
          <c:dPt>
            <c:idx val="1025"/>
            <c:invertIfNegative val="1"/>
            <c:bubble3D val="0"/>
            <c:spPr>
              <a:solidFill>
                <a:srgbClr val="AEABAB"/>
              </a:solidFill>
            </c:spPr>
            <c:extLst>
              <c:ext xmlns:c16="http://schemas.microsoft.com/office/drawing/2014/chart" uri="{C3380CC4-5D6E-409C-BE32-E72D297353CC}">
                <c16:uniqueId val="{00000805-26BF-40B0-8A43-EC10D791E60B}"/>
              </c:ext>
            </c:extLst>
          </c:dPt>
          <c:dPt>
            <c:idx val="1026"/>
            <c:invertIfNegative val="1"/>
            <c:bubble3D val="0"/>
            <c:spPr>
              <a:solidFill>
                <a:srgbClr val="AEABAB"/>
              </a:solidFill>
            </c:spPr>
            <c:extLst>
              <c:ext xmlns:c16="http://schemas.microsoft.com/office/drawing/2014/chart" uri="{C3380CC4-5D6E-409C-BE32-E72D297353CC}">
                <c16:uniqueId val="{00000807-26BF-40B0-8A43-EC10D791E60B}"/>
              </c:ext>
            </c:extLst>
          </c:dPt>
          <c:dPt>
            <c:idx val="1027"/>
            <c:invertIfNegative val="1"/>
            <c:bubble3D val="0"/>
            <c:spPr>
              <a:solidFill>
                <a:srgbClr val="AEABAB"/>
              </a:solidFill>
            </c:spPr>
            <c:extLst>
              <c:ext xmlns:c16="http://schemas.microsoft.com/office/drawing/2014/chart" uri="{C3380CC4-5D6E-409C-BE32-E72D297353CC}">
                <c16:uniqueId val="{00000809-26BF-40B0-8A43-EC10D791E60B}"/>
              </c:ext>
            </c:extLst>
          </c:dPt>
          <c:dPt>
            <c:idx val="1028"/>
            <c:invertIfNegative val="1"/>
            <c:bubble3D val="0"/>
            <c:spPr>
              <a:solidFill>
                <a:srgbClr val="AEABAB"/>
              </a:solidFill>
            </c:spPr>
            <c:extLst>
              <c:ext xmlns:c16="http://schemas.microsoft.com/office/drawing/2014/chart" uri="{C3380CC4-5D6E-409C-BE32-E72D297353CC}">
                <c16:uniqueId val="{0000080B-26BF-40B0-8A43-EC10D791E60B}"/>
              </c:ext>
            </c:extLst>
          </c:dPt>
          <c:dPt>
            <c:idx val="1029"/>
            <c:invertIfNegative val="1"/>
            <c:bubble3D val="0"/>
            <c:spPr>
              <a:solidFill>
                <a:srgbClr val="AEABAB"/>
              </a:solidFill>
            </c:spPr>
            <c:extLst>
              <c:ext xmlns:c16="http://schemas.microsoft.com/office/drawing/2014/chart" uri="{C3380CC4-5D6E-409C-BE32-E72D297353CC}">
                <c16:uniqueId val="{0000080D-26BF-40B0-8A43-EC10D791E60B}"/>
              </c:ext>
            </c:extLst>
          </c:dPt>
          <c:dPt>
            <c:idx val="1030"/>
            <c:invertIfNegative val="1"/>
            <c:bubble3D val="0"/>
            <c:spPr>
              <a:solidFill>
                <a:srgbClr val="AEABAB"/>
              </a:solidFill>
            </c:spPr>
            <c:extLst>
              <c:ext xmlns:c16="http://schemas.microsoft.com/office/drawing/2014/chart" uri="{C3380CC4-5D6E-409C-BE32-E72D297353CC}">
                <c16:uniqueId val="{0000080F-26BF-40B0-8A43-EC10D791E60B}"/>
              </c:ext>
            </c:extLst>
          </c:dPt>
          <c:dPt>
            <c:idx val="1031"/>
            <c:invertIfNegative val="1"/>
            <c:bubble3D val="0"/>
            <c:spPr>
              <a:solidFill>
                <a:srgbClr val="AEABAB"/>
              </a:solidFill>
            </c:spPr>
            <c:extLst>
              <c:ext xmlns:c16="http://schemas.microsoft.com/office/drawing/2014/chart" uri="{C3380CC4-5D6E-409C-BE32-E72D297353CC}">
                <c16:uniqueId val="{00000811-26BF-40B0-8A43-EC10D791E60B}"/>
              </c:ext>
            </c:extLst>
          </c:dPt>
          <c:dPt>
            <c:idx val="1032"/>
            <c:invertIfNegative val="1"/>
            <c:bubble3D val="0"/>
            <c:spPr>
              <a:solidFill>
                <a:srgbClr val="AEABAB"/>
              </a:solidFill>
            </c:spPr>
            <c:extLst>
              <c:ext xmlns:c16="http://schemas.microsoft.com/office/drawing/2014/chart" uri="{C3380CC4-5D6E-409C-BE32-E72D297353CC}">
                <c16:uniqueId val="{00000813-26BF-40B0-8A43-EC10D791E60B}"/>
              </c:ext>
            </c:extLst>
          </c:dPt>
          <c:dPt>
            <c:idx val="1033"/>
            <c:invertIfNegative val="1"/>
            <c:bubble3D val="0"/>
            <c:spPr>
              <a:solidFill>
                <a:srgbClr val="AEABAB"/>
              </a:solidFill>
            </c:spPr>
            <c:extLst>
              <c:ext xmlns:c16="http://schemas.microsoft.com/office/drawing/2014/chart" uri="{C3380CC4-5D6E-409C-BE32-E72D297353CC}">
                <c16:uniqueId val="{00000815-26BF-40B0-8A43-EC10D791E60B}"/>
              </c:ext>
            </c:extLst>
          </c:dPt>
          <c:dPt>
            <c:idx val="1034"/>
            <c:invertIfNegative val="1"/>
            <c:bubble3D val="0"/>
            <c:spPr>
              <a:solidFill>
                <a:srgbClr val="AEABAB"/>
              </a:solidFill>
            </c:spPr>
            <c:extLst>
              <c:ext xmlns:c16="http://schemas.microsoft.com/office/drawing/2014/chart" uri="{C3380CC4-5D6E-409C-BE32-E72D297353CC}">
                <c16:uniqueId val="{00000817-26BF-40B0-8A43-EC10D791E60B}"/>
              </c:ext>
            </c:extLst>
          </c:dPt>
          <c:dPt>
            <c:idx val="1035"/>
            <c:invertIfNegative val="1"/>
            <c:bubble3D val="0"/>
            <c:spPr>
              <a:solidFill>
                <a:srgbClr val="AEABAB"/>
              </a:solidFill>
            </c:spPr>
            <c:extLst>
              <c:ext xmlns:c16="http://schemas.microsoft.com/office/drawing/2014/chart" uri="{C3380CC4-5D6E-409C-BE32-E72D297353CC}">
                <c16:uniqueId val="{00000819-26BF-40B0-8A43-EC10D791E60B}"/>
              </c:ext>
            </c:extLst>
          </c:dPt>
          <c:dPt>
            <c:idx val="1036"/>
            <c:invertIfNegative val="1"/>
            <c:bubble3D val="0"/>
            <c:spPr>
              <a:solidFill>
                <a:srgbClr val="AEABAB"/>
              </a:solidFill>
            </c:spPr>
            <c:extLst>
              <c:ext xmlns:c16="http://schemas.microsoft.com/office/drawing/2014/chart" uri="{C3380CC4-5D6E-409C-BE32-E72D297353CC}">
                <c16:uniqueId val="{0000081B-26BF-40B0-8A43-EC10D791E60B}"/>
              </c:ext>
            </c:extLst>
          </c:dPt>
          <c:dPt>
            <c:idx val="1037"/>
            <c:invertIfNegative val="1"/>
            <c:bubble3D val="0"/>
            <c:spPr>
              <a:solidFill>
                <a:srgbClr val="AEABAB"/>
              </a:solidFill>
            </c:spPr>
            <c:extLst>
              <c:ext xmlns:c16="http://schemas.microsoft.com/office/drawing/2014/chart" uri="{C3380CC4-5D6E-409C-BE32-E72D297353CC}">
                <c16:uniqueId val="{0000081D-26BF-40B0-8A43-EC10D791E60B}"/>
              </c:ext>
            </c:extLst>
          </c:dPt>
          <c:dPt>
            <c:idx val="1038"/>
            <c:invertIfNegative val="1"/>
            <c:bubble3D val="0"/>
            <c:spPr>
              <a:solidFill>
                <a:srgbClr val="AEABAB"/>
              </a:solidFill>
            </c:spPr>
            <c:extLst>
              <c:ext xmlns:c16="http://schemas.microsoft.com/office/drawing/2014/chart" uri="{C3380CC4-5D6E-409C-BE32-E72D297353CC}">
                <c16:uniqueId val="{0000081F-26BF-40B0-8A43-EC10D791E60B}"/>
              </c:ext>
            </c:extLst>
          </c:dPt>
          <c:dPt>
            <c:idx val="1039"/>
            <c:invertIfNegative val="1"/>
            <c:bubble3D val="0"/>
            <c:spPr>
              <a:solidFill>
                <a:srgbClr val="AEABAB"/>
              </a:solidFill>
            </c:spPr>
            <c:extLst>
              <c:ext xmlns:c16="http://schemas.microsoft.com/office/drawing/2014/chart" uri="{C3380CC4-5D6E-409C-BE32-E72D297353CC}">
                <c16:uniqueId val="{00000821-26BF-40B0-8A43-EC10D791E60B}"/>
              </c:ext>
            </c:extLst>
          </c:dPt>
          <c:dPt>
            <c:idx val="1040"/>
            <c:invertIfNegative val="1"/>
            <c:bubble3D val="0"/>
            <c:spPr>
              <a:solidFill>
                <a:srgbClr val="AEABAB"/>
              </a:solidFill>
            </c:spPr>
            <c:extLst>
              <c:ext xmlns:c16="http://schemas.microsoft.com/office/drawing/2014/chart" uri="{C3380CC4-5D6E-409C-BE32-E72D297353CC}">
                <c16:uniqueId val="{00000823-26BF-40B0-8A43-EC10D791E60B}"/>
              </c:ext>
            </c:extLst>
          </c:dPt>
          <c:dPt>
            <c:idx val="1041"/>
            <c:invertIfNegative val="1"/>
            <c:bubble3D val="0"/>
            <c:spPr>
              <a:solidFill>
                <a:srgbClr val="AEABAB"/>
              </a:solidFill>
            </c:spPr>
            <c:extLst>
              <c:ext xmlns:c16="http://schemas.microsoft.com/office/drawing/2014/chart" uri="{C3380CC4-5D6E-409C-BE32-E72D297353CC}">
                <c16:uniqueId val="{00000825-26BF-40B0-8A43-EC10D791E60B}"/>
              </c:ext>
            </c:extLst>
          </c:dPt>
          <c:dPt>
            <c:idx val="1042"/>
            <c:invertIfNegative val="1"/>
            <c:bubble3D val="0"/>
            <c:spPr>
              <a:solidFill>
                <a:srgbClr val="AEABAB"/>
              </a:solidFill>
            </c:spPr>
            <c:extLst>
              <c:ext xmlns:c16="http://schemas.microsoft.com/office/drawing/2014/chart" uri="{C3380CC4-5D6E-409C-BE32-E72D297353CC}">
                <c16:uniqueId val="{00000827-26BF-40B0-8A43-EC10D791E60B}"/>
              </c:ext>
            </c:extLst>
          </c:dPt>
          <c:dPt>
            <c:idx val="1043"/>
            <c:invertIfNegative val="1"/>
            <c:bubble3D val="0"/>
            <c:spPr>
              <a:solidFill>
                <a:srgbClr val="AEABAB"/>
              </a:solidFill>
            </c:spPr>
            <c:extLst>
              <c:ext xmlns:c16="http://schemas.microsoft.com/office/drawing/2014/chart" uri="{C3380CC4-5D6E-409C-BE32-E72D297353CC}">
                <c16:uniqueId val="{00000829-26BF-40B0-8A43-EC10D791E60B}"/>
              </c:ext>
            </c:extLst>
          </c:dPt>
          <c:dPt>
            <c:idx val="1044"/>
            <c:invertIfNegative val="1"/>
            <c:bubble3D val="0"/>
            <c:spPr>
              <a:solidFill>
                <a:srgbClr val="AEABAB"/>
              </a:solidFill>
            </c:spPr>
            <c:extLst>
              <c:ext xmlns:c16="http://schemas.microsoft.com/office/drawing/2014/chart" uri="{C3380CC4-5D6E-409C-BE32-E72D297353CC}">
                <c16:uniqueId val="{0000082B-26BF-40B0-8A43-EC10D791E60B}"/>
              </c:ext>
            </c:extLst>
          </c:dPt>
          <c:dPt>
            <c:idx val="1045"/>
            <c:invertIfNegative val="1"/>
            <c:bubble3D val="0"/>
            <c:spPr>
              <a:solidFill>
                <a:srgbClr val="AEABAB"/>
              </a:solidFill>
            </c:spPr>
            <c:extLst>
              <c:ext xmlns:c16="http://schemas.microsoft.com/office/drawing/2014/chart" uri="{C3380CC4-5D6E-409C-BE32-E72D297353CC}">
                <c16:uniqueId val="{0000082D-26BF-40B0-8A43-EC10D791E60B}"/>
              </c:ext>
            </c:extLst>
          </c:dPt>
          <c:dPt>
            <c:idx val="1046"/>
            <c:invertIfNegative val="1"/>
            <c:bubble3D val="0"/>
            <c:spPr>
              <a:solidFill>
                <a:srgbClr val="AEABAB"/>
              </a:solidFill>
            </c:spPr>
            <c:extLst>
              <c:ext xmlns:c16="http://schemas.microsoft.com/office/drawing/2014/chart" uri="{C3380CC4-5D6E-409C-BE32-E72D297353CC}">
                <c16:uniqueId val="{0000082F-26BF-40B0-8A43-EC10D791E60B}"/>
              </c:ext>
            </c:extLst>
          </c:dPt>
          <c:dPt>
            <c:idx val="1047"/>
            <c:invertIfNegative val="1"/>
            <c:bubble3D val="0"/>
            <c:spPr>
              <a:solidFill>
                <a:srgbClr val="AEABAB"/>
              </a:solidFill>
            </c:spPr>
            <c:extLst>
              <c:ext xmlns:c16="http://schemas.microsoft.com/office/drawing/2014/chart" uri="{C3380CC4-5D6E-409C-BE32-E72D297353CC}">
                <c16:uniqueId val="{00000831-26BF-40B0-8A43-EC10D791E60B}"/>
              </c:ext>
            </c:extLst>
          </c:dPt>
          <c:dPt>
            <c:idx val="1048"/>
            <c:invertIfNegative val="1"/>
            <c:bubble3D val="0"/>
            <c:spPr>
              <a:solidFill>
                <a:srgbClr val="AEABAB"/>
              </a:solidFill>
            </c:spPr>
            <c:extLst>
              <c:ext xmlns:c16="http://schemas.microsoft.com/office/drawing/2014/chart" uri="{C3380CC4-5D6E-409C-BE32-E72D297353CC}">
                <c16:uniqueId val="{00000833-26BF-40B0-8A43-EC10D791E60B}"/>
              </c:ext>
            </c:extLst>
          </c:dPt>
          <c:dPt>
            <c:idx val="1049"/>
            <c:invertIfNegative val="1"/>
            <c:bubble3D val="0"/>
            <c:spPr>
              <a:solidFill>
                <a:srgbClr val="AEABAB"/>
              </a:solidFill>
            </c:spPr>
            <c:extLst>
              <c:ext xmlns:c16="http://schemas.microsoft.com/office/drawing/2014/chart" uri="{C3380CC4-5D6E-409C-BE32-E72D297353CC}">
                <c16:uniqueId val="{00000835-26BF-40B0-8A43-EC10D791E60B}"/>
              </c:ext>
            </c:extLst>
          </c:dPt>
          <c:dPt>
            <c:idx val="1050"/>
            <c:invertIfNegative val="1"/>
            <c:bubble3D val="0"/>
            <c:spPr>
              <a:solidFill>
                <a:srgbClr val="AEABAB"/>
              </a:solidFill>
            </c:spPr>
            <c:extLst>
              <c:ext xmlns:c16="http://schemas.microsoft.com/office/drawing/2014/chart" uri="{C3380CC4-5D6E-409C-BE32-E72D297353CC}">
                <c16:uniqueId val="{00000837-26BF-40B0-8A43-EC10D791E60B}"/>
              </c:ext>
            </c:extLst>
          </c:dPt>
          <c:dPt>
            <c:idx val="1051"/>
            <c:invertIfNegative val="1"/>
            <c:bubble3D val="0"/>
            <c:spPr>
              <a:solidFill>
                <a:srgbClr val="AEABAB"/>
              </a:solidFill>
            </c:spPr>
            <c:extLst>
              <c:ext xmlns:c16="http://schemas.microsoft.com/office/drawing/2014/chart" uri="{C3380CC4-5D6E-409C-BE32-E72D297353CC}">
                <c16:uniqueId val="{00000839-26BF-40B0-8A43-EC10D791E60B}"/>
              </c:ext>
            </c:extLst>
          </c:dPt>
          <c:dPt>
            <c:idx val="1052"/>
            <c:invertIfNegative val="1"/>
            <c:bubble3D val="0"/>
            <c:spPr>
              <a:solidFill>
                <a:srgbClr val="AEABAB"/>
              </a:solidFill>
            </c:spPr>
            <c:extLst>
              <c:ext xmlns:c16="http://schemas.microsoft.com/office/drawing/2014/chart" uri="{C3380CC4-5D6E-409C-BE32-E72D297353CC}">
                <c16:uniqueId val="{0000083B-26BF-40B0-8A43-EC10D791E60B}"/>
              </c:ext>
            </c:extLst>
          </c:dPt>
          <c:dPt>
            <c:idx val="1053"/>
            <c:invertIfNegative val="1"/>
            <c:bubble3D val="0"/>
            <c:spPr>
              <a:solidFill>
                <a:srgbClr val="AEABAB"/>
              </a:solidFill>
            </c:spPr>
            <c:extLst>
              <c:ext xmlns:c16="http://schemas.microsoft.com/office/drawing/2014/chart" uri="{C3380CC4-5D6E-409C-BE32-E72D297353CC}">
                <c16:uniqueId val="{0000083D-26BF-40B0-8A43-EC10D791E60B}"/>
              </c:ext>
            </c:extLst>
          </c:dPt>
          <c:dPt>
            <c:idx val="1054"/>
            <c:invertIfNegative val="1"/>
            <c:bubble3D val="0"/>
            <c:spPr>
              <a:solidFill>
                <a:srgbClr val="AEABAB"/>
              </a:solidFill>
            </c:spPr>
            <c:extLst>
              <c:ext xmlns:c16="http://schemas.microsoft.com/office/drawing/2014/chart" uri="{C3380CC4-5D6E-409C-BE32-E72D297353CC}">
                <c16:uniqueId val="{0000083F-26BF-40B0-8A43-EC10D791E60B}"/>
              </c:ext>
            </c:extLst>
          </c:dPt>
          <c:dPt>
            <c:idx val="1055"/>
            <c:invertIfNegative val="1"/>
            <c:bubble3D val="0"/>
            <c:spPr>
              <a:solidFill>
                <a:srgbClr val="AEABAB"/>
              </a:solidFill>
            </c:spPr>
            <c:extLst>
              <c:ext xmlns:c16="http://schemas.microsoft.com/office/drawing/2014/chart" uri="{C3380CC4-5D6E-409C-BE32-E72D297353CC}">
                <c16:uniqueId val="{00000841-26BF-40B0-8A43-EC10D791E60B}"/>
              </c:ext>
            </c:extLst>
          </c:dPt>
          <c:dPt>
            <c:idx val="1056"/>
            <c:invertIfNegative val="1"/>
            <c:bubble3D val="0"/>
            <c:spPr>
              <a:solidFill>
                <a:srgbClr val="AEABAB"/>
              </a:solidFill>
            </c:spPr>
            <c:extLst>
              <c:ext xmlns:c16="http://schemas.microsoft.com/office/drawing/2014/chart" uri="{C3380CC4-5D6E-409C-BE32-E72D297353CC}">
                <c16:uniqueId val="{00000843-26BF-40B0-8A43-EC10D791E60B}"/>
              </c:ext>
            </c:extLst>
          </c:dPt>
          <c:dPt>
            <c:idx val="1057"/>
            <c:invertIfNegative val="1"/>
            <c:bubble3D val="0"/>
            <c:spPr>
              <a:solidFill>
                <a:srgbClr val="AEABAB"/>
              </a:solidFill>
            </c:spPr>
            <c:extLst>
              <c:ext xmlns:c16="http://schemas.microsoft.com/office/drawing/2014/chart" uri="{C3380CC4-5D6E-409C-BE32-E72D297353CC}">
                <c16:uniqueId val="{00000845-26BF-40B0-8A43-EC10D791E60B}"/>
              </c:ext>
            </c:extLst>
          </c:dPt>
          <c:dPt>
            <c:idx val="1058"/>
            <c:invertIfNegative val="1"/>
            <c:bubble3D val="0"/>
            <c:spPr>
              <a:solidFill>
                <a:srgbClr val="AEABAB"/>
              </a:solidFill>
            </c:spPr>
            <c:extLst>
              <c:ext xmlns:c16="http://schemas.microsoft.com/office/drawing/2014/chart" uri="{C3380CC4-5D6E-409C-BE32-E72D297353CC}">
                <c16:uniqueId val="{00000847-26BF-40B0-8A43-EC10D791E60B}"/>
              </c:ext>
            </c:extLst>
          </c:dPt>
          <c:dPt>
            <c:idx val="1059"/>
            <c:invertIfNegative val="1"/>
            <c:bubble3D val="0"/>
            <c:spPr>
              <a:solidFill>
                <a:srgbClr val="AEABAB"/>
              </a:solidFill>
            </c:spPr>
            <c:extLst>
              <c:ext xmlns:c16="http://schemas.microsoft.com/office/drawing/2014/chart" uri="{C3380CC4-5D6E-409C-BE32-E72D297353CC}">
                <c16:uniqueId val="{00000849-26BF-40B0-8A43-EC10D791E60B}"/>
              </c:ext>
            </c:extLst>
          </c:dPt>
          <c:dPt>
            <c:idx val="1060"/>
            <c:invertIfNegative val="1"/>
            <c:bubble3D val="0"/>
            <c:spPr>
              <a:solidFill>
                <a:srgbClr val="AEABAB"/>
              </a:solidFill>
            </c:spPr>
            <c:extLst>
              <c:ext xmlns:c16="http://schemas.microsoft.com/office/drawing/2014/chart" uri="{C3380CC4-5D6E-409C-BE32-E72D297353CC}">
                <c16:uniqueId val="{0000084B-26BF-40B0-8A43-EC10D791E60B}"/>
              </c:ext>
            </c:extLst>
          </c:dPt>
          <c:dPt>
            <c:idx val="1061"/>
            <c:invertIfNegative val="1"/>
            <c:bubble3D val="0"/>
            <c:spPr>
              <a:solidFill>
                <a:srgbClr val="AEABAB"/>
              </a:solidFill>
            </c:spPr>
            <c:extLst>
              <c:ext xmlns:c16="http://schemas.microsoft.com/office/drawing/2014/chart" uri="{C3380CC4-5D6E-409C-BE32-E72D297353CC}">
                <c16:uniqueId val="{0000084D-26BF-40B0-8A43-EC10D791E60B}"/>
              </c:ext>
            </c:extLst>
          </c:dPt>
          <c:dPt>
            <c:idx val="1062"/>
            <c:invertIfNegative val="1"/>
            <c:bubble3D val="0"/>
            <c:spPr>
              <a:solidFill>
                <a:srgbClr val="AEABAB"/>
              </a:solidFill>
            </c:spPr>
            <c:extLst>
              <c:ext xmlns:c16="http://schemas.microsoft.com/office/drawing/2014/chart" uri="{C3380CC4-5D6E-409C-BE32-E72D297353CC}">
                <c16:uniqueId val="{0000084F-26BF-40B0-8A43-EC10D791E60B}"/>
              </c:ext>
            </c:extLst>
          </c:dPt>
          <c:dPt>
            <c:idx val="1063"/>
            <c:invertIfNegative val="1"/>
            <c:bubble3D val="0"/>
            <c:spPr>
              <a:solidFill>
                <a:srgbClr val="AEABAB"/>
              </a:solidFill>
            </c:spPr>
            <c:extLst>
              <c:ext xmlns:c16="http://schemas.microsoft.com/office/drawing/2014/chart" uri="{C3380CC4-5D6E-409C-BE32-E72D297353CC}">
                <c16:uniqueId val="{00000851-26BF-40B0-8A43-EC10D791E60B}"/>
              </c:ext>
            </c:extLst>
          </c:dPt>
          <c:dPt>
            <c:idx val="1064"/>
            <c:invertIfNegative val="1"/>
            <c:bubble3D val="0"/>
            <c:spPr>
              <a:solidFill>
                <a:srgbClr val="AEABAB"/>
              </a:solidFill>
            </c:spPr>
            <c:extLst>
              <c:ext xmlns:c16="http://schemas.microsoft.com/office/drawing/2014/chart" uri="{C3380CC4-5D6E-409C-BE32-E72D297353CC}">
                <c16:uniqueId val="{00000853-26BF-40B0-8A43-EC10D791E60B}"/>
              </c:ext>
            </c:extLst>
          </c:dPt>
          <c:dPt>
            <c:idx val="1065"/>
            <c:invertIfNegative val="1"/>
            <c:bubble3D val="0"/>
            <c:spPr>
              <a:solidFill>
                <a:srgbClr val="AEABAB"/>
              </a:solidFill>
            </c:spPr>
            <c:extLst>
              <c:ext xmlns:c16="http://schemas.microsoft.com/office/drawing/2014/chart" uri="{C3380CC4-5D6E-409C-BE32-E72D297353CC}">
                <c16:uniqueId val="{00000855-26BF-40B0-8A43-EC10D791E60B}"/>
              </c:ext>
            </c:extLst>
          </c:dPt>
          <c:dPt>
            <c:idx val="1066"/>
            <c:invertIfNegative val="1"/>
            <c:bubble3D val="0"/>
            <c:spPr>
              <a:solidFill>
                <a:srgbClr val="AEABAB"/>
              </a:solidFill>
            </c:spPr>
            <c:extLst>
              <c:ext xmlns:c16="http://schemas.microsoft.com/office/drawing/2014/chart" uri="{C3380CC4-5D6E-409C-BE32-E72D297353CC}">
                <c16:uniqueId val="{00000857-26BF-40B0-8A43-EC10D791E60B}"/>
              </c:ext>
            </c:extLst>
          </c:dPt>
          <c:dPt>
            <c:idx val="1067"/>
            <c:invertIfNegative val="1"/>
            <c:bubble3D val="0"/>
            <c:spPr>
              <a:solidFill>
                <a:srgbClr val="AEABAB"/>
              </a:solidFill>
            </c:spPr>
            <c:extLst>
              <c:ext xmlns:c16="http://schemas.microsoft.com/office/drawing/2014/chart" uri="{C3380CC4-5D6E-409C-BE32-E72D297353CC}">
                <c16:uniqueId val="{00000859-26BF-40B0-8A43-EC10D791E60B}"/>
              </c:ext>
            </c:extLst>
          </c:dPt>
          <c:dPt>
            <c:idx val="1068"/>
            <c:invertIfNegative val="1"/>
            <c:bubble3D val="0"/>
            <c:spPr>
              <a:solidFill>
                <a:srgbClr val="AEABAB"/>
              </a:solidFill>
            </c:spPr>
            <c:extLst>
              <c:ext xmlns:c16="http://schemas.microsoft.com/office/drawing/2014/chart" uri="{C3380CC4-5D6E-409C-BE32-E72D297353CC}">
                <c16:uniqueId val="{0000085B-26BF-40B0-8A43-EC10D791E60B}"/>
              </c:ext>
            </c:extLst>
          </c:dPt>
          <c:dPt>
            <c:idx val="1069"/>
            <c:invertIfNegative val="1"/>
            <c:bubble3D val="0"/>
            <c:spPr>
              <a:solidFill>
                <a:srgbClr val="AEABAB"/>
              </a:solidFill>
            </c:spPr>
            <c:extLst>
              <c:ext xmlns:c16="http://schemas.microsoft.com/office/drawing/2014/chart" uri="{C3380CC4-5D6E-409C-BE32-E72D297353CC}">
                <c16:uniqueId val="{0000085D-26BF-40B0-8A43-EC10D791E60B}"/>
              </c:ext>
            </c:extLst>
          </c:dPt>
          <c:dPt>
            <c:idx val="1070"/>
            <c:invertIfNegative val="1"/>
            <c:bubble3D val="0"/>
            <c:spPr>
              <a:solidFill>
                <a:srgbClr val="AEABAB"/>
              </a:solidFill>
            </c:spPr>
            <c:extLst>
              <c:ext xmlns:c16="http://schemas.microsoft.com/office/drawing/2014/chart" uri="{C3380CC4-5D6E-409C-BE32-E72D297353CC}">
                <c16:uniqueId val="{0000085F-26BF-40B0-8A43-EC10D791E60B}"/>
              </c:ext>
            </c:extLst>
          </c:dPt>
          <c:dPt>
            <c:idx val="1071"/>
            <c:invertIfNegative val="1"/>
            <c:bubble3D val="0"/>
            <c:spPr>
              <a:solidFill>
                <a:srgbClr val="AEABAB"/>
              </a:solidFill>
            </c:spPr>
            <c:extLst>
              <c:ext xmlns:c16="http://schemas.microsoft.com/office/drawing/2014/chart" uri="{C3380CC4-5D6E-409C-BE32-E72D297353CC}">
                <c16:uniqueId val="{00000861-26BF-40B0-8A43-EC10D791E60B}"/>
              </c:ext>
            </c:extLst>
          </c:dPt>
          <c:dPt>
            <c:idx val="1072"/>
            <c:invertIfNegative val="1"/>
            <c:bubble3D val="0"/>
            <c:spPr>
              <a:solidFill>
                <a:srgbClr val="AEABAB"/>
              </a:solidFill>
            </c:spPr>
            <c:extLst>
              <c:ext xmlns:c16="http://schemas.microsoft.com/office/drawing/2014/chart" uri="{C3380CC4-5D6E-409C-BE32-E72D297353CC}">
                <c16:uniqueId val="{00000863-26BF-40B0-8A43-EC10D791E60B}"/>
              </c:ext>
            </c:extLst>
          </c:dPt>
          <c:dPt>
            <c:idx val="1073"/>
            <c:invertIfNegative val="1"/>
            <c:bubble3D val="0"/>
            <c:spPr>
              <a:solidFill>
                <a:srgbClr val="AEABAB"/>
              </a:solidFill>
            </c:spPr>
            <c:extLst>
              <c:ext xmlns:c16="http://schemas.microsoft.com/office/drawing/2014/chart" uri="{C3380CC4-5D6E-409C-BE32-E72D297353CC}">
                <c16:uniqueId val="{00000865-26BF-40B0-8A43-EC10D791E60B}"/>
              </c:ext>
            </c:extLst>
          </c:dPt>
          <c:dPt>
            <c:idx val="1074"/>
            <c:invertIfNegative val="1"/>
            <c:bubble3D val="0"/>
            <c:spPr>
              <a:solidFill>
                <a:srgbClr val="AEABAB"/>
              </a:solidFill>
            </c:spPr>
            <c:extLst>
              <c:ext xmlns:c16="http://schemas.microsoft.com/office/drawing/2014/chart" uri="{C3380CC4-5D6E-409C-BE32-E72D297353CC}">
                <c16:uniqueId val="{00000867-26BF-40B0-8A43-EC10D791E60B}"/>
              </c:ext>
            </c:extLst>
          </c:dPt>
          <c:dPt>
            <c:idx val="1075"/>
            <c:invertIfNegative val="1"/>
            <c:bubble3D val="0"/>
            <c:spPr>
              <a:solidFill>
                <a:srgbClr val="AEABAB"/>
              </a:solidFill>
            </c:spPr>
            <c:extLst>
              <c:ext xmlns:c16="http://schemas.microsoft.com/office/drawing/2014/chart" uri="{C3380CC4-5D6E-409C-BE32-E72D297353CC}">
                <c16:uniqueId val="{00000869-26BF-40B0-8A43-EC10D791E60B}"/>
              </c:ext>
            </c:extLst>
          </c:dPt>
          <c:dPt>
            <c:idx val="1076"/>
            <c:invertIfNegative val="1"/>
            <c:bubble3D val="0"/>
            <c:spPr>
              <a:solidFill>
                <a:srgbClr val="AEABAB"/>
              </a:solidFill>
            </c:spPr>
            <c:extLst>
              <c:ext xmlns:c16="http://schemas.microsoft.com/office/drawing/2014/chart" uri="{C3380CC4-5D6E-409C-BE32-E72D297353CC}">
                <c16:uniqueId val="{0000086B-26BF-40B0-8A43-EC10D791E60B}"/>
              </c:ext>
            </c:extLst>
          </c:dPt>
          <c:dPt>
            <c:idx val="1077"/>
            <c:invertIfNegative val="1"/>
            <c:bubble3D val="0"/>
            <c:spPr>
              <a:solidFill>
                <a:srgbClr val="AEABAB"/>
              </a:solidFill>
            </c:spPr>
            <c:extLst>
              <c:ext xmlns:c16="http://schemas.microsoft.com/office/drawing/2014/chart" uri="{C3380CC4-5D6E-409C-BE32-E72D297353CC}">
                <c16:uniqueId val="{0000086D-26BF-40B0-8A43-EC10D791E60B}"/>
              </c:ext>
            </c:extLst>
          </c:dPt>
          <c:dPt>
            <c:idx val="1078"/>
            <c:invertIfNegative val="1"/>
            <c:bubble3D val="0"/>
            <c:spPr>
              <a:solidFill>
                <a:srgbClr val="AEABAB"/>
              </a:solidFill>
            </c:spPr>
            <c:extLst>
              <c:ext xmlns:c16="http://schemas.microsoft.com/office/drawing/2014/chart" uri="{C3380CC4-5D6E-409C-BE32-E72D297353CC}">
                <c16:uniqueId val="{0000086F-26BF-40B0-8A43-EC10D791E60B}"/>
              </c:ext>
            </c:extLst>
          </c:dPt>
          <c:dPt>
            <c:idx val="1079"/>
            <c:invertIfNegative val="1"/>
            <c:bubble3D val="0"/>
            <c:spPr>
              <a:solidFill>
                <a:srgbClr val="AEABAB"/>
              </a:solidFill>
            </c:spPr>
            <c:extLst>
              <c:ext xmlns:c16="http://schemas.microsoft.com/office/drawing/2014/chart" uri="{C3380CC4-5D6E-409C-BE32-E72D297353CC}">
                <c16:uniqueId val="{00000871-26BF-40B0-8A43-EC10D791E60B}"/>
              </c:ext>
            </c:extLst>
          </c:dPt>
          <c:dPt>
            <c:idx val="1080"/>
            <c:invertIfNegative val="1"/>
            <c:bubble3D val="0"/>
            <c:spPr>
              <a:solidFill>
                <a:srgbClr val="AEABAB"/>
              </a:solidFill>
            </c:spPr>
            <c:extLst>
              <c:ext xmlns:c16="http://schemas.microsoft.com/office/drawing/2014/chart" uri="{C3380CC4-5D6E-409C-BE32-E72D297353CC}">
                <c16:uniqueId val="{00000873-26BF-40B0-8A43-EC10D791E60B}"/>
              </c:ext>
            </c:extLst>
          </c:dPt>
          <c:dPt>
            <c:idx val="1081"/>
            <c:invertIfNegative val="1"/>
            <c:bubble3D val="0"/>
            <c:spPr>
              <a:solidFill>
                <a:srgbClr val="AEABAB"/>
              </a:solidFill>
            </c:spPr>
            <c:extLst>
              <c:ext xmlns:c16="http://schemas.microsoft.com/office/drawing/2014/chart" uri="{C3380CC4-5D6E-409C-BE32-E72D297353CC}">
                <c16:uniqueId val="{00000875-26BF-40B0-8A43-EC10D791E60B}"/>
              </c:ext>
            </c:extLst>
          </c:dPt>
          <c:dPt>
            <c:idx val="1082"/>
            <c:invertIfNegative val="1"/>
            <c:bubble3D val="0"/>
            <c:spPr>
              <a:solidFill>
                <a:srgbClr val="AEABAB"/>
              </a:solidFill>
            </c:spPr>
            <c:extLst>
              <c:ext xmlns:c16="http://schemas.microsoft.com/office/drawing/2014/chart" uri="{C3380CC4-5D6E-409C-BE32-E72D297353CC}">
                <c16:uniqueId val="{00000877-26BF-40B0-8A43-EC10D791E60B}"/>
              </c:ext>
            </c:extLst>
          </c:dPt>
          <c:dPt>
            <c:idx val="1083"/>
            <c:invertIfNegative val="1"/>
            <c:bubble3D val="0"/>
            <c:spPr>
              <a:solidFill>
                <a:srgbClr val="AEABAB"/>
              </a:solidFill>
            </c:spPr>
            <c:extLst>
              <c:ext xmlns:c16="http://schemas.microsoft.com/office/drawing/2014/chart" uri="{C3380CC4-5D6E-409C-BE32-E72D297353CC}">
                <c16:uniqueId val="{00000879-26BF-40B0-8A43-EC10D791E60B}"/>
              </c:ext>
            </c:extLst>
          </c:dPt>
          <c:dPt>
            <c:idx val="1084"/>
            <c:invertIfNegative val="1"/>
            <c:bubble3D val="0"/>
            <c:spPr>
              <a:solidFill>
                <a:srgbClr val="AEABAB"/>
              </a:solidFill>
            </c:spPr>
            <c:extLst>
              <c:ext xmlns:c16="http://schemas.microsoft.com/office/drawing/2014/chart" uri="{C3380CC4-5D6E-409C-BE32-E72D297353CC}">
                <c16:uniqueId val="{0000087B-26BF-40B0-8A43-EC10D791E60B}"/>
              </c:ext>
            </c:extLst>
          </c:dPt>
          <c:dPt>
            <c:idx val="1085"/>
            <c:invertIfNegative val="1"/>
            <c:bubble3D val="0"/>
            <c:spPr>
              <a:solidFill>
                <a:srgbClr val="AEABAB"/>
              </a:solidFill>
            </c:spPr>
            <c:extLst>
              <c:ext xmlns:c16="http://schemas.microsoft.com/office/drawing/2014/chart" uri="{C3380CC4-5D6E-409C-BE32-E72D297353CC}">
                <c16:uniqueId val="{0000087D-26BF-40B0-8A43-EC10D791E60B}"/>
              </c:ext>
            </c:extLst>
          </c:dPt>
          <c:dPt>
            <c:idx val="1086"/>
            <c:invertIfNegative val="1"/>
            <c:bubble3D val="0"/>
            <c:spPr>
              <a:solidFill>
                <a:srgbClr val="AEABAB"/>
              </a:solidFill>
            </c:spPr>
            <c:extLst>
              <c:ext xmlns:c16="http://schemas.microsoft.com/office/drawing/2014/chart" uri="{C3380CC4-5D6E-409C-BE32-E72D297353CC}">
                <c16:uniqueId val="{0000087F-26BF-40B0-8A43-EC10D791E60B}"/>
              </c:ext>
            </c:extLst>
          </c:dPt>
          <c:dPt>
            <c:idx val="1087"/>
            <c:invertIfNegative val="1"/>
            <c:bubble3D val="0"/>
            <c:spPr>
              <a:solidFill>
                <a:srgbClr val="AEABAB"/>
              </a:solidFill>
            </c:spPr>
            <c:extLst>
              <c:ext xmlns:c16="http://schemas.microsoft.com/office/drawing/2014/chart" uri="{C3380CC4-5D6E-409C-BE32-E72D297353CC}">
                <c16:uniqueId val="{00000881-26BF-40B0-8A43-EC10D791E60B}"/>
              </c:ext>
            </c:extLst>
          </c:dPt>
          <c:dPt>
            <c:idx val="1088"/>
            <c:invertIfNegative val="1"/>
            <c:bubble3D val="0"/>
            <c:spPr>
              <a:solidFill>
                <a:srgbClr val="AEABAB"/>
              </a:solidFill>
            </c:spPr>
            <c:extLst>
              <c:ext xmlns:c16="http://schemas.microsoft.com/office/drawing/2014/chart" uri="{C3380CC4-5D6E-409C-BE32-E72D297353CC}">
                <c16:uniqueId val="{00000883-26BF-40B0-8A43-EC10D791E60B}"/>
              </c:ext>
            </c:extLst>
          </c:dPt>
          <c:dPt>
            <c:idx val="1089"/>
            <c:invertIfNegative val="1"/>
            <c:bubble3D val="0"/>
            <c:spPr>
              <a:solidFill>
                <a:srgbClr val="AEABAB"/>
              </a:solidFill>
            </c:spPr>
            <c:extLst>
              <c:ext xmlns:c16="http://schemas.microsoft.com/office/drawing/2014/chart" uri="{C3380CC4-5D6E-409C-BE32-E72D297353CC}">
                <c16:uniqueId val="{00000885-26BF-40B0-8A43-EC10D791E60B}"/>
              </c:ext>
            </c:extLst>
          </c:dPt>
          <c:dPt>
            <c:idx val="1090"/>
            <c:invertIfNegative val="1"/>
            <c:bubble3D val="0"/>
            <c:spPr>
              <a:solidFill>
                <a:srgbClr val="AEABAB"/>
              </a:solidFill>
            </c:spPr>
            <c:extLst>
              <c:ext xmlns:c16="http://schemas.microsoft.com/office/drawing/2014/chart" uri="{C3380CC4-5D6E-409C-BE32-E72D297353CC}">
                <c16:uniqueId val="{00000887-26BF-40B0-8A43-EC10D791E60B}"/>
              </c:ext>
            </c:extLst>
          </c:dPt>
          <c:dPt>
            <c:idx val="1091"/>
            <c:invertIfNegative val="1"/>
            <c:bubble3D val="0"/>
            <c:spPr>
              <a:solidFill>
                <a:srgbClr val="AEABAB"/>
              </a:solidFill>
            </c:spPr>
            <c:extLst>
              <c:ext xmlns:c16="http://schemas.microsoft.com/office/drawing/2014/chart" uri="{C3380CC4-5D6E-409C-BE32-E72D297353CC}">
                <c16:uniqueId val="{00000889-26BF-40B0-8A43-EC10D791E60B}"/>
              </c:ext>
            </c:extLst>
          </c:dPt>
          <c:dPt>
            <c:idx val="1092"/>
            <c:invertIfNegative val="1"/>
            <c:bubble3D val="0"/>
            <c:spPr>
              <a:solidFill>
                <a:srgbClr val="AEABAB"/>
              </a:solidFill>
            </c:spPr>
            <c:extLst>
              <c:ext xmlns:c16="http://schemas.microsoft.com/office/drawing/2014/chart" uri="{C3380CC4-5D6E-409C-BE32-E72D297353CC}">
                <c16:uniqueId val="{0000088B-26BF-40B0-8A43-EC10D791E60B}"/>
              </c:ext>
            </c:extLst>
          </c:dPt>
          <c:dPt>
            <c:idx val="1093"/>
            <c:invertIfNegative val="1"/>
            <c:bubble3D val="0"/>
            <c:spPr>
              <a:solidFill>
                <a:srgbClr val="AEABAB"/>
              </a:solidFill>
            </c:spPr>
            <c:extLst>
              <c:ext xmlns:c16="http://schemas.microsoft.com/office/drawing/2014/chart" uri="{C3380CC4-5D6E-409C-BE32-E72D297353CC}">
                <c16:uniqueId val="{0000088D-26BF-40B0-8A43-EC10D791E60B}"/>
              </c:ext>
            </c:extLst>
          </c:dPt>
          <c:dPt>
            <c:idx val="1094"/>
            <c:invertIfNegative val="1"/>
            <c:bubble3D val="0"/>
            <c:spPr>
              <a:solidFill>
                <a:srgbClr val="AEABAB"/>
              </a:solidFill>
            </c:spPr>
            <c:extLst>
              <c:ext xmlns:c16="http://schemas.microsoft.com/office/drawing/2014/chart" uri="{C3380CC4-5D6E-409C-BE32-E72D297353CC}">
                <c16:uniqueId val="{0000088F-26BF-40B0-8A43-EC10D791E60B}"/>
              </c:ext>
            </c:extLst>
          </c:dPt>
          <c:dPt>
            <c:idx val="1095"/>
            <c:invertIfNegative val="1"/>
            <c:bubble3D val="0"/>
            <c:spPr>
              <a:solidFill>
                <a:srgbClr val="AEABAB"/>
              </a:solidFill>
            </c:spPr>
            <c:extLst>
              <c:ext xmlns:c16="http://schemas.microsoft.com/office/drawing/2014/chart" uri="{C3380CC4-5D6E-409C-BE32-E72D297353CC}">
                <c16:uniqueId val="{00000891-26BF-40B0-8A43-EC10D791E60B}"/>
              </c:ext>
            </c:extLst>
          </c:dPt>
          <c:dPt>
            <c:idx val="1096"/>
            <c:invertIfNegative val="1"/>
            <c:bubble3D val="0"/>
            <c:spPr>
              <a:solidFill>
                <a:srgbClr val="AEABAB"/>
              </a:solidFill>
            </c:spPr>
            <c:extLst>
              <c:ext xmlns:c16="http://schemas.microsoft.com/office/drawing/2014/chart" uri="{C3380CC4-5D6E-409C-BE32-E72D297353CC}">
                <c16:uniqueId val="{00000893-26BF-40B0-8A43-EC10D791E60B}"/>
              </c:ext>
            </c:extLst>
          </c:dPt>
          <c:dPt>
            <c:idx val="1097"/>
            <c:invertIfNegative val="1"/>
            <c:bubble3D val="0"/>
            <c:spPr>
              <a:solidFill>
                <a:srgbClr val="AEABAB"/>
              </a:solidFill>
            </c:spPr>
            <c:extLst>
              <c:ext xmlns:c16="http://schemas.microsoft.com/office/drawing/2014/chart" uri="{C3380CC4-5D6E-409C-BE32-E72D297353CC}">
                <c16:uniqueId val="{00000895-26BF-40B0-8A43-EC10D791E60B}"/>
              </c:ext>
            </c:extLst>
          </c:dPt>
          <c:dPt>
            <c:idx val="1098"/>
            <c:invertIfNegative val="1"/>
            <c:bubble3D val="0"/>
            <c:spPr>
              <a:solidFill>
                <a:srgbClr val="AEABAB"/>
              </a:solidFill>
            </c:spPr>
            <c:extLst>
              <c:ext xmlns:c16="http://schemas.microsoft.com/office/drawing/2014/chart" uri="{C3380CC4-5D6E-409C-BE32-E72D297353CC}">
                <c16:uniqueId val="{00000897-26BF-40B0-8A43-EC10D791E60B}"/>
              </c:ext>
            </c:extLst>
          </c:dPt>
          <c:dPt>
            <c:idx val="1099"/>
            <c:invertIfNegative val="1"/>
            <c:bubble3D val="0"/>
            <c:spPr>
              <a:solidFill>
                <a:srgbClr val="AEABAB"/>
              </a:solidFill>
            </c:spPr>
            <c:extLst>
              <c:ext xmlns:c16="http://schemas.microsoft.com/office/drawing/2014/chart" uri="{C3380CC4-5D6E-409C-BE32-E72D297353CC}">
                <c16:uniqueId val="{00000899-26BF-40B0-8A43-EC10D791E60B}"/>
              </c:ext>
            </c:extLst>
          </c:dPt>
          <c:dPt>
            <c:idx val="1100"/>
            <c:invertIfNegative val="1"/>
            <c:bubble3D val="0"/>
            <c:spPr>
              <a:solidFill>
                <a:srgbClr val="AEABAB"/>
              </a:solidFill>
            </c:spPr>
            <c:extLst>
              <c:ext xmlns:c16="http://schemas.microsoft.com/office/drawing/2014/chart" uri="{C3380CC4-5D6E-409C-BE32-E72D297353CC}">
                <c16:uniqueId val="{0000089B-26BF-40B0-8A43-EC10D791E60B}"/>
              </c:ext>
            </c:extLst>
          </c:dPt>
          <c:dPt>
            <c:idx val="1101"/>
            <c:invertIfNegative val="1"/>
            <c:bubble3D val="0"/>
            <c:spPr>
              <a:solidFill>
                <a:srgbClr val="AEABAB"/>
              </a:solidFill>
            </c:spPr>
            <c:extLst>
              <c:ext xmlns:c16="http://schemas.microsoft.com/office/drawing/2014/chart" uri="{C3380CC4-5D6E-409C-BE32-E72D297353CC}">
                <c16:uniqueId val="{0000089D-26BF-40B0-8A43-EC10D791E60B}"/>
              </c:ext>
            </c:extLst>
          </c:dPt>
          <c:dPt>
            <c:idx val="1102"/>
            <c:invertIfNegative val="1"/>
            <c:bubble3D val="0"/>
            <c:spPr>
              <a:solidFill>
                <a:srgbClr val="AEABAB"/>
              </a:solidFill>
            </c:spPr>
            <c:extLst>
              <c:ext xmlns:c16="http://schemas.microsoft.com/office/drawing/2014/chart" uri="{C3380CC4-5D6E-409C-BE32-E72D297353CC}">
                <c16:uniqueId val="{0000089F-26BF-40B0-8A43-EC10D791E60B}"/>
              </c:ext>
            </c:extLst>
          </c:dPt>
          <c:dPt>
            <c:idx val="1103"/>
            <c:invertIfNegative val="1"/>
            <c:bubble3D val="0"/>
            <c:spPr>
              <a:solidFill>
                <a:srgbClr val="AEABAB"/>
              </a:solidFill>
            </c:spPr>
            <c:extLst>
              <c:ext xmlns:c16="http://schemas.microsoft.com/office/drawing/2014/chart" uri="{C3380CC4-5D6E-409C-BE32-E72D297353CC}">
                <c16:uniqueId val="{000008A1-26BF-40B0-8A43-EC10D791E60B}"/>
              </c:ext>
            </c:extLst>
          </c:dPt>
          <c:dPt>
            <c:idx val="1104"/>
            <c:invertIfNegative val="1"/>
            <c:bubble3D val="0"/>
            <c:spPr>
              <a:solidFill>
                <a:srgbClr val="AEABAB"/>
              </a:solidFill>
            </c:spPr>
            <c:extLst>
              <c:ext xmlns:c16="http://schemas.microsoft.com/office/drawing/2014/chart" uri="{C3380CC4-5D6E-409C-BE32-E72D297353CC}">
                <c16:uniqueId val="{000008A3-26BF-40B0-8A43-EC10D791E60B}"/>
              </c:ext>
            </c:extLst>
          </c:dPt>
          <c:dPt>
            <c:idx val="1105"/>
            <c:invertIfNegative val="1"/>
            <c:bubble3D val="0"/>
            <c:spPr>
              <a:solidFill>
                <a:srgbClr val="AEABAB"/>
              </a:solidFill>
            </c:spPr>
            <c:extLst>
              <c:ext xmlns:c16="http://schemas.microsoft.com/office/drawing/2014/chart" uri="{C3380CC4-5D6E-409C-BE32-E72D297353CC}">
                <c16:uniqueId val="{000008A5-26BF-40B0-8A43-EC10D791E60B}"/>
              </c:ext>
            </c:extLst>
          </c:dPt>
          <c:dPt>
            <c:idx val="1106"/>
            <c:invertIfNegative val="1"/>
            <c:bubble3D val="0"/>
            <c:spPr>
              <a:solidFill>
                <a:srgbClr val="AEABAB"/>
              </a:solidFill>
            </c:spPr>
            <c:extLst>
              <c:ext xmlns:c16="http://schemas.microsoft.com/office/drawing/2014/chart" uri="{C3380CC4-5D6E-409C-BE32-E72D297353CC}">
                <c16:uniqueId val="{000008A7-26BF-40B0-8A43-EC10D791E60B}"/>
              </c:ext>
            </c:extLst>
          </c:dPt>
          <c:dPt>
            <c:idx val="1107"/>
            <c:invertIfNegative val="1"/>
            <c:bubble3D val="0"/>
            <c:spPr>
              <a:solidFill>
                <a:srgbClr val="AEABAB"/>
              </a:solidFill>
            </c:spPr>
            <c:extLst>
              <c:ext xmlns:c16="http://schemas.microsoft.com/office/drawing/2014/chart" uri="{C3380CC4-5D6E-409C-BE32-E72D297353CC}">
                <c16:uniqueId val="{000008A9-26BF-40B0-8A43-EC10D791E60B}"/>
              </c:ext>
            </c:extLst>
          </c:dPt>
          <c:dPt>
            <c:idx val="1108"/>
            <c:invertIfNegative val="1"/>
            <c:bubble3D val="0"/>
            <c:spPr>
              <a:solidFill>
                <a:srgbClr val="AEABAB"/>
              </a:solidFill>
            </c:spPr>
            <c:extLst>
              <c:ext xmlns:c16="http://schemas.microsoft.com/office/drawing/2014/chart" uri="{C3380CC4-5D6E-409C-BE32-E72D297353CC}">
                <c16:uniqueId val="{000008AB-26BF-40B0-8A43-EC10D791E60B}"/>
              </c:ext>
            </c:extLst>
          </c:dPt>
          <c:dPt>
            <c:idx val="1109"/>
            <c:invertIfNegative val="1"/>
            <c:bubble3D val="0"/>
            <c:spPr>
              <a:solidFill>
                <a:srgbClr val="AEABAB"/>
              </a:solidFill>
            </c:spPr>
            <c:extLst>
              <c:ext xmlns:c16="http://schemas.microsoft.com/office/drawing/2014/chart" uri="{C3380CC4-5D6E-409C-BE32-E72D297353CC}">
                <c16:uniqueId val="{000008AD-26BF-40B0-8A43-EC10D791E60B}"/>
              </c:ext>
            </c:extLst>
          </c:dPt>
          <c:dPt>
            <c:idx val="1110"/>
            <c:invertIfNegative val="1"/>
            <c:bubble3D val="0"/>
            <c:spPr>
              <a:solidFill>
                <a:srgbClr val="AEABAB"/>
              </a:solidFill>
            </c:spPr>
            <c:extLst>
              <c:ext xmlns:c16="http://schemas.microsoft.com/office/drawing/2014/chart" uri="{C3380CC4-5D6E-409C-BE32-E72D297353CC}">
                <c16:uniqueId val="{000008AF-26BF-40B0-8A43-EC10D791E60B}"/>
              </c:ext>
            </c:extLst>
          </c:dPt>
          <c:dPt>
            <c:idx val="1111"/>
            <c:invertIfNegative val="1"/>
            <c:bubble3D val="0"/>
            <c:spPr>
              <a:solidFill>
                <a:srgbClr val="AEABAB"/>
              </a:solidFill>
            </c:spPr>
            <c:extLst>
              <c:ext xmlns:c16="http://schemas.microsoft.com/office/drawing/2014/chart" uri="{C3380CC4-5D6E-409C-BE32-E72D297353CC}">
                <c16:uniqueId val="{000008B1-26BF-40B0-8A43-EC10D791E60B}"/>
              </c:ext>
            </c:extLst>
          </c:dPt>
          <c:dPt>
            <c:idx val="1112"/>
            <c:invertIfNegative val="1"/>
            <c:bubble3D val="0"/>
            <c:spPr>
              <a:solidFill>
                <a:srgbClr val="AEABAB"/>
              </a:solidFill>
            </c:spPr>
            <c:extLst>
              <c:ext xmlns:c16="http://schemas.microsoft.com/office/drawing/2014/chart" uri="{C3380CC4-5D6E-409C-BE32-E72D297353CC}">
                <c16:uniqueId val="{000008B3-26BF-40B0-8A43-EC10D791E60B}"/>
              </c:ext>
            </c:extLst>
          </c:dPt>
          <c:dPt>
            <c:idx val="1113"/>
            <c:invertIfNegative val="1"/>
            <c:bubble3D val="0"/>
            <c:spPr>
              <a:solidFill>
                <a:srgbClr val="AEABAB"/>
              </a:solidFill>
            </c:spPr>
            <c:extLst>
              <c:ext xmlns:c16="http://schemas.microsoft.com/office/drawing/2014/chart" uri="{C3380CC4-5D6E-409C-BE32-E72D297353CC}">
                <c16:uniqueId val="{000008B5-26BF-40B0-8A43-EC10D791E60B}"/>
              </c:ext>
            </c:extLst>
          </c:dPt>
          <c:dPt>
            <c:idx val="1114"/>
            <c:invertIfNegative val="1"/>
            <c:bubble3D val="0"/>
            <c:spPr>
              <a:solidFill>
                <a:srgbClr val="AEABAB"/>
              </a:solidFill>
            </c:spPr>
            <c:extLst>
              <c:ext xmlns:c16="http://schemas.microsoft.com/office/drawing/2014/chart" uri="{C3380CC4-5D6E-409C-BE32-E72D297353CC}">
                <c16:uniqueId val="{000008B7-26BF-40B0-8A43-EC10D791E60B}"/>
              </c:ext>
            </c:extLst>
          </c:dPt>
          <c:dPt>
            <c:idx val="1115"/>
            <c:invertIfNegative val="1"/>
            <c:bubble3D val="0"/>
            <c:spPr>
              <a:solidFill>
                <a:srgbClr val="AEABAB"/>
              </a:solidFill>
            </c:spPr>
            <c:extLst>
              <c:ext xmlns:c16="http://schemas.microsoft.com/office/drawing/2014/chart" uri="{C3380CC4-5D6E-409C-BE32-E72D297353CC}">
                <c16:uniqueId val="{000008B9-26BF-40B0-8A43-EC10D791E60B}"/>
              </c:ext>
            </c:extLst>
          </c:dPt>
          <c:dPt>
            <c:idx val="1116"/>
            <c:invertIfNegative val="1"/>
            <c:bubble3D val="0"/>
            <c:spPr>
              <a:solidFill>
                <a:srgbClr val="AEABAB"/>
              </a:solidFill>
            </c:spPr>
            <c:extLst>
              <c:ext xmlns:c16="http://schemas.microsoft.com/office/drawing/2014/chart" uri="{C3380CC4-5D6E-409C-BE32-E72D297353CC}">
                <c16:uniqueId val="{000008BB-26BF-40B0-8A43-EC10D791E60B}"/>
              </c:ext>
            </c:extLst>
          </c:dPt>
          <c:dPt>
            <c:idx val="1117"/>
            <c:invertIfNegative val="1"/>
            <c:bubble3D val="0"/>
            <c:spPr>
              <a:solidFill>
                <a:srgbClr val="AEABAB"/>
              </a:solidFill>
            </c:spPr>
            <c:extLst>
              <c:ext xmlns:c16="http://schemas.microsoft.com/office/drawing/2014/chart" uri="{C3380CC4-5D6E-409C-BE32-E72D297353CC}">
                <c16:uniqueId val="{000008BD-26BF-40B0-8A43-EC10D791E60B}"/>
              </c:ext>
            </c:extLst>
          </c:dPt>
          <c:dPt>
            <c:idx val="1118"/>
            <c:invertIfNegative val="1"/>
            <c:bubble3D val="0"/>
            <c:spPr>
              <a:solidFill>
                <a:srgbClr val="AEABAB"/>
              </a:solidFill>
            </c:spPr>
            <c:extLst>
              <c:ext xmlns:c16="http://schemas.microsoft.com/office/drawing/2014/chart" uri="{C3380CC4-5D6E-409C-BE32-E72D297353CC}">
                <c16:uniqueId val="{000008BF-26BF-40B0-8A43-EC10D791E60B}"/>
              </c:ext>
            </c:extLst>
          </c:dPt>
          <c:dPt>
            <c:idx val="1119"/>
            <c:invertIfNegative val="1"/>
            <c:bubble3D val="0"/>
            <c:spPr>
              <a:solidFill>
                <a:srgbClr val="AEABAB"/>
              </a:solidFill>
            </c:spPr>
            <c:extLst>
              <c:ext xmlns:c16="http://schemas.microsoft.com/office/drawing/2014/chart" uri="{C3380CC4-5D6E-409C-BE32-E72D297353CC}">
                <c16:uniqueId val="{000008C1-26BF-40B0-8A43-EC10D791E60B}"/>
              </c:ext>
            </c:extLst>
          </c:dPt>
          <c:dPt>
            <c:idx val="1120"/>
            <c:invertIfNegative val="1"/>
            <c:bubble3D val="0"/>
            <c:spPr>
              <a:solidFill>
                <a:srgbClr val="AEABAB"/>
              </a:solidFill>
            </c:spPr>
            <c:extLst>
              <c:ext xmlns:c16="http://schemas.microsoft.com/office/drawing/2014/chart" uri="{C3380CC4-5D6E-409C-BE32-E72D297353CC}">
                <c16:uniqueId val="{000008C3-26BF-40B0-8A43-EC10D791E60B}"/>
              </c:ext>
            </c:extLst>
          </c:dPt>
          <c:dPt>
            <c:idx val="1121"/>
            <c:invertIfNegative val="1"/>
            <c:bubble3D val="0"/>
            <c:spPr>
              <a:solidFill>
                <a:srgbClr val="AEABAB"/>
              </a:solidFill>
            </c:spPr>
            <c:extLst>
              <c:ext xmlns:c16="http://schemas.microsoft.com/office/drawing/2014/chart" uri="{C3380CC4-5D6E-409C-BE32-E72D297353CC}">
                <c16:uniqueId val="{000008C5-26BF-40B0-8A43-EC10D791E60B}"/>
              </c:ext>
            </c:extLst>
          </c:dPt>
          <c:dPt>
            <c:idx val="1122"/>
            <c:invertIfNegative val="1"/>
            <c:bubble3D val="0"/>
            <c:spPr>
              <a:solidFill>
                <a:srgbClr val="AEABAB"/>
              </a:solidFill>
            </c:spPr>
            <c:extLst>
              <c:ext xmlns:c16="http://schemas.microsoft.com/office/drawing/2014/chart" uri="{C3380CC4-5D6E-409C-BE32-E72D297353CC}">
                <c16:uniqueId val="{000008C7-26BF-40B0-8A43-EC10D791E60B}"/>
              </c:ext>
            </c:extLst>
          </c:dPt>
          <c:dPt>
            <c:idx val="1123"/>
            <c:invertIfNegative val="1"/>
            <c:bubble3D val="0"/>
            <c:spPr>
              <a:solidFill>
                <a:srgbClr val="AEABAB"/>
              </a:solidFill>
            </c:spPr>
            <c:extLst>
              <c:ext xmlns:c16="http://schemas.microsoft.com/office/drawing/2014/chart" uri="{C3380CC4-5D6E-409C-BE32-E72D297353CC}">
                <c16:uniqueId val="{000008C9-26BF-40B0-8A43-EC10D791E60B}"/>
              </c:ext>
            </c:extLst>
          </c:dPt>
          <c:dPt>
            <c:idx val="1124"/>
            <c:invertIfNegative val="1"/>
            <c:bubble3D val="0"/>
            <c:spPr>
              <a:solidFill>
                <a:srgbClr val="AEABAB"/>
              </a:solidFill>
            </c:spPr>
            <c:extLst>
              <c:ext xmlns:c16="http://schemas.microsoft.com/office/drawing/2014/chart" uri="{C3380CC4-5D6E-409C-BE32-E72D297353CC}">
                <c16:uniqueId val="{000008CB-26BF-40B0-8A43-EC10D791E60B}"/>
              </c:ext>
            </c:extLst>
          </c:dPt>
          <c:dPt>
            <c:idx val="1125"/>
            <c:invertIfNegative val="1"/>
            <c:bubble3D val="0"/>
            <c:spPr>
              <a:solidFill>
                <a:srgbClr val="AEABAB"/>
              </a:solidFill>
            </c:spPr>
            <c:extLst>
              <c:ext xmlns:c16="http://schemas.microsoft.com/office/drawing/2014/chart" uri="{C3380CC4-5D6E-409C-BE32-E72D297353CC}">
                <c16:uniqueId val="{000008CD-26BF-40B0-8A43-EC10D791E60B}"/>
              </c:ext>
            </c:extLst>
          </c:dPt>
          <c:dPt>
            <c:idx val="1126"/>
            <c:invertIfNegative val="1"/>
            <c:bubble3D val="0"/>
            <c:spPr>
              <a:solidFill>
                <a:srgbClr val="AEABAB"/>
              </a:solidFill>
            </c:spPr>
            <c:extLst>
              <c:ext xmlns:c16="http://schemas.microsoft.com/office/drawing/2014/chart" uri="{C3380CC4-5D6E-409C-BE32-E72D297353CC}">
                <c16:uniqueId val="{000008CF-26BF-40B0-8A43-EC10D791E60B}"/>
              </c:ext>
            </c:extLst>
          </c:dPt>
          <c:dPt>
            <c:idx val="1127"/>
            <c:invertIfNegative val="1"/>
            <c:bubble3D val="0"/>
            <c:spPr>
              <a:solidFill>
                <a:srgbClr val="AEABAB"/>
              </a:solidFill>
            </c:spPr>
            <c:extLst>
              <c:ext xmlns:c16="http://schemas.microsoft.com/office/drawing/2014/chart" uri="{C3380CC4-5D6E-409C-BE32-E72D297353CC}">
                <c16:uniqueId val="{000008D1-26BF-40B0-8A43-EC10D791E60B}"/>
              </c:ext>
            </c:extLst>
          </c:dPt>
          <c:dPt>
            <c:idx val="1128"/>
            <c:invertIfNegative val="1"/>
            <c:bubble3D val="0"/>
            <c:spPr>
              <a:solidFill>
                <a:srgbClr val="AEABAB"/>
              </a:solidFill>
            </c:spPr>
            <c:extLst>
              <c:ext xmlns:c16="http://schemas.microsoft.com/office/drawing/2014/chart" uri="{C3380CC4-5D6E-409C-BE32-E72D297353CC}">
                <c16:uniqueId val="{000008D3-26BF-40B0-8A43-EC10D791E60B}"/>
              </c:ext>
            </c:extLst>
          </c:dPt>
          <c:dPt>
            <c:idx val="1129"/>
            <c:invertIfNegative val="1"/>
            <c:bubble3D val="0"/>
            <c:spPr>
              <a:solidFill>
                <a:srgbClr val="AEABAB"/>
              </a:solidFill>
            </c:spPr>
            <c:extLst>
              <c:ext xmlns:c16="http://schemas.microsoft.com/office/drawing/2014/chart" uri="{C3380CC4-5D6E-409C-BE32-E72D297353CC}">
                <c16:uniqueId val="{000008D5-26BF-40B0-8A43-EC10D791E60B}"/>
              </c:ext>
            </c:extLst>
          </c:dPt>
          <c:dPt>
            <c:idx val="1130"/>
            <c:invertIfNegative val="1"/>
            <c:bubble3D val="0"/>
            <c:spPr>
              <a:solidFill>
                <a:srgbClr val="AEABAB"/>
              </a:solidFill>
            </c:spPr>
            <c:extLst>
              <c:ext xmlns:c16="http://schemas.microsoft.com/office/drawing/2014/chart" uri="{C3380CC4-5D6E-409C-BE32-E72D297353CC}">
                <c16:uniqueId val="{000008D7-26BF-40B0-8A43-EC10D791E60B}"/>
              </c:ext>
            </c:extLst>
          </c:dPt>
          <c:dPt>
            <c:idx val="1131"/>
            <c:invertIfNegative val="1"/>
            <c:bubble3D val="0"/>
            <c:spPr>
              <a:solidFill>
                <a:srgbClr val="AEABAB"/>
              </a:solidFill>
            </c:spPr>
            <c:extLst>
              <c:ext xmlns:c16="http://schemas.microsoft.com/office/drawing/2014/chart" uri="{C3380CC4-5D6E-409C-BE32-E72D297353CC}">
                <c16:uniqueId val="{000008D9-26BF-40B0-8A43-EC10D791E60B}"/>
              </c:ext>
            </c:extLst>
          </c:dPt>
          <c:dPt>
            <c:idx val="1132"/>
            <c:invertIfNegative val="1"/>
            <c:bubble3D val="0"/>
            <c:spPr>
              <a:solidFill>
                <a:srgbClr val="AEABAB"/>
              </a:solidFill>
            </c:spPr>
            <c:extLst>
              <c:ext xmlns:c16="http://schemas.microsoft.com/office/drawing/2014/chart" uri="{C3380CC4-5D6E-409C-BE32-E72D297353CC}">
                <c16:uniqueId val="{000008DB-26BF-40B0-8A43-EC10D791E60B}"/>
              </c:ext>
            </c:extLst>
          </c:dPt>
          <c:dPt>
            <c:idx val="1133"/>
            <c:invertIfNegative val="1"/>
            <c:bubble3D val="0"/>
            <c:spPr>
              <a:solidFill>
                <a:srgbClr val="AEABAB"/>
              </a:solidFill>
            </c:spPr>
            <c:extLst>
              <c:ext xmlns:c16="http://schemas.microsoft.com/office/drawing/2014/chart" uri="{C3380CC4-5D6E-409C-BE32-E72D297353CC}">
                <c16:uniqueId val="{000008DD-26BF-40B0-8A43-EC10D791E60B}"/>
              </c:ext>
            </c:extLst>
          </c:dPt>
          <c:dPt>
            <c:idx val="1134"/>
            <c:invertIfNegative val="1"/>
            <c:bubble3D val="0"/>
            <c:spPr>
              <a:solidFill>
                <a:srgbClr val="AEABAB"/>
              </a:solidFill>
            </c:spPr>
            <c:extLst>
              <c:ext xmlns:c16="http://schemas.microsoft.com/office/drawing/2014/chart" uri="{C3380CC4-5D6E-409C-BE32-E72D297353CC}">
                <c16:uniqueId val="{000008DF-26BF-40B0-8A43-EC10D791E60B}"/>
              </c:ext>
            </c:extLst>
          </c:dPt>
          <c:dPt>
            <c:idx val="1135"/>
            <c:invertIfNegative val="1"/>
            <c:bubble3D val="0"/>
            <c:spPr>
              <a:solidFill>
                <a:srgbClr val="AEABAB"/>
              </a:solidFill>
            </c:spPr>
            <c:extLst>
              <c:ext xmlns:c16="http://schemas.microsoft.com/office/drawing/2014/chart" uri="{C3380CC4-5D6E-409C-BE32-E72D297353CC}">
                <c16:uniqueId val="{000008E1-26BF-40B0-8A43-EC10D791E60B}"/>
              </c:ext>
            </c:extLst>
          </c:dPt>
          <c:dPt>
            <c:idx val="1136"/>
            <c:invertIfNegative val="1"/>
            <c:bubble3D val="0"/>
            <c:spPr>
              <a:solidFill>
                <a:srgbClr val="AEABAB"/>
              </a:solidFill>
            </c:spPr>
            <c:extLst>
              <c:ext xmlns:c16="http://schemas.microsoft.com/office/drawing/2014/chart" uri="{C3380CC4-5D6E-409C-BE32-E72D297353CC}">
                <c16:uniqueId val="{000008E3-26BF-40B0-8A43-EC10D791E60B}"/>
              </c:ext>
            </c:extLst>
          </c:dPt>
          <c:dPt>
            <c:idx val="1137"/>
            <c:invertIfNegative val="1"/>
            <c:bubble3D val="0"/>
            <c:spPr>
              <a:solidFill>
                <a:srgbClr val="AEABAB"/>
              </a:solidFill>
            </c:spPr>
            <c:extLst>
              <c:ext xmlns:c16="http://schemas.microsoft.com/office/drawing/2014/chart" uri="{C3380CC4-5D6E-409C-BE32-E72D297353CC}">
                <c16:uniqueId val="{000008E5-26BF-40B0-8A43-EC10D791E60B}"/>
              </c:ext>
            </c:extLst>
          </c:dPt>
          <c:dPt>
            <c:idx val="1138"/>
            <c:invertIfNegative val="1"/>
            <c:bubble3D val="0"/>
            <c:spPr>
              <a:solidFill>
                <a:srgbClr val="AEABAB"/>
              </a:solidFill>
            </c:spPr>
            <c:extLst>
              <c:ext xmlns:c16="http://schemas.microsoft.com/office/drawing/2014/chart" uri="{C3380CC4-5D6E-409C-BE32-E72D297353CC}">
                <c16:uniqueId val="{000008E7-26BF-40B0-8A43-EC10D791E60B}"/>
              </c:ext>
            </c:extLst>
          </c:dPt>
          <c:dPt>
            <c:idx val="1139"/>
            <c:invertIfNegative val="1"/>
            <c:bubble3D val="0"/>
            <c:spPr>
              <a:solidFill>
                <a:srgbClr val="AEABAB"/>
              </a:solidFill>
            </c:spPr>
            <c:extLst>
              <c:ext xmlns:c16="http://schemas.microsoft.com/office/drawing/2014/chart" uri="{C3380CC4-5D6E-409C-BE32-E72D297353CC}">
                <c16:uniqueId val="{000008E9-26BF-40B0-8A43-EC10D791E60B}"/>
              </c:ext>
            </c:extLst>
          </c:dPt>
          <c:dPt>
            <c:idx val="1140"/>
            <c:invertIfNegative val="1"/>
            <c:bubble3D val="0"/>
            <c:spPr>
              <a:solidFill>
                <a:srgbClr val="AEABAB"/>
              </a:solidFill>
            </c:spPr>
            <c:extLst>
              <c:ext xmlns:c16="http://schemas.microsoft.com/office/drawing/2014/chart" uri="{C3380CC4-5D6E-409C-BE32-E72D297353CC}">
                <c16:uniqueId val="{000008EB-26BF-40B0-8A43-EC10D791E60B}"/>
              </c:ext>
            </c:extLst>
          </c:dPt>
          <c:dPt>
            <c:idx val="1141"/>
            <c:invertIfNegative val="1"/>
            <c:bubble3D val="0"/>
            <c:spPr>
              <a:solidFill>
                <a:srgbClr val="AEABAB"/>
              </a:solidFill>
            </c:spPr>
            <c:extLst>
              <c:ext xmlns:c16="http://schemas.microsoft.com/office/drawing/2014/chart" uri="{C3380CC4-5D6E-409C-BE32-E72D297353CC}">
                <c16:uniqueId val="{000008ED-26BF-40B0-8A43-EC10D791E60B}"/>
              </c:ext>
            </c:extLst>
          </c:dPt>
          <c:dPt>
            <c:idx val="1142"/>
            <c:invertIfNegative val="1"/>
            <c:bubble3D val="0"/>
            <c:spPr>
              <a:solidFill>
                <a:srgbClr val="AEABAB"/>
              </a:solidFill>
            </c:spPr>
            <c:extLst>
              <c:ext xmlns:c16="http://schemas.microsoft.com/office/drawing/2014/chart" uri="{C3380CC4-5D6E-409C-BE32-E72D297353CC}">
                <c16:uniqueId val="{000008EF-26BF-40B0-8A43-EC10D791E60B}"/>
              </c:ext>
            </c:extLst>
          </c:dPt>
          <c:dPt>
            <c:idx val="1143"/>
            <c:invertIfNegative val="1"/>
            <c:bubble3D val="0"/>
            <c:spPr>
              <a:solidFill>
                <a:srgbClr val="AEABAB"/>
              </a:solidFill>
            </c:spPr>
            <c:extLst>
              <c:ext xmlns:c16="http://schemas.microsoft.com/office/drawing/2014/chart" uri="{C3380CC4-5D6E-409C-BE32-E72D297353CC}">
                <c16:uniqueId val="{000008F1-26BF-40B0-8A43-EC10D791E60B}"/>
              </c:ext>
            </c:extLst>
          </c:dPt>
          <c:dPt>
            <c:idx val="1144"/>
            <c:invertIfNegative val="1"/>
            <c:bubble3D val="0"/>
            <c:spPr>
              <a:solidFill>
                <a:srgbClr val="AEABAB"/>
              </a:solidFill>
            </c:spPr>
            <c:extLst>
              <c:ext xmlns:c16="http://schemas.microsoft.com/office/drawing/2014/chart" uri="{C3380CC4-5D6E-409C-BE32-E72D297353CC}">
                <c16:uniqueId val="{000008F3-26BF-40B0-8A43-EC10D791E60B}"/>
              </c:ext>
            </c:extLst>
          </c:dPt>
          <c:dPt>
            <c:idx val="1145"/>
            <c:invertIfNegative val="1"/>
            <c:bubble3D val="0"/>
            <c:spPr>
              <a:solidFill>
                <a:srgbClr val="AEABAB"/>
              </a:solidFill>
            </c:spPr>
            <c:extLst>
              <c:ext xmlns:c16="http://schemas.microsoft.com/office/drawing/2014/chart" uri="{C3380CC4-5D6E-409C-BE32-E72D297353CC}">
                <c16:uniqueId val="{000008F5-26BF-40B0-8A43-EC10D791E60B}"/>
              </c:ext>
            </c:extLst>
          </c:dPt>
          <c:dPt>
            <c:idx val="1146"/>
            <c:invertIfNegative val="1"/>
            <c:bubble3D val="0"/>
            <c:spPr>
              <a:solidFill>
                <a:srgbClr val="AEABAB"/>
              </a:solidFill>
            </c:spPr>
            <c:extLst>
              <c:ext xmlns:c16="http://schemas.microsoft.com/office/drawing/2014/chart" uri="{C3380CC4-5D6E-409C-BE32-E72D297353CC}">
                <c16:uniqueId val="{000008F7-26BF-40B0-8A43-EC10D791E60B}"/>
              </c:ext>
            </c:extLst>
          </c:dPt>
          <c:dPt>
            <c:idx val="1147"/>
            <c:invertIfNegative val="1"/>
            <c:bubble3D val="0"/>
            <c:spPr>
              <a:solidFill>
                <a:srgbClr val="AEABAB"/>
              </a:solidFill>
            </c:spPr>
            <c:extLst>
              <c:ext xmlns:c16="http://schemas.microsoft.com/office/drawing/2014/chart" uri="{C3380CC4-5D6E-409C-BE32-E72D297353CC}">
                <c16:uniqueId val="{000008F9-26BF-40B0-8A43-EC10D791E60B}"/>
              </c:ext>
            </c:extLst>
          </c:dPt>
          <c:dPt>
            <c:idx val="1148"/>
            <c:invertIfNegative val="1"/>
            <c:bubble3D val="0"/>
            <c:spPr>
              <a:solidFill>
                <a:srgbClr val="AEABAB"/>
              </a:solidFill>
            </c:spPr>
            <c:extLst>
              <c:ext xmlns:c16="http://schemas.microsoft.com/office/drawing/2014/chart" uri="{C3380CC4-5D6E-409C-BE32-E72D297353CC}">
                <c16:uniqueId val="{000008FB-26BF-40B0-8A43-EC10D791E60B}"/>
              </c:ext>
            </c:extLst>
          </c:dPt>
          <c:dPt>
            <c:idx val="1149"/>
            <c:invertIfNegative val="1"/>
            <c:bubble3D val="0"/>
            <c:spPr>
              <a:solidFill>
                <a:srgbClr val="AEABAB"/>
              </a:solidFill>
            </c:spPr>
            <c:extLst>
              <c:ext xmlns:c16="http://schemas.microsoft.com/office/drawing/2014/chart" uri="{C3380CC4-5D6E-409C-BE32-E72D297353CC}">
                <c16:uniqueId val="{000008FD-26BF-40B0-8A43-EC10D791E60B}"/>
              </c:ext>
            </c:extLst>
          </c:dPt>
          <c:dPt>
            <c:idx val="1150"/>
            <c:invertIfNegative val="1"/>
            <c:bubble3D val="0"/>
            <c:spPr>
              <a:solidFill>
                <a:srgbClr val="AEABAB"/>
              </a:solidFill>
            </c:spPr>
            <c:extLst>
              <c:ext xmlns:c16="http://schemas.microsoft.com/office/drawing/2014/chart" uri="{C3380CC4-5D6E-409C-BE32-E72D297353CC}">
                <c16:uniqueId val="{000008FF-26BF-40B0-8A43-EC10D791E60B}"/>
              </c:ext>
            </c:extLst>
          </c:dPt>
          <c:dPt>
            <c:idx val="1151"/>
            <c:invertIfNegative val="1"/>
            <c:bubble3D val="0"/>
            <c:spPr>
              <a:solidFill>
                <a:srgbClr val="AEABAB"/>
              </a:solidFill>
            </c:spPr>
            <c:extLst>
              <c:ext xmlns:c16="http://schemas.microsoft.com/office/drawing/2014/chart" uri="{C3380CC4-5D6E-409C-BE32-E72D297353CC}">
                <c16:uniqueId val="{00000901-26BF-40B0-8A43-EC10D791E60B}"/>
              </c:ext>
            </c:extLst>
          </c:dPt>
          <c:dPt>
            <c:idx val="1152"/>
            <c:invertIfNegative val="1"/>
            <c:bubble3D val="0"/>
            <c:spPr>
              <a:solidFill>
                <a:srgbClr val="AEABAB"/>
              </a:solidFill>
            </c:spPr>
            <c:extLst>
              <c:ext xmlns:c16="http://schemas.microsoft.com/office/drawing/2014/chart" uri="{C3380CC4-5D6E-409C-BE32-E72D297353CC}">
                <c16:uniqueId val="{00000903-26BF-40B0-8A43-EC10D791E60B}"/>
              </c:ext>
            </c:extLst>
          </c:dPt>
          <c:dPt>
            <c:idx val="1153"/>
            <c:invertIfNegative val="1"/>
            <c:bubble3D val="0"/>
            <c:spPr>
              <a:solidFill>
                <a:srgbClr val="AEABAB"/>
              </a:solidFill>
            </c:spPr>
            <c:extLst>
              <c:ext xmlns:c16="http://schemas.microsoft.com/office/drawing/2014/chart" uri="{C3380CC4-5D6E-409C-BE32-E72D297353CC}">
                <c16:uniqueId val="{00000905-26BF-40B0-8A43-EC10D791E60B}"/>
              </c:ext>
            </c:extLst>
          </c:dPt>
          <c:dPt>
            <c:idx val="1154"/>
            <c:invertIfNegative val="1"/>
            <c:bubble3D val="0"/>
            <c:spPr>
              <a:solidFill>
                <a:srgbClr val="AEABAB"/>
              </a:solidFill>
            </c:spPr>
            <c:extLst>
              <c:ext xmlns:c16="http://schemas.microsoft.com/office/drawing/2014/chart" uri="{C3380CC4-5D6E-409C-BE32-E72D297353CC}">
                <c16:uniqueId val="{00000907-26BF-40B0-8A43-EC10D791E60B}"/>
              </c:ext>
            </c:extLst>
          </c:dPt>
          <c:dPt>
            <c:idx val="1155"/>
            <c:invertIfNegative val="1"/>
            <c:bubble3D val="0"/>
            <c:spPr>
              <a:solidFill>
                <a:srgbClr val="AEABAB"/>
              </a:solidFill>
            </c:spPr>
            <c:extLst>
              <c:ext xmlns:c16="http://schemas.microsoft.com/office/drawing/2014/chart" uri="{C3380CC4-5D6E-409C-BE32-E72D297353CC}">
                <c16:uniqueId val="{00000909-26BF-40B0-8A43-EC10D791E60B}"/>
              </c:ext>
            </c:extLst>
          </c:dPt>
          <c:dPt>
            <c:idx val="1156"/>
            <c:invertIfNegative val="1"/>
            <c:bubble3D val="0"/>
            <c:spPr>
              <a:solidFill>
                <a:srgbClr val="AEABAB"/>
              </a:solidFill>
            </c:spPr>
            <c:extLst>
              <c:ext xmlns:c16="http://schemas.microsoft.com/office/drawing/2014/chart" uri="{C3380CC4-5D6E-409C-BE32-E72D297353CC}">
                <c16:uniqueId val="{0000090B-26BF-40B0-8A43-EC10D791E60B}"/>
              </c:ext>
            </c:extLst>
          </c:dPt>
          <c:dPt>
            <c:idx val="1157"/>
            <c:invertIfNegative val="1"/>
            <c:bubble3D val="0"/>
            <c:spPr>
              <a:solidFill>
                <a:srgbClr val="AEABAB"/>
              </a:solidFill>
            </c:spPr>
            <c:extLst>
              <c:ext xmlns:c16="http://schemas.microsoft.com/office/drawing/2014/chart" uri="{C3380CC4-5D6E-409C-BE32-E72D297353CC}">
                <c16:uniqueId val="{0000090D-26BF-40B0-8A43-EC10D791E60B}"/>
              </c:ext>
            </c:extLst>
          </c:dPt>
          <c:dPt>
            <c:idx val="1158"/>
            <c:invertIfNegative val="1"/>
            <c:bubble3D val="0"/>
            <c:spPr>
              <a:solidFill>
                <a:srgbClr val="AEABAB"/>
              </a:solidFill>
            </c:spPr>
            <c:extLst>
              <c:ext xmlns:c16="http://schemas.microsoft.com/office/drawing/2014/chart" uri="{C3380CC4-5D6E-409C-BE32-E72D297353CC}">
                <c16:uniqueId val="{0000090F-26BF-40B0-8A43-EC10D791E60B}"/>
              </c:ext>
            </c:extLst>
          </c:dPt>
          <c:dPt>
            <c:idx val="1159"/>
            <c:invertIfNegative val="1"/>
            <c:bubble3D val="0"/>
            <c:spPr>
              <a:solidFill>
                <a:srgbClr val="AEABAB"/>
              </a:solidFill>
            </c:spPr>
            <c:extLst>
              <c:ext xmlns:c16="http://schemas.microsoft.com/office/drawing/2014/chart" uri="{C3380CC4-5D6E-409C-BE32-E72D297353CC}">
                <c16:uniqueId val="{00000911-26BF-40B0-8A43-EC10D791E60B}"/>
              </c:ext>
            </c:extLst>
          </c:dPt>
          <c:dPt>
            <c:idx val="1160"/>
            <c:invertIfNegative val="1"/>
            <c:bubble3D val="0"/>
            <c:spPr>
              <a:solidFill>
                <a:srgbClr val="AEABAB"/>
              </a:solidFill>
            </c:spPr>
            <c:extLst>
              <c:ext xmlns:c16="http://schemas.microsoft.com/office/drawing/2014/chart" uri="{C3380CC4-5D6E-409C-BE32-E72D297353CC}">
                <c16:uniqueId val="{00000913-26BF-40B0-8A43-EC10D791E60B}"/>
              </c:ext>
            </c:extLst>
          </c:dPt>
          <c:dPt>
            <c:idx val="1161"/>
            <c:invertIfNegative val="1"/>
            <c:bubble3D val="0"/>
            <c:spPr>
              <a:solidFill>
                <a:srgbClr val="AEABAB"/>
              </a:solidFill>
            </c:spPr>
            <c:extLst>
              <c:ext xmlns:c16="http://schemas.microsoft.com/office/drawing/2014/chart" uri="{C3380CC4-5D6E-409C-BE32-E72D297353CC}">
                <c16:uniqueId val="{00000915-26BF-40B0-8A43-EC10D791E60B}"/>
              </c:ext>
            </c:extLst>
          </c:dPt>
          <c:dPt>
            <c:idx val="1162"/>
            <c:invertIfNegative val="1"/>
            <c:bubble3D val="0"/>
            <c:spPr>
              <a:solidFill>
                <a:srgbClr val="AEABAB"/>
              </a:solidFill>
            </c:spPr>
            <c:extLst>
              <c:ext xmlns:c16="http://schemas.microsoft.com/office/drawing/2014/chart" uri="{C3380CC4-5D6E-409C-BE32-E72D297353CC}">
                <c16:uniqueId val="{00000917-26BF-40B0-8A43-EC10D791E60B}"/>
              </c:ext>
            </c:extLst>
          </c:dPt>
          <c:dPt>
            <c:idx val="1163"/>
            <c:invertIfNegative val="1"/>
            <c:bubble3D val="0"/>
            <c:spPr>
              <a:solidFill>
                <a:srgbClr val="AEABAB"/>
              </a:solidFill>
            </c:spPr>
            <c:extLst>
              <c:ext xmlns:c16="http://schemas.microsoft.com/office/drawing/2014/chart" uri="{C3380CC4-5D6E-409C-BE32-E72D297353CC}">
                <c16:uniqueId val="{00000919-26BF-40B0-8A43-EC10D791E60B}"/>
              </c:ext>
            </c:extLst>
          </c:dPt>
          <c:dPt>
            <c:idx val="1164"/>
            <c:invertIfNegative val="1"/>
            <c:bubble3D val="0"/>
            <c:spPr>
              <a:solidFill>
                <a:srgbClr val="AEABAB"/>
              </a:solidFill>
            </c:spPr>
            <c:extLst>
              <c:ext xmlns:c16="http://schemas.microsoft.com/office/drawing/2014/chart" uri="{C3380CC4-5D6E-409C-BE32-E72D297353CC}">
                <c16:uniqueId val="{0000091B-26BF-40B0-8A43-EC10D791E60B}"/>
              </c:ext>
            </c:extLst>
          </c:dPt>
          <c:dPt>
            <c:idx val="1165"/>
            <c:invertIfNegative val="1"/>
            <c:bubble3D val="0"/>
            <c:spPr>
              <a:solidFill>
                <a:srgbClr val="AEABAB"/>
              </a:solidFill>
            </c:spPr>
            <c:extLst>
              <c:ext xmlns:c16="http://schemas.microsoft.com/office/drawing/2014/chart" uri="{C3380CC4-5D6E-409C-BE32-E72D297353CC}">
                <c16:uniqueId val="{0000091D-26BF-40B0-8A43-EC10D791E60B}"/>
              </c:ext>
            </c:extLst>
          </c:dPt>
          <c:dPt>
            <c:idx val="1166"/>
            <c:invertIfNegative val="1"/>
            <c:bubble3D val="0"/>
            <c:spPr>
              <a:solidFill>
                <a:srgbClr val="AEABAB"/>
              </a:solidFill>
            </c:spPr>
            <c:extLst>
              <c:ext xmlns:c16="http://schemas.microsoft.com/office/drawing/2014/chart" uri="{C3380CC4-5D6E-409C-BE32-E72D297353CC}">
                <c16:uniqueId val="{0000091F-26BF-40B0-8A43-EC10D791E60B}"/>
              </c:ext>
            </c:extLst>
          </c:dPt>
          <c:dPt>
            <c:idx val="1167"/>
            <c:invertIfNegative val="1"/>
            <c:bubble3D val="0"/>
            <c:spPr>
              <a:solidFill>
                <a:srgbClr val="AEABAB"/>
              </a:solidFill>
            </c:spPr>
            <c:extLst>
              <c:ext xmlns:c16="http://schemas.microsoft.com/office/drawing/2014/chart" uri="{C3380CC4-5D6E-409C-BE32-E72D297353CC}">
                <c16:uniqueId val="{00000921-26BF-40B0-8A43-EC10D791E60B}"/>
              </c:ext>
            </c:extLst>
          </c:dPt>
          <c:dPt>
            <c:idx val="1168"/>
            <c:invertIfNegative val="1"/>
            <c:bubble3D val="0"/>
            <c:spPr>
              <a:solidFill>
                <a:srgbClr val="AEABAB"/>
              </a:solidFill>
            </c:spPr>
            <c:extLst>
              <c:ext xmlns:c16="http://schemas.microsoft.com/office/drawing/2014/chart" uri="{C3380CC4-5D6E-409C-BE32-E72D297353CC}">
                <c16:uniqueId val="{00000923-26BF-40B0-8A43-EC10D791E60B}"/>
              </c:ext>
            </c:extLst>
          </c:dPt>
          <c:dPt>
            <c:idx val="1169"/>
            <c:invertIfNegative val="1"/>
            <c:bubble3D val="0"/>
            <c:spPr>
              <a:solidFill>
                <a:srgbClr val="AEABAB"/>
              </a:solidFill>
            </c:spPr>
            <c:extLst>
              <c:ext xmlns:c16="http://schemas.microsoft.com/office/drawing/2014/chart" uri="{C3380CC4-5D6E-409C-BE32-E72D297353CC}">
                <c16:uniqueId val="{00000925-26BF-40B0-8A43-EC10D791E60B}"/>
              </c:ext>
            </c:extLst>
          </c:dPt>
          <c:dPt>
            <c:idx val="1170"/>
            <c:invertIfNegative val="1"/>
            <c:bubble3D val="0"/>
            <c:spPr>
              <a:solidFill>
                <a:srgbClr val="AEABAB"/>
              </a:solidFill>
            </c:spPr>
            <c:extLst>
              <c:ext xmlns:c16="http://schemas.microsoft.com/office/drawing/2014/chart" uri="{C3380CC4-5D6E-409C-BE32-E72D297353CC}">
                <c16:uniqueId val="{00000927-26BF-40B0-8A43-EC10D791E60B}"/>
              </c:ext>
            </c:extLst>
          </c:dPt>
          <c:dPt>
            <c:idx val="1171"/>
            <c:invertIfNegative val="1"/>
            <c:bubble3D val="0"/>
            <c:spPr>
              <a:solidFill>
                <a:srgbClr val="AEABAB"/>
              </a:solidFill>
            </c:spPr>
            <c:extLst>
              <c:ext xmlns:c16="http://schemas.microsoft.com/office/drawing/2014/chart" uri="{C3380CC4-5D6E-409C-BE32-E72D297353CC}">
                <c16:uniqueId val="{00000929-26BF-40B0-8A43-EC10D791E60B}"/>
              </c:ext>
            </c:extLst>
          </c:dPt>
          <c:dPt>
            <c:idx val="1172"/>
            <c:invertIfNegative val="1"/>
            <c:bubble3D val="0"/>
            <c:spPr>
              <a:solidFill>
                <a:srgbClr val="AEABAB"/>
              </a:solidFill>
            </c:spPr>
            <c:extLst>
              <c:ext xmlns:c16="http://schemas.microsoft.com/office/drawing/2014/chart" uri="{C3380CC4-5D6E-409C-BE32-E72D297353CC}">
                <c16:uniqueId val="{0000092B-26BF-40B0-8A43-EC10D791E60B}"/>
              </c:ext>
            </c:extLst>
          </c:dPt>
          <c:dPt>
            <c:idx val="1173"/>
            <c:invertIfNegative val="1"/>
            <c:bubble3D val="0"/>
            <c:spPr>
              <a:solidFill>
                <a:srgbClr val="AEABAB"/>
              </a:solidFill>
            </c:spPr>
            <c:extLst>
              <c:ext xmlns:c16="http://schemas.microsoft.com/office/drawing/2014/chart" uri="{C3380CC4-5D6E-409C-BE32-E72D297353CC}">
                <c16:uniqueId val="{0000092D-26BF-40B0-8A43-EC10D791E60B}"/>
              </c:ext>
            </c:extLst>
          </c:dPt>
          <c:dPt>
            <c:idx val="1174"/>
            <c:invertIfNegative val="1"/>
            <c:bubble3D val="0"/>
            <c:spPr>
              <a:solidFill>
                <a:srgbClr val="AEABAB"/>
              </a:solidFill>
            </c:spPr>
            <c:extLst>
              <c:ext xmlns:c16="http://schemas.microsoft.com/office/drawing/2014/chart" uri="{C3380CC4-5D6E-409C-BE32-E72D297353CC}">
                <c16:uniqueId val="{0000092F-26BF-40B0-8A43-EC10D791E60B}"/>
              </c:ext>
            </c:extLst>
          </c:dPt>
          <c:dPt>
            <c:idx val="1175"/>
            <c:invertIfNegative val="1"/>
            <c:bubble3D val="0"/>
            <c:spPr>
              <a:solidFill>
                <a:srgbClr val="AEABAB"/>
              </a:solidFill>
            </c:spPr>
            <c:extLst>
              <c:ext xmlns:c16="http://schemas.microsoft.com/office/drawing/2014/chart" uri="{C3380CC4-5D6E-409C-BE32-E72D297353CC}">
                <c16:uniqueId val="{00000931-26BF-40B0-8A43-EC10D791E60B}"/>
              </c:ext>
            </c:extLst>
          </c:dPt>
          <c:dPt>
            <c:idx val="1176"/>
            <c:invertIfNegative val="1"/>
            <c:bubble3D val="0"/>
            <c:spPr>
              <a:solidFill>
                <a:srgbClr val="AEABAB"/>
              </a:solidFill>
            </c:spPr>
            <c:extLst>
              <c:ext xmlns:c16="http://schemas.microsoft.com/office/drawing/2014/chart" uri="{C3380CC4-5D6E-409C-BE32-E72D297353CC}">
                <c16:uniqueId val="{00000933-26BF-40B0-8A43-EC10D791E60B}"/>
              </c:ext>
            </c:extLst>
          </c:dPt>
          <c:dPt>
            <c:idx val="1177"/>
            <c:invertIfNegative val="1"/>
            <c:bubble3D val="0"/>
            <c:spPr>
              <a:solidFill>
                <a:srgbClr val="AEABAB"/>
              </a:solidFill>
            </c:spPr>
            <c:extLst>
              <c:ext xmlns:c16="http://schemas.microsoft.com/office/drawing/2014/chart" uri="{C3380CC4-5D6E-409C-BE32-E72D297353CC}">
                <c16:uniqueId val="{00000935-26BF-40B0-8A43-EC10D791E60B}"/>
              </c:ext>
            </c:extLst>
          </c:dPt>
          <c:dPt>
            <c:idx val="1178"/>
            <c:invertIfNegative val="1"/>
            <c:bubble3D val="0"/>
            <c:spPr>
              <a:solidFill>
                <a:srgbClr val="AEABAB"/>
              </a:solidFill>
            </c:spPr>
            <c:extLst>
              <c:ext xmlns:c16="http://schemas.microsoft.com/office/drawing/2014/chart" uri="{C3380CC4-5D6E-409C-BE32-E72D297353CC}">
                <c16:uniqueId val="{00000937-26BF-40B0-8A43-EC10D791E60B}"/>
              </c:ext>
            </c:extLst>
          </c:dPt>
          <c:dPt>
            <c:idx val="1179"/>
            <c:invertIfNegative val="1"/>
            <c:bubble3D val="0"/>
            <c:spPr>
              <a:solidFill>
                <a:srgbClr val="AEABAB"/>
              </a:solidFill>
            </c:spPr>
            <c:extLst>
              <c:ext xmlns:c16="http://schemas.microsoft.com/office/drawing/2014/chart" uri="{C3380CC4-5D6E-409C-BE32-E72D297353CC}">
                <c16:uniqueId val="{00000939-26BF-40B0-8A43-EC10D791E60B}"/>
              </c:ext>
            </c:extLst>
          </c:dPt>
          <c:dPt>
            <c:idx val="1180"/>
            <c:invertIfNegative val="1"/>
            <c:bubble3D val="0"/>
            <c:spPr>
              <a:solidFill>
                <a:srgbClr val="AEABAB"/>
              </a:solidFill>
            </c:spPr>
            <c:extLst>
              <c:ext xmlns:c16="http://schemas.microsoft.com/office/drawing/2014/chart" uri="{C3380CC4-5D6E-409C-BE32-E72D297353CC}">
                <c16:uniqueId val="{0000093B-26BF-40B0-8A43-EC10D791E60B}"/>
              </c:ext>
            </c:extLst>
          </c:dPt>
          <c:dPt>
            <c:idx val="1181"/>
            <c:invertIfNegative val="1"/>
            <c:bubble3D val="0"/>
            <c:spPr>
              <a:solidFill>
                <a:srgbClr val="AEABAB"/>
              </a:solidFill>
            </c:spPr>
            <c:extLst>
              <c:ext xmlns:c16="http://schemas.microsoft.com/office/drawing/2014/chart" uri="{C3380CC4-5D6E-409C-BE32-E72D297353CC}">
                <c16:uniqueId val="{0000093D-26BF-40B0-8A43-EC10D791E60B}"/>
              </c:ext>
            </c:extLst>
          </c:dPt>
          <c:dPt>
            <c:idx val="1182"/>
            <c:invertIfNegative val="1"/>
            <c:bubble3D val="0"/>
            <c:spPr>
              <a:solidFill>
                <a:srgbClr val="AEABAB"/>
              </a:solidFill>
            </c:spPr>
            <c:extLst>
              <c:ext xmlns:c16="http://schemas.microsoft.com/office/drawing/2014/chart" uri="{C3380CC4-5D6E-409C-BE32-E72D297353CC}">
                <c16:uniqueId val="{0000093F-26BF-40B0-8A43-EC10D791E60B}"/>
              </c:ext>
            </c:extLst>
          </c:dPt>
          <c:dPt>
            <c:idx val="1183"/>
            <c:invertIfNegative val="1"/>
            <c:bubble3D val="0"/>
            <c:spPr>
              <a:solidFill>
                <a:srgbClr val="AEABAB"/>
              </a:solidFill>
            </c:spPr>
            <c:extLst>
              <c:ext xmlns:c16="http://schemas.microsoft.com/office/drawing/2014/chart" uri="{C3380CC4-5D6E-409C-BE32-E72D297353CC}">
                <c16:uniqueId val="{00000941-26BF-40B0-8A43-EC10D791E60B}"/>
              </c:ext>
            </c:extLst>
          </c:dPt>
          <c:dPt>
            <c:idx val="1184"/>
            <c:invertIfNegative val="1"/>
            <c:bubble3D val="0"/>
            <c:spPr>
              <a:solidFill>
                <a:srgbClr val="AEABAB"/>
              </a:solidFill>
            </c:spPr>
            <c:extLst>
              <c:ext xmlns:c16="http://schemas.microsoft.com/office/drawing/2014/chart" uri="{C3380CC4-5D6E-409C-BE32-E72D297353CC}">
                <c16:uniqueId val="{00000943-26BF-40B0-8A43-EC10D791E60B}"/>
              </c:ext>
            </c:extLst>
          </c:dPt>
          <c:dPt>
            <c:idx val="1185"/>
            <c:invertIfNegative val="1"/>
            <c:bubble3D val="0"/>
            <c:spPr>
              <a:solidFill>
                <a:srgbClr val="AEABAB"/>
              </a:solidFill>
            </c:spPr>
            <c:extLst>
              <c:ext xmlns:c16="http://schemas.microsoft.com/office/drawing/2014/chart" uri="{C3380CC4-5D6E-409C-BE32-E72D297353CC}">
                <c16:uniqueId val="{00000945-26BF-40B0-8A43-EC10D791E60B}"/>
              </c:ext>
            </c:extLst>
          </c:dPt>
          <c:dPt>
            <c:idx val="1186"/>
            <c:invertIfNegative val="1"/>
            <c:bubble3D val="0"/>
            <c:spPr>
              <a:solidFill>
                <a:srgbClr val="AEABAB"/>
              </a:solidFill>
            </c:spPr>
            <c:extLst>
              <c:ext xmlns:c16="http://schemas.microsoft.com/office/drawing/2014/chart" uri="{C3380CC4-5D6E-409C-BE32-E72D297353CC}">
                <c16:uniqueId val="{00000947-26BF-40B0-8A43-EC10D791E60B}"/>
              </c:ext>
            </c:extLst>
          </c:dPt>
          <c:dPt>
            <c:idx val="1187"/>
            <c:invertIfNegative val="1"/>
            <c:bubble3D val="0"/>
            <c:spPr>
              <a:solidFill>
                <a:srgbClr val="AEABAB"/>
              </a:solidFill>
            </c:spPr>
            <c:extLst>
              <c:ext xmlns:c16="http://schemas.microsoft.com/office/drawing/2014/chart" uri="{C3380CC4-5D6E-409C-BE32-E72D297353CC}">
                <c16:uniqueId val="{00000949-26BF-40B0-8A43-EC10D791E60B}"/>
              </c:ext>
            </c:extLst>
          </c:dPt>
          <c:dPt>
            <c:idx val="1188"/>
            <c:invertIfNegative val="1"/>
            <c:bubble3D val="0"/>
            <c:spPr>
              <a:solidFill>
                <a:srgbClr val="AEABAB"/>
              </a:solidFill>
            </c:spPr>
            <c:extLst>
              <c:ext xmlns:c16="http://schemas.microsoft.com/office/drawing/2014/chart" uri="{C3380CC4-5D6E-409C-BE32-E72D297353CC}">
                <c16:uniqueId val="{0000094B-26BF-40B0-8A43-EC10D791E60B}"/>
              </c:ext>
            </c:extLst>
          </c:dPt>
          <c:dPt>
            <c:idx val="1189"/>
            <c:invertIfNegative val="1"/>
            <c:bubble3D val="0"/>
            <c:spPr>
              <a:solidFill>
                <a:srgbClr val="AEABAB"/>
              </a:solidFill>
            </c:spPr>
            <c:extLst>
              <c:ext xmlns:c16="http://schemas.microsoft.com/office/drawing/2014/chart" uri="{C3380CC4-5D6E-409C-BE32-E72D297353CC}">
                <c16:uniqueId val="{0000094D-26BF-40B0-8A43-EC10D791E60B}"/>
              </c:ext>
            </c:extLst>
          </c:dPt>
          <c:dPt>
            <c:idx val="1190"/>
            <c:invertIfNegative val="1"/>
            <c:bubble3D val="0"/>
            <c:spPr>
              <a:solidFill>
                <a:srgbClr val="AEABAB"/>
              </a:solidFill>
            </c:spPr>
            <c:extLst>
              <c:ext xmlns:c16="http://schemas.microsoft.com/office/drawing/2014/chart" uri="{C3380CC4-5D6E-409C-BE32-E72D297353CC}">
                <c16:uniqueId val="{0000094F-26BF-40B0-8A43-EC10D791E60B}"/>
              </c:ext>
            </c:extLst>
          </c:dPt>
          <c:dPt>
            <c:idx val="1191"/>
            <c:invertIfNegative val="1"/>
            <c:bubble3D val="0"/>
            <c:spPr>
              <a:solidFill>
                <a:srgbClr val="AEABAB"/>
              </a:solidFill>
            </c:spPr>
            <c:extLst>
              <c:ext xmlns:c16="http://schemas.microsoft.com/office/drawing/2014/chart" uri="{C3380CC4-5D6E-409C-BE32-E72D297353CC}">
                <c16:uniqueId val="{00000951-26BF-40B0-8A43-EC10D791E60B}"/>
              </c:ext>
            </c:extLst>
          </c:dPt>
          <c:dPt>
            <c:idx val="1192"/>
            <c:invertIfNegative val="1"/>
            <c:bubble3D val="0"/>
            <c:spPr>
              <a:solidFill>
                <a:srgbClr val="AEABAB"/>
              </a:solidFill>
            </c:spPr>
            <c:extLst>
              <c:ext xmlns:c16="http://schemas.microsoft.com/office/drawing/2014/chart" uri="{C3380CC4-5D6E-409C-BE32-E72D297353CC}">
                <c16:uniqueId val="{00000953-26BF-40B0-8A43-EC10D791E60B}"/>
              </c:ext>
            </c:extLst>
          </c:dPt>
          <c:dPt>
            <c:idx val="1193"/>
            <c:invertIfNegative val="1"/>
            <c:bubble3D val="0"/>
            <c:spPr>
              <a:solidFill>
                <a:srgbClr val="AEABAB"/>
              </a:solidFill>
            </c:spPr>
            <c:extLst>
              <c:ext xmlns:c16="http://schemas.microsoft.com/office/drawing/2014/chart" uri="{C3380CC4-5D6E-409C-BE32-E72D297353CC}">
                <c16:uniqueId val="{00000955-26BF-40B0-8A43-EC10D791E60B}"/>
              </c:ext>
            </c:extLst>
          </c:dPt>
          <c:dPt>
            <c:idx val="1194"/>
            <c:invertIfNegative val="1"/>
            <c:bubble3D val="0"/>
            <c:spPr>
              <a:solidFill>
                <a:srgbClr val="AEABAB"/>
              </a:solidFill>
            </c:spPr>
            <c:extLst>
              <c:ext xmlns:c16="http://schemas.microsoft.com/office/drawing/2014/chart" uri="{C3380CC4-5D6E-409C-BE32-E72D297353CC}">
                <c16:uniqueId val="{00000957-26BF-40B0-8A43-EC10D791E60B}"/>
              </c:ext>
            </c:extLst>
          </c:dPt>
          <c:dPt>
            <c:idx val="1195"/>
            <c:invertIfNegative val="1"/>
            <c:bubble3D val="0"/>
            <c:spPr>
              <a:solidFill>
                <a:srgbClr val="AEABAB"/>
              </a:solidFill>
            </c:spPr>
            <c:extLst>
              <c:ext xmlns:c16="http://schemas.microsoft.com/office/drawing/2014/chart" uri="{C3380CC4-5D6E-409C-BE32-E72D297353CC}">
                <c16:uniqueId val="{00000959-26BF-40B0-8A43-EC10D791E60B}"/>
              </c:ext>
            </c:extLst>
          </c:dPt>
          <c:dPt>
            <c:idx val="1196"/>
            <c:invertIfNegative val="1"/>
            <c:bubble3D val="0"/>
            <c:spPr>
              <a:solidFill>
                <a:srgbClr val="AEABAB"/>
              </a:solidFill>
            </c:spPr>
            <c:extLst>
              <c:ext xmlns:c16="http://schemas.microsoft.com/office/drawing/2014/chart" uri="{C3380CC4-5D6E-409C-BE32-E72D297353CC}">
                <c16:uniqueId val="{0000095B-26BF-40B0-8A43-EC10D791E60B}"/>
              </c:ext>
            </c:extLst>
          </c:dPt>
          <c:dPt>
            <c:idx val="1197"/>
            <c:invertIfNegative val="1"/>
            <c:bubble3D val="0"/>
            <c:spPr>
              <a:solidFill>
                <a:srgbClr val="AEABAB"/>
              </a:solidFill>
            </c:spPr>
            <c:extLst>
              <c:ext xmlns:c16="http://schemas.microsoft.com/office/drawing/2014/chart" uri="{C3380CC4-5D6E-409C-BE32-E72D297353CC}">
                <c16:uniqueId val="{0000095D-26BF-40B0-8A43-EC10D791E60B}"/>
              </c:ext>
            </c:extLst>
          </c:dPt>
          <c:dPt>
            <c:idx val="1198"/>
            <c:invertIfNegative val="1"/>
            <c:bubble3D val="0"/>
            <c:spPr>
              <a:solidFill>
                <a:srgbClr val="AEABAB"/>
              </a:solidFill>
            </c:spPr>
            <c:extLst>
              <c:ext xmlns:c16="http://schemas.microsoft.com/office/drawing/2014/chart" uri="{C3380CC4-5D6E-409C-BE32-E72D297353CC}">
                <c16:uniqueId val="{0000095F-26BF-40B0-8A43-EC10D791E60B}"/>
              </c:ext>
            </c:extLst>
          </c:dPt>
          <c:dPt>
            <c:idx val="1199"/>
            <c:invertIfNegative val="1"/>
            <c:bubble3D val="0"/>
            <c:spPr>
              <a:solidFill>
                <a:srgbClr val="AEABAB"/>
              </a:solidFill>
            </c:spPr>
            <c:extLst>
              <c:ext xmlns:c16="http://schemas.microsoft.com/office/drawing/2014/chart" uri="{C3380CC4-5D6E-409C-BE32-E72D297353CC}">
                <c16:uniqueId val="{00000961-26BF-40B0-8A43-EC10D791E60B}"/>
              </c:ext>
            </c:extLst>
          </c:dPt>
          <c:dPt>
            <c:idx val="1200"/>
            <c:invertIfNegative val="1"/>
            <c:bubble3D val="0"/>
            <c:spPr>
              <a:solidFill>
                <a:srgbClr val="AEABAB"/>
              </a:solidFill>
            </c:spPr>
            <c:extLst>
              <c:ext xmlns:c16="http://schemas.microsoft.com/office/drawing/2014/chart" uri="{C3380CC4-5D6E-409C-BE32-E72D297353CC}">
                <c16:uniqueId val="{00000963-26BF-40B0-8A43-EC10D791E60B}"/>
              </c:ext>
            </c:extLst>
          </c:dPt>
          <c:dPt>
            <c:idx val="1201"/>
            <c:invertIfNegative val="1"/>
            <c:bubble3D val="0"/>
            <c:spPr>
              <a:solidFill>
                <a:srgbClr val="AEABAB"/>
              </a:solidFill>
            </c:spPr>
            <c:extLst>
              <c:ext xmlns:c16="http://schemas.microsoft.com/office/drawing/2014/chart" uri="{C3380CC4-5D6E-409C-BE32-E72D297353CC}">
                <c16:uniqueId val="{00000965-26BF-40B0-8A43-EC10D791E60B}"/>
              </c:ext>
            </c:extLst>
          </c:dPt>
          <c:dPt>
            <c:idx val="1202"/>
            <c:invertIfNegative val="1"/>
            <c:bubble3D val="0"/>
            <c:spPr>
              <a:solidFill>
                <a:srgbClr val="AEABAB"/>
              </a:solidFill>
            </c:spPr>
            <c:extLst>
              <c:ext xmlns:c16="http://schemas.microsoft.com/office/drawing/2014/chart" uri="{C3380CC4-5D6E-409C-BE32-E72D297353CC}">
                <c16:uniqueId val="{00000967-26BF-40B0-8A43-EC10D791E60B}"/>
              </c:ext>
            </c:extLst>
          </c:dPt>
          <c:dPt>
            <c:idx val="1203"/>
            <c:invertIfNegative val="1"/>
            <c:bubble3D val="0"/>
            <c:spPr>
              <a:solidFill>
                <a:srgbClr val="AEABAB"/>
              </a:solidFill>
            </c:spPr>
            <c:extLst>
              <c:ext xmlns:c16="http://schemas.microsoft.com/office/drawing/2014/chart" uri="{C3380CC4-5D6E-409C-BE32-E72D297353CC}">
                <c16:uniqueId val="{00000969-26BF-40B0-8A43-EC10D791E60B}"/>
              </c:ext>
            </c:extLst>
          </c:dPt>
          <c:dPt>
            <c:idx val="1204"/>
            <c:invertIfNegative val="1"/>
            <c:bubble3D val="0"/>
            <c:spPr>
              <a:solidFill>
                <a:srgbClr val="AEABAB"/>
              </a:solidFill>
            </c:spPr>
            <c:extLst>
              <c:ext xmlns:c16="http://schemas.microsoft.com/office/drawing/2014/chart" uri="{C3380CC4-5D6E-409C-BE32-E72D297353CC}">
                <c16:uniqueId val="{0000096B-26BF-40B0-8A43-EC10D791E60B}"/>
              </c:ext>
            </c:extLst>
          </c:dPt>
          <c:dPt>
            <c:idx val="1205"/>
            <c:invertIfNegative val="1"/>
            <c:bubble3D val="0"/>
            <c:spPr>
              <a:solidFill>
                <a:srgbClr val="AEABAB"/>
              </a:solidFill>
            </c:spPr>
            <c:extLst>
              <c:ext xmlns:c16="http://schemas.microsoft.com/office/drawing/2014/chart" uri="{C3380CC4-5D6E-409C-BE32-E72D297353CC}">
                <c16:uniqueId val="{0000096D-26BF-40B0-8A43-EC10D791E60B}"/>
              </c:ext>
            </c:extLst>
          </c:dPt>
          <c:dPt>
            <c:idx val="1206"/>
            <c:invertIfNegative val="1"/>
            <c:bubble3D val="0"/>
            <c:spPr>
              <a:solidFill>
                <a:srgbClr val="AEABAB"/>
              </a:solidFill>
            </c:spPr>
            <c:extLst>
              <c:ext xmlns:c16="http://schemas.microsoft.com/office/drawing/2014/chart" uri="{C3380CC4-5D6E-409C-BE32-E72D297353CC}">
                <c16:uniqueId val="{0000096F-26BF-40B0-8A43-EC10D791E60B}"/>
              </c:ext>
            </c:extLst>
          </c:dPt>
          <c:dPt>
            <c:idx val="1207"/>
            <c:invertIfNegative val="1"/>
            <c:bubble3D val="0"/>
            <c:spPr>
              <a:solidFill>
                <a:srgbClr val="AEABAB"/>
              </a:solidFill>
            </c:spPr>
            <c:extLst>
              <c:ext xmlns:c16="http://schemas.microsoft.com/office/drawing/2014/chart" uri="{C3380CC4-5D6E-409C-BE32-E72D297353CC}">
                <c16:uniqueId val="{00000971-26BF-40B0-8A43-EC10D791E60B}"/>
              </c:ext>
            </c:extLst>
          </c:dPt>
          <c:dPt>
            <c:idx val="1208"/>
            <c:invertIfNegative val="1"/>
            <c:bubble3D val="0"/>
            <c:spPr>
              <a:solidFill>
                <a:srgbClr val="AEABAB"/>
              </a:solidFill>
            </c:spPr>
            <c:extLst>
              <c:ext xmlns:c16="http://schemas.microsoft.com/office/drawing/2014/chart" uri="{C3380CC4-5D6E-409C-BE32-E72D297353CC}">
                <c16:uniqueId val="{00000973-26BF-40B0-8A43-EC10D791E60B}"/>
              </c:ext>
            </c:extLst>
          </c:dPt>
          <c:dPt>
            <c:idx val="1209"/>
            <c:invertIfNegative val="1"/>
            <c:bubble3D val="0"/>
            <c:spPr>
              <a:solidFill>
                <a:srgbClr val="AEABAB"/>
              </a:solidFill>
            </c:spPr>
            <c:extLst>
              <c:ext xmlns:c16="http://schemas.microsoft.com/office/drawing/2014/chart" uri="{C3380CC4-5D6E-409C-BE32-E72D297353CC}">
                <c16:uniqueId val="{00000975-26BF-40B0-8A43-EC10D791E60B}"/>
              </c:ext>
            </c:extLst>
          </c:dPt>
          <c:dPt>
            <c:idx val="1210"/>
            <c:invertIfNegative val="1"/>
            <c:bubble3D val="0"/>
            <c:spPr>
              <a:solidFill>
                <a:srgbClr val="AEABAB"/>
              </a:solidFill>
            </c:spPr>
            <c:extLst>
              <c:ext xmlns:c16="http://schemas.microsoft.com/office/drawing/2014/chart" uri="{C3380CC4-5D6E-409C-BE32-E72D297353CC}">
                <c16:uniqueId val="{00000977-26BF-40B0-8A43-EC10D791E60B}"/>
              </c:ext>
            </c:extLst>
          </c:dPt>
          <c:dPt>
            <c:idx val="1211"/>
            <c:invertIfNegative val="1"/>
            <c:bubble3D val="0"/>
            <c:spPr>
              <a:solidFill>
                <a:srgbClr val="AEABAB"/>
              </a:solidFill>
            </c:spPr>
            <c:extLst>
              <c:ext xmlns:c16="http://schemas.microsoft.com/office/drawing/2014/chart" uri="{C3380CC4-5D6E-409C-BE32-E72D297353CC}">
                <c16:uniqueId val="{00000979-26BF-40B0-8A43-EC10D791E60B}"/>
              </c:ext>
            </c:extLst>
          </c:dPt>
          <c:dPt>
            <c:idx val="1212"/>
            <c:invertIfNegative val="1"/>
            <c:bubble3D val="0"/>
            <c:spPr>
              <a:solidFill>
                <a:srgbClr val="AEABAB"/>
              </a:solidFill>
            </c:spPr>
            <c:extLst>
              <c:ext xmlns:c16="http://schemas.microsoft.com/office/drawing/2014/chart" uri="{C3380CC4-5D6E-409C-BE32-E72D297353CC}">
                <c16:uniqueId val="{0000097B-26BF-40B0-8A43-EC10D791E60B}"/>
              </c:ext>
            </c:extLst>
          </c:dPt>
          <c:dPt>
            <c:idx val="1213"/>
            <c:invertIfNegative val="1"/>
            <c:bubble3D val="0"/>
            <c:spPr>
              <a:solidFill>
                <a:srgbClr val="AEABAB"/>
              </a:solidFill>
            </c:spPr>
            <c:extLst>
              <c:ext xmlns:c16="http://schemas.microsoft.com/office/drawing/2014/chart" uri="{C3380CC4-5D6E-409C-BE32-E72D297353CC}">
                <c16:uniqueId val="{0000097D-26BF-40B0-8A43-EC10D791E60B}"/>
              </c:ext>
            </c:extLst>
          </c:dPt>
          <c:dPt>
            <c:idx val="1214"/>
            <c:invertIfNegative val="1"/>
            <c:bubble3D val="0"/>
            <c:spPr>
              <a:solidFill>
                <a:srgbClr val="AEABAB"/>
              </a:solidFill>
            </c:spPr>
            <c:extLst>
              <c:ext xmlns:c16="http://schemas.microsoft.com/office/drawing/2014/chart" uri="{C3380CC4-5D6E-409C-BE32-E72D297353CC}">
                <c16:uniqueId val="{0000097F-26BF-40B0-8A43-EC10D791E60B}"/>
              </c:ext>
            </c:extLst>
          </c:dPt>
          <c:dPt>
            <c:idx val="1215"/>
            <c:invertIfNegative val="1"/>
            <c:bubble3D val="0"/>
            <c:spPr>
              <a:solidFill>
                <a:srgbClr val="AEABAB"/>
              </a:solidFill>
            </c:spPr>
            <c:extLst>
              <c:ext xmlns:c16="http://schemas.microsoft.com/office/drawing/2014/chart" uri="{C3380CC4-5D6E-409C-BE32-E72D297353CC}">
                <c16:uniqueId val="{00000981-26BF-40B0-8A43-EC10D791E60B}"/>
              </c:ext>
            </c:extLst>
          </c:dPt>
          <c:dPt>
            <c:idx val="1216"/>
            <c:invertIfNegative val="1"/>
            <c:bubble3D val="0"/>
            <c:spPr>
              <a:solidFill>
                <a:srgbClr val="AEABAB"/>
              </a:solidFill>
            </c:spPr>
            <c:extLst>
              <c:ext xmlns:c16="http://schemas.microsoft.com/office/drawing/2014/chart" uri="{C3380CC4-5D6E-409C-BE32-E72D297353CC}">
                <c16:uniqueId val="{00000983-26BF-40B0-8A43-EC10D791E60B}"/>
              </c:ext>
            </c:extLst>
          </c:dPt>
          <c:dPt>
            <c:idx val="1217"/>
            <c:invertIfNegative val="1"/>
            <c:bubble3D val="0"/>
            <c:spPr>
              <a:solidFill>
                <a:srgbClr val="AEABAB"/>
              </a:solidFill>
            </c:spPr>
            <c:extLst>
              <c:ext xmlns:c16="http://schemas.microsoft.com/office/drawing/2014/chart" uri="{C3380CC4-5D6E-409C-BE32-E72D297353CC}">
                <c16:uniqueId val="{00000985-26BF-40B0-8A43-EC10D791E60B}"/>
              </c:ext>
            </c:extLst>
          </c:dPt>
          <c:dPt>
            <c:idx val="1218"/>
            <c:invertIfNegative val="1"/>
            <c:bubble3D val="0"/>
            <c:spPr>
              <a:solidFill>
                <a:srgbClr val="AEABAB"/>
              </a:solidFill>
            </c:spPr>
            <c:extLst>
              <c:ext xmlns:c16="http://schemas.microsoft.com/office/drawing/2014/chart" uri="{C3380CC4-5D6E-409C-BE32-E72D297353CC}">
                <c16:uniqueId val="{00000987-26BF-40B0-8A43-EC10D791E60B}"/>
              </c:ext>
            </c:extLst>
          </c:dPt>
          <c:dPt>
            <c:idx val="1219"/>
            <c:invertIfNegative val="1"/>
            <c:bubble3D val="0"/>
            <c:spPr>
              <a:solidFill>
                <a:srgbClr val="AEABAB"/>
              </a:solidFill>
            </c:spPr>
            <c:extLst>
              <c:ext xmlns:c16="http://schemas.microsoft.com/office/drawing/2014/chart" uri="{C3380CC4-5D6E-409C-BE32-E72D297353CC}">
                <c16:uniqueId val="{00000989-26BF-40B0-8A43-EC10D791E60B}"/>
              </c:ext>
            </c:extLst>
          </c:dPt>
          <c:dPt>
            <c:idx val="1220"/>
            <c:invertIfNegative val="1"/>
            <c:bubble3D val="0"/>
            <c:spPr>
              <a:solidFill>
                <a:srgbClr val="AEABAB"/>
              </a:solidFill>
            </c:spPr>
            <c:extLst>
              <c:ext xmlns:c16="http://schemas.microsoft.com/office/drawing/2014/chart" uri="{C3380CC4-5D6E-409C-BE32-E72D297353CC}">
                <c16:uniqueId val="{0000098B-26BF-40B0-8A43-EC10D791E60B}"/>
              </c:ext>
            </c:extLst>
          </c:dPt>
          <c:dPt>
            <c:idx val="1221"/>
            <c:invertIfNegative val="1"/>
            <c:bubble3D val="0"/>
            <c:spPr>
              <a:solidFill>
                <a:srgbClr val="AEABAB"/>
              </a:solidFill>
            </c:spPr>
            <c:extLst>
              <c:ext xmlns:c16="http://schemas.microsoft.com/office/drawing/2014/chart" uri="{C3380CC4-5D6E-409C-BE32-E72D297353CC}">
                <c16:uniqueId val="{0000098D-26BF-40B0-8A43-EC10D791E60B}"/>
              </c:ext>
            </c:extLst>
          </c:dPt>
          <c:dPt>
            <c:idx val="1222"/>
            <c:invertIfNegative val="1"/>
            <c:bubble3D val="0"/>
            <c:spPr>
              <a:solidFill>
                <a:srgbClr val="AEABAB"/>
              </a:solidFill>
            </c:spPr>
            <c:extLst>
              <c:ext xmlns:c16="http://schemas.microsoft.com/office/drawing/2014/chart" uri="{C3380CC4-5D6E-409C-BE32-E72D297353CC}">
                <c16:uniqueId val="{0000098F-26BF-40B0-8A43-EC10D791E60B}"/>
              </c:ext>
            </c:extLst>
          </c:dPt>
          <c:dPt>
            <c:idx val="1223"/>
            <c:invertIfNegative val="1"/>
            <c:bubble3D val="0"/>
            <c:spPr>
              <a:solidFill>
                <a:srgbClr val="AEABAB"/>
              </a:solidFill>
            </c:spPr>
            <c:extLst>
              <c:ext xmlns:c16="http://schemas.microsoft.com/office/drawing/2014/chart" uri="{C3380CC4-5D6E-409C-BE32-E72D297353CC}">
                <c16:uniqueId val="{00000991-26BF-40B0-8A43-EC10D791E60B}"/>
              </c:ext>
            </c:extLst>
          </c:dPt>
          <c:dPt>
            <c:idx val="1224"/>
            <c:invertIfNegative val="1"/>
            <c:bubble3D val="0"/>
            <c:spPr>
              <a:solidFill>
                <a:srgbClr val="AEABAB"/>
              </a:solidFill>
            </c:spPr>
            <c:extLst>
              <c:ext xmlns:c16="http://schemas.microsoft.com/office/drawing/2014/chart" uri="{C3380CC4-5D6E-409C-BE32-E72D297353CC}">
                <c16:uniqueId val="{00000993-26BF-40B0-8A43-EC10D791E60B}"/>
              </c:ext>
            </c:extLst>
          </c:dPt>
          <c:dPt>
            <c:idx val="1225"/>
            <c:invertIfNegative val="1"/>
            <c:bubble3D val="0"/>
            <c:spPr>
              <a:solidFill>
                <a:srgbClr val="AEABAB"/>
              </a:solidFill>
            </c:spPr>
            <c:extLst>
              <c:ext xmlns:c16="http://schemas.microsoft.com/office/drawing/2014/chart" uri="{C3380CC4-5D6E-409C-BE32-E72D297353CC}">
                <c16:uniqueId val="{00000995-26BF-40B0-8A43-EC10D791E60B}"/>
              </c:ext>
            </c:extLst>
          </c:dPt>
          <c:dPt>
            <c:idx val="1226"/>
            <c:invertIfNegative val="1"/>
            <c:bubble3D val="0"/>
            <c:spPr>
              <a:solidFill>
                <a:srgbClr val="AEABAB"/>
              </a:solidFill>
            </c:spPr>
            <c:extLst>
              <c:ext xmlns:c16="http://schemas.microsoft.com/office/drawing/2014/chart" uri="{C3380CC4-5D6E-409C-BE32-E72D297353CC}">
                <c16:uniqueId val="{00000997-26BF-40B0-8A43-EC10D791E60B}"/>
              </c:ext>
            </c:extLst>
          </c:dPt>
          <c:dPt>
            <c:idx val="1227"/>
            <c:invertIfNegative val="1"/>
            <c:bubble3D val="0"/>
            <c:spPr>
              <a:solidFill>
                <a:srgbClr val="AEABAB"/>
              </a:solidFill>
            </c:spPr>
            <c:extLst>
              <c:ext xmlns:c16="http://schemas.microsoft.com/office/drawing/2014/chart" uri="{C3380CC4-5D6E-409C-BE32-E72D297353CC}">
                <c16:uniqueId val="{00000999-26BF-40B0-8A43-EC10D791E60B}"/>
              </c:ext>
            </c:extLst>
          </c:dPt>
          <c:dPt>
            <c:idx val="1228"/>
            <c:invertIfNegative val="1"/>
            <c:bubble3D val="0"/>
            <c:spPr>
              <a:solidFill>
                <a:srgbClr val="AEABAB"/>
              </a:solidFill>
            </c:spPr>
            <c:extLst>
              <c:ext xmlns:c16="http://schemas.microsoft.com/office/drawing/2014/chart" uri="{C3380CC4-5D6E-409C-BE32-E72D297353CC}">
                <c16:uniqueId val="{0000099B-26BF-40B0-8A43-EC10D791E60B}"/>
              </c:ext>
            </c:extLst>
          </c:dPt>
          <c:dPt>
            <c:idx val="1229"/>
            <c:invertIfNegative val="1"/>
            <c:bubble3D val="0"/>
            <c:spPr>
              <a:solidFill>
                <a:srgbClr val="AEABAB"/>
              </a:solidFill>
            </c:spPr>
            <c:extLst>
              <c:ext xmlns:c16="http://schemas.microsoft.com/office/drawing/2014/chart" uri="{C3380CC4-5D6E-409C-BE32-E72D297353CC}">
                <c16:uniqueId val="{0000099D-26BF-40B0-8A43-EC10D791E60B}"/>
              </c:ext>
            </c:extLst>
          </c:dPt>
          <c:dPt>
            <c:idx val="1230"/>
            <c:invertIfNegative val="1"/>
            <c:bubble3D val="0"/>
            <c:spPr>
              <a:solidFill>
                <a:srgbClr val="AEABAB"/>
              </a:solidFill>
            </c:spPr>
            <c:extLst>
              <c:ext xmlns:c16="http://schemas.microsoft.com/office/drawing/2014/chart" uri="{C3380CC4-5D6E-409C-BE32-E72D297353CC}">
                <c16:uniqueId val="{0000099F-26BF-40B0-8A43-EC10D791E60B}"/>
              </c:ext>
            </c:extLst>
          </c:dPt>
          <c:dPt>
            <c:idx val="1231"/>
            <c:invertIfNegative val="1"/>
            <c:bubble3D val="0"/>
            <c:spPr>
              <a:solidFill>
                <a:srgbClr val="AEABAB"/>
              </a:solidFill>
            </c:spPr>
            <c:extLst>
              <c:ext xmlns:c16="http://schemas.microsoft.com/office/drawing/2014/chart" uri="{C3380CC4-5D6E-409C-BE32-E72D297353CC}">
                <c16:uniqueId val="{000009A1-26BF-40B0-8A43-EC10D791E60B}"/>
              </c:ext>
            </c:extLst>
          </c:dPt>
          <c:dPt>
            <c:idx val="1232"/>
            <c:invertIfNegative val="1"/>
            <c:bubble3D val="0"/>
            <c:spPr>
              <a:solidFill>
                <a:srgbClr val="AEABAB"/>
              </a:solidFill>
            </c:spPr>
            <c:extLst>
              <c:ext xmlns:c16="http://schemas.microsoft.com/office/drawing/2014/chart" uri="{C3380CC4-5D6E-409C-BE32-E72D297353CC}">
                <c16:uniqueId val="{000009A3-26BF-40B0-8A43-EC10D791E60B}"/>
              </c:ext>
            </c:extLst>
          </c:dPt>
          <c:dPt>
            <c:idx val="1233"/>
            <c:invertIfNegative val="1"/>
            <c:bubble3D val="0"/>
            <c:spPr>
              <a:solidFill>
                <a:srgbClr val="AEABAB"/>
              </a:solidFill>
            </c:spPr>
            <c:extLst>
              <c:ext xmlns:c16="http://schemas.microsoft.com/office/drawing/2014/chart" uri="{C3380CC4-5D6E-409C-BE32-E72D297353CC}">
                <c16:uniqueId val="{000009A5-26BF-40B0-8A43-EC10D791E60B}"/>
              </c:ext>
            </c:extLst>
          </c:dPt>
          <c:dPt>
            <c:idx val="1234"/>
            <c:invertIfNegative val="1"/>
            <c:bubble3D val="0"/>
            <c:spPr>
              <a:solidFill>
                <a:srgbClr val="AEABAB"/>
              </a:solidFill>
            </c:spPr>
            <c:extLst>
              <c:ext xmlns:c16="http://schemas.microsoft.com/office/drawing/2014/chart" uri="{C3380CC4-5D6E-409C-BE32-E72D297353CC}">
                <c16:uniqueId val="{000009A7-26BF-40B0-8A43-EC10D791E60B}"/>
              </c:ext>
            </c:extLst>
          </c:dPt>
          <c:dPt>
            <c:idx val="1235"/>
            <c:invertIfNegative val="1"/>
            <c:bubble3D val="0"/>
            <c:spPr>
              <a:solidFill>
                <a:srgbClr val="AEABAB"/>
              </a:solidFill>
            </c:spPr>
            <c:extLst>
              <c:ext xmlns:c16="http://schemas.microsoft.com/office/drawing/2014/chart" uri="{C3380CC4-5D6E-409C-BE32-E72D297353CC}">
                <c16:uniqueId val="{000009A9-26BF-40B0-8A43-EC10D791E60B}"/>
              </c:ext>
            </c:extLst>
          </c:dPt>
          <c:dPt>
            <c:idx val="1236"/>
            <c:invertIfNegative val="1"/>
            <c:bubble3D val="0"/>
            <c:spPr>
              <a:solidFill>
                <a:srgbClr val="AEABAB"/>
              </a:solidFill>
            </c:spPr>
            <c:extLst>
              <c:ext xmlns:c16="http://schemas.microsoft.com/office/drawing/2014/chart" uri="{C3380CC4-5D6E-409C-BE32-E72D297353CC}">
                <c16:uniqueId val="{000009AB-26BF-40B0-8A43-EC10D791E60B}"/>
              </c:ext>
            </c:extLst>
          </c:dPt>
          <c:dPt>
            <c:idx val="1237"/>
            <c:invertIfNegative val="1"/>
            <c:bubble3D val="0"/>
            <c:spPr>
              <a:solidFill>
                <a:srgbClr val="AEABAB"/>
              </a:solidFill>
            </c:spPr>
            <c:extLst>
              <c:ext xmlns:c16="http://schemas.microsoft.com/office/drawing/2014/chart" uri="{C3380CC4-5D6E-409C-BE32-E72D297353CC}">
                <c16:uniqueId val="{000009AD-26BF-40B0-8A43-EC10D791E60B}"/>
              </c:ext>
            </c:extLst>
          </c:dPt>
          <c:dPt>
            <c:idx val="1238"/>
            <c:invertIfNegative val="1"/>
            <c:bubble3D val="0"/>
            <c:spPr>
              <a:solidFill>
                <a:srgbClr val="AEABAB"/>
              </a:solidFill>
            </c:spPr>
            <c:extLst>
              <c:ext xmlns:c16="http://schemas.microsoft.com/office/drawing/2014/chart" uri="{C3380CC4-5D6E-409C-BE32-E72D297353CC}">
                <c16:uniqueId val="{000009AF-26BF-40B0-8A43-EC10D791E60B}"/>
              </c:ext>
            </c:extLst>
          </c:dPt>
          <c:dPt>
            <c:idx val="1239"/>
            <c:invertIfNegative val="1"/>
            <c:bubble3D val="0"/>
            <c:spPr>
              <a:solidFill>
                <a:srgbClr val="AEABAB"/>
              </a:solidFill>
            </c:spPr>
            <c:extLst>
              <c:ext xmlns:c16="http://schemas.microsoft.com/office/drawing/2014/chart" uri="{C3380CC4-5D6E-409C-BE32-E72D297353CC}">
                <c16:uniqueId val="{000009B1-26BF-40B0-8A43-EC10D791E60B}"/>
              </c:ext>
            </c:extLst>
          </c:dPt>
          <c:dPt>
            <c:idx val="1240"/>
            <c:invertIfNegative val="1"/>
            <c:bubble3D val="0"/>
            <c:spPr>
              <a:solidFill>
                <a:srgbClr val="AEABAB"/>
              </a:solidFill>
            </c:spPr>
            <c:extLst>
              <c:ext xmlns:c16="http://schemas.microsoft.com/office/drawing/2014/chart" uri="{C3380CC4-5D6E-409C-BE32-E72D297353CC}">
                <c16:uniqueId val="{000009B3-26BF-40B0-8A43-EC10D791E60B}"/>
              </c:ext>
            </c:extLst>
          </c:dPt>
          <c:dPt>
            <c:idx val="1241"/>
            <c:invertIfNegative val="1"/>
            <c:bubble3D val="0"/>
            <c:spPr>
              <a:solidFill>
                <a:srgbClr val="AEABAB"/>
              </a:solidFill>
            </c:spPr>
            <c:extLst>
              <c:ext xmlns:c16="http://schemas.microsoft.com/office/drawing/2014/chart" uri="{C3380CC4-5D6E-409C-BE32-E72D297353CC}">
                <c16:uniqueId val="{000009B5-26BF-40B0-8A43-EC10D791E60B}"/>
              </c:ext>
            </c:extLst>
          </c:dPt>
          <c:dPt>
            <c:idx val="1242"/>
            <c:invertIfNegative val="1"/>
            <c:bubble3D val="0"/>
            <c:spPr>
              <a:solidFill>
                <a:srgbClr val="AEABAB"/>
              </a:solidFill>
            </c:spPr>
            <c:extLst>
              <c:ext xmlns:c16="http://schemas.microsoft.com/office/drawing/2014/chart" uri="{C3380CC4-5D6E-409C-BE32-E72D297353CC}">
                <c16:uniqueId val="{000009B7-26BF-40B0-8A43-EC10D791E60B}"/>
              </c:ext>
            </c:extLst>
          </c:dPt>
          <c:dPt>
            <c:idx val="1243"/>
            <c:invertIfNegative val="1"/>
            <c:bubble3D val="0"/>
            <c:spPr>
              <a:solidFill>
                <a:srgbClr val="AEABAB"/>
              </a:solidFill>
            </c:spPr>
            <c:extLst>
              <c:ext xmlns:c16="http://schemas.microsoft.com/office/drawing/2014/chart" uri="{C3380CC4-5D6E-409C-BE32-E72D297353CC}">
                <c16:uniqueId val="{000009B9-26BF-40B0-8A43-EC10D791E60B}"/>
              </c:ext>
            </c:extLst>
          </c:dPt>
          <c:dPt>
            <c:idx val="1244"/>
            <c:invertIfNegative val="1"/>
            <c:bubble3D val="0"/>
            <c:spPr>
              <a:solidFill>
                <a:srgbClr val="AEABAB"/>
              </a:solidFill>
            </c:spPr>
            <c:extLst>
              <c:ext xmlns:c16="http://schemas.microsoft.com/office/drawing/2014/chart" uri="{C3380CC4-5D6E-409C-BE32-E72D297353CC}">
                <c16:uniqueId val="{000009BB-26BF-40B0-8A43-EC10D791E60B}"/>
              </c:ext>
            </c:extLst>
          </c:dPt>
          <c:dPt>
            <c:idx val="1245"/>
            <c:invertIfNegative val="1"/>
            <c:bubble3D val="0"/>
            <c:spPr>
              <a:solidFill>
                <a:srgbClr val="AEABAB"/>
              </a:solidFill>
            </c:spPr>
            <c:extLst>
              <c:ext xmlns:c16="http://schemas.microsoft.com/office/drawing/2014/chart" uri="{C3380CC4-5D6E-409C-BE32-E72D297353CC}">
                <c16:uniqueId val="{000009BD-26BF-40B0-8A43-EC10D791E60B}"/>
              </c:ext>
            </c:extLst>
          </c:dPt>
          <c:dPt>
            <c:idx val="1246"/>
            <c:invertIfNegative val="1"/>
            <c:bubble3D val="0"/>
            <c:spPr>
              <a:solidFill>
                <a:srgbClr val="AEABAB"/>
              </a:solidFill>
            </c:spPr>
            <c:extLst>
              <c:ext xmlns:c16="http://schemas.microsoft.com/office/drawing/2014/chart" uri="{C3380CC4-5D6E-409C-BE32-E72D297353CC}">
                <c16:uniqueId val="{000009BF-26BF-40B0-8A43-EC10D791E60B}"/>
              </c:ext>
            </c:extLst>
          </c:dPt>
          <c:dPt>
            <c:idx val="1247"/>
            <c:invertIfNegative val="1"/>
            <c:bubble3D val="0"/>
            <c:spPr>
              <a:solidFill>
                <a:srgbClr val="AEABAB"/>
              </a:solidFill>
            </c:spPr>
            <c:extLst>
              <c:ext xmlns:c16="http://schemas.microsoft.com/office/drawing/2014/chart" uri="{C3380CC4-5D6E-409C-BE32-E72D297353CC}">
                <c16:uniqueId val="{000009C1-26BF-40B0-8A43-EC10D791E60B}"/>
              </c:ext>
            </c:extLst>
          </c:dPt>
          <c:dPt>
            <c:idx val="1248"/>
            <c:invertIfNegative val="1"/>
            <c:bubble3D val="0"/>
            <c:spPr>
              <a:solidFill>
                <a:srgbClr val="AEABAB"/>
              </a:solidFill>
            </c:spPr>
            <c:extLst>
              <c:ext xmlns:c16="http://schemas.microsoft.com/office/drawing/2014/chart" uri="{C3380CC4-5D6E-409C-BE32-E72D297353CC}">
                <c16:uniqueId val="{000009C3-26BF-40B0-8A43-EC10D791E60B}"/>
              </c:ext>
            </c:extLst>
          </c:dPt>
          <c:dPt>
            <c:idx val="1249"/>
            <c:invertIfNegative val="1"/>
            <c:bubble3D val="0"/>
            <c:spPr>
              <a:solidFill>
                <a:srgbClr val="AEABAB"/>
              </a:solidFill>
            </c:spPr>
            <c:extLst>
              <c:ext xmlns:c16="http://schemas.microsoft.com/office/drawing/2014/chart" uri="{C3380CC4-5D6E-409C-BE32-E72D297353CC}">
                <c16:uniqueId val="{000009C5-26BF-40B0-8A43-EC10D791E60B}"/>
              </c:ext>
            </c:extLst>
          </c:dPt>
          <c:dPt>
            <c:idx val="1250"/>
            <c:invertIfNegative val="1"/>
            <c:bubble3D val="0"/>
            <c:spPr>
              <a:solidFill>
                <a:srgbClr val="AEABAB"/>
              </a:solidFill>
            </c:spPr>
            <c:extLst>
              <c:ext xmlns:c16="http://schemas.microsoft.com/office/drawing/2014/chart" uri="{C3380CC4-5D6E-409C-BE32-E72D297353CC}">
                <c16:uniqueId val="{000009C7-26BF-40B0-8A43-EC10D791E60B}"/>
              </c:ext>
            </c:extLst>
          </c:dPt>
          <c:dPt>
            <c:idx val="1251"/>
            <c:invertIfNegative val="1"/>
            <c:bubble3D val="0"/>
            <c:spPr>
              <a:solidFill>
                <a:srgbClr val="AEABAB"/>
              </a:solidFill>
            </c:spPr>
            <c:extLst>
              <c:ext xmlns:c16="http://schemas.microsoft.com/office/drawing/2014/chart" uri="{C3380CC4-5D6E-409C-BE32-E72D297353CC}">
                <c16:uniqueId val="{000009C9-26BF-40B0-8A43-EC10D791E60B}"/>
              </c:ext>
            </c:extLst>
          </c:dPt>
          <c:dPt>
            <c:idx val="1252"/>
            <c:invertIfNegative val="1"/>
            <c:bubble3D val="0"/>
            <c:spPr>
              <a:solidFill>
                <a:srgbClr val="AEABAB"/>
              </a:solidFill>
            </c:spPr>
            <c:extLst>
              <c:ext xmlns:c16="http://schemas.microsoft.com/office/drawing/2014/chart" uri="{C3380CC4-5D6E-409C-BE32-E72D297353CC}">
                <c16:uniqueId val="{000009CB-26BF-40B0-8A43-EC10D791E60B}"/>
              </c:ext>
            </c:extLst>
          </c:dPt>
          <c:dPt>
            <c:idx val="1253"/>
            <c:invertIfNegative val="1"/>
            <c:bubble3D val="0"/>
            <c:spPr>
              <a:solidFill>
                <a:srgbClr val="AEABAB"/>
              </a:solidFill>
            </c:spPr>
            <c:extLst>
              <c:ext xmlns:c16="http://schemas.microsoft.com/office/drawing/2014/chart" uri="{C3380CC4-5D6E-409C-BE32-E72D297353CC}">
                <c16:uniqueId val="{000009CD-26BF-40B0-8A43-EC10D791E60B}"/>
              </c:ext>
            </c:extLst>
          </c:dPt>
          <c:dPt>
            <c:idx val="1254"/>
            <c:invertIfNegative val="1"/>
            <c:bubble3D val="0"/>
            <c:spPr>
              <a:solidFill>
                <a:srgbClr val="AEABAB"/>
              </a:solidFill>
            </c:spPr>
            <c:extLst>
              <c:ext xmlns:c16="http://schemas.microsoft.com/office/drawing/2014/chart" uri="{C3380CC4-5D6E-409C-BE32-E72D297353CC}">
                <c16:uniqueId val="{000009CF-26BF-40B0-8A43-EC10D791E60B}"/>
              </c:ext>
            </c:extLst>
          </c:dPt>
          <c:dPt>
            <c:idx val="1255"/>
            <c:invertIfNegative val="1"/>
            <c:bubble3D val="0"/>
            <c:spPr>
              <a:solidFill>
                <a:srgbClr val="AEABAB"/>
              </a:solidFill>
            </c:spPr>
            <c:extLst>
              <c:ext xmlns:c16="http://schemas.microsoft.com/office/drawing/2014/chart" uri="{C3380CC4-5D6E-409C-BE32-E72D297353CC}">
                <c16:uniqueId val="{000009D1-26BF-40B0-8A43-EC10D791E60B}"/>
              </c:ext>
            </c:extLst>
          </c:dPt>
          <c:dPt>
            <c:idx val="1256"/>
            <c:invertIfNegative val="1"/>
            <c:bubble3D val="0"/>
            <c:spPr>
              <a:solidFill>
                <a:srgbClr val="AEABAB"/>
              </a:solidFill>
            </c:spPr>
            <c:extLst>
              <c:ext xmlns:c16="http://schemas.microsoft.com/office/drawing/2014/chart" uri="{C3380CC4-5D6E-409C-BE32-E72D297353CC}">
                <c16:uniqueId val="{000009D3-26BF-40B0-8A43-EC10D791E60B}"/>
              </c:ext>
            </c:extLst>
          </c:dPt>
          <c:dPt>
            <c:idx val="1257"/>
            <c:invertIfNegative val="1"/>
            <c:bubble3D val="0"/>
            <c:spPr>
              <a:solidFill>
                <a:srgbClr val="AEABAB"/>
              </a:solidFill>
            </c:spPr>
            <c:extLst>
              <c:ext xmlns:c16="http://schemas.microsoft.com/office/drawing/2014/chart" uri="{C3380CC4-5D6E-409C-BE32-E72D297353CC}">
                <c16:uniqueId val="{000009D5-26BF-40B0-8A43-EC10D791E60B}"/>
              </c:ext>
            </c:extLst>
          </c:dPt>
          <c:dPt>
            <c:idx val="1258"/>
            <c:invertIfNegative val="1"/>
            <c:bubble3D val="0"/>
            <c:spPr>
              <a:solidFill>
                <a:srgbClr val="AEABAB"/>
              </a:solidFill>
            </c:spPr>
            <c:extLst>
              <c:ext xmlns:c16="http://schemas.microsoft.com/office/drawing/2014/chart" uri="{C3380CC4-5D6E-409C-BE32-E72D297353CC}">
                <c16:uniqueId val="{000009D7-26BF-40B0-8A43-EC10D791E60B}"/>
              </c:ext>
            </c:extLst>
          </c:dPt>
          <c:dPt>
            <c:idx val="1259"/>
            <c:invertIfNegative val="1"/>
            <c:bubble3D val="0"/>
            <c:spPr>
              <a:solidFill>
                <a:srgbClr val="AEABAB"/>
              </a:solidFill>
            </c:spPr>
            <c:extLst>
              <c:ext xmlns:c16="http://schemas.microsoft.com/office/drawing/2014/chart" uri="{C3380CC4-5D6E-409C-BE32-E72D297353CC}">
                <c16:uniqueId val="{000009D9-26BF-40B0-8A43-EC10D791E60B}"/>
              </c:ext>
            </c:extLst>
          </c:dPt>
          <c:dPt>
            <c:idx val="1260"/>
            <c:invertIfNegative val="1"/>
            <c:bubble3D val="0"/>
            <c:spPr>
              <a:solidFill>
                <a:srgbClr val="AEABAB"/>
              </a:solidFill>
            </c:spPr>
            <c:extLst>
              <c:ext xmlns:c16="http://schemas.microsoft.com/office/drawing/2014/chart" uri="{C3380CC4-5D6E-409C-BE32-E72D297353CC}">
                <c16:uniqueId val="{000009DB-26BF-40B0-8A43-EC10D791E60B}"/>
              </c:ext>
            </c:extLst>
          </c:dPt>
          <c:dPt>
            <c:idx val="1261"/>
            <c:invertIfNegative val="1"/>
            <c:bubble3D val="0"/>
            <c:spPr>
              <a:solidFill>
                <a:srgbClr val="AEABAB"/>
              </a:solidFill>
            </c:spPr>
            <c:extLst>
              <c:ext xmlns:c16="http://schemas.microsoft.com/office/drawing/2014/chart" uri="{C3380CC4-5D6E-409C-BE32-E72D297353CC}">
                <c16:uniqueId val="{000009DD-26BF-40B0-8A43-EC10D791E60B}"/>
              </c:ext>
            </c:extLst>
          </c:dPt>
          <c:dPt>
            <c:idx val="1262"/>
            <c:invertIfNegative val="1"/>
            <c:bubble3D val="0"/>
            <c:spPr>
              <a:solidFill>
                <a:srgbClr val="AEABAB"/>
              </a:solidFill>
            </c:spPr>
            <c:extLst>
              <c:ext xmlns:c16="http://schemas.microsoft.com/office/drawing/2014/chart" uri="{C3380CC4-5D6E-409C-BE32-E72D297353CC}">
                <c16:uniqueId val="{000009DF-26BF-40B0-8A43-EC10D791E60B}"/>
              </c:ext>
            </c:extLst>
          </c:dPt>
          <c:dPt>
            <c:idx val="1263"/>
            <c:invertIfNegative val="1"/>
            <c:bubble3D val="0"/>
            <c:spPr>
              <a:solidFill>
                <a:srgbClr val="AEABAB"/>
              </a:solidFill>
            </c:spPr>
            <c:extLst>
              <c:ext xmlns:c16="http://schemas.microsoft.com/office/drawing/2014/chart" uri="{C3380CC4-5D6E-409C-BE32-E72D297353CC}">
                <c16:uniqueId val="{000009E1-26BF-40B0-8A43-EC10D791E60B}"/>
              </c:ext>
            </c:extLst>
          </c:dPt>
          <c:dPt>
            <c:idx val="1264"/>
            <c:invertIfNegative val="1"/>
            <c:bubble3D val="0"/>
            <c:spPr>
              <a:solidFill>
                <a:srgbClr val="AEABAB"/>
              </a:solidFill>
            </c:spPr>
            <c:extLst>
              <c:ext xmlns:c16="http://schemas.microsoft.com/office/drawing/2014/chart" uri="{C3380CC4-5D6E-409C-BE32-E72D297353CC}">
                <c16:uniqueId val="{000009E3-26BF-40B0-8A43-EC10D791E60B}"/>
              </c:ext>
            </c:extLst>
          </c:dPt>
          <c:dPt>
            <c:idx val="1265"/>
            <c:invertIfNegative val="1"/>
            <c:bubble3D val="0"/>
            <c:spPr>
              <a:solidFill>
                <a:srgbClr val="AEABAB"/>
              </a:solidFill>
            </c:spPr>
            <c:extLst>
              <c:ext xmlns:c16="http://schemas.microsoft.com/office/drawing/2014/chart" uri="{C3380CC4-5D6E-409C-BE32-E72D297353CC}">
                <c16:uniqueId val="{000009E5-26BF-40B0-8A43-EC10D791E60B}"/>
              </c:ext>
            </c:extLst>
          </c:dPt>
          <c:dPt>
            <c:idx val="1266"/>
            <c:invertIfNegative val="1"/>
            <c:bubble3D val="0"/>
            <c:spPr>
              <a:solidFill>
                <a:srgbClr val="AEABAB"/>
              </a:solidFill>
            </c:spPr>
            <c:extLst>
              <c:ext xmlns:c16="http://schemas.microsoft.com/office/drawing/2014/chart" uri="{C3380CC4-5D6E-409C-BE32-E72D297353CC}">
                <c16:uniqueId val="{000009E7-26BF-40B0-8A43-EC10D791E60B}"/>
              </c:ext>
            </c:extLst>
          </c:dPt>
          <c:dPt>
            <c:idx val="1267"/>
            <c:invertIfNegative val="1"/>
            <c:bubble3D val="0"/>
            <c:spPr>
              <a:solidFill>
                <a:srgbClr val="AEABAB"/>
              </a:solidFill>
            </c:spPr>
            <c:extLst>
              <c:ext xmlns:c16="http://schemas.microsoft.com/office/drawing/2014/chart" uri="{C3380CC4-5D6E-409C-BE32-E72D297353CC}">
                <c16:uniqueId val="{000009E9-26BF-40B0-8A43-EC10D791E60B}"/>
              </c:ext>
            </c:extLst>
          </c:dPt>
          <c:dPt>
            <c:idx val="1268"/>
            <c:invertIfNegative val="1"/>
            <c:bubble3D val="0"/>
            <c:spPr>
              <a:solidFill>
                <a:srgbClr val="AEABAB"/>
              </a:solidFill>
            </c:spPr>
            <c:extLst>
              <c:ext xmlns:c16="http://schemas.microsoft.com/office/drawing/2014/chart" uri="{C3380CC4-5D6E-409C-BE32-E72D297353CC}">
                <c16:uniqueId val="{000009EB-26BF-40B0-8A43-EC10D791E60B}"/>
              </c:ext>
            </c:extLst>
          </c:dPt>
          <c:dPt>
            <c:idx val="1269"/>
            <c:invertIfNegative val="1"/>
            <c:bubble3D val="0"/>
            <c:spPr>
              <a:solidFill>
                <a:srgbClr val="AEABAB"/>
              </a:solidFill>
            </c:spPr>
            <c:extLst>
              <c:ext xmlns:c16="http://schemas.microsoft.com/office/drawing/2014/chart" uri="{C3380CC4-5D6E-409C-BE32-E72D297353CC}">
                <c16:uniqueId val="{000009ED-26BF-40B0-8A43-EC10D791E60B}"/>
              </c:ext>
            </c:extLst>
          </c:dPt>
          <c:dPt>
            <c:idx val="1270"/>
            <c:invertIfNegative val="1"/>
            <c:bubble3D val="0"/>
            <c:spPr>
              <a:solidFill>
                <a:srgbClr val="AEABAB"/>
              </a:solidFill>
            </c:spPr>
            <c:extLst>
              <c:ext xmlns:c16="http://schemas.microsoft.com/office/drawing/2014/chart" uri="{C3380CC4-5D6E-409C-BE32-E72D297353CC}">
                <c16:uniqueId val="{000009EF-26BF-40B0-8A43-EC10D791E60B}"/>
              </c:ext>
            </c:extLst>
          </c:dPt>
          <c:dPt>
            <c:idx val="1271"/>
            <c:invertIfNegative val="1"/>
            <c:bubble3D val="0"/>
            <c:spPr>
              <a:solidFill>
                <a:srgbClr val="AEABAB"/>
              </a:solidFill>
            </c:spPr>
            <c:extLst>
              <c:ext xmlns:c16="http://schemas.microsoft.com/office/drawing/2014/chart" uri="{C3380CC4-5D6E-409C-BE32-E72D297353CC}">
                <c16:uniqueId val="{000009F1-26BF-40B0-8A43-EC10D791E60B}"/>
              </c:ext>
            </c:extLst>
          </c:dPt>
          <c:dPt>
            <c:idx val="1272"/>
            <c:invertIfNegative val="1"/>
            <c:bubble3D val="0"/>
            <c:spPr>
              <a:solidFill>
                <a:srgbClr val="AEABAB"/>
              </a:solidFill>
            </c:spPr>
            <c:extLst>
              <c:ext xmlns:c16="http://schemas.microsoft.com/office/drawing/2014/chart" uri="{C3380CC4-5D6E-409C-BE32-E72D297353CC}">
                <c16:uniqueId val="{000009F3-26BF-40B0-8A43-EC10D791E60B}"/>
              </c:ext>
            </c:extLst>
          </c:dPt>
          <c:dPt>
            <c:idx val="1273"/>
            <c:invertIfNegative val="1"/>
            <c:bubble3D val="0"/>
            <c:spPr>
              <a:solidFill>
                <a:srgbClr val="AEABAB"/>
              </a:solidFill>
            </c:spPr>
            <c:extLst>
              <c:ext xmlns:c16="http://schemas.microsoft.com/office/drawing/2014/chart" uri="{C3380CC4-5D6E-409C-BE32-E72D297353CC}">
                <c16:uniqueId val="{000009F5-26BF-40B0-8A43-EC10D791E60B}"/>
              </c:ext>
            </c:extLst>
          </c:dPt>
          <c:dPt>
            <c:idx val="1274"/>
            <c:invertIfNegative val="1"/>
            <c:bubble3D val="0"/>
            <c:spPr>
              <a:solidFill>
                <a:srgbClr val="AEABAB"/>
              </a:solidFill>
            </c:spPr>
            <c:extLst>
              <c:ext xmlns:c16="http://schemas.microsoft.com/office/drawing/2014/chart" uri="{C3380CC4-5D6E-409C-BE32-E72D297353CC}">
                <c16:uniqueId val="{000009F7-26BF-40B0-8A43-EC10D791E60B}"/>
              </c:ext>
            </c:extLst>
          </c:dPt>
          <c:dPt>
            <c:idx val="1275"/>
            <c:invertIfNegative val="1"/>
            <c:bubble3D val="0"/>
            <c:spPr>
              <a:solidFill>
                <a:srgbClr val="AEABAB"/>
              </a:solidFill>
            </c:spPr>
            <c:extLst>
              <c:ext xmlns:c16="http://schemas.microsoft.com/office/drawing/2014/chart" uri="{C3380CC4-5D6E-409C-BE32-E72D297353CC}">
                <c16:uniqueId val="{000009F9-26BF-40B0-8A43-EC10D791E60B}"/>
              </c:ext>
            </c:extLst>
          </c:dPt>
          <c:dPt>
            <c:idx val="1276"/>
            <c:invertIfNegative val="1"/>
            <c:bubble3D val="0"/>
            <c:spPr>
              <a:solidFill>
                <a:srgbClr val="AEABAB"/>
              </a:solidFill>
            </c:spPr>
            <c:extLst>
              <c:ext xmlns:c16="http://schemas.microsoft.com/office/drawing/2014/chart" uri="{C3380CC4-5D6E-409C-BE32-E72D297353CC}">
                <c16:uniqueId val="{000009FB-26BF-40B0-8A43-EC10D791E60B}"/>
              </c:ext>
            </c:extLst>
          </c:dPt>
          <c:dPt>
            <c:idx val="1277"/>
            <c:invertIfNegative val="1"/>
            <c:bubble3D val="0"/>
            <c:spPr>
              <a:solidFill>
                <a:srgbClr val="AEABAB"/>
              </a:solidFill>
            </c:spPr>
            <c:extLst>
              <c:ext xmlns:c16="http://schemas.microsoft.com/office/drawing/2014/chart" uri="{C3380CC4-5D6E-409C-BE32-E72D297353CC}">
                <c16:uniqueId val="{000009FD-26BF-40B0-8A43-EC10D791E60B}"/>
              </c:ext>
            </c:extLst>
          </c:dPt>
          <c:dPt>
            <c:idx val="1278"/>
            <c:invertIfNegative val="1"/>
            <c:bubble3D val="0"/>
            <c:spPr>
              <a:solidFill>
                <a:srgbClr val="AEABAB"/>
              </a:solidFill>
            </c:spPr>
            <c:extLst>
              <c:ext xmlns:c16="http://schemas.microsoft.com/office/drawing/2014/chart" uri="{C3380CC4-5D6E-409C-BE32-E72D297353CC}">
                <c16:uniqueId val="{000009FF-26BF-40B0-8A43-EC10D791E60B}"/>
              </c:ext>
            </c:extLst>
          </c:dPt>
          <c:dPt>
            <c:idx val="1279"/>
            <c:invertIfNegative val="1"/>
            <c:bubble3D val="0"/>
            <c:spPr>
              <a:solidFill>
                <a:srgbClr val="AEABAB"/>
              </a:solidFill>
            </c:spPr>
            <c:extLst>
              <c:ext xmlns:c16="http://schemas.microsoft.com/office/drawing/2014/chart" uri="{C3380CC4-5D6E-409C-BE32-E72D297353CC}">
                <c16:uniqueId val="{00000A01-26BF-40B0-8A43-EC10D791E60B}"/>
              </c:ext>
            </c:extLst>
          </c:dPt>
          <c:dPt>
            <c:idx val="1280"/>
            <c:invertIfNegative val="1"/>
            <c:bubble3D val="0"/>
            <c:spPr>
              <a:solidFill>
                <a:srgbClr val="AEABAB"/>
              </a:solidFill>
            </c:spPr>
            <c:extLst>
              <c:ext xmlns:c16="http://schemas.microsoft.com/office/drawing/2014/chart" uri="{C3380CC4-5D6E-409C-BE32-E72D297353CC}">
                <c16:uniqueId val="{00000A03-26BF-40B0-8A43-EC10D791E60B}"/>
              </c:ext>
            </c:extLst>
          </c:dPt>
          <c:dPt>
            <c:idx val="1281"/>
            <c:invertIfNegative val="1"/>
            <c:bubble3D val="0"/>
            <c:spPr>
              <a:solidFill>
                <a:srgbClr val="AEABAB"/>
              </a:solidFill>
            </c:spPr>
            <c:extLst>
              <c:ext xmlns:c16="http://schemas.microsoft.com/office/drawing/2014/chart" uri="{C3380CC4-5D6E-409C-BE32-E72D297353CC}">
                <c16:uniqueId val="{00000A05-26BF-40B0-8A43-EC10D791E60B}"/>
              </c:ext>
            </c:extLst>
          </c:dPt>
          <c:dPt>
            <c:idx val="1282"/>
            <c:invertIfNegative val="1"/>
            <c:bubble3D val="0"/>
            <c:spPr>
              <a:solidFill>
                <a:srgbClr val="AEABAB"/>
              </a:solidFill>
            </c:spPr>
            <c:extLst>
              <c:ext xmlns:c16="http://schemas.microsoft.com/office/drawing/2014/chart" uri="{C3380CC4-5D6E-409C-BE32-E72D297353CC}">
                <c16:uniqueId val="{00000A07-26BF-40B0-8A43-EC10D791E60B}"/>
              </c:ext>
            </c:extLst>
          </c:dPt>
          <c:dPt>
            <c:idx val="1283"/>
            <c:invertIfNegative val="1"/>
            <c:bubble3D val="0"/>
            <c:spPr>
              <a:solidFill>
                <a:srgbClr val="AEABAB"/>
              </a:solidFill>
            </c:spPr>
            <c:extLst>
              <c:ext xmlns:c16="http://schemas.microsoft.com/office/drawing/2014/chart" uri="{C3380CC4-5D6E-409C-BE32-E72D297353CC}">
                <c16:uniqueId val="{00000A09-26BF-40B0-8A43-EC10D791E60B}"/>
              </c:ext>
            </c:extLst>
          </c:dPt>
          <c:dPt>
            <c:idx val="1284"/>
            <c:invertIfNegative val="1"/>
            <c:bubble3D val="0"/>
            <c:spPr>
              <a:solidFill>
                <a:srgbClr val="AEABAB"/>
              </a:solidFill>
            </c:spPr>
            <c:extLst>
              <c:ext xmlns:c16="http://schemas.microsoft.com/office/drawing/2014/chart" uri="{C3380CC4-5D6E-409C-BE32-E72D297353CC}">
                <c16:uniqueId val="{00000A0B-26BF-40B0-8A43-EC10D791E60B}"/>
              </c:ext>
            </c:extLst>
          </c:dPt>
          <c:dPt>
            <c:idx val="1285"/>
            <c:invertIfNegative val="1"/>
            <c:bubble3D val="0"/>
            <c:spPr>
              <a:solidFill>
                <a:srgbClr val="AEABAB"/>
              </a:solidFill>
            </c:spPr>
            <c:extLst>
              <c:ext xmlns:c16="http://schemas.microsoft.com/office/drawing/2014/chart" uri="{C3380CC4-5D6E-409C-BE32-E72D297353CC}">
                <c16:uniqueId val="{00000A0D-26BF-40B0-8A43-EC10D791E60B}"/>
              </c:ext>
            </c:extLst>
          </c:dPt>
          <c:dPt>
            <c:idx val="1286"/>
            <c:invertIfNegative val="1"/>
            <c:bubble3D val="0"/>
            <c:spPr>
              <a:solidFill>
                <a:srgbClr val="AEABAB"/>
              </a:solidFill>
            </c:spPr>
            <c:extLst>
              <c:ext xmlns:c16="http://schemas.microsoft.com/office/drawing/2014/chart" uri="{C3380CC4-5D6E-409C-BE32-E72D297353CC}">
                <c16:uniqueId val="{00000A0F-26BF-40B0-8A43-EC10D791E60B}"/>
              </c:ext>
            </c:extLst>
          </c:dPt>
          <c:dPt>
            <c:idx val="1287"/>
            <c:invertIfNegative val="1"/>
            <c:bubble3D val="0"/>
            <c:spPr>
              <a:solidFill>
                <a:srgbClr val="AEABAB"/>
              </a:solidFill>
            </c:spPr>
            <c:extLst>
              <c:ext xmlns:c16="http://schemas.microsoft.com/office/drawing/2014/chart" uri="{C3380CC4-5D6E-409C-BE32-E72D297353CC}">
                <c16:uniqueId val="{00000A11-26BF-40B0-8A43-EC10D791E60B}"/>
              </c:ext>
            </c:extLst>
          </c:dPt>
          <c:dPt>
            <c:idx val="1288"/>
            <c:invertIfNegative val="1"/>
            <c:bubble3D val="0"/>
            <c:spPr>
              <a:solidFill>
                <a:srgbClr val="AEABAB"/>
              </a:solidFill>
            </c:spPr>
            <c:extLst>
              <c:ext xmlns:c16="http://schemas.microsoft.com/office/drawing/2014/chart" uri="{C3380CC4-5D6E-409C-BE32-E72D297353CC}">
                <c16:uniqueId val="{00000A13-26BF-40B0-8A43-EC10D791E60B}"/>
              </c:ext>
            </c:extLst>
          </c:dPt>
          <c:dPt>
            <c:idx val="1289"/>
            <c:invertIfNegative val="1"/>
            <c:bubble3D val="0"/>
            <c:spPr>
              <a:solidFill>
                <a:srgbClr val="AEABAB"/>
              </a:solidFill>
            </c:spPr>
            <c:extLst>
              <c:ext xmlns:c16="http://schemas.microsoft.com/office/drawing/2014/chart" uri="{C3380CC4-5D6E-409C-BE32-E72D297353CC}">
                <c16:uniqueId val="{00000A15-26BF-40B0-8A43-EC10D791E60B}"/>
              </c:ext>
            </c:extLst>
          </c:dPt>
          <c:dPt>
            <c:idx val="1290"/>
            <c:invertIfNegative val="1"/>
            <c:bubble3D val="0"/>
            <c:spPr>
              <a:solidFill>
                <a:srgbClr val="AEABAB"/>
              </a:solidFill>
            </c:spPr>
            <c:extLst>
              <c:ext xmlns:c16="http://schemas.microsoft.com/office/drawing/2014/chart" uri="{C3380CC4-5D6E-409C-BE32-E72D297353CC}">
                <c16:uniqueId val="{00000A17-26BF-40B0-8A43-EC10D791E60B}"/>
              </c:ext>
            </c:extLst>
          </c:dPt>
          <c:dPt>
            <c:idx val="1291"/>
            <c:invertIfNegative val="1"/>
            <c:bubble3D val="0"/>
            <c:spPr>
              <a:solidFill>
                <a:srgbClr val="AEABAB"/>
              </a:solidFill>
            </c:spPr>
            <c:extLst>
              <c:ext xmlns:c16="http://schemas.microsoft.com/office/drawing/2014/chart" uri="{C3380CC4-5D6E-409C-BE32-E72D297353CC}">
                <c16:uniqueId val="{00000A19-26BF-40B0-8A43-EC10D791E60B}"/>
              </c:ext>
            </c:extLst>
          </c:dPt>
          <c:dPt>
            <c:idx val="1292"/>
            <c:invertIfNegative val="1"/>
            <c:bubble3D val="0"/>
            <c:spPr>
              <a:solidFill>
                <a:srgbClr val="AEABAB"/>
              </a:solidFill>
            </c:spPr>
            <c:extLst>
              <c:ext xmlns:c16="http://schemas.microsoft.com/office/drawing/2014/chart" uri="{C3380CC4-5D6E-409C-BE32-E72D297353CC}">
                <c16:uniqueId val="{00000A1B-26BF-40B0-8A43-EC10D791E60B}"/>
              </c:ext>
            </c:extLst>
          </c:dPt>
          <c:dPt>
            <c:idx val="1293"/>
            <c:invertIfNegative val="1"/>
            <c:bubble3D val="0"/>
            <c:spPr>
              <a:solidFill>
                <a:srgbClr val="AEABAB"/>
              </a:solidFill>
            </c:spPr>
            <c:extLst>
              <c:ext xmlns:c16="http://schemas.microsoft.com/office/drawing/2014/chart" uri="{C3380CC4-5D6E-409C-BE32-E72D297353CC}">
                <c16:uniqueId val="{00000A1D-26BF-40B0-8A43-EC10D791E60B}"/>
              </c:ext>
            </c:extLst>
          </c:dPt>
          <c:dPt>
            <c:idx val="1294"/>
            <c:invertIfNegative val="1"/>
            <c:bubble3D val="0"/>
            <c:spPr>
              <a:solidFill>
                <a:srgbClr val="AEABAB"/>
              </a:solidFill>
            </c:spPr>
            <c:extLst>
              <c:ext xmlns:c16="http://schemas.microsoft.com/office/drawing/2014/chart" uri="{C3380CC4-5D6E-409C-BE32-E72D297353CC}">
                <c16:uniqueId val="{00000A1F-26BF-40B0-8A43-EC10D791E60B}"/>
              </c:ext>
            </c:extLst>
          </c:dPt>
          <c:dPt>
            <c:idx val="1295"/>
            <c:invertIfNegative val="1"/>
            <c:bubble3D val="0"/>
            <c:spPr>
              <a:solidFill>
                <a:srgbClr val="AEABAB"/>
              </a:solidFill>
            </c:spPr>
            <c:extLst>
              <c:ext xmlns:c16="http://schemas.microsoft.com/office/drawing/2014/chart" uri="{C3380CC4-5D6E-409C-BE32-E72D297353CC}">
                <c16:uniqueId val="{00000A21-26BF-40B0-8A43-EC10D791E60B}"/>
              </c:ext>
            </c:extLst>
          </c:dPt>
          <c:dPt>
            <c:idx val="1296"/>
            <c:invertIfNegative val="1"/>
            <c:bubble3D val="0"/>
            <c:spPr>
              <a:solidFill>
                <a:srgbClr val="AEABAB"/>
              </a:solidFill>
            </c:spPr>
            <c:extLst>
              <c:ext xmlns:c16="http://schemas.microsoft.com/office/drawing/2014/chart" uri="{C3380CC4-5D6E-409C-BE32-E72D297353CC}">
                <c16:uniqueId val="{00000A23-26BF-40B0-8A43-EC10D791E60B}"/>
              </c:ext>
            </c:extLst>
          </c:dPt>
          <c:dPt>
            <c:idx val="1297"/>
            <c:invertIfNegative val="1"/>
            <c:bubble3D val="0"/>
            <c:spPr>
              <a:solidFill>
                <a:srgbClr val="AEABAB"/>
              </a:solidFill>
            </c:spPr>
            <c:extLst>
              <c:ext xmlns:c16="http://schemas.microsoft.com/office/drawing/2014/chart" uri="{C3380CC4-5D6E-409C-BE32-E72D297353CC}">
                <c16:uniqueId val="{00000A25-26BF-40B0-8A43-EC10D791E60B}"/>
              </c:ext>
            </c:extLst>
          </c:dPt>
          <c:dPt>
            <c:idx val="1298"/>
            <c:invertIfNegative val="1"/>
            <c:bubble3D val="0"/>
            <c:spPr>
              <a:solidFill>
                <a:srgbClr val="AEABAB"/>
              </a:solidFill>
            </c:spPr>
            <c:extLst>
              <c:ext xmlns:c16="http://schemas.microsoft.com/office/drawing/2014/chart" uri="{C3380CC4-5D6E-409C-BE32-E72D297353CC}">
                <c16:uniqueId val="{00000A27-26BF-40B0-8A43-EC10D791E60B}"/>
              </c:ext>
            </c:extLst>
          </c:dPt>
          <c:dPt>
            <c:idx val="1299"/>
            <c:invertIfNegative val="1"/>
            <c:bubble3D val="0"/>
            <c:spPr>
              <a:solidFill>
                <a:srgbClr val="AEABAB"/>
              </a:solidFill>
            </c:spPr>
            <c:extLst>
              <c:ext xmlns:c16="http://schemas.microsoft.com/office/drawing/2014/chart" uri="{C3380CC4-5D6E-409C-BE32-E72D297353CC}">
                <c16:uniqueId val="{00000A29-26BF-40B0-8A43-EC10D791E60B}"/>
              </c:ext>
            </c:extLst>
          </c:dPt>
          <c:dPt>
            <c:idx val="1300"/>
            <c:invertIfNegative val="1"/>
            <c:bubble3D val="0"/>
            <c:spPr>
              <a:solidFill>
                <a:srgbClr val="AEABAB"/>
              </a:solidFill>
            </c:spPr>
            <c:extLst>
              <c:ext xmlns:c16="http://schemas.microsoft.com/office/drawing/2014/chart" uri="{C3380CC4-5D6E-409C-BE32-E72D297353CC}">
                <c16:uniqueId val="{00000A2B-26BF-40B0-8A43-EC10D791E60B}"/>
              </c:ext>
            </c:extLst>
          </c:dPt>
          <c:dPt>
            <c:idx val="1301"/>
            <c:invertIfNegative val="1"/>
            <c:bubble3D val="0"/>
            <c:spPr>
              <a:solidFill>
                <a:srgbClr val="AEABAB"/>
              </a:solidFill>
            </c:spPr>
            <c:extLst>
              <c:ext xmlns:c16="http://schemas.microsoft.com/office/drawing/2014/chart" uri="{C3380CC4-5D6E-409C-BE32-E72D297353CC}">
                <c16:uniqueId val="{00000A2D-26BF-40B0-8A43-EC10D791E60B}"/>
              </c:ext>
            </c:extLst>
          </c:dPt>
          <c:dPt>
            <c:idx val="1302"/>
            <c:invertIfNegative val="1"/>
            <c:bubble3D val="0"/>
            <c:spPr>
              <a:solidFill>
                <a:srgbClr val="AEABAB"/>
              </a:solidFill>
            </c:spPr>
            <c:extLst>
              <c:ext xmlns:c16="http://schemas.microsoft.com/office/drawing/2014/chart" uri="{C3380CC4-5D6E-409C-BE32-E72D297353CC}">
                <c16:uniqueId val="{00000A2F-26BF-40B0-8A43-EC10D791E60B}"/>
              </c:ext>
            </c:extLst>
          </c:dPt>
          <c:dPt>
            <c:idx val="1303"/>
            <c:invertIfNegative val="1"/>
            <c:bubble3D val="0"/>
            <c:spPr>
              <a:solidFill>
                <a:srgbClr val="AEABAB"/>
              </a:solidFill>
            </c:spPr>
            <c:extLst>
              <c:ext xmlns:c16="http://schemas.microsoft.com/office/drawing/2014/chart" uri="{C3380CC4-5D6E-409C-BE32-E72D297353CC}">
                <c16:uniqueId val="{00000A31-26BF-40B0-8A43-EC10D791E60B}"/>
              </c:ext>
            </c:extLst>
          </c:dPt>
          <c:dPt>
            <c:idx val="1304"/>
            <c:invertIfNegative val="1"/>
            <c:bubble3D val="0"/>
            <c:spPr>
              <a:solidFill>
                <a:srgbClr val="AEABAB"/>
              </a:solidFill>
            </c:spPr>
            <c:extLst>
              <c:ext xmlns:c16="http://schemas.microsoft.com/office/drawing/2014/chart" uri="{C3380CC4-5D6E-409C-BE32-E72D297353CC}">
                <c16:uniqueId val="{00000A33-26BF-40B0-8A43-EC10D791E60B}"/>
              </c:ext>
            </c:extLst>
          </c:dPt>
          <c:dPt>
            <c:idx val="1305"/>
            <c:invertIfNegative val="1"/>
            <c:bubble3D val="0"/>
            <c:spPr>
              <a:solidFill>
                <a:srgbClr val="AEABAB"/>
              </a:solidFill>
            </c:spPr>
            <c:extLst>
              <c:ext xmlns:c16="http://schemas.microsoft.com/office/drawing/2014/chart" uri="{C3380CC4-5D6E-409C-BE32-E72D297353CC}">
                <c16:uniqueId val="{00000A35-26BF-40B0-8A43-EC10D791E60B}"/>
              </c:ext>
            </c:extLst>
          </c:dPt>
          <c:dPt>
            <c:idx val="1306"/>
            <c:invertIfNegative val="1"/>
            <c:bubble3D val="0"/>
            <c:spPr>
              <a:solidFill>
                <a:srgbClr val="AEABAB"/>
              </a:solidFill>
            </c:spPr>
            <c:extLst>
              <c:ext xmlns:c16="http://schemas.microsoft.com/office/drawing/2014/chart" uri="{C3380CC4-5D6E-409C-BE32-E72D297353CC}">
                <c16:uniqueId val="{00000A37-26BF-40B0-8A43-EC10D791E60B}"/>
              </c:ext>
            </c:extLst>
          </c:dPt>
          <c:dPt>
            <c:idx val="1307"/>
            <c:invertIfNegative val="1"/>
            <c:bubble3D val="0"/>
            <c:spPr>
              <a:solidFill>
                <a:srgbClr val="AEABAB"/>
              </a:solidFill>
            </c:spPr>
            <c:extLst>
              <c:ext xmlns:c16="http://schemas.microsoft.com/office/drawing/2014/chart" uri="{C3380CC4-5D6E-409C-BE32-E72D297353CC}">
                <c16:uniqueId val="{00000A39-26BF-40B0-8A43-EC10D791E60B}"/>
              </c:ext>
            </c:extLst>
          </c:dPt>
          <c:dPt>
            <c:idx val="1308"/>
            <c:invertIfNegative val="1"/>
            <c:bubble3D val="0"/>
            <c:spPr>
              <a:solidFill>
                <a:srgbClr val="AEABAB"/>
              </a:solidFill>
            </c:spPr>
            <c:extLst>
              <c:ext xmlns:c16="http://schemas.microsoft.com/office/drawing/2014/chart" uri="{C3380CC4-5D6E-409C-BE32-E72D297353CC}">
                <c16:uniqueId val="{00000A3B-26BF-40B0-8A43-EC10D791E60B}"/>
              </c:ext>
            </c:extLst>
          </c:dPt>
          <c:dPt>
            <c:idx val="1309"/>
            <c:invertIfNegative val="1"/>
            <c:bubble3D val="0"/>
            <c:spPr>
              <a:solidFill>
                <a:srgbClr val="AEABAB"/>
              </a:solidFill>
            </c:spPr>
            <c:extLst>
              <c:ext xmlns:c16="http://schemas.microsoft.com/office/drawing/2014/chart" uri="{C3380CC4-5D6E-409C-BE32-E72D297353CC}">
                <c16:uniqueId val="{00000A3D-26BF-40B0-8A43-EC10D791E60B}"/>
              </c:ext>
            </c:extLst>
          </c:dPt>
          <c:dPt>
            <c:idx val="1310"/>
            <c:invertIfNegative val="1"/>
            <c:bubble3D val="0"/>
            <c:spPr>
              <a:solidFill>
                <a:srgbClr val="AEABAB"/>
              </a:solidFill>
            </c:spPr>
            <c:extLst>
              <c:ext xmlns:c16="http://schemas.microsoft.com/office/drawing/2014/chart" uri="{C3380CC4-5D6E-409C-BE32-E72D297353CC}">
                <c16:uniqueId val="{00000A3F-26BF-40B0-8A43-EC10D791E60B}"/>
              </c:ext>
            </c:extLst>
          </c:dPt>
          <c:dPt>
            <c:idx val="1311"/>
            <c:invertIfNegative val="1"/>
            <c:bubble3D val="0"/>
            <c:spPr>
              <a:solidFill>
                <a:srgbClr val="AEABAB"/>
              </a:solidFill>
            </c:spPr>
            <c:extLst>
              <c:ext xmlns:c16="http://schemas.microsoft.com/office/drawing/2014/chart" uri="{C3380CC4-5D6E-409C-BE32-E72D297353CC}">
                <c16:uniqueId val="{00000A41-26BF-40B0-8A43-EC10D791E60B}"/>
              </c:ext>
            </c:extLst>
          </c:dPt>
          <c:dPt>
            <c:idx val="1312"/>
            <c:invertIfNegative val="1"/>
            <c:bubble3D val="0"/>
            <c:spPr>
              <a:solidFill>
                <a:srgbClr val="AEABAB"/>
              </a:solidFill>
            </c:spPr>
            <c:extLst>
              <c:ext xmlns:c16="http://schemas.microsoft.com/office/drawing/2014/chart" uri="{C3380CC4-5D6E-409C-BE32-E72D297353CC}">
                <c16:uniqueId val="{00000A43-26BF-40B0-8A43-EC10D791E60B}"/>
              </c:ext>
            </c:extLst>
          </c:dPt>
          <c:dPt>
            <c:idx val="1313"/>
            <c:invertIfNegative val="1"/>
            <c:bubble3D val="0"/>
            <c:spPr>
              <a:solidFill>
                <a:srgbClr val="AEABAB"/>
              </a:solidFill>
            </c:spPr>
            <c:extLst>
              <c:ext xmlns:c16="http://schemas.microsoft.com/office/drawing/2014/chart" uri="{C3380CC4-5D6E-409C-BE32-E72D297353CC}">
                <c16:uniqueId val="{00000A45-26BF-40B0-8A43-EC10D791E60B}"/>
              </c:ext>
            </c:extLst>
          </c:dPt>
          <c:dPt>
            <c:idx val="1314"/>
            <c:invertIfNegative val="1"/>
            <c:bubble3D val="0"/>
            <c:spPr>
              <a:solidFill>
                <a:srgbClr val="AEABAB"/>
              </a:solidFill>
            </c:spPr>
            <c:extLst>
              <c:ext xmlns:c16="http://schemas.microsoft.com/office/drawing/2014/chart" uri="{C3380CC4-5D6E-409C-BE32-E72D297353CC}">
                <c16:uniqueId val="{00000A47-26BF-40B0-8A43-EC10D791E60B}"/>
              </c:ext>
            </c:extLst>
          </c:dPt>
          <c:dPt>
            <c:idx val="1315"/>
            <c:invertIfNegative val="1"/>
            <c:bubble3D val="0"/>
            <c:spPr>
              <a:solidFill>
                <a:srgbClr val="AEABAB"/>
              </a:solidFill>
            </c:spPr>
            <c:extLst>
              <c:ext xmlns:c16="http://schemas.microsoft.com/office/drawing/2014/chart" uri="{C3380CC4-5D6E-409C-BE32-E72D297353CC}">
                <c16:uniqueId val="{00000A49-26BF-40B0-8A43-EC10D791E60B}"/>
              </c:ext>
            </c:extLst>
          </c:dPt>
          <c:dPt>
            <c:idx val="1316"/>
            <c:invertIfNegative val="1"/>
            <c:bubble3D val="0"/>
            <c:spPr>
              <a:solidFill>
                <a:srgbClr val="AEABAB"/>
              </a:solidFill>
            </c:spPr>
            <c:extLst>
              <c:ext xmlns:c16="http://schemas.microsoft.com/office/drawing/2014/chart" uri="{C3380CC4-5D6E-409C-BE32-E72D297353CC}">
                <c16:uniqueId val="{00000A4B-26BF-40B0-8A43-EC10D791E60B}"/>
              </c:ext>
            </c:extLst>
          </c:dPt>
          <c:dPt>
            <c:idx val="1317"/>
            <c:invertIfNegative val="1"/>
            <c:bubble3D val="0"/>
            <c:spPr>
              <a:solidFill>
                <a:srgbClr val="AEABAB"/>
              </a:solidFill>
            </c:spPr>
            <c:extLst>
              <c:ext xmlns:c16="http://schemas.microsoft.com/office/drawing/2014/chart" uri="{C3380CC4-5D6E-409C-BE32-E72D297353CC}">
                <c16:uniqueId val="{00000A4D-26BF-40B0-8A43-EC10D791E60B}"/>
              </c:ext>
            </c:extLst>
          </c:dPt>
          <c:dPt>
            <c:idx val="1318"/>
            <c:invertIfNegative val="1"/>
            <c:bubble3D val="0"/>
            <c:spPr>
              <a:solidFill>
                <a:srgbClr val="AEABAB"/>
              </a:solidFill>
            </c:spPr>
            <c:extLst>
              <c:ext xmlns:c16="http://schemas.microsoft.com/office/drawing/2014/chart" uri="{C3380CC4-5D6E-409C-BE32-E72D297353CC}">
                <c16:uniqueId val="{00000A4F-26BF-40B0-8A43-EC10D791E60B}"/>
              </c:ext>
            </c:extLst>
          </c:dPt>
          <c:dPt>
            <c:idx val="1319"/>
            <c:invertIfNegative val="1"/>
            <c:bubble3D val="0"/>
            <c:spPr>
              <a:solidFill>
                <a:srgbClr val="AEABAB"/>
              </a:solidFill>
            </c:spPr>
            <c:extLst>
              <c:ext xmlns:c16="http://schemas.microsoft.com/office/drawing/2014/chart" uri="{C3380CC4-5D6E-409C-BE32-E72D297353CC}">
                <c16:uniqueId val="{00000A51-26BF-40B0-8A43-EC10D791E60B}"/>
              </c:ext>
            </c:extLst>
          </c:dPt>
          <c:dPt>
            <c:idx val="1320"/>
            <c:invertIfNegative val="1"/>
            <c:bubble3D val="0"/>
            <c:spPr>
              <a:solidFill>
                <a:srgbClr val="AEABAB"/>
              </a:solidFill>
            </c:spPr>
            <c:extLst>
              <c:ext xmlns:c16="http://schemas.microsoft.com/office/drawing/2014/chart" uri="{C3380CC4-5D6E-409C-BE32-E72D297353CC}">
                <c16:uniqueId val="{00000A53-26BF-40B0-8A43-EC10D791E60B}"/>
              </c:ext>
            </c:extLst>
          </c:dPt>
          <c:dPt>
            <c:idx val="1321"/>
            <c:invertIfNegative val="1"/>
            <c:bubble3D val="0"/>
            <c:spPr>
              <a:solidFill>
                <a:srgbClr val="AEABAB"/>
              </a:solidFill>
            </c:spPr>
            <c:extLst>
              <c:ext xmlns:c16="http://schemas.microsoft.com/office/drawing/2014/chart" uri="{C3380CC4-5D6E-409C-BE32-E72D297353CC}">
                <c16:uniqueId val="{00000A55-26BF-40B0-8A43-EC10D791E60B}"/>
              </c:ext>
            </c:extLst>
          </c:dPt>
          <c:dPt>
            <c:idx val="1322"/>
            <c:invertIfNegative val="1"/>
            <c:bubble3D val="0"/>
            <c:spPr>
              <a:solidFill>
                <a:srgbClr val="AEABAB"/>
              </a:solidFill>
            </c:spPr>
            <c:extLst>
              <c:ext xmlns:c16="http://schemas.microsoft.com/office/drawing/2014/chart" uri="{C3380CC4-5D6E-409C-BE32-E72D297353CC}">
                <c16:uniqueId val="{00000A57-26BF-40B0-8A43-EC10D791E60B}"/>
              </c:ext>
            </c:extLst>
          </c:dPt>
          <c:dPt>
            <c:idx val="1323"/>
            <c:invertIfNegative val="1"/>
            <c:bubble3D val="0"/>
            <c:spPr>
              <a:solidFill>
                <a:srgbClr val="AEABAB"/>
              </a:solidFill>
            </c:spPr>
            <c:extLst>
              <c:ext xmlns:c16="http://schemas.microsoft.com/office/drawing/2014/chart" uri="{C3380CC4-5D6E-409C-BE32-E72D297353CC}">
                <c16:uniqueId val="{00000A59-26BF-40B0-8A43-EC10D791E60B}"/>
              </c:ext>
            </c:extLst>
          </c:dPt>
          <c:dPt>
            <c:idx val="1324"/>
            <c:invertIfNegative val="1"/>
            <c:bubble3D val="0"/>
            <c:spPr>
              <a:solidFill>
                <a:srgbClr val="AEABAB"/>
              </a:solidFill>
            </c:spPr>
            <c:extLst>
              <c:ext xmlns:c16="http://schemas.microsoft.com/office/drawing/2014/chart" uri="{C3380CC4-5D6E-409C-BE32-E72D297353CC}">
                <c16:uniqueId val="{00000A5B-26BF-40B0-8A43-EC10D791E60B}"/>
              </c:ext>
            </c:extLst>
          </c:dPt>
          <c:dPt>
            <c:idx val="1325"/>
            <c:invertIfNegative val="1"/>
            <c:bubble3D val="0"/>
            <c:spPr>
              <a:solidFill>
                <a:srgbClr val="AEABAB"/>
              </a:solidFill>
            </c:spPr>
            <c:extLst>
              <c:ext xmlns:c16="http://schemas.microsoft.com/office/drawing/2014/chart" uri="{C3380CC4-5D6E-409C-BE32-E72D297353CC}">
                <c16:uniqueId val="{00000A5D-26BF-40B0-8A43-EC10D791E60B}"/>
              </c:ext>
            </c:extLst>
          </c:dPt>
          <c:dPt>
            <c:idx val="1326"/>
            <c:invertIfNegative val="1"/>
            <c:bubble3D val="0"/>
            <c:spPr>
              <a:solidFill>
                <a:srgbClr val="AEABAB"/>
              </a:solidFill>
            </c:spPr>
            <c:extLst>
              <c:ext xmlns:c16="http://schemas.microsoft.com/office/drawing/2014/chart" uri="{C3380CC4-5D6E-409C-BE32-E72D297353CC}">
                <c16:uniqueId val="{00000A5F-26BF-40B0-8A43-EC10D791E60B}"/>
              </c:ext>
            </c:extLst>
          </c:dPt>
          <c:dPt>
            <c:idx val="1327"/>
            <c:invertIfNegative val="1"/>
            <c:bubble3D val="0"/>
            <c:spPr>
              <a:solidFill>
                <a:srgbClr val="AEABAB"/>
              </a:solidFill>
            </c:spPr>
            <c:extLst>
              <c:ext xmlns:c16="http://schemas.microsoft.com/office/drawing/2014/chart" uri="{C3380CC4-5D6E-409C-BE32-E72D297353CC}">
                <c16:uniqueId val="{00000A61-26BF-40B0-8A43-EC10D791E60B}"/>
              </c:ext>
            </c:extLst>
          </c:dPt>
          <c:dPt>
            <c:idx val="1328"/>
            <c:invertIfNegative val="1"/>
            <c:bubble3D val="0"/>
            <c:spPr>
              <a:solidFill>
                <a:srgbClr val="AEABAB"/>
              </a:solidFill>
            </c:spPr>
            <c:extLst>
              <c:ext xmlns:c16="http://schemas.microsoft.com/office/drawing/2014/chart" uri="{C3380CC4-5D6E-409C-BE32-E72D297353CC}">
                <c16:uniqueId val="{00000A63-26BF-40B0-8A43-EC10D791E60B}"/>
              </c:ext>
            </c:extLst>
          </c:dPt>
          <c:dPt>
            <c:idx val="1329"/>
            <c:invertIfNegative val="1"/>
            <c:bubble3D val="0"/>
            <c:spPr>
              <a:solidFill>
                <a:srgbClr val="AEABAB"/>
              </a:solidFill>
            </c:spPr>
            <c:extLst>
              <c:ext xmlns:c16="http://schemas.microsoft.com/office/drawing/2014/chart" uri="{C3380CC4-5D6E-409C-BE32-E72D297353CC}">
                <c16:uniqueId val="{00000A65-26BF-40B0-8A43-EC10D791E60B}"/>
              </c:ext>
            </c:extLst>
          </c:dPt>
          <c:dPt>
            <c:idx val="1330"/>
            <c:invertIfNegative val="1"/>
            <c:bubble3D val="0"/>
            <c:spPr>
              <a:solidFill>
                <a:srgbClr val="AEABAB"/>
              </a:solidFill>
            </c:spPr>
            <c:extLst>
              <c:ext xmlns:c16="http://schemas.microsoft.com/office/drawing/2014/chart" uri="{C3380CC4-5D6E-409C-BE32-E72D297353CC}">
                <c16:uniqueId val="{00000A67-26BF-40B0-8A43-EC10D791E60B}"/>
              </c:ext>
            </c:extLst>
          </c:dPt>
          <c:dPt>
            <c:idx val="1331"/>
            <c:invertIfNegative val="1"/>
            <c:bubble3D val="0"/>
            <c:spPr>
              <a:solidFill>
                <a:srgbClr val="AEABAB"/>
              </a:solidFill>
            </c:spPr>
            <c:extLst>
              <c:ext xmlns:c16="http://schemas.microsoft.com/office/drawing/2014/chart" uri="{C3380CC4-5D6E-409C-BE32-E72D297353CC}">
                <c16:uniqueId val="{00000A69-26BF-40B0-8A43-EC10D791E60B}"/>
              </c:ext>
            </c:extLst>
          </c:dPt>
          <c:dPt>
            <c:idx val="1332"/>
            <c:invertIfNegative val="1"/>
            <c:bubble3D val="0"/>
            <c:spPr>
              <a:solidFill>
                <a:srgbClr val="AEABAB"/>
              </a:solidFill>
            </c:spPr>
            <c:extLst>
              <c:ext xmlns:c16="http://schemas.microsoft.com/office/drawing/2014/chart" uri="{C3380CC4-5D6E-409C-BE32-E72D297353CC}">
                <c16:uniqueId val="{00000A6B-26BF-40B0-8A43-EC10D791E60B}"/>
              </c:ext>
            </c:extLst>
          </c:dPt>
          <c:dPt>
            <c:idx val="1333"/>
            <c:invertIfNegative val="1"/>
            <c:bubble3D val="0"/>
            <c:spPr>
              <a:solidFill>
                <a:srgbClr val="AEABAB"/>
              </a:solidFill>
            </c:spPr>
            <c:extLst>
              <c:ext xmlns:c16="http://schemas.microsoft.com/office/drawing/2014/chart" uri="{C3380CC4-5D6E-409C-BE32-E72D297353CC}">
                <c16:uniqueId val="{00000A6D-26BF-40B0-8A43-EC10D791E60B}"/>
              </c:ext>
            </c:extLst>
          </c:dPt>
          <c:dPt>
            <c:idx val="1334"/>
            <c:invertIfNegative val="1"/>
            <c:bubble3D val="0"/>
            <c:spPr>
              <a:solidFill>
                <a:srgbClr val="AEABAB"/>
              </a:solidFill>
            </c:spPr>
            <c:extLst>
              <c:ext xmlns:c16="http://schemas.microsoft.com/office/drawing/2014/chart" uri="{C3380CC4-5D6E-409C-BE32-E72D297353CC}">
                <c16:uniqueId val="{00000A6F-26BF-40B0-8A43-EC10D791E60B}"/>
              </c:ext>
            </c:extLst>
          </c:dPt>
          <c:dPt>
            <c:idx val="1335"/>
            <c:invertIfNegative val="1"/>
            <c:bubble3D val="0"/>
            <c:spPr>
              <a:solidFill>
                <a:srgbClr val="AEABAB"/>
              </a:solidFill>
            </c:spPr>
            <c:extLst>
              <c:ext xmlns:c16="http://schemas.microsoft.com/office/drawing/2014/chart" uri="{C3380CC4-5D6E-409C-BE32-E72D297353CC}">
                <c16:uniqueId val="{00000A71-26BF-40B0-8A43-EC10D791E60B}"/>
              </c:ext>
            </c:extLst>
          </c:dPt>
          <c:dPt>
            <c:idx val="1336"/>
            <c:invertIfNegative val="1"/>
            <c:bubble3D val="0"/>
            <c:spPr>
              <a:solidFill>
                <a:srgbClr val="AEABAB"/>
              </a:solidFill>
            </c:spPr>
            <c:extLst>
              <c:ext xmlns:c16="http://schemas.microsoft.com/office/drawing/2014/chart" uri="{C3380CC4-5D6E-409C-BE32-E72D297353CC}">
                <c16:uniqueId val="{00000A73-26BF-40B0-8A43-EC10D791E60B}"/>
              </c:ext>
            </c:extLst>
          </c:dPt>
          <c:dPt>
            <c:idx val="1337"/>
            <c:invertIfNegative val="1"/>
            <c:bubble3D val="0"/>
            <c:spPr>
              <a:solidFill>
                <a:srgbClr val="AEABAB"/>
              </a:solidFill>
            </c:spPr>
            <c:extLst>
              <c:ext xmlns:c16="http://schemas.microsoft.com/office/drawing/2014/chart" uri="{C3380CC4-5D6E-409C-BE32-E72D297353CC}">
                <c16:uniqueId val="{00000A75-26BF-40B0-8A43-EC10D791E60B}"/>
              </c:ext>
            </c:extLst>
          </c:dPt>
          <c:dPt>
            <c:idx val="1338"/>
            <c:invertIfNegative val="1"/>
            <c:bubble3D val="0"/>
            <c:spPr>
              <a:solidFill>
                <a:srgbClr val="AEABAB"/>
              </a:solidFill>
            </c:spPr>
            <c:extLst>
              <c:ext xmlns:c16="http://schemas.microsoft.com/office/drawing/2014/chart" uri="{C3380CC4-5D6E-409C-BE32-E72D297353CC}">
                <c16:uniqueId val="{00000A77-26BF-40B0-8A43-EC10D791E60B}"/>
              </c:ext>
            </c:extLst>
          </c:dPt>
          <c:dPt>
            <c:idx val="1339"/>
            <c:invertIfNegative val="1"/>
            <c:bubble3D val="0"/>
            <c:spPr>
              <a:solidFill>
                <a:srgbClr val="AEABAB"/>
              </a:solidFill>
            </c:spPr>
            <c:extLst>
              <c:ext xmlns:c16="http://schemas.microsoft.com/office/drawing/2014/chart" uri="{C3380CC4-5D6E-409C-BE32-E72D297353CC}">
                <c16:uniqueId val="{00000A79-26BF-40B0-8A43-EC10D791E60B}"/>
              </c:ext>
            </c:extLst>
          </c:dPt>
          <c:dPt>
            <c:idx val="1340"/>
            <c:invertIfNegative val="1"/>
            <c:bubble3D val="0"/>
            <c:spPr>
              <a:solidFill>
                <a:srgbClr val="AEABAB"/>
              </a:solidFill>
            </c:spPr>
            <c:extLst>
              <c:ext xmlns:c16="http://schemas.microsoft.com/office/drawing/2014/chart" uri="{C3380CC4-5D6E-409C-BE32-E72D297353CC}">
                <c16:uniqueId val="{00000A7B-26BF-40B0-8A43-EC10D791E60B}"/>
              </c:ext>
            </c:extLst>
          </c:dPt>
          <c:dPt>
            <c:idx val="1341"/>
            <c:invertIfNegative val="1"/>
            <c:bubble3D val="0"/>
            <c:spPr>
              <a:solidFill>
                <a:srgbClr val="AEABAB"/>
              </a:solidFill>
            </c:spPr>
            <c:extLst>
              <c:ext xmlns:c16="http://schemas.microsoft.com/office/drawing/2014/chart" uri="{C3380CC4-5D6E-409C-BE32-E72D297353CC}">
                <c16:uniqueId val="{00000A7D-26BF-40B0-8A43-EC10D791E60B}"/>
              </c:ext>
            </c:extLst>
          </c:dPt>
          <c:dPt>
            <c:idx val="1342"/>
            <c:invertIfNegative val="1"/>
            <c:bubble3D val="0"/>
            <c:spPr>
              <a:solidFill>
                <a:srgbClr val="AEABAB"/>
              </a:solidFill>
            </c:spPr>
            <c:extLst>
              <c:ext xmlns:c16="http://schemas.microsoft.com/office/drawing/2014/chart" uri="{C3380CC4-5D6E-409C-BE32-E72D297353CC}">
                <c16:uniqueId val="{00000A7F-26BF-40B0-8A43-EC10D791E60B}"/>
              </c:ext>
            </c:extLst>
          </c:dPt>
          <c:dPt>
            <c:idx val="1343"/>
            <c:invertIfNegative val="1"/>
            <c:bubble3D val="0"/>
            <c:spPr>
              <a:solidFill>
                <a:srgbClr val="AEABAB"/>
              </a:solidFill>
            </c:spPr>
            <c:extLst>
              <c:ext xmlns:c16="http://schemas.microsoft.com/office/drawing/2014/chart" uri="{C3380CC4-5D6E-409C-BE32-E72D297353CC}">
                <c16:uniqueId val="{00000A81-26BF-40B0-8A43-EC10D791E60B}"/>
              </c:ext>
            </c:extLst>
          </c:dPt>
          <c:dPt>
            <c:idx val="1344"/>
            <c:invertIfNegative val="1"/>
            <c:bubble3D val="0"/>
            <c:spPr>
              <a:solidFill>
                <a:srgbClr val="AEABAB"/>
              </a:solidFill>
            </c:spPr>
            <c:extLst>
              <c:ext xmlns:c16="http://schemas.microsoft.com/office/drawing/2014/chart" uri="{C3380CC4-5D6E-409C-BE32-E72D297353CC}">
                <c16:uniqueId val="{00000A83-26BF-40B0-8A43-EC10D791E60B}"/>
              </c:ext>
            </c:extLst>
          </c:dPt>
          <c:dPt>
            <c:idx val="1345"/>
            <c:invertIfNegative val="1"/>
            <c:bubble3D val="0"/>
            <c:spPr>
              <a:solidFill>
                <a:srgbClr val="AEABAB"/>
              </a:solidFill>
            </c:spPr>
            <c:extLst>
              <c:ext xmlns:c16="http://schemas.microsoft.com/office/drawing/2014/chart" uri="{C3380CC4-5D6E-409C-BE32-E72D297353CC}">
                <c16:uniqueId val="{00000A85-26BF-40B0-8A43-EC10D791E60B}"/>
              </c:ext>
            </c:extLst>
          </c:dPt>
          <c:dPt>
            <c:idx val="1346"/>
            <c:invertIfNegative val="1"/>
            <c:bubble3D val="0"/>
            <c:spPr>
              <a:solidFill>
                <a:srgbClr val="AEABAB"/>
              </a:solidFill>
            </c:spPr>
            <c:extLst>
              <c:ext xmlns:c16="http://schemas.microsoft.com/office/drawing/2014/chart" uri="{C3380CC4-5D6E-409C-BE32-E72D297353CC}">
                <c16:uniqueId val="{00000A87-26BF-40B0-8A43-EC10D791E60B}"/>
              </c:ext>
            </c:extLst>
          </c:dPt>
          <c:dPt>
            <c:idx val="1347"/>
            <c:invertIfNegative val="1"/>
            <c:bubble3D val="0"/>
            <c:spPr>
              <a:solidFill>
                <a:srgbClr val="AEABAB"/>
              </a:solidFill>
            </c:spPr>
            <c:extLst>
              <c:ext xmlns:c16="http://schemas.microsoft.com/office/drawing/2014/chart" uri="{C3380CC4-5D6E-409C-BE32-E72D297353CC}">
                <c16:uniqueId val="{00000A89-26BF-40B0-8A43-EC10D791E60B}"/>
              </c:ext>
            </c:extLst>
          </c:dPt>
          <c:dPt>
            <c:idx val="1348"/>
            <c:invertIfNegative val="1"/>
            <c:bubble3D val="0"/>
            <c:spPr>
              <a:solidFill>
                <a:srgbClr val="AEABAB"/>
              </a:solidFill>
            </c:spPr>
            <c:extLst>
              <c:ext xmlns:c16="http://schemas.microsoft.com/office/drawing/2014/chart" uri="{C3380CC4-5D6E-409C-BE32-E72D297353CC}">
                <c16:uniqueId val="{00000A8B-26BF-40B0-8A43-EC10D791E60B}"/>
              </c:ext>
            </c:extLst>
          </c:dPt>
          <c:dPt>
            <c:idx val="1349"/>
            <c:invertIfNegative val="1"/>
            <c:bubble3D val="0"/>
            <c:spPr>
              <a:solidFill>
                <a:srgbClr val="AEABAB"/>
              </a:solidFill>
            </c:spPr>
            <c:extLst>
              <c:ext xmlns:c16="http://schemas.microsoft.com/office/drawing/2014/chart" uri="{C3380CC4-5D6E-409C-BE32-E72D297353CC}">
                <c16:uniqueId val="{00000A8D-26BF-40B0-8A43-EC10D791E60B}"/>
              </c:ext>
            </c:extLst>
          </c:dPt>
          <c:dPt>
            <c:idx val="1350"/>
            <c:invertIfNegative val="1"/>
            <c:bubble3D val="0"/>
            <c:spPr>
              <a:solidFill>
                <a:srgbClr val="AEABAB"/>
              </a:solidFill>
            </c:spPr>
            <c:extLst>
              <c:ext xmlns:c16="http://schemas.microsoft.com/office/drawing/2014/chart" uri="{C3380CC4-5D6E-409C-BE32-E72D297353CC}">
                <c16:uniqueId val="{00000A8F-26BF-40B0-8A43-EC10D791E60B}"/>
              </c:ext>
            </c:extLst>
          </c:dPt>
          <c:dPt>
            <c:idx val="1351"/>
            <c:invertIfNegative val="1"/>
            <c:bubble3D val="0"/>
            <c:spPr>
              <a:solidFill>
                <a:srgbClr val="AEABAB"/>
              </a:solidFill>
            </c:spPr>
            <c:extLst>
              <c:ext xmlns:c16="http://schemas.microsoft.com/office/drawing/2014/chart" uri="{C3380CC4-5D6E-409C-BE32-E72D297353CC}">
                <c16:uniqueId val="{00000A91-26BF-40B0-8A43-EC10D791E60B}"/>
              </c:ext>
            </c:extLst>
          </c:dPt>
          <c:dPt>
            <c:idx val="1352"/>
            <c:invertIfNegative val="1"/>
            <c:bubble3D val="0"/>
            <c:spPr>
              <a:solidFill>
                <a:srgbClr val="AEABAB"/>
              </a:solidFill>
            </c:spPr>
            <c:extLst>
              <c:ext xmlns:c16="http://schemas.microsoft.com/office/drawing/2014/chart" uri="{C3380CC4-5D6E-409C-BE32-E72D297353CC}">
                <c16:uniqueId val="{00000A93-26BF-40B0-8A43-EC10D791E60B}"/>
              </c:ext>
            </c:extLst>
          </c:dPt>
          <c:dPt>
            <c:idx val="1353"/>
            <c:invertIfNegative val="1"/>
            <c:bubble3D val="0"/>
            <c:spPr>
              <a:solidFill>
                <a:srgbClr val="AEABAB"/>
              </a:solidFill>
            </c:spPr>
            <c:extLst>
              <c:ext xmlns:c16="http://schemas.microsoft.com/office/drawing/2014/chart" uri="{C3380CC4-5D6E-409C-BE32-E72D297353CC}">
                <c16:uniqueId val="{00000A95-26BF-40B0-8A43-EC10D791E60B}"/>
              </c:ext>
            </c:extLst>
          </c:dPt>
          <c:dPt>
            <c:idx val="1354"/>
            <c:invertIfNegative val="1"/>
            <c:bubble3D val="0"/>
            <c:spPr>
              <a:solidFill>
                <a:srgbClr val="AEABAB"/>
              </a:solidFill>
            </c:spPr>
            <c:extLst>
              <c:ext xmlns:c16="http://schemas.microsoft.com/office/drawing/2014/chart" uri="{C3380CC4-5D6E-409C-BE32-E72D297353CC}">
                <c16:uniqueId val="{00000A97-26BF-40B0-8A43-EC10D791E60B}"/>
              </c:ext>
            </c:extLst>
          </c:dPt>
          <c:dPt>
            <c:idx val="1355"/>
            <c:invertIfNegative val="1"/>
            <c:bubble3D val="0"/>
            <c:spPr>
              <a:solidFill>
                <a:srgbClr val="AEABAB"/>
              </a:solidFill>
            </c:spPr>
            <c:extLst>
              <c:ext xmlns:c16="http://schemas.microsoft.com/office/drawing/2014/chart" uri="{C3380CC4-5D6E-409C-BE32-E72D297353CC}">
                <c16:uniqueId val="{00000A99-26BF-40B0-8A43-EC10D791E60B}"/>
              </c:ext>
            </c:extLst>
          </c:dPt>
          <c:dPt>
            <c:idx val="1356"/>
            <c:invertIfNegative val="1"/>
            <c:bubble3D val="0"/>
            <c:spPr>
              <a:solidFill>
                <a:srgbClr val="AEABAB"/>
              </a:solidFill>
            </c:spPr>
            <c:extLst>
              <c:ext xmlns:c16="http://schemas.microsoft.com/office/drawing/2014/chart" uri="{C3380CC4-5D6E-409C-BE32-E72D297353CC}">
                <c16:uniqueId val="{00000A9B-26BF-40B0-8A43-EC10D791E60B}"/>
              </c:ext>
            </c:extLst>
          </c:dPt>
          <c:dPt>
            <c:idx val="1357"/>
            <c:invertIfNegative val="1"/>
            <c:bubble3D val="0"/>
            <c:spPr>
              <a:solidFill>
                <a:srgbClr val="AEABAB"/>
              </a:solidFill>
            </c:spPr>
            <c:extLst>
              <c:ext xmlns:c16="http://schemas.microsoft.com/office/drawing/2014/chart" uri="{C3380CC4-5D6E-409C-BE32-E72D297353CC}">
                <c16:uniqueId val="{00000A9D-26BF-40B0-8A43-EC10D791E60B}"/>
              </c:ext>
            </c:extLst>
          </c:dPt>
          <c:dPt>
            <c:idx val="1358"/>
            <c:invertIfNegative val="1"/>
            <c:bubble3D val="0"/>
            <c:spPr>
              <a:solidFill>
                <a:srgbClr val="AEABAB"/>
              </a:solidFill>
            </c:spPr>
            <c:extLst>
              <c:ext xmlns:c16="http://schemas.microsoft.com/office/drawing/2014/chart" uri="{C3380CC4-5D6E-409C-BE32-E72D297353CC}">
                <c16:uniqueId val="{00000A9F-26BF-40B0-8A43-EC10D791E60B}"/>
              </c:ext>
            </c:extLst>
          </c:dPt>
          <c:dPt>
            <c:idx val="1359"/>
            <c:invertIfNegative val="1"/>
            <c:bubble3D val="0"/>
            <c:spPr>
              <a:solidFill>
                <a:srgbClr val="AEABAB"/>
              </a:solidFill>
            </c:spPr>
            <c:extLst>
              <c:ext xmlns:c16="http://schemas.microsoft.com/office/drawing/2014/chart" uri="{C3380CC4-5D6E-409C-BE32-E72D297353CC}">
                <c16:uniqueId val="{00000AA1-26BF-40B0-8A43-EC10D791E60B}"/>
              </c:ext>
            </c:extLst>
          </c:dPt>
          <c:dPt>
            <c:idx val="1360"/>
            <c:invertIfNegative val="1"/>
            <c:bubble3D val="0"/>
            <c:spPr>
              <a:solidFill>
                <a:srgbClr val="AEABAB"/>
              </a:solidFill>
            </c:spPr>
            <c:extLst>
              <c:ext xmlns:c16="http://schemas.microsoft.com/office/drawing/2014/chart" uri="{C3380CC4-5D6E-409C-BE32-E72D297353CC}">
                <c16:uniqueId val="{00000AA3-26BF-40B0-8A43-EC10D791E60B}"/>
              </c:ext>
            </c:extLst>
          </c:dPt>
          <c:dPt>
            <c:idx val="1361"/>
            <c:invertIfNegative val="1"/>
            <c:bubble3D val="0"/>
            <c:spPr>
              <a:solidFill>
                <a:srgbClr val="AEABAB"/>
              </a:solidFill>
            </c:spPr>
            <c:extLst>
              <c:ext xmlns:c16="http://schemas.microsoft.com/office/drawing/2014/chart" uri="{C3380CC4-5D6E-409C-BE32-E72D297353CC}">
                <c16:uniqueId val="{00000AA5-26BF-40B0-8A43-EC10D791E60B}"/>
              </c:ext>
            </c:extLst>
          </c:dPt>
          <c:dPt>
            <c:idx val="1362"/>
            <c:invertIfNegative val="1"/>
            <c:bubble3D val="0"/>
            <c:spPr>
              <a:solidFill>
                <a:srgbClr val="AEABAB"/>
              </a:solidFill>
            </c:spPr>
            <c:extLst>
              <c:ext xmlns:c16="http://schemas.microsoft.com/office/drawing/2014/chart" uri="{C3380CC4-5D6E-409C-BE32-E72D297353CC}">
                <c16:uniqueId val="{00000AA7-26BF-40B0-8A43-EC10D791E60B}"/>
              </c:ext>
            </c:extLst>
          </c:dPt>
          <c:dPt>
            <c:idx val="1363"/>
            <c:invertIfNegative val="1"/>
            <c:bubble3D val="0"/>
            <c:spPr>
              <a:solidFill>
                <a:srgbClr val="AEABAB"/>
              </a:solidFill>
            </c:spPr>
            <c:extLst>
              <c:ext xmlns:c16="http://schemas.microsoft.com/office/drawing/2014/chart" uri="{C3380CC4-5D6E-409C-BE32-E72D297353CC}">
                <c16:uniqueId val="{00000AA9-26BF-40B0-8A43-EC10D791E60B}"/>
              </c:ext>
            </c:extLst>
          </c:dPt>
          <c:dPt>
            <c:idx val="1364"/>
            <c:invertIfNegative val="1"/>
            <c:bubble3D val="0"/>
            <c:spPr>
              <a:solidFill>
                <a:srgbClr val="AEABAB"/>
              </a:solidFill>
            </c:spPr>
            <c:extLst>
              <c:ext xmlns:c16="http://schemas.microsoft.com/office/drawing/2014/chart" uri="{C3380CC4-5D6E-409C-BE32-E72D297353CC}">
                <c16:uniqueId val="{00000AAB-26BF-40B0-8A43-EC10D791E60B}"/>
              </c:ext>
            </c:extLst>
          </c:dPt>
          <c:dPt>
            <c:idx val="1365"/>
            <c:invertIfNegative val="1"/>
            <c:bubble3D val="0"/>
            <c:spPr>
              <a:solidFill>
                <a:srgbClr val="AEABAB"/>
              </a:solidFill>
            </c:spPr>
            <c:extLst>
              <c:ext xmlns:c16="http://schemas.microsoft.com/office/drawing/2014/chart" uri="{C3380CC4-5D6E-409C-BE32-E72D297353CC}">
                <c16:uniqueId val="{00000AAD-26BF-40B0-8A43-EC10D791E60B}"/>
              </c:ext>
            </c:extLst>
          </c:dPt>
          <c:dPt>
            <c:idx val="1366"/>
            <c:invertIfNegative val="1"/>
            <c:bubble3D val="0"/>
            <c:spPr>
              <a:solidFill>
                <a:srgbClr val="AEABAB"/>
              </a:solidFill>
            </c:spPr>
            <c:extLst>
              <c:ext xmlns:c16="http://schemas.microsoft.com/office/drawing/2014/chart" uri="{C3380CC4-5D6E-409C-BE32-E72D297353CC}">
                <c16:uniqueId val="{00000AAF-26BF-40B0-8A43-EC10D791E60B}"/>
              </c:ext>
            </c:extLst>
          </c:dPt>
          <c:dPt>
            <c:idx val="1367"/>
            <c:invertIfNegative val="1"/>
            <c:bubble3D val="0"/>
            <c:spPr>
              <a:solidFill>
                <a:srgbClr val="AEABAB"/>
              </a:solidFill>
            </c:spPr>
            <c:extLst>
              <c:ext xmlns:c16="http://schemas.microsoft.com/office/drawing/2014/chart" uri="{C3380CC4-5D6E-409C-BE32-E72D297353CC}">
                <c16:uniqueId val="{00000AB1-26BF-40B0-8A43-EC10D791E60B}"/>
              </c:ext>
            </c:extLst>
          </c:dPt>
          <c:dPt>
            <c:idx val="1368"/>
            <c:invertIfNegative val="1"/>
            <c:bubble3D val="0"/>
            <c:spPr>
              <a:solidFill>
                <a:srgbClr val="AEABAB"/>
              </a:solidFill>
            </c:spPr>
            <c:extLst>
              <c:ext xmlns:c16="http://schemas.microsoft.com/office/drawing/2014/chart" uri="{C3380CC4-5D6E-409C-BE32-E72D297353CC}">
                <c16:uniqueId val="{00000AB3-26BF-40B0-8A43-EC10D791E60B}"/>
              </c:ext>
            </c:extLst>
          </c:dPt>
          <c:dPt>
            <c:idx val="1369"/>
            <c:invertIfNegative val="1"/>
            <c:bubble3D val="0"/>
            <c:spPr>
              <a:solidFill>
                <a:srgbClr val="AEABAB"/>
              </a:solidFill>
            </c:spPr>
            <c:extLst>
              <c:ext xmlns:c16="http://schemas.microsoft.com/office/drawing/2014/chart" uri="{C3380CC4-5D6E-409C-BE32-E72D297353CC}">
                <c16:uniqueId val="{00000AB5-26BF-40B0-8A43-EC10D791E60B}"/>
              </c:ext>
            </c:extLst>
          </c:dPt>
          <c:dPt>
            <c:idx val="1370"/>
            <c:invertIfNegative val="1"/>
            <c:bubble3D val="0"/>
            <c:spPr>
              <a:solidFill>
                <a:srgbClr val="AEABAB"/>
              </a:solidFill>
            </c:spPr>
            <c:extLst>
              <c:ext xmlns:c16="http://schemas.microsoft.com/office/drawing/2014/chart" uri="{C3380CC4-5D6E-409C-BE32-E72D297353CC}">
                <c16:uniqueId val="{00000AB7-26BF-40B0-8A43-EC10D791E60B}"/>
              </c:ext>
            </c:extLst>
          </c:dPt>
          <c:dPt>
            <c:idx val="1371"/>
            <c:invertIfNegative val="1"/>
            <c:bubble3D val="0"/>
            <c:spPr>
              <a:solidFill>
                <a:srgbClr val="AEABAB"/>
              </a:solidFill>
            </c:spPr>
            <c:extLst>
              <c:ext xmlns:c16="http://schemas.microsoft.com/office/drawing/2014/chart" uri="{C3380CC4-5D6E-409C-BE32-E72D297353CC}">
                <c16:uniqueId val="{00000AB9-26BF-40B0-8A43-EC10D791E60B}"/>
              </c:ext>
            </c:extLst>
          </c:dPt>
          <c:dPt>
            <c:idx val="1372"/>
            <c:invertIfNegative val="1"/>
            <c:bubble3D val="0"/>
            <c:spPr>
              <a:solidFill>
                <a:srgbClr val="AEABAB"/>
              </a:solidFill>
            </c:spPr>
            <c:extLst>
              <c:ext xmlns:c16="http://schemas.microsoft.com/office/drawing/2014/chart" uri="{C3380CC4-5D6E-409C-BE32-E72D297353CC}">
                <c16:uniqueId val="{00000ABB-26BF-40B0-8A43-EC10D791E60B}"/>
              </c:ext>
            </c:extLst>
          </c:dPt>
          <c:dPt>
            <c:idx val="1373"/>
            <c:invertIfNegative val="1"/>
            <c:bubble3D val="0"/>
            <c:spPr>
              <a:solidFill>
                <a:srgbClr val="AEABAB"/>
              </a:solidFill>
            </c:spPr>
            <c:extLst>
              <c:ext xmlns:c16="http://schemas.microsoft.com/office/drawing/2014/chart" uri="{C3380CC4-5D6E-409C-BE32-E72D297353CC}">
                <c16:uniqueId val="{00000ABD-26BF-40B0-8A43-EC10D791E60B}"/>
              </c:ext>
            </c:extLst>
          </c:dPt>
          <c:dPt>
            <c:idx val="1374"/>
            <c:invertIfNegative val="1"/>
            <c:bubble3D val="0"/>
            <c:spPr>
              <a:solidFill>
                <a:srgbClr val="AEABAB"/>
              </a:solidFill>
            </c:spPr>
            <c:extLst>
              <c:ext xmlns:c16="http://schemas.microsoft.com/office/drawing/2014/chart" uri="{C3380CC4-5D6E-409C-BE32-E72D297353CC}">
                <c16:uniqueId val="{00000ABF-26BF-40B0-8A43-EC10D791E60B}"/>
              </c:ext>
            </c:extLst>
          </c:dPt>
          <c:dPt>
            <c:idx val="1375"/>
            <c:invertIfNegative val="1"/>
            <c:bubble3D val="0"/>
            <c:spPr>
              <a:solidFill>
                <a:srgbClr val="AEABAB"/>
              </a:solidFill>
            </c:spPr>
            <c:extLst>
              <c:ext xmlns:c16="http://schemas.microsoft.com/office/drawing/2014/chart" uri="{C3380CC4-5D6E-409C-BE32-E72D297353CC}">
                <c16:uniqueId val="{00000AC1-26BF-40B0-8A43-EC10D791E60B}"/>
              </c:ext>
            </c:extLst>
          </c:dPt>
          <c:dPt>
            <c:idx val="1376"/>
            <c:invertIfNegative val="1"/>
            <c:bubble3D val="0"/>
            <c:spPr>
              <a:solidFill>
                <a:srgbClr val="AEABAB"/>
              </a:solidFill>
            </c:spPr>
            <c:extLst>
              <c:ext xmlns:c16="http://schemas.microsoft.com/office/drawing/2014/chart" uri="{C3380CC4-5D6E-409C-BE32-E72D297353CC}">
                <c16:uniqueId val="{00000AC3-26BF-40B0-8A43-EC10D791E60B}"/>
              </c:ext>
            </c:extLst>
          </c:dPt>
          <c:dPt>
            <c:idx val="1377"/>
            <c:invertIfNegative val="1"/>
            <c:bubble3D val="0"/>
            <c:spPr>
              <a:solidFill>
                <a:srgbClr val="AEABAB"/>
              </a:solidFill>
            </c:spPr>
            <c:extLst>
              <c:ext xmlns:c16="http://schemas.microsoft.com/office/drawing/2014/chart" uri="{C3380CC4-5D6E-409C-BE32-E72D297353CC}">
                <c16:uniqueId val="{00000AC5-26BF-40B0-8A43-EC10D791E60B}"/>
              </c:ext>
            </c:extLst>
          </c:dPt>
          <c:dPt>
            <c:idx val="1378"/>
            <c:invertIfNegative val="1"/>
            <c:bubble3D val="0"/>
            <c:spPr>
              <a:solidFill>
                <a:srgbClr val="AEABAB"/>
              </a:solidFill>
            </c:spPr>
            <c:extLst>
              <c:ext xmlns:c16="http://schemas.microsoft.com/office/drawing/2014/chart" uri="{C3380CC4-5D6E-409C-BE32-E72D297353CC}">
                <c16:uniqueId val="{00000AC7-26BF-40B0-8A43-EC10D791E60B}"/>
              </c:ext>
            </c:extLst>
          </c:dPt>
          <c:dPt>
            <c:idx val="1379"/>
            <c:invertIfNegative val="1"/>
            <c:bubble3D val="0"/>
            <c:spPr>
              <a:solidFill>
                <a:srgbClr val="AEABAB"/>
              </a:solidFill>
            </c:spPr>
            <c:extLst>
              <c:ext xmlns:c16="http://schemas.microsoft.com/office/drawing/2014/chart" uri="{C3380CC4-5D6E-409C-BE32-E72D297353CC}">
                <c16:uniqueId val="{00000AC9-26BF-40B0-8A43-EC10D791E60B}"/>
              </c:ext>
            </c:extLst>
          </c:dPt>
          <c:dPt>
            <c:idx val="1380"/>
            <c:invertIfNegative val="1"/>
            <c:bubble3D val="0"/>
            <c:spPr>
              <a:solidFill>
                <a:srgbClr val="AEABAB"/>
              </a:solidFill>
            </c:spPr>
            <c:extLst>
              <c:ext xmlns:c16="http://schemas.microsoft.com/office/drawing/2014/chart" uri="{C3380CC4-5D6E-409C-BE32-E72D297353CC}">
                <c16:uniqueId val="{00000ACB-26BF-40B0-8A43-EC10D791E60B}"/>
              </c:ext>
            </c:extLst>
          </c:dPt>
          <c:dPt>
            <c:idx val="1381"/>
            <c:invertIfNegative val="1"/>
            <c:bubble3D val="0"/>
            <c:spPr>
              <a:solidFill>
                <a:srgbClr val="AEABAB"/>
              </a:solidFill>
            </c:spPr>
            <c:extLst>
              <c:ext xmlns:c16="http://schemas.microsoft.com/office/drawing/2014/chart" uri="{C3380CC4-5D6E-409C-BE32-E72D297353CC}">
                <c16:uniqueId val="{00000ACD-26BF-40B0-8A43-EC10D791E60B}"/>
              </c:ext>
            </c:extLst>
          </c:dPt>
          <c:dPt>
            <c:idx val="1382"/>
            <c:invertIfNegative val="1"/>
            <c:bubble3D val="0"/>
            <c:spPr>
              <a:solidFill>
                <a:srgbClr val="AEABAB"/>
              </a:solidFill>
            </c:spPr>
            <c:extLst>
              <c:ext xmlns:c16="http://schemas.microsoft.com/office/drawing/2014/chart" uri="{C3380CC4-5D6E-409C-BE32-E72D297353CC}">
                <c16:uniqueId val="{00000ACF-26BF-40B0-8A43-EC10D791E60B}"/>
              </c:ext>
            </c:extLst>
          </c:dPt>
          <c:dPt>
            <c:idx val="1383"/>
            <c:invertIfNegative val="1"/>
            <c:bubble3D val="0"/>
            <c:spPr>
              <a:solidFill>
                <a:srgbClr val="AEABAB"/>
              </a:solidFill>
            </c:spPr>
            <c:extLst>
              <c:ext xmlns:c16="http://schemas.microsoft.com/office/drawing/2014/chart" uri="{C3380CC4-5D6E-409C-BE32-E72D297353CC}">
                <c16:uniqueId val="{00000AD1-26BF-40B0-8A43-EC10D791E60B}"/>
              </c:ext>
            </c:extLst>
          </c:dPt>
          <c:dPt>
            <c:idx val="1384"/>
            <c:invertIfNegative val="1"/>
            <c:bubble3D val="0"/>
            <c:spPr>
              <a:solidFill>
                <a:srgbClr val="AEABAB"/>
              </a:solidFill>
            </c:spPr>
            <c:extLst>
              <c:ext xmlns:c16="http://schemas.microsoft.com/office/drawing/2014/chart" uri="{C3380CC4-5D6E-409C-BE32-E72D297353CC}">
                <c16:uniqueId val="{00000AD3-26BF-40B0-8A43-EC10D791E60B}"/>
              </c:ext>
            </c:extLst>
          </c:dPt>
          <c:dPt>
            <c:idx val="1385"/>
            <c:invertIfNegative val="1"/>
            <c:bubble3D val="0"/>
            <c:spPr>
              <a:solidFill>
                <a:srgbClr val="AEABAB"/>
              </a:solidFill>
            </c:spPr>
            <c:extLst>
              <c:ext xmlns:c16="http://schemas.microsoft.com/office/drawing/2014/chart" uri="{C3380CC4-5D6E-409C-BE32-E72D297353CC}">
                <c16:uniqueId val="{00000AD5-26BF-40B0-8A43-EC10D791E60B}"/>
              </c:ext>
            </c:extLst>
          </c:dPt>
          <c:dPt>
            <c:idx val="1386"/>
            <c:invertIfNegative val="1"/>
            <c:bubble3D val="0"/>
            <c:spPr>
              <a:solidFill>
                <a:srgbClr val="AEABAB"/>
              </a:solidFill>
            </c:spPr>
            <c:extLst>
              <c:ext xmlns:c16="http://schemas.microsoft.com/office/drawing/2014/chart" uri="{C3380CC4-5D6E-409C-BE32-E72D297353CC}">
                <c16:uniqueId val="{00000AD7-26BF-40B0-8A43-EC10D791E60B}"/>
              </c:ext>
            </c:extLst>
          </c:dPt>
          <c:dPt>
            <c:idx val="1387"/>
            <c:invertIfNegative val="1"/>
            <c:bubble3D val="0"/>
            <c:spPr>
              <a:solidFill>
                <a:srgbClr val="AEABAB"/>
              </a:solidFill>
            </c:spPr>
            <c:extLst>
              <c:ext xmlns:c16="http://schemas.microsoft.com/office/drawing/2014/chart" uri="{C3380CC4-5D6E-409C-BE32-E72D297353CC}">
                <c16:uniqueId val="{00000AD9-26BF-40B0-8A43-EC10D791E60B}"/>
              </c:ext>
            </c:extLst>
          </c:dPt>
          <c:dPt>
            <c:idx val="1388"/>
            <c:invertIfNegative val="1"/>
            <c:bubble3D val="0"/>
            <c:spPr>
              <a:solidFill>
                <a:srgbClr val="AEABAB"/>
              </a:solidFill>
            </c:spPr>
            <c:extLst>
              <c:ext xmlns:c16="http://schemas.microsoft.com/office/drawing/2014/chart" uri="{C3380CC4-5D6E-409C-BE32-E72D297353CC}">
                <c16:uniqueId val="{00000ADB-26BF-40B0-8A43-EC10D791E60B}"/>
              </c:ext>
            </c:extLst>
          </c:dPt>
          <c:dPt>
            <c:idx val="1389"/>
            <c:invertIfNegative val="1"/>
            <c:bubble3D val="0"/>
            <c:spPr>
              <a:solidFill>
                <a:srgbClr val="AEABAB"/>
              </a:solidFill>
            </c:spPr>
            <c:extLst>
              <c:ext xmlns:c16="http://schemas.microsoft.com/office/drawing/2014/chart" uri="{C3380CC4-5D6E-409C-BE32-E72D297353CC}">
                <c16:uniqueId val="{00000ADD-26BF-40B0-8A43-EC10D791E60B}"/>
              </c:ext>
            </c:extLst>
          </c:dPt>
          <c:dPt>
            <c:idx val="1390"/>
            <c:invertIfNegative val="1"/>
            <c:bubble3D val="0"/>
            <c:spPr>
              <a:solidFill>
                <a:srgbClr val="AEABAB"/>
              </a:solidFill>
            </c:spPr>
            <c:extLst>
              <c:ext xmlns:c16="http://schemas.microsoft.com/office/drawing/2014/chart" uri="{C3380CC4-5D6E-409C-BE32-E72D297353CC}">
                <c16:uniqueId val="{00000ADF-26BF-40B0-8A43-EC10D791E60B}"/>
              </c:ext>
            </c:extLst>
          </c:dPt>
          <c:dPt>
            <c:idx val="1391"/>
            <c:invertIfNegative val="1"/>
            <c:bubble3D val="0"/>
            <c:spPr>
              <a:solidFill>
                <a:srgbClr val="AEABAB"/>
              </a:solidFill>
            </c:spPr>
            <c:extLst>
              <c:ext xmlns:c16="http://schemas.microsoft.com/office/drawing/2014/chart" uri="{C3380CC4-5D6E-409C-BE32-E72D297353CC}">
                <c16:uniqueId val="{00000AE1-26BF-40B0-8A43-EC10D791E60B}"/>
              </c:ext>
            </c:extLst>
          </c:dPt>
          <c:dPt>
            <c:idx val="1392"/>
            <c:invertIfNegative val="1"/>
            <c:bubble3D val="0"/>
            <c:spPr>
              <a:solidFill>
                <a:srgbClr val="AEABAB"/>
              </a:solidFill>
            </c:spPr>
            <c:extLst>
              <c:ext xmlns:c16="http://schemas.microsoft.com/office/drawing/2014/chart" uri="{C3380CC4-5D6E-409C-BE32-E72D297353CC}">
                <c16:uniqueId val="{00000AE3-26BF-40B0-8A43-EC10D791E60B}"/>
              </c:ext>
            </c:extLst>
          </c:dPt>
          <c:dPt>
            <c:idx val="1393"/>
            <c:invertIfNegative val="1"/>
            <c:bubble3D val="0"/>
            <c:spPr>
              <a:solidFill>
                <a:srgbClr val="AEABAB"/>
              </a:solidFill>
            </c:spPr>
            <c:extLst>
              <c:ext xmlns:c16="http://schemas.microsoft.com/office/drawing/2014/chart" uri="{C3380CC4-5D6E-409C-BE32-E72D297353CC}">
                <c16:uniqueId val="{00000AE5-26BF-40B0-8A43-EC10D791E60B}"/>
              </c:ext>
            </c:extLst>
          </c:dPt>
          <c:dPt>
            <c:idx val="1394"/>
            <c:invertIfNegative val="1"/>
            <c:bubble3D val="0"/>
            <c:spPr>
              <a:solidFill>
                <a:srgbClr val="AEABAB"/>
              </a:solidFill>
            </c:spPr>
            <c:extLst>
              <c:ext xmlns:c16="http://schemas.microsoft.com/office/drawing/2014/chart" uri="{C3380CC4-5D6E-409C-BE32-E72D297353CC}">
                <c16:uniqueId val="{00000AE7-26BF-40B0-8A43-EC10D791E60B}"/>
              </c:ext>
            </c:extLst>
          </c:dPt>
          <c:dPt>
            <c:idx val="1395"/>
            <c:invertIfNegative val="1"/>
            <c:bubble3D val="0"/>
            <c:spPr>
              <a:solidFill>
                <a:srgbClr val="AEABAB"/>
              </a:solidFill>
            </c:spPr>
            <c:extLst>
              <c:ext xmlns:c16="http://schemas.microsoft.com/office/drawing/2014/chart" uri="{C3380CC4-5D6E-409C-BE32-E72D297353CC}">
                <c16:uniqueId val="{00000AE9-26BF-40B0-8A43-EC10D791E60B}"/>
              </c:ext>
            </c:extLst>
          </c:dPt>
          <c:dPt>
            <c:idx val="1396"/>
            <c:invertIfNegative val="1"/>
            <c:bubble3D val="0"/>
            <c:spPr>
              <a:solidFill>
                <a:srgbClr val="AEABAB"/>
              </a:solidFill>
            </c:spPr>
            <c:extLst>
              <c:ext xmlns:c16="http://schemas.microsoft.com/office/drawing/2014/chart" uri="{C3380CC4-5D6E-409C-BE32-E72D297353CC}">
                <c16:uniqueId val="{00000AEB-26BF-40B0-8A43-EC10D791E60B}"/>
              </c:ext>
            </c:extLst>
          </c:dPt>
          <c:dPt>
            <c:idx val="1397"/>
            <c:invertIfNegative val="1"/>
            <c:bubble3D val="0"/>
            <c:spPr>
              <a:solidFill>
                <a:srgbClr val="AEABAB"/>
              </a:solidFill>
            </c:spPr>
            <c:extLst>
              <c:ext xmlns:c16="http://schemas.microsoft.com/office/drawing/2014/chart" uri="{C3380CC4-5D6E-409C-BE32-E72D297353CC}">
                <c16:uniqueId val="{00000AED-26BF-40B0-8A43-EC10D791E60B}"/>
              </c:ext>
            </c:extLst>
          </c:dPt>
          <c:dPt>
            <c:idx val="1398"/>
            <c:invertIfNegative val="1"/>
            <c:bubble3D val="0"/>
            <c:spPr>
              <a:solidFill>
                <a:srgbClr val="AEABAB"/>
              </a:solidFill>
            </c:spPr>
            <c:extLst>
              <c:ext xmlns:c16="http://schemas.microsoft.com/office/drawing/2014/chart" uri="{C3380CC4-5D6E-409C-BE32-E72D297353CC}">
                <c16:uniqueId val="{00000AEF-26BF-40B0-8A43-EC10D791E60B}"/>
              </c:ext>
            </c:extLst>
          </c:dPt>
          <c:dPt>
            <c:idx val="1399"/>
            <c:invertIfNegative val="1"/>
            <c:bubble3D val="0"/>
            <c:spPr>
              <a:solidFill>
                <a:srgbClr val="AEABAB"/>
              </a:solidFill>
            </c:spPr>
            <c:extLst>
              <c:ext xmlns:c16="http://schemas.microsoft.com/office/drawing/2014/chart" uri="{C3380CC4-5D6E-409C-BE32-E72D297353CC}">
                <c16:uniqueId val="{00000AF1-26BF-40B0-8A43-EC10D791E60B}"/>
              </c:ext>
            </c:extLst>
          </c:dPt>
          <c:dPt>
            <c:idx val="1400"/>
            <c:invertIfNegative val="1"/>
            <c:bubble3D val="0"/>
            <c:spPr>
              <a:solidFill>
                <a:srgbClr val="AEABAB"/>
              </a:solidFill>
            </c:spPr>
            <c:extLst>
              <c:ext xmlns:c16="http://schemas.microsoft.com/office/drawing/2014/chart" uri="{C3380CC4-5D6E-409C-BE32-E72D297353CC}">
                <c16:uniqueId val="{00000AF3-26BF-40B0-8A43-EC10D791E60B}"/>
              </c:ext>
            </c:extLst>
          </c:dPt>
          <c:dPt>
            <c:idx val="1401"/>
            <c:invertIfNegative val="1"/>
            <c:bubble3D val="0"/>
            <c:spPr>
              <a:solidFill>
                <a:srgbClr val="AEABAB"/>
              </a:solidFill>
            </c:spPr>
            <c:extLst>
              <c:ext xmlns:c16="http://schemas.microsoft.com/office/drawing/2014/chart" uri="{C3380CC4-5D6E-409C-BE32-E72D297353CC}">
                <c16:uniqueId val="{00000AF5-26BF-40B0-8A43-EC10D791E60B}"/>
              </c:ext>
            </c:extLst>
          </c:dPt>
          <c:dPt>
            <c:idx val="1402"/>
            <c:invertIfNegative val="1"/>
            <c:bubble3D val="0"/>
            <c:spPr>
              <a:solidFill>
                <a:srgbClr val="AEABAB"/>
              </a:solidFill>
            </c:spPr>
            <c:extLst>
              <c:ext xmlns:c16="http://schemas.microsoft.com/office/drawing/2014/chart" uri="{C3380CC4-5D6E-409C-BE32-E72D297353CC}">
                <c16:uniqueId val="{00000AF7-26BF-40B0-8A43-EC10D791E60B}"/>
              </c:ext>
            </c:extLst>
          </c:dPt>
          <c:dPt>
            <c:idx val="1403"/>
            <c:invertIfNegative val="1"/>
            <c:bubble3D val="0"/>
            <c:spPr>
              <a:solidFill>
                <a:srgbClr val="AEABAB"/>
              </a:solidFill>
            </c:spPr>
            <c:extLst>
              <c:ext xmlns:c16="http://schemas.microsoft.com/office/drawing/2014/chart" uri="{C3380CC4-5D6E-409C-BE32-E72D297353CC}">
                <c16:uniqueId val="{00000AF9-26BF-40B0-8A43-EC10D791E60B}"/>
              </c:ext>
            </c:extLst>
          </c:dPt>
          <c:dPt>
            <c:idx val="1404"/>
            <c:invertIfNegative val="1"/>
            <c:bubble3D val="0"/>
            <c:spPr>
              <a:solidFill>
                <a:srgbClr val="AEABAB"/>
              </a:solidFill>
            </c:spPr>
            <c:extLst>
              <c:ext xmlns:c16="http://schemas.microsoft.com/office/drawing/2014/chart" uri="{C3380CC4-5D6E-409C-BE32-E72D297353CC}">
                <c16:uniqueId val="{00000AFB-26BF-40B0-8A43-EC10D791E60B}"/>
              </c:ext>
            </c:extLst>
          </c:dPt>
          <c:dPt>
            <c:idx val="1405"/>
            <c:invertIfNegative val="1"/>
            <c:bubble3D val="0"/>
            <c:spPr>
              <a:solidFill>
                <a:srgbClr val="AEABAB"/>
              </a:solidFill>
            </c:spPr>
            <c:extLst>
              <c:ext xmlns:c16="http://schemas.microsoft.com/office/drawing/2014/chart" uri="{C3380CC4-5D6E-409C-BE32-E72D297353CC}">
                <c16:uniqueId val="{00000AFD-26BF-40B0-8A43-EC10D791E60B}"/>
              </c:ext>
            </c:extLst>
          </c:dPt>
          <c:dPt>
            <c:idx val="1406"/>
            <c:invertIfNegative val="1"/>
            <c:bubble3D val="0"/>
            <c:spPr>
              <a:solidFill>
                <a:srgbClr val="AEABAB"/>
              </a:solidFill>
            </c:spPr>
            <c:extLst>
              <c:ext xmlns:c16="http://schemas.microsoft.com/office/drawing/2014/chart" uri="{C3380CC4-5D6E-409C-BE32-E72D297353CC}">
                <c16:uniqueId val="{00000AFF-26BF-40B0-8A43-EC10D791E60B}"/>
              </c:ext>
            </c:extLst>
          </c:dPt>
          <c:dPt>
            <c:idx val="1407"/>
            <c:invertIfNegative val="1"/>
            <c:bubble3D val="0"/>
            <c:spPr>
              <a:solidFill>
                <a:srgbClr val="AEABAB"/>
              </a:solidFill>
            </c:spPr>
            <c:extLst>
              <c:ext xmlns:c16="http://schemas.microsoft.com/office/drawing/2014/chart" uri="{C3380CC4-5D6E-409C-BE32-E72D297353CC}">
                <c16:uniqueId val="{00000B01-26BF-40B0-8A43-EC10D791E60B}"/>
              </c:ext>
            </c:extLst>
          </c:dPt>
          <c:dPt>
            <c:idx val="1408"/>
            <c:invertIfNegative val="1"/>
            <c:bubble3D val="0"/>
            <c:spPr>
              <a:solidFill>
                <a:srgbClr val="AEABAB"/>
              </a:solidFill>
            </c:spPr>
            <c:extLst>
              <c:ext xmlns:c16="http://schemas.microsoft.com/office/drawing/2014/chart" uri="{C3380CC4-5D6E-409C-BE32-E72D297353CC}">
                <c16:uniqueId val="{00000B03-26BF-40B0-8A43-EC10D791E60B}"/>
              </c:ext>
            </c:extLst>
          </c:dPt>
          <c:dPt>
            <c:idx val="1409"/>
            <c:invertIfNegative val="1"/>
            <c:bubble3D val="0"/>
            <c:spPr>
              <a:solidFill>
                <a:srgbClr val="AEABAB"/>
              </a:solidFill>
            </c:spPr>
            <c:extLst>
              <c:ext xmlns:c16="http://schemas.microsoft.com/office/drawing/2014/chart" uri="{C3380CC4-5D6E-409C-BE32-E72D297353CC}">
                <c16:uniqueId val="{00000B05-26BF-40B0-8A43-EC10D791E60B}"/>
              </c:ext>
            </c:extLst>
          </c:dPt>
          <c:dPt>
            <c:idx val="1410"/>
            <c:invertIfNegative val="1"/>
            <c:bubble3D val="0"/>
            <c:spPr>
              <a:solidFill>
                <a:srgbClr val="AEABAB"/>
              </a:solidFill>
            </c:spPr>
            <c:extLst>
              <c:ext xmlns:c16="http://schemas.microsoft.com/office/drawing/2014/chart" uri="{C3380CC4-5D6E-409C-BE32-E72D297353CC}">
                <c16:uniqueId val="{00000B07-26BF-40B0-8A43-EC10D791E60B}"/>
              </c:ext>
            </c:extLst>
          </c:dPt>
          <c:dPt>
            <c:idx val="1411"/>
            <c:invertIfNegative val="1"/>
            <c:bubble3D val="0"/>
            <c:spPr>
              <a:solidFill>
                <a:srgbClr val="AEABAB"/>
              </a:solidFill>
            </c:spPr>
            <c:extLst>
              <c:ext xmlns:c16="http://schemas.microsoft.com/office/drawing/2014/chart" uri="{C3380CC4-5D6E-409C-BE32-E72D297353CC}">
                <c16:uniqueId val="{00000B09-26BF-40B0-8A43-EC10D791E60B}"/>
              </c:ext>
            </c:extLst>
          </c:dPt>
          <c:dPt>
            <c:idx val="1412"/>
            <c:invertIfNegative val="1"/>
            <c:bubble3D val="0"/>
            <c:spPr>
              <a:solidFill>
                <a:srgbClr val="AEABAB"/>
              </a:solidFill>
            </c:spPr>
            <c:extLst>
              <c:ext xmlns:c16="http://schemas.microsoft.com/office/drawing/2014/chart" uri="{C3380CC4-5D6E-409C-BE32-E72D297353CC}">
                <c16:uniqueId val="{00000B0B-26BF-40B0-8A43-EC10D791E60B}"/>
              </c:ext>
            </c:extLst>
          </c:dPt>
          <c:dPt>
            <c:idx val="1413"/>
            <c:invertIfNegative val="1"/>
            <c:bubble3D val="0"/>
            <c:spPr>
              <a:solidFill>
                <a:srgbClr val="AEABAB"/>
              </a:solidFill>
            </c:spPr>
            <c:extLst>
              <c:ext xmlns:c16="http://schemas.microsoft.com/office/drawing/2014/chart" uri="{C3380CC4-5D6E-409C-BE32-E72D297353CC}">
                <c16:uniqueId val="{00000B0D-26BF-40B0-8A43-EC10D791E60B}"/>
              </c:ext>
            </c:extLst>
          </c:dPt>
          <c:dPt>
            <c:idx val="1414"/>
            <c:invertIfNegative val="1"/>
            <c:bubble3D val="0"/>
            <c:spPr>
              <a:solidFill>
                <a:srgbClr val="AEABAB"/>
              </a:solidFill>
            </c:spPr>
            <c:extLst>
              <c:ext xmlns:c16="http://schemas.microsoft.com/office/drawing/2014/chart" uri="{C3380CC4-5D6E-409C-BE32-E72D297353CC}">
                <c16:uniqueId val="{00000B0F-26BF-40B0-8A43-EC10D791E60B}"/>
              </c:ext>
            </c:extLst>
          </c:dPt>
          <c:dPt>
            <c:idx val="1415"/>
            <c:invertIfNegative val="1"/>
            <c:bubble3D val="0"/>
            <c:spPr>
              <a:solidFill>
                <a:srgbClr val="AEABAB"/>
              </a:solidFill>
            </c:spPr>
            <c:extLst>
              <c:ext xmlns:c16="http://schemas.microsoft.com/office/drawing/2014/chart" uri="{C3380CC4-5D6E-409C-BE32-E72D297353CC}">
                <c16:uniqueId val="{00000B11-26BF-40B0-8A43-EC10D791E60B}"/>
              </c:ext>
            </c:extLst>
          </c:dPt>
          <c:dPt>
            <c:idx val="1416"/>
            <c:invertIfNegative val="1"/>
            <c:bubble3D val="0"/>
            <c:spPr>
              <a:solidFill>
                <a:srgbClr val="AEABAB"/>
              </a:solidFill>
            </c:spPr>
            <c:extLst>
              <c:ext xmlns:c16="http://schemas.microsoft.com/office/drawing/2014/chart" uri="{C3380CC4-5D6E-409C-BE32-E72D297353CC}">
                <c16:uniqueId val="{00000B13-26BF-40B0-8A43-EC10D791E60B}"/>
              </c:ext>
            </c:extLst>
          </c:dPt>
          <c:dPt>
            <c:idx val="1417"/>
            <c:invertIfNegative val="1"/>
            <c:bubble3D val="0"/>
            <c:spPr>
              <a:solidFill>
                <a:srgbClr val="AEABAB"/>
              </a:solidFill>
            </c:spPr>
            <c:extLst>
              <c:ext xmlns:c16="http://schemas.microsoft.com/office/drawing/2014/chart" uri="{C3380CC4-5D6E-409C-BE32-E72D297353CC}">
                <c16:uniqueId val="{00000B15-26BF-40B0-8A43-EC10D791E60B}"/>
              </c:ext>
            </c:extLst>
          </c:dPt>
          <c:dPt>
            <c:idx val="1418"/>
            <c:invertIfNegative val="1"/>
            <c:bubble3D val="0"/>
            <c:spPr>
              <a:solidFill>
                <a:srgbClr val="AEABAB"/>
              </a:solidFill>
            </c:spPr>
            <c:extLst>
              <c:ext xmlns:c16="http://schemas.microsoft.com/office/drawing/2014/chart" uri="{C3380CC4-5D6E-409C-BE32-E72D297353CC}">
                <c16:uniqueId val="{00000B17-26BF-40B0-8A43-EC10D791E60B}"/>
              </c:ext>
            </c:extLst>
          </c:dPt>
          <c:dPt>
            <c:idx val="1419"/>
            <c:invertIfNegative val="1"/>
            <c:bubble3D val="0"/>
            <c:spPr>
              <a:solidFill>
                <a:srgbClr val="AEABAB"/>
              </a:solidFill>
            </c:spPr>
            <c:extLst>
              <c:ext xmlns:c16="http://schemas.microsoft.com/office/drawing/2014/chart" uri="{C3380CC4-5D6E-409C-BE32-E72D297353CC}">
                <c16:uniqueId val="{00000B19-26BF-40B0-8A43-EC10D791E60B}"/>
              </c:ext>
            </c:extLst>
          </c:dPt>
          <c:dPt>
            <c:idx val="1420"/>
            <c:invertIfNegative val="1"/>
            <c:bubble3D val="0"/>
            <c:spPr>
              <a:solidFill>
                <a:srgbClr val="AEABAB"/>
              </a:solidFill>
            </c:spPr>
            <c:extLst>
              <c:ext xmlns:c16="http://schemas.microsoft.com/office/drawing/2014/chart" uri="{C3380CC4-5D6E-409C-BE32-E72D297353CC}">
                <c16:uniqueId val="{00000B1B-26BF-40B0-8A43-EC10D791E60B}"/>
              </c:ext>
            </c:extLst>
          </c:dPt>
          <c:dPt>
            <c:idx val="1421"/>
            <c:invertIfNegative val="1"/>
            <c:bubble3D val="0"/>
            <c:spPr>
              <a:solidFill>
                <a:srgbClr val="AEABAB"/>
              </a:solidFill>
            </c:spPr>
            <c:extLst>
              <c:ext xmlns:c16="http://schemas.microsoft.com/office/drawing/2014/chart" uri="{C3380CC4-5D6E-409C-BE32-E72D297353CC}">
                <c16:uniqueId val="{00000B1D-26BF-40B0-8A43-EC10D791E60B}"/>
              </c:ext>
            </c:extLst>
          </c:dPt>
          <c:dPt>
            <c:idx val="1422"/>
            <c:invertIfNegative val="1"/>
            <c:bubble3D val="0"/>
            <c:spPr>
              <a:solidFill>
                <a:srgbClr val="AEABAB"/>
              </a:solidFill>
            </c:spPr>
            <c:extLst>
              <c:ext xmlns:c16="http://schemas.microsoft.com/office/drawing/2014/chart" uri="{C3380CC4-5D6E-409C-BE32-E72D297353CC}">
                <c16:uniqueId val="{00000B1F-26BF-40B0-8A43-EC10D791E60B}"/>
              </c:ext>
            </c:extLst>
          </c:dPt>
          <c:dPt>
            <c:idx val="1423"/>
            <c:invertIfNegative val="1"/>
            <c:bubble3D val="0"/>
            <c:spPr>
              <a:solidFill>
                <a:srgbClr val="AEABAB"/>
              </a:solidFill>
            </c:spPr>
            <c:extLst>
              <c:ext xmlns:c16="http://schemas.microsoft.com/office/drawing/2014/chart" uri="{C3380CC4-5D6E-409C-BE32-E72D297353CC}">
                <c16:uniqueId val="{00000B21-26BF-40B0-8A43-EC10D791E60B}"/>
              </c:ext>
            </c:extLst>
          </c:dPt>
          <c:dPt>
            <c:idx val="1424"/>
            <c:invertIfNegative val="1"/>
            <c:bubble3D val="0"/>
            <c:spPr>
              <a:solidFill>
                <a:srgbClr val="AEABAB"/>
              </a:solidFill>
            </c:spPr>
            <c:extLst>
              <c:ext xmlns:c16="http://schemas.microsoft.com/office/drawing/2014/chart" uri="{C3380CC4-5D6E-409C-BE32-E72D297353CC}">
                <c16:uniqueId val="{00000B23-26BF-40B0-8A43-EC10D791E60B}"/>
              </c:ext>
            </c:extLst>
          </c:dPt>
          <c:dPt>
            <c:idx val="1425"/>
            <c:invertIfNegative val="1"/>
            <c:bubble3D val="0"/>
            <c:spPr>
              <a:solidFill>
                <a:srgbClr val="AEABAB"/>
              </a:solidFill>
            </c:spPr>
            <c:extLst>
              <c:ext xmlns:c16="http://schemas.microsoft.com/office/drawing/2014/chart" uri="{C3380CC4-5D6E-409C-BE32-E72D297353CC}">
                <c16:uniqueId val="{00000B25-26BF-40B0-8A43-EC10D791E60B}"/>
              </c:ext>
            </c:extLst>
          </c:dPt>
          <c:dPt>
            <c:idx val="1426"/>
            <c:invertIfNegative val="1"/>
            <c:bubble3D val="0"/>
            <c:spPr>
              <a:solidFill>
                <a:srgbClr val="AEABAB"/>
              </a:solidFill>
            </c:spPr>
            <c:extLst>
              <c:ext xmlns:c16="http://schemas.microsoft.com/office/drawing/2014/chart" uri="{C3380CC4-5D6E-409C-BE32-E72D297353CC}">
                <c16:uniqueId val="{00000B27-26BF-40B0-8A43-EC10D791E60B}"/>
              </c:ext>
            </c:extLst>
          </c:dPt>
          <c:dPt>
            <c:idx val="1427"/>
            <c:invertIfNegative val="1"/>
            <c:bubble3D val="0"/>
            <c:spPr>
              <a:solidFill>
                <a:srgbClr val="AEABAB"/>
              </a:solidFill>
            </c:spPr>
            <c:extLst>
              <c:ext xmlns:c16="http://schemas.microsoft.com/office/drawing/2014/chart" uri="{C3380CC4-5D6E-409C-BE32-E72D297353CC}">
                <c16:uniqueId val="{00000B29-26BF-40B0-8A43-EC10D791E60B}"/>
              </c:ext>
            </c:extLst>
          </c:dPt>
          <c:dPt>
            <c:idx val="1428"/>
            <c:invertIfNegative val="1"/>
            <c:bubble3D val="0"/>
            <c:spPr>
              <a:solidFill>
                <a:srgbClr val="AEABAB"/>
              </a:solidFill>
            </c:spPr>
            <c:extLst>
              <c:ext xmlns:c16="http://schemas.microsoft.com/office/drawing/2014/chart" uri="{C3380CC4-5D6E-409C-BE32-E72D297353CC}">
                <c16:uniqueId val="{00000B2B-26BF-40B0-8A43-EC10D791E60B}"/>
              </c:ext>
            </c:extLst>
          </c:dPt>
          <c:dPt>
            <c:idx val="1429"/>
            <c:invertIfNegative val="1"/>
            <c:bubble3D val="0"/>
            <c:spPr>
              <a:solidFill>
                <a:srgbClr val="AEABAB"/>
              </a:solidFill>
            </c:spPr>
            <c:extLst>
              <c:ext xmlns:c16="http://schemas.microsoft.com/office/drawing/2014/chart" uri="{C3380CC4-5D6E-409C-BE32-E72D297353CC}">
                <c16:uniqueId val="{00000B2D-26BF-40B0-8A43-EC10D791E60B}"/>
              </c:ext>
            </c:extLst>
          </c:dPt>
          <c:dPt>
            <c:idx val="1430"/>
            <c:invertIfNegative val="1"/>
            <c:bubble3D val="0"/>
            <c:spPr>
              <a:solidFill>
                <a:srgbClr val="AEABAB"/>
              </a:solidFill>
            </c:spPr>
            <c:extLst>
              <c:ext xmlns:c16="http://schemas.microsoft.com/office/drawing/2014/chart" uri="{C3380CC4-5D6E-409C-BE32-E72D297353CC}">
                <c16:uniqueId val="{00000B2F-26BF-40B0-8A43-EC10D791E60B}"/>
              </c:ext>
            </c:extLst>
          </c:dPt>
          <c:dPt>
            <c:idx val="1431"/>
            <c:invertIfNegative val="1"/>
            <c:bubble3D val="0"/>
            <c:spPr>
              <a:solidFill>
                <a:srgbClr val="AEABAB"/>
              </a:solidFill>
            </c:spPr>
            <c:extLst>
              <c:ext xmlns:c16="http://schemas.microsoft.com/office/drawing/2014/chart" uri="{C3380CC4-5D6E-409C-BE32-E72D297353CC}">
                <c16:uniqueId val="{00000B31-26BF-40B0-8A43-EC10D791E60B}"/>
              </c:ext>
            </c:extLst>
          </c:dPt>
          <c:dPt>
            <c:idx val="1432"/>
            <c:invertIfNegative val="1"/>
            <c:bubble3D val="0"/>
            <c:spPr>
              <a:solidFill>
                <a:srgbClr val="AEABAB"/>
              </a:solidFill>
            </c:spPr>
            <c:extLst>
              <c:ext xmlns:c16="http://schemas.microsoft.com/office/drawing/2014/chart" uri="{C3380CC4-5D6E-409C-BE32-E72D297353CC}">
                <c16:uniqueId val="{00000B33-26BF-40B0-8A43-EC10D791E60B}"/>
              </c:ext>
            </c:extLst>
          </c:dPt>
          <c:dPt>
            <c:idx val="1433"/>
            <c:invertIfNegative val="1"/>
            <c:bubble3D val="0"/>
            <c:spPr>
              <a:solidFill>
                <a:srgbClr val="AEABAB"/>
              </a:solidFill>
            </c:spPr>
            <c:extLst>
              <c:ext xmlns:c16="http://schemas.microsoft.com/office/drawing/2014/chart" uri="{C3380CC4-5D6E-409C-BE32-E72D297353CC}">
                <c16:uniqueId val="{00000B35-26BF-40B0-8A43-EC10D791E60B}"/>
              </c:ext>
            </c:extLst>
          </c:dPt>
          <c:dPt>
            <c:idx val="1434"/>
            <c:invertIfNegative val="1"/>
            <c:bubble3D val="0"/>
            <c:spPr>
              <a:solidFill>
                <a:srgbClr val="AEABAB"/>
              </a:solidFill>
            </c:spPr>
            <c:extLst>
              <c:ext xmlns:c16="http://schemas.microsoft.com/office/drawing/2014/chart" uri="{C3380CC4-5D6E-409C-BE32-E72D297353CC}">
                <c16:uniqueId val="{00000B37-26BF-40B0-8A43-EC10D791E60B}"/>
              </c:ext>
            </c:extLst>
          </c:dPt>
          <c:dPt>
            <c:idx val="1435"/>
            <c:invertIfNegative val="1"/>
            <c:bubble3D val="0"/>
            <c:spPr>
              <a:solidFill>
                <a:srgbClr val="AEABAB"/>
              </a:solidFill>
            </c:spPr>
            <c:extLst>
              <c:ext xmlns:c16="http://schemas.microsoft.com/office/drawing/2014/chart" uri="{C3380CC4-5D6E-409C-BE32-E72D297353CC}">
                <c16:uniqueId val="{00000B39-26BF-40B0-8A43-EC10D791E60B}"/>
              </c:ext>
            </c:extLst>
          </c:dPt>
          <c:dPt>
            <c:idx val="1436"/>
            <c:invertIfNegative val="1"/>
            <c:bubble3D val="0"/>
            <c:spPr>
              <a:solidFill>
                <a:srgbClr val="AEABAB"/>
              </a:solidFill>
            </c:spPr>
            <c:extLst>
              <c:ext xmlns:c16="http://schemas.microsoft.com/office/drawing/2014/chart" uri="{C3380CC4-5D6E-409C-BE32-E72D297353CC}">
                <c16:uniqueId val="{00000B3B-26BF-40B0-8A43-EC10D791E60B}"/>
              </c:ext>
            </c:extLst>
          </c:dPt>
          <c:dPt>
            <c:idx val="1437"/>
            <c:invertIfNegative val="1"/>
            <c:bubble3D val="0"/>
            <c:spPr>
              <a:solidFill>
                <a:srgbClr val="AEABAB"/>
              </a:solidFill>
            </c:spPr>
            <c:extLst>
              <c:ext xmlns:c16="http://schemas.microsoft.com/office/drawing/2014/chart" uri="{C3380CC4-5D6E-409C-BE32-E72D297353CC}">
                <c16:uniqueId val="{00000B3D-26BF-40B0-8A43-EC10D791E60B}"/>
              </c:ext>
            </c:extLst>
          </c:dPt>
          <c:dPt>
            <c:idx val="1438"/>
            <c:invertIfNegative val="1"/>
            <c:bubble3D val="0"/>
            <c:spPr>
              <a:solidFill>
                <a:srgbClr val="AEABAB"/>
              </a:solidFill>
            </c:spPr>
            <c:extLst>
              <c:ext xmlns:c16="http://schemas.microsoft.com/office/drawing/2014/chart" uri="{C3380CC4-5D6E-409C-BE32-E72D297353CC}">
                <c16:uniqueId val="{00000B3F-26BF-40B0-8A43-EC10D791E60B}"/>
              </c:ext>
            </c:extLst>
          </c:dPt>
          <c:dPt>
            <c:idx val="1439"/>
            <c:invertIfNegative val="1"/>
            <c:bubble3D val="0"/>
            <c:spPr>
              <a:solidFill>
                <a:srgbClr val="AEABAB"/>
              </a:solidFill>
            </c:spPr>
            <c:extLst>
              <c:ext xmlns:c16="http://schemas.microsoft.com/office/drawing/2014/chart" uri="{C3380CC4-5D6E-409C-BE32-E72D297353CC}">
                <c16:uniqueId val="{00000B41-26BF-40B0-8A43-EC10D791E60B}"/>
              </c:ext>
            </c:extLst>
          </c:dPt>
          <c:dPt>
            <c:idx val="1440"/>
            <c:invertIfNegative val="1"/>
            <c:bubble3D val="0"/>
            <c:spPr>
              <a:solidFill>
                <a:srgbClr val="AEABAB"/>
              </a:solidFill>
            </c:spPr>
            <c:extLst>
              <c:ext xmlns:c16="http://schemas.microsoft.com/office/drawing/2014/chart" uri="{C3380CC4-5D6E-409C-BE32-E72D297353CC}">
                <c16:uniqueId val="{00000B43-26BF-40B0-8A43-EC10D791E60B}"/>
              </c:ext>
            </c:extLst>
          </c:dPt>
          <c:dPt>
            <c:idx val="1441"/>
            <c:invertIfNegative val="1"/>
            <c:bubble3D val="0"/>
            <c:spPr>
              <a:solidFill>
                <a:srgbClr val="AEABAB"/>
              </a:solidFill>
            </c:spPr>
            <c:extLst>
              <c:ext xmlns:c16="http://schemas.microsoft.com/office/drawing/2014/chart" uri="{C3380CC4-5D6E-409C-BE32-E72D297353CC}">
                <c16:uniqueId val="{00000B45-26BF-40B0-8A43-EC10D791E60B}"/>
              </c:ext>
            </c:extLst>
          </c:dPt>
          <c:dPt>
            <c:idx val="1442"/>
            <c:invertIfNegative val="1"/>
            <c:bubble3D val="0"/>
            <c:spPr>
              <a:solidFill>
                <a:srgbClr val="AEABAB"/>
              </a:solidFill>
            </c:spPr>
            <c:extLst>
              <c:ext xmlns:c16="http://schemas.microsoft.com/office/drawing/2014/chart" uri="{C3380CC4-5D6E-409C-BE32-E72D297353CC}">
                <c16:uniqueId val="{00000B47-26BF-40B0-8A43-EC10D791E60B}"/>
              </c:ext>
            </c:extLst>
          </c:dPt>
          <c:dPt>
            <c:idx val="1443"/>
            <c:invertIfNegative val="1"/>
            <c:bubble3D val="0"/>
            <c:spPr>
              <a:solidFill>
                <a:srgbClr val="AEABAB"/>
              </a:solidFill>
            </c:spPr>
            <c:extLst>
              <c:ext xmlns:c16="http://schemas.microsoft.com/office/drawing/2014/chart" uri="{C3380CC4-5D6E-409C-BE32-E72D297353CC}">
                <c16:uniqueId val="{00000B49-26BF-40B0-8A43-EC10D791E60B}"/>
              </c:ext>
            </c:extLst>
          </c:dPt>
          <c:dPt>
            <c:idx val="1444"/>
            <c:invertIfNegative val="1"/>
            <c:bubble3D val="0"/>
            <c:spPr>
              <a:solidFill>
                <a:srgbClr val="AEABAB"/>
              </a:solidFill>
            </c:spPr>
            <c:extLst>
              <c:ext xmlns:c16="http://schemas.microsoft.com/office/drawing/2014/chart" uri="{C3380CC4-5D6E-409C-BE32-E72D297353CC}">
                <c16:uniqueId val="{00000B4B-26BF-40B0-8A43-EC10D791E60B}"/>
              </c:ext>
            </c:extLst>
          </c:dPt>
          <c:dPt>
            <c:idx val="1445"/>
            <c:invertIfNegative val="1"/>
            <c:bubble3D val="0"/>
            <c:spPr>
              <a:solidFill>
                <a:srgbClr val="AEABAB"/>
              </a:solidFill>
            </c:spPr>
            <c:extLst>
              <c:ext xmlns:c16="http://schemas.microsoft.com/office/drawing/2014/chart" uri="{C3380CC4-5D6E-409C-BE32-E72D297353CC}">
                <c16:uniqueId val="{00000B4D-26BF-40B0-8A43-EC10D791E60B}"/>
              </c:ext>
            </c:extLst>
          </c:dPt>
          <c:dPt>
            <c:idx val="1446"/>
            <c:invertIfNegative val="1"/>
            <c:bubble3D val="0"/>
            <c:spPr>
              <a:solidFill>
                <a:srgbClr val="AEABAB"/>
              </a:solidFill>
            </c:spPr>
            <c:extLst>
              <c:ext xmlns:c16="http://schemas.microsoft.com/office/drawing/2014/chart" uri="{C3380CC4-5D6E-409C-BE32-E72D297353CC}">
                <c16:uniqueId val="{00000B4F-26BF-40B0-8A43-EC10D791E60B}"/>
              </c:ext>
            </c:extLst>
          </c:dPt>
          <c:dPt>
            <c:idx val="1447"/>
            <c:invertIfNegative val="1"/>
            <c:bubble3D val="0"/>
            <c:spPr>
              <a:solidFill>
                <a:srgbClr val="AEABAB"/>
              </a:solidFill>
            </c:spPr>
            <c:extLst>
              <c:ext xmlns:c16="http://schemas.microsoft.com/office/drawing/2014/chart" uri="{C3380CC4-5D6E-409C-BE32-E72D297353CC}">
                <c16:uniqueId val="{00000B51-26BF-40B0-8A43-EC10D791E60B}"/>
              </c:ext>
            </c:extLst>
          </c:dPt>
          <c:dPt>
            <c:idx val="1448"/>
            <c:invertIfNegative val="1"/>
            <c:bubble3D val="0"/>
            <c:spPr>
              <a:solidFill>
                <a:srgbClr val="AEABAB"/>
              </a:solidFill>
            </c:spPr>
            <c:extLst>
              <c:ext xmlns:c16="http://schemas.microsoft.com/office/drawing/2014/chart" uri="{C3380CC4-5D6E-409C-BE32-E72D297353CC}">
                <c16:uniqueId val="{00000B53-26BF-40B0-8A43-EC10D791E60B}"/>
              </c:ext>
            </c:extLst>
          </c:dPt>
          <c:dPt>
            <c:idx val="1449"/>
            <c:invertIfNegative val="1"/>
            <c:bubble3D val="0"/>
            <c:spPr>
              <a:solidFill>
                <a:srgbClr val="AEABAB"/>
              </a:solidFill>
            </c:spPr>
            <c:extLst>
              <c:ext xmlns:c16="http://schemas.microsoft.com/office/drawing/2014/chart" uri="{C3380CC4-5D6E-409C-BE32-E72D297353CC}">
                <c16:uniqueId val="{00000B55-26BF-40B0-8A43-EC10D791E60B}"/>
              </c:ext>
            </c:extLst>
          </c:dPt>
          <c:dPt>
            <c:idx val="1450"/>
            <c:invertIfNegative val="1"/>
            <c:bubble3D val="0"/>
            <c:spPr>
              <a:solidFill>
                <a:srgbClr val="AEABAB"/>
              </a:solidFill>
            </c:spPr>
            <c:extLst>
              <c:ext xmlns:c16="http://schemas.microsoft.com/office/drawing/2014/chart" uri="{C3380CC4-5D6E-409C-BE32-E72D297353CC}">
                <c16:uniqueId val="{00000B57-26BF-40B0-8A43-EC10D791E60B}"/>
              </c:ext>
            </c:extLst>
          </c:dPt>
          <c:dPt>
            <c:idx val="1451"/>
            <c:invertIfNegative val="1"/>
            <c:bubble3D val="0"/>
            <c:spPr>
              <a:solidFill>
                <a:srgbClr val="AEABAB"/>
              </a:solidFill>
            </c:spPr>
            <c:extLst>
              <c:ext xmlns:c16="http://schemas.microsoft.com/office/drawing/2014/chart" uri="{C3380CC4-5D6E-409C-BE32-E72D297353CC}">
                <c16:uniqueId val="{00000B59-26BF-40B0-8A43-EC10D791E60B}"/>
              </c:ext>
            </c:extLst>
          </c:dPt>
          <c:dPt>
            <c:idx val="1452"/>
            <c:invertIfNegative val="1"/>
            <c:bubble3D val="0"/>
            <c:spPr>
              <a:solidFill>
                <a:srgbClr val="AEABAB"/>
              </a:solidFill>
            </c:spPr>
            <c:extLst>
              <c:ext xmlns:c16="http://schemas.microsoft.com/office/drawing/2014/chart" uri="{C3380CC4-5D6E-409C-BE32-E72D297353CC}">
                <c16:uniqueId val="{00000B5B-26BF-40B0-8A43-EC10D791E60B}"/>
              </c:ext>
            </c:extLst>
          </c:dPt>
          <c:dPt>
            <c:idx val="1453"/>
            <c:invertIfNegative val="1"/>
            <c:bubble3D val="0"/>
            <c:spPr>
              <a:solidFill>
                <a:srgbClr val="AEABAB"/>
              </a:solidFill>
            </c:spPr>
            <c:extLst>
              <c:ext xmlns:c16="http://schemas.microsoft.com/office/drawing/2014/chart" uri="{C3380CC4-5D6E-409C-BE32-E72D297353CC}">
                <c16:uniqueId val="{00000B5D-26BF-40B0-8A43-EC10D791E60B}"/>
              </c:ext>
            </c:extLst>
          </c:dPt>
          <c:dPt>
            <c:idx val="1454"/>
            <c:invertIfNegative val="1"/>
            <c:bubble3D val="0"/>
            <c:spPr>
              <a:solidFill>
                <a:srgbClr val="AEABAB"/>
              </a:solidFill>
            </c:spPr>
            <c:extLst>
              <c:ext xmlns:c16="http://schemas.microsoft.com/office/drawing/2014/chart" uri="{C3380CC4-5D6E-409C-BE32-E72D297353CC}">
                <c16:uniqueId val="{00000B5F-26BF-40B0-8A43-EC10D791E60B}"/>
              </c:ext>
            </c:extLst>
          </c:dPt>
          <c:dPt>
            <c:idx val="1455"/>
            <c:invertIfNegative val="1"/>
            <c:bubble3D val="0"/>
            <c:spPr>
              <a:solidFill>
                <a:srgbClr val="AEABAB"/>
              </a:solidFill>
            </c:spPr>
            <c:extLst>
              <c:ext xmlns:c16="http://schemas.microsoft.com/office/drawing/2014/chart" uri="{C3380CC4-5D6E-409C-BE32-E72D297353CC}">
                <c16:uniqueId val="{00000B61-26BF-40B0-8A43-EC10D791E60B}"/>
              </c:ext>
            </c:extLst>
          </c:dPt>
          <c:dPt>
            <c:idx val="1456"/>
            <c:invertIfNegative val="1"/>
            <c:bubble3D val="0"/>
            <c:spPr>
              <a:solidFill>
                <a:srgbClr val="AEABAB"/>
              </a:solidFill>
            </c:spPr>
            <c:extLst>
              <c:ext xmlns:c16="http://schemas.microsoft.com/office/drawing/2014/chart" uri="{C3380CC4-5D6E-409C-BE32-E72D297353CC}">
                <c16:uniqueId val="{00000B63-26BF-40B0-8A43-EC10D791E60B}"/>
              </c:ext>
            </c:extLst>
          </c:dPt>
          <c:dPt>
            <c:idx val="1457"/>
            <c:invertIfNegative val="1"/>
            <c:bubble3D val="0"/>
            <c:spPr>
              <a:solidFill>
                <a:srgbClr val="AEABAB"/>
              </a:solidFill>
            </c:spPr>
            <c:extLst>
              <c:ext xmlns:c16="http://schemas.microsoft.com/office/drawing/2014/chart" uri="{C3380CC4-5D6E-409C-BE32-E72D297353CC}">
                <c16:uniqueId val="{00000B65-26BF-40B0-8A43-EC10D791E60B}"/>
              </c:ext>
            </c:extLst>
          </c:dPt>
          <c:dPt>
            <c:idx val="1458"/>
            <c:invertIfNegative val="1"/>
            <c:bubble3D val="0"/>
            <c:spPr>
              <a:solidFill>
                <a:srgbClr val="AEABAB"/>
              </a:solidFill>
            </c:spPr>
            <c:extLst>
              <c:ext xmlns:c16="http://schemas.microsoft.com/office/drawing/2014/chart" uri="{C3380CC4-5D6E-409C-BE32-E72D297353CC}">
                <c16:uniqueId val="{00000B67-26BF-40B0-8A43-EC10D791E60B}"/>
              </c:ext>
            </c:extLst>
          </c:dPt>
          <c:dPt>
            <c:idx val="1459"/>
            <c:invertIfNegative val="1"/>
            <c:bubble3D val="0"/>
            <c:spPr>
              <a:solidFill>
                <a:srgbClr val="AEABAB"/>
              </a:solidFill>
            </c:spPr>
            <c:extLst>
              <c:ext xmlns:c16="http://schemas.microsoft.com/office/drawing/2014/chart" uri="{C3380CC4-5D6E-409C-BE32-E72D297353CC}">
                <c16:uniqueId val="{00000B69-26BF-40B0-8A43-EC10D791E60B}"/>
              </c:ext>
            </c:extLst>
          </c:dPt>
          <c:dPt>
            <c:idx val="1460"/>
            <c:invertIfNegative val="1"/>
            <c:bubble3D val="0"/>
            <c:spPr>
              <a:solidFill>
                <a:srgbClr val="AEABAB"/>
              </a:solidFill>
            </c:spPr>
            <c:extLst>
              <c:ext xmlns:c16="http://schemas.microsoft.com/office/drawing/2014/chart" uri="{C3380CC4-5D6E-409C-BE32-E72D297353CC}">
                <c16:uniqueId val="{00000B6B-26BF-40B0-8A43-EC10D791E60B}"/>
              </c:ext>
            </c:extLst>
          </c:dPt>
          <c:dPt>
            <c:idx val="1461"/>
            <c:invertIfNegative val="1"/>
            <c:bubble3D val="0"/>
            <c:spPr>
              <a:solidFill>
                <a:srgbClr val="AEABAB"/>
              </a:solidFill>
            </c:spPr>
            <c:extLst>
              <c:ext xmlns:c16="http://schemas.microsoft.com/office/drawing/2014/chart" uri="{C3380CC4-5D6E-409C-BE32-E72D297353CC}">
                <c16:uniqueId val="{00000B6D-26BF-40B0-8A43-EC10D791E60B}"/>
              </c:ext>
            </c:extLst>
          </c:dPt>
          <c:dPt>
            <c:idx val="1462"/>
            <c:invertIfNegative val="1"/>
            <c:bubble3D val="0"/>
            <c:spPr>
              <a:solidFill>
                <a:srgbClr val="AEABAB"/>
              </a:solidFill>
            </c:spPr>
            <c:extLst>
              <c:ext xmlns:c16="http://schemas.microsoft.com/office/drawing/2014/chart" uri="{C3380CC4-5D6E-409C-BE32-E72D297353CC}">
                <c16:uniqueId val="{00000B6F-26BF-40B0-8A43-EC10D791E60B}"/>
              </c:ext>
            </c:extLst>
          </c:dPt>
          <c:dPt>
            <c:idx val="1463"/>
            <c:invertIfNegative val="1"/>
            <c:bubble3D val="0"/>
            <c:spPr>
              <a:solidFill>
                <a:srgbClr val="AEABAB"/>
              </a:solidFill>
            </c:spPr>
            <c:extLst>
              <c:ext xmlns:c16="http://schemas.microsoft.com/office/drawing/2014/chart" uri="{C3380CC4-5D6E-409C-BE32-E72D297353CC}">
                <c16:uniqueId val="{00000B71-26BF-40B0-8A43-EC10D791E60B}"/>
              </c:ext>
            </c:extLst>
          </c:dPt>
          <c:dPt>
            <c:idx val="1464"/>
            <c:invertIfNegative val="1"/>
            <c:bubble3D val="0"/>
            <c:spPr>
              <a:solidFill>
                <a:srgbClr val="AEABAB"/>
              </a:solidFill>
            </c:spPr>
            <c:extLst>
              <c:ext xmlns:c16="http://schemas.microsoft.com/office/drawing/2014/chart" uri="{C3380CC4-5D6E-409C-BE32-E72D297353CC}">
                <c16:uniqueId val="{00000B73-26BF-40B0-8A43-EC10D791E60B}"/>
              </c:ext>
            </c:extLst>
          </c:dPt>
          <c:dPt>
            <c:idx val="1465"/>
            <c:invertIfNegative val="1"/>
            <c:bubble3D val="0"/>
            <c:spPr>
              <a:solidFill>
                <a:srgbClr val="AEABAB"/>
              </a:solidFill>
            </c:spPr>
            <c:extLst>
              <c:ext xmlns:c16="http://schemas.microsoft.com/office/drawing/2014/chart" uri="{C3380CC4-5D6E-409C-BE32-E72D297353CC}">
                <c16:uniqueId val="{00000B75-26BF-40B0-8A43-EC10D791E60B}"/>
              </c:ext>
            </c:extLst>
          </c:dPt>
          <c:dPt>
            <c:idx val="1466"/>
            <c:invertIfNegative val="1"/>
            <c:bubble3D val="0"/>
            <c:spPr>
              <a:solidFill>
                <a:srgbClr val="AEABAB"/>
              </a:solidFill>
            </c:spPr>
            <c:extLst>
              <c:ext xmlns:c16="http://schemas.microsoft.com/office/drawing/2014/chart" uri="{C3380CC4-5D6E-409C-BE32-E72D297353CC}">
                <c16:uniqueId val="{00000B77-26BF-40B0-8A43-EC10D791E60B}"/>
              </c:ext>
            </c:extLst>
          </c:dPt>
          <c:dPt>
            <c:idx val="1467"/>
            <c:invertIfNegative val="1"/>
            <c:bubble3D val="0"/>
            <c:spPr>
              <a:solidFill>
                <a:srgbClr val="AEABAB"/>
              </a:solidFill>
            </c:spPr>
            <c:extLst>
              <c:ext xmlns:c16="http://schemas.microsoft.com/office/drawing/2014/chart" uri="{C3380CC4-5D6E-409C-BE32-E72D297353CC}">
                <c16:uniqueId val="{00000B79-26BF-40B0-8A43-EC10D791E60B}"/>
              </c:ext>
            </c:extLst>
          </c:dPt>
          <c:dPt>
            <c:idx val="1468"/>
            <c:invertIfNegative val="1"/>
            <c:bubble3D val="0"/>
            <c:spPr>
              <a:solidFill>
                <a:srgbClr val="AEABAB"/>
              </a:solidFill>
            </c:spPr>
            <c:extLst>
              <c:ext xmlns:c16="http://schemas.microsoft.com/office/drawing/2014/chart" uri="{C3380CC4-5D6E-409C-BE32-E72D297353CC}">
                <c16:uniqueId val="{00000B7B-26BF-40B0-8A43-EC10D791E60B}"/>
              </c:ext>
            </c:extLst>
          </c:dPt>
          <c:dPt>
            <c:idx val="1469"/>
            <c:invertIfNegative val="1"/>
            <c:bubble3D val="0"/>
            <c:spPr>
              <a:solidFill>
                <a:srgbClr val="AEABAB"/>
              </a:solidFill>
            </c:spPr>
            <c:extLst>
              <c:ext xmlns:c16="http://schemas.microsoft.com/office/drawing/2014/chart" uri="{C3380CC4-5D6E-409C-BE32-E72D297353CC}">
                <c16:uniqueId val="{00000B7D-26BF-40B0-8A43-EC10D791E60B}"/>
              </c:ext>
            </c:extLst>
          </c:dPt>
          <c:dPt>
            <c:idx val="1470"/>
            <c:invertIfNegative val="1"/>
            <c:bubble3D val="0"/>
            <c:spPr>
              <a:solidFill>
                <a:srgbClr val="AEABAB"/>
              </a:solidFill>
            </c:spPr>
            <c:extLst>
              <c:ext xmlns:c16="http://schemas.microsoft.com/office/drawing/2014/chart" uri="{C3380CC4-5D6E-409C-BE32-E72D297353CC}">
                <c16:uniqueId val="{00000B7F-26BF-40B0-8A43-EC10D791E60B}"/>
              </c:ext>
            </c:extLst>
          </c:dPt>
          <c:dPt>
            <c:idx val="1471"/>
            <c:invertIfNegative val="1"/>
            <c:bubble3D val="0"/>
            <c:spPr>
              <a:solidFill>
                <a:srgbClr val="AEABAB"/>
              </a:solidFill>
            </c:spPr>
            <c:extLst>
              <c:ext xmlns:c16="http://schemas.microsoft.com/office/drawing/2014/chart" uri="{C3380CC4-5D6E-409C-BE32-E72D297353CC}">
                <c16:uniqueId val="{00000B81-26BF-40B0-8A43-EC10D791E60B}"/>
              </c:ext>
            </c:extLst>
          </c:dPt>
          <c:dPt>
            <c:idx val="1472"/>
            <c:invertIfNegative val="1"/>
            <c:bubble3D val="0"/>
            <c:spPr>
              <a:solidFill>
                <a:srgbClr val="AEABAB"/>
              </a:solidFill>
            </c:spPr>
            <c:extLst>
              <c:ext xmlns:c16="http://schemas.microsoft.com/office/drawing/2014/chart" uri="{C3380CC4-5D6E-409C-BE32-E72D297353CC}">
                <c16:uniqueId val="{00000B83-26BF-40B0-8A43-EC10D791E60B}"/>
              </c:ext>
            </c:extLst>
          </c:dPt>
          <c:dPt>
            <c:idx val="1473"/>
            <c:invertIfNegative val="1"/>
            <c:bubble3D val="0"/>
            <c:spPr>
              <a:solidFill>
                <a:srgbClr val="AEABAB"/>
              </a:solidFill>
            </c:spPr>
            <c:extLst>
              <c:ext xmlns:c16="http://schemas.microsoft.com/office/drawing/2014/chart" uri="{C3380CC4-5D6E-409C-BE32-E72D297353CC}">
                <c16:uniqueId val="{00000B85-26BF-40B0-8A43-EC10D791E60B}"/>
              </c:ext>
            </c:extLst>
          </c:dPt>
          <c:dPt>
            <c:idx val="1474"/>
            <c:invertIfNegative val="1"/>
            <c:bubble3D val="0"/>
            <c:spPr>
              <a:solidFill>
                <a:srgbClr val="AEABAB"/>
              </a:solidFill>
            </c:spPr>
            <c:extLst>
              <c:ext xmlns:c16="http://schemas.microsoft.com/office/drawing/2014/chart" uri="{C3380CC4-5D6E-409C-BE32-E72D297353CC}">
                <c16:uniqueId val="{00000B87-26BF-40B0-8A43-EC10D791E60B}"/>
              </c:ext>
            </c:extLst>
          </c:dPt>
          <c:dPt>
            <c:idx val="1475"/>
            <c:invertIfNegative val="1"/>
            <c:bubble3D val="0"/>
            <c:spPr>
              <a:solidFill>
                <a:srgbClr val="AEABAB"/>
              </a:solidFill>
            </c:spPr>
            <c:extLst>
              <c:ext xmlns:c16="http://schemas.microsoft.com/office/drawing/2014/chart" uri="{C3380CC4-5D6E-409C-BE32-E72D297353CC}">
                <c16:uniqueId val="{00000B89-26BF-40B0-8A43-EC10D791E60B}"/>
              </c:ext>
            </c:extLst>
          </c:dPt>
          <c:dPt>
            <c:idx val="1476"/>
            <c:invertIfNegative val="1"/>
            <c:bubble3D val="0"/>
            <c:spPr>
              <a:solidFill>
                <a:srgbClr val="AEABAB"/>
              </a:solidFill>
            </c:spPr>
            <c:extLst>
              <c:ext xmlns:c16="http://schemas.microsoft.com/office/drawing/2014/chart" uri="{C3380CC4-5D6E-409C-BE32-E72D297353CC}">
                <c16:uniqueId val="{00000B8B-26BF-40B0-8A43-EC10D791E60B}"/>
              </c:ext>
            </c:extLst>
          </c:dPt>
          <c:dPt>
            <c:idx val="1477"/>
            <c:invertIfNegative val="1"/>
            <c:bubble3D val="0"/>
            <c:spPr>
              <a:solidFill>
                <a:srgbClr val="AEABAB"/>
              </a:solidFill>
            </c:spPr>
            <c:extLst>
              <c:ext xmlns:c16="http://schemas.microsoft.com/office/drawing/2014/chart" uri="{C3380CC4-5D6E-409C-BE32-E72D297353CC}">
                <c16:uniqueId val="{00000B8D-26BF-40B0-8A43-EC10D791E60B}"/>
              </c:ext>
            </c:extLst>
          </c:dPt>
          <c:dPt>
            <c:idx val="1478"/>
            <c:invertIfNegative val="1"/>
            <c:bubble3D val="0"/>
            <c:spPr>
              <a:solidFill>
                <a:srgbClr val="AEABAB"/>
              </a:solidFill>
            </c:spPr>
            <c:extLst>
              <c:ext xmlns:c16="http://schemas.microsoft.com/office/drawing/2014/chart" uri="{C3380CC4-5D6E-409C-BE32-E72D297353CC}">
                <c16:uniqueId val="{00000B8F-26BF-40B0-8A43-EC10D791E60B}"/>
              </c:ext>
            </c:extLst>
          </c:dPt>
          <c:dPt>
            <c:idx val="1479"/>
            <c:invertIfNegative val="1"/>
            <c:bubble3D val="0"/>
            <c:spPr>
              <a:solidFill>
                <a:srgbClr val="AEABAB"/>
              </a:solidFill>
            </c:spPr>
            <c:extLst>
              <c:ext xmlns:c16="http://schemas.microsoft.com/office/drawing/2014/chart" uri="{C3380CC4-5D6E-409C-BE32-E72D297353CC}">
                <c16:uniqueId val="{00000B91-26BF-40B0-8A43-EC10D791E60B}"/>
              </c:ext>
            </c:extLst>
          </c:dPt>
          <c:dPt>
            <c:idx val="1480"/>
            <c:invertIfNegative val="1"/>
            <c:bubble3D val="0"/>
            <c:spPr>
              <a:solidFill>
                <a:srgbClr val="AEABAB"/>
              </a:solidFill>
            </c:spPr>
            <c:extLst>
              <c:ext xmlns:c16="http://schemas.microsoft.com/office/drawing/2014/chart" uri="{C3380CC4-5D6E-409C-BE32-E72D297353CC}">
                <c16:uniqueId val="{00000B93-26BF-40B0-8A43-EC10D791E60B}"/>
              </c:ext>
            </c:extLst>
          </c:dPt>
          <c:dPt>
            <c:idx val="1481"/>
            <c:invertIfNegative val="1"/>
            <c:bubble3D val="0"/>
            <c:spPr>
              <a:solidFill>
                <a:srgbClr val="AEABAB"/>
              </a:solidFill>
            </c:spPr>
            <c:extLst>
              <c:ext xmlns:c16="http://schemas.microsoft.com/office/drawing/2014/chart" uri="{C3380CC4-5D6E-409C-BE32-E72D297353CC}">
                <c16:uniqueId val="{00000B95-26BF-40B0-8A43-EC10D791E60B}"/>
              </c:ext>
            </c:extLst>
          </c:dPt>
          <c:dPt>
            <c:idx val="1482"/>
            <c:invertIfNegative val="1"/>
            <c:bubble3D val="0"/>
            <c:spPr>
              <a:solidFill>
                <a:srgbClr val="AEABAB"/>
              </a:solidFill>
            </c:spPr>
            <c:extLst>
              <c:ext xmlns:c16="http://schemas.microsoft.com/office/drawing/2014/chart" uri="{C3380CC4-5D6E-409C-BE32-E72D297353CC}">
                <c16:uniqueId val="{00000B97-26BF-40B0-8A43-EC10D791E60B}"/>
              </c:ext>
            </c:extLst>
          </c:dPt>
          <c:dPt>
            <c:idx val="1483"/>
            <c:invertIfNegative val="1"/>
            <c:bubble3D val="0"/>
            <c:spPr>
              <a:solidFill>
                <a:srgbClr val="AEABAB"/>
              </a:solidFill>
            </c:spPr>
            <c:extLst>
              <c:ext xmlns:c16="http://schemas.microsoft.com/office/drawing/2014/chart" uri="{C3380CC4-5D6E-409C-BE32-E72D297353CC}">
                <c16:uniqueId val="{00000B99-26BF-40B0-8A43-EC10D791E60B}"/>
              </c:ext>
            </c:extLst>
          </c:dPt>
          <c:dPt>
            <c:idx val="1484"/>
            <c:invertIfNegative val="1"/>
            <c:bubble3D val="0"/>
            <c:spPr>
              <a:solidFill>
                <a:srgbClr val="AEABAB"/>
              </a:solidFill>
            </c:spPr>
            <c:extLst>
              <c:ext xmlns:c16="http://schemas.microsoft.com/office/drawing/2014/chart" uri="{C3380CC4-5D6E-409C-BE32-E72D297353CC}">
                <c16:uniqueId val="{00000B9B-26BF-40B0-8A43-EC10D791E60B}"/>
              </c:ext>
            </c:extLst>
          </c:dPt>
          <c:dPt>
            <c:idx val="1485"/>
            <c:invertIfNegative val="1"/>
            <c:bubble3D val="0"/>
            <c:spPr>
              <a:solidFill>
                <a:srgbClr val="AEABAB"/>
              </a:solidFill>
            </c:spPr>
            <c:extLst>
              <c:ext xmlns:c16="http://schemas.microsoft.com/office/drawing/2014/chart" uri="{C3380CC4-5D6E-409C-BE32-E72D297353CC}">
                <c16:uniqueId val="{00000B9D-26BF-40B0-8A43-EC10D791E60B}"/>
              </c:ext>
            </c:extLst>
          </c:dPt>
          <c:dPt>
            <c:idx val="1486"/>
            <c:invertIfNegative val="1"/>
            <c:bubble3D val="0"/>
            <c:spPr>
              <a:solidFill>
                <a:srgbClr val="AEABAB"/>
              </a:solidFill>
            </c:spPr>
            <c:extLst>
              <c:ext xmlns:c16="http://schemas.microsoft.com/office/drawing/2014/chart" uri="{C3380CC4-5D6E-409C-BE32-E72D297353CC}">
                <c16:uniqueId val="{00000B9F-26BF-40B0-8A43-EC10D791E60B}"/>
              </c:ext>
            </c:extLst>
          </c:dPt>
          <c:dPt>
            <c:idx val="1487"/>
            <c:invertIfNegative val="1"/>
            <c:bubble3D val="0"/>
            <c:spPr>
              <a:solidFill>
                <a:srgbClr val="AEABAB"/>
              </a:solidFill>
            </c:spPr>
            <c:extLst>
              <c:ext xmlns:c16="http://schemas.microsoft.com/office/drawing/2014/chart" uri="{C3380CC4-5D6E-409C-BE32-E72D297353CC}">
                <c16:uniqueId val="{00000BA1-26BF-40B0-8A43-EC10D791E60B}"/>
              </c:ext>
            </c:extLst>
          </c:dPt>
          <c:dPt>
            <c:idx val="1488"/>
            <c:invertIfNegative val="1"/>
            <c:bubble3D val="0"/>
            <c:spPr>
              <a:solidFill>
                <a:srgbClr val="AEABAB"/>
              </a:solidFill>
            </c:spPr>
            <c:extLst>
              <c:ext xmlns:c16="http://schemas.microsoft.com/office/drawing/2014/chart" uri="{C3380CC4-5D6E-409C-BE32-E72D297353CC}">
                <c16:uniqueId val="{00000BA3-26BF-40B0-8A43-EC10D791E60B}"/>
              </c:ext>
            </c:extLst>
          </c:dPt>
          <c:dPt>
            <c:idx val="1489"/>
            <c:invertIfNegative val="1"/>
            <c:bubble3D val="0"/>
            <c:spPr>
              <a:solidFill>
                <a:srgbClr val="AEABAB"/>
              </a:solidFill>
            </c:spPr>
            <c:extLst>
              <c:ext xmlns:c16="http://schemas.microsoft.com/office/drawing/2014/chart" uri="{C3380CC4-5D6E-409C-BE32-E72D297353CC}">
                <c16:uniqueId val="{00000BA5-26BF-40B0-8A43-EC10D791E60B}"/>
              </c:ext>
            </c:extLst>
          </c:dPt>
          <c:dPt>
            <c:idx val="1490"/>
            <c:invertIfNegative val="1"/>
            <c:bubble3D val="0"/>
            <c:spPr>
              <a:solidFill>
                <a:srgbClr val="AEABAB"/>
              </a:solidFill>
            </c:spPr>
            <c:extLst>
              <c:ext xmlns:c16="http://schemas.microsoft.com/office/drawing/2014/chart" uri="{C3380CC4-5D6E-409C-BE32-E72D297353CC}">
                <c16:uniqueId val="{00000BA7-26BF-40B0-8A43-EC10D791E60B}"/>
              </c:ext>
            </c:extLst>
          </c:dPt>
          <c:dPt>
            <c:idx val="1491"/>
            <c:invertIfNegative val="1"/>
            <c:bubble3D val="0"/>
            <c:spPr>
              <a:solidFill>
                <a:srgbClr val="AEABAB"/>
              </a:solidFill>
            </c:spPr>
            <c:extLst>
              <c:ext xmlns:c16="http://schemas.microsoft.com/office/drawing/2014/chart" uri="{C3380CC4-5D6E-409C-BE32-E72D297353CC}">
                <c16:uniqueId val="{00000BA9-26BF-40B0-8A43-EC10D791E60B}"/>
              </c:ext>
            </c:extLst>
          </c:dPt>
          <c:dPt>
            <c:idx val="1492"/>
            <c:invertIfNegative val="1"/>
            <c:bubble3D val="0"/>
            <c:spPr>
              <a:solidFill>
                <a:srgbClr val="AEABAB"/>
              </a:solidFill>
            </c:spPr>
            <c:extLst>
              <c:ext xmlns:c16="http://schemas.microsoft.com/office/drawing/2014/chart" uri="{C3380CC4-5D6E-409C-BE32-E72D297353CC}">
                <c16:uniqueId val="{00000BAB-26BF-40B0-8A43-EC10D791E60B}"/>
              </c:ext>
            </c:extLst>
          </c:dPt>
          <c:dPt>
            <c:idx val="1493"/>
            <c:invertIfNegative val="1"/>
            <c:bubble3D val="0"/>
            <c:spPr>
              <a:solidFill>
                <a:srgbClr val="AEABAB"/>
              </a:solidFill>
            </c:spPr>
            <c:extLst>
              <c:ext xmlns:c16="http://schemas.microsoft.com/office/drawing/2014/chart" uri="{C3380CC4-5D6E-409C-BE32-E72D297353CC}">
                <c16:uniqueId val="{00000BAD-26BF-40B0-8A43-EC10D791E60B}"/>
              </c:ext>
            </c:extLst>
          </c:dPt>
          <c:dPt>
            <c:idx val="1494"/>
            <c:invertIfNegative val="1"/>
            <c:bubble3D val="0"/>
            <c:spPr>
              <a:solidFill>
                <a:srgbClr val="AEABAB"/>
              </a:solidFill>
            </c:spPr>
            <c:extLst>
              <c:ext xmlns:c16="http://schemas.microsoft.com/office/drawing/2014/chart" uri="{C3380CC4-5D6E-409C-BE32-E72D297353CC}">
                <c16:uniqueId val="{00000BAF-26BF-40B0-8A43-EC10D791E60B}"/>
              </c:ext>
            </c:extLst>
          </c:dPt>
          <c:dPt>
            <c:idx val="1495"/>
            <c:invertIfNegative val="1"/>
            <c:bubble3D val="0"/>
            <c:spPr>
              <a:solidFill>
                <a:srgbClr val="AEABAB"/>
              </a:solidFill>
            </c:spPr>
            <c:extLst>
              <c:ext xmlns:c16="http://schemas.microsoft.com/office/drawing/2014/chart" uri="{C3380CC4-5D6E-409C-BE32-E72D297353CC}">
                <c16:uniqueId val="{00000BB1-26BF-40B0-8A43-EC10D791E60B}"/>
              </c:ext>
            </c:extLst>
          </c:dPt>
          <c:dPt>
            <c:idx val="1496"/>
            <c:invertIfNegative val="1"/>
            <c:bubble3D val="0"/>
            <c:spPr>
              <a:solidFill>
                <a:srgbClr val="AEABAB"/>
              </a:solidFill>
            </c:spPr>
            <c:extLst>
              <c:ext xmlns:c16="http://schemas.microsoft.com/office/drawing/2014/chart" uri="{C3380CC4-5D6E-409C-BE32-E72D297353CC}">
                <c16:uniqueId val="{00000BB3-26BF-40B0-8A43-EC10D791E60B}"/>
              </c:ext>
            </c:extLst>
          </c:dPt>
          <c:dPt>
            <c:idx val="1497"/>
            <c:invertIfNegative val="1"/>
            <c:bubble3D val="0"/>
            <c:spPr>
              <a:solidFill>
                <a:srgbClr val="AEABAB"/>
              </a:solidFill>
            </c:spPr>
            <c:extLst>
              <c:ext xmlns:c16="http://schemas.microsoft.com/office/drawing/2014/chart" uri="{C3380CC4-5D6E-409C-BE32-E72D297353CC}">
                <c16:uniqueId val="{00000BB5-26BF-40B0-8A43-EC10D791E60B}"/>
              </c:ext>
            </c:extLst>
          </c:dPt>
          <c:dPt>
            <c:idx val="1498"/>
            <c:invertIfNegative val="1"/>
            <c:bubble3D val="0"/>
            <c:spPr>
              <a:solidFill>
                <a:srgbClr val="AEABAB"/>
              </a:solidFill>
            </c:spPr>
            <c:extLst>
              <c:ext xmlns:c16="http://schemas.microsoft.com/office/drawing/2014/chart" uri="{C3380CC4-5D6E-409C-BE32-E72D297353CC}">
                <c16:uniqueId val="{00000BB7-26BF-40B0-8A43-EC10D791E60B}"/>
              </c:ext>
            </c:extLst>
          </c:dPt>
          <c:dPt>
            <c:idx val="1499"/>
            <c:invertIfNegative val="1"/>
            <c:bubble3D val="0"/>
            <c:spPr>
              <a:solidFill>
                <a:srgbClr val="AEABAB"/>
              </a:solidFill>
            </c:spPr>
            <c:extLst>
              <c:ext xmlns:c16="http://schemas.microsoft.com/office/drawing/2014/chart" uri="{C3380CC4-5D6E-409C-BE32-E72D297353CC}">
                <c16:uniqueId val="{00000BB9-26BF-40B0-8A43-EC10D791E60B}"/>
              </c:ext>
            </c:extLst>
          </c:dPt>
          <c:dPt>
            <c:idx val="1500"/>
            <c:invertIfNegative val="1"/>
            <c:bubble3D val="0"/>
            <c:spPr>
              <a:solidFill>
                <a:srgbClr val="AEABAB"/>
              </a:solidFill>
            </c:spPr>
            <c:extLst>
              <c:ext xmlns:c16="http://schemas.microsoft.com/office/drawing/2014/chart" uri="{C3380CC4-5D6E-409C-BE32-E72D297353CC}">
                <c16:uniqueId val="{00000BBB-26BF-40B0-8A43-EC10D791E60B}"/>
              </c:ext>
            </c:extLst>
          </c:dPt>
          <c:dPt>
            <c:idx val="1501"/>
            <c:invertIfNegative val="1"/>
            <c:bubble3D val="0"/>
            <c:spPr>
              <a:solidFill>
                <a:srgbClr val="AEABAB"/>
              </a:solidFill>
            </c:spPr>
            <c:extLst>
              <c:ext xmlns:c16="http://schemas.microsoft.com/office/drawing/2014/chart" uri="{C3380CC4-5D6E-409C-BE32-E72D297353CC}">
                <c16:uniqueId val="{00000BBD-26BF-40B0-8A43-EC10D791E60B}"/>
              </c:ext>
            </c:extLst>
          </c:dPt>
          <c:dPt>
            <c:idx val="1502"/>
            <c:invertIfNegative val="1"/>
            <c:bubble3D val="0"/>
            <c:spPr>
              <a:solidFill>
                <a:srgbClr val="AEABAB"/>
              </a:solidFill>
            </c:spPr>
            <c:extLst>
              <c:ext xmlns:c16="http://schemas.microsoft.com/office/drawing/2014/chart" uri="{C3380CC4-5D6E-409C-BE32-E72D297353CC}">
                <c16:uniqueId val="{00000BBF-26BF-40B0-8A43-EC10D791E60B}"/>
              </c:ext>
            </c:extLst>
          </c:dPt>
          <c:dPt>
            <c:idx val="1503"/>
            <c:invertIfNegative val="1"/>
            <c:bubble3D val="0"/>
            <c:spPr>
              <a:solidFill>
                <a:srgbClr val="AEABAB"/>
              </a:solidFill>
            </c:spPr>
            <c:extLst>
              <c:ext xmlns:c16="http://schemas.microsoft.com/office/drawing/2014/chart" uri="{C3380CC4-5D6E-409C-BE32-E72D297353CC}">
                <c16:uniqueId val="{00000BC1-26BF-40B0-8A43-EC10D791E60B}"/>
              </c:ext>
            </c:extLst>
          </c:dPt>
          <c:dPt>
            <c:idx val="1504"/>
            <c:invertIfNegative val="1"/>
            <c:bubble3D val="0"/>
            <c:spPr>
              <a:solidFill>
                <a:srgbClr val="AEABAB"/>
              </a:solidFill>
            </c:spPr>
            <c:extLst>
              <c:ext xmlns:c16="http://schemas.microsoft.com/office/drawing/2014/chart" uri="{C3380CC4-5D6E-409C-BE32-E72D297353CC}">
                <c16:uniqueId val="{00000BC3-26BF-40B0-8A43-EC10D791E60B}"/>
              </c:ext>
            </c:extLst>
          </c:dPt>
          <c:dPt>
            <c:idx val="1505"/>
            <c:invertIfNegative val="1"/>
            <c:bubble3D val="0"/>
            <c:spPr>
              <a:solidFill>
                <a:srgbClr val="AEABAB"/>
              </a:solidFill>
            </c:spPr>
            <c:extLst>
              <c:ext xmlns:c16="http://schemas.microsoft.com/office/drawing/2014/chart" uri="{C3380CC4-5D6E-409C-BE32-E72D297353CC}">
                <c16:uniqueId val="{00000BC5-26BF-40B0-8A43-EC10D791E60B}"/>
              </c:ext>
            </c:extLst>
          </c:dPt>
          <c:dPt>
            <c:idx val="1506"/>
            <c:invertIfNegative val="1"/>
            <c:bubble3D val="0"/>
            <c:spPr>
              <a:solidFill>
                <a:srgbClr val="AEABAB"/>
              </a:solidFill>
            </c:spPr>
            <c:extLst>
              <c:ext xmlns:c16="http://schemas.microsoft.com/office/drawing/2014/chart" uri="{C3380CC4-5D6E-409C-BE32-E72D297353CC}">
                <c16:uniqueId val="{00000BC7-26BF-40B0-8A43-EC10D791E60B}"/>
              </c:ext>
            </c:extLst>
          </c:dPt>
          <c:dPt>
            <c:idx val="1507"/>
            <c:invertIfNegative val="1"/>
            <c:bubble3D val="0"/>
            <c:spPr>
              <a:solidFill>
                <a:srgbClr val="AEABAB"/>
              </a:solidFill>
            </c:spPr>
            <c:extLst>
              <c:ext xmlns:c16="http://schemas.microsoft.com/office/drawing/2014/chart" uri="{C3380CC4-5D6E-409C-BE32-E72D297353CC}">
                <c16:uniqueId val="{00000BC9-26BF-40B0-8A43-EC10D791E60B}"/>
              </c:ext>
            </c:extLst>
          </c:dPt>
          <c:dPt>
            <c:idx val="1508"/>
            <c:invertIfNegative val="1"/>
            <c:bubble3D val="0"/>
            <c:spPr>
              <a:solidFill>
                <a:srgbClr val="AEABAB"/>
              </a:solidFill>
            </c:spPr>
            <c:extLst>
              <c:ext xmlns:c16="http://schemas.microsoft.com/office/drawing/2014/chart" uri="{C3380CC4-5D6E-409C-BE32-E72D297353CC}">
                <c16:uniqueId val="{00000BCB-26BF-40B0-8A43-EC10D791E60B}"/>
              </c:ext>
            </c:extLst>
          </c:dPt>
          <c:dPt>
            <c:idx val="1509"/>
            <c:invertIfNegative val="1"/>
            <c:bubble3D val="0"/>
            <c:spPr>
              <a:solidFill>
                <a:srgbClr val="AEABAB"/>
              </a:solidFill>
            </c:spPr>
            <c:extLst>
              <c:ext xmlns:c16="http://schemas.microsoft.com/office/drawing/2014/chart" uri="{C3380CC4-5D6E-409C-BE32-E72D297353CC}">
                <c16:uniqueId val="{00000BCD-26BF-40B0-8A43-EC10D791E60B}"/>
              </c:ext>
            </c:extLst>
          </c:dPt>
          <c:dPt>
            <c:idx val="1510"/>
            <c:invertIfNegative val="1"/>
            <c:bubble3D val="0"/>
            <c:spPr>
              <a:solidFill>
                <a:srgbClr val="AEABAB"/>
              </a:solidFill>
            </c:spPr>
            <c:extLst>
              <c:ext xmlns:c16="http://schemas.microsoft.com/office/drawing/2014/chart" uri="{C3380CC4-5D6E-409C-BE32-E72D297353CC}">
                <c16:uniqueId val="{00000BCF-26BF-40B0-8A43-EC10D791E60B}"/>
              </c:ext>
            </c:extLst>
          </c:dPt>
          <c:dPt>
            <c:idx val="1511"/>
            <c:invertIfNegative val="1"/>
            <c:bubble3D val="0"/>
            <c:spPr>
              <a:solidFill>
                <a:srgbClr val="AEABAB"/>
              </a:solidFill>
            </c:spPr>
            <c:extLst>
              <c:ext xmlns:c16="http://schemas.microsoft.com/office/drawing/2014/chart" uri="{C3380CC4-5D6E-409C-BE32-E72D297353CC}">
                <c16:uniqueId val="{00000BD1-26BF-40B0-8A43-EC10D791E60B}"/>
              </c:ext>
            </c:extLst>
          </c:dPt>
          <c:dPt>
            <c:idx val="1512"/>
            <c:invertIfNegative val="1"/>
            <c:bubble3D val="0"/>
            <c:spPr>
              <a:solidFill>
                <a:srgbClr val="AEABAB"/>
              </a:solidFill>
            </c:spPr>
            <c:extLst>
              <c:ext xmlns:c16="http://schemas.microsoft.com/office/drawing/2014/chart" uri="{C3380CC4-5D6E-409C-BE32-E72D297353CC}">
                <c16:uniqueId val="{00000BD3-26BF-40B0-8A43-EC10D791E60B}"/>
              </c:ext>
            </c:extLst>
          </c:dPt>
          <c:dPt>
            <c:idx val="1513"/>
            <c:invertIfNegative val="1"/>
            <c:bubble3D val="0"/>
            <c:spPr>
              <a:solidFill>
                <a:srgbClr val="AEABAB"/>
              </a:solidFill>
            </c:spPr>
            <c:extLst>
              <c:ext xmlns:c16="http://schemas.microsoft.com/office/drawing/2014/chart" uri="{C3380CC4-5D6E-409C-BE32-E72D297353CC}">
                <c16:uniqueId val="{00000BD5-26BF-40B0-8A43-EC10D791E60B}"/>
              </c:ext>
            </c:extLst>
          </c:dPt>
          <c:dPt>
            <c:idx val="1514"/>
            <c:invertIfNegative val="1"/>
            <c:bubble3D val="0"/>
            <c:spPr>
              <a:solidFill>
                <a:srgbClr val="AEABAB"/>
              </a:solidFill>
            </c:spPr>
            <c:extLst>
              <c:ext xmlns:c16="http://schemas.microsoft.com/office/drawing/2014/chart" uri="{C3380CC4-5D6E-409C-BE32-E72D297353CC}">
                <c16:uniqueId val="{00000BD7-26BF-40B0-8A43-EC10D791E60B}"/>
              </c:ext>
            </c:extLst>
          </c:dPt>
          <c:dPt>
            <c:idx val="1515"/>
            <c:invertIfNegative val="1"/>
            <c:bubble3D val="0"/>
            <c:spPr>
              <a:solidFill>
                <a:srgbClr val="AEABAB"/>
              </a:solidFill>
            </c:spPr>
            <c:extLst>
              <c:ext xmlns:c16="http://schemas.microsoft.com/office/drawing/2014/chart" uri="{C3380CC4-5D6E-409C-BE32-E72D297353CC}">
                <c16:uniqueId val="{00000BD9-26BF-40B0-8A43-EC10D791E60B}"/>
              </c:ext>
            </c:extLst>
          </c:dPt>
          <c:dPt>
            <c:idx val="1516"/>
            <c:invertIfNegative val="1"/>
            <c:bubble3D val="0"/>
            <c:spPr>
              <a:solidFill>
                <a:srgbClr val="AEABAB"/>
              </a:solidFill>
            </c:spPr>
            <c:extLst>
              <c:ext xmlns:c16="http://schemas.microsoft.com/office/drawing/2014/chart" uri="{C3380CC4-5D6E-409C-BE32-E72D297353CC}">
                <c16:uniqueId val="{00000BDB-26BF-40B0-8A43-EC10D791E60B}"/>
              </c:ext>
            </c:extLst>
          </c:dPt>
          <c:dPt>
            <c:idx val="1517"/>
            <c:invertIfNegative val="1"/>
            <c:bubble3D val="0"/>
            <c:spPr>
              <a:solidFill>
                <a:srgbClr val="AEABAB"/>
              </a:solidFill>
            </c:spPr>
            <c:extLst>
              <c:ext xmlns:c16="http://schemas.microsoft.com/office/drawing/2014/chart" uri="{C3380CC4-5D6E-409C-BE32-E72D297353CC}">
                <c16:uniqueId val="{00000BDD-26BF-40B0-8A43-EC10D791E60B}"/>
              </c:ext>
            </c:extLst>
          </c:dPt>
          <c:dPt>
            <c:idx val="1518"/>
            <c:invertIfNegative val="1"/>
            <c:bubble3D val="0"/>
            <c:spPr>
              <a:solidFill>
                <a:srgbClr val="AEABAB"/>
              </a:solidFill>
            </c:spPr>
            <c:extLst>
              <c:ext xmlns:c16="http://schemas.microsoft.com/office/drawing/2014/chart" uri="{C3380CC4-5D6E-409C-BE32-E72D297353CC}">
                <c16:uniqueId val="{00000BDF-26BF-40B0-8A43-EC10D791E60B}"/>
              </c:ext>
            </c:extLst>
          </c:dPt>
          <c:dPt>
            <c:idx val="1519"/>
            <c:invertIfNegative val="1"/>
            <c:bubble3D val="0"/>
            <c:spPr>
              <a:solidFill>
                <a:srgbClr val="AEABAB"/>
              </a:solidFill>
            </c:spPr>
            <c:extLst>
              <c:ext xmlns:c16="http://schemas.microsoft.com/office/drawing/2014/chart" uri="{C3380CC4-5D6E-409C-BE32-E72D297353CC}">
                <c16:uniqueId val="{00000BE1-26BF-40B0-8A43-EC10D791E60B}"/>
              </c:ext>
            </c:extLst>
          </c:dPt>
          <c:dPt>
            <c:idx val="1520"/>
            <c:invertIfNegative val="1"/>
            <c:bubble3D val="0"/>
            <c:spPr>
              <a:solidFill>
                <a:srgbClr val="AEABAB"/>
              </a:solidFill>
            </c:spPr>
            <c:extLst>
              <c:ext xmlns:c16="http://schemas.microsoft.com/office/drawing/2014/chart" uri="{C3380CC4-5D6E-409C-BE32-E72D297353CC}">
                <c16:uniqueId val="{00000BE3-26BF-40B0-8A43-EC10D791E60B}"/>
              </c:ext>
            </c:extLst>
          </c:dPt>
          <c:dPt>
            <c:idx val="1521"/>
            <c:invertIfNegative val="1"/>
            <c:bubble3D val="0"/>
            <c:spPr>
              <a:solidFill>
                <a:srgbClr val="AEABAB"/>
              </a:solidFill>
            </c:spPr>
            <c:extLst>
              <c:ext xmlns:c16="http://schemas.microsoft.com/office/drawing/2014/chart" uri="{C3380CC4-5D6E-409C-BE32-E72D297353CC}">
                <c16:uniqueId val="{00000BE5-26BF-40B0-8A43-EC10D791E60B}"/>
              </c:ext>
            </c:extLst>
          </c:dPt>
          <c:dPt>
            <c:idx val="1522"/>
            <c:invertIfNegative val="1"/>
            <c:bubble3D val="0"/>
            <c:spPr>
              <a:solidFill>
                <a:srgbClr val="AEABAB"/>
              </a:solidFill>
            </c:spPr>
            <c:extLst>
              <c:ext xmlns:c16="http://schemas.microsoft.com/office/drawing/2014/chart" uri="{C3380CC4-5D6E-409C-BE32-E72D297353CC}">
                <c16:uniqueId val="{00000BE7-26BF-40B0-8A43-EC10D791E60B}"/>
              </c:ext>
            </c:extLst>
          </c:dPt>
          <c:dPt>
            <c:idx val="1523"/>
            <c:invertIfNegative val="1"/>
            <c:bubble3D val="0"/>
            <c:spPr>
              <a:solidFill>
                <a:srgbClr val="AEABAB"/>
              </a:solidFill>
            </c:spPr>
            <c:extLst>
              <c:ext xmlns:c16="http://schemas.microsoft.com/office/drawing/2014/chart" uri="{C3380CC4-5D6E-409C-BE32-E72D297353CC}">
                <c16:uniqueId val="{00000BE9-26BF-40B0-8A43-EC10D791E60B}"/>
              </c:ext>
            </c:extLst>
          </c:dPt>
          <c:dPt>
            <c:idx val="1524"/>
            <c:invertIfNegative val="1"/>
            <c:bubble3D val="0"/>
            <c:spPr>
              <a:solidFill>
                <a:srgbClr val="AEABAB"/>
              </a:solidFill>
            </c:spPr>
            <c:extLst>
              <c:ext xmlns:c16="http://schemas.microsoft.com/office/drawing/2014/chart" uri="{C3380CC4-5D6E-409C-BE32-E72D297353CC}">
                <c16:uniqueId val="{00000BEB-26BF-40B0-8A43-EC10D791E60B}"/>
              </c:ext>
            </c:extLst>
          </c:dPt>
          <c:dPt>
            <c:idx val="1525"/>
            <c:invertIfNegative val="1"/>
            <c:bubble3D val="0"/>
            <c:spPr>
              <a:solidFill>
                <a:srgbClr val="AEABAB"/>
              </a:solidFill>
            </c:spPr>
            <c:extLst>
              <c:ext xmlns:c16="http://schemas.microsoft.com/office/drawing/2014/chart" uri="{C3380CC4-5D6E-409C-BE32-E72D297353CC}">
                <c16:uniqueId val="{00000BED-26BF-40B0-8A43-EC10D791E60B}"/>
              </c:ext>
            </c:extLst>
          </c:dPt>
          <c:dPt>
            <c:idx val="1526"/>
            <c:invertIfNegative val="1"/>
            <c:bubble3D val="0"/>
            <c:spPr>
              <a:solidFill>
                <a:srgbClr val="AEABAB"/>
              </a:solidFill>
            </c:spPr>
            <c:extLst>
              <c:ext xmlns:c16="http://schemas.microsoft.com/office/drawing/2014/chart" uri="{C3380CC4-5D6E-409C-BE32-E72D297353CC}">
                <c16:uniqueId val="{00000BEF-26BF-40B0-8A43-EC10D791E60B}"/>
              </c:ext>
            </c:extLst>
          </c:dPt>
          <c:dPt>
            <c:idx val="1527"/>
            <c:invertIfNegative val="1"/>
            <c:bubble3D val="0"/>
            <c:spPr>
              <a:solidFill>
                <a:srgbClr val="AEABAB"/>
              </a:solidFill>
            </c:spPr>
            <c:extLst>
              <c:ext xmlns:c16="http://schemas.microsoft.com/office/drawing/2014/chart" uri="{C3380CC4-5D6E-409C-BE32-E72D297353CC}">
                <c16:uniqueId val="{00000BF1-26BF-40B0-8A43-EC10D791E60B}"/>
              </c:ext>
            </c:extLst>
          </c:dPt>
          <c:dPt>
            <c:idx val="1528"/>
            <c:invertIfNegative val="1"/>
            <c:bubble3D val="0"/>
            <c:spPr>
              <a:solidFill>
                <a:srgbClr val="AEABAB"/>
              </a:solidFill>
            </c:spPr>
            <c:extLst>
              <c:ext xmlns:c16="http://schemas.microsoft.com/office/drawing/2014/chart" uri="{C3380CC4-5D6E-409C-BE32-E72D297353CC}">
                <c16:uniqueId val="{00000BF3-26BF-40B0-8A43-EC10D791E60B}"/>
              </c:ext>
            </c:extLst>
          </c:dPt>
          <c:dPt>
            <c:idx val="1529"/>
            <c:invertIfNegative val="1"/>
            <c:bubble3D val="0"/>
            <c:spPr>
              <a:solidFill>
                <a:srgbClr val="AEABAB"/>
              </a:solidFill>
            </c:spPr>
            <c:extLst>
              <c:ext xmlns:c16="http://schemas.microsoft.com/office/drawing/2014/chart" uri="{C3380CC4-5D6E-409C-BE32-E72D297353CC}">
                <c16:uniqueId val="{00000BF5-26BF-40B0-8A43-EC10D791E60B}"/>
              </c:ext>
            </c:extLst>
          </c:dPt>
          <c:dPt>
            <c:idx val="1530"/>
            <c:invertIfNegative val="1"/>
            <c:bubble3D val="0"/>
            <c:spPr>
              <a:solidFill>
                <a:srgbClr val="AEABAB"/>
              </a:solidFill>
            </c:spPr>
            <c:extLst>
              <c:ext xmlns:c16="http://schemas.microsoft.com/office/drawing/2014/chart" uri="{C3380CC4-5D6E-409C-BE32-E72D297353CC}">
                <c16:uniqueId val="{00000BF7-26BF-40B0-8A43-EC10D791E60B}"/>
              </c:ext>
            </c:extLst>
          </c:dPt>
          <c:dPt>
            <c:idx val="1531"/>
            <c:invertIfNegative val="1"/>
            <c:bubble3D val="0"/>
            <c:spPr>
              <a:solidFill>
                <a:srgbClr val="AEABAB"/>
              </a:solidFill>
            </c:spPr>
            <c:extLst>
              <c:ext xmlns:c16="http://schemas.microsoft.com/office/drawing/2014/chart" uri="{C3380CC4-5D6E-409C-BE32-E72D297353CC}">
                <c16:uniqueId val="{00000BF9-26BF-40B0-8A43-EC10D791E60B}"/>
              </c:ext>
            </c:extLst>
          </c:dPt>
          <c:dPt>
            <c:idx val="1532"/>
            <c:invertIfNegative val="1"/>
            <c:bubble3D val="0"/>
            <c:spPr>
              <a:solidFill>
                <a:srgbClr val="AEABAB"/>
              </a:solidFill>
            </c:spPr>
            <c:extLst>
              <c:ext xmlns:c16="http://schemas.microsoft.com/office/drawing/2014/chart" uri="{C3380CC4-5D6E-409C-BE32-E72D297353CC}">
                <c16:uniqueId val="{00000BFB-26BF-40B0-8A43-EC10D791E60B}"/>
              </c:ext>
            </c:extLst>
          </c:dPt>
          <c:dPt>
            <c:idx val="1533"/>
            <c:invertIfNegative val="1"/>
            <c:bubble3D val="0"/>
            <c:spPr>
              <a:solidFill>
                <a:srgbClr val="AEABAB"/>
              </a:solidFill>
            </c:spPr>
            <c:extLst>
              <c:ext xmlns:c16="http://schemas.microsoft.com/office/drawing/2014/chart" uri="{C3380CC4-5D6E-409C-BE32-E72D297353CC}">
                <c16:uniqueId val="{00000BFD-26BF-40B0-8A43-EC10D791E60B}"/>
              </c:ext>
            </c:extLst>
          </c:dPt>
          <c:dPt>
            <c:idx val="1534"/>
            <c:invertIfNegative val="1"/>
            <c:bubble3D val="0"/>
            <c:spPr>
              <a:solidFill>
                <a:srgbClr val="AEABAB"/>
              </a:solidFill>
            </c:spPr>
            <c:extLst>
              <c:ext xmlns:c16="http://schemas.microsoft.com/office/drawing/2014/chart" uri="{C3380CC4-5D6E-409C-BE32-E72D297353CC}">
                <c16:uniqueId val="{00000BFF-26BF-40B0-8A43-EC10D791E60B}"/>
              </c:ext>
            </c:extLst>
          </c:dPt>
          <c:dPt>
            <c:idx val="1535"/>
            <c:invertIfNegative val="1"/>
            <c:bubble3D val="0"/>
            <c:spPr>
              <a:solidFill>
                <a:srgbClr val="AEABAB"/>
              </a:solidFill>
            </c:spPr>
            <c:extLst>
              <c:ext xmlns:c16="http://schemas.microsoft.com/office/drawing/2014/chart" uri="{C3380CC4-5D6E-409C-BE32-E72D297353CC}">
                <c16:uniqueId val="{00000C01-26BF-40B0-8A43-EC10D791E60B}"/>
              </c:ext>
            </c:extLst>
          </c:dPt>
          <c:dPt>
            <c:idx val="1536"/>
            <c:invertIfNegative val="1"/>
            <c:bubble3D val="0"/>
            <c:spPr>
              <a:solidFill>
                <a:srgbClr val="AEABAB"/>
              </a:solidFill>
            </c:spPr>
            <c:extLst>
              <c:ext xmlns:c16="http://schemas.microsoft.com/office/drawing/2014/chart" uri="{C3380CC4-5D6E-409C-BE32-E72D297353CC}">
                <c16:uniqueId val="{00000C03-26BF-40B0-8A43-EC10D791E60B}"/>
              </c:ext>
            </c:extLst>
          </c:dPt>
          <c:dPt>
            <c:idx val="1537"/>
            <c:invertIfNegative val="1"/>
            <c:bubble3D val="0"/>
            <c:spPr>
              <a:solidFill>
                <a:srgbClr val="AEABAB"/>
              </a:solidFill>
            </c:spPr>
            <c:extLst>
              <c:ext xmlns:c16="http://schemas.microsoft.com/office/drawing/2014/chart" uri="{C3380CC4-5D6E-409C-BE32-E72D297353CC}">
                <c16:uniqueId val="{00000C05-26BF-40B0-8A43-EC10D791E60B}"/>
              </c:ext>
            </c:extLst>
          </c:dPt>
          <c:dPt>
            <c:idx val="1538"/>
            <c:invertIfNegative val="1"/>
            <c:bubble3D val="0"/>
            <c:spPr>
              <a:solidFill>
                <a:srgbClr val="AEABAB"/>
              </a:solidFill>
            </c:spPr>
            <c:extLst>
              <c:ext xmlns:c16="http://schemas.microsoft.com/office/drawing/2014/chart" uri="{C3380CC4-5D6E-409C-BE32-E72D297353CC}">
                <c16:uniqueId val="{00000C07-26BF-40B0-8A43-EC10D791E60B}"/>
              </c:ext>
            </c:extLst>
          </c:dPt>
          <c:dPt>
            <c:idx val="1539"/>
            <c:invertIfNegative val="1"/>
            <c:bubble3D val="0"/>
            <c:spPr>
              <a:solidFill>
                <a:srgbClr val="AEABAB"/>
              </a:solidFill>
            </c:spPr>
            <c:extLst>
              <c:ext xmlns:c16="http://schemas.microsoft.com/office/drawing/2014/chart" uri="{C3380CC4-5D6E-409C-BE32-E72D297353CC}">
                <c16:uniqueId val="{00000C09-26BF-40B0-8A43-EC10D791E60B}"/>
              </c:ext>
            </c:extLst>
          </c:dPt>
          <c:dPt>
            <c:idx val="1540"/>
            <c:invertIfNegative val="1"/>
            <c:bubble3D val="0"/>
            <c:spPr>
              <a:solidFill>
                <a:srgbClr val="AEABAB"/>
              </a:solidFill>
            </c:spPr>
            <c:extLst>
              <c:ext xmlns:c16="http://schemas.microsoft.com/office/drawing/2014/chart" uri="{C3380CC4-5D6E-409C-BE32-E72D297353CC}">
                <c16:uniqueId val="{00000C0B-26BF-40B0-8A43-EC10D791E60B}"/>
              </c:ext>
            </c:extLst>
          </c:dPt>
          <c:dPt>
            <c:idx val="1541"/>
            <c:invertIfNegative val="1"/>
            <c:bubble3D val="0"/>
            <c:spPr>
              <a:solidFill>
                <a:srgbClr val="AEABAB"/>
              </a:solidFill>
            </c:spPr>
            <c:extLst>
              <c:ext xmlns:c16="http://schemas.microsoft.com/office/drawing/2014/chart" uri="{C3380CC4-5D6E-409C-BE32-E72D297353CC}">
                <c16:uniqueId val="{00000C0D-26BF-40B0-8A43-EC10D791E60B}"/>
              </c:ext>
            </c:extLst>
          </c:dPt>
          <c:dPt>
            <c:idx val="1542"/>
            <c:invertIfNegative val="1"/>
            <c:bubble3D val="0"/>
            <c:spPr>
              <a:solidFill>
                <a:srgbClr val="AEABAB"/>
              </a:solidFill>
            </c:spPr>
            <c:extLst>
              <c:ext xmlns:c16="http://schemas.microsoft.com/office/drawing/2014/chart" uri="{C3380CC4-5D6E-409C-BE32-E72D297353CC}">
                <c16:uniqueId val="{00000C0F-26BF-40B0-8A43-EC10D791E60B}"/>
              </c:ext>
            </c:extLst>
          </c:dPt>
          <c:dPt>
            <c:idx val="1543"/>
            <c:invertIfNegative val="1"/>
            <c:bubble3D val="0"/>
            <c:spPr>
              <a:solidFill>
                <a:srgbClr val="AEABAB"/>
              </a:solidFill>
            </c:spPr>
            <c:extLst>
              <c:ext xmlns:c16="http://schemas.microsoft.com/office/drawing/2014/chart" uri="{C3380CC4-5D6E-409C-BE32-E72D297353CC}">
                <c16:uniqueId val="{00000C11-26BF-40B0-8A43-EC10D791E60B}"/>
              </c:ext>
            </c:extLst>
          </c:dPt>
          <c:dPt>
            <c:idx val="1544"/>
            <c:invertIfNegative val="1"/>
            <c:bubble3D val="0"/>
            <c:spPr>
              <a:solidFill>
                <a:srgbClr val="AEABAB"/>
              </a:solidFill>
            </c:spPr>
            <c:extLst>
              <c:ext xmlns:c16="http://schemas.microsoft.com/office/drawing/2014/chart" uri="{C3380CC4-5D6E-409C-BE32-E72D297353CC}">
                <c16:uniqueId val="{00000C13-26BF-40B0-8A43-EC10D791E60B}"/>
              </c:ext>
            </c:extLst>
          </c:dPt>
          <c:dPt>
            <c:idx val="1545"/>
            <c:invertIfNegative val="1"/>
            <c:bubble3D val="0"/>
            <c:spPr>
              <a:solidFill>
                <a:srgbClr val="AEABAB"/>
              </a:solidFill>
            </c:spPr>
            <c:extLst>
              <c:ext xmlns:c16="http://schemas.microsoft.com/office/drawing/2014/chart" uri="{C3380CC4-5D6E-409C-BE32-E72D297353CC}">
                <c16:uniqueId val="{00000C15-26BF-40B0-8A43-EC10D791E60B}"/>
              </c:ext>
            </c:extLst>
          </c:dPt>
          <c:dPt>
            <c:idx val="1546"/>
            <c:invertIfNegative val="1"/>
            <c:bubble3D val="0"/>
            <c:spPr>
              <a:solidFill>
                <a:srgbClr val="AEABAB"/>
              </a:solidFill>
            </c:spPr>
            <c:extLst>
              <c:ext xmlns:c16="http://schemas.microsoft.com/office/drawing/2014/chart" uri="{C3380CC4-5D6E-409C-BE32-E72D297353CC}">
                <c16:uniqueId val="{00000C17-26BF-40B0-8A43-EC10D791E60B}"/>
              </c:ext>
            </c:extLst>
          </c:dPt>
          <c:dPt>
            <c:idx val="1547"/>
            <c:invertIfNegative val="1"/>
            <c:bubble3D val="0"/>
            <c:spPr>
              <a:solidFill>
                <a:srgbClr val="AEABAB"/>
              </a:solidFill>
            </c:spPr>
            <c:extLst>
              <c:ext xmlns:c16="http://schemas.microsoft.com/office/drawing/2014/chart" uri="{C3380CC4-5D6E-409C-BE32-E72D297353CC}">
                <c16:uniqueId val="{00000C19-26BF-40B0-8A43-EC10D791E60B}"/>
              </c:ext>
            </c:extLst>
          </c:dPt>
          <c:dPt>
            <c:idx val="1548"/>
            <c:invertIfNegative val="1"/>
            <c:bubble3D val="0"/>
            <c:spPr>
              <a:solidFill>
                <a:srgbClr val="AEABAB"/>
              </a:solidFill>
            </c:spPr>
            <c:extLst>
              <c:ext xmlns:c16="http://schemas.microsoft.com/office/drawing/2014/chart" uri="{C3380CC4-5D6E-409C-BE32-E72D297353CC}">
                <c16:uniqueId val="{00000C1B-26BF-40B0-8A43-EC10D791E60B}"/>
              </c:ext>
            </c:extLst>
          </c:dPt>
          <c:dPt>
            <c:idx val="1549"/>
            <c:invertIfNegative val="1"/>
            <c:bubble3D val="0"/>
            <c:spPr>
              <a:solidFill>
                <a:srgbClr val="AEABAB"/>
              </a:solidFill>
            </c:spPr>
            <c:extLst>
              <c:ext xmlns:c16="http://schemas.microsoft.com/office/drawing/2014/chart" uri="{C3380CC4-5D6E-409C-BE32-E72D297353CC}">
                <c16:uniqueId val="{00000C1D-26BF-40B0-8A43-EC10D791E60B}"/>
              </c:ext>
            </c:extLst>
          </c:dPt>
          <c:dPt>
            <c:idx val="1550"/>
            <c:invertIfNegative val="1"/>
            <c:bubble3D val="0"/>
            <c:spPr>
              <a:solidFill>
                <a:srgbClr val="AEABAB"/>
              </a:solidFill>
            </c:spPr>
            <c:extLst>
              <c:ext xmlns:c16="http://schemas.microsoft.com/office/drawing/2014/chart" uri="{C3380CC4-5D6E-409C-BE32-E72D297353CC}">
                <c16:uniqueId val="{00000C1F-26BF-40B0-8A43-EC10D791E60B}"/>
              </c:ext>
            </c:extLst>
          </c:dPt>
          <c:dPt>
            <c:idx val="1551"/>
            <c:invertIfNegative val="1"/>
            <c:bubble3D val="0"/>
            <c:spPr>
              <a:solidFill>
                <a:srgbClr val="AEABAB"/>
              </a:solidFill>
            </c:spPr>
            <c:extLst>
              <c:ext xmlns:c16="http://schemas.microsoft.com/office/drawing/2014/chart" uri="{C3380CC4-5D6E-409C-BE32-E72D297353CC}">
                <c16:uniqueId val="{00000C21-26BF-40B0-8A43-EC10D791E60B}"/>
              </c:ext>
            </c:extLst>
          </c:dPt>
          <c:dPt>
            <c:idx val="1552"/>
            <c:invertIfNegative val="1"/>
            <c:bubble3D val="0"/>
            <c:spPr>
              <a:solidFill>
                <a:srgbClr val="AEABAB"/>
              </a:solidFill>
            </c:spPr>
            <c:extLst>
              <c:ext xmlns:c16="http://schemas.microsoft.com/office/drawing/2014/chart" uri="{C3380CC4-5D6E-409C-BE32-E72D297353CC}">
                <c16:uniqueId val="{00000C23-26BF-40B0-8A43-EC10D791E60B}"/>
              </c:ext>
            </c:extLst>
          </c:dPt>
          <c:dPt>
            <c:idx val="1553"/>
            <c:invertIfNegative val="1"/>
            <c:bubble3D val="0"/>
            <c:spPr>
              <a:solidFill>
                <a:srgbClr val="AEABAB"/>
              </a:solidFill>
            </c:spPr>
            <c:extLst>
              <c:ext xmlns:c16="http://schemas.microsoft.com/office/drawing/2014/chart" uri="{C3380CC4-5D6E-409C-BE32-E72D297353CC}">
                <c16:uniqueId val="{00000C25-26BF-40B0-8A43-EC10D791E60B}"/>
              </c:ext>
            </c:extLst>
          </c:dPt>
          <c:dPt>
            <c:idx val="1554"/>
            <c:invertIfNegative val="1"/>
            <c:bubble3D val="0"/>
            <c:spPr>
              <a:solidFill>
                <a:srgbClr val="AEABAB"/>
              </a:solidFill>
            </c:spPr>
            <c:extLst>
              <c:ext xmlns:c16="http://schemas.microsoft.com/office/drawing/2014/chart" uri="{C3380CC4-5D6E-409C-BE32-E72D297353CC}">
                <c16:uniqueId val="{00000C27-26BF-40B0-8A43-EC10D791E60B}"/>
              </c:ext>
            </c:extLst>
          </c:dPt>
          <c:dPt>
            <c:idx val="1555"/>
            <c:invertIfNegative val="1"/>
            <c:bubble3D val="0"/>
            <c:spPr>
              <a:solidFill>
                <a:srgbClr val="AEABAB"/>
              </a:solidFill>
            </c:spPr>
            <c:extLst>
              <c:ext xmlns:c16="http://schemas.microsoft.com/office/drawing/2014/chart" uri="{C3380CC4-5D6E-409C-BE32-E72D297353CC}">
                <c16:uniqueId val="{00000C29-26BF-40B0-8A43-EC10D791E60B}"/>
              </c:ext>
            </c:extLst>
          </c:dPt>
          <c:dPt>
            <c:idx val="1556"/>
            <c:invertIfNegative val="1"/>
            <c:bubble3D val="0"/>
            <c:spPr>
              <a:solidFill>
                <a:srgbClr val="AEABAB"/>
              </a:solidFill>
            </c:spPr>
            <c:extLst>
              <c:ext xmlns:c16="http://schemas.microsoft.com/office/drawing/2014/chart" uri="{C3380CC4-5D6E-409C-BE32-E72D297353CC}">
                <c16:uniqueId val="{00000C2B-26BF-40B0-8A43-EC10D791E60B}"/>
              </c:ext>
            </c:extLst>
          </c:dPt>
          <c:dPt>
            <c:idx val="1557"/>
            <c:invertIfNegative val="1"/>
            <c:bubble3D val="0"/>
            <c:spPr>
              <a:solidFill>
                <a:srgbClr val="AEABAB"/>
              </a:solidFill>
            </c:spPr>
            <c:extLst>
              <c:ext xmlns:c16="http://schemas.microsoft.com/office/drawing/2014/chart" uri="{C3380CC4-5D6E-409C-BE32-E72D297353CC}">
                <c16:uniqueId val="{00000C2D-26BF-40B0-8A43-EC10D791E60B}"/>
              </c:ext>
            </c:extLst>
          </c:dPt>
          <c:dPt>
            <c:idx val="1558"/>
            <c:invertIfNegative val="1"/>
            <c:bubble3D val="0"/>
            <c:spPr>
              <a:solidFill>
                <a:srgbClr val="AEABAB"/>
              </a:solidFill>
            </c:spPr>
            <c:extLst>
              <c:ext xmlns:c16="http://schemas.microsoft.com/office/drawing/2014/chart" uri="{C3380CC4-5D6E-409C-BE32-E72D297353CC}">
                <c16:uniqueId val="{00000C2F-26BF-40B0-8A43-EC10D791E60B}"/>
              </c:ext>
            </c:extLst>
          </c:dPt>
          <c:dPt>
            <c:idx val="1559"/>
            <c:invertIfNegative val="1"/>
            <c:bubble3D val="0"/>
            <c:spPr>
              <a:solidFill>
                <a:srgbClr val="AEABAB"/>
              </a:solidFill>
            </c:spPr>
            <c:extLst>
              <c:ext xmlns:c16="http://schemas.microsoft.com/office/drawing/2014/chart" uri="{C3380CC4-5D6E-409C-BE32-E72D297353CC}">
                <c16:uniqueId val="{00000C31-26BF-40B0-8A43-EC10D791E60B}"/>
              </c:ext>
            </c:extLst>
          </c:dPt>
          <c:dPt>
            <c:idx val="1560"/>
            <c:invertIfNegative val="1"/>
            <c:bubble3D val="0"/>
            <c:spPr>
              <a:solidFill>
                <a:srgbClr val="AEABAB"/>
              </a:solidFill>
            </c:spPr>
            <c:extLst>
              <c:ext xmlns:c16="http://schemas.microsoft.com/office/drawing/2014/chart" uri="{C3380CC4-5D6E-409C-BE32-E72D297353CC}">
                <c16:uniqueId val="{00000C33-26BF-40B0-8A43-EC10D791E60B}"/>
              </c:ext>
            </c:extLst>
          </c:dPt>
          <c:dPt>
            <c:idx val="1561"/>
            <c:invertIfNegative val="1"/>
            <c:bubble3D val="0"/>
            <c:spPr>
              <a:solidFill>
                <a:srgbClr val="AEABAB"/>
              </a:solidFill>
            </c:spPr>
            <c:extLst>
              <c:ext xmlns:c16="http://schemas.microsoft.com/office/drawing/2014/chart" uri="{C3380CC4-5D6E-409C-BE32-E72D297353CC}">
                <c16:uniqueId val="{00000C35-26BF-40B0-8A43-EC10D791E60B}"/>
              </c:ext>
            </c:extLst>
          </c:dPt>
          <c:dPt>
            <c:idx val="1562"/>
            <c:invertIfNegative val="1"/>
            <c:bubble3D val="0"/>
            <c:spPr>
              <a:solidFill>
                <a:srgbClr val="AEABAB"/>
              </a:solidFill>
            </c:spPr>
            <c:extLst>
              <c:ext xmlns:c16="http://schemas.microsoft.com/office/drawing/2014/chart" uri="{C3380CC4-5D6E-409C-BE32-E72D297353CC}">
                <c16:uniqueId val="{00000C37-26BF-40B0-8A43-EC10D791E60B}"/>
              </c:ext>
            </c:extLst>
          </c:dPt>
          <c:dPt>
            <c:idx val="1563"/>
            <c:invertIfNegative val="1"/>
            <c:bubble3D val="0"/>
            <c:spPr>
              <a:solidFill>
                <a:srgbClr val="AEABAB"/>
              </a:solidFill>
            </c:spPr>
            <c:extLst>
              <c:ext xmlns:c16="http://schemas.microsoft.com/office/drawing/2014/chart" uri="{C3380CC4-5D6E-409C-BE32-E72D297353CC}">
                <c16:uniqueId val="{00000C39-26BF-40B0-8A43-EC10D791E60B}"/>
              </c:ext>
            </c:extLst>
          </c:dPt>
          <c:dPt>
            <c:idx val="1564"/>
            <c:invertIfNegative val="1"/>
            <c:bubble3D val="0"/>
            <c:spPr>
              <a:solidFill>
                <a:srgbClr val="AEABAB"/>
              </a:solidFill>
            </c:spPr>
            <c:extLst>
              <c:ext xmlns:c16="http://schemas.microsoft.com/office/drawing/2014/chart" uri="{C3380CC4-5D6E-409C-BE32-E72D297353CC}">
                <c16:uniqueId val="{00000C3B-26BF-40B0-8A43-EC10D791E60B}"/>
              </c:ext>
            </c:extLst>
          </c:dPt>
          <c:dPt>
            <c:idx val="1565"/>
            <c:invertIfNegative val="1"/>
            <c:bubble3D val="0"/>
            <c:spPr>
              <a:solidFill>
                <a:srgbClr val="AEABAB"/>
              </a:solidFill>
            </c:spPr>
            <c:extLst>
              <c:ext xmlns:c16="http://schemas.microsoft.com/office/drawing/2014/chart" uri="{C3380CC4-5D6E-409C-BE32-E72D297353CC}">
                <c16:uniqueId val="{00000C3D-26BF-40B0-8A43-EC10D791E60B}"/>
              </c:ext>
            </c:extLst>
          </c:dPt>
          <c:dPt>
            <c:idx val="1566"/>
            <c:invertIfNegative val="1"/>
            <c:bubble3D val="0"/>
            <c:spPr>
              <a:solidFill>
                <a:srgbClr val="AEABAB"/>
              </a:solidFill>
            </c:spPr>
            <c:extLst>
              <c:ext xmlns:c16="http://schemas.microsoft.com/office/drawing/2014/chart" uri="{C3380CC4-5D6E-409C-BE32-E72D297353CC}">
                <c16:uniqueId val="{00000C3F-26BF-40B0-8A43-EC10D791E60B}"/>
              </c:ext>
            </c:extLst>
          </c:dPt>
          <c:dPt>
            <c:idx val="1567"/>
            <c:invertIfNegative val="1"/>
            <c:bubble3D val="0"/>
            <c:spPr>
              <a:solidFill>
                <a:srgbClr val="AEABAB"/>
              </a:solidFill>
            </c:spPr>
            <c:extLst>
              <c:ext xmlns:c16="http://schemas.microsoft.com/office/drawing/2014/chart" uri="{C3380CC4-5D6E-409C-BE32-E72D297353CC}">
                <c16:uniqueId val="{00000C41-26BF-40B0-8A43-EC10D791E60B}"/>
              </c:ext>
            </c:extLst>
          </c:dPt>
          <c:dPt>
            <c:idx val="1568"/>
            <c:invertIfNegative val="1"/>
            <c:bubble3D val="0"/>
            <c:spPr>
              <a:solidFill>
                <a:srgbClr val="AEABAB"/>
              </a:solidFill>
            </c:spPr>
            <c:extLst>
              <c:ext xmlns:c16="http://schemas.microsoft.com/office/drawing/2014/chart" uri="{C3380CC4-5D6E-409C-BE32-E72D297353CC}">
                <c16:uniqueId val="{00000C43-26BF-40B0-8A43-EC10D791E60B}"/>
              </c:ext>
            </c:extLst>
          </c:dPt>
          <c:dPt>
            <c:idx val="1569"/>
            <c:invertIfNegative val="1"/>
            <c:bubble3D val="0"/>
            <c:spPr>
              <a:solidFill>
                <a:srgbClr val="AEABAB"/>
              </a:solidFill>
            </c:spPr>
            <c:extLst>
              <c:ext xmlns:c16="http://schemas.microsoft.com/office/drawing/2014/chart" uri="{C3380CC4-5D6E-409C-BE32-E72D297353CC}">
                <c16:uniqueId val="{00000C45-26BF-40B0-8A43-EC10D791E60B}"/>
              </c:ext>
            </c:extLst>
          </c:dPt>
          <c:dPt>
            <c:idx val="1570"/>
            <c:invertIfNegative val="1"/>
            <c:bubble3D val="0"/>
            <c:spPr>
              <a:solidFill>
                <a:srgbClr val="AEABAB"/>
              </a:solidFill>
            </c:spPr>
            <c:extLst>
              <c:ext xmlns:c16="http://schemas.microsoft.com/office/drawing/2014/chart" uri="{C3380CC4-5D6E-409C-BE32-E72D297353CC}">
                <c16:uniqueId val="{00000C47-26BF-40B0-8A43-EC10D791E60B}"/>
              </c:ext>
            </c:extLst>
          </c:dPt>
          <c:dPt>
            <c:idx val="1571"/>
            <c:invertIfNegative val="1"/>
            <c:bubble3D val="0"/>
            <c:spPr>
              <a:solidFill>
                <a:srgbClr val="AEABAB"/>
              </a:solidFill>
            </c:spPr>
            <c:extLst>
              <c:ext xmlns:c16="http://schemas.microsoft.com/office/drawing/2014/chart" uri="{C3380CC4-5D6E-409C-BE32-E72D297353CC}">
                <c16:uniqueId val="{00000C49-26BF-40B0-8A43-EC10D791E60B}"/>
              </c:ext>
            </c:extLst>
          </c:dPt>
          <c:dPt>
            <c:idx val="1572"/>
            <c:invertIfNegative val="1"/>
            <c:bubble3D val="0"/>
            <c:spPr>
              <a:solidFill>
                <a:srgbClr val="AEABAB"/>
              </a:solidFill>
            </c:spPr>
            <c:extLst>
              <c:ext xmlns:c16="http://schemas.microsoft.com/office/drawing/2014/chart" uri="{C3380CC4-5D6E-409C-BE32-E72D297353CC}">
                <c16:uniqueId val="{00000C4B-26BF-40B0-8A43-EC10D791E60B}"/>
              </c:ext>
            </c:extLst>
          </c:dPt>
          <c:dPt>
            <c:idx val="1573"/>
            <c:invertIfNegative val="1"/>
            <c:bubble3D val="0"/>
            <c:spPr>
              <a:solidFill>
                <a:srgbClr val="AEABAB"/>
              </a:solidFill>
            </c:spPr>
            <c:extLst>
              <c:ext xmlns:c16="http://schemas.microsoft.com/office/drawing/2014/chart" uri="{C3380CC4-5D6E-409C-BE32-E72D297353CC}">
                <c16:uniqueId val="{00000C4D-26BF-40B0-8A43-EC10D791E60B}"/>
              </c:ext>
            </c:extLst>
          </c:dPt>
          <c:dPt>
            <c:idx val="1574"/>
            <c:invertIfNegative val="1"/>
            <c:bubble3D val="0"/>
            <c:spPr>
              <a:solidFill>
                <a:srgbClr val="AEABAB"/>
              </a:solidFill>
            </c:spPr>
            <c:extLst>
              <c:ext xmlns:c16="http://schemas.microsoft.com/office/drawing/2014/chart" uri="{C3380CC4-5D6E-409C-BE32-E72D297353CC}">
                <c16:uniqueId val="{00000C4F-26BF-40B0-8A43-EC10D791E60B}"/>
              </c:ext>
            </c:extLst>
          </c:dPt>
          <c:dPt>
            <c:idx val="1575"/>
            <c:invertIfNegative val="1"/>
            <c:bubble3D val="0"/>
            <c:spPr>
              <a:solidFill>
                <a:srgbClr val="AEABAB"/>
              </a:solidFill>
            </c:spPr>
            <c:extLst>
              <c:ext xmlns:c16="http://schemas.microsoft.com/office/drawing/2014/chart" uri="{C3380CC4-5D6E-409C-BE32-E72D297353CC}">
                <c16:uniqueId val="{00000C51-26BF-40B0-8A43-EC10D791E60B}"/>
              </c:ext>
            </c:extLst>
          </c:dPt>
          <c:dPt>
            <c:idx val="1576"/>
            <c:invertIfNegative val="1"/>
            <c:bubble3D val="0"/>
            <c:spPr>
              <a:solidFill>
                <a:srgbClr val="AEABAB"/>
              </a:solidFill>
            </c:spPr>
            <c:extLst>
              <c:ext xmlns:c16="http://schemas.microsoft.com/office/drawing/2014/chart" uri="{C3380CC4-5D6E-409C-BE32-E72D297353CC}">
                <c16:uniqueId val="{00000C53-26BF-40B0-8A43-EC10D791E60B}"/>
              </c:ext>
            </c:extLst>
          </c:dPt>
          <c:dPt>
            <c:idx val="1577"/>
            <c:invertIfNegative val="1"/>
            <c:bubble3D val="0"/>
            <c:spPr>
              <a:solidFill>
                <a:srgbClr val="AEABAB"/>
              </a:solidFill>
            </c:spPr>
            <c:extLst>
              <c:ext xmlns:c16="http://schemas.microsoft.com/office/drawing/2014/chart" uri="{C3380CC4-5D6E-409C-BE32-E72D297353CC}">
                <c16:uniqueId val="{00000C55-26BF-40B0-8A43-EC10D791E60B}"/>
              </c:ext>
            </c:extLst>
          </c:dPt>
          <c:dPt>
            <c:idx val="1578"/>
            <c:invertIfNegative val="1"/>
            <c:bubble3D val="0"/>
            <c:spPr>
              <a:solidFill>
                <a:srgbClr val="AEABAB"/>
              </a:solidFill>
            </c:spPr>
            <c:extLst>
              <c:ext xmlns:c16="http://schemas.microsoft.com/office/drawing/2014/chart" uri="{C3380CC4-5D6E-409C-BE32-E72D297353CC}">
                <c16:uniqueId val="{00000C57-26BF-40B0-8A43-EC10D791E60B}"/>
              </c:ext>
            </c:extLst>
          </c:dPt>
          <c:dPt>
            <c:idx val="1579"/>
            <c:invertIfNegative val="1"/>
            <c:bubble3D val="0"/>
            <c:spPr>
              <a:solidFill>
                <a:srgbClr val="AEABAB"/>
              </a:solidFill>
            </c:spPr>
            <c:extLst>
              <c:ext xmlns:c16="http://schemas.microsoft.com/office/drawing/2014/chart" uri="{C3380CC4-5D6E-409C-BE32-E72D297353CC}">
                <c16:uniqueId val="{00000C59-26BF-40B0-8A43-EC10D791E60B}"/>
              </c:ext>
            </c:extLst>
          </c:dPt>
          <c:dPt>
            <c:idx val="1580"/>
            <c:invertIfNegative val="1"/>
            <c:bubble3D val="0"/>
            <c:spPr>
              <a:solidFill>
                <a:srgbClr val="AEABAB"/>
              </a:solidFill>
            </c:spPr>
            <c:extLst>
              <c:ext xmlns:c16="http://schemas.microsoft.com/office/drawing/2014/chart" uri="{C3380CC4-5D6E-409C-BE32-E72D297353CC}">
                <c16:uniqueId val="{00000C5B-26BF-40B0-8A43-EC10D791E60B}"/>
              </c:ext>
            </c:extLst>
          </c:dPt>
          <c:dPt>
            <c:idx val="1581"/>
            <c:invertIfNegative val="1"/>
            <c:bubble3D val="0"/>
            <c:spPr>
              <a:solidFill>
                <a:srgbClr val="AEABAB"/>
              </a:solidFill>
            </c:spPr>
            <c:extLst>
              <c:ext xmlns:c16="http://schemas.microsoft.com/office/drawing/2014/chart" uri="{C3380CC4-5D6E-409C-BE32-E72D297353CC}">
                <c16:uniqueId val="{00000C5D-26BF-40B0-8A43-EC10D791E60B}"/>
              </c:ext>
            </c:extLst>
          </c:dPt>
          <c:dPt>
            <c:idx val="1582"/>
            <c:invertIfNegative val="1"/>
            <c:bubble3D val="0"/>
            <c:spPr>
              <a:solidFill>
                <a:srgbClr val="AEABAB"/>
              </a:solidFill>
            </c:spPr>
            <c:extLst>
              <c:ext xmlns:c16="http://schemas.microsoft.com/office/drawing/2014/chart" uri="{C3380CC4-5D6E-409C-BE32-E72D297353CC}">
                <c16:uniqueId val="{00000C5F-26BF-40B0-8A43-EC10D791E60B}"/>
              </c:ext>
            </c:extLst>
          </c:dPt>
          <c:dPt>
            <c:idx val="1583"/>
            <c:invertIfNegative val="1"/>
            <c:bubble3D val="0"/>
            <c:spPr>
              <a:solidFill>
                <a:srgbClr val="AEABAB"/>
              </a:solidFill>
            </c:spPr>
            <c:extLst>
              <c:ext xmlns:c16="http://schemas.microsoft.com/office/drawing/2014/chart" uri="{C3380CC4-5D6E-409C-BE32-E72D297353CC}">
                <c16:uniqueId val="{00000C61-26BF-40B0-8A43-EC10D791E60B}"/>
              </c:ext>
            </c:extLst>
          </c:dPt>
          <c:dPt>
            <c:idx val="1584"/>
            <c:invertIfNegative val="1"/>
            <c:bubble3D val="0"/>
            <c:spPr>
              <a:solidFill>
                <a:srgbClr val="AEABAB"/>
              </a:solidFill>
            </c:spPr>
            <c:extLst>
              <c:ext xmlns:c16="http://schemas.microsoft.com/office/drawing/2014/chart" uri="{C3380CC4-5D6E-409C-BE32-E72D297353CC}">
                <c16:uniqueId val="{00000C63-26BF-40B0-8A43-EC10D791E60B}"/>
              </c:ext>
            </c:extLst>
          </c:dPt>
          <c:dPt>
            <c:idx val="1585"/>
            <c:invertIfNegative val="1"/>
            <c:bubble3D val="0"/>
            <c:spPr>
              <a:solidFill>
                <a:srgbClr val="AEABAB"/>
              </a:solidFill>
            </c:spPr>
            <c:extLst>
              <c:ext xmlns:c16="http://schemas.microsoft.com/office/drawing/2014/chart" uri="{C3380CC4-5D6E-409C-BE32-E72D297353CC}">
                <c16:uniqueId val="{00000C65-26BF-40B0-8A43-EC10D791E60B}"/>
              </c:ext>
            </c:extLst>
          </c:dPt>
          <c:dPt>
            <c:idx val="1586"/>
            <c:invertIfNegative val="1"/>
            <c:bubble3D val="0"/>
            <c:spPr>
              <a:solidFill>
                <a:srgbClr val="AEABAB"/>
              </a:solidFill>
            </c:spPr>
            <c:extLst>
              <c:ext xmlns:c16="http://schemas.microsoft.com/office/drawing/2014/chart" uri="{C3380CC4-5D6E-409C-BE32-E72D297353CC}">
                <c16:uniqueId val="{00000C67-26BF-40B0-8A43-EC10D791E60B}"/>
              </c:ext>
            </c:extLst>
          </c:dPt>
          <c:dPt>
            <c:idx val="1587"/>
            <c:invertIfNegative val="1"/>
            <c:bubble3D val="0"/>
            <c:spPr>
              <a:solidFill>
                <a:srgbClr val="AEABAB"/>
              </a:solidFill>
            </c:spPr>
            <c:extLst>
              <c:ext xmlns:c16="http://schemas.microsoft.com/office/drawing/2014/chart" uri="{C3380CC4-5D6E-409C-BE32-E72D297353CC}">
                <c16:uniqueId val="{00000C69-26BF-40B0-8A43-EC10D791E60B}"/>
              </c:ext>
            </c:extLst>
          </c:dPt>
          <c:dPt>
            <c:idx val="1588"/>
            <c:invertIfNegative val="1"/>
            <c:bubble3D val="0"/>
            <c:spPr>
              <a:solidFill>
                <a:srgbClr val="AEABAB"/>
              </a:solidFill>
            </c:spPr>
            <c:extLst>
              <c:ext xmlns:c16="http://schemas.microsoft.com/office/drawing/2014/chart" uri="{C3380CC4-5D6E-409C-BE32-E72D297353CC}">
                <c16:uniqueId val="{00000C6B-26BF-40B0-8A43-EC10D791E60B}"/>
              </c:ext>
            </c:extLst>
          </c:dPt>
          <c:dPt>
            <c:idx val="1589"/>
            <c:invertIfNegative val="1"/>
            <c:bubble3D val="0"/>
            <c:spPr>
              <a:solidFill>
                <a:srgbClr val="AEABAB"/>
              </a:solidFill>
            </c:spPr>
            <c:extLst>
              <c:ext xmlns:c16="http://schemas.microsoft.com/office/drawing/2014/chart" uri="{C3380CC4-5D6E-409C-BE32-E72D297353CC}">
                <c16:uniqueId val="{00000C6D-26BF-40B0-8A43-EC10D791E60B}"/>
              </c:ext>
            </c:extLst>
          </c:dPt>
          <c:dPt>
            <c:idx val="1590"/>
            <c:invertIfNegative val="1"/>
            <c:bubble3D val="0"/>
            <c:spPr>
              <a:solidFill>
                <a:srgbClr val="AEABAB"/>
              </a:solidFill>
            </c:spPr>
            <c:extLst>
              <c:ext xmlns:c16="http://schemas.microsoft.com/office/drawing/2014/chart" uri="{C3380CC4-5D6E-409C-BE32-E72D297353CC}">
                <c16:uniqueId val="{00000C6F-26BF-40B0-8A43-EC10D791E60B}"/>
              </c:ext>
            </c:extLst>
          </c:dPt>
          <c:dPt>
            <c:idx val="1591"/>
            <c:invertIfNegative val="1"/>
            <c:bubble3D val="0"/>
            <c:spPr>
              <a:solidFill>
                <a:srgbClr val="AEABAB"/>
              </a:solidFill>
            </c:spPr>
            <c:extLst>
              <c:ext xmlns:c16="http://schemas.microsoft.com/office/drawing/2014/chart" uri="{C3380CC4-5D6E-409C-BE32-E72D297353CC}">
                <c16:uniqueId val="{00000C71-26BF-40B0-8A43-EC10D791E60B}"/>
              </c:ext>
            </c:extLst>
          </c:dPt>
          <c:dPt>
            <c:idx val="1592"/>
            <c:invertIfNegative val="1"/>
            <c:bubble3D val="0"/>
            <c:spPr>
              <a:solidFill>
                <a:srgbClr val="AEABAB"/>
              </a:solidFill>
            </c:spPr>
            <c:extLst>
              <c:ext xmlns:c16="http://schemas.microsoft.com/office/drawing/2014/chart" uri="{C3380CC4-5D6E-409C-BE32-E72D297353CC}">
                <c16:uniqueId val="{00000C73-26BF-40B0-8A43-EC10D791E60B}"/>
              </c:ext>
            </c:extLst>
          </c:dPt>
          <c:dPt>
            <c:idx val="1593"/>
            <c:invertIfNegative val="1"/>
            <c:bubble3D val="0"/>
            <c:spPr>
              <a:solidFill>
                <a:srgbClr val="AEABAB"/>
              </a:solidFill>
            </c:spPr>
            <c:extLst>
              <c:ext xmlns:c16="http://schemas.microsoft.com/office/drawing/2014/chart" uri="{C3380CC4-5D6E-409C-BE32-E72D297353CC}">
                <c16:uniqueId val="{00000C75-26BF-40B0-8A43-EC10D791E60B}"/>
              </c:ext>
            </c:extLst>
          </c:dPt>
          <c:dPt>
            <c:idx val="1594"/>
            <c:invertIfNegative val="1"/>
            <c:bubble3D val="0"/>
            <c:spPr>
              <a:solidFill>
                <a:srgbClr val="AEABAB"/>
              </a:solidFill>
            </c:spPr>
            <c:extLst>
              <c:ext xmlns:c16="http://schemas.microsoft.com/office/drawing/2014/chart" uri="{C3380CC4-5D6E-409C-BE32-E72D297353CC}">
                <c16:uniqueId val="{00000C77-26BF-40B0-8A43-EC10D791E60B}"/>
              </c:ext>
            </c:extLst>
          </c:dPt>
          <c:dPt>
            <c:idx val="1595"/>
            <c:invertIfNegative val="1"/>
            <c:bubble3D val="0"/>
            <c:spPr>
              <a:solidFill>
                <a:srgbClr val="AEABAB"/>
              </a:solidFill>
            </c:spPr>
            <c:extLst>
              <c:ext xmlns:c16="http://schemas.microsoft.com/office/drawing/2014/chart" uri="{C3380CC4-5D6E-409C-BE32-E72D297353CC}">
                <c16:uniqueId val="{00000C79-26BF-40B0-8A43-EC10D791E60B}"/>
              </c:ext>
            </c:extLst>
          </c:dPt>
          <c:cat>
            <c:strRef>
              <c:f>Sheet1!$A$2:$A$1597</c:f>
              <c:strCache>
                <c:ptCount val="1596"/>
                <c:pt idx="0">
                  <c:v>Private Lab</c:v>
                </c:pt>
                <c:pt idx="1">
                  <c:v>Private Lab</c:v>
                </c:pt>
                <c:pt idx="2">
                  <c:v>Private Lab</c:v>
                </c:pt>
                <c:pt idx="3">
                  <c:v>Private Lab</c:v>
                </c:pt>
                <c:pt idx="4">
                  <c:v>Private Lab</c:v>
                </c:pt>
                <c:pt idx="5">
                  <c:v>Caprice Des</c:v>
                </c:pt>
                <c:pt idx="6">
                  <c:v>Private Lab</c:v>
                </c:pt>
                <c:pt idx="7">
                  <c:v>Private Lab</c:v>
                </c:pt>
                <c:pt idx="8">
                  <c:v>Private Lab</c:v>
                </c:pt>
                <c:pt idx="9">
                  <c:v>Private Lab</c:v>
                </c:pt>
                <c:pt idx="10">
                  <c:v>Private Lab</c:v>
                </c:pt>
                <c:pt idx="11">
                  <c:v>Private Lab</c:v>
                </c:pt>
                <c:pt idx="12">
                  <c:v>Private Lab</c:v>
                </c:pt>
                <c:pt idx="13">
                  <c:v>Private Lab</c:v>
                </c:pt>
                <c:pt idx="14">
                  <c:v>Private Lab</c:v>
                </c:pt>
                <c:pt idx="15">
                  <c:v>Coeur De Li</c:v>
                </c:pt>
                <c:pt idx="16">
                  <c:v>President</c:v>
                </c:pt>
                <c:pt idx="17">
                  <c:v>Private Lab</c:v>
                </c:pt>
                <c:pt idx="18">
                  <c:v>Mini Babybe</c:v>
                </c:pt>
                <c:pt idx="19">
                  <c:v>Soignon</c:v>
                </c:pt>
                <c:pt idx="20">
                  <c:v>Private Lab</c:v>
                </c:pt>
                <c:pt idx="21">
                  <c:v>Private Lab</c:v>
                </c:pt>
                <c:pt idx="22">
                  <c:v>Entremont</c:v>
                </c:pt>
                <c:pt idx="23">
                  <c:v>Richesmonts</c:v>
                </c:pt>
                <c:pt idx="24">
                  <c:v>Chaussee Au</c:v>
                </c:pt>
                <c:pt idx="25">
                  <c:v>Caprice Des</c:v>
                </c:pt>
                <c:pt idx="26">
                  <c:v>President</c:v>
                </c:pt>
                <c:pt idx="27">
                  <c:v>President</c:v>
                </c:pt>
                <c:pt idx="28">
                  <c:v>Private Lab</c:v>
                </c:pt>
                <c:pt idx="29">
                  <c:v>President</c:v>
                </c:pt>
                <c:pt idx="30">
                  <c:v>La Vache Qu</c:v>
                </c:pt>
                <c:pt idx="31">
                  <c:v>Entremont</c:v>
                </c:pt>
                <c:pt idx="32">
                  <c:v>Private Lab</c:v>
                </c:pt>
                <c:pt idx="33">
                  <c:v>President</c:v>
                </c:pt>
                <c:pt idx="34">
                  <c:v>Private Lab</c:v>
                </c:pt>
                <c:pt idx="35">
                  <c:v>Private Lab</c:v>
                </c:pt>
                <c:pt idx="36">
                  <c:v>Soignon</c:v>
                </c:pt>
                <c:pt idx="37">
                  <c:v>Le Rustique</c:v>
                </c:pt>
                <c:pt idx="38">
                  <c:v>Private Lab</c:v>
                </c:pt>
                <c:pt idx="39">
                  <c:v>Private Lab</c:v>
                </c:pt>
                <c:pt idx="40">
                  <c:v>Private Lab</c:v>
                </c:pt>
                <c:pt idx="41">
                  <c:v>St Moret</c:v>
                </c:pt>
                <c:pt idx="42">
                  <c:v>Private Lab</c:v>
                </c:pt>
                <c:pt idx="43">
                  <c:v>St Moret</c:v>
                </c:pt>
                <c:pt idx="44">
                  <c:v>La Vache Qu</c:v>
                </c:pt>
                <c:pt idx="45">
                  <c:v>Private Lab</c:v>
                </c:pt>
                <c:pt idx="46">
                  <c:v>President</c:v>
                </c:pt>
                <c:pt idx="47">
                  <c:v>Private Lab</c:v>
                </c:pt>
                <c:pt idx="48">
                  <c:v>Societe</c:v>
                </c:pt>
                <c:pt idx="49">
                  <c:v>Leerdammer</c:v>
                </c:pt>
                <c:pt idx="50">
                  <c:v>Private Lab</c:v>
                </c:pt>
                <c:pt idx="51">
                  <c:v>President</c:v>
                </c:pt>
                <c:pt idx="52">
                  <c:v>Private Lab</c:v>
                </c:pt>
                <c:pt idx="53">
                  <c:v>Private Lab</c:v>
                </c:pt>
                <c:pt idx="54">
                  <c:v>Private Lab</c:v>
                </c:pt>
                <c:pt idx="55">
                  <c:v>St Moret</c:v>
                </c:pt>
                <c:pt idx="56">
                  <c:v>President</c:v>
                </c:pt>
                <c:pt idx="57">
                  <c:v>Private Lab</c:v>
                </c:pt>
                <c:pt idx="58">
                  <c:v>Private Lab</c:v>
                </c:pt>
                <c:pt idx="59">
                  <c:v>Private Lab</c:v>
                </c:pt>
                <c:pt idx="60">
                  <c:v>Private Lab</c:v>
                </c:pt>
                <c:pt idx="61">
                  <c:v>Galbani</c:v>
                </c:pt>
                <c:pt idx="62">
                  <c:v>Saint Agur</c:v>
                </c:pt>
                <c:pt idx="63">
                  <c:v>Mini Babybe</c:v>
                </c:pt>
                <c:pt idx="64">
                  <c:v>Tartare</c:v>
                </c:pt>
                <c:pt idx="65">
                  <c:v>Leerdammer</c:v>
                </c:pt>
                <c:pt idx="66">
                  <c:v>Private Lab</c:v>
                </c:pt>
                <c:pt idx="67">
                  <c:v>Chaussee Au</c:v>
                </c:pt>
                <c:pt idx="68">
                  <c:v>Private Lab</c:v>
                </c:pt>
                <c:pt idx="69">
                  <c:v>La Vache Qu</c:v>
                </c:pt>
                <c:pt idx="70">
                  <c:v>Private Lab</c:v>
                </c:pt>
                <c:pt idx="71">
                  <c:v>Coeur De Li</c:v>
                </c:pt>
                <c:pt idx="72">
                  <c:v>Entremont</c:v>
                </c:pt>
                <c:pt idx="73">
                  <c:v>St Moret</c:v>
                </c:pt>
                <c:pt idx="74">
                  <c:v>Entremont</c:v>
                </c:pt>
                <c:pt idx="75">
                  <c:v>Entremont</c:v>
                </c:pt>
                <c:pt idx="76">
                  <c:v>Private Lab</c:v>
                </c:pt>
                <c:pt idx="77">
                  <c:v>Private Lab</c:v>
                </c:pt>
                <c:pt idx="78">
                  <c:v>Salakis</c:v>
                </c:pt>
                <c:pt idx="79">
                  <c:v>President</c:v>
                </c:pt>
                <c:pt idx="80">
                  <c:v>Leerdammer</c:v>
                </c:pt>
                <c:pt idx="81">
                  <c:v>Kiri</c:v>
                </c:pt>
                <c:pt idx="82">
                  <c:v>Soignon</c:v>
                </c:pt>
                <c:pt idx="83">
                  <c:v>Private Lab</c:v>
                </c:pt>
                <c:pt idx="84">
                  <c:v>All Others</c:v>
                </c:pt>
                <c:pt idx="85">
                  <c:v>Entremont</c:v>
                </c:pt>
                <c:pt idx="86">
                  <c:v>Private Lab</c:v>
                </c:pt>
                <c:pt idx="87">
                  <c:v>Entremont</c:v>
                </c:pt>
                <c:pt idx="88">
                  <c:v>Juraflore</c:v>
                </c:pt>
                <c:pt idx="89">
                  <c:v>Private Lab</c:v>
                </c:pt>
                <c:pt idx="90">
                  <c:v>Private Lab</c:v>
                </c:pt>
                <c:pt idx="91">
                  <c:v>Private Lab</c:v>
                </c:pt>
                <c:pt idx="92">
                  <c:v>Private Lab</c:v>
                </c:pt>
                <c:pt idx="93">
                  <c:v>Private Lab</c:v>
                </c:pt>
                <c:pt idx="94">
                  <c:v>Private Lab</c:v>
                </c:pt>
                <c:pt idx="95">
                  <c:v>Bresse Bleu</c:v>
                </c:pt>
                <c:pt idx="96">
                  <c:v>Private Lab</c:v>
                </c:pt>
                <c:pt idx="97">
                  <c:v>Private Lab</c:v>
                </c:pt>
                <c:pt idx="98">
                  <c:v>Apericube</c:v>
                </c:pt>
                <c:pt idx="99">
                  <c:v>Saint Albra</c:v>
                </c:pt>
                <c:pt idx="100">
                  <c:v>Private Lab</c:v>
                </c:pt>
                <c:pt idx="101">
                  <c:v>Galbani</c:v>
                </c:pt>
                <c:pt idx="102">
                  <c:v>Private Lab</c:v>
                </c:pt>
                <c:pt idx="103">
                  <c:v>Saint Agur</c:v>
                </c:pt>
                <c:pt idx="104">
                  <c:v>President</c:v>
                </c:pt>
                <c:pt idx="105">
                  <c:v>Kiri</c:v>
                </c:pt>
                <c:pt idx="106">
                  <c:v>Entremont</c:v>
                </c:pt>
                <c:pt idx="107">
                  <c:v>Private Lab</c:v>
                </c:pt>
                <c:pt idx="108">
                  <c:v>President</c:v>
                </c:pt>
                <c:pt idx="109">
                  <c:v>L'Ortolan</c:v>
                </c:pt>
                <c:pt idx="110">
                  <c:v>Private Lab</c:v>
                </c:pt>
                <c:pt idx="111">
                  <c:v>Private Lab</c:v>
                </c:pt>
                <c:pt idx="112">
                  <c:v>Private Lab</c:v>
                </c:pt>
                <c:pt idx="113">
                  <c:v>President</c:v>
                </c:pt>
                <c:pt idx="114">
                  <c:v>Galbani</c:v>
                </c:pt>
                <c:pt idx="115">
                  <c:v>Apericube</c:v>
                </c:pt>
                <c:pt idx="116">
                  <c:v>Private Lab</c:v>
                </c:pt>
                <c:pt idx="117">
                  <c:v>Private Lab</c:v>
                </c:pt>
                <c:pt idx="118">
                  <c:v>Private Lab</c:v>
                </c:pt>
                <c:pt idx="119">
                  <c:v>Richesmonts</c:v>
                </c:pt>
                <c:pt idx="120">
                  <c:v>Istara</c:v>
                </c:pt>
                <c:pt idx="121">
                  <c:v>Private Lab</c:v>
                </c:pt>
                <c:pt idx="122">
                  <c:v>Parmareggio</c:v>
                </c:pt>
                <c:pt idx="123">
                  <c:v>Leerdammer</c:v>
                </c:pt>
                <c:pt idx="124">
                  <c:v>Paysan Bret</c:v>
                </c:pt>
                <c:pt idx="125">
                  <c:v>Paysan Bret</c:v>
                </c:pt>
                <c:pt idx="126">
                  <c:v>Richesmonts</c:v>
                </c:pt>
                <c:pt idx="127">
                  <c:v>Private Lab</c:v>
                </c:pt>
                <c:pt idx="128">
                  <c:v>Private Lab</c:v>
                </c:pt>
                <c:pt idx="129">
                  <c:v>Apericube</c:v>
                </c:pt>
                <c:pt idx="130">
                  <c:v>Ficello</c:v>
                </c:pt>
                <c:pt idx="131">
                  <c:v>Casa Azzurr</c:v>
                </c:pt>
                <c:pt idx="132">
                  <c:v>Private Lab</c:v>
                </c:pt>
                <c:pt idx="133">
                  <c:v>Pochat</c:v>
                </c:pt>
                <c:pt idx="134">
                  <c:v>Private Lab</c:v>
                </c:pt>
                <c:pt idx="135">
                  <c:v>Tartare</c:v>
                </c:pt>
                <c:pt idx="136">
                  <c:v>Saint Albra</c:v>
                </c:pt>
                <c:pt idx="137">
                  <c:v>Leerdammer</c:v>
                </c:pt>
                <c:pt idx="138">
                  <c:v>L'Ortolan</c:v>
                </c:pt>
                <c:pt idx="139">
                  <c:v>Boursin</c:v>
                </c:pt>
                <c:pt idx="140">
                  <c:v>Entremont</c:v>
                </c:pt>
                <c:pt idx="141">
                  <c:v>Leerdammer</c:v>
                </c:pt>
                <c:pt idx="142">
                  <c:v>President</c:v>
                </c:pt>
                <c:pt idx="143">
                  <c:v>Boursin</c:v>
                </c:pt>
                <c:pt idx="144">
                  <c:v>Private Lab</c:v>
                </c:pt>
                <c:pt idx="145">
                  <c:v>Lou Perac</c:v>
                </c:pt>
                <c:pt idx="146">
                  <c:v>Private Lab</c:v>
                </c:pt>
                <c:pt idx="147">
                  <c:v>Galbani</c:v>
                </c:pt>
                <c:pt idx="148">
                  <c:v>Private Lab</c:v>
                </c:pt>
                <c:pt idx="149">
                  <c:v>Kiri</c:v>
                </c:pt>
                <c:pt idx="150">
                  <c:v>Galbani</c:v>
                </c:pt>
                <c:pt idx="151">
                  <c:v>Galbani</c:v>
                </c:pt>
                <c:pt idx="152">
                  <c:v>Private Lab</c:v>
                </c:pt>
                <c:pt idx="153">
                  <c:v>Kiri</c:v>
                </c:pt>
                <c:pt idx="154">
                  <c:v>Private Lab</c:v>
                </c:pt>
                <c:pt idx="155">
                  <c:v>St Moret</c:v>
                </c:pt>
                <c:pt idx="156">
                  <c:v>Carre Frais</c:v>
                </c:pt>
                <c:pt idx="157">
                  <c:v>Private Lab</c:v>
                </c:pt>
                <c:pt idx="158">
                  <c:v>Private Lab</c:v>
                </c:pt>
                <c:pt idx="159">
                  <c:v>Lepetit</c:v>
                </c:pt>
                <c:pt idx="160">
                  <c:v>President</c:v>
                </c:pt>
                <c:pt idx="161">
                  <c:v>Entremont</c:v>
                </c:pt>
                <c:pt idx="162">
                  <c:v>Boursin</c:v>
                </c:pt>
                <c:pt idx="163">
                  <c:v>Islos</c:v>
                </c:pt>
                <c:pt idx="164">
                  <c:v>Caprice Des</c:v>
                </c:pt>
                <c:pt idx="165">
                  <c:v>Apericube</c:v>
                </c:pt>
                <c:pt idx="166">
                  <c:v>President</c:v>
                </c:pt>
                <c:pt idx="167">
                  <c:v>Private Lab</c:v>
                </c:pt>
                <c:pt idx="168">
                  <c:v>All Others</c:v>
                </c:pt>
                <c:pt idx="169">
                  <c:v>Salakis</c:v>
                </c:pt>
                <c:pt idx="170">
                  <c:v>Carre Frais</c:v>
                </c:pt>
                <c:pt idx="171">
                  <c:v>Coeur De Li</c:v>
                </c:pt>
                <c:pt idx="172">
                  <c:v>President</c:v>
                </c:pt>
                <c:pt idx="173">
                  <c:v>Port Salut</c:v>
                </c:pt>
                <c:pt idx="174">
                  <c:v>Philadelphi</c:v>
                </c:pt>
                <c:pt idx="175">
                  <c:v>President</c:v>
                </c:pt>
                <c:pt idx="176">
                  <c:v>Private Lab</c:v>
                </c:pt>
                <c:pt idx="177">
                  <c:v>Leerdammer</c:v>
                </c:pt>
                <c:pt idx="178">
                  <c:v>Private Lab</c:v>
                </c:pt>
                <c:pt idx="179">
                  <c:v>Boursin</c:v>
                </c:pt>
                <c:pt idx="180">
                  <c:v>Entremont</c:v>
                </c:pt>
                <c:pt idx="181">
                  <c:v>Private Lab</c:v>
                </c:pt>
                <c:pt idx="182">
                  <c:v>Private Lab</c:v>
                </c:pt>
                <c:pt idx="183">
                  <c:v>Entremont</c:v>
                </c:pt>
                <c:pt idx="184">
                  <c:v>Entremont</c:v>
                </c:pt>
                <c:pt idx="185">
                  <c:v>Apericube</c:v>
                </c:pt>
                <c:pt idx="186">
                  <c:v>Private Lab</c:v>
                </c:pt>
                <c:pt idx="187">
                  <c:v>Richesmonts</c:v>
                </c:pt>
                <c:pt idx="188">
                  <c:v>Coeur De Li</c:v>
                </c:pt>
                <c:pt idx="189">
                  <c:v>President</c:v>
                </c:pt>
                <c:pt idx="190">
                  <c:v>Galbani</c:v>
                </c:pt>
                <c:pt idx="191">
                  <c:v>Kiri</c:v>
                </c:pt>
                <c:pt idx="192">
                  <c:v>Galbani</c:v>
                </c:pt>
                <c:pt idx="193">
                  <c:v>St Moret</c:v>
                </c:pt>
                <c:pt idx="194">
                  <c:v>All Others</c:v>
                </c:pt>
                <c:pt idx="195">
                  <c:v>Soignon</c:v>
                </c:pt>
                <c:pt idx="196">
                  <c:v>Private Lab</c:v>
                </c:pt>
                <c:pt idx="197">
                  <c:v>Pave D'Affi</c:v>
                </c:pt>
                <c:pt idx="198">
                  <c:v>President</c:v>
                </c:pt>
                <c:pt idx="199">
                  <c:v>Private Lab</c:v>
                </c:pt>
                <c:pt idx="200">
                  <c:v>Private Lab</c:v>
                </c:pt>
                <c:pt idx="201">
                  <c:v>President</c:v>
                </c:pt>
                <c:pt idx="202">
                  <c:v>Private Lab</c:v>
                </c:pt>
                <c:pt idx="203">
                  <c:v>Coeur De Li</c:v>
                </c:pt>
                <c:pt idx="204">
                  <c:v>Societe</c:v>
                </c:pt>
                <c:pt idx="205">
                  <c:v>Mini Babybe</c:v>
                </c:pt>
                <c:pt idx="206">
                  <c:v>President</c:v>
                </c:pt>
                <c:pt idx="207">
                  <c:v>Private Lab</c:v>
                </c:pt>
                <c:pt idx="208">
                  <c:v>All Others</c:v>
                </c:pt>
                <c:pt idx="209">
                  <c:v>Le Rustique</c:v>
                </c:pt>
                <c:pt idx="210">
                  <c:v>Petit Billy</c:v>
                </c:pt>
                <c:pt idx="211">
                  <c:v>Richesmonts</c:v>
                </c:pt>
                <c:pt idx="212">
                  <c:v>Entremont</c:v>
                </c:pt>
                <c:pt idx="213">
                  <c:v>Private Lab</c:v>
                </c:pt>
                <c:pt idx="214">
                  <c:v>Private Lab</c:v>
                </c:pt>
                <c:pt idx="215">
                  <c:v>Private Lab</c:v>
                </c:pt>
                <c:pt idx="216">
                  <c:v>Private Lab</c:v>
                </c:pt>
                <c:pt idx="217">
                  <c:v>Vieux Pane</c:v>
                </c:pt>
                <c:pt idx="218">
                  <c:v>Private Lab</c:v>
                </c:pt>
                <c:pt idx="219">
                  <c:v>Istara</c:v>
                </c:pt>
                <c:pt idx="220">
                  <c:v>Private Lab</c:v>
                </c:pt>
                <c:pt idx="221">
                  <c:v>Private Lab</c:v>
                </c:pt>
                <c:pt idx="222">
                  <c:v>President</c:v>
                </c:pt>
                <c:pt idx="223">
                  <c:v>Apericube</c:v>
                </c:pt>
                <c:pt idx="224">
                  <c:v>Private Lab</c:v>
                </c:pt>
                <c:pt idx="225">
                  <c:v>Private Lab</c:v>
                </c:pt>
                <c:pt idx="226">
                  <c:v>Saint Agur</c:v>
                </c:pt>
                <c:pt idx="227">
                  <c:v>Babybel</c:v>
                </c:pt>
                <c:pt idx="228">
                  <c:v>President</c:v>
                </c:pt>
                <c:pt idx="229">
                  <c:v>Private Lab</c:v>
                </c:pt>
                <c:pt idx="230">
                  <c:v>Philadelphi</c:v>
                </c:pt>
                <c:pt idx="231">
                  <c:v>Pochat</c:v>
                </c:pt>
                <c:pt idx="232">
                  <c:v>Apericube</c:v>
                </c:pt>
                <c:pt idx="233">
                  <c:v>Ficello</c:v>
                </c:pt>
                <c:pt idx="234">
                  <c:v>Private Lab</c:v>
                </c:pt>
                <c:pt idx="235">
                  <c:v>Aperivrais</c:v>
                </c:pt>
                <c:pt idx="236">
                  <c:v>Private Lab</c:v>
                </c:pt>
                <c:pt idx="237">
                  <c:v>Private Lab</c:v>
                </c:pt>
                <c:pt idx="238">
                  <c:v>Private Lab</c:v>
                </c:pt>
                <c:pt idx="239">
                  <c:v>President</c:v>
                </c:pt>
                <c:pt idx="240">
                  <c:v>Saint Agur</c:v>
                </c:pt>
                <c:pt idx="241">
                  <c:v>Entremont</c:v>
                </c:pt>
                <c:pt idx="242">
                  <c:v>Private Lab</c:v>
                </c:pt>
                <c:pt idx="243">
                  <c:v>Private Lab</c:v>
                </c:pt>
                <c:pt idx="244">
                  <c:v>Private Lab</c:v>
                </c:pt>
                <c:pt idx="245">
                  <c:v>Private Lab</c:v>
                </c:pt>
                <c:pt idx="246">
                  <c:v>Private Lab</c:v>
                </c:pt>
                <c:pt idx="247">
                  <c:v>Cousteron</c:v>
                </c:pt>
                <c:pt idx="248">
                  <c:v>Soignon</c:v>
                </c:pt>
                <c:pt idx="249">
                  <c:v>All Others</c:v>
                </c:pt>
                <c:pt idx="250">
                  <c:v>Le Rustique</c:v>
                </c:pt>
                <c:pt idx="251">
                  <c:v>Soignon</c:v>
                </c:pt>
                <c:pt idx="252">
                  <c:v>Etorki</c:v>
                </c:pt>
                <c:pt idx="253">
                  <c:v>Private Lab</c:v>
                </c:pt>
                <c:pt idx="254">
                  <c:v>Private Lab</c:v>
                </c:pt>
                <c:pt idx="255">
                  <c:v>Apericube</c:v>
                </c:pt>
                <c:pt idx="256">
                  <c:v>Private Lab</c:v>
                </c:pt>
                <c:pt idx="257">
                  <c:v>Casa Azzurr</c:v>
                </c:pt>
                <c:pt idx="258">
                  <c:v>Private Lab</c:v>
                </c:pt>
                <c:pt idx="259">
                  <c:v>Private Lab</c:v>
                </c:pt>
                <c:pt idx="260">
                  <c:v>St Moret</c:v>
                </c:pt>
                <c:pt idx="261">
                  <c:v>Private Lab</c:v>
                </c:pt>
                <c:pt idx="262">
                  <c:v>Private Lab</c:v>
                </c:pt>
                <c:pt idx="263">
                  <c:v>Saint Agur</c:v>
                </c:pt>
                <c:pt idx="264">
                  <c:v>Private Lab</c:v>
                </c:pt>
                <c:pt idx="265">
                  <c:v>Soignon</c:v>
                </c:pt>
                <c:pt idx="266">
                  <c:v>All Others</c:v>
                </c:pt>
                <c:pt idx="267">
                  <c:v>Private Lab</c:v>
                </c:pt>
                <c:pt idx="268">
                  <c:v>Private Lab</c:v>
                </c:pt>
                <c:pt idx="269">
                  <c:v>All Others</c:v>
                </c:pt>
                <c:pt idx="270">
                  <c:v>Societe</c:v>
                </c:pt>
                <c:pt idx="271">
                  <c:v>Richesmonts</c:v>
                </c:pt>
                <c:pt idx="272">
                  <c:v>Lactalis: A</c:v>
                </c:pt>
                <c:pt idx="273">
                  <c:v>Casa Azzurr</c:v>
                </c:pt>
                <c:pt idx="274">
                  <c:v>Private Lab</c:v>
                </c:pt>
                <c:pt idx="275">
                  <c:v>Tartare</c:v>
                </c:pt>
                <c:pt idx="276">
                  <c:v>Private Lab</c:v>
                </c:pt>
                <c:pt idx="277">
                  <c:v>Private Lab</c:v>
                </c:pt>
                <c:pt idx="278">
                  <c:v>Private Lab</c:v>
                </c:pt>
                <c:pt idx="279">
                  <c:v>Leerdammer</c:v>
                </c:pt>
                <c:pt idx="280">
                  <c:v>La Vache Qu</c:v>
                </c:pt>
                <c:pt idx="281">
                  <c:v>All Others</c:v>
                </c:pt>
                <c:pt idx="282">
                  <c:v>Societe</c:v>
                </c:pt>
                <c:pt idx="283">
                  <c:v>Caprice Des</c:v>
                </c:pt>
                <c:pt idx="284">
                  <c:v>Private Lab</c:v>
                </c:pt>
                <c:pt idx="285">
                  <c:v>Boursin</c:v>
                </c:pt>
                <c:pt idx="286">
                  <c:v>Soignon</c:v>
                </c:pt>
                <c:pt idx="287">
                  <c:v>Parmareggio</c:v>
                </c:pt>
                <c:pt idx="288">
                  <c:v>Apericube</c:v>
                </c:pt>
                <c:pt idx="289">
                  <c:v>Private Lab</c:v>
                </c:pt>
                <c:pt idx="290">
                  <c:v>Private Lab</c:v>
                </c:pt>
                <c:pt idx="291">
                  <c:v>Ficello</c:v>
                </c:pt>
                <c:pt idx="292">
                  <c:v>Richesmonts</c:v>
                </c:pt>
                <c:pt idx="293">
                  <c:v>Fol Epi</c:v>
                </c:pt>
                <c:pt idx="294">
                  <c:v>President</c:v>
                </c:pt>
                <c:pt idx="295">
                  <c:v>Entremont</c:v>
                </c:pt>
                <c:pt idx="296">
                  <c:v>Private Lab</c:v>
                </c:pt>
                <c:pt idx="297">
                  <c:v>P'Tit Louis</c:v>
                </c:pt>
                <c:pt idx="298">
                  <c:v>Coeur De Li</c:v>
                </c:pt>
                <c:pt idx="299">
                  <c:v>Leerdammer</c:v>
                </c:pt>
                <c:pt idx="300">
                  <c:v>Casa Azzurr</c:v>
                </c:pt>
                <c:pt idx="301">
                  <c:v>La Vache Qu</c:v>
                </c:pt>
                <c:pt idx="302">
                  <c:v>Private Lab</c:v>
                </c:pt>
                <c:pt idx="303">
                  <c:v>Soignon</c:v>
                </c:pt>
                <c:pt idx="304">
                  <c:v>All Others</c:v>
                </c:pt>
                <c:pt idx="305">
                  <c:v>All Others</c:v>
                </c:pt>
                <c:pt idx="306">
                  <c:v>Private Lab</c:v>
                </c:pt>
                <c:pt idx="307">
                  <c:v>All Others</c:v>
                </c:pt>
                <c:pt idx="308">
                  <c:v>Private Lab</c:v>
                </c:pt>
                <c:pt idx="309">
                  <c:v>Pave D'Affi</c:v>
                </c:pt>
                <c:pt idx="310">
                  <c:v>Chavroux</c:v>
                </c:pt>
                <c:pt idx="311">
                  <c:v>Boursin</c:v>
                </c:pt>
                <c:pt idx="312">
                  <c:v>Private Lab</c:v>
                </c:pt>
                <c:pt idx="313">
                  <c:v>Private Lab</c:v>
                </c:pt>
                <c:pt idx="314">
                  <c:v>Private Lab</c:v>
                </c:pt>
                <c:pt idx="315">
                  <c:v>Lactalis: A</c:v>
                </c:pt>
                <c:pt idx="316">
                  <c:v>President</c:v>
                </c:pt>
                <c:pt idx="317">
                  <c:v>Paysan Bret</c:v>
                </c:pt>
                <c:pt idx="318">
                  <c:v>Salakis</c:v>
                </c:pt>
                <c:pt idx="319">
                  <c:v>Le Brebiou</c:v>
                </c:pt>
                <c:pt idx="320">
                  <c:v>Private Lab</c:v>
                </c:pt>
                <c:pt idx="321">
                  <c:v>Bresse Bleu</c:v>
                </c:pt>
                <c:pt idx="322">
                  <c:v>Private Lab</c:v>
                </c:pt>
                <c:pt idx="323">
                  <c:v>Richesmonts</c:v>
                </c:pt>
                <c:pt idx="324">
                  <c:v>President</c:v>
                </c:pt>
                <c:pt idx="325">
                  <c:v>Private Lab</c:v>
                </c:pt>
                <c:pt idx="326">
                  <c:v>Private Lab</c:v>
                </c:pt>
                <c:pt idx="327">
                  <c:v>Boursin</c:v>
                </c:pt>
                <c:pt idx="328">
                  <c:v>Private Lab</c:v>
                </c:pt>
                <c:pt idx="329">
                  <c:v>St Moret</c:v>
                </c:pt>
                <c:pt idx="330">
                  <c:v>Private Lab</c:v>
                </c:pt>
                <c:pt idx="331">
                  <c:v>Boursin</c:v>
                </c:pt>
                <c:pt idx="332">
                  <c:v>Galbani</c:v>
                </c:pt>
                <c:pt idx="333">
                  <c:v>Savencia: A</c:v>
                </c:pt>
                <c:pt idx="334">
                  <c:v>Apericube</c:v>
                </c:pt>
                <c:pt idx="335">
                  <c:v>Private Lab</c:v>
                </c:pt>
                <c:pt idx="336">
                  <c:v>Private Lab</c:v>
                </c:pt>
                <c:pt idx="337">
                  <c:v>Savencia: A</c:v>
                </c:pt>
                <c:pt idx="338">
                  <c:v>Entremont</c:v>
                </c:pt>
                <c:pt idx="339">
                  <c:v>Soignon</c:v>
                </c:pt>
                <c:pt idx="340">
                  <c:v>Boursin</c:v>
                </c:pt>
                <c:pt idx="341">
                  <c:v>President</c:v>
                </c:pt>
                <c:pt idx="342">
                  <c:v>Les Mousque</c:v>
                </c:pt>
                <c:pt idx="343">
                  <c:v>Private Lab</c:v>
                </c:pt>
                <c:pt idx="344">
                  <c:v>Soignon</c:v>
                </c:pt>
                <c:pt idx="345">
                  <c:v>Private Lab</c:v>
                </c:pt>
                <c:pt idx="346">
                  <c:v>Casa Azzurr</c:v>
                </c:pt>
                <c:pt idx="347">
                  <c:v>Galbani</c:v>
                </c:pt>
                <c:pt idx="348">
                  <c:v>All Others</c:v>
                </c:pt>
                <c:pt idx="349">
                  <c:v>Casa Azzurr</c:v>
                </c:pt>
                <c:pt idx="350">
                  <c:v>Paysan Bret</c:v>
                </c:pt>
                <c:pt idx="351">
                  <c:v>Private Lab</c:v>
                </c:pt>
                <c:pt idx="352">
                  <c:v>Aperivrais</c:v>
                </c:pt>
                <c:pt idx="353">
                  <c:v>Private Lab</c:v>
                </c:pt>
                <c:pt idx="354">
                  <c:v>Milleret: A</c:v>
                </c:pt>
                <c:pt idx="355">
                  <c:v>Aperivrais</c:v>
                </c:pt>
                <c:pt idx="356">
                  <c:v>Private Lab</c:v>
                </c:pt>
                <c:pt idx="357">
                  <c:v>Le Rustique</c:v>
                </c:pt>
                <c:pt idx="358">
                  <c:v>Pave D'Affi</c:v>
                </c:pt>
                <c:pt idx="359">
                  <c:v>Private Lab</c:v>
                </c:pt>
                <c:pt idx="360">
                  <c:v>Private Lab</c:v>
                </c:pt>
                <c:pt idx="361">
                  <c:v>Private Lab</c:v>
                </c:pt>
                <c:pt idx="362">
                  <c:v>Fauquet</c:v>
                </c:pt>
                <c:pt idx="363">
                  <c:v>All Others</c:v>
                </c:pt>
                <c:pt idx="364">
                  <c:v>Savencia: A</c:v>
                </c:pt>
                <c:pt idx="365">
                  <c:v>All Others</c:v>
                </c:pt>
                <c:pt idx="366">
                  <c:v>Paysan Bret</c:v>
                </c:pt>
                <c:pt idx="367">
                  <c:v>Galbani</c:v>
                </c:pt>
                <c:pt idx="368">
                  <c:v>Private Lab</c:v>
                </c:pt>
                <c:pt idx="369">
                  <c:v>Private Lab</c:v>
                </c:pt>
                <c:pt idx="370">
                  <c:v>Private Lab</c:v>
                </c:pt>
                <c:pt idx="371">
                  <c:v>Salakis</c:v>
                </c:pt>
                <c:pt idx="372">
                  <c:v>Entremont</c:v>
                </c:pt>
                <c:pt idx="373">
                  <c:v>Soignon</c:v>
                </c:pt>
                <c:pt idx="374">
                  <c:v>President</c:v>
                </c:pt>
                <c:pt idx="375">
                  <c:v>La Vache Qu</c:v>
                </c:pt>
                <c:pt idx="376">
                  <c:v>Casa Azzurr</c:v>
                </c:pt>
                <c:pt idx="377">
                  <c:v>Private Lab</c:v>
                </c:pt>
                <c:pt idx="378">
                  <c:v>Galbani</c:v>
                </c:pt>
                <c:pt idx="379">
                  <c:v>Casa Azzurr</c:v>
                </c:pt>
                <c:pt idx="380">
                  <c:v>Lou Perac</c:v>
                </c:pt>
                <c:pt idx="381">
                  <c:v>Carre Frais</c:v>
                </c:pt>
                <c:pt idx="382">
                  <c:v>Private Lab</c:v>
                </c:pt>
                <c:pt idx="383">
                  <c:v>Paysan Bret</c:v>
                </c:pt>
                <c:pt idx="384">
                  <c:v>Galbani</c:v>
                </c:pt>
                <c:pt idx="385">
                  <c:v>Private Lab</c:v>
                </c:pt>
                <c:pt idx="386">
                  <c:v>Galbani</c:v>
                </c:pt>
                <c:pt idx="387">
                  <c:v>Boursin</c:v>
                </c:pt>
                <c:pt idx="388">
                  <c:v>Private Lab</c:v>
                </c:pt>
                <c:pt idx="389">
                  <c:v>Societe</c:v>
                </c:pt>
                <c:pt idx="390">
                  <c:v>Private Lab</c:v>
                </c:pt>
                <c:pt idx="391">
                  <c:v>Richesmonts</c:v>
                </c:pt>
                <c:pt idx="392">
                  <c:v>All Others</c:v>
                </c:pt>
                <c:pt idx="393">
                  <c:v>Tartare</c:v>
                </c:pt>
                <c:pt idx="394">
                  <c:v>Entremont</c:v>
                </c:pt>
                <c:pt idx="395">
                  <c:v>Private Lab</c:v>
                </c:pt>
                <c:pt idx="396">
                  <c:v>Chavroux</c:v>
                </c:pt>
                <c:pt idx="397">
                  <c:v>Casa Azzurr</c:v>
                </c:pt>
                <c:pt idx="398">
                  <c:v>Private Lab</c:v>
                </c:pt>
                <c:pt idx="399">
                  <c:v>L'Ortolan</c:v>
                </c:pt>
                <c:pt idx="400">
                  <c:v>Lactalis: A</c:v>
                </c:pt>
                <c:pt idx="401">
                  <c:v>Soignon</c:v>
                </c:pt>
                <c:pt idx="402">
                  <c:v>Private Lab</c:v>
                </c:pt>
                <c:pt idx="403">
                  <c:v>Galbani</c:v>
                </c:pt>
                <c:pt idx="404">
                  <c:v>Private Lab</c:v>
                </c:pt>
                <c:pt idx="405">
                  <c:v>Pave D'Affi</c:v>
                </c:pt>
                <c:pt idx="406">
                  <c:v>Private Lab</c:v>
                </c:pt>
                <c:pt idx="407">
                  <c:v>Societe</c:v>
                </c:pt>
                <c:pt idx="408">
                  <c:v>Private Lab</c:v>
                </c:pt>
                <c:pt idx="409">
                  <c:v>Private Lab</c:v>
                </c:pt>
                <c:pt idx="410">
                  <c:v>Private Lab</c:v>
                </c:pt>
                <c:pt idx="411">
                  <c:v>All Others</c:v>
                </c:pt>
                <c:pt idx="412">
                  <c:v>Private Lab</c:v>
                </c:pt>
                <c:pt idx="413">
                  <c:v>Boursin</c:v>
                </c:pt>
                <c:pt idx="414">
                  <c:v>Private Lab</c:v>
                </c:pt>
                <c:pt idx="415">
                  <c:v>Private Lab</c:v>
                </c:pt>
                <c:pt idx="416">
                  <c:v>Private Lab</c:v>
                </c:pt>
                <c:pt idx="417">
                  <c:v>Boursin</c:v>
                </c:pt>
                <c:pt idx="418">
                  <c:v>All Others</c:v>
                </c:pt>
                <c:pt idx="419">
                  <c:v>Paysan Bret</c:v>
                </c:pt>
                <c:pt idx="420">
                  <c:v>Private Lab</c:v>
                </c:pt>
                <c:pt idx="421">
                  <c:v>All Others</c:v>
                </c:pt>
                <c:pt idx="422">
                  <c:v>Caprice Des</c:v>
                </c:pt>
                <c:pt idx="423">
                  <c:v>Eurial Autr</c:v>
                </c:pt>
                <c:pt idx="424">
                  <c:v>All Others</c:v>
                </c:pt>
                <c:pt idx="425">
                  <c:v>Casa Azzurr</c:v>
                </c:pt>
                <c:pt idx="426">
                  <c:v>Boursin</c:v>
                </c:pt>
                <c:pt idx="427">
                  <c:v>President</c:v>
                </c:pt>
                <c:pt idx="428">
                  <c:v>Mini Babybe</c:v>
                </c:pt>
                <c:pt idx="429">
                  <c:v>All Others</c:v>
                </c:pt>
                <c:pt idx="430">
                  <c:v>Private Lab</c:v>
                </c:pt>
                <c:pt idx="431">
                  <c:v>Private Lab</c:v>
                </c:pt>
                <c:pt idx="432">
                  <c:v>President</c:v>
                </c:pt>
                <c:pt idx="433">
                  <c:v>Boursin</c:v>
                </c:pt>
                <c:pt idx="434">
                  <c:v>Societe</c:v>
                </c:pt>
                <c:pt idx="435">
                  <c:v>Salakis</c:v>
                </c:pt>
                <c:pt idx="436">
                  <c:v>St Moret</c:v>
                </c:pt>
                <c:pt idx="437">
                  <c:v>Private Lab</c:v>
                </c:pt>
                <c:pt idx="438">
                  <c:v>Leerdammer</c:v>
                </c:pt>
                <c:pt idx="439">
                  <c:v>Private Lab</c:v>
                </c:pt>
                <c:pt idx="440">
                  <c:v>Les Mousque</c:v>
                </c:pt>
                <c:pt idx="441">
                  <c:v>Juraflore</c:v>
                </c:pt>
                <c:pt idx="442">
                  <c:v>Private Lab</c:v>
                </c:pt>
                <c:pt idx="443">
                  <c:v>La Belle Et</c:v>
                </c:pt>
                <c:pt idx="444">
                  <c:v>Richesmonts</c:v>
                </c:pt>
                <c:pt idx="445">
                  <c:v>Private Lab</c:v>
                </c:pt>
                <c:pt idx="446">
                  <c:v>Savencia: A</c:v>
                </c:pt>
                <c:pt idx="447">
                  <c:v>Private Lab</c:v>
                </c:pt>
                <c:pt idx="448">
                  <c:v>Richesmonts</c:v>
                </c:pt>
                <c:pt idx="449">
                  <c:v>Tartare</c:v>
                </c:pt>
                <c:pt idx="450">
                  <c:v>Mini Babybe</c:v>
                </c:pt>
                <c:pt idx="451">
                  <c:v>St Moret</c:v>
                </c:pt>
                <c:pt idx="452">
                  <c:v>Private Lab</c:v>
                </c:pt>
                <c:pt idx="453">
                  <c:v>Etorki</c:v>
                </c:pt>
                <c:pt idx="454">
                  <c:v>Lactalis: A</c:v>
                </c:pt>
                <c:pt idx="455">
                  <c:v>Galbani</c:v>
                </c:pt>
                <c:pt idx="456">
                  <c:v>Lou Perac</c:v>
                </c:pt>
                <c:pt idx="457">
                  <c:v>Private Lab</c:v>
                </c:pt>
                <c:pt idx="458">
                  <c:v>President</c:v>
                </c:pt>
                <c:pt idx="459">
                  <c:v>Private Lab</c:v>
                </c:pt>
                <c:pt idx="460">
                  <c:v>Savencia: A</c:v>
                </c:pt>
                <c:pt idx="461">
                  <c:v>Entremont</c:v>
                </c:pt>
                <c:pt idx="462">
                  <c:v>Private Lab</c:v>
                </c:pt>
                <c:pt idx="463">
                  <c:v>St Moret</c:v>
                </c:pt>
                <c:pt idx="464">
                  <c:v>Eurial Autr</c:v>
                </c:pt>
                <c:pt idx="465">
                  <c:v>Private Lab</c:v>
                </c:pt>
                <c:pt idx="466">
                  <c:v>Paysan Bret</c:v>
                </c:pt>
                <c:pt idx="467">
                  <c:v>Saint Agur</c:v>
                </c:pt>
                <c:pt idx="468">
                  <c:v>Pave D'Affi</c:v>
                </c:pt>
                <c:pt idx="469">
                  <c:v>Caprice Des</c:v>
                </c:pt>
                <c:pt idx="470">
                  <c:v>Kiri</c:v>
                </c:pt>
                <c:pt idx="471">
                  <c:v>Salakis</c:v>
                </c:pt>
                <c:pt idx="472">
                  <c:v>Lou Perac</c:v>
                </c:pt>
                <c:pt idx="473">
                  <c:v>Caprice Des</c:v>
                </c:pt>
                <c:pt idx="474">
                  <c:v>Apericube</c:v>
                </c:pt>
                <c:pt idx="475">
                  <c:v>All Others</c:v>
                </c:pt>
                <c:pt idx="476">
                  <c:v>President</c:v>
                </c:pt>
                <c:pt idx="477">
                  <c:v>Tartare</c:v>
                </c:pt>
                <c:pt idx="478">
                  <c:v>Private Lab</c:v>
                </c:pt>
                <c:pt idx="479">
                  <c:v>Aperivrais</c:v>
                </c:pt>
                <c:pt idx="480">
                  <c:v>Casa Azzurr</c:v>
                </c:pt>
                <c:pt idx="481">
                  <c:v>Private Lab</c:v>
                </c:pt>
                <c:pt idx="482">
                  <c:v>Private Lab</c:v>
                </c:pt>
                <c:pt idx="483">
                  <c:v>Aperivrais</c:v>
                </c:pt>
                <c:pt idx="484">
                  <c:v>St Moret</c:v>
                </c:pt>
                <c:pt idx="485">
                  <c:v>Boursin</c:v>
                </c:pt>
                <c:pt idx="486">
                  <c:v>Casa Azzurr</c:v>
                </c:pt>
                <c:pt idx="487">
                  <c:v>Tartare</c:v>
                </c:pt>
                <c:pt idx="488">
                  <c:v>La Vache Qu</c:v>
                </c:pt>
                <c:pt idx="489">
                  <c:v>Vieux Pane</c:v>
                </c:pt>
                <c:pt idx="490">
                  <c:v>La Belle Et</c:v>
                </c:pt>
                <c:pt idx="491">
                  <c:v>Paysan Bret</c:v>
                </c:pt>
                <c:pt idx="492">
                  <c:v>Tartare</c:v>
                </c:pt>
                <c:pt idx="493">
                  <c:v>Etoile Du V</c:v>
                </c:pt>
                <c:pt idx="494">
                  <c:v>Pochat</c:v>
                </c:pt>
                <c:pt idx="495">
                  <c:v>Vieux Pane</c:v>
                </c:pt>
                <c:pt idx="496">
                  <c:v>Le Rustique</c:v>
                </c:pt>
                <c:pt idx="497">
                  <c:v>Private Lab</c:v>
                </c:pt>
                <c:pt idx="498">
                  <c:v>Juraflore</c:v>
                </c:pt>
                <c:pt idx="499">
                  <c:v>Soignon</c:v>
                </c:pt>
                <c:pt idx="500">
                  <c:v>Kiri</c:v>
                </c:pt>
                <c:pt idx="501">
                  <c:v>All Others</c:v>
                </c:pt>
                <c:pt idx="502">
                  <c:v>Private Lab</c:v>
                </c:pt>
                <c:pt idx="503">
                  <c:v>Private Lab</c:v>
                </c:pt>
                <c:pt idx="504">
                  <c:v>Private Lab</c:v>
                </c:pt>
                <c:pt idx="505">
                  <c:v>All Others</c:v>
                </c:pt>
                <c:pt idx="506">
                  <c:v>Entremont</c:v>
                </c:pt>
                <c:pt idx="507">
                  <c:v>Istara</c:v>
                </c:pt>
                <c:pt idx="508">
                  <c:v>L'Ortolan</c:v>
                </c:pt>
                <c:pt idx="509">
                  <c:v>All Others</c:v>
                </c:pt>
                <c:pt idx="510">
                  <c:v>L'Ortolan</c:v>
                </c:pt>
                <c:pt idx="511">
                  <c:v>Bresse Bleu</c:v>
                </c:pt>
                <c:pt idx="512">
                  <c:v>Entremont</c:v>
                </c:pt>
                <c:pt idx="513">
                  <c:v>Galbani</c:v>
                </c:pt>
                <c:pt idx="514">
                  <c:v>Soignon</c:v>
                </c:pt>
                <c:pt idx="515">
                  <c:v>Private Lab</c:v>
                </c:pt>
                <c:pt idx="516">
                  <c:v>All Others</c:v>
                </c:pt>
                <c:pt idx="517">
                  <c:v>Le Coq Crem</c:v>
                </c:pt>
                <c:pt idx="518">
                  <c:v>Soignon</c:v>
                </c:pt>
                <c:pt idx="519">
                  <c:v>All Others</c:v>
                </c:pt>
                <c:pt idx="520">
                  <c:v>Kiri</c:v>
                </c:pt>
                <c:pt idx="521">
                  <c:v>President</c:v>
                </c:pt>
                <c:pt idx="522">
                  <c:v>All Others</c:v>
                </c:pt>
                <c:pt idx="523">
                  <c:v>St Moret</c:v>
                </c:pt>
                <c:pt idx="524">
                  <c:v>All Others</c:v>
                </c:pt>
                <c:pt idx="525">
                  <c:v>Galbani</c:v>
                </c:pt>
                <c:pt idx="526">
                  <c:v>All Others</c:v>
                </c:pt>
                <c:pt idx="527">
                  <c:v>Casa Azzurr</c:v>
                </c:pt>
                <c:pt idx="528">
                  <c:v>Entremont</c:v>
                </c:pt>
                <c:pt idx="529">
                  <c:v>Savencia: A</c:v>
                </c:pt>
                <c:pt idx="530">
                  <c:v>All Others</c:v>
                </c:pt>
                <c:pt idx="531">
                  <c:v>Private Lab</c:v>
                </c:pt>
                <c:pt idx="532">
                  <c:v>Les Mousque</c:v>
                </c:pt>
                <c:pt idx="533">
                  <c:v>Mini Babybe</c:v>
                </c:pt>
                <c:pt idx="534">
                  <c:v>Apericube</c:v>
                </c:pt>
                <c:pt idx="535">
                  <c:v>All Others</c:v>
                </c:pt>
                <c:pt idx="536">
                  <c:v>Soignon</c:v>
                </c:pt>
                <c:pt idx="537">
                  <c:v>Private Lab</c:v>
                </c:pt>
                <c:pt idx="538">
                  <c:v>All Others</c:v>
                </c:pt>
                <c:pt idx="539">
                  <c:v>Paysan Bret</c:v>
                </c:pt>
                <c:pt idx="540">
                  <c:v>All Others</c:v>
                </c:pt>
                <c:pt idx="541">
                  <c:v>Pochat</c:v>
                </c:pt>
                <c:pt idx="542">
                  <c:v>Casa Azzurr</c:v>
                </c:pt>
                <c:pt idx="543">
                  <c:v>Private Lab</c:v>
                </c:pt>
                <c:pt idx="544">
                  <c:v>Leerdammer</c:v>
                </c:pt>
                <c:pt idx="545">
                  <c:v>All Others</c:v>
                </c:pt>
                <c:pt idx="546">
                  <c:v>Le Saint Am</c:v>
                </c:pt>
                <c:pt idx="547">
                  <c:v>Entremont</c:v>
                </c:pt>
                <c:pt idx="548">
                  <c:v>Coeur De Li</c:v>
                </c:pt>
                <c:pt idx="549">
                  <c:v>Corsica</c:v>
                </c:pt>
                <c:pt idx="550">
                  <c:v>Casa Azzurr</c:v>
                </c:pt>
                <c:pt idx="551">
                  <c:v>All Others</c:v>
                </c:pt>
                <c:pt idx="552">
                  <c:v>Private Lab</c:v>
                </c:pt>
                <c:pt idx="553">
                  <c:v>Islos</c:v>
                </c:pt>
                <c:pt idx="554">
                  <c:v>All Others</c:v>
                </c:pt>
                <c:pt idx="555">
                  <c:v>Soignon</c:v>
                </c:pt>
                <c:pt idx="556">
                  <c:v>Les Mousque</c:v>
                </c:pt>
                <c:pt idx="557">
                  <c:v>Les Mousque</c:v>
                </c:pt>
                <c:pt idx="558">
                  <c:v>All Others</c:v>
                </c:pt>
                <c:pt idx="559">
                  <c:v>Richesmonts</c:v>
                </c:pt>
                <c:pt idx="560">
                  <c:v>Eurial Autr</c:v>
                </c:pt>
                <c:pt idx="561">
                  <c:v>Lactalis: A</c:v>
                </c:pt>
                <c:pt idx="562">
                  <c:v>Entremont</c:v>
                </c:pt>
                <c:pt idx="563">
                  <c:v>Paysan Bret</c:v>
                </c:pt>
                <c:pt idx="564">
                  <c:v>Private Lab</c:v>
                </c:pt>
                <c:pt idx="565">
                  <c:v>La Belle Et</c:v>
                </c:pt>
                <c:pt idx="566">
                  <c:v>Mini Babybe</c:v>
                </c:pt>
                <c:pt idx="567">
                  <c:v>Fol Epi</c:v>
                </c:pt>
                <c:pt idx="568">
                  <c:v>Milleret: A</c:v>
                </c:pt>
                <c:pt idx="569">
                  <c:v>Raguin</c:v>
                </c:pt>
                <c:pt idx="570">
                  <c:v>All Others</c:v>
                </c:pt>
                <c:pt idx="571">
                  <c:v>Boursin</c:v>
                </c:pt>
                <c:pt idx="572">
                  <c:v>Kiri</c:v>
                </c:pt>
                <c:pt idx="573">
                  <c:v>Savencia: A</c:v>
                </c:pt>
                <c:pt idx="574">
                  <c:v>Societe</c:v>
                </c:pt>
                <c:pt idx="575">
                  <c:v>Soignon</c:v>
                </c:pt>
                <c:pt idx="576">
                  <c:v>Kiri</c:v>
                </c:pt>
                <c:pt idx="577">
                  <c:v>All Others</c:v>
                </c:pt>
                <c:pt idx="578">
                  <c:v>La Belle Et</c:v>
                </c:pt>
                <c:pt idx="579">
                  <c:v>Paysan Bret</c:v>
                </c:pt>
                <c:pt idx="580">
                  <c:v>Raguin</c:v>
                </c:pt>
                <c:pt idx="581">
                  <c:v>Private Lab</c:v>
                </c:pt>
                <c:pt idx="582">
                  <c:v>Private Lab</c:v>
                </c:pt>
                <c:pt idx="583">
                  <c:v>Milleret: A</c:v>
                </c:pt>
                <c:pt idx="584">
                  <c:v>Lactalis: A</c:v>
                </c:pt>
                <c:pt idx="585">
                  <c:v>All Others</c:v>
                </c:pt>
                <c:pt idx="586">
                  <c:v>Private Lab</c:v>
                </c:pt>
                <c:pt idx="587">
                  <c:v>All Others</c:v>
                </c:pt>
                <c:pt idx="588">
                  <c:v>P'Tit Louis</c:v>
                </c:pt>
                <c:pt idx="589">
                  <c:v>All Others</c:v>
                </c:pt>
                <c:pt idx="590">
                  <c:v>All Others</c:v>
                </c:pt>
                <c:pt idx="591">
                  <c:v>All Others</c:v>
                </c:pt>
                <c:pt idx="592">
                  <c:v>Etoile Du Q</c:v>
                </c:pt>
                <c:pt idx="593">
                  <c:v>Galbani</c:v>
                </c:pt>
                <c:pt idx="594">
                  <c:v>All Others</c:v>
                </c:pt>
                <c:pt idx="595">
                  <c:v>Caprice Des</c:v>
                </c:pt>
                <c:pt idx="596">
                  <c:v>Triballat N</c:v>
                </c:pt>
                <c:pt idx="597">
                  <c:v>Lactalis: A</c:v>
                </c:pt>
                <c:pt idx="598">
                  <c:v>Salakis</c:v>
                </c:pt>
                <c:pt idx="599">
                  <c:v>Soignon</c:v>
                </c:pt>
                <c:pt idx="600">
                  <c:v>Entremont</c:v>
                </c:pt>
                <c:pt idx="601">
                  <c:v>Violife</c:v>
                </c:pt>
                <c:pt idx="602">
                  <c:v>All Others</c:v>
                </c:pt>
                <c:pt idx="603">
                  <c:v>Private Lab</c:v>
                </c:pt>
                <c:pt idx="604">
                  <c:v>Bresse Bleu</c:v>
                </c:pt>
                <c:pt idx="605">
                  <c:v>Galbani</c:v>
                </c:pt>
                <c:pt idx="606">
                  <c:v>Mini Babybe</c:v>
                </c:pt>
                <c:pt idx="607">
                  <c:v>Saint Albra</c:v>
                </c:pt>
                <c:pt idx="608">
                  <c:v>La Belle Et</c:v>
                </c:pt>
                <c:pt idx="609">
                  <c:v>Lactalis: A</c:v>
                </c:pt>
                <c:pt idx="610">
                  <c:v>All Others</c:v>
                </c:pt>
                <c:pt idx="611">
                  <c:v>Savencia: A</c:v>
                </c:pt>
                <c:pt idx="612">
                  <c:v>All Others</c:v>
                </c:pt>
                <c:pt idx="613">
                  <c:v>Etoile Du V</c:v>
                </c:pt>
                <c:pt idx="614">
                  <c:v>L'Ortolan</c:v>
                </c:pt>
                <c:pt idx="615">
                  <c:v>President</c:v>
                </c:pt>
                <c:pt idx="616">
                  <c:v>Private Lab</c:v>
                </c:pt>
                <c:pt idx="617">
                  <c:v>All Others</c:v>
                </c:pt>
                <c:pt idx="618">
                  <c:v>Raguin</c:v>
                </c:pt>
                <c:pt idx="619">
                  <c:v>Raguin</c:v>
                </c:pt>
                <c:pt idx="620">
                  <c:v>All Others</c:v>
                </c:pt>
                <c:pt idx="621">
                  <c:v>Lactalis: A</c:v>
                </c:pt>
                <c:pt idx="622">
                  <c:v>All Others</c:v>
                </c:pt>
                <c:pt idx="623">
                  <c:v>Lactalis: A</c:v>
                </c:pt>
                <c:pt idx="624">
                  <c:v>All Others</c:v>
                </c:pt>
                <c:pt idx="625">
                  <c:v>Le Brebiou</c:v>
                </c:pt>
                <c:pt idx="626">
                  <c:v>Galbani</c:v>
                </c:pt>
                <c:pt idx="627">
                  <c:v>All Others</c:v>
                </c:pt>
                <c:pt idx="628">
                  <c:v>Boursin</c:v>
                </c:pt>
                <c:pt idx="629">
                  <c:v>Etoile Du V</c:v>
                </c:pt>
                <c:pt idx="630">
                  <c:v>Saint Agur</c:v>
                </c:pt>
                <c:pt idx="631">
                  <c:v>All Others</c:v>
                </c:pt>
                <c:pt idx="632">
                  <c:v>Pochat</c:v>
                </c:pt>
                <c:pt idx="633">
                  <c:v>Entremont</c:v>
                </c:pt>
                <c:pt idx="634">
                  <c:v>Paysan Bret</c:v>
                </c:pt>
                <c:pt idx="635">
                  <c:v>Savencia: A</c:v>
                </c:pt>
                <c:pt idx="636">
                  <c:v>All Others</c:v>
                </c:pt>
                <c:pt idx="637">
                  <c:v>Paysan Bret</c:v>
                </c:pt>
                <c:pt idx="638">
                  <c:v>All Others</c:v>
                </c:pt>
                <c:pt idx="639">
                  <c:v>Savencia: A</c:v>
                </c:pt>
                <c:pt idx="640">
                  <c:v>Paysan Bret</c:v>
                </c:pt>
                <c:pt idx="641">
                  <c:v>All Others</c:v>
                </c:pt>
                <c:pt idx="642">
                  <c:v>Private Lab</c:v>
                </c:pt>
                <c:pt idx="643">
                  <c:v>Eurial Autr</c:v>
                </c:pt>
                <c:pt idx="644">
                  <c:v>Entremont</c:v>
                </c:pt>
                <c:pt idx="645">
                  <c:v>Lactalis: A</c:v>
                </c:pt>
                <c:pt idx="646">
                  <c:v>All Others</c:v>
                </c:pt>
                <c:pt idx="647">
                  <c:v>Milleret: A</c:v>
                </c:pt>
                <c:pt idx="648">
                  <c:v>Milleret: A</c:v>
                </c:pt>
                <c:pt idx="649">
                  <c:v>Salakis</c:v>
                </c:pt>
                <c:pt idx="650">
                  <c:v>Savencia: A</c:v>
                </c:pt>
                <c:pt idx="651">
                  <c:v>All Others</c:v>
                </c:pt>
                <c:pt idx="652">
                  <c:v>Etorki</c:v>
                </c:pt>
                <c:pt idx="653">
                  <c:v>Saint Agur</c:v>
                </c:pt>
                <c:pt idx="654">
                  <c:v>Islos</c:v>
                </c:pt>
                <c:pt idx="655">
                  <c:v>Carre Frais</c:v>
                </c:pt>
                <c:pt idx="656">
                  <c:v>All Others</c:v>
                </c:pt>
                <c:pt idx="657">
                  <c:v>Milleret: A</c:v>
                </c:pt>
                <c:pt idx="658">
                  <c:v>All Others</c:v>
                </c:pt>
                <c:pt idx="659">
                  <c:v>Milleret: A</c:v>
                </c:pt>
                <c:pt idx="660">
                  <c:v>All Others</c:v>
                </c:pt>
                <c:pt idx="661">
                  <c:v>All Others</c:v>
                </c:pt>
                <c:pt idx="662">
                  <c:v>All Others</c:v>
                </c:pt>
                <c:pt idx="663">
                  <c:v>All Others</c:v>
                </c:pt>
                <c:pt idx="664">
                  <c:v>Entremont</c:v>
                </c:pt>
                <c:pt idx="665">
                  <c:v>Casa Azzurr</c:v>
                </c:pt>
                <c:pt idx="666">
                  <c:v>All Others</c:v>
                </c:pt>
                <c:pt idx="667">
                  <c:v>Triballat N</c:v>
                </c:pt>
                <c:pt idx="668">
                  <c:v>Galbani</c:v>
                </c:pt>
                <c:pt idx="669">
                  <c:v>Apericube</c:v>
                </c:pt>
                <c:pt idx="670">
                  <c:v>Pochat</c:v>
                </c:pt>
                <c:pt idx="671">
                  <c:v>Nurishh</c:v>
                </c:pt>
                <c:pt idx="672">
                  <c:v>All Others</c:v>
                </c:pt>
                <c:pt idx="673">
                  <c:v>Private Lab</c:v>
                </c:pt>
                <c:pt idx="674">
                  <c:v>Entremont</c:v>
                </c:pt>
                <c:pt idx="675">
                  <c:v>Entremont</c:v>
                </c:pt>
                <c:pt idx="676">
                  <c:v>Entremont</c:v>
                </c:pt>
                <c:pt idx="677">
                  <c:v>Richesmonts</c:v>
                </c:pt>
                <c:pt idx="678">
                  <c:v>All Others</c:v>
                </c:pt>
                <c:pt idx="679">
                  <c:v>All Others</c:v>
                </c:pt>
                <c:pt idx="680">
                  <c:v>All Others</c:v>
                </c:pt>
                <c:pt idx="681">
                  <c:v>Paysan Bret</c:v>
                </c:pt>
                <c:pt idx="682">
                  <c:v>All Others</c:v>
                </c:pt>
                <c:pt idx="683">
                  <c:v>All Others</c:v>
                </c:pt>
                <c:pt idx="684">
                  <c:v>All Others</c:v>
                </c:pt>
                <c:pt idx="685">
                  <c:v>Savencia: A</c:v>
                </c:pt>
                <c:pt idx="686">
                  <c:v>Entremont</c:v>
                </c:pt>
                <c:pt idx="687">
                  <c:v>All Others</c:v>
                </c:pt>
                <c:pt idx="688">
                  <c:v>Lactalis: A</c:v>
                </c:pt>
                <c:pt idx="689">
                  <c:v>All Others</c:v>
                </c:pt>
                <c:pt idx="690">
                  <c:v>All Others</c:v>
                </c:pt>
                <c:pt idx="691">
                  <c:v>La Belle Et</c:v>
                </c:pt>
                <c:pt idx="692">
                  <c:v>Istara</c:v>
                </c:pt>
                <c:pt idx="693">
                  <c:v>Triballat N</c:v>
                </c:pt>
                <c:pt idx="694">
                  <c:v>All Others</c:v>
                </c:pt>
                <c:pt idx="695">
                  <c:v>All Others</c:v>
                </c:pt>
                <c:pt idx="696">
                  <c:v>Apericube</c:v>
                </c:pt>
                <c:pt idx="697">
                  <c:v>Casa Azzurr</c:v>
                </c:pt>
                <c:pt idx="698">
                  <c:v>President</c:v>
                </c:pt>
                <c:pt idx="699">
                  <c:v>All Others</c:v>
                </c:pt>
                <c:pt idx="700">
                  <c:v>All Others</c:v>
                </c:pt>
                <c:pt idx="701">
                  <c:v>Etoile Du V</c:v>
                </c:pt>
                <c:pt idx="702">
                  <c:v>All Others</c:v>
                </c:pt>
                <c:pt idx="703">
                  <c:v>Nurishh</c:v>
                </c:pt>
                <c:pt idx="704">
                  <c:v>All Others</c:v>
                </c:pt>
                <c:pt idx="705">
                  <c:v>Savencia: A</c:v>
                </c:pt>
                <c:pt idx="706">
                  <c:v>Private Lab</c:v>
                </c:pt>
                <c:pt idx="707">
                  <c:v>All Others</c:v>
                </c:pt>
                <c:pt idx="708">
                  <c:v>All Others</c:v>
                </c:pt>
                <c:pt idx="709">
                  <c:v>Casa Azzurr</c:v>
                </c:pt>
                <c:pt idx="710">
                  <c:v>All Others</c:v>
                </c:pt>
                <c:pt idx="711">
                  <c:v>Boursin</c:v>
                </c:pt>
                <c:pt idx="712">
                  <c:v>Violife</c:v>
                </c:pt>
                <c:pt idx="713">
                  <c:v>All Others</c:v>
                </c:pt>
                <c:pt idx="714">
                  <c:v>Chavroux</c:v>
                </c:pt>
                <c:pt idx="715">
                  <c:v>All Others</c:v>
                </c:pt>
                <c:pt idx="716">
                  <c:v>All Others</c:v>
                </c:pt>
                <c:pt idx="717">
                  <c:v>All Others</c:v>
                </c:pt>
                <c:pt idx="718">
                  <c:v>Etoile Du V</c:v>
                </c:pt>
                <c:pt idx="719">
                  <c:v>Aperivrais</c:v>
                </c:pt>
                <c:pt idx="720">
                  <c:v>All Others</c:v>
                </c:pt>
                <c:pt idx="721">
                  <c:v>All Others</c:v>
                </c:pt>
                <c:pt idx="722">
                  <c:v>President</c:v>
                </c:pt>
                <c:pt idx="723">
                  <c:v>Richesmonts</c:v>
                </c:pt>
                <c:pt idx="724">
                  <c:v>All Others</c:v>
                </c:pt>
                <c:pt idx="725">
                  <c:v>All Others</c:v>
                </c:pt>
                <c:pt idx="726">
                  <c:v>All Others</c:v>
                </c:pt>
                <c:pt idx="727">
                  <c:v>Fol Epi</c:v>
                </c:pt>
                <c:pt idx="728">
                  <c:v>President</c:v>
                </c:pt>
                <c:pt idx="729">
                  <c:v>Tartare</c:v>
                </c:pt>
                <c:pt idx="730">
                  <c:v>All Others</c:v>
                </c:pt>
                <c:pt idx="731">
                  <c:v>Lactalis: A</c:v>
                </c:pt>
                <c:pt idx="732">
                  <c:v>All Others</c:v>
                </c:pt>
                <c:pt idx="733">
                  <c:v>Casa Azzurr</c:v>
                </c:pt>
                <c:pt idx="734">
                  <c:v>All Others</c:v>
                </c:pt>
                <c:pt idx="735">
                  <c:v>All Others</c:v>
                </c:pt>
                <c:pt idx="736">
                  <c:v>Entremont</c:v>
                </c:pt>
                <c:pt idx="737">
                  <c:v>Lactalis: A</c:v>
                </c:pt>
                <c:pt idx="738">
                  <c:v>All Others</c:v>
                </c:pt>
                <c:pt idx="739">
                  <c:v>All Others</c:v>
                </c:pt>
                <c:pt idx="740">
                  <c:v>All Others</c:v>
                </c:pt>
                <c:pt idx="741">
                  <c:v>All Others</c:v>
                </c:pt>
                <c:pt idx="742">
                  <c:v>Fauquet</c:v>
                </c:pt>
                <c:pt idx="743">
                  <c:v>All Others</c:v>
                </c:pt>
                <c:pt idx="744">
                  <c:v>Etoile Du V</c:v>
                </c:pt>
                <c:pt idx="745">
                  <c:v>L'Ortolan</c:v>
                </c:pt>
                <c:pt idx="746">
                  <c:v>All Others</c:v>
                </c:pt>
                <c:pt idx="747">
                  <c:v>All Others</c:v>
                </c:pt>
                <c:pt idx="748">
                  <c:v>Lactalis: A</c:v>
                </c:pt>
                <c:pt idx="749">
                  <c:v>Private Lab</c:v>
                </c:pt>
                <c:pt idx="750">
                  <c:v>All Others</c:v>
                </c:pt>
                <c:pt idx="751">
                  <c:v>Boursin</c:v>
                </c:pt>
                <c:pt idx="752">
                  <c:v>Boursin</c:v>
                </c:pt>
                <c:pt idx="753">
                  <c:v>All Others</c:v>
                </c:pt>
                <c:pt idx="754">
                  <c:v>All Others</c:v>
                </c:pt>
                <c:pt idx="755">
                  <c:v>All Others</c:v>
                </c:pt>
                <c:pt idx="756">
                  <c:v>La Belle Et</c:v>
                </c:pt>
                <c:pt idx="757">
                  <c:v>All Others</c:v>
                </c:pt>
                <c:pt idx="758">
                  <c:v>All Others</c:v>
                </c:pt>
                <c:pt idx="759">
                  <c:v>Triballat N</c:v>
                </c:pt>
                <c:pt idx="760">
                  <c:v>All Others</c:v>
                </c:pt>
                <c:pt idx="761">
                  <c:v>Pochat</c:v>
                </c:pt>
                <c:pt idx="762">
                  <c:v>Violife</c:v>
                </c:pt>
                <c:pt idx="763">
                  <c:v>All Others</c:v>
                </c:pt>
                <c:pt idx="764">
                  <c:v>Tartare</c:v>
                </c:pt>
                <c:pt idx="765">
                  <c:v>Mini Babybe</c:v>
                </c:pt>
                <c:pt idx="766">
                  <c:v>Pave D'Affi</c:v>
                </c:pt>
                <c:pt idx="767">
                  <c:v>All Others</c:v>
                </c:pt>
                <c:pt idx="768">
                  <c:v>All Others</c:v>
                </c:pt>
                <c:pt idx="769">
                  <c:v>All Others</c:v>
                </c:pt>
                <c:pt idx="770">
                  <c:v>Entremont</c:v>
                </c:pt>
                <c:pt idx="771">
                  <c:v>All Others</c:v>
                </c:pt>
                <c:pt idx="772">
                  <c:v>Nurishh</c:v>
                </c:pt>
                <c:pt idx="773">
                  <c:v>All Others</c:v>
                </c:pt>
                <c:pt idx="774">
                  <c:v>All Others</c:v>
                </c:pt>
                <c:pt idx="775">
                  <c:v>All Others</c:v>
                </c:pt>
                <c:pt idx="776">
                  <c:v>All Others</c:v>
                </c:pt>
                <c:pt idx="777">
                  <c:v>All Others</c:v>
                </c:pt>
                <c:pt idx="778">
                  <c:v>All Others</c:v>
                </c:pt>
                <c:pt idx="779">
                  <c:v>Les Mousque</c:v>
                </c:pt>
                <c:pt idx="780">
                  <c:v>Les Mousque</c:v>
                </c:pt>
                <c:pt idx="781">
                  <c:v>All Others</c:v>
                </c:pt>
                <c:pt idx="782">
                  <c:v>Apericube</c:v>
                </c:pt>
                <c:pt idx="783">
                  <c:v>Savencia: A</c:v>
                </c:pt>
                <c:pt idx="784">
                  <c:v>Entremont</c:v>
                </c:pt>
                <c:pt idx="785">
                  <c:v>Milleret: A</c:v>
                </c:pt>
                <c:pt idx="786">
                  <c:v>All Others</c:v>
                </c:pt>
                <c:pt idx="787">
                  <c:v>All Others</c:v>
                </c:pt>
                <c:pt idx="788">
                  <c:v>All Others</c:v>
                </c:pt>
                <c:pt idx="789">
                  <c:v>All Others</c:v>
                </c:pt>
                <c:pt idx="790">
                  <c:v>All Others</c:v>
                </c:pt>
                <c:pt idx="791">
                  <c:v>All Others</c:v>
                </c:pt>
                <c:pt idx="792">
                  <c:v>All Others</c:v>
                </c:pt>
                <c:pt idx="793">
                  <c:v>All Others</c:v>
                </c:pt>
                <c:pt idx="794">
                  <c:v>All Others</c:v>
                </c:pt>
                <c:pt idx="795">
                  <c:v>Chavroux</c:v>
                </c:pt>
                <c:pt idx="796">
                  <c:v>Nurishh</c:v>
                </c:pt>
                <c:pt idx="797">
                  <c:v>All Others</c:v>
                </c:pt>
                <c:pt idx="798">
                  <c:v>All Others</c:v>
                </c:pt>
                <c:pt idx="799">
                  <c:v>All Others</c:v>
                </c:pt>
                <c:pt idx="800">
                  <c:v>Nurishh</c:v>
                </c:pt>
                <c:pt idx="801">
                  <c:v>All Others</c:v>
                </c:pt>
                <c:pt idx="802">
                  <c:v>All Others</c:v>
                </c:pt>
                <c:pt idx="803">
                  <c:v>All Others</c:v>
                </c:pt>
                <c:pt idx="804">
                  <c:v>Nurishh</c:v>
                </c:pt>
                <c:pt idx="805">
                  <c:v>All Others</c:v>
                </c:pt>
                <c:pt idx="806">
                  <c:v>All Others</c:v>
                </c:pt>
                <c:pt idx="807">
                  <c:v>All Others</c:v>
                </c:pt>
                <c:pt idx="808">
                  <c:v>All Others</c:v>
                </c:pt>
                <c:pt idx="809">
                  <c:v>Etoile Du V</c:v>
                </c:pt>
                <c:pt idx="810">
                  <c:v>Paysan Bret</c:v>
                </c:pt>
                <c:pt idx="811">
                  <c:v>Entremont</c:v>
                </c:pt>
                <c:pt idx="812">
                  <c:v>Apericube</c:v>
                </c:pt>
                <c:pt idx="813">
                  <c:v>All Others</c:v>
                </c:pt>
                <c:pt idx="814">
                  <c:v>All Others</c:v>
                </c:pt>
                <c:pt idx="815">
                  <c:v>All Others</c:v>
                </c:pt>
                <c:pt idx="816">
                  <c:v>All Others</c:v>
                </c:pt>
                <c:pt idx="817">
                  <c:v>All Others</c:v>
                </c:pt>
                <c:pt idx="818">
                  <c:v>Aperivrais</c:v>
                </c:pt>
                <c:pt idx="819">
                  <c:v>La Belle Et</c:v>
                </c:pt>
                <c:pt idx="820">
                  <c:v>All Others</c:v>
                </c:pt>
                <c:pt idx="821">
                  <c:v>Savencia: A</c:v>
                </c:pt>
                <c:pt idx="822">
                  <c:v>All Others</c:v>
                </c:pt>
                <c:pt idx="823">
                  <c:v>All Others</c:v>
                </c:pt>
                <c:pt idx="824">
                  <c:v>All Others</c:v>
                </c:pt>
                <c:pt idx="825">
                  <c:v>All Others</c:v>
                </c:pt>
                <c:pt idx="826">
                  <c:v>All Others</c:v>
                </c:pt>
                <c:pt idx="827">
                  <c:v>Boursin</c:v>
                </c:pt>
                <c:pt idx="828">
                  <c:v>La Belle Et</c:v>
                </c:pt>
                <c:pt idx="829">
                  <c:v>All Others</c:v>
                </c:pt>
                <c:pt idx="830">
                  <c:v>Soignon</c:v>
                </c:pt>
                <c:pt idx="831">
                  <c:v>Milleret: A</c:v>
                </c:pt>
                <c:pt idx="832">
                  <c:v>Aperivrais</c:v>
                </c:pt>
                <c:pt idx="833">
                  <c:v>All Others</c:v>
                </c:pt>
                <c:pt idx="834">
                  <c:v>All Others</c:v>
                </c:pt>
                <c:pt idx="835">
                  <c:v>La Belle Et</c:v>
                </c:pt>
                <c:pt idx="836">
                  <c:v>All Others</c:v>
                </c:pt>
                <c:pt idx="837">
                  <c:v>All Others</c:v>
                </c:pt>
                <c:pt idx="838">
                  <c:v>La Belle Et</c:v>
                </c:pt>
                <c:pt idx="839">
                  <c:v>All Others</c:v>
                </c:pt>
                <c:pt idx="840">
                  <c:v>All Others</c:v>
                </c:pt>
                <c:pt idx="841">
                  <c:v>All Others</c:v>
                </c:pt>
                <c:pt idx="842">
                  <c:v>Chaussee Au</c:v>
                </c:pt>
                <c:pt idx="843">
                  <c:v>All Others</c:v>
                </c:pt>
                <c:pt idx="844">
                  <c:v>La Belle Et</c:v>
                </c:pt>
                <c:pt idx="845">
                  <c:v>All Others</c:v>
                </c:pt>
                <c:pt idx="846">
                  <c:v>All Others</c:v>
                </c:pt>
                <c:pt idx="847">
                  <c:v>Entremont</c:v>
                </c:pt>
                <c:pt idx="848">
                  <c:v>All Others</c:v>
                </c:pt>
                <c:pt idx="849">
                  <c:v>All Others</c:v>
                </c:pt>
                <c:pt idx="850">
                  <c:v>All Others</c:v>
                </c:pt>
                <c:pt idx="851">
                  <c:v>L'Ortolan</c:v>
                </c:pt>
                <c:pt idx="852">
                  <c:v>All Others</c:v>
                </c:pt>
                <c:pt idx="853">
                  <c:v>All Others</c:v>
                </c:pt>
                <c:pt idx="854">
                  <c:v>All Others</c:v>
                </c:pt>
                <c:pt idx="855">
                  <c:v>La Belle Et</c:v>
                </c:pt>
                <c:pt idx="856">
                  <c:v>All Others</c:v>
                </c:pt>
                <c:pt idx="857">
                  <c:v>All Others</c:v>
                </c:pt>
                <c:pt idx="858">
                  <c:v>All Others</c:v>
                </c:pt>
                <c:pt idx="859">
                  <c:v>Boursin</c:v>
                </c:pt>
                <c:pt idx="860">
                  <c:v>All Others</c:v>
                </c:pt>
                <c:pt idx="861">
                  <c:v>All Others</c:v>
                </c:pt>
                <c:pt idx="862">
                  <c:v>All Others</c:v>
                </c:pt>
                <c:pt idx="863">
                  <c:v>Chavroux</c:v>
                </c:pt>
                <c:pt idx="864">
                  <c:v>Boursin</c:v>
                </c:pt>
                <c:pt idx="865">
                  <c:v>All Others</c:v>
                </c:pt>
                <c:pt idx="866">
                  <c:v>All Others</c:v>
                </c:pt>
                <c:pt idx="867">
                  <c:v>All Others</c:v>
                </c:pt>
                <c:pt idx="868">
                  <c:v>All Others</c:v>
                </c:pt>
                <c:pt idx="869">
                  <c:v>All Others</c:v>
                </c:pt>
                <c:pt idx="870">
                  <c:v>Societe</c:v>
                </c:pt>
                <c:pt idx="871">
                  <c:v>All Others</c:v>
                </c:pt>
                <c:pt idx="872">
                  <c:v>All Others</c:v>
                </c:pt>
                <c:pt idx="873">
                  <c:v>Boursin</c:v>
                </c:pt>
                <c:pt idx="874">
                  <c:v>All Others</c:v>
                </c:pt>
                <c:pt idx="875">
                  <c:v>Salakis</c:v>
                </c:pt>
                <c:pt idx="876">
                  <c:v>All Others</c:v>
                </c:pt>
                <c:pt idx="877">
                  <c:v>All Others</c:v>
                </c:pt>
                <c:pt idx="878">
                  <c:v>All Others</c:v>
                </c:pt>
                <c:pt idx="879">
                  <c:v>All Others</c:v>
                </c:pt>
                <c:pt idx="880">
                  <c:v>All Others</c:v>
                </c:pt>
                <c:pt idx="881">
                  <c:v>Savencia: A</c:v>
                </c:pt>
                <c:pt idx="882">
                  <c:v>Lactalis: A</c:v>
                </c:pt>
                <c:pt idx="883">
                  <c:v>All Others</c:v>
                </c:pt>
                <c:pt idx="884">
                  <c:v>All Others</c:v>
                </c:pt>
                <c:pt idx="885">
                  <c:v>All Others</c:v>
                </c:pt>
                <c:pt idx="886">
                  <c:v>All Others</c:v>
                </c:pt>
                <c:pt idx="887">
                  <c:v>Milleret: A</c:v>
                </c:pt>
                <c:pt idx="888">
                  <c:v>All Others</c:v>
                </c:pt>
                <c:pt idx="889">
                  <c:v>President</c:v>
                </c:pt>
                <c:pt idx="890">
                  <c:v>All Others</c:v>
                </c:pt>
                <c:pt idx="891">
                  <c:v>Private Lab</c:v>
                </c:pt>
                <c:pt idx="892">
                  <c:v>All Others</c:v>
                </c:pt>
                <c:pt idx="893">
                  <c:v>All Others</c:v>
                </c:pt>
                <c:pt idx="894">
                  <c:v>All Others</c:v>
                </c:pt>
                <c:pt idx="895">
                  <c:v>All Others</c:v>
                </c:pt>
                <c:pt idx="896">
                  <c:v>All Others</c:v>
                </c:pt>
                <c:pt idx="897">
                  <c:v>All Others</c:v>
                </c:pt>
                <c:pt idx="898">
                  <c:v>La Belle Et</c:v>
                </c:pt>
                <c:pt idx="899">
                  <c:v>All Others</c:v>
                </c:pt>
                <c:pt idx="900">
                  <c:v>All Others</c:v>
                </c:pt>
                <c:pt idx="901">
                  <c:v>All Others</c:v>
                </c:pt>
                <c:pt idx="902">
                  <c:v>All Others</c:v>
                </c:pt>
                <c:pt idx="903">
                  <c:v>All Others</c:v>
                </c:pt>
                <c:pt idx="904">
                  <c:v>All Others</c:v>
                </c:pt>
                <c:pt idx="905">
                  <c:v>All Others</c:v>
                </c:pt>
                <c:pt idx="906">
                  <c:v>All Others</c:v>
                </c:pt>
                <c:pt idx="907">
                  <c:v>All Others</c:v>
                </c:pt>
                <c:pt idx="908">
                  <c:v>Petit Billy</c:v>
                </c:pt>
                <c:pt idx="909">
                  <c:v>All Others</c:v>
                </c:pt>
                <c:pt idx="910">
                  <c:v>Lactalis: A</c:v>
                </c:pt>
                <c:pt idx="911">
                  <c:v>All Others</c:v>
                </c:pt>
                <c:pt idx="912">
                  <c:v>All Others</c:v>
                </c:pt>
                <c:pt idx="913">
                  <c:v>La Table M</c:v>
                </c:pt>
                <c:pt idx="914">
                  <c:v>All Others</c:v>
                </c:pt>
                <c:pt idx="915">
                  <c:v>All Others</c:v>
                </c:pt>
                <c:pt idx="916">
                  <c:v>Salakis</c:v>
                </c:pt>
                <c:pt idx="917">
                  <c:v>Etoile Du V</c:v>
                </c:pt>
                <c:pt idx="918">
                  <c:v>All Others</c:v>
                </c:pt>
                <c:pt idx="919">
                  <c:v>All Others</c:v>
                </c:pt>
                <c:pt idx="920">
                  <c:v>All Others</c:v>
                </c:pt>
                <c:pt idx="921">
                  <c:v>All Others</c:v>
                </c:pt>
                <c:pt idx="922">
                  <c:v>All Others</c:v>
                </c:pt>
                <c:pt idx="923">
                  <c:v>All Others</c:v>
                </c:pt>
                <c:pt idx="924">
                  <c:v>All Others</c:v>
                </c:pt>
                <c:pt idx="925">
                  <c:v>All Others</c:v>
                </c:pt>
                <c:pt idx="926">
                  <c:v>Galbani</c:v>
                </c:pt>
                <c:pt idx="927">
                  <c:v>All Others</c:v>
                </c:pt>
                <c:pt idx="928">
                  <c:v>Chavroux</c:v>
                </c:pt>
                <c:pt idx="929">
                  <c:v>All Others</c:v>
                </c:pt>
                <c:pt idx="930">
                  <c:v>All Others</c:v>
                </c:pt>
                <c:pt idx="931">
                  <c:v>Entremont</c:v>
                </c:pt>
                <c:pt idx="932">
                  <c:v>All Others</c:v>
                </c:pt>
                <c:pt idx="933">
                  <c:v>All Others</c:v>
                </c:pt>
                <c:pt idx="934">
                  <c:v>All Others</c:v>
                </c:pt>
                <c:pt idx="935">
                  <c:v>All Others</c:v>
                </c:pt>
                <c:pt idx="936">
                  <c:v>Lactalis: A</c:v>
                </c:pt>
                <c:pt idx="937">
                  <c:v>All Others</c:v>
                </c:pt>
                <c:pt idx="938">
                  <c:v>All Others</c:v>
                </c:pt>
                <c:pt idx="939">
                  <c:v>All Others</c:v>
                </c:pt>
                <c:pt idx="940">
                  <c:v>All Others</c:v>
                </c:pt>
                <c:pt idx="941">
                  <c:v>All Others</c:v>
                </c:pt>
                <c:pt idx="942">
                  <c:v>Lactalis: A</c:v>
                </c:pt>
                <c:pt idx="943">
                  <c:v>All Others</c:v>
                </c:pt>
                <c:pt idx="944">
                  <c:v>La Vache Qu</c:v>
                </c:pt>
                <c:pt idx="945">
                  <c:v>Lactalis: A</c:v>
                </c:pt>
                <c:pt idx="946">
                  <c:v>All Others</c:v>
                </c:pt>
                <c:pt idx="947">
                  <c:v>All Others</c:v>
                </c:pt>
                <c:pt idx="948">
                  <c:v>All Others</c:v>
                </c:pt>
                <c:pt idx="949">
                  <c:v>All Others</c:v>
                </c:pt>
                <c:pt idx="950">
                  <c:v>All Others</c:v>
                </c:pt>
                <c:pt idx="951">
                  <c:v>La Belle Et</c:v>
                </c:pt>
                <c:pt idx="952">
                  <c:v>All Others</c:v>
                </c:pt>
                <c:pt idx="953">
                  <c:v>Entremont</c:v>
                </c:pt>
                <c:pt idx="954">
                  <c:v>Private Lab</c:v>
                </c:pt>
                <c:pt idx="955">
                  <c:v>All Others</c:v>
                </c:pt>
                <c:pt idx="956">
                  <c:v>All Others</c:v>
                </c:pt>
                <c:pt idx="957">
                  <c:v>All Others</c:v>
                </c:pt>
                <c:pt idx="958">
                  <c:v>All Others</c:v>
                </c:pt>
                <c:pt idx="959">
                  <c:v>All Others</c:v>
                </c:pt>
                <c:pt idx="960">
                  <c:v>All Others</c:v>
                </c:pt>
                <c:pt idx="961">
                  <c:v>All Others</c:v>
                </c:pt>
                <c:pt idx="962">
                  <c:v>Chavroux</c:v>
                </c:pt>
                <c:pt idx="963">
                  <c:v>Mini Babybe</c:v>
                </c:pt>
                <c:pt idx="964">
                  <c:v>All Others</c:v>
                </c:pt>
                <c:pt idx="965">
                  <c:v>All Others</c:v>
                </c:pt>
                <c:pt idx="966">
                  <c:v>All Others</c:v>
                </c:pt>
                <c:pt idx="967">
                  <c:v>La Belle Et</c:v>
                </c:pt>
                <c:pt idx="968">
                  <c:v>All Others</c:v>
                </c:pt>
                <c:pt idx="969">
                  <c:v>All Others</c:v>
                </c:pt>
                <c:pt idx="970">
                  <c:v>All Others</c:v>
                </c:pt>
                <c:pt idx="971">
                  <c:v>All Others</c:v>
                </c:pt>
                <c:pt idx="972">
                  <c:v>All Others</c:v>
                </c:pt>
                <c:pt idx="973">
                  <c:v>All Others</c:v>
                </c:pt>
                <c:pt idx="974">
                  <c:v>All Others</c:v>
                </c:pt>
                <c:pt idx="975">
                  <c:v>All Others</c:v>
                </c:pt>
                <c:pt idx="976">
                  <c:v>All Others</c:v>
                </c:pt>
                <c:pt idx="977">
                  <c:v>All Others</c:v>
                </c:pt>
                <c:pt idx="978">
                  <c:v>Lactalis: A</c:v>
                </c:pt>
                <c:pt idx="979">
                  <c:v>Paysan Bret</c:v>
                </c:pt>
                <c:pt idx="980">
                  <c:v>All Others</c:v>
                </c:pt>
                <c:pt idx="981">
                  <c:v>All Others</c:v>
                </c:pt>
                <c:pt idx="982">
                  <c:v>All Others</c:v>
                </c:pt>
                <c:pt idx="983">
                  <c:v>All Others</c:v>
                </c:pt>
                <c:pt idx="984">
                  <c:v>All Others</c:v>
                </c:pt>
                <c:pt idx="985">
                  <c:v>All Others</c:v>
                </c:pt>
                <c:pt idx="986">
                  <c:v>All Others</c:v>
                </c:pt>
                <c:pt idx="987">
                  <c:v>All Others</c:v>
                </c:pt>
                <c:pt idx="988">
                  <c:v>All Others</c:v>
                </c:pt>
                <c:pt idx="989">
                  <c:v>Mini Babybe</c:v>
                </c:pt>
                <c:pt idx="990">
                  <c:v>All Others</c:v>
                </c:pt>
                <c:pt idx="991">
                  <c:v>All Others</c:v>
                </c:pt>
                <c:pt idx="992">
                  <c:v>All Others</c:v>
                </c:pt>
                <c:pt idx="993">
                  <c:v>All Others</c:v>
                </c:pt>
                <c:pt idx="994">
                  <c:v>All Others</c:v>
                </c:pt>
                <c:pt idx="995">
                  <c:v>All Others</c:v>
                </c:pt>
                <c:pt idx="996">
                  <c:v>All Others</c:v>
                </c:pt>
                <c:pt idx="997">
                  <c:v>All Others</c:v>
                </c:pt>
                <c:pt idx="998">
                  <c:v>All Others</c:v>
                </c:pt>
                <c:pt idx="999">
                  <c:v>All Others</c:v>
                </c:pt>
                <c:pt idx="1000">
                  <c:v>All Others</c:v>
                </c:pt>
                <c:pt idx="1001">
                  <c:v>All Others</c:v>
                </c:pt>
                <c:pt idx="1002">
                  <c:v>All Others</c:v>
                </c:pt>
                <c:pt idx="1003">
                  <c:v>All Others</c:v>
                </c:pt>
                <c:pt idx="1004">
                  <c:v>Richesmonts</c:v>
                </c:pt>
                <c:pt idx="1005">
                  <c:v>Savencia: A</c:v>
                </c:pt>
                <c:pt idx="1006">
                  <c:v>La Belle Et</c:v>
                </c:pt>
                <c:pt idx="1007">
                  <c:v>All Others</c:v>
                </c:pt>
                <c:pt idx="1008">
                  <c:v>All Others</c:v>
                </c:pt>
                <c:pt idx="1009">
                  <c:v>All Others</c:v>
                </c:pt>
                <c:pt idx="1010">
                  <c:v>Casa Azzurr</c:v>
                </c:pt>
                <c:pt idx="1011">
                  <c:v>All Others</c:v>
                </c:pt>
                <c:pt idx="1012">
                  <c:v>Corsica</c:v>
                </c:pt>
                <c:pt idx="1013">
                  <c:v>All Others</c:v>
                </c:pt>
                <c:pt idx="1014">
                  <c:v>La Belle Et</c:v>
                </c:pt>
                <c:pt idx="1015">
                  <c:v>All Others</c:v>
                </c:pt>
                <c:pt idx="1016">
                  <c:v>All Others</c:v>
                </c:pt>
                <c:pt idx="1017">
                  <c:v>All Others</c:v>
                </c:pt>
                <c:pt idx="1018">
                  <c:v>All Others</c:v>
                </c:pt>
                <c:pt idx="1019">
                  <c:v>All Others</c:v>
                </c:pt>
                <c:pt idx="1020">
                  <c:v>All Others</c:v>
                </c:pt>
                <c:pt idx="1021">
                  <c:v>Savencia: A</c:v>
                </c:pt>
                <c:pt idx="1022">
                  <c:v>Savencia: A</c:v>
                </c:pt>
                <c:pt idx="1023">
                  <c:v>All Others</c:v>
                </c:pt>
                <c:pt idx="1024">
                  <c:v>All Others</c:v>
                </c:pt>
                <c:pt idx="1025">
                  <c:v>All Others</c:v>
                </c:pt>
                <c:pt idx="1026">
                  <c:v>Rians</c:v>
                </c:pt>
                <c:pt idx="1027">
                  <c:v>Raguin</c:v>
                </c:pt>
                <c:pt idx="1028">
                  <c:v>All Others</c:v>
                </c:pt>
                <c:pt idx="1029">
                  <c:v>Lactalis: A</c:v>
                </c:pt>
                <c:pt idx="1030">
                  <c:v>All Others</c:v>
                </c:pt>
                <c:pt idx="1031">
                  <c:v>All Others</c:v>
                </c:pt>
                <c:pt idx="1032">
                  <c:v>All Others</c:v>
                </c:pt>
                <c:pt idx="1033">
                  <c:v>All Others</c:v>
                </c:pt>
                <c:pt idx="1034">
                  <c:v>All Others</c:v>
                </c:pt>
                <c:pt idx="1035">
                  <c:v>All Others</c:v>
                </c:pt>
                <c:pt idx="1036">
                  <c:v>All Others</c:v>
                </c:pt>
                <c:pt idx="1037">
                  <c:v>Richesmonts</c:v>
                </c:pt>
                <c:pt idx="1038">
                  <c:v>All Others</c:v>
                </c:pt>
                <c:pt idx="1039">
                  <c:v>Raguin</c:v>
                </c:pt>
                <c:pt idx="1040">
                  <c:v>All Others</c:v>
                </c:pt>
                <c:pt idx="1041">
                  <c:v>All Others</c:v>
                </c:pt>
                <c:pt idx="1042">
                  <c:v>All Others</c:v>
                </c:pt>
                <c:pt idx="1043">
                  <c:v>Lactalis: A</c:v>
                </c:pt>
                <c:pt idx="1044">
                  <c:v>All Others</c:v>
                </c:pt>
                <c:pt idx="1045">
                  <c:v>All Others</c:v>
                </c:pt>
                <c:pt idx="1046">
                  <c:v>All Others</c:v>
                </c:pt>
                <c:pt idx="1047">
                  <c:v>Fol Epi</c:v>
                </c:pt>
                <c:pt idx="1048">
                  <c:v>All Others</c:v>
                </c:pt>
                <c:pt idx="1049">
                  <c:v>All Others</c:v>
                </c:pt>
                <c:pt idx="1050">
                  <c:v>All Others</c:v>
                </c:pt>
                <c:pt idx="1051">
                  <c:v>All Others</c:v>
                </c:pt>
                <c:pt idx="1052">
                  <c:v>All Others</c:v>
                </c:pt>
                <c:pt idx="1053">
                  <c:v>All Others</c:v>
                </c:pt>
                <c:pt idx="1054">
                  <c:v>Etoile Du V</c:v>
                </c:pt>
                <c:pt idx="1055">
                  <c:v>All Others</c:v>
                </c:pt>
                <c:pt idx="1056">
                  <c:v>All Others</c:v>
                </c:pt>
                <c:pt idx="1057">
                  <c:v>All Others</c:v>
                </c:pt>
                <c:pt idx="1058">
                  <c:v>Raguin</c:v>
                </c:pt>
                <c:pt idx="1059">
                  <c:v>All Others</c:v>
                </c:pt>
                <c:pt idx="1060">
                  <c:v>Paysan Bret</c:v>
                </c:pt>
                <c:pt idx="1061">
                  <c:v>All Others</c:v>
                </c:pt>
                <c:pt idx="1062">
                  <c:v>All Others</c:v>
                </c:pt>
                <c:pt idx="1063">
                  <c:v>All Others</c:v>
                </c:pt>
                <c:pt idx="1064">
                  <c:v>Entremont</c:v>
                </c:pt>
                <c:pt idx="1065">
                  <c:v>All Others</c:v>
                </c:pt>
                <c:pt idx="1066">
                  <c:v>Raguin</c:v>
                </c:pt>
                <c:pt idx="1067">
                  <c:v>All Others</c:v>
                </c:pt>
                <c:pt idx="1068">
                  <c:v>Private Lab</c:v>
                </c:pt>
                <c:pt idx="1069">
                  <c:v>All Others</c:v>
                </c:pt>
                <c:pt idx="1070">
                  <c:v>All Others</c:v>
                </c:pt>
                <c:pt idx="1071">
                  <c:v>All Others</c:v>
                </c:pt>
                <c:pt idx="1072">
                  <c:v>All Others</c:v>
                </c:pt>
                <c:pt idx="1073">
                  <c:v>All Others</c:v>
                </c:pt>
                <c:pt idx="1074">
                  <c:v>All Others</c:v>
                </c:pt>
                <c:pt idx="1075">
                  <c:v>All Others</c:v>
                </c:pt>
                <c:pt idx="1076">
                  <c:v>Kiri</c:v>
                </c:pt>
                <c:pt idx="1077">
                  <c:v>All Others</c:v>
                </c:pt>
                <c:pt idx="1078">
                  <c:v>Raguin</c:v>
                </c:pt>
                <c:pt idx="1079">
                  <c:v>All Others</c:v>
                </c:pt>
                <c:pt idx="1080">
                  <c:v>All Others</c:v>
                </c:pt>
                <c:pt idx="1081">
                  <c:v>All Others</c:v>
                </c:pt>
                <c:pt idx="1082">
                  <c:v>All Others</c:v>
                </c:pt>
                <c:pt idx="1083">
                  <c:v>All Others</c:v>
                </c:pt>
                <c:pt idx="1084">
                  <c:v>All Others</c:v>
                </c:pt>
                <c:pt idx="1085">
                  <c:v>All Others</c:v>
                </c:pt>
                <c:pt idx="1086">
                  <c:v>All Others</c:v>
                </c:pt>
                <c:pt idx="1087">
                  <c:v>All Others</c:v>
                </c:pt>
                <c:pt idx="1088">
                  <c:v>La Belle Et</c:v>
                </c:pt>
                <c:pt idx="1089">
                  <c:v>All Others</c:v>
                </c:pt>
                <c:pt idx="1090">
                  <c:v>All Others</c:v>
                </c:pt>
                <c:pt idx="1091">
                  <c:v>All Others</c:v>
                </c:pt>
                <c:pt idx="1092">
                  <c:v>All Others</c:v>
                </c:pt>
                <c:pt idx="1093">
                  <c:v>Juraflore</c:v>
                </c:pt>
                <c:pt idx="1094">
                  <c:v>All Others</c:v>
                </c:pt>
                <c:pt idx="1095">
                  <c:v>All Others</c:v>
                </c:pt>
                <c:pt idx="1096">
                  <c:v>All Others</c:v>
                </c:pt>
                <c:pt idx="1097">
                  <c:v>Pave D'Affi</c:v>
                </c:pt>
                <c:pt idx="1098">
                  <c:v>All Others</c:v>
                </c:pt>
                <c:pt idx="1099">
                  <c:v>Etoile Du V</c:v>
                </c:pt>
                <c:pt idx="1100">
                  <c:v>All Others</c:v>
                </c:pt>
                <c:pt idx="1101">
                  <c:v>All Others</c:v>
                </c:pt>
                <c:pt idx="1102">
                  <c:v>All Others</c:v>
                </c:pt>
                <c:pt idx="1103">
                  <c:v>All Others</c:v>
                </c:pt>
                <c:pt idx="1104">
                  <c:v>All Others</c:v>
                </c:pt>
                <c:pt idx="1105">
                  <c:v>All Others</c:v>
                </c:pt>
                <c:pt idx="1106">
                  <c:v>All Others</c:v>
                </c:pt>
                <c:pt idx="1107">
                  <c:v>All Others</c:v>
                </c:pt>
                <c:pt idx="1108">
                  <c:v>All Others</c:v>
                </c:pt>
                <c:pt idx="1109">
                  <c:v>All Others</c:v>
                </c:pt>
                <c:pt idx="1110">
                  <c:v>All Others</c:v>
                </c:pt>
                <c:pt idx="1111">
                  <c:v>All Others</c:v>
                </c:pt>
                <c:pt idx="1112">
                  <c:v>All Others</c:v>
                </c:pt>
                <c:pt idx="1113">
                  <c:v>All Others</c:v>
                </c:pt>
                <c:pt idx="1114">
                  <c:v>All Others</c:v>
                </c:pt>
                <c:pt idx="1115">
                  <c:v>Violife</c:v>
                </c:pt>
                <c:pt idx="1116">
                  <c:v>Lactalis: A</c:v>
                </c:pt>
                <c:pt idx="1117">
                  <c:v>All Others</c:v>
                </c:pt>
                <c:pt idx="1118">
                  <c:v>All Others</c:v>
                </c:pt>
                <c:pt idx="1119">
                  <c:v>All Others</c:v>
                </c:pt>
                <c:pt idx="1120">
                  <c:v>All Others</c:v>
                </c:pt>
                <c:pt idx="1121">
                  <c:v>All Others</c:v>
                </c:pt>
                <c:pt idx="1122">
                  <c:v>All Others</c:v>
                </c:pt>
                <c:pt idx="1123">
                  <c:v>All Others</c:v>
                </c:pt>
                <c:pt idx="1124">
                  <c:v>All Others</c:v>
                </c:pt>
                <c:pt idx="1125">
                  <c:v>All Others</c:v>
                </c:pt>
                <c:pt idx="1126">
                  <c:v>All Others</c:v>
                </c:pt>
                <c:pt idx="1127">
                  <c:v>All Others</c:v>
                </c:pt>
                <c:pt idx="1128">
                  <c:v>All Others</c:v>
                </c:pt>
                <c:pt idx="1129">
                  <c:v>All Others</c:v>
                </c:pt>
                <c:pt idx="1130">
                  <c:v>All Others</c:v>
                </c:pt>
                <c:pt idx="1131">
                  <c:v>All Others</c:v>
                </c:pt>
                <c:pt idx="1132">
                  <c:v>All Others</c:v>
                </c:pt>
                <c:pt idx="1133">
                  <c:v>All Others</c:v>
                </c:pt>
                <c:pt idx="1134">
                  <c:v>All Others</c:v>
                </c:pt>
                <c:pt idx="1135">
                  <c:v>All Others</c:v>
                </c:pt>
                <c:pt idx="1136">
                  <c:v>All Others</c:v>
                </c:pt>
                <c:pt idx="1137">
                  <c:v>All Others</c:v>
                </c:pt>
                <c:pt idx="1138">
                  <c:v>Milleret</c:v>
                </c:pt>
                <c:pt idx="1139">
                  <c:v>All Others</c:v>
                </c:pt>
                <c:pt idx="1140">
                  <c:v>All Others</c:v>
                </c:pt>
                <c:pt idx="1141">
                  <c:v>All Others</c:v>
                </c:pt>
                <c:pt idx="1142">
                  <c:v>All Others</c:v>
                </c:pt>
                <c:pt idx="1143">
                  <c:v>All Others</c:v>
                </c:pt>
                <c:pt idx="1144">
                  <c:v>All Others</c:v>
                </c:pt>
                <c:pt idx="1145">
                  <c:v>All Others</c:v>
                </c:pt>
                <c:pt idx="1146">
                  <c:v>All Others</c:v>
                </c:pt>
                <c:pt idx="1147">
                  <c:v>All Others</c:v>
                </c:pt>
                <c:pt idx="1148">
                  <c:v>All Others</c:v>
                </c:pt>
                <c:pt idx="1149">
                  <c:v>Lindahls Pr</c:v>
                </c:pt>
                <c:pt idx="1150">
                  <c:v>All Others</c:v>
                </c:pt>
                <c:pt idx="1151">
                  <c:v>All Others</c:v>
                </c:pt>
                <c:pt idx="1152">
                  <c:v>All Others</c:v>
                </c:pt>
                <c:pt idx="1153">
                  <c:v>All Others</c:v>
                </c:pt>
                <c:pt idx="1154">
                  <c:v>All Others</c:v>
                </c:pt>
                <c:pt idx="1155">
                  <c:v>All Others</c:v>
                </c:pt>
                <c:pt idx="1156">
                  <c:v>All Others</c:v>
                </c:pt>
                <c:pt idx="1157">
                  <c:v>Raguin</c:v>
                </c:pt>
                <c:pt idx="1158">
                  <c:v>All Others</c:v>
                </c:pt>
                <c:pt idx="1159">
                  <c:v>All Others</c:v>
                </c:pt>
                <c:pt idx="1160">
                  <c:v>All Others</c:v>
                </c:pt>
                <c:pt idx="1161">
                  <c:v>All Others</c:v>
                </c:pt>
                <c:pt idx="1162">
                  <c:v>All Others</c:v>
                </c:pt>
                <c:pt idx="1163">
                  <c:v>Paysan Bret</c:v>
                </c:pt>
                <c:pt idx="1164">
                  <c:v>All Others</c:v>
                </c:pt>
                <c:pt idx="1165">
                  <c:v>Other Suppl</c:v>
                </c:pt>
                <c:pt idx="1166">
                  <c:v>All Others</c:v>
                </c:pt>
                <c:pt idx="1167">
                  <c:v>All Others</c:v>
                </c:pt>
                <c:pt idx="1168">
                  <c:v>All Others</c:v>
                </c:pt>
                <c:pt idx="1169">
                  <c:v>Limiano</c:v>
                </c:pt>
                <c:pt idx="1170">
                  <c:v>All Others</c:v>
                </c:pt>
                <c:pt idx="1171">
                  <c:v>All Others</c:v>
                </c:pt>
                <c:pt idx="1172">
                  <c:v>All Others</c:v>
                </c:pt>
                <c:pt idx="1173">
                  <c:v>All Others</c:v>
                </c:pt>
                <c:pt idx="1174">
                  <c:v>All Others</c:v>
                </c:pt>
                <c:pt idx="1175">
                  <c:v>All Others</c:v>
                </c:pt>
                <c:pt idx="1176">
                  <c:v>All Others</c:v>
                </c:pt>
                <c:pt idx="1177">
                  <c:v>All Others</c:v>
                </c:pt>
                <c:pt idx="1178">
                  <c:v>Raguin</c:v>
                </c:pt>
                <c:pt idx="1179">
                  <c:v>All Others</c:v>
                </c:pt>
                <c:pt idx="1180">
                  <c:v>All Others</c:v>
                </c:pt>
                <c:pt idx="1181">
                  <c:v>All Others</c:v>
                </c:pt>
                <c:pt idx="1182">
                  <c:v>All Others</c:v>
                </c:pt>
                <c:pt idx="1183">
                  <c:v>All Others</c:v>
                </c:pt>
                <c:pt idx="1184">
                  <c:v>All Others</c:v>
                </c:pt>
                <c:pt idx="1185">
                  <c:v>All Others</c:v>
                </c:pt>
                <c:pt idx="1186">
                  <c:v>Raguin</c:v>
                </c:pt>
                <c:pt idx="1187">
                  <c:v>All Others</c:v>
                </c:pt>
                <c:pt idx="1188">
                  <c:v>All Others</c:v>
                </c:pt>
                <c:pt idx="1189">
                  <c:v>All Others</c:v>
                </c:pt>
                <c:pt idx="1190">
                  <c:v>All Others</c:v>
                </c:pt>
                <c:pt idx="1191">
                  <c:v>All Others</c:v>
                </c:pt>
                <c:pt idx="1192">
                  <c:v>All Others</c:v>
                </c:pt>
                <c:pt idx="1193">
                  <c:v>All Others</c:v>
                </c:pt>
                <c:pt idx="1194">
                  <c:v>All Others</c:v>
                </c:pt>
                <c:pt idx="1195">
                  <c:v>All Others</c:v>
                </c:pt>
                <c:pt idx="1196">
                  <c:v>All Others</c:v>
                </c:pt>
                <c:pt idx="1197">
                  <c:v>All Others</c:v>
                </c:pt>
                <c:pt idx="1198">
                  <c:v>Etoile Du V</c:v>
                </c:pt>
                <c:pt idx="1199">
                  <c:v>All Others</c:v>
                </c:pt>
                <c:pt idx="1200">
                  <c:v>All Others</c:v>
                </c:pt>
                <c:pt idx="1201">
                  <c:v>All Others</c:v>
                </c:pt>
                <c:pt idx="1202">
                  <c:v>All Others</c:v>
                </c:pt>
                <c:pt idx="1203">
                  <c:v>All Others</c:v>
                </c:pt>
                <c:pt idx="1204">
                  <c:v>Baillon</c:v>
                </c:pt>
                <c:pt idx="1205">
                  <c:v>All Others</c:v>
                </c:pt>
                <c:pt idx="1206">
                  <c:v>All Others</c:v>
                </c:pt>
                <c:pt idx="1207">
                  <c:v>All Others</c:v>
                </c:pt>
                <c:pt idx="1208">
                  <c:v>Etoile Du V</c:v>
                </c:pt>
                <c:pt idx="1209">
                  <c:v>All Others</c:v>
                </c:pt>
                <c:pt idx="1210">
                  <c:v>All Others</c:v>
                </c:pt>
                <c:pt idx="1211">
                  <c:v>All Others</c:v>
                </c:pt>
                <c:pt idx="1212">
                  <c:v>Lactalis: A</c:v>
                </c:pt>
                <c:pt idx="1213">
                  <c:v>All Others</c:v>
                </c:pt>
                <c:pt idx="1214">
                  <c:v>Raguin</c:v>
                </c:pt>
                <c:pt idx="1215">
                  <c:v>All Others</c:v>
                </c:pt>
                <c:pt idx="1216">
                  <c:v>All Others</c:v>
                </c:pt>
                <c:pt idx="1217">
                  <c:v>All Others</c:v>
                </c:pt>
                <c:pt idx="1218">
                  <c:v>All Others</c:v>
                </c:pt>
                <c:pt idx="1219">
                  <c:v>All Others</c:v>
                </c:pt>
                <c:pt idx="1220">
                  <c:v>All Others</c:v>
                </c:pt>
                <c:pt idx="1221">
                  <c:v>All Others</c:v>
                </c:pt>
                <c:pt idx="1222">
                  <c:v>Raguin</c:v>
                </c:pt>
                <c:pt idx="1223">
                  <c:v>All Others</c:v>
                </c:pt>
                <c:pt idx="1224">
                  <c:v>All Others</c:v>
                </c:pt>
                <c:pt idx="1225">
                  <c:v>All Others</c:v>
                </c:pt>
                <c:pt idx="1226">
                  <c:v>All Others</c:v>
                </c:pt>
                <c:pt idx="1227">
                  <c:v>All Others</c:v>
                </c:pt>
                <c:pt idx="1228">
                  <c:v>All Others</c:v>
                </c:pt>
                <c:pt idx="1229">
                  <c:v>All Others</c:v>
                </c:pt>
                <c:pt idx="1230">
                  <c:v>Raguin</c:v>
                </c:pt>
                <c:pt idx="1231">
                  <c:v>All Others</c:v>
                </c:pt>
                <c:pt idx="1232">
                  <c:v>All Others</c:v>
                </c:pt>
                <c:pt idx="1233">
                  <c:v>All Others</c:v>
                </c:pt>
                <c:pt idx="1234">
                  <c:v>All Others</c:v>
                </c:pt>
                <c:pt idx="1235">
                  <c:v>All Others</c:v>
                </c:pt>
                <c:pt idx="1236">
                  <c:v>All Others</c:v>
                </c:pt>
                <c:pt idx="1237">
                  <c:v>All Others</c:v>
                </c:pt>
                <c:pt idx="1238">
                  <c:v>All Others</c:v>
                </c:pt>
                <c:pt idx="1239">
                  <c:v>All Others</c:v>
                </c:pt>
                <c:pt idx="1240">
                  <c:v>All Others</c:v>
                </c:pt>
                <c:pt idx="1241">
                  <c:v>All Others</c:v>
                </c:pt>
                <c:pt idx="1242">
                  <c:v>Other Suppl</c:v>
                </c:pt>
                <c:pt idx="1243">
                  <c:v>Raguin</c:v>
                </c:pt>
                <c:pt idx="1244">
                  <c:v>All Others</c:v>
                </c:pt>
                <c:pt idx="1245">
                  <c:v>All Others</c:v>
                </c:pt>
                <c:pt idx="1246">
                  <c:v>All Others</c:v>
                </c:pt>
                <c:pt idx="1247">
                  <c:v>All Others</c:v>
                </c:pt>
                <c:pt idx="1248">
                  <c:v>Raguin</c:v>
                </c:pt>
                <c:pt idx="1249">
                  <c:v>All Others</c:v>
                </c:pt>
                <c:pt idx="1250">
                  <c:v>All Others</c:v>
                </c:pt>
                <c:pt idx="1251">
                  <c:v>All Others</c:v>
                </c:pt>
                <c:pt idx="1252">
                  <c:v>All Others</c:v>
                </c:pt>
                <c:pt idx="1253">
                  <c:v>Gillot</c:v>
                </c:pt>
                <c:pt idx="1254">
                  <c:v>All Others</c:v>
                </c:pt>
                <c:pt idx="1255">
                  <c:v>All Others</c:v>
                </c:pt>
                <c:pt idx="1256">
                  <c:v>All Others</c:v>
                </c:pt>
                <c:pt idx="1257">
                  <c:v>Limiano</c:v>
                </c:pt>
                <c:pt idx="1258">
                  <c:v>All Others</c:v>
                </c:pt>
                <c:pt idx="1259">
                  <c:v>All Others</c:v>
                </c:pt>
                <c:pt idx="1260">
                  <c:v>All Others</c:v>
                </c:pt>
                <c:pt idx="1261">
                  <c:v>Etoile Du V</c:v>
                </c:pt>
                <c:pt idx="1262">
                  <c:v>Pave D'Affi</c:v>
                </c:pt>
                <c:pt idx="1263">
                  <c:v>All Others</c:v>
                </c:pt>
                <c:pt idx="1264">
                  <c:v>All Others</c:v>
                </c:pt>
                <c:pt idx="1265">
                  <c:v>All Others</c:v>
                </c:pt>
                <c:pt idx="1266">
                  <c:v>All Others</c:v>
                </c:pt>
                <c:pt idx="1267">
                  <c:v>All Others</c:v>
                </c:pt>
                <c:pt idx="1268">
                  <c:v>All Others</c:v>
                </c:pt>
                <c:pt idx="1269">
                  <c:v>Raguin</c:v>
                </c:pt>
                <c:pt idx="1270">
                  <c:v>All Others</c:v>
                </c:pt>
                <c:pt idx="1271">
                  <c:v>All Others</c:v>
                </c:pt>
                <c:pt idx="1272">
                  <c:v>All Others</c:v>
                </c:pt>
                <c:pt idx="1273">
                  <c:v>All Others</c:v>
                </c:pt>
                <c:pt idx="1274">
                  <c:v>All Others</c:v>
                </c:pt>
                <c:pt idx="1275">
                  <c:v>All Others</c:v>
                </c:pt>
                <c:pt idx="1276">
                  <c:v>All Others</c:v>
                </c:pt>
                <c:pt idx="1277">
                  <c:v>All Others</c:v>
                </c:pt>
                <c:pt idx="1278">
                  <c:v>All Others</c:v>
                </c:pt>
                <c:pt idx="1279">
                  <c:v>All Others</c:v>
                </c:pt>
                <c:pt idx="1280">
                  <c:v>All Others</c:v>
                </c:pt>
                <c:pt idx="1281">
                  <c:v>Other Suppl</c:v>
                </c:pt>
                <c:pt idx="1282">
                  <c:v>All Others</c:v>
                </c:pt>
                <c:pt idx="1283">
                  <c:v>All Others</c:v>
                </c:pt>
                <c:pt idx="1284">
                  <c:v>All Others</c:v>
                </c:pt>
                <c:pt idx="1285">
                  <c:v>All Others</c:v>
                </c:pt>
                <c:pt idx="1286">
                  <c:v>All Others</c:v>
                </c:pt>
                <c:pt idx="1287">
                  <c:v>All Others</c:v>
                </c:pt>
                <c:pt idx="1288">
                  <c:v>All Others</c:v>
                </c:pt>
                <c:pt idx="1289">
                  <c:v>All Others</c:v>
                </c:pt>
                <c:pt idx="1290">
                  <c:v>All Others</c:v>
                </c:pt>
                <c:pt idx="1291">
                  <c:v>All Others</c:v>
                </c:pt>
                <c:pt idx="1292">
                  <c:v>All Others</c:v>
                </c:pt>
                <c:pt idx="1293">
                  <c:v>Raguin</c:v>
                </c:pt>
                <c:pt idx="1294">
                  <c:v>All Others</c:v>
                </c:pt>
                <c:pt idx="1295">
                  <c:v>All Others</c:v>
                </c:pt>
                <c:pt idx="1296">
                  <c:v>Savencia: A</c:v>
                </c:pt>
                <c:pt idx="1297">
                  <c:v>All Others</c:v>
                </c:pt>
                <c:pt idx="1298">
                  <c:v>Lincet</c:v>
                </c:pt>
                <c:pt idx="1299">
                  <c:v>All Others</c:v>
                </c:pt>
                <c:pt idx="1300">
                  <c:v>All Others</c:v>
                </c:pt>
                <c:pt idx="1301">
                  <c:v>All Others</c:v>
                </c:pt>
                <c:pt idx="1302">
                  <c:v>All Others</c:v>
                </c:pt>
                <c:pt idx="1303">
                  <c:v>All Others</c:v>
                </c:pt>
                <c:pt idx="1304">
                  <c:v>All Others</c:v>
                </c:pt>
                <c:pt idx="1305">
                  <c:v>All Others</c:v>
                </c:pt>
                <c:pt idx="1306">
                  <c:v>All Others</c:v>
                </c:pt>
                <c:pt idx="1307">
                  <c:v>Dodin</c:v>
                </c:pt>
                <c:pt idx="1308">
                  <c:v>All Others</c:v>
                </c:pt>
                <c:pt idx="1309">
                  <c:v>All Others</c:v>
                </c:pt>
                <c:pt idx="1310">
                  <c:v>All Others</c:v>
                </c:pt>
                <c:pt idx="1311">
                  <c:v>All Others</c:v>
                </c:pt>
                <c:pt idx="1312">
                  <c:v>All Others</c:v>
                </c:pt>
                <c:pt idx="1313">
                  <c:v>Gillot</c:v>
                </c:pt>
                <c:pt idx="1314">
                  <c:v>Pave D'Affi</c:v>
                </c:pt>
                <c:pt idx="1315">
                  <c:v>All Others</c:v>
                </c:pt>
                <c:pt idx="1316">
                  <c:v>All Others</c:v>
                </c:pt>
                <c:pt idx="1317">
                  <c:v>All Others</c:v>
                </c:pt>
                <c:pt idx="1318">
                  <c:v>All Others</c:v>
                </c:pt>
                <c:pt idx="1319">
                  <c:v>All Others</c:v>
                </c:pt>
                <c:pt idx="1320">
                  <c:v>All Others</c:v>
                </c:pt>
                <c:pt idx="1321">
                  <c:v>All Others</c:v>
                </c:pt>
                <c:pt idx="1322">
                  <c:v>Other Suppl</c:v>
                </c:pt>
                <c:pt idx="1323">
                  <c:v>All Others</c:v>
                </c:pt>
                <c:pt idx="1324">
                  <c:v>All Others</c:v>
                </c:pt>
                <c:pt idx="1325">
                  <c:v>Other Suppl</c:v>
                </c:pt>
                <c:pt idx="1326">
                  <c:v>All Others</c:v>
                </c:pt>
                <c:pt idx="1327">
                  <c:v>All Others</c:v>
                </c:pt>
                <c:pt idx="1328">
                  <c:v>All Others</c:v>
                </c:pt>
                <c:pt idx="1329">
                  <c:v>All Others</c:v>
                </c:pt>
                <c:pt idx="1330">
                  <c:v>All Others</c:v>
                </c:pt>
                <c:pt idx="1331">
                  <c:v>All Others</c:v>
                </c:pt>
                <c:pt idx="1332">
                  <c:v>All Others</c:v>
                </c:pt>
                <c:pt idx="1333">
                  <c:v>All Others</c:v>
                </c:pt>
                <c:pt idx="1334">
                  <c:v>All Others</c:v>
                </c:pt>
                <c:pt idx="1335">
                  <c:v>All Others</c:v>
                </c:pt>
                <c:pt idx="1336">
                  <c:v>All Others</c:v>
                </c:pt>
                <c:pt idx="1337">
                  <c:v>All Others</c:v>
                </c:pt>
                <c:pt idx="1338">
                  <c:v>All Others</c:v>
                </c:pt>
                <c:pt idx="1339">
                  <c:v>All Others</c:v>
                </c:pt>
                <c:pt idx="1340">
                  <c:v>All Others</c:v>
                </c:pt>
                <c:pt idx="1341">
                  <c:v>All Others</c:v>
                </c:pt>
                <c:pt idx="1342">
                  <c:v>All Others</c:v>
                </c:pt>
                <c:pt idx="1343">
                  <c:v>All Others</c:v>
                </c:pt>
                <c:pt idx="1344">
                  <c:v>All Others</c:v>
                </c:pt>
                <c:pt idx="1345">
                  <c:v>All Others</c:v>
                </c:pt>
                <c:pt idx="1346">
                  <c:v>All Others</c:v>
                </c:pt>
                <c:pt idx="1347">
                  <c:v>All Others</c:v>
                </c:pt>
                <c:pt idx="1348">
                  <c:v>All Others</c:v>
                </c:pt>
                <c:pt idx="1349">
                  <c:v>All Others</c:v>
                </c:pt>
                <c:pt idx="1350">
                  <c:v>All Others</c:v>
                </c:pt>
                <c:pt idx="1351">
                  <c:v>All Others</c:v>
                </c:pt>
                <c:pt idx="1352">
                  <c:v>All Others</c:v>
                </c:pt>
                <c:pt idx="1353">
                  <c:v>All Others</c:v>
                </c:pt>
                <c:pt idx="1354">
                  <c:v>All Others</c:v>
                </c:pt>
                <c:pt idx="1355">
                  <c:v>All Others</c:v>
                </c:pt>
                <c:pt idx="1356">
                  <c:v>Raguin</c:v>
                </c:pt>
                <c:pt idx="1357">
                  <c:v>All Others</c:v>
                </c:pt>
                <c:pt idx="1358">
                  <c:v>All Others</c:v>
                </c:pt>
                <c:pt idx="1359">
                  <c:v>All Others</c:v>
                </c:pt>
                <c:pt idx="1360">
                  <c:v>All Others</c:v>
                </c:pt>
                <c:pt idx="1361">
                  <c:v>All Others</c:v>
                </c:pt>
                <c:pt idx="1362">
                  <c:v>All Others</c:v>
                </c:pt>
                <c:pt idx="1363">
                  <c:v>All Others</c:v>
                </c:pt>
                <c:pt idx="1364">
                  <c:v>All Others</c:v>
                </c:pt>
                <c:pt idx="1365">
                  <c:v>All Others</c:v>
                </c:pt>
                <c:pt idx="1366">
                  <c:v>All Others</c:v>
                </c:pt>
                <c:pt idx="1367">
                  <c:v>All Others</c:v>
                </c:pt>
                <c:pt idx="1368">
                  <c:v>All Others</c:v>
                </c:pt>
                <c:pt idx="1369">
                  <c:v>All Others</c:v>
                </c:pt>
                <c:pt idx="1370">
                  <c:v>All Others</c:v>
                </c:pt>
                <c:pt idx="1371">
                  <c:v>All Others</c:v>
                </c:pt>
                <c:pt idx="1372">
                  <c:v>All Others</c:v>
                </c:pt>
                <c:pt idx="1373">
                  <c:v>All Others</c:v>
                </c:pt>
                <c:pt idx="1374">
                  <c:v>All Others</c:v>
                </c:pt>
                <c:pt idx="1375">
                  <c:v>All Others</c:v>
                </c:pt>
                <c:pt idx="1376">
                  <c:v>All Others</c:v>
                </c:pt>
                <c:pt idx="1377">
                  <c:v>All Others</c:v>
                </c:pt>
                <c:pt idx="1378">
                  <c:v>All Others</c:v>
                </c:pt>
                <c:pt idx="1379">
                  <c:v>All Others</c:v>
                </c:pt>
                <c:pt idx="1380">
                  <c:v>All Others</c:v>
                </c:pt>
                <c:pt idx="1381">
                  <c:v>All Others</c:v>
                </c:pt>
                <c:pt idx="1382">
                  <c:v>All Others</c:v>
                </c:pt>
                <c:pt idx="1383">
                  <c:v>Raguin</c:v>
                </c:pt>
                <c:pt idx="1384">
                  <c:v>Raguin</c:v>
                </c:pt>
                <c:pt idx="1385">
                  <c:v>All Others</c:v>
                </c:pt>
                <c:pt idx="1386">
                  <c:v>All Others</c:v>
                </c:pt>
                <c:pt idx="1387">
                  <c:v>All Others</c:v>
                </c:pt>
                <c:pt idx="1388">
                  <c:v>All Others</c:v>
                </c:pt>
                <c:pt idx="1389">
                  <c:v>All Others</c:v>
                </c:pt>
                <c:pt idx="1390">
                  <c:v>All Others</c:v>
                </c:pt>
                <c:pt idx="1391">
                  <c:v>All Others</c:v>
                </c:pt>
                <c:pt idx="1392">
                  <c:v>All Others</c:v>
                </c:pt>
                <c:pt idx="1393">
                  <c:v>All Others</c:v>
                </c:pt>
                <c:pt idx="1394">
                  <c:v>All Others</c:v>
                </c:pt>
                <c:pt idx="1395">
                  <c:v>All Others</c:v>
                </c:pt>
                <c:pt idx="1396">
                  <c:v>All Others</c:v>
                </c:pt>
                <c:pt idx="1397">
                  <c:v>All Others</c:v>
                </c:pt>
                <c:pt idx="1398">
                  <c:v>All Others</c:v>
                </c:pt>
                <c:pt idx="1399">
                  <c:v>All Others</c:v>
                </c:pt>
                <c:pt idx="1400">
                  <c:v>All Others</c:v>
                </c:pt>
                <c:pt idx="1401">
                  <c:v>All Others</c:v>
                </c:pt>
                <c:pt idx="1402">
                  <c:v>All Others</c:v>
                </c:pt>
                <c:pt idx="1403">
                  <c:v>All Others</c:v>
                </c:pt>
                <c:pt idx="1404">
                  <c:v>All Others</c:v>
                </c:pt>
                <c:pt idx="1405">
                  <c:v>All Others</c:v>
                </c:pt>
                <c:pt idx="1406">
                  <c:v>All Others</c:v>
                </c:pt>
                <c:pt idx="1407">
                  <c:v>All Others</c:v>
                </c:pt>
                <c:pt idx="1408">
                  <c:v>Other Suppl</c:v>
                </c:pt>
                <c:pt idx="1409">
                  <c:v>All Others</c:v>
                </c:pt>
                <c:pt idx="1410">
                  <c:v>All Others</c:v>
                </c:pt>
                <c:pt idx="1411">
                  <c:v>Savencia: A</c:v>
                </c:pt>
                <c:pt idx="1412">
                  <c:v>All Others</c:v>
                </c:pt>
                <c:pt idx="1413">
                  <c:v>Lactalis: A</c:v>
                </c:pt>
                <c:pt idx="1414">
                  <c:v>All Others</c:v>
                </c:pt>
                <c:pt idx="1415">
                  <c:v>All Others</c:v>
                </c:pt>
                <c:pt idx="1416">
                  <c:v>All Others</c:v>
                </c:pt>
                <c:pt idx="1417">
                  <c:v>All Others</c:v>
                </c:pt>
                <c:pt idx="1418">
                  <c:v>All Others</c:v>
                </c:pt>
                <c:pt idx="1419">
                  <c:v>All Others</c:v>
                </c:pt>
                <c:pt idx="1420">
                  <c:v>All Others</c:v>
                </c:pt>
                <c:pt idx="1421">
                  <c:v>All Others</c:v>
                </c:pt>
                <c:pt idx="1422">
                  <c:v>All Others</c:v>
                </c:pt>
                <c:pt idx="1423">
                  <c:v>All Others</c:v>
                </c:pt>
                <c:pt idx="1424">
                  <c:v>All Others</c:v>
                </c:pt>
                <c:pt idx="1425">
                  <c:v>All Others</c:v>
                </c:pt>
                <c:pt idx="1426">
                  <c:v>All Others</c:v>
                </c:pt>
                <c:pt idx="1427">
                  <c:v>All Others</c:v>
                </c:pt>
                <c:pt idx="1428">
                  <c:v>All Others</c:v>
                </c:pt>
                <c:pt idx="1429">
                  <c:v>Caprice Des</c:v>
                </c:pt>
                <c:pt idx="1430">
                  <c:v>Private Lab</c:v>
                </c:pt>
                <c:pt idx="1431">
                  <c:v>All Others</c:v>
                </c:pt>
                <c:pt idx="1432">
                  <c:v>All Others</c:v>
                </c:pt>
                <c:pt idx="1433">
                  <c:v>All Others</c:v>
                </c:pt>
                <c:pt idx="1434">
                  <c:v>All Others</c:v>
                </c:pt>
                <c:pt idx="1435">
                  <c:v>All Others</c:v>
                </c:pt>
                <c:pt idx="1436">
                  <c:v>All Others</c:v>
                </c:pt>
                <c:pt idx="1437">
                  <c:v>Lactalis: A</c:v>
                </c:pt>
                <c:pt idx="1438">
                  <c:v>All Others</c:v>
                </c:pt>
                <c:pt idx="1439">
                  <c:v>All Others</c:v>
                </c:pt>
                <c:pt idx="1440">
                  <c:v>Pochat</c:v>
                </c:pt>
                <c:pt idx="1441">
                  <c:v>All Others</c:v>
                </c:pt>
                <c:pt idx="1442">
                  <c:v>All Others</c:v>
                </c:pt>
                <c:pt idx="1443">
                  <c:v>Richesmonts</c:v>
                </c:pt>
                <c:pt idx="1444">
                  <c:v>All Others</c:v>
                </c:pt>
                <c:pt idx="1445">
                  <c:v>All Others</c:v>
                </c:pt>
                <c:pt idx="1446">
                  <c:v>All Others</c:v>
                </c:pt>
                <c:pt idx="1447">
                  <c:v>Milleret: A</c:v>
                </c:pt>
                <c:pt idx="1448">
                  <c:v>All Others</c:v>
                </c:pt>
                <c:pt idx="1449">
                  <c:v>All Others</c:v>
                </c:pt>
                <c:pt idx="1450">
                  <c:v>All Others</c:v>
                </c:pt>
                <c:pt idx="1451">
                  <c:v>All Others</c:v>
                </c:pt>
                <c:pt idx="1452">
                  <c:v>All Others</c:v>
                </c:pt>
                <c:pt idx="1453">
                  <c:v>Private Lab</c:v>
                </c:pt>
                <c:pt idx="1454">
                  <c:v>All Others</c:v>
                </c:pt>
                <c:pt idx="1455">
                  <c:v>All Others</c:v>
                </c:pt>
                <c:pt idx="1456">
                  <c:v>All Others</c:v>
                </c:pt>
                <c:pt idx="1457">
                  <c:v>Pochat</c:v>
                </c:pt>
                <c:pt idx="1458">
                  <c:v>All Others</c:v>
                </c:pt>
                <c:pt idx="1459">
                  <c:v>All Others</c:v>
                </c:pt>
                <c:pt idx="1460">
                  <c:v>All Others</c:v>
                </c:pt>
                <c:pt idx="1461">
                  <c:v>Private Lab</c:v>
                </c:pt>
                <c:pt idx="1462">
                  <c:v>Lactalis: A</c:v>
                </c:pt>
                <c:pt idx="1463">
                  <c:v>Private Lab</c:v>
                </c:pt>
                <c:pt idx="1464">
                  <c:v>All Others</c:v>
                </c:pt>
                <c:pt idx="1465">
                  <c:v>Lactalis: A</c:v>
                </c:pt>
                <c:pt idx="1466">
                  <c:v>Laiteries H</c:v>
                </c:pt>
                <c:pt idx="1467">
                  <c:v>All Others</c:v>
                </c:pt>
                <c:pt idx="1468">
                  <c:v>All Others</c:v>
                </c:pt>
                <c:pt idx="1469">
                  <c:v>All Others</c:v>
                </c:pt>
                <c:pt idx="1470">
                  <c:v>All Others</c:v>
                </c:pt>
                <c:pt idx="1471">
                  <c:v>Private Lab</c:v>
                </c:pt>
                <c:pt idx="1472">
                  <c:v>All Others</c:v>
                </c:pt>
                <c:pt idx="1473">
                  <c:v>La Vache Qu</c:v>
                </c:pt>
                <c:pt idx="1474">
                  <c:v>All Others</c:v>
                </c:pt>
                <c:pt idx="1475">
                  <c:v>All Others</c:v>
                </c:pt>
                <c:pt idx="1476">
                  <c:v>All Others</c:v>
                </c:pt>
                <c:pt idx="1477">
                  <c:v>All Others</c:v>
                </c:pt>
                <c:pt idx="1478">
                  <c:v>All Others</c:v>
                </c:pt>
                <c:pt idx="1479">
                  <c:v>All Others</c:v>
                </c:pt>
                <c:pt idx="1480">
                  <c:v>All Others</c:v>
                </c:pt>
                <c:pt idx="1481">
                  <c:v>Gillot</c:v>
                </c:pt>
                <c:pt idx="1482">
                  <c:v>All Others</c:v>
                </c:pt>
                <c:pt idx="1483">
                  <c:v>All Others</c:v>
                </c:pt>
                <c:pt idx="1484">
                  <c:v>All Others</c:v>
                </c:pt>
                <c:pt idx="1485">
                  <c:v>Private Lab</c:v>
                </c:pt>
                <c:pt idx="1486">
                  <c:v>All Others</c:v>
                </c:pt>
                <c:pt idx="1487">
                  <c:v>Private Lab</c:v>
                </c:pt>
                <c:pt idx="1488">
                  <c:v>All Others</c:v>
                </c:pt>
                <c:pt idx="1489">
                  <c:v>All Others</c:v>
                </c:pt>
                <c:pt idx="1490">
                  <c:v>Lactalis: A</c:v>
                </c:pt>
                <c:pt idx="1491">
                  <c:v>Private Lab</c:v>
                </c:pt>
                <c:pt idx="1492">
                  <c:v>All Others</c:v>
                </c:pt>
                <c:pt idx="1493">
                  <c:v>Other Suppl</c:v>
                </c:pt>
                <c:pt idx="1494">
                  <c:v>All Others</c:v>
                </c:pt>
                <c:pt idx="1495">
                  <c:v>All Others</c:v>
                </c:pt>
                <c:pt idx="1496">
                  <c:v>All Others</c:v>
                </c:pt>
                <c:pt idx="1497">
                  <c:v>Private Lab</c:v>
                </c:pt>
                <c:pt idx="1498">
                  <c:v>All Others</c:v>
                </c:pt>
                <c:pt idx="1499">
                  <c:v>All Others</c:v>
                </c:pt>
                <c:pt idx="1500">
                  <c:v>All Others</c:v>
                </c:pt>
                <c:pt idx="1501">
                  <c:v>Private Lab</c:v>
                </c:pt>
                <c:pt idx="1502">
                  <c:v>All Others</c:v>
                </c:pt>
                <c:pt idx="1503">
                  <c:v>Etoile Du V</c:v>
                </c:pt>
                <c:pt idx="1504">
                  <c:v>Gillot</c:v>
                </c:pt>
                <c:pt idx="1505">
                  <c:v>All Others</c:v>
                </c:pt>
                <c:pt idx="1506">
                  <c:v>All Others</c:v>
                </c:pt>
                <c:pt idx="1507">
                  <c:v>All Others</c:v>
                </c:pt>
                <c:pt idx="1508">
                  <c:v>All Others</c:v>
                </c:pt>
                <c:pt idx="1509">
                  <c:v>Private Lab</c:v>
                </c:pt>
                <c:pt idx="1510">
                  <c:v>Leerdammer</c:v>
                </c:pt>
                <c:pt idx="1511">
                  <c:v>All Others</c:v>
                </c:pt>
                <c:pt idx="1512">
                  <c:v>All Others</c:v>
                </c:pt>
                <c:pt idx="1513">
                  <c:v>Lactalis: A</c:v>
                </c:pt>
                <c:pt idx="1514">
                  <c:v>All Others</c:v>
                </c:pt>
                <c:pt idx="1515">
                  <c:v>Other Suppl</c:v>
                </c:pt>
                <c:pt idx="1516">
                  <c:v>Pochat</c:v>
                </c:pt>
                <c:pt idx="1517">
                  <c:v>Pave D'Affi</c:v>
                </c:pt>
                <c:pt idx="1518">
                  <c:v>All Others</c:v>
                </c:pt>
                <c:pt idx="1519">
                  <c:v>All Others</c:v>
                </c:pt>
                <c:pt idx="1520">
                  <c:v>All Others</c:v>
                </c:pt>
                <c:pt idx="1521">
                  <c:v>Private Lab</c:v>
                </c:pt>
                <c:pt idx="1522">
                  <c:v>All Others</c:v>
                </c:pt>
                <c:pt idx="1523">
                  <c:v>All Others</c:v>
                </c:pt>
                <c:pt idx="1524">
                  <c:v>All Others</c:v>
                </c:pt>
                <c:pt idx="1525">
                  <c:v>Private Lab</c:v>
                </c:pt>
                <c:pt idx="1526">
                  <c:v>All Others</c:v>
                </c:pt>
                <c:pt idx="1527">
                  <c:v>All Others</c:v>
                </c:pt>
                <c:pt idx="1528">
                  <c:v>All Others</c:v>
                </c:pt>
                <c:pt idx="1529">
                  <c:v>Netto</c:v>
                </c:pt>
                <c:pt idx="1530">
                  <c:v>All Others</c:v>
                </c:pt>
                <c:pt idx="1531">
                  <c:v>All Others</c:v>
                </c:pt>
                <c:pt idx="1532">
                  <c:v>All Others</c:v>
                </c:pt>
                <c:pt idx="1533">
                  <c:v>Private Lab</c:v>
                </c:pt>
                <c:pt idx="1534">
                  <c:v>La Vache Qu</c:v>
                </c:pt>
                <c:pt idx="1535">
                  <c:v>Private Lab</c:v>
                </c:pt>
                <c:pt idx="1536">
                  <c:v>All Others</c:v>
                </c:pt>
                <c:pt idx="1537">
                  <c:v>Private Lab</c:v>
                </c:pt>
                <c:pt idx="1538">
                  <c:v>All Others</c:v>
                </c:pt>
                <c:pt idx="1539">
                  <c:v>All Others</c:v>
                </c:pt>
                <c:pt idx="1540">
                  <c:v>All Others</c:v>
                </c:pt>
                <c:pt idx="1541">
                  <c:v>All Others</c:v>
                </c:pt>
                <c:pt idx="1542">
                  <c:v>All Others</c:v>
                </c:pt>
                <c:pt idx="1543">
                  <c:v>All Others</c:v>
                </c:pt>
                <c:pt idx="1544">
                  <c:v>Private Lab</c:v>
                </c:pt>
                <c:pt idx="1545">
                  <c:v>Private Lab</c:v>
                </c:pt>
                <c:pt idx="1546">
                  <c:v>Private Lab</c:v>
                </c:pt>
                <c:pt idx="1547">
                  <c:v>Gillot</c:v>
                </c:pt>
                <c:pt idx="1548">
                  <c:v>All Others</c:v>
                </c:pt>
                <c:pt idx="1549">
                  <c:v>All Others</c:v>
                </c:pt>
                <c:pt idx="1550">
                  <c:v>All Others</c:v>
                </c:pt>
                <c:pt idx="1551">
                  <c:v>All Others</c:v>
                </c:pt>
                <c:pt idx="1552">
                  <c:v>Private Lab</c:v>
                </c:pt>
                <c:pt idx="1553">
                  <c:v>Private Lab</c:v>
                </c:pt>
                <c:pt idx="1554">
                  <c:v>Private Lab</c:v>
                </c:pt>
                <c:pt idx="1555">
                  <c:v>All Others</c:v>
                </c:pt>
                <c:pt idx="1556">
                  <c:v>All Others</c:v>
                </c:pt>
                <c:pt idx="1557">
                  <c:v>All Others</c:v>
                </c:pt>
                <c:pt idx="1558">
                  <c:v>All Others</c:v>
                </c:pt>
                <c:pt idx="1559">
                  <c:v>O'Tapas Ape</c:v>
                </c:pt>
                <c:pt idx="1560">
                  <c:v>All Others</c:v>
                </c:pt>
                <c:pt idx="1561">
                  <c:v>All Others</c:v>
                </c:pt>
                <c:pt idx="1562">
                  <c:v>All Others</c:v>
                </c:pt>
                <c:pt idx="1563">
                  <c:v>All Others</c:v>
                </c:pt>
                <c:pt idx="1564">
                  <c:v>Private Lab</c:v>
                </c:pt>
                <c:pt idx="1565">
                  <c:v>All Others</c:v>
                </c:pt>
                <c:pt idx="1566">
                  <c:v>Private Lab</c:v>
                </c:pt>
                <c:pt idx="1567">
                  <c:v>All Others</c:v>
                </c:pt>
                <c:pt idx="1568">
                  <c:v>Private Lab</c:v>
                </c:pt>
                <c:pt idx="1569">
                  <c:v>O'Tapas Ape</c:v>
                </c:pt>
                <c:pt idx="1570">
                  <c:v>Private Lab</c:v>
                </c:pt>
                <c:pt idx="1571">
                  <c:v>All Others</c:v>
                </c:pt>
                <c:pt idx="1572">
                  <c:v>All Others</c:v>
                </c:pt>
                <c:pt idx="1573">
                  <c:v>Apericube</c:v>
                </c:pt>
                <c:pt idx="1574">
                  <c:v>All Others</c:v>
                </c:pt>
                <c:pt idx="1575">
                  <c:v>La Vache Qu</c:v>
                </c:pt>
                <c:pt idx="1576">
                  <c:v>Societe</c:v>
                </c:pt>
                <c:pt idx="1577">
                  <c:v>Private Lab</c:v>
                </c:pt>
                <c:pt idx="1578">
                  <c:v>All Others</c:v>
                </c:pt>
                <c:pt idx="1579">
                  <c:v>Lactalis: A</c:v>
                </c:pt>
                <c:pt idx="1580">
                  <c:v>La Vache Qu</c:v>
                </c:pt>
                <c:pt idx="1581">
                  <c:v>Les Mousque</c:v>
                </c:pt>
                <c:pt idx="1582">
                  <c:v>All Others</c:v>
                </c:pt>
                <c:pt idx="1583">
                  <c:v>All Others</c:v>
                </c:pt>
                <c:pt idx="1584">
                  <c:v>All Others</c:v>
                </c:pt>
                <c:pt idx="1585">
                  <c:v>All Others</c:v>
                </c:pt>
                <c:pt idx="1586">
                  <c:v>All Others</c:v>
                </c:pt>
                <c:pt idx="1587">
                  <c:v>Lactalis: A</c:v>
                </c:pt>
                <c:pt idx="1588">
                  <c:v>All Others</c:v>
                </c:pt>
                <c:pt idx="1589">
                  <c:v>President</c:v>
                </c:pt>
                <c:pt idx="1590">
                  <c:v>Les Mousque</c:v>
                </c:pt>
                <c:pt idx="1591">
                  <c:v>Netto</c:v>
                </c:pt>
                <c:pt idx="1592">
                  <c:v>President</c:v>
                </c:pt>
                <c:pt idx="1593">
                  <c:v>Lactalis: A</c:v>
                </c:pt>
                <c:pt idx="1594">
                  <c:v>All Others</c:v>
                </c:pt>
                <c:pt idx="1595">
                  <c:v>Les Mousque</c:v>
                </c:pt>
              </c:strCache>
            </c:strRef>
          </c:cat>
          <c:val>
            <c:numRef>
              <c:f>Sheet1!$C$2:$C$1597</c:f>
              <c:numCache>
                <c:formatCode>General</c:formatCode>
                <c:ptCount val="1596"/>
                <c:pt idx="0">
                  <c:v>2.1556051924713739E-2</c:v>
                </c:pt>
                <c:pt idx="1">
                  <c:v>4.0340631515888473E-2</c:v>
                </c:pt>
                <c:pt idx="2">
                  <c:v>5.7954791440781396E-2</c:v>
                </c:pt>
                <c:pt idx="3">
                  <c:v>7.2888497944146216E-2</c:v>
                </c:pt>
                <c:pt idx="4">
                  <c:v>8.6412413490646184E-2</c:v>
                </c:pt>
                <c:pt idx="5">
                  <c:v>9.7171408348671287E-2</c:v>
                </c:pt>
                <c:pt idx="6">
                  <c:v>0.10657526779097833</c:v>
                </c:pt>
                <c:pt idx="7">
                  <c:v>0.11536493733040648</c:v>
                </c:pt>
                <c:pt idx="8">
                  <c:v>0.12404394439084743</c:v>
                </c:pt>
                <c:pt idx="9">
                  <c:v>0.13270732725923104</c:v>
                </c:pt>
                <c:pt idx="10">
                  <c:v>0.1411667330674698</c:v>
                </c:pt>
                <c:pt idx="11">
                  <c:v>0.14941978870044448</c:v>
                </c:pt>
                <c:pt idx="12">
                  <c:v>0.15756535571827554</c:v>
                </c:pt>
                <c:pt idx="13">
                  <c:v>0.16544008848632924</c:v>
                </c:pt>
                <c:pt idx="14">
                  <c:v>0.17284455580988972</c:v>
                </c:pt>
                <c:pt idx="15">
                  <c:v>0.18006164722143719</c:v>
                </c:pt>
                <c:pt idx="16">
                  <c:v>0.18721322218234318</c:v>
                </c:pt>
                <c:pt idx="17">
                  <c:v>0.19433179876436246</c:v>
                </c:pt>
                <c:pt idx="18">
                  <c:v>0.20139990615082851</c:v>
                </c:pt>
                <c:pt idx="19">
                  <c:v>0.20832245916091985</c:v>
                </c:pt>
                <c:pt idx="20">
                  <c:v>0.21504813953544027</c:v>
                </c:pt>
                <c:pt idx="21">
                  <c:v>0.22174299996549182</c:v>
                </c:pt>
                <c:pt idx="22">
                  <c:v>0.22842319823877688</c:v>
                </c:pt>
                <c:pt idx="23">
                  <c:v>0.23501096438868216</c:v>
                </c:pt>
                <c:pt idx="24">
                  <c:v>0.24135319483280249</c:v>
                </c:pt>
                <c:pt idx="25">
                  <c:v>0.24742035849817387</c:v>
                </c:pt>
                <c:pt idx="26">
                  <c:v>0.25334716093040599</c:v>
                </c:pt>
                <c:pt idx="27">
                  <c:v>0.25887066950045223</c:v>
                </c:pt>
                <c:pt idx="28">
                  <c:v>0.26434082632164024</c:v>
                </c:pt>
                <c:pt idx="29">
                  <c:v>0.26970511236694406</c:v>
                </c:pt>
                <c:pt idx="30">
                  <c:v>0.27504363732396125</c:v>
                </c:pt>
                <c:pt idx="31">
                  <c:v>0.28033036726721788</c:v>
                </c:pt>
                <c:pt idx="32">
                  <c:v>0.28560303899019046</c:v>
                </c:pt>
                <c:pt idx="33">
                  <c:v>0.29079417715649392</c:v>
                </c:pt>
                <c:pt idx="34">
                  <c:v>0.29585724242079187</c:v>
                </c:pt>
                <c:pt idx="35">
                  <c:v>0.30087242120614083</c:v>
                </c:pt>
                <c:pt idx="36">
                  <c:v>0.30583811130457861</c:v>
                </c:pt>
                <c:pt idx="37">
                  <c:v>0.31071608140522661</c:v>
                </c:pt>
                <c:pt idx="38">
                  <c:v>0.3155657652525779</c:v>
                </c:pt>
                <c:pt idx="39">
                  <c:v>0.32035772342991115</c:v>
                </c:pt>
                <c:pt idx="40">
                  <c:v>0.32501244876508412</c:v>
                </c:pt>
                <c:pt idx="41">
                  <c:v>0.32961467425709584</c:v>
                </c:pt>
                <c:pt idx="42">
                  <c:v>0.33418337487971089</c:v>
                </c:pt>
                <c:pt idx="43">
                  <c:v>0.33870181732928478</c:v>
                </c:pt>
                <c:pt idx="44">
                  <c:v>0.34307906085029255</c:v>
                </c:pt>
                <c:pt idx="45">
                  <c:v>0.34733724433315327</c:v>
                </c:pt>
                <c:pt idx="46">
                  <c:v>0.35156279890415182</c:v>
                </c:pt>
                <c:pt idx="47">
                  <c:v>0.35574613192040666</c:v>
                </c:pt>
                <c:pt idx="48">
                  <c:v>0.35990233682038408</c:v>
                </c:pt>
                <c:pt idx="49">
                  <c:v>0.36399227283591423</c:v>
                </c:pt>
                <c:pt idx="50">
                  <c:v>0.36807929503554504</c:v>
                </c:pt>
                <c:pt idx="51">
                  <c:v>0.37214510201231821</c:v>
                </c:pt>
                <c:pt idx="52">
                  <c:v>0.37620946167307406</c:v>
                </c:pt>
                <c:pt idx="53">
                  <c:v>0.38023123457514268</c:v>
                </c:pt>
                <c:pt idx="54">
                  <c:v>0.38418819372442997</c:v>
                </c:pt>
                <c:pt idx="55">
                  <c:v>0.38814191648468493</c:v>
                </c:pt>
                <c:pt idx="56">
                  <c:v>0.39209299187160629</c:v>
                </c:pt>
                <c:pt idx="57">
                  <c:v>0.39603698628089951</c:v>
                </c:pt>
                <c:pt idx="58">
                  <c:v>0.3999766984252755</c:v>
                </c:pt>
                <c:pt idx="59">
                  <c:v>0.40389593712289695</c:v>
                </c:pt>
                <c:pt idx="60">
                  <c:v>0.40770345822897075</c:v>
                </c:pt>
                <c:pt idx="61">
                  <c:v>0.4115020574169152</c:v>
                </c:pt>
                <c:pt idx="62">
                  <c:v>0.41523513375959659</c:v>
                </c:pt>
                <c:pt idx="63">
                  <c:v>0.41896735393349993</c:v>
                </c:pt>
                <c:pt idx="64">
                  <c:v>0.42268193845160268</c:v>
                </c:pt>
                <c:pt idx="65">
                  <c:v>0.42638350849376572</c:v>
                </c:pt>
                <c:pt idx="66">
                  <c:v>0.43006012530150162</c:v>
                </c:pt>
                <c:pt idx="67">
                  <c:v>0.43364698933229923</c:v>
                </c:pt>
                <c:pt idx="68">
                  <c:v>0.43714375243453923</c:v>
                </c:pt>
                <c:pt idx="69">
                  <c:v>0.44063560801997431</c:v>
                </c:pt>
                <c:pt idx="70">
                  <c:v>0.4440867049979802</c:v>
                </c:pt>
                <c:pt idx="71">
                  <c:v>0.44752734819073187</c:v>
                </c:pt>
                <c:pt idx="72">
                  <c:v>0.45096783933359269</c:v>
                </c:pt>
                <c:pt idx="73">
                  <c:v>0.45439002338538714</c:v>
                </c:pt>
                <c:pt idx="74">
                  <c:v>0.45776511175976786</c:v>
                </c:pt>
                <c:pt idx="75">
                  <c:v>0.46109882480099379</c:v>
                </c:pt>
                <c:pt idx="76">
                  <c:v>0.46442953165956419</c:v>
                </c:pt>
                <c:pt idx="77">
                  <c:v>0.4677453461549913</c:v>
                </c:pt>
                <c:pt idx="78">
                  <c:v>0.47103746360387472</c:v>
                </c:pt>
                <c:pt idx="79">
                  <c:v>0.47432170216845965</c:v>
                </c:pt>
                <c:pt idx="80">
                  <c:v>0.47752072103229204</c:v>
                </c:pt>
                <c:pt idx="81">
                  <c:v>0.48068831601517314</c:v>
                </c:pt>
                <c:pt idx="82">
                  <c:v>0.48380360512508086</c:v>
                </c:pt>
                <c:pt idx="83">
                  <c:v>0.48689938211301143</c:v>
                </c:pt>
                <c:pt idx="84">
                  <c:v>0.48998787846901787</c:v>
                </c:pt>
                <c:pt idx="85">
                  <c:v>0.49305664457539994</c:v>
                </c:pt>
                <c:pt idx="86">
                  <c:v>0.4961199994108994</c:v>
                </c:pt>
                <c:pt idx="87">
                  <c:v>0.49914011381528356</c:v>
                </c:pt>
                <c:pt idx="88">
                  <c:v>0.50214793207288533</c:v>
                </c:pt>
                <c:pt idx="89">
                  <c:v>0.50514121890820629</c:v>
                </c:pt>
                <c:pt idx="90">
                  <c:v>0.50812407611573229</c:v>
                </c:pt>
                <c:pt idx="91">
                  <c:v>0.5110980298784803</c:v>
                </c:pt>
                <c:pt idx="92">
                  <c:v>0.51404175129143115</c:v>
                </c:pt>
                <c:pt idx="93">
                  <c:v>0.51698499594981762</c:v>
                </c:pt>
                <c:pt idx="94">
                  <c:v>0.51987044317632158</c:v>
                </c:pt>
                <c:pt idx="95">
                  <c:v>0.52274136608567978</c:v>
                </c:pt>
                <c:pt idx="96">
                  <c:v>0.52561107828001907</c:v>
                </c:pt>
                <c:pt idx="97">
                  <c:v>0.52838862053046332</c:v>
                </c:pt>
                <c:pt idx="98">
                  <c:v>0.53114560336201844</c:v>
                </c:pt>
                <c:pt idx="99">
                  <c:v>0.5338986073179246</c:v>
                </c:pt>
                <c:pt idx="100">
                  <c:v>0.5366209348530907</c:v>
                </c:pt>
                <c:pt idx="101">
                  <c:v>0.53933359869402431</c:v>
                </c:pt>
                <c:pt idx="102">
                  <c:v>0.5420100469509036</c:v>
                </c:pt>
                <c:pt idx="103">
                  <c:v>0.54468598434857007</c:v>
                </c:pt>
                <c:pt idx="104">
                  <c:v>0.5473402176900849</c:v>
                </c:pt>
                <c:pt idx="105">
                  <c:v>0.54999282466617827</c:v>
                </c:pt>
                <c:pt idx="106">
                  <c:v>0.55262647940493925</c:v>
                </c:pt>
                <c:pt idx="107">
                  <c:v>0.55525693185931635</c:v>
                </c:pt>
                <c:pt idx="108">
                  <c:v>0.55788472486163021</c:v>
                </c:pt>
                <c:pt idx="109">
                  <c:v>0.56048170076152926</c:v>
                </c:pt>
                <c:pt idx="110">
                  <c:v>0.56307631420401172</c:v>
                </c:pt>
                <c:pt idx="111">
                  <c:v>0.56560090014558562</c:v>
                </c:pt>
                <c:pt idx="112">
                  <c:v>0.56812483312524498</c:v>
                </c:pt>
                <c:pt idx="113">
                  <c:v>0.57062450704217527</c:v>
                </c:pt>
                <c:pt idx="114">
                  <c:v>0.57309823158473916</c:v>
                </c:pt>
                <c:pt idx="115">
                  <c:v>0.57555247384689323</c:v>
                </c:pt>
                <c:pt idx="116">
                  <c:v>0.5779749867072872</c:v>
                </c:pt>
                <c:pt idx="117">
                  <c:v>0.58037574648609735</c:v>
                </c:pt>
                <c:pt idx="118">
                  <c:v>0.58274558755906092</c:v>
                </c:pt>
                <c:pt idx="119">
                  <c:v>0.58509786686962884</c:v>
                </c:pt>
                <c:pt idx="120">
                  <c:v>0.58744192624941405</c:v>
                </c:pt>
                <c:pt idx="121">
                  <c:v>0.58977852310581691</c:v>
                </c:pt>
                <c:pt idx="122">
                  <c:v>0.5921124015375353</c:v>
                </c:pt>
                <c:pt idx="123">
                  <c:v>0.59443160147067653</c:v>
                </c:pt>
                <c:pt idx="124">
                  <c:v>0.59674127483869255</c:v>
                </c:pt>
                <c:pt idx="125">
                  <c:v>0.5990386513494127</c:v>
                </c:pt>
                <c:pt idx="126">
                  <c:v>0.60126208542979109</c:v>
                </c:pt>
                <c:pt idx="127">
                  <c:v>0.60347705445222632</c:v>
                </c:pt>
                <c:pt idx="128">
                  <c:v>0.60565525440058388</c:v>
                </c:pt>
                <c:pt idx="129">
                  <c:v>0.60773066364911765</c:v>
                </c:pt>
                <c:pt idx="130">
                  <c:v>0.6097514521716666</c:v>
                </c:pt>
                <c:pt idx="131">
                  <c:v>0.61176379410962356</c:v>
                </c:pt>
                <c:pt idx="132">
                  <c:v>0.61376158615194842</c:v>
                </c:pt>
                <c:pt idx="133">
                  <c:v>0.61572990467290345</c:v>
                </c:pt>
                <c:pt idx="134">
                  <c:v>0.61769435942139794</c:v>
                </c:pt>
                <c:pt idx="135">
                  <c:v>0.61965848520213784</c:v>
                </c:pt>
                <c:pt idx="136">
                  <c:v>0.62161500351473964</c:v>
                </c:pt>
                <c:pt idx="137">
                  <c:v>0.62355795599291897</c:v>
                </c:pt>
                <c:pt idx="138">
                  <c:v>0.62549701201501628</c:v>
                </c:pt>
                <c:pt idx="139">
                  <c:v>0.62743539731236142</c:v>
                </c:pt>
                <c:pt idx="140">
                  <c:v>0.62937020304264946</c:v>
                </c:pt>
                <c:pt idx="141">
                  <c:v>0.63129157154146009</c:v>
                </c:pt>
                <c:pt idx="142">
                  <c:v>0.63321203555657413</c:v>
                </c:pt>
                <c:pt idx="143">
                  <c:v>0.63513073394561892</c:v>
                </c:pt>
                <c:pt idx="144">
                  <c:v>0.63702479385772093</c:v>
                </c:pt>
                <c:pt idx="145">
                  <c:v>0.63891141611441338</c:v>
                </c:pt>
                <c:pt idx="146">
                  <c:v>0.64078512336705729</c:v>
                </c:pt>
                <c:pt idx="147">
                  <c:v>0.64265734422544096</c:v>
                </c:pt>
                <c:pt idx="148">
                  <c:v>0.64450754911224262</c:v>
                </c:pt>
                <c:pt idx="149">
                  <c:v>0.64634021639410788</c:v>
                </c:pt>
                <c:pt idx="150">
                  <c:v>0.64815668538900073</c:v>
                </c:pt>
                <c:pt idx="151">
                  <c:v>0.64996746743376954</c:v>
                </c:pt>
                <c:pt idx="152">
                  <c:v>0.6517710619238839</c:v>
                </c:pt>
                <c:pt idx="153">
                  <c:v>0.65357211490717748</c:v>
                </c:pt>
                <c:pt idx="154">
                  <c:v>0.65537052904329962</c:v>
                </c:pt>
                <c:pt idx="155">
                  <c:v>0.65716421684356152</c:v>
                </c:pt>
                <c:pt idx="156">
                  <c:v>0.65895626548915875</c:v>
                </c:pt>
                <c:pt idx="157">
                  <c:v>0.66073185437881243</c:v>
                </c:pt>
                <c:pt idx="158">
                  <c:v>0.66250535649029085</c:v>
                </c:pt>
                <c:pt idx="159">
                  <c:v>0.66427242916502871</c:v>
                </c:pt>
                <c:pt idx="160">
                  <c:v>0.66603798489342536</c:v>
                </c:pt>
                <c:pt idx="161">
                  <c:v>0.66778964155656395</c:v>
                </c:pt>
                <c:pt idx="162">
                  <c:v>0.66953106753569003</c:v>
                </c:pt>
                <c:pt idx="163">
                  <c:v>0.6712663717304248</c:v>
                </c:pt>
                <c:pt idx="164">
                  <c:v>0.67299045478531594</c:v>
                </c:pt>
                <c:pt idx="165">
                  <c:v>0.67470321012333712</c:v>
                </c:pt>
                <c:pt idx="166">
                  <c:v>0.67640905713851274</c:v>
                </c:pt>
                <c:pt idx="167">
                  <c:v>0.67810749278727867</c:v>
                </c:pt>
                <c:pt idx="168">
                  <c:v>0.67979797423731414</c:v>
                </c:pt>
                <c:pt idx="169">
                  <c:v>0.68144321729224777</c:v>
                </c:pt>
                <c:pt idx="170">
                  <c:v>0.68307309904512237</c:v>
                </c:pt>
                <c:pt idx="171">
                  <c:v>0.68469986164369356</c:v>
                </c:pt>
                <c:pt idx="172">
                  <c:v>0.68632506608614008</c:v>
                </c:pt>
                <c:pt idx="173">
                  <c:v>0.68793793956664229</c:v>
                </c:pt>
                <c:pt idx="174">
                  <c:v>0.68954259098482129</c:v>
                </c:pt>
                <c:pt idx="175">
                  <c:v>0.69113141074099838</c:v>
                </c:pt>
                <c:pt idx="176">
                  <c:v>0.69270474059217135</c:v>
                </c:pt>
                <c:pt idx="177">
                  <c:v>0.69425635715051703</c:v>
                </c:pt>
                <c:pt idx="178">
                  <c:v>0.69580260009519601</c:v>
                </c:pt>
                <c:pt idx="179">
                  <c:v>0.69734650687145827</c:v>
                </c:pt>
                <c:pt idx="180">
                  <c:v>0.69887448677690844</c:v>
                </c:pt>
                <c:pt idx="181">
                  <c:v>0.70039495087046311</c:v>
                </c:pt>
                <c:pt idx="182">
                  <c:v>0.70190943244027415</c:v>
                </c:pt>
                <c:pt idx="183">
                  <c:v>0.70340531845053433</c:v>
                </c:pt>
                <c:pt idx="184">
                  <c:v>0.70487405147654425</c:v>
                </c:pt>
                <c:pt idx="185">
                  <c:v>0.70633547545008968</c:v>
                </c:pt>
                <c:pt idx="186">
                  <c:v>0.70779182209410163</c:v>
                </c:pt>
                <c:pt idx="187">
                  <c:v>0.70924292230636499</c:v>
                </c:pt>
                <c:pt idx="188">
                  <c:v>0.71069290985447364</c:v>
                </c:pt>
                <c:pt idx="189">
                  <c:v>0.71213271148092094</c:v>
                </c:pt>
                <c:pt idx="190">
                  <c:v>0.71356858538869183</c:v>
                </c:pt>
                <c:pt idx="191">
                  <c:v>0.71500343331495608</c:v>
                </c:pt>
                <c:pt idx="192">
                  <c:v>0.7164342611557879</c:v>
                </c:pt>
                <c:pt idx="193">
                  <c:v>0.71786352444587342</c:v>
                </c:pt>
                <c:pt idx="194">
                  <c:v>0.71928409318215247</c:v>
                </c:pt>
                <c:pt idx="195">
                  <c:v>0.72067927313922342</c:v>
                </c:pt>
                <c:pt idx="196">
                  <c:v>0.72206833131190307</c:v>
                </c:pt>
                <c:pt idx="197">
                  <c:v>0.72345166487724277</c:v>
                </c:pt>
                <c:pt idx="198">
                  <c:v>0.72483095135763664</c:v>
                </c:pt>
                <c:pt idx="199">
                  <c:v>0.72620401516072086</c:v>
                </c:pt>
                <c:pt idx="200">
                  <c:v>0.72757623771581081</c:v>
                </c:pt>
                <c:pt idx="201">
                  <c:v>0.7289356447387435</c:v>
                </c:pt>
                <c:pt idx="202">
                  <c:v>0.73028619592130317</c:v>
                </c:pt>
                <c:pt idx="203">
                  <c:v>0.73163278101745699</c:v>
                </c:pt>
                <c:pt idx="204">
                  <c:v>0.73297293596635671</c:v>
                </c:pt>
                <c:pt idx="205">
                  <c:v>0.73431250616263866</c:v>
                </c:pt>
                <c:pt idx="206">
                  <c:v>0.73565050399252574</c:v>
                </c:pt>
                <c:pt idx="207">
                  <c:v>0.73698836327227868</c:v>
                </c:pt>
                <c:pt idx="208">
                  <c:v>0.73832121698436248</c:v>
                </c:pt>
                <c:pt idx="209">
                  <c:v>0.73965286779707595</c:v>
                </c:pt>
                <c:pt idx="210">
                  <c:v>0.74098390259457736</c:v>
                </c:pt>
                <c:pt idx="211">
                  <c:v>0.74231259909212144</c:v>
                </c:pt>
                <c:pt idx="212">
                  <c:v>0.74363855016546776</c:v>
                </c:pt>
                <c:pt idx="213">
                  <c:v>0.74495603475984384</c:v>
                </c:pt>
                <c:pt idx="214">
                  <c:v>0.74627237045387629</c:v>
                </c:pt>
                <c:pt idx="215">
                  <c:v>0.74757795323646736</c:v>
                </c:pt>
                <c:pt idx="216">
                  <c:v>0.74887833292863393</c:v>
                </c:pt>
                <c:pt idx="217">
                  <c:v>0.75017286935770455</c:v>
                </c:pt>
                <c:pt idx="218">
                  <c:v>0.7514655747934631</c:v>
                </c:pt>
                <c:pt idx="219">
                  <c:v>0.7527417060806032</c:v>
                </c:pt>
                <c:pt idx="220">
                  <c:v>0.75401556940862335</c:v>
                </c:pt>
                <c:pt idx="221">
                  <c:v>0.75528815025976026</c:v>
                </c:pt>
                <c:pt idx="222">
                  <c:v>0.75654394593976648</c:v>
                </c:pt>
                <c:pt idx="223">
                  <c:v>0.75779670133246879</c:v>
                </c:pt>
                <c:pt idx="224">
                  <c:v>0.75904560787349429</c:v>
                </c:pt>
                <c:pt idx="225">
                  <c:v>0.76028396897302297</c:v>
                </c:pt>
                <c:pt idx="226">
                  <c:v>0.76151313673826193</c:v>
                </c:pt>
                <c:pt idx="227">
                  <c:v>0.76273862262249859</c:v>
                </c:pt>
                <c:pt idx="228">
                  <c:v>0.76394661424312293</c:v>
                </c:pt>
                <c:pt idx="229">
                  <c:v>0.76514860415613883</c:v>
                </c:pt>
                <c:pt idx="230">
                  <c:v>0.76635000434294254</c:v>
                </c:pt>
                <c:pt idx="231">
                  <c:v>0.76754038091265797</c:v>
                </c:pt>
                <c:pt idx="232">
                  <c:v>0.76872597927902708</c:v>
                </c:pt>
                <c:pt idx="233">
                  <c:v>0.76990483487219818</c:v>
                </c:pt>
                <c:pt idx="234">
                  <c:v>0.77107824580035178</c:v>
                </c:pt>
                <c:pt idx="235">
                  <c:v>0.77224980086722061</c:v>
                </c:pt>
                <c:pt idx="236">
                  <c:v>0.77342028732177226</c:v>
                </c:pt>
                <c:pt idx="237">
                  <c:v>0.77458971084811479</c:v>
                </c:pt>
                <c:pt idx="238">
                  <c:v>0.77575607561380222</c:v>
                </c:pt>
                <c:pt idx="239">
                  <c:v>0.77691144305140125</c:v>
                </c:pt>
                <c:pt idx="240">
                  <c:v>0.77805821895965255</c:v>
                </c:pt>
                <c:pt idx="241">
                  <c:v>0.77920422111869281</c:v>
                </c:pt>
                <c:pt idx="242">
                  <c:v>0.78034430256866472</c:v>
                </c:pt>
                <c:pt idx="243">
                  <c:v>0.78147516581637411</c:v>
                </c:pt>
                <c:pt idx="244">
                  <c:v>0.78260265838799803</c:v>
                </c:pt>
                <c:pt idx="245">
                  <c:v>0.78372533723060012</c:v>
                </c:pt>
                <c:pt idx="246">
                  <c:v>0.78484127827359884</c:v>
                </c:pt>
                <c:pt idx="247">
                  <c:v>0.78595448455010242</c:v>
                </c:pt>
                <c:pt idx="248">
                  <c:v>0.78706400255098208</c:v>
                </c:pt>
                <c:pt idx="249">
                  <c:v>0.78816930081213332</c:v>
                </c:pt>
                <c:pt idx="250">
                  <c:v>0.78926214945558426</c:v>
                </c:pt>
                <c:pt idx="251">
                  <c:v>0.79034843792780896</c:v>
                </c:pt>
                <c:pt idx="252">
                  <c:v>0.79143305953534215</c:v>
                </c:pt>
                <c:pt idx="253">
                  <c:v>0.79251386994841444</c:v>
                </c:pt>
                <c:pt idx="254">
                  <c:v>0.79359068017043244</c:v>
                </c:pt>
                <c:pt idx="255">
                  <c:v>0.79465901112423709</c:v>
                </c:pt>
                <c:pt idx="256">
                  <c:v>0.79572665216942473</c:v>
                </c:pt>
                <c:pt idx="257">
                  <c:v>0.79679395216812821</c:v>
                </c:pt>
                <c:pt idx="258">
                  <c:v>0.79785849821647181</c:v>
                </c:pt>
                <c:pt idx="259">
                  <c:v>0.79891855452995364</c:v>
                </c:pt>
                <c:pt idx="260">
                  <c:v>0.79997330970214664</c:v>
                </c:pt>
                <c:pt idx="261">
                  <c:v>0.80101548239061326</c:v>
                </c:pt>
                <c:pt idx="262">
                  <c:v>0.80205102385650284</c:v>
                </c:pt>
                <c:pt idx="263">
                  <c:v>0.80308640900942041</c:v>
                </c:pt>
                <c:pt idx="264">
                  <c:v>0.80411710335215325</c:v>
                </c:pt>
                <c:pt idx="265">
                  <c:v>0.80514198640489809</c:v>
                </c:pt>
                <c:pt idx="266">
                  <c:v>0.80615970961301531</c:v>
                </c:pt>
                <c:pt idx="267">
                  <c:v>0.80717240735908513</c:v>
                </c:pt>
                <c:pt idx="268">
                  <c:v>0.80818381765467706</c:v>
                </c:pt>
                <c:pt idx="269">
                  <c:v>0.80919089381786569</c:v>
                </c:pt>
                <c:pt idx="270">
                  <c:v>0.81019663776822537</c:v>
                </c:pt>
                <c:pt idx="271">
                  <c:v>0.81120128255418711</c:v>
                </c:pt>
                <c:pt idx="272">
                  <c:v>0.81220448783978005</c:v>
                </c:pt>
                <c:pt idx="273">
                  <c:v>0.81320391035145245</c:v>
                </c:pt>
                <c:pt idx="274">
                  <c:v>0.81420183012705383</c:v>
                </c:pt>
                <c:pt idx="275">
                  <c:v>0.81519741657629252</c:v>
                </c:pt>
                <c:pt idx="276">
                  <c:v>0.81619238132621108</c:v>
                </c:pt>
                <c:pt idx="277">
                  <c:v>0.81718602523151684</c:v>
                </c:pt>
                <c:pt idx="278">
                  <c:v>0.81817825095185914</c:v>
                </c:pt>
                <c:pt idx="279">
                  <c:v>0.81916986776212453</c:v>
                </c:pt>
                <c:pt idx="280">
                  <c:v>0.82013765110725245</c:v>
                </c:pt>
                <c:pt idx="281">
                  <c:v>0.82110091771800531</c:v>
                </c:pt>
                <c:pt idx="282">
                  <c:v>0.8220625785682284</c:v>
                </c:pt>
                <c:pt idx="283">
                  <c:v>0.82302087940006863</c:v>
                </c:pt>
                <c:pt idx="284">
                  <c:v>0.82397328936440783</c:v>
                </c:pt>
                <c:pt idx="285">
                  <c:v>0.82492501226218407</c:v>
                </c:pt>
                <c:pt idx="286">
                  <c:v>0.825875530839563</c:v>
                </c:pt>
                <c:pt idx="287">
                  <c:v>0.82682407916298217</c:v>
                </c:pt>
                <c:pt idx="288">
                  <c:v>0.82777248751524013</c:v>
                </c:pt>
                <c:pt idx="289">
                  <c:v>0.82871773976649221</c:v>
                </c:pt>
                <c:pt idx="290">
                  <c:v>0.82964240630985542</c:v>
                </c:pt>
                <c:pt idx="291">
                  <c:v>0.83056349825975617</c:v>
                </c:pt>
                <c:pt idx="292">
                  <c:v>0.83148383848636465</c:v>
                </c:pt>
                <c:pt idx="293">
                  <c:v>0.83240256158422721</c:v>
                </c:pt>
                <c:pt idx="294">
                  <c:v>0.83331539807766974</c:v>
                </c:pt>
                <c:pt idx="295">
                  <c:v>0.8342278224732772</c:v>
                </c:pt>
                <c:pt idx="296">
                  <c:v>0.8351341925832767</c:v>
                </c:pt>
                <c:pt idx="297">
                  <c:v>0.83604015983211677</c:v>
                </c:pt>
                <c:pt idx="298">
                  <c:v>0.83694125011623277</c:v>
                </c:pt>
                <c:pt idx="299">
                  <c:v>0.83783711741554601</c:v>
                </c:pt>
                <c:pt idx="300">
                  <c:v>0.83873065778311806</c:v>
                </c:pt>
                <c:pt idx="301">
                  <c:v>0.839618865746807</c:v>
                </c:pt>
                <c:pt idx="302">
                  <c:v>0.84050394176694931</c:v>
                </c:pt>
                <c:pt idx="303">
                  <c:v>0.84138799677917964</c:v>
                </c:pt>
                <c:pt idx="304">
                  <c:v>0.84226725795676638</c:v>
                </c:pt>
                <c:pt idx="305">
                  <c:v>0.84314379999915523</c:v>
                </c:pt>
                <c:pt idx="306">
                  <c:v>0.84401468422247394</c:v>
                </c:pt>
                <c:pt idx="307">
                  <c:v>0.84488115544638975</c:v>
                </c:pt>
                <c:pt idx="308">
                  <c:v>0.84574107928832254</c:v>
                </c:pt>
                <c:pt idx="309">
                  <c:v>0.84659538865250916</c:v>
                </c:pt>
                <c:pt idx="310">
                  <c:v>0.8474490358181056</c:v>
                </c:pt>
                <c:pt idx="311">
                  <c:v>0.84829436784410928</c:v>
                </c:pt>
                <c:pt idx="312">
                  <c:v>0.84913722373053491</c:v>
                </c:pt>
                <c:pt idx="313">
                  <c:v>0.84997456247956515</c:v>
                </c:pt>
                <c:pt idx="314">
                  <c:v>0.85080926593399142</c:v>
                </c:pt>
                <c:pt idx="315">
                  <c:v>0.85164221442005117</c:v>
                </c:pt>
                <c:pt idx="316">
                  <c:v>0.85247471386157336</c:v>
                </c:pt>
                <c:pt idx="317">
                  <c:v>0.85329402475134619</c:v>
                </c:pt>
                <c:pt idx="318">
                  <c:v>0.85410035171726018</c:v>
                </c:pt>
                <c:pt idx="319">
                  <c:v>0.85489904421552265</c:v>
                </c:pt>
                <c:pt idx="320">
                  <c:v>0.85569632705498377</c:v>
                </c:pt>
                <c:pt idx="321">
                  <c:v>0.85649096536316538</c:v>
                </c:pt>
                <c:pt idx="322">
                  <c:v>0.85728240991312521</c:v>
                </c:pt>
                <c:pt idx="323">
                  <c:v>0.85807348428554697</c:v>
                </c:pt>
                <c:pt idx="324">
                  <c:v>0.85885393790204001</c:v>
                </c:pt>
                <c:pt idx="325">
                  <c:v>0.85963231824011455</c:v>
                </c:pt>
                <c:pt idx="326">
                  <c:v>0.86041050247646067</c:v>
                </c:pt>
                <c:pt idx="327">
                  <c:v>0.86118724792295154</c:v>
                </c:pt>
                <c:pt idx="328">
                  <c:v>0.86196216663921144</c:v>
                </c:pt>
                <c:pt idx="329">
                  <c:v>0.86273157319167049</c:v>
                </c:pt>
                <c:pt idx="330">
                  <c:v>0.86349642322099796</c:v>
                </c:pt>
                <c:pt idx="331">
                  <c:v>0.86425954101839109</c:v>
                </c:pt>
                <c:pt idx="332">
                  <c:v>0.86502190496095144</c:v>
                </c:pt>
                <c:pt idx="333">
                  <c:v>0.86577351243950285</c:v>
                </c:pt>
                <c:pt idx="334">
                  <c:v>0.86652377207392817</c:v>
                </c:pt>
                <c:pt idx="335">
                  <c:v>0.86727268670628144</c:v>
                </c:pt>
                <c:pt idx="336">
                  <c:v>0.86801970071499879</c:v>
                </c:pt>
                <c:pt idx="337">
                  <c:v>0.86876650228017704</c:v>
                </c:pt>
                <c:pt idx="338">
                  <c:v>0.86950035544717197</c:v>
                </c:pt>
                <c:pt idx="339">
                  <c:v>0.87022431897663866</c:v>
                </c:pt>
                <c:pt idx="340">
                  <c:v>0.87094215432709232</c:v>
                </c:pt>
                <c:pt idx="341">
                  <c:v>0.87165513047565968</c:v>
                </c:pt>
                <c:pt idx="342">
                  <c:v>0.87236668133412854</c:v>
                </c:pt>
                <c:pt idx="343">
                  <c:v>0.87307775899060058</c:v>
                </c:pt>
                <c:pt idx="344">
                  <c:v>0.87378858299374995</c:v>
                </c:pt>
                <c:pt idx="345">
                  <c:v>0.87449897287314549</c:v>
                </c:pt>
                <c:pt idx="346">
                  <c:v>0.87520887036667949</c:v>
                </c:pt>
                <c:pt idx="347">
                  <c:v>0.87590445314455279</c:v>
                </c:pt>
                <c:pt idx="348">
                  <c:v>0.8765991300177024</c:v>
                </c:pt>
                <c:pt idx="349">
                  <c:v>0.87729049802944181</c:v>
                </c:pt>
                <c:pt idx="350">
                  <c:v>0.87797691447253878</c:v>
                </c:pt>
                <c:pt idx="351">
                  <c:v>0.87866308365693468</c:v>
                </c:pt>
                <c:pt idx="352">
                  <c:v>0.87934315095131754</c:v>
                </c:pt>
                <c:pt idx="353">
                  <c:v>0.88002023124690953</c:v>
                </c:pt>
                <c:pt idx="354">
                  <c:v>0.88069705362609785</c:v>
                </c:pt>
                <c:pt idx="355">
                  <c:v>0.88136907790756169</c:v>
                </c:pt>
                <c:pt idx="356">
                  <c:v>0.88204098779635054</c:v>
                </c:pt>
                <c:pt idx="357">
                  <c:v>0.88271229445917054</c:v>
                </c:pt>
                <c:pt idx="358">
                  <c:v>0.88337983184782665</c:v>
                </c:pt>
                <c:pt idx="359">
                  <c:v>0.88404113092787595</c:v>
                </c:pt>
                <c:pt idx="360">
                  <c:v>0.88470011160234618</c:v>
                </c:pt>
                <c:pt idx="361">
                  <c:v>0.88535739770209809</c:v>
                </c:pt>
                <c:pt idx="362">
                  <c:v>0.8860063743463652</c:v>
                </c:pt>
                <c:pt idx="363">
                  <c:v>0.88665491260379736</c:v>
                </c:pt>
                <c:pt idx="364">
                  <c:v>0.88729905633517792</c:v>
                </c:pt>
                <c:pt idx="365">
                  <c:v>0.88794033669711825</c:v>
                </c:pt>
                <c:pt idx="366">
                  <c:v>0.8885808610726853</c:v>
                </c:pt>
                <c:pt idx="367">
                  <c:v>0.8892201967591522</c:v>
                </c:pt>
                <c:pt idx="368">
                  <c:v>0.8898579799736025</c:v>
                </c:pt>
                <c:pt idx="369">
                  <c:v>0.89049407785001011</c:v>
                </c:pt>
                <c:pt idx="370">
                  <c:v>0.89112738909243638</c:v>
                </c:pt>
                <c:pt idx="371">
                  <c:v>0.89175561163711303</c:v>
                </c:pt>
                <c:pt idx="372">
                  <c:v>0.89237928334276617</c:v>
                </c:pt>
                <c:pt idx="373">
                  <c:v>0.89299641192951729</c:v>
                </c:pt>
                <c:pt idx="374">
                  <c:v>0.89361285202867835</c:v>
                </c:pt>
                <c:pt idx="375">
                  <c:v>0.8942285688250875</c:v>
                </c:pt>
                <c:pt idx="376">
                  <c:v>0.89484279283261481</c:v>
                </c:pt>
                <c:pt idx="377">
                  <c:v>0.89545503521796621</c:v>
                </c:pt>
                <c:pt idx="378">
                  <c:v>0.89606551908238352</c:v>
                </c:pt>
                <c:pt idx="379">
                  <c:v>0.89667508780540151</c:v>
                </c:pt>
                <c:pt idx="380">
                  <c:v>0.89728229833408402</c:v>
                </c:pt>
                <c:pt idx="381">
                  <c:v>0.89788935041825402</c:v>
                </c:pt>
                <c:pt idx="382">
                  <c:v>0.89849504684264936</c:v>
                </c:pt>
                <c:pt idx="383">
                  <c:v>0.89909943165910755</c:v>
                </c:pt>
                <c:pt idx="384">
                  <c:v>0.89970100852617918</c:v>
                </c:pt>
                <c:pt idx="385">
                  <c:v>0.90030160417409522</c:v>
                </c:pt>
                <c:pt idx="386">
                  <c:v>0.90090117241947765</c:v>
                </c:pt>
                <c:pt idx="387">
                  <c:v>0.90149814800106665</c:v>
                </c:pt>
                <c:pt idx="388">
                  <c:v>0.90209400807644691</c:v>
                </c:pt>
                <c:pt idx="389">
                  <c:v>0.90268933100361459</c:v>
                </c:pt>
                <c:pt idx="390">
                  <c:v>0.90327992191081397</c:v>
                </c:pt>
                <c:pt idx="391">
                  <c:v>0.90386880687507887</c:v>
                </c:pt>
                <c:pt idx="392">
                  <c:v>0.90445526827776546</c:v>
                </c:pt>
                <c:pt idx="393">
                  <c:v>0.90503625162129964</c:v>
                </c:pt>
                <c:pt idx="394">
                  <c:v>0.90560948965707488</c:v>
                </c:pt>
                <c:pt idx="395">
                  <c:v>0.90618188289228829</c:v>
                </c:pt>
                <c:pt idx="396">
                  <c:v>0.90675151436149315</c:v>
                </c:pt>
                <c:pt idx="397">
                  <c:v>0.90731986264330122</c:v>
                </c:pt>
                <c:pt idx="398">
                  <c:v>0.9078879629558948</c:v>
                </c:pt>
                <c:pt idx="399">
                  <c:v>0.90845563624986958</c:v>
                </c:pt>
                <c:pt idx="400">
                  <c:v>0.90902220256379773</c:v>
                </c:pt>
                <c:pt idx="401">
                  <c:v>0.90957971054100284</c:v>
                </c:pt>
                <c:pt idx="402">
                  <c:v>0.91012968991706933</c:v>
                </c:pt>
                <c:pt idx="403">
                  <c:v>0.91067794842941763</c:v>
                </c:pt>
                <c:pt idx="404">
                  <c:v>0.91122583250114686</c:v>
                </c:pt>
                <c:pt idx="405">
                  <c:v>0.91177138040445926</c:v>
                </c:pt>
                <c:pt idx="406">
                  <c:v>0.91231389654662987</c:v>
                </c:pt>
                <c:pt idx="407">
                  <c:v>0.91285512381729561</c:v>
                </c:pt>
                <c:pt idx="408">
                  <c:v>0.91339494142916</c:v>
                </c:pt>
                <c:pt idx="409">
                  <c:v>0.91393383324192246</c:v>
                </c:pt>
                <c:pt idx="410">
                  <c:v>0.91446969116200261</c:v>
                </c:pt>
                <c:pt idx="411">
                  <c:v>0.91500208461821408</c:v>
                </c:pt>
                <c:pt idx="412">
                  <c:v>0.91552915135465052</c:v>
                </c:pt>
                <c:pt idx="413">
                  <c:v>0.9160488784865416</c:v>
                </c:pt>
                <c:pt idx="414">
                  <c:v>0.91656771179243868</c:v>
                </c:pt>
                <c:pt idx="415">
                  <c:v>0.91708297050487331</c:v>
                </c:pt>
                <c:pt idx="416">
                  <c:v>0.91759318386088229</c:v>
                </c:pt>
                <c:pt idx="417">
                  <c:v>0.91809686617671893</c:v>
                </c:pt>
                <c:pt idx="418">
                  <c:v>0.91859865994764922</c:v>
                </c:pt>
                <c:pt idx="419">
                  <c:v>0.91910005583101462</c:v>
                </c:pt>
                <c:pt idx="420">
                  <c:v>0.91960140126792089</c:v>
                </c:pt>
                <c:pt idx="421">
                  <c:v>0.92009982862584683</c:v>
                </c:pt>
                <c:pt idx="422">
                  <c:v>0.92059703745310528</c:v>
                </c:pt>
                <c:pt idx="423">
                  <c:v>0.9210917431412724</c:v>
                </c:pt>
                <c:pt idx="424">
                  <c:v>0.92158160596936389</c:v>
                </c:pt>
                <c:pt idx="425">
                  <c:v>0.92206608452608607</c:v>
                </c:pt>
                <c:pt idx="426">
                  <c:v>0.92254890616530583</c:v>
                </c:pt>
                <c:pt idx="427">
                  <c:v>0.92302582343726791</c:v>
                </c:pt>
                <c:pt idx="428">
                  <c:v>0.92349941905857669</c:v>
                </c:pt>
                <c:pt idx="429">
                  <c:v>0.92397143307681495</c:v>
                </c:pt>
                <c:pt idx="430">
                  <c:v>0.92444315862656867</c:v>
                </c:pt>
                <c:pt idx="431">
                  <c:v>0.92491109074469924</c:v>
                </c:pt>
                <c:pt idx="432">
                  <c:v>0.92537867755326453</c:v>
                </c:pt>
                <c:pt idx="433">
                  <c:v>0.92584549132313232</c:v>
                </c:pt>
                <c:pt idx="434">
                  <c:v>0.92631161589489663</c:v>
                </c:pt>
                <c:pt idx="435">
                  <c:v>0.92677324220563706</c:v>
                </c:pt>
                <c:pt idx="436">
                  <c:v>0.92722950911298097</c:v>
                </c:pt>
                <c:pt idx="437">
                  <c:v>0.92768293183474937</c:v>
                </c:pt>
                <c:pt idx="438">
                  <c:v>0.92812603647934377</c:v>
                </c:pt>
                <c:pt idx="439">
                  <c:v>0.92856698968903373</c:v>
                </c:pt>
                <c:pt idx="440">
                  <c:v>0.92900317322153947</c:v>
                </c:pt>
                <c:pt idx="441">
                  <c:v>0.92943907041710117</c:v>
                </c:pt>
                <c:pt idx="442">
                  <c:v>0.92987371852991452</c:v>
                </c:pt>
                <c:pt idx="443">
                  <c:v>0.93030185691796075</c:v>
                </c:pt>
                <c:pt idx="444">
                  <c:v>0.93072921516217433</c:v>
                </c:pt>
                <c:pt idx="445">
                  <c:v>0.93115466851967099</c:v>
                </c:pt>
                <c:pt idx="446">
                  <c:v>0.93157749724026628</c:v>
                </c:pt>
                <c:pt idx="447">
                  <c:v>0.93199781429560824</c:v>
                </c:pt>
                <c:pt idx="448">
                  <c:v>0.93241644814444791</c:v>
                </c:pt>
                <c:pt idx="449">
                  <c:v>0.93283390751445761</c:v>
                </c:pt>
                <c:pt idx="450">
                  <c:v>0.93325034942912277</c:v>
                </c:pt>
                <c:pt idx="451">
                  <c:v>0.93366317838259605</c:v>
                </c:pt>
                <c:pt idx="452">
                  <c:v>0.93407532169053331</c:v>
                </c:pt>
                <c:pt idx="453">
                  <c:v>0.93448689019304199</c:v>
                </c:pt>
                <c:pt idx="454">
                  <c:v>0.93489397535531049</c:v>
                </c:pt>
                <c:pt idx="455">
                  <c:v>0.93530064984077099</c:v>
                </c:pt>
                <c:pt idx="456">
                  <c:v>0.93570690086018027</c:v>
                </c:pt>
                <c:pt idx="457">
                  <c:v>0.93610334466162826</c:v>
                </c:pt>
                <c:pt idx="458">
                  <c:v>0.9364995831246723</c:v>
                </c:pt>
                <c:pt idx="459">
                  <c:v>0.93689153150715054</c:v>
                </c:pt>
                <c:pt idx="460">
                  <c:v>0.93728193452274722</c:v>
                </c:pt>
                <c:pt idx="461">
                  <c:v>0.93767034454795184</c:v>
                </c:pt>
                <c:pt idx="462">
                  <c:v>0.93805789200975687</c:v>
                </c:pt>
                <c:pt idx="463">
                  <c:v>0.93844457832918926</c:v>
                </c:pt>
                <c:pt idx="464">
                  <c:v>0.93883079215713838</c:v>
                </c:pt>
                <c:pt idx="465">
                  <c:v>0.93921665428090062</c:v>
                </c:pt>
                <c:pt idx="466">
                  <c:v>0.93959715344869887</c:v>
                </c:pt>
                <c:pt idx="467">
                  <c:v>0.93997136101937717</c:v>
                </c:pt>
                <c:pt idx="468">
                  <c:v>0.94034463071222396</c:v>
                </c:pt>
                <c:pt idx="469">
                  <c:v>0.94071361458758596</c:v>
                </c:pt>
                <c:pt idx="470">
                  <c:v>0.94107875032178456</c:v>
                </c:pt>
                <c:pt idx="471">
                  <c:v>0.94144247639718182</c:v>
                </c:pt>
                <c:pt idx="472">
                  <c:v>0.94180248932898236</c:v>
                </c:pt>
                <c:pt idx="473">
                  <c:v>0.94215411393829873</c:v>
                </c:pt>
                <c:pt idx="474">
                  <c:v>0.94250429620519227</c:v>
                </c:pt>
                <c:pt idx="475">
                  <c:v>0.94285173731096905</c:v>
                </c:pt>
                <c:pt idx="476">
                  <c:v>0.94319734458137983</c:v>
                </c:pt>
                <c:pt idx="477">
                  <c:v>0.94354265840971152</c:v>
                </c:pt>
                <c:pt idx="478">
                  <c:v>0.94388726882966956</c:v>
                </c:pt>
                <c:pt idx="479">
                  <c:v>0.94422823147327362</c:v>
                </c:pt>
                <c:pt idx="480">
                  <c:v>0.9445691550386347</c:v>
                </c:pt>
                <c:pt idx="481">
                  <c:v>0.94490910448997534</c:v>
                </c:pt>
                <c:pt idx="482">
                  <c:v>0.94524878252515565</c:v>
                </c:pt>
                <c:pt idx="483">
                  <c:v>0.9455882779583642</c:v>
                </c:pt>
                <c:pt idx="484">
                  <c:v>0.9459226740361204</c:v>
                </c:pt>
                <c:pt idx="485">
                  <c:v>0.94625618623507179</c:v>
                </c:pt>
                <c:pt idx="486">
                  <c:v>0.94658870016254337</c:v>
                </c:pt>
                <c:pt idx="487">
                  <c:v>0.94691465889238324</c:v>
                </c:pt>
                <c:pt idx="488">
                  <c:v>0.94723984813609319</c:v>
                </c:pt>
                <c:pt idx="489">
                  <c:v>0.94756465796558942</c:v>
                </c:pt>
                <c:pt idx="490">
                  <c:v>0.94788778885166447</c:v>
                </c:pt>
                <c:pt idx="491">
                  <c:v>0.94820974952199066</c:v>
                </c:pt>
                <c:pt idx="492">
                  <c:v>0.94852914594906379</c:v>
                </c:pt>
                <c:pt idx="493">
                  <c:v>0.94884565484923733</c:v>
                </c:pt>
                <c:pt idx="494">
                  <c:v>0.9491605807253134</c:v>
                </c:pt>
                <c:pt idx="495">
                  <c:v>0.94947073976625929</c:v>
                </c:pt>
                <c:pt idx="496">
                  <c:v>0.94977956446283573</c:v>
                </c:pt>
                <c:pt idx="497">
                  <c:v>0.95008788824738855</c:v>
                </c:pt>
                <c:pt idx="498">
                  <c:v>0.95039570543580965</c:v>
                </c:pt>
                <c:pt idx="499">
                  <c:v>0.95070197654683575</c:v>
                </c:pt>
                <c:pt idx="500">
                  <c:v>0.95100578004444591</c:v>
                </c:pt>
                <c:pt idx="501">
                  <c:v>0.95130845098352312</c:v>
                </c:pt>
                <c:pt idx="502">
                  <c:v>0.95160997302225669</c:v>
                </c:pt>
                <c:pt idx="503">
                  <c:v>0.9519077620230153</c:v>
                </c:pt>
                <c:pt idx="504">
                  <c:v>0.95220294628125091</c:v>
                </c:pt>
                <c:pt idx="505">
                  <c:v>0.95249660222492916</c:v>
                </c:pt>
                <c:pt idx="506">
                  <c:v>0.95279000522579826</c:v>
                </c:pt>
                <c:pt idx="507">
                  <c:v>0.9530788580981574</c:v>
                </c:pt>
                <c:pt idx="508">
                  <c:v>0.95336746868541011</c:v>
                </c:pt>
                <c:pt idx="509">
                  <c:v>0.95365229294617471</c:v>
                </c:pt>
                <c:pt idx="510">
                  <c:v>0.95393201927251403</c:v>
                </c:pt>
                <c:pt idx="511">
                  <c:v>0.9542089817013043</c:v>
                </c:pt>
                <c:pt idx="512">
                  <c:v>0.95448469504734623</c:v>
                </c:pt>
                <c:pt idx="513">
                  <c:v>0.95475817524943019</c:v>
                </c:pt>
                <c:pt idx="514">
                  <c:v>0.95503027776582061</c:v>
                </c:pt>
                <c:pt idx="515">
                  <c:v>0.95530188079121436</c:v>
                </c:pt>
                <c:pt idx="516">
                  <c:v>0.95557003001044216</c:v>
                </c:pt>
                <c:pt idx="517">
                  <c:v>0.95583403835694103</c:v>
                </c:pt>
                <c:pt idx="518">
                  <c:v>0.95609792662665682</c:v>
                </c:pt>
                <c:pt idx="519">
                  <c:v>0.95636151363864497</c:v>
                </c:pt>
                <c:pt idx="520">
                  <c:v>0.95662431411217896</c:v>
                </c:pt>
                <c:pt idx="521">
                  <c:v>0.95688550029902109</c:v>
                </c:pt>
                <c:pt idx="522">
                  <c:v>0.95714382595847691</c:v>
                </c:pt>
                <c:pt idx="523">
                  <c:v>0.95740135229023549</c:v>
                </c:pt>
                <c:pt idx="524">
                  <c:v>0.95765844947183476</c:v>
                </c:pt>
                <c:pt idx="525">
                  <c:v>0.95791435512227985</c:v>
                </c:pt>
                <c:pt idx="526">
                  <c:v>0.95817007817075317</c:v>
                </c:pt>
                <c:pt idx="527">
                  <c:v>0.95842276590551712</c:v>
                </c:pt>
                <c:pt idx="528">
                  <c:v>0.95867372638194137</c:v>
                </c:pt>
                <c:pt idx="529">
                  <c:v>0.95892383282112803</c:v>
                </c:pt>
                <c:pt idx="530">
                  <c:v>0.95917265678343144</c:v>
                </c:pt>
                <c:pt idx="531">
                  <c:v>0.95941754236935584</c:v>
                </c:pt>
                <c:pt idx="532">
                  <c:v>0.9596596768469744</c:v>
                </c:pt>
                <c:pt idx="533">
                  <c:v>0.95990084715776158</c:v>
                </c:pt>
                <c:pt idx="534">
                  <c:v>0.96013774586133416</c:v>
                </c:pt>
                <c:pt idx="535">
                  <c:v>0.96037352692715749</c:v>
                </c:pt>
                <c:pt idx="536">
                  <c:v>0.96060792959677388</c:v>
                </c:pt>
                <c:pt idx="537">
                  <c:v>0.96084225197836381</c:v>
                </c:pt>
                <c:pt idx="538">
                  <c:v>0.96107435826831988</c:v>
                </c:pt>
                <c:pt idx="539">
                  <c:v>0.96130613772206197</c:v>
                </c:pt>
                <c:pt idx="540">
                  <c:v>0.96153724218797076</c:v>
                </c:pt>
                <c:pt idx="541">
                  <c:v>0.96176651281851344</c:v>
                </c:pt>
                <c:pt idx="542">
                  <c:v>0.96199571381873228</c:v>
                </c:pt>
                <c:pt idx="543">
                  <c:v>0.96222359184279782</c:v>
                </c:pt>
                <c:pt idx="544">
                  <c:v>0.96244960476890296</c:v>
                </c:pt>
                <c:pt idx="545">
                  <c:v>0.96267555445930575</c:v>
                </c:pt>
                <c:pt idx="546">
                  <c:v>0.96290083129341575</c:v>
                </c:pt>
                <c:pt idx="547">
                  <c:v>0.96312224151301118</c:v>
                </c:pt>
                <c:pt idx="548">
                  <c:v>0.96334279485331509</c:v>
                </c:pt>
                <c:pt idx="549">
                  <c:v>0.96356104328779657</c:v>
                </c:pt>
                <c:pt idx="550">
                  <c:v>0.96377924411787297</c:v>
                </c:pt>
                <c:pt idx="551">
                  <c:v>0.96399703782370894</c:v>
                </c:pt>
                <c:pt idx="552">
                  <c:v>0.96421262041150568</c:v>
                </c:pt>
                <c:pt idx="553">
                  <c:v>0.96442558759907671</c:v>
                </c:pt>
                <c:pt idx="554">
                  <c:v>0.96463738599192583</c:v>
                </c:pt>
                <c:pt idx="555">
                  <c:v>0.96484862521064363</c:v>
                </c:pt>
                <c:pt idx="556">
                  <c:v>0.96505714955724442</c:v>
                </c:pt>
                <c:pt idx="557">
                  <c:v>0.9652641214318286</c:v>
                </c:pt>
                <c:pt idx="558">
                  <c:v>0.96547044460757936</c:v>
                </c:pt>
                <c:pt idx="559">
                  <c:v>0.96567623489819854</c:v>
                </c:pt>
                <c:pt idx="560">
                  <c:v>0.96587999809377723</c:v>
                </c:pt>
                <c:pt idx="561">
                  <c:v>0.96608323337781898</c:v>
                </c:pt>
                <c:pt idx="562">
                  <c:v>0.96628624200805147</c:v>
                </c:pt>
                <c:pt idx="563">
                  <c:v>0.96648897566955605</c:v>
                </c:pt>
                <c:pt idx="564">
                  <c:v>0.9666906648762027</c:v>
                </c:pt>
                <c:pt idx="565">
                  <c:v>0.9668917238573671</c:v>
                </c:pt>
                <c:pt idx="566">
                  <c:v>0.96709210074556318</c:v>
                </c:pt>
                <c:pt idx="567">
                  <c:v>0.96729212166649137</c:v>
                </c:pt>
                <c:pt idx="568">
                  <c:v>0.96749172622650337</c:v>
                </c:pt>
                <c:pt idx="569">
                  <c:v>0.96768851715302073</c:v>
                </c:pt>
                <c:pt idx="570">
                  <c:v>0.96788496987510797</c:v>
                </c:pt>
                <c:pt idx="571">
                  <c:v>0.96808003567482614</c:v>
                </c:pt>
                <c:pt idx="572">
                  <c:v>0.96827490750435641</c:v>
                </c:pt>
                <c:pt idx="573">
                  <c:v>0.96846885779786585</c:v>
                </c:pt>
                <c:pt idx="574">
                  <c:v>0.96866207768348833</c:v>
                </c:pt>
                <c:pt idx="575">
                  <c:v>0.96885509080967969</c:v>
                </c:pt>
                <c:pt idx="576">
                  <c:v>0.96904761297103659</c:v>
                </c:pt>
                <c:pt idx="577">
                  <c:v>0.96923813148429883</c:v>
                </c:pt>
                <c:pt idx="578">
                  <c:v>0.96942434996980609</c:v>
                </c:pt>
                <c:pt idx="579">
                  <c:v>0.9696083630213822</c:v>
                </c:pt>
                <c:pt idx="580">
                  <c:v>0.96978965196416578</c:v>
                </c:pt>
                <c:pt idx="581">
                  <c:v>0.96996936285644642</c:v>
                </c:pt>
                <c:pt idx="582">
                  <c:v>0.97014820763275988</c:v>
                </c:pt>
                <c:pt idx="583">
                  <c:v>0.97032701048877634</c:v>
                </c:pt>
                <c:pt idx="584">
                  <c:v>0.97050519306649974</c:v>
                </c:pt>
                <c:pt idx="585">
                  <c:v>0.97068315893760293</c:v>
                </c:pt>
                <c:pt idx="586">
                  <c:v>0.97086037734849495</c:v>
                </c:pt>
                <c:pt idx="587">
                  <c:v>0.97103708418966062</c:v>
                </c:pt>
                <c:pt idx="588">
                  <c:v>0.97121319064691136</c:v>
                </c:pt>
                <c:pt idx="589">
                  <c:v>0.97138892266354304</c:v>
                </c:pt>
                <c:pt idx="590">
                  <c:v>0.97156091311603765</c:v>
                </c:pt>
                <c:pt idx="591">
                  <c:v>0.97173256678512909</c:v>
                </c:pt>
                <c:pt idx="592">
                  <c:v>0.97190349928300923</c:v>
                </c:pt>
                <c:pt idx="593">
                  <c:v>0.97207425486302568</c:v>
                </c:pt>
                <c:pt idx="594">
                  <c:v>0.97224424664102016</c:v>
                </c:pt>
                <c:pt idx="595">
                  <c:v>0.97241383839990925</c:v>
                </c:pt>
                <c:pt idx="596">
                  <c:v>0.97258257612156085</c:v>
                </c:pt>
                <c:pt idx="597">
                  <c:v>0.97274881567771565</c:v>
                </c:pt>
                <c:pt idx="598">
                  <c:v>0.97291444916584757</c:v>
                </c:pt>
                <c:pt idx="599">
                  <c:v>0.97307890604360892</c:v>
                </c:pt>
                <c:pt idx="600">
                  <c:v>0.9732415404542204</c:v>
                </c:pt>
                <c:pt idx="601">
                  <c:v>0.97340377058264538</c:v>
                </c:pt>
                <c:pt idx="602">
                  <c:v>0.97356482196915939</c:v>
                </c:pt>
                <c:pt idx="603">
                  <c:v>0.973724825348248</c:v>
                </c:pt>
                <c:pt idx="604">
                  <c:v>0.97388245774375792</c:v>
                </c:pt>
                <c:pt idx="605">
                  <c:v>0.97403966738373005</c:v>
                </c:pt>
                <c:pt idx="606">
                  <c:v>0.97419588514684397</c:v>
                </c:pt>
                <c:pt idx="607">
                  <c:v>0.9743511948736937</c:v>
                </c:pt>
                <c:pt idx="608">
                  <c:v>0.97450625236824784</c:v>
                </c:pt>
                <c:pt idx="609">
                  <c:v>0.97466119760166769</c:v>
                </c:pt>
                <c:pt idx="610">
                  <c:v>0.97481408092488508</c:v>
                </c:pt>
                <c:pt idx="611">
                  <c:v>0.97496569384994891</c:v>
                </c:pt>
                <c:pt idx="612">
                  <c:v>0.97511689325615059</c:v>
                </c:pt>
                <c:pt idx="613">
                  <c:v>0.97525982725870508</c:v>
                </c:pt>
                <c:pt idx="614">
                  <c:v>0.97540087911097484</c:v>
                </c:pt>
                <c:pt idx="615">
                  <c:v>0.97554174551921879</c:v>
                </c:pt>
                <c:pt idx="616">
                  <c:v>0.97568227017046505</c:v>
                </c:pt>
                <c:pt idx="617">
                  <c:v>0.97582161892185437</c:v>
                </c:pt>
                <c:pt idx="618">
                  <c:v>0.97596033673724791</c:v>
                </c:pt>
                <c:pt idx="619">
                  <c:v>0.9760979866508378</c:v>
                </c:pt>
                <c:pt idx="620">
                  <c:v>0.97623544401526685</c:v>
                </c:pt>
                <c:pt idx="621">
                  <c:v>0.97637222497083553</c:v>
                </c:pt>
                <c:pt idx="622">
                  <c:v>0.97650799202362726</c:v>
                </c:pt>
                <c:pt idx="623">
                  <c:v>0.97664359921087951</c:v>
                </c:pt>
                <c:pt idx="624">
                  <c:v>0.97677915737269971</c:v>
                </c:pt>
                <c:pt idx="625">
                  <c:v>0.97691290514609963</c:v>
                </c:pt>
                <c:pt idx="626">
                  <c:v>0.97704652857963548</c:v>
                </c:pt>
                <c:pt idx="627">
                  <c:v>0.97717989338625411</c:v>
                </c:pt>
                <c:pt idx="628">
                  <c:v>0.9773119323746654</c:v>
                </c:pt>
                <c:pt idx="629">
                  <c:v>0.97744369852588942</c:v>
                </c:pt>
                <c:pt idx="630">
                  <c:v>0.97757539078370848</c:v>
                </c:pt>
                <c:pt idx="631">
                  <c:v>0.97770521296997248</c:v>
                </c:pt>
                <c:pt idx="632">
                  <c:v>0.97783489163250781</c:v>
                </c:pt>
                <c:pt idx="633">
                  <c:v>0.97796392656980413</c:v>
                </c:pt>
                <c:pt idx="634">
                  <c:v>0.97809281087823663</c:v>
                </c:pt>
                <c:pt idx="635">
                  <c:v>0.97822128450986112</c:v>
                </c:pt>
                <c:pt idx="636">
                  <c:v>0.9783481722753341</c:v>
                </c:pt>
                <c:pt idx="637">
                  <c:v>0.97847376335365355</c:v>
                </c:pt>
                <c:pt idx="638">
                  <c:v>0.97859906454246148</c:v>
                </c:pt>
                <c:pt idx="639">
                  <c:v>0.97872365024416608</c:v>
                </c:pt>
                <c:pt idx="640">
                  <c:v>0.97884690444355527</c:v>
                </c:pt>
                <c:pt idx="641">
                  <c:v>0.9789696051529212</c:v>
                </c:pt>
                <c:pt idx="642">
                  <c:v>0.97909226038942254</c:v>
                </c:pt>
                <c:pt idx="643">
                  <c:v>0.97921420155984762</c:v>
                </c:pt>
                <c:pt idx="644">
                  <c:v>0.9793359345498146</c:v>
                </c:pt>
                <c:pt idx="645">
                  <c:v>0.97945649519249212</c:v>
                </c:pt>
                <c:pt idx="646">
                  <c:v>0.97957693149530567</c:v>
                </c:pt>
                <c:pt idx="647">
                  <c:v>0.97969721503771479</c:v>
                </c:pt>
                <c:pt idx="648">
                  <c:v>0.97981712485001837</c:v>
                </c:pt>
                <c:pt idx="649">
                  <c:v>0.97993514256484815</c:v>
                </c:pt>
                <c:pt idx="650">
                  <c:v>0.98005302315057075</c:v>
                </c:pt>
                <c:pt idx="651">
                  <c:v>0.98017055700570099</c:v>
                </c:pt>
                <c:pt idx="652">
                  <c:v>0.98028790754834605</c:v>
                </c:pt>
                <c:pt idx="653">
                  <c:v>0.98040463212858986</c:v>
                </c:pt>
                <c:pt idx="654">
                  <c:v>0.98051982910478985</c:v>
                </c:pt>
                <c:pt idx="655">
                  <c:v>0.98063233749787282</c:v>
                </c:pt>
                <c:pt idx="656">
                  <c:v>0.98074358686101826</c:v>
                </c:pt>
                <c:pt idx="657">
                  <c:v>0.98085285886506879</c:v>
                </c:pt>
                <c:pt idx="658">
                  <c:v>0.98096078515653384</c:v>
                </c:pt>
                <c:pt idx="659">
                  <c:v>0.98106679306152522</c:v>
                </c:pt>
                <c:pt idx="660">
                  <c:v>0.98117249970878895</c:v>
                </c:pt>
                <c:pt idx="661">
                  <c:v>0.98127746671149008</c:v>
                </c:pt>
                <c:pt idx="662">
                  <c:v>0.98138199319581576</c:v>
                </c:pt>
                <c:pt idx="663">
                  <c:v>0.98148620492265704</c:v>
                </c:pt>
                <c:pt idx="664">
                  <c:v>0.98158887696672492</c:v>
                </c:pt>
                <c:pt idx="665">
                  <c:v>0.98169045695152979</c:v>
                </c:pt>
                <c:pt idx="666">
                  <c:v>0.98179197512165939</c:v>
                </c:pt>
                <c:pt idx="667">
                  <c:v>0.98189285525065817</c:v>
                </c:pt>
                <c:pt idx="668">
                  <c:v>0.98199302273460765</c:v>
                </c:pt>
                <c:pt idx="669">
                  <c:v>0.98209246833683228</c:v>
                </c:pt>
                <c:pt idx="670">
                  <c:v>0.98219160699722108</c:v>
                </c:pt>
                <c:pt idx="671">
                  <c:v>0.98228879458751495</c:v>
                </c:pt>
                <c:pt idx="672">
                  <c:v>0.98238579673378301</c:v>
                </c:pt>
                <c:pt idx="673">
                  <c:v>0.98248241662378333</c:v>
                </c:pt>
                <c:pt idx="674">
                  <c:v>0.98257603175215513</c:v>
                </c:pt>
                <c:pt idx="675">
                  <c:v>0.98266928309761048</c:v>
                </c:pt>
                <c:pt idx="676">
                  <c:v>0.98276248683866074</c:v>
                </c:pt>
                <c:pt idx="677">
                  <c:v>0.98285566002763014</c:v>
                </c:pt>
                <c:pt idx="678">
                  <c:v>0.98294863356230355</c:v>
                </c:pt>
                <c:pt idx="679">
                  <c:v>0.98304141667935663</c:v>
                </c:pt>
                <c:pt idx="680">
                  <c:v>0.98313368396360235</c:v>
                </c:pt>
                <c:pt idx="681">
                  <c:v>0.9832258269079841</c:v>
                </c:pt>
                <c:pt idx="682">
                  <c:v>0.98331778014525906</c:v>
                </c:pt>
                <c:pt idx="683">
                  <c:v>0.98340872161129755</c:v>
                </c:pt>
                <c:pt idx="684">
                  <c:v>0.98349914937606919</c:v>
                </c:pt>
                <c:pt idx="685">
                  <c:v>0.98358777030498812</c:v>
                </c:pt>
                <c:pt idx="686">
                  <c:v>0.98367638839185301</c:v>
                </c:pt>
                <c:pt idx="687">
                  <c:v>0.98376500008409629</c:v>
                </c:pt>
                <c:pt idx="688">
                  <c:v>0.98385256163737367</c:v>
                </c:pt>
                <c:pt idx="689">
                  <c:v>0.98394010969089429</c:v>
                </c:pt>
                <c:pt idx="690">
                  <c:v>0.98402754193071307</c:v>
                </c:pt>
                <c:pt idx="691">
                  <c:v>0.98411485338323534</c:v>
                </c:pt>
                <c:pt idx="692">
                  <c:v>0.98420192610321866</c:v>
                </c:pt>
                <c:pt idx="693">
                  <c:v>0.9842870406479719</c:v>
                </c:pt>
                <c:pt idx="694">
                  <c:v>0.98437185748756495</c:v>
                </c:pt>
                <c:pt idx="695">
                  <c:v>0.98445630770218751</c:v>
                </c:pt>
                <c:pt idx="696">
                  <c:v>0.98454013621748993</c:v>
                </c:pt>
                <c:pt idx="697">
                  <c:v>0.98462324285106739</c:v>
                </c:pt>
                <c:pt idx="698">
                  <c:v>0.98470624077607805</c:v>
                </c:pt>
                <c:pt idx="699">
                  <c:v>0.98478915912357579</c:v>
                </c:pt>
                <c:pt idx="700">
                  <c:v>0.98487133498445678</c:v>
                </c:pt>
                <c:pt idx="701">
                  <c:v>0.98495321171915062</c:v>
                </c:pt>
                <c:pt idx="702">
                  <c:v>0.98503371289969155</c:v>
                </c:pt>
                <c:pt idx="703">
                  <c:v>0.98511376077261392</c:v>
                </c:pt>
                <c:pt idx="704">
                  <c:v>0.98519367933207769</c:v>
                </c:pt>
                <c:pt idx="705">
                  <c:v>0.98527282130027638</c:v>
                </c:pt>
                <c:pt idx="706">
                  <c:v>0.98535184674425969</c:v>
                </c:pt>
                <c:pt idx="707">
                  <c:v>0.9854301140703291</c:v>
                </c:pt>
                <c:pt idx="708">
                  <c:v>0.98550754156943121</c:v>
                </c:pt>
                <c:pt idx="709">
                  <c:v>0.98558396582345897</c:v>
                </c:pt>
                <c:pt idx="710">
                  <c:v>0.98566026502710913</c:v>
                </c:pt>
                <c:pt idx="711">
                  <c:v>0.98573595532068237</c:v>
                </c:pt>
                <c:pt idx="712">
                  <c:v>0.98581144595995962</c:v>
                </c:pt>
                <c:pt idx="713">
                  <c:v>0.98588530028662624</c:v>
                </c:pt>
                <c:pt idx="714">
                  <c:v>0.98595882067194374</c:v>
                </c:pt>
                <c:pt idx="715">
                  <c:v>0.98603227142693739</c:v>
                </c:pt>
                <c:pt idx="716">
                  <c:v>0.98610482338234251</c:v>
                </c:pt>
                <c:pt idx="717">
                  <c:v>0.98617694405604783</c:v>
                </c:pt>
                <c:pt idx="718">
                  <c:v>0.98624905762461801</c:v>
                </c:pt>
                <c:pt idx="719">
                  <c:v>0.98632107740540509</c:v>
                </c:pt>
                <c:pt idx="720">
                  <c:v>0.98639308794951652</c:v>
                </c:pt>
                <c:pt idx="721">
                  <c:v>0.98646456134541538</c:v>
                </c:pt>
                <c:pt idx="722">
                  <c:v>0.98653523115053576</c:v>
                </c:pt>
                <c:pt idx="723">
                  <c:v>0.9866057311429276</c:v>
                </c:pt>
                <c:pt idx="724">
                  <c:v>0.98667616932064417</c:v>
                </c:pt>
                <c:pt idx="725">
                  <c:v>0.98674654568368547</c:v>
                </c:pt>
                <c:pt idx="726">
                  <c:v>0.98681687728437573</c:v>
                </c:pt>
                <c:pt idx="727">
                  <c:v>0.98688656444931355</c:v>
                </c:pt>
                <c:pt idx="728">
                  <c:v>0.98695612940592792</c:v>
                </c:pt>
                <c:pt idx="729">
                  <c:v>0.98702517852973493</c:v>
                </c:pt>
                <c:pt idx="730">
                  <c:v>0.9870938020559501</c:v>
                </c:pt>
                <c:pt idx="731">
                  <c:v>0.98716211011416743</c:v>
                </c:pt>
                <c:pt idx="732">
                  <c:v>0.98723037127849322</c:v>
                </c:pt>
                <c:pt idx="733">
                  <c:v>0.98729853581298177</c:v>
                </c:pt>
                <c:pt idx="734">
                  <c:v>0.98736626906577052</c:v>
                </c:pt>
                <c:pt idx="735">
                  <c:v>0.98743392558310039</c:v>
                </c:pt>
                <c:pt idx="736">
                  <c:v>0.98750138884075578</c:v>
                </c:pt>
                <c:pt idx="737">
                  <c:v>0.98756871639033106</c:v>
                </c:pt>
                <c:pt idx="738">
                  <c:v>0.98763565955209809</c:v>
                </c:pt>
                <c:pt idx="739">
                  <c:v>0.98770259276667605</c:v>
                </c:pt>
                <c:pt idx="740">
                  <c:v>0.98776935687903888</c:v>
                </c:pt>
                <c:pt idx="741">
                  <c:v>0.98783551492337873</c:v>
                </c:pt>
                <c:pt idx="742">
                  <c:v>0.98790092977058841</c:v>
                </c:pt>
                <c:pt idx="743">
                  <c:v>0.9879663133552038</c:v>
                </c:pt>
                <c:pt idx="744">
                  <c:v>0.9880315953363874</c:v>
                </c:pt>
                <c:pt idx="745">
                  <c:v>0.98809684818651711</c:v>
                </c:pt>
                <c:pt idx="746">
                  <c:v>0.98816140757546234</c:v>
                </c:pt>
                <c:pt idx="747">
                  <c:v>0.98822564225973408</c:v>
                </c:pt>
                <c:pt idx="748">
                  <c:v>0.98828939805790084</c:v>
                </c:pt>
                <c:pt idx="749">
                  <c:v>0.98835297835923097</c:v>
                </c:pt>
                <c:pt idx="750">
                  <c:v>0.98841652313488571</c:v>
                </c:pt>
                <c:pt idx="751">
                  <c:v>0.98847958405084091</c:v>
                </c:pt>
                <c:pt idx="752">
                  <c:v>0.98854224139512314</c:v>
                </c:pt>
                <c:pt idx="753">
                  <c:v>0.98860474455797398</c:v>
                </c:pt>
                <c:pt idx="754">
                  <c:v>0.98866716103817676</c:v>
                </c:pt>
                <c:pt idx="755">
                  <c:v>0.98872906950122086</c:v>
                </c:pt>
                <c:pt idx="756">
                  <c:v>0.98879063052315919</c:v>
                </c:pt>
                <c:pt idx="757">
                  <c:v>0.98885207004728748</c:v>
                </c:pt>
                <c:pt idx="758">
                  <c:v>0.98891306265841872</c:v>
                </c:pt>
                <c:pt idx="759">
                  <c:v>0.98897354654187775</c:v>
                </c:pt>
                <c:pt idx="760">
                  <c:v>0.98903315436218053</c:v>
                </c:pt>
                <c:pt idx="761">
                  <c:v>0.98909275365632121</c:v>
                </c:pt>
                <c:pt idx="762">
                  <c:v>0.98915179590787095</c:v>
                </c:pt>
                <c:pt idx="763">
                  <c:v>0.98921046940290969</c:v>
                </c:pt>
                <c:pt idx="764">
                  <c:v>0.98926876632578875</c:v>
                </c:pt>
                <c:pt idx="765">
                  <c:v>0.98932678756942649</c:v>
                </c:pt>
                <c:pt idx="766">
                  <c:v>0.98938420842914931</c:v>
                </c:pt>
                <c:pt idx="767">
                  <c:v>0.98944072693671603</c:v>
                </c:pt>
                <c:pt idx="768">
                  <c:v>0.98949679782077227</c:v>
                </c:pt>
                <c:pt idx="769">
                  <c:v>0.98955269036593774</c:v>
                </c:pt>
                <c:pt idx="770">
                  <c:v>0.98960853601721166</c:v>
                </c:pt>
                <c:pt idx="771">
                  <c:v>0.98966428219659441</c:v>
                </c:pt>
                <c:pt idx="772">
                  <c:v>0.98971970367130357</c:v>
                </c:pt>
                <c:pt idx="773">
                  <c:v>0.98977488996604135</c:v>
                </c:pt>
                <c:pt idx="774">
                  <c:v>0.98982922364456871</c:v>
                </c:pt>
                <c:pt idx="775">
                  <c:v>0.98988351682382603</c:v>
                </c:pt>
                <c:pt idx="776">
                  <c:v>0.98993778158254297</c:v>
                </c:pt>
                <c:pt idx="777">
                  <c:v>0.98999176924099153</c:v>
                </c:pt>
                <c:pt idx="778">
                  <c:v>0.99004569082168381</c:v>
                </c:pt>
                <c:pt idx="779">
                  <c:v>0.99009958611337623</c:v>
                </c:pt>
                <c:pt idx="780">
                  <c:v>0.9901530053610178</c:v>
                </c:pt>
                <c:pt idx="781">
                  <c:v>0.99020565441201591</c:v>
                </c:pt>
                <c:pt idx="782">
                  <c:v>0.99025812654515033</c:v>
                </c:pt>
                <c:pt idx="783">
                  <c:v>0.99031036491934032</c:v>
                </c:pt>
                <c:pt idx="784">
                  <c:v>0.99036257203093592</c:v>
                </c:pt>
                <c:pt idx="785">
                  <c:v>0.990414735090694</c:v>
                </c:pt>
                <c:pt idx="786">
                  <c:v>0.99046680862574998</c:v>
                </c:pt>
                <c:pt idx="787">
                  <c:v>0.99051884663513057</c:v>
                </c:pt>
                <c:pt idx="788">
                  <c:v>0.99057075462053901</c:v>
                </c:pt>
                <c:pt idx="789">
                  <c:v>0.99062232937511185</c:v>
                </c:pt>
                <c:pt idx="790">
                  <c:v>0.99067378973700981</c:v>
                </c:pt>
                <c:pt idx="791">
                  <c:v>0.99072523446761063</c:v>
                </c:pt>
                <c:pt idx="792">
                  <c:v>0.99077661312045506</c:v>
                </c:pt>
                <c:pt idx="793">
                  <c:v>0.99082794487940795</c:v>
                </c:pt>
                <c:pt idx="794">
                  <c:v>0.99087869543831064</c:v>
                </c:pt>
                <c:pt idx="795">
                  <c:v>0.99092899837370285</c:v>
                </c:pt>
                <c:pt idx="796">
                  <c:v>0.99097872934572051</c:v>
                </c:pt>
                <c:pt idx="797">
                  <c:v>0.99102831182041484</c:v>
                </c:pt>
                <c:pt idx="798">
                  <c:v>0.99107783034889341</c:v>
                </c:pt>
                <c:pt idx="799">
                  <c:v>0.99112655381275572</c:v>
                </c:pt>
                <c:pt idx="800">
                  <c:v>0.99117497815043076</c:v>
                </c:pt>
                <c:pt idx="801">
                  <c:v>0.99122328027978235</c:v>
                </c:pt>
                <c:pt idx="802">
                  <c:v>0.99127143106975657</c:v>
                </c:pt>
                <c:pt idx="803">
                  <c:v>0.9913190653164099</c:v>
                </c:pt>
                <c:pt idx="804">
                  <c:v>0.99136590023536586</c:v>
                </c:pt>
                <c:pt idx="805">
                  <c:v>0.99141266197143052</c:v>
                </c:pt>
                <c:pt idx="806">
                  <c:v>0.99145917289622654</c:v>
                </c:pt>
                <c:pt idx="807">
                  <c:v>0.99150562342737436</c:v>
                </c:pt>
                <c:pt idx="808">
                  <c:v>0.99155201001230631</c:v>
                </c:pt>
                <c:pt idx="809">
                  <c:v>0.99159763350572994</c:v>
                </c:pt>
                <c:pt idx="810">
                  <c:v>0.99164302679277672</c:v>
                </c:pt>
                <c:pt idx="811">
                  <c:v>0.99168837602798598</c:v>
                </c:pt>
                <c:pt idx="812">
                  <c:v>0.99173358742357454</c:v>
                </c:pt>
                <c:pt idx="813">
                  <c:v>0.99177879100351451</c:v>
                </c:pt>
                <c:pt idx="814">
                  <c:v>0.99182390647977936</c:v>
                </c:pt>
                <c:pt idx="815">
                  <c:v>0.99186901414039563</c:v>
                </c:pt>
                <c:pt idx="816">
                  <c:v>0.99191383333252736</c:v>
                </c:pt>
                <c:pt idx="817">
                  <c:v>0.99195843794957939</c:v>
                </c:pt>
                <c:pt idx="818">
                  <c:v>0.99200300988301005</c:v>
                </c:pt>
                <c:pt idx="819">
                  <c:v>0.99204746884479278</c:v>
                </c:pt>
                <c:pt idx="820">
                  <c:v>0.99209065669790841</c:v>
                </c:pt>
                <c:pt idx="821">
                  <c:v>0.99213351203070199</c:v>
                </c:pt>
                <c:pt idx="822">
                  <c:v>0.99217618547203723</c:v>
                </c:pt>
                <c:pt idx="823">
                  <c:v>0.99221848518326694</c:v>
                </c:pt>
                <c:pt idx="824">
                  <c:v>0.99226060584509246</c:v>
                </c:pt>
                <c:pt idx="825">
                  <c:v>0.99230208278167897</c:v>
                </c:pt>
                <c:pt idx="826">
                  <c:v>0.99234341761556377</c:v>
                </c:pt>
                <c:pt idx="827">
                  <c:v>0.99238472402890821</c:v>
                </c:pt>
                <c:pt idx="828">
                  <c:v>0.99242590894444271</c:v>
                </c:pt>
                <c:pt idx="829">
                  <c:v>0.99246676418170909</c:v>
                </c:pt>
                <c:pt idx="830">
                  <c:v>0.99250743113289563</c:v>
                </c:pt>
                <c:pt idx="831">
                  <c:v>0.99254804834813659</c:v>
                </c:pt>
                <c:pt idx="832">
                  <c:v>0.99258848935602739</c:v>
                </c:pt>
                <c:pt idx="833">
                  <c:v>0.99262857865973142</c:v>
                </c:pt>
                <c:pt idx="834">
                  <c:v>0.99266840223138308</c:v>
                </c:pt>
                <c:pt idx="835">
                  <c:v>0.99270756857803921</c:v>
                </c:pt>
                <c:pt idx="836">
                  <c:v>0.99274668234669572</c:v>
                </c:pt>
                <c:pt idx="837">
                  <c:v>0.99278566538086654</c:v>
                </c:pt>
                <c:pt idx="838">
                  <c:v>0.99282419794947285</c:v>
                </c:pt>
                <c:pt idx="839">
                  <c:v>0.9928626957029173</c:v>
                </c:pt>
                <c:pt idx="840">
                  <c:v>0.9929008843829854</c:v>
                </c:pt>
                <c:pt idx="841">
                  <c:v>0.99293905103713476</c:v>
                </c:pt>
                <c:pt idx="842">
                  <c:v>0.99297691643355634</c:v>
                </c:pt>
                <c:pt idx="843">
                  <c:v>0.9930137665061739</c:v>
                </c:pt>
                <c:pt idx="844">
                  <c:v>0.9930505568956568</c:v>
                </c:pt>
                <c:pt idx="845">
                  <c:v>0.9930871909721678</c:v>
                </c:pt>
                <c:pt idx="846">
                  <c:v>0.99312382007508415</c:v>
                </c:pt>
                <c:pt idx="847">
                  <c:v>0.9931601656831105</c:v>
                </c:pt>
                <c:pt idx="848">
                  <c:v>0.99319642816105635</c:v>
                </c:pt>
                <c:pt idx="849">
                  <c:v>0.9932324902741928</c:v>
                </c:pt>
                <c:pt idx="850">
                  <c:v>0.99326828452373639</c:v>
                </c:pt>
                <c:pt idx="851">
                  <c:v>0.99330402264271278</c:v>
                </c:pt>
                <c:pt idx="852">
                  <c:v>0.99333954760763654</c:v>
                </c:pt>
                <c:pt idx="853">
                  <c:v>0.993375007915831</c:v>
                </c:pt>
                <c:pt idx="854">
                  <c:v>0.99341044122451216</c:v>
                </c:pt>
                <c:pt idx="855">
                  <c:v>0.99344584398111246</c:v>
                </c:pt>
                <c:pt idx="856">
                  <c:v>0.9934808161665265</c:v>
                </c:pt>
                <c:pt idx="857">
                  <c:v>0.99351564198615772</c:v>
                </c:pt>
                <c:pt idx="858">
                  <c:v>0.99355020207373668</c:v>
                </c:pt>
                <c:pt idx="859">
                  <c:v>0.99358451206056053</c:v>
                </c:pt>
                <c:pt idx="860">
                  <c:v>0.99361849450065687</c:v>
                </c:pt>
                <c:pt idx="861">
                  <c:v>0.99365213234170147</c:v>
                </c:pt>
                <c:pt idx="862">
                  <c:v>0.99368564086928746</c:v>
                </c:pt>
                <c:pt idx="863">
                  <c:v>0.99371863569560659</c:v>
                </c:pt>
                <c:pt idx="864">
                  <c:v>0.99375132500111696</c:v>
                </c:pt>
                <c:pt idx="865">
                  <c:v>0.99378381891541245</c:v>
                </c:pt>
                <c:pt idx="866">
                  <c:v>0.99381618635830338</c:v>
                </c:pt>
                <c:pt idx="867">
                  <c:v>0.99384847422368128</c:v>
                </c:pt>
                <c:pt idx="868">
                  <c:v>0.99388062211789796</c:v>
                </c:pt>
                <c:pt idx="869">
                  <c:v>0.99391263785660211</c:v>
                </c:pt>
                <c:pt idx="870">
                  <c:v>0.99394441202071326</c:v>
                </c:pt>
                <c:pt idx="871">
                  <c:v>0.99397607534471699</c:v>
                </c:pt>
                <c:pt idx="872">
                  <c:v>0.9940077216163965</c:v>
                </c:pt>
                <c:pt idx="873">
                  <c:v>0.99403936433550855</c:v>
                </c:pt>
                <c:pt idx="874">
                  <c:v>0.99407068661302811</c:v>
                </c:pt>
                <c:pt idx="875">
                  <c:v>0.9941016948435768</c:v>
                </c:pt>
                <c:pt idx="876">
                  <c:v>0.9941326782061527</c:v>
                </c:pt>
                <c:pt idx="877">
                  <c:v>0.99416333757456865</c:v>
                </c:pt>
                <c:pt idx="878">
                  <c:v>0.99419394365447145</c:v>
                </c:pt>
                <c:pt idx="879">
                  <c:v>0.99422443036810471</c:v>
                </c:pt>
                <c:pt idx="880">
                  <c:v>0.99425410993839203</c:v>
                </c:pt>
                <c:pt idx="881">
                  <c:v>0.99428355077614039</c:v>
                </c:pt>
                <c:pt idx="882">
                  <c:v>0.99431298806132129</c:v>
                </c:pt>
                <c:pt idx="883">
                  <c:v>0.99434221361347652</c:v>
                </c:pt>
                <c:pt idx="884">
                  <c:v>0.99437130132601104</c:v>
                </c:pt>
                <c:pt idx="885">
                  <c:v>0.99440024551481687</c:v>
                </c:pt>
                <c:pt idx="886">
                  <c:v>0.99442871437008529</c:v>
                </c:pt>
                <c:pt idx="887">
                  <c:v>0.99445713419992166</c:v>
                </c:pt>
                <c:pt idx="888">
                  <c:v>0.99448549718867729</c:v>
                </c:pt>
                <c:pt idx="889">
                  <c:v>0.99451384454613578</c:v>
                </c:pt>
                <c:pt idx="890">
                  <c:v>0.9945420384326763</c:v>
                </c:pt>
                <c:pt idx="891">
                  <c:v>0.99457014563656876</c:v>
                </c:pt>
                <c:pt idx="892">
                  <c:v>0.99459797147711182</c:v>
                </c:pt>
                <c:pt idx="893">
                  <c:v>0.99462575610787129</c:v>
                </c:pt>
                <c:pt idx="894">
                  <c:v>0.99465335884717254</c:v>
                </c:pt>
                <c:pt idx="895">
                  <c:v>0.99468093387644696</c:v>
                </c:pt>
                <c:pt idx="896">
                  <c:v>0.99470839877612749</c:v>
                </c:pt>
                <c:pt idx="897">
                  <c:v>0.99473521781902863</c:v>
                </c:pt>
                <c:pt idx="898">
                  <c:v>0.99476171997290486</c:v>
                </c:pt>
                <c:pt idx="899">
                  <c:v>0.9947880849976739</c:v>
                </c:pt>
                <c:pt idx="900">
                  <c:v>0.99481428376228187</c:v>
                </c:pt>
                <c:pt idx="901">
                  <c:v>0.99484038731807967</c:v>
                </c:pt>
                <c:pt idx="902">
                  <c:v>0.99486646600590467</c:v>
                </c:pt>
                <c:pt idx="903">
                  <c:v>0.99489246014262211</c:v>
                </c:pt>
                <c:pt idx="904">
                  <c:v>0.99491844575317745</c:v>
                </c:pt>
                <c:pt idx="905">
                  <c:v>0.99494439654857092</c:v>
                </c:pt>
                <c:pt idx="906">
                  <c:v>0.99497018605739784</c:v>
                </c:pt>
                <c:pt idx="907">
                  <c:v>0.99499570628160494</c:v>
                </c:pt>
                <c:pt idx="908">
                  <c:v>0.99502114621778559</c:v>
                </c:pt>
                <c:pt idx="909">
                  <c:v>0.99504643268304838</c:v>
                </c:pt>
                <c:pt idx="910">
                  <c:v>0.99507168930674372</c:v>
                </c:pt>
                <c:pt idx="911">
                  <c:v>0.99509690756270963</c:v>
                </c:pt>
                <c:pt idx="912">
                  <c:v>0.99512207395118946</c:v>
                </c:pt>
                <c:pt idx="913">
                  <c:v>0.99514692345064437</c:v>
                </c:pt>
                <c:pt idx="914">
                  <c:v>0.99517169124104576</c:v>
                </c:pt>
                <c:pt idx="915">
                  <c:v>0.99519633966517762</c:v>
                </c:pt>
                <c:pt idx="916">
                  <c:v>0.9952209156169316</c:v>
                </c:pt>
                <c:pt idx="917">
                  <c:v>0.99524532744006511</c:v>
                </c:pt>
                <c:pt idx="918">
                  <c:v>0.9952697200793339</c:v>
                </c:pt>
                <c:pt idx="919">
                  <c:v>0.99529405303546792</c:v>
                </c:pt>
                <c:pt idx="920">
                  <c:v>0.9953180996546579</c:v>
                </c:pt>
                <c:pt idx="921">
                  <c:v>0.99534205390709174</c:v>
                </c:pt>
                <c:pt idx="922">
                  <c:v>0.99536580068958103</c:v>
                </c:pt>
                <c:pt idx="923">
                  <c:v>0.99538948210482758</c:v>
                </c:pt>
                <c:pt idx="924">
                  <c:v>0.99541309886334484</c:v>
                </c:pt>
                <c:pt idx="925">
                  <c:v>0.99543669146440272</c:v>
                </c:pt>
                <c:pt idx="926">
                  <c:v>0.99546026559210943</c:v>
                </c:pt>
                <c:pt idx="927">
                  <c:v>0.99548371111687106</c:v>
                </c:pt>
                <c:pt idx="928">
                  <c:v>0.99550715166803805</c:v>
                </c:pt>
                <c:pt idx="929">
                  <c:v>0.99553045864266543</c:v>
                </c:pt>
                <c:pt idx="930">
                  <c:v>0.99555368603977989</c:v>
                </c:pt>
                <c:pt idx="931">
                  <c:v>0.99557663349457182</c:v>
                </c:pt>
                <c:pt idx="932">
                  <c:v>0.99559931166474402</c:v>
                </c:pt>
                <c:pt idx="933">
                  <c:v>0.9956218100749985</c:v>
                </c:pt>
                <c:pt idx="934">
                  <c:v>0.99564420048719959</c:v>
                </c:pt>
                <c:pt idx="935">
                  <c:v>0.99566655182115771</c:v>
                </c:pt>
                <c:pt idx="936">
                  <c:v>0.99568887757662949</c:v>
                </c:pt>
                <c:pt idx="937">
                  <c:v>0.99571116141180427</c:v>
                </c:pt>
                <c:pt idx="938">
                  <c:v>0.99573331522300701</c:v>
                </c:pt>
                <c:pt idx="939">
                  <c:v>0.9957553908777238</c:v>
                </c:pt>
                <c:pt idx="940">
                  <c:v>0.99577744166446769</c:v>
                </c:pt>
                <c:pt idx="941">
                  <c:v>0.99579946829375232</c:v>
                </c:pt>
                <c:pt idx="942">
                  <c:v>0.9958214707655777</c:v>
                </c:pt>
                <c:pt idx="943">
                  <c:v>0.99584338868629552</c:v>
                </c:pt>
                <c:pt idx="944">
                  <c:v>0.99586513892582529</c:v>
                </c:pt>
                <c:pt idx="945">
                  <c:v>0.99588669164259958</c:v>
                </c:pt>
                <c:pt idx="946">
                  <c:v>0.99590823014910368</c:v>
                </c:pt>
                <c:pt idx="947">
                  <c:v>0.9959296855255273</c:v>
                </c:pt>
                <c:pt idx="948">
                  <c:v>0.99595104427211367</c:v>
                </c:pt>
                <c:pt idx="949">
                  <c:v>0.99597233907248428</c:v>
                </c:pt>
                <c:pt idx="950">
                  <c:v>0.99599349887528821</c:v>
                </c:pt>
                <c:pt idx="951">
                  <c:v>0.99601451728590396</c:v>
                </c:pt>
                <c:pt idx="952">
                  <c:v>0.99603536162071005</c:v>
                </c:pt>
                <c:pt idx="953">
                  <c:v>0.99605620595551614</c:v>
                </c:pt>
                <c:pt idx="954">
                  <c:v>0.99607701263310622</c:v>
                </c:pt>
                <c:pt idx="955">
                  <c:v>0.99609778733758847</c:v>
                </c:pt>
                <c:pt idx="956">
                  <c:v>0.99611854854231408</c:v>
                </c:pt>
                <c:pt idx="957">
                  <c:v>0.99613902127855514</c:v>
                </c:pt>
                <c:pt idx="958">
                  <c:v>0.99615944783141808</c:v>
                </c:pt>
                <c:pt idx="959">
                  <c:v>0.99617973725517384</c:v>
                </c:pt>
                <c:pt idx="960">
                  <c:v>0.99619977160457995</c:v>
                </c:pt>
                <c:pt idx="961">
                  <c:v>0.99621971429774347</c:v>
                </c:pt>
                <c:pt idx="962">
                  <c:v>0.99623964491217731</c:v>
                </c:pt>
                <c:pt idx="963">
                  <c:v>0.99625949381755763</c:v>
                </c:pt>
                <c:pt idx="964">
                  <c:v>0.99627913525299339</c:v>
                </c:pt>
                <c:pt idx="965">
                  <c:v>0.99629870066348369</c:v>
                </c:pt>
                <c:pt idx="966">
                  <c:v>0.99631810123483999</c:v>
                </c:pt>
                <c:pt idx="967">
                  <c:v>0.99633744993871021</c:v>
                </c:pt>
                <c:pt idx="968">
                  <c:v>0.9963567815902562</c:v>
                </c:pt>
                <c:pt idx="969">
                  <c:v>0.99637551854199535</c:v>
                </c:pt>
                <c:pt idx="970">
                  <c:v>0.99639421286292396</c:v>
                </c:pt>
                <c:pt idx="971">
                  <c:v>0.99641276579166438</c:v>
                </c:pt>
                <c:pt idx="972">
                  <c:v>0.99643117519667601</c:v>
                </c:pt>
                <c:pt idx="973">
                  <c:v>0.99644956186525535</c:v>
                </c:pt>
                <c:pt idx="974">
                  <c:v>0.99646792508688886</c:v>
                </c:pt>
                <c:pt idx="975">
                  <c:v>0.99648622080973903</c:v>
                </c:pt>
                <c:pt idx="976">
                  <c:v>0.99650439645580624</c:v>
                </c:pt>
                <c:pt idx="977">
                  <c:v>0.99652239731555037</c:v>
                </c:pt>
                <c:pt idx="978">
                  <c:v>0.99654029870340322</c:v>
                </c:pt>
                <c:pt idx="979">
                  <c:v>0.99655813685555383</c:v>
                </c:pt>
                <c:pt idx="980">
                  <c:v>0.99657594090305601</c:v>
                </c:pt>
                <c:pt idx="981">
                  <c:v>0.99659362700531573</c:v>
                </c:pt>
                <c:pt idx="982">
                  <c:v>0.99661129321319719</c:v>
                </c:pt>
                <c:pt idx="983">
                  <c:v>0.99662895871056512</c:v>
                </c:pt>
                <c:pt idx="984">
                  <c:v>0.99664647997369082</c:v>
                </c:pt>
                <c:pt idx="985">
                  <c:v>0.99666392379084401</c:v>
                </c:pt>
                <c:pt idx="986">
                  <c:v>0.99668124895224131</c:v>
                </c:pt>
                <c:pt idx="987">
                  <c:v>0.99669854356155774</c:v>
                </c:pt>
                <c:pt idx="988">
                  <c:v>0.99671577067209083</c:v>
                </c:pt>
                <c:pt idx="989">
                  <c:v>0.99673299138800231</c:v>
                </c:pt>
                <c:pt idx="990">
                  <c:v>0.99675011405304959</c:v>
                </c:pt>
                <c:pt idx="991">
                  <c:v>0.99676721753423214</c:v>
                </c:pt>
                <c:pt idx="992">
                  <c:v>0.99678424925355025</c:v>
                </c:pt>
                <c:pt idx="993">
                  <c:v>0.9968011317650316</c:v>
                </c:pt>
                <c:pt idx="994">
                  <c:v>0.9968177194134068</c:v>
                </c:pt>
                <c:pt idx="995">
                  <c:v>0.99683430421972796</c:v>
                </c:pt>
                <c:pt idx="996">
                  <c:v>0.99685086842115733</c:v>
                </c:pt>
                <c:pt idx="997">
                  <c:v>0.99686742409642459</c:v>
                </c:pt>
                <c:pt idx="998">
                  <c:v>0.9968839350093408</c:v>
                </c:pt>
                <c:pt idx="999">
                  <c:v>0.99690040258093304</c:v>
                </c:pt>
                <c:pt idx="1000">
                  <c:v>0.99691683960044442</c:v>
                </c:pt>
                <c:pt idx="1001">
                  <c:v>0.99693327590944225</c:v>
                </c:pt>
                <c:pt idx="1002">
                  <c:v>0.99694963761452171</c:v>
                </c:pt>
                <c:pt idx="1003">
                  <c:v>0.99696595313622305</c:v>
                </c:pt>
                <c:pt idx="1004">
                  <c:v>0.99698226510535681</c:v>
                </c:pt>
                <c:pt idx="1005">
                  <c:v>0.99699853870676114</c:v>
                </c:pt>
                <c:pt idx="1006">
                  <c:v>0.99701471638884176</c:v>
                </c:pt>
                <c:pt idx="1007">
                  <c:v>0.9970306674171131</c:v>
                </c:pt>
                <c:pt idx="1008">
                  <c:v>0.99704654739403353</c:v>
                </c:pt>
                <c:pt idx="1009">
                  <c:v>0.99706241742376489</c:v>
                </c:pt>
                <c:pt idx="1010">
                  <c:v>0.9970782803483611</c:v>
                </c:pt>
                <c:pt idx="1011">
                  <c:v>0.9970940970895793</c:v>
                </c:pt>
                <c:pt idx="1012">
                  <c:v>0.99710985414766273</c:v>
                </c:pt>
                <c:pt idx="1013">
                  <c:v>0.99712559628496256</c:v>
                </c:pt>
                <c:pt idx="1014">
                  <c:v>0.99714128442323569</c:v>
                </c:pt>
                <c:pt idx="1015">
                  <c:v>0.99715679209107755</c:v>
                </c:pt>
                <c:pt idx="1016">
                  <c:v>0.9971722912327573</c:v>
                </c:pt>
                <c:pt idx="1017">
                  <c:v>0.99718778184827495</c:v>
                </c:pt>
                <c:pt idx="1018">
                  <c:v>0.99720316233419881</c:v>
                </c:pt>
                <c:pt idx="1019">
                  <c:v>0.99721853997806864</c:v>
                </c:pt>
                <c:pt idx="1020">
                  <c:v>0.99723390128012768</c:v>
                </c:pt>
                <c:pt idx="1021">
                  <c:v>0.99724925902961925</c:v>
                </c:pt>
                <c:pt idx="1022">
                  <c:v>0.9972645912006245</c:v>
                </c:pt>
                <c:pt idx="1023">
                  <c:v>0.99727991910854863</c:v>
                </c:pt>
                <c:pt idx="1024">
                  <c:v>0.99729524133236469</c:v>
                </c:pt>
                <c:pt idx="1025">
                  <c:v>0.99731054721437007</c:v>
                </c:pt>
                <c:pt idx="1026">
                  <c:v>0.99732576144013285</c:v>
                </c:pt>
                <c:pt idx="1027">
                  <c:v>0.9973409728238416</c:v>
                </c:pt>
                <c:pt idx="1028">
                  <c:v>0.99735617212882066</c:v>
                </c:pt>
                <c:pt idx="1029">
                  <c:v>0.99737131032963799</c:v>
                </c:pt>
                <c:pt idx="1030">
                  <c:v>0.99738631992751026</c:v>
                </c:pt>
                <c:pt idx="1031">
                  <c:v>0.99740121513270763</c:v>
                </c:pt>
                <c:pt idx="1032">
                  <c:v>0.99741605278631074</c:v>
                </c:pt>
                <c:pt idx="1033">
                  <c:v>0.99743088404529234</c:v>
                </c:pt>
                <c:pt idx="1034">
                  <c:v>0.99744569896246316</c:v>
                </c:pt>
                <c:pt idx="1035">
                  <c:v>0.99746036182974318</c:v>
                </c:pt>
                <c:pt idx="1036">
                  <c:v>0.99747497567159105</c:v>
                </c:pt>
                <c:pt idx="1037">
                  <c:v>0.99748946233152092</c:v>
                </c:pt>
                <c:pt idx="1038">
                  <c:v>0.99750390209755913</c:v>
                </c:pt>
                <c:pt idx="1039">
                  <c:v>0.99751829568021932</c:v>
                </c:pt>
                <c:pt idx="1040">
                  <c:v>0.99753260826433954</c:v>
                </c:pt>
                <c:pt idx="1041">
                  <c:v>0.99754690450664907</c:v>
                </c:pt>
                <c:pt idx="1042">
                  <c:v>0.99756118653868842</c:v>
                </c:pt>
                <c:pt idx="1043">
                  <c:v>0.99757540391399846</c:v>
                </c:pt>
                <c:pt idx="1044">
                  <c:v>0.99758955094847113</c:v>
                </c:pt>
                <c:pt idx="1045">
                  <c:v>0.99760369229883572</c:v>
                </c:pt>
                <c:pt idx="1046">
                  <c:v>0.99761771996703885</c:v>
                </c:pt>
                <c:pt idx="1047">
                  <c:v>0.99763174479318795</c:v>
                </c:pt>
                <c:pt idx="1048">
                  <c:v>0.99764575469855343</c:v>
                </c:pt>
                <c:pt idx="1049">
                  <c:v>0.99765975891981085</c:v>
                </c:pt>
                <c:pt idx="1050">
                  <c:v>0.99767365798506891</c:v>
                </c:pt>
                <c:pt idx="1051">
                  <c:v>0.99768755349775951</c:v>
                </c:pt>
                <c:pt idx="1052">
                  <c:v>0.99770140069553148</c:v>
                </c:pt>
                <c:pt idx="1053">
                  <c:v>0.99771520099941191</c:v>
                </c:pt>
                <c:pt idx="1054">
                  <c:v>0.99772897572480601</c:v>
                </c:pt>
                <c:pt idx="1055">
                  <c:v>0.99774271137195714</c:v>
                </c:pt>
                <c:pt idx="1056">
                  <c:v>0.99775639230956803</c:v>
                </c:pt>
                <c:pt idx="1057">
                  <c:v>0.99777002990585495</c:v>
                </c:pt>
                <c:pt idx="1058">
                  <c:v>0.99778353037303469</c:v>
                </c:pt>
                <c:pt idx="1059">
                  <c:v>0.99779697044656612</c:v>
                </c:pt>
                <c:pt idx="1060">
                  <c:v>0.99781039133623284</c:v>
                </c:pt>
                <c:pt idx="1061">
                  <c:v>0.99782378877895372</c:v>
                </c:pt>
                <c:pt idx="1062">
                  <c:v>0.99783709314440494</c:v>
                </c:pt>
                <c:pt idx="1063">
                  <c:v>0.99785029732745145</c:v>
                </c:pt>
                <c:pt idx="1064">
                  <c:v>0.99786343614325523</c:v>
                </c:pt>
                <c:pt idx="1065">
                  <c:v>0.99787656501186983</c:v>
                </c:pt>
                <c:pt idx="1066">
                  <c:v>0.99788957167216097</c:v>
                </c:pt>
                <c:pt idx="1067">
                  <c:v>0.99790249449185808</c:v>
                </c:pt>
                <c:pt idx="1068">
                  <c:v>0.997915361180988</c:v>
                </c:pt>
                <c:pt idx="1069">
                  <c:v>0.99792820016009109</c:v>
                </c:pt>
                <c:pt idx="1070">
                  <c:v>0.99794103771816711</c:v>
                </c:pt>
                <c:pt idx="1071">
                  <c:v>0.99795386177648648</c:v>
                </c:pt>
                <c:pt idx="1072">
                  <c:v>0.99796666309837356</c:v>
                </c:pt>
                <c:pt idx="1073">
                  <c:v>0.99797942889458524</c:v>
                </c:pt>
                <c:pt idx="1074">
                  <c:v>0.9979921755069322</c:v>
                </c:pt>
                <c:pt idx="1075">
                  <c:v>0.99800490933003594</c:v>
                </c:pt>
                <c:pt idx="1076">
                  <c:v>0.99801763249543707</c:v>
                </c:pt>
                <c:pt idx="1077">
                  <c:v>0.99803031729310876</c:v>
                </c:pt>
                <c:pt idx="1078">
                  <c:v>0.99804269017535008</c:v>
                </c:pt>
                <c:pt idx="1079">
                  <c:v>0.9980549067446195</c:v>
                </c:pt>
                <c:pt idx="1080">
                  <c:v>0.99806710270899712</c:v>
                </c:pt>
                <c:pt idx="1081">
                  <c:v>0.99807926314769935</c:v>
                </c:pt>
                <c:pt idx="1082">
                  <c:v>0.99809129072037539</c:v>
                </c:pt>
                <c:pt idx="1083">
                  <c:v>0.99810313569107967</c:v>
                </c:pt>
                <c:pt idx="1084">
                  <c:v>0.99811495366227065</c:v>
                </c:pt>
                <c:pt idx="1085">
                  <c:v>0.99812668637184054</c:v>
                </c:pt>
                <c:pt idx="1086">
                  <c:v>0.99813837005597839</c:v>
                </c:pt>
                <c:pt idx="1087">
                  <c:v>0.9981500281616299</c:v>
                </c:pt>
                <c:pt idx="1088">
                  <c:v>0.9981616756095788</c:v>
                </c:pt>
                <c:pt idx="1089">
                  <c:v>0.99817330458417641</c:v>
                </c:pt>
                <c:pt idx="1090">
                  <c:v>0.9981848475866395</c:v>
                </c:pt>
                <c:pt idx="1091">
                  <c:v>0.99819620585559032</c:v>
                </c:pt>
                <c:pt idx="1092">
                  <c:v>0.99820746891573098</c:v>
                </c:pt>
                <c:pt idx="1093">
                  <c:v>0.99821862753038582</c:v>
                </c:pt>
                <c:pt idx="1094">
                  <c:v>0.99822966819979819</c:v>
                </c:pt>
                <c:pt idx="1095">
                  <c:v>0.99824070744818361</c:v>
                </c:pt>
                <c:pt idx="1096">
                  <c:v>0.99825168701343425</c:v>
                </c:pt>
                <c:pt idx="1097">
                  <c:v>0.99826255431755051</c:v>
                </c:pt>
                <c:pt idx="1098">
                  <c:v>0.99827342091115323</c:v>
                </c:pt>
                <c:pt idx="1099">
                  <c:v>0.99828413545486516</c:v>
                </c:pt>
                <c:pt idx="1100">
                  <c:v>0.99829482868317176</c:v>
                </c:pt>
                <c:pt idx="1101">
                  <c:v>0.99830551480634333</c:v>
                </c:pt>
                <c:pt idx="1102">
                  <c:v>0.99831613627278559</c:v>
                </c:pt>
                <c:pt idx="1103">
                  <c:v>0.9983267044507147</c:v>
                </c:pt>
                <c:pt idx="1104">
                  <c:v>0.99833721507704953</c:v>
                </c:pt>
                <c:pt idx="1105">
                  <c:v>0.99834761557379059</c:v>
                </c:pt>
                <c:pt idx="1106">
                  <c:v>0.99835800825488297</c:v>
                </c:pt>
                <c:pt idx="1107">
                  <c:v>0.99836834551592168</c:v>
                </c:pt>
                <c:pt idx="1108">
                  <c:v>0.99837856980531259</c:v>
                </c:pt>
                <c:pt idx="1109">
                  <c:v>0.99838879409470349</c:v>
                </c:pt>
                <c:pt idx="1110">
                  <c:v>0.99839897433225677</c:v>
                </c:pt>
                <c:pt idx="1111">
                  <c:v>0.99840903520354063</c:v>
                </c:pt>
                <c:pt idx="1112">
                  <c:v>0.99841908470660834</c:v>
                </c:pt>
                <c:pt idx="1113">
                  <c:v>0.99842912142043294</c:v>
                </c:pt>
                <c:pt idx="1114">
                  <c:v>0.99843915529220351</c:v>
                </c:pt>
                <c:pt idx="1115">
                  <c:v>0.99844906340308293</c:v>
                </c:pt>
                <c:pt idx="1116">
                  <c:v>0.99845881235893641</c:v>
                </c:pt>
                <c:pt idx="1117">
                  <c:v>0.99846854923606032</c:v>
                </c:pt>
                <c:pt idx="1118">
                  <c:v>0.99847812340559072</c:v>
                </c:pt>
                <c:pt idx="1119">
                  <c:v>0.99848766489149965</c:v>
                </c:pt>
                <c:pt idx="1120">
                  <c:v>0.99849719500919243</c:v>
                </c:pt>
                <c:pt idx="1121">
                  <c:v>0.99850668675915577</c:v>
                </c:pt>
                <c:pt idx="1122">
                  <c:v>0.99851609111595752</c:v>
                </c:pt>
                <c:pt idx="1123">
                  <c:v>0.99852541376370574</c:v>
                </c:pt>
                <c:pt idx="1124">
                  <c:v>0.99853462628186018</c:v>
                </c:pt>
                <c:pt idx="1125">
                  <c:v>0.99854375780147464</c:v>
                </c:pt>
                <c:pt idx="1126">
                  <c:v>0.99855284526925148</c:v>
                </c:pt>
                <c:pt idx="1127">
                  <c:v>0.99856178566073206</c:v>
                </c:pt>
                <c:pt idx="1128">
                  <c:v>0.9985707146839965</c:v>
                </c:pt>
                <c:pt idx="1129">
                  <c:v>0.99857960462901796</c:v>
                </c:pt>
                <c:pt idx="1130">
                  <c:v>0.99858833684004045</c:v>
                </c:pt>
                <c:pt idx="1131">
                  <c:v>0.99859691558014507</c:v>
                </c:pt>
                <c:pt idx="1132">
                  <c:v>0.99860541900581778</c:v>
                </c:pt>
                <c:pt idx="1133">
                  <c:v>0.9986138663009233</c:v>
                </c:pt>
                <c:pt idx="1134">
                  <c:v>0.99862225249186698</c:v>
                </c:pt>
                <c:pt idx="1135">
                  <c:v>0.99863051789551427</c:v>
                </c:pt>
                <c:pt idx="1136">
                  <c:v>0.99863871864243225</c:v>
                </c:pt>
                <c:pt idx="1137">
                  <c:v>0.99864686254826951</c:v>
                </c:pt>
                <c:pt idx="1138">
                  <c:v>0.99866300967826926</c:v>
                </c:pt>
                <c:pt idx="1139">
                  <c:v>0.99867094540364842</c:v>
                </c:pt>
                <c:pt idx="1140">
                  <c:v>0.99867884418232511</c:v>
                </c:pt>
                <c:pt idx="1141">
                  <c:v>0.99868670956686689</c:v>
                </c:pt>
                <c:pt idx="1142">
                  <c:v>0.99869457353038171</c:v>
                </c:pt>
                <c:pt idx="1143">
                  <c:v>0.99870242541516685</c:v>
                </c:pt>
                <c:pt idx="1144">
                  <c:v>0.99871025598454677</c:v>
                </c:pt>
                <c:pt idx="1145">
                  <c:v>0.99871803610746757</c:v>
                </c:pt>
                <c:pt idx="1146">
                  <c:v>0.998725787809848</c:v>
                </c:pt>
                <c:pt idx="1147">
                  <c:v>0.9987335160652826</c:v>
                </c:pt>
                <c:pt idx="1148">
                  <c:v>0.99874121590017684</c:v>
                </c:pt>
                <c:pt idx="1149">
                  <c:v>0.9987488723937471</c:v>
                </c:pt>
                <c:pt idx="1150">
                  <c:v>0.99875647417777713</c:v>
                </c:pt>
                <c:pt idx="1151">
                  <c:v>0.99876404043613176</c:v>
                </c:pt>
                <c:pt idx="1152">
                  <c:v>0.99877153635364901</c:v>
                </c:pt>
                <c:pt idx="1153">
                  <c:v>0.99877902445551769</c:v>
                </c:pt>
                <c:pt idx="1154">
                  <c:v>0.99878649550506216</c:v>
                </c:pt>
                <c:pt idx="1155">
                  <c:v>0.99879396229152562</c:v>
                </c:pt>
                <c:pt idx="1156">
                  <c:v>0.99880139568385407</c:v>
                </c:pt>
                <c:pt idx="1157">
                  <c:v>0.99880879852410165</c:v>
                </c:pt>
                <c:pt idx="1158">
                  <c:v>0.99882357791559706</c:v>
                </c:pt>
                <c:pt idx="1159">
                  <c:v>0.99883092746733149</c:v>
                </c:pt>
                <c:pt idx="1160">
                  <c:v>0.99883826138776877</c:v>
                </c:pt>
                <c:pt idx="1161">
                  <c:v>0.99884553491455785</c:v>
                </c:pt>
                <c:pt idx="1162">
                  <c:v>0.99885277149464446</c:v>
                </c:pt>
                <c:pt idx="1163">
                  <c:v>0.99885994412851531</c:v>
                </c:pt>
                <c:pt idx="1164">
                  <c:v>0.99886711392033212</c:v>
                </c:pt>
                <c:pt idx="1165">
                  <c:v>0.99888130500664229</c:v>
                </c:pt>
                <c:pt idx="1166">
                  <c:v>0.99888837532656782</c:v>
                </c:pt>
                <c:pt idx="1167">
                  <c:v>0.99889542717314217</c:v>
                </c:pt>
                <c:pt idx="1168">
                  <c:v>0.9989024683620138</c:v>
                </c:pt>
                <c:pt idx="1169">
                  <c:v>0.99890949534061535</c:v>
                </c:pt>
                <c:pt idx="1170">
                  <c:v>0.99891650952997368</c:v>
                </c:pt>
                <c:pt idx="1171">
                  <c:v>0.99892340861614359</c:v>
                </c:pt>
                <c:pt idx="1172">
                  <c:v>0.99893025299277338</c:v>
                </c:pt>
                <c:pt idx="1173">
                  <c:v>0.99893702987061983</c:v>
                </c:pt>
                <c:pt idx="1174">
                  <c:v>0.99894378898562852</c:v>
                </c:pt>
                <c:pt idx="1175">
                  <c:v>0.99895053175882653</c:v>
                </c:pt>
                <c:pt idx="1176">
                  <c:v>0.99895725605867336</c:v>
                </c:pt>
                <c:pt idx="1177">
                  <c:v>0.99896387733406133</c:v>
                </c:pt>
                <c:pt idx="1178">
                  <c:v>0.99897045739966583</c:v>
                </c:pt>
                <c:pt idx="1179">
                  <c:v>0.99897702183397319</c:v>
                </c:pt>
                <c:pt idx="1180">
                  <c:v>0.99898358555776701</c:v>
                </c:pt>
                <c:pt idx="1181">
                  <c:v>0.99899013080820953</c:v>
                </c:pt>
                <c:pt idx="1182">
                  <c:v>0.99899664479605776</c:v>
                </c:pt>
                <c:pt idx="1183">
                  <c:v>0.99900306854869036</c:v>
                </c:pt>
                <c:pt idx="1184">
                  <c:v>0.9990094638807826</c:v>
                </c:pt>
                <c:pt idx="1185">
                  <c:v>0.99901584145003708</c:v>
                </c:pt>
                <c:pt idx="1186">
                  <c:v>0.99902216999385951</c:v>
                </c:pt>
                <c:pt idx="1187">
                  <c:v>0.99902849427460083</c:v>
                </c:pt>
                <c:pt idx="1188">
                  <c:v>0.99903478587172079</c:v>
                </c:pt>
                <c:pt idx="1189">
                  <c:v>0.99904105117984088</c:v>
                </c:pt>
                <c:pt idx="1190">
                  <c:v>0.9990473065407719</c:v>
                </c:pt>
                <c:pt idx="1191">
                  <c:v>0.99905350008702765</c:v>
                </c:pt>
                <c:pt idx="1192">
                  <c:v>0.99905968865968886</c:v>
                </c:pt>
                <c:pt idx="1193">
                  <c:v>0.99906584596975567</c:v>
                </c:pt>
                <c:pt idx="1194">
                  <c:v>0.99907199617468734</c:v>
                </c:pt>
                <c:pt idx="1195">
                  <c:v>0.99908417437622721</c:v>
                </c:pt>
                <c:pt idx="1196">
                  <c:v>0.99909021303053802</c:v>
                </c:pt>
                <c:pt idx="1197">
                  <c:v>0.99909620336993021</c:v>
                </c:pt>
                <c:pt idx="1198">
                  <c:v>0.99910216884134961</c:v>
                </c:pt>
                <c:pt idx="1199">
                  <c:v>0.99910808173476939</c:v>
                </c:pt>
                <c:pt idx="1200">
                  <c:v>0.99911394702378409</c:v>
                </c:pt>
                <c:pt idx="1201">
                  <c:v>0.99911977323455581</c:v>
                </c:pt>
                <c:pt idx="1202">
                  <c:v>0.99912557955094927</c:v>
                </c:pt>
                <c:pt idx="1203">
                  <c:v>0.99913137947272113</c:v>
                </c:pt>
                <c:pt idx="1204">
                  <c:v>0.99913716944730391</c:v>
                </c:pt>
                <c:pt idx="1205">
                  <c:v>0.99914294094853551</c:v>
                </c:pt>
                <c:pt idx="1206">
                  <c:v>0.99914866981895656</c:v>
                </c:pt>
                <c:pt idx="1207">
                  <c:v>0.999154396557837</c:v>
                </c:pt>
                <c:pt idx="1208">
                  <c:v>0.9991601183231229</c:v>
                </c:pt>
                <c:pt idx="1209">
                  <c:v>0.99916583937789538</c:v>
                </c:pt>
                <c:pt idx="1210">
                  <c:v>0.99917146380283062</c:v>
                </c:pt>
                <c:pt idx="1211">
                  <c:v>0.99917708680673878</c:v>
                </c:pt>
                <c:pt idx="1212">
                  <c:v>0.99918267783753911</c:v>
                </c:pt>
                <c:pt idx="1213">
                  <c:v>0.99918826602628541</c:v>
                </c:pt>
                <c:pt idx="1214">
                  <c:v>0.99919382721551842</c:v>
                </c:pt>
                <c:pt idx="1215">
                  <c:v>0.99919932374802212</c:v>
                </c:pt>
                <c:pt idx="1216">
                  <c:v>0.99920475988687751</c:v>
                </c:pt>
                <c:pt idx="1217">
                  <c:v>0.99921560871764248</c:v>
                </c:pt>
                <c:pt idx="1218">
                  <c:v>0.99922100648876844</c:v>
                </c:pt>
                <c:pt idx="1219">
                  <c:v>0.99922639360219179</c:v>
                </c:pt>
                <c:pt idx="1220">
                  <c:v>0.99923176011072334</c:v>
                </c:pt>
                <c:pt idx="1221">
                  <c:v>0.99923708185690385</c:v>
                </c:pt>
                <c:pt idx="1222">
                  <c:v>0.99924238726127368</c:v>
                </c:pt>
                <c:pt idx="1223">
                  <c:v>0.9992476635345896</c:v>
                </c:pt>
                <c:pt idx="1224">
                  <c:v>0.99925816208219487</c:v>
                </c:pt>
                <c:pt idx="1225">
                  <c:v>0.99926339643521378</c:v>
                </c:pt>
                <c:pt idx="1226">
                  <c:v>0.99926858034177357</c:v>
                </c:pt>
                <c:pt idx="1227">
                  <c:v>0.99927376424833336</c:v>
                </c:pt>
                <c:pt idx="1228">
                  <c:v>0.99927894602335265</c:v>
                </c:pt>
                <c:pt idx="1229">
                  <c:v>0.99928409298320997</c:v>
                </c:pt>
                <c:pt idx="1230">
                  <c:v>0.99928918736506767</c:v>
                </c:pt>
                <c:pt idx="1231">
                  <c:v>0.99929426114203357</c:v>
                </c:pt>
                <c:pt idx="1232">
                  <c:v>0.99929931218256729</c:v>
                </c:pt>
                <c:pt idx="1233">
                  <c:v>0.99930432414485804</c:v>
                </c:pt>
                <c:pt idx="1234">
                  <c:v>0.99930932473893264</c:v>
                </c:pt>
                <c:pt idx="1235">
                  <c:v>0.99931426636038601</c:v>
                </c:pt>
                <c:pt idx="1236">
                  <c:v>0.99931919945567727</c:v>
                </c:pt>
                <c:pt idx="1237">
                  <c:v>0.9993241091040227</c:v>
                </c:pt>
                <c:pt idx="1238">
                  <c:v>0.99932900098953037</c:v>
                </c:pt>
                <c:pt idx="1239">
                  <c:v>0.99933387440168686</c:v>
                </c:pt>
                <c:pt idx="1240">
                  <c:v>0.99933871726176249</c:v>
                </c:pt>
                <c:pt idx="1241">
                  <c:v>0.99934352317513564</c:v>
                </c:pt>
                <c:pt idx="1242">
                  <c:v>0.99934829995745489</c:v>
                </c:pt>
                <c:pt idx="1243">
                  <c:v>0.9993530362405042</c:v>
                </c:pt>
                <c:pt idx="1244">
                  <c:v>0.99935772207709439</c:v>
                </c:pt>
                <c:pt idx="1245">
                  <c:v>0.99936235675671192</c:v>
                </c:pt>
                <c:pt idx="1246">
                  <c:v>0.99936693104268126</c:v>
                </c:pt>
                <c:pt idx="1247">
                  <c:v>0.99937139022546218</c:v>
                </c:pt>
                <c:pt idx="1248">
                  <c:v>0.99937582098770272</c:v>
                </c:pt>
                <c:pt idx="1249">
                  <c:v>0.99938024535532166</c:v>
                </c:pt>
                <c:pt idx="1250">
                  <c:v>0.99938466688088656</c:v>
                </c:pt>
                <c:pt idx="1251">
                  <c:v>0.99938905927539767</c:v>
                </c:pt>
                <c:pt idx="1252">
                  <c:v>0.9993934395911791</c:v>
                </c:pt>
                <c:pt idx="1253">
                  <c:v>0.99939781706490649</c:v>
                </c:pt>
                <c:pt idx="1254">
                  <c:v>0.99940217322322866</c:v>
                </c:pt>
                <c:pt idx="1255">
                  <c:v>0.99940651872384811</c:v>
                </c:pt>
                <c:pt idx="1256">
                  <c:v>0.99941080951492745</c:v>
                </c:pt>
                <c:pt idx="1257">
                  <c:v>0.99941508112214206</c:v>
                </c:pt>
                <c:pt idx="1258">
                  <c:v>0.99941935272935667</c:v>
                </c:pt>
                <c:pt idx="1259">
                  <c:v>0.99942361723143613</c:v>
                </c:pt>
                <c:pt idx="1260">
                  <c:v>0.99942786752324542</c:v>
                </c:pt>
                <c:pt idx="1261">
                  <c:v>0.99943207376321719</c:v>
                </c:pt>
                <c:pt idx="1262">
                  <c:v>0.99943627787164846</c:v>
                </c:pt>
                <c:pt idx="1263">
                  <c:v>0.99944046279621501</c:v>
                </c:pt>
                <c:pt idx="1264">
                  <c:v>0.99944464274718692</c:v>
                </c:pt>
                <c:pt idx="1265">
                  <c:v>0.99944878646196988</c:v>
                </c:pt>
                <c:pt idx="1266">
                  <c:v>0.99945292236110428</c:v>
                </c:pt>
                <c:pt idx="1267">
                  <c:v>0.99945702557661731</c:v>
                </c:pt>
                <c:pt idx="1268">
                  <c:v>0.99946104424102278</c:v>
                </c:pt>
                <c:pt idx="1269">
                  <c:v>0.99946505722132017</c:v>
                </c:pt>
                <c:pt idx="1270">
                  <c:v>0.99946906735956353</c:v>
                </c:pt>
                <c:pt idx="1271">
                  <c:v>0.99947304623521249</c:v>
                </c:pt>
                <c:pt idx="1272">
                  <c:v>0.99947696613824022</c:v>
                </c:pt>
                <c:pt idx="1273">
                  <c:v>0.99948087609407887</c:v>
                </c:pt>
                <c:pt idx="1274">
                  <c:v>0.99948478533940399</c:v>
                </c:pt>
                <c:pt idx="1275">
                  <c:v>0.99948868747959407</c:v>
                </c:pt>
                <c:pt idx="1276">
                  <c:v>0.99949258251464901</c:v>
                </c:pt>
                <c:pt idx="1277">
                  <c:v>0.99950026600773267</c:v>
                </c:pt>
                <c:pt idx="1278">
                  <c:v>0.99950406370243694</c:v>
                </c:pt>
                <c:pt idx="1279">
                  <c:v>0.99950785784457363</c:v>
                </c:pt>
                <c:pt idx="1280">
                  <c:v>0.99951530899973984</c:v>
                </c:pt>
                <c:pt idx="1281">
                  <c:v>0.99951901574871493</c:v>
                </c:pt>
                <c:pt idx="1282">
                  <c:v>0.99951901574871493</c:v>
                </c:pt>
                <c:pt idx="1283">
                  <c:v>0.99952271326101449</c:v>
                </c:pt>
                <c:pt idx="1284">
                  <c:v>0.99953002444501948</c:v>
                </c:pt>
                <c:pt idx="1285">
                  <c:v>0.99953363740621148</c:v>
                </c:pt>
                <c:pt idx="1286">
                  <c:v>0.99953719778940386</c:v>
                </c:pt>
                <c:pt idx="1287">
                  <c:v>0.99954075177797463</c:v>
                </c:pt>
                <c:pt idx="1288">
                  <c:v>0.9995443057665454</c:v>
                </c:pt>
                <c:pt idx="1289">
                  <c:v>0.99954785549203506</c:v>
                </c:pt>
                <c:pt idx="1290">
                  <c:v>0.99955139242828162</c:v>
                </c:pt>
                <c:pt idx="1291">
                  <c:v>0.99955491018066345</c:v>
                </c:pt>
                <c:pt idx="1292">
                  <c:v>0.99955842224893721</c:v>
                </c:pt>
                <c:pt idx="1293">
                  <c:v>0.99956193147515693</c:v>
                </c:pt>
                <c:pt idx="1294">
                  <c:v>0.99956542578059293</c:v>
                </c:pt>
                <c:pt idx="1295">
                  <c:v>0.99956889806011018</c:v>
                </c:pt>
                <c:pt idx="1296">
                  <c:v>0.99957233694549252</c:v>
                </c:pt>
                <c:pt idx="1297">
                  <c:v>0.99957577298882083</c:v>
                </c:pt>
                <c:pt idx="1298">
                  <c:v>0.99957920476906803</c:v>
                </c:pt>
                <c:pt idx="1299">
                  <c:v>0.9995825377879376</c:v>
                </c:pt>
                <c:pt idx="1300">
                  <c:v>0.99958586228064505</c:v>
                </c:pt>
                <c:pt idx="1301">
                  <c:v>0.99959249208219514</c:v>
                </c:pt>
                <c:pt idx="1302">
                  <c:v>0.99959905438496188</c:v>
                </c:pt>
                <c:pt idx="1303">
                  <c:v>0.99960230214221035</c:v>
                </c:pt>
                <c:pt idx="1304">
                  <c:v>0.99960554989945882</c:v>
                </c:pt>
                <c:pt idx="1305">
                  <c:v>0.99960875147332928</c:v>
                </c:pt>
                <c:pt idx="1306">
                  <c:v>0.99961189691663255</c:v>
                </c:pt>
                <c:pt idx="1307">
                  <c:v>0.99961501322888191</c:v>
                </c:pt>
                <c:pt idx="1308">
                  <c:v>0.99961809898905041</c:v>
                </c:pt>
                <c:pt idx="1309">
                  <c:v>0.99962117764408376</c:v>
                </c:pt>
                <c:pt idx="1310">
                  <c:v>0.99962726674485369</c:v>
                </c:pt>
                <c:pt idx="1311">
                  <c:v>0.999630177718699</c:v>
                </c:pt>
                <c:pt idx="1312">
                  <c:v>0.99963308371894977</c:v>
                </c:pt>
                <c:pt idx="1313">
                  <c:v>0.99963598616663296</c:v>
                </c:pt>
                <c:pt idx="1314">
                  <c:v>0.99963887014096497</c:v>
                </c:pt>
                <c:pt idx="1315">
                  <c:v>0.99964172995783773</c:v>
                </c:pt>
                <c:pt idx="1316">
                  <c:v>0.99964458195906181</c:v>
                </c:pt>
                <c:pt idx="1317">
                  <c:v>0.99964743396028588</c:v>
                </c:pt>
                <c:pt idx="1318">
                  <c:v>0.99965025540942909</c:v>
                </c:pt>
                <c:pt idx="1319">
                  <c:v>0.99965306549035615</c:v>
                </c:pt>
                <c:pt idx="1320">
                  <c:v>0.99965584359817539</c:v>
                </c:pt>
                <c:pt idx="1321">
                  <c:v>0.99965861460085947</c:v>
                </c:pt>
                <c:pt idx="1322">
                  <c:v>0.99966138347200306</c:v>
                </c:pt>
                <c:pt idx="1323">
                  <c:v>0.99966412321209275</c:v>
                </c:pt>
                <c:pt idx="1324">
                  <c:v>0.99966685087345286</c:v>
                </c:pt>
                <c:pt idx="1325">
                  <c:v>0.99967223940790317</c:v>
                </c:pt>
                <c:pt idx="1326">
                  <c:v>0.9996749194648582</c:v>
                </c:pt>
                <c:pt idx="1327">
                  <c:v>0.99968025897387636</c:v>
                </c:pt>
                <c:pt idx="1328">
                  <c:v>0.9996829248205612</c:v>
                </c:pt>
                <c:pt idx="1329">
                  <c:v>0.99968552885257078</c:v>
                </c:pt>
                <c:pt idx="1330">
                  <c:v>0.99968812435841825</c:v>
                </c:pt>
                <c:pt idx="1331">
                  <c:v>0.99969069428577939</c:v>
                </c:pt>
                <c:pt idx="1332">
                  <c:v>0.99969325142389742</c:v>
                </c:pt>
                <c:pt idx="1333">
                  <c:v>0.99969579790431273</c:v>
                </c:pt>
                <c:pt idx="1334">
                  <c:v>0.9996983330165119</c:v>
                </c:pt>
                <c:pt idx="1335">
                  <c:v>0.99970085320792745</c:v>
                </c:pt>
                <c:pt idx="1336">
                  <c:v>0.9997033627416404</c:v>
                </c:pt>
                <c:pt idx="1337">
                  <c:v>0.99970834628339067</c:v>
                </c:pt>
                <c:pt idx="1338">
                  <c:v>0.99971082881759021</c:v>
                </c:pt>
                <c:pt idx="1339">
                  <c:v>0.99971330850973572</c:v>
                </c:pt>
                <c:pt idx="1340">
                  <c:v>0.99971578678085427</c:v>
                </c:pt>
                <c:pt idx="1341">
                  <c:v>0.99971826434145927</c:v>
                </c:pt>
                <c:pt idx="1342">
                  <c:v>0.99972072413922652</c:v>
                </c:pt>
                <c:pt idx="1343">
                  <c:v>0.99972317967391278</c:v>
                </c:pt>
                <c:pt idx="1344">
                  <c:v>0.99972560110395059</c:v>
                </c:pt>
                <c:pt idx="1345">
                  <c:v>0.99973036936010773</c:v>
                </c:pt>
                <c:pt idx="1346">
                  <c:v>0.99973738568100667</c:v>
                </c:pt>
                <c:pt idx="1347">
                  <c:v>0.99973970479709917</c:v>
                </c:pt>
                <c:pt idx="1348">
                  <c:v>0.99974202320267824</c:v>
                </c:pt>
                <c:pt idx="1349">
                  <c:v>0.99974433876620328</c:v>
                </c:pt>
                <c:pt idx="1350">
                  <c:v>0.99974663088278248</c:v>
                </c:pt>
                <c:pt idx="1351">
                  <c:v>0.99974891873628069</c:v>
                </c:pt>
                <c:pt idx="1352">
                  <c:v>0.99975119877413021</c:v>
                </c:pt>
                <c:pt idx="1353">
                  <c:v>0.99975347241735824</c:v>
                </c:pt>
                <c:pt idx="1354">
                  <c:v>0.99975573682391061</c:v>
                </c:pt>
                <c:pt idx="1355">
                  <c:v>0.99975798559916584</c:v>
                </c:pt>
                <c:pt idx="1356">
                  <c:v>0.99976022016415089</c:v>
                </c:pt>
                <c:pt idx="1357">
                  <c:v>0.99976464311074287</c:v>
                </c:pt>
                <c:pt idx="1358">
                  <c:v>0.99976682438721476</c:v>
                </c:pt>
                <c:pt idx="1359">
                  <c:v>0.99976899713752454</c:v>
                </c:pt>
                <c:pt idx="1360">
                  <c:v>0.99977116988783432</c:v>
                </c:pt>
                <c:pt idx="1361">
                  <c:v>0.99977334050660349</c:v>
                </c:pt>
                <c:pt idx="1362">
                  <c:v>0.99977550259921055</c:v>
                </c:pt>
                <c:pt idx="1363">
                  <c:v>0.99977766256027711</c:v>
                </c:pt>
                <c:pt idx="1364">
                  <c:v>0.99977981328466814</c:v>
                </c:pt>
                <c:pt idx="1365">
                  <c:v>0.99978195832495109</c:v>
                </c:pt>
                <c:pt idx="1366">
                  <c:v>0.999784058602883</c:v>
                </c:pt>
                <c:pt idx="1367">
                  <c:v>0.99978610985538274</c:v>
                </c:pt>
                <c:pt idx="1368">
                  <c:v>0.99978813197682859</c:v>
                </c:pt>
                <c:pt idx="1369">
                  <c:v>0.99979015196673393</c:v>
                </c:pt>
                <c:pt idx="1370">
                  <c:v>0.99979215348328809</c:v>
                </c:pt>
                <c:pt idx="1371">
                  <c:v>0.99979415286830176</c:v>
                </c:pt>
                <c:pt idx="1372">
                  <c:v>0.9997981210862481</c:v>
                </c:pt>
                <c:pt idx="1373">
                  <c:v>0.99980198130614106</c:v>
                </c:pt>
                <c:pt idx="1374">
                  <c:v>0.99980390466620928</c:v>
                </c:pt>
                <c:pt idx="1375">
                  <c:v>0.9998058052898452</c:v>
                </c:pt>
                <c:pt idx="1376">
                  <c:v>0.99980769170321093</c:v>
                </c:pt>
                <c:pt idx="1377">
                  <c:v>0.9998095454329553</c:v>
                </c:pt>
                <c:pt idx="1378">
                  <c:v>0.99981138637345646</c:v>
                </c:pt>
                <c:pt idx="1379">
                  <c:v>0.99981320884060643</c:v>
                </c:pt>
                <c:pt idx="1380">
                  <c:v>0.99981502775518882</c:v>
                </c:pt>
                <c:pt idx="1381">
                  <c:v>0.99981684027514961</c:v>
                </c:pt>
                <c:pt idx="1382">
                  <c:v>0.99981864924254282</c:v>
                </c:pt>
                <c:pt idx="1383">
                  <c:v>0.9998204219737471</c:v>
                </c:pt>
                <c:pt idx="1384">
                  <c:v>0.9998221847577623</c:v>
                </c:pt>
                <c:pt idx="1385">
                  <c:v>0.99982392480534521</c:v>
                </c:pt>
                <c:pt idx="1386">
                  <c:v>0.99982566414241458</c:v>
                </c:pt>
                <c:pt idx="1387">
                  <c:v>0.99982735800661948</c:v>
                </c:pt>
                <c:pt idx="1388">
                  <c:v>0.99982904973928377</c:v>
                </c:pt>
                <c:pt idx="1389">
                  <c:v>0.99983240336304502</c:v>
                </c:pt>
                <c:pt idx="1390">
                  <c:v>0.99983570227726615</c:v>
                </c:pt>
                <c:pt idx="1391">
                  <c:v>0.99983733361628224</c:v>
                </c:pt>
                <c:pt idx="1392">
                  <c:v>0.99983896069221723</c:v>
                </c:pt>
                <c:pt idx="1393">
                  <c:v>0.99984058066301718</c:v>
                </c:pt>
                <c:pt idx="1394">
                  <c:v>0.99984379147356317</c:v>
                </c:pt>
                <c:pt idx="1395">
                  <c:v>0.99984537662920114</c:v>
                </c:pt>
                <c:pt idx="1396">
                  <c:v>0.99984695965329862</c:v>
                </c:pt>
                <c:pt idx="1397">
                  <c:v>0.99984853486174752</c:v>
                </c:pt>
                <c:pt idx="1398">
                  <c:v>0.99985010935968288</c:v>
                </c:pt>
                <c:pt idx="1399">
                  <c:v>0.99985166112118595</c:v>
                </c:pt>
                <c:pt idx="1400">
                  <c:v>0.99985320861960802</c:v>
                </c:pt>
                <c:pt idx="1401">
                  <c:v>0.9998547539864896</c:v>
                </c:pt>
                <c:pt idx="1402">
                  <c:v>0.99985623043356076</c:v>
                </c:pt>
                <c:pt idx="1403">
                  <c:v>0.99985768130214558</c:v>
                </c:pt>
                <c:pt idx="1404">
                  <c:v>0.99985911796046023</c:v>
                </c:pt>
                <c:pt idx="1405">
                  <c:v>0.99986054964518034</c:v>
                </c:pt>
                <c:pt idx="1406">
                  <c:v>0.99986197493527884</c:v>
                </c:pt>
                <c:pt idx="1407">
                  <c:v>0.99986339596229634</c:v>
                </c:pt>
                <c:pt idx="1408">
                  <c:v>0.99986481201571931</c:v>
                </c:pt>
                <c:pt idx="1409">
                  <c:v>0.99986622522708823</c:v>
                </c:pt>
                <c:pt idx="1410">
                  <c:v>0.99986763275434909</c:v>
                </c:pt>
                <c:pt idx="1411">
                  <c:v>0.9998690310449343</c:v>
                </c:pt>
                <c:pt idx="1412">
                  <c:v>0.99987041938833043</c:v>
                </c:pt>
                <c:pt idx="1413">
                  <c:v>0.99987180346864546</c:v>
                </c:pt>
                <c:pt idx="1414">
                  <c:v>0.9998731733386903</c:v>
                </c:pt>
                <c:pt idx="1415">
                  <c:v>0.99987453468257304</c:v>
                </c:pt>
                <c:pt idx="1416">
                  <c:v>0.99987588892132073</c:v>
                </c:pt>
                <c:pt idx="1417">
                  <c:v>0.99987721331850099</c:v>
                </c:pt>
                <c:pt idx="1418">
                  <c:v>0.99987852492643814</c:v>
                </c:pt>
                <c:pt idx="1419">
                  <c:v>0.99987980527178089</c:v>
                </c:pt>
                <c:pt idx="1420">
                  <c:v>0.99988107638044799</c:v>
                </c:pt>
                <c:pt idx="1421">
                  <c:v>0.99988234677860166</c:v>
                </c:pt>
                <c:pt idx="1422">
                  <c:v>0.99988486341744964</c:v>
                </c:pt>
                <c:pt idx="1423">
                  <c:v>0.99988611250019799</c:v>
                </c:pt>
                <c:pt idx="1424">
                  <c:v>0.99988859432388411</c:v>
                </c:pt>
                <c:pt idx="1425">
                  <c:v>0.99988981214403805</c:v>
                </c:pt>
                <c:pt idx="1426">
                  <c:v>0.99989102641162453</c:v>
                </c:pt>
                <c:pt idx="1427">
                  <c:v>0.99989223925818393</c:v>
                </c:pt>
                <c:pt idx="1428">
                  <c:v>0.9998934471311488</c:v>
                </c:pt>
                <c:pt idx="1429">
                  <c:v>0.99989465429360014</c:v>
                </c:pt>
                <c:pt idx="1430">
                  <c:v>0.9998958557719434</c:v>
                </c:pt>
                <c:pt idx="1431">
                  <c:v>0.9998970536977192</c:v>
                </c:pt>
                <c:pt idx="1432">
                  <c:v>0.99989825020246792</c:v>
                </c:pt>
                <c:pt idx="1433">
                  <c:v>0.99989944102310857</c:v>
                </c:pt>
                <c:pt idx="1434">
                  <c:v>0.9999006169229655</c:v>
                </c:pt>
                <c:pt idx="1435">
                  <c:v>0.99990295309138222</c:v>
                </c:pt>
                <c:pt idx="1436">
                  <c:v>0.999904113359942</c:v>
                </c:pt>
                <c:pt idx="1437">
                  <c:v>0.99990527078644775</c:v>
                </c:pt>
                <c:pt idx="1438">
                  <c:v>0.99990642679192643</c:v>
                </c:pt>
                <c:pt idx="1439">
                  <c:v>0.99990757924483764</c:v>
                </c:pt>
                <c:pt idx="1440">
                  <c:v>0.99990869119847881</c:v>
                </c:pt>
                <c:pt idx="1441">
                  <c:v>0.99990978894184979</c:v>
                </c:pt>
                <c:pt idx="1442">
                  <c:v>0.99991088384316673</c:v>
                </c:pt>
                <c:pt idx="1443">
                  <c:v>0.99991197519191621</c:v>
                </c:pt>
                <c:pt idx="1444">
                  <c:v>0.99991306440912509</c:v>
                </c:pt>
                <c:pt idx="1445">
                  <c:v>0.99991413870555035</c:v>
                </c:pt>
                <c:pt idx="1446">
                  <c:v>0.99991521015992157</c:v>
                </c:pt>
                <c:pt idx="1447">
                  <c:v>0.99991623329937418</c:v>
                </c:pt>
                <c:pt idx="1448">
                  <c:v>0.99991725501779971</c:v>
                </c:pt>
                <c:pt idx="1449">
                  <c:v>0.99991826039441456</c:v>
                </c:pt>
                <c:pt idx="1450">
                  <c:v>0.99991926292897537</c:v>
                </c:pt>
                <c:pt idx="1451">
                  <c:v>0.99992025480583357</c:v>
                </c:pt>
                <c:pt idx="1452">
                  <c:v>0.99992124668269178</c:v>
                </c:pt>
                <c:pt idx="1453">
                  <c:v>0.99992223713852302</c:v>
                </c:pt>
                <c:pt idx="1454">
                  <c:v>0.9999251786644493</c:v>
                </c:pt>
                <c:pt idx="1455">
                  <c:v>0.99992615633103732</c:v>
                </c:pt>
                <c:pt idx="1456">
                  <c:v>0.99992713257659838</c:v>
                </c:pt>
                <c:pt idx="1457">
                  <c:v>0.99992810669061882</c:v>
                </c:pt>
                <c:pt idx="1458">
                  <c:v>0.99992906019974759</c:v>
                </c:pt>
                <c:pt idx="1459">
                  <c:v>0.99993000731425474</c:v>
                </c:pt>
                <c:pt idx="1460">
                  <c:v>0.99993092813976203</c:v>
                </c:pt>
                <c:pt idx="1461">
                  <c:v>0.99993180988702635</c:v>
                </c:pt>
                <c:pt idx="1462">
                  <c:v>0.99993267955556109</c:v>
                </c:pt>
                <c:pt idx="1463">
                  <c:v>0.99993354709255522</c:v>
                </c:pt>
                <c:pt idx="1464">
                  <c:v>0.9999343904720901</c:v>
                </c:pt>
                <c:pt idx="1465">
                  <c:v>0.99993520187851703</c:v>
                </c:pt>
                <c:pt idx="1466">
                  <c:v>0.99993601044288993</c:v>
                </c:pt>
                <c:pt idx="1467">
                  <c:v>0.99993681900726283</c:v>
                </c:pt>
                <c:pt idx="1468">
                  <c:v>0.99993762615060877</c:v>
                </c:pt>
                <c:pt idx="1469">
                  <c:v>0.99993842405727906</c:v>
                </c:pt>
                <c:pt idx="1470">
                  <c:v>0.99993921983240885</c:v>
                </c:pt>
                <c:pt idx="1471">
                  <c:v>0.99994000281829554</c:v>
                </c:pt>
                <c:pt idx="1472">
                  <c:v>0.99994078509366868</c:v>
                </c:pt>
                <c:pt idx="1473">
                  <c:v>0.99994382609148613</c:v>
                </c:pt>
                <c:pt idx="1474">
                  <c:v>0.99994528690726014</c:v>
                </c:pt>
                <c:pt idx="1475">
                  <c:v>0.99994600523641752</c:v>
                </c:pt>
                <c:pt idx="1476">
                  <c:v>0.99994743265805652</c:v>
                </c:pt>
                <c:pt idx="1477">
                  <c:v>0.99994811261948435</c:v>
                </c:pt>
                <c:pt idx="1478">
                  <c:v>0.99994878618629068</c:v>
                </c:pt>
                <c:pt idx="1479">
                  <c:v>0.9999494576215564</c:v>
                </c:pt>
                <c:pt idx="1480">
                  <c:v>0.9999501283463087</c:v>
                </c:pt>
                <c:pt idx="1481">
                  <c:v>0.99995146624324571</c:v>
                </c:pt>
                <c:pt idx="1482">
                  <c:v>0.99995272385215617</c:v>
                </c:pt>
                <c:pt idx="1483">
                  <c:v>0.99995394593539122</c:v>
                </c:pt>
                <c:pt idx="1484">
                  <c:v>0.99995454916136017</c:v>
                </c:pt>
                <c:pt idx="1485">
                  <c:v>0.99995515238732913</c:v>
                </c:pt>
                <c:pt idx="1486">
                  <c:v>0.99995574779764951</c:v>
                </c:pt>
                <c:pt idx="1487">
                  <c:v>0.99995632828718617</c:v>
                </c:pt>
                <c:pt idx="1488">
                  <c:v>0.99995690735569576</c:v>
                </c:pt>
                <c:pt idx="1489">
                  <c:v>0.99995747789804323</c:v>
                </c:pt>
                <c:pt idx="1490">
                  <c:v>0.99995804701936375</c:v>
                </c:pt>
                <c:pt idx="1491">
                  <c:v>0.99995860264092762</c:v>
                </c:pt>
                <c:pt idx="1492">
                  <c:v>0.99995915613095088</c:v>
                </c:pt>
                <c:pt idx="1493">
                  <c:v>0.99996025671637589</c:v>
                </c:pt>
                <c:pt idx="1494">
                  <c:v>0.99996080310126412</c:v>
                </c:pt>
                <c:pt idx="1495">
                  <c:v>0.99996134522307134</c:v>
                </c:pt>
                <c:pt idx="1496">
                  <c:v>0.99996188734487856</c:v>
                </c:pt>
                <c:pt idx="1497">
                  <c:v>0.9999629175894662</c:v>
                </c:pt>
                <c:pt idx="1498">
                  <c:v>0.99996342489611145</c:v>
                </c:pt>
                <c:pt idx="1499">
                  <c:v>0.99996392865018913</c:v>
                </c:pt>
                <c:pt idx="1500">
                  <c:v>0.99996443098323984</c:v>
                </c:pt>
                <c:pt idx="1501">
                  <c:v>0.9999649262111554</c:v>
                </c:pt>
                <c:pt idx="1502">
                  <c:v>0.99996589250952739</c:v>
                </c:pt>
                <c:pt idx="1503">
                  <c:v>0.99996636642203773</c:v>
                </c:pt>
                <c:pt idx="1504">
                  <c:v>0.99996730643140974</c:v>
                </c:pt>
                <c:pt idx="1505">
                  <c:v>0.99996775902851476</c:v>
                </c:pt>
                <c:pt idx="1506">
                  <c:v>0.99996865782810329</c:v>
                </c:pt>
                <c:pt idx="1507">
                  <c:v>0.99996951825996239</c:v>
                </c:pt>
                <c:pt idx="1508">
                  <c:v>0.99996994172601361</c:v>
                </c:pt>
                <c:pt idx="1509">
                  <c:v>0.99997077373733234</c:v>
                </c:pt>
                <c:pt idx="1510">
                  <c:v>0.99997160148556996</c:v>
                </c:pt>
                <c:pt idx="1511">
                  <c:v>0.99997201216237797</c:v>
                </c:pt>
                <c:pt idx="1512">
                  <c:v>0.99997281433212937</c:v>
                </c:pt>
                <c:pt idx="1513">
                  <c:v>0.99997320653558619</c:v>
                </c:pt>
                <c:pt idx="1514">
                  <c:v>0.99997358666031333</c:v>
                </c:pt>
                <c:pt idx="1515">
                  <c:v>0.99997396394298643</c:v>
                </c:pt>
                <c:pt idx="1516">
                  <c:v>0.9999747092716571</c:v>
                </c:pt>
                <c:pt idx="1517">
                  <c:v>0.99997542902184144</c:v>
                </c:pt>
                <c:pt idx="1518">
                  <c:v>0.99997578641013629</c:v>
                </c:pt>
                <c:pt idx="1519">
                  <c:v>0.99997613953535014</c:v>
                </c:pt>
                <c:pt idx="1520">
                  <c:v>0.99997684152269672</c:v>
                </c:pt>
                <c:pt idx="1521">
                  <c:v>0.99997718541123493</c:v>
                </c:pt>
                <c:pt idx="1522">
                  <c:v>0.99997751508950294</c:v>
                </c:pt>
                <c:pt idx="1523">
                  <c:v>0.99997784405725754</c:v>
                </c:pt>
                <c:pt idx="1524">
                  <c:v>0.99997816734090406</c:v>
                </c:pt>
                <c:pt idx="1525">
                  <c:v>0.99997848849300996</c:v>
                </c:pt>
                <c:pt idx="1526">
                  <c:v>0.99997880964511587</c:v>
                </c:pt>
                <c:pt idx="1527">
                  <c:v>0.99997912298157321</c:v>
                </c:pt>
                <c:pt idx="1528">
                  <c:v>0.99997943489700358</c:v>
                </c:pt>
                <c:pt idx="1529">
                  <c:v>0.99998005233324272</c:v>
                </c:pt>
                <c:pt idx="1530">
                  <c:v>0.99998035359097037</c:v>
                </c:pt>
                <c:pt idx="1531">
                  <c:v>0.99998094829077722</c:v>
                </c:pt>
                <c:pt idx="1532">
                  <c:v>0.99998235084444353</c:v>
                </c:pt>
                <c:pt idx="1533">
                  <c:v>0.99998261657649579</c:v>
                </c:pt>
                <c:pt idx="1534">
                  <c:v>0.99998287094033189</c:v>
                </c:pt>
                <c:pt idx="1535">
                  <c:v>0.99998337327338249</c:v>
                </c:pt>
                <c:pt idx="1536">
                  <c:v>0.99998386139616302</c:v>
                </c:pt>
                <c:pt idx="1537">
                  <c:v>0.99998410154972894</c:v>
                </c:pt>
                <c:pt idx="1538">
                  <c:v>0.99998434170329487</c:v>
                </c:pt>
                <c:pt idx="1539">
                  <c:v>0.99998572933617746</c:v>
                </c:pt>
                <c:pt idx="1540">
                  <c:v>0.9999861613283908</c:v>
                </c:pt>
                <c:pt idx="1541">
                  <c:v>0.99998637164038939</c:v>
                </c:pt>
                <c:pt idx="1542">
                  <c:v>0.9999871823363029</c:v>
                </c:pt>
                <c:pt idx="1543">
                  <c:v>0.99998737630649082</c:v>
                </c:pt>
                <c:pt idx="1544">
                  <c:v>0.99998775856275857</c:v>
                </c:pt>
                <c:pt idx="1545">
                  <c:v>0.99998794471729791</c:v>
                </c:pt>
                <c:pt idx="1546">
                  <c:v>0.99998830992124144</c:v>
                </c:pt>
                <c:pt idx="1547">
                  <c:v>0.99998867228313093</c:v>
                </c:pt>
                <c:pt idx="1548">
                  <c:v>0.99998883925380544</c:v>
                </c:pt>
                <c:pt idx="1549">
                  <c:v>0.99998916609001942</c:v>
                </c:pt>
                <c:pt idx="1550">
                  <c:v>0.99998932666607243</c:v>
                </c:pt>
                <c:pt idx="1551">
                  <c:v>0.99998980342063681</c:v>
                </c:pt>
                <c:pt idx="1552">
                  <c:v>0.99998996115463579</c:v>
                </c:pt>
                <c:pt idx="1553">
                  <c:v>0.99999088553271054</c:v>
                </c:pt>
                <c:pt idx="1554">
                  <c:v>0.99999103403003387</c:v>
                </c:pt>
                <c:pt idx="1555">
                  <c:v>0.99999132676159952</c:v>
                </c:pt>
                <c:pt idx="1556">
                  <c:v>0.99999204651178397</c:v>
                </c:pt>
                <c:pt idx="1557">
                  <c:v>0.99999218506191823</c:v>
                </c:pt>
                <c:pt idx="1558">
                  <c:v>0.99999231508589037</c:v>
                </c:pt>
                <c:pt idx="1559">
                  <c:v>0.99999244439934898</c:v>
                </c:pt>
                <c:pt idx="1560">
                  <c:v>0.99999269805267166</c:v>
                </c:pt>
                <c:pt idx="1561">
                  <c:v>0.99999331335737018</c:v>
                </c:pt>
                <c:pt idx="1562">
                  <c:v>0.99999398976623044</c:v>
                </c:pt>
                <c:pt idx="1563">
                  <c:v>0.99999439120636291</c:v>
                </c:pt>
                <c:pt idx="1564">
                  <c:v>0.99999448499414612</c:v>
                </c:pt>
                <c:pt idx="1565">
                  <c:v>0.99999457807141579</c:v>
                </c:pt>
                <c:pt idx="1566">
                  <c:v>0.99999467043817192</c:v>
                </c:pt>
                <c:pt idx="1567">
                  <c:v>0.99999494043330528</c:v>
                </c:pt>
                <c:pt idx="1568">
                  <c:v>0.99999520119176288</c:v>
                </c:pt>
                <c:pt idx="1569">
                  <c:v>0.99999528574287044</c:v>
                </c:pt>
                <c:pt idx="1570">
                  <c:v>0.999995370293978</c:v>
                </c:pt>
                <c:pt idx="1571">
                  <c:v>0.99999561755267907</c:v>
                </c:pt>
                <c:pt idx="1572">
                  <c:v>0.9999956992617326</c:v>
                </c:pt>
                <c:pt idx="1573">
                  <c:v>0.99999616109551326</c:v>
                </c:pt>
                <c:pt idx="1574">
                  <c:v>0.99999645027451134</c:v>
                </c:pt>
                <c:pt idx="1575">
                  <c:v>0.99999652132586225</c:v>
                </c:pt>
                <c:pt idx="1576">
                  <c:v>0.99999686663542753</c:v>
                </c:pt>
                <c:pt idx="1577">
                  <c:v>0.99999706273715583</c:v>
                </c:pt>
                <c:pt idx="1578">
                  <c:v>0.99999730786431629</c:v>
                </c:pt>
                <c:pt idx="1579">
                  <c:v>0.99999769580469189</c:v>
                </c:pt>
                <c:pt idx="1580">
                  <c:v>0.99999815124385105</c:v>
                </c:pt>
                <c:pt idx="1581">
                  <c:v>0.99999864220868584</c:v>
                </c:pt>
                <c:pt idx="1582">
                  <c:v>0.99999868412898285</c:v>
                </c:pt>
                <c:pt idx="1583">
                  <c:v>0.99999884683657625</c:v>
                </c:pt>
                <c:pt idx="1584">
                  <c:v>0.9999989562556566</c:v>
                </c:pt>
                <c:pt idx="1585">
                  <c:v>0.99999902659649398</c:v>
                </c:pt>
                <c:pt idx="1586">
                  <c:v>0.99999909196373682</c:v>
                </c:pt>
                <c:pt idx="1587">
                  <c:v>0.99999944153638309</c:v>
                </c:pt>
                <c:pt idx="1588">
                  <c:v>0.99999952111389612</c:v>
                </c:pt>
                <c:pt idx="1589">
                  <c:v>0.99999957227086878</c:v>
                </c:pt>
                <c:pt idx="1590">
                  <c:v>0.99999959713884157</c:v>
                </c:pt>
                <c:pt idx="1591">
                  <c:v>0.99999970868946242</c:v>
                </c:pt>
                <c:pt idx="1592">
                  <c:v>0.99999974989924589</c:v>
                </c:pt>
                <c:pt idx="1593">
                  <c:v>0.99999986784448835</c:v>
                </c:pt>
                <c:pt idx="1594">
                  <c:v>0.99999992184351505</c:v>
                </c:pt>
                <c:pt idx="1595">
                  <c:v>0.9999999850792173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171</c:f>
              <c:strCache>
                <c:ptCount val="3170"/>
                <c:pt idx="0">
                  <c:v>Caprice Des</c:v>
                </c:pt>
                <c:pt idx="1">
                  <c:v>La Vache Qu</c:v>
                </c:pt>
                <c:pt idx="2">
                  <c:v>Private Lab</c:v>
                </c:pt>
                <c:pt idx="3">
                  <c:v>Private Lab</c:v>
                </c:pt>
                <c:pt idx="4">
                  <c:v>Private Lab</c:v>
                </c:pt>
                <c:pt idx="5">
                  <c:v>Private Lab</c:v>
                </c:pt>
                <c:pt idx="6">
                  <c:v>Private Lab</c:v>
                </c:pt>
                <c:pt idx="7">
                  <c:v>Mini Babybe</c:v>
                </c:pt>
                <c:pt idx="8">
                  <c:v>Kiri</c:v>
                </c:pt>
                <c:pt idx="9">
                  <c:v>Coeur De Li</c:v>
                </c:pt>
                <c:pt idx="10">
                  <c:v>Caprice Des</c:v>
                </c:pt>
                <c:pt idx="11">
                  <c:v>President</c:v>
                </c:pt>
                <c:pt idx="12">
                  <c:v>Private Lab</c:v>
                </c:pt>
                <c:pt idx="13">
                  <c:v>Private Lab</c:v>
                </c:pt>
                <c:pt idx="14">
                  <c:v>Soignon</c:v>
                </c:pt>
                <c:pt idx="15">
                  <c:v>Private Lab</c:v>
                </c:pt>
                <c:pt idx="16">
                  <c:v>Soignon</c:v>
                </c:pt>
                <c:pt idx="17">
                  <c:v>Private Lab</c:v>
                </c:pt>
                <c:pt idx="18">
                  <c:v>La Vache Qu</c:v>
                </c:pt>
                <c:pt idx="19">
                  <c:v>Private Lab</c:v>
                </c:pt>
                <c:pt idx="20">
                  <c:v>Tartare</c:v>
                </c:pt>
                <c:pt idx="21">
                  <c:v>Coeur De Li</c:v>
                </c:pt>
                <c:pt idx="22">
                  <c:v>Private Lab</c:v>
                </c:pt>
                <c:pt idx="23">
                  <c:v>President</c:v>
                </c:pt>
                <c:pt idx="24">
                  <c:v>President</c:v>
                </c:pt>
                <c:pt idx="25">
                  <c:v>Private Lab</c:v>
                </c:pt>
                <c:pt idx="26">
                  <c:v>Le Rustique</c:v>
                </c:pt>
                <c:pt idx="27">
                  <c:v>Galbani</c:v>
                </c:pt>
                <c:pt idx="28">
                  <c:v>Ficello</c:v>
                </c:pt>
                <c:pt idx="29">
                  <c:v>Soignon</c:v>
                </c:pt>
                <c:pt idx="30">
                  <c:v>St Moret</c:v>
                </c:pt>
                <c:pt idx="31">
                  <c:v>Private Lab</c:v>
                </c:pt>
                <c:pt idx="32">
                  <c:v>St Moret</c:v>
                </c:pt>
                <c:pt idx="33">
                  <c:v>President</c:v>
                </c:pt>
                <c:pt idx="34">
                  <c:v>Mini Babybe</c:v>
                </c:pt>
                <c:pt idx="35">
                  <c:v>Private Lab</c:v>
                </c:pt>
                <c:pt idx="36">
                  <c:v>Kiri</c:v>
                </c:pt>
                <c:pt idx="37">
                  <c:v>St Moret</c:v>
                </c:pt>
                <c:pt idx="38">
                  <c:v>Private Lab</c:v>
                </c:pt>
                <c:pt idx="39">
                  <c:v>Private Lab</c:v>
                </c:pt>
                <c:pt idx="40">
                  <c:v>Richesmonts</c:v>
                </c:pt>
                <c:pt idx="41">
                  <c:v>Private Lab</c:v>
                </c:pt>
                <c:pt idx="42">
                  <c:v>Private Lab</c:v>
                </c:pt>
                <c:pt idx="43">
                  <c:v>La Vache Qu</c:v>
                </c:pt>
                <c:pt idx="44">
                  <c:v>Private Lab</c:v>
                </c:pt>
                <c:pt idx="45">
                  <c:v>All Others</c:v>
                </c:pt>
                <c:pt idx="46">
                  <c:v>St Moret</c:v>
                </c:pt>
                <c:pt idx="47">
                  <c:v>Salakis</c:v>
                </c:pt>
                <c:pt idx="48">
                  <c:v>Carre Frais</c:v>
                </c:pt>
                <c:pt idx="49">
                  <c:v>Coeur De Li</c:v>
                </c:pt>
                <c:pt idx="50">
                  <c:v>St Moret</c:v>
                </c:pt>
                <c:pt idx="51">
                  <c:v>Paysan Bret</c:v>
                </c:pt>
                <c:pt idx="52">
                  <c:v>President</c:v>
                </c:pt>
                <c:pt idx="53">
                  <c:v>Galbani</c:v>
                </c:pt>
                <c:pt idx="54">
                  <c:v>Philadelphi</c:v>
                </c:pt>
                <c:pt idx="55">
                  <c:v>Kiri</c:v>
                </c:pt>
                <c:pt idx="56">
                  <c:v>Societe</c:v>
                </c:pt>
                <c:pt idx="57">
                  <c:v>Private Lab</c:v>
                </c:pt>
                <c:pt idx="58">
                  <c:v>Private Lab</c:v>
                </c:pt>
                <c:pt idx="59">
                  <c:v>Apericube</c:v>
                </c:pt>
                <c:pt idx="60">
                  <c:v>Boursin</c:v>
                </c:pt>
                <c:pt idx="61">
                  <c:v>Entremont</c:v>
                </c:pt>
                <c:pt idx="62">
                  <c:v>Carre Frais</c:v>
                </c:pt>
                <c:pt idx="63">
                  <c:v>Private Lab</c:v>
                </c:pt>
                <c:pt idx="64">
                  <c:v>Private Lab</c:v>
                </c:pt>
                <c:pt idx="65">
                  <c:v>Chaussee Au</c:v>
                </c:pt>
                <c:pt idx="66">
                  <c:v>Apericube</c:v>
                </c:pt>
                <c:pt idx="67">
                  <c:v>Paysan Bret</c:v>
                </c:pt>
                <c:pt idx="68">
                  <c:v>Islos</c:v>
                </c:pt>
                <c:pt idx="69">
                  <c:v>St Moret</c:v>
                </c:pt>
                <c:pt idx="70">
                  <c:v>Apericube</c:v>
                </c:pt>
                <c:pt idx="71">
                  <c:v>President</c:v>
                </c:pt>
                <c:pt idx="72">
                  <c:v>President</c:v>
                </c:pt>
                <c:pt idx="73">
                  <c:v>Private Lab</c:v>
                </c:pt>
                <c:pt idx="74">
                  <c:v>Paysan Bret</c:v>
                </c:pt>
                <c:pt idx="75">
                  <c:v>Galbani</c:v>
                </c:pt>
                <c:pt idx="76">
                  <c:v>Salakis</c:v>
                </c:pt>
                <c:pt idx="77">
                  <c:v>Tartare</c:v>
                </c:pt>
                <c:pt idx="78">
                  <c:v>President</c:v>
                </c:pt>
                <c:pt idx="79">
                  <c:v>President</c:v>
                </c:pt>
                <c:pt idx="80">
                  <c:v>Private Lab</c:v>
                </c:pt>
                <c:pt idx="81">
                  <c:v>Kiri</c:v>
                </c:pt>
                <c:pt idx="82">
                  <c:v>Lepetit</c:v>
                </c:pt>
                <c:pt idx="83">
                  <c:v>Istara</c:v>
                </c:pt>
                <c:pt idx="84">
                  <c:v>Coeur De Li</c:v>
                </c:pt>
                <c:pt idx="85">
                  <c:v>Casa Azzurr</c:v>
                </c:pt>
                <c:pt idx="86">
                  <c:v>Boursin</c:v>
                </c:pt>
                <c:pt idx="87">
                  <c:v>Richesmonts</c:v>
                </c:pt>
                <c:pt idx="88">
                  <c:v>Richesmonts</c:v>
                </c:pt>
                <c:pt idx="89">
                  <c:v>Private Lab</c:v>
                </c:pt>
                <c:pt idx="90">
                  <c:v>Entremont</c:v>
                </c:pt>
                <c:pt idx="91">
                  <c:v>Private Lab</c:v>
                </c:pt>
                <c:pt idx="92">
                  <c:v>All Others</c:v>
                </c:pt>
                <c:pt idx="93">
                  <c:v>Kiri</c:v>
                </c:pt>
                <c:pt idx="94">
                  <c:v>Private Lab</c:v>
                </c:pt>
                <c:pt idx="95">
                  <c:v>Private Lab</c:v>
                </c:pt>
                <c:pt idx="96">
                  <c:v>Private Lab</c:v>
                </c:pt>
                <c:pt idx="97">
                  <c:v>Private Lab</c:v>
                </c:pt>
                <c:pt idx="98">
                  <c:v>All Others</c:v>
                </c:pt>
                <c:pt idx="99">
                  <c:v>Private Lab</c:v>
                </c:pt>
                <c:pt idx="100">
                  <c:v>Petit Billy</c:v>
                </c:pt>
                <c:pt idx="101">
                  <c:v>Lou Perac</c:v>
                </c:pt>
                <c:pt idx="102">
                  <c:v>Mini Babybe</c:v>
                </c:pt>
                <c:pt idx="103">
                  <c:v>Private Lab</c:v>
                </c:pt>
                <c:pt idx="104">
                  <c:v>Carre Frais</c:v>
                </c:pt>
                <c:pt idx="105">
                  <c:v>Mini Babybe</c:v>
                </c:pt>
                <c:pt idx="106">
                  <c:v>Apericube</c:v>
                </c:pt>
                <c:pt idx="107">
                  <c:v>Boursin</c:v>
                </c:pt>
                <c:pt idx="108">
                  <c:v>Chaussee Au</c:v>
                </c:pt>
                <c:pt idx="109">
                  <c:v>All Others</c:v>
                </c:pt>
                <c:pt idx="110">
                  <c:v>Private Lab</c:v>
                </c:pt>
                <c:pt idx="111">
                  <c:v>Leerdammer</c:v>
                </c:pt>
                <c:pt idx="112">
                  <c:v>Richesmonts</c:v>
                </c:pt>
                <c:pt idx="113">
                  <c:v>Galbani</c:v>
                </c:pt>
                <c:pt idx="114">
                  <c:v>La Vache Qu</c:v>
                </c:pt>
                <c:pt idx="115">
                  <c:v>Entremont</c:v>
                </c:pt>
                <c:pt idx="116">
                  <c:v>All Others</c:v>
                </c:pt>
                <c:pt idx="117">
                  <c:v>Saint Agur</c:v>
                </c:pt>
                <c:pt idx="118">
                  <c:v>Apericube</c:v>
                </c:pt>
                <c:pt idx="119">
                  <c:v>Private Lab</c:v>
                </c:pt>
                <c:pt idx="120">
                  <c:v>Private Lab</c:v>
                </c:pt>
                <c:pt idx="121">
                  <c:v>St Moret</c:v>
                </c:pt>
                <c:pt idx="122">
                  <c:v>Private Lab</c:v>
                </c:pt>
                <c:pt idx="123">
                  <c:v>President</c:v>
                </c:pt>
                <c:pt idx="124">
                  <c:v>St Moret</c:v>
                </c:pt>
                <c:pt idx="125">
                  <c:v>Private Lab</c:v>
                </c:pt>
                <c:pt idx="126">
                  <c:v>Private Lab</c:v>
                </c:pt>
                <c:pt idx="127">
                  <c:v>Caprice Des</c:v>
                </c:pt>
                <c:pt idx="128">
                  <c:v>All Others</c:v>
                </c:pt>
                <c:pt idx="129">
                  <c:v>Private Lab</c:v>
                </c:pt>
                <c:pt idx="130">
                  <c:v>President</c:v>
                </c:pt>
                <c:pt idx="131">
                  <c:v>Philadelphi</c:v>
                </c:pt>
                <c:pt idx="132">
                  <c:v>President</c:v>
                </c:pt>
                <c:pt idx="133">
                  <c:v>Private Lab</c:v>
                </c:pt>
                <c:pt idx="134">
                  <c:v>Pochat</c:v>
                </c:pt>
                <c:pt idx="135">
                  <c:v>Philadelphi</c:v>
                </c:pt>
                <c:pt idx="136">
                  <c:v>President</c:v>
                </c:pt>
                <c:pt idx="137">
                  <c:v>Private Lab</c:v>
                </c:pt>
                <c:pt idx="138">
                  <c:v>Casa Azzurr</c:v>
                </c:pt>
                <c:pt idx="139">
                  <c:v>Salakis</c:v>
                </c:pt>
                <c:pt idx="140">
                  <c:v>Kiri</c:v>
                </c:pt>
                <c:pt idx="141">
                  <c:v>Private Lab</c:v>
                </c:pt>
                <c:pt idx="142">
                  <c:v>Leerdammer</c:v>
                </c:pt>
                <c:pt idx="143">
                  <c:v>Apericube</c:v>
                </c:pt>
                <c:pt idx="144">
                  <c:v>Istara</c:v>
                </c:pt>
                <c:pt idx="145">
                  <c:v>Private Lab</c:v>
                </c:pt>
                <c:pt idx="146">
                  <c:v>Boursin</c:v>
                </c:pt>
                <c:pt idx="147">
                  <c:v>Juraflore</c:v>
                </c:pt>
                <c:pt idx="148">
                  <c:v>Casa Azzurr</c:v>
                </c:pt>
                <c:pt idx="149">
                  <c:v>All Others</c:v>
                </c:pt>
                <c:pt idx="150">
                  <c:v>La Vache Qu</c:v>
                </c:pt>
                <c:pt idx="151">
                  <c:v>President</c:v>
                </c:pt>
                <c:pt idx="152">
                  <c:v>Apericube</c:v>
                </c:pt>
                <c:pt idx="153">
                  <c:v>Ficello</c:v>
                </c:pt>
                <c:pt idx="154">
                  <c:v>President</c:v>
                </c:pt>
                <c:pt idx="155">
                  <c:v>Entremont</c:v>
                </c:pt>
                <c:pt idx="156">
                  <c:v>Private Lab</c:v>
                </c:pt>
                <c:pt idx="157">
                  <c:v>Entremont</c:v>
                </c:pt>
                <c:pt idx="158">
                  <c:v>Private Lab</c:v>
                </c:pt>
                <c:pt idx="159">
                  <c:v>Mini Babybe</c:v>
                </c:pt>
                <c:pt idx="160">
                  <c:v>Laita: All </c:v>
                </c:pt>
                <c:pt idx="161">
                  <c:v>La Vache Qu</c:v>
                </c:pt>
                <c:pt idx="162">
                  <c:v>Apericube</c:v>
                </c:pt>
                <c:pt idx="163">
                  <c:v>All Others</c:v>
                </c:pt>
                <c:pt idx="164">
                  <c:v>Private Lab</c:v>
                </c:pt>
                <c:pt idx="165">
                  <c:v>Le Rustique</c:v>
                </c:pt>
                <c:pt idx="166">
                  <c:v>Private Lab</c:v>
                </c:pt>
                <c:pt idx="167">
                  <c:v>Private Lab</c:v>
                </c:pt>
                <c:pt idx="168">
                  <c:v>All Others</c:v>
                </c:pt>
                <c:pt idx="169">
                  <c:v>Etorki</c:v>
                </c:pt>
                <c:pt idx="170">
                  <c:v>Leerdammer</c:v>
                </c:pt>
                <c:pt idx="171">
                  <c:v>L'Ortolan</c:v>
                </c:pt>
                <c:pt idx="172">
                  <c:v>Private Lab</c:v>
                </c:pt>
                <c:pt idx="173">
                  <c:v>Private Lab</c:v>
                </c:pt>
                <c:pt idx="174">
                  <c:v>Lactalis: A</c:v>
                </c:pt>
                <c:pt idx="175">
                  <c:v>Soignon</c:v>
                </c:pt>
                <c:pt idx="176">
                  <c:v>Private Lab</c:v>
                </c:pt>
                <c:pt idx="177">
                  <c:v>Private Lab</c:v>
                </c:pt>
                <c:pt idx="178">
                  <c:v>Leerdammer</c:v>
                </c:pt>
                <c:pt idx="179">
                  <c:v>All Others</c:v>
                </c:pt>
                <c:pt idx="180">
                  <c:v>Private Lab</c:v>
                </c:pt>
                <c:pt idx="181">
                  <c:v>Coeur De Li</c:v>
                </c:pt>
                <c:pt idx="182">
                  <c:v>Caprice Des</c:v>
                </c:pt>
                <c:pt idx="183">
                  <c:v>Tartare</c:v>
                </c:pt>
                <c:pt idx="184">
                  <c:v>All Others</c:v>
                </c:pt>
                <c:pt idx="185">
                  <c:v>Salakis</c:v>
                </c:pt>
                <c:pt idx="186">
                  <c:v>Boursin</c:v>
                </c:pt>
                <c:pt idx="187">
                  <c:v>St Moret</c:v>
                </c:pt>
                <c:pt idx="188">
                  <c:v>Soignon</c:v>
                </c:pt>
                <c:pt idx="189">
                  <c:v>Bresse Bleu</c:v>
                </c:pt>
                <c:pt idx="190">
                  <c:v>Private Lab</c:v>
                </c:pt>
                <c:pt idx="191">
                  <c:v>Private Lab</c:v>
                </c:pt>
                <c:pt idx="192">
                  <c:v>L'Ortolan</c:v>
                </c:pt>
                <c:pt idx="193">
                  <c:v>President</c:v>
                </c:pt>
                <c:pt idx="194">
                  <c:v>All Others</c:v>
                </c:pt>
                <c:pt idx="195">
                  <c:v>Private Lab</c:v>
                </c:pt>
                <c:pt idx="196">
                  <c:v>Richesmonts</c:v>
                </c:pt>
                <c:pt idx="197">
                  <c:v>Private Lab</c:v>
                </c:pt>
                <c:pt idx="198">
                  <c:v>Private Lab</c:v>
                </c:pt>
                <c:pt idx="199">
                  <c:v>Private Lab</c:v>
                </c:pt>
                <c:pt idx="200">
                  <c:v>President</c:v>
                </c:pt>
                <c:pt idx="201">
                  <c:v>Entremont</c:v>
                </c:pt>
                <c:pt idx="202">
                  <c:v>Private Lab</c:v>
                </c:pt>
                <c:pt idx="203">
                  <c:v>Soignon</c:v>
                </c:pt>
                <c:pt idx="204">
                  <c:v>Mini Babybe</c:v>
                </c:pt>
                <c:pt idx="205">
                  <c:v>Le Rustique</c:v>
                </c:pt>
                <c:pt idx="206">
                  <c:v>President</c:v>
                </c:pt>
                <c:pt idx="207">
                  <c:v>Entremont</c:v>
                </c:pt>
                <c:pt idx="208">
                  <c:v>Soignon</c:v>
                </c:pt>
                <c:pt idx="209">
                  <c:v>Galbani</c:v>
                </c:pt>
                <c:pt idx="210">
                  <c:v>Private Lab</c:v>
                </c:pt>
                <c:pt idx="211">
                  <c:v>President</c:v>
                </c:pt>
                <c:pt idx="212">
                  <c:v>Lactalis: A</c:v>
                </c:pt>
                <c:pt idx="213">
                  <c:v>Apericube</c:v>
                </c:pt>
                <c:pt idx="214">
                  <c:v>Caprice Des</c:v>
                </c:pt>
                <c:pt idx="215">
                  <c:v>Casa Azzurr</c:v>
                </c:pt>
                <c:pt idx="216">
                  <c:v>Private Lab</c:v>
                </c:pt>
                <c:pt idx="217">
                  <c:v>All Others</c:v>
                </c:pt>
                <c:pt idx="218">
                  <c:v>Casa Azzurr</c:v>
                </c:pt>
                <c:pt idx="219">
                  <c:v>Paysan Bret</c:v>
                </c:pt>
                <c:pt idx="220">
                  <c:v>Private Lab</c:v>
                </c:pt>
                <c:pt idx="221">
                  <c:v>Aperivrais</c:v>
                </c:pt>
                <c:pt idx="222">
                  <c:v>Casa Azzurr</c:v>
                </c:pt>
                <c:pt idx="223">
                  <c:v>All Others</c:v>
                </c:pt>
                <c:pt idx="224">
                  <c:v>Saint Albra</c:v>
                </c:pt>
                <c:pt idx="225">
                  <c:v>Paysan Bret</c:v>
                </c:pt>
                <c:pt idx="226">
                  <c:v>Salakis</c:v>
                </c:pt>
                <c:pt idx="227">
                  <c:v>Le Brebiou</c:v>
                </c:pt>
                <c:pt idx="228">
                  <c:v>Lactalis: A</c:v>
                </c:pt>
                <c:pt idx="229">
                  <c:v>President</c:v>
                </c:pt>
                <c:pt idx="230">
                  <c:v>All Others</c:v>
                </c:pt>
                <c:pt idx="231">
                  <c:v>Aperivrais</c:v>
                </c:pt>
                <c:pt idx="232">
                  <c:v>Private Lab</c:v>
                </c:pt>
                <c:pt idx="233">
                  <c:v>Coeur De Li</c:v>
                </c:pt>
                <c:pt idx="234">
                  <c:v>Galbani</c:v>
                </c:pt>
                <c:pt idx="235">
                  <c:v>President</c:v>
                </c:pt>
                <c:pt idx="236">
                  <c:v>Richesmonts</c:v>
                </c:pt>
                <c:pt idx="237">
                  <c:v>Savencia: A</c:v>
                </c:pt>
                <c:pt idx="238">
                  <c:v>Private Lab</c:v>
                </c:pt>
                <c:pt idx="239">
                  <c:v>Casa Azzurr</c:v>
                </c:pt>
                <c:pt idx="240">
                  <c:v>Saint Agur</c:v>
                </c:pt>
                <c:pt idx="241">
                  <c:v>Chavroux</c:v>
                </c:pt>
                <c:pt idx="242">
                  <c:v>Chavroux</c:v>
                </c:pt>
                <c:pt idx="243">
                  <c:v>Paysan Bret</c:v>
                </c:pt>
                <c:pt idx="244">
                  <c:v>Savencia: A</c:v>
                </c:pt>
                <c:pt idx="245">
                  <c:v>All Others</c:v>
                </c:pt>
                <c:pt idx="246">
                  <c:v>Private Lab</c:v>
                </c:pt>
                <c:pt idx="247">
                  <c:v>Casa Azzurr</c:v>
                </c:pt>
                <c:pt idx="248">
                  <c:v>Private Lab</c:v>
                </c:pt>
                <c:pt idx="249">
                  <c:v>Entremont</c:v>
                </c:pt>
                <c:pt idx="250">
                  <c:v>All Others</c:v>
                </c:pt>
                <c:pt idx="251">
                  <c:v>All Others</c:v>
                </c:pt>
                <c:pt idx="252">
                  <c:v>Private Lab</c:v>
                </c:pt>
                <c:pt idx="253">
                  <c:v>Richesmonts</c:v>
                </c:pt>
                <c:pt idx="254">
                  <c:v>All Others</c:v>
                </c:pt>
                <c:pt idx="255">
                  <c:v>President</c:v>
                </c:pt>
                <c:pt idx="256">
                  <c:v>All Others</c:v>
                </c:pt>
                <c:pt idx="257">
                  <c:v>Casa Azzurr</c:v>
                </c:pt>
                <c:pt idx="258">
                  <c:v>Paysan Bret</c:v>
                </c:pt>
                <c:pt idx="259">
                  <c:v>Salakis</c:v>
                </c:pt>
                <c:pt idx="260">
                  <c:v>All Others</c:v>
                </c:pt>
                <c:pt idx="261">
                  <c:v>Leerdammer</c:v>
                </c:pt>
                <c:pt idx="262">
                  <c:v>Private Lab</c:v>
                </c:pt>
                <c:pt idx="263">
                  <c:v>Private Lab</c:v>
                </c:pt>
                <c:pt idx="264">
                  <c:v>Lactalis: A</c:v>
                </c:pt>
                <c:pt idx="265">
                  <c:v>Richesmonts</c:v>
                </c:pt>
                <c:pt idx="266">
                  <c:v>President</c:v>
                </c:pt>
                <c:pt idx="267">
                  <c:v>All Others</c:v>
                </c:pt>
                <c:pt idx="268">
                  <c:v>Saint Agur</c:v>
                </c:pt>
                <c:pt idx="269">
                  <c:v>La Vache Qu</c:v>
                </c:pt>
                <c:pt idx="270">
                  <c:v>La Vache Qu</c:v>
                </c:pt>
                <c:pt idx="271">
                  <c:v>Parmareggio</c:v>
                </c:pt>
                <c:pt idx="272">
                  <c:v>Apericube</c:v>
                </c:pt>
                <c:pt idx="273">
                  <c:v>President</c:v>
                </c:pt>
                <c:pt idx="274">
                  <c:v>La Vache Qu</c:v>
                </c:pt>
                <c:pt idx="275">
                  <c:v>Juraflore</c:v>
                </c:pt>
                <c:pt idx="276">
                  <c:v>Le Rustique</c:v>
                </c:pt>
                <c:pt idx="277">
                  <c:v>Port Salut</c:v>
                </c:pt>
                <c:pt idx="278">
                  <c:v>Richesmonts</c:v>
                </c:pt>
                <c:pt idx="279">
                  <c:v>Private Lab</c:v>
                </c:pt>
                <c:pt idx="280">
                  <c:v>Saint Agur</c:v>
                </c:pt>
                <c:pt idx="281">
                  <c:v>Private Lab</c:v>
                </c:pt>
                <c:pt idx="282">
                  <c:v>Boursin</c:v>
                </c:pt>
                <c:pt idx="283">
                  <c:v>Private Lab</c:v>
                </c:pt>
                <c:pt idx="284">
                  <c:v>Private Lab</c:v>
                </c:pt>
                <c:pt idx="285">
                  <c:v>Private Lab</c:v>
                </c:pt>
                <c:pt idx="286">
                  <c:v>Private Lab</c:v>
                </c:pt>
                <c:pt idx="287">
                  <c:v>Lou Perac</c:v>
                </c:pt>
                <c:pt idx="288">
                  <c:v>Saint Albra</c:v>
                </c:pt>
                <c:pt idx="289">
                  <c:v>Entremont</c:v>
                </c:pt>
                <c:pt idx="290">
                  <c:v>Private Lab</c:v>
                </c:pt>
                <c:pt idx="291">
                  <c:v>Casa Azzurr</c:v>
                </c:pt>
                <c:pt idx="292">
                  <c:v>Leerdammer</c:v>
                </c:pt>
                <c:pt idx="293">
                  <c:v>Soignon</c:v>
                </c:pt>
                <c:pt idx="294">
                  <c:v>Chavroux</c:v>
                </c:pt>
                <c:pt idx="295">
                  <c:v>All Others</c:v>
                </c:pt>
                <c:pt idx="296">
                  <c:v>Entremont</c:v>
                </c:pt>
                <c:pt idx="297">
                  <c:v>Soignon</c:v>
                </c:pt>
                <c:pt idx="298">
                  <c:v>Etorki</c:v>
                </c:pt>
                <c:pt idx="299">
                  <c:v>All Others</c:v>
                </c:pt>
                <c:pt idx="300">
                  <c:v>Private Lab</c:v>
                </c:pt>
                <c:pt idx="301">
                  <c:v>Entremont</c:v>
                </c:pt>
                <c:pt idx="302">
                  <c:v>President</c:v>
                </c:pt>
                <c:pt idx="303">
                  <c:v>Private Lab</c:v>
                </c:pt>
                <c:pt idx="304">
                  <c:v>Rondele</c:v>
                </c:pt>
                <c:pt idx="305">
                  <c:v>Leerdammer</c:v>
                </c:pt>
                <c:pt idx="306">
                  <c:v>Private Lab</c:v>
                </c:pt>
                <c:pt idx="307">
                  <c:v>Boursin</c:v>
                </c:pt>
                <c:pt idx="308">
                  <c:v>Soignon</c:v>
                </c:pt>
                <c:pt idx="309">
                  <c:v>P'Tit Louis</c:v>
                </c:pt>
                <c:pt idx="310">
                  <c:v>President</c:v>
                </c:pt>
                <c:pt idx="311">
                  <c:v>Galbani</c:v>
                </c:pt>
                <c:pt idx="312">
                  <c:v>Private Lab</c:v>
                </c:pt>
                <c:pt idx="313">
                  <c:v>All Others</c:v>
                </c:pt>
                <c:pt idx="314">
                  <c:v>Boursin</c:v>
                </c:pt>
                <c:pt idx="315">
                  <c:v>Private Lab</c:v>
                </c:pt>
                <c:pt idx="316">
                  <c:v>President</c:v>
                </c:pt>
                <c:pt idx="317">
                  <c:v>Caprice Des</c:v>
                </c:pt>
                <c:pt idx="318">
                  <c:v>All Others</c:v>
                </c:pt>
                <c:pt idx="319">
                  <c:v>All Others</c:v>
                </c:pt>
                <c:pt idx="320">
                  <c:v>Entremont</c:v>
                </c:pt>
                <c:pt idx="321">
                  <c:v>Private Lab</c:v>
                </c:pt>
                <c:pt idx="322">
                  <c:v>Private Lab</c:v>
                </c:pt>
                <c:pt idx="323">
                  <c:v>Private Lab</c:v>
                </c:pt>
                <c:pt idx="324">
                  <c:v>Private Lab</c:v>
                </c:pt>
                <c:pt idx="325">
                  <c:v>All Others</c:v>
                </c:pt>
                <c:pt idx="326">
                  <c:v>All Others</c:v>
                </c:pt>
                <c:pt idx="327">
                  <c:v>Private Lab</c:v>
                </c:pt>
                <c:pt idx="328">
                  <c:v>Ficello</c:v>
                </c:pt>
                <c:pt idx="329">
                  <c:v>Societe</c:v>
                </c:pt>
                <c:pt idx="330">
                  <c:v>Private Lab</c:v>
                </c:pt>
                <c:pt idx="331">
                  <c:v>La Pointe P</c:v>
                </c:pt>
                <c:pt idx="332">
                  <c:v>Casa Azzurr</c:v>
                </c:pt>
                <c:pt idx="333">
                  <c:v>All Others</c:v>
                </c:pt>
                <c:pt idx="334">
                  <c:v>Soignon</c:v>
                </c:pt>
                <c:pt idx="335">
                  <c:v>Galbani</c:v>
                </c:pt>
                <c:pt idx="336">
                  <c:v>Private Lab</c:v>
                </c:pt>
                <c:pt idx="337">
                  <c:v>Private Lab</c:v>
                </c:pt>
                <c:pt idx="338">
                  <c:v>Soignon</c:v>
                </c:pt>
                <c:pt idx="339">
                  <c:v>P'Tit Louis</c:v>
                </c:pt>
                <c:pt idx="340">
                  <c:v>Tartare</c:v>
                </c:pt>
                <c:pt idx="341">
                  <c:v>Lactalis: A</c:v>
                </c:pt>
                <c:pt idx="342">
                  <c:v>All Others</c:v>
                </c:pt>
                <c:pt idx="343">
                  <c:v>Private Lab</c:v>
                </c:pt>
                <c:pt idx="344">
                  <c:v>All Others</c:v>
                </c:pt>
                <c:pt idx="345">
                  <c:v>Soignon</c:v>
                </c:pt>
                <c:pt idx="346">
                  <c:v>Galbani</c:v>
                </c:pt>
                <c:pt idx="347">
                  <c:v>President</c:v>
                </c:pt>
                <c:pt idx="348">
                  <c:v>Caprice Des</c:v>
                </c:pt>
                <c:pt idx="349">
                  <c:v>Entremont</c:v>
                </c:pt>
                <c:pt idx="350">
                  <c:v>Private Lab</c:v>
                </c:pt>
                <c:pt idx="351">
                  <c:v>Private Lab</c:v>
                </c:pt>
                <c:pt idx="352">
                  <c:v>Kiri</c:v>
                </c:pt>
                <c:pt idx="353">
                  <c:v>Galbani</c:v>
                </c:pt>
                <c:pt idx="354">
                  <c:v>President</c:v>
                </c:pt>
                <c:pt idx="355">
                  <c:v>Galbani</c:v>
                </c:pt>
                <c:pt idx="356">
                  <c:v>Boursin</c:v>
                </c:pt>
                <c:pt idx="357">
                  <c:v>All Others</c:v>
                </c:pt>
                <c:pt idx="358">
                  <c:v>Etoile Du V</c:v>
                </c:pt>
                <c:pt idx="359">
                  <c:v>Aperivrais</c:v>
                </c:pt>
                <c:pt idx="360">
                  <c:v>All Others</c:v>
                </c:pt>
                <c:pt idx="361">
                  <c:v>All Others</c:v>
                </c:pt>
                <c:pt idx="362">
                  <c:v>Private Lab</c:v>
                </c:pt>
                <c:pt idx="363">
                  <c:v>Private Lab</c:v>
                </c:pt>
                <c:pt idx="364">
                  <c:v>Private Lab</c:v>
                </c:pt>
                <c:pt idx="365">
                  <c:v>St Moret</c:v>
                </c:pt>
                <c:pt idx="366">
                  <c:v>Entremont</c:v>
                </c:pt>
                <c:pt idx="367">
                  <c:v>Salakis</c:v>
                </c:pt>
                <c:pt idx="368">
                  <c:v>All Others</c:v>
                </c:pt>
                <c:pt idx="369">
                  <c:v>Apericube</c:v>
                </c:pt>
                <c:pt idx="370">
                  <c:v>La Pointe P</c:v>
                </c:pt>
                <c:pt idx="371">
                  <c:v>All Others</c:v>
                </c:pt>
                <c:pt idx="372">
                  <c:v>Casa Azzurr</c:v>
                </c:pt>
                <c:pt idx="373">
                  <c:v>Private Lab</c:v>
                </c:pt>
                <c:pt idx="374">
                  <c:v>All Others</c:v>
                </c:pt>
                <c:pt idx="375">
                  <c:v>All Others</c:v>
                </c:pt>
                <c:pt idx="376">
                  <c:v>Private Lab</c:v>
                </c:pt>
                <c:pt idx="377">
                  <c:v>Private Lab</c:v>
                </c:pt>
                <c:pt idx="378">
                  <c:v>All Others</c:v>
                </c:pt>
                <c:pt idx="379">
                  <c:v>Private Lab</c:v>
                </c:pt>
                <c:pt idx="380">
                  <c:v>Leerdammer</c:v>
                </c:pt>
                <c:pt idx="381">
                  <c:v>Cousteron</c:v>
                </c:pt>
                <c:pt idx="382">
                  <c:v>Caprice Des</c:v>
                </c:pt>
                <c:pt idx="383">
                  <c:v>Leerdammer</c:v>
                </c:pt>
                <c:pt idx="384">
                  <c:v>Pochat</c:v>
                </c:pt>
                <c:pt idx="385">
                  <c:v>Mini Babybe</c:v>
                </c:pt>
                <c:pt idx="386">
                  <c:v>Private Lab</c:v>
                </c:pt>
                <c:pt idx="387">
                  <c:v>Casa Azzurr</c:v>
                </c:pt>
                <c:pt idx="388">
                  <c:v>Private Lab</c:v>
                </c:pt>
                <c:pt idx="389">
                  <c:v>Bresse Bleu</c:v>
                </c:pt>
                <c:pt idx="390">
                  <c:v>Private Lab</c:v>
                </c:pt>
                <c:pt idx="391">
                  <c:v>Paysan Bret</c:v>
                </c:pt>
                <c:pt idx="392">
                  <c:v>Tartare</c:v>
                </c:pt>
                <c:pt idx="393">
                  <c:v>All Others</c:v>
                </c:pt>
                <c:pt idx="394">
                  <c:v>Private Lab</c:v>
                </c:pt>
                <c:pt idx="395">
                  <c:v>Chaussee Au</c:v>
                </c:pt>
                <c:pt idx="396">
                  <c:v>Pave D'Affi</c:v>
                </c:pt>
                <c:pt idx="397">
                  <c:v>All Others</c:v>
                </c:pt>
                <c:pt idx="398">
                  <c:v>Societe</c:v>
                </c:pt>
                <c:pt idx="399">
                  <c:v>P'Tit Louis</c:v>
                </c:pt>
                <c:pt idx="400">
                  <c:v>All Others</c:v>
                </c:pt>
                <c:pt idx="401">
                  <c:v>Galbani</c:v>
                </c:pt>
                <c:pt idx="402">
                  <c:v>Private Lab</c:v>
                </c:pt>
                <c:pt idx="403">
                  <c:v>Saint Agur</c:v>
                </c:pt>
                <c:pt idx="404">
                  <c:v>All Others</c:v>
                </c:pt>
                <c:pt idx="405">
                  <c:v>Casa Azzurr</c:v>
                </c:pt>
                <c:pt idx="406">
                  <c:v>Casa Azzurr</c:v>
                </c:pt>
                <c:pt idx="407">
                  <c:v>Boursin</c:v>
                </c:pt>
                <c:pt idx="408">
                  <c:v>Private Lab</c:v>
                </c:pt>
                <c:pt idx="409">
                  <c:v>All Others</c:v>
                </c:pt>
                <c:pt idx="410">
                  <c:v>Aperivrais</c:v>
                </c:pt>
                <c:pt idx="411">
                  <c:v>Societe</c:v>
                </c:pt>
                <c:pt idx="412">
                  <c:v>Private Lab</c:v>
                </c:pt>
                <c:pt idx="413">
                  <c:v>Apericube</c:v>
                </c:pt>
                <c:pt idx="414">
                  <c:v>Pave D'Affi</c:v>
                </c:pt>
                <c:pt idx="415">
                  <c:v>Mini Babybe</c:v>
                </c:pt>
                <c:pt idx="416">
                  <c:v>Private Lab</c:v>
                </c:pt>
                <c:pt idx="417">
                  <c:v>La Vache Qu</c:v>
                </c:pt>
                <c:pt idx="418">
                  <c:v>Private Lab</c:v>
                </c:pt>
                <c:pt idx="419">
                  <c:v>Babybel</c:v>
                </c:pt>
                <c:pt idx="420">
                  <c:v>Boursin</c:v>
                </c:pt>
                <c:pt idx="421">
                  <c:v>Tartare</c:v>
                </c:pt>
                <c:pt idx="422">
                  <c:v>Fauquet</c:v>
                </c:pt>
                <c:pt idx="423">
                  <c:v>All Others</c:v>
                </c:pt>
                <c:pt idx="424">
                  <c:v>All Others</c:v>
                </c:pt>
                <c:pt idx="425">
                  <c:v>Private Lab</c:v>
                </c:pt>
                <c:pt idx="426">
                  <c:v>All Others</c:v>
                </c:pt>
                <c:pt idx="427">
                  <c:v>Private Lab</c:v>
                </c:pt>
                <c:pt idx="428">
                  <c:v>All Others</c:v>
                </c:pt>
                <c:pt idx="429">
                  <c:v>All Others</c:v>
                </c:pt>
                <c:pt idx="430">
                  <c:v>Richesmonts</c:v>
                </c:pt>
                <c:pt idx="431">
                  <c:v>All Others</c:v>
                </c:pt>
                <c:pt idx="432">
                  <c:v>Private Lab</c:v>
                </c:pt>
                <c:pt idx="433">
                  <c:v>La Pointe P</c:v>
                </c:pt>
                <c:pt idx="434">
                  <c:v>Private Lab</c:v>
                </c:pt>
                <c:pt idx="435">
                  <c:v>Private Lab</c:v>
                </c:pt>
                <c:pt idx="436">
                  <c:v>Fol Epi</c:v>
                </c:pt>
                <c:pt idx="437">
                  <c:v>Private Lab</c:v>
                </c:pt>
                <c:pt idx="438">
                  <c:v>President</c:v>
                </c:pt>
                <c:pt idx="439">
                  <c:v>Private Lab</c:v>
                </c:pt>
                <c:pt idx="440">
                  <c:v>All Others</c:v>
                </c:pt>
                <c:pt idx="441">
                  <c:v>Vieux Pane</c:v>
                </c:pt>
                <c:pt idx="442">
                  <c:v>President</c:v>
                </c:pt>
                <c:pt idx="443">
                  <c:v>Lactalis: A</c:v>
                </c:pt>
                <c:pt idx="444">
                  <c:v>Private Lab</c:v>
                </c:pt>
                <c:pt idx="445">
                  <c:v>Lou Perac</c:v>
                </c:pt>
                <c:pt idx="446">
                  <c:v>Richesmonts</c:v>
                </c:pt>
                <c:pt idx="447">
                  <c:v>All Others</c:v>
                </c:pt>
                <c:pt idx="448">
                  <c:v>All Others</c:v>
                </c:pt>
                <c:pt idx="449">
                  <c:v>All Others</c:v>
                </c:pt>
                <c:pt idx="450">
                  <c:v>Private Lab</c:v>
                </c:pt>
                <c:pt idx="451">
                  <c:v>All Others</c:v>
                </c:pt>
                <c:pt idx="452">
                  <c:v>Private Lab</c:v>
                </c:pt>
                <c:pt idx="453">
                  <c:v>All Others</c:v>
                </c:pt>
                <c:pt idx="454">
                  <c:v>Lactalis: A</c:v>
                </c:pt>
                <c:pt idx="455">
                  <c:v>St Moret</c:v>
                </c:pt>
                <c:pt idx="456">
                  <c:v>Private Lab</c:v>
                </c:pt>
                <c:pt idx="457">
                  <c:v>All Others</c:v>
                </c:pt>
                <c:pt idx="458">
                  <c:v>Apericube</c:v>
                </c:pt>
                <c:pt idx="459">
                  <c:v>All Others</c:v>
                </c:pt>
                <c:pt idx="460">
                  <c:v>Philadelphi</c:v>
                </c:pt>
                <c:pt idx="461">
                  <c:v>Casa Azzurr</c:v>
                </c:pt>
                <c:pt idx="462">
                  <c:v>La Pointe P</c:v>
                </c:pt>
                <c:pt idx="463">
                  <c:v>Societe</c:v>
                </c:pt>
                <c:pt idx="464">
                  <c:v>St Moret</c:v>
                </c:pt>
                <c:pt idx="465">
                  <c:v>Entremont</c:v>
                </c:pt>
                <c:pt idx="466">
                  <c:v>Private Lab</c:v>
                </c:pt>
                <c:pt idx="467">
                  <c:v>Savencia: A</c:v>
                </c:pt>
                <c:pt idx="468">
                  <c:v>Private Lab</c:v>
                </c:pt>
                <c:pt idx="469">
                  <c:v>All Others</c:v>
                </c:pt>
                <c:pt idx="470">
                  <c:v>Apericube</c:v>
                </c:pt>
                <c:pt idx="471">
                  <c:v>All Others</c:v>
                </c:pt>
                <c:pt idx="472">
                  <c:v>All Others</c:v>
                </c:pt>
                <c:pt idx="473">
                  <c:v>Private Lab</c:v>
                </c:pt>
                <c:pt idx="474">
                  <c:v>Private Lab</c:v>
                </c:pt>
                <c:pt idx="475">
                  <c:v>All Others</c:v>
                </c:pt>
                <c:pt idx="476">
                  <c:v>Private Lab</c:v>
                </c:pt>
                <c:pt idx="477">
                  <c:v>Tartare</c:v>
                </c:pt>
                <c:pt idx="478">
                  <c:v>Private Lab</c:v>
                </c:pt>
                <c:pt idx="479">
                  <c:v>All Others</c:v>
                </c:pt>
                <c:pt idx="480">
                  <c:v>Casa Azzurr</c:v>
                </c:pt>
                <c:pt idx="481">
                  <c:v>Richesmonts</c:v>
                </c:pt>
                <c:pt idx="482">
                  <c:v>President</c:v>
                </c:pt>
                <c:pt idx="483">
                  <c:v>Private Lab</c:v>
                </c:pt>
                <c:pt idx="484">
                  <c:v>All Others</c:v>
                </c:pt>
                <c:pt idx="485">
                  <c:v>Private Lab</c:v>
                </c:pt>
                <c:pt idx="486">
                  <c:v>Corsica</c:v>
                </c:pt>
                <c:pt idx="487">
                  <c:v>Kiri</c:v>
                </c:pt>
                <c:pt idx="488">
                  <c:v>Ficello</c:v>
                </c:pt>
                <c:pt idx="489">
                  <c:v>All Others</c:v>
                </c:pt>
                <c:pt idx="490">
                  <c:v>Private Lab</c:v>
                </c:pt>
                <c:pt idx="491">
                  <c:v>Lou Perac</c:v>
                </c:pt>
                <c:pt idx="492">
                  <c:v>Private Lab</c:v>
                </c:pt>
                <c:pt idx="493">
                  <c:v>L'Ortolan</c:v>
                </c:pt>
                <c:pt idx="494">
                  <c:v>Private Lab</c:v>
                </c:pt>
                <c:pt idx="495">
                  <c:v>Private Lab</c:v>
                </c:pt>
                <c:pt idx="496">
                  <c:v>Istara</c:v>
                </c:pt>
                <c:pt idx="497">
                  <c:v>Babybel</c:v>
                </c:pt>
                <c:pt idx="498">
                  <c:v>All Others</c:v>
                </c:pt>
                <c:pt idx="499">
                  <c:v>Private Lab</c:v>
                </c:pt>
                <c:pt idx="500">
                  <c:v>Soignon</c:v>
                </c:pt>
                <c:pt idx="501">
                  <c:v>All Others</c:v>
                </c:pt>
                <c:pt idx="502">
                  <c:v>Private Lab</c:v>
                </c:pt>
                <c:pt idx="503">
                  <c:v>Private Lab</c:v>
                </c:pt>
                <c:pt idx="504">
                  <c:v>Galbani</c:v>
                </c:pt>
                <c:pt idx="505">
                  <c:v>All Others</c:v>
                </c:pt>
                <c:pt idx="506">
                  <c:v>Entremont</c:v>
                </c:pt>
                <c:pt idx="507">
                  <c:v>Paysan Bret</c:v>
                </c:pt>
                <c:pt idx="508">
                  <c:v>All Others</c:v>
                </c:pt>
                <c:pt idx="509">
                  <c:v>All Others</c:v>
                </c:pt>
                <c:pt idx="510">
                  <c:v>Soignon</c:v>
                </c:pt>
                <c:pt idx="511">
                  <c:v>All Others</c:v>
                </c:pt>
                <c:pt idx="512">
                  <c:v>All Others</c:v>
                </c:pt>
                <c:pt idx="513">
                  <c:v>Savencia: A</c:v>
                </c:pt>
                <c:pt idx="514">
                  <c:v>Le Rustique</c:v>
                </c:pt>
                <c:pt idx="515">
                  <c:v>All Others</c:v>
                </c:pt>
                <c:pt idx="516">
                  <c:v>All Others</c:v>
                </c:pt>
                <c:pt idx="517">
                  <c:v>Galbani</c:v>
                </c:pt>
                <c:pt idx="518">
                  <c:v>Boursin</c:v>
                </c:pt>
                <c:pt idx="519">
                  <c:v>Pave D'Affi</c:v>
                </c:pt>
                <c:pt idx="520">
                  <c:v>Private Lab</c:v>
                </c:pt>
                <c:pt idx="521">
                  <c:v>All Others</c:v>
                </c:pt>
                <c:pt idx="522">
                  <c:v>Richesmonts</c:v>
                </c:pt>
                <c:pt idx="523">
                  <c:v>Private Lab</c:v>
                </c:pt>
                <c:pt idx="524">
                  <c:v>Private Lab</c:v>
                </c:pt>
                <c:pt idx="525">
                  <c:v>All Others</c:v>
                </c:pt>
                <c:pt idx="526">
                  <c:v>Private Lab</c:v>
                </c:pt>
                <c:pt idx="527">
                  <c:v>All Others</c:v>
                </c:pt>
                <c:pt idx="528">
                  <c:v>Galbani</c:v>
                </c:pt>
                <c:pt idx="529">
                  <c:v>Apericube</c:v>
                </c:pt>
                <c:pt idx="530">
                  <c:v>La Pointe P</c:v>
                </c:pt>
                <c:pt idx="531">
                  <c:v>President</c:v>
                </c:pt>
                <c:pt idx="532">
                  <c:v>Private Lab</c:v>
                </c:pt>
                <c:pt idx="533">
                  <c:v>All Others</c:v>
                </c:pt>
                <c:pt idx="534">
                  <c:v>President</c:v>
                </c:pt>
                <c:pt idx="535">
                  <c:v>Private Lab</c:v>
                </c:pt>
                <c:pt idx="536">
                  <c:v>Private Lab</c:v>
                </c:pt>
                <c:pt idx="537">
                  <c:v>All Others</c:v>
                </c:pt>
                <c:pt idx="538">
                  <c:v>Fauquet</c:v>
                </c:pt>
                <c:pt idx="539">
                  <c:v>Private Lab</c:v>
                </c:pt>
                <c:pt idx="540">
                  <c:v>Corsica</c:v>
                </c:pt>
                <c:pt idx="541">
                  <c:v>All Others</c:v>
                </c:pt>
                <c:pt idx="542">
                  <c:v>Entremont</c:v>
                </c:pt>
                <c:pt idx="543">
                  <c:v>Casa Azzurr</c:v>
                </c:pt>
                <c:pt idx="544">
                  <c:v>President</c:v>
                </c:pt>
                <c:pt idx="545">
                  <c:v>Soignon</c:v>
                </c:pt>
                <c:pt idx="546">
                  <c:v>Lactalis: A</c:v>
                </c:pt>
                <c:pt idx="547">
                  <c:v>Triballat N</c:v>
                </c:pt>
                <c:pt idx="548">
                  <c:v>Entremont</c:v>
                </c:pt>
                <c:pt idx="549">
                  <c:v>Private Lab</c:v>
                </c:pt>
                <c:pt idx="550">
                  <c:v>Private Lab</c:v>
                </c:pt>
                <c:pt idx="551">
                  <c:v>Private Lab</c:v>
                </c:pt>
                <c:pt idx="552">
                  <c:v>Private Lab</c:v>
                </c:pt>
                <c:pt idx="553">
                  <c:v>Private Lab</c:v>
                </c:pt>
                <c:pt idx="554">
                  <c:v>All Others</c:v>
                </c:pt>
                <c:pt idx="555">
                  <c:v>Private Lab</c:v>
                </c:pt>
                <c:pt idx="556">
                  <c:v>All Others</c:v>
                </c:pt>
                <c:pt idx="557">
                  <c:v>All Others</c:v>
                </c:pt>
                <c:pt idx="558">
                  <c:v>Savencia: A</c:v>
                </c:pt>
                <c:pt idx="559">
                  <c:v>Private Lab</c:v>
                </c:pt>
                <c:pt idx="560">
                  <c:v>Private Lab</c:v>
                </c:pt>
                <c:pt idx="561">
                  <c:v>Savencia: A</c:v>
                </c:pt>
                <c:pt idx="562">
                  <c:v>All Others</c:v>
                </c:pt>
                <c:pt idx="563">
                  <c:v>Casa Azzurr</c:v>
                </c:pt>
                <c:pt idx="564">
                  <c:v>Private Lab</c:v>
                </c:pt>
                <c:pt idx="565">
                  <c:v>Apericube</c:v>
                </c:pt>
                <c:pt idx="566">
                  <c:v>Private Lab</c:v>
                </c:pt>
                <c:pt idx="567">
                  <c:v>Private Lab</c:v>
                </c:pt>
                <c:pt idx="568">
                  <c:v>Le Coq Crem</c:v>
                </c:pt>
                <c:pt idx="569">
                  <c:v>All Others</c:v>
                </c:pt>
                <c:pt idx="570">
                  <c:v>Private Lab</c:v>
                </c:pt>
                <c:pt idx="571">
                  <c:v>All Others</c:v>
                </c:pt>
                <c:pt idx="572">
                  <c:v>Private Lab</c:v>
                </c:pt>
                <c:pt idx="573">
                  <c:v>All Others</c:v>
                </c:pt>
                <c:pt idx="574">
                  <c:v>All Others</c:v>
                </c:pt>
                <c:pt idx="575">
                  <c:v>Private Lab</c:v>
                </c:pt>
                <c:pt idx="576">
                  <c:v>All Others</c:v>
                </c:pt>
                <c:pt idx="577">
                  <c:v>Private Lab</c:v>
                </c:pt>
                <c:pt idx="578">
                  <c:v>Private Lab</c:v>
                </c:pt>
                <c:pt idx="579">
                  <c:v>All Others</c:v>
                </c:pt>
                <c:pt idx="580">
                  <c:v>Private Lab</c:v>
                </c:pt>
                <c:pt idx="581">
                  <c:v>All Others</c:v>
                </c:pt>
                <c:pt idx="582">
                  <c:v>All Others</c:v>
                </c:pt>
                <c:pt idx="583">
                  <c:v>Entremont</c:v>
                </c:pt>
                <c:pt idx="584">
                  <c:v>Boursin</c:v>
                </c:pt>
                <c:pt idx="585">
                  <c:v>All Others</c:v>
                </c:pt>
                <c:pt idx="586">
                  <c:v>Islos</c:v>
                </c:pt>
                <c:pt idx="587">
                  <c:v>Private Lab</c:v>
                </c:pt>
                <c:pt idx="588">
                  <c:v>Violife</c:v>
                </c:pt>
                <c:pt idx="589">
                  <c:v>Leerdammer</c:v>
                </c:pt>
                <c:pt idx="590">
                  <c:v>President</c:v>
                </c:pt>
                <c:pt idx="591">
                  <c:v>Private Lab</c:v>
                </c:pt>
                <c:pt idx="592">
                  <c:v>All Others</c:v>
                </c:pt>
                <c:pt idx="593">
                  <c:v>Mini Babybe</c:v>
                </c:pt>
                <c:pt idx="594">
                  <c:v>Pochat</c:v>
                </c:pt>
                <c:pt idx="595">
                  <c:v>All Others</c:v>
                </c:pt>
                <c:pt idx="596">
                  <c:v>All Others</c:v>
                </c:pt>
                <c:pt idx="597">
                  <c:v>La Pointe P</c:v>
                </c:pt>
                <c:pt idx="598">
                  <c:v>Private Lab</c:v>
                </c:pt>
                <c:pt idx="599">
                  <c:v>Private Lab</c:v>
                </c:pt>
                <c:pt idx="600">
                  <c:v>Pave D'Affi</c:v>
                </c:pt>
                <c:pt idx="601">
                  <c:v>All Others</c:v>
                </c:pt>
                <c:pt idx="602">
                  <c:v>Private Lab</c:v>
                </c:pt>
                <c:pt idx="603">
                  <c:v>Casa Azzurr</c:v>
                </c:pt>
                <c:pt idx="604">
                  <c:v>Galbani</c:v>
                </c:pt>
                <c:pt idx="605">
                  <c:v>Private Lab</c:v>
                </c:pt>
                <c:pt idx="606">
                  <c:v>Etoile Du V</c:v>
                </c:pt>
                <c:pt idx="607">
                  <c:v>Casa Azzurr</c:v>
                </c:pt>
                <c:pt idx="608">
                  <c:v>Private Lab</c:v>
                </c:pt>
                <c:pt idx="609">
                  <c:v>Societe</c:v>
                </c:pt>
                <c:pt idx="610">
                  <c:v>Galbani</c:v>
                </c:pt>
                <c:pt idx="611">
                  <c:v>All Others</c:v>
                </c:pt>
                <c:pt idx="612">
                  <c:v>Private Lab</c:v>
                </c:pt>
                <c:pt idx="613">
                  <c:v>All Others</c:v>
                </c:pt>
                <c:pt idx="614">
                  <c:v>All Others</c:v>
                </c:pt>
                <c:pt idx="615">
                  <c:v>Kiri</c:v>
                </c:pt>
                <c:pt idx="616">
                  <c:v>Rondele</c:v>
                </c:pt>
                <c:pt idx="617">
                  <c:v>Private Lab</c:v>
                </c:pt>
                <c:pt idx="618">
                  <c:v>President</c:v>
                </c:pt>
                <c:pt idx="619">
                  <c:v>Ficello</c:v>
                </c:pt>
                <c:pt idx="620">
                  <c:v>All Others</c:v>
                </c:pt>
                <c:pt idx="621">
                  <c:v>Private Lab</c:v>
                </c:pt>
                <c:pt idx="622">
                  <c:v>All Others</c:v>
                </c:pt>
                <c:pt idx="623">
                  <c:v>Casa Azzurr</c:v>
                </c:pt>
                <c:pt idx="624">
                  <c:v>Private Lab</c:v>
                </c:pt>
                <c:pt idx="625">
                  <c:v>Private Lab</c:v>
                </c:pt>
                <c:pt idx="626">
                  <c:v>Private Lab</c:v>
                </c:pt>
                <c:pt idx="627">
                  <c:v>All Others</c:v>
                </c:pt>
                <c:pt idx="628">
                  <c:v>All Others</c:v>
                </c:pt>
                <c:pt idx="629">
                  <c:v>All Others</c:v>
                </c:pt>
                <c:pt idx="630">
                  <c:v>Casa Azzurr</c:v>
                </c:pt>
                <c:pt idx="631">
                  <c:v>All Others</c:v>
                </c:pt>
                <c:pt idx="632">
                  <c:v>President</c:v>
                </c:pt>
                <c:pt idx="633">
                  <c:v>Societe</c:v>
                </c:pt>
                <c:pt idx="634">
                  <c:v>Leerdammer</c:v>
                </c:pt>
                <c:pt idx="635">
                  <c:v>Private Lab</c:v>
                </c:pt>
                <c:pt idx="636">
                  <c:v>All Others</c:v>
                </c:pt>
                <c:pt idx="637">
                  <c:v>All Others</c:v>
                </c:pt>
                <c:pt idx="638">
                  <c:v>Apericube</c:v>
                </c:pt>
                <c:pt idx="639">
                  <c:v>All Others</c:v>
                </c:pt>
                <c:pt idx="640">
                  <c:v>All Others</c:v>
                </c:pt>
                <c:pt idx="641">
                  <c:v>All Others</c:v>
                </c:pt>
                <c:pt idx="642">
                  <c:v>Entremont</c:v>
                </c:pt>
                <c:pt idx="643">
                  <c:v>Leerdammer</c:v>
                </c:pt>
                <c:pt idx="644">
                  <c:v>Milleret: A</c:v>
                </c:pt>
                <c:pt idx="645">
                  <c:v>Private Lab</c:v>
                </c:pt>
                <c:pt idx="646">
                  <c:v>Casa Azzurr</c:v>
                </c:pt>
                <c:pt idx="647">
                  <c:v>Private Lab</c:v>
                </c:pt>
                <c:pt idx="648">
                  <c:v>All Others</c:v>
                </c:pt>
                <c:pt idx="649">
                  <c:v>Galbani</c:v>
                </c:pt>
                <c:pt idx="650">
                  <c:v>All Others</c:v>
                </c:pt>
                <c:pt idx="651">
                  <c:v>Etoile Du Q</c:v>
                </c:pt>
                <c:pt idx="652">
                  <c:v>Eurial Autr</c:v>
                </c:pt>
                <c:pt idx="653">
                  <c:v>Apericube</c:v>
                </c:pt>
                <c:pt idx="654">
                  <c:v>All Others</c:v>
                </c:pt>
                <c:pt idx="655">
                  <c:v>All Others</c:v>
                </c:pt>
                <c:pt idx="656">
                  <c:v>All Others</c:v>
                </c:pt>
                <c:pt idx="657">
                  <c:v>Private Lab</c:v>
                </c:pt>
                <c:pt idx="658">
                  <c:v>Pave D'Affi</c:v>
                </c:pt>
                <c:pt idx="659">
                  <c:v>All Others</c:v>
                </c:pt>
                <c:pt idx="660">
                  <c:v>All Others</c:v>
                </c:pt>
                <c:pt idx="661">
                  <c:v>All Others</c:v>
                </c:pt>
                <c:pt idx="662">
                  <c:v>Boursin</c:v>
                </c:pt>
                <c:pt idx="663">
                  <c:v>L'Ortolan</c:v>
                </c:pt>
                <c:pt idx="664">
                  <c:v>Private Lab</c:v>
                </c:pt>
                <c:pt idx="665">
                  <c:v>Private Lab</c:v>
                </c:pt>
                <c:pt idx="666">
                  <c:v>Kiri</c:v>
                </c:pt>
                <c:pt idx="667">
                  <c:v>Private Lab</c:v>
                </c:pt>
                <c:pt idx="668">
                  <c:v>Lou Perac</c:v>
                </c:pt>
                <c:pt idx="669">
                  <c:v>Saint Agur</c:v>
                </c:pt>
                <c:pt idx="670">
                  <c:v>All Others</c:v>
                </c:pt>
                <c:pt idx="671">
                  <c:v>Violife</c:v>
                </c:pt>
                <c:pt idx="672">
                  <c:v>All Others</c:v>
                </c:pt>
                <c:pt idx="673">
                  <c:v>All Others</c:v>
                </c:pt>
                <c:pt idx="674">
                  <c:v>Chaussee Au</c:v>
                </c:pt>
                <c:pt idx="675">
                  <c:v>Violife</c:v>
                </c:pt>
                <c:pt idx="676">
                  <c:v>L'Ortolan</c:v>
                </c:pt>
                <c:pt idx="677">
                  <c:v>All Others</c:v>
                </c:pt>
                <c:pt idx="678">
                  <c:v>All Others</c:v>
                </c:pt>
                <c:pt idx="679">
                  <c:v>Richesmonts</c:v>
                </c:pt>
                <c:pt idx="680">
                  <c:v>O'Tapas Ape</c:v>
                </c:pt>
                <c:pt idx="681">
                  <c:v>All Others</c:v>
                </c:pt>
                <c:pt idx="682">
                  <c:v>Boursin</c:v>
                </c:pt>
                <c:pt idx="683">
                  <c:v>Salakis</c:v>
                </c:pt>
                <c:pt idx="684">
                  <c:v>All Others</c:v>
                </c:pt>
                <c:pt idx="685">
                  <c:v>All Others</c:v>
                </c:pt>
                <c:pt idx="686">
                  <c:v>President</c:v>
                </c:pt>
                <c:pt idx="687">
                  <c:v>All Others</c:v>
                </c:pt>
                <c:pt idx="688">
                  <c:v>President</c:v>
                </c:pt>
                <c:pt idx="689">
                  <c:v>Soignon</c:v>
                </c:pt>
                <c:pt idx="690">
                  <c:v>Coeur De Li</c:v>
                </c:pt>
                <c:pt idx="691">
                  <c:v>Le Coq Crem</c:v>
                </c:pt>
                <c:pt idx="692">
                  <c:v>All Others</c:v>
                </c:pt>
                <c:pt idx="693">
                  <c:v>Soignon</c:v>
                </c:pt>
                <c:pt idx="694">
                  <c:v>All Others</c:v>
                </c:pt>
                <c:pt idx="695">
                  <c:v>Mini Babybe</c:v>
                </c:pt>
                <c:pt idx="696">
                  <c:v>Private Lab</c:v>
                </c:pt>
                <c:pt idx="697">
                  <c:v>Etoile Du V</c:v>
                </c:pt>
                <c:pt idx="698">
                  <c:v>All Others</c:v>
                </c:pt>
                <c:pt idx="699">
                  <c:v>President</c:v>
                </c:pt>
                <c:pt idx="700">
                  <c:v>Societe</c:v>
                </c:pt>
                <c:pt idx="701">
                  <c:v>All Others</c:v>
                </c:pt>
                <c:pt idx="702">
                  <c:v>All Others</c:v>
                </c:pt>
                <c:pt idx="703">
                  <c:v>All Others</c:v>
                </c:pt>
                <c:pt idx="704">
                  <c:v>Galbani</c:v>
                </c:pt>
                <c:pt idx="705">
                  <c:v>Private Lab</c:v>
                </c:pt>
                <c:pt idx="706">
                  <c:v>La Pointe P</c:v>
                </c:pt>
                <c:pt idx="707">
                  <c:v>Savencia: A</c:v>
                </c:pt>
                <c:pt idx="708">
                  <c:v>Private Lab</c:v>
                </c:pt>
                <c:pt idx="709">
                  <c:v>All Others</c:v>
                </c:pt>
                <c:pt idx="710">
                  <c:v>All Others</c:v>
                </c:pt>
                <c:pt idx="711">
                  <c:v>Rondele</c:v>
                </c:pt>
                <c:pt idx="712">
                  <c:v>Casa Azzurr</c:v>
                </c:pt>
                <c:pt idx="713">
                  <c:v>Richesmonts</c:v>
                </c:pt>
                <c:pt idx="714">
                  <c:v>Violife</c:v>
                </c:pt>
                <c:pt idx="715">
                  <c:v>Richesmonts</c:v>
                </c:pt>
                <c:pt idx="716">
                  <c:v>All Others</c:v>
                </c:pt>
                <c:pt idx="717">
                  <c:v>All Others</c:v>
                </c:pt>
                <c:pt idx="718">
                  <c:v>Juraflore</c:v>
                </c:pt>
                <c:pt idx="719">
                  <c:v>Savencia: A</c:v>
                </c:pt>
                <c:pt idx="720">
                  <c:v>All Others</c:v>
                </c:pt>
                <c:pt idx="721">
                  <c:v>All Others</c:v>
                </c:pt>
                <c:pt idx="722">
                  <c:v>All Others</c:v>
                </c:pt>
                <c:pt idx="723">
                  <c:v>Private Lab</c:v>
                </c:pt>
                <c:pt idx="724">
                  <c:v>All Others</c:v>
                </c:pt>
                <c:pt idx="725">
                  <c:v>All Others</c:v>
                </c:pt>
                <c:pt idx="726">
                  <c:v>Richesmonts</c:v>
                </c:pt>
                <c:pt idx="727">
                  <c:v>President</c:v>
                </c:pt>
                <c:pt idx="728">
                  <c:v>Entremont</c:v>
                </c:pt>
                <c:pt idx="729">
                  <c:v>Galbani</c:v>
                </c:pt>
                <c:pt idx="730">
                  <c:v>Galbani</c:v>
                </c:pt>
                <c:pt idx="731">
                  <c:v>Fauquet</c:v>
                </c:pt>
                <c:pt idx="732">
                  <c:v>Savencia: A</c:v>
                </c:pt>
                <c:pt idx="733">
                  <c:v>Private Lab</c:v>
                </c:pt>
                <c:pt idx="734">
                  <c:v>Galbani</c:v>
                </c:pt>
                <c:pt idx="735">
                  <c:v>Juraflore</c:v>
                </c:pt>
                <c:pt idx="736">
                  <c:v>All Others</c:v>
                </c:pt>
                <c:pt idx="737">
                  <c:v>All Others</c:v>
                </c:pt>
                <c:pt idx="738">
                  <c:v>All Others</c:v>
                </c:pt>
                <c:pt idx="739">
                  <c:v>Tartare</c:v>
                </c:pt>
                <c:pt idx="740">
                  <c:v>All Others</c:v>
                </c:pt>
                <c:pt idx="741">
                  <c:v>All Others</c:v>
                </c:pt>
                <c:pt idx="742">
                  <c:v>All Others</c:v>
                </c:pt>
                <c:pt idx="743">
                  <c:v>Private Lab</c:v>
                </c:pt>
                <c:pt idx="744">
                  <c:v>All Others</c:v>
                </c:pt>
                <c:pt idx="745">
                  <c:v>Entremont</c:v>
                </c:pt>
                <c:pt idx="746">
                  <c:v>La Belle Et</c:v>
                </c:pt>
                <c:pt idx="747">
                  <c:v>Leerdammer</c:v>
                </c:pt>
                <c:pt idx="748">
                  <c:v>All Others</c:v>
                </c:pt>
                <c:pt idx="749">
                  <c:v>Soignon</c:v>
                </c:pt>
                <c:pt idx="750">
                  <c:v>All Others</c:v>
                </c:pt>
                <c:pt idx="751">
                  <c:v>Eurial Autr</c:v>
                </c:pt>
                <c:pt idx="752">
                  <c:v>Milleret: A</c:v>
                </c:pt>
                <c:pt idx="753">
                  <c:v>Violife</c:v>
                </c:pt>
                <c:pt idx="754">
                  <c:v>All Others</c:v>
                </c:pt>
                <c:pt idx="755">
                  <c:v>Triballat R</c:v>
                </c:pt>
                <c:pt idx="756">
                  <c:v>Casa Azzurr</c:v>
                </c:pt>
                <c:pt idx="757">
                  <c:v>Mini Babybe</c:v>
                </c:pt>
                <c:pt idx="758">
                  <c:v>Private Lab</c:v>
                </c:pt>
                <c:pt idx="759">
                  <c:v>Pave D'Affi</c:v>
                </c:pt>
                <c:pt idx="760">
                  <c:v>All Others</c:v>
                </c:pt>
                <c:pt idx="761">
                  <c:v>All Others</c:v>
                </c:pt>
                <c:pt idx="762">
                  <c:v>Aperivrais</c:v>
                </c:pt>
                <c:pt idx="763">
                  <c:v>All Others</c:v>
                </c:pt>
                <c:pt idx="764">
                  <c:v>Salakis</c:v>
                </c:pt>
                <c:pt idx="765">
                  <c:v>President</c:v>
                </c:pt>
                <c:pt idx="766">
                  <c:v>Private Lab</c:v>
                </c:pt>
                <c:pt idx="767">
                  <c:v>Private Lab</c:v>
                </c:pt>
                <c:pt idx="768">
                  <c:v>Private Lab</c:v>
                </c:pt>
                <c:pt idx="769">
                  <c:v>All Others</c:v>
                </c:pt>
                <c:pt idx="770">
                  <c:v>La Belle Et</c:v>
                </c:pt>
                <c:pt idx="771">
                  <c:v>All Others</c:v>
                </c:pt>
                <c:pt idx="772">
                  <c:v>All Others</c:v>
                </c:pt>
                <c:pt idx="773">
                  <c:v>Saint Agur</c:v>
                </c:pt>
                <c:pt idx="774">
                  <c:v>Private Lab</c:v>
                </c:pt>
                <c:pt idx="775">
                  <c:v>Leerdammer</c:v>
                </c:pt>
                <c:pt idx="776">
                  <c:v>All Others</c:v>
                </c:pt>
                <c:pt idx="777">
                  <c:v>Private Lab</c:v>
                </c:pt>
                <c:pt idx="778">
                  <c:v>All Others</c:v>
                </c:pt>
                <c:pt idx="779">
                  <c:v>All Others</c:v>
                </c:pt>
                <c:pt idx="780">
                  <c:v>Boursin</c:v>
                </c:pt>
                <c:pt idx="781">
                  <c:v>Private Lab</c:v>
                </c:pt>
                <c:pt idx="782">
                  <c:v>Savencia: A</c:v>
                </c:pt>
                <c:pt idx="783">
                  <c:v>Richesmonts</c:v>
                </c:pt>
                <c:pt idx="784">
                  <c:v>All Others</c:v>
                </c:pt>
                <c:pt idx="785">
                  <c:v>Leerdammer</c:v>
                </c:pt>
                <c:pt idx="786">
                  <c:v>All Others</c:v>
                </c:pt>
                <c:pt idx="787">
                  <c:v>Private Lab</c:v>
                </c:pt>
                <c:pt idx="788">
                  <c:v>Bresse Bleu</c:v>
                </c:pt>
                <c:pt idx="789">
                  <c:v>Mini Babybe</c:v>
                </c:pt>
                <c:pt idx="790">
                  <c:v>All Others</c:v>
                </c:pt>
                <c:pt idx="791">
                  <c:v>St Moret</c:v>
                </c:pt>
                <c:pt idx="792">
                  <c:v>All Others</c:v>
                </c:pt>
                <c:pt idx="793">
                  <c:v>President</c:v>
                </c:pt>
                <c:pt idx="794">
                  <c:v>All Others</c:v>
                </c:pt>
                <c:pt idx="795">
                  <c:v>Saint Agur</c:v>
                </c:pt>
                <c:pt idx="796">
                  <c:v>President</c:v>
                </c:pt>
                <c:pt idx="797">
                  <c:v>Lou Perac</c:v>
                </c:pt>
                <c:pt idx="798">
                  <c:v>Fol Epi</c:v>
                </c:pt>
                <c:pt idx="799">
                  <c:v>Etoile Du V</c:v>
                </c:pt>
                <c:pt idx="800">
                  <c:v>All Others</c:v>
                </c:pt>
                <c:pt idx="801">
                  <c:v>All Others</c:v>
                </c:pt>
                <c:pt idx="802">
                  <c:v>Nurishh</c:v>
                </c:pt>
                <c:pt idx="803">
                  <c:v>President</c:v>
                </c:pt>
                <c:pt idx="804">
                  <c:v>Apericube</c:v>
                </c:pt>
                <c:pt idx="805">
                  <c:v>All Others</c:v>
                </c:pt>
                <c:pt idx="806">
                  <c:v>Private Lab</c:v>
                </c:pt>
                <c:pt idx="807">
                  <c:v>La Vache Qu</c:v>
                </c:pt>
                <c:pt idx="808">
                  <c:v>Richesmonts</c:v>
                </c:pt>
                <c:pt idx="809">
                  <c:v>All Others</c:v>
                </c:pt>
                <c:pt idx="810">
                  <c:v>Private Lab</c:v>
                </c:pt>
                <c:pt idx="811">
                  <c:v>Apericube</c:v>
                </c:pt>
                <c:pt idx="812">
                  <c:v>All Others</c:v>
                </c:pt>
                <c:pt idx="813">
                  <c:v>All Others</c:v>
                </c:pt>
                <c:pt idx="814">
                  <c:v>Boursin</c:v>
                </c:pt>
                <c:pt idx="815">
                  <c:v>Triballat R</c:v>
                </c:pt>
                <c:pt idx="816">
                  <c:v>All Others</c:v>
                </c:pt>
                <c:pt idx="817">
                  <c:v>Savencia: A</c:v>
                </c:pt>
                <c:pt idx="818">
                  <c:v>All Others</c:v>
                </c:pt>
                <c:pt idx="819">
                  <c:v>All Others</c:v>
                </c:pt>
                <c:pt idx="820">
                  <c:v>President</c:v>
                </c:pt>
                <c:pt idx="821">
                  <c:v>All Others</c:v>
                </c:pt>
                <c:pt idx="822">
                  <c:v>O'Tapas Ape</c:v>
                </c:pt>
                <c:pt idx="823">
                  <c:v>Eurial Autr</c:v>
                </c:pt>
                <c:pt idx="824">
                  <c:v>St Moret</c:v>
                </c:pt>
                <c:pt idx="825">
                  <c:v>All Others</c:v>
                </c:pt>
                <c:pt idx="826">
                  <c:v>Aperivrais</c:v>
                </c:pt>
                <c:pt idx="827">
                  <c:v>All Others</c:v>
                </c:pt>
                <c:pt idx="828">
                  <c:v>Bresse Bleu</c:v>
                </c:pt>
                <c:pt idx="829">
                  <c:v>Leerdammer</c:v>
                </c:pt>
                <c:pt idx="830">
                  <c:v>All Others</c:v>
                </c:pt>
                <c:pt idx="831">
                  <c:v>Entremont</c:v>
                </c:pt>
                <c:pt idx="832">
                  <c:v>Savencia: A</c:v>
                </c:pt>
                <c:pt idx="833">
                  <c:v>All Others</c:v>
                </c:pt>
                <c:pt idx="834">
                  <c:v>All Others</c:v>
                </c:pt>
                <c:pt idx="835">
                  <c:v>Private Lab</c:v>
                </c:pt>
                <c:pt idx="836">
                  <c:v>All Others</c:v>
                </c:pt>
                <c:pt idx="837">
                  <c:v>All Others</c:v>
                </c:pt>
                <c:pt idx="838">
                  <c:v>Nurishh</c:v>
                </c:pt>
                <c:pt idx="839">
                  <c:v>St Moret</c:v>
                </c:pt>
                <c:pt idx="840">
                  <c:v>Islos</c:v>
                </c:pt>
                <c:pt idx="841">
                  <c:v>All Others</c:v>
                </c:pt>
                <c:pt idx="842">
                  <c:v>All Others</c:v>
                </c:pt>
                <c:pt idx="843">
                  <c:v>Richesmonts</c:v>
                </c:pt>
                <c:pt idx="844">
                  <c:v>Eurial Autr</c:v>
                </c:pt>
                <c:pt idx="845">
                  <c:v>Triballat N</c:v>
                </c:pt>
                <c:pt idx="846">
                  <c:v>Private Lab</c:v>
                </c:pt>
                <c:pt idx="847">
                  <c:v>President</c:v>
                </c:pt>
                <c:pt idx="848">
                  <c:v>All Others</c:v>
                </c:pt>
                <c:pt idx="849">
                  <c:v>All Others</c:v>
                </c:pt>
                <c:pt idx="850">
                  <c:v>Aperivrais</c:v>
                </c:pt>
                <c:pt idx="851">
                  <c:v>La Belle Et</c:v>
                </c:pt>
                <c:pt idx="852">
                  <c:v>All Others</c:v>
                </c:pt>
                <c:pt idx="853">
                  <c:v>All Others</c:v>
                </c:pt>
                <c:pt idx="854">
                  <c:v>All Others</c:v>
                </c:pt>
                <c:pt idx="855">
                  <c:v>Private Lab</c:v>
                </c:pt>
                <c:pt idx="856">
                  <c:v>Private Lab</c:v>
                </c:pt>
                <c:pt idx="857">
                  <c:v>Etorki</c:v>
                </c:pt>
                <c:pt idx="858">
                  <c:v>Private Lab</c:v>
                </c:pt>
                <c:pt idx="859">
                  <c:v>Boursin</c:v>
                </c:pt>
                <c:pt idx="860">
                  <c:v>Apericube</c:v>
                </c:pt>
                <c:pt idx="861">
                  <c:v>Entremont</c:v>
                </c:pt>
                <c:pt idx="862">
                  <c:v>L'Ortolan</c:v>
                </c:pt>
                <c:pt idx="863">
                  <c:v>Violife</c:v>
                </c:pt>
                <c:pt idx="864">
                  <c:v>Etoile Du Q</c:v>
                </c:pt>
                <c:pt idx="865">
                  <c:v>Lactalis: A</c:v>
                </c:pt>
                <c:pt idx="866">
                  <c:v>Tartare</c:v>
                </c:pt>
                <c:pt idx="867">
                  <c:v>Lactalis: A</c:v>
                </c:pt>
                <c:pt idx="868">
                  <c:v>Violife</c:v>
                </c:pt>
                <c:pt idx="869">
                  <c:v>All Others</c:v>
                </c:pt>
                <c:pt idx="870">
                  <c:v>All Others</c:v>
                </c:pt>
                <c:pt idx="871">
                  <c:v>All Others</c:v>
                </c:pt>
                <c:pt idx="872">
                  <c:v>Nurishh</c:v>
                </c:pt>
                <c:pt idx="873">
                  <c:v>Eurial Autr</c:v>
                </c:pt>
                <c:pt idx="874">
                  <c:v>All Others</c:v>
                </c:pt>
                <c:pt idx="875">
                  <c:v>All Others</c:v>
                </c:pt>
                <c:pt idx="876">
                  <c:v>Lactalis: A</c:v>
                </c:pt>
                <c:pt idx="877">
                  <c:v>Private Lab</c:v>
                </c:pt>
                <c:pt idx="878">
                  <c:v>Etoile Du V</c:v>
                </c:pt>
                <c:pt idx="879">
                  <c:v>All Others</c:v>
                </c:pt>
                <c:pt idx="880">
                  <c:v>All Others</c:v>
                </c:pt>
                <c:pt idx="881">
                  <c:v>All Others</c:v>
                </c:pt>
                <c:pt idx="882">
                  <c:v>All Others</c:v>
                </c:pt>
                <c:pt idx="883">
                  <c:v>Nurishh</c:v>
                </c:pt>
                <c:pt idx="884">
                  <c:v>All Others</c:v>
                </c:pt>
                <c:pt idx="885">
                  <c:v>All Others</c:v>
                </c:pt>
                <c:pt idx="886">
                  <c:v>Private Lab</c:v>
                </c:pt>
                <c:pt idx="887">
                  <c:v>Nurishh</c:v>
                </c:pt>
                <c:pt idx="888">
                  <c:v>All Others</c:v>
                </c:pt>
                <c:pt idx="889">
                  <c:v>All Others</c:v>
                </c:pt>
                <c:pt idx="890">
                  <c:v>All Others</c:v>
                </c:pt>
                <c:pt idx="891">
                  <c:v>Nurishh</c:v>
                </c:pt>
                <c:pt idx="892">
                  <c:v>Violife</c:v>
                </c:pt>
                <c:pt idx="893">
                  <c:v>All Others</c:v>
                </c:pt>
                <c:pt idx="894">
                  <c:v>Casa Azzurr</c:v>
                </c:pt>
                <c:pt idx="895">
                  <c:v>Boursin</c:v>
                </c:pt>
                <c:pt idx="896">
                  <c:v>All Others</c:v>
                </c:pt>
                <c:pt idx="897">
                  <c:v>All Others</c:v>
                </c:pt>
                <c:pt idx="898">
                  <c:v>Private Lab</c:v>
                </c:pt>
                <c:pt idx="899">
                  <c:v>All Others</c:v>
                </c:pt>
                <c:pt idx="900">
                  <c:v>Leerdammer</c:v>
                </c:pt>
                <c:pt idx="901">
                  <c:v>All Others</c:v>
                </c:pt>
                <c:pt idx="902">
                  <c:v>All Others</c:v>
                </c:pt>
                <c:pt idx="903">
                  <c:v>Aperivrais</c:v>
                </c:pt>
                <c:pt idx="904">
                  <c:v>Etoile Du Q</c:v>
                </c:pt>
                <c:pt idx="905">
                  <c:v>Boursin</c:v>
                </c:pt>
                <c:pt idx="906">
                  <c:v>All Others</c:v>
                </c:pt>
                <c:pt idx="907">
                  <c:v>All Others</c:v>
                </c:pt>
                <c:pt idx="908">
                  <c:v>Entremont</c:v>
                </c:pt>
                <c:pt idx="909">
                  <c:v>All Others</c:v>
                </c:pt>
                <c:pt idx="910">
                  <c:v>Nurishh</c:v>
                </c:pt>
                <c:pt idx="911">
                  <c:v>Private Lab</c:v>
                </c:pt>
                <c:pt idx="912">
                  <c:v>All Others</c:v>
                </c:pt>
                <c:pt idx="913">
                  <c:v>Private Lab</c:v>
                </c:pt>
                <c:pt idx="914">
                  <c:v>Soignon</c:v>
                </c:pt>
                <c:pt idx="915">
                  <c:v>All Others</c:v>
                </c:pt>
                <c:pt idx="916">
                  <c:v>All Others</c:v>
                </c:pt>
                <c:pt idx="917">
                  <c:v>All Others</c:v>
                </c:pt>
                <c:pt idx="918">
                  <c:v>Lactalis: A</c:v>
                </c:pt>
                <c:pt idx="919">
                  <c:v>All Others</c:v>
                </c:pt>
                <c:pt idx="920">
                  <c:v>La Belle Et</c:v>
                </c:pt>
                <c:pt idx="921">
                  <c:v>All Others</c:v>
                </c:pt>
                <c:pt idx="922">
                  <c:v>Soignon</c:v>
                </c:pt>
                <c:pt idx="923">
                  <c:v>All Others</c:v>
                </c:pt>
                <c:pt idx="924">
                  <c:v>All Others</c:v>
                </c:pt>
                <c:pt idx="925">
                  <c:v>Savencia: A</c:v>
                </c:pt>
                <c:pt idx="926">
                  <c:v>All Others</c:v>
                </c:pt>
                <c:pt idx="927">
                  <c:v>Savencia: A</c:v>
                </c:pt>
                <c:pt idx="928">
                  <c:v>President</c:v>
                </c:pt>
                <c:pt idx="929">
                  <c:v>Triballat N</c:v>
                </c:pt>
                <c:pt idx="930">
                  <c:v>Boursin</c:v>
                </c:pt>
                <c:pt idx="931">
                  <c:v>Eurial Autr</c:v>
                </c:pt>
                <c:pt idx="932">
                  <c:v>All Others</c:v>
                </c:pt>
                <c:pt idx="933">
                  <c:v>Le Brebiou</c:v>
                </c:pt>
                <c:pt idx="934">
                  <c:v>All Others</c:v>
                </c:pt>
                <c:pt idx="935">
                  <c:v>All Others</c:v>
                </c:pt>
                <c:pt idx="936">
                  <c:v>Savencia: A</c:v>
                </c:pt>
                <c:pt idx="937">
                  <c:v>All Others</c:v>
                </c:pt>
                <c:pt idx="938">
                  <c:v>Lactalis: A</c:v>
                </c:pt>
                <c:pt idx="939">
                  <c:v>All Others</c:v>
                </c:pt>
                <c:pt idx="940">
                  <c:v>All Others</c:v>
                </c:pt>
                <c:pt idx="941">
                  <c:v>Private Lab</c:v>
                </c:pt>
                <c:pt idx="942">
                  <c:v>All Others</c:v>
                </c:pt>
                <c:pt idx="943">
                  <c:v>O'Tapas Ape</c:v>
                </c:pt>
                <c:pt idx="944">
                  <c:v>All Others</c:v>
                </c:pt>
                <c:pt idx="945">
                  <c:v>Lactalis: A</c:v>
                </c:pt>
                <c:pt idx="946">
                  <c:v>All Others</c:v>
                </c:pt>
                <c:pt idx="947">
                  <c:v>Private Lab</c:v>
                </c:pt>
                <c:pt idx="948">
                  <c:v>All Others</c:v>
                </c:pt>
                <c:pt idx="949">
                  <c:v>All Others</c:v>
                </c:pt>
                <c:pt idx="950">
                  <c:v>Richesmonts</c:v>
                </c:pt>
                <c:pt idx="951">
                  <c:v>Entremont</c:v>
                </c:pt>
                <c:pt idx="952">
                  <c:v>Bresse Bleu</c:v>
                </c:pt>
                <c:pt idx="953">
                  <c:v>All Others</c:v>
                </c:pt>
                <c:pt idx="954">
                  <c:v>All Others</c:v>
                </c:pt>
                <c:pt idx="955">
                  <c:v>All Others</c:v>
                </c:pt>
                <c:pt idx="956">
                  <c:v>All Others</c:v>
                </c:pt>
                <c:pt idx="957">
                  <c:v>Chavroux</c:v>
                </c:pt>
                <c:pt idx="958">
                  <c:v>Private Lab</c:v>
                </c:pt>
                <c:pt idx="959">
                  <c:v>Coeur De Li</c:v>
                </c:pt>
                <c:pt idx="960">
                  <c:v>Salakis</c:v>
                </c:pt>
                <c:pt idx="961">
                  <c:v>All Others</c:v>
                </c:pt>
                <c:pt idx="962">
                  <c:v>Private Lab</c:v>
                </c:pt>
                <c:pt idx="963">
                  <c:v>All Others</c:v>
                </c:pt>
                <c:pt idx="964">
                  <c:v>All Others</c:v>
                </c:pt>
                <c:pt idx="965">
                  <c:v>Pave D'Affi</c:v>
                </c:pt>
                <c:pt idx="966">
                  <c:v>All Others</c:v>
                </c:pt>
                <c:pt idx="967">
                  <c:v>All Others</c:v>
                </c:pt>
                <c:pt idx="968">
                  <c:v>Milleret: A</c:v>
                </c:pt>
                <c:pt idx="969">
                  <c:v>Violife</c:v>
                </c:pt>
                <c:pt idx="970">
                  <c:v>Etoile Du V</c:v>
                </c:pt>
                <c:pt idx="971">
                  <c:v>Fauquet</c:v>
                </c:pt>
                <c:pt idx="972">
                  <c:v>All Others</c:v>
                </c:pt>
                <c:pt idx="973">
                  <c:v>All Others</c:v>
                </c:pt>
                <c:pt idx="974">
                  <c:v>Etoile Du V</c:v>
                </c:pt>
                <c:pt idx="975">
                  <c:v>Milleret: A</c:v>
                </c:pt>
                <c:pt idx="976">
                  <c:v>Paysan Bret</c:v>
                </c:pt>
                <c:pt idx="977">
                  <c:v>Port Salut</c:v>
                </c:pt>
                <c:pt idx="978">
                  <c:v>Etoile Du V</c:v>
                </c:pt>
                <c:pt idx="979">
                  <c:v>Private Lab</c:v>
                </c:pt>
                <c:pt idx="980">
                  <c:v>Apericube</c:v>
                </c:pt>
                <c:pt idx="981">
                  <c:v>All Others</c:v>
                </c:pt>
                <c:pt idx="982">
                  <c:v>All Others</c:v>
                </c:pt>
                <c:pt idx="983">
                  <c:v>Lactalis: A</c:v>
                </c:pt>
                <c:pt idx="984">
                  <c:v>All Others</c:v>
                </c:pt>
                <c:pt idx="985">
                  <c:v>Casa Azzurr</c:v>
                </c:pt>
                <c:pt idx="986">
                  <c:v>All Others</c:v>
                </c:pt>
                <c:pt idx="987">
                  <c:v>All Others</c:v>
                </c:pt>
                <c:pt idx="988">
                  <c:v>All Others</c:v>
                </c:pt>
                <c:pt idx="989">
                  <c:v>All Others</c:v>
                </c:pt>
                <c:pt idx="990">
                  <c:v>Juraflore</c:v>
                </c:pt>
                <c:pt idx="991">
                  <c:v>All Others</c:v>
                </c:pt>
                <c:pt idx="992">
                  <c:v>All Others</c:v>
                </c:pt>
                <c:pt idx="993">
                  <c:v>Carre Frais</c:v>
                </c:pt>
                <c:pt idx="994">
                  <c:v>All Others</c:v>
                </c:pt>
                <c:pt idx="995">
                  <c:v>President</c:v>
                </c:pt>
                <c:pt idx="996">
                  <c:v>Nurishh</c:v>
                </c:pt>
                <c:pt idx="997">
                  <c:v>Violife</c:v>
                </c:pt>
                <c:pt idx="998">
                  <c:v>Triballat R</c:v>
                </c:pt>
                <c:pt idx="999">
                  <c:v>All Others</c:v>
                </c:pt>
                <c:pt idx="1000">
                  <c:v>All Others</c:v>
                </c:pt>
                <c:pt idx="1001">
                  <c:v>All Others</c:v>
                </c:pt>
                <c:pt idx="1002">
                  <c:v>Tartare</c:v>
                </c:pt>
                <c:pt idx="1003">
                  <c:v>Apericube</c:v>
                </c:pt>
                <c:pt idx="1004">
                  <c:v>All Others</c:v>
                </c:pt>
                <c:pt idx="1005">
                  <c:v>All Others</c:v>
                </c:pt>
                <c:pt idx="1006">
                  <c:v>Eurial Autr</c:v>
                </c:pt>
                <c:pt idx="1007">
                  <c:v>All Others</c:v>
                </c:pt>
                <c:pt idx="1008">
                  <c:v>All Others</c:v>
                </c:pt>
                <c:pt idx="1009">
                  <c:v>Casa Azzurr</c:v>
                </c:pt>
                <c:pt idx="1010">
                  <c:v>Paysan Bret</c:v>
                </c:pt>
                <c:pt idx="1011">
                  <c:v>All Others</c:v>
                </c:pt>
                <c:pt idx="1012">
                  <c:v>All Others</c:v>
                </c:pt>
                <c:pt idx="1013">
                  <c:v>Private Lab</c:v>
                </c:pt>
                <c:pt idx="1014">
                  <c:v>All Others</c:v>
                </c:pt>
                <c:pt idx="1015">
                  <c:v>All Others</c:v>
                </c:pt>
                <c:pt idx="1016">
                  <c:v>All Others</c:v>
                </c:pt>
                <c:pt idx="1017">
                  <c:v>All Others</c:v>
                </c:pt>
                <c:pt idx="1018">
                  <c:v>All Others</c:v>
                </c:pt>
                <c:pt idx="1019">
                  <c:v>Private Lab</c:v>
                </c:pt>
                <c:pt idx="1020">
                  <c:v>All Others</c:v>
                </c:pt>
                <c:pt idx="1021">
                  <c:v>Boursin</c:v>
                </c:pt>
                <c:pt idx="1022">
                  <c:v>Societe</c:v>
                </c:pt>
                <c:pt idx="1023">
                  <c:v>Etoile Du V</c:v>
                </c:pt>
                <c:pt idx="1024">
                  <c:v>Etoile Du Q</c:v>
                </c:pt>
                <c:pt idx="1025">
                  <c:v>Private Lab</c:v>
                </c:pt>
                <c:pt idx="1026">
                  <c:v>All Others</c:v>
                </c:pt>
                <c:pt idx="1027">
                  <c:v>All Others</c:v>
                </c:pt>
                <c:pt idx="1028">
                  <c:v>Saint Albra</c:v>
                </c:pt>
                <c:pt idx="1029">
                  <c:v>La Vache Qu</c:v>
                </c:pt>
                <c:pt idx="1030">
                  <c:v>All Others</c:v>
                </c:pt>
                <c:pt idx="1031">
                  <c:v>Lactalis: A</c:v>
                </c:pt>
                <c:pt idx="1032">
                  <c:v>All Others</c:v>
                </c:pt>
                <c:pt idx="1033">
                  <c:v>Pochat</c:v>
                </c:pt>
                <c:pt idx="1034">
                  <c:v>Private Lab</c:v>
                </c:pt>
                <c:pt idx="1035">
                  <c:v>All Others</c:v>
                </c:pt>
                <c:pt idx="1036">
                  <c:v>All Others</c:v>
                </c:pt>
                <c:pt idx="1037">
                  <c:v>All Others</c:v>
                </c:pt>
                <c:pt idx="1038">
                  <c:v>All Others</c:v>
                </c:pt>
                <c:pt idx="1039">
                  <c:v>Private Lab</c:v>
                </c:pt>
                <c:pt idx="1040">
                  <c:v>All Others</c:v>
                </c:pt>
                <c:pt idx="1041">
                  <c:v>All Others</c:v>
                </c:pt>
                <c:pt idx="1042">
                  <c:v>Private Lab</c:v>
                </c:pt>
                <c:pt idx="1043">
                  <c:v>All Others</c:v>
                </c:pt>
                <c:pt idx="1044">
                  <c:v>Galbani</c:v>
                </c:pt>
                <c:pt idx="1045">
                  <c:v>All Others</c:v>
                </c:pt>
                <c:pt idx="1046">
                  <c:v>All Others</c:v>
                </c:pt>
                <c:pt idx="1047">
                  <c:v>Milleret: A</c:v>
                </c:pt>
                <c:pt idx="1048">
                  <c:v>Etoile Du V</c:v>
                </c:pt>
                <c:pt idx="1049">
                  <c:v>All Others</c:v>
                </c:pt>
                <c:pt idx="1050">
                  <c:v>Corsica</c:v>
                </c:pt>
                <c:pt idx="1051">
                  <c:v>Lactalis: A</c:v>
                </c:pt>
                <c:pt idx="1052">
                  <c:v>Eurial Autr</c:v>
                </c:pt>
                <c:pt idx="1053">
                  <c:v>All Others</c:v>
                </c:pt>
                <c:pt idx="1054">
                  <c:v>All Others</c:v>
                </c:pt>
                <c:pt idx="1055">
                  <c:v>All Others</c:v>
                </c:pt>
                <c:pt idx="1056">
                  <c:v>All Others</c:v>
                </c:pt>
                <c:pt idx="1057">
                  <c:v>Private Lab</c:v>
                </c:pt>
                <c:pt idx="1058">
                  <c:v>All Others</c:v>
                </c:pt>
                <c:pt idx="1059">
                  <c:v>All Others</c:v>
                </c:pt>
                <c:pt idx="1060">
                  <c:v>All Others</c:v>
                </c:pt>
                <c:pt idx="1061">
                  <c:v>All Others</c:v>
                </c:pt>
                <c:pt idx="1062">
                  <c:v>Private Lab</c:v>
                </c:pt>
                <c:pt idx="1063">
                  <c:v>All Others</c:v>
                </c:pt>
                <c:pt idx="1064">
                  <c:v>All Others</c:v>
                </c:pt>
                <c:pt idx="1065">
                  <c:v>O'Tapas Ape</c:v>
                </c:pt>
                <c:pt idx="1066">
                  <c:v>Lactalis: A</c:v>
                </c:pt>
                <c:pt idx="1067">
                  <c:v>Private Lab</c:v>
                </c:pt>
                <c:pt idx="1068">
                  <c:v>Eurial Autr</c:v>
                </c:pt>
                <c:pt idx="1069">
                  <c:v>All Others</c:v>
                </c:pt>
                <c:pt idx="1070">
                  <c:v>All Others</c:v>
                </c:pt>
                <c:pt idx="1071">
                  <c:v>All Others</c:v>
                </c:pt>
                <c:pt idx="1072">
                  <c:v>Private Lab</c:v>
                </c:pt>
                <c:pt idx="1073">
                  <c:v>All Others</c:v>
                </c:pt>
                <c:pt idx="1074">
                  <c:v>All Others</c:v>
                </c:pt>
                <c:pt idx="1075">
                  <c:v>All Others</c:v>
                </c:pt>
                <c:pt idx="1076">
                  <c:v>Private Lab</c:v>
                </c:pt>
                <c:pt idx="1077">
                  <c:v>All Others</c:v>
                </c:pt>
                <c:pt idx="1078">
                  <c:v>Private Lab</c:v>
                </c:pt>
                <c:pt idx="1079">
                  <c:v>Mini Babybe</c:v>
                </c:pt>
                <c:pt idx="1080">
                  <c:v>Pochat</c:v>
                </c:pt>
                <c:pt idx="1081">
                  <c:v>All Others</c:v>
                </c:pt>
                <c:pt idx="1082">
                  <c:v>All Others</c:v>
                </c:pt>
                <c:pt idx="1083">
                  <c:v>Richesmonts</c:v>
                </c:pt>
                <c:pt idx="1084">
                  <c:v>All Others</c:v>
                </c:pt>
                <c:pt idx="1085">
                  <c:v>All Others</c:v>
                </c:pt>
                <c:pt idx="1086">
                  <c:v>All Others</c:v>
                </c:pt>
                <c:pt idx="1087">
                  <c:v>All Others</c:v>
                </c:pt>
                <c:pt idx="1088">
                  <c:v>All Others</c:v>
                </c:pt>
                <c:pt idx="1089">
                  <c:v>All Others</c:v>
                </c:pt>
                <c:pt idx="1090">
                  <c:v>All Others</c:v>
                </c:pt>
                <c:pt idx="1091">
                  <c:v>Galbani</c:v>
                </c:pt>
                <c:pt idx="1092">
                  <c:v>All Others</c:v>
                </c:pt>
                <c:pt idx="1093">
                  <c:v>P'Tit Louis</c:v>
                </c:pt>
                <c:pt idx="1094">
                  <c:v>All Others</c:v>
                </c:pt>
                <c:pt idx="1095">
                  <c:v>All Others</c:v>
                </c:pt>
                <c:pt idx="1096">
                  <c:v>All Others</c:v>
                </c:pt>
                <c:pt idx="1097">
                  <c:v>All Others</c:v>
                </c:pt>
                <c:pt idx="1098">
                  <c:v>All Others</c:v>
                </c:pt>
                <c:pt idx="1099">
                  <c:v>Boursin</c:v>
                </c:pt>
                <c:pt idx="1100">
                  <c:v>All Others</c:v>
                </c:pt>
                <c:pt idx="1101">
                  <c:v>All Others</c:v>
                </c:pt>
                <c:pt idx="1102">
                  <c:v>Private Lab</c:v>
                </c:pt>
                <c:pt idx="1103">
                  <c:v>Boursin</c:v>
                </c:pt>
                <c:pt idx="1104">
                  <c:v>Boursin</c:v>
                </c:pt>
                <c:pt idx="1105">
                  <c:v>All Others</c:v>
                </c:pt>
                <c:pt idx="1106">
                  <c:v>All Others</c:v>
                </c:pt>
                <c:pt idx="1107">
                  <c:v>Private Lab</c:v>
                </c:pt>
                <c:pt idx="1108">
                  <c:v>All Others</c:v>
                </c:pt>
                <c:pt idx="1109">
                  <c:v>All Others</c:v>
                </c:pt>
                <c:pt idx="1110">
                  <c:v>All Others</c:v>
                </c:pt>
                <c:pt idx="1111">
                  <c:v>Private Lab</c:v>
                </c:pt>
                <c:pt idx="1112">
                  <c:v>All Others</c:v>
                </c:pt>
                <c:pt idx="1113">
                  <c:v>All Others</c:v>
                </c:pt>
                <c:pt idx="1114">
                  <c:v>All Others</c:v>
                </c:pt>
                <c:pt idx="1115">
                  <c:v>Triballat N</c:v>
                </c:pt>
                <c:pt idx="1116">
                  <c:v>Lactalis: A</c:v>
                </c:pt>
                <c:pt idx="1117">
                  <c:v>All Others</c:v>
                </c:pt>
                <c:pt idx="1118">
                  <c:v>All Others</c:v>
                </c:pt>
                <c:pt idx="1119">
                  <c:v>Petit Billy</c:v>
                </c:pt>
                <c:pt idx="1120">
                  <c:v>La Vache Qu</c:v>
                </c:pt>
                <c:pt idx="1121">
                  <c:v>Private Lab</c:v>
                </c:pt>
                <c:pt idx="1122">
                  <c:v>All Others</c:v>
                </c:pt>
                <c:pt idx="1123">
                  <c:v>Entremont</c:v>
                </c:pt>
                <c:pt idx="1124">
                  <c:v>All Others</c:v>
                </c:pt>
                <c:pt idx="1125">
                  <c:v>Private Lab</c:v>
                </c:pt>
                <c:pt idx="1126">
                  <c:v>Private Lab</c:v>
                </c:pt>
                <c:pt idx="1127">
                  <c:v>Galbani</c:v>
                </c:pt>
                <c:pt idx="1128">
                  <c:v>All Others</c:v>
                </c:pt>
                <c:pt idx="1129">
                  <c:v>All Others</c:v>
                </c:pt>
                <c:pt idx="1130">
                  <c:v>Lactalis: A</c:v>
                </c:pt>
                <c:pt idx="1131">
                  <c:v>All Others</c:v>
                </c:pt>
                <c:pt idx="1132">
                  <c:v>All Others</c:v>
                </c:pt>
                <c:pt idx="1133">
                  <c:v>All Others</c:v>
                </c:pt>
                <c:pt idx="1134">
                  <c:v>Savencia: A</c:v>
                </c:pt>
                <c:pt idx="1135">
                  <c:v>Pave D'Affi</c:v>
                </c:pt>
                <c:pt idx="1136">
                  <c:v>All Others</c:v>
                </c:pt>
                <c:pt idx="1137">
                  <c:v>Le Saint Am</c:v>
                </c:pt>
                <c:pt idx="1138">
                  <c:v>Societe</c:v>
                </c:pt>
                <c:pt idx="1139">
                  <c:v>St Moret</c:v>
                </c:pt>
                <c:pt idx="1140">
                  <c:v>All Others</c:v>
                </c:pt>
                <c:pt idx="1141">
                  <c:v>All Others</c:v>
                </c:pt>
                <c:pt idx="1142">
                  <c:v>Boursin</c:v>
                </c:pt>
                <c:pt idx="1143">
                  <c:v>All Others</c:v>
                </c:pt>
                <c:pt idx="1144">
                  <c:v>All Others</c:v>
                </c:pt>
                <c:pt idx="1145">
                  <c:v>All Others</c:v>
                </c:pt>
                <c:pt idx="1146">
                  <c:v>Pave D'Affi</c:v>
                </c:pt>
                <c:pt idx="1147">
                  <c:v>L'Ortolan</c:v>
                </c:pt>
                <c:pt idx="1148">
                  <c:v>All Others</c:v>
                </c:pt>
                <c:pt idx="1149">
                  <c:v>Le Saint Am</c:v>
                </c:pt>
                <c:pt idx="1150">
                  <c:v>All Others</c:v>
                </c:pt>
                <c:pt idx="1151">
                  <c:v>All Others</c:v>
                </c:pt>
                <c:pt idx="1152">
                  <c:v>All Others</c:v>
                </c:pt>
                <c:pt idx="1153">
                  <c:v>All Others</c:v>
                </c:pt>
                <c:pt idx="1154">
                  <c:v>Nurishh</c:v>
                </c:pt>
                <c:pt idx="1155">
                  <c:v>Savencia: A</c:v>
                </c:pt>
                <c:pt idx="1156">
                  <c:v>La Vache Qu</c:v>
                </c:pt>
                <c:pt idx="1157">
                  <c:v>All Others</c:v>
                </c:pt>
                <c:pt idx="1158">
                  <c:v>All Others</c:v>
                </c:pt>
                <c:pt idx="1159">
                  <c:v>All Others</c:v>
                </c:pt>
                <c:pt idx="1160">
                  <c:v>All Others</c:v>
                </c:pt>
                <c:pt idx="1161">
                  <c:v>All Others</c:v>
                </c:pt>
                <c:pt idx="1162">
                  <c:v>All Others</c:v>
                </c:pt>
                <c:pt idx="1163">
                  <c:v>Triballat N</c:v>
                </c:pt>
                <c:pt idx="1164">
                  <c:v>All Others</c:v>
                </c:pt>
                <c:pt idx="1165">
                  <c:v>Entremont</c:v>
                </c:pt>
                <c:pt idx="1166">
                  <c:v>All Others</c:v>
                </c:pt>
                <c:pt idx="1167">
                  <c:v>All Others</c:v>
                </c:pt>
                <c:pt idx="1168">
                  <c:v>All Others</c:v>
                </c:pt>
                <c:pt idx="1169">
                  <c:v>All Others</c:v>
                </c:pt>
                <c:pt idx="1170">
                  <c:v>Etoile Du V</c:v>
                </c:pt>
                <c:pt idx="1171">
                  <c:v>All Others</c:v>
                </c:pt>
                <c:pt idx="1172">
                  <c:v>All Others</c:v>
                </c:pt>
                <c:pt idx="1173">
                  <c:v>Boursin</c:v>
                </c:pt>
                <c:pt idx="1174">
                  <c:v>All Others</c:v>
                </c:pt>
                <c:pt idx="1175">
                  <c:v>All Others</c:v>
                </c:pt>
                <c:pt idx="1176">
                  <c:v>Boursin</c:v>
                </c:pt>
                <c:pt idx="1177">
                  <c:v>Leerdammer</c:v>
                </c:pt>
                <c:pt idx="1178">
                  <c:v>All Others</c:v>
                </c:pt>
                <c:pt idx="1179">
                  <c:v>All Others</c:v>
                </c:pt>
                <c:pt idx="1180">
                  <c:v>All Others</c:v>
                </c:pt>
                <c:pt idx="1181">
                  <c:v>Savencia: A</c:v>
                </c:pt>
                <c:pt idx="1182">
                  <c:v>Etoile Du V</c:v>
                </c:pt>
                <c:pt idx="1183">
                  <c:v>Lactalis: A</c:v>
                </c:pt>
                <c:pt idx="1184">
                  <c:v>All Others</c:v>
                </c:pt>
                <c:pt idx="1185">
                  <c:v>La Vache Qu</c:v>
                </c:pt>
                <c:pt idx="1186">
                  <c:v>Etoile Du V</c:v>
                </c:pt>
                <c:pt idx="1187">
                  <c:v>All Others</c:v>
                </c:pt>
                <c:pt idx="1188">
                  <c:v>Paysan Bret</c:v>
                </c:pt>
                <c:pt idx="1189">
                  <c:v>All Others</c:v>
                </c:pt>
                <c:pt idx="1190">
                  <c:v>Private Lab</c:v>
                </c:pt>
                <c:pt idx="1191">
                  <c:v>Etoile Du Q</c:v>
                </c:pt>
                <c:pt idx="1192">
                  <c:v>All Others</c:v>
                </c:pt>
                <c:pt idx="1193">
                  <c:v>Paysan Bret</c:v>
                </c:pt>
                <c:pt idx="1194">
                  <c:v>Private Lab</c:v>
                </c:pt>
                <c:pt idx="1195">
                  <c:v>All Others</c:v>
                </c:pt>
                <c:pt idx="1196">
                  <c:v>Private Lab</c:v>
                </c:pt>
                <c:pt idx="1197">
                  <c:v>Private Lab</c:v>
                </c:pt>
                <c:pt idx="1198">
                  <c:v>All Others</c:v>
                </c:pt>
                <c:pt idx="1199">
                  <c:v>All Others</c:v>
                </c:pt>
                <c:pt idx="1200">
                  <c:v>Savencia: A</c:v>
                </c:pt>
                <c:pt idx="1201">
                  <c:v>All Others</c:v>
                </c:pt>
                <c:pt idx="1202">
                  <c:v>All Others</c:v>
                </c:pt>
                <c:pt idx="1203">
                  <c:v>Salakis</c:v>
                </c:pt>
                <c:pt idx="1204">
                  <c:v>All Others</c:v>
                </c:pt>
                <c:pt idx="1205">
                  <c:v>All Others</c:v>
                </c:pt>
                <c:pt idx="1206">
                  <c:v>Triballat N</c:v>
                </c:pt>
                <c:pt idx="1207">
                  <c:v>Private Lab</c:v>
                </c:pt>
                <c:pt idx="1208">
                  <c:v>All Others</c:v>
                </c:pt>
                <c:pt idx="1209">
                  <c:v>All Others</c:v>
                </c:pt>
                <c:pt idx="1210">
                  <c:v>Raguin</c:v>
                </c:pt>
                <c:pt idx="1211">
                  <c:v>All Others</c:v>
                </c:pt>
                <c:pt idx="1212">
                  <c:v>Private Lab</c:v>
                </c:pt>
                <c:pt idx="1213">
                  <c:v>Raguin</c:v>
                </c:pt>
                <c:pt idx="1214">
                  <c:v>All Others</c:v>
                </c:pt>
                <c:pt idx="1215">
                  <c:v>All Others</c:v>
                </c:pt>
                <c:pt idx="1216">
                  <c:v>All Others</c:v>
                </c:pt>
                <c:pt idx="1217">
                  <c:v>Etoile Du V</c:v>
                </c:pt>
                <c:pt idx="1218">
                  <c:v>All Others</c:v>
                </c:pt>
                <c:pt idx="1219">
                  <c:v>All Others</c:v>
                </c:pt>
                <c:pt idx="1220">
                  <c:v>All Others</c:v>
                </c:pt>
                <c:pt idx="1221">
                  <c:v>Private Lab</c:v>
                </c:pt>
                <c:pt idx="1222">
                  <c:v>All Others</c:v>
                </c:pt>
                <c:pt idx="1223">
                  <c:v>Savencia: A</c:v>
                </c:pt>
                <c:pt idx="1224">
                  <c:v>All Others</c:v>
                </c:pt>
                <c:pt idx="1225">
                  <c:v>Lactalis: A</c:v>
                </c:pt>
                <c:pt idx="1226">
                  <c:v>Private Lab</c:v>
                </c:pt>
                <c:pt idx="1227">
                  <c:v>Raguin</c:v>
                </c:pt>
                <c:pt idx="1228">
                  <c:v>All Others</c:v>
                </c:pt>
                <c:pt idx="1229">
                  <c:v>All Others</c:v>
                </c:pt>
                <c:pt idx="1230">
                  <c:v>Pochat</c:v>
                </c:pt>
                <c:pt idx="1231">
                  <c:v>Savencia: A</c:v>
                </c:pt>
                <c:pt idx="1232">
                  <c:v>All Others</c:v>
                </c:pt>
                <c:pt idx="1233">
                  <c:v>La Pointe P</c:v>
                </c:pt>
                <c:pt idx="1234">
                  <c:v>Petit Billy</c:v>
                </c:pt>
                <c:pt idx="1235">
                  <c:v>Salakis</c:v>
                </c:pt>
                <c:pt idx="1236">
                  <c:v>Lactalis: A</c:v>
                </c:pt>
                <c:pt idx="1237">
                  <c:v>All Others</c:v>
                </c:pt>
                <c:pt idx="1238">
                  <c:v>La Belle Et</c:v>
                </c:pt>
                <c:pt idx="1239">
                  <c:v>Nurishh</c:v>
                </c:pt>
                <c:pt idx="1240">
                  <c:v>All Others</c:v>
                </c:pt>
                <c:pt idx="1241">
                  <c:v>President</c:v>
                </c:pt>
                <c:pt idx="1242">
                  <c:v>All Others</c:v>
                </c:pt>
                <c:pt idx="1243">
                  <c:v>All Others</c:v>
                </c:pt>
                <c:pt idx="1244">
                  <c:v>O'Tapas Ape</c:v>
                </c:pt>
                <c:pt idx="1245">
                  <c:v>All Others</c:v>
                </c:pt>
                <c:pt idx="1246">
                  <c:v>All Others</c:v>
                </c:pt>
                <c:pt idx="1247">
                  <c:v>All Others</c:v>
                </c:pt>
                <c:pt idx="1248">
                  <c:v>All Others</c:v>
                </c:pt>
                <c:pt idx="1249">
                  <c:v>All Others</c:v>
                </c:pt>
                <c:pt idx="1250">
                  <c:v>Private Lab</c:v>
                </c:pt>
                <c:pt idx="1251">
                  <c:v>All Others</c:v>
                </c:pt>
                <c:pt idx="1252">
                  <c:v>Private Lab</c:v>
                </c:pt>
                <c:pt idx="1253">
                  <c:v>Tartare</c:v>
                </c:pt>
                <c:pt idx="1254">
                  <c:v>All Others</c:v>
                </c:pt>
                <c:pt idx="1255">
                  <c:v>All Others</c:v>
                </c:pt>
                <c:pt idx="1256">
                  <c:v>All Others</c:v>
                </c:pt>
                <c:pt idx="1257">
                  <c:v>Lactalis: A</c:v>
                </c:pt>
                <c:pt idx="1258">
                  <c:v>All Others</c:v>
                </c:pt>
                <c:pt idx="1259">
                  <c:v>All Others</c:v>
                </c:pt>
                <c:pt idx="1260">
                  <c:v>All Others</c:v>
                </c:pt>
                <c:pt idx="1261">
                  <c:v>All Others</c:v>
                </c:pt>
                <c:pt idx="1262">
                  <c:v>All Others</c:v>
                </c:pt>
                <c:pt idx="1263">
                  <c:v>All Others</c:v>
                </c:pt>
                <c:pt idx="1264">
                  <c:v>Casa Azzurr</c:v>
                </c:pt>
                <c:pt idx="1265">
                  <c:v>Private Lab</c:v>
                </c:pt>
                <c:pt idx="1266">
                  <c:v>All Others</c:v>
                </c:pt>
                <c:pt idx="1267">
                  <c:v>All Others</c:v>
                </c:pt>
                <c:pt idx="1268">
                  <c:v>Milleret: A</c:v>
                </c:pt>
                <c:pt idx="1269">
                  <c:v>All Others</c:v>
                </c:pt>
                <c:pt idx="1270">
                  <c:v>Islos</c:v>
                </c:pt>
                <c:pt idx="1271">
                  <c:v>All Others</c:v>
                </c:pt>
                <c:pt idx="1272">
                  <c:v>All Others</c:v>
                </c:pt>
                <c:pt idx="1273">
                  <c:v>Etoile Du V</c:v>
                </c:pt>
                <c:pt idx="1274">
                  <c:v>All Others</c:v>
                </c:pt>
                <c:pt idx="1275">
                  <c:v>Philadelphi</c:v>
                </c:pt>
                <c:pt idx="1276">
                  <c:v>All Others</c:v>
                </c:pt>
                <c:pt idx="1277">
                  <c:v>Lactalis: A</c:v>
                </c:pt>
                <c:pt idx="1278">
                  <c:v>All Others</c:v>
                </c:pt>
                <c:pt idx="1279">
                  <c:v>All Others</c:v>
                </c:pt>
                <c:pt idx="1280">
                  <c:v>Milleret: A</c:v>
                </c:pt>
                <c:pt idx="1281">
                  <c:v>All Others</c:v>
                </c:pt>
                <c:pt idx="1282">
                  <c:v>All Others</c:v>
                </c:pt>
                <c:pt idx="1283">
                  <c:v>All Others</c:v>
                </c:pt>
                <c:pt idx="1284">
                  <c:v>All Others</c:v>
                </c:pt>
                <c:pt idx="1285">
                  <c:v>All Others</c:v>
                </c:pt>
                <c:pt idx="1286">
                  <c:v>Pave D'Affi</c:v>
                </c:pt>
                <c:pt idx="1287">
                  <c:v>All Others</c:v>
                </c:pt>
                <c:pt idx="1288">
                  <c:v>All Others</c:v>
                </c:pt>
                <c:pt idx="1289">
                  <c:v>All Others</c:v>
                </c:pt>
                <c:pt idx="1290">
                  <c:v>Private Lab</c:v>
                </c:pt>
                <c:pt idx="1291">
                  <c:v>All Others</c:v>
                </c:pt>
                <c:pt idx="1292">
                  <c:v>All Others</c:v>
                </c:pt>
                <c:pt idx="1293">
                  <c:v>Etoile Du V</c:v>
                </c:pt>
                <c:pt idx="1294">
                  <c:v>All Others</c:v>
                </c:pt>
                <c:pt idx="1295">
                  <c:v>Private Lab</c:v>
                </c:pt>
                <c:pt idx="1296">
                  <c:v>All Others</c:v>
                </c:pt>
                <c:pt idx="1297">
                  <c:v>All Others</c:v>
                </c:pt>
                <c:pt idx="1298">
                  <c:v>Casa Azzurr</c:v>
                </c:pt>
                <c:pt idx="1299">
                  <c:v>All Others</c:v>
                </c:pt>
                <c:pt idx="1300">
                  <c:v>Private Lab</c:v>
                </c:pt>
                <c:pt idx="1301">
                  <c:v>All Others</c:v>
                </c:pt>
                <c:pt idx="1302">
                  <c:v>Pave D'Affi</c:v>
                </c:pt>
                <c:pt idx="1303">
                  <c:v>All Others</c:v>
                </c:pt>
                <c:pt idx="1304">
                  <c:v>All Others</c:v>
                </c:pt>
                <c:pt idx="1305">
                  <c:v>All Others</c:v>
                </c:pt>
                <c:pt idx="1306">
                  <c:v>All Others</c:v>
                </c:pt>
                <c:pt idx="1307">
                  <c:v>Corsica</c:v>
                </c:pt>
                <c:pt idx="1308">
                  <c:v>All Others</c:v>
                </c:pt>
                <c:pt idx="1309">
                  <c:v>All Others</c:v>
                </c:pt>
                <c:pt idx="1310">
                  <c:v>Private Lab</c:v>
                </c:pt>
                <c:pt idx="1311">
                  <c:v>Private Lab</c:v>
                </c:pt>
                <c:pt idx="1312">
                  <c:v>All Others</c:v>
                </c:pt>
                <c:pt idx="1313">
                  <c:v>All Others</c:v>
                </c:pt>
                <c:pt idx="1314">
                  <c:v>All Others</c:v>
                </c:pt>
                <c:pt idx="1315">
                  <c:v>Parmareggio</c:v>
                </c:pt>
                <c:pt idx="1316">
                  <c:v>All Others</c:v>
                </c:pt>
                <c:pt idx="1317">
                  <c:v>All Others</c:v>
                </c:pt>
                <c:pt idx="1318">
                  <c:v>All Others</c:v>
                </c:pt>
                <c:pt idx="1319">
                  <c:v>Raguin</c:v>
                </c:pt>
                <c:pt idx="1320">
                  <c:v>All Others</c:v>
                </c:pt>
                <c:pt idx="1321">
                  <c:v>All Others</c:v>
                </c:pt>
                <c:pt idx="1322">
                  <c:v>Private Lab</c:v>
                </c:pt>
                <c:pt idx="1323">
                  <c:v>All Others</c:v>
                </c:pt>
                <c:pt idx="1324">
                  <c:v>All Others</c:v>
                </c:pt>
                <c:pt idx="1325">
                  <c:v>Private Lab</c:v>
                </c:pt>
                <c:pt idx="1326">
                  <c:v>Eurial Autr</c:v>
                </c:pt>
                <c:pt idx="1327">
                  <c:v>All Others</c:v>
                </c:pt>
                <c:pt idx="1328">
                  <c:v>All Others</c:v>
                </c:pt>
                <c:pt idx="1329">
                  <c:v>All Others</c:v>
                </c:pt>
                <c:pt idx="1330">
                  <c:v>All Others</c:v>
                </c:pt>
                <c:pt idx="1331">
                  <c:v>All Others</c:v>
                </c:pt>
                <c:pt idx="1332">
                  <c:v>All Others</c:v>
                </c:pt>
                <c:pt idx="1333">
                  <c:v>All Others</c:v>
                </c:pt>
                <c:pt idx="1334">
                  <c:v>All Others</c:v>
                </c:pt>
                <c:pt idx="1335">
                  <c:v>All Others</c:v>
                </c:pt>
                <c:pt idx="1336">
                  <c:v>Private Lab</c:v>
                </c:pt>
                <c:pt idx="1337">
                  <c:v>All Others</c:v>
                </c:pt>
                <c:pt idx="1338">
                  <c:v>All Others</c:v>
                </c:pt>
                <c:pt idx="1339">
                  <c:v>All Others</c:v>
                </c:pt>
                <c:pt idx="1340">
                  <c:v>All Others</c:v>
                </c:pt>
                <c:pt idx="1341">
                  <c:v>All Others</c:v>
                </c:pt>
                <c:pt idx="1342">
                  <c:v>All Others</c:v>
                </c:pt>
                <c:pt idx="1343">
                  <c:v>All Others</c:v>
                </c:pt>
                <c:pt idx="1344">
                  <c:v>Pave D'Affi</c:v>
                </c:pt>
                <c:pt idx="1345">
                  <c:v>Lactalis: A</c:v>
                </c:pt>
                <c:pt idx="1346">
                  <c:v>All Others</c:v>
                </c:pt>
                <c:pt idx="1347">
                  <c:v>Soignon</c:v>
                </c:pt>
                <c:pt idx="1348">
                  <c:v>All Others</c:v>
                </c:pt>
                <c:pt idx="1349">
                  <c:v>All Others</c:v>
                </c:pt>
                <c:pt idx="1350">
                  <c:v>Savencia: A</c:v>
                </c:pt>
                <c:pt idx="1351">
                  <c:v>All Others</c:v>
                </c:pt>
                <c:pt idx="1352">
                  <c:v>All Others</c:v>
                </c:pt>
                <c:pt idx="1353">
                  <c:v>All Others</c:v>
                </c:pt>
                <c:pt idx="1354">
                  <c:v>All Others</c:v>
                </c:pt>
                <c:pt idx="1355">
                  <c:v>All Others</c:v>
                </c:pt>
                <c:pt idx="1356">
                  <c:v>Etoile Du V</c:v>
                </c:pt>
                <c:pt idx="1357">
                  <c:v>All Others</c:v>
                </c:pt>
                <c:pt idx="1358">
                  <c:v>All Others</c:v>
                </c:pt>
                <c:pt idx="1359">
                  <c:v>All Others</c:v>
                </c:pt>
                <c:pt idx="1360">
                  <c:v>Pochat</c:v>
                </c:pt>
                <c:pt idx="1361">
                  <c:v>All Others</c:v>
                </c:pt>
                <c:pt idx="1362">
                  <c:v>Private Lab</c:v>
                </c:pt>
                <c:pt idx="1363">
                  <c:v>La Belle Et</c:v>
                </c:pt>
                <c:pt idx="1364">
                  <c:v>Boursin</c:v>
                </c:pt>
                <c:pt idx="1365">
                  <c:v>All Others</c:v>
                </c:pt>
                <c:pt idx="1366">
                  <c:v>Private Lab</c:v>
                </c:pt>
                <c:pt idx="1367">
                  <c:v>All Others</c:v>
                </c:pt>
                <c:pt idx="1368">
                  <c:v>All Others</c:v>
                </c:pt>
                <c:pt idx="1369">
                  <c:v>All Others</c:v>
                </c:pt>
                <c:pt idx="1370">
                  <c:v>All Others</c:v>
                </c:pt>
                <c:pt idx="1371">
                  <c:v>All Others</c:v>
                </c:pt>
                <c:pt idx="1372">
                  <c:v>All Others</c:v>
                </c:pt>
                <c:pt idx="1373">
                  <c:v>All Others</c:v>
                </c:pt>
                <c:pt idx="1374">
                  <c:v>All Others</c:v>
                </c:pt>
                <c:pt idx="1375">
                  <c:v>Milleret: A</c:v>
                </c:pt>
                <c:pt idx="1376">
                  <c:v>All Others</c:v>
                </c:pt>
                <c:pt idx="1377">
                  <c:v>Private Lab</c:v>
                </c:pt>
                <c:pt idx="1378">
                  <c:v>Etoile Du V</c:v>
                </c:pt>
                <c:pt idx="1379">
                  <c:v>All Others</c:v>
                </c:pt>
                <c:pt idx="1380">
                  <c:v>All Others</c:v>
                </c:pt>
                <c:pt idx="1381">
                  <c:v>All Others</c:v>
                </c:pt>
                <c:pt idx="1382">
                  <c:v>All Others</c:v>
                </c:pt>
                <c:pt idx="1383">
                  <c:v>Triballat R</c:v>
                </c:pt>
                <c:pt idx="1384">
                  <c:v>Entremont</c:v>
                </c:pt>
                <c:pt idx="1385">
                  <c:v>All Others</c:v>
                </c:pt>
                <c:pt idx="1386">
                  <c:v>All Others</c:v>
                </c:pt>
                <c:pt idx="1387">
                  <c:v>All Others</c:v>
                </c:pt>
                <c:pt idx="1388">
                  <c:v>Eurial Autr</c:v>
                </c:pt>
                <c:pt idx="1389">
                  <c:v>Lactalis: A</c:v>
                </c:pt>
                <c:pt idx="1390">
                  <c:v>All Others</c:v>
                </c:pt>
                <c:pt idx="1391">
                  <c:v>Port Salut</c:v>
                </c:pt>
                <c:pt idx="1392">
                  <c:v>Kiri</c:v>
                </c:pt>
                <c:pt idx="1393">
                  <c:v>Triballat R</c:v>
                </c:pt>
                <c:pt idx="1394">
                  <c:v>Entremont</c:v>
                </c:pt>
                <c:pt idx="1395">
                  <c:v>All Others</c:v>
                </c:pt>
                <c:pt idx="1396">
                  <c:v>All Others</c:v>
                </c:pt>
                <c:pt idx="1397">
                  <c:v>La Belle Et</c:v>
                </c:pt>
                <c:pt idx="1398">
                  <c:v>Etoile Du V</c:v>
                </c:pt>
                <c:pt idx="1399">
                  <c:v>All Others</c:v>
                </c:pt>
                <c:pt idx="1400">
                  <c:v>All Others</c:v>
                </c:pt>
                <c:pt idx="1401">
                  <c:v>All Others</c:v>
                </c:pt>
                <c:pt idx="1402">
                  <c:v>All Others</c:v>
                </c:pt>
                <c:pt idx="1403">
                  <c:v>All Others</c:v>
                </c:pt>
                <c:pt idx="1404">
                  <c:v>All Others</c:v>
                </c:pt>
                <c:pt idx="1405">
                  <c:v>All Others</c:v>
                </c:pt>
                <c:pt idx="1406">
                  <c:v>All Others</c:v>
                </c:pt>
                <c:pt idx="1407">
                  <c:v>La Belle Et</c:v>
                </c:pt>
                <c:pt idx="1408">
                  <c:v>All Others</c:v>
                </c:pt>
                <c:pt idx="1409">
                  <c:v>All Others</c:v>
                </c:pt>
                <c:pt idx="1410">
                  <c:v>All Others</c:v>
                </c:pt>
                <c:pt idx="1411">
                  <c:v>All Others</c:v>
                </c:pt>
                <c:pt idx="1412">
                  <c:v>All Others</c:v>
                </c:pt>
                <c:pt idx="1413">
                  <c:v>All Others</c:v>
                </c:pt>
                <c:pt idx="1414">
                  <c:v>All Others</c:v>
                </c:pt>
                <c:pt idx="1415">
                  <c:v>All Others</c:v>
                </c:pt>
                <c:pt idx="1416">
                  <c:v>All Others</c:v>
                </c:pt>
                <c:pt idx="1417">
                  <c:v>All Others</c:v>
                </c:pt>
                <c:pt idx="1418">
                  <c:v>Private Lab</c:v>
                </c:pt>
                <c:pt idx="1419">
                  <c:v>Nurishh</c:v>
                </c:pt>
                <c:pt idx="1420">
                  <c:v>All Others</c:v>
                </c:pt>
                <c:pt idx="1421">
                  <c:v>All Others</c:v>
                </c:pt>
                <c:pt idx="1422">
                  <c:v>All Others</c:v>
                </c:pt>
                <c:pt idx="1423">
                  <c:v>La Belle Et</c:v>
                </c:pt>
                <c:pt idx="1424">
                  <c:v>All Others</c:v>
                </c:pt>
                <c:pt idx="1425">
                  <c:v>Nurishh</c:v>
                </c:pt>
                <c:pt idx="1426">
                  <c:v>All Others</c:v>
                </c:pt>
                <c:pt idx="1427">
                  <c:v>All Others</c:v>
                </c:pt>
                <c:pt idx="1428">
                  <c:v>La Belle Et</c:v>
                </c:pt>
                <c:pt idx="1429">
                  <c:v>All Others</c:v>
                </c:pt>
                <c:pt idx="1430">
                  <c:v>Eurial Autr</c:v>
                </c:pt>
                <c:pt idx="1431">
                  <c:v>All Others</c:v>
                </c:pt>
                <c:pt idx="1432">
                  <c:v>Juraflore</c:v>
                </c:pt>
                <c:pt idx="1433">
                  <c:v>All Others</c:v>
                </c:pt>
                <c:pt idx="1434">
                  <c:v>All Others</c:v>
                </c:pt>
                <c:pt idx="1435">
                  <c:v>All Others</c:v>
                </c:pt>
                <c:pt idx="1436">
                  <c:v>All Others</c:v>
                </c:pt>
                <c:pt idx="1437">
                  <c:v>Boursin</c:v>
                </c:pt>
                <c:pt idx="1438">
                  <c:v>All Others</c:v>
                </c:pt>
                <c:pt idx="1439">
                  <c:v>All Others</c:v>
                </c:pt>
                <c:pt idx="1440">
                  <c:v>Milleret: A</c:v>
                </c:pt>
                <c:pt idx="1441">
                  <c:v>Lactalis: A</c:v>
                </c:pt>
                <c:pt idx="1442">
                  <c:v>All Others</c:v>
                </c:pt>
                <c:pt idx="1443">
                  <c:v>All Others</c:v>
                </c:pt>
                <c:pt idx="1444">
                  <c:v>Eurial Autr</c:v>
                </c:pt>
                <c:pt idx="1445">
                  <c:v>All Others</c:v>
                </c:pt>
                <c:pt idx="1446">
                  <c:v>All Others</c:v>
                </c:pt>
                <c:pt idx="1447">
                  <c:v>All Others</c:v>
                </c:pt>
                <c:pt idx="1448">
                  <c:v>Entremont</c:v>
                </c:pt>
                <c:pt idx="1449">
                  <c:v>All Others</c:v>
                </c:pt>
                <c:pt idx="1450">
                  <c:v>All Others</c:v>
                </c:pt>
                <c:pt idx="1451">
                  <c:v>All Others</c:v>
                </c:pt>
                <c:pt idx="1452">
                  <c:v>All Others</c:v>
                </c:pt>
                <c:pt idx="1453">
                  <c:v>All Others</c:v>
                </c:pt>
                <c:pt idx="1454">
                  <c:v>All Others</c:v>
                </c:pt>
                <c:pt idx="1455">
                  <c:v>All Others</c:v>
                </c:pt>
                <c:pt idx="1456">
                  <c:v>All Others</c:v>
                </c:pt>
                <c:pt idx="1457">
                  <c:v>Pave D'Affi</c:v>
                </c:pt>
                <c:pt idx="1458">
                  <c:v>All Others</c:v>
                </c:pt>
                <c:pt idx="1459">
                  <c:v>All Others</c:v>
                </c:pt>
                <c:pt idx="1460">
                  <c:v>Fauquet</c:v>
                </c:pt>
                <c:pt idx="1461">
                  <c:v>All Others</c:v>
                </c:pt>
                <c:pt idx="1462">
                  <c:v>All Others</c:v>
                </c:pt>
                <c:pt idx="1463">
                  <c:v>Paysan Bret</c:v>
                </c:pt>
                <c:pt idx="1464">
                  <c:v>All Others</c:v>
                </c:pt>
                <c:pt idx="1465">
                  <c:v>Lactalis: A</c:v>
                </c:pt>
                <c:pt idx="1466">
                  <c:v>All Others</c:v>
                </c:pt>
                <c:pt idx="1467">
                  <c:v>Etoile Du V</c:v>
                </c:pt>
                <c:pt idx="1468">
                  <c:v>All Others</c:v>
                </c:pt>
                <c:pt idx="1469">
                  <c:v>All Others</c:v>
                </c:pt>
                <c:pt idx="1470">
                  <c:v>President</c:v>
                </c:pt>
                <c:pt idx="1471">
                  <c:v>All Others</c:v>
                </c:pt>
                <c:pt idx="1472">
                  <c:v>Lactalis: A</c:v>
                </c:pt>
                <c:pt idx="1473">
                  <c:v>All Others</c:v>
                </c:pt>
                <c:pt idx="1474">
                  <c:v>All Others</c:v>
                </c:pt>
                <c:pt idx="1475">
                  <c:v>All Others</c:v>
                </c:pt>
                <c:pt idx="1476">
                  <c:v>All Others</c:v>
                </c:pt>
                <c:pt idx="1477">
                  <c:v>All Others</c:v>
                </c:pt>
                <c:pt idx="1478">
                  <c:v>All Others</c:v>
                </c:pt>
                <c:pt idx="1479">
                  <c:v>All Others</c:v>
                </c:pt>
                <c:pt idx="1480">
                  <c:v>All Others</c:v>
                </c:pt>
                <c:pt idx="1481">
                  <c:v>All Others</c:v>
                </c:pt>
                <c:pt idx="1482">
                  <c:v>All Others</c:v>
                </c:pt>
                <c:pt idx="1483">
                  <c:v>All Others</c:v>
                </c:pt>
                <c:pt idx="1484">
                  <c:v>All Others</c:v>
                </c:pt>
                <c:pt idx="1485">
                  <c:v>All Others</c:v>
                </c:pt>
                <c:pt idx="1486">
                  <c:v>Tartare</c:v>
                </c:pt>
                <c:pt idx="1487">
                  <c:v>All Others</c:v>
                </c:pt>
                <c:pt idx="1488">
                  <c:v>All Others</c:v>
                </c:pt>
                <c:pt idx="1489">
                  <c:v>All Others</c:v>
                </c:pt>
                <c:pt idx="1490">
                  <c:v>All Others</c:v>
                </c:pt>
                <c:pt idx="1491">
                  <c:v>President</c:v>
                </c:pt>
                <c:pt idx="1492">
                  <c:v>Juraflore</c:v>
                </c:pt>
                <c:pt idx="1493">
                  <c:v>All Others</c:v>
                </c:pt>
                <c:pt idx="1494">
                  <c:v>La Belle Et</c:v>
                </c:pt>
                <c:pt idx="1495">
                  <c:v>All Others</c:v>
                </c:pt>
                <c:pt idx="1496">
                  <c:v>All Others</c:v>
                </c:pt>
                <c:pt idx="1497">
                  <c:v>Private Lab</c:v>
                </c:pt>
                <c:pt idx="1498">
                  <c:v>Entremont</c:v>
                </c:pt>
                <c:pt idx="1499">
                  <c:v>All Others</c:v>
                </c:pt>
                <c:pt idx="1500">
                  <c:v>All Others</c:v>
                </c:pt>
                <c:pt idx="1501">
                  <c:v>All Others</c:v>
                </c:pt>
                <c:pt idx="1502">
                  <c:v>All Others</c:v>
                </c:pt>
                <c:pt idx="1503">
                  <c:v>All Others</c:v>
                </c:pt>
                <c:pt idx="1504">
                  <c:v>All Others</c:v>
                </c:pt>
                <c:pt idx="1505">
                  <c:v>Private Lab</c:v>
                </c:pt>
                <c:pt idx="1506">
                  <c:v>All Others</c:v>
                </c:pt>
                <c:pt idx="1507">
                  <c:v>Private Lab</c:v>
                </c:pt>
                <c:pt idx="1508">
                  <c:v>All Others</c:v>
                </c:pt>
                <c:pt idx="1509">
                  <c:v>All Others</c:v>
                </c:pt>
                <c:pt idx="1510">
                  <c:v>All Others</c:v>
                </c:pt>
                <c:pt idx="1511">
                  <c:v>Private Lab</c:v>
                </c:pt>
                <c:pt idx="1512">
                  <c:v>All Others</c:v>
                </c:pt>
                <c:pt idx="1513">
                  <c:v>All Others</c:v>
                </c:pt>
                <c:pt idx="1514">
                  <c:v>Etoile Du V</c:v>
                </c:pt>
                <c:pt idx="1515">
                  <c:v>St Moret</c:v>
                </c:pt>
                <c:pt idx="1516">
                  <c:v>All Others</c:v>
                </c:pt>
                <c:pt idx="1517">
                  <c:v>All Others</c:v>
                </c:pt>
                <c:pt idx="1518">
                  <c:v>All Others</c:v>
                </c:pt>
                <c:pt idx="1519">
                  <c:v>All Others</c:v>
                </c:pt>
                <c:pt idx="1520">
                  <c:v>All Others</c:v>
                </c:pt>
                <c:pt idx="1521">
                  <c:v>All Others</c:v>
                </c:pt>
                <c:pt idx="1522">
                  <c:v>All Others</c:v>
                </c:pt>
                <c:pt idx="1523">
                  <c:v>Mini Babybe</c:v>
                </c:pt>
                <c:pt idx="1524">
                  <c:v>All Others</c:v>
                </c:pt>
                <c:pt idx="1525">
                  <c:v>Casa Azzurr</c:v>
                </c:pt>
                <c:pt idx="1526">
                  <c:v>All Others</c:v>
                </c:pt>
                <c:pt idx="1527">
                  <c:v>All Others</c:v>
                </c:pt>
                <c:pt idx="1528">
                  <c:v>All Others</c:v>
                </c:pt>
                <c:pt idx="1529">
                  <c:v>All Others</c:v>
                </c:pt>
                <c:pt idx="1530">
                  <c:v>President</c:v>
                </c:pt>
                <c:pt idx="1531">
                  <c:v>All Others</c:v>
                </c:pt>
                <c:pt idx="1532">
                  <c:v>Soignon</c:v>
                </c:pt>
                <c:pt idx="1533">
                  <c:v>Lactalis: A</c:v>
                </c:pt>
                <c:pt idx="1534">
                  <c:v>Corsica</c:v>
                </c:pt>
                <c:pt idx="1535">
                  <c:v>All Others</c:v>
                </c:pt>
                <c:pt idx="1536">
                  <c:v>Richesmonts</c:v>
                </c:pt>
                <c:pt idx="1537">
                  <c:v>All Others</c:v>
                </c:pt>
                <c:pt idx="1538">
                  <c:v>All Others</c:v>
                </c:pt>
                <c:pt idx="1539">
                  <c:v>All Others</c:v>
                </c:pt>
                <c:pt idx="1540">
                  <c:v>All Others</c:v>
                </c:pt>
                <c:pt idx="1541">
                  <c:v>Lactalis: A</c:v>
                </c:pt>
                <c:pt idx="1542">
                  <c:v>All Others</c:v>
                </c:pt>
                <c:pt idx="1543">
                  <c:v>All Others</c:v>
                </c:pt>
                <c:pt idx="1544">
                  <c:v>Pave D'Affi</c:v>
                </c:pt>
                <c:pt idx="1545">
                  <c:v>All Others</c:v>
                </c:pt>
                <c:pt idx="1546">
                  <c:v>La Belle Et</c:v>
                </c:pt>
                <c:pt idx="1547">
                  <c:v>All Others</c:v>
                </c:pt>
                <c:pt idx="1548">
                  <c:v>All Others</c:v>
                </c:pt>
                <c:pt idx="1549">
                  <c:v>All Others</c:v>
                </c:pt>
                <c:pt idx="1550">
                  <c:v>All Others</c:v>
                </c:pt>
                <c:pt idx="1551">
                  <c:v>Private Lab</c:v>
                </c:pt>
                <c:pt idx="1552">
                  <c:v>All Others</c:v>
                </c:pt>
                <c:pt idx="1553">
                  <c:v>All Others</c:v>
                </c:pt>
                <c:pt idx="1554">
                  <c:v>Mini Babybe</c:v>
                </c:pt>
                <c:pt idx="1555">
                  <c:v>All Others</c:v>
                </c:pt>
                <c:pt idx="1556">
                  <c:v>All Others</c:v>
                </c:pt>
                <c:pt idx="1557">
                  <c:v>Cousteron</c:v>
                </c:pt>
                <c:pt idx="1558">
                  <c:v>All Others</c:v>
                </c:pt>
                <c:pt idx="1559">
                  <c:v>All Others</c:v>
                </c:pt>
                <c:pt idx="1560">
                  <c:v>All Others</c:v>
                </c:pt>
                <c:pt idx="1561">
                  <c:v>Eurial Autr</c:v>
                </c:pt>
                <c:pt idx="1562">
                  <c:v>All Others</c:v>
                </c:pt>
                <c:pt idx="1563">
                  <c:v>All Others</c:v>
                </c:pt>
                <c:pt idx="1564">
                  <c:v>All Others</c:v>
                </c:pt>
                <c:pt idx="1565">
                  <c:v>Entremont</c:v>
                </c:pt>
                <c:pt idx="1566">
                  <c:v>All Others</c:v>
                </c:pt>
                <c:pt idx="1567">
                  <c:v>Lou Perac</c:v>
                </c:pt>
                <c:pt idx="1568">
                  <c:v>All Others</c:v>
                </c:pt>
                <c:pt idx="1569">
                  <c:v>Societe</c:v>
                </c:pt>
                <c:pt idx="1570">
                  <c:v>All Others</c:v>
                </c:pt>
                <c:pt idx="1571">
                  <c:v>All Others</c:v>
                </c:pt>
                <c:pt idx="1572">
                  <c:v>St Moret</c:v>
                </c:pt>
                <c:pt idx="1573">
                  <c:v>Carre Frais</c:v>
                </c:pt>
                <c:pt idx="1574">
                  <c:v>All Others</c:v>
                </c:pt>
                <c:pt idx="1575">
                  <c:v>All Others</c:v>
                </c:pt>
                <c:pt idx="1576">
                  <c:v>All Others</c:v>
                </c:pt>
                <c:pt idx="1577">
                  <c:v>Private Lab</c:v>
                </c:pt>
                <c:pt idx="1578">
                  <c:v>La Pointe P</c:v>
                </c:pt>
                <c:pt idx="1579">
                  <c:v>All Others</c:v>
                </c:pt>
                <c:pt idx="1580">
                  <c:v>Private Lab</c:v>
                </c:pt>
                <c:pt idx="1581">
                  <c:v>Etoile Du V</c:v>
                </c:pt>
                <c:pt idx="1582">
                  <c:v>All Others</c:v>
                </c:pt>
                <c:pt idx="1583">
                  <c:v>All Others</c:v>
                </c:pt>
                <c:pt idx="1584">
                  <c:v>Fauquet</c:v>
                </c:pt>
                <c:pt idx="1585">
                  <c:v>All Others</c:v>
                </c:pt>
                <c:pt idx="1586">
                  <c:v>All Others</c:v>
                </c:pt>
                <c:pt idx="1587">
                  <c:v>All Others</c:v>
                </c:pt>
                <c:pt idx="1588">
                  <c:v>All Others</c:v>
                </c:pt>
                <c:pt idx="1589">
                  <c:v>All Others</c:v>
                </c:pt>
                <c:pt idx="1590">
                  <c:v>All Others</c:v>
                </c:pt>
                <c:pt idx="1591">
                  <c:v>La Belle Et</c:v>
                </c:pt>
                <c:pt idx="1592">
                  <c:v>All Others</c:v>
                </c:pt>
                <c:pt idx="1593">
                  <c:v>All Others</c:v>
                </c:pt>
                <c:pt idx="1594">
                  <c:v>Entremont</c:v>
                </c:pt>
                <c:pt idx="1595">
                  <c:v>All Others</c:v>
                </c:pt>
                <c:pt idx="1596">
                  <c:v>All Others</c:v>
                </c:pt>
                <c:pt idx="1597">
                  <c:v>All Others</c:v>
                </c:pt>
                <c:pt idx="1598">
                  <c:v>All Others</c:v>
                </c:pt>
                <c:pt idx="1599">
                  <c:v>All Others</c:v>
                </c:pt>
                <c:pt idx="1600">
                  <c:v>Milleret: A</c:v>
                </c:pt>
                <c:pt idx="1601">
                  <c:v>All Others</c:v>
                </c:pt>
                <c:pt idx="1602">
                  <c:v>All Others</c:v>
                </c:pt>
                <c:pt idx="1603">
                  <c:v>Savencia: A</c:v>
                </c:pt>
                <c:pt idx="1604">
                  <c:v>All Others</c:v>
                </c:pt>
                <c:pt idx="1605">
                  <c:v>Etoile Du V</c:v>
                </c:pt>
                <c:pt idx="1606">
                  <c:v>All Others</c:v>
                </c:pt>
                <c:pt idx="1607">
                  <c:v>All Others</c:v>
                </c:pt>
                <c:pt idx="1608">
                  <c:v>All Others</c:v>
                </c:pt>
                <c:pt idx="1609">
                  <c:v>All Others</c:v>
                </c:pt>
                <c:pt idx="1610">
                  <c:v>All Others</c:v>
                </c:pt>
                <c:pt idx="1611">
                  <c:v>Lactalis: A</c:v>
                </c:pt>
                <c:pt idx="1612">
                  <c:v>All Others</c:v>
                </c:pt>
                <c:pt idx="1613">
                  <c:v>All Others</c:v>
                </c:pt>
                <c:pt idx="1614">
                  <c:v>All Others</c:v>
                </c:pt>
                <c:pt idx="1615">
                  <c:v>All Others</c:v>
                </c:pt>
                <c:pt idx="1616">
                  <c:v>All Others</c:v>
                </c:pt>
                <c:pt idx="1617">
                  <c:v>All Others</c:v>
                </c:pt>
                <c:pt idx="1618">
                  <c:v>All Others</c:v>
                </c:pt>
                <c:pt idx="1619">
                  <c:v>All Others</c:v>
                </c:pt>
                <c:pt idx="1620">
                  <c:v>Lactalis: A</c:v>
                </c:pt>
                <c:pt idx="1621">
                  <c:v>All Others</c:v>
                </c:pt>
                <c:pt idx="1622">
                  <c:v>All Others</c:v>
                </c:pt>
                <c:pt idx="1623">
                  <c:v>All Others</c:v>
                </c:pt>
                <c:pt idx="1624">
                  <c:v>Savencia: A</c:v>
                </c:pt>
                <c:pt idx="1625">
                  <c:v>All Others</c:v>
                </c:pt>
                <c:pt idx="1626">
                  <c:v>All Others</c:v>
                </c:pt>
                <c:pt idx="1627">
                  <c:v>All Others</c:v>
                </c:pt>
                <c:pt idx="1628">
                  <c:v>Eurial Autr</c:v>
                </c:pt>
                <c:pt idx="1629">
                  <c:v>Etoile Du Q</c:v>
                </c:pt>
                <c:pt idx="1630">
                  <c:v>All Others</c:v>
                </c:pt>
                <c:pt idx="1631">
                  <c:v>All Others</c:v>
                </c:pt>
                <c:pt idx="1632">
                  <c:v>All Others</c:v>
                </c:pt>
                <c:pt idx="1633">
                  <c:v>Milleret: A</c:v>
                </c:pt>
                <c:pt idx="1634">
                  <c:v>All Others</c:v>
                </c:pt>
                <c:pt idx="1635">
                  <c:v>Private Lab</c:v>
                </c:pt>
                <c:pt idx="1636">
                  <c:v>All Others</c:v>
                </c:pt>
                <c:pt idx="1637">
                  <c:v>All Others</c:v>
                </c:pt>
                <c:pt idx="1638">
                  <c:v>All Others</c:v>
                </c:pt>
                <c:pt idx="1639">
                  <c:v>All Others</c:v>
                </c:pt>
                <c:pt idx="1640">
                  <c:v>L'Ortolan</c:v>
                </c:pt>
                <c:pt idx="1641">
                  <c:v>Savencia: A</c:v>
                </c:pt>
                <c:pt idx="1642">
                  <c:v>All Others</c:v>
                </c:pt>
                <c:pt idx="1643">
                  <c:v>All Others</c:v>
                </c:pt>
                <c:pt idx="1644">
                  <c:v>All Others</c:v>
                </c:pt>
                <c:pt idx="1645">
                  <c:v>All Others</c:v>
                </c:pt>
                <c:pt idx="1646">
                  <c:v>All Others</c:v>
                </c:pt>
                <c:pt idx="1647">
                  <c:v>Eurial Autr</c:v>
                </c:pt>
                <c:pt idx="1648">
                  <c:v>All Others</c:v>
                </c:pt>
                <c:pt idx="1649">
                  <c:v>Lou Perac</c:v>
                </c:pt>
                <c:pt idx="1650">
                  <c:v>All Others</c:v>
                </c:pt>
                <c:pt idx="1651">
                  <c:v>All Others</c:v>
                </c:pt>
                <c:pt idx="1652">
                  <c:v>All Others</c:v>
                </c:pt>
                <c:pt idx="1653">
                  <c:v>All Others</c:v>
                </c:pt>
                <c:pt idx="1654">
                  <c:v>President</c:v>
                </c:pt>
                <c:pt idx="1655">
                  <c:v>All Others</c:v>
                </c:pt>
                <c:pt idx="1656">
                  <c:v>All Others</c:v>
                </c:pt>
                <c:pt idx="1657">
                  <c:v>Raguin</c:v>
                </c:pt>
                <c:pt idx="1658">
                  <c:v>All Others</c:v>
                </c:pt>
                <c:pt idx="1659">
                  <c:v>All Others</c:v>
                </c:pt>
                <c:pt idx="1660">
                  <c:v>All Others</c:v>
                </c:pt>
                <c:pt idx="1661">
                  <c:v>All Others</c:v>
                </c:pt>
                <c:pt idx="1662">
                  <c:v>All Others</c:v>
                </c:pt>
                <c:pt idx="1663">
                  <c:v>All Others</c:v>
                </c:pt>
                <c:pt idx="1664">
                  <c:v>President</c:v>
                </c:pt>
                <c:pt idx="1665">
                  <c:v>Private Lab</c:v>
                </c:pt>
                <c:pt idx="1666">
                  <c:v>All Others</c:v>
                </c:pt>
                <c:pt idx="1667">
                  <c:v>All Others</c:v>
                </c:pt>
                <c:pt idx="1668">
                  <c:v>All Others</c:v>
                </c:pt>
                <c:pt idx="1669">
                  <c:v>All Others</c:v>
                </c:pt>
                <c:pt idx="1670">
                  <c:v>All Others</c:v>
                </c:pt>
                <c:pt idx="1671">
                  <c:v>All Others</c:v>
                </c:pt>
                <c:pt idx="1672">
                  <c:v>All Others</c:v>
                </c:pt>
                <c:pt idx="1673">
                  <c:v>All Others</c:v>
                </c:pt>
                <c:pt idx="1674">
                  <c:v>All Others</c:v>
                </c:pt>
                <c:pt idx="1675">
                  <c:v>All Others</c:v>
                </c:pt>
                <c:pt idx="1676">
                  <c:v>All Others</c:v>
                </c:pt>
                <c:pt idx="1677">
                  <c:v>All Others</c:v>
                </c:pt>
                <c:pt idx="1678">
                  <c:v>All Others</c:v>
                </c:pt>
                <c:pt idx="1679">
                  <c:v>All Others</c:v>
                </c:pt>
                <c:pt idx="1680">
                  <c:v>All Others</c:v>
                </c:pt>
                <c:pt idx="1681">
                  <c:v>La Belle Et</c:v>
                </c:pt>
                <c:pt idx="1682">
                  <c:v>All Others</c:v>
                </c:pt>
                <c:pt idx="1683">
                  <c:v>All Others</c:v>
                </c:pt>
                <c:pt idx="1684">
                  <c:v>All Others</c:v>
                </c:pt>
                <c:pt idx="1685">
                  <c:v>All Others</c:v>
                </c:pt>
                <c:pt idx="1686">
                  <c:v>All Others</c:v>
                </c:pt>
                <c:pt idx="1687">
                  <c:v>All Others</c:v>
                </c:pt>
                <c:pt idx="1688">
                  <c:v>All Others</c:v>
                </c:pt>
                <c:pt idx="1689">
                  <c:v>All Others</c:v>
                </c:pt>
                <c:pt idx="1690">
                  <c:v>All Others</c:v>
                </c:pt>
                <c:pt idx="1691">
                  <c:v>All Others</c:v>
                </c:pt>
                <c:pt idx="1692">
                  <c:v>La Belle Et</c:v>
                </c:pt>
                <c:pt idx="1693">
                  <c:v>All Others</c:v>
                </c:pt>
                <c:pt idx="1694">
                  <c:v>All Others</c:v>
                </c:pt>
                <c:pt idx="1695">
                  <c:v>All Others</c:v>
                </c:pt>
                <c:pt idx="1696">
                  <c:v>All Others</c:v>
                </c:pt>
                <c:pt idx="1697">
                  <c:v>All Others</c:v>
                </c:pt>
                <c:pt idx="1698">
                  <c:v>All Others</c:v>
                </c:pt>
                <c:pt idx="1699">
                  <c:v>All Others</c:v>
                </c:pt>
                <c:pt idx="1700">
                  <c:v>All Others</c:v>
                </c:pt>
                <c:pt idx="1701">
                  <c:v>All Others</c:v>
                </c:pt>
                <c:pt idx="1702">
                  <c:v>All Others</c:v>
                </c:pt>
                <c:pt idx="1703">
                  <c:v>Lactalis: A</c:v>
                </c:pt>
                <c:pt idx="1704">
                  <c:v>All Others</c:v>
                </c:pt>
                <c:pt idx="1705">
                  <c:v>All Others</c:v>
                </c:pt>
                <c:pt idx="1706">
                  <c:v>Lactalis: A</c:v>
                </c:pt>
                <c:pt idx="1707">
                  <c:v>All Others</c:v>
                </c:pt>
                <c:pt idx="1708">
                  <c:v>All Others</c:v>
                </c:pt>
                <c:pt idx="1709">
                  <c:v>All Others</c:v>
                </c:pt>
                <c:pt idx="1710">
                  <c:v>All Others</c:v>
                </c:pt>
                <c:pt idx="1711">
                  <c:v>All Others</c:v>
                </c:pt>
                <c:pt idx="1712">
                  <c:v>All Others</c:v>
                </c:pt>
                <c:pt idx="1713">
                  <c:v>All Others</c:v>
                </c:pt>
                <c:pt idx="1714">
                  <c:v>All Others</c:v>
                </c:pt>
                <c:pt idx="1715">
                  <c:v>All Others</c:v>
                </c:pt>
                <c:pt idx="1716">
                  <c:v>All Others</c:v>
                </c:pt>
                <c:pt idx="1717">
                  <c:v>All Others</c:v>
                </c:pt>
                <c:pt idx="1718">
                  <c:v>Savencia: A</c:v>
                </c:pt>
                <c:pt idx="1719">
                  <c:v>Tartare</c:v>
                </c:pt>
                <c:pt idx="1720">
                  <c:v>All Others</c:v>
                </c:pt>
                <c:pt idx="1721">
                  <c:v>All Others</c:v>
                </c:pt>
                <c:pt idx="1722">
                  <c:v>All Others</c:v>
                </c:pt>
                <c:pt idx="1723">
                  <c:v>Vieux Pane</c:v>
                </c:pt>
                <c:pt idx="1724">
                  <c:v>All Others</c:v>
                </c:pt>
                <c:pt idx="1725">
                  <c:v>All Others</c:v>
                </c:pt>
                <c:pt idx="1726">
                  <c:v>All Others</c:v>
                </c:pt>
                <c:pt idx="1727">
                  <c:v>Etoile Du V</c:v>
                </c:pt>
                <c:pt idx="1728">
                  <c:v>All Others</c:v>
                </c:pt>
                <c:pt idx="1729">
                  <c:v>All Others</c:v>
                </c:pt>
                <c:pt idx="1730">
                  <c:v>All Others</c:v>
                </c:pt>
                <c:pt idx="1731">
                  <c:v>Paysan Bret</c:v>
                </c:pt>
                <c:pt idx="1732">
                  <c:v>All Others</c:v>
                </c:pt>
                <c:pt idx="1733">
                  <c:v>All Others</c:v>
                </c:pt>
                <c:pt idx="1734">
                  <c:v>All Others</c:v>
                </c:pt>
                <c:pt idx="1735">
                  <c:v>President</c:v>
                </c:pt>
                <c:pt idx="1736">
                  <c:v>All Others</c:v>
                </c:pt>
                <c:pt idx="1737">
                  <c:v>Lactalis: A</c:v>
                </c:pt>
                <c:pt idx="1738">
                  <c:v>All Others</c:v>
                </c:pt>
                <c:pt idx="1739">
                  <c:v>Pochat</c:v>
                </c:pt>
                <c:pt idx="1740">
                  <c:v>All Others</c:v>
                </c:pt>
                <c:pt idx="1741">
                  <c:v>All Others</c:v>
                </c:pt>
                <c:pt idx="1742">
                  <c:v>All Others</c:v>
                </c:pt>
                <c:pt idx="1743">
                  <c:v>All Others</c:v>
                </c:pt>
                <c:pt idx="1744">
                  <c:v>All Others</c:v>
                </c:pt>
                <c:pt idx="1745">
                  <c:v>All Others</c:v>
                </c:pt>
                <c:pt idx="1746">
                  <c:v>All Others</c:v>
                </c:pt>
                <c:pt idx="1747">
                  <c:v>All Others</c:v>
                </c:pt>
                <c:pt idx="1748">
                  <c:v>All Others</c:v>
                </c:pt>
                <c:pt idx="1749">
                  <c:v>All Others</c:v>
                </c:pt>
                <c:pt idx="1750">
                  <c:v>All Others</c:v>
                </c:pt>
                <c:pt idx="1751">
                  <c:v>All Others</c:v>
                </c:pt>
                <c:pt idx="1752">
                  <c:v>All Others</c:v>
                </c:pt>
                <c:pt idx="1753">
                  <c:v>Eurial Autr</c:v>
                </c:pt>
                <c:pt idx="1754">
                  <c:v>All Others</c:v>
                </c:pt>
                <c:pt idx="1755">
                  <c:v>All Others</c:v>
                </c:pt>
                <c:pt idx="1756">
                  <c:v>All Others</c:v>
                </c:pt>
                <c:pt idx="1757">
                  <c:v>Triballat R</c:v>
                </c:pt>
                <c:pt idx="1758">
                  <c:v>La Belle Et</c:v>
                </c:pt>
                <c:pt idx="1759">
                  <c:v>Savencia: A</c:v>
                </c:pt>
                <c:pt idx="1760">
                  <c:v>Savencia: A</c:v>
                </c:pt>
                <c:pt idx="1761">
                  <c:v>All Others</c:v>
                </c:pt>
                <c:pt idx="1762">
                  <c:v>All Others</c:v>
                </c:pt>
                <c:pt idx="1763">
                  <c:v>Richesmonts</c:v>
                </c:pt>
                <c:pt idx="1764">
                  <c:v>All Others</c:v>
                </c:pt>
                <c:pt idx="1765">
                  <c:v>All Others</c:v>
                </c:pt>
                <c:pt idx="1766">
                  <c:v>Lactalis: A</c:v>
                </c:pt>
                <c:pt idx="1767">
                  <c:v>All Others</c:v>
                </c:pt>
                <c:pt idx="1768">
                  <c:v>Savencia: A</c:v>
                </c:pt>
                <c:pt idx="1769">
                  <c:v>All Others</c:v>
                </c:pt>
                <c:pt idx="1770">
                  <c:v>All Others</c:v>
                </c:pt>
                <c:pt idx="1771">
                  <c:v>All Others</c:v>
                </c:pt>
                <c:pt idx="1772">
                  <c:v>All Others</c:v>
                </c:pt>
                <c:pt idx="1773">
                  <c:v>All Others</c:v>
                </c:pt>
                <c:pt idx="1774">
                  <c:v>All Others</c:v>
                </c:pt>
                <c:pt idx="1775">
                  <c:v>All Others</c:v>
                </c:pt>
                <c:pt idx="1776">
                  <c:v>All Others</c:v>
                </c:pt>
                <c:pt idx="1777">
                  <c:v>All Others</c:v>
                </c:pt>
                <c:pt idx="1778">
                  <c:v>All Others</c:v>
                </c:pt>
                <c:pt idx="1779">
                  <c:v>Milleret: A</c:v>
                </c:pt>
                <c:pt idx="1780">
                  <c:v>All Others</c:v>
                </c:pt>
                <c:pt idx="1781">
                  <c:v>All Others</c:v>
                </c:pt>
                <c:pt idx="1782">
                  <c:v>All Others</c:v>
                </c:pt>
                <c:pt idx="1783">
                  <c:v>All Others</c:v>
                </c:pt>
                <c:pt idx="1784">
                  <c:v>All Others</c:v>
                </c:pt>
                <c:pt idx="1785">
                  <c:v>Eurial Autr</c:v>
                </c:pt>
                <c:pt idx="1786">
                  <c:v>Paysan Bret</c:v>
                </c:pt>
                <c:pt idx="1787">
                  <c:v>All Others</c:v>
                </c:pt>
                <c:pt idx="1788">
                  <c:v>All Others</c:v>
                </c:pt>
                <c:pt idx="1789">
                  <c:v>La Belle Et</c:v>
                </c:pt>
                <c:pt idx="1790">
                  <c:v>All Others</c:v>
                </c:pt>
                <c:pt idx="1791">
                  <c:v>All Others</c:v>
                </c:pt>
                <c:pt idx="1792">
                  <c:v>All Others</c:v>
                </c:pt>
                <c:pt idx="1793">
                  <c:v>Leerdammer</c:v>
                </c:pt>
                <c:pt idx="1794">
                  <c:v>Pave D'Affi</c:v>
                </c:pt>
                <c:pt idx="1795">
                  <c:v>All Others</c:v>
                </c:pt>
                <c:pt idx="1796">
                  <c:v>All Others</c:v>
                </c:pt>
                <c:pt idx="1797">
                  <c:v>Soignon</c:v>
                </c:pt>
                <c:pt idx="1798">
                  <c:v>All Others</c:v>
                </c:pt>
                <c:pt idx="1799">
                  <c:v>All Others</c:v>
                </c:pt>
                <c:pt idx="1800">
                  <c:v>All Others</c:v>
                </c:pt>
                <c:pt idx="1801">
                  <c:v>All Others</c:v>
                </c:pt>
                <c:pt idx="1802">
                  <c:v>All Others</c:v>
                </c:pt>
                <c:pt idx="1803">
                  <c:v>All Others</c:v>
                </c:pt>
                <c:pt idx="1804">
                  <c:v>All Others</c:v>
                </c:pt>
                <c:pt idx="1805">
                  <c:v>Raguin</c:v>
                </c:pt>
                <c:pt idx="1806">
                  <c:v>All Others</c:v>
                </c:pt>
                <c:pt idx="1807">
                  <c:v>Lactalis: A</c:v>
                </c:pt>
                <c:pt idx="1808">
                  <c:v>Private Lab</c:v>
                </c:pt>
                <c:pt idx="1809">
                  <c:v>All Others</c:v>
                </c:pt>
                <c:pt idx="1810">
                  <c:v>All Others</c:v>
                </c:pt>
                <c:pt idx="1811">
                  <c:v>Paysan Bret</c:v>
                </c:pt>
                <c:pt idx="1812">
                  <c:v>Lou Perac</c:v>
                </c:pt>
                <c:pt idx="1813">
                  <c:v>All Others</c:v>
                </c:pt>
                <c:pt idx="1814">
                  <c:v>Pave D'Affi</c:v>
                </c:pt>
                <c:pt idx="1815">
                  <c:v>All Others</c:v>
                </c:pt>
                <c:pt idx="1816">
                  <c:v>Etoile Du V</c:v>
                </c:pt>
                <c:pt idx="1817">
                  <c:v>All Others</c:v>
                </c:pt>
                <c:pt idx="1818">
                  <c:v>All Others</c:v>
                </c:pt>
                <c:pt idx="1819">
                  <c:v>All Others</c:v>
                </c:pt>
                <c:pt idx="1820">
                  <c:v>All Others</c:v>
                </c:pt>
                <c:pt idx="1821">
                  <c:v>All Others</c:v>
                </c:pt>
                <c:pt idx="1822">
                  <c:v>All Others</c:v>
                </c:pt>
                <c:pt idx="1823">
                  <c:v>All Others</c:v>
                </c:pt>
                <c:pt idx="1824">
                  <c:v>All Others</c:v>
                </c:pt>
                <c:pt idx="1825">
                  <c:v>All Others</c:v>
                </c:pt>
                <c:pt idx="1826">
                  <c:v>President</c:v>
                </c:pt>
                <c:pt idx="1827">
                  <c:v>Raguin</c:v>
                </c:pt>
                <c:pt idx="1828">
                  <c:v>All Others</c:v>
                </c:pt>
                <c:pt idx="1829">
                  <c:v>Private Lab</c:v>
                </c:pt>
                <c:pt idx="1830">
                  <c:v>All Others</c:v>
                </c:pt>
                <c:pt idx="1831">
                  <c:v>All Others</c:v>
                </c:pt>
                <c:pt idx="1832">
                  <c:v>All Others</c:v>
                </c:pt>
                <c:pt idx="1833">
                  <c:v>Lactalis: A</c:v>
                </c:pt>
                <c:pt idx="1834">
                  <c:v>All Others</c:v>
                </c:pt>
                <c:pt idx="1835">
                  <c:v>All Others</c:v>
                </c:pt>
                <c:pt idx="1836">
                  <c:v>All Others</c:v>
                </c:pt>
                <c:pt idx="1837">
                  <c:v>All Others</c:v>
                </c:pt>
                <c:pt idx="1838">
                  <c:v>All Others</c:v>
                </c:pt>
                <c:pt idx="1839">
                  <c:v>All Others</c:v>
                </c:pt>
                <c:pt idx="1840">
                  <c:v>All Others</c:v>
                </c:pt>
                <c:pt idx="1841">
                  <c:v>All Others</c:v>
                </c:pt>
                <c:pt idx="1842">
                  <c:v>All Others</c:v>
                </c:pt>
                <c:pt idx="1843">
                  <c:v>All Others</c:v>
                </c:pt>
                <c:pt idx="1844">
                  <c:v>All Others</c:v>
                </c:pt>
                <c:pt idx="1845">
                  <c:v>All Others</c:v>
                </c:pt>
                <c:pt idx="1846">
                  <c:v>All Others</c:v>
                </c:pt>
                <c:pt idx="1847">
                  <c:v>All Others</c:v>
                </c:pt>
                <c:pt idx="1848">
                  <c:v>All Others</c:v>
                </c:pt>
                <c:pt idx="1849">
                  <c:v>All Others</c:v>
                </c:pt>
                <c:pt idx="1850">
                  <c:v>Soignon</c:v>
                </c:pt>
                <c:pt idx="1851">
                  <c:v>All Others</c:v>
                </c:pt>
                <c:pt idx="1852">
                  <c:v>All Others</c:v>
                </c:pt>
                <c:pt idx="1853">
                  <c:v>All Others</c:v>
                </c:pt>
                <c:pt idx="1854">
                  <c:v>Leerdammer</c:v>
                </c:pt>
                <c:pt idx="1855">
                  <c:v>All Others</c:v>
                </c:pt>
                <c:pt idx="1856">
                  <c:v>All Others</c:v>
                </c:pt>
                <c:pt idx="1857">
                  <c:v>All Others</c:v>
                </c:pt>
                <c:pt idx="1858">
                  <c:v>All Others</c:v>
                </c:pt>
                <c:pt idx="1859">
                  <c:v>Milleret: A</c:v>
                </c:pt>
                <c:pt idx="1860">
                  <c:v>Leerdammer</c:v>
                </c:pt>
                <c:pt idx="1861">
                  <c:v>All Others</c:v>
                </c:pt>
                <c:pt idx="1862">
                  <c:v>All Others</c:v>
                </c:pt>
                <c:pt idx="1863">
                  <c:v>All Others</c:v>
                </c:pt>
                <c:pt idx="1864">
                  <c:v>All Others</c:v>
                </c:pt>
                <c:pt idx="1865">
                  <c:v>All Others</c:v>
                </c:pt>
                <c:pt idx="1866">
                  <c:v>Fol Epi</c:v>
                </c:pt>
                <c:pt idx="1867">
                  <c:v>All Others</c:v>
                </c:pt>
                <c:pt idx="1868">
                  <c:v>Fol Epi</c:v>
                </c:pt>
                <c:pt idx="1869">
                  <c:v>Paysan Bret</c:v>
                </c:pt>
                <c:pt idx="1870">
                  <c:v>All Others</c:v>
                </c:pt>
                <c:pt idx="1871">
                  <c:v>All Others</c:v>
                </c:pt>
                <c:pt idx="1872">
                  <c:v>All Others</c:v>
                </c:pt>
                <c:pt idx="1873">
                  <c:v>All Others</c:v>
                </c:pt>
                <c:pt idx="1874">
                  <c:v>All Others</c:v>
                </c:pt>
                <c:pt idx="1875">
                  <c:v>All Others</c:v>
                </c:pt>
                <c:pt idx="1876">
                  <c:v>All Others</c:v>
                </c:pt>
                <c:pt idx="1877">
                  <c:v>All Others</c:v>
                </c:pt>
                <c:pt idx="1878">
                  <c:v>All Others</c:v>
                </c:pt>
                <c:pt idx="1879">
                  <c:v>All Others</c:v>
                </c:pt>
                <c:pt idx="1880">
                  <c:v>All Others</c:v>
                </c:pt>
                <c:pt idx="1881">
                  <c:v>All Others</c:v>
                </c:pt>
                <c:pt idx="1882">
                  <c:v>All Others</c:v>
                </c:pt>
                <c:pt idx="1883">
                  <c:v>Pave D'Affi</c:v>
                </c:pt>
                <c:pt idx="1884">
                  <c:v>All Others</c:v>
                </c:pt>
                <c:pt idx="1885">
                  <c:v>Lactalis: A</c:v>
                </c:pt>
                <c:pt idx="1886">
                  <c:v>All Others</c:v>
                </c:pt>
                <c:pt idx="1887">
                  <c:v>All Others</c:v>
                </c:pt>
                <c:pt idx="1888">
                  <c:v>All Others</c:v>
                </c:pt>
                <c:pt idx="1889">
                  <c:v>All Others</c:v>
                </c:pt>
                <c:pt idx="1890">
                  <c:v>All Others</c:v>
                </c:pt>
                <c:pt idx="1891">
                  <c:v>All Others</c:v>
                </c:pt>
                <c:pt idx="1892">
                  <c:v>All Others</c:v>
                </c:pt>
                <c:pt idx="1893">
                  <c:v>All Others</c:v>
                </c:pt>
                <c:pt idx="1894">
                  <c:v>Richesmonts</c:v>
                </c:pt>
                <c:pt idx="1895">
                  <c:v>All Others</c:v>
                </c:pt>
                <c:pt idx="1896">
                  <c:v>All Others</c:v>
                </c:pt>
                <c:pt idx="1897">
                  <c:v>All Others</c:v>
                </c:pt>
                <c:pt idx="1898">
                  <c:v>La Belle Et</c:v>
                </c:pt>
                <c:pt idx="1899">
                  <c:v>Triballat R</c:v>
                </c:pt>
                <c:pt idx="1900">
                  <c:v>All Others</c:v>
                </c:pt>
                <c:pt idx="1901">
                  <c:v>All Others</c:v>
                </c:pt>
                <c:pt idx="1902">
                  <c:v>Private Lab</c:v>
                </c:pt>
                <c:pt idx="1903">
                  <c:v>Private Lab</c:v>
                </c:pt>
                <c:pt idx="1904">
                  <c:v>All Others</c:v>
                </c:pt>
                <c:pt idx="1905">
                  <c:v>Lactalis: A</c:v>
                </c:pt>
                <c:pt idx="1906">
                  <c:v>All Others</c:v>
                </c:pt>
                <c:pt idx="1907">
                  <c:v>All Others</c:v>
                </c:pt>
                <c:pt idx="1908">
                  <c:v>Triballat R</c:v>
                </c:pt>
                <c:pt idx="1909">
                  <c:v>All Others</c:v>
                </c:pt>
                <c:pt idx="1910">
                  <c:v>All Others</c:v>
                </c:pt>
                <c:pt idx="1911">
                  <c:v>All Others</c:v>
                </c:pt>
                <c:pt idx="1912">
                  <c:v>President</c:v>
                </c:pt>
                <c:pt idx="1913">
                  <c:v>All Others</c:v>
                </c:pt>
                <c:pt idx="1914">
                  <c:v>Entremont</c:v>
                </c:pt>
                <c:pt idx="1915">
                  <c:v>All Others</c:v>
                </c:pt>
                <c:pt idx="1916">
                  <c:v>All Others</c:v>
                </c:pt>
                <c:pt idx="1917">
                  <c:v>All Others</c:v>
                </c:pt>
                <c:pt idx="1918">
                  <c:v>Entremont</c:v>
                </c:pt>
                <c:pt idx="1919">
                  <c:v>All Others</c:v>
                </c:pt>
                <c:pt idx="1920">
                  <c:v>Saint Agur</c:v>
                </c:pt>
                <c:pt idx="1921">
                  <c:v>All Others</c:v>
                </c:pt>
                <c:pt idx="1922">
                  <c:v>Private Lab</c:v>
                </c:pt>
                <c:pt idx="1923">
                  <c:v>Lactalis: A</c:v>
                </c:pt>
                <c:pt idx="1924">
                  <c:v>All Others</c:v>
                </c:pt>
                <c:pt idx="1925">
                  <c:v>All Others</c:v>
                </c:pt>
                <c:pt idx="1926">
                  <c:v>All Others</c:v>
                </c:pt>
                <c:pt idx="1927">
                  <c:v>All Others</c:v>
                </c:pt>
                <c:pt idx="1928">
                  <c:v>All Others</c:v>
                </c:pt>
                <c:pt idx="1929">
                  <c:v>All Others</c:v>
                </c:pt>
                <c:pt idx="1930">
                  <c:v>All Others</c:v>
                </c:pt>
                <c:pt idx="1931">
                  <c:v>All Others</c:v>
                </c:pt>
                <c:pt idx="1932">
                  <c:v>All Others</c:v>
                </c:pt>
                <c:pt idx="1933">
                  <c:v>All Others</c:v>
                </c:pt>
                <c:pt idx="1934">
                  <c:v>All Others</c:v>
                </c:pt>
                <c:pt idx="1935">
                  <c:v>All Others</c:v>
                </c:pt>
                <c:pt idx="1936">
                  <c:v>All Others</c:v>
                </c:pt>
                <c:pt idx="1937">
                  <c:v>All Others</c:v>
                </c:pt>
                <c:pt idx="1938">
                  <c:v>Raguin</c:v>
                </c:pt>
                <c:pt idx="1939">
                  <c:v>All Others</c:v>
                </c:pt>
                <c:pt idx="1940">
                  <c:v>All Others</c:v>
                </c:pt>
                <c:pt idx="1941">
                  <c:v>All Others</c:v>
                </c:pt>
                <c:pt idx="1942">
                  <c:v>All Others</c:v>
                </c:pt>
                <c:pt idx="1943">
                  <c:v>All Others</c:v>
                </c:pt>
                <c:pt idx="1944">
                  <c:v>All Others</c:v>
                </c:pt>
                <c:pt idx="1945">
                  <c:v>All Others</c:v>
                </c:pt>
                <c:pt idx="1946">
                  <c:v>All Others</c:v>
                </c:pt>
                <c:pt idx="1947">
                  <c:v>All Others</c:v>
                </c:pt>
                <c:pt idx="1948">
                  <c:v>All Others</c:v>
                </c:pt>
                <c:pt idx="1949">
                  <c:v>All Others</c:v>
                </c:pt>
                <c:pt idx="1950">
                  <c:v>All Others</c:v>
                </c:pt>
                <c:pt idx="1951">
                  <c:v>All Others</c:v>
                </c:pt>
                <c:pt idx="1952">
                  <c:v>Milleret: A</c:v>
                </c:pt>
                <c:pt idx="1953">
                  <c:v>All Others</c:v>
                </c:pt>
                <c:pt idx="1954">
                  <c:v>All Others</c:v>
                </c:pt>
                <c:pt idx="1955">
                  <c:v>Caprice Des</c:v>
                </c:pt>
                <c:pt idx="1956">
                  <c:v>All Others</c:v>
                </c:pt>
                <c:pt idx="1957">
                  <c:v>All Others</c:v>
                </c:pt>
                <c:pt idx="1958">
                  <c:v>Lactalis: A</c:v>
                </c:pt>
                <c:pt idx="1959">
                  <c:v>All Others</c:v>
                </c:pt>
                <c:pt idx="1960">
                  <c:v>All Others</c:v>
                </c:pt>
                <c:pt idx="1961">
                  <c:v>All Others</c:v>
                </c:pt>
                <c:pt idx="1962">
                  <c:v>Private Lab</c:v>
                </c:pt>
                <c:pt idx="1963">
                  <c:v>All Others</c:v>
                </c:pt>
                <c:pt idx="1964">
                  <c:v>Pave D'Affi</c:v>
                </c:pt>
                <c:pt idx="1965">
                  <c:v>All Others</c:v>
                </c:pt>
                <c:pt idx="1966">
                  <c:v>All Others</c:v>
                </c:pt>
                <c:pt idx="1967">
                  <c:v>All Others</c:v>
                </c:pt>
                <c:pt idx="1968">
                  <c:v>All Others</c:v>
                </c:pt>
                <c:pt idx="1969">
                  <c:v>All Others</c:v>
                </c:pt>
                <c:pt idx="1970">
                  <c:v>All Others</c:v>
                </c:pt>
                <c:pt idx="1971">
                  <c:v>All Others</c:v>
                </c:pt>
                <c:pt idx="1972">
                  <c:v>All Others</c:v>
                </c:pt>
                <c:pt idx="1973">
                  <c:v>La Belle Et</c:v>
                </c:pt>
                <c:pt idx="1974">
                  <c:v>All Others</c:v>
                </c:pt>
                <c:pt idx="1975">
                  <c:v>All Others</c:v>
                </c:pt>
                <c:pt idx="1976">
                  <c:v>Raguin</c:v>
                </c:pt>
                <c:pt idx="1977">
                  <c:v>All Others</c:v>
                </c:pt>
                <c:pt idx="1978">
                  <c:v>All Others</c:v>
                </c:pt>
                <c:pt idx="1979">
                  <c:v>All Others</c:v>
                </c:pt>
                <c:pt idx="1980">
                  <c:v>Lactalis: A</c:v>
                </c:pt>
                <c:pt idx="1981">
                  <c:v>All Others</c:v>
                </c:pt>
                <c:pt idx="1982">
                  <c:v>La Belle Et</c:v>
                </c:pt>
                <c:pt idx="1983">
                  <c:v>All Others</c:v>
                </c:pt>
                <c:pt idx="1984">
                  <c:v>All Others</c:v>
                </c:pt>
                <c:pt idx="1985">
                  <c:v>All Others</c:v>
                </c:pt>
                <c:pt idx="1986">
                  <c:v>All Others</c:v>
                </c:pt>
                <c:pt idx="1987">
                  <c:v>Lou Perac</c:v>
                </c:pt>
                <c:pt idx="1988">
                  <c:v>All Others</c:v>
                </c:pt>
                <c:pt idx="1989">
                  <c:v>All Others</c:v>
                </c:pt>
                <c:pt idx="1990">
                  <c:v>Savencia: A</c:v>
                </c:pt>
                <c:pt idx="1991">
                  <c:v>All Others</c:v>
                </c:pt>
                <c:pt idx="1992">
                  <c:v>All Others</c:v>
                </c:pt>
                <c:pt idx="1993">
                  <c:v>All Others</c:v>
                </c:pt>
                <c:pt idx="1994">
                  <c:v>All Others</c:v>
                </c:pt>
                <c:pt idx="1995">
                  <c:v>Private Lab</c:v>
                </c:pt>
                <c:pt idx="1996">
                  <c:v>Pochat</c:v>
                </c:pt>
                <c:pt idx="1997">
                  <c:v>All Others</c:v>
                </c:pt>
                <c:pt idx="1998">
                  <c:v>All Others</c:v>
                </c:pt>
                <c:pt idx="1999">
                  <c:v>All Others</c:v>
                </c:pt>
                <c:pt idx="2000">
                  <c:v>All Others</c:v>
                </c:pt>
                <c:pt idx="2001">
                  <c:v>All Others</c:v>
                </c:pt>
                <c:pt idx="2002">
                  <c:v>Mini Babybe</c:v>
                </c:pt>
                <c:pt idx="2003">
                  <c:v>All Others</c:v>
                </c:pt>
                <c:pt idx="2004">
                  <c:v>All Others</c:v>
                </c:pt>
                <c:pt idx="2005">
                  <c:v>All Others</c:v>
                </c:pt>
                <c:pt idx="2006">
                  <c:v>All Others</c:v>
                </c:pt>
                <c:pt idx="2007">
                  <c:v>All Others</c:v>
                </c:pt>
                <c:pt idx="2008">
                  <c:v>All Others</c:v>
                </c:pt>
                <c:pt idx="2009">
                  <c:v>Lactalis: A</c:v>
                </c:pt>
                <c:pt idx="2010">
                  <c:v>All Others</c:v>
                </c:pt>
                <c:pt idx="2011">
                  <c:v>All Others</c:v>
                </c:pt>
                <c:pt idx="2012">
                  <c:v>All Others</c:v>
                </c:pt>
                <c:pt idx="2013">
                  <c:v>Port Salut</c:v>
                </c:pt>
                <c:pt idx="2014">
                  <c:v>All Others</c:v>
                </c:pt>
                <c:pt idx="2015">
                  <c:v>All Others</c:v>
                </c:pt>
                <c:pt idx="2016">
                  <c:v>All Others</c:v>
                </c:pt>
                <c:pt idx="2017">
                  <c:v>All Others</c:v>
                </c:pt>
                <c:pt idx="2018">
                  <c:v>All Others</c:v>
                </c:pt>
                <c:pt idx="2019">
                  <c:v>All Others</c:v>
                </c:pt>
                <c:pt idx="2020">
                  <c:v>All Others</c:v>
                </c:pt>
                <c:pt idx="2021">
                  <c:v>All Others</c:v>
                </c:pt>
                <c:pt idx="2022">
                  <c:v>All Others</c:v>
                </c:pt>
                <c:pt idx="2023">
                  <c:v>All Others</c:v>
                </c:pt>
                <c:pt idx="2024">
                  <c:v>Richesmonts</c:v>
                </c:pt>
                <c:pt idx="2025">
                  <c:v>Private Lab</c:v>
                </c:pt>
                <c:pt idx="2026">
                  <c:v>All Others</c:v>
                </c:pt>
                <c:pt idx="2027">
                  <c:v>All Others</c:v>
                </c:pt>
                <c:pt idx="2028">
                  <c:v>All Others</c:v>
                </c:pt>
                <c:pt idx="2029">
                  <c:v>All Others</c:v>
                </c:pt>
                <c:pt idx="2030">
                  <c:v>All Others</c:v>
                </c:pt>
                <c:pt idx="2031">
                  <c:v>All Others</c:v>
                </c:pt>
                <c:pt idx="2032">
                  <c:v>All Others</c:v>
                </c:pt>
                <c:pt idx="2033">
                  <c:v>All Others</c:v>
                </c:pt>
                <c:pt idx="2034">
                  <c:v>All Others</c:v>
                </c:pt>
                <c:pt idx="2035">
                  <c:v>All Others</c:v>
                </c:pt>
                <c:pt idx="2036">
                  <c:v>All Others</c:v>
                </c:pt>
                <c:pt idx="2037">
                  <c:v>All Others</c:v>
                </c:pt>
                <c:pt idx="2038">
                  <c:v>All Others</c:v>
                </c:pt>
                <c:pt idx="2039">
                  <c:v>All Others</c:v>
                </c:pt>
                <c:pt idx="2040">
                  <c:v>All Others</c:v>
                </c:pt>
                <c:pt idx="2041">
                  <c:v>All Others</c:v>
                </c:pt>
                <c:pt idx="2042">
                  <c:v>All Others</c:v>
                </c:pt>
                <c:pt idx="2043">
                  <c:v>All Others</c:v>
                </c:pt>
                <c:pt idx="2044">
                  <c:v>Eurial Autr</c:v>
                </c:pt>
                <c:pt idx="2045">
                  <c:v>All Others</c:v>
                </c:pt>
                <c:pt idx="2046">
                  <c:v>All Others</c:v>
                </c:pt>
                <c:pt idx="2047">
                  <c:v>All Others</c:v>
                </c:pt>
                <c:pt idx="2048">
                  <c:v>All Others</c:v>
                </c:pt>
                <c:pt idx="2049">
                  <c:v>All Others</c:v>
                </c:pt>
                <c:pt idx="2050">
                  <c:v>All Others</c:v>
                </c:pt>
                <c:pt idx="2051">
                  <c:v>All Others</c:v>
                </c:pt>
                <c:pt idx="2052">
                  <c:v>All Others</c:v>
                </c:pt>
                <c:pt idx="2053">
                  <c:v>All Others</c:v>
                </c:pt>
                <c:pt idx="2054">
                  <c:v>All Others</c:v>
                </c:pt>
                <c:pt idx="2055">
                  <c:v>All Others</c:v>
                </c:pt>
                <c:pt idx="2056">
                  <c:v>All Others</c:v>
                </c:pt>
                <c:pt idx="2057">
                  <c:v>All Others</c:v>
                </c:pt>
                <c:pt idx="2058">
                  <c:v>All Others</c:v>
                </c:pt>
                <c:pt idx="2059">
                  <c:v>All Others</c:v>
                </c:pt>
                <c:pt idx="2060">
                  <c:v>All Others</c:v>
                </c:pt>
                <c:pt idx="2061">
                  <c:v>All Others</c:v>
                </c:pt>
                <c:pt idx="2062">
                  <c:v>All Others</c:v>
                </c:pt>
                <c:pt idx="2063">
                  <c:v>All Others</c:v>
                </c:pt>
                <c:pt idx="2064">
                  <c:v>All Others</c:v>
                </c:pt>
                <c:pt idx="2065">
                  <c:v>Private Lab</c:v>
                </c:pt>
                <c:pt idx="2066">
                  <c:v>All Others</c:v>
                </c:pt>
                <c:pt idx="2067">
                  <c:v>All Others</c:v>
                </c:pt>
                <c:pt idx="2068">
                  <c:v>All Others</c:v>
                </c:pt>
                <c:pt idx="2069">
                  <c:v>Le Saint Am</c:v>
                </c:pt>
                <c:pt idx="2070">
                  <c:v>All Others</c:v>
                </c:pt>
                <c:pt idx="2071">
                  <c:v>All Others</c:v>
                </c:pt>
                <c:pt idx="2072">
                  <c:v>All Others</c:v>
                </c:pt>
                <c:pt idx="2073">
                  <c:v>All Others</c:v>
                </c:pt>
                <c:pt idx="2074">
                  <c:v>All Others</c:v>
                </c:pt>
                <c:pt idx="2075">
                  <c:v>All Others</c:v>
                </c:pt>
                <c:pt idx="2076">
                  <c:v>All Others</c:v>
                </c:pt>
                <c:pt idx="2077">
                  <c:v>All Others</c:v>
                </c:pt>
                <c:pt idx="2078">
                  <c:v>All Others</c:v>
                </c:pt>
                <c:pt idx="2079">
                  <c:v>All Others</c:v>
                </c:pt>
                <c:pt idx="2080">
                  <c:v>All Others</c:v>
                </c:pt>
                <c:pt idx="2081">
                  <c:v>All Others</c:v>
                </c:pt>
                <c:pt idx="2082">
                  <c:v>Eurial Autr</c:v>
                </c:pt>
                <c:pt idx="2083">
                  <c:v>All Others</c:v>
                </c:pt>
                <c:pt idx="2084">
                  <c:v>All Others</c:v>
                </c:pt>
                <c:pt idx="2085">
                  <c:v>All Others</c:v>
                </c:pt>
                <c:pt idx="2086">
                  <c:v>All Others</c:v>
                </c:pt>
                <c:pt idx="2087">
                  <c:v>All Others</c:v>
                </c:pt>
                <c:pt idx="2088">
                  <c:v>All Others</c:v>
                </c:pt>
                <c:pt idx="2089">
                  <c:v>All Others</c:v>
                </c:pt>
                <c:pt idx="2090">
                  <c:v>All Others</c:v>
                </c:pt>
                <c:pt idx="2091">
                  <c:v>All Others</c:v>
                </c:pt>
                <c:pt idx="2092">
                  <c:v>Pave D'Affi</c:v>
                </c:pt>
                <c:pt idx="2093">
                  <c:v>All Others</c:v>
                </c:pt>
                <c:pt idx="2094">
                  <c:v>All Others</c:v>
                </c:pt>
                <c:pt idx="2095">
                  <c:v>All Others</c:v>
                </c:pt>
                <c:pt idx="2096">
                  <c:v>All Others</c:v>
                </c:pt>
                <c:pt idx="2097">
                  <c:v>All Others</c:v>
                </c:pt>
                <c:pt idx="2098">
                  <c:v>All Others</c:v>
                </c:pt>
                <c:pt idx="2099">
                  <c:v>All Others</c:v>
                </c:pt>
                <c:pt idx="2100">
                  <c:v>All Others</c:v>
                </c:pt>
                <c:pt idx="2101">
                  <c:v>All Others</c:v>
                </c:pt>
                <c:pt idx="2102">
                  <c:v>All Others</c:v>
                </c:pt>
                <c:pt idx="2103">
                  <c:v>All Others</c:v>
                </c:pt>
                <c:pt idx="2104">
                  <c:v>All Others</c:v>
                </c:pt>
                <c:pt idx="2105">
                  <c:v>All Others</c:v>
                </c:pt>
                <c:pt idx="2106">
                  <c:v>All Others</c:v>
                </c:pt>
                <c:pt idx="2107">
                  <c:v>All Others</c:v>
                </c:pt>
                <c:pt idx="2108">
                  <c:v>All Others</c:v>
                </c:pt>
                <c:pt idx="2109">
                  <c:v>All Others</c:v>
                </c:pt>
                <c:pt idx="2110">
                  <c:v>All Others</c:v>
                </c:pt>
                <c:pt idx="2111">
                  <c:v>All Others</c:v>
                </c:pt>
                <c:pt idx="2112">
                  <c:v>All Others</c:v>
                </c:pt>
                <c:pt idx="2113">
                  <c:v>All Others</c:v>
                </c:pt>
                <c:pt idx="2114">
                  <c:v>All Others</c:v>
                </c:pt>
                <c:pt idx="2115">
                  <c:v>All Others</c:v>
                </c:pt>
                <c:pt idx="2116">
                  <c:v>All Others</c:v>
                </c:pt>
                <c:pt idx="2117">
                  <c:v>All Others</c:v>
                </c:pt>
                <c:pt idx="2118">
                  <c:v>All Others</c:v>
                </c:pt>
                <c:pt idx="2119">
                  <c:v>All Others</c:v>
                </c:pt>
                <c:pt idx="2120">
                  <c:v>Private Lab</c:v>
                </c:pt>
                <c:pt idx="2121">
                  <c:v>All Others</c:v>
                </c:pt>
                <c:pt idx="2122">
                  <c:v>All Others</c:v>
                </c:pt>
                <c:pt idx="2123">
                  <c:v>All Others</c:v>
                </c:pt>
                <c:pt idx="2124">
                  <c:v>All Others</c:v>
                </c:pt>
                <c:pt idx="2125">
                  <c:v>All Others</c:v>
                </c:pt>
                <c:pt idx="2126">
                  <c:v>All Others</c:v>
                </c:pt>
                <c:pt idx="2127">
                  <c:v>All Others</c:v>
                </c:pt>
                <c:pt idx="2128">
                  <c:v>All Others</c:v>
                </c:pt>
                <c:pt idx="2129">
                  <c:v>All Others</c:v>
                </c:pt>
                <c:pt idx="2130">
                  <c:v>All Others</c:v>
                </c:pt>
                <c:pt idx="2131">
                  <c:v>All Others</c:v>
                </c:pt>
                <c:pt idx="2132">
                  <c:v>Lactalis: A</c:v>
                </c:pt>
                <c:pt idx="2133">
                  <c:v>All Others</c:v>
                </c:pt>
                <c:pt idx="2134">
                  <c:v>Limiano</c:v>
                </c:pt>
                <c:pt idx="2135">
                  <c:v>All Others</c:v>
                </c:pt>
                <c:pt idx="2136">
                  <c:v>All Others</c:v>
                </c:pt>
                <c:pt idx="2137">
                  <c:v>All Others</c:v>
                </c:pt>
                <c:pt idx="2138">
                  <c:v>All Others</c:v>
                </c:pt>
                <c:pt idx="2139">
                  <c:v>All Others</c:v>
                </c:pt>
                <c:pt idx="2140">
                  <c:v>All Others</c:v>
                </c:pt>
                <c:pt idx="2141">
                  <c:v>All Others</c:v>
                </c:pt>
                <c:pt idx="2142">
                  <c:v>All Others</c:v>
                </c:pt>
                <c:pt idx="2143">
                  <c:v>All Others</c:v>
                </c:pt>
                <c:pt idx="2144">
                  <c:v>All Others</c:v>
                </c:pt>
                <c:pt idx="2145">
                  <c:v>All Others</c:v>
                </c:pt>
                <c:pt idx="2146">
                  <c:v>All Others</c:v>
                </c:pt>
                <c:pt idx="2147">
                  <c:v>President</c:v>
                </c:pt>
                <c:pt idx="2148">
                  <c:v>All Others</c:v>
                </c:pt>
                <c:pt idx="2149">
                  <c:v>All Others</c:v>
                </c:pt>
                <c:pt idx="2150">
                  <c:v>All Others</c:v>
                </c:pt>
                <c:pt idx="2151">
                  <c:v>Raguin</c:v>
                </c:pt>
                <c:pt idx="2152">
                  <c:v>All Others</c:v>
                </c:pt>
                <c:pt idx="2153">
                  <c:v>All Others</c:v>
                </c:pt>
                <c:pt idx="2154">
                  <c:v>All Others</c:v>
                </c:pt>
                <c:pt idx="2155">
                  <c:v>All Others</c:v>
                </c:pt>
                <c:pt idx="2156">
                  <c:v>Lactalis: A</c:v>
                </c:pt>
                <c:pt idx="2157">
                  <c:v>All Others</c:v>
                </c:pt>
                <c:pt idx="2158">
                  <c:v>All Others</c:v>
                </c:pt>
                <c:pt idx="2159">
                  <c:v>All Others</c:v>
                </c:pt>
                <c:pt idx="2160">
                  <c:v>Private Lab</c:v>
                </c:pt>
                <c:pt idx="2161">
                  <c:v>All Others</c:v>
                </c:pt>
                <c:pt idx="2162">
                  <c:v>All Others</c:v>
                </c:pt>
                <c:pt idx="2163">
                  <c:v>All Others</c:v>
                </c:pt>
                <c:pt idx="2164">
                  <c:v>All Others</c:v>
                </c:pt>
                <c:pt idx="2165">
                  <c:v>All Others</c:v>
                </c:pt>
                <c:pt idx="2166">
                  <c:v>All Others</c:v>
                </c:pt>
                <c:pt idx="2167">
                  <c:v>All Others</c:v>
                </c:pt>
                <c:pt idx="2168">
                  <c:v>Raguin</c:v>
                </c:pt>
                <c:pt idx="2169">
                  <c:v>Etorki</c:v>
                </c:pt>
                <c:pt idx="2170">
                  <c:v>Etoile Du V</c:v>
                </c:pt>
                <c:pt idx="2171">
                  <c:v>All Others</c:v>
                </c:pt>
                <c:pt idx="2172">
                  <c:v>All Others</c:v>
                </c:pt>
                <c:pt idx="2173">
                  <c:v>All Others</c:v>
                </c:pt>
                <c:pt idx="2174">
                  <c:v>All Others</c:v>
                </c:pt>
                <c:pt idx="2175">
                  <c:v>All Others</c:v>
                </c:pt>
                <c:pt idx="2176">
                  <c:v>All Others</c:v>
                </c:pt>
                <c:pt idx="2177">
                  <c:v>All Others</c:v>
                </c:pt>
                <c:pt idx="2178">
                  <c:v>All Others</c:v>
                </c:pt>
                <c:pt idx="2179">
                  <c:v>All Others</c:v>
                </c:pt>
                <c:pt idx="2180">
                  <c:v>All Others</c:v>
                </c:pt>
                <c:pt idx="2181">
                  <c:v>All Others</c:v>
                </c:pt>
                <c:pt idx="2182">
                  <c:v>All Others</c:v>
                </c:pt>
                <c:pt idx="2183">
                  <c:v>All Others</c:v>
                </c:pt>
                <c:pt idx="2184">
                  <c:v>All Others</c:v>
                </c:pt>
                <c:pt idx="2185">
                  <c:v>Raguin</c:v>
                </c:pt>
                <c:pt idx="2186">
                  <c:v>All Others</c:v>
                </c:pt>
                <c:pt idx="2187">
                  <c:v>All Others</c:v>
                </c:pt>
                <c:pt idx="2188">
                  <c:v>All Others</c:v>
                </c:pt>
                <c:pt idx="2189">
                  <c:v>All Others</c:v>
                </c:pt>
                <c:pt idx="2190">
                  <c:v>All Others</c:v>
                </c:pt>
                <c:pt idx="2191">
                  <c:v>All Others</c:v>
                </c:pt>
                <c:pt idx="2192">
                  <c:v>All Others</c:v>
                </c:pt>
                <c:pt idx="2193">
                  <c:v>All Others</c:v>
                </c:pt>
                <c:pt idx="2194">
                  <c:v>All Others</c:v>
                </c:pt>
                <c:pt idx="2195">
                  <c:v>All Others</c:v>
                </c:pt>
                <c:pt idx="2196">
                  <c:v>All Others</c:v>
                </c:pt>
                <c:pt idx="2197">
                  <c:v>All Others</c:v>
                </c:pt>
                <c:pt idx="2198">
                  <c:v>All Others</c:v>
                </c:pt>
                <c:pt idx="2199">
                  <c:v>All Others</c:v>
                </c:pt>
                <c:pt idx="2200">
                  <c:v>Raguin</c:v>
                </c:pt>
                <c:pt idx="2201">
                  <c:v>All Others</c:v>
                </c:pt>
                <c:pt idx="2202">
                  <c:v>All Others</c:v>
                </c:pt>
                <c:pt idx="2203">
                  <c:v>All Others</c:v>
                </c:pt>
                <c:pt idx="2204">
                  <c:v>All Others</c:v>
                </c:pt>
                <c:pt idx="2205">
                  <c:v>All Others</c:v>
                </c:pt>
                <c:pt idx="2206">
                  <c:v>President</c:v>
                </c:pt>
                <c:pt idx="2207">
                  <c:v>All Others</c:v>
                </c:pt>
                <c:pt idx="2208">
                  <c:v>All Others</c:v>
                </c:pt>
                <c:pt idx="2209">
                  <c:v>All Others</c:v>
                </c:pt>
                <c:pt idx="2210">
                  <c:v>All Others</c:v>
                </c:pt>
                <c:pt idx="2211">
                  <c:v>All Others</c:v>
                </c:pt>
                <c:pt idx="2212">
                  <c:v>All Others</c:v>
                </c:pt>
                <c:pt idx="2213">
                  <c:v>All Others</c:v>
                </c:pt>
                <c:pt idx="2214">
                  <c:v>All Others</c:v>
                </c:pt>
                <c:pt idx="2215">
                  <c:v>All Others</c:v>
                </c:pt>
                <c:pt idx="2216">
                  <c:v>All Others</c:v>
                </c:pt>
                <c:pt idx="2217">
                  <c:v>All Others</c:v>
                </c:pt>
                <c:pt idx="2218">
                  <c:v>All Others</c:v>
                </c:pt>
                <c:pt idx="2219">
                  <c:v>Rondele</c:v>
                </c:pt>
                <c:pt idx="2220">
                  <c:v>All Others</c:v>
                </c:pt>
                <c:pt idx="2221">
                  <c:v>Lactalis: A</c:v>
                </c:pt>
                <c:pt idx="2222">
                  <c:v>All Others</c:v>
                </c:pt>
                <c:pt idx="2223">
                  <c:v>All Others</c:v>
                </c:pt>
                <c:pt idx="2224">
                  <c:v>All Others</c:v>
                </c:pt>
                <c:pt idx="2225">
                  <c:v>All Others</c:v>
                </c:pt>
                <c:pt idx="2226">
                  <c:v>All Others</c:v>
                </c:pt>
                <c:pt idx="2227">
                  <c:v>All Others</c:v>
                </c:pt>
                <c:pt idx="2228">
                  <c:v>Limiano</c:v>
                </c:pt>
                <c:pt idx="2229">
                  <c:v>All Others</c:v>
                </c:pt>
                <c:pt idx="2230">
                  <c:v>All Others</c:v>
                </c:pt>
                <c:pt idx="2231">
                  <c:v>All Others</c:v>
                </c:pt>
                <c:pt idx="2232">
                  <c:v>All Others</c:v>
                </c:pt>
                <c:pt idx="2233">
                  <c:v>All Others</c:v>
                </c:pt>
                <c:pt idx="2234">
                  <c:v>All Others</c:v>
                </c:pt>
                <c:pt idx="2235">
                  <c:v>All Others</c:v>
                </c:pt>
                <c:pt idx="2236">
                  <c:v>All Others</c:v>
                </c:pt>
                <c:pt idx="2237">
                  <c:v>All Others</c:v>
                </c:pt>
                <c:pt idx="2238">
                  <c:v>All Others</c:v>
                </c:pt>
                <c:pt idx="2239">
                  <c:v>All Others</c:v>
                </c:pt>
                <c:pt idx="2240">
                  <c:v>All Others</c:v>
                </c:pt>
                <c:pt idx="2241">
                  <c:v>All Others</c:v>
                </c:pt>
                <c:pt idx="2242">
                  <c:v>All Others</c:v>
                </c:pt>
                <c:pt idx="2243">
                  <c:v>All Others</c:v>
                </c:pt>
                <c:pt idx="2244">
                  <c:v>All Others</c:v>
                </c:pt>
                <c:pt idx="2245">
                  <c:v>All Others</c:v>
                </c:pt>
                <c:pt idx="2246">
                  <c:v>All Others</c:v>
                </c:pt>
                <c:pt idx="2247">
                  <c:v>All Others</c:v>
                </c:pt>
                <c:pt idx="2248">
                  <c:v>All Others</c:v>
                </c:pt>
                <c:pt idx="2249">
                  <c:v>All Others</c:v>
                </c:pt>
                <c:pt idx="2250">
                  <c:v>All Others</c:v>
                </c:pt>
                <c:pt idx="2251">
                  <c:v>All Others</c:v>
                </c:pt>
                <c:pt idx="2252">
                  <c:v>All Others</c:v>
                </c:pt>
                <c:pt idx="2253">
                  <c:v>All Others</c:v>
                </c:pt>
                <c:pt idx="2254">
                  <c:v>All Others</c:v>
                </c:pt>
                <c:pt idx="2255">
                  <c:v>All Others</c:v>
                </c:pt>
                <c:pt idx="2256">
                  <c:v>All Others</c:v>
                </c:pt>
                <c:pt idx="2257">
                  <c:v>All Others</c:v>
                </c:pt>
                <c:pt idx="2258">
                  <c:v>Rondele</c:v>
                </c:pt>
                <c:pt idx="2259">
                  <c:v>All Others</c:v>
                </c:pt>
                <c:pt idx="2260">
                  <c:v>All Others</c:v>
                </c:pt>
                <c:pt idx="2261">
                  <c:v>All Others</c:v>
                </c:pt>
                <c:pt idx="2262">
                  <c:v>All Others</c:v>
                </c:pt>
                <c:pt idx="2263">
                  <c:v>All Others</c:v>
                </c:pt>
                <c:pt idx="2264">
                  <c:v>Private Lab</c:v>
                </c:pt>
                <c:pt idx="2265">
                  <c:v>All Others</c:v>
                </c:pt>
                <c:pt idx="2266">
                  <c:v>O'Tapas Ape</c:v>
                </c:pt>
                <c:pt idx="2267">
                  <c:v>All Others</c:v>
                </c:pt>
                <c:pt idx="2268">
                  <c:v>All Others</c:v>
                </c:pt>
                <c:pt idx="2269">
                  <c:v>All Others</c:v>
                </c:pt>
                <c:pt idx="2270">
                  <c:v>All Others</c:v>
                </c:pt>
                <c:pt idx="2271">
                  <c:v>All Others</c:v>
                </c:pt>
                <c:pt idx="2272">
                  <c:v>Raguin</c:v>
                </c:pt>
                <c:pt idx="2273">
                  <c:v>All Others</c:v>
                </c:pt>
                <c:pt idx="2274">
                  <c:v>All Others</c:v>
                </c:pt>
                <c:pt idx="2275">
                  <c:v>All Others</c:v>
                </c:pt>
                <c:pt idx="2276">
                  <c:v>All Others</c:v>
                </c:pt>
                <c:pt idx="2277">
                  <c:v>All Others</c:v>
                </c:pt>
                <c:pt idx="2278">
                  <c:v>All Others</c:v>
                </c:pt>
                <c:pt idx="2279">
                  <c:v>All Others</c:v>
                </c:pt>
                <c:pt idx="2280">
                  <c:v>All Others</c:v>
                </c:pt>
                <c:pt idx="2281">
                  <c:v>All Others</c:v>
                </c:pt>
                <c:pt idx="2282">
                  <c:v>All Others</c:v>
                </c:pt>
                <c:pt idx="2283">
                  <c:v>All Others</c:v>
                </c:pt>
                <c:pt idx="2284">
                  <c:v>Soignon</c:v>
                </c:pt>
                <c:pt idx="2285">
                  <c:v>All Others</c:v>
                </c:pt>
                <c:pt idx="2286">
                  <c:v>All Others</c:v>
                </c:pt>
                <c:pt idx="2287">
                  <c:v>All Others</c:v>
                </c:pt>
                <c:pt idx="2288">
                  <c:v>All Others</c:v>
                </c:pt>
                <c:pt idx="2289">
                  <c:v>All Others</c:v>
                </c:pt>
                <c:pt idx="2290">
                  <c:v>All Others</c:v>
                </c:pt>
                <c:pt idx="2291">
                  <c:v>All Others</c:v>
                </c:pt>
                <c:pt idx="2292">
                  <c:v>All Others</c:v>
                </c:pt>
                <c:pt idx="2293">
                  <c:v>All Others</c:v>
                </c:pt>
                <c:pt idx="2294">
                  <c:v>All Others</c:v>
                </c:pt>
                <c:pt idx="2295">
                  <c:v>All Others</c:v>
                </c:pt>
                <c:pt idx="2296">
                  <c:v>All Others</c:v>
                </c:pt>
                <c:pt idx="2297">
                  <c:v>Lactalis: A</c:v>
                </c:pt>
                <c:pt idx="2298">
                  <c:v>All Others</c:v>
                </c:pt>
                <c:pt idx="2299">
                  <c:v>All Others</c:v>
                </c:pt>
                <c:pt idx="2300">
                  <c:v>Raguin</c:v>
                </c:pt>
                <c:pt idx="2301">
                  <c:v>All Others</c:v>
                </c:pt>
                <c:pt idx="2302">
                  <c:v>All Others</c:v>
                </c:pt>
                <c:pt idx="2303">
                  <c:v>All Others</c:v>
                </c:pt>
                <c:pt idx="2304">
                  <c:v>All Others</c:v>
                </c:pt>
                <c:pt idx="2305">
                  <c:v>All Others</c:v>
                </c:pt>
                <c:pt idx="2306">
                  <c:v>All Others</c:v>
                </c:pt>
                <c:pt idx="2307">
                  <c:v>All Others</c:v>
                </c:pt>
                <c:pt idx="2308">
                  <c:v>All Others</c:v>
                </c:pt>
                <c:pt idx="2309">
                  <c:v>All Others</c:v>
                </c:pt>
                <c:pt idx="2310">
                  <c:v>All Others</c:v>
                </c:pt>
                <c:pt idx="2311">
                  <c:v>All Others</c:v>
                </c:pt>
                <c:pt idx="2312">
                  <c:v>All Others</c:v>
                </c:pt>
                <c:pt idx="2313">
                  <c:v>All Others</c:v>
                </c:pt>
                <c:pt idx="2314">
                  <c:v>Lactalis: A</c:v>
                </c:pt>
                <c:pt idx="2315">
                  <c:v>All Others</c:v>
                </c:pt>
                <c:pt idx="2316">
                  <c:v>Rondele</c:v>
                </c:pt>
                <c:pt idx="2317">
                  <c:v>Raguin</c:v>
                </c:pt>
                <c:pt idx="2318">
                  <c:v>All Others</c:v>
                </c:pt>
                <c:pt idx="2319">
                  <c:v>All Others</c:v>
                </c:pt>
                <c:pt idx="2320">
                  <c:v>All Others</c:v>
                </c:pt>
                <c:pt idx="2321">
                  <c:v>All Others</c:v>
                </c:pt>
                <c:pt idx="2322">
                  <c:v>All Others</c:v>
                </c:pt>
                <c:pt idx="2323">
                  <c:v>All Others</c:v>
                </c:pt>
                <c:pt idx="2324">
                  <c:v>All Others</c:v>
                </c:pt>
                <c:pt idx="2325">
                  <c:v>All Others</c:v>
                </c:pt>
                <c:pt idx="2326">
                  <c:v>All Others</c:v>
                </c:pt>
                <c:pt idx="2327">
                  <c:v>All Others</c:v>
                </c:pt>
                <c:pt idx="2328">
                  <c:v>All Others</c:v>
                </c:pt>
                <c:pt idx="2329">
                  <c:v>All Others</c:v>
                </c:pt>
                <c:pt idx="2330">
                  <c:v>All Others</c:v>
                </c:pt>
                <c:pt idx="2331">
                  <c:v>All Others</c:v>
                </c:pt>
                <c:pt idx="2332">
                  <c:v>All Others</c:v>
                </c:pt>
                <c:pt idx="2333">
                  <c:v>All Others</c:v>
                </c:pt>
                <c:pt idx="2334">
                  <c:v>All Others</c:v>
                </c:pt>
                <c:pt idx="2335">
                  <c:v>Petit Billy</c:v>
                </c:pt>
                <c:pt idx="2336">
                  <c:v>All Others</c:v>
                </c:pt>
                <c:pt idx="2337">
                  <c:v>All Others</c:v>
                </c:pt>
                <c:pt idx="2338">
                  <c:v>All Others</c:v>
                </c:pt>
                <c:pt idx="2339">
                  <c:v>All Others</c:v>
                </c:pt>
                <c:pt idx="2340">
                  <c:v>All Others</c:v>
                </c:pt>
                <c:pt idx="2341">
                  <c:v>All Others</c:v>
                </c:pt>
                <c:pt idx="2342">
                  <c:v>All Others</c:v>
                </c:pt>
                <c:pt idx="2343">
                  <c:v>All Others</c:v>
                </c:pt>
                <c:pt idx="2344">
                  <c:v>All Others</c:v>
                </c:pt>
                <c:pt idx="2345">
                  <c:v>All Others</c:v>
                </c:pt>
                <c:pt idx="2346">
                  <c:v>All Others</c:v>
                </c:pt>
                <c:pt idx="2347">
                  <c:v>All Others</c:v>
                </c:pt>
                <c:pt idx="2348">
                  <c:v>All Others</c:v>
                </c:pt>
                <c:pt idx="2349">
                  <c:v>All Others</c:v>
                </c:pt>
                <c:pt idx="2350">
                  <c:v>All Others</c:v>
                </c:pt>
                <c:pt idx="2351">
                  <c:v>Lactalis: A</c:v>
                </c:pt>
                <c:pt idx="2352">
                  <c:v>All Others</c:v>
                </c:pt>
                <c:pt idx="2353">
                  <c:v>All Others</c:v>
                </c:pt>
                <c:pt idx="2354">
                  <c:v>Private Lab</c:v>
                </c:pt>
                <c:pt idx="2355">
                  <c:v>All Others</c:v>
                </c:pt>
                <c:pt idx="2356">
                  <c:v>Violife</c:v>
                </c:pt>
                <c:pt idx="2357">
                  <c:v>All Others</c:v>
                </c:pt>
                <c:pt idx="2358">
                  <c:v>All Others</c:v>
                </c:pt>
                <c:pt idx="2359">
                  <c:v>All Others</c:v>
                </c:pt>
                <c:pt idx="2360">
                  <c:v>All Others</c:v>
                </c:pt>
                <c:pt idx="2361">
                  <c:v>All Others</c:v>
                </c:pt>
                <c:pt idx="2362">
                  <c:v>All Others</c:v>
                </c:pt>
                <c:pt idx="2363">
                  <c:v>All Others</c:v>
                </c:pt>
                <c:pt idx="2364">
                  <c:v>All Others</c:v>
                </c:pt>
                <c:pt idx="2365">
                  <c:v>All Others</c:v>
                </c:pt>
                <c:pt idx="2366">
                  <c:v>All Others</c:v>
                </c:pt>
                <c:pt idx="2367">
                  <c:v>All Others</c:v>
                </c:pt>
                <c:pt idx="2368">
                  <c:v>Savencia: A</c:v>
                </c:pt>
                <c:pt idx="2369">
                  <c:v>Pave D'Affi</c:v>
                </c:pt>
                <c:pt idx="2370">
                  <c:v>All Others</c:v>
                </c:pt>
                <c:pt idx="2371">
                  <c:v>All Others</c:v>
                </c:pt>
                <c:pt idx="2372">
                  <c:v>All Others</c:v>
                </c:pt>
                <c:pt idx="2373">
                  <c:v>All Others</c:v>
                </c:pt>
                <c:pt idx="2374">
                  <c:v>All Others</c:v>
                </c:pt>
                <c:pt idx="2375">
                  <c:v>All Others</c:v>
                </c:pt>
                <c:pt idx="2376">
                  <c:v>All Others</c:v>
                </c:pt>
                <c:pt idx="2377">
                  <c:v>All Others</c:v>
                </c:pt>
                <c:pt idx="2378">
                  <c:v>All Others</c:v>
                </c:pt>
                <c:pt idx="2379">
                  <c:v>Private Lab</c:v>
                </c:pt>
                <c:pt idx="2380">
                  <c:v>All Others</c:v>
                </c:pt>
                <c:pt idx="2381">
                  <c:v>All Others</c:v>
                </c:pt>
                <c:pt idx="2382">
                  <c:v>All Others</c:v>
                </c:pt>
                <c:pt idx="2383">
                  <c:v>All Others</c:v>
                </c:pt>
                <c:pt idx="2384">
                  <c:v>All Others</c:v>
                </c:pt>
                <c:pt idx="2385">
                  <c:v>All Others</c:v>
                </c:pt>
                <c:pt idx="2386">
                  <c:v>All Others</c:v>
                </c:pt>
                <c:pt idx="2387">
                  <c:v>All Others</c:v>
                </c:pt>
                <c:pt idx="2388">
                  <c:v>All Others</c:v>
                </c:pt>
                <c:pt idx="2389">
                  <c:v>Savencia: A</c:v>
                </c:pt>
                <c:pt idx="2390">
                  <c:v>All Others</c:v>
                </c:pt>
                <c:pt idx="2391">
                  <c:v>All Others</c:v>
                </c:pt>
                <c:pt idx="2392">
                  <c:v>All Others</c:v>
                </c:pt>
                <c:pt idx="2393">
                  <c:v>All Others</c:v>
                </c:pt>
                <c:pt idx="2394">
                  <c:v>All Others</c:v>
                </c:pt>
                <c:pt idx="2395">
                  <c:v>All Others</c:v>
                </c:pt>
                <c:pt idx="2396">
                  <c:v>All Others</c:v>
                </c:pt>
                <c:pt idx="2397">
                  <c:v>All Others</c:v>
                </c:pt>
                <c:pt idx="2398">
                  <c:v>All Others</c:v>
                </c:pt>
                <c:pt idx="2399">
                  <c:v>All Others</c:v>
                </c:pt>
                <c:pt idx="2400">
                  <c:v>All Others</c:v>
                </c:pt>
                <c:pt idx="2401">
                  <c:v>All Others</c:v>
                </c:pt>
                <c:pt idx="2402">
                  <c:v>All Others</c:v>
                </c:pt>
                <c:pt idx="2403">
                  <c:v>All Others</c:v>
                </c:pt>
                <c:pt idx="2404">
                  <c:v>All Others</c:v>
                </c:pt>
                <c:pt idx="2405">
                  <c:v>All Others</c:v>
                </c:pt>
                <c:pt idx="2406">
                  <c:v>All Others</c:v>
                </c:pt>
                <c:pt idx="2407">
                  <c:v>Casa Azzurr</c:v>
                </c:pt>
                <c:pt idx="2408">
                  <c:v>All Others</c:v>
                </c:pt>
                <c:pt idx="2409">
                  <c:v>All Others</c:v>
                </c:pt>
                <c:pt idx="2410">
                  <c:v>Raguin</c:v>
                </c:pt>
                <c:pt idx="2411">
                  <c:v>All Others</c:v>
                </c:pt>
                <c:pt idx="2412">
                  <c:v>All Others</c:v>
                </c:pt>
                <c:pt idx="2413">
                  <c:v>All Others</c:v>
                </c:pt>
                <c:pt idx="2414">
                  <c:v>All Others</c:v>
                </c:pt>
                <c:pt idx="2415">
                  <c:v>All Others</c:v>
                </c:pt>
                <c:pt idx="2416">
                  <c:v>Etoile Du V</c:v>
                </c:pt>
                <c:pt idx="2417">
                  <c:v>All Others</c:v>
                </c:pt>
                <c:pt idx="2418">
                  <c:v>All Others</c:v>
                </c:pt>
                <c:pt idx="2419">
                  <c:v>Raguin</c:v>
                </c:pt>
                <c:pt idx="2420">
                  <c:v>All Others</c:v>
                </c:pt>
                <c:pt idx="2421">
                  <c:v>All Others</c:v>
                </c:pt>
                <c:pt idx="2422">
                  <c:v>All Others</c:v>
                </c:pt>
                <c:pt idx="2423">
                  <c:v>Pochat</c:v>
                </c:pt>
                <c:pt idx="2424">
                  <c:v>Raguin</c:v>
                </c:pt>
                <c:pt idx="2425">
                  <c:v>All Others</c:v>
                </c:pt>
                <c:pt idx="2426">
                  <c:v>All Others</c:v>
                </c:pt>
                <c:pt idx="2427">
                  <c:v>All Others</c:v>
                </c:pt>
                <c:pt idx="2428">
                  <c:v>All Others</c:v>
                </c:pt>
                <c:pt idx="2429">
                  <c:v>Casa Azzurr</c:v>
                </c:pt>
                <c:pt idx="2430">
                  <c:v>All Others</c:v>
                </c:pt>
                <c:pt idx="2431">
                  <c:v>All Others</c:v>
                </c:pt>
                <c:pt idx="2432">
                  <c:v>All Others</c:v>
                </c:pt>
                <c:pt idx="2433">
                  <c:v>All Others</c:v>
                </c:pt>
                <c:pt idx="2434">
                  <c:v>Pochat</c:v>
                </c:pt>
                <c:pt idx="2435">
                  <c:v>All Others</c:v>
                </c:pt>
                <c:pt idx="2436">
                  <c:v>All Others</c:v>
                </c:pt>
                <c:pt idx="2437">
                  <c:v>All Others</c:v>
                </c:pt>
                <c:pt idx="2438">
                  <c:v>All Others</c:v>
                </c:pt>
                <c:pt idx="2439">
                  <c:v>Private Lab</c:v>
                </c:pt>
                <c:pt idx="2440">
                  <c:v>All Others</c:v>
                </c:pt>
                <c:pt idx="2441">
                  <c:v>All Others</c:v>
                </c:pt>
                <c:pt idx="2442">
                  <c:v>All Others</c:v>
                </c:pt>
                <c:pt idx="2443">
                  <c:v>All Others</c:v>
                </c:pt>
                <c:pt idx="2444">
                  <c:v>All Others</c:v>
                </c:pt>
                <c:pt idx="2445">
                  <c:v>All Others</c:v>
                </c:pt>
                <c:pt idx="2446">
                  <c:v>All Others</c:v>
                </c:pt>
                <c:pt idx="2447">
                  <c:v>All Others</c:v>
                </c:pt>
                <c:pt idx="2448">
                  <c:v>All Others</c:v>
                </c:pt>
                <c:pt idx="2449">
                  <c:v>All Others</c:v>
                </c:pt>
                <c:pt idx="2450">
                  <c:v>All Others</c:v>
                </c:pt>
                <c:pt idx="2451">
                  <c:v>All Others</c:v>
                </c:pt>
                <c:pt idx="2452">
                  <c:v>All Others</c:v>
                </c:pt>
                <c:pt idx="2453">
                  <c:v>All Others</c:v>
                </c:pt>
                <c:pt idx="2454">
                  <c:v>All Others</c:v>
                </c:pt>
                <c:pt idx="2455">
                  <c:v>Private Lab</c:v>
                </c:pt>
                <c:pt idx="2456">
                  <c:v>All Others</c:v>
                </c:pt>
                <c:pt idx="2457">
                  <c:v>All Others</c:v>
                </c:pt>
                <c:pt idx="2458">
                  <c:v>All Others</c:v>
                </c:pt>
                <c:pt idx="2459">
                  <c:v>All Others</c:v>
                </c:pt>
                <c:pt idx="2460">
                  <c:v>All Others</c:v>
                </c:pt>
                <c:pt idx="2461">
                  <c:v>Le Saint Am</c:v>
                </c:pt>
                <c:pt idx="2462">
                  <c:v>All Others</c:v>
                </c:pt>
                <c:pt idx="2463">
                  <c:v>All Others</c:v>
                </c:pt>
                <c:pt idx="2464">
                  <c:v>All Others</c:v>
                </c:pt>
                <c:pt idx="2465">
                  <c:v>All Others</c:v>
                </c:pt>
                <c:pt idx="2466">
                  <c:v>All Others</c:v>
                </c:pt>
                <c:pt idx="2467">
                  <c:v>All Others</c:v>
                </c:pt>
                <c:pt idx="2468">
                  <c:v>All Others</c:v>
                </c:pt>
                <c:pt idx="2469">
                  <c:v>All Others</c:v>
                </c:pt>
                <c:pt idx="2470">
                  <c:v>All Others</c:v>
                </c:pt>
                <c:pt idx="2471">
                  <c:v>Raguin</c:v>
                </c:pt>
                <c:pt idx="2472">
                  <c:v>All Others</c:v>
                </c:pt>
                <c:pt idx="2473">
                  <c:v>All Others</c:v>
                </c:pt>
                <c:pt idx="2474">
                  <c:v>All Others</c:v>
                </c:pt>
                <c:pt idx="2475">
                  <c:v>All Others</c:v>
                </c:pt>
                <c:pt idx="2476">
                  <c:v>All Others</c:v>
                </c:pt>
                <c:pt idx="2477">
                  <c:v>All Others</c:v>
                </c:pt>
                <c:pt idx="2478">
                  <c:v>All Others</c:v>
                </c:pt>
                <c:pt idx="2479">
                  <c:v>All Others</c:v>
                </c:pt>
                <c:pt idx="2480">
                  <c:v>All Others</c:v>
                </c:pt>
                <c:pt idx="2481">
                  <c:v>All Others</c:v>
                </c:pt>
                <c:pt idx="2482">
                  <c:v>All Others</c:v>
                </c:pt>
                <c:pt idx="2483">
                  <c:v>All Others</c:v>
                </c:pt>
                <c:pt idx="2484">
                  <c:v>All Others</c:v>
                </c:pt>
                <c:pt idx="2485">
                  <c:v>All Others</c:v>
                </c:pt>
                <c:pt idx="2486">
                  <c:v>All Others</c:v>
                </c:pt>
                <c:pt idx="2487">
                  <c:v>All Others</c:v>
                </c:pt>
                <c:pt idx="2488">
                  <c:v>All Others</c:v>
                </c:pt>
                <c:pt idx="2489">
                  <c:v>All Others</c:v>
                </c:pt>
                <c:pt idx="2490">
                  <c:v>All Others</c:v>
                </c:pt>
                <c:pt idx="2491">
                  <c:v>All Others</c:v>
                </c:pt>
                <c:pt idx="2492">
                  <c:v>All Others</c:v>
                </c:pt>
                <c:pt idx="2493">
                  <c:v>All Others</c:v>
                </c:pt>
                <c:pt idx="2494">
                  <c:v>All Others</c:v>
                </c:pt>
                <c:pt idx="2495">
                  <c:v>All Others</c:v>
                </c:pt>
                <c:pt idx="2496">
                  <c:v>All Others</c:v>
                </c:pt>
                <c:pt idx="2497">
                  <c:v>All Others</c:v>
                </c:pt>
                <c:pt idx="2498">
                  <c:v>All Others</c:v>
                </c:pt>
                <c:pt idx="2499">
                  <c:v>All Others</c:v>
                </c:pt>
                <c:pt idx="2500">
                  <c:v>All Others</c:v>
                </c:pt>
                <c:pt idx="2501">
                  <c:v>All Others</c:v>
                </c:pt>
                <c:pt idx="2502">
                  <c:v>All Others</c:v>
                </c:pt>
                <c:pt idx="2503">
                  <c:v>All Others</c:v>
                </c:pt>
                <c:pt idx="2504">
                  <c:v>All Others</c:v>
                </c:pt>
                <c:pt idx="2505">
                  <c:v>All Others</c:v>
                </c:pt>
                <c:pt idx="2506">
                  <c:v>All Others</c:v>
                </c:pt>
                <c:pt idx="2507">
                  <c:v>Eurial Autr</c:v>
                </c:pt>
                <c:pt idx="2508">
                  <c:v>All Others</c:v>
                </c:pt>
                <c:pt idx="2509">
                  <c:v>All Others</c:v>
                </c:pt>
                <c:pt idx="2510">
                  <c:v>Le Saint Am</c:v>
                </c:pt>
                <c:pt idx="2511">
                  <c:v>All Others</c:v>
                </c:pt>
                <c:pt idx="2512">
                  <c:v>All Others</c:v>
                </c:pt>
                <c:pt idx="2513">
                  <c:v>All Others</c:v>
                </c:pt>
                <c:pt idx="2514">
                  <c:v>All Others</c:v>
                </c:pt>
                <c:pt idx="2515">
                  <c:v>All Others</c:v>
                </c:pt>
                <c:pt idx="2516">
                  <c:v>All Others</c:v>
                </c:pt>
                <c:pt idx="2517">
                  <c:v>All Others</c:v>
                </c:pt>
                <c:pt idx="2518">
                  <c:v>All Others</c:v>
                </c:pt>
                <c:pt idx="2519">
                  <c:v>Private Lab</c:v>
                </c:pt>
                <c:pt idx="2520">
                  <c:v>All Others</c:v>
                </c:pt>
                <c:pt idx="2521">
                  <c:v>All Others</c:v>
                </c:pt>
                <c:pt idx="2522">
                  <c:v>All Others</c:v>
                </c:pt>
                <c:pt idx="2523">
                  <c:v>All Others</c:v>
                </c:pt>
                <c:pt idx="2524">
                  <c:v>Societe</c:v>
                </c:pt>
                <c:pt idx="2525">
                  <c:v>Savencia: A</c:v>
                </c:pt>
                <c:pt idx="2526">
                  <c:v>All Others</c:v>
                </c:pt>
                <c:pt idx="2527">
                  <c:v>All Others</c:v>
                </c:pt>
                <c:pt idx="2528">
                  <c:v>All Others</c:v>
                </c:pt>
                <c:pt idx="2529">
                  <c:v>All Others</c:v>
                </c:pt>
                <c:pt idx="2530">
                  <c:v>All Others</c:v>
                </c:pt>
                <c:pt idx="2531">
                  <c:v>All Others</c:v>
                </c:pt>
                <c:pt idx="2532">
                  <c:v>All Others</c:v>
                </c:pt>
                <c:pt idx="2533">
                  <c:v>All Others</c:v>
                </c:pt>
                <c:pt idx="2534">
                  <c:v>Casa Azzurr</c:v>
                </c:pt>
                <c:pt idx="2535">
                  <c:v>All Others</c:v>
                </c:pt>
                <c:pt idx="2536">
                  <c:v>All Others</c:v>
                </c:pt>
                <c:pt idx="2537">
                  <c:v>All Others</c:v>
                </c:pt>
                <c:pt idx="2538">
                  <c:v>All Others</c:v>
                </c:pt>
                <c:pt idx="2539">
                  <c:v>All Others</c:v>
                </c:pt>
                <c:pt idx="2540">
                  <c:v>All Others</c:v>
                </c:pt>
                <c:pt idx="2541">
                  <c:v>All Others</c:v>
                </c:pt>
                <c:pt idx="2542">
                  <c:v>All Others</c:v>
                </c:pt>
                <c:pt idx="2543">
                  <c:v>All Others</c:v>
                </c:pt>
                <c:pt idx="2544">
                  <c:v>All Others</c:v>
                </c:pt>
                <c:pt idx="2545">
                  <c:v>All Others</c:v>
                </c:pt>
                <c:pt idx="2546">
                  <c:v>All Others</c:v>
                </c:pt>
                <c:pt idx="2547">
                  <c:v>All Others</c:v>
                </c:pt>
                <c:pt idx="2548">
                  <c:v>All Others</c:v>
                </c:pt>
                <c:pt idx="2549">
                  <c:v>All Others</c:v>
                </c:pt>
                <c:pt idx="2550">
                  <c:v>All Others</c:v>
                </c:pt>
                <c:pt idx="2551">
                  <c:v>All Others</c:v>
                </c:pt>
                <c:pt idx="2552">
                  <c:v>All Others</c:v>
                </c:pt>
                <c:pt idx="2553">
                  <c:v>All Others</c:v>
                </c:pt>
                <c:pt idx="2554">
                  <c:v>All Others</c:v>
                </c:pt>
                <c:pt idx="2555">
                  <c:v>All Others</c:v>
                </c:pt>
                <c:pt idx="2556">
                  <c:v>All Others</c:v>
                </c:pt>
                <c:pt idx="2557">
                  <c:v>All Others</c:v>
                </c:pt>
                <c:pt idx="2558">
                  <c:v>All Others</c:v>
                </c:pt>
                <c:pt idx="2559">
                  <c:v>All Others</c:v>
                </c:pt>
                <c:pt idx="2560">
                  <c:v>All Others</c:v>
                </c:pt>
                <c:pt idx="2561">
                  <c:v>All Others</c:v>
                </c:pt>
                <c:pt idx="2562">
                  <c:v>All Others</c:v>
                </c:pt>
                <c:pt idx="2563">
                  <c:v>All Others</c:v>
                </c:pt>
                <c:pt idx="2564">
                  <c:v>All Others</c:v>
                </c:pt>
                <c:pt idx="2565">
                  <c:v>All Others</c:v>
                </c:pt>
                <c:pt idx="2566">
                  <c:v>All Others</c:v>
                </c:pt>
                <c:pt idx="2567">
                  <c:v>All Others</c:v>
                </c:pt>
                <c:pt idx="2568">
                  <c:v>All Others</c:v>
                </c:pt>
                <c:pt idx="2569">
                  <c:v>All Others</c:v>
                </c:pt>
                <c:pt idx="2570">
                  <c:v>All Others</c:v>
                </c:pt>
                <c:pt idx="2571">
                  <c:v>All Others</c:v>
                </c:pt>
                <c:pt idx="2572">
                  <c:v>All Others</c:v>
                </c:pt>
                <c:pt idx="2573">
                  <c:v>All Others</c:v>
                </c:pt>
                <c:pt idx="2574">
                  <c:v>All Others</c:v>
                </c:pt>
                <c:pt idx="2575">
                  <c:v>Entremont</c:v>
                </c:pt>
                <c:pt idx="2576">
                  <c:v>All Others</c:v>
                </c:pt>
                <c:pt idx="2577">
                  <c:v>Entremont</c:v>
                </c:pt>
                <c:pt idx="2578">
                  <c:v>All Others</c:v>
                </c:pt>
                <c:pt idx="2579">
                  <c:v>Private Lab</c:v>
                </c:pt>
                <c:pt idx="2580">
                  <c:v>All Others</c:v>
                </c:pt>
                <c:pt idx="2581">
                  <c:v>All Others</c:v>
                </c:pt>
                <c:pt idx="2582">
                  <c:v>Private Lab</c:v>
                </c:pt>
                <c:pt idx="2583">
                  <c:v>All Others</c:v>
                </c:pt>
                <c:pt idx="2584">
                  <c:v>All Others</c:v>
                </c:pt>
                <c:pt idx="2585">
                  <c:v>All Others</c:v>
                </c:pt>
                <c:pt idx="2586">
                  <c:v>All Others</c:v>
                </c:pt>
                <c:pt idx="2587">
                  <c:v>All Others</c:v>
                </c:pt>
                <c:pt idx="2588">
                  <c:v>All Others</c:v>
                </c:pt>
                <c:pt idx="2589">
                  <c:v>All Others</c:v>
                </c:pt>
                <c:pt idx="2590">
                  <c:v>All Others</c:v>
                </c:pt>
                <c:pt idx="2591">
                  <c:v>All Others</c:v>
                </c:pt>
                <c:pt idx="2592">
                  <c:v>All Others</c:v>
                </c:pt>
                <c:pt idx="2593">
                  <c:v>All Others</c:v>
                </c:pt>
                <c:pt idx="2594">
                  <c:v>All Others</c:v>
                </c:pt>
                <c:pt idx="2595">
                  <c:v>All Others</c:v>
                </c:pt>
                <c:pt idx="2596">
                  <c:v>All Others</c:v>
                </c:pt>
                <c:pt idx="2597">
                  <c:v>All Others</c:v>
                </c:pt>
                <c:pt idx="2598">
                  <c:v>All Others</c:v>
                </c:pt>
                <c:pt idx="2599">
                  <c:v>All Others</c:v>
                </c:pt>
                <c:pt idx="2600">
                  <c:v>All Others</c:v>
                </c:pt>
                <c:pt idx="2601">
                  <c:v>All Others</c:v>
                </c:pt>
                <c:pt idx="2602">
                  <c:v>All Others</c:v>
                </c:pt>
                <c:pt idx="2603">
                  <c:v>Private Lab</c:v>
                </c:pt>
                <c:pt idx="2604">
                  <c:v>All Others</c:v>
                </c:pt>
                <c:pt idx="2605">
                  <c:v>All Others</c:v>
                </c:pt>
                <c:pt idx="2606">
                  <c:v>All Others</c:v>
                </c:pt>
                <c:pt idx="2607">
                  <c:v>All Others</c:v>
                </c:pt>
                <c:pt idx="2608">
                  <c:v>All Others</c:v>
                </c:pt>
                <c:pt idx="2609">
                  <c:v>All Others</c:v>
                </c:pt>
                <c:pt idx="2610">
                  <c:v>All Others</c:v>
                </c:pt>
                <c:pt idx="2611">
                  <c:v>All Others</c:v>
                </c:pt>
                <c:pt idx="2612">
                  <c:v>All Others</c:v>
                </c:pt>
                <c:pt idx="2613">
                  <c:v>All Others</c:v>
                </c:pt>
                <c:pt idx="2614">
                  <c:v>All Others</c:v>
                </c:pt>
                <c:pt idx="2615">
                  <c:v>All Others</c:v>
                </c:pt>
                <c:pt idx="2616">
                  <c:v>All Others</c:v>
                </c:pt>
                <c:pt idx="2617">
                  <c:v>All Others</c:v>
                </c:pt>
                <c:pt idx="2618">
                  <c:v>All Others</c:v>
                </c:pt>
                <c:pt idx="2619">
                  <c:v>All Others</c:v>
                </c:pt>
                <c:pt idx="2620">
                  <c:v>All Others</c:v>
                </c:pt>
                <c:pt idx="2621">
                  <c:v>All Others</c:v>
                </c:pt>
                <c:pt idx="2622">
                  <c:v>All Others</c:v>
                </c:pt>
                <c:pt idx="2623">
                  <c:v>All Others</c:v>
                </c:pt>
                <c:pt idx="2624">
                  <c:v>All Others</c:v>
                </c:pt>
                <c:pt idx="2625">
                  <c:v>All Others</c:v>
                </c:pt>
                <c:pt idx="2626">
                  <c:v>All Others</c:v>
                </c:pt>
                <c:pt idx="2627">
                  <c:v>All Others</c:v>
                </c:pt>
                <c:pt idx="2628">
                  <c:v>All Others</c:v>
                </c:pt>
                <c:pt idx="2629">
                  <c:v>All Others</c:v>
                </c:pt>
                <c:pt idx="2630">
                  <c:v>All Others</c:v>
                </c:pt>
                <c:pt idx="2631">
                  <c:v>All Others</c:v>
                </c:pt>
                <c:pt idx="2632">
                  <c:v>Private Lab</c:v>
                </c:pt>
                <c:pt idx="2633">
                  <c:v>All Others</c:v>
                </c:pt>
                <c:pt idx="2634">
                  <c:v>All Others</c:v>
                </c:pt>
                <c:pt idx="2635">
                  <c:v>All Others</c:v>
                </c:pt>
                <c:pt idx="2636">
                  <c:v>All Others</c:v>
                </c:pt>
                <c:pt idx="2637">
                  <c:v>All Others</c:v>
                </c:pt>
                <c:pt idx="2638">
                  <c:v>All Others</c:v>
                </c:pt>
                <c:pt idx="2639">
                  <c:v>All Others</c:v>
                </c:pt>
                <c:pt idx="2640">
                  <c:v>All Others</c:v>
                </c:pt>
                <c:pt idx="2641">
                  <c:v>All Others</c:v>
                </c:pt>
                <c:pt idx="2642">
                  <c:v>All Others</c:v>
                </c:pt>
                <c:pt idx="2643">
                  <c:v>All Others</c:v>
                </c:pt>
                <c:pt idx="2644">
                  <c:v>All Others</c:v>
                </c:pt>
                <c:pt idx="2645">
                  <c:v>All Others</c:v>
                </c:pt>
                <c:pt idx="2646">
                  <c:v>All Others</c:v>
                </c:pt>
                <c:pt idx="2647">
                  <c:v>Private Lab</c:v>
                </c:pt>
                <c:pt idx="2648">
                  <c:v>All Others</c:v>
                </c:pt>
                <c:pt idx="2649">
                  <c:v>All Others</c:v>
                </c:pt>
                <c:pt idx="2650">
                  <c:v>President</c:v>
                </c:pt>
                <c:pt idx="2651">
                  <c:v>All Others</c:v>
                </c:pt>
                <c:pt idx="2652">
                  <c:v>All Others</c:v>
                </c:pt>
                <c:pt idx="2653">
                  <c:v>All Others</c:v>
                </c:pt>
                <c:pt idx="2654">
                  <c:v>Private Lab</c:v>
                </c:pt>
                <c:pt idx="2655">
                  <c:v>All Others</c:v>
                </c:pt>
                <c:pt idx="2656">
                  <c:v>All Others</c:v>
                </c:pt>
                <c:pt idx="2657">
                  <c:v>All Others</c:v>
                </c:pt>
                <c:pt idx="2658">
                  <c:v>All Others</c:v>
                </c:pt>
                <c:pt idx="2659">
                  <c:v>All Others</c:v>
                </c:pt>
                <c:pt idx="2660">
                  <c:v>All Others</c:v>
                </c:pt>
                <c:pt idx="2661">
                  <c:v>All Others</c:v>
                </c:pt>
                <c:pt idx="2662">
                  <c:v>All Others</c:v>
                </c:pt>
                <c:pt idx="2663">
                  <c:v>All Others</c:v>
                </c:pt>
                <c:pt idx="2664">
                  <c:v>All Others</c:v>
                </c:pt>
                <c:pt idx="2665">
                  <c:v>All Others</c:v>
                </c:pt>
                <c:pt idx="2666">
                  <c:v>All Others</c:v>
                </c:pt>
                <c:pt idx="2667">
                  <c:v>Savencia: A</c:v>
                </c:pt>
                <c:pt idx="2668">
                  <c:v>All Others</c:v>
                </c:pt>
                <c:pt idx="2669">
                  <c:v>All Others</c:v>
                </c:pt>
                <c:pt idx="2670">
                  <c:v>All Others</c:v>
                </c:pt>
                <c:pt idx="2671">
                  <c:v>Istara</c:v>
                </c:pt>
                <c:pt idx="2672">
                  <c:v>All Others</c:v>
                </c:pt>
                <c:pt idx="2673">
                  <c:v>All Others</c:v>
                </c:pt>
                <c:pt idx="2674">
                  <c:v>All Others</c:v>
                </c:pt>
                <c:pt idx="2675">
                  <c:v>All Others</c:v>
                </c:pt>
                <c:pt idx="2676">
                  <c:v>All Others</c:v>
                </c:pt>
                <c:pt idx="2677">
                  <c:v>All Others</c:v>
                </c:pt>
                <c:pt idx="2678">
                  <c:v>All Others</c:v>
                </c:pt>
                <c:pt idx="2679">
                  <c:v>All Others</c:v>
                </c:pt>
                <c:pt idx="2680">
                  <c:v>All Others</c:v>
                </c:pt>
                <c:pt idx="2681">
                  <c:v>Pochat</c:v>
                </c:pt>
                <c:pt idx="2682">
                  <c:v>All Others</c:v>
                </c:pt>
                <c:pt idx="2683">
                  <c:v>Private Lab</c:v>
                </c:pt>
                <c:pt idx="2684">
                  <c:v>All Others</c:v>
                </c:pt>
                <c:pt idx="2685">
                  <c:v>Pochat</c:v>
                </c:pt>
                <c:pt idx="2686">
                  <c:v>All Others</c:v>
                </c:pt>
                <c:pt idx="2687">
                  <c:v>All Others</c:v>
                </c:pt>
                <c:pt idx="2688">
                  <c:v>All Others</c:v>
                </c:pt>
                <c:pt idx="2689">
                  <c:v>All Others</c:v>
                </c:pt>
                <c:pt idx="2690">
                  <c:v>All Others</c:v>
                </c:pt>
                <c:pt idx="2691">
                  <c:v>All Others</c:v>
                </c:pt>
                <c:pt idx="2692">
                  <c:v>All Others</c:v>
                </c:pt>
                <c:pt idx="2693">
                  <c:v>All Others</c:v>
                </c:pt>
                <c:pt idx="2694">
                  <c:v>All Others</c:v>
                </c:pt>
                <c:pt idx="2695">
                  <c:v>Private Lab</c:v>
                </c:pt>
                <c:pt idx="2696">
                  <c:v>All Others</c:v>
                </c:pt>
                <c:pt idx="2697">
                  <c:v>All Others</c:v>
                </c:pt>
                <c:pt idx="2698">
                  <c:v>Entremont</c:v>
                </c:pt>
                <c:pt idx="2699">
                  <c:v>All Others</c:v>
                </c:pt>
                <c:pt idx="2700">
                  <c:v>All Others</c:v>
                </c:pt>
                <c:pt idx="2701">
                  <c:v>All Others</c:v>
                </c:pt>
                <c:pt idx="2702">
                  <c:v>All Others</c:v>
                </c:pt>
                <c:pt idx="2703">
                  <c:v>All Others</c:v>
                </c:pt>
                <c:pt idx="2704">
                  <c:v>All Others</c:v>
                </c:pt>
                <c:pt idx="2705">
                  <c:v>All Others</c:v>
                </c:pt>
                <c:pt idx="2706">
                  <c:v>All Others</c:v>
                </c:pt>
                <c:pt idx="2707">
                  <c:v>All Others</c:v>
                </c:pt>
                <c:pt idx="2708">
                  <c:v>All Others</c:v>
                </c:pt>
                <c:pt idx="2709">
                  <c:v>All Others</c:v>
                </c:pt>
                <c:pt idx="2710">
                  <c:v>All Others</c:v>
                </c:pt>
                <c:pt idx="2711">
                  <c:v>All Others</c:v>
                </c:pt>
                <c:pt idx="2712">
                  <c:v>All Others</c:v>
                </c:pt>
                <c:pt idx="2713">
                  <c:v>All Others</c:v>
                </c:pt>
                <c:pt idx="2714">
                  <c:v>All Others</c:v>
                </c:pt>
                <c:pt idx="2715">
                  <c:v>All Others</c:v>
                </c:pt>
                <c:pt idx="2716">
                  <c:v>All Others</c:v>
                </c:pt>
                <c:pt idx="2717">
                  <c:v>Salakis</c:v>
                </c:pt>
                <c:pt idx="2718">
                  <c:v>Societe</c:v>
                </c:pt>
                <c:pt idx="2719">
                  <c:v>All Others</c:v>
                </c:pt>
                <c:pt idx="2720">
                  <c:v>All Others</c:v>
                </c:pt>
                <c:pt idx="2721">
                  <c:v>All Others</c:v>
                </c:pt>
                <c:pt idx="2722">
                  <c:v>All Others</c:v>
                </c:pt>
                <c:pt idx="2723">
                  <c:v>All Others</c:v>
                </c:pt>
                <c:pt idx="2724">
                  <c:v>All Others</c:v>
                </c:pt>
                <c:pt idx="2725">
                  <c:v>Casa Azzurr</c:v>
                </c:pt>
                <c:pt idx="2726">
                  <c:v>Lactalis: A</c:v>
                </c:pt>
                <c:pt idx="2727">
                  <c:v>All Others</c:v>
                </c:pt>
                <c:pt idx="2728">
                  <c:v>All Others</c:v>
                </c:pt>
                <c:pt idx="2729">
                  <c:v>All Others</c:v>
                </c:pt>
                <c:pt idx="2730">
                  <c:v>All Others</c:v>
                </c:pt>
                <c:pt idx="2731">
                  <c:v>All Others</c:v>
                </c:pt>
                <c:pt idx="2732">
                  <c:v>All Others</c:v>
                </c:pt>
                <c:pt idx="2733">
                  <c:v>All Others</c:v>
                </c:pt>
                <c:pt idx="2734">
                  <c:v>All Others</c:v>
                </c:pt>
                <c:pt idx="2735">
                  <c:v>All Others</c:v>
                </c:pt>
                <c:pt idx="2736">
                  <c:v>All Others</c:v>
                </c:pt>
                <c:pt idx="2737">
                  <c:v>All Others</c:v>
                </c:pt>
                <c:pt idx="2738">
                  <c:v>All Others</c:v>
                </c:pt>
                <c:pt idx="2739">
                  <c:v>All Others</c:v>
                </c:pt>
                <c:pt idx="2740">
                  <c:v>All Others</c:v>
                </c:pt>
                <c:pt idx="2741">
                  <c:v>All Others</c:v>
                </c:pt>
                <c:pt idx="2742">
                  <c:v>Juraflore</c:v>
                </c:pt>
                <c:pt idx="2743">
                  <c:v>All Others</c:v>
                </c:pt>
                <c:pt idx="2744">
                  <c:v>All Others</c:v>
                </c:pt>
                <c:pt idx="2745">
                  <c:v>Limiano</c:v>
                </c:pt>
                <c:pt idx="2746">
                  <c:v>All Others</c:v>
                </c:pt>
                <c:pt idx="2747">
                  <c:v>All Others</c:v>
                </c:pt>
                <c:pt idx="2748">
                  <c:v>All Others</c:v>
                </c:pt>
                <c:pt idx="2749">
                  <c:v>All Others</c:v>
                </c:pt>
                <c:pt idx="2750">
                  <c:v>All Others</c:v>
                </c:pt>
                <c:pt idx="2751">
                  <c:v>All Others</c:v>
                </c:pt>
                <c:pt idx="2752">
                  <c:v>All Others</c:v>
                </c:pt>
                <c:pt idx="2753">
                  <c:v>All Others</c:v>
                </c:pt>
                <c:pt idx="2754">
                  <c:v>All Others</c:v>
                </c:pt>
                <c:pt idx="2755">
                  <c:v>All Others</c:v>
                </c:pt>
                <c:pt idx="2756">
                  <c:v>All Others</c:v>
                </c:pt>
                <c:pt idx="2757">
                  <c:v>All Others</c:v>
                </c:pt>
                <c:pt idx="2758">
                  <c:v>All Others</c:v>
                </c:pt>
                <c:pt idx="2759">
                  <c:v>Pave D'Affi</c:v>
                </c:pt>
                <c:pt idx="2760">
                  <c:v>All Others</c:v>
                </c:pt>
                <c:pt idx="2761">
                  <c:v>Lactalis: A</c:v>
                </c:pt>
                <c:pt idx="2762">
                  <c:v>All Others</c:v>
                </c:pt>
                <c:pt idx="2763">
                  <c:v>All Others</c:v>
                </c:pt>
                <c:pt idx="2764">
                  <c:v>All Others</c:v>
                </c:pt>
                <c:pt idx="2765">
                  <c:v>All Others</c:v>
                </c:pt>
                <c:pt idx="2766">
                  <c:v>All Others</c:v>
                </c:pt>
                <c:pt idx="2767">
                  <c:v>All Others</c:v>
                </c:pt>
                <c:pt idx="2768">
                  <c:v>All Others</c:v>
                </c:pt>
                <c:pt idx="2769">
                  <c:v>All Others</c:v>
                </c:pt>
                <c:pt idx="2770">
                  <c:v>Private Lab</c:v>
                </c:pt>
                <c:pt idx="2771">
                  <c:v>All Others</c:v>
                </c:pt>
                <c:pt idx="2772">
                  <c:v>All Others</c:v>
                </c:pt>
                <c:pt idx="2773">
                  <c:v>All Others</c:v>
                </c:pt>
                <c:pt idx="2774">
                  <c:v>All Others</c:v>
                </c:pt>
                <c:pt idx="2775">
                  <c:v>All Others</c:v>
                </c:pt>
                <c:pt idx="2776">
                  <c:v>All Others</c:v>
                </c:pt>
                <c:pt idx="2777">
                  <c:v>All Others</c:v>
                </c:pt>
                <c:pt idx="2778">
                  <c:v>All Others</c:v>
                </c:pt>
                <c:pt idx="2779">
                  <c:v>All Others</c:v>
                </c:pt>
                <c:pt idx="2780">
                  <c:v>All Others</c:v>
                </c:pt>
                <c:pt idx="2781">
                  <c:v>All Others</c:v>
                </c:pt>
                <c:pt idx="2782">
                  <c:v>All Others</c:v>
                </c:pt>
                <c:pt idx="2783">
                  <c:v>All Others</c:v>
                </c:pt>
                <c:pt idx="2784">
                  <c:v>All Others</c:v>
                </c:pt>
                <c:pt idx="2785">
                  <c:v>All Others</c:v>
                </c:pt>
                <c:pt idx="2786">
                  <c:v>All Others</c:v>
                </c:pt>
                <c:pt idx="2787">
                  <c:v>Lactalis: A</c:v>
                </c:pt>
                <c:pt idx="2788">
                  <c:v>All Others</c:v>
                </c:pt>
                <c:pt idx="2789">
                  <c:v>All Others</c:v>
                </c:pt>
                <c:pt idx="2790">
                  <c:v>All Others</c:v>
                </c:pt>
                <c:pt idx="2791">
                  <c:v>All Others</c:v>
                </c:pt>
                <c:pt idx="2792">
                  <c:v>Lactalis: A</c:v>
                </c:pt>
                <c:pt idx="2793">
                  <c:v>All Others</c:v>
                </c:pt>
                <c:pt idx="2794">
                  <c:v>Private Lab</c:v>
                </c:pt>
                <c:pt idx="2795">
                  <c:v>All Others</c:v>
                </c:pt>
                <c:pt idx="2796">
                  <c:v>All Others</c:v>
                </c:pt>
                <c:pt idx="2797">
                  <c:v>All Others</c:v>
                </c:pt>
                <c:pt idx="2798">
                  <c:v>All Others</c:v>
                </c:pt>
                <c:pt idx="2799">
                  <c:v>All Others</c:v>
                </c:pt>
                <c:pt idx="2800">
                  <c:v>All Others</c:v>
                </c:pt>
                <c:pt idx="2801">
                  <c:v>All Others</c:v>
                </c:pt>
                <c:pt idx="2802">
                  <c:v>All Others</c:v>
                </c:pt>
                <c:pt idx="2803">
                  <c:v>Private Lab</c:v>
                </c:pt>
                <c:pt idx="2804">
                  <c:v>All Others</c:v>
                </c:pt>
                <c:pt idx="2805">
                  <c:v>All Others</c:v>
                </c:pt>
                <c:pt idx="2806">
                  <c:v>All Others</c:v>
                </c:pt>
                <c:pt idx="2807">
                  <c:v>All Others</c:v>
                </c:pt>
                <c:pt idx="2808">
                  <c:v>All Others</c:v>
                </c:pt>
                <c:pt idx="2809">
                  <c:v>Fol Epi</c:v>
                </c:pt>
                <c:pt idx="2810">
                  <c:v>All Others</c:v>
                </c:pt>
                <c:pt idx="2811">
                  <c:v>All Others</c:v>
                </c:pt>
                <c:pt idx="2812">
                  <c:v>All Others</c:v>
                </c:pt>
                <c:pt idx="2813">
                  <c:v>All Others</c:v>
                </c:pt>
                <c:pt idx="2814">
                  <c:v>All Others</c:v>
                </c:pt>
                <c:pt idx="2815">
                  <c:v>All Others</c:v>
                </c:pt>
                <c:pt idx="2816">
                  <c:v>All Others</c:v>
                </c:pt>
                <c:pt idx="2817">
                  <c:v>All Others</c:v>
                </c:pt>
                <c:pt idx="2818">
                  <c:v>All Others</c:v>
                </c:pt>
                <c:pt idx="2819">
                  <c:v>All Others</c:v>
                </c:pt>
                <c:pt idx="2820">
                  <c:v>All Others</c:v>
                </c:pt>
                <c:pt idx="2821">
                  <c:v>All Others</c:v>
                </c:pt>
                <c:pt idx="2822">
                  <c:v>All Others</c:v>
                </c:pt>
                <c:pt idx="2823">
                  <c:v>All Others</c:v>
                </c:pt>
                <c:pt idx="2824">
                  <c:v>All Others</c:v>
                </c:pt>
                <c:pt idx="2825">
                  <c:v>All Others</c:v>
                </c:pt>
                <c:pt idx="2826">
                  <c:v>All Others</c:v>
                </c:pt>
                <c:pt idx="2827">
                  <c:v>All Others</c:v>
                </c:pt>
                <c:pt idx="2828">
                  <c:v>All Others</c:v>
                </c:pt>
                <c:pt idx="2829">
                  <c:v>All Others</c:v>
                </c:pt>
                <c:pt idx="2830">
                  <c:v>All Others</c:v>
                </c:pt>
                <c:pt idx="2831">
                  <c:v>All Others</c:v>
                </c:pt>
                <c:pt idx="2832">
                  <c:v>All Others</c:v>
                </c:pt>
                <c:pt idx="2833">
                  <c:v>All Others</c:v>
                </c:pt>
                <c:pt idx="2834">
                  <c:v>All Others</c:v>
                </c:pt>
                <c:pt idx="2835">
                  <c:v>All Others</c:v>
                </c:pt>
                <c:pt idx="2836">
                  <c:v>All Others</c:v>
                </c:pt>
                <c:pt idx="2837">
                  <c:v>All Others</c:v>
                </c:pt>
                <c:pt idx="2838">
                  <c:v>All Others</c:v>
                </c:pt>
                <c:pt idx="2839">
                  <c:v>All Others</c:v>
                </c:pt>
                <c:pt idx="2840">
                  <c:v>All Others</c:v>
                </c:pt>
                <c:pt idx="2841">
                  <c:v>All Others</c:v>
                </c:pt>
                <c:pt idx="2842">
                  <c:v>All Others</c:v>
                </c:pt>
                <c:pt idx="2843">
                  <c:v>All Others</c:v>
                </c:pt>
                <c:pt idx="2844">
                  <c:v>All Others</c:v>
                </c:pt>
                <c:pt idx="2845">
                  <c:v>All Others</c:v>
                </c:pt>
                <c:pt idx="2846">
                  <c:v>All Others</c:v>
                </c:pt>
                <c:pt idx="2847">
                  <c:v>All Others</c:v>
                </c:pt>
                <c:pt idx="2848">
                  <c:v>All Others</c:v>
                </c:pt>
                <c:pt idx="2849">
                  <c:v>All Others</c:v>
                </c:pt>
                <c:pt idx="2850">
                  <c:v>All Others</c:v>
                </c:pt>
                <c:pt idx="2851">
                  <c:v>Lactalis: A</c:v>
                </c:pt>
                <c:pt idx="2852">
                  <c:v>All Others</c:v>
                </c:pt>
                <c:pt idx="2853">
                  <c:v>All Others</c:v>
                </c:pt>
                <c:pt idx="2854">
                  <c:v>Savencia: A</c:v>
                </c:pt>
                <c:pt idx="2855">
                  <c:v>All Others</c:v>
                </c:pt>
                <c:pt idx="2856">
                  <c:v>All Others</c:v>
                </c:pt>
                <c:pt idx="2857">
                  <c:v>All Others</c:v>
                </c:pt>
                <c:pt idx="2858">
                  <c:v>All Others</c:v>
                </c:pt>
                <c:pt idx="2859">
                  <c:v>All Others</c:v>
                </c:pt>
                <c:pt idx="2860">
                  <c:v>All Others</c:v>
                </c:pt>
                <c:pt idx="2861">
                  <c:v>All Others</c:v>
                </c:pt>
                <c:pt idx="2862">
                  <c:v>All Others</c:v>
                </c:pt>
                <c:pt idx="2863">
                  <c:v>All Others</c:v>
                </c:pt>
                <c:pt idx="2864">
                  <c:v>All Others</c:v>
                </c:pt>
                <c:pt idx="2865">
                  <c:v>All Others</c:v>
                </c:pt>
                <c:pt idx="2866">
                  <c:v>All Others</c:v>
                </c:pt>
                <c:pt idx="2867">
                  <c:v>All Others</c:v>
                </c:pt>
                <c:pt idx="2868">
                  <c:v>All Others</c:v>
                </c:pt>
                <c:pt idx="2869">
                  <c:v>All Others</c:v>
                </c:pt>
                <c:pt idx="2870">
                  <c:v>All Others</c:v>
                </c:pt>
                <c:pt idx="2871">
                  <c:v>All Others</c:v>
                </c:pt>
                <c:pt idx="2872">
                  <c:v>Lactalis: A</c:v>
                </c:pt>
                <c:pt idx="2873">
                  <c:v>All Others</c:v>
                </c:pt>
                <c:pt idx="2874">
                  <c:v>All Others</c:v>
                </c:pt>
                <c:pt idx="2875">
                  <c:v>All Others</c:v>
                </c:pt>
                <c:pt idx="2876">
                  <c:v>All Others</c:v>
                </c:pt>
                <c:pt idx="2877">
                  <c:v>All Others</c:v>
                </c:pt>
                <c:pt idx="2878">
                  <c:v>All Others</c:v>
                </c:pt>
                <c:pt idx="2879">
                  <c:v>All Others</c:v>
                </c:pt>
                <c:pt idx="2880">
                  <c:v>All Others</c:v>
                </c:pt>
                <c:pt idx="2881">
                  <c:v>All Others</c:v>
                </c:pt>
                <c:pt idx="2882">
                  <c:v>All Others</c:v>
                </c:pt>
                <c:pt idx="2883">
                  <c:v>All Others</c:v>
                </c:pt>
                <c:pt idx="2884">
                  <c:v>All Others</c:v>
                </c:pt>
                <c:pt idx="2885">
                  <c:v>All Others</c:v>
                </c:pt>
                <c:pt idx="2886">
                  <c:v>All Others</c:v>
                </c:pt>
                <c:pt idx="2887">
                  <c:v>All Others</c:v>
                </c:pt>
                <c:pt idx="2888">
                  <c:v>All Others</c:v>
                </c:pt>
                <c:pt idx="2889">
                  <c:v>All Others</c:v>
                </c:pt>
                <c:pt idx="2890">
                  <c:v>All Others</c:v>
                </c:pt>
                <c:pt idx="2891">
                  <c:v>All Others</c:v>
                </c:pt>
                <c:pt idx="2892">
                  <c:v>All Others</c:v>
                </c:pt>
                <c:pt idx="2893">
                  <c:v>All Others</c:v>
                </c:pt>
                <c:pt idx="2894">
                  <c:v>All Others</c:v>
                </c:pt>
                <c:pt idx="2895">
                  <c:v>All Others</c:v>
                </c:pt>
                <c:pt idx="2896">
                  <c:v>Savencia: A</c:v>
                </c:pt>
                <c:pt idx="2897">
                  <c:v>All Others</c:v>
                </c:pt>
                <c:pt idx="2898">
                  <c:v>All Others</c:v>
                </c:pt>
                <c:pt idx="2899">
                  <c:v>All Others</c:v>
                </c:pt>
                <c:pt idx="2900">
                  <c:v>All Others</c:v>
                </c:pt>
                <c:pt idx="2901">
                  <c:v>All Others</c:v>
                </c:pt>
                <c:pt idx="2902">
                  <c:v>All Others</c:v>
                </c:pt>
                <c:pt idx="2903">
                  <c:v>All Others</c:v>
                </c:pt>
                <c:pt idx="2904">
                  <c:v>All Others</c:v>
                </c:pt>
                <c:pt idx="2905">
                  <c:v>All Others</c:v>
                </c:pt>
                <c:pt idx="2906">
                  <c:v>All Others</c:v>
                </c:pt>
                <c:pt idx="2907">
                  <c:v>All Others</c:v>
                </c:pt>
                <c:pt idx="2908">
                  <c:v>All Others</c:v>
                </c:pt>
                <c:pt idx="2909">
                  <c:v>All Others</c:v>
                </c:pt>
                <c:pt idx="2910">
                  <c:v>All Others</c:v>
                </c:pt>
                <c:pt idx="2911">
                  <c:v>All Others</c:v>
                </c:pt>
                <c:pt idx="2912">
                  <c:v>All Others</c:v>
                </c:pt>
                <c:pt idx="2913">
                  <c:v>All Others</c:v>
                </c:pt>
                <c:pt idx="2914">
                  <c:v>All Others</c:v>
                </c:pt>
                <c:pt idx="2915">
                  <c:v>All Others</c:v>
                </c:pt>
                <c:pt idx="2916">
                  <c:v>All Others</c:v>
                </c:pt>
                <c:pt idx="2917">
                  <c:v>All Others</c:v>
                </c:pt>
                <c:pt idx="2918">
                  <c:v>All Others</c:v>
                </c:pt>
                <c:pt idx="2919">
                  <c:v>All Others</c:v>
                </c:pt>
                <c:pt idx="2920">
                  <c:v>All Others</c:v>
                </c:pt>
                <c:pt idx="2921">
                  <c:v>Private Lab</c:v>
                </c:pt>
                <c:pt idx="2922">
                  <c:v>All Others</c:v>
                </c:pt>
                <c:pt idx="2923">
                  <c:v>Private Lab</c:v>
                </c:pt>
                <c:pt idx="2924">
                  <c:v>All Others</c:v>
                </c:pt>
                <c:pt idx="2925">
                  <c:v>All Others</c:v>
                </c:pt>
                <c:pt idx="2926">
                  <c:v>All Others</c:v>
                </c:pt>
                <c:pt idx="2927">
                  <c:v>All Others</c:v>
                </c:pt>
                <c:pt idx="2928">
                  <c:v>All Others</c:v>
                </c:pt>
                <c:pt idx="2929">
                  <c:v>All Others</c:v>
                </c:pt>
                <c:pt idx="2930">
                  <c:v>All Others</c:v>
                </c:pt>
                <c:pt idx="2931">
                  <c:v>All Others</c:v>
                </c:pt>
                <c:pt idx="2932">
                  <c:v>All Others</c:v>
                </c:pt>
                <c:pt idx="2933">
                  <c:v>All Others</c:v>
                </c:pt>
                <c:pt idx="2934">
                  <c:v>Private Lab</c:v>
                </c:pt>
                <c:pt idx="2935">
                  <c:v>All Others</c:v>
                </c:pt>
                <c:pt idx="2936">
                  <c:v>All Others</c:v>
                </c:pt>
                <c:pt idx="2937">
                  <c:v>All Others</c:v>
                </c:pt>
                <c:pt idx="2938">
                  <c:v>All Others</c:v>
                </c:pt>
                <c:pt idx="2939">
                  <c:v>All Others</c:v>
                </c:pt>
                <c:pt idx="2940">
                  <c:v>All Others</c:v>
                </c:pt>
                <c:pt idx="2941">
                  <c:v>All Others</c:v>
                </c:pt>
                <c:pt idx="2942">
                  <c:v>All Others</c:v>
                </c:pt>
                <c:pt idx="2943">
                  <c:v>All Others</c:v>
                </c:pt>
                <c:pt idx="2944">
                  <c:v>All Others</c:v>
                </c:pt>
                <c:pt idx="2945">
                  <c:v>All Others</c:v>
                </c:pt>
                <c:pt idx="2946">
                  <c:v>All Others</c:v>
                </c:pt>
                <c:pt idx="2947">
                  <c:v>All Others</c:v>
                </c:pt>
                <c:pt idx="2948">
                  <c:v>All Others</c:v>
                </c:pt>
                <c:pt idx="2949">
                  <c:v>All Others</c:v>
                </c:pt>
                <c:pt idx="2950">
                  <c:v>All Others</c:v>
                </c:pt>
                <c:pt idx="2951">
                  <c:v>All Others</c:v>
                </c:pt>
                <c:pt idx="2952">
                  <c:v>All Others</c:v>
                </c:pt>
                <c:pt idx="2953">
                  <c:v>All Others</c:v>
                </c:pt>
                <c:pt idx="2954">
                  <c:v>All Others</c:v>
                </c:pt>
                <c:pt idx="2955">
                  <c:v>All Others</c:v>
                </c:pt>
                <c:pt idx="2956">
                  <c:v>All Others</c:v>
                </c:pt>
                <c:pt idx="2957">
                  <c:v>All Others</c:v>
                </c:pt>
                <c:pt idx="2958">
                  <c:v>All Others</c:v>
                </c:pt>
                <c:pt idx="2959">
                  <c:v>Private Lab</c:v>
                </c:pt>
                <c:pt idx="2960">
                  <c:v>Private Lab</c:v>
                </c:pt>
                <c:pt idx="2961">
                  <c:v>All Others</c:v>
                </c:pt>
                <c:pt idx="2962">
                  <c:v>All Others</c:v>
                </c:pt>
                <c:pt idx="2963">
                  <c:v>All Others</c:v>
                </c:pt>
                <c:pt idx="2964">
                  <c:v>All Others</c:v>
                </c:pt>
                <c:pt idx="2965">
                  <c:v>All Others</c:v>
                </c:pt>
                <c:pt idx="2966">
                  <c:v>All Others</c:v>
                </c:pt>
                <c:pt idx="2967">
                  <c:v>Private Lab</c:v>
                </c:pt>
                <c:pt idx="2968">
                  <c:v>All Others</c:v>
                </c:pt>
                <c:pt idx="2969">
                  <c:v>All Others</c:v>
                </c:pt>
                <c:pt idx="2970">
                  <c:v>All Others</c:v>
                </c:pt>
                <c:pt idx="2971">
                  <c:v>All Others</c:v>
                </c:pt>
                <c:pt idx="2972">
                  <c:v>All Others</c:v>
                </c:pt>
                <c:pt idx="2973">
                  <c:v>Private Lab</c:v>
                </c:pt>
                <c:pt idx="2974">
                  <c:v>All Others</c:v>
                </c:pt>
                <c:pt idx="2975">
                  <c:v>All Others</c:v>
                </c:pt>
                <c:pt idx="2976">
                  <c:v>All Others</c:v>
                </c:pt>
                <c:pt idx="2977">
                  <c:v>All Others</c:v>
                </c:pt>
                <c:pt idx="2978">
                  <c:v>All Others</c:v>
                </c:pt>
                <c:pt idx="2979">
                  <c:v>All Others</c:v>
                </c:pt>
                <c:pt idx="2980">
                  <c:v>All Others</c:v>
                </c:pt>
                <c:pt idx="2981">
                  <c:v>All Others</c:v>
                </c:pt>
                <c:pt idx="2982">
                  <c:v>All Others</c:v>
                </c:pt>
                <c:pt idx="2983">
                  <c:v>All Others</c:v>
                </c:pt>
                <c:pt idx="2984">
                  <c:v>All Others</c:v>
                </c:pt>
                <c:pt idx="2985">
                  <c:v>All Others</c:v>
                </c:pt>
                <c:pt idx="2986">
                  <c:v>All Others</c:v>
                </c:pt>
                <c:pt idx="2987">
                  <c:v>All Others</c:v>
                </c:pt>
                <c:pt idx="2988">
                  <c:v>All Others</c:v>
                </c:pt>
                <c:pt idx="2989">
                  <c:v>All Others</c:v>
                </c:pt>
                <c:pt idx="2990">
                  <c:v>All Others</c:v>
                </c:pt>
                <c:pt idx="2991">
                  <c:v>All Others</c:v>
                </c:pt>
                <c:pt idx="2992">
                  <c:v>Lactalis: A</c:v>
                </c:pt>
                <c:pt idx="2993">
                  <c:v>All Others</c:v>
                </c:pt>
                <c:pt idx="2994">
                  <c:v>All Others</c:v>
                </c:pt>
                <c:pt idx="2995">
                  <c:v>All Others</c:v>
                </c:pt>
                <c:pt idx="2996">
                  <c:v>All Others</c:v>
                </c:pt>
                <c:pt idx="2997">
                  <c:v>All Others</c:v>
                </c:pt>
                <c:pt idx="2998">
                  <c:v>All Others</c:v>
                </c:pt>
                <c:pt idx="2999">
                  <c:v>All Others</c:v>
                </c:pt>
                <c:pt idx="3000">
                  <c:v>All Others</c:v>
                </c:pt>
                <c:pt idx="3001">
                  <c:v>All Others</c:v>
                </c:pt>
                <c:pt idx="3002">
                  <c:v>Private Lab</c:v>
                </c:pt>
                <c:pt idx="3003">
                  <c:v>Private Lab</c:v>
                </c:pt>
                <c:pt idx="3004">
                  <c:v>All Others</c:v>
                </c:pt>
                <c:pt idx="3005">
                  <c:v>All Others</c:v>
                </c:pt>
                <c:pt idx="3006">
                  <c:v>Private Lab</c:v>
                </c:pt>
                <c:pt idx="3007">
                  <c:v>All Others</c:v>
                </c:pt>
                <c:pt idx="3008">
                  <c:v>All Others</c:v>
                </c:pt>
                <c:pt idx="3009">
                  <c:v>All Others</c:v>
                </c:pt>
                <c:pt idx="3010">
                  <c:v>All Others</c:v>
                </c:pt>
                <c:pt idx="3011">
                  <c:v>All Others</c:v>
                </c:pt>
                <c:pt idx="3012">
                  <c:v>All Others</c:v>
                </c:pt>
                <c:pt idx="3013">
                  <c:v>All Others</c:v>
                </c:pt>
                <c:pt idx="3014">
                  <c:v>All Others</c:v>
                </c:pt>
                <c:pt idx="3015">
                  <c:v>All Others</c:v>
                </c:pt>
                <c:pt idx="3016">
                  <c:v>All Others</c:v>
                </c:pt>
                <c:pt idx="3017">
                  <c:v>Private Lab</c:v>
                </c:pt>
                <c:pt idx="3018">
                  <c:v>All Others</c:v>
                </c:pt>
                <c:pt idx="3019">
                  <c:v>All Others</c:v>
                </c:pt>
                <c:pt idx="3020">
                  <c:v>Milleret: A</c:v>
                </c:pt>
                <c:pt idx="3021">
                  <c:v>All Others</c:v>
                </c:pt>
                <c:pt idx="3022">
                  <c:v>All Others</c:v>
                </c:pt>
                <c:pt idx="3023">
                  <c:v>Nurishh</c:v>
                </c:pt>
                <c:pt idx="3024">
                  <c:v>All Others</c:v>
                </c:pt>
                <c:pt idx="3025">
                  <c:v>All Others</c:v>
                </c:pt>
                <c:pt idx="3026">
                  <c:v>All Others</c:v>
                </c:pt>
                <c:pt idx="3027">
                  <c:v>All Others</c:v>
                </c:pt>
                <c:pt idx="3028">
                  <c:v>All Others</c:v>
                </c:pt>
                <c:pt idx="3029">
                  <c:v>All Others</c:v>
                </c:pt>
                <c:pt idx="3030">
                  <c:v>All Others</c:v>
                </c:pt>
                <c:pt idx="3031">
                  <c:v>All Others</c:v>
                </c:pt>
                <c:pt idx="3032">
                  <c:v>All Others</c:v>
                </c:pt>
                <c:pt idx="3033">
                  <c:v>All Others</c:v>
                </c:pt>
                <c:pt idx="3034">
                  <c:v>All Others</c:v>
                </c:pt>
                <c:pt idx="3035">
                  <c:v>All Others</c:v>
                </c:pt>
                <c:pt idx="3036">
                  <c:v>All Others</c:v>
                </c:pt>
                <c:pt idx="3037">
                  <c:v>Nurishh</c:v>
                </c:pt>
                <c:pt idx="3038">
                  <c:v>All Others</c:v>
                </c:pt>
                <c:pt idx="3039">
                  <c:v>All Others</c:v>
                </c:pt>
                <c:pt idx="3040">
                  <c:v>All Others</c:v>
                </c:pt>
                <c:pt idx="3041">
                  <c:v>All Others</c:v>
                </c:pt>
                <c:pt idx="3042">
                  <c:v>All Others</c:v>
                </c:pt>
                <c:pt idx="3043">
                  <c:v>All Others</c:v>
                </c:pt>
                <c:pt idx="3044">
                  <c:v>All Others</c:v>
                </c:pt>
                <c:pt idx="3045">
                  <c:v>All Others</c:v>
                </c:pt>
                <c:pt idx="3046">
                  <c:v>All Others</c:v>
                </c:pt>
                <c:pt idx="3047">
                  <c:v>All Others</c:v>
                </c:pt>
                <c:pt idx="3048">
                  <c:v>All Others</c:v>
                </c:pt>
                <c:pt idx="3049">
                  <c:v>All Others</c:v>
                </c:pt>
                <c:pt idx="3050">
                  <c:v>All Others</c:v>
                </c:pt>
                <c:pt idx="3051">
                  <c:v>All Others</c:v>
                </c:pt>
                <c:pt idx="3052">
                  <c:v>All Others</c:v>
                </c:pt>
                <c:pt idx="3053">
                  <c:v>All Others</c:v>
                </c:pt>
                <c:pt idx="3054">
                  <c:v>Private Lab</c:v>
                </c:pt>
                <c:pt idx="3055">
                  <c:v>All Others</c:v>
                </c:pt>
                <c:pt idx="3056">
                  <c:v>All Others</c:v>
                </c:pt>
                <c:pt idx="3057">
                  <c:v>All Others</c:v>
                </c:pt>
                <c:pt idx="3058">
                  <c:v>All Others</c:v>
                </c:pt>
                <c:pt idx="3059">
                  <c:v>All Others</c:v>
                </c:pt>
                <c:pt idx="3060">
                  <c:v>All Others</c:v>
                </c:pt>
                <c:pt idx="3061">
                  <c:v>All Others</c:v>
                </c:pt>
                <c:pt idx="3062">
                  <c:v>All Others</c:v>
                </c:pt>
                <c:pt idx="3063">
                  <c:v>All Others</c:v>
                </c:pt>
                <c:pt idx="3064">
                  <c:v>All Others</c:v>
                </c:pt>
                <c:pt idx="3065">
                  <c:v>All Others</c:v>
                </c:pt>
                <c:pt idx="3066">
                  <c:v>All Others</c:v>
                </c:pt>
                <c:pt idx="3067">
                  <c:v>Private Lab</c:v>
                </c:pt>
                <c:pt idx="3068">
                  <c:v>All Others</c:v>
                </c:pt>
                <c:pt idx="3069">
                  <c:v>All Others</c:v>
                </c:pt>
                <c:pt idx="3070">
                  <c:v>All Others</c:v>
                </c:pt>
                <c:pt idx="3071">
                  <c:v>All Others</c:v>
                </c:pt>
                <c:pt idx="3072">
                  <c:v>All Others</c:v>
                </c:pt>
                <c:pt idx="3073">
                  <c:v>All Others</c:v>
                </c:pt>
                <c:pt idx="3074">
                  <c:v>Private Lab</c:v>
                </c:pt>
                <c:pt idx="3075">
                  <c:v>All Others</c:v>
                </c:pt>
                <c:pt idx="3076">
                  <c:v>All Others</c:v>
                </c:pt>
                <c:pt idx="3077">
                  <c:v>Private Lab</c:v>
                </c:pt>
                <c:pt idx="3078">
                  <c:v>All Others</c:v>
                </c:pt>
                <c:pt idx="3079">
                  <c:v>All Others</c:v>
                </c:pt>
                <c:pt idx="3080">
                  <c:v>All Others</c:v>
                </c:pt>
                <c:pt idx="3081">
                  <c:v>All Others</c:v>
                </c:pt>
                <c:pt idx="3082">
                  <c:v>All Others</c:v>
                </c:pt>
                <c:pt idx="3083">
                  <c:v>All Others</c:v>
                </c:pt>
                <c:pt idx="3084">
                  <c:v>All Others</c:v>
                </c:pt>
                <c:pt idx="3085">
                  <c:v>All Others</c:v>
                </c:pt>
                <c:pt idx="3086">
                  <c:v>All Others</c:v>
                </c:pt>
                <c:pt idx="3087">
                  <c:v>All Others</c:v>
                </c:pt>
                <c:pt idx="3088">
                  <c:v>All Others</c:v>
                </c:pt>
                <c:pt idx="3089">
                  <c:v>All Others</c:v>
                </c:pt>
                <c:pt idx="3090">
                  <c:v>All Others</c:v>
                </c:pt>
                <c:pt idx="3091">
                  <c:v>All Others</c:v>
                </c:pt>
                <c:pt idx="3092">
                  <c:v>All Others</c:v>
                </c:pt>
                <c:pt idx="3093">
                  <c:v>All Others</c:v>
                </c:pt>
                <c:pt idx="3094">
                  <c:v>All Others</c:v>
                </c:pt>
                <c:pt idx="3095">
                  <c:v>All Others</c:v>
                </c:pt>
                <c:pt idx="3096">
                  <c:v>All Others</c:v>
                </c:pt>
                <c:pt idx="3097">
                  <c:v>All Others</c:v>
                </c:pt>
                <c:pt idx="3098">
                  <c:v>All Others</c:v>
                </c:pt>
                <c:pt idx="3099">
                  <c:v>All Others</c:v>
                </c:pt>
                <c:pt idx="3100">
                  <c:v>All Others</c:v>
                </c:pt>
                <c:pt idx="3101">
                  <c:v>Lactalis: A</c:v>
                </c:pt>
                <c:pt idx="3102">
                  <c:v>Boursin</c:v>
                </c:pt>
                <c:pt idx="3103">
                  <c:v>All Others</c:v>
                </c:pt>
                <c:pt idx="3104">
                  <c:v>All Others</c:v>
                </c:pt>
                <c:pt idx="3105">
                  <c:v>Private Lab</c:v>
                </c:pt>
                <c:pt idx="3106">
                  <c:v>All Others</c:v>
                </c:pt>
                <c:pt idx="3107">
                  <c:v>All Others</c:v>
                </c:pt>
                <c:pt idx="3108">
                  <c:v>All Others</c:v>
                </c:pt>
                <c:pt idx="3109">
                  <c:v>All Others</c:v>
                </c:pt>
                <c:pt idx="3110">
                  <c:v>All Others</c:v>
                </c:pt>
                <c:pt idx="3111">
                  <c:v>All Others</c:v>
                </c:pt>
                <c:pt idx="3112">
                  <c:v>All Others</c:v>
                </c:pt>
                <c:pt idx="3113">
                  <c:v>All Others</c:v>
                </c:pt>
                <c:pt idx="3114">
                  <c:v>All Others</c:v>
                </c:pt>
                <c:pt idx="3115">
                  <c:v>Bresse Bleu</c:v>
                </c:pt>
                <c:pt idx="3116">
                  <c:v>All Others</c:v>
                </c:pt>
                <c:pt idx="3117">
                  <c:v>All Others</c:v>
                </c:pt>
                <c:pt idx="3118">
                  <c:v>All Others</c:v>
                </c:pt>
                <c:pt idx="3119">
                  <c:v>All Others</c:v>
                </c:pt>
                <c:pt idx="3120">
                  <c:v>All Others</c:v>
                </c:pt>
                <c:pt idx="3121">
                  <c:v>All Others</c:v>
                </c:pt>
                <c:pt idx="3122">
                  <c:v>All Others</c:v>
                </c:pt>
                <c:pt idx="3123">
                  <c:v>All Others</c:v>
                </c:pt>
                <c:pt idx="3124">
                  <c:v>All Others</c:v>
                </c:pt>
                <c:pt idx="3125">
                  <c:v>All Others</c:v>
                </c:pt>
                <c:pt idx="3126">
                  <c:v>All Others</c:v>
                </c:pt>
                <c:pt idx="3127">
                  <c:v>All Others</c:v>
                </c:pt>
                <c:pt idx="3128">
                  <c:v>All Others</c:v>
                </c:pt>
                <c:pt idx="3129">
                  <c:v>All Others</c:v>
                </c:pt>
                <c:pt idx="3130">
                  <c:v>All Others</c:v>
                </c:pt>
                <c:pt idx="3131">
                  <c:v>All Others</c:v>
                </c:pt>
                <c:pt idx="3132">
                  <c:v>All Others</c:v>
                </c:pt>
                <c:pt idx="3133">
                  <c:v>All Others</c:v>
                </c:pt>
                <c:pt idx="3134">
                  <c:v>Ficello</c:v>
                </c:pt>
                <c:pt idx="3135">
                  <c:v>Private Lab</c:v>
                </c:pt>
                <c:pt idx="3136">
                  <c:v>All Others</c:v>
                </c:pt>
                <c:pt idx="3137">
                  <c:v>Private Lab</c:v>
                </c:pt>
                <c:pt idx="3138">
                  <c:v>Mini Babybe</c:v>
                </c:pt>
                <c:pt idx="3139">
                  <c:v>All Others</c:v>
                </c:pt>
                <c:pt idx="3140">
                  <c:v>Savencia: A</c:v>
                </c:pt>
                <c:pt idx="3141">
                  <c:v>All Others</c:v>
                </c:pt>
                <c:pt idx="3142">
                  <c:v>All Others</c:v>
                </c:pt>
                <c:pt idx="3143">
                  <c:v>All Others</c:v>
                </c:pt>
                <c:pt idx="3144">
                  <c:v>All Others</c:v>
                </c:pt>
                <c:pt idx="3145">
                  <c:v>All Others</c:v>
                </c:pt>
                <c:pt idx="3146">
                  <c:v>All Others</c:v>
                </c:pt>
                <c:pt idx="3147">
                  <c:v>All Others</c:v>
                </c:pt>
                <c:pt idx="3148">
                  <c:v>All Others</c:v>
                </c:pt>
                <c:pt idx="3149">
                  <c:v>All Others</c:v>
                </c:pt>
                <c:pt idx="3150">
                  <c:v>All Others</c:v>
                </c:pt>
                <c:pt idx="3151">
                  <c:v>All Others</c:v>
                </c:pt>
                <c:pt idx="3152">
                  <c:v>All Others</c:v>
                </c:pt>
                <c:pt idx="3153">
                  <c:v>All Others</c:v>
                </c:pt>
                <c:pt idx="3154">
                  <c:v>All Others</c:v>
                </c:pt>
                <c:pt idx="3155">
                  <c:v>Private Lab</c:v>
                </c:pt>
                <c:pt idx="3156">
                  <c:v>All Others</c:v>
                </c:pt>
                <c:pt idx="3157">
                  <c:v>All Others</c:v>
                </c:pt>
                <c:pt idx="3158">
                  <c:v>All Others</c:v>
                </c:pt>
                <c:pt idx="3159">
                  <c:v>All Others</c:v>
                </c:pt>
                <c:pt idx="3160">
                  <c:v>Casa Azzurr</c:v>
                </c:pt>
                <c:pt idx="3161">
                  <c:v>Private Lab</c:v>
                </c:pt>
                <c:pt idx="3162">
                  <c:v>All Others</c:v>
                </c:pt>
                <c:pt idx="3163">
                  <c:v>All Others</c:v>
                </c:pt>
                <c:pt idx="3164">
                  <c:v>Private Lab</c:v>
                </c:pt>
                <c:pt idx="3165">
                  <c:v>All Others</c:v>
                </c:pt>
                <c:pt idx="3166">
                  <c:v>All Others</c:v>
                </c:pt>
                <c:pt idx="3167">
                  <c:v>All Others</c:v>
                </c:pt>
                <c:pt idx="3168">
                  <c:v>All Others</c:v>
                </c:pt>
                <c:pt idx="3169">
                  <c:v>All Others</c:v>
                </c:pt>
              </c:strCache>
            </c:strRef>
          </c:cat>
          <c:val>
            <c:numRef>
              <c:f>Sheet1!$B$2:$B$3171</c:f>
              <c:numCache>
                <c:formatCode>General</c:formatCode>
                <c:ptCount val="3170"/>
                <c:pt idx="0">
                  <c:v>1</c:v>
                </c:pt>
                <c:pt idx="1">
                  <c:v>0.99</c:v>
                </c:pt>
                <c:pt idx="2">
                  <c:v>1</c:v>
                </c:pt>
                <c:pt idx="3">
                  <c:v>1</c:v>
                </c:pt>
                <c:pt idx="4">
                  <c:v>0.53</c:v>
                </c:pt>
                <c:pt idx="5">
                  <c:v>1</c:v>
                </c:pt>
                <c:pt idx="6">
                  <c:v>1</c:v>
                </c:pt>
                <c:pt idx="7">
                  <c:v>1</c:v>
                </c:pt>
                <c:pt idx="8">
                  <c:v>0.99</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0.99</c:v>
                </c:pt>
                <c:pt idx="41">
                  <c:v>1</c:v>
                </c:pt>
                <c:pt idx="42">
                  <c:v>1</c:v>
                </c:pt>
                <c:pt idx="43">
                  <c:v>1</c:v>
                </c:pt>
                <c:pt idx="44">
                  <c:v>1</c:v>
                </c:pt>
                <c:pt idx="45">
                  <c:v>1</c:v>
                </c:pt>
                <c:pt idx="46">
                  <c:v>0.99</c:v>
                </c:pt>
                <c:pt idx="47">
                  <c:v>1</c:v>
                </c:pt>
                <c:pt idx="48">
                  <c:v>1</c:v>
                </c:pt>
                <c:pt idx="49">
                  <c:v>1</c:v>
                </c:pt>
                <c:pt idx="50">
                  <c:v>1</c:v>
                </c:pt>
                <c:pt idx="51">
                  <c:v>1</c:v>
                </c:pt>
                <c:pt idx="52">
                  <c:v>1</c:v>
                </c:pt>
                <c:pt idx="53">
                  <c:v>0.99</c:v>
                </c:pt>
                <c:pt idx="54">
                  <c:v>1</c:v>
                </c:pt>
                <c:pt idx="55">
                  <c:v>1</c:v>
                </c:pt>
                <c:pt idx="56">
                  <c:v>1</c:v>
                </c:pt>
                <c:pt idx="57">
                  <c:v>1</c:v>
                </c:pt>
                <c:pt idx="58">
                  <c:v>1</c:v>
                </c:pt>
                <c:pt idx="59">
                  <c:v>1</c:v>
                </c:pt>
                <c:pt idx="60">
                  <c:v>1</c:v>
                </c:pt>
                <c:pt idx="61">
                  <c:v>1</c:v>
                </c:pt>
                <c:pt idx="62">
                  <c:v>1</c:v>
                </c:pt>
                <c:pt idx="63">
                  <c:v>1</c:v>
                </c:pt>
                <c:pt idx="64">
                  <c:v>1</c:v>
                </c:pt>
                <c:pt idx="65">
                  <c:v>1</c:v>
                </c:pt>
                <c:pt idx="66">
                  <c:v>1</c:v>
                </c:pt>
                <c:pt idx="67">
                  <c:v>1</c:v>
                </c:pt>
                <c:pt idx="68">
                  <c:v>1</c:v>
                </c:pt>
                <c:pt idx="69">
                  <c:v>1</c:v>
                </c:pt>
                <c:pt idx="70">
                  <c:v>1</c:v>
                </c:pt>
                <c:pt idx="71">
                  <c:v>1</c:v>
                </c:pt>
                <c:pt idx="72">
                  <c:v>1</c:v>
                </c:pt>
                <c:pt idx="73">
                  <c:v>1</c:v>
                </c:pt>
                <c:pt idx="74">
                  <c:v>1</c:v>
                </c:pt>
                <c:pt idx="75">
                  <c:v>1</c:v>
                </c:pt>
                <c:pt idx="76">
                  <c:v>0.99</c:v>
                </c:pt>
                <c:pt idx="77">
                  <c:v>1</c:v>
                </c:pt>
                <c:pt idx="78">
                  <c:v>1</c:v>
                </c:pt>
                <c:pt idx="79">
                  <c:v>0.99</c:v>
                </c:pt>
                <c:pt idx="80">
                  <c:v>1</c:v>
                </c:pt>
                <c:pt idx="81">
                  <c:v>1</c:v>
                </c:pt>
                <c:pt idx="82">
                  <c:v>1</c:v>
                </c:pt>
                <c:pt idx="83">
                  <c:v>1</c:v>
                </c:pt>
                <c:pt idx="84">
                  <c:v>1</c:v>
                </c:pt>
                <c:pt idx="85">
                  <c:v>1</c:v>
                </c:pt>
                <c:pt idx="86">
                  <c:v>1</c:v>
                </c:pt>
                <c:pt idx="87">
                  <c:v>1</c:v>
                </c:pt>
                <c:pt idx="88">
                  <c:v>1</c:v>
                </c:pt>
                <c:pt idx="89">
                  <c:v>1</c:v>
                </c:pt>
                <c:pt idx="90">
                  <c:v>1</c:v>
                </c:pt>
                <c:pt idx="91">
                  <c:v>1</c:v>
                </c:pt>
                <c:pt idx="92">
                  <c:v>0.99</c:v>
                </c:pt>
                <c:pt idx="93">
                  <c:v>0.99</c:v>
                </c:pt>
                <c:pt idx="94">
                  <c:v>1</c:v>
                </c:pt>
                <c:pt idx="95">
                  <c:v>0.98</c:v>
                </c:pt>
                <c:pt idx="96">
                  <c:v>1</c:v>
                </c:pt>
                <c:pt idx="97">
                  <c:v>1</c:v>
                </c:pt>
                <c:pt idx="98">
                  <c:v>0.97</c:v>
                </c:pt>
                <c:pt idx="99">
                  <c:v>1</c:v>
                </c:pt>
                <c:pt idx="100">
                  <c:v>1</c:v>
                </c:pt>
                <c:pt idx="101">
                  <c:v>1</c:v>
                </c:pt>
                <c:pt idx="102">
                  <c:v>0.97</c:v>
                </c:pt>
                <c:pt idx="103">
                  <c:v>1</c:v>
                </c:pt>
                <c:pt idx="104">
                  <c:v>1</c:v>
                </c:pt>
                <c:pt idx="105">
                  <c:v>1</c:v>
                </c:pt>
                <c:pt idx="106">
                  <c:v>0.99</c:v>
                </c:pt>
                <c:pt idx="107">
                  <c:v>1</c:v>
                </c:pt>
                <c:pt idx="108">
                  <c:v>1</c:v>
                </c:pt>
                <c:pt idx="109">
                  <c:v>0.98</c:v>
                </c:pt>
                <c:pt idx="110">
                  <c:v>1</c:v>
                </c:pt>
                <c:pt idx="111">
                  <c:v>1</c:v>
                </c:pt>
                <c:pt idx="112">
                  <c:v>0.99</c:v>
                </c:pt>
                <c:pt idx="113">
                  <c:v>0.99</c:v>
                </c:pt>
                <c:pt idx="114">
                  <c:v>0.94</c:v>
                </c:pt>
                <c:pt idx="115">
                  <c:v>1</c:v>
                </c:pt>
                <c:pt idx="116">
                  <c:v>1</c:v>
                </c:pt>
                <c:pt idx="117">
                  <c:v>0.99</c:v>
                </c:pt>
                <c:pt idx="118">
                  <c:v>0.97</c:v>
                </c:pt>
                <c:pt idx="119">
                  <c:v>1</c:v>
                </c:pt>
                <c:pt idx="120">
                  <c:v>1</c:v>
                </c:pt>
                <c:pt idx="121">
                  <c:v>1</c:v>
                </c:pt>
                <c:pt idx="122">
                  <c:v>1</c:v>
                </c:pt>
                <c:pt idx="123">
                  <c:v>1</c:v>
                </c:pt>
                <c:pt idx="124">
                  <c:v>1</c:v>
                </c:pt>
                <c:pt idx="125">
                  <c:v>1</c:v>
                </c:pt>
                <c:pt idx="126">
                  <c:v>1</c:v>
                </c:pt>
                <c:pt idx="127">
                  <c:v>1</c:v>
                </c:pt>
                <c:pt idx="128">
                  <c:v>0.98</c:v>
                </c:pt>
                <c:pt idx="129">
                  <c:v>1</c:v>
                </c:pt>
                <c:pt idx="130">
                  <c:v>1</c:v>
                </c:pt>
                <c:pt idx="131">
                  <c:v>0.97</c:v>
                </c:pt>
                <c:pt idx="132">
                  <c:v>1</c:v>
                </c:pt>
                <c:pt idx="133">
                  <c:v>1</c:v>
                </c:pt>
                <c:pt idx="134">
                  <c:v>0.99</c:v>
                </c:pt>
                <c:pt idx="135">
                  <c:v>1</c:v>
                </c:pt>
                <c:pt idx="136">
                  <c:v>0.98</c:v>
                </c:pt>
                <c:pt idx="137">
                  <c:v>1</c:v>
                </c:pt>
                <c:pt idx="138">
                  <c:v>0.99</c:v>
                </c:pt>
                <c:pt idx="139">
                  <c:v>1</c:v>
                </c:pt>
                <c:pt idx="140">
                  <c:v>0.98</c:v>
                </c:pt>
                <c:pt idx="141">
                  <c:v>1</c:v>
                </c:pt>
                <c:pt idx="142">
                  <c:v>0.99</c:v>
                </c:pt>
                <c:pt idx="143">
                  <c:v>0.98</c:v>
                </c:pt>
                <c:pt idx="144">
                  <c:v>1</c:v>
                </c:pt>
                <c:pt idx="145">
                  <c:v>0.98</c:v>
                </c:pt>
                <c:pt idx="146">
                  <c:v>1</c:v>
                </c:pt>
                <c:pt idx="147">
                  <c:v>1</c:v>
                </c:pt>
                <c:pt idx="148">
                  <c:v>1</c:v>
                </c:pt>
                <c:pt idx="149">
                  <c:v>0.92</c:v>
                </c:pt>
                <c:pt idx="150">
                  <c:v>0.94</c:v>
                </c:pt>
                <c:pt idx="151">
                  <c:v>1</c:v>
                </c:pt>
                <c:pt idx="152">
                  <c:v>1</c:v>
                </c:pt>
                <c:pt idx="153">
                  <c:v>1</c:v>
                </c:pt>
                <c:pt idx="154">
                  <c:v>0.98</c:v>
                </c:pt>
                <c:pt idx="155">
                  <c:v>1</c:v>
                </c:pt>
                <c:pt idx="156">
                  <c:v>1</c:v>
                </c:pt>
                <c:pt idx="157">
                  <c:v>1</c:v>
                </c:pt>
                <c:pt idx="158">
                  <c:v>1</c:v>
                </c:pt>
                <c:pt idx="159">
                  <c:v>0.99</c:v>
                </c:pt>
                <c:pt idx="160">
                  <c:v>0.85</c:v>
                </c:pt>
                <c:pt idx="161">
                  <c:v>1</c:v>
                </c:pt>
                <c:pt idx="162">
                  <c:v>1</c:v>
                </c:pt>
                <c:pt idx="163">
                  <c:v>1</c:v>
                </c:pt>
                <c:pt idx="164">
                  <c:v>0.55000000000000004</c:v>
                </c:pt>
                <c:pt idx="165">
                  <c:v>1</c:v>
                </c:pt>
                <c:pt idx="166">
                  <c:v>1</c:v>
                </c:pt>
                <c:pt idx="167">
                  <c:v>1</c:v>
                </c:pt>
                <c:pt idx="168">
                  <c:v>0.99</c:v>
                </c:pt>
                <c:pt idx="169">
                  <c:v>1</c:v>
                </c:pt>
                <c:pt idx="170">
                  <c:v>1</c:v>
                </c:pt>
                <c:pt idx="171">
                  <c:v>1</c:v>
                </c:pt>
                <c:pt idx="172">
                  <c:v>1</c:v>
                </c:pt>
                <c:pt idx="173">
                  <c:v>1</c:v>
                </c:pt>
                <c:pt idx="174">
                  <c:v>0.99</c:v>
                </c:pt>
                <c:pt idx="175">
                  <c:v>1</c:v>
                </c:pt>
                <c:pt idx="176">
                  <c:v>1</c:v>
                </c:pt>
                <c:pt idx="177">
                  <c:v>1</c:v>
                </c:pt>
                <c:pt idx="178">
                  <c:v>1</c:v>
                </c:pt>
                <c:pt idx="179">
                  <c:v>0.94</c:v>
                </c:pt>
                <c:pt idx="180">
                  <c:v>1</c:v>
                </c:pt>
                <c:pt idx="181">
                  <c:v>1</c:v>
                </c:pt>
                <c:pt idx="182">
                  <c:v>0.98</c:v>
                </c:pt>
                <c:pt idx="183">
                  <c:v>1</c:v>
                </c:pt>
                <c:pt idx="184">
                  <c:v>0.96</c:v>
                </c:pt>
                <c:pt idx="185">
                  <c:v>0.99</c:v>
                </c:pt>
                <c:pt idx="186">
                  <c:v>1</c:v>
                </c:pt>
                <c:pt idx="187">
                  <c:v>0.97</c:v>
                </c:pt>
                <c:pt idx="188">
                  <c:v>1</c:v>
                </c:pt>
                <c:pt idx="189">
                  <c:v>1</c:v>
                </c:pt>
                <c:pt idx="190">
                  <c:v>1</c:v>
                </c:pt>
                <c:pt idx="191">
                  <c:v>0.99</c:v>
                </c:pt>
                <c:pt idx="192">
                  <c:v>1</c:v>
                </c:pt>
                <c:pt idx="193">
                  <c:v>1</c:v>
                </c:pt>
                <c:pt idx="194">
                  <c:v>0.98</c:v>
                </c:pt>
                <c:pt idx="195">
                  <c:v>1</c:v>
                </c:pt>
                <c:pt idx="196">
                  <c:v>0.96</c:v>
                </c:pt>
                <c:pt idx="197">
                  <c:v>1</c:v>
                </c:pt>
                <c:pt idx="198">
                  <c:v>1</c:v>
                </c:pt>
                <c:pt idx="199">
                  <c:v>1</c:v>
                </c:pt>
                <c:pt idx="200">
                  <c:v>1</c:v>
                </c:pt>
                <c:pt idx="201">
                  <c:v>1</c:v>
                </c:pt>
                <c:pt idx="202">
                  <c:v>1</c:v>
                </c:pt>
                <c:pt idx="203">
                  <c:v>1</c:v>
                </c:pt>
                <c:pt idx="204">
                  <c:v>0.94</c:v>
                </c:pt>
                <c:pt idx="205">
                  <c:v>0.96</c:v>
                </c:pt>
                <c:pt idx="206">
                  <c:v>1</c:v>
                </c:pt>
                <c:pt idx="207">
                  <c:v>0.96</c:v>
                </c:pt>
                <c:pt idx="208">
                  <c:v>1</c:v>
                </c:pt>
                <c:pt idx="209">
                  <c:v>0.96</c:v>
                </c:pt>
                <c:pt idx="210">
                  <c:v>1</c:v>
                </c:pt>
                <c:pt idx="211">
                  <c:v>0.97</c:v>
                </c:pt>
                <c:pt idx="212">
                  <c:v>0.98</c:v>
                </c:pt>
                <c:pt idx="213">
                  <c:v>0.91</c:v>
                </c:pt>
                <c:pt idx="214">
                  <c:v>0.9</c:v>
                </c:pt>
                <c:pt idx="215">
                  <c:v>0.94</c:v>
                </c:pt>
                <c:pt idx="216">
                  <c:v>1</c:v>
                </c:pt>
                <c:pt idx="217">
                  <c:v>0.85</c:v>
                </c:pt>
                <c:pt idx="218">
                  <c:v>0.97</c:v>
                </c:pt>
                <c:pt idx="219">
                  <c:v>1</c:v>
                </c:pt>
                <c:pt idx="220">
                  <c:v>1</c:v>
                </c:pt>
                <c:pt idx="221">
                  <c:v>1</c:v>
                </c:pt>
                <c:pt idx="222">
                  <c:v>0.94</c:v>
                </c:pt>
                <c:pt idx="223">
                  <c:v>0.98</c:v>
                </c:pt>
                <c:pt idx="224">
                  <c:v>1</c:v>
                </c:pt>
                <c:pt idx="225">
                  <c:v>1</c:v>
                </c:pt>
                <c:pt idx="226">
                  <c:v>0.95</c:v>
                </c:pt>
                <c:pt idx="227">
                  <c:v>1</c:v>
                </c:pt>
                <c:pt idx="228">
                  <c:v>0.99</c:v>
                </c:pt>
                <c:pt idx="229">
                  <c:v>1</c:v>
                </c:pt>
                <c:pt idx="230">
                  <c:v>0.98</c:v>
                </c:pt>
                <c:pt idx="231">
                  <c:v>1</c:v>
                </c:pt>
                <c:pt idx="232">
                  <c:v>1</c:v>
                </c:pt>
                <c:pt idx="233">
                  <c:v>0.99</c:v>
                </c:pt>
                <c:pt idx="234">
                  <c:v>0.99</c:v>
                </c:pt>
                <c:pt idx="235">
                  <c:v>0.99</c:v>
                </c:pt>
                <c:pt idx="236">
                  <c:v>1</c:v>
                </c:pt>
                <c:pt idx="237">
                  <c:v>0.99</c:v>
                </c:pt>
                <c:pt idx="238">
                  <c:v>1</c:v>
                </c:pt>
                <c:pt idx="239">
                  <c:v>1</c:v>
                </c:pt>
                <c:pt idx="240">
                  <c:v>1</c:v>
                </c:pt>
                <c:pt idx="241">
                  <c:v>1</c:v>
                </c:pt>
                <c:pt idx="242">
                  <c:v>0.99</c:v>
                </c:pt>
                <c:pt idx="243">
                  <c:v>0.95</c:v>
                </c:pt>
                <c:pt idx="244">
                  <c:v>1</c:v>
                </c:pt>
                <c:pt idx="245">
                  <c:v>0.91</c:v>
                </c:pt>
                <c:pt idx="246">
                  <c:v>1</c:v>
                </c:pt>
                <c:pt idx="247">
                  <c:v>0.92</c:v>
                </c:pt>
                <c:pt idx="248">
                  <c:v>0.98</c:v>
                </c:pt>
                <c:pt idx="249">
                  <c:v>1</c:v>
                </c:pt>
                <c:pt idx="250">
                  <c:v>0.96</c:v>
                </c:pt>
                <c:pt idx="251">
                  <c:v>0.97</c:v>
                </c:pt>
                <c:pt idx="252">
                  <c:v>1</c:v>
                </c:pt>
                <c:pt idx="253">
                  <c:v>1</c:v>
                </c:pt>
                <c:pt idx="254">
                  <c:v>1</c:v>
                </c:pt>
                <c:pt idx="255">
                  <c:v>0.99</c:v>
                </c:pt>
                <c:pt idx="256">
                  <c:v>0.95</c:v>
                </c:pt>
                <c:pt idx="257">
                  <c:v>0.99</c:v>
                </c:pt>
                <c:pt idx="258">
                  <c:v>1</c:v>
                </c:pt>
                <c:pt idx="259">
                  <c:v>0.98</c:v>
                </c:pt>
                <c:pt idx="260">
                  <c:v>0.91</c:v>
                </c:pt>
                <c:pt idx="261">
                  <c:v>0.97</c:v>
                </c:pt>
                <c:pt idx="262">
                  <c:v>0.99</c:v>
                </c:pt>
                <c:pt idx="263">
                  <c:v>1</c:v>
                </c:pt>
                <c:pt idx="264">
                  <c:v>0.92</c:v>
                </c:pt>
                <c:pt idx="265">
                  <c:v>0.97</c:v>
                </c:pt>
                <c:pt idx="266">
                  <c:v>0.98</c:v>
                </c:pt>
                <c:pt idx="267">
                  <c:v>0.93</c:v>
                </c:pt>
                <c:pt idx="268">
                  <c:v>0.97</c:v>
                </c:pt>
                <c:pt idx="269">
                  <c:v>0.95</c:v>
                </c:pt>
                <c:pt idx="270">
                  <c:v>1</c:v>
                </c:pt>
                <c:pt idx="271">
                  <c:v>1</c:v>
                </c:pt>
                <c:pt idx="272">
                  <c:v>0.99</c:v>
                </c:pt>
                <c:pt idx="273">
                  <c:v>0.83</c:v>
                </c:pt>
                <c:pt idx="274">
                  <c:v>1</c:v>
                </c:pt>
                <c:pt idx="275">
                  <c:v>0.63</c:v>
                </c:pt>
                <c:pt idx="276">
                  <c:v>1</c:v>
                </c:pt>
                <c:pt idx="277">
                  <c:v>1</c:v>
                </c:pt>
                <c:pt idx="278">
                  <c:v>0.99</c:v>
                </c:pt>
                <c:pt idx="279">
                  <c:v>0.95</c:v>
                </c:pt>
                <c:pt idx="280">
                  <c:v>1</c:v>
                </c:pt>
                <c:pt idx="281">
                  <c:v>0.99</c:v>
                </c:pt>
                <c:pt idx="282">
                  <c:v>1</c:v>
                </c:pt>
                <c:pt idx="283">
                  <c:v>1</c:v>
                </c:pt>
                <c:pt idx="284">
                  <c:v>1</c:v>
                </c:pt>
                <c:pt idx="285">
                  <c:v>0.9</c:v>
                </c:pt>
                <c:pt idx="286">
                  <c:v>1</c:v>
                </c:pt>
                <c:pt idx="287">
                  <c:v>0.95</c:v>
                </c:pt>
                <c:pt idx="288">
                  <c:v>0.98</c:v>
                </c:pt>
                <c:pt idx="289">
                  <c:v>1</c:v>
                </c:pt>
                <c:pt idx="290">
                  <c:v>1</c:v>
                </c:pt>
                <c:pt idx="291">
                  <c:v>0.93</c:v>
                </c:pt>
                <c:pt idx="292">
                  <c:v>0.97</c:v>
                </c:pt>
                <c:pt idx="293">
                  <c:v>0.99</c:v>
                </c:pt>
                <c:pt idx="294">
                  <c:v>0.89</c:v>
                </c:pt>
                <c:pt idx="295">
                  <c:v>0.98</c:v>
                </c:pt>
                <c:pt idx="296">
                  <c:v>0.99</c:v>
                </c:pt>
                <c:pt idx="297">
                  <c:v>0.95</c:v>
                </c:pt>
                <c:pt idx="298">
                  <c:v>0.88</c:v>
                </c:pt>
                <c:pt idx="299">
                  <c:v>0.64</c:v>
                </c:pt>
                <c:pt idx="300">
                  <c:v>1</c:v>
                </c:pt>
                <c:pt idx="301">
                  <c:v>1</c:v>
                </c:pt>
                <c:pt idx="302">
                  <c:v>1</c:v>
                </c:pt>
                <c:pt idx="303">
                  <c:v>1</c:v>
                </c:pt>
                <c:pt idx="304">
                  <c:v>0.99</c:v>
                </c:pt>
                <c:pt idx="305">
                  <c:v>1</c:v>
                </c:pt>
                <c:pt idx="306">
                  <c:v>0.57999999999999996</c:v>
                </c:pt>
                <c:pt idx="307">
                  <c:v>0.95</c:v>
                </c:pt>
                <c:pt idx="308">
                  <c:v>0.97</c:v>
                </c:pt>
                <c:pt idx="309">
                  <c:v>0.99</c:v>
                </c:pt>
                <c:pt idx="310">
                  <c:v>0.99</c:v>
                </c:pt>
                <c:pt idx="311">
                  <c:v>0.99</c:v>
                </c:pt>
                <c:pt idx="312">
                  <c:v>1</c:v>
                </c:pt>
                <c:pt idx="313">
                  <c:v>0.94</c:v>
                </c:pt>
                <c:pt idx="314">
                  <c:v>0.98</c:v>
                </c:pt>
                <c:pt idx="315">
                  <c:v>0.99</c:v>
                </c:pt>
                <c:pt idx="316">
                  <c:v>1</c:v>
                </c:pt>
                <c:pt idx="317">
                  <c:v>0.99</c:v>
                </c:pt>
                <c:pt idx="318">
                  <c:v>0.97</c:v>
                </c:pt>
                <c:pt idx="319">
                  <c:v>1</c:v>
                </c:pt>
                <c:pt idx="320">
                  <c:v>0.98</c:v>
                </c:pt>
                <c:pt idx="321">
                  <c:v>1</c:v>
                </c:pt>
                <c:pt idx="322">
                  <c:v>0.99</c:v>
                </c:pt>
                <c:pt idx="323">
                  <c:v>0.9</c:v>
                </c:pt>
                <c:pt idx="324">
                  <c:v>1</c:v>
                </c:pt>
                <c:pt idx="325">
                  <c:v>0.96</c:v>
                </c:pt>
                <c:pt idx="326">
                  <c:v>0.97</c:v>
                </c:pt>
                <c:pt idx="327">
                  <c:v>1</c:v>
                </c:pt>
                <c:pt idx="328">
                  <c:v>0.97</c:v>
                </c:pt>
                <c:pt idx="329">
                  <c:v>1</c:v>
                </c:pt>
                <c:pt idx="330">
                  <c:v>1</c:v>
                </c:pt>
                <c:pt idx="331">
                  <c:v>0.88</c:v>
                </c:pt>
                <c:pt idx="332">
                  <c:v>0.97</c:v>
                </c:pt>
                <c:pt idx="333">
                  <c:v>0.89</c:v>
                </c:pt>
                <c:pt idx="334">
                  <c:v>0.96</c:v>
                </c:pt>
                <c:pt idx="335">
                  <c:v>0.93</c:v>
                </c:pt>
                <c:pt idx="336">
                  <c:v>1</c:v>
                </c:pt>
                <c:pt idx="337">
                  <c:v>1</c:v>
                </c:pt>
                <c:pt idx="338">
                  <c:v>0.97</c:v>
                </c:pt>
                <c:pt idx="339">
                  <c:v>0.99</c:v>
                </c:pt>
                <c:pt idx="340">
                  <c:v>0.98</c:v>
                </c:pt>
                <c:pt idx="341">
                  <c:v>1</c:v>
                </c:pt>
                <c:pt idx="342">
                  <c:v>0.92</c:v>
                </c:pt>
                <c:pt idx="343">
                  <c:v>1</c:v>
                </c:pt>
                <c:pt idx="344">
                  <c:v>0.89</c:v>
                </c:pt>
                <c:pt idx="345">
                  <c:v>0.95</c:v>
                </c:pt>
                <c:pt idx="346">
                  <c:v>0.81</c:v>
                </c:pt>
                <c:pt idx="347">
                  <c:v>0.97</c:v>
                </c:pt>
                <c:pt idx="348">
                  <c:v>0.87</c:v>
                </c:pt>
                <c:pt idx="349">
                  <c:v>1</c:v>
                </c:pt>
                <c:pt idx="350">
                  <c:v>0.99</c:v>
                </c:pt>
                <c:pt idx="351">
                  <c:v>0.99</c:v>
                </c:pt>
                <c:pt idx="352">
                  <c:v>0.96</c:v>
                </c:pt>
                <c:pt idx="353">
                  <c:v>0.95</c:v>
                </c:pt>
                <c:pt idx="354">
                  <c:v>0.93</c:v>
                </c:pt>
                <c:pt idx="355">
                  <c:v>0.99</c:v>
                </c:pt>
                <c:pt idx="356">
                  <c:v>0.97</c:v>
                </c:pt>
                <c:pt idx="357">
                  <c:v>0.97</c:v>
                </c:pt>
                <c:pt idx="358">
                  <c:v>0.89</c:v>
                </c:pt>
                <c:pt idx="359">
                  <c:v>0.98</c:v>
                </c:pt>
                <c:pt idx="360">
                  <c:v>0.34</c:v>
                </c:pt>
                <c:pt idx="361">
                  <c:v>0.98</c:v>
                </c:pt>
                <c:pt idx="362">
                  <c:v>1</c:v>
                </c:pt>
                <c:pt idx="363">
                  <c:v>0.99</c:v>
                </c:pt>
                <c:pt idx="364">
                  <c:v>0.96</c:v>
                </c:pt>
                <c:pt idx="365">
                  <c:v>1</c:v>
                </c:pt>
                <c:pt idx="366">
                  <c:v>1</c:v>
                </c:pt>
                <c:pt idx="367">
                  <c:v>0.95</c:v>
                </c:pt>
                <c:pt idx="368">
                  <c:v>0.89</c:v>
                </c:pt>
                <c:pt idx="369">
                  <c:v>0.97</c:v>
                </c:pt>
                <c:pt idx="370">
                  <c:v>0.9</c:v>
                </c:pt>
                <c:pt idx="371">
                  <c:v>0.97</c:v>
                </c:pt>
                <c:pt idx="372">
                  <c:v>1</c:v>
                </c:pt>
                <c:pt idx="373">
                  <c:v>1</c:v>
                </c:pt>
                <c:pt idx="374">
                  <c:v>0.94</c:v>
                </c:pt>
                <c:pt idx="375">
                  <c:v>0.89</c:v>
                </c:pt>
                <c:pt idx="376">
                  <c:v>1</c:v>
                </c:pt>
                <c:pt idx="377">
                  <c:v>0.99</c:v>
                </c:pt>
                <c:pt idx="378">
                  <c:v>0.97</c:v>
                </c:pt>
                <c:pt idx="379">
                  <c:v>1</c:v>
                </c:pt>
                <c:pt idx="380">
                  <c:v>1</c:v>
                </c:pt>
                <c:pt idx="381">
                  <c:v>1</c:v>
                </c:pt>
                <c:pt idx="382">
                  <c:v>0.95</c:v>
                </c:pt>
                <c:pt idx="383">
                  <c:v>1</c:v>
                </c:pt>
                <c:pt idx="384">
                  <c:v>0.96</c:v>
                </c:pt>
                <c:pt idx="385">
                  <c:v>0.96</c:v>
                </c:pt>
                <c:pt idx="386">
                  <c:v>0.98</c:v>
                </c:pt>
                <c:pt idx="387">
                  <c:v>0.93</c:v>
                </c:pt>
                <c:pt idx="388">
                  <c:v>1</c:v>
                </c:pt>
                <c:pt idx="389">
                  <c:v>1</c:v>
                </c:pt>
                <c:pt idx="390">
                  <c:v>1</c:v>
                </c:pt>
                <c:pt idx="391">
                  <c:v>0.99</c:v>
                </c:pt>
                <c:pt idx="392">
                  <c:v>0.99</c:v>
                </c:pt>
                <c:pt idx="393">
                  <c:v>0.9</c:v>
                </c:pt>
                <c:pt idx="394">
                  <c:v>1</c:v>
                </c:pt>
                <c:pt idx="395">
                  <c:v>0.98</c:v>
                </c:pt>
                <c:pt idx="396">
                  <c:v>0.95</c:v>
                </c:pt>
                <c:pt idx="397">
                  <c:v>0.81</c:v>
                </c:pt>
                <c:pt idx="398">
                  <c:v>0.99</c:v>
                </c:pt>
                <c:pt idx="399">
                  <c:v>0.95</c:v>
                </c:pt>
                <c:pt idx="400">
                  <c:v>0.95</c:v>
                </c:pt>
                <c:pt idx="401">
                  <c:v>0.99</c:v>
                </c:pt>
                <c:pt idx="402">
                  <c:v>1</c:v>
                </c:pt>
                <c:pt idx="403">
                  <c:v>0.96</c:v>
                </c:pt>
                <c:pt idx="404">
                  <c:v>0.94</c:v>
                </c:pt>
                <c:pt idx="405">
                  <c:v>0.92</c:v>
                </c:pt>
                <c:pt idx="406">
                  <c:v>1</c:v>
                </c:pt>
                <c:pt idx="407">
                  <c:v>1</c:v>
                </c:pt>
                <c:pt idx="408">
                  <c:v>0.94</c:v>
                </c:pt>
                <c:pt idx="409">
                  <c:v>0.52</c:v>
                </c:pt>
                <c:pt idx="410">
                  <c:v>0.93</c:v>
                </c:pt>
                <c:pt idx="411">
                  <c:v>1</c:v>
                </c:pt>
                <c:pt idx="412">
                  <c:v>1</c:v>
                </c:pt>
                <c:pt idx="413">
                  <c:v>0.98</c:v>
                </c:pt>
                <c:pt idx="414">
                  <c:v>1</c:v>
                </c:pt>
                <c:pt idx="415">
                  <c:v>0.92</c:v>
                </c:pt>
                <c:pt idx="416">
                  <c:v>1</c:v>
                </c:pt>
                <c:pt idx="417">
                  <c:v>0.86</c:v>
                </c:pt>
                <c:pt idx="418">
                  <c:v>1</c:v>
                </c:pt>
                <c:pt idx="419">
                  <c:v>1</c:v>
                </c:pt>
                <c:pt idx="420">
                  <c:v>0.99</c:v>
                </c:pt>
                <c:pt idx="421">
                  <c:v>0.92</c:v>
                </c:pt>
                <c:pt idx="422">
                  <c:v>0.99</c:v>
                </c:pt>
                <c:pt idx="423">
                  <c:v>0.85</c:v>
                </c:pt>
                <c:pt idx="424">
                  <c:v>0.96</c:v>
                </c:pt>
                <c:pt idx="425">
                  <c:v>0.99</c:v>
                </c:pt>
                <c:pt idx="426">
                  <c:v>0.97</c:v>
                </c:pt>
                <c:pt idx="427">
                  <c:v>1</c:v>
                </c:pt>
                <c:pt idx="428">
                  <c:v>0.99</c:v>
                </c:pt>
                <c:pt idx="429">
                  <c:v>0.95</c:v>
                </c:pt>
                <c:pt idx="430">
                  <c:v>0.92</c:v>
                </c:pt>
                <c:pt idx="431">
                  <c:v>0.9</c:v>
                </c:pt>
                <c:pt idx="432">
                  <c:v>1</c:v>
                </c:pt>
                <c:pt idx="433">
                  <c:v>0.88</c:v>
                </c:pt>
                <c:pt idx="434">
                  <c:v>1</c:v>
                </c:pt>
                <c:pt idx="435">
                  <c:v>0.98</c:v>
                </c:pt>
                <c:pt idx="436">
                  <c:v>1</c:v>
                </c:pt>
                <c:pt idx="437">
                  <c:v>1</c:v>
                </c:pt>
                <c:pt idx="438">
                  <c:v>0.96</c:v>
                </c:pt>
                <c:pt idx="439">
                  <c:v>1</c:v>
                </c:pt>
                <c:pt idx="440">
                  <c:v>0.99</c:v>
                </c:pt>
                <c:pt idx="441">
                  <c:v>1</c:v>
                </c:pt>
                <c:pt idx="442">
                  <c:v>0.99</c:v>
                </c:pt>
                <c:pt idx="443">
                  <c:v>0.84</c:v>
                </c:pt>
                <c:pt idx="444">
                  <c:v>1</c:v>
                </c:pt>
                <c:pt idx="445">
                  <c:v>0.9</c:v>
                </c:pt>
                <c:pt idx="446">
                  <c:v>0.93</c:v>
                </c:pt>
                <c:pt idx="447">
                  <c:v>0.97</c:v>
                </c:pt>
                <c:pt idx="448">
                  <c:v>0.6</c:v>
                </c:pt>
                <c:pt idx="449">
                  <c:v>0.99</c:v>
                </c:pt>
                <c:pt idx="450">
                  <c:v>0.99</c:v>
                </c:pt>
                <c:pt idx="451">
                  <c:v>0.9</c:v>
                </c:pt>
                <c:pt idx="452">
                  <c:v>0.99</c:v>
                </c:pt>
                <c:pt idx="453">
                  <c:v>0.9</c:v>
                </c:pt>
                <c:pt idx="454">
                  <c:v>0.92</c:v>
                </c:pt>
                <c:pt idx="455">
                  <c:v>0.82</c:v>
                </c:pt>
                <c:pt idx="456">
                  <c:v>1</c:v>
                </c:pt>
                <c:pt idx="457">
                  <c:v>0.87</c:v>
                </c:pt>
                <c:pt idx="458">
                  <c:v>0.7</c:v>
                </c:pt>
                <c:pt idx="459">
                  <c:v>0.91</c:v>
                </c:pt>
                <c:pt idx="460">
                  <c:v>0.85</c:v>
                </c:pt>
                <c:pt idx="461">
                  <c:v>0.9</c:v>
                </c:pt>
                <c:pt idx="462">
                  <c:v>0.89</c:v>
                </c:pt>
                <c:pt idx="463">
                  <c:v>1</c:v>
                </c:pt>
                <c:pt idx="464">
                  <c:v>0.87</c:v>
                </c:pt>
                <c:pt idx="465">
                  <c:v>0.9</c:v>
                </c:pt>
                <c:pt idx="466">
                  <c:v>0.98</c:v>
                </c:pt>
                <c:pt idx="467">
                  <c:v>0.99</c:v>
                </c:pt>
                <c:pt idx="468">
                  <c:v>0.05</c:v>
                </c:pt>
                <c:pt idx="469">
                  <c:v>0.95</c:v>
                </c:pt>
                <c:pt idx="470">
                  <c:v>0.79</c:v>
                </c:pt>
                <c:pt idx="471">
                  <c:v>0.54</c:v>
                </c:pt>
                <c:pt idx="472">
                  <c:v>0.81</c:v>
                </c:pt>
                <c:pt idx="473">
                  <c:v>1</c:v>
                </c:pt>
                <c:pt idx="474">
                  <c:v>0.93</c:v>
                </c:pt>
                <c:pt idx="475">
                  <c:v>0.94</c:v>
                </c:pt>
                <c:pt idx="476">
                  <c:v>0.69</c:v>
                </c:pt>
                <c:pt idx="477">
                  <c:v>0.88</c:v>
                </c:pt>
                <c:pt idx="478">
                  <c:v>0.99</c:v>
                </c:pt>
                <c:pt idx="479">
                  <c:v>0.74</c:v>
                </c:pt>
                <c:pt idx="480">
                  <c:v>0.97</c:v>
                </c:pt>
                <c:pt idx="481">
                  <c:v>0.9</c:v>
                </c:pt>
                <c:pt idx="482">
                  <c:v>0.93</c:v>
                </c:pt>
                <c:pt idx="483">
                  <c:v>1</c:v>
                </c:pt>
                <c:pt idx="484">
                  <c:v>0.96</c:v>
                </c:pt>
                <c:pt idx="485">
                  <c:v>1</c:v>
                </c:pt>
                <c:pt idx="486">
                  <c:v>0.84</c:v>
                </c:pt>
                <c:pt idx="487">
                  <c:v>0.98</c:v>
                </c:pt>
                <c:pt idx="488">
                  <c:v>0.93</c:v>
                </c:pt>
                <c:pt idx="489">
                  <c:v>0.95</c:v>
                </c:pt>
                <c:pt idx="490">
                  <c:v>1</c:v>
                </c:pt>
                <c:pt idx="491">
                  <c:v>0.93</c:v>
                </c:pt>
                <c:pt idx="492">
                  <c:v>0.57999999999999996</c:v>
                </c:pt>
                <c:pt idx="493">
                  <c:v>0.97</c:v>
                </c:pt>
                <c:pt idx="494">
                  <c:v>1</c:v>
                </c:pt>
                <c:pt idx="495">
                  <c:v>0.97</c:v>
                </c:pt>
                <c:pt idx="496">
                  <c:v>0.97</c:v>
                </c:pt>
                <c:pt idx="497">
                  <c:v>0.88</c:v>
                </c:pt>
                <c:pt idx="498">
                  <c:v>0.87</c:v>
                </c:pt>
                <c:pt idx="499">
                  <c:v>0.95</c:v>
                </c:pt>
                <c:pt idx="500">
                  <c:v>1</c:v>
                </c:pt>
                <c:pt idx="501">
                  <c:v>0.94</c:v>
                </c:pt>
                <c:pt idx="502">
                  <c:v>0.99</c:v>
                </c:pt>
                <c:pt idx="503">
                  <c:v>0.97</c:v>
                </c:pt>
                <c:pt idx="504">
                  <c:v>0.97</c:v>
                </c:pt>
                <c:pt idx="505">
                  <c:v>0.88</c:v>
                </c:pt>
                <c:pt idx="506">
                  <c:v>0.98</c:v>
                </c:pt>
                <c:pt idx="507">
                  <c:v>0.77</c:v>
                </c:pt>
                <c:pt idx="508">
                  <c:v>0.98</c:v>
                </c:pt>
                <c:pt idx="509">
                  <c:v>0.74</c:v>
                </c:pt>
                <c:pt idx="510">
                  <c:v>0.97</c:v>
                </c:pt>
                <c:pt idx="511">
                  <c:v>0.98</c:v>
                </c:pt>
                <c:pt idx="512">
                  <c:v>0.82</c:v>
                </c:pt>
                <c:pt idx="513">
                  <c:v>0.87</c:v>
                </c:pt>
                <c:pt idx="514">
                  <c:v>0.97</c:v>
                </c:pt>
                <c:pt idx="515">
                  <c:v>0.98</c:v>
                </c:pt>
                <c:pt idx="516">
                  <c:v>0.55000000000000004</c:v>
                </c:pt>
                <c:pt idx="517">
                  <c:v>0.89</c:v>
                </c:pt>
                <c:pt idx="518">
                  <c:v>0.98</c:v>
                </c:pt>
                <c:pt idx="519">
                  <c:v>1</c:v>
                </c:pt>
                <c:pt idx="520">
                  <c:v>1</c:v>
                </c:pt>
                <c:pt idx="521">
                  <c:v>0.67</c:v>
                </c:pt>
                <c:pt idx="522">
                  <c:v>0.99</c:v>
                </c:pt>
                <c:pt idx="523">
                  <c:v>0.99</c:v>
                </c:pt>
                <c:pt idx="524">
                  <c:v>0.98</c:v>
                </c:pt>
                <c:pt idx="525">
                  <c:v>0.73</c:v>
                </c:pt>
                <c:pt idx="526">
                  <c:v>0.92</c:v>
                </c:pt>
                <c:pt idx="527">
                  <c:v>0.94</c:v>
                </c:pt>
                <c:pt idx="528">
                  <c:v>0.83</c:v>
                </c:pt>
                <c:pt idx="529">
                  <c:v>0.97</c:v>
                </c:pt>
                <c:pt idx="530">
                  <c:v>0.73</c:v>
                </c:pt>
                <c:pt idx="531">
                  <c:v>0.95</c:v>
                </c:pt>
                <c:pt idx="532">
                  <c:v>0.94</c:v>
                </c:pt>
                <c:pt idx="533">
                  <c:v>0.93</c:v>
                </c:pt>
                <c:pt idx="534">
                  <c:v>0.93</c:v>
                </c:pt>
                <c:pt idx="535">
                  <c:v>0.95</c:v>
                </c:pt>
                <c:pt idx="536">
                  <c:v>0.95</c:v>
                </c:pt>
                <c:pt idx="537">
                  <c:v>0.88</c:v>
                </c:pt>
                <c:pt idx="538">
                  <c:v>0.36</c:v>
                </c:pt>
                <c:pt idx="539">
                  <c:v>1</c:v>
                </c:pt>
                <c:pt idx="540">
                  <c:v>0.75</c:v>
                </c:pt>
                <c:pt idx="541">
                  <c:v>0.33</c:v>
                </c:pt>
                <c:pt idx="542">
                  <c:v>0.97</c:v>
                </c:pt>
                <c:pt idx="543">
                  <c:v>0.99</c:v>
                </c:pt>
                <c:pt idx="544">
                  <c:v>0.16</c:v>
                </c:pt>
                <c:pt idx="545">
                  <c:v>0.94</c:v>
                </c:pt>
                <c:pt idx="546">
                  <c:v>0.99</c:v>
                </c:pt>
                <c:pt idx="547">
                  <c:v>0.51</c:v>
                </c:pt>
                <c:pt idx="548">
                  <c:v>0.52</c:v>
                </c:pt>
                <c:pt idx="549">
                  <c:v>0.96</c:v>
                </c:pt>
                <c:pt idx="550">
                  <c:v>0.85</c:v>
                </c:pt>
                <c:pt idx="551">
                  <c:v>0.93</c:v>
                </c:pt>
                <c:pt idx="552">
                  <c:v>0.79</c:v>
                </c:pt>
                <c:pt idx="553">
                  <c:v>0.81</c:v>
                </c:pt>
                <c:pt idx="554">
                  <c:v>0.79</c:v>
                </c:pt>
                <c:pt idx="555">
                  <c:v>0.99</c:v>
                </c:pt>
                <c:pt idx="556">
                  <c:v>0.56999999999999995</c:v>
                </c:pt>
                <c:pt idx="557">
                  <c:v>0.89</c:v>
                </c:pt>
                <c:pt idx="558">
                  <c:v>0.63</c:v>
                </c:pt>
                <c:pt idx="559">
                  <c:v>0.93</c:v>
                </c:pt>
                <c:pt idx="560">
                  <c:v>0.99</c:v>
                </c:pt>
                <c:pt idx="561">
                  <c:v>0.85</c:v>
                </c:pt>
                <c:pt idx="562">
                  <c:v>0.49</c:v>
                </c:pt>
                <c:pt idx="563">
                  <c:v>0.91</c:v>
                </c:pt>
                <c:pt idx="564">
                  <c:v>0.97</c:v>
                </c:pt>
                <c:pt idx="565">
                  <c:v>0.7</c:v>
                </c:pt>
                <c:pt idx="566">
                  <c:v>0.93</c:v>
                </c:pt>
                <c:pt idx="567">
                  <c:v>0.92</c:v>
                </c:pt>
                <c:pt idx="568">
                  <c:v>0.99</c:v>
                </c:pt>
                <c:pt idx="569">
                  <c:v>0.83</c:v>
                </c:pt>
                <c:pt idx="570">
                  <c:v>1</c:v>
                </c:pt>
                <c:pt idx="571">
                  <c:v>0.91</c:v>
                </c:pt>
                <c:pt idx="572">
                  <c:v>1</c:v>
                </c:pt>
                <c:pt idx="573">
                  <c:v>0.62</c:v>
                </c:pt>
                <c:pt idx="574">
                  <c:v>0.71</c:v>
                </c:pt>
                <c:pt idx="575">
                  <c:v>1</c:v>
                </c:pt>
                <c:pt idx="576">
                  <c:v>0.87</c:v>
                </c:pt>
                <c:pt idx="577">
                  <c:v>0.97</c:v>
                </c:pt>
                <c:pt idx="578">
                  <c:v>0.95</c:v>
                </c:pt>
                <c:pt idx="579">
                  <c:v>0.92</c:v>
                </c:pt>
                <c:pt idx="580">
                  <c:v>0.96</c:v>
                </c:pt>
                <c:pt idx="581">
                  <c:v>0.96</c:v>
                </c:pt>
                <c:pt idx="582">
                  <c:v>0.95</c:v>
                </c:pt>
                <c:pt idx="583">
                  <c:v>0.88</c:v>
                </c:pt>
                <c:pt idx="584">
                  <c:v>1</c:v>
                </c:pt>
                <c:pt idx="585">
                  <c:v>0.77</c:v>
                </c:pt>
                <c:pt idx="586">
                  <c:v>0.93</c:v>
                </c:pt>
                <c:pt idx="587">
                  <c:v>0.93</c:v>
                </c:pt>
                <c:pt idx="588">
                  <c:v>0.88</c:v>
                </c:pt>
                <c:pt idx="589">
                  <c:v>0.86</c:v>
                </c:pt>
                <c:pt idx="590">
                  <c:v>0.95</c:v>
                </c:pt>
                <c:pt idx="591">
                  <c:v>0.96</c:v>
                </c:pt>
                <c:pt idx="592">
                  <c:v>0.56000000000000005</c:v>
                </c:pt>
                <c:pt idx="593">
                  <c:v>0.96</c:v>
                </c:pt>
                <c:pt idx="594">
                  <c:v>0.86</c:v>
                </c:pt>
                <c:pt idx="595">
                  <c:v>0.4</c:v>
                </c:pt>
                <c:pt idx="596">
                  <c:v>0.97</c:v>
                </c:pt>
                <c:pt idx="597">
                  <c:v>0.77</c:v>
                </c:pt>
                <c:pt idx="598">
                  <c:v>0.97</c:v>
                </c:pt>
                <c:pt idx="599">
                  <c:v>0.85</c:v>
                </c:pt>
                <c:pt idx="600">
                  <c:v>0.92</c:v>
                </c:pt>
                <c:pt idx="601">
                  <c:v>0.96</c:v>
                </c:pt>
                <c:pt idx="602">
                  <c:v>0.96</c:v>
                </c:pt>
                <c:pt idx="603">
                  <c:v>0.88</c:v>
                </c:pt>
                <c:pt idx="604">
                  <c:v>0.84</c:v>
                </c:pt>
                <c:pt idx="605">
                  <c:v>0.96</c:v>
                </c:pt>
                <c:pt idx="606">
                  <c:v>0.63</c:v>
                </c:pt>
                <c:pt idx="607">
                  <c:v>0.88</c:v>
                </c:pt>
                <c:pt idx="608">
                  <c:v>0.85</c:v>
                </c:pt>
                <c:pt idx="609">
                  <c:v>0.91</c:v>
                </c:pt>
                <c:pt idx="610">
                  <c:v>0.99</c:v>
                </c:pt>
                <c:pt idx="611">
                  <c:v>0.73</c:v>
                </c:pt>
                <c:pt idx="612">
                  <c:v>0.97</c:v>
                </c:pt>
                <c:pt idx="613">
                  <c:v>0.86</c:v>
                </c:pt>
                <c:pt idx="614">
                  <c:v>0.22</c:v>
                </c:pt>
                <c:pt idx="615">
                  <c:v>0.75</c:v>
                </c:pt>
                <c:pt idx="616">
                  <c:v>0.95</c:v>
                </c:pt>
                <c:pt idx="617">
                  <c:v>0.83</c:v>
                </c:pt>
                <c:pt idx="618">
                  <c:v>0.87</c:v>
                </c:pt>
                <c:pt idx="619">
                  <c:v>0.99</c:v>
                </c:pt>
                <c:pt idx="620">
                  <c:v>0.78</c:v>
                </c:pt>
                <c:pt idx="621">
                  <c:v>0.79</c:v>
                </c:pt>
                <c:pt idx="622">
                  <c:v>0.97</c:v>
                </c:pt>
                <c:pt idx="623">
                  <c:v>0.92</c:v>
                </c:pt>
                <c:pt idx="624">
                  <c:v>1</c:v>
                </c:pt>
                <c:pt idx="625">
                  <c:v>0.96</c:v>
                </c:pt>
                <c:pt idx="626">
                  <c:v>0.79</c:v>
                </c:pt>
                <c:pt idx="627">
                  <c:v>0.57999999999999996</c:v>
                </c:pt>
                <c:pt idx="628">
                  <c:v>0.94</c:v>
                </c:pt>
                <c:pt idx="629">
                  <c:v>0.67</c:v>
                </c:pt>
                <c:pt idx="630">
                  <c:v>0.71</c:v>
                </c:pt>
                <c:pt idx="631">
                  <c:v>0.9</c:v>
                </c:pt>
                <c:pt idx="632">
                  <c:v>0.73</c:v>
                </c:pt>
                <c:pt idx="633">
                  <c:v>0.81</c:v>
                </c:pt>
                <c:pt idx="634">
                  <c:v>0.99</c:v>
                </c:pt>
                <c:pt idx="635">
                  <c:v>0.75</c:v>
                </c:pt>
                <c:pt idx="636">
                  <c:v>0.63</c:v>
                </c:pt>
                <c:pt idx="637">
                  <c:v>0.95</c:v>
                </c:pt>
                <c:pt idx="638">
                  <c:v>0.66</c:v>
                </c:pt>
                <c:pt idx="639">
                  <c:v>0.83</c:v>
                </c:pt>
                <c:pt idx="640">
                  <c:v>0.87</c:v>
                </c:pt>
                <c:pt idx="641">
                  <c:v>0.84</c:v>
                </c:pt>
                <c:pt idx="642">
                  <c:v>0.94</c:v>
                </c:pt>
                <c:pt idx="643">
                  <c:v>0.87</c:v>
                </c:pt>
                <c:pt idx="644">
                  <c:v>0.95</c:v>
                </c:pt>
                <c:pt idx="645">
                  <c:v>0.94</c:v>
                </c:pt>
                <c:pt idx="646">
                  <c:v>0.89</c:v>
                </c:pt>
                <c:pt idx="647">
                  <c:v>0.93</c:v>
                </c:pt>
                <c:pt idx="648">
                  <c:v>0.69</c:v>
                </c:pt>
                <c:pt idx="649">
                  <c:v>0.99</c:v>
                </c:pt>
                <c:pt idx="650">
                  <c:v>0.86</c:v>
                </c:pt>
                <c:pt idx="651">
                  <c:v>0.34</c:v>
                </c:pt>
                <c:pt idx="652">
                  <c:v>0.48</c:v>
                </c:pt>
                <c:pt idx="653">
                  <c:v>0.96</c:v>
                </c:pt>
                <c:pt idx="654">
                  <c:v>0.89</c:v>
                </c:pt>
                <c:pt idx="655">
                  <c:v>0.36</c:v>
                </c:pt>
                <c:pt idx="656">
                  <c:v>0.53</c:v>
                </c:pt>
                <c:pt idx="657">
                  <c:v>0.91</c:v>
                </c:pt>
                <c:pt idx="658">
                  <c:v>0.93</c:v>
                </c:pt>
                <c:pt idx="659">
                  <c:v>0.06</c:v>
                </c:pt>
                <c:pt idx="660">
                  <c:v>0.82</c:v>
                </c:pt>
                <c:pt idx="661">
                  <c:v>0.89</c:v>
                </c:pt>
                <c:pt idx="662">
                  <c:v>0.57999999999999996</c:v>
                </c:pt>
                <c:pt idx="663">
                  <c:v>0.88</c:v>
                </c:pt>
                <c:pt idx="664">
                  <c:v>0.83</c:v>
                </c:pt>
                <c:pt idx="665">
                  <c:v>0.92</c:v>
                </c:pt>
                <c:pt idx="666">
                  <c:v>0.89</c:v>
                </c:pt>
                <c:pt idx="667">
                  <c:v>0.65</c:v>
                </c:pt>
                <c:pt idx="668">
                  <c:v>0.77</c:v>
                </c:pt>
                <c:pt idx="669">
                  <c:v>0.56999999999999995</c:v>
                </c:pt>
                <c:pt idx="670">
                  <c:v>0.71</c:v>
                </c:pt>
                <c:pt idx="671">
                  <c:v>0.81</c:v>
                </c:pt>
                <c:pt idx="672">
                  <c:v>0.23</c:v>
                </c:pt>
                <c:pt idx="673">
                  <c:v>0.87</c:v>
                </c:pt>
                <c:pt idx="674">
                  <c:v>0.83</c:v>
                </c:pt>
                <c:pt idx="675">
                  <c:v>0.79</c:v>
                </c:pt>
                <c:pt idx="676">
                  <c:v>0.87</c:v>
                </c:pt>
                <c:pt idx="677">
                  <c:v>0.94</c:v>
                </c:pt>
                <c:pt idx="678">
                  <c:v>0.55000000000000004</c:v>
                </c:pt>
                <c:pt idx="679">
                  <c:v>0.82</c:v>
                </c:pt>
                <c:pt idx="680">
                  <c:v>0.45</c:v>
                </c:pt>
                <c:pt idx="681">
                  <c:v>0.59</c:v>
                </c:pt>
                <c:pt idx="682">
                  <c:v>0.94</c:v>
                </c:pt>
                <c:pt idx="683">
                  <c:v>0.73</c:v>
                </c:pt>
                <c:pt idx="684">
                  <c:v>0.78</c:v>
                </c:pt>
                <c:pt idx="685">
                  <c:v>0.84</c:v>
                </c:pt>
                <c:pt idx="686">
                  <c:v>0.95</c:v>
                </c:pt>
                <c:pt idx="687">
                  <c:v>0.84</c:v>
                </c:pt>
                <c:pt idx="688">
                  <c:v>0.95</c:v>
                </c:pt>
                <c:pt idx="689">
                  <c:v>0.99</c:v>
                </c:pt>
                <c:pt idx="690">
                  <c:v>0.99</c:v>
                </c:pt>
                <c:pt idx="691">
                  <c:v>0.97</c:v>
                </c:pt>
                <c:pt idx="692">
                  <c:v>0.76</c:v>
                </c:pt>
                <c:pt idx="693">
                  <c:v>0.96</c:v>
                </c:pt>
                <c:pt idx="694">
                  <c:v>0.95</c:v>
                </c:pt>
                <c:pt idx="695">
                  <c:v>0.88</c:v>
                </c:pt>
                <c:pt idx="696">
                  <c:v>0.93</c:v>
                </c:pt>
                <c:pt idx="697">
                  <c:v>0.89</c:v>
                </c:pt>
                <c:pt idx="698">
                  <c:v>0.93</c:v>
                </c:pt>
                <c:pt idx="699">
                  <c:v>0.81</c:v>
                </c:pt>
                <c:pt idx="700">
                  <c:v>0.94</c:v>
                </c:pt>
                <c:pt idx="701">
                  <c:v>0.88</c:v>
                </c:pt>
                <c:pt idx="702">
                  <c:v>0.18</c:v>
                </c:pt>
                <c:pt idx="703">
                  <c:v>0.91</c:v>
                </c:pt>
                <c:pt idx="704">
                  <c:v>0.97</c:v>
                </c:pt>
                <c:pt idx="705">
                  <c:v>0.91</c:v>
                </c:pt>
                <c:pt idx="706">
                  <c:v>0.61</c:v>
                </c:pt>
                <c:pt idx="707">
                  <c:v>0.95</c:v>
                </c:pt>
                <c:pt idx="708">
                  <c:v>0.94</c:v>
                </c:pt>
                <c:pt idx="709">
                  <c:v>0.9</c:v>
                </c:pt>
                <c:pt idx="710">
                  <c:v>0.84</c:v>
                </c:pt>
                <c:pt idx="711">
                  <c:v>0.94</c:v>
                </c:pt>
                <c:pt idx="712">
                  <c:v>0.88</c:v>
                </c:pt>
                <c:pt idx="713">
                  <c:v>0.96</c:v>
                </c:pt>
                <c:pt idx="714">
                  <c:v>0.75</c:v>
                </c:pt>
                <c:pt idx="715">
                  <c:v>0.76</c:v>
                </c:pt>
                <c:pt idx="716">
                  <c:v>0.93</c:v>
                </c:pt>
                <c:pt idx="717">
                  <c:v>0.76</c:v>
                </c:pt>
                <c:pt idx="718">
                  <c:v>0.86</c:v>
                </c:pt>
                <c:pt idx="719">
                  <c:v>0.39</c:v>
                </c:pt>
                <c:pt idx="720">
                  <c:v>0.82</c:v>
                </c:pt>
                <c:pt idx="721">
                  <c:v>0.7</c:v>
                </c:pt>
                <c:pt idx="722">
                  <c:v>0.76</c:v>
                </c:pt>
                <c:pt idx="723">
                  <c:v>0.74</c:v>
                </c:pt>
                <c:pt idx="724">
                  <c:v>0.93</c:v>
                </c:pt>
                <c:pt idx="725">
                  <c:v>0.1</c:v>
                </c:pt>
                <c:pt idx="726">
                  <c:v>0.78</c:v>
                </c:pt>
                <c:pt idx="727">
                  <c:v>0.97</c:v>
                </c:pt>
                <c:pt idx="728">
                  <c:v>0.81</c:v>
                </c:pt>
                <c:pt idx="729">
                  <c:v>0.97</c:v>
                </c:pt>
                <c:pt idx="730">
                  <c:v>0.98</c:v>
                </c:pt>
                <c:pt idx="731">
                  <c:v>0.6</c:v>
                </c:pt>
                <c:pt idx="732">
                  <c:v>0.94</c:v>
                </c:pt>
                <c:pt idx="733">
                  <c:v>0.86</c:v>
                </c:pt>
                <c:pt idx="734">
                  <c:v>0.86</c:v>
                </c:pt>
                <c:pt idx="735">
                  <c:v>0.87</c:v>
                </c:pt>
                <c:pt idx="736">
                  <c:v>0.9</c:v>
                </c:pt>
                <c:pt idx="737">
                  <c:v>0.47</c:v>
                </c:pt>
                <c:pt idx="738">
                  <c:v>0.93</c:v>
                </c:pt>
                <c:pt idx="739">
                  <c:v>0.78</c:v>
                </c:pt>
                <c:pt idx="740">
                  <c:v>0.9</c:v>
                </c:pt>
                <c:pt idx="741">
                  <c:v>0.89</c:v>
                </c:pt>
                <c:pt idx="742">
                  <c:v>0.78</c:v>
                </c:pt>
                <c:pt idx="743">
                  <c:v>0.99</c:v>
                </c:pt>
                <c:pt idx="744">
                  <c:v>0.33</c:v>
                </c:pt>
                <c:pt idx="745">
                  <c:v>0.99</c:v>
                </c:pt>
                <c:pt idx="746">
                  <c:v>0.28000000000000003</c:v>
                </c:pt>
                <c:pt idx="747">
                  <c:v>0.99</c:v>
                </c:pt>
                <c:pt idx="748">
                  <c:v>0.76</c:v>
                </c:pt>
                <c:pt idx="749">
                  <c:v>0.73</c:v>
                </c:pt>
                <c:pt idx="750">
                  <c:v>7.0000000000000007E-2</c:v>
                </c:pt>
                <c:pt idx="751">
                  <c:v>0.39</c:v>
                </c:pt>
                <c:pt idx="752">
                  <c:v>0.15</c:v>
                </c:pt>
                <c:pt idx="753">
                  <c:v>0.76</c:v>
                </c:pt>
                <c:pt idx="754">
                  <c:v>0.36</c:v>
                </c:pt>
                <c:pt idx="755">
                  <c:v>0.74</c:v>
                </c:pt>
                <c:pt idx="756">
                  <c:v>0.84</c:v>
                </c:pt>
                <c:pt idx="757">
                  <c:v>0.94</c:v>
                </c:pt>
                <c:pt idx="758">
                  <c:v>0.96</c:v>
                </c:pt>
                <c:pt idx="759">
                  <c:v>0.74</c:v>
                </c:pt>
                <c:pt idx="760">
                  <c:v>0.82</c:v>
                </c:pt>
                <c:pt idx="761">
                  <c:v>0.64</c:v>
                </c:pt>
                <c:pt idx="762">
                  <c:v>0.88</c:v>
                </c:pt>
                <c:pt idx="763">
                  <c:v>0.16</c:v>
                </c:pt>
                <c:pt idx="764">
                  <c:v>0.96</c:v>
                </c:pt>
                <c:pt idx="765">
                  <c:v>0.96</c:v>
                </c:pt>
                <c:pt idx="766">
                  <c:v>0.79</c:v>
                </c:pt>
                <c:pt idx="767">
                  <c:v>0.91</c:v>
                </c:pt>
                <c:pt idx="768">
                  <c:v>0.94</c:v>
                </c:pt>
                <c:pt idx="769">
                  <c:v>0.59</c:v>
                </c:pt>
                <c:pt idx="770">
                  <c:v>0.3</c:v>
                </c:pt>
                <c:pt idx="771">
                  <c:v>0.57999999999999996</c:v>
                </c:pt>
                <c:pt idx="772">
                  <c:v>0.59</c:v>
                </c:pt>
                <c:pt idx="773">
                  <c:v>1</c:v>
                </c:pt>
                <c:pt idx="774">
                  <c:v>0.27</c:v>
                </c:pt>
                <c:pt idx="775">
                  <c:v>0.73</c:v>
                </c:pt>
                <c:pt idx="776">
                  <c:v>0.61</c:v>
                </c:pt>
                <c:pt idx="777">
                  <c:v>0.15</c:v>
                </c:pt>
                <c:pt idx="778">
                  <c:v>0.53</c:v>
                </c:pt>
                <c:pt idx="779">
                  <c:v>0.17</c:v>
                </c:pt>
                <c:pt idx="780">
                  <c:v>0.88</c:v>
                </c:pt>
                <c:pt idx="781">
                  <c:v>0.93</c:v>
                </c:pt>
                <c:pt idx="782">
                  <c:v>0.49</c:v>
                </c:pt>
                <c:pt idx="783">
                  <c:v>0.78</c:v>
                </c:pt>
                <c:pt idx="784">
                  <c:v>0.82</c:v>
                </c:pt>
                <c:pt idx="785">
                  <c:v>0.93</c:v>
                </c:pt>
                <c:pt idx="786">
                  <c:v>0.55000000000000004</c:v>
                </c:pt>
                <c:pt idx="787">
                  <c:v>0.92</c:v>
                </c:pt>
                <c:pt idx="788">
                  <c:v>0.8</c:v>
                </c:pt>
                <c:pt idx="789">
                  <c:v>0.7</c:v>
                </c:pt>
                <c:pt idx="790">
                  <c:v>0.57999999999999996</c:v>
                </c:pt>
                <c:pt idx="791">
                  <c:v>0.89</c:v>
                </c:pt>
                <c:pt idx="792">
                  <c:v>0.69</c:v>
                </c:pt>
                <c:pt idx="793">
                  <c:v>0.96</c:v>
                </c:pt>
                <c:pt idx="794">
                  <c:v>0.69</c:v>
                </c:pt>
                <c:pt idx="795">
                  <c:v>0.77</c:v>
                </c:pt>
                <c:pt idx="796">
                  <c:v>0.79</c:v>
                </c:pt>
                <c:pt idx="797">
                  <c:v>0.8</c:v>
                </c:pt>
                <c:pt idx="798">
                  <c:v>0.47</c:v>
                </c:pt>
                <c:pt idx="799">
                  <c:v>0.19</c:v>
                </c:pt>
                <c:pt idx="800">
                  <c:v>0.7</c:v>
                </c:pt>
                <c:pt idx="801">
                  <c:v>0.85</c:v>
                </c:pt>
                <c:pt idx="802">
                  <c:v>0.78</c:v>
                </c:pt>
                <c:pt idx="803">
                  <c:v>0.82</c:v>
                </c:pt>
                <c:pt idx="804">
                  <c:v>0.71</c:v>
                </c:pt>
                <c:pt idx="805">
                  <c:v>0.65</c:v>
                </c:pt>
                <c:pt idx="806">
                  <c:v>0.8</c:v>
                </c:pt>
                <c:pt idx="807">
                  <c:v>0.82</c:v>
                </c:pt>
                <c:pt idx="808">
                  <c:v>0.73</c:v>
                </c:pt>
                <c:pt idx="809">
                  <c:v>0.22</c:v>
                </c:pt>
                <c:pt idx="810">
                  <c:v>0.9</c:v>
                </c:pt>
                <c:pt idx="811">
                  <c:v>0.83</c:v>
                </c:pt>
                <c:pt idx="812">
                  <c:v>0.12</c:v>
                </c:pt>
                <c:pt idx="813">
                  <c:v>0.73</c:v>
                </c:pt>
                <c:pt idx="814">
                  <c:v>0.95</c:v>
                </c:pt>
                <c:pt idx="815">
                  <c:v>0.33</c:v>
                </c:pt>
                <c:pt idx="816">
                  <c:v>0.67</c:v>
                </c:pt>
                <c:pt idx="817">
                  <c:v>0.84</c:v>
                </c:pt>
                <c:pt idx="818">
                  <c:v>0.1</c:v>
                </c:pt>
                <c:pt idx="819">
                  <c:v>0.06</c:v>
                </c:pt>
                <c:pt idx="820">
                  <c:v>0.16</c:v>
                </c:pt>
                <c:pt idx="821">
                  <c:v>0.11</c:v>
                </c:pt>
                <c:pt idx="822">
                  <c:v>0.43</c:v>
                </c:pt>
                <c:pt idx="823">
                  <c:v>0.86</c:v>
                </c:pt>
                <c:pt idx="824">
                  <c:v>0.82</c:v>
                </c:pt>
                <c:pt idx="825">
                  <c:v>0.8</c:v>
                </c:pt>
                <c:pt idx="826">
                  <c:v>0.79</c:v>
                </c:pt>
                <c:pt idx="827">
                  <c:v>0.62</c:v>
                </c:pt>
                <c:pt idx="828">
                  <c:v>0.81</c:v>
                </c:pt>
                <c:pt idx="829">
                  <c:v>0.99</c:v>
                </c:pt>
                <c:pt idx="830">
                  <c:v>0.87</c:v>
                </c:pt>
                <c:pt idx="831">
                  <c:v>0.92</c:v>
                </c:pt>
                <c:pt idx="832">
                  <c:v>0.36</c:v>
                </c:pt>
                <c:pt idx="833">
                  <c:v>0.15</c:v>
                </c:pt>
                <c:pt idx="834">
                  <c:v>0.51</c:v>
                </c:pt>
                <c:pt idx="835">
                  <c:v>0.25</c:v>
                </c:pt>
                <c:pt idx="836">
                  <c:v>0.2</c:v>
                </c:pt>
                <c:pt idx="837">
                  <c:v>0.35</c:v>
                </c:pt>
                <c:pt idx="838">
                  <c:v>0.72</c:v>
                </c:pt>
                <c:pt idx="839">
                  <c:v>0.86</c:v>
                </c:pt>
                <c:pt idx="840">
                  <c:v>0.99</c:v>
                </c:pt>
                <c:pt idx="841">
                  <c:v>0.88</c:v>
                </c:pt>
                <c:pt idx="842">
                  <c:v>0.56000000000000005</c:v>
                </c:pt>
                <c:pt idx="843">
                  <c:v>0.93</c:v>
                </c:pt>
                <c:pt idx="844">
                  <c:v>0.86</c:v>
                </c:pt>
                <c:pt idx="845">
                  <c:v>0.44</c:v>
                </c:pt>
                <c:pt idx="846">
                  <c:v>0.63</c:v>
                </c:pt>
                <c:pt idx="847">
                  <c:v>0.91</c:v>
                </c:pt>
                <c:pt idx="848">
                  <c:v>0.89</c:v>
                </c:pt>
                <c:pt idx="849">
                  <c:v>0.16</c:v>
                </c:pt>
                <c:pt idx="850">
                  <c:v>0.89</c:v>
                </c:pt>
                <c:pt idx="851">
                  <c:v>0.13</c:v>
                </c:pt>
                <c:pt idx="852">
                  <c:v>0.41</c:v>
                </c:pt>
                <c:pt idx="853">
                  <c:v>0.77</c:v>
                </c:pt>
                <c:pt idx="854">
                  <c:v>0.77</c:v>
                </c:pt>
                <c:pt idx="855">
                  <c:v>0.92</c:v>
                </c:pt>
                <c:pt idx="856">
                  <c:v>0.78</c:v>
                </c:pt>
                <c:pt idx="857">
                  <c:v>0.83</c:v>
                </c:pt>
                <c:pt idx="858">
                  <c:v>0.82</c:v>
                </c:pt>
                <c:pt idx="859">
                  <c:v>0.96</c:v>
                </c:pt>
                <c:pt idx="860">
                  <c:v>0.31</c:v>
                </c:pt>
                <c:pt idx="861">
                  <c:v>0.82</c:v>
                </c:pt>
                <c:pt idx="862">
                  <c:v>0.8</c:v>
                </c:pt>
                <c:pt idx="863">
                  <c:v>0.67</c:v>
                </c:pt>
                <c:pt idx="864">
                  <c:v>0.34</c:v>
                </c:pt>
                <c:pt idx="865">
                  <c:v>0.93</c:v>
                </c:pt>
                <c:pt idx="866">
                  <c:v>0.62</c:v>
                </c:pt>
                <c:pt idx="867">
                  <c:v>0.69</c:v>
                </c:pt>
                <c:pt idx="868">
                  <c:v>0.72</c:v>
                </c:pt>
                <c:pt idx="869">
                  <c:v>0.32</c:v>
                </c:pt>
                <c:pt idx="870">
                  <c:v>0.81</c:v>
                </c:pt>
                <c:pt idx="871">
                  <c:v>0.89</c:v>
                </c:pt>
                <c:pt idx="872">
                  <c:v>0.66</c:v>
                </c:pt>
                <c:pt idx="873">
                  <c:v>0.41</c:v>
                </c:pt>
                <c:pt idx="874">
                  <c:v>0.87</c:v>
                </c:pt>
                <c:pt idx="875">
                  <c:v>0.14000000000000001</c:v>
                </c:pt>
                <c:pt idx="876">
                  <c:v>0.96</c:v>
                </c:pt>
                <c:pt idx="877">
                  <c:v>0.79</c:v>
                </c:pt>
                <c:pt idx="878">
                  <c:v>0.71</c:v>
                </c:pt>
                <c:pt idx="879">
                  <c:v>0.55000000000000004</c:v>
                </c:pt>
                <c:pt idx="880">
                  <c:v>0.86</c:v>
                </c:pt>
                <c:pt idx="881">
                  <c:v>0.01</c:v>
                </c:pt>
                <c:pt idx="882">
                  <c:v>0.56999999999999995</c:v>
                </c:pt>
                <c:pt idx="883">
                  <c:v>0.75</c:v>
                </c:pt>
                <c:pt idx="884">
                  <c:v>0.01</c:v>
                </c:pt>
                <c:pt idx="885">
                  <c:v>0.71</c:v>
                </c:pt>
                <c:pt idx="886">
                  <c:v>0.74</c:v>
                </c:pt>
                <c:pt idx="887">
                  <c:v>0.71</c:v>
                </c:pt>
                <c:pt idx="888">
                  <c:v>0.25</c:v>
                </c:pt>
                <c:pt idx="889">
                  <c:v>0.09</c:v>
                </c:pt>
                <c:pt idx="890">
                  <c:v>0.73</c:v>
                </c:pt>
                <c:pt idx="891">
                  <c:v>0.8</c:v>
                </c:pt>
                <c:pt idx="892">
                  <c:v>0.64</c:v>
                </c:pt>
                <c:pt idx="893">
                  <c:v>0.64</c:v>
                </c:pt>
                <c:pt idx="894">
                  <c:v>0.72</c:v>
                </c:pt>
                <c:pt idx="895">
                  <c:v>0.59</c:v>
                </c:pt>
                <c:pt idx="896">
                  <c:v>0.33</c:v>
                </c:pt>
                <c:pt idx="897">
                  <c:v>0.41</c:v>
                </c:pt>
                <c:pt idx="898">
                  <c:v>0.77</c:v>
                </c:pt>
                <c:pt idx="899">
                  <c:v>0.51</c:v>
                </c:pt>
                <c:pt idx="900">
                  <c:v>0.76</c:v>
                </c:pt>
                <c:pt idx="901">
                  <c:v>0.93</c:v>
                </c:pt>
                <c:pt idx="902">
                  <c:v>0.14000000000000001</c:v>
                </c:pt>
                <c:pt idx="903">
                  <c:v>0.85</c:v>
                </c:pt>
                <c:pt idx="904">
                  <c:v>0.26</c:v>
                </c:pt>
                <c:pt idx="905">
                  <c:v>0.67</c:v>
                </c:pt>
                <c:pt idx="906">
                  <c:v>0.15</c:v>
                </c:pt>
                <c:pt idx="907">
                  <c:v>0.53</c:v>
                </c:pt>
                <c:pt idx="908">
                  <c:v>0.91</c:v>
                </c:pt>
                <c:pt idx="909">
                  <c:v>0.16</c:v>
                </c:pt>
                <c:pt idx="910">
                  <c:v>0.68</c:v>
                </c:pt>
                <c:pt idx="911">
                  <c:v>0.16</c:v>
                </c:pt>
                <c:pt idx="912">
                  <c:v>0.84</c:v>
                </c:pt>
                <c:pt idx="913">
                  <c:v>0.8</c:v>
                </c:pt>
                <c:pt idx="914">
                  <c:v>0.79</c:v>
                </c:pt>
                <c:pt idx="915">
                  <c:v>0.4</c:v>
                </c:pt>
                <c:pt idx="916">
                  <c:v>0.54</c:v>
                </c:pt>
                <c:pt idx="917">
                  <c:v>0.42</c:v>
                </c:pt>
                <c:pt idx="918">
                  <c:v>0.88</c:v>
                </c:pt>
                <c:pt idx="919">
                  <c:v>0.55000000000000004</c:v>
                </c:pt>
                <c:pt idx="920">
                  <c:v>0.08</c:v>
                </c:pt>
                <c:pt idx="921">
                  <c:v>0.9</c:v>
                </c:pt>
                <c:pt idx="922">
                  <c:v>0.71</c:v>
                </c:pt>
                <c:pt idx="923">
                  <c:v>0.7</c:v>
                </c:pt>
                <c:pt idx="924">
                  <c:v>0.68</c:v>
                </c:pt>
                <c:pt idx="925">
                  <c:v>0.3</c:v>
                </c:pt>
                <c:pt idx="926">
                  <c:v>0.03</c:v>
                </c:pt>
                <c:pt idx="927">
                  <c:v>0.42</c:v>
                </c:pt>
                <c:pt idx="928">
                  <c:v>0.9</c:v>
                </c:pt>
                <c:pt idx="929">
                  <c:v>0.45</c:v>
                </c:pt>
                <c:pt idx="930">
                  <c:v>0.94</c:v>
                </c:pt>
                <c:pt idx="931">
                  <c:v>0.86</c:v>
                </c:pt>
                <c:pt idx="932">
                  <c:v>0.6</c:v>
                </c:pt>
                <c:pt idx="933">
                  <c:v>0.89</c:v>
                </c:pt>
                <c:pt idx="934">
                  <c:v>0.38</c:v>
                </c:pt>
                <c:pt idx="935">
                  <c:v>0.85</c:v>
                </c:pt>
                <c:pt idx="936">
                  <c:v>0.3</c:v>
                </c:pt>
                <c:pt idx="937">
                  <c:v>0.88</c:v>
                </c:pt>
                <c:pt idx="938">
                  <c:v>0.64</c:v>
                </c:pt>
                <c:pt idx="939">
                  <c:v>0.3</c:v>
                </c:pt>
                <c:pt idx="940">
                  <c:v>0.84</c:v>
                </c:pt>
                <c:pt idx="941">
                  <c:v>0.74</c:v>
                </c:pt>
                <c:pt idx="942">
                  <c:v>0.18</c:v>
                </c:pt>
                <c:pt idx="943">
                  <c:v>0.36</c:v>
                </c:pt>
                <c:pt idx="944">
                  <c:v>0.22</c:v>
                </c:pt>
                <c:pt idx="945">
                  <c:v>0.54</c:v>
                </c:pt>
                <c:pt idx="946">
                  <c:v>0.22</c:v>
                </c:pt>
                <c:pt idx="947">
                  <c:v>0.16</c:v>
                </c:pt>
                <c:pt idx="948">
                  <c:v>0.93</c:v>
                </c:pt>
                <c:pt idx="949">
                  <c:v>0.53</c:v>
                </c:pt>
                <c:pt idx="950">
                  <c:v>0.11</c:v>
                </c:pt>
                <c:pt idx="951">
                  <c:v>0.61</c:v>
                </c:pt>
                <c:pt idx="952">
                  <c:v>0.14000000000000001</c:v>
                </c:pt>
                <c:pt idx="953">
                  <c:v>0.31</c:v>
                </c:pt>
                <c:pt idx="954">
                  <c:v>0.21</c:v>
                </c:pt>
                <c:pt idx="955">
                  <c:v>0.06</c:v>
                </c:pt>
                <c:pt idx="956">
                  <c:v>0.67</c:v>
                </c:pt>
                <c:pt idx="957">
                  <c:v>0.85</c:v>
                </c:pt>
                <c:pt idx="958">
                  <c:v>0.74</c:v>
                </c:pt>
                <c:pt idx="959">
                  <c:v>0.62</c:v>
                </c:pt>
                <c:pt idx="960">
                  <c:v>0.7</c:v>
                </c:pt>
                <c:pt idx="961">
                  <c:v>0.33</c:v>
                </c:pt>
                <c:pt idx="962">
                  <c:v>0.64</c:v>
                </c:pt>
                <c:pt idx="963">
                  <c:v>0.14000000000000001</c:v>
                </c:pt>
                <c:pt idx="964">
                  <c:v>0.42</c:v>
                </c:pt>
                <c:pt idx="965">
                  <c:v>0.72</c:v>
                </c:pt>
                <c:pt idx="966">
                  <c:v>0.62</c:v>
                </c:pt>
                <c:pt idx="967">
                  <c:v>0.7</c:v>
                </c:pt>
                <c:pt idx="968">
                  <c:v>0.59</c:v>
                </c:pt>
                <c:pt idx="969">
                  <c:v>0.6</c:v>
                </c:pt>
                <c:pt idx="970">
                  <c:v>0.27</c:v>
                </c:pt>
                <c:pt idx="971">
                  <c:v>0.41</c:v>
                </c:pt>
                <c:pt idx="972">
                  <c:v>0.14000000000000001</c:v>
                </c:pt>
                <c:pt idx="973">
                  <c:v>0.01</c:v>
                </c:pt>
                <c:pt idx="974">
                  <c:v>0.23</c:v>
                </c:pt>
                <c:pt idx="975">
                  <c:v>0.19</c:v>
                </c:pt>
                <c:pt idx="976">
                  <c:v>0.05</c:v>
                </c:pt>
                <c:pt idx="977">
                  <c:v>0.21</c:v>
                </c:pt>
                <c:pt idx="978">
                  <c:v>0.22</c:v>
                </c:pt>
                <c:pt idx="979">
                  <c:v>0.7</c:v>
                </c:pt>
                <c:pt idx="980">
                  <c:v>0.09</c:v>
                </c:pt>
                <c:pt idx="981">
                  <c:v>0.45</c:v>
                </c:pt>
                <c:pt idx="982">
                  <c:v>0.15</c:v>
                </c:pt>
                <c:pt idx="983">
                  <c:v>0.3</c:v>
                </c:pt>
                <c:pt idx="984">
                  <c:v>0.52</c:v>
                </c:pt>
                <c:pt idx="985">
                  <c:v>0.18</c:v>
                </c:pt>
                <c:pt idx="986">
                  <c:v>0.25</c:v>
                </c:pt>
                <c:pt idx="987">
                  <c:v>0.41</c:v>
                </c:pt>
                <c:pt idx="988">
                  <c:v>0.08</c:v>
                </c:pt>
                <c:pt idx="989">
                  <c:v>0.77</c:v>
                </c:pt>
                <c:pt idx="990">
                  <c:v>0.25</c:v>
                </c:pt>
                <c:pt idx="991">
                  <c:v>0.36</c:v>
                </c:pt>
                <c:pt idx="992">
                  <c:v>0.16</c:v>
                </c:pt>
                <c:pt idx="993">
                  <c:v>0.15</c:v>
                </c:pt>
                <c:pt idx="994">
                  <c:v>0.64</c:v>
                </c:pt>
                <c:pt idx="995">
                  <c:v>0.95</c:v>
                </c:pt>
                <c:pt idx="996">
                  <c:v>0.78</c:v>
                </c:pt>
                <c:pt idx="997">
                  <c:v>0.66</c:v>
                </c:pt>
                <c:pt idx="998">
                  <c:v>0.33</c:v>
                </c:pt>
                <c:pt idx="999">
                  <c:v>0.09</c:v>
                </c:pt>
                <c:pt idx="1000">
                  <c:v>0.15</c:v>
                </c:pt>
                <c:pt idx="1001">
                  <c:v>0.43</c:v>
                </c:pt>
                <c:pt idx="1002">
                  <c:v>0.7</c:v>
                </c:pt>
                <c:pt idx="1003">
                  <c:v>0.54</c:v>
                </c:pt>
                <c:pt idx="1004">
                  <c:v>0.56000000000000005</c:v>
                </c:pt>
                <c:pt idx="1005">
                  <c:v>0.45</c:v>
                </c:pt>
                <c:pt idx="1006">
                  <c:v>0.86</c:v>
                </c:pt>
                <c:pt idx="1007">
                  <c:v>0.61</c:v>
                </c:pt>
                <c:pt idx="1008">
                  <c:v>0.09</c:v>
                </c:pt>
                <c:pt idx="1009">
                  <c:v>0.59</c:v>
                </c:pt>
                <c:pt idx="1010">
                  <c:v>0.92</c:v>
                </c:pt>
                <c:pt idx="1011">
                  <c:v>0.16</c:v>
                </c:pt>
                <c:pt idx="1012">
                  <c:v>0.15</c:v>
                </c:pt>
                <c:pt idx="1013">
                  <c:v>0.76</c:v>
                </c:pt>
                <c:pt idx="1014">
                  <c:v>0.45</c:v>
                </c:pt>
                <c:pt idx="1015">
                  <c:v>0.72</c:v>
                </c:pt>
                <c:pt idx="1016">
                  <c:v>0.09</c:v>
                </c:pt>
                <c:pt idx="1017">
                  <c:v>0.69</c:v>
                </c:pt>
                <c:pt idx="1018">
                  <c:v>0.21</c:v>
                </c:pt>
                <c:pt idx="1019">
                  <c:v>0.62</c:v>
                </c:pt>
                <c:pt idx="1020">
                  <c:v>0.44</c:v>
                </c:pt>
                <c:pt idx="1021">
                  <c:v>0.77</c:v>
                </c:pt>
                <c:pt idx="1022">
                  <c:v>0.77</c:v>
                </c:pt>
                <c:pt idx="1023">
                  <c:v>0.19</c:v>
                </c:pt>
                <c:pt idx="1024">
                  <c:v>0.25</c:v>
                </c:pt>
                <c:pt idx="1025">
                  <c:v>0.16</c:v>
                </c:pt>
                <c:pt idx="1026">
                  <c:v>0.68</c:v>
                </c:pt>
                <c:pt idx="1027">
                  <c:v>0.06</c:v>
                </c:pt>
                <c:pt idx="1028">
                  <c:v>0.5</c:v>
                </c:pt>
                <c:pt idx="1029">
                  <c:v>0.59</c:v>
                </c:pt>
                <c:pt idx="1030">
                  <c:v>0.81</c:v>
                </c:pt>
                <c:pt idx="1031">
                  <c:v>0.52</c:v>
                </c:pt>
                <c:pt idx="1032">
                  <c:v>0.02</c:v>
                </c:pt>
                <c:pt idx="1033">
                  <c:v>0.6</c:v>
                </c:pt>
                <c:pt idx="1034">
                  <c:v>0.69</c:v>
                </c:pt>
                <c:pt idx="1035">
                  <c:v>0.39</c:v>
                </c:pt>
                <c:pt idx="1036">
                  <c:v>0.09</c:v>
                </c:pt>
                <c:pt idx="1037">
                  <c:v>0.7</c:v>
                </c:pt>
                <c:pt idx="1038">
                  <c:v>0.17</c:v>
                </c:pt>
                <c:pt idx="1039">
                  <c:v>0.53</c:v>
                </c:pt>
                <c:pt idx="1040">
                  <c:v>0.13</c:v>
                </c:pt>
                <c:pt idx="1041">
                  <c:v>0.62</c:v>
                </c:pt>
                <c:pt idx="1042">
                  <c:v>0.16</c:v>
                </c:pt>
                <c:pt idx="1043">
                  <c:v>0.32</c:v>
                </c:pt>
                <c:pt idx="1044">
                  <c:v>0.69</c:v>
                </c:pt>
                <c:pt idx="1045">
                  <c:v>0.28000000000000003</c:v>
                </c:pt>
                <c:pt idx="1046">
                  <c:v>0.08</c:v>
                </c:pt>
                <c:pt idx="1047">
                  <c:v>0.73</c:v>
                </c:pt>
                <c:pt idx="1048">
                  <c:v>0.26</c:v>
                </c:pt>
                <c:pt idx="1049">
                  <c:v>0.11</c:v>
                </c:pt>
                <c:pt idx="1050">
                  <c:v>0.64</c:v>
                </c:pt>
                <c:pt idx="1051">
                  <c:v>0.41</c:v>
                </c:pt>
                <c:pt idx="1052">
                  <c:v>0.7</c:v>
                </c:pt>
                <c:pt idx="1053">
                  <c:v>0.12</c:v>
                </c:pt>
                <c:pt idx="1054">
                  <c:v>0.77</c:v>
                </c:pt>
                <c:pt idx="1055">
                  <c:v>0.57999999999999996</c:v>
                </c:pt>
                <c:pt idx="1056">
                  <c:v>0.11</c:v>
                </c:pt>
                <c:pt idx="1057">
                  <c:v>0.76</c:v>
                </c:pt>
                <c:pt idx="1058">
                  <c:v>0.28999999999999998</c:v>
                </c:pt>
                <c:pt idx="1059">
                  <c:v>0.31</c:v>
                </c:pt>
                <c:pt idx="1060">
                  <c:v>0.55000000000000004</c:v>
                </c:pt>
                <c:pt idx="1061">
                  <c:v>0.11</c:v>
                </c:pt>
                <c:pt idx="1062">
                  <c:v>0.79</c:v>
                </c:pt>
                <c:pt idx="1063">
                  <c:v>0.13</c:v>
                </c:pt>
                <c:pt idx="1064">
                  <c:v>0.21</c:v>
                </c:pt>
                <c:pt idx="1065">
                  <c:v>0.32</c:v>
                </c:pt>
                <c:pt idx="1066">
                  <c:v>0.67</c:v>
                </c:pt>
                <c:pt idx="1067">
                  <c:v>0.6</c:v>
                </c:pt>
                <c:pt idx="1068">
                  <c:v>0.13</c:v>
                </c:pt>
                <c:pt idx="1069">
                  <c:v>0.17</c:v>
                </c:pt>
                <c:pt idx="1070">
                  <c:v>0.82</c:v>
                </c:pt>
                <c:pt idx="1071">
                  <c:v>0.22</c:v>
                </c:pt>
                <c:pt idx="1072">
                  <c:v>0.8</c:v>
                </c:pt>
                <c:pt idx="1073">
                  <c:v>0.09</c:v>
                </c:pt>
                <c:pt idx="1074">
                  <c:v>0.18</c:v>
                </c:pt>
                <c:pt idx="1075">
                  <c:v>0.36</c:v>
                </c:pt>
                <c:pt idx="1076">
                  <c:v>0.83</c:v>
                </c:pt>
                <c:pt idx="1077">
                  <c:v>0.34</c:v>
                </c:pt>
                <c:pt idx="1078">
                  <c:v>0.01</c:v>
                </c:pt>
                <c:pt idx="1079">
                  <c:v>0.68</c:v>
                </c:pt>
                <c:pt idx="1080">
                  <c:v>0.5</c:v>
                </c:pt>
                <c:pt idx="1081">
                  <c:v>0.47</c:v>
                </c:pt>
                <c:pt idx="1082">
                  <c:v>0.78</c:v>
                </c:pt>
                <c:pt idx="1083">
                  <c:v>0.79</c:v>
                </c:pt>
                <c:pt idx="1084">
                  <c:v>0.4</c:v>
                </c:pt>
                <c:pt idx="1085">
                  <c:v>0.52</c:v>
                </c:pt>
                <c:pt idx="1086">
                  <c:v>7.0000000000000007E-2</c:v>
                </c:pt>
                <c:pt idx="1087">
                  <c:v>0.9</c:v>
                </c:pt>
                <c:pt idx="1088">
                  <c:v>0.15</c:v>
                </c:pt>
                <c:pt idx="1089">
                  <c:v>0.39</c:v>
                </c:pt>
                <c:pt idx="1090">
                  <c:v>0.76</c:v>
                </c:pt>
                <c:pt idx="1091">
                  <c:v>0.16</c:v>
                </c:pt>
                <c:pt idx="1092">
                  <c:v>0.21</c:v>
                </c:pt>
                <c:pt idx="1093">
                  <c:v>0.72</c:v>
                </c:pt>
                <c:pt idx="1094">
                  <c:v>0.6</c:v>
                </c:pt>
                <c:pt idx="1095">
                  <c:v>0.56000000000000005</c:v>
                </c:pt>
                <c:pt idx="1096">
                  <c:v>0.12</c:v>
                </c:pt>
                <c:pt idx="1097">
                  <c:v>0.53</c:v>
                </c:pt>
                <c:pt idx="1098">
                  <c:v>0.14000000000000001</c:v>
                </c:pt>
                <c:pt idx="1099">
                  <c:v>0.66</c:v>
                </c:pt>
                <c:pt idx="1100">
                  <c:v>0.31</c:v>
                </c:pt>
                <c:pt idx="1101">
                  <c:v>0.59</c:v>
                </c:pt>
                <c:pt idx="1102">
                  <c:v>0.73</c:v>
                </c:pt>
                <c:pt idx="1103">
                  <c:v>0.79</c:v>
                </c:pt>
                <c:pt idx="1104">
                  <c:v>0.53</c:v>
                </c:pt>
                <c:pt idx="1105">
                  <c:v>0.05</c:v>
                </c:pt>
                <c:pt idx="1106">
                  <c:v>0.06</c:v>
                </c:pt>
                <c:pt idx="1107">
                  <c:v>0.16</c:v>
                </c:pt>
                <c:pt idx="1108">
                  <c:v>0.45</c:v>
                </c:pt>
                <c:pt idx="1109">
                  <c:v>0.1</c:v>
                </c:pt>
                <c:pt idx="1110">
                  <c:v>0.1</c:v>
                </c:pt>
                <c:pt idx="1111">
                  <c:v>0.63</c:v>
                </c:pt>
                <c:pt idx="1112">
                  <c:v>0.09</c:v>
                </c:pt>
                <c:pt idx="1113">
                  <c:v>0.66</c:v>
                </c:pt>
                <c:pt idx="1114">
                  <c:v>0.39</c:v>
                </c:pt>
                <c:pt idx="1115">
                  <c:v>0.36</c:v>
                </c:pt>
                <c:pt idx="1116">
                  <c:v>0.23</c:v>
                </c:pt>
                <c:pt idx="1117">
                  <c:v>0.01</c:v>
                </c:pt>
                <c:pt idx="1118">
                  <c:v>0.15</c:v>
                </c:pt>
                <c:pt idx="1119">
                  <c:v>0.83</c:v>
                </c:pt>
                <c:pt idx="1120">
                  <c:v>0.08</c:v>
                </c:pt>
                <c:pt idx="1121">
                  <c:v>0.48</c:v>
                </c:pt>
                <c:pt idx="1122">
                  <c:v>0.24</c:v>
                </c:pt>
                <c:pt idx="1123">
                  <c:v>0.92</c:v>
                </c:pt>
                <c:pt idx="1124">
                  <c:v>0.32</c:v>
                </c:pt>
                <c:pt idx="1125">
                  <c:v>0.43</c:v>
                </c:pt>
                <c:pt idx="1126">
                  <c:v>0.16</c:v>
                </c:pt>
                <c:pt idx="1127">
                  <c:v>0.72</c:v>
                </c:pt>
                <c:pt idx="1128">
                  <c:v>0.23</c:v>
                </c:pt>
                <c:pt idx="1129">
                  <c:v>0.2</c:v>
                </c:pt>
                <c:pt idx="1130">
                  <c:v>0.27</c:v>
                </c:pt>
                <c:pt idx="1131">
                  <c:v>0.44</c:v>
                </c:pt>
                <c:pt idx="1132">
                  <c:v>0.06</c:v>
                </c:pt>
                <c:pt idx="1133">
                  <c:v>0.32</c:v>
                </c:pt>
                <c:pt idx="1134">
                  <c:v>0.26</c:v>
                </c:pt>
                <c:pt idx="1135">
                  <c:v>0.53</c:v>
                </c:pt>
                <c:pt idx="1136">
                  <c:v>0.04</c:v>
                </c:pt>
                <c:pt idx="1137">
                  <c:v>0.39</c:v>
                </c:pt>
                <c:pt idx="1138">
                  <c:v>0.65</c:v>
                </c:pt>
                <c:pt idx="1139">
                  <c:v>0.73</c:v>
                </c:pt>
                <c:pt idx="1140">
                  <c:v>0.14000000000000001</c:v>
                </c:pt>
                <c:pt idx="1141">
                  <c:v>0.09</c:v>
                </c:pt>
                <c:pt idx="1142">
                  <c:v>0.85</c:v>
                </c:pt>
                <c:pt idx="1143">
                  <c:v>0.15</c:v>
                </c:pt>
                <c:pt idx="1144">
                  <c:v>0.22</c:v>
                </c:pt>
                <c:pt idx="1145">
                  <c:v>0.36</c:v>
                </c:pt>
                <c:pt idx="1146">
                  <c:v>0.55000000000000004</c:v>
                </c:pt>
                <c:pt idx="1147">
                  <c:v>0.4</c:v>
                </c:pt>
                <c:pt idx="1148">
                  <c:v>0.25</c:v>
                </c:pt>
                <c:pt idx="1149">
                  <c:v>0.38</c:v>
                </c:pt>
                <c:pt idx="1150">
                  <c:v>0.14000000000000001</c:v>
                </c:pt>
                <c:pt idx="1151">
                  <c:v>0.08</c:v>
                </c:pt>
                <c:pt idx="1152">
                  <c:v>0.72</c:v>
                </c:pt>
                <c:pt idx="1153">
                  <c:v>7.0000000000000007E-2</c:v>
                </c:pt>
                <c:pt idx="1154">
                  <c:v>0.56999999999999995</c:v>
                </c:pt>
                <c:pt idx="1155">
                  <c:v>0.15</c:v>
                </c:pt>
                <c:pt idx="1156">
                  <c:v>0.16</c:v>
                </c:pt>
                <c:pt idx="1157">
                  <c:v>0.01</c:v>
                </c:pt>
                <c:pt idx="1158">
                  <c:v>0.11</c:v>
                </c:pt>
                <c:pt idx="1159">
                  <c:v>0.16</c:v>
                </c:pt>
                <c:pt idx="1160">
                  <c:v>0.9</c:v>
                </c:pt>
                <c:pt idx="1161">
                  <c:v>0.01</c:v>
                </c:pt>
                <c:pt idx="1162">
                  <c:v>0.14000000000000001</c:v>
                </c:pt>
                <c:pt idx="1163">
                  <c:v>0.31</c:v>
                </c:pt>
                <c:pt idx="1164">
                  <c:v>0.22</c:v>
                </c:pt>
                <c:pt idx="1165">
                  <c:v>0.92</c:v>
                </c:pt>
                <c:pt idx="1166">
                  <c:v>0.44</c:v>
                </c:pt>
                <c:pt idx="1167">
                  <c:v>0.05</c:v>
                </c:pt>
                <c:pt idx="1168">
                  <c:v>0.09</c:v>
                </c:pt>
                <c:pt idx="1169">
                  <c:v>0.01</c:v>
                </c:pt>
                <c:pt idx="1170">
                  <c:v>0.43</c:v>
                </c:pt>
                <c:pt idx="1171">
                  <c:v>0.45</c:v>
                </c:pt>
                <c:pt idx="1172">
                  <c:v>0.37</c:v>
                </c:pt>
                <c:pt idx="1173">
                  <c:v>0.48</c:v>
                </c:pt>
                <c:pt idx="1174">
                  <c:v>0.28999999999999998</c:v>
                </c:pt>
                <c:pt idx="1175">
                  <c:v>0.16</c:v>
                </c:pt>
                <c:pt idx="1176">
                  <c:v>0.49</c:v>
                </c:pt>
                <c:pt idx="1177">
                  <c:v>0.8</c:v>
                </c:pt>
                <c:pt idx="1178">
                  <c:v>0.15</c:v>
                </c:pt>
                <c:pt idx="1179">
                  <c:v>0.05</c:v>
                </c:pt>
                <c:pt idx="1180">
                  <c:v>0.03</c:v>
                </c:pt>
                <c:pt idx="1181">
                  <c:v>0.56999999999999995</c:v>
                </c:pt>
                <c:pt idx="1182">
                  <c:v>0.21</c:v>
                </c:pt>
                <c:pt idx="1183">
                  <c:v>0.24</c:v>
                </c:pt>
                <c:pt idx="1184">
                  <c:v>0.69</c:v>
                </c:pt>
                <c:pt idx="1185">
                  <c:v>0.16</c:v>
                </c:pt>
                <c:pt idx="1186">
                  <c:v>0.35</c:v>
                </c:pt>
                <c:pt idx="1187">
                  <c:v>0.21</c:v>
                </c:pt>
                <c:pt idx="1188">
                  <c:v>0.06</c:v>
                </c:pt>
                <c:pt idx="1189">
                  <c:v>0.12</c:v>
                </c:pt>
                <c:pt idx="1190">
                  <c:v>0.5</c:v>
                </c:pt>
                <c:pt idx="1191">
                  <c:v>0.41</c:v>
                </c:pt>
                <c:pt idx="1192">
                  <c:v>0.05</c:v>
                </c:pt>
                <c:pt idx="1193">
                  <c:v>0.05</c:v>
                </c:pt>
                <c:pt idx="1194">
                  <c:v>0.67</c:v>
                </c:pt>
                <c:pt idx="1195">
                  <c:v>0.09</c:v>
                </c:pt>
                <c:pt idx="1196">
                  <c:v>0.16</c:v>
                </c:pt>
                <c:pt idx="1197">
                  <c:v>0.64</c:v>
                </c:pt>
                <c:pt idx="1198">
                  <c:v>0.09</c:v>
                </c:pt>
                <c:pt idx="1199">
                  <c:v>0.01</c:v>
                </c:pt>
                <c:pt idx="1200">
                  <c:v>0.31</c:v>
                </c:pt>
                <c:pt idx="1201">
                  <c:v>0.47</c:v>
                </c:pt>
                <c:pt idx="1202">
                  <c:v>0.57999999999999996</c:v>
                </c:pt>
                <c:pt idx="1203">
                  <c:v>0.54</c:v>
                </c:pt>
                <c:pt idx="1204">
                  <c:v>0.01</c:v>
                </c:pt>
                <c:pt idx="1205">
                  <c:v>0.11</c:v>
                </c:pt>
                <c:pt idx="1206">
                  <c:v>0.21</c:v>
                </c:pt>
                <c:pt idx="1207">
                  <c:v>0.62</c:v>
                </c:pt>
                <c:pt idx="1208">
                  <c:v>0.1</c:v>
                </c:pt>
                <c:pt idx="1209">
                  <c:v>0.03</c:v>
                </c:pt>
                <c:pt idx="1210">
                  <c:v>0.03</c:v>
                </c:pt>
                <c:pt idx="1211">
                  <c:v>0.22</c:v>
                </c:pt>
                <c:pt idx="1212">
                  <c:v>0.61</c:v>
                </c:pt>
                <c:pt idx="1213">
                  <c:v>0.05</c:v>
                </c:pt>
                <c:pt idx="1214">
                  <c:v>0.14000000000000001</c:v>
                </c:pt>
                <c:pt idx="1215">
                  <c:v>0.05</c:v>
                </c:pt>
                <c:pt idx="1216">
                  <c:v>0.43</c:v>
                </c:pt>
                <c:pt idx="1217">
                  <c:v>0.12</c:v>
                </c:pt>
                <c:pt idx="1218">
                  <c:v>0.32</c:v>
                </c:pt>
                <c:pt idx="1219">
                  <c:v>0.16</c:v>
                </c:pt>
                <c:pt idx="1220">
                  <c:v>0.27</c:v>
                </c:pt>
                <c:pt idx="1221">
                  <c:v>0.32</c:v>
                </c:pt>
                <c:pt idx="1222">
                  <c:v>0.1</c:v>
                </c:pt>
                <c:pt idx="1223">
                  <c:v>0.53</c:v>
                </c:pt>
                <c:pt idx="1224">
                  <c:v>0.36</c:v>
                </c:pt>
                <c:pt idx="1225">
                  <c:v>0.68</c:v>
                </c:pt>
                <c:pt idx="1226">
                  <c:v>0.12</c:v>
                </c:pt>
                <c:pt idx="1227">
                  <c:v>0.06</c:v>
                </c:pt>
                <c:pt idx="1228">
                  <c:v>0.05</c:v>
                </c:pt>
                <c:pt idx="1229">
                  <c:v>0.08</c:v>
                </c:pt>
                <c:pt idx="1230">
                  <c:v>0.23</c:v>
                </c:pt>
                <c:pt idx="1231">
                  <c:v>0.09</c:v>
                </c:pt>
                <c:pt idx="1232">
                  <c:v>0.13</c:v>
                </c:pt>
                <c:pt idx="1233">
                  <c:v>0.12</c:v>
                </c:pt>
                <c:pt idx="1234">
                  <c:v>0.59</c:v>
                </c:pt>
                <c:pt idx="1235">
                  <c:v>0.55000000000000004</c:v>
                </c:pt>
                <c:pt idx="1236">
                  <c:v>0.08</c:v>
                </c:pt>
                <c:pt idx="1237">
                  <c:v>0.14000000000000001</c:v>
                </c:pt>
                <c:pt idx="1238">
                  <c:v>0.04</c:v>
                </c:pt>
                <c:pt idx="1239">
                  <c:v>0.62</c:v>
                </c:pt>
                <c:pt idx="1240">
                  <c:v>0.08</c:v>
                </c:pt>
                <c:pt idx="1241">
                  <c:v>0.83</c:v>
                </c:pt>
                <c:pt idx="1242">
                  <c:v>0.13</c:v>
                </c:pt>
                <c:pt idx="1243">
                  <c:v>0.49</c:v>
                </c:pt>
                <c:pt idx="1244">
                  <c:v>0.23</c:v>
                </c:pt>
                <c:pt idx="1245">
                  <c:v>0.11</c:v>
                </c:pt>
                <c:pt idx="1246">
                  <c:v>0.06</c:v>
                </c:pt>
                <c:pt idx="1247">
                  <c:v>0.16</c:v>
                </c:pt>
                <c:pt idx="1248">
                  <c:v>0.61</c:v>
                </c:pt>
                <c:pt idx="1249">
                  <c:v>0.22</c:v>
                </c:pt>
                <c:pt idx="1250">
                  <c:v>0.64</c:v>
                </c:pt>
                <c:pt idx="1251">
                  <c:v>0.1</c:v>
                </c:pt>
                <c:pt idx="1252">
                  <c:v>0.16</c:v>
                </c:pt>
                <c:pt idx="1253">
                  <c:v>0.56000000000000005</c:v>
                </c:pt>
                <c:pt idx="1254">
                  <c:v>0.04</c:v>
                </c:pt>
                <c:pt idx="1255">
                  <c:v>0.11</c:v>
                </c:pt>
                <c:pt idx="1256">
                  <c:v>0.13</c:v>
                </c:pt>
                <c:pt idx="1257">
                  <c:v>0.65</c:v>
                </c:pt>
                <c:pt idx="1258">
                  <c:v>0.18</c:v>
                </c:pt>
                <c:pt idx="1259">
                  <c:v>0.16</c:v>
                </c:pt>
                <c:pt idx="1260">
                  <c:v>0.02</c:v>
                </c:pt>
                <c:pt idx="1261">
                  <c:v>0.12</c:v>
                </c:pt>
                <c:pt idx="1262">
                  <c:v>0.46</c:v>
                </c:pt>
                <c:pt idx="1263">
                  <c:v>0.28999999999999998</c:v>
                </c:pt>
                <c:pt idx="1264">
                  <c:v>0.47</c:v>
                </c:pt>
                <c:pt idx="1265">
                  <c:v>0.54</c:v>
                </c:pt>
                <c:pt idx="1266">
                  <c:v>0.31</c:v>
                </c:pt>
                <c:pt idx="1267">
                  <c:v>0.02</c:v>
                </c:pt>
                <c:pt idx="1268">
                  <c:v>0.14000000000000001</c:v>
                </c:pt>
                <c:pt idx="1269">
                  <c:v>0.01</c:v>
                </c:pt>
                <c:pt idx="1270">
                  <c:v>0.46</c:v>
                </c:pt>
                <c:pt idx="1271">
                  <c:v>0.2</c:v>
                </c:pt>
                <c:pt idx="1272">
                  <c:v>0.09</c:v>
                </c:pt>
                <c:pt idx="1273">
                  <c:v>0.54</c:v>
                </c:pt>
                <c:pt idx="1274">
                  <c:v>0.11</c:v>
                </c:pt>
                <c:pt idx="1275">
                  <c:v>0.44</c:v>
                </c:pt>
                <c:pt idx="1276">
                  <c:v>0.28999999999999998</c:v>
                </c:pt>
                <c:pt idx="1277">
                  <c:v>0.37</c:v>
                </c:pt>
                <c:pt idx="1278">
                  <c:v>0.06</c:v>
                </c:pt>
                <c:pt idx="1279">
                  <c:v>0.41</c:v>
                </c:pt>
                <c:pt idx="1280">
                  <c:v>0.1</c:v>
                </c:pt>
                <c:pt idx="1281">
                  <c:v>0.1</c:v>
                </c:pt>
                <c:pt idx="1282">
                  <c:v>0.13</c:v>
                </c:pt>
                <c:pt idx="1283">
                  <c:v>0.26</c:v>
                </c:pt>
                <c:pt idx="1284">
                  <c:v>0.3</c:v>
                </c:pt>
                <c:pt idx="1285">
                  <c:v>0.16</c:v>
                </c:pt>
                <c:pt idx="1286">
                  <c:v>0.4</c:v>
                </c:pt>
                <c:pt idx="1287">
                  <c:v>0.72</c:v>
                </c:pt>
                <c:pt idx="1288">
                  <c:v>0.74</c:v>
                </c:pt>
                <c:pt idx="1289">
                  <c:v>0.68</c:v>
                </c:pt>
                <c:pt idx="1290">
                  <c:v>0.16</c:v>
                </c:pt>
                <c:pt idx="1291">
                  <c:v>7.0000000000000007E-2</c:v>
                </c:pt>
                <c:pt idx="1292">
                  <c:v>0.09</c:v>
                </c:pt>
                <c:pt idx="1293">
                  <c:v>0.11</c:v>
                </c:pt>
                <c:pt idx="1294">
                  <c:v>0.3</c:v>
                </c:pt>
                <c:pt idx="1295">
                  <c:v>0.14000000000000001</c:v>
                </c:pt>
                <c:pt idx="1296">
                  <c:v>0.08</c:v>
                </c:pt>
                <c:pt idx="1297">
                  <c:v>0.72</c:v>
                </c:pt>
                <c:pt idx="1298">
                  <c:v>0.59</c:v>
                </c:pt>
                <c:pt idx="1299">
                  <c:v>0.31</c:v>
                </c:pt>
                <c:pt idx="1300">
                  <c:v>0.46</c:v>
                </c:pt>
                <c:pt idx="1301">
                  <c:v>0.02</c:v>
                </c:pt>
                <c:pt idx="1302">
                  <c:v>0.43</c:v>
                </c:pt>
                <c:pt idx="1303">
                  <c:v>0.04</c:v>
                </c:pt>
                <c:pt idx="1304">
                  <c:v>0.08</c:v>
                </c:pt>
                <c:pt idx="1305">
                  <c:v>0.15</c:v>
                </c:pt>
                <c:pt idx="1306">
                  <c:v>0.1</c:v>
                </c:pt>
                <c:pt idx="1307">
                  <c:v>0.21</c:v>
                </c:pt>
                <c:pt idx="1308">
                  <c:v>0.15</c:v>
                </c:pt>
                <c:pt idx="1309">
                  <c:v>0.6</c:v>
                </c:pt>
                <c:pt idx="1310">
                  <c:v>0.31</c:v>
                </c:pt>
                <c:pt idx="1311">
                  <c:v>0.65</c:v>
                </c:pt>
                <c:pt idx="1312">
                  <c:v>0.31</c:v>
                </c:pt>
                <c:pt idx="1313">
                  <c:v>0.02</c:v>
                </c:pt>
                <c:pt idx="1314">
                  <c:v>7.0000000000000007E-2</c:v>
                </c:pt>
                <c:pt idx="1315">
                  <c:v>0.94</c:v>
                </c:pt>
                <c:pt idx="1316">
                  <c:v>0.32</c:v>
                </c:pt>
                <c:pt idx="1317">
                  <c:v>0.69</c:v>
                </c:pt>
                <c:pt idx="1318">
                  <c:v>0.08</c:v>
                </c:pt>
                <c:pt idx="1319">
                  <c:v>0.03</c:v>
                </c:pt>
                <c:pt idx="1320">
                  <c:v>0.1</c:v>
                </c:pt>
                <c:pt idx="1321">
                  <c:v>0.16</c:v>
                </c:pt>
                <c:pt idx="1322">
                  <c:v>0.37</c:v>
                </c:pt>
                <c:pt idx="1323">
                  <c:v>0.11</c:v>
                </c:pt>
                <c:pt idx="1324">
                  <c:v>0.05</c:v>
                </c:pt>
                <c:pt idx="1325">
                  <c:v>0.28000000000000003</c:v>
                </c:pt>
                <c:pt idx="1326">
                  <c:v>0.26</c:v>
                </c:pt>
                <c:pt idx="1327">
                  <c:v>0.14000000000000001</c:v>
                </c:pt>
                <c:pt idx="1328">
                  <c:v>0.15</c:v>
                </c:pt>
                <c:pt idx="1329">
                  <c:v>0.3</c:v>
                </c:pt>
                <c:pt idx="1330">
                  <c:v>0.5</c:v>
                </c:pt>
                <c:pt idx="1331">
                  <c:v>0.53</c:v>
                </c:pt>
                <c:pt idx="1332">
                  <c:v>7.0000000000000007E-2</c:v>
                </c:pt>
                <c:pt idx="1333">
                  <c:v>0.08</c:v>
                </c:pt>
                <c:pt idx="1334">
                  <c:v>0.4</c:v>
                </c:pt>
                <c:pt idx="1335">
                  <c:v>0.06</c:v>
                </c:pt>
                <c:pt idx="1336">
                  <c:v>0.17</c:v>
                </c:pt>
                <c:pt idx="1337">
                  <c:v>0.05</c:v>
                </c:pt>
                <c:pt idx="1338">
                  <c:v>0.09</c:v>
                </c:pt>
                <c:pt idx="1339">
                  <c:v>0.11</c:v>
                </c:pt>
                <c:pt idx="1340">
                  <c:v>0.48</c:v>
                </c:pt>
                <c:pt idx="1341">
                  <c:v>0.08</c:v>
                </c:pt>
                <c:pt idx="1342">
                  <c:v>0.08</c:v>
                </c:pt>
                <c:pt idx="1343">
                  <c:v>0.11</c:v>
                </c:pt>
                <c:pt idx="1344">
                  <c:v>0.5</c:v>
                </c:pt>
                <c:pt idx="1345">
                  <c:v>0.05</c:v>
                </c:pt>
                <c:pt idx="1346">
                  <c:v>0.02</c:v>
                </c:pt>
                <c:pt idx="1347">
                  <c:v>0.4</c:v>
                </c:pt>
                <c:pt idx="1348">
                  <c:v>0.14000000000000001</c:v>
                </c:pt>
                <c:pt idx="1349">
                  <c:v>0.34</c:v>
                </c:pt>
                <c:pt idx="1350">
                  <c:v>0.19</c:v>
                </c:pt>
                <c:pt idx="1351">
                  <c:v>0.27</c:v>
                </c:pt>
                <c:pt idx="1352">
                  <c:v>0.03</c:v>
                </c:pt>
                <c:pt idx="1353">
                  <c:v>0.28000000000000003</c:v>
                </c:pt>
                <c:pt idx="1354">
                  <c:v>7.0000000000000007E-2</c:v>
                </c:pt>
                <c:pt idx="1355">
                  <c:v>0.51</c:v>
                </c:pt>
                <c:pt idx="1356">
                  <c:v>0.12</c:v>
                </c:pt>
                <c:pt idx="1357">
                  <c:v>0.09</c:v>
                </c:pt>
                <c:pt idx="1358">
                  <c:v>0.1</c:v>
                </c:pt>
                <c:pt idx="1359">
                  <c:v>0.72</c:v>
                </c:pt>
                <c:pt idx="1360">
                  <c:v>0.28999999999999998</c:v>
                </c:pt>
                <c:pt idx="1361">
                  <c:v>0.2</c:v>
                </c:pt>
                <c:pt idx="1362">
                  <c:v>0.7</c:v>
                </c:pt>
                <c:pt idx="1363">
                  <c:v>0.21</c:v>
                </c:pt>
                <c:pt idx="1364">
                  <c:v>0.71</c:v>
                </c:pt>
                <c:pt idx="1365">
                  <c:v>0.69</c:v>
                </c:pt>
                <c:pt idx="1366">
                  <c:v>0.69</c:v>
                </c:pt>
                <c:pt idx="1367">
                  <c:v>0.36</c:v>
                </c:pt>
                <c:pt idx="1368">
                  <c:v>0.02</c:v>
                </c:pt>
                <c:pt idx="1369">
                  <c:v>0.57999999999999996</c:v>
                </c:pt>
                <c:pt idx="1370">
                  <c:v>0.08</c:v>
                </c:pt>
                <c:pt idx="1371">
                  <c:v>0.28999999999999998</c:v>
                </c:pt>
                <c:pt idx="1372">
                  <c:v>7.0000000000000007E-2</c:v>
                </c:pt>
                <c:pt idx="1373">
                  <c:v>0.05</c:v>
                </c:pt>
                <c:pt idx="1374">
                  <c:v>0.66</c:v>
                </c:pt>
                <c:pt idx="1375">
                  <c:v>0.1</c:v>
                </c:pt>
                <c:pt idx="1376">
                  <c:v>0.04</c:v>
                </c:pt>
                <c:pt idx="1377">
                  <c:v>0.49</c:v>
                </c:pt>
                <c:pt idx="1378">
                  <c:v>0.4</c:v>
                </c:pt>
                <c:pt idx="1379">
                  <c:v>0.28999999999999998</c:v>
                </c:pt>
                <c:pt idx="1380">
                  <c:v>0.12</c:v>
                </c:pt>
                <c:pt idx="1381">
                  <c:v>0.06</c:v>
                </c:pt>
                <c:pt idx="1382">
                  <c:v>0.04</c:v>
                </c:pt>
                <c:pt idx="1383">
                  <c:v>7.0000000000000007E-2</c:v>
                </c:pt>
                <c:pt idx="1384">
                  <c:v>0.15</c:v>
                </c:pt>
                <c:pt idx="1385">
                  <c:v>0.16</c:v>
                </c:pt>
                <c:pt idx="1386">
                  <c:v>0.05</c:v>
                </c:pt>
                <c:pt idx="1387">
                  <c:v>0.34</c:v>
                </c:pt>
                <c:pt idx="1388">
                  <c:v>0.12</c:v>
                </c:pt>
                <c:pt idx="1389">
                  <c:v>0.06</c:v>
                </c:pt>
                <c:pt idx="1390">
                  <c:v>0.1</c:v>
                </c:pt>
                <c:pt idx="1391">
                  <c:v>0.09</c:v>
                </c:pt>
                <c:pt idx="1392">
                  <c:v>0.56000000000000005</c:v>
                </c:pt>
                <c:pt idx="1393">
                  <c:v>0.1</c:v>
                </c:pt>
                <c:pt idx="1394">
                  <c:v>0.15</c:v>
                </c:pt>
                <c:pt idx="1395">
                  <c:v>0.15</c:v>
                </c:pt>
                <c:pt idx="1396">
                  <c:v>0.05</c:v>
                </c:pt>
                <c:pt idx="1397">
                  <c:v>0.21</c:v>
                </c:pt>
                <c:pt idx="1398">
                  <c:v>0.11</c:v>
                </c:pt>
                <c:pt idx="1399">
                  <c:v>0.2</c:v>
                </c:pt>
                <c:pt idx="1400">
                  <c:v>0.2</c:v>
                </c:pt>
                <c:pt idx="1401">
                  <c:v>0.23</c:v>
                </c:pt>
                <c:pt idx="1402">
                  <c:v>7.0000000000000007E-2</c:v>
                </c:pt>
                <c:pt idx="1403">
                  <c:v>0.02</c:v>
                </c:pt>
                <c:pt idx="1404">
                  <c:v>0.16</c:v>
                </c:pt>
                <c:pt idx="1405">
                  <c:v>0.11</c:v>
                </c:pt>
                <c:pt idx="1406">
                  <c:v>0.08</c:v>
                </c:pt>
                <c:pt idx="1407">
                  <c:v>0.03</c:v>
                </c:pt>
                <c:pt idx="1408">
                  <c:v>0.23</c:v>
                </c:pt>
                <c:pt idx="1409">
                  <c:v>0.08</c:v>
                </c:pt>
                <c:pt idx="1410">
                  <c:v>0.1</c:v>
                </c:pt>
                <c:pt idx="1411">
                  <c:v>0.68</c:v>
                </c:pt>
                <c:pt idx="1412">
                  <c:v>0.17</c:v>
                </c:pt>
                <c:pt idx="1413">
                  <c:v>0.08</c:v>
                </c:pt>
                <c:pt idx="1414">
                  <c:v>0.21</c:v>
                </c:pt>
                <c:pt idx="1415">
                  <c:v>0.02</c:v>
                </c:pt>
                <c:pt idx="1416">
                  <c:v>0.17</c:v>
                </c:pt>
                <c:pt idx="1417">
                  <c:v>0.03</c:v>
                </c:pt>
                <c:pt idx="1418">
                  <c:v>0.77</c:v>
                </c:pt>
                <c:pt idx="1419">
                  <c:v>0.72</c:v>
                </c:pt>
                <c:pt idx="1420">
                  <c:v>0.13</c:v>
                </c:pt>
                <c:pt idx="1421">
                  <c:v>0.2</c:v>
                </c:pt>
                <c:pt idx="1422">
                  <c:v>0.01</c:v>
                </c:pt>
                <c:pt idx="1423">
                  <c:v>0.1</c:v>
                </c:pt>
                <c:pt idx="1424">
                  <c:v>0.05</c:v>
                </c:pt>
                <c:pt idx="1425">
                  <c:v>0.74</c:v>
                </c:pt>
                <c:pt idx="1426">
                  <c:v>0.12</c:v>
                </c:pt>
                <c:pt idx="1427">
                  <c:v>0.08</c:v>
                </c:pt>
                <c:pt idx="1428">
                  <c:v>0.09</c:v>
                </c:pt>
                <c:pt idx="1429">
                  <c:v>0.03</c:v>
                </c:pt>
                <c:pt idx="1430">
                  <c:v>0.02</c:v>
                </c:pt>
                <c:pt idx="1431">
                  <c:v>0.12</c:v>
                </c:pt>
                <c:pt idx="1432">
                  <c:v>0.09</c:v>
                </c:pt>
                <c:pt idx="1433">
                  <c:v>0.06</c:v>
                </c:pt>
                <c:pt idx="1434">
                  <c:v>0.06</c:v>
                </c:pt>
                <c:pt idx="1435">
                  <c:v>0.17</c:v>
                </c:pt>
                <c:pt idx="1436">
                  <c:v>0.01</c:v>
                </c:pt>
                <c:pt idx="1437">
                  <c:v>0.14000000000000001</c:v>
                </c:pt>
                <c:pt idx="1438">
                  <c:v>0.11</c:v>
                </c:pt>
                <c:pt idx="1439">
                  <c:v>0.15</c:v>
                </c:pt>
                <c:pt idx="1440">
                  <c:v>0.09</c:v>
                </c:pt>
                <c:pt idx="1441">
                  <c:v>0.06</c:v>
                </c:pt>
                <c:pt idx="1442">
                  <c:v>0.06</c:v>
                </c:pt>
                <c:pt idx="1443">
                  <c:v>0.02</c:v>
                </c:pt>
                <c:pt idx="1444">
                  <c:v>0.12</c:v>
                </c:pt>
                <c:pt idx="1445">
                  <c:v>0.02</c:v>
                </c:pt>
                <c:pt idx="1446">
                  <c:v>0.25</c:v>
                </c:pt>
                <c:pt idx="1447">
                  <c:v>0.12</c:v>
                </c:pt>
                <c:pt idx="1448">
                  <c:v>0.14000000000000001</c:v>
                </c:pt>
                <c:pt idx="1449">
                  <c:v>0.09</c:v>
                </c:pt>
                <c:pt idx="1450">
                  <c:v>0.09</c:v>
                </c:pt>
                <c:pt idx="1451">
                  <c:v>0.02</c:v>
                </c:pt>
                <c:pt idx="1452">
                  <c:v>0.01</c:v>
                </c:pt>
                <c:pt idx="1453">
                  <c:v>0.09</c:v>
                </c:pt>
                <c:pt idx="1454">
                  <c:v>0.01</c:v>
                </c:pt>
                <c:pt idx="1455">
                  <c:v>0.21</c:v>
                </c:pt>
                <c:pt idx="1456">
                  <c:v>0.11</c:v>
                </c:pt>
                <c:pt idx="1457">
                  <c:v>0.61</c:v>
                </c:pt>
                <c:pt idx="1458">
                  <c:v>0.15</c:v>
                </c:pt>
                <c:pt idx="1459">
                  <c:v>0.1</c:v>
                </c:pt>
                <c:pt idx="1460">
                  <c:v>0.1</c:v>
                </c:pt>
                <c:pt idx="1461">
                  <c:v>0.06</c:v>
                </c:pt>
                <c:pt idx="1462">
                  <c:v>7.0000000000000007E-2</c:v>
                </c:pt>
                <c:pt idx="1463">
                  <c:v>0.05</c:v>
                </c:pt>
                <c:pt idx="1464">
                  <c:v>0.16</c:v>
                </c:pt>
                <c:pt idx="1465">
                  <c:v>0.06</c:v>
                </c:pt>
                <c:pt idx="1466">
                  <c:v>0.12</c:v>
                </c:pt>
                <c:pt idx="1467">
                  <c:v>0.08</c:v>
                </c:pt>
                <c:pt idx="1468">
                  <c:v>0.06</c:v>
                </c:pt>
                <c:pt idx="1469">
                  <c:v>0.09</c:v>
                </c:pt>
                <c:pt idx="1470">
                  <c:v>0.1</c:v>
                </c:pt>
                <c:pt idx="1471">
                  <c:v>0.23</c:v>
                </c:pt>
                <c:pt idx="1472">
                  <c:v>0.12</c:v>
                </c:pt>
                <c:pt idx="1473">
                  <c:v>0.01</c:v>
                </c:pt>
                <c:pt idx="1474">
                  <c:v>0.14000000000000001</c:v>
                </c:pt>
                <c:pt idx="1475">
                  <c:v>0.06</c:v>
                </c:pt>
                <c:pt idx="1476">
                  <c:v>0.17</c:v>
                </c:pt>
                <c:pt idx="1477">
                  <c:v>0.05</c:v>
                </c:pt>
                <c:pt idx="1478">
                  <c:v>0.01</c:v>
                </c:pt>
                <c:pt idx="1479">
                  <c:v>0.08</c:v>
                </c:pt>
                <c:pt idx="1480">
                  <c:v>0.14000000000000001</c:v>
                </c:pt>
                <c:pt idx="1481">
                  <c:v>0.12</c:v>
                </c:pt>
                <c:pt idx="1482">
                  <c:v>0.69</c:v>
                </c:pt>
                <c:pt idx="1483">
                  <c:v>7.0000000000000007E-2</c:v>
                </c:pt>
                <c:pt idx="1484">
                  <c:v>0.31</c:v>
                </c:pt>
                <c:pt idx="1485">
                  <c:v>0.05</c:v>
                </c:pt>
                <c:pt idx="1486">
                  <c:v>0.41</c:v>
                </c:pt>
                <c:pt idx="1487">
                  <c:v>0.09</c:v>
                </c:pt>
                <c:pt idx="1488">
                  <c:v>0.15</c:v>
                </c:pt>
                <c:pt idx="1489">
                  <c:v>0.08</c:v>
                </c:pt>
                <c:pt idx="1490">
                  <c:v>0.02</c:v>
                </c:pt>
                <c:pt idx="1491">
                  <c:v>0.65</c:v>
                </c:pt>
                <c:pt idx="1492">
                  <c:v>0.63</c:v>
                </c:pt>
                <c:pt idx="1493">
                  <c:v>7.0000000000000007E-2</c:v>
                </c:pt>
                <c:pt idx="1494">
                  <c:v>0.09</c:v>
                </c:pt>
                <c:pt idx="1495">
                  <c:v>0.05</c:v>
                </c:pt>
                <c:pt idx="1496">
                  <c:v>0.1</c:v>
                </c:pt>
                <c:pt idx="1497">
                  <c:v>0.16</c:v>
                </c:pt>
                <c:pt idx="1498">
                  <c:v>0.68</c:v>
                </c:pt>
                <c:pt idx="1499">
                  <c:v>0.04</c:v>
                </c:pt>
                <c:pt idx="1500">
                  <c:v>0.06</c:v>
                </c:pt>
                <c:pt idx="1501">
                  <c:v>0.05</c:v>
                </c:pt>
                <c:pt idx="1502">
                  <c:v>0.13</c:v>
                </c:pt>
                <c:pt idx="1503">
                  <c:v>0.02</c:v>
                </c:pt>
                <c:pt idx="1504">
                  <c:v>0.11</c:v>
                </c:pt>
                <c:pt idx="1505">
                  <c:v>0.77</c:v>
                </c:pt>
                <c:pt idx="1506">
                  <c:v>0.1</c:v>
                </c:pt>
                <c:pt idx="1507">
                  <c:v>0.39</c:v>
                </c:pt>
                <c:pt idx="1508">
                  <c:v>0.14000000000000001</c:v>
                </c:pt>
                <c:pt idx="1509">
                  <c:v>0.15</c:v>
                </c:pt>
                <c:pt idx="1510">
                  <c:v>0.09</c:v>
                </c:pt>
                <c:pt idx="1511">
                  <c:v>0.76</c:v>
                </c:pt>
                <c:pt idx="1512">
                  <c:v>0.16</c:v>
                </c:pt>
                <c:pt idx="1513">
                  <c:v>0.06</c:v>
                </c:pt>
                <c:pt idx="1514">
                  <c:v>0.09</c:v>
                </c:pt>
                <c:pt idx="1515">
                  <c:v>0.14000000000000001</c:v>
                </c:pt>
                <c:pt idx="1516">
                  <c:v>7.0000000000000007E-2</c:v>
                </c:pt>
                <c:pt idx="1517">
                  <c:v>0.06</c:v>
                </c:pt>
                <c:pt idx="1518">
                  <c:v>0.15</c:v>
                </c:pt>
                <c:pt idx="1519">
                  <c:v>0.02</c:v>
                </c:pt>
                <c:pt idx="1520">
                  <c:v>7.0000000000000007E-2</c:v>
                </c:pt>
                <c:pt idx="1521">
                  <c:v>0.1</c:v>
                </c:pt>
                <c:pt idx="1522">
                  <c:v>7.0000000000000007E-2</c:v>
                </c:pt>
                <c:pt idx="1523">
                  <c:v>0.21</c:v>
                </c:pt>
                <c:pt idx="1524">
                  <c:v>0.03</c:v>
                </c:pt>
                <c:pt idx="1525">
                  <c:v>0.61</c:v>
                </c:pt>
                <c:pt idx="1526">
                  <c:v>0.06</c:v>
                </c:pt>
                <c:pt idx="1527">
                  <c:v>0.1</c:v>
                </c:pt>
                <c:pt idx="1528">
                  <c:v>0.05</c:v>
                </c:pt>
                <c:pt idx="1529">
                  <c:v>0.05</c:v>
                </c:pt>
                <c:pt idx="1530">
                  <c:v>0.1</c:v>
                </c:pt>
                <c:pt idx="1531">
                  <c:v>0.01</c:v>
                </c:pt>
                <c:pt idx="1532">
                  <c:v>0.04</c:v>
                </c:pt>
                <c:pt idx="1533">
                  <c:v>0.65</c:v>
                </c:pt>
                <c:pt idx="1534">
                  <c:v>0.11</c:v>
                </c:pt>
                <c:pt idx="1535">
                  <c:v>0.22</c:v>
                </c:pt>
                <c:pt idx="1536">
                  <c:v>0.13</c:v>
                </c:pt>
                <c:pt idx="1537">
                  <c:v>0.22</c:v>
                </c:pt>
                <c:pt idx="1538">
                  <c:v>0.08</c:v>
                </c:pt>
                <c:pt idx="1539">
                  <c:v>0.1</c:v>
                </c:pt>
                <c:pt idx="1540">
                  <c:v>0.14000000000000001</c:v>
                </c:pt>
                <c:pt idx="1541">
                  <c:v>0.2</c:v>
                </c:pt>
                <c:pt idx="1542">
                  <c:v>7.0000000000000007E-2</c:v>
                </c:pt>
                <c:pt idx="1543">
                  <c:v>0.02</c:v>
                </c:pt>
                <c:pt idx="1544">
                  <c:v>0.38</c:v>
                </c:pt>
                <c:pt idx="1545">
                  <c:v>0.1</c:v>
                </c:pt>
                <c:pt idx="1546">
                  <c:v>7.0000000000000007E-2</c:v>
                </c:pt>
                <c:pt idx="1547">
                  <c:v>0.02</c:v>
                </c:pt>
                <c:pt idx="1548">
                  <c:v>0.09</c:v>
                </c:pt>
                <c:pt idx="1549">
                  <c:v>0.04</c:v>
                </c:pt>
                <c:pt idx="1550">
                  <c:v>0.04</c:v>
                </c:pt>
                <c:pt idx="1551">
                  <c:v>0.16</c:v>
                </c:pt>
                <c:pt idx="1552">
                  <c:v>0.17</c:v>
                </c:pt>
                <c:pt idx="1553">
                  <c:v>0.25</c:v>
                </c:pt>
                <c:pt idx="1554">
                  <c:v>0.67</c:v>
                </c:pt>
                <c:pt idx="1555">
                  <c:v>0.15</c:v>
                </c:pt>
                <c:pt idx="1556">
                  <c:v>0.14000000000000001</c:v>
                </c:pt>
                <c:pt idx="1557">
                  <c:v>0.09</c:v>
                </c:pt>
                <c:pt idx="1558">
                  <c:v>0.11</c:v>
                </c:pt>
                <c:pt idx="1559">
                  <c:v>7.0000000000000007E-2</c:v>
                </c:pt>
                <c:pt idx="1560">
                  <c:v>0.03</c:v>
                </c:pt>
                <c:pt idx="1561">
                  <c:v>0.15</c:v>
                </c:pt>
                <c:pt idx="1562">
                  <c:v>0.15</c:v>
                </c:pt>
                <c:pt idx="1563">
                  <c:v>0.3</c:v>
                </c:pt>
                <c:pt idx="1564">
                  <c:v>0.1</c:v>
                </c:pt>
                <c:pt idx="1565">
                  <c:v>0.11</c:v>
                </c:pt>
                <c:pt idx="1566">
                  <c:v>7.0000000000000007E-2</c:v>
                </c:pt>
                <c:pt idx="1567">
                  <c:v>0.13</c:v>
                </c:pt>
                <c:pt idx="1568">
                  <c:v>0.28999999999999998</c:v>
                </c:pt>
                <c:pt idx="1569">
                  <c:v>0.17</c:v>
                </c:pt>
                <c:pt idx="1570">
                  <c:v>0.32</c:v>
                </c:pt>
                <c:pt idx="1571">
                  <c:v>0.1</c:v>
                </c:pt>
                <c:pt idx="1572">
                  <c:v>0.27</c:v>
                </c:pt>
                <c:pt idx="1573">
                  <c:v>0.1</c:v>
                </c:pt>
                <c:pt idx="1574">
                  <c:v>0.01</c:v>
                </c:pt>
                <c:pt idx="1575">
                  <c:v>0.11</c:v>
                </c:pt>
                <c:pt idx="1576">
                  <c:v>0.1</c:v>
                </c:pt>
                <c:pt idx="1577">
                  <c:v>0.19</c:v>
                </c:pt>
                <c:pt idx="1578">
                  <c:v>0.05</c:v>
                </c:pt>
                <c:pt idx="1579">
                  <c:v>0.08</c:v>
                </c:pt>
                <c:pt idx="1580">
                  <c:v>0.1</c:v>
                </c:pt>
                <c:pt idx="1581">
                  <c:v>0.08</c:v>
                </c:pt>
                <c:pt idx="1582">
                  <c:v>0.27</c:v>
                </c:pt>
                <c:pt idx="1583">
                  <c:v>0.03</c:v>
                </c:pt>
                <c:pt idx="1584">
                  <c:v>0.02</c:v>
                </c:pt>
                <c:pt idx="1585">
                  <c:v>0.2</c:v>
                </c:pt>
                <c:pt idx="1586">
                  <c:v>0.09</c:v>
                </c:pt>
                <c:pt idx="1587">
                  <c:v>0.01</c:v>
                </c:pt>
                <c:pt idx="1588">
                  <c:v>0.1</c:v>
                </c:pt>
                <c:pt idx="1589">
                  <c:v>0.09</c:v>
                </c:pt>
                <c:pt idx="1590">
                  <c:v>0.09</c:v>
                </c:pt>
                <c:pt idx="1591">
                  <c:v>0.1</c:v>
                </c:pt>
                <c:pt idx="1592">
                  <c:v>0.1</c:v>
                </c:pt>
                <c:pt idx="1593">
                  <c:v>0.05</c:v>
                </c:pt>
                <c:pt idx="1594">
                  <c:v>0.14000000000000001</c:v>
                </c:pt>
                <c:pt idx="1595">
                  <c:v>0.13</c:v>
                </c:pt>
                <c:pt idx="1596">
                  <c:v>7.0000000000000007E-2</c:v>
                </c:pt>
                <c:pt idx="1597">
                  <c:v>0.11</c:v>
                </c:pt>
                <c:pt idx="1598">
                  <c:v>0.02</c:v>
                </c:pt>
                <c:pt idx="1599">
                  <c:v>0.05</c:v>
                </c:pt>
                <c:pt idx="1600">
                  <c:v>0.09</c:v>
                </c:pt>
                <c:pt idx="1601">
                  <c:v>0.13</c:v>
                </c:pt>
                <c:pt idx="1602">
                  <c:v>0.24</c:v>
                </c:pt>
                <c:pt idx="1603">
                  <c:v>0.08</c:v>
                </c:pt>
                <c:pt idx="1604">
                  <c:v>0.16</c:v>
                </c:pt>
                <c:pt idx="1605">
                  <c:v>0.1</c:v>
                </c:pt>
                <c:pt idx="1606">
                  <c:v>0.01</c:v>
                </c:pt>
                <c:pt idx="1607">
                  <c:v>0.21</c:v>
                </c:pt>
                <c:pt idx="1608">
                  <c:v>0.28999999999999998</c:v>
                </c:pt>
                <c:pt idx="1609">
                  <c:v>0.09</c:v>
                </c:pt>
                <c:pt idx="1610">
                  <c:v>0.06</c:v>
                </c:pt>
                <c:pt idx="1611">
                  <c:v>7.0000000000000007E-2</c:v>
                </c:pt>
                <c:pt idx="1612">
                  <c:v>0.25</c:v>
                </c:pt>
                <c:pt idx="1613">
                  <c:v>0.03</c:v>
                </c:pt>
                <c:pt idx="1614">
                  <c:v>0.01</c:v>
                </c:pt>
                <c:pt idx="1615">
                  <c:v>0.14000000000000001</c:v>
                </c:pt>
                <c:pt idx="1616">
                  <c:v>0.06</c:v>
                </c:pt>
                <c:pt idx="1617">
                  <c:v>0.01</c:v>
                </c:pt>
                <c:pt idx="1618">
                  <c:v>0.01</c:v>
                </c:pt>
                <c:pt idx="1619">
                  <c:v>0.43</c:v>
                </c:pt>
                <c:pt idx="1620">
                  <c:v>0.09</c:v>
                </c:pt>
                <c:pt idx="1621">
                  <c:v>0.04</c:v>
                </c:pt>
                <c:pt idx="1622">
                  <c:v>0.01</c:v>
                </c:pt>
                <c:pt idx="1623">
                  <c:v>0.37</c:v>
                </c:pt>
                <c:pt idx="1624">
                  <c:v>0.08</c:v>
                </c:pt>
                <c:pt idx="1625">
                  <c:v>0.02</c:v>
                </c:pt>
                <c:pt idx="1626">
                  <c:v>0.1</c:v>
                </c:pt>
                <c:pt idx="1627">
                  <c:v>0.08</c:v>
                </c:pt>
                <c:pt idx="1628">
                  <c:v>0.04</c:v>
                </c:pt>
                <c:pt idx="1629">
                  <c:v>0.16</c:v>
                </c:pt>
                <c:pt idx="1630">
                  <c:v>0.17</c:v>
                </c:pt>
                <c:pt idx="1631">
                  <c:v>0.25</c:v>
                </c:pt>
                <c:pt idx="1632">
                  <c:v>0.01</c:v>
                </c:pt>
                <c:pt idx="1633">
                  <c:v>0.08</c:v>
                </c:pt>
                <c:pt idx="1634">
                  <c:v>0.05</c:v>
                </c:pt>
                <c:pt idx="1635">
                  <c:v>0.54</c:v>
                </c:pt>
                <c:pt idx="1636">
                  <c:v>0.18</c:v>
                </c:pt>
                <c:pt idx="1637">
                  <c:v>0.12</c:v>
                </c:pt>
                <c:pt idx="1638">
                  <c:v>0.14000000000000001</c:v>
                </c:pt>
                <c:pt idx="1639">
                  <c:v>0.14000000000000001</c:v>
                </c:pt>
                <c:pt idx="1640">
                  <c:v>0.09</c:v>
                </c:pt>
                <c:pt idx="1641">
                  <c:v>0.09</c:v>
                </c:pt>
                <c:pt idx="1642">
                  <c:v>0.05</c:v>
                </c:pt>
                <c:pt idx="1643">
                  <c:v>0.13</c:v>
                </c:pt>
                <c:pt idx="1644">
                  <c:v>0.08</c:v>
                </c:pt>
                <c:pt idx="1645">
                  <c:v>0.14000000000000001</c:v>
                </c:pt>
                <c:pt idx="1646">
                  <c:v>0.01</c:v>
                </c:pt>
                <c:pt idx="1647">
                  <c:v>0.04</c:v>
                </c:pt>
                <c:pt idx="1648">
                  <c:v>0.04</c:v>
                </c:pt>
                <c:pt idx="1649">
                  <c:v>0.06</c:v>
                </c:pt>
                <c:pt idx="1650">
                  <c:v>0.23</c:v>
                </c:pt>
                <c:pt idx="1651">
                  <c:v>0.28999999999999998</c:v>
                </c:pt>
                <c:pt idx="1652">
                  <c:v>0.19</c:v>
                </c:pt>
                <c:pt idx="1653">
                  <c:v>0.01</c:v>
                </c:pt>
                <c:pt idx="1654">
                  <c:v>0.08</c:v>
                </c:pt>
                <c:pt idx="1655">
                  <c:v>0.14000000000000001</c:v>
                </c:pt>
                <c:pt idx="1656">
                  <c:v>0.01</c:v>
                </c:pt>
                <c:pt idx="1657">
                  <c:v>0.02</c:v>
                </c:pt>
                <c:pt idx="1658">
                  <c:v>0.11</c:v>
                </c:pt>
                <c:pt idx="1659">
                  <c:v>7.0000000000000007E-2</c:v>
                </c:pt>
                <c:pt idx="1660">
                  <c:v>0.01</c:v>
                </c:pt>
                <c:pt idx="1661">
                  <c:v>0.04</c:v>
                </c:pt>
                <c:pt idx="1662">
                  <c:v>7.0000000000000007E-2</c:v>
                </c:pt>
                <c:pt idx="1663">
                  <c:v>7.0000000000000007E-2</c:v>
                </c:pt>
                <c:pt idx="1664">
                  <c:v>0.11</c:v>
                </c:pt>
                <c:pt idx="1665">
                  <c:v>0.55000000000000004</c:v>
                </c:pt>
                <c:pt idx="1666">
                  <c:v>0.05</c:v>
                </c:pt>
                <c:pt idx="1667">
                  <c:v>0.05</c:v>
                </c:pt>
                <c:pt idx="1668">
                  <c:v>0.02</c:v>
                </c:pt>
                <c:pt idx="1669">
                  <c:v>0.19</c:v>
                </c:pt>
                <c:pt idx="1670">
                  <c:v>0.02</c:v>
                </c:pt>
                <c:pt idx="1671">
                  <c:v>0.02</c:v>
                </c:pt>
                <c:pt idx="1672">
                  <c:v>0.02</c:v>
                </c:pt>
                <c:pt idx="1673">
                  <c:v>0.04</c:v>
                </c:pt>
                <c:pt idx="1674">
                  <c:v>0.05</c:v>
                </c:pt>
                <c:pt idx="1675">
                  <c:v>0.01</c:v>
                </c:pt>
                <c:pt idx="1676">
                  <c:v>0.01</c:v>
                </c:pt>
                <c:pt idx="1677">
                  <c:v>0.15</c:v>
                </c:pt>
                <c:pt idx="1678">
                  <c:v>7.0000000000000007E-2</c:v>
                </c:pt>
                <c:pt idx="1679">
                  <c:v>0.02</c:v>
                </c:pt>
                <c:pt idx="1680">
                  <c:v>0.01</c:v>
                </c:pt>
                <c:pt idx="1681">
                  <c:v>0.09</c:v>
                </c:pt>
                <c:pt idx="1682">
                  <c:v>0.02</c:v>
                </c:pt>
                <c:pt idx="1683">
                  <c:v>0.39</c:v>
                </c:pt>
                <c:pt idx="1684">
                  <c:v>0.17</c:v>
                </c:pt>
                <c:pt idx="1685">
                  <c:v>7.0000000000000007E-2</c:v>
                </c:pt>
                <c:pt idx="1686">
                  <c:v>7.0000000000000007E-2</c:v>
                </c:pt>
                <c:pt idx="1687">
                  <c:v>7.0000000000000007E-2</c:v>
                </c:pt>
                <c:pt idx="1688">
                  <c:v>0.13</c:v>
                </c:pt>
                <c:pt idx="1689">
                  <c:v>0.05</c:v>
                </c:pt>
                <c:pt idx="1690">
                  <c:v>0.03</c:v>
                </c:pt>
                <c:pt idx="1691">
                  <c:v>0.01</c:v>
                </c:pt>
                <c:pt idx="1692">
                  <c:v>0.04</c:v>
                </c:pt>
                <c:pt idx="1693">
                  <c:v>0.03</c:v>
                </c:pt>
                <c:pt idx="1694">
                  <c:v>0.05</c:v>
                </c:pt>
                <c:pt idx="1695">
                  <c:v>0.06</c:v>
                </c:pt>
                <c:pt idx="1696">
                  <c:v>0.17</c:v>
                </c:pt>
                <c:pt idx="1697">
                  <c:v>0.06</c:v>
                </c:pt>
                <c:pt idx="1698">
                  <c:v>0.06</c:v>
                </c:pt>
                <c:pt idx="1699">
                  <c:v>7.0000000000000007E-2</c:v>
                </c:pt>
                <c:pt idx="1700">
                  <c:v>0.03</c:v>
                </c:pt>
                <c:pt idx="1701">
                  <c:v>0.28999999999999998</c:v>
                </c:pt>
                <c:pt idx="1702">
                  <c:v>0.03</c:v>
                </c:pt>
                <c:pt idx="1703">
                  <c:v>0.15</c:v>
                </c:pt>
                <c:pt idx="1704">
                  <c:v>0.22</c:v>
                </c:pt>
                <c:pt idx="1705">
                  <c:v>0.02</c:v>
                </c:pt>
                <c:pt idx="1706">
                  <c:v>0.15</c:v>
                </c:pt>
                <c:pt idx="1707">
                  <c:v>0.02</c:v>
                </c:pt>
                <c:pt idx="1708">
                  <c:v>0.27</c:v>
                </c:pt>
                <c:pt idx="1709">
                  <c:v>0.05</c:v>
                </c:pt>
                <c:pt idx="1710">
                  <c:v>0.01</c:v>
                </c:pt>
                <c:pt idx="1711">
                  <c:v>0.1</c:v>
                </c:pt>
                <c:pt idx="1712">
                  <c:v>0.01</c:v>
                </c:pt>
                <c:pt idx="1713">
                  <c:v>0.11</c:v>
                </c:pt>
                <c:pt idx="1714">
                  <c:v>7.0000000000000007E-2</c:v>
                </c:pt>
                <c:pt idx="1715">
                  <c:v>0.09</c:v>
                </c:pt>
                <c:pt idx="1716">
                  <c:v>0.08</c:v>
                </c:pt>
                <c:pt idx="1717">
                  <c:v>0.04</c:v>
                </c:pt>
                <c:pt idx="1718">
                  <c:v>0.09</c:v>
                </c:pt>
                <c:pt idx="1719">
                  <c:v>0.34</c:v>
                </c:pt>
                <c:pt idx="1720">
                  <c:v>0.18</c:v>
                </c:pt>
                <c:pt idx="1721">
                  <c:v>0.02</c:v>
                </c:pt>
                <c:pt idx="1722">
                  <c:v>0.04</c:v>
                </c:pt>
                <c:pt idx="1723">
                  <c:v>0.09</c:v>
                </c:pt>
                <c:pt idx="1724">
                  <c:v>0.05</c:v>
                </c:pt>
                <c:pt idx="1725">
                  <c:v>0.01</c:v>
                </c:pt>
                <c:pt idx="1726">
                  <c:v>0.05</c:v>
                </c:pt>
                <c:pt idx="1727">
                  <c:v>0.09</c:v>
                </c:pt>
                <c:pt idx="1728">
                  <c:v>0.03</c:v>
                </c:pt>
                <c:pt idx="1729">
                  <c:v>0.01</c:v>
                </c:pt>
                <c:pt idx="1730">
                  <c:v>0.03</c:v>
                </c:pt>
                <c:pt idx="1731">
                  <c:v>0.08</c:v>
                </c:pt>
                <c:pt idx="1732">
                  <c:v>0.06</c:v>
                </c:pt>
                <c:pt idx="1733">
                  <c:v>7.0000000000000007E-2</c:v>
                </c:pt>
                <c:pt idx="1734">
                  <c:v>0.08</c:v>
                </c:pt>
                <c:pt idx="1735">
                  <c:v>0.06</c:v>
                </c:pt>
                <c:pt idx="1736">
                  <c:v>0.01</c:v>
                </c:pt>
                <c:pt idx="1737">
                  <c:v>0.1</c:v>
                </c:pt>
                <c:pt idx="1738">
                  <c:v>0.06</c:v>
                </c:pt>
                <c:pt idx="1739">
                  <c:v>0.1</c:v>
                </c:pt>
                <c:pt idx="1740">
                  <c:v>0.08</c:v>
                </c:pt>
                <c:pt idx="1741">
                  <c:v>0.13</c:v>
                </c:pt>
                <c:pt idx="1742">
                  <c:v>0.06</c:v>
                </c:pt>
                <c:pt idx="1743">
                  <c:v>0.06</c:v>
                </c:pt>
                <c:pt idx="1744">
                  <c:v>0.04</c:v>
                </c:pt>
                <c:pt idx="1745">
                  <c:v>0.04</c:v>
                </c:pt>
                <c:pt idx="1746">
                  <c:v>0.03</c:v>
                </c:pt>
                <c:pt idx="1747">
                  <c:v>0.06</c:v>
                </c:pt>
                <c:pt idx="1748">
                  <c:v>0.02</c:v>
                </c:pt>
                <c:pt idx="1749">
                  <c:v>0.13</c:v>
                </c:pt>
                <c:pt idx="1750">
                  <c:v>0.03</c:v>
                </c:pt>
                <c:pt idx="1751">
                  <c:v>0.12</c:v>
                </c:pt>
                <c:pt idx="1752">
                  <c:v>0.01</c:v>
                </c:pt>
                <c:pt idx="1753">
                  <c:v>7.0000000000000007E-2</c:v>
                </c:pt>
                <c:pt idx="1754">
                  <c:v>0.14000000000000001</c:v>
                </c:pt>
                <c:pt idx="1755">
                  <c:v>0.03</c:v>
                </c:pt>
                <c:pt idx="1756">
                  <c:v>0.12</c:v>
                </c:pt>
                <c:pt idx="1757">
                  <c:v>0.08</c:v>
                </c:pt>
                <c:pt idx="1758">
                  <c:v>0.09</c:v>
                </c:pt>
                <c:pt idx="1759">
                  <c:v>0.62</c:v>
                </c:pt>
                <c:pt idx="1760">
                  <c:v>0.59</c:v>
                </c:pt>
                <c:pt idx="1761">
                  <c:v>0.08</c:v>
                </c:pt>
                <c:pt idx="1762">
                  <c:v>0.01</c:v>
                </c:pt>
                <c:pt idx="1763">
                  <c:v>0.15</c:v>
                </c:pt>
                <c:pt idx="1764">
                  <c:v>0.05</c:v>
                </c:pt>
                <c:pt idx="1765">
                  <c:v>0.1</c:v>
                </c:pt>
                <c:pt idx="1766">
                  <c:v>0.2</c:v>
                </c:pt>
                <c:pt idx="1767">
                  <c:v>0.06</c:v>
                </c:pt>
                <c:pt idx="1768">
                  <c:v>0.09</c:v>
                </c:pt>
                <c:pt idx="1769">
                  <c:v>0.06</c:v>
                </c:pt>
                <c:pt idx="1770">
                  <c:v>0.04</c:v>
                </c:pt>
                <c:pt idx="1771">
                  <c:v>0.02</c:v>
                </c:pt>
                <c:pt idx="1772">
                  <c:v>0.01</c:v>
                </c:pt>
                <c:pt idx="1773">
                  <c:v>0.14000000000000001</c:v>
                </c:pt>
                <c:pt idx="1774">
                  <c:v>0.02</c:v>
                </c:pt>
                <c:pt idx="1775">
                  <c:v>0.2</c:v>
                </c:pt>
                <c:pt idx="1776">
                  <c:v>0.05</c:v>
                </c:pt>
                <c:pt idx="1777">
                  <c:v>0.08</c:v>
                </c:pt>
                <c:pt idx="1778">
                  <c:v>0.04</c:v>
                </c:pt>
                <c:pt idx="1779">
                  <c:v>0.15</c:v>
                </c:pt>
                <c:pt idx="1780">
                  <c:v>0.02</c:v>
                </c:pt>
                <c:pt idx="1781">
                  <c:v>0.06</c:v>
                </c:pt>
                <c:pt idx="1782">
                  <c:v>0.01</c:v>
                </c:pt>
                <c:pt idx="1783">
                  <c:v>0.01</c:v>
                </c:pt>
                <c:pt idx="1784">
                  <c:v>0.01</c:v>
                </c:pt>
                <c:pt idx="1785">
                  <c:v>0.12</c:v>
                </c:pt>
                <c:pt idx="1786">
                  <c:v>0.08</c:v>
                </c:pt>
                <c:pt idx="1787">
                  <c:v>0.06</c:v>
                </c:pt>
                <c:pt idx="1788">
                  <c:v>0.15</c:v>
                </c:pt>
                <c:pt idx="1789">
                  <c:v>0.04</c:v>
                </c:pt>
                <c:pt idx="1790">
                  <c:v>0.08</c:v>
                </c:pt>
                <c:pt idx="1791">
                  <c:v>0.01</c:v>
                </c:pt>
                <c:pt idx="1792">
                  <c:v>0.66</c:v>
                </c:pt>
                <c:pt idx="1793">
                  <c:v>0.1</c:v>
                </c:pt>
                <c:pt idx="1794">
                  <c:v>0.12</c:v>
                </c:pt>
                <c:pt idx="1795">
                  <c:v>0.04</c:v>
                </c:pt>
                <c:pt idx="1796">
                  <c:v>0.13</c:v>
                </c:pt>
                <c:pt idx="1797">
                  <c:v>0.09</c:v>
                </c:pt>
                <c:pt idx="1798">
                  <c:v>0.02</c:v>
                </c:pt>
                <c:pt idx="1799">
                  <c:v>0.09</c:v>
                </c:pt>
                <c:pt idx="1800">
                  <c:v>0.06</c:v>
                </c:pt>
                <c:pt idx="1801">
                  <c:v>0.13</c:v>
                </c:pt>
                <c:pt idx="1802">
                  <c:v>0.05</c:v>
                </c:pt>
                <c:pt idx="1803">
                  <c:v>0.01</c:v>
                </c:pt>
                <c:pt idx="1804">
                  <c:v>0.15</c:v>
                </c:pt>
                <c:pt idx="1805">
                  <c:v>0.02</c:v>
                </c:pt>
                <c:pt idx="1806">
                  <c:v>0.02</c:v>
                </c:pt>
                <c:pt idx="1807">
                  <c:v>0.12</c:v>
                </c:pt>
                <c:pt idx="1808">
                  <c:v>0.13</c:v>
                </c:pt>
                <c:pt idx="1809">
                  <c:v>0.15</c:v>
                </c:pt>
                <c:pt idx="1810">
                  <c:v>0.23</c:v>
                </c:pt>
                <c:pt idx="1811">
                  <c:v>0.1</c:v>
                </c:pt>
                <c:pt idx="1812">
                  <c:v>0.05</c:v>
                </c:pt>
                <c:pt idx="1813">
                  <c:v>0.06</c:v>
                </c:pt>
                <c:pt idx="1814">
                  <c:v>0.33</c:v>
                </c:pt>
                <c:pt idx="1815">
                  <c:v>0.02</c:v>
                </c:pt>
                <c:pt idx="1816">
                  <c:v>7.0000000000000007E-2</c:v>
                </c:pt>
                <c:pt idx="1817">
                  <c:v>0.06</c:v>
                </c:pt>
                <c:pt idx="1818">
                  <c:v>0.01</c:v>
                </c:pt>
                <c:pt idx="1819">
                  <c:v>0.03</c:v>
                </c:pt>
                <c:pt idx="1820">
                  <c:v>0.02</c:v>
                </c:pt>
                <c:pt idx="1821">
                  <c:v>0.01</c:v>
                </c:pt>
                <c:pt idx="1822">
                  <c:v>0.05</c:v>
                </c:pt>
                <c:pt idx="1823">
                  <c:v>0.03</c:v>
                </c:pt>
                <c:pt idx="1824">
                  <c:v>0.02</c:v>
                </c:pt>
                <c:pt idx="1825">
                  <c:v>0.11</c:v>
                </c:pt>
                <c:pt idx="1826">
                  <c:v>0.09</c:v>
                </c:pt>
                <c:pt idx="1827">
                  <c:v>0.02</c:v>
                </c:pt>
                <c:pt idx="1828">
                  <c:v>7.0000000000000007E-2</c:v>
                </c:pt>
                <c:pt idx="1829">
                  <c:v>0.14000000000000001</c:v>
                </c:pt>
                <c:pt idx="1830">
                  <c:v>0.06</c:v>
                </c:pt>
                <c:pt idx="1831">
                  <c:v>0.01</c:v>
                </c:pt>
                <c:pt idx="1832">
                  <c:v>0.01</c:v>
                </c:pt>
                <c:pt idx="1833">
                  <c:v>0.05</c:v>
                </c:pt>
                <c:pt idx="1834">
                  <c:v>0.02</c:v>
                </c:pt>
                <c:pt idx="1835">
                  <c:v>0.06</c:v>
                </c:pt>
                <c:pt idx="1836">
                  <c:v>0.17</c:v>
                </c:pt>
                <c:pt idx="1837">
                  <c:v>0.03</c:v>
                </c:pt>
                <c:pt idx="1838">
                  <c:v>0.03</c:v>
                </c:pt>
                <c:pt idx="1839">
                  <c:v>0.05</c:v>
                </c:pt>
                <c:pt idx="1840">
                  <c:v>0.14000000000000001</c:v>
                </c:pt>
                <c:pt idx="1841">
                  <c:v>0.06</c:v>
                </c:pt>
                <c:pt idx="1842">
                  <c:v>0.06</c:v>
                </c:pt>
                <c:pt idx="1843">
                  <c:v>0.08</c:v>
                </c:pt>
                <c:pt idx="1844">
                  <c:v>0.04</c:v>
                </c:pt>
                <c:pt idx="1845">
                  <c:v>7.0000000000000007E-2</c:v>
                </c:pt>
                <c:pt idx="1846">
                  <c:v>0.12</c:v>
                </c:pt>
                <c:pt idx="1847">
                  <c:v>0.12</c:v>
                </c:pt>
                <c:pt idx="1848">
                  <c:v>0.14000000000000001</c:v>
                </c:pt>
                <c:pt idx="1849">
                  <c:v>0.24</c:v>
                </c:pt>
                <c:pt idx="1850">
                  <c:v>0.04</c:v>
                </c:pt>
                <c:pt idx="1851">
                  <c:v>0.01</c:v>
                </c:pt>
                <c:pt idx="1852">
                  <c:v>0.42</c:v>
                </c:pt>
                <c:pt idx="1853">
                  <c:v>0.08</c:v>
                </c:pt>
                <c:pt idx="1854">
                  <c:v>0.1</c:v>
                </c:pt>
                <c:pt idx="1855">
                  <c:v>0.01</c:v>
                </c:pt>
                <c:pt idx="1856">
                  <c:v>0.13</c:v>
                </c:pt>
                <c:pt idx="1857">
                  <c:v>0.03</c:v>
                </c:pt>
                <c:pt idx="1858">
                  <c:v>0.1</c:v>
                </c:pt>
                <c:pt idx="1859">
                  <c:v>0.09</c:v>
                </c:pt>
                <c:pt idx="1860">
                  <c:v>0.1</c:v>
                </c:pt>
                <c:pt idx="1861">
                  <c:v>0.02</c:v>
                </c:pt>
                <c:pt idx="1862">
                  <c:v>0.06</c:v>
                </c:pt>
                <c:pt idx="1863">
                  <c:v>0.06</c:v>
                </c:pt>
                <c:pt idx="1864">
                  <c:v>0.14000000000000001</c:v>
                </c:pt>
                <c:pt idx="1865">
                  <c:v>0.01</c:v>
                </c:pt>
                <c:pt idx="1866">
                  <c:v>0.09</c:v>
                </c:pt>
                <c:pt idx="1867">
                  <c:v>0.02</c:v>
                </c:pt>
                <c:pt idx="1868">
                  <c:v>0.09</c:v>
                </c:pt>
                <c:pt idx="1869">
                  <c:v>0.05</c:v>
                </c:pt>
                <c:pt idx="1870">
                  <c:v>0.09</c:v>
                </c:pt>
                <c:pt idx="1871">
                  <c:v>0.06</c:v>
                </c:pt>
                <c:pt idx="1872">
                  <c:v>0.1</c:v>
                </c:pt>
                <c:pt idx="1873">
                  <c:v>0.01</c:v>
                </c:pt>
                <c:pt idx="1874">
                  <c:v>0.04</c:v>
                </c:pt>
                <c:pt idx="1875">
                  <c:v>0.1</c:v>
                </c:pt>
                <c:pt idx="1876">
                  <c:v>0.08</c:v>
                </c:pt>
                <c:pt idx="1877">
                  <c:v>0.15</c:v>
                </c:pt>
                <c:pt idx="1878">
                  <c:v>0.02</c:v>
                </c:pt>
                <c:pt idx="1879">
                  <c:v>0.08</c:v>
                </c:pt>
                <c:pt idx="1880">
                  <c:v>0.05</c:v>
                </c:pt>
                <c:pt idx="1881">
                  <c:v>0.3</c:v>
                </c:pt>
                <c:pt idx="1882">
                  <c:v>0.01</c:v>
                </c:pt>
                <c:pt idx="1883">
                  <c:v>0.1</c:v>
                </c:pt>
                <c:pt idx="1884">
                  <c:v>0.01</c:v>
                </c:pt>
                <c:pt idx="1885">
                  <c:v>0.37</c:v>
                </c:pt>
                <c:pt idx="1886">
                  <c:v>0.09</c:v>
                </c:pt>
                <c:pt idx="1887">
                  <c:v>0.04</c:v>
                </c:pt>
                <c:pt idx="1888">
                  <c:v>0.02</c:v>
                </c:pt>
                <c:pt idx="1889">
                  <c:v>0.21</c:v>
                </c:pt>
                <c:pt idx="1890">
                  <c:v>0.06</c:v>
                </c:pt>
                <c:pt idx="1891">
                  <c:v>0.04</c:v>
                </c:pt>
                <c:pt idx="1892">
                  <c:v>0.01</c:v>
                </c:pt>
                <c:pt idx="1893">
                  <c:v>0.03</c:v>
                </c:pt>
                <c:pt idx="1894">
                  <c:v>0.1</c:v>
                </c:pt>
                <c:pt idx="1895">
                  <c:v>0.02</c:v>
                </c:pt>
                <c:pt idx="1896">
                  <c:v>0.05</c:v>
                </c:pt>
                <c:pt idx="1897">
                  <c:v>0.04</c:v>
                </c:pt>
                <c:pt idx="1898">
                  <c:v>0.09</c:v>
                </c:pt>
                <c:pt idx="1899">
                  <c:v>0.08</c:v>
                </c:pt>
                <c:pt idx="1900">
                  <c:v>0.03</c:v>
                </c:pt>
                <c:pt idx="1901">
                  <c:v>0.04</c:v>
                </c:pt>
                <c:pt idx="1902">
                  <c:v>0.02</c:v>
                </c:pt>
                <c:pt idx="1903">
                  <c:v>0.1</c:v>
                </c:pt>
                <c:pt idx="1904">
                  <c:v>0.01</c:v>
                </c:pt>
                <c:pt idx="1905">
                  <c:v>0.03</c:v>
                </c:pt>
                <c:pt idx="1906">
                  <c:v>0.06</c:v>
                </c:pt>
                <c:pt idx="1907">
                  <c:v>0.06</c:v>
                </c:pt>
                <c:pt idx="1908">
                  <c:v>0.21</c:v>
                </c:pt>
                <c:pt idx="1909">
                  <c:v>0.09</c:v>
                </c:pt>
                <c:pt idx="1910">
                  <c:v>0.02</c:v>
                </c:pt>
                <c:pt idx="1911">
                  <c:v>0.06</c:v>
                </c:pt>
                <c:pt idx="1912">
                  <c:v>0.09</c:v>
                </c:pt>
                <c:pt idx="1913">
                  <c:v>0.12</c:v>
                </c:pt>
                <c:pt idx="1914">
                  <c:v>0.1</c:v>
                </c:pt>
                <c:pt idx="1915">
                  <c:v>0.06</c:v>
                </c:pt>
                <c:pt idx="1916">
                  <c:v>7.0000000000000007E-2</c:v>
                </c:pt>
                <c:pt idx="1917">
                  <c:v>0.56999999999999995</c:v>
                </c:pt>
                <c:pt idx="1918">
                  <c:v>0.08</c:v>
                </c:pt>
                <c:pt idx="1919">
                  <c:v>0.14000000000000001</c:v>
                </c:pt>
                <c:pt idx="1920">
                  <c:v>0.08</c:v>
                </c:pt>
                <c:pt idx="1921">
                  <c:v>0.01</c:v>
                </c:pt>
                <c:pt idx="1922">
                  <c:v>0.02</c:v>
                </c:pt>
                <c:pt idx="1923">
                  <c:v>7.0000000000000007E-2</c:v>
                </c:pt>
                <c:pt idx="1924">
                  <c:v>0.08</c:v>
                </c:pt>
                <c:pt idx="1925">
                  <c:v>0.27</c:v>
                </c:pt>
                <c:pt idx="1926">
                  <c:v>0.06</c:v>
                </c:pt>
                <c:pt idx="1927">
                  <c:v>0.04</c:v>
                </c:pt>
                <c:pt idx="1928">
                  <c:v>0.03</c:v>
                </c:pt>
                <c:pt idx="1929">
                  <c:v>0.64</c:v>
                </c:pt>
                <c:pt idx="1930">
                  <c:v>0.02</c:v>
                </c:pt>
                <c:pt idx="1931">
                  <c:v>0.01</c:v>
                </c:pt>
                <c:pt idx="1932">
                  <c:v>0.38</c:v>
                </c:pt>
                <c:pt idx="1933">
                  <c:v>0.01</c:v>
                </c:pt>
                <c:pt idx="1934">
                  <c:v>0.04</c:v>
                </c:pt>
                <c:pt idx="1935">
                  <c:v>0.04</c:v>
                </c:pt>
                <c:pt idx="1936">
                  <c:v>0.03</c:v>
                </c:pt>
                <c:pt idx="1937">
                  <c:v>0.02</c:v>
                </c:pt>
                <c:pt idx="1938">
                  <c:v>0.02</c:v>
                </c:pt>
                <c:pt idx="1939">
                  <c:v>0.11</c:v>
                </c:pt>
                <c:pt idx="1940">
                  <c:v>0.25</c:v>
                </c:pt>
                <c:pt idx="1941">
                  <c:v>0.1</c:v>
                </c:pt>
                <c:pt idx="1942">
                  <c:v>0.12</c:v>
                </c:pt>
                <c:pt idx="1943">
                  <c:v>0.01</c:v>
                </c:pt>
                <c:pt idx="1944">
                  <c:v>0.03</c:v>
                </c:pt>
                <c:pt idx="1945">
                  <c:v>0.02</c:v>
                </c:pt>
                <c:pt idx="1946">
                  <c:v>0.06</c:v>
                </c:pt>
                <c:pt idx="1947">
                  <c:v>0.15</c:v>
                </c:pt>
                <c:pt idx="1948">
                  <c:v>0.01</c:v>
                </c:pt>
                <c:pt idx="1949">
                  <c:v>0.02</c:v>
                </c:pt>
                <c:pt idx="1950">
                  <c:v>0.08</c:v>
                </c:pt>
                <c:pt idx="1951">
                  <c:v>0.05</c:v>
                </c:pt>
                <c:pt idx="1952">
                  <c:v>0.08</c:v>
                </c:pt>
                <c:pt idx="1953">
                  <c:v>0.05</c:v>
                </c:pt>
                <c:pt idx="1954">
                  <c:v>0.06</c:v>
                </c:pt>
                <c:pt idx="1955">
                  <c:v>0.37</c:v>
                </c:pt>
                <c:pt idx="1956">
                  <c:v>0.03</c:v>
                </c:pt>
                <c:pt idx="1957">
                  <c:v>0.1</c:v>
                </c:pt>
                <c:pt idx="1958">
                  <c:v>0.11</c:v>
                </c:pt>
                <c:pt idx="1959">
                  <c:v>0.04</c:v>
                </c:pt>
                <c:pt idx="1960">
                  <c:v>0.08</c:v>
                </c:pt>
                <c:pt idx="1961">
                  <c:v>7.0000000000000007E-2</c:v>
                </c:pt>
                <c:pt idx="1962">
                  <c:v>0.03</c:v>
                </c:pt>
                <c:pt idx="1963">
                  <c:v>0.02</c:v>
                </c:pt>
                <c:pt idx="1964">
                  <c:v>0.12</c:v>
                </c:pt>
                <c:pt idx="1965">
                  <c:v>0.01</c:v>
                </c:pt>
                <c:pt idx="1966">
                  <c:v>0.02</c:v>
                </c:pt>
                <c:pt idx="1967">
                  <c:v>0.06</c:v>
                </c:pt>
                <c:pt idx="1968">
                  <c:v>0.08</c:v>
                </c:pt>
                <c:pt idx="1969">
                  <c:v>0.04</c:v>
                </c:pt>
                <c:pt idx="1970">
                  <c:v>0.01</c:v>
                </c:pt>
                <c:pt idx="1971">
                  <c:v>0.02</c:v>
                </c:pt>
                <c:pt idx="1972">
                  <c:v>0.01</c:v>
                </c:pt>
                <c:pt idx="1973">
                  <c:v>0.05</c:v>
                </c:pt>
                <c:pt idx="1974">
                  <c:v>0.04</c:v>
                </c:pt>
                <c:pt idx="1975">
                  <c:v>0.05</c:v>
                </c:pt>
                <c:pt idx="1976">
                  <c:v>0.02</c:v>
                </c:pt>
                <c:pt idx="1977">
                  <c:v>0.04</c:v>
                </c:pt>
                <c:pt idx="1978">
                  <c:v>7.0000000000000007E-2</c:v>
                </c:pt>
                <c:pt idx="1979">
                  <c:v>0.06</c:v>
                </c:pt>
                <c:pt idx="1980">
                  <c:v>0.11</c:v>
                </c:pt>
                <c:pt idx="1981">
                  <c:v>0.05</c:v>
                </c:pt>
                <c:pt idx="1982">
                  <c:v>0.08</c:v>
                </c:pt>
                <c:pt idx="1983">
                  <c:v>0.01</c:v>
                </c:pt>
                <c:pt idx="1984">
                  <c:v>0.05</c:v>
                </c:pt>
                <c:pt idx="1985">
                  <c:v>0.01</c:v>
                </c:pt>
                <c:pt idx="1986">
                  <c:v>0.05</c:v>
                </c:pt>
                <c:pt idx="1987">
                  <c:v>0.06</c:v>
                </c:pt>
                <c:pt idx="1988">
                  <c:v>0.09</c:v>
                </c:pt>
                <c:pt idx="1989">
                  <c:v>0.03</c:v>
                </c:pt>
                <c:pt idx="1990">
                  <c:v>0.08</c:v>
                </c:pt>
                <c:pt idx="1991">
                  <c:v>0.11</c:v>
                </c:pt>
                <c:pt idx="1992">
                  <c:v>0.02</c:v>
                </c:pt>
                <c:pt idx="1993">
                  <c:v>0.2</c:v>
                </c:pt>
                <c:pt idx="1994">
                  <c:v>0.06</c:v>
                </c:pt>
                <c:pt idx="1995">
                  <c:v>0.09</c:v>
                </c:pt>
                <c:pt idx="1996">
                  <c:v>0.22</c:v>
                </c:pt>
                <c:pt idx="1997">
                  <c:v>0.06</c:v>
                </c:pt>
                <c:pt idx="1998">
                  <c:v>0.01</c:v>
                </c:pt>
                <c:pt idx="1999">
                  <c:v>0.09</c:v>
                </c:pt>
                <c:pt idx="2000">
                  <c:v>0.04</c:v>
                </c:pt>
                <c:pt idx="2001">
                  <c:v>0.01</c:v>
                </c:pt>
                <c:pt idx="2002">
                  <c:v>0.05</c:v>
                </c:pt>
                <c:pt idx="2003">
                  <c:v>0.01</c:v>
                </c:pt>
                <c:pt idx="2004">
                  <c:v>0.06</c:v>
                </c:pt>
                <c:pt idx="2005">
                  <c:v>0.01</c:v>
                </c:pt>
                <c:pt idx="2006">
                  <c:v>0.13</c:v>
                </c:pt>
                <c:pt idx="2007">
                  <c:v>0.03</c:v>
                </c:pt>
                <c:pt idx="2008">
                  <c:v>0.03</c:v>
                </c:pt>
                <c:pt idx="2009">
                  <c:v>0.03</c:v>
                </c:pt>
                <c:pt idx="2010">
                  <c:v>0.04</c:v>
                </c:pt>
                <c:pt idx="2011">
                  <c:v>0.02</c:v>
                </c:pt>
                <c:pt idx="2012">
                  <c:v>0.01</c:v>
                </c:pt>
                <c:pt idx="2013">
                  <c:v>0.04</c:v>
                </c:pt>
                <c:pt idx="2014">
                  <c:v>0.04</c:v>
                </c:pt>
                <c:pt idx="2015">
                  <c:v>0.04</c:v>
                </c:pt>
                <c:pt idx="2016">
                  <c:v>0.01</c:v>
                </c:pt>
                <c:pt idx="2017">
                  <c:v>0.02</c:v>
                </c:pt>
                <c:pt idx="2018">
                  <c:v>0.01</c:v>
                </c:pt>
                <c:pt idx="2019">
                  <c:v>0.02</c:v>
                </c:pt>
                <c:pt idx="2020">
                  <c:v>0.02</c:v>
                </c:pt>
                <c:pt idx="2021">
                  <c:v>0.01</c:v>
                </c:pt>
                <c:pt idx="2022">
                  <c:v>0.03</c:v>
                </c:pt>
                <c:pt idx="2023">
                  <c:v>0.1</c:v>
                </c:pt>
                <c:pt idx="2024">
                  <c:v>0.13</c:v>
                </c:pt>
                <c:pt idx="2025">
                  <c:v>0.13</c:v>
                </c:pt>
                <c:pt idx="2026">
                  <c:v>0.02</c:v>
                </c:pt>
                <c:pt idx="2027">
                  <c:v>0.02</c:v>
                </c:pt>
                <c:pt idx="2028">
                  <c:v>0.04</c:v>
                </c:pt>
                <c:pt idx="2029">
                  <c:v>0.03</c:v>
                </c:pt>
                <c:pt idx="2030">
                  <c:v>0.01</c:v>
                </c:pt>
                <c:pt idx="2031">
                  <c:v>0.04</c:v>
                </c:pt>
                <c:pt idx="2032">
                  <c:v>0.02</c:v>
                </c:pt>
                <c:pt idx="2033">
                  <c:v>0.01</c:v>
                </c:pt>
                <c:pt idx="2034">
                  <c:v>0.01</c:v>
                </c:pt>
                <c:pt idx="2035">
                  <c:v>0.02</c:v>
                </c:pt>
                <c:pt idx="2036">
                  <c:v>0.01</c:v>
                </c:pt>
                <c:pt idx="2037">
                  <c:v>0.02</c:v>
                </c:pt>
                <c:pt idx="2038">
                  <c:v>0.02</c:v>
                </c:pt>
                <c:pt idx="2039">
                  <c:v>0.02</c:v>
                </c:pt>
                <c:pt idx="2040">
                  <c:v>0.12</c:v>
                </c:pt>
                <c:pt idx="2041">
                  <c:v>0.01</c:v>
                </c:pt>
                <c:pt idx="2042">
                  <c:v>0.01</c:v>
                </c:pt>
                <c:pt idx="2043">
                  <c:v>0.08</c:v>
                </c:pt>
                <c:pt idx="2044">
                  <c:v>0.03</c:v>
                </c:pt>
                <c:pt idx="2045">
                  <c:v>0.04</c:v>
                </c:pt>
                <c:pt idx="2046">
                  <c:v>0.02</c:v>
                </c:pt>
                <c:pt idx="2047">
                  <c:v>0.01</c:v>
                </c:pt>
                <c:pt idx="2048">
                  <c:v>0.01</c:v>
                </c:pt>
                <c:pt idx="2049">
                  <c:v>0.11</c:v>
                </c:pt>
                <c:pt idx="2050">
                  <c:v>0.19</c:v>
                </c:pt>
                <c:pt idx="2051">
                  <c:v>0.06</c:v>
                </c:pt>
                <c:pt idx="2052">
                  <c:v>0.02</c:v>
                </c:pt>
                <c:pt idx="2053">
                  <c:v>0.01</c:v>
                </c:pt>
                <c:pt idx="2054">
                  <c:v>0.02</c:v>
                </c:pt>
                <c:pt idx="2055">
                  <c:v>0.01</c:v>
                </c:pt>
                <c:pt idx="2056">
                  <c:v>0.02</c:v>
                </c:pt>
                <c:pt idx="2057">
                  <c:v>0.02</c:v>
                </c:pt>
                <c:pt idx="2058">
                  <c:v>0.02</c:v>
                </c:pt>
                <c:pt idx="2059">
                  <c:v>0.09</c:v>
                </c:pt>
                <c:pt idx="2060">
                  <c:v>0.01</c:v>
                </c:pt>
                <c:pt idx="2061">
                  <c:v>0.05</c:v>
                </c:pt>
                <c:pt idx="2062">
                  <c:v>0.21</c:v>
                </c:pt>
                <c:pt idx="2063">
                  <c:v>7.0000000000000007E-2</c:v>
                </c:pt>
                <c:pt idx="2064">
                  <c:v>7.0000000000000007E-2</c:v>
                </c:pt>
                <c:pt idx="2065">
                  <c:v>0.08</c:v>
                </c:pt>
                <c:pt idx="2066">
                  <c:v>0.05</c:v>
                </c:pt>
                <c:pt idx="2067">
                  <c:v>0.02</c:v>
                </c:pt>
                <c:pt idx="2068">
                  <c:v>0.04</c:v>
                </c:pt>
                <c:pt idx="2069">
                  <c:v>7.0000000000000007E-2</c:v>
                </c:pt>
                <c:pt idx="2070">
                  <c:v>0.01</c:v>
                </c:pt>
                <c:pt idx="2071">
                  <c:v>0.02</c:v>
                </c:pt>
                <c:pt idx="2072">
                  <c:v>0.09</c:v>
                </c:pt>
                <c:pt idx="2073">
                  <c:v>0.02</c:v>
                </c:pt>
                <c:pt idx="2074">
                  <c:v>0.06</c:v>
                </c:pt>
                <c:pt idx="2075">
                  <c:v>0.08</c:v>
                </c:pt>
                <c:pt idx="2076">
                  <c:v>0.12</c:v>
                </c:pt>
                <c:pt idx="2077">
                  <c:v>0.02</c:v>
                </c:pt>
                <c:pt idx="2078">
                  <c:v>0.02</c:v>
                </c:pt>
                <c:pt idx="2079">
                  <c:v>0.06</c:v>
                </c:pt>
                <c:pt idx="2080">
                  <c:v>0.03</c:v>
                </c:pt>
                <c:pt idx="2081">
                  <c:v>0.09</c:v>
                </c:pt>
                <c:pt idx="2082">
                  <c:v>0.05</c:v>
                </c:pt>
                <c:pt idx="2083">
                  <c:v>0.03</c:v>
                </c:pt>
                <c:pt idx="2084">
                  <c:v>0.05</c:v>
                </c:pt>
                <c:pt idx="2085">
                  <c:v>0.01</c:v>
                </c:pt>
                <c:pt idx="2086">
                  <c:v>0.08</c:v>
                </c:pt>
                <c:pt idx="2087">
                  <c:v>0.02</c:v>
                </c:pt>
                <c:pt idx="2088">
                  <c:v>0.01</c:v>
                </c:pt>
                <c:pt idx="2089">
                  <c:v>0.04</c:v>
                </c:pt>
                <c:pt idx="2090">
                  <c:v>7.0000000000000007E-2</c:v>
                </c:pt>
                <c:pt idx="2091">
                  <c:v>0.01</c:v>
                </c:pt>
                <c:pt idx="2092">
                  <c:v>0.1</c:v>
                </c:pt>
                <c:pt idx="2093">
                  <c:v>0.08</c:v>
                </c:pt>
                <c:pt idx="2094">
                  <c:v>0.01</c:v>
                </c:pt>
                <c:pt idx="2095">
                  <c:v>7.0000000000000007E-2</c:v>
                </c:pt>
                <c:pt idx="2096">
                  <c:v>0.06</c:v>
                </c:pt>
                <c:pt idx="2097">
                  <c:v>7.0000000000000007E-2</c:v>
                </c:pt>
                <c:pt idx="2098">
                  <c:v>0.04</c:v>
                </c:pt>
                <c:pt idx="2099">
                  <c:v>0.01</c:v>
                </c:pt>
                <c:pt idx="2100">
                  <c:v>0.01</c:v>
                </c:pt>
                <c:pt idx="2101">
                  <c:v>0.1</c:v>
                </c:pt>
                <c:pt idx="2102">
                  <c:v>0.14000000000000001</c:v>
                </c:pt>
                <c:pt idx="2103">
                  <c:v>0.01</c:v>
                </c:pt>
                <c:pt idx="2104">
                  <c:v>7.0000000000000007E-2</c:v>
                </c:pt>
                <c:pt idx="2105">
                  <c:v>0.02</c:v>
                </c:pt>
                <c:pt idx="2106">
                  <c:v>0.08</c:v>
                </c:pt>
                <c:pt idx="2107">
                  <c:v>0.06</c:v>
                </c:pt>
                <c:pt idx="2108">
                  <c:v>0.01</c:v>
                </c:pt>
                <c:pt idx="2109">
                  <c:v>0.01</c:v>
                </c:pt>
                <c:pt idx="2110">
                  <c:v>0.06</c:v>
                </c:pt>
                <c:pt idx="2111">
                  <c:v>0.02</c:v>
                </c:pt>
                <c:pt idx="2112">
                  <c:v>0.04</c:v>
                </c:pt>
                <c:pt idx="2113">
                  <c:v>0.01</c:v>
                </c:pt>
                <c:pt idx="2114">
                  <c:v>0.01</c:v>
                </c:pt>
                <c:pt idx="2115">
                  <c:v>0.02</c:v>
                </c:pt>
                <c:pt idx="2116">
                  <c:v>0.04</c:v>
                </c:pt>
                <c:pt idx="2117">
                  <c:v>0.02</c:v>
                </c:pt>
                <c:pt idx="2118">
                  <c:v>0.03</c:v>
                </c:pt>
                <c:pt idx="2119">
                  <c:v>0.01</c:v>
                </c:pt>
                <c:pt idx="2120">
                  <c:v>0.04</c:v>
                </c:pt>
                <c:pt idx="2121">
                  <c:v>0.02</c:v>
                </c:pt>
                <c:pt idx="2122">
                  <c:v>0.06</c:v>
                </c:pt>
                <c:pt idx="2123">
                  <c:v>0.05</c:v>
                </c:pt>
                <c:pt idx="2124">
                  <c:v>0.02</c:v>
                </c:pt>
                <c:pt idx="2125">
                  <c:v>0.14000000000000001</c:v>
                </c:pt>
                <c:pt idx="2126">
                  <c:v>0.05</c:v>
                </c:pt>
                <c:pt idx="2127">
                  <c:v>0.02</c:v>
                </c:pt>
                <c:pt idx="2128">
                  <c:v>0.06</c:v>
                </c:pt>
                <c:pt idx="2129">
                  <c:v>0.02</c:v>
                </c:pt>
                <c:pt idx="2130">
                  <c:v>0.02</c:v>
                </c:pt>
                <c:pt idx="2131">
                  <c:v>0.02</c:v>
                </c:pt>
                <c:pt idx="2132">
                  <c:v>0.06</c:v>
                </c:pt>
                <c:pt idx="2133">
                  <c:v>0.02</c:v>
                </c:pt>
                <c:pt idx="2134">
                  <c:v>0.02</c:v>
                </c:pt>
                <c:pt idx="2135">
                  <c:v>0.03</c:v>
                </c:pt>
                <c:pt idx="2136">
                  <c:v>0.01</c:v>
                </c:pt>
                <c:pt idx="2137">
                  <c:v>0.01</c:v>
                </c:pt>
                <c:pt idx="2138">
                  <c:v>0.02</c:v>
                </c:pt>
                <c:pt idx="2139">
                  <c:v>0.01</c:v>
                </c:pt>
                <c:pt idx="2140">
                  <c:v>0.01</c:v>
                </c:pt>
                <c:pt idx="2141">
                  <c:v>0.04</c:v>
                </c:pt>
                <c:pt idx="2142">
                  <c:v>0.02</c:v>
                </c:pt>
                <c:pt idx="2143">
                  <c:v>0.02</c:v>
                </c:pt>
                <c:pt idx="2144">
                  <c:v>0.03</c:v>
                </c:pt>
                <c:pt idx="2145">
                  <c:v>0.01</c:v>
                </c:pt>
                <c:pt idx="2146">
                  <c:v>0.02</c:v>
                </c:pt>
                <c:pt idx="2147">
                  <c:v>0.09</c:v>
                </c:pt>
                <c:pt idx="2148">
                  <c:v>0.06</c:v>
                </c:pt>
                <c:pt idx="2149">
                  <c:v>0.13</c:v>
                </c:pt>
                <c:pt idx="2150">
                  <c:v>0.06</c:v>
                </c:pt>
                <c:pt idx="2151">
                  <c:v>0.02</c:v>
                </c:pt>
                <c:pt idx="2152">
                  <c:v>0.01</c:v>
                </c:pt>
                <c:pt idx="2153">
                  <c:v>0.02</c:v>
                </c:pt>
                <c:pt idx="2154">
                  <c:v>0.01</c:v>
                </c:pt>
                <c:pt idx="2155">
                  <c:v>0.13</c:v>
                </c:pt>
                <c:pt idx="2156">
                  <c:v>0.03</c:v>
                </c:pt>
                <c:pt idx="2157">
                  <c:v>0.04</c:v>
                </c:pt>
                <c:pt idx="2158">
                  <c:v>0.01</c:v>
                </c:pt>
                <c:pt idx="2159">
                  <c:v>0.06</c:v>
                </c:pt>
                <c:pt idx="2160">
                  <c:v>0.08</c:v>
                </c:pt>
                <c:pt idx="2161">
                  <c:v>0.08</c:v>
                </c:pt>
                <c:pt idx="2162">
                  <c:v>0.13</c:v>
                </c:pt>
                <c:pt idx="2163">
                  <c:v>0.02</c:v>
                </c:pt>
                <c:pt idx="2164">
                  <c:v>0.01</c:v>
                </c:pt>
                <c:pt idx="2165">
                  <c:v>0.06</c:v>
                </c:pt>
                <c:pt idx="2166">
                  <c:v>0.02</c:v>
                </c:pt>
                <c:pt idx="2167">
                  <c:v>0.01</c:v>
                </c:pt>
                <c:pt idx="2168">
                  <c:v>0.02</c:v>
                </c:pt>
                <c:pt idx="2169">
                  <c:v>0.06</c:v>
                </c:pt>
                <c:pt idx="2170">
                  <c:v>0.06</c:v>
                </c:pt>
                <c:pt idx="2171">
                  <c:v>0.01</c:v>
                </c:pt>
                <c:pt idx="2172">
                  <c:v>0.02</c:v>
                </c:pt>
                <c:pt idx="2173">
                  <c:v>0.1</c:v>
                </c:pt>
                <c:pt idx="2174">
                  <c:v>0.03</c:v>
                </c:pt>
                <c:pt idx="2175">
                  <c:v>0.03</c:v>
                </c:pt>
                <c:pt idx="2176">
                  <c:v>0.02</c:v>
                </c:pt>
                <c:pt idx="2177">
                  <c:v>0.01</c:v>
                </c:pt>
                <c:pt idx="2178">
                  <c:v>0.01</c:v>
                </c:pt>
                <c:pt idx="2179">
                  <c:v>0.01</c:v>
                </c:pt>
                <c:pt idx="2180">
                  <c:v>0.02</c:v>
                </c:pt>
                <c:pt idx="2181">
                  <c:v>0.03</c:v>
                </c:pt>
                <c:pt idx="2182">
                  <c:v>0.11</c:v>
                </c:pt>
                <c:pt idx="2183">
                  <c:v>0.02</c:v>
                </c:pt>
                <c:pt idx="2184">
                  <c:v>0.02</c:v>
                </c:pt>
                <c:pt idx="2185">
                  <c:v>0.02</c:v>
                </c:pt>
                <c:pt idx="2186">
                  <c:v>0.02</c:v>
                </c:pt>
                <c:pt idx="2187">
                  <c:v>0.01</c:v>
                </c:pt>
                <c:pt idx="2188">
                  <c:v>0.04</c:v>
                </c:pt>
                <c:pt idx="2189">
                  <c:v>0.03</c:v>
                </c:pt>
                <c:pt idx="2190">
                  <c:v>0.04</c:v>
                </c:pt>
                <c:pt idx="2191">
                  <c:v>0.01</c:v>
                </c:pt>
                <c:pt idx="2192">
                  <c:v>0.01</c:v>
                </c:pt>
                <c:pt idx="2193">
                  <c:v>0.01</c:v>
                </c:pt>
                <c:pt idx="2194">
                  <c:v>0.01</c:v>
                </c:pt>
                <c:pt idx="2195">
                  <c:v>0.02</c:v>
                </c:pt>
                <c:pt idx="2196">
                  <c:v>0.02</c:v>
                </c:pt>
                <c:pt idx="2197">
                  <c:v>0.06</c:v>
                </c:pt>
                <c:pt idx="2198">
                  <c:v>7.0000000000000007E-2</c:v>
                </c:pt>
                <c:pt idx="2199">
                  <c:v>0.02</c:v>
                </c:pt>
                <c:pt idx="2200">
                  <c:v>0.02</c:v>
                </c:pt>
                <c:pt idx="2201">
                  <c:v>0.01</c:v>
                </c:pt>
                <c:pt idx="2202">
                  <c:v>0.02</c:v>
                </c:pt>
                <c:pt idx="2203">
                  <c:v>0.02</c:v>
                </c:pt>
                <c:pt idx="2204">
                  <c:v>0.01</c:v>
                </c:pt>
                <c:pt idx="2205">
                  <c:v>0.01</c:v>
                </c:pt>
                <c:pt idx="2206">
                  <c:v>0.28999999999999998</c:v>
                </c:pt>
                <c:pt idx="2207">
                  <c:v>0.01</c:v>
                </c:pt>
                <c:pt idx="2208">
                  <c:v>0.02</c:v>
                </c:pt>
                <c:pt idx="2209">
                  <c:v>0.01</c:v>
                </c:pt>
                <c:pt idx="2210">
                  <c:v>0.02</c:v>
                </c:pt>
                <c:pt idx="2211">
                  <c:v>0.02</c:v>
                </c:pt>
                <c:pt idx="2212">
                  <c:v>0.06</c:v>
                </c:pt>
                <c:pt idx="2213">
                  <c:v>0.01</c:v>
                </c:pt>
                <c:pt idx="2214">
                  <c:v>0.02</c:v>
                </c:pt>
                <c:pt idx="2215">
                  <c:v>0.01</c:v>
                </c:pt>
                <c:pt idx="2216">
                  <c:v>0.01</c:v>
                </c:pt>
                <c:pt idx="2217">
                  <c:v>0.02</c:v>
                </c:pt>
                <c:pt idx="2218">
                  <c:v>0.03</c:v>
                </c:pt>
                <c:pt idx="2219">
                  <c:v>0.13</c:v>
                </c:pt>
                <c:pt idx="2220">
                  <c:v>0.03</c:v>
                </c:pt>
                <c:pt idx="2221">
                  <c:v>0.03</c:v>
                </c:pt>
                <c:pt idx="2222">
                  <c:v>0.01</c:v>
                </c:pt>
                <c:pt idx="2223">
                  <c:v>0.02</c:v>
                </c:pt>
                <c:pt idx="2224">
                  <c:v>0.01</c:v>
                </c:pt>
                <c:pt idx="2225">
                  <c:v>0.05</c:v>
                </c:pt>
                <c:pt idx="2226">
                  <c:v>0.03</c:v>
                </c:pt>
                <c:pt idx="2227">
                  <c:v>0.02</c:v>
                </c:pt>
                <c:pt idx="2228">
                  <c:v>0.03</c:v>
                </c:pt>
                <c:pt idx="2229">
                  <c:v>0.02</c:v>
                </c:pt>
                <c:pt idx="2230">
                  <c:v>0.02</c:v>
                </c:pt>
                <c:pt idx="2231">
                  <c:v>0.01</c:v>
                </c:pt>
                <c:pt idx="2232">
                  <c:v>0.05</c:v>
                </c:pt>
                <c:pt idx="2233">
                  <c:v>0.01</c:v>
                </c:pt>
                <c:pt idx="2234">
                  <c:v>0.03</c:v>
                </c:pt>
                <c:pt idx="2235">
                  <c:v>0.03</c:v>
                </c:pt>
                <c:pt idx="2236">
                  <c:v>0.01</c:v>
                </c:pt>
                <c:pt idx="2237">
                  <c:v>0.01</c:v>
                </c:pt>
                <c:pt idx="2238">
                  <c:v>0.05</c:v>
                </c:pt>
                <c:pt idx="2239">
                  <c:v>0.01</c:v>
                </c:pt>
                <c:pt idx="2240">
                  <c:v>0.06</c:v>
                </c:pt>
                <c:pt idx="2241">
                  <c:v>0.03</c:v>
                </c:pt>
                <c:pt idx="2242">
                  <c:v>0.03</c:v>
                </c:pt>
                <c:pt idx="2243">
                  <c:v>0.03</c:v>
                </c:pt>
                <c:pt idx="2244">
                  <c:v>0.02</c:v>
                </c:pt>
                <c:pt idx="2245">
                  <c:v>0.02</c:v>
                </c:pt>
                <c:pt idx="2246">
                  <c:v>0.01</c:v>
                </c:pt>
                <c:pt idx="2247">
                  <c:v>0.02</c:v>
                </c:pt>
                <c:pt idx="2248">
                  <c:v>0.13</c:v>
                </c:pt>
                <c:pt idx="2249">
                  <c:v>0.01</c:v>
                </c:pt>
                <c:pt idx="2250">
                  <c:v>0.04</c:v>
                </c:pt>
                <c:pt idx="2251">
                  <c:v>0.01</c:v>
                </c:pt>
                <c:pt idx="2252">
                  <c:v>0.01</c:v>
                </c:pt>
                <c:pt idx="2253">
                  <c:v>0.01</c:v>
                </c:pt>
                <c:pt idx="2254">
                  <c:v>0.06</c:v>
                </c:pt>
                <c:pt idx="2255">
                  <c:v>0.01</c:v>
                </c:pt>
                <c:pt idx="2256">
                  <c:v>0.02</c:v>
                </c:pt>
                <c:pt idx="2257">
                  <c:v>0.02</c:v>
                </c:pt>
                <c:pt idx="2258">
                  <c:v>0.14000000000000001</c:v>
                </c:pt>
                <c:pt idx="2259">
                  <c:v>0.01</c:v>
                </c:pt>
                <c:pt idx="2260">
                  <c:v>0.03</c:v>
                </c:pt>
                <c:pt idx="2261">
                  <c:v>0.01</c:v>
                </c:pt>
                <c:pt idx="2262">
                  <c:v>0.06</c:v>
                </c:pt>
                <c:pt idx="2263">
                  <c:v>0.09</c:v>
                </c:pt>
                <c:pt idx="2264">
                  <c:v>0.04</c:v>
                </c:pt>
                <c:pt idx="2265">
                  <c:v>0.03</c:v>
                </c:pt>
                <c:pt idx="2266">
                  <c:v>0.08</c:v>
                </c:pt>
                <c:pt idx="2267">
                  <c:v>0.02</c:v>
                </c:pt>
                <c:pt idx="2268">
                  <c:v>0.03</c:v>
                </c:pt>
                <c:pt idx="2269">
                  <c:v>0.04</c:v>
                </c:pt>
                <c:pt idx="2270">
                  <c:v>0.01</c:v>
                </c:pt>
                <c:pt idx="2271">
                  <c:v>0.01</c:v>
                </c:pt>
                <c:pt idx="2272">
                  <c:v>0.02</c:v>
                </c:pt>
                <c:pt idx="2273">
                  <c:v>0.01</c:v>
                </c:pt>
                <c:pt idx="2274">
                  <c:v>0.01</c:v>
                </c:pt>
                <c:pt idx="2275">
                  <c:v>0.08</c:v>
                </c:pt>
                <c:pt idx="2276">
                  <c:v>0.04</c:v>
                </c:pt>
                <c:pt idx="2277">
                  <c:v>0.04</c:v>
                </c:pt>
                <c:pt idx="2278">
                  <c:v>0.02</c:v>
                </c:pt>
                <c:pt idx="2279">
                  <c:v>0.05</c:v>
                </c:pt>
                <c:pt idx="2280">
                  <c:v>0.02</c:v>
                </c:pt>
                <c:pt idx="2281">
                  <c:v>0.01</c:v>
                </c:pt>
                <c:pt idx="2282">
                  <c:v>0.01</c:v>
                </c:pt>
                <c:pt idx="2283">
                  <c:v>0.01</c:v>
                </c:pt>
                <c:pt idx="2284">
                  <c:v>0.02</c:v>
                </c:pt>
                <c:pt idx="2285">
                  <c:v>0.04</c:v>
                </c:pt>
                <c:pt idx="2286">
                  <c:v>0.01</c:v>
                </c:pt>
                <c:pt idx="2287">
                  <c:v>0.02</c:v>
                </c:pt>
                <c:pt idx="2288">
                  <c:v>0.01</c:v>
                </c:pt>
                <c:pt idx="2289">
                  <c:v>0.05</c:v>
                </c:pt>
                <c:pt idx="2290">
                  <c:v>7.0000000000000007E-2</c:v>
                </c:pt>
                <c:pt idx="2291">
                  <c:v>0.02</c:v>
                </c:pt>
                <c:pt idx="2292">
                  <c:v>0.02</c:v>
                </c:pt>
                <c:pt idx="2293">
                  <c:v>0.02</c:v>
                </c:pt>
                <c:pt idx="2294">
                  <c:v>0.01</c:v>
                </c:pt>
                <c:pt idx="2295">
                  <c:v>0.06</c:v>
                </c:pt>
                <c:pt idx="2296">
                  <c:v>0.02</c:v>
                </c:pt>
                <c:pt idx="2297">
                  <c:v>0.01</c:v>
                </c:pt>
                <c:pt idx="2298">
                  <c:v>0.02</c:v>
                </c:pt>
                <c:pt idx="2299">
                  <c:v>0.04</c:v>
                </c:pt>
                <c:pt idx="2300">
                  <c:v>0.02</c:v>
                </c:pt>
                <c:pt idx="2301">
                  <c:v>0.02</c:v>
                </c:pt>
                <c:pt idx="2302">
                  <c:v>0.13</c:v>
                </c:pt>
                <c:pt idx="2303">
                  <c:v>0.03</c:v>
                </c:pt>
                <c:pt idx="2304">
                  <c:v>0.04</c:v>
                </c:pt>
                <c:pt idx="2305">
                  <c:v>0.03</c:v>
                </c:pt>
                <c:pt idx="2306">
                  <c:v>0.05</c:v>
                </c:pt>
                <c:pt idx="2307">
                  <c:v>7.0000000000000007E-2</c:v>
                </c:pt>
                <c:pt idx="2308">
                  <c:v>0.04</c:v>
                </c:pt>
                <c:pt idx="2309">
                  <c:v>0.04</c:v>
                </c:pt>
                <c:pt idx="2310">
                  <c:v>0.01</c:v>
                </c:pt>
                <c:pt idx="2311">
                  <c:v>0.03</c:v>
                </c:pt>
                <c:pt idx="2312">
                  <c:v>0.01</c:v>
                </c:pt>
                <c:pt idx="2313">
                  <c:v>0.05</c:v>
                </c:pt>
                <c:pt idx="2314">
                  <c:v>0.06</c:v>
                </c:pt>
                <c:pt idx="2315">
                  <c:v>0.03</c:v>
                </c:pt>
                <c:pt idx="2316">
                  <c:v>0.13</c:v>
                </c:pt>
                <c:pt idx="2317">
                  <c:v>0.02</c:v>
                </c:pt>
                <c:pt idx="2318">
                  <c:v>0.04</c:v>
                </c:pt>
                <c:pt idx="2319">
                  <c:v>0.02</c:v>
                </c:pt>
                <c:pt idx="2320">
                  <c:v>0.03</c:v>
                </c:pt>
                <c:pt idx="2321">
                  <c:v>0.02</c:v>
                </c:pt>
                <c:pt idx="2322">
                  <c:v>0.04</c:v>
                </c:pt>
                <c:pt idx="2323">
                  <c:v>0.02</c:v>
                </c:pt>
                <c:pt idx="2324">
                  <c:v>0.03</c:v>
                </c:pt>
                <c:pt idx="2325">
                  <c:v>0.04</c:v>
                </c:pt>
                <c:pt idx="2326">
                  <c:v>0.03</c:v>
                </c:pt>
                <c:pt idx="2327">
                  <c:v>0.02</c:v>
                </c:pt>
                <c:pt idx="2328">
                  <c:v>0.01</c:v>
                </c:pt>
                <c:pt idx="2329">
                  <c:v>0.06</c:v>
                </c:pt>
                <c:pt idx="2330">
                  <c:v>0.02</c:v>
                </c:pt>
                <c:pt idx="2331">
                  <c:v>0.02</c:v>
                </c:pt>
                <c:pt idx="2332">
                  <c:v>0.01</c:v>
                </c:pt>
                <c:pt idx="2333">
                  <c:v>0.01</c:v>
                </c:pt>
                <c:pt idx="2334">
                  <c:v>0.01</c:v>
                </c:pt>
                <c:pt idx="2335">
                  <c:v>0.19</c:v>
                </c:pt>
                <c:pt idx="2336">
                  <c:v>7.0000000000000007E-2</c:v>
                </c:pt>
                <c:pt idx="2337">
                  <c:v>0.03</c:v>
                </c:pt>
                <c:pt idx="2338">
                  <c:v>0.02</c:v>
                </c:pt>
                <c:pt idx="2339">
                  <c:v>7.0000000000000007E-2</c:v>
                </c:pt>
                <c:pt idx="2340">
                  <c:v>0.03</c:v>
                </c:pt>
                <c:pt idx="2341">
                  <c:v>0.03</c:v>
                </c:pt>
                <c:pt idx="2342">
                  <c:v>0.04</c:v>
                </c:pt>
                <c:pt idx="2343">
                  <c:v>0.02</c:v>
                </c:pt>
                <c:pt idx="2344">
                  <c:v>0.04</c:v>
                </c:pt>
                <c:pt idx="2345">
                  <c:v>0.01</c:v>
                </c:pt>
                <c:pt idx="2346">
                  <c:v>0.01</c:v>
                </c:pt>
                <c:pt idx="2347">
                  <c:v>7.0000000000000007E-2</c:v>
                </c:pt>
                <c:pt idx="2348">
                  <c:v>0.02</c:v>
                </c:pt>
                <c:pt idx="2349">
                  <c:v>0.03</c:v>
                </c:pt>
                <c:pt idx="2350">
                  <c:v>0.01</c:v>
                </c:pt>
                <c:pt idx="2351">
                  <c:v>0.01</c:v>
                </c:pt>
                <c:pt idx="2352">
                  <c:v>0.03</c:v>
                </c:pt>
                <c:pt idx="2353">
                  <c:v>0.01</c:v>
                </c:pt>
                <c:pt idx="2354">
                  <c:v>0.02</c:v>
                </c:pt>
                <c:pt idx="2355">
                  <c:v>0.01</c:v>
                </c:pt>
                <c:pt idx="2356">
                  <c:v>0.17</c:v>
                </c:pt>
                <c:pt idx="2357">
                  <c:v>0.01</c:v>
                </c:pt>
                <c:pt idx="2358">
                  <c:v>0.01</c:v>
                </c:pt>
                <c:pt idx="2359">
                  <c:v>0.06</c:v>
                </c:pt>
                <c:pt idx="2360">
                  <c:v>0.03</c:v>
                </c:pt>
                <c:pt idx="2361">
                  <c:v>0.01</c:v>
                </c:pt>
                <c:pt idx="2362">
                  <c:v>0.01</c:v>
                </c:pt>
                <c:pt idx="2363">
                  <c:v>0.01</c:v>
                </c:pt>
                <c:pt idx="2364">
                  <c:v>0.01</c:v>
                </c:pt>
                <c:pt idx="2365">
                  <c:v>0.03</c:v>
                </c:pt>
                <c:pt idx="2366">
                  <c:v>0.03</c:v>
                </c:pt>
                <c:pt idx="2367">
                  <c:v>0.01</c:v>
                </c:pt>
                <c:pt idx="2368">
                  <c:v>7.0000000000000007E-2</c:v>
                </c:pt>
                <c:pt idx="2369">
                  <c:v>0.11</c:v>
                </c:pt>
                <c:pt idx="2370">
                  <c:v>0.01</c:v>
                </c:pt>
                <c:pt idx="2371">
                  <c:v>0.01</c:v>
                </c:pt>
                <c:pt idx="2372">
                  <c:v>0.01</c:v>
                </c:pt>
                <c:pt idx="2373">
                  <c:v>0.01</c:v>
                </c:pt>
                <c:pt idx="2374">
                  <c:v>0.01</c:v>
                </c:pt>
                <c:pt idx="2375">
                  <c:v>0.06</c:v>
                </c:pt>
                <c:pt idx="2376">
                  <c:v>0.02</c:v>
                </c:pt>
                <c:pt idx="2377">
                  <c:v>0.02</c:v>
                </c:pt>
                <c:pt idx="2378">
                  <c:v>0.02</c:v>
                </c:pt>
                <c:pt idx="2379">
                  <c:v>0.02</c:v>
                </c:pt>
                <c:pt idx="2380">
                  <c:v>0.01</c:v>
                </c:pt>
                <c:pt idx="2381">
                  <c:v>0.01</c:v>
                </c:pt>
                <c:pt idx="2382">
                  <c:v>0.05</c:v>
                </c:pt>
                <c:pt idx="2383">
                  <c:v>0.01</c:v>
                </c:pt>
                <c:pt idx="2384">
                  <c:v>0.01</c:v>
                </c:pt>
                <c:pt idx="2385">
                  <c:v>0.01</c:v>
                </c:pt>
                <c:pt idx="2386">
                  <c:v>0.01</c:v>
                </c:pt>
                <c:pt idx="2387">
                  <c:v>0.02</c:v>
                </c:pt>
                <c:pt idx="2388">
                  <c:v>0.01</c:v>
                </c:pt>
                <c:pt idx="2389">
                  <c:v>7.0000000000000007E-2</c:v>
                </c:pt>
                <c:pt idx="2390">
                  <c:v>0.03</c:v>
                </c:pt>
                <c:pt idx="2391">
                  <c:v>0.04</c:v>
                </c:pt>
                <c:pt idx="2392">
                  <c:v>0.03</c:v>
                </c:pt>
                <c:pt idx="2393">
                  <c:v>0.01</c:v>
                </c:pt>
                <c:pt idx="2394">
                  <c:v>0.01</c:v>
                </c:pt>
                <c:pt idx="2395">
                  <c:v>0.02</c:v>
                </c:pt>
                <c:pt idx="2396">
                  <c:v>0.02</c:v>
                </c:pt>
                <c:pt idx="2397">
                  <c:v>7.0000000000000007E-2</c:v>
                </c:pt>
                <c:pt idx="2398">
                  <c:v>0.01</c:v>
                </c:pt>
                <c:pt idx="2399">
                  <c:v>0.01</c:v>
                </c:pt>
                <c:pt idx="2400">
                  <c:v>0.09</c:v>
                </c:pt>
                <c:pt idx="2401">
                  <c:v>0.03</c:v>
                </c:pt>
                <c:pt idx="2402">
                  <c:v>0.02</c:v>
                </c:pt>
                <c:pt idx="2403">
                  <c:v>0.01</c:v>
                </c:pt>
                <c:pt idx="2404">
                  <c:v>0.03</c:v>
                </c:pt>
                <c:pt idx="2405">
                  <c:v>0.02</c:v>
                </c:pt>
                <c:pt idx="2406">
                  <c:v>0.02</c:v>
                </c:pt>
                <c:pt idx="2407">
                  <c:v>0.05</c:v>
                </c:pt>
                <c:pt idx="2408">
                  <c:v>0.01</c:v>
                </c:pt>
                <c:pt idx="2409">
                  <c:v>0.01</c:v>
                </c:pt>
                <c:pt idx="2410">
                  <c:v>0.02</c:v>
                </c:pt>
                <c:pt idx="2411">
                  <c:v>0.02</c:v>
                </c:pt>
                <c:pt idx="2412">
                  <c:v>0.02</c:v>
                </c:pt>
                <c:pt idx="2413">
                  <c:v>0.04</c:v>
                </c:pt>
                <c:pt idx="2414">
                  <c:v>0.02</c:v>
                </c:pt>
                <c:pt idx="2415">
                  <c:v>0.01</c:v>
                </c:pt>
                <c:pt idx="2416">
                  <c:v>0.02</c:v>
                </c:pt>
                <c:pt idx="2417">
                  <c:v>0.02</c:v>
                </c:pt>
                <c:pt idx="2418">
                  <c:v>0.03</c:v>
                </c:pt>
                <c:pt idx="2419">
                  <c:v>0.01</c:v>
                </c:pt>
                <c:pt idx="2420">
                  <c:v>0.01</c:v>
                </c:pt>
                <c:pt idx="2421">
                  <c:v>0.03</c:v>
                </c:pt>
                <c:pt idx="2422">
                  <c:v>0.01</c:v>
                </c:pt>
                <c:pt idx="2423">
                  <c:v>0.01</c:v>
                </c:pt>
                <c:pt idx="2424">
                  <c:v>0.02</c:v>
                </c:pt>
                <c:pt idx="2425">
                  <c:v>0.04</c:v>
                </c:pt>
                <c:pt idx="2426">
                  <c:v>0.19</c:v>
                </c:pt>
                <c:pt idx="2427">
                  <c:v>0.01</c:v>
                </c:pt>
                <c:pt idx="2428">
                  <c:v>0.03</c:v>
                </c:pt>
                <c:pt idx="2429">
                  <c:v>0.03</c:v>
                </c:pt>
                <c:pt idx="2430">
                  <c:v>0.04</c:v>
                </c:pt>
                <c:pt idx="2431">
                  <c:v>0.01</c:v>
                </c:pt>
                <c:pt idx="2432">
                  <c:v>0.02</c:v>
                </c:pt>
                <c:pt idx="2433">
                  <c:v>0.04</c:v>
                </c:pt>
                <c:pt idx="2434">
                  <c:v>0.01</c:v>
                </c:pt>
                <c:pt idx="2435">
                  <c:v>0.01</c:v>
                </c:pt>
                <c:pt idx="2436">
                  <c:v>0.12</c:v>
                </c:pt>
                <c:pt idx="2437">
                  <c:v>0.09</c:v>
                </c:pt>
                <c:pt idx="2438">
                  <c:v>0.02</c:v>
                </c:pt>
                <c:pt idx="2439">
                  <c:v>0.03</c:v>
                </c:pt>
                <c:pt idx="2440">
                  <c:v>0.01</c:v>
                </c:pt>
                <c:pt idx="2441">
                  <c:v>0.01</c:v>
                </c:pt>
                <c:pt idx="2442">
                  <c:v>0.02</c:v>
                </c:pt>
                <c:pt idx="2443">
                  <c:v>0.02</c:v>
                </c:pt>
                <c:pt idx="2444">
                  <c:v>0.03</c:v>
                </c:pt>
                <c:pt idx="2445">
                  <c:v>0.06</c:v>
                </c:pt>
                <c:pt idx="2446">
                  <c:v>0.01</c:v>
                </c:pt>
                <c:pt idx="2447">
                  <c:v>0.02</c:v>
                </c:pt>
                <c:pt idx="2448">
                  <c:v>0.01</c:v>
                </c:pt>
                <c:pt idx="2449">
                  <c:v>0.03</c:v>
                </c:pt>
                <c:pt idx="2450">
                  <c:v>0.01</c:v>
                </c:pt>
                <c:pt idx="2451">
                  <c:v>0.01</c:v>
                </c:pt>
                <c:pt idx="2452">
                  <c:v>0.09</c:v>
                </c:pt>
                <c:pt idx="2453">
                  <c:v>0.11</c:v>
                </c:pt>
                <c:pt idx="2454">
                  <c:v>0.01</c:v>
                </c:pt>
                <c:pt idx="2455">
                  <c:v>0.01</c:v>
                </c:pt>
                <c:pt idx="2456">
                  <c:v>0.03</c:v>
                </c:pt>
                <c:pt idx="2457">
                  <c:v>0.02</c:v>
                </c:pt>
                <c:pt idx="2458">
                  <c:v>0.06</c:v>
                </c:pt>
                <c:pt idx="2459">
                  <c:v>0.01</c:v>
                </c:pt>
                <c:pt idx="2460">
                  <c:v>0.03</c:v>
                </c:pt>
                <c:pt idx="2461">
                  <c:v>0.08</c:v>
                </c:pt>
                <c:pt idx="2462">
                  <c:v>0.01</c:v>
                </c:pt>
                <c:pt idx="2463">
                  <c:v>0.01</c:v>
                </c:pt>
                <c:pt idx="2464">
                  <c:v>0.01</c:v>
                </c:pt>
                <c:pt idx="2465">
                  <c:v>0.02</c:v>
                </c:pt>
                <c:pt idx="2466">
                  <c:v>0.01</c:v>
                </c:pt>
                <c:pt idx="2467">
                  <c:v>0.01</c:v>
                </c:pt>
                <c:pt idx="2468">
                  <c:v>0.01</c:v>
                </c:pt>
                <c:pt idx="2469">
                  <c:v>0.03</c:v>
                </c:pt>
                <c:pt idx="2470">
                  <c:v>0.01</c:v>
                </c:pt>
                <c:pt idx="2471">
                  <c:v>0.02</c:v>
                </c:pt>
                <c:pt idx="2472">
                  <c:v>0.03</c:v>
                </c:pt>
                <c:pt idx="2473">
                  <c:v>0.01</c:v>
                </c:pt>
                <c:pt idx="2474">
                  <c:v>0.01</c:v>
                </c:pt>
                <c:pt idx="2475">
                  <c:v>0.1</c:v>
                </c:pt>
                <c:pt idx="2476">
                  <c:v>0.05</c:v>
                </c:pt>
                <c:pt idx="2477">
                  <c:v>0.06</c:v>
                </c:pt>
                <c:pt idx="2478">
                  <c:v>0.02</c:v>
                </c:pt>
                <c:pt idx="2479">
                  <c:v>0.01</c:v>
                </c:pt>
                <c:pt idx="2480">
                  <c:v>0.02</c:v>
                </c:pt>
                <c:pt idx="2481">
                  <c:v>0.02</c:v>
                </c:pt>
                <c:pt idx="2482">
                  <c:v>0.01</c:v>
                </c:pt>
                <c:pt idx="2483">
                  <c:v>0.08</c:v>
                </c:pt>
                <c:pt idx="2484">
                  <c:v>0.01</c:v>
                </c:pt>
                <c:pt idx="2485">
                  <c:v>0.01</c:v>
                </c:pt>
                <c:pt idx="2486">
                  <c:v>0.03</c:v>
                </c:pt>
                <c:pt idx="2487">
                  <c:v>0.01</c:v>
                </c:pt>
                <c:pt idx="2488">
                  <c:v>0.08</c:v>
                </c:pt>
                <c:pt idx="2489">
                  <c:v>0.02</c:v>
                </c:pt>
                <c:pt idx="2490">
                  <c:v>0.01</c:v>
                </c:pt>
                <c:pt idx="2491">
                  <c:v>0.01</c:v>
                </c:pt>
                <c:pt idx="2492">
                  <c:v>0.13</c:v>
                </c:pt>
                <c:pt idx="2493">
                  <c:v>0.01</c:v>
                </c:pt>
                <c:pt idx="2494">
                  <c:v>0.02</c:v>
                </c:pt>
                <c:pt idx="2495">
                  <c:v>7.0000000000000007E-2</c:v>
                </c:pt>
                <c:pt idx="2496">
                  <c:v>0.01</c:v>
                </c:pt>
                <c:pt idx="2497">
                  <c:v>0.02</c:v>
                </c:pt>
                <c:pt idx="2498">
                  <c:v>0.02</c:v>
                </c:pt>
                <c:pt idx="2499">
                  <c:v>0.02</c:v>
                </c:pt>
                <c:pt idx="2500">
                  <c:v>0.04</c:v>
                </c:pt>
                <c:pt idx="2501">
                  <c:v>0.02</c:v>
                </c:pt>
                <c:pt idx="2502">
                  <c:v>0.02</c:v>
                </c:pt>
                <c:pt idx="2503">
                  <c:v>0.01</c:v>
                </c:pt>
                <c:pt idx="2504">
                  <c:v>0.03</c:v>
                </c:pt>
                <c:pt idx="2505">
                  <c:v>0.01</c:v>
                </c:pt>
                <c:pt idx="2506">
                  <c:v>0.01</c:v>
                </c:pt>
                <c:pt idx="2507">
                  <c:v>0.04</c:v>
                </c:pt>
                <c:pt idx="2508">
                  <c:v>0.04</c:v>
                </c:pt>
                <c:pt idx="2509">
                  <c:v>0.01</c:v>
                </c:pt>
                <c:pt idx="2510">
                  <c:v>0.08</c:v>
                </c:pt>
                <c:pt idx="2511">
                  <c:v>0.01</c:v>
                </c:pt>
                <c:pt idx="2512">
                  <c:v>0.01</c:v>
                </c:pt>
                <c:pt idx="2513">
                  <c:v>0.04</c:v>
                </c:pt>
                <c:pt idx="2514">
                  <c:v>0.02</c:v>
                </c:pt>
                <c:pt idx="2515">
                  <c:v>0.01</c:v>
                </c:pt>
                <c:pt idx="2516">
                  <c:v>0.03</c:v>
                </c:pt>
                <c:pt idx="2517">
                  <c:v>0.01</c:v>
                </c:pt>
                <c:pt idx="2518">
                  <c:v>0.02</c:v>
                </c:pt>
                <c:pt idx="2519">
                  <c:v>0.03</c:v>
                </c:pt>
                <c:pt idx="2520">
                  <c:v>0.03</c:v>
                </c:pt>
                <c:pt idx="2521">
                  <c:v>0.02</c:v>
                </c:pt>
                <c:pt idx="2522">
                  <c:v>0.01</c:v>
                </c:pt>
                <c:pt idx="2523">
                  <c:v>0.02</c:v>
                </c:pt>
                <c:pt idx="2524">
                  <c:v>0.05</c:v>
                </c:pt>
                <c:pt idx="2525">
                  <c:v>0.01</c:v>
                </c:pt>
                <c:pt idx="2526">
                  <c:v>0.03</c:v>
                </c:pt>
                <c:pt idx="2527">
                  <c:v>0.03</c:v>
                </c:pt>
                <c:pt idx="2528">
                  <c:v>0.01</c:v>
                </c:pt>
                <c:pt idx="2529">
                  <c:v>0.03</c:v>
                </c:pt>
                <c:pt idx="2530">
                  <c:v>0.02</c:v>
                </c:pt>
                <c:pt idx="2531">
                  <c:v>0.02</c:v>
                </c:pt>
                <c:pt idx="2532">
                  <c:v>0.04</c:v>
                </c:pt>
                <c:pt idx="2533">
                  <c:v>0.01</c:v>
                </c:pt>
                <c:pt idx="2534">
                  <c:v>0.04</c:v>
                </c:pt>
                <c:pt idx="2535">
                  <c:v>0.01</c:v>
                </c:pt>
                <c:pt idx="2536">
                  <c:v>7.0000000000000007E-2</c:v>
                </c:pt>
                <c:pt idx="2537">
                  <c:v>0.01</c:v>
                </c:pt>
                <c:pt idx="2538">
                  <c:v>0.02</c:v>
                </c:pt>
                <c:pt idx="2539">
                  <c:v>0.14000000000000001</c:v>
                </c:pt>
                <c:pt idx="2540">
                  <c:v>0.08</c:v>
                </c:pt>
                <c:pt idx="2541">
                  <c:v>0.03</c:v>
                </c:pt>
                <c:pt idx="2542">
                  <c:v>0.02</c:v>
                </c:pt>
                <c:pt idx="2543">
                  <c:v>0.03</c:v>
                </c:pt>
                <c:pt idx="2544">
                  <c:v>0.05</c:v>
                </c:pt>
                <c:pt idx="2545">
                  <c:v>0.02</c:v>
                </c:pt>
                <c:pt idx="2546">
                  <c:v>0.02</c:v>
                </c:pt>
                <c:pt idx="2547">
                  <c:v>0.01</c:v>
                </c:pt>
                <c:pt idx="2548">
                  <c:v>0.01</c:v>
                </c:pt>
                <c:pt idx="2549">
                  <c:v>0.01</c:v>
                </c:pt>
                <c:pt idx="2550">
                  <c:v>0.02</c:v>
                </c:pt>
                <c:pt idx="2551">
                  <c:v>0.01</c:v>
                </c:pt>
                <c:pt idx="2552">
                  <c:v>0.04</c:v>
                </c:pt>
                <c:pt idx="2553">
                  <c:v>0.02</c:v>
                </c:pt>
                <c:pt idx="2554">
                  <c:v>0.12</c:v>
                </c:pt>
                <c:pt idx="2555">
                  <c:v>0.04</c:v>
                </c:pt>
                <c:pt idx="2556">
                  <c:v>0.01</c:v>
                </c:pt>
                <c:pt idx="2557">
                  <c:v>0.01</c:v>
                </c:pt>
                <c:pt idx="2558">
                  <c:v>0.13</c:v>
                </c:pt>
                <c:pt idx="2559">
                  <c:v>0.01</c:v>
                </c:pt>
                <c:pt idx="2560">
                  <c:v>0.14000000000000001</c:v>
                </c:pt>
                <c:pt idx="2561">
                  <c:v>0.01</c:v>
                </c:pt>
                <c:pt idx="2562">
                  <c:v>0.01</c:v>
                </c:pt>
                <c:pt idx="2563">
                  <c:v>0.01</c:v>
                </c:pt>
                <c:pt idx="2564">
                  <c:v>0.05</c:v>
                </c:pt>
                <c:pt idx="2565">
                  <c:v>0.02</c:v>
                </c:pt>
                <c:pt idx="2566">
                  <c:v>0.02</c:v>
                </c:pt>
                <c:pt idx="2567">
                  <c:v>0.01</c:v>
                </c:pt>
                <c:pt idx="2568">
                  <c:v>0.01</c:v>
                </c:pt>
                <c:pt idx="2569">
                  <c:v>0.01</c:v>
                </c:pt>
                <c:pt idx="2570">
                  <c:v>0.01</c:v>
                </c:pt>
                <c:pt idx="2571">
                  <c:v>0.02</c:v>
                </c:pt>
                <c:pt idx="2572">
                  <c:v>0.01</c:v>
                </c:pt>
                <c:pt idx="2573">
                  <c:v>0.01</c:v>
                </c:pt>
                <c:pt idx="2574">
                  <c:v>0.01</c:v>
                </c:pt>
                <c:pt idx="2575">
                  <c:v>0.02</c:v>
                </c:pt>
                <c:pt idx="2576">
                  <c:v>0.01</c:v>
                </c:pt>
                <c:pt idx="2577">
                  <c:v>0.01</c:v>
                </c:pt>
                <c:pt idx="2578">
                  <c:v>0.03</c:v>
                </c:pt>
                <c:pt idx="2579">
                  <c:v>0.01</c:v>
                </c:pt>
                <c:pt idx="2580">
                  <c:v>0.01</c:v>
                </c:pt>
                <c:pt idx="2581">
                  <c:v>0.04</c:v>
                </c:pt>
                <c:pt idx="2582">
                  <c:v>0.01</c:v>
                </c:pt>
                <c:pt idx="2583">
                  <c:v>0.01</c:v>
                </c:pt>
                <c:pt idx="2584">
                  <c:v>0.03</c:v>
                </c:pt>
                <c:pt idx="2585">
                  <c:v>0.01</c:v>
                </c:pt>
                <c:pt idx="2586">
                  <c:v>0.01</c:v>
                </c:pt>
                <c:pt idx="2587">
                  <c:v>0.03</c:v>
                </c:pt>
                <c:pt idx="2588">
                  <c:v>0.01</c:v>
                </c:pt>
                <c:pt idx="2589">
                  <c:v>0.02</c:v>
                </c:pt>
                <c:pt idx="2590">
                  <c:v>0.02</c:v>
                </c:pt>
                <c:pt idx="2591">
                  <c:v>0.02</c:v>
                </c:pt>
                <c:pt idx="2592">
                  <c:v>0.01</c:v>
                </c:pt>
                <c:pt idx="2593">
                  <c:v>0.02</c:v>
                </c:pt>
                <c:pt idx="2594">
                  <c:v>0.01</c:v>
                </c:pt>
                <c:pt idx="2595">
                  <c:v>7.0000000000000007E-2</c:v>
                </c:pt>
                <c:pt idx="2596">
                  <c:v>0.01</c:v>
                </c:pt>
                <c:pt idx="2597">
                  <c:v>0.03</c:v>
                </c:pt>
                <c:pt idx="2598">
                  <c:v>0.02</c:v>
                </c:pt>
                <c:pt idx="2599">
                  <c:v>0.01</c:v>
                </c:pt>
                <c:pt idx="2600">
                  <c:v>0.01</c:v>
                </c:pt>
                <c:pt idx="2601">
                  <c:v>0.01</c:v>
                </c:pt>
                <c:pt idx="2602">
                  <c:v>0.01</c:v>
                </c:pt>
                <c:pt idx="2603">
                  <c:v>0.02</c:v>
                </c:pt>
                <c:pt idx="2604">
                  <c:v>0.02</c:v>
                </c:pt>
                <c:pt idx="2605">
                  <c:v>0.04</c:v>
                </c:pt>
                <c:pt idx="2606">
                  <c:v>0.01</c:v>
                </c:pt>
                <c:pt idx="2607">
                  <c:v>0.12</c:v>
                </c:pt>
                <c:pt idx="2608">
                  <c:v>0.01</c:v>
                </c:pt>
                <c:pt idx="2609">
                  <c:v>0.02</c:v>
                </c:pt>
                <c:pt idx="2610">
                  <c:v>0.06</c:v>
                </c:pt>
                <c:pt idx="2611">
                  <c:v>0.01</c:v>
                </c:pt>
                <c:pt idx="2612">
                  <c:v>0.02</c:v>
                </c:pt>
                <c:pt idx="2613">
                  <c:v>0.02</c:v>
                </c:pt>
                <c:pt idx="2614">
                  <c:v>0.01</c:v>
                </c:pt>
                <c:pt idx="2615">
                  <c:v>0.01</c:v>
                </c:pt>
                <c:pt idx="2616">
                  <c:v>0.01</c:v>
                </c:pt>
                <c:pt idx="2617">
                  <c:v>0.01</c:v>
                </c:pt>
                <c:pt idx="2618">
                  <c:v>0.02</c:v>
                </c:pt>
                <c:pt idx="2619">
                  <c:v>0.03</c:v>
                </c:pt>
                <c:pt idx="2620">
                  <c:v>0.01</c:v>
                </c:pt>
                <c:pt idx="2621">
                  <c:v>0.01</c:v>
                </c:pt>
                <c:pt idx="2622">
                  <c:v>0.01</c:v>
                </c:pt>
                <c:pt idx="2623">
                  <c:v>0.02</c:v>
                </c:pt>
                <c:pt idx="2624">
                  <c:v>0.02</c:v>
                </c:pt>
                <c:pt idx="2625">
                  <c:v>0.02</c:v>
                </c:pt>
                <c:pt idx="2626">
                  <c:v>0.04</c:v>
                </c:pt>
                <c:pt idx="2627">
                  <c:v>0.02</c:v>
                </c:pt>
                <c:pt idx="2628">
                  <c:v>0.01</c:v>
                </c:pt>
                <c:pt idx="2629">
                  <c:v>0.02</c:v>
                </c:pt>
                <c:pt idx="2630">
                  <c:v>0.02</c:v>
                </c:pt>
                <c:pt idx="2631">
                  <c:v>0.01</c:v>
                </c:pt>
                <c:pt idx="2632">
                  <c:v>0.01</c:v>
                </c:pt>
                <c:pt idx="2633">
                  <c:v>0.01</c:v>
                </c:pt>
                <c:pt idx="2634">
                  <c:v>0.01</c:v>
                </c:pt>
                <c:pt idx="2635">
                  <c:v>0.04</c:v>
                </c:pt>
                <c:pt idx="2636">
                  <c:v>0.01</c:v>
                </c:pt>
                <c:pt idx="2637">
                  <c:v>0.01</c:v>
                </c:pt>
                <c:pt idx="2638">
                  <c:v>0.03</c:v>
                </c:pt>
                <c:pt idx="2639">
                  <c:v>0.02</c:v>
                </c:pt>
                <c:pt idx="2640">
                  <c:v>0.02</c:v>
                </c:pt>
                <c:pt idx="2641">
                  <c:v>0.01</c:v>
                </c:pt>
                <c:pt idx="2642">
                  <c:v>0.01</c:v>
                </c:pt>
                <c:pt idx="2643">
                  <c:v>0.02</c:v>
                </c:pt>
                <c:pt idx="2644">
                  <c:v>0.03</c:v>
                </c:pt>
                <c:pt idx="2645">
                  <c:v>0.03</c:v>
                </c:pt>
                <c:pt idx="2646">
                  <c:v>0.02</c:v>
                </c:pt>
                <c:pt idx="2647">
                  <c:v>0.01</c:v>
                </c:pt>
                <c:pt idx="2648">
                  <c:v>0.02</c:v>
                </c:pt>
                <c:pt idx="2649">
                  <c:v>0.01</c:v>
                </c:pt>
                <c:pt idx="2650">
                  <c:v>0.06</c:v>
                </c:pt>
                <c:pt idx="2651">
                  <c:v>0.01</c:v>
                </c:pt>
                <c:pt idx="2652">
                  <c:v>0.03</c:v>
                </c:pt>
                <c:pt idx="2653">
                  <c:v>0.01</c:v>
                </c:pt>
                <c:pt idx="2654">
                  <c:v>0.01</c:v>
                </c:pt>
                <c:pt idx="2655">
                  <c:v>0.03</c:v>
                </c:pt>
                <c:pt idx="2656">
                  <c:v>0.01</c:v>
                </c:pt>
                <c:pt idx="2657">
                  <c:v>0.01</c:v>
                </c:pt>
                <c:pt idx="2658">
                  <c:v>0.01</c:v>
                </c:pt>
                <c:pt idx="2659">
                  <c:v>0.01</c:v>
                </c:pt>
                <c:pt idx="2660">
                  <c:v>0.01</c:v>
                </c:pt>
                <c:pt idx="2661">
                  <c:v>0.02</c:v>
                </c:pt>
                <c:pt idx="2662">
                  <c:v>0.01</c:v>
                </c:pt>
                <c:pt idx="2663">
                  <c:v>0.04</c:v>
                </c:pt>
                <c:pt idx="2664">
                  <c:v>7.0000000000000007E-2</c:v>
                </c:pt>
                <c:pt idx="2665">
                  <c:v>0.01</c:v>
                </c:pt>
                <c:pt idx="2666">
                  <c:v>0.01</c:v>
                </c:pt>
                <c:pt idx="2667">
                  <c:v>0.01</c:v>
                </c:pt>
                <c:pt idx="2668">
                  <c:v>0.01</c:v>
                </c:pt>
                <c:pt idx="2669">
                  <c:v>0.05</c:v>
                </c:pt>
                <c:pt idx="2670">
                  <c:v>0.01</c:v>
                </c:pt>
                <c:pt idx="2671">
                  <c:v>0.01</c:v>
                </c:pt>
                <c:pt idx="2672">
                  <c:v>0.01</c:v>
                </c:pt>
                <c:pt idx="2673">
                  <c:v>0.03</c:v>
                </c:pt>
                <c:pt idx="2674">
                  <c:v>0.01</c:v>
                </c:pt>
                <c:pt idx="2675">
                  <c:v>0.01</c:v>
                </c:pt>
                <c:pt idx="2676">
                  <c:v>0.03</c:v>
                </c:pt>
                <c:pt idx="2677">
                  <c:v>0.01</c:v>
                </c:pt>
                <c:pt idx="2678">
                  <c:v>0.02</c:v>
                </c:pt>
                <c:pt idx="2679">
                  <c:v>0.01</c:v>
                </c:pt>
                <c:pt idx="2680">
                  <c:v>0.01</c:v>
                </c:pt>
                <c:pt idx="2681">
                  <c:v>0.01</c:v>
                </c:pt>
                <c:pt idx="2682">
                  <c:v>0.01</c:v>
                </c:pt>
                <c:pt idx="2683">
                  <c:v>0.02</c:v>
                </c:pt>
                <c:pt idx="2684">
                  <c:v>0.01</c:v>
                </c:pt>
                <c:pt idx="2685">
                  <c:v>0.01</c:v>
                </c:pt>
                <c:pt idx="2686">
                  <c:v>0.01</c:v>
                </c:pt>
                <c:pt idx="2687">
                  <c:v>0.02</c:v>
                </c:pt>
                <c:pt idx="2688">
                  <c:v>0.02</c:v>
                </c:pt>
                <c:pt idx="2689">
                  <c:v>0.02</c:v>
                </c:pt>
                <c:pt idx="2690">
                  <c:v>0.01</c:v>
                </c:pt>
                <c:pt idx="2691">
                  <c:v>0.01</c:v>
                </c:pt>
                <c:pt idx="2692">
                  <c:v>0.01</c:v>
                </c:pt>
                <c:pt idx="2693">
                  <c:v>0.04</c:v>
                </c:pt>
                <c:pt idx="2694">
                  <c:v>0.03</c:v>
                </c:pt>
                <c:pt idx="2695">
                  <c:v>0.02</c:v>
                </c:pt>
                <c:pt idx="2696">
                  <c:v>0.02</c:v>
                </c:pt>
                <c:pt idx="2697">
                  <c:v>0.01</c:v>
                </c:pt>
                <c:pt idx="2698">
                  <c:v>0.1</c:v>
                </c:pt>
                <c:pt idx="2699">
                  <c:v>0.01</c:v>
                </c:pt>
                <c:pt idx="2700">
                  <c:v>0.01</c:v>
                </c:pt>
                <c:pt idx="2701">
                  <c:v>0.01</c:v>
                </c:pt>
                <c:pt idx="2702">
                  <c:v>0.04</c:v>
                </c:pt>
                <c:pt idx="2703">
                  <c:v>0.04</c:v>
                </c:pt>
                <c:pt idx="2704">
                  <c:v>0.01</c:v>
                </c:pt>
                <c:pt idx="2705">
                  <c:v>0.03</c:v>
                </c:pt>
                <c:pt idx="2706">
                  <c:v>0.02</c:v>
                </c:pt>
                <c:pt idx="2707">
                  <c:v>0.01</c:v>
                </c:pt>
                <c:pt idx="2708">
                  <c:v>0.02</c:v>
                </c:pt>
                <c:pt idx="2709">
                  <c:v>0.05</c:v>
                </c:pt>
                <c:pt idx="2710">
                  <c:v>0.03</c:v>
                </c:pt>
                <c:pt idx="2711">
                  <c:v>0.02</c:v>
                </c:pt>
                <c:pt idx="2712">
                  <c:v>0.01</c:v>
                </c:pt>
                <c:pt idx="2713">
                  <c:v>0.01</c:v>
                </c:pt>
                <c:pt idx="2714">
                  <c:v>0.01</c:v>
                </c:pt>
                <c:pt idx="2715">
                  <c:v>0.03</c:v>
                </c:pt>
                <c:pt idx="2716">
                  <c:v>0.01</c:v>
                </c:pt>
                <c:pt idx="2717">
                  <c:v>0.01</c:v>
                </c:pt>
                <c:pt idx="2718">
                  <c:v>0.01</c:v>
                </c:pt>
                <c:pt idx="2719">
                  <c:v>0.01</c:v>
                </c:pt>
                <c:pt idx="2720">
                  <c:v>0.01</c:v>
                </c:pt>
                <c:pt idx="2721">
                  <c:v>0.03</c:v>
                </c:pt>
                <c:pt idx="2722">
                  <c:v>0.02</c:v>
                </c:pt>
                <c:pt idx="2723">
                  <c:v>0.14000000000000001</c:v>
                </c:pt>
                <c:pt idx="2724">
                  <c:v>0.01</c:v>
                </c:pt>
                <c:pt idx="2725">
                  <c:v>0.02</c:v>
                </c:pt>
                <c:pt idx="2726">
                  <c:v>0.01</c:v>
                </c:pt>
                <c:pt idx="2727">
                  <c:v>0.03</c:v>
                </c:pt>
                <c:pt idx="2728">
                  <c:v>0.03</c:v>
                </c:pt>
                <c:pt idx="2729">
                  <c:v>0.01</c:v>
                </c:pt>
                <c:pt idx="2730">
                  <c:v>0.01</c:v>
                </c:pt>
                <c:pt idx="2731">
                  <c:v>0.01</c:v>
                </c:pt>
                <c:pt idx="2732">
                  <c:v>0.03</c:v>
                </c:pt>
                <c:pt idx="2733">
                  <c:v>0.01</c:v>
                </c:pt>
                <c:pt idx="2734">
                  <c:v>0.01</c:v>
                </c:pt>
                <c:pt idx="2735">
                  <c:v>0.01</c:v>
                </c:pt>
                <c:pt idx="2736">
                  <c:v>0.01</c:v>
                </c:pt>
                <c:pt idx="2737">
                  <c:v>0.01</c:v>
                </c:pt>
                <c:pt idx="2738">
                  <c:v>0.01</c:v>
                </c:pt>
                <c:pt idx="2739">
                  <c:v>0.03</c:v>
                </c:pt>
                <c:pt idx="2740">
                  <c:v>0.01</c:v>
                </c:pt>
                <c:pt idx="2741">
                  <c:v>0.01</c:v>
                </c:pt>
                <c:pt idx="2742">
                  <c:v>0.02</c:v>
                </c:pt>
                <c:pt idx="2743">
                  <c:v>0.01</c:v>
                </c:pt>
                <c:pt idx="2744">
                  <c:v>0.02</c:v>
                </c:pt>
                <c:pt idx="2745">
                  <c:v>0.01</c:v>
                </c:pt>
                <c:pt idx="2746">
                  <c:v>0.02</c:v>
                </c:pt>
                <c:pt idx="2747">
                  <c:v>0.01</c:v>
                </c:pt>
                <c:pt idx="2748">
                  <c:v>0.01</c:v>
                </c:pt>
                <c:pt idx="2749">
                  <c:v>0.01</c:v>
                </c:pt>
                <c:pt idx="2750">
                  <c:v>0.02</c:v>
                </c:pt>
                <c:pt idx="2751">
                  <c:v>0.02</c:v>
                </c:pt>
                <c:pt idx="2752">
                  <c:v>0.01</c:v>
                </c:pt>
                <c:pt idx="2753">
                  <c:v>0.01</c:v>
                </c:pt>
                <c:pt idx="2754">
                  <c:v>0.01</c:v>
                </c:pt>
                <c:pt idx="2755">
                  <c:v>0.01</c:v>
                </c:pt>
                <c:pt idx="2756">
                  <c:v>0.02</c:v>
                </c:pt>
                <c:pt idx="2757">
                  <c:v>0.01</c:v>
                </c:pt>
                <c:pt idx="2758">
                  <c:v>0.02</c:v>
                </c:pt>
                <c:pt idx="2759">
                  <c:v>0.04</c:v>
                </c:pt>
                <c:pt idx="2760">
                  <c:v>0.02</c:v>
                </c:pt>
                <c:pt idx="2761">
                  <c:v>0.04</c:v>
                </c:pt>
                <c:pt idx="2762">
                  <c:v>0.03</c:v>
                </c:pt>
                <c:pt idx="2763">
                  <c:v>0.04</c:v>
                </c:pt>
                <c:pt idx="2764">
                  <c:v>0.01</c:v>
                </c:pt>
                <c:pt idx="2765">
                  <c:v>0.01</c:v>
                </c:pt>
                <c:pt idx="2766">
                  <c:v>0.01</c:v>
                </c:pt>
                <c:pt idx="2767">
                  <c:v>0.01</c:v>
                </c:pt>
                <c:pt idx="2768">
                  <c:v>0.01</c:v>
                </c:pt>
                <c:pt idx="2769">
                  <c:v>0.03</c:v>
                </c:pt>
                <c:pt idx="2770">
                  <c:v>0.01</c:v>
                </c:pt>
                <c:pt idx="2771">
                  <c:v>0.01</c:v>
                </c:pt>
                <c:pt idx="2772">
                  <c:v>0.01</c:v>
                </c:pt>
                <c:pt idx="2773">
                  <c:v>0.01</c:v>
                </c:pt>
                <c:pt idx="2774">
                  <c:v>0.02</c:v>
                </c:pt>
                <c:pt idx="2775">
                  <c:v>0.01</c:v>
                </c:pt>
                <c:pt idx="2776">
                  <c:v>0.02</c:v>
                </c:pt>
                <c:pt idx="2777">
                  <c:v>0.01</c:v>
                </c:pt>
                <c:pt idx="2778">
                  <c:v>0.01</c:v>
                </c:pt>
                <c:pt idx="2779">
                  <c:v>0.02</c:v>
                </c:pt>
                <c:pt idx="2780">
                  <c:v>0.01</c:v>
                </c:pt>
                <c:pt idx="2781">
                  <c:v>0.04</c:v>
                </c:pt>
                <c:pt idx="2782">
                  <c:v>0.06</c:v>
                </c:pt>
                <c:pt idx="2783">
                  <c:v>0.01</c:v>
                </c:pt>
                <c:pt idx="2784">
                  <c:v>0.01</c:v>
                </c:pt>
                <c:pt idx="2785">
                  <c:v>0.01</c:v>
                </c:pt>
                <c:pt idx="2786">
                  <c:v>0.01</c:v>
                </c:pt>
                <c:pt idx="2787">
                  <c:v>0.03</c:v>
                </c:pt>
                <c:pt idx="2788">
                  <c:v>0.01</c:v>
                </c:pt>
                <c:pt idx="2789">
                  <c:v>0.01</c:v>
                </c:pt>
                <c:pt idx="2790">
                  <c:v>0.04</c:v>
                </c:pt>
                <c:pt idx="2791">
                  <c:v>0.01</c:v>
                </c:pt>
                <c:pt idx="2792">
                  <c:v>0.02</c:v>
                </c:pt>
                <c:pt idx="2793">
                  <c:v>0.01</c:v>
                </c:pt>
                <c:pt idx="2794">
                  <c:v>0.01</c:v>
                </c:pt>
                <c:pt idx="2795">
                  <c:v>0.01</c:v>
                </c:pt>
                <c:pt idx="2796">
                  <c:v>0.01</c:v>
                </c:pt>
                <c:pt idx="2797">
                  <c:v>0.01</c:v>
                </c:pt>
                <c:pt idx="2798">
                  <c:v>0.01</c:v>
                </c:pt>
                <c:pt idx="2799">
                  <c:v>0.03</c:v>
                </c:pt>
                <c:pt idx="2800">
                  <c:v>0.01</c:v>
                </c:pt>
                <c:pt idx="2801">
                  <c:v>0.01</c:v>
                </c:pt>
                <c:pt idx="2802">
                  <c:v>0.01</c:v>
                </c:pt>
                <c:pt idx="2803">
                  <c:v>0.01</c:v>
                </c:pt>
                <c:pt idx="2804">
                  <c:v>0.06</c:v>
                </c:pt>
                <c:pt idx="2805">
                  <c:v>0.01</c:v>
                </c:pt>
                <c:pt idx="2806">
                  <c:v>0.02</c:v>
                </c:pt>
                <c:pt idx="2807">
                  <c:v>0.01</c:v>
                </c:pt>
                <c:pt idx="2808">
                  <c:v>0.02</c:v>
                </c:pt>
                <c:pt idx="2809">
                  <c:v>0.35</c:v>
                </c:pt>
                <c:pt idx="2810">
                  <c:v>0.02</c:v>
                </c:pt>
                <c:pt idx="2811">
                  <c:v>0.01</c:v>
                </c:pt>
                <c:pt idx="2812">
                  <c:v>0.01</c:v>
                </c:pt>
                <c:pt idx="2813">
                  <c:v>0.01</c:v>
                </c:pt>
                <c:pt idx="2814">
                  <c:v>0.01</c:v>
                </c:pt>
                <c:pt idx="2815">
                  <c:v>0.01</c:v>
                </c:pt>
                <c:pt idx="2816">
                  <c:v>0.02</c:v>
                </c:pt>
                <c:pt idx="2817">
                  <c:v>0.02</c:v>
                </c:pt>
                <c:pt idx="2818">
                  <c:v>0.01</c:v>
                </c:pt>
                <c:pt idx="2819">
                  <c:v>0.01</c:v>
                </c:pt>
                <c:pt idx="2820">
                  <c:v>0.01</c:v>
                </c:pt>
                <c:pt idx="2821">
                  <c:v>0.01</c:v>
                </c:pt>
                <c:pt idx="2822">
                  <c:v>0.02</c:v>
                </c:pt>
                <c:pt idx="2823">
                  <c:v>0.01</c:v>
                </c:pt>
                <c:pt idx="2824">
                  <c:v>0.03</c:v>
                </c:pt>
                <c:pt idx="2825">
                  <c:v>0.01</c:v>
                </c:pt>
                <c:pt idx="2826">
                  <c:v>0.01</c:v>
                </c:pt>
                <c:pt idx="2827">
                  <c:v>0.02</c:v>
                </c:pt>
                <c:pt idx="2828">
                  <c:v>0.03</c:v>
                </c:pt>
                <c:pt idx="2829">
                  <c:v>0.02</c:v>
                </c:pt>
                <c:pt idx="2830">
                  <c:v>0.01</c:v>
                </c:pt>
                <c:pt idx="2831">
                  <c:v>0.01</c:v>
                </c:pt>
                <c:pt idx="2832">
                  <c:v>0.02</c:v>
                </c:pt>
                <c:pt idx="2833">
                  <c:v>0.01</c:v>
                </c:pt>
                <c:pt idx="2834">
                  <c:v>0.03</c:v>
                </c:pt>
                <c:pt idx="2835">
                  <c:v>0.01</c:v>
                </c:pt>
                <c:pt idx="2836">
                  <c:v>0.01</c:v>
                </c:pt>
                <c:pt idx="2837">
                  <c:v>0.02</c:v>
                </c:pt>
                <c:pt idx="2838">
                  <c:v>0.02</c:v>
                </c:pt>
                <c:pt idx="2839">
                  <c:v>0.01</c:v>
                </c:pt>
                <c:pt idx="2840">
                  <c:v>0.05</c:v>
                </c:pt>
                <c:pt idx="2841">
                  <c:v>0.02</c:v>
                </c:pt>
                <c:pt idx="2842">
                  <c:v>0.01</c:v>
                </c:pt>
                <c:pt idx="2843">
                  <c:v>0.02</c:v>
                </c:pt>
                <c:pt idx="2844">
                  <c:v>0.03</c:v>
                </c:pt>
                <c:pt idx="2845">
                  <c:v>0.01</c:v>
                </c:pt>
                <c:pt idx="2846">
                  <c:v>0.01</c:v>
                </c:pt>
                <c:pt idx="2847">
                  <c:v>0.01</c:v>
                </c:pt>
                <c:pt idx="2848">
                  <c:v>0.01</c:v>
                </c:pt>
                <c:pt idx="2849">
                  <c:v>0.01</c:v>
                </c:pt>
                <c:pt idx="2850">
                  <c:v>0.01</c:v>
                </c:pt>
                <c:pt idx="2851">
                  <c:v>0.01</c:v>
                </c:pt>
                <c:pt idx="2852">
                  <c:v>0.01</c:v>
                </c:pt>
                <c:pt idx="2853">
                  <c:v>0.02</c:v>
                </c:pt>
                <c:pt idx="2854">
                  <c:v>0.01</c:v>
                </c:pt>
                <c:pt idx="2855">
                  <c:v>0.01</c:v>
                </c:pt>
                <c:pt idx="2856">
                  <c:v>0.01</c:v>
                </c:pt>
                <c:pt idx="2857">
                  <c:v>0.01</c:v>
                </c:pt>
                <c:pt idx="2858">
                  <c:v>0.01</c:v>
                </c:pt>
                <c:pt idx="2859">
                  <c:v>0.01</c:v>
                </c:pt>
                <c:pt idx="2860">
                  <c:v>0.02</c:v>
                </c:pt>
                <c:pt idx="2861">
                  <c:v>0.01</c:v>
                </c:pt>
                <c:pt idx="2862">
                  <c:v>0.02</c:v>
                </c:pt>
                <c:pt idx="2863">
                  <c:v>0.01</c:v>
                </c:pt>
                <c:pt idx="2864">
                  <c:v>0.02</c:v>
                </c:pt>
                <c:pt idx="2865">
                  <c:v>0.01</c:v>
                </c:pt>
                <c:pt idx="2866">
                  <c:v>0.01</c:v>
                </c:pt>
                <c:pt idx="2867">
                  <c:v>0.01</c:v>
                </c:pt>
                <c:pt idx="2868">
                  <c:v>0.01</c:v>
                </c:pt>
                <c:pt idx="2869">
                  <c:v>0.01</c:v>
                </c:pt>
                <c:pt idx="2870">
                  <c:v>0.01</c:v>
                </c:pt>
                <c:pt idx="2871">
                  <c:v>0.02</c:v>
                </c:pt>
                <c:pt idx="2872">
                  <c:v>0.02</c:v>
                </c:pt>
                <c:pt idx="2873">
                  <c:v>0.01</c:v>
                </c:pt>
                <c:pt idx="2874">
                  <c:v>0.01</c:v>
                </c:pt>
                <c:pt idx="2875">
                  <c:v>0.01</c:v>
                </c:pt>
                <c:pt idx="2876">
                  <c:v>0.01</c:v>
                </c:pt>
                <c:pt idx="2877">
                  <c:v>0.03</c:v>
                </c:pt>
                <c:pt idx="2878">
                  <c:v>0.01</c:v>
                </c:pt>
                <c:pt idx="2879">
                  <c:v>0.01</c:v>
                </c:pt>
                <c:pt idx="2880">
                  <c:v>0.01</c:v>
                </c:pt>
                <c:pt idx="2881">
                  <c:v>0.01</c:v>
                </c:pt>
                <c:pt idx="2882">
                  <c:v>0.01</c:v>
                </c:pt>
                <c:pt idx="2883">
                  <c:v>0.01</c:v>
                </c:pt>
                <c:pt idx="2884">
                  <c:v>0.02</c:v>
                </c:pt>
                <c:pt idx="2885">
                  <c:v>0.01</c:v>
                </c:pt>
                <c:pt idx="2886">
                  <c:v>0.01</c:v>
                </c:pt>
                <c:pt idx="2887">
                  <c:v>0.02</c:v>
                </c:pt>
                <c:pt idx="2888">
                  <c:v>0.02</c:v>
                </c:pt>
                <c:pt idx="2889">
                  <c:v>0.01</c:v>
                </c:pt>
                <c:pt idx="2890">
                  <c:v>0.02</c:v>
                </c:pt>
                <c:pt idx="2891">
                  <c:v>0.04</c:v>
                </c:pt>
                <c:pt idx="2892">
                  <c:v>0.01</c:v>
                </c:pt>
                <c:pt idx="2893">
                  <c:v>0.03</c:v>
                </c:pt>
                <c:pt idx="2894">
                  <c:v>0.01</c:v>
                </c:pt>
                <c:pt idx="2895">
                  <c:v>0.02</c:v>
                </c:pt>
                <c:pt idx="2896">
                  <c:v>0.01</c:v>
                </c:pt>
                <c:pt idx="2897">
                  <c:v>0.02</c:v>
                </c:pt>
                <c:pt idx="2898">
                  <c:v>0.01</c:v>
                </c:pt>
                <c:pt idx="2899">
                  <c:v>0.01</c:v>
                </c:pt>
                <c:pt idx="2900">
                  <c:v>0.01</c:v>
                </c:pt>
                <c:pt idx="2901">
                  <c:v>0.01</c:v>
                </c:pt>
                <c:pt idx="2902">
                  <c:v>0.01</c:v>
                </c:pt>
                <c:pt idx="2903">
                  <c:v>0.01</c:v>
                </c:pt>
                <c:pt idx="2904">
                  <c:v>0.03</c:v>
                </c:pt>
                <c:pt idx="2905">
                  <c:v>0.01</c:v>
                </c:pt>
                <c:pt idx="2906">
                  <c:v>0.01</c:v>
                </c:pt>
                <c:pt idx="2907">
                  <c:v>0.01</c:v>
                </c:pt>
                <c:pt idx="2908">
                  <c:v>0.01</c:v>
                </c:pt>
                <c:pt idx="2909">
                  <c:v>0.01</c:v>
                </c:pt>
                <c:pt idx="2910">
                  <c:v>0.02</c:v>
                </c:pt>
                <c:pt idx="2911">
                  <c:v>0.01</c:v>
                </c:pt>
                <c:pt idx="2912">
                  <c:v>0.01</c:v>
                </c:pt>
                <c:pt idx="2913">
                  <c:v>0.01</c:v>
                </c:pt>
                <c:pt idx="2914">
                  <c:v>0.01</c:v>
                </c:pt>
                <c:pt idx="2915">
                  <c:v>0.01</c:v>
                </c:pt>
                <c:pt idx="2916">
                  <c:v>0.01</c:v>
                </c:pt>
                <c:pt idx="2917">
                  <c:v>0.01</c:v>
                </c:pt>
                <c:pt idx="2918">
                  <c:v>0.01</c:v>
                </c:pt>
                <c:pt idx="2919">
                  <c:v>0.01</c:v>
                </c:pt>
                <c:pt idx="2920">
                  <c:v>0.01</c:v>
                </c:pt>
                <c:pt idx="2921">
                  <c:v>0.01</c:v>
                </c:pt>
                <c:pt idx="2922">
                  <c:v>0.01</c:v>
                </c:pt>
                <c:pt idx="2923">
                  <c:v>0.01</c:v>
                </c:pt>
                <c:pt idx="2924">
                  <c:v>0.03</c:v>
                </c:pt>
                <c:pt idx="2925">
                  <c:v>0.01</c:v>
                </c:pt>
                <c:pt idx="2926">
                  <c:v>0.01</c:v>
                </c:pt>
                <c:pt idx="2927">
                  <c:v>0.01</c:v>
                </c:pt>
                <c:pt idx="2928">
                  <c:v>0.01</c:v>
                </c:pt>
                <c:pt idx="2929">
                  <c:v>0.01</c:v>
                </c:pt>
                <c:pt idx="2930">
                  <c:v>0.02</c:v>
                </c:pt>
                <c:pt idx="2931">
                  <c:v>0.01</c:v>
                </c:pt>
                <c:pt idx="2932">
                  <c:v>0.01</c:v>
                </c:pt>
                <c:pt idx="2933">
                  <c:v>0.01</c:v>
                </c:pt>
                <c:pt idx="2934">
                  <c:v>0.02</c:v>
                </c:pt>
                <c:pt idx="2935">
                  <c:v>0.01</c:v>
                </c:pt>
                <c:pt idx="2936">
                  <c:v>0.01</c:v>
                </c:pt>
                <c:pt idx="2937">
                  <c:v>0.01</c:v>
                </c:pt>
                <c:pt idx="2938">
                  <c:v>0.01</c:v>
                </c:pt>
                <c:pt idx="2939">
                  <c:v>0.01</c:v>
                </c:pt>
                <c:pt idx="2940">
                  <c:v>0.01</c:v>
                </c:pt>
                <c:pt idx="2941">
                  <c:v>0.01</c:v>
                </c:pt>
                <c:pt idx="2942">
                  <c:v>0.01</c:v>
                </c:pt>
                <c:pt idx="2943">
                  <c:v>0.01</c:v>
                </c:pt>
                <c:pt idx="2944">
                  <c:v>0.01</c:v>
                </c:pt>
                <c:pt idx="2945">
                  <c:v>0.01</c:v>
                </c:pt>
                <c:pt idx="2946">
                  <c:v>0.01</c:v>
                </c:pt>
                <c:pt idx="2947">
                  <c:v>0.01</c:v>
                </c:pt>
                <c:pt idx="2948">
                  <c:v>0.01</c:v>
                </c:pt>
                <c:pt idx="2949">
                  <c:v>0.01</c:v>
                </c:pt>
                <c:pt idx="2950">
                  <c:v>0.01</c:v>
                </c:pt>
                <c:pt idx="2951">
                  <c:v>0.01</c:v>
                </c:pt>
                <c:pt idx="2952">
                  <c:v>0.01</c:v>
                </c:pt>
                <c:pt idx="2953">
                  <c:v>0.01</c:v>
                </c:pt>
                <c:pt idx="2954">
                  <c:v>0.02</c:v>
                </c:pt>
                <c:pt idx="2955">
                  <c:v>0.01</c:v>
                </c:pt>
                <c:pt idx="2956">
                  <c:v>0.01</c:v>
                </c:pt>
                <c:pt idx="2957">
                  <c:v>0.01</c:v>
                </c:pt>
                <c:pt idx="2958">
                  <c:v>0.05</c:v>
                </c:pt>
                <c:pt idx="2959">
                  <c:v>0.02</c:v>
                </c:pt>
                <c:pt idx="2960">
                  <c:v>0.01</c:v>
                </c:pt>
                <c:pt idx="2961">
                  <c:v>0.03</c:v>
                </c:pt>
                <c:pt idx="2962">
                  <c:v>0.01</c:v>
                </c:pt>
                <c:pt idx="2963">
                  <c:v>0.01</c:v>
                </c:pt>
                <c:pt idx="2964">
                  <c:v>0.02</c:v>
                </c:pt>
                <c:pt idx="2965">
                  <c:v>0.01</c:v>
                </c:pt>
                <c:pt idx="2966">
                  <c:v>0.01</c:v>
                </c:pt>
                <c:pt idx="2967">
                  <c:v>0.06</c:v>
                </c:pt>
                <c:pt idx="2968">
                  <c:v>0.04</c:v>
                </c:pt>
                <c:pt idx="2969">
                  <c:v>0.01</c:v>
                </c:pt>
                <c:pt idx="2970">
                  <c:v>0.02</c:v>
                </c:pt>
                <c:pt idx="2971">
                  <c:v>0.02</c:v>
                </c:pt>
                <c:pt idx="2972">
                  <c:v>0.01</c:v>
                </c:pt>
                <c:pt idx="2973">
                  <c:v>0.01</c:v>
                </c:pt>
                <c:pt idx="2974">
                  <c:v>0.03</c:v>
                </c:pt>
                <c:pt idx="2975">
                  <c:v>0.01</c:v>
                </c:pt>
                <c:pt idx="2976">
                  <c:v>0.02</c:v>
                </c:pt>
                <c:pt idx="2977">
                  <c:v>0.01</c:v>
                </c:pt>
                <c:pt idx="2978">
                  <c:v>0.01</c:v>
                </c:pt>
                <c:pt idx="2979">
                  <c:v>0.01</c:v>
                </c:pt>
                <c:pt idx="2980">
                  <c:v>0.02</c:v>
                </c:pt>
                <c:pt idx="2981">
                  <c:v>0.01</c:v>
                </c:pt>
                <c:pt idx="2982">
                  <c:v>0.01</c:v>
                </c:pt>
                <c:pt idx="2983">
                  <c:v>0.01</c:v>
                </c:pt>
                <c:pt idx="2984">
                  <c:v>0.01</c:v>
                </c:pt>
                <c:pt idx="2985">
                  <c:v>0.01</c:v>
                </c:pt>
                <c:pt idx="2986">
                  <c:v>0.01</c:v>
                </c:pt>
                <c:pt idx="2987">
                  <c:v>0.01</c:v>
                </c:pt>
                <c:pt idx="2988">
                  <c:v>0.01</c:v>
                </c:pt>
                <c:pt idx="2989">
                  <c:v>0.02</c:v>
                </c:pt>
                <c:pt idx="2990">
                  <c:v>0.01</c:v>
                </c:pt>
                <c:pt idx="2991">
                  <c:v>0.01</c:v>
                </c:pt>
                <c:pt idx="2992">
                  <c:v>0.01</c:v>
                </c:pt>
                <c:pt idx="2993">
                  <c:v>0.01</c:v>
                </c:pt>
                <c:pt idx="2994">
                  <c:v>0.01</c:v>
                </c:pt>
                <c:pt idx="2995">
                  <c:v>0.01</c:v>
                </c:pt>
                <c:pt idx="2996">
                  <c:v>0.04</c:v>
                </c:pt>
                <c:pt idx="2997">
                  <c:v>0.01</c:v>
                </c:pt>
                <c:pt idx="2998">
                  <c:v>0.01</c:v>
                </c:pt>
                <c:pt idx="2999">
                  <c:v>0.01</c:v>
                </c:pt>
                <c:pt idx="3000">
                  <c:v>0.01</c:v>
                </c:pt>
                <c:pt idx="3001">
                  <c:v>0.01</c:v>
                </c:pt>
                <c:pt idx="3002">
                  <c:v>0.02</c:v>
                </c:pt>
                <c:pt idx="3003">
                  <c:v>0.01</c:v>
                </c:pt>
                <c:pt idx="3004">
                  <c:v>0.01</c:v>
                </c:pt>
                <c:pt idx="3005">
                  <c:v>0.03</c:v>
                </c:pt>
                <c:pt idx="3006">
                  <c:v>0.01</c:v>
                </c:pt>
                <c:pt idx="3007">
                  <c:v>0.01</c:v>
                </c:pt>
                <c:pt idx="3008">
                  <c:v>0.03</c:v>
                </c:pt>
                <c:pt idx="3009">
                  <c:v>0.01</c:v>
                </c:pt>
                <c:pt idx="3010">
                  <c:v>0.01</c:v>
                </c:pt>
                <c:pt idx="3011">
                  <c:v>0.01</c:v>
                </c:pt>
                <c:pt idx="3012">
                  <c:v>0.01</c:v>
                </c:pt>
                <c:pt idx="3013">
                  <c:v>0.01</c:v>
                </c:pt>
                <c:pt idx="3014">
                  <c:v>0.01</c:v>
                </c:pt>
                <c:pt idx="3015">
                  <c:v>0.01</c:v>
                </c:pt>
                <c:pt idx="3016">
                  <c:v>0.01</c:v>
                </c:pt>
                <c:pt idx="3017">
                  <c:v>0.05</c:v>
                </c:pt>
                <c:pt idx="3018">
                  <c:v>0.01</c:v>
                </c:pt>
                <c:pt idx="3019">
                  <c:v>0.01</c:v>
                </c:pt>
                <c:pt idx="3020">
                  <c:v>0.01</c:v>
                </c:pt>
                <c:pt idx="3021">
                  <c:v>0.01</c:v>
                </c:pt>
                <c:pt idx="3022">
                  <c:v>0.01</c:v>
                </c:pt>
                <c:pt idx="3023">
                  <c:v>0.04</c:v>
                </c:pt>
                <c:pt idx="3024">
                  <c:v>0.01</c:v>
                </c:pt>
                <c:pt idx="3025">
                  <c:v>0.01</c:v>
                </c:pt>
                <c:pt idx="3026">
                  <c:v>0.02</c:v>
                </c:pt>
                <c:pt idx="3027">
                  <c:v>0.01</c:v>
                </c:pt>
                <c:pt idx="3028">
                  <c:v>0.02</c:v>
                </c:pt>
                <c:pt idx="3029">
                  <c:v>0.01</c:v>
                </c:pt>
                <c:pt idx="3030">
                  <c:v>0.01</c:v>
                </c:pt>
                <c:pt idx="3031">
                  <c:v>0.01</c:v>
                </c:pt>
                <c:pt idx="3032">
                  <c:v>0.01</c:v>
                </c:pt>
                <c:pt idx="3033">
                  <c:v>0.01</c:v>
                </c:pt>
                <c:pt idx="3034">
                  <c:v>0.01</c:v>
                </c:pt>
                <c:pt idx="3035">
                  <c:v>0.01</c:v>
                </c:pt>
                <c:pt idx="3036">
                  <c:v>0.01</c:v>
                </c:pt>
                <c:pt idx="3037">
                  <c:v>0.03</c:v>
                </c:pt>
                <c:pt idx="3038">
                  <c:v>0.01</c:v>
                </c:pt>
                <c:pt idx="3039">
                  <c:v>0.01</c:v>
                </c:pt>
                <c:pt idx="3040">
                  <c:v>0.01</c:v>
                </c:pt>
                <c:pt idx="3041">
                  <c:v>0.01</c:v>
                </c:pt>
                <c:pt idx="3042">
                  <c:v>0.01</c:v>
                </c:pt>
                <c:pt idx="3043">
                  <c:v>0.01</c:v>
                </c:pt>
                <c:pt idx="3044">
                  <c:v>0.01</c:v>
                </c:pt>
                <c:pt idx="3045">
                  <c:v>0.01</c:v>
                </c:pt>
                <c:pt idx="3046">
                  <c:v>0.01</c:v>
                </c:pt>
                <c:pt idx="3047">
                  <c:v>0.01</c:v>
                </c:pt>
                <c:pt idx="3048">
                  <c:v>0.01</c:v>
                </c:pt>
                <c:pt idx="3049">
                  <c:v>0.01</c:v>
                </c:pt>
                <c:pt idx="3050">
                  <c:v>0.02</c:v>
                </c:pt>
                <c:pt idx="3051">
                  <c:v>0.02</c:v>
                </c:pt>
                <c:pt idx="3052">
                  <c:v>0.01</c:v>
                </c:pt>
                <c:pt idx="3053">
                  <c:v>0.01</c:v>
                </c:pt>
                <c:pt idx="3054">
                  <c:v>0.01</c:v>
                </c:pt>
                <c:pt idx="3055">
                  <c:v>0.01</c:v>
                </c:pt>
                <c:pt idx="3056">
                  <c:v>0.01</c:v>
                </c:pt>
                <c:pt idx="3057">
                  <c:v>0.01</c:v>
                </c:pt>
                <c:pt idx="3058">
                  <c:v>0.01</c:v>
                </c:pt>
                <c:pt idx="3059">
                  <c:v>0.02</c:v>
                </c:pt>
                <c:pt idx="3060">
                  <c:v>0.01</c:v>
                </c:pt>
                <c:pt idx="3061">
                  <c:v>0.01</c:v>
                </c:pt>
                <c:pt idx="3062">
                  <c:v>0.01</c:v>
                </c:pt>
                <c:pt idx="3063">
                  <c:v>0.01</c:v>
                </c:pt>
                <c:pt idx="3064">
                  <c:v>0.01</c:v>
                </c:pt>
                <c:pt idx="3065">
                  <c:v>0.01</c:v>
                </c:pt>
                <c:pt idx="3066">
                  <c:v>0.01</c:v>
                </c:pt>
                <c:pt idx="3067">
                  <c:v>0.04</c:v>
                </c:pt>
                <c:pt idx="3068">
                  <c:v>0.01</c:v>
                </c:pt>
                <c:pt idx="3069">
                  <c:v>0.01</c:v>
                </c:pt>
                <c:pt idx="3070">
                  <c:v>0.01</c:v>
                </c:pt>
                <c:pt idx="3071">
                  <c:v>0.01</c:v>
                </c:pt>
                <c:pt idx="3072">
                  <c:v>0.01</c:v>
                </c:pt>
                <c:pt idx="3073">
                  <c:v>0.01</c:v>
                </c:pt>
                <c:pt idx="3074">
                  <c:v>0.01</c:v>
                </c:pt>
                <c:pt idx="3075">
                  <c:v>0.01</c:v>
                </c:pt>
                <c:pt idx="3076">
                  <c:v>0.02</c:v>
                </c:pt>
                <c:pt idx="3077">
                  <c:v>0.01</c:v>
                </c:pt>
                <c:pt idx="3078">
                  <c:v>0.01</c:v>
                </c:pt>
                <c:pt idx="3079">
                  <c:v>0.02</c:v>
                </c:pt>
                <c:pt idx="3080">
                  <c:v>0.01</c:v>
                </c:pt>
                <c:pt idx="3081">
                  <c:v>0.01</c:v>
                </c:pt>
                <c:pt idx="3082">
                  <c:v>0.01</c:v>
                </c:pt>
                <c:pt idx="3083">
                  <c:v>0.01</c:v>
                </c:pt>
                <c:pt idx="3084">
                  <c:v>0.01</c:v>
                </c:pt>
                <c:pt idx="3085">
                  <c:v>0.01</c:v>
                </c:pt>
                <c:pt idx="3086">
                  <c:v>0.01</c:v>
                </c:pt>
                <c:pt idx="3087">
                  <c:v>0.01</c:v>
                </c:pt>
                <c:pt idx="3088">
                  <c:v>0.01</c:v>
                </c:pt>
                <c:pt idx="3089">
                  <c:v>0.01</c:v>
                </c:pt>
                <c:pt idx="3090">
                  <c:v>0.01</c:v>
                </c:pt>
                <c:pt idx="3091">
                  <c:v>0.01</c:v>
                </c:pt>
                <c:pt idx="3092">
                  <c:v>0.01</c:v>
                </c:pt>
                <c:pt idx="3093">
                  <c:v>0.01</c:v>
                </c:pt>
                <c:pt idx="3094">
                  <c:v>0.01</c:v>
                </c:pt>
                <c:pt idx="3095">
                  <c:v>0.01</c:v>
                </c:pt>
                <c:pt idx="3096">
                  <c:v>0.01</c:v>
                </c:pt>
                <c:pt idx="3097">
                  <c:v>0.01</c:v>
                </c:pt>
                <c:pt idx="3098">
                  <c:v>0.01</c:v>
                </c:pt>
                <c:pt idx="3099">
                  <c:v>0.01</c:v>
                </c:pt>
                <c:pt idx="3100">
                  <c:v>0.01</c:v>
                </c:pt>
                <c:pt idx="3101">
                  <c:v>0.01</c:v>
                </c:pt>
                <c:pt idx="3102">
                  <c:v>0.02</c:v>
                </c:pt>
                <c:pt idx="3103">
                  <c:v>0.01</c:v>
                </c:pt>
                <c:pt idx="3104">
                  <c:v>0.01</c:v>
                </c:pt>
                <c:pt idx="3105">
                  <c:v>0.01</c:v>
                </c:pt>
                <c:pt idx="3106">
                  <c:v>0.01</c:v>
                </c:pt>
                <c:pt idx="3107">
                  <c:v>0.01</c:v>
                </c:pt>
                <c:pt idx="3108">
                  <c:v>0.01</c:v>
                </c:pt>
                <c:pt idx="3109">
                  <c:v>0.01</c:v>
                </c:pt>
                <c:pt idx="3110">
                  <c:v>0.01</c:v>
                </c:pt>
                <c:pt idx="3111">
                  <c:v>0.01</c:v>
                </c:pt>
                <c:pt idx="3112">
                  <c:v>0.01</c:v>
                </c:pt>
                <c:pt idx="3113">
                  <c:v>0.01</c:v>
                </c:pt>
                <c:pt idx="3114">
                  <c:v>0.01</c:v>
                </c:pt>
                <c:pt idx="3115">
                  <c:v>0.01</c:v>
                </c:pt>
                <c:pt idx="3116">
                  <c:v>0.01</c:v>
                </c:pt>
                <c:pt idx="3117">
                  <c:v>0.01</c:v>
                </c:pt>
                <c:pt idx="3118">
                  <c:v>0.01</c:v>
                </c:pt>
                <c:pt idx="3119">
                  <c:v>0.01</c:v>
                </c:pt>
                <c:pt idx="3120">
                  <c:v>0.01</c:v>
                </c:pt>
                <c:pt idx="3121">
                  <c:v>0.01</c:v>
                </c:pt>
                <c:pt idx="3122">
                  <c:v>0.01</c:v>
                </c:pt>
                <c:pt idx="3123">
                  <c:v>0.01</c:v>
                </c:pt>
                <c:pt idx="3124">
                  <c:v>0.01</c:v>
                </c:pt>
                <c:pt idx="3125">
                  <c:v>0.04</c:v>
                </c:pt>
                <c:pt idx="3126">
                  <c:v>0.01</c:v>
                </c:pt>
                <c:pt idx="3127">
                  <c:v>0.01</c:v>
                </c:pt>
                <c:pt idx="3128">
                  <c:v>0.01</c:v>
                </c:pt>
                <c:pt idx="3129">
                  <c:v>0.01</c:v>
                </c:pt>
                <c:pt idx="3130">
                  <c:v>0.01</c:v>
                </c:pt>
                <c:pt idx="3131">
                  <c:v>0.01</c:v>
                </c:pt>
                <c:pt idx="3132">
                  <c:v>0.01</c:v>
                </c:pt>
                <c:pt idx="3133">
                  <c:v>0.01</c:v>
                </c:pt>
                <c:pt idx="3134">
                  <c:v>0.01</c:v>
                </c:pt>
                <c:pt idx="3135">
                  <c:v>0.03</c:v>
                </c:pt>
                <c:pt idx="3136">
                  <c:v>0.01</c:v>
                </c:pt>
                <c:pt idx="3137">
                  <c:v>0.01</c:v>
                </c:pt>
                <c:pt idx="3138">
                  <c:v>0.01</c:v>
                </c:pt>
                <c:pt idx="3139">
                  <c:v>0.01</c:v>
                </c:pt>
                <c:pt idx="3140">
                  <c:v>0.01</c:v>
                </c:pt>
                <c:pt idx="3141">
                  <c:v>0.01</c:v>
                </c:pt>
                <c:pt idx="3142">
                  <c:v>0.01</c:v>
                </c:pt>
                <c:pt idx="3143">
                  <c:v>0.01</c:v>
                </c:pt>
                <c:pt idx="3144">
                  <c:v>0.02</c:v>
                </c:pt>
                <c:pt idx="3145">
                  <c:v>0.01</c:v>
                </c:pt>
                <c:pt idx="3146">
                  <c:v>0.01</c:v>
                </c:pt>
                <c:pt idx="3147">
                  <c:v>0.01</c:v>
                </c:pt>
                <c:pt idx="3148">
                  <c:v>0.01</c:v>
                </c:pt>
                <c:pt idx="3149">
                  <c:v>0.01</c:v>
                </c:pt>
                <c:pt idx="3150">
                  <c:v>0.01</c:v>
                </c:pt>
                <c:pt idx="3151">
                  <c:v>0.01</c:v>
                </c:pt>
                <c:pt idx="3152">
                  <c:v>0.01</c:v>
                </c:pt>
                <c:pt idx="3153">
                  <c:v>0.01</c:v>
                </c:pt>
                <c:pt idx="3154">
                  <c:v>0.01</c:v>
                </c:pt>
                <c:pt idx="3155">
                  <c:v>0.01</c:v>
                </c:pt>
                <c:pt idx="3156">
                  <c:v>0.01</c:v>
                </c:pt>
                <c:pt idx="3157">
                  <c:v>0.01</c:v>
                </c:pt>
                <c:pt idx="3158">
                  <c:v>0.01</c:v>
                </c:pt>
                <c:pt idx="3159">
                  <c:v>0.01</c:v>
                </c:pt>
                <c:pt idx="3160">
                  <c:v>0.01</c:v>
                </c:pt>
                <c:pt idx="3161">
                  <c:v>0.01</c:v>
                </c:pt>
                <c:pt idx="3162">
                  <c:v>0.01</c:v>
                </c:pt>
                <c:pt idx="3163">
                  <c:v>0.01</c:v>
                </c:pt>
                <c:pt idx="3164">
                  <c:v>0.01</c:v>
                </c:pt>
                <c:pt idx="3165">
                  <c:v>0.01</c:v>
                </c:pt>
                <c:pt idx="3166">
                  <c:v>0.02</c:v>
                </c:pt>
                <c:pt idx="3167">
                  <c:v>0.01</c:v>
                </c:pt>
                <c:pt idx="3168">
                  <c:v>0.01</c:v>
                </c:pt>
                <c:pt idx="316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00A097"/>
              </a:solidFill>
            </c:spPr>
            <c:extLst>
              <c:ext xmlns:c16="http://schemas.microsoft.com/office/drawing/2014/chart" uri="{C3380CC4-5D6E-409C-BE32-E72D297353CC}">
                <c16:uniqueId val="{00000119-2993-41DE-A2CB-63102DE87051}"/>
              </c:ext>
            </c:extLst>
          </c:dPt>
          <c:dPt>
            <c:idx val="140"/>
            <c:invertIfNegative val="1"/>
            <c:bubble3D val="0"/>
            <c:spPr>
              <a:solidFill>
                <a:srgbClr val="00A097"/>
              </a:solidFill>
            </c:spPr>
            <c:extLst>
              <c:ext xmlns:c16="http://schemas.microsoft.com/office/drawing/2014/chart" uri="{C3380CC4-5D6E-409C-BE32-E72D297353CC}">
                <c16:uniqueId val="{0000011B-2993-41DE-A2CB-63102DE87051}"/>
              </c:ext>
            </c:extLst>
          </c:dPt>
          <c:dPt>
            <c:idx val="141"/>
            <c:invertIfNegative val="1"/>
            <c:bubble3D val="0"/>
            <c:spPr>
              <a:solidFill>
                <a:srgbClr val="00A097"/>
              </a:solidFill>
            </c:spPr>
            <c:extLst>
              <c:ext xmlns:c16="http://schemas.microsoft.com/office/drawing/2014/chart" uri="{C3380CC4-5D6E-409C-BE32-E72D297353CC}">
                <c16:uniqueId val="{0000011D-2993-41DE-A2CB-63102DE87051}"/>
              </c:ext>
            </c:extLst>
          </c:dPt>
          <c:dPt>
            <c:idx val="142"/>
            <c:invertIfNegative val="1"/>
            <c:bubble3D val="0"/>
            <c:spPr>
              <a:solidFill>
                <a:srgbClr val="00A097"/>
              </a:solidFill>
            </c:spPr>
            <c:extLst>
              <c:ext xmlns:c16="http://schemas.microsoft.com/office/drawing/2014/chart" uri="{C3380CC4-5D6E-409C-BE32-E72D297353CC}">
                <c16:uniqueId val="{0000011F-2993-41DE-A2CB-63102DE87051}"/>
              </c:ext>
            </c:extLst>
          </c:dPt>
          <c:dPt>
            <c:idx val="143"/>
            <c:invertIfNegative val="1"/>
            <c:bubble3D val="0"/>
            <c:spPr>
              <a:solidFill>
                <a:srgbClr val="00A097"/>
              </a:solidFill>
            </c:spPr>
            <c:extLst>
              <c:ext xmlns:c16="http://schemas.microsoft.com/office/drawing/2014/chart" uri="{C3380CC4-5D6E-409C-BE32-E72D297353CC}">
                <c16:uniqueId val="{00000121-2993-41DE-A2CB-63102DE87051}"/>
              </c:ext>
            </c:extLst>
          </c:dPt>
          <c:dPt>
            <c:idx val="144"/>
            <c:invertIfNegative val="1"/>
            <c:bubble3D val="0"/>
            <c:spPr>
              <a:solidFill>
                <a:srgbClr val="00A097"/>
              </a:solidFill>
            </c:spPr>
            <c:extLst>
              <c:ext xmlns:c16="http://schemas.microsoft.com/office/drawing/2014/chart" uri="{C3380CC4-5D6E-409C-BE32-E72D297353CC}">
                <c16:uniqueId val="{00000123-2993-41DE-A2CB-63102DE87051}"/>
              </c:ext>
            </c:extLst>
          </c:dPt>
          <c:dPt>
            <c:idx val="145"/>
            <c:invertIfNegative val="1"/>
            <c:bubble3D val="0"/>
            <c:spPr>
              <a:solidFill>
                <a:srgbClr val="00A097"/>
              </a:solidFill>
            </c:spPr>
            <c:extLst>
              <c:ext xmlns:c16="http://schemas.microsoft.com/office/drawing/2014/chart" uri="{C3380CC4-5D6E-409C-BE32-E72D297353CC}">
                <c16:uniqueId val="{00000125-2993-41DE-A2CB-63102DE87051}"/>
              </c:ext>
            </c:extLst>
          </c:dPt>
          <c:dPt>
            <c:idx val="146"/>
            <c:invertIfNegative val="1"/>
            <c:bubble3D val="0"/>
            <c:spPr>
              <a:solidFill>
                <a:srgbClr val="00A097"/>
              </a:solidFill>
            </c:spPr>
            <c:extLst>
              <c:ext xmlns:c16="http://schemas.microsoft.com/office/drawing/2014/chart" uri="{C3380CC4-5D6E-409C-BE32-E72D297353CC}">
                <c16:uniqueId val="{00000127-2993-41DE-A2CB-63102DE87051}"/>
              </c:ext>
            </c:extLst>
          </c:dPt>
          <c:dPt>
            <c:idx val="147"/>
            <c:invertIfNegative val="1"/>
            <c:bubble3D val="0"/>
            <c:spPr>
              <a:solidFill>
                <a:srgbClr val="00A097"/>
              </a:solidFill>
            </c:spPr>
            <c:extLst>
              <c:ext xmlns:c16="http://schemas.microsoft.com/office/drawing/2014/chart" uri="{C3380CC4-5D6E-409C-BE32-E72D297353CC}">
                <c16:uniqueId val="{00000129-2993-41DE-A2CB-63102DE87051}"/>
              </c:ext>
            </c:extLst>
          </c:dPt>
          <c:dPt>
            <c:idx val="148"/>
            <c:invertIfNegative val="1"/>
            <c:bubble3D val="0"/>
            <c:spPr>
              <a:solidFill>
                <a:srgbClr val="00A097"/>
              </a:solidFill>
            </c:spPr>
            <c:extLst>
              <c:ext xmlns:c16="http://schemas.microsoft.com/office/drawing/2014/chart" uri="{C3380CC4-5D6E-409C-BE32-E72D297353CC}">
                <c16:uniqueId val="{0000012B-2993-41DE-A2CB-63102DE87051}"/>
              </c:ext>
            </c:extLst>
          </c:dPt>
          <c:dPt>
            <c:idx val="149"/>
            <c:invertIfNegative val="1"/>
            <c:bubble3D val="0"/>
            <c:spPr>
              <a:solidFill>
                <a:srgbClr val="00A097"/>
              </a:solidFill>
            </c:spPr>
            <c:extLst>
              <c:ext xmlns:c16="http://schemas.microsoft.com/office/drawing/2014/chart" uri="{C3380CC4-5D6E-409C-BE32-E72D297353CC}">
                <c16:uniqueId val="{0000012D-2993-41DE-A2CB-63102DE87051}"/>
              </c:ext>
            </c:extLst>
          </c:dPt>
          <c:dPt>
            <c:idx val="150"/>
            <c:invertIfNegative val="1"/>
            <c:bubble3D val="0"/>
            <c:spPr>
              <a:solidFill>
                <a:srgbClr val="00A097"/>
              </a:solidFill>
            </c:spPr>
            <c:extLst>
              <c:ext xmlns:c16="http://schemas.microsoft.com/office/drawing/2014/chart" uri="{C3380CC4-5D6E-409C-BE32-E72D297353CC}">
                <c16:uniqueId val="{0000012F-2993-41DE-A2CB-63102DE87051}"/>
              </c:ext>
            </c:extLst>
          </c:dPt>
          <c:dPt>
            <c:idx val="151"/>
            <c:invertIfNegative val="1"/>
            <c:bubble3D val="0"/>
            <c:spPr>
              <a:solidFill>
                <a:srgbClr val="00A097"/>
              </a:solidFill>
            </c:spPr>
            <c:extLst>
              <c:ext xmlns:c16="http://schemas.microsoft.com/office/drawing/2014/chart" uri="{C3380CC4-5D6E-409C-BE32-E72D297353CC}">
                <c16:uniqueId val="{00000131-2993-41DE-A2CB-63102DE87051}"/>
              </c:ext>
            </c:extLst>
          </c:dPt>
          <c:dPt>
            <c:idx val="152"/>
            <c:invertIfNegative val="1"/>
            <c:bubble3D val="0"/>
            <c:spPr>
              <a:solidFill>
                <a:srgbClr val="00A097"/>
              </a:solidFill>
            </c:spPr>
            <c:extLst>
              <c:ext xmlns:c16="http://schemas.microsoft.com/office/drawing/2014/chart" uri="{C3380CC4-5D6E-409C-BE32-E72D297353CC}">
                <c16:uniqueId val="{00000133-2993-41DE-A2CB-63102DE87051}"/>
              </c:ext>
            </c:extLst>
          </c:dPt>
          <c:dPt>
            <c:idx val="153"/>
            <c:invertIfNegative val="1"/>
            <c:bubble3D val="0"/>
            <c:spPr>
              <a:solidFill>
                <a:srgbClr val="00A097"/>
              </a:solidFill>
            </c:spPr>
            <c:extLst>
              <c:ext xmlns:c16="http://schemas.microsoft.com/office/drawing/2014/chart" uri="{C3380CC4-5D6E-409C-BE32-E72D297353CC}">
                <c16:uniqueId val="{00000135-2993-41DE-A2CB-63102DE87051}"/>
              </c:ext>
            </c:extLst>
          </c:dPt>
          <c:dPt>
            <c:idx val="154"/>
            <c:invertIfNegative val="1"/>
            <c:bubble3D val="0"/>
            <c:spPr>
              <a:solidFill>
                <a:srgbClr val="00A097"/>
              </a:solidFill>
            </c:spPr>
            <c:extLst>
              <c:ext xmlns:c16="http://schemas.microsoft.com/office/drawing/2014/chart" uri="{C3380CC4-5D6E-409C-BE32-E72D297353CC}">
                <c16:uniqueId val="{00000137-2993-41DE-A2CB-63102DE87051}"/>
              </c:ext>
            </c:extLst>
          </c:dPt>
          <c:dPt>
            <c:idx val="155"/>
            <c:invertIfNegative val="1"/>
            <c:bubble3D val="0"/>
            <c:spPr>
              <a:solidFill>
                <a:srgbClr val="00A097"/>
              </a:solidFill>
            </c:spPr>
            <c:extLst>
              <c:ext xmlns:c16="http://schemas.microsoft.com/office/drawing/2014/chart" uri="{C3380CC4-5D6E-409C-BE32-E72D297353CC}">
                <c16:uniqueId val="{00000139-2993-41DE-A2CB-63102DE87051}"/>
              </c:ext>
            </c:extLst>
          </c:dPt>
          <c:dPt>
            <c:idx val="156"/>
            <c:invertIfNegative val="1"/>
            <c:bubble3D val="0"/>
            <c:spPr>
              <a:solidFill>
                <a:srgbClr val="00A097"/>
              </a:solidFill>
            </c:spPr>
            <c:extLst>
              <c:ext xmlns:c16="http://schemas.microsoft.com/office/drawing/2014/chart" uri="{C3380CC4-5D6E-409C-BE32-E72D297353CC}">
                <c16:uniqueId val="{0000013B-2993-41DE-A2CB-63102DE87051}"/>
              </c:ext>
            </c:extLst>
          </c:dPt>
          <c:dPt>
            <c:idx val="157"/>
            <c:invertIfNegative val="1"/>
            <c:bubble3D val="0"/>
            <c:spPr>
              <a:solidFill>
                <a:srgbClr val="00A097"/>
              </a:solidFill>
            </c:spPr>
            <c:extLst>
              <c:ext xmlns:c16="http://schemas.microsoft.com/office/drawing/2014/chart" uri="{C3380CC4-5D6E-409C-BE32-E72D297353CC}">
                <c16:uniqueId val="{0000013D-2993-41DE-A2CB-63102DE87051}"/>
              </c:ext>
            </c:extLst>
          </c:dPt>
          <c:dPt>
            <c:idx val="158"/>
            <c:invertIfNegative val="1"/>
            <c:bubble3D val="0"/>
            <c:spPr>
              <a:solidFill>
                <a:srgbClr val="00A097"/>
              </a:solidFill>
            </c:spPr>
            <c:extLst>
              <c:ext xmlns:c16="http://schemas.microsoft.com/office/drawing/2014/chart" uri="{C3380CC4-5D6E-409C-BE32-E72D297353CC}">
                <c16:uniqueId val="{0000013F-2993-41DE-A2CB-63102DE87051}"/>
              </c:ext>
            </c:extLst>
          </c:dPt>
          <c:dPt>
            <c:idx val="159"/>
            <c:invertIfNegative val="1"/>
            <c:bubble3D val="0"/>
            <c:spPr>
              <a:solidFill>
                <a:srgbClr val="00A097"/>
              </a:solidFill>
            </c:spPr>
            <c:extLst>
              <c:ext xmlns:c16="http://schemas.microsoft.com/office/drawing/2014/chart" uri="{C3380CC4-5D6E-409C-BE32-E72D297353CC}">
                <c16:uniqueId val="{00000141-2993-41DE-A2CB-63102DE87051}"/>
              </c:ext>
            </c:extLst>
          </c:dPt>
          <c:dPt>
            <c:idx val="160"/>
            <c:invertIfNegative val="1"/>
            <c:bubble3D val="0"/>
            <c:spPr>
              <a:solidFill>
                <a:srgbClr val="00A097"/>
              </a:solidFill>
            </c:spPr>
            <c:extLst>
              <c:ext xmlns:c16="http://schemas.microsoft.com/office/drawing/2014/chart" uri="{C3380CC4-5D6E-409C-BE32-E72D297353CC}">
                <c16:uniqueId val="{00000143-2993-41DE-A2CB-63102DE87051}"/>
              </c:ext>
            </c:extLst>
          </c:dPt>
          <c:dPt>
            <c:idx val="161"/>
            <c:invertIfNegative val="1"/>
            <c:bubble3D val="0"/>
            <c:spPr>
              <a:solidFill>
                <a:srgbClr val="00A097"/>
              </a:solidFill>
            </c:spPr>
            <c:extLst>
              <c:ext xmlns:c16="http://schemas.microsoft.com/office/drawing/2014/chart" uri="{C3380CC4-5D6E-409C-BE32-E72D297353CC}">
                <c16:uniqueId val="{00000145-2993-41DE-A2CB-63102DE87051}"/>
              </c:ext>
            </c:extLst>
          </c:dPt>
          <c:dPt>
            <c:idx val="162"/>
            <c:invertIfNegative val="1"/>
            <c:bubble3D val="0"/>
            <c:spPr>
              <a:solidFill>
                <a:srgbClr val="00A097"/>
              </a:solidFill>
            </c:spPr>
            <c:extLst>
              <c:ext xmlns:c16="http://schemas.microsoft.com/office/drawing/2014/chart" uri="{C3380CC4-5D6E-409C-BE32-E72D297353CC}">
                <c16:uniqueId val="{00000147-2993-41DE-A2CB-63102DE87051}"/>
              </c:ext>
            </c:extLst>
          </c:dPt>
          <c:dPt>
            <c:idx val="163"/>
            <c:invertIfNegative val="1"/>
            <c:bubble3D val="0"/>
            <c:spPr>
              <a:solidFill>
                <a:srgbClr val="00A097"/>
              </a:solidFill>
            </c:spPr>
            <c:extLst>
              <c:ext xmlns:c16="http://schemas.microsoft.com/office/drawing/2014/chart" uri="{C3380CC4-5D6E-409C-BE32-E72D297353CC}">
                <c16:uniqueId val="{00000149-2993-41DE-A2CB-63102DE87051}"/>
              </c:ext>
            </c:extLst>
          </c:dPt>
          <c:dPt>
            <c:idx val="164"/>
            <c:invertIfNegative val="1"/>
            <c:bubble3D val="0"/>
            <c:spPr>
              <a:solidFill>
                <a:srgbClr val="00A097"/>
              </a:solidFill>
            </c:spPr>
            <c:extLst>
              <c:ext xmlns:c16="http://schemas.microsoft.com/office/drawing/2014/chart" uri="{C3380CC4-5D6E-409C-BE32-E72D297353CC}">
                <c16:uniqueId val="{0000014B-2993-41DE-A2CB-63102DE87051}"/>
              </c:ext>
            </c:extLst>
          </c:dPt>
          <c:dPt>
            <c:idx val="165"/>
            <c:invertIfNegative val="1"/>
            <c:bubble3D val="0"/>
            <c:spPr>
              <a:solidFill>
                <a:srgbClr val="00A097"/>
              </a:solidFill>
            </c:spPr>
            <c:extLst>
              <c:ext xmlns:c16="http://schemas.microsoft.com/office/drawing/2014/chart" uri="{C3380CC4-5D6E-409C-BE32-E72D297353CC}">
                <c16:uniqueId val="{0000014D-2993-41DE-A2CB-63102DE87051}"/>
              </c:ext>
            </c:extLst>
          </c:dPt>
          <c:dPt>
            <c:idx val="166"/>
            <c:invertIfNegative val="1"/>
            <c:bubble3D val="0"/>
            <c:spPr>
              <a:solidFill>
                <a:srgbClr val="00A097"/>
              </a:solidFill>
            </c:spPr>
            <c:extLst>
              <c:ext xmlns:c16="http://schemas.microsoft.com/office/drawing/2014/chart" uri="{C3380CC4-5D6E-409C-BE32-E72D297353CC}">
                <c16:uniqueId val="{0000014F-2993-41DE-A2CB-63102DE87051}"/>
              </c:ext>
            </c:extLst>
          </c:dPt>
          <c:dPt>
            <c:idx val="167"/>
            <c:invertIfNegative val="1"/>
            <c:bubble3D val="0"/>
            <c:spPr>
              <a:solidFill>
                <a:srgbClr val="00A097"/>
              </a:solidFill>
            </c:spPr>
            <c:extLst>
              <c:ext xmlns:c16="http://schemas.microsoft.com/office/drawing/2014/chart" uri="{C3380CC4-5D6E-409C-BE32-E72D297353CC}">
                <c16:uniqueId val="{00000151-2993-41DE-A2CB-63102DE87051}"/>
              </c:ext>
            </c:extLst>
          </c:dPt>
          <c:dPt>
            <c:idx val="168"/>
            <c:invertIfNegative val="1"/>
            <c:bubble3D val="0"/>
            <c:spPr>
              <a:solidFill>
                <a:srgbClr val="00A097"/>
              </a:solidFill>
            </c:spPr>
            <c:extLst>
              <c:ext xmlns:c16="http://schemas.microsoft.com/office/drawing/2014/chart" uri="{C3380CC4-5D6E-409C-BE32-E72D297353CC}">
                <c16:uniqueId val="{00000153-2993-41DE-A2CB-63102DE87051}"/>
              </c:ext>
            </c:extLst>
          </c:dPt>
          <c:dPt>
            <c:idx val="169"/>
            <c:invertIfNegative val="1"/>
            <c:bubble3D val="0"/>
            <c:spPr>
              <a:solidFill>
                <a:srgbClr val="00A097"/>
              </a:solidFill>
            </c:spPr>
            <c:extLst>
              <c:ext xmlns:c16="http://schemas.microsoft.com/office/drawing/2014/chart" uri="{C3380CC4-5D6E-409C-BE32-E72D297353CC}">
                <c16:uniqueId val="{00000155-2993-41DE-A2CB-63102DE87051}"/>
              </c:ext>
            </c:extLst>
          </c:dPt>
          <c:dPt>
            <c:idx val="170"/>
            <c:invertIfNegative val="1"/>
            <c:bubble3D val="0"/>
            <c:spPr>
              <a:solidFill>
                <a:srgbClr val="00A097"/>
              </a:solidFill>
            </c:spPr>
            <c:extLst>
              <c:ext xmlns:c16="http://schemas.microsoft.com/office/drawing/2014/chart" uri="{C3380CC4-5D6E-409C-BE32-E72D297353CC}">
                <c16:uniqueId val="{00000157-2993-41DE-A2CB-63102DE87051}"/>
              </c:ext>
            </c:extLst>
          </c:dPt>
          <c:dPt>
            <c:idx val="171"/>
            <c:invertIfNegative val="1"/>
            <c:bubble3D val="0"/>
            <c:spPr>
              <a:solidFill>
                <a:srgbClr val="00A097"/>
              </a:solidFill>
            </c:spPr>
            <c:extLst>
              <c:ext xmlns:c16="http://schemas.microsoft.com/office/drawing/2014/chart" uri="{C3380CC4-5D6E-409C-BE32-E72D297353CC}">
                <c16:uniqueId val="{00000159-2993-41DE-A2CB-63102DE87051}"/>
              </c:ext>
            </c:extLst>
          </c:dPt>
          <c:dPt>
            <c:idx val="172"/>
            <c:invertIfNegative val="1"/>
            <c:bubble3D val="0"/>
            <c:spPr>
              <a:solidFill>
                <a:srgbClr val="00A097"/>
              </a:solidFill>
            </c:spPr>
            <c:extLst>
              <c:ext xmlns:c16="http://schemas.microsoft.com/office/drawing/2014/chart" uri="{C3380CC4-5D6E-409C-BE32-E72D297353CC}">
                <c16:uniqueId val="{0000015B-2993-41DE-A2CB-63102DE87051}"/>
              </c:ext>
            </c:extLst>
          </c:dPt>
          <c:dPt>
            <c:idx val="173"/>
            <c:invertIfNegative val="1"/>
            <c:bubble3D val="0"/>
            <c:spPr>
              <a:solidFill>
                <a:srgbClr val="00A097"/>
              </a:solidFill>
            </c:spPr>
            <c:extLst>
              <c:ext xmlns:c16="http://schemas.microsoft.com/office/drawing/2014/chart" uri="{C3380CC4-5D6E-409C-BE32-E72D297353CC}">
                <c16:uniqueId val="{0000015D-2993-41DE-A2CB-63102DE87051}"/>
              </c:ext>
            </c:extLst>
          </c:dPt>
          <c:dPt>
            <c:idx val="174"/>
            <c:invertIfNegative val="1"/>
            <c:bubble3D val="0"/>
            <c:spPr>
              <a:solidFill>
                <a:srgbClr val="00A097"/>
              </a:solidFill>
            </c:spPr>
            <c:extLst>
              <c:ext xmlns:c16="http://schemas.microsoft.com/office/drawing/2014/chart" uri="{C3380CC4-5D6E-409C-BE32-E72D297353CC}">
                <c16:uniqueId val="{0000015F-2993-41DE-A2CB-63102DE87051}"/>
              </c:ext>
            </c:extLst>
          </c:dPt>
          <c:dPt>
            <c:idx val="175"/>
            <c:invertIfNegative val="1"/>
            <c:bubble3D val="0"/>
            <c:spPr>
              <a:solidFill>
                <a:srgbClr val="00A097"/>
              </a:solidFill>
            </c:spPr>
            <c:extLst>
              <c:ext xmlns:c16="http://schemas.microsoft.com/office/drawing/2014/chart" uri="{C3380CC4-5D6E-409C-BE32-E72D297353CC}">
                <c16:uniqueId val="{00000161-2993-41DE-A2CB-63102DE87051}"/>
              </c:ext>
            </c:extLst>
          </c:dPt>
          <c:dPt>
            <c:idx val="176"/>
            <c:invertIfNegative val="1"/>
            <c:bubble3D val="0"/>
            <c:spPr>
              <a:solidFill>
                <a:srgbClr val="00A097"/>
              </a:solidFill>
            </c:spPr>
            <c:extLst>
              <c:ext xmlns:c16="http://schemas.microsoft.com/office/drawing/2014/chart" uri="{C3380CC4-5D6E-409C-BE32-E72D297353CC}">
                <c16:uniqueId val="{00000163-2993-41DE-A2CB-63102DE87051}"/>
              </c:ext>
            </c:extLst>
          </c:dPt>
          <c:dPt>
            <c:idx val="177"/>
            <c:invertIfNegative val="1"/>
            <c:bubble3D val="0"/>
            <c:spPr>
              <a:solidFill>
                <a:srgbClr val="00A097"/>
              </a:solidFill>
            </c:spPr>
            <c:extLst>
              <c:ext xmlns:c16="http://schemas.microsoft.com/office/drawing/2014/chart" uri="{C3380CC4-5D6E-409C-BE32-E72D297353CC}">
                <c16:uniqueId val="{00000165-2993-41DE-A2CB-63102DE87051}"/>
              </c:ext>
            </c:extLst>
          </c:dPt>
          <c:dPt>
            <c:idx val="178"/>
            <c:invertIfNegative val="1"/>
            <c:bubble3D val="0"/>
            <c:spPr>
              <a:solidFill>
                <a:srgbClr val="00A097"/>
              </a:solidFill>
            </c:spPr>
            <c:extLst>
              <c:ext xmlns:c16="http://schemas.microsoft.com/office/drawing/2014/chart" uri="{C3380CC4-5D6E-409C-BE32-E72D297353CC}">
                <c16:uniqueId val="{00000167-2993-41DE-A2CB-63102DE87051}"/>
              </c:ext>
            </c:extLst>
          </c:dPt>
          <c:dPt>
            <c:idx val="179"/>
            <c:invertIfNegative val="1"/>
            <c:bubble3D val="0"/>
            <c:spPr>
              <a:solidFill>
                <a:srgbClr val="00A097"/>
              </a:solidFill>
            </c:spPr>
            <c:extLst>
              <c:ext xmlns:c16="http://schemas.microsoft.com/office/drawing/2014/chart" uri="{C3380CC4-5D6E-409C-BE32-E72D297353CC}">
                <c16:uniqueId val="{00000169-2993-41DE-A2CB-63102DE87051}"/>
              </c:ext>
            </c:extLst>
          </c:dPt>
          <c:dPt>
            <c:idx val="180"/>
            <c:invertIfNegative val="1"/>
            <c:bubble3D val="0"/>
            <c:spPr>
              <a:solidFill>
                <a:srgbClr val="00A097"/>
              </a:solidFill>
            </c:spPr>
            <c:extLst>
              <c:ext xmlns:c16="http://schemas.microsoft.com/office/drawing/2014/chart" uri="{C3380CC4-5D6E-409C-BE32-E72D297353CC}">
                <c16:uniqueId val="{0000016B-2993-41DE-A2CB-63102DE87051}"/>
              </c:ext>
            </c:extLst>
          </c:dPt>
          <c:dPt>
            <c:idx val="181"/>
            <c:invertIfNegative val="1"/>
            <c:bubble3D val="0"/>
            <c:spPr>
              <a:solidFill>
                <a:srgbClr val="00A097"/>
              </a:solidFill>
            </c:spPr>
            <c:extLst>
              <c:ext xmlns:c16="http://schemas.microsoft.com/office/drawing/2014/chart" uri="{C3380CC4-5D6E-409C-BE32-E72D297353CC}">
                <c16:uniqueId val="{0000016D-2993-41DE-A2CB-63102DE87051}"/>
              </c:ext>
            </c:extLst>
          </c:dPt>
          <c:dPt>
            <c:idx val="182"/>
            <c:invertIfNegative val="1"/>
            <c:bubble3D val="0"/>
            <c:spPr>
              <a:solidFill>
                <a:srgbClr val="00A097"/>
              </a:solidFill>
            </c:spPr>
            <c:extLst>
              <c:ext xmlns:c16="http://schemas.microsoft.com/office/drawing/2014/chart" uri="{C3380CC4-5D6E-409C-BE32-E72D297353CC}">
                <c16:uniqueId val="{0000016F-2993-41DE-A2CB-63102DE87051}"/>
              </c:ext>
            </c:extLst>
          </c:dPt>
          <c:dPt>
            <c:idx val="183"/>
            <c:invertIfNegative val="1"/>
            <c:bubble3D val="0"/>
            <c:spPr>
              <a:solidFill>
                <a:srgbClr val="00A097"/>
              </a:solidFill>
            </c:spPr>
            <c:extLst>
              <c:ext xmlns:c16="http://schemas.microsoft.com/office/drawing/2014/chart" uri="{C3380CC4-5D6E-409C-BE32-E72D297353CC}">
                <c16:uniqueId val="{00000171-2993-41DE-A2CB-63102DE87051}"/>
              </c:ext>
            </c:extLst>
          </c:dPt>
          <c:dPt>
            <c:idx val="184"/>
            <c:invertIfNegative val="1"/>
            <c:bubble3D val="0"/>
            <c:spPr>
              <a:solidFill>
                <a:srgbClr val="00A097"/>
              </a:solidFill>
            </c:spPr>
            <c:extLst>
              <c:ext xmlns:c16="http://schemas.microsoft.com/office/drawing/2014/chart" uri="{C3380CC4-5D6E-409C-BE32-E72D297353CC}">
                <c16:uniqueId val="{00000173-2993-41DE-A2CB-63102DE87051}"/>
              </c:ext>
            </c:extLst>
          </c:dPt>
          <c:dPt>
            <c:idx val="185"/>
            <c:invertIfNegative val="1"/>
            <c:bubble3D val="0"/>
            <c:spPr>
              <a:solidFill>
                <a:srgbClr val="00A097"/>
              </a:solidFill>
            </c:spPr>
            <c:extLst>
              <c:ext xmlns:c16="http://schemas.microsoft.com/office/drawing/2014/chart" uri="{C3380CC4-5D6E-409C-BE32-E72D297353CC}">
                <c16:uniqueId val="{00000175-2993-41DE-A2CB-63102DE87051}"/>
              </c:ext>
            </c:extLst>
          </c:dPt>
          <c:dPt>
            <c:idx val="186"/>
            <c:invertIfNegative val="1"/>
            <c:bubble3D val="0"/>
            <c:spPr>
              <a:solidFill>
                <a:srgbClr val="00A097"/>
              </a:solidFill>
            </c:spPr>
            <c:extLst>
              <c:ext xmlns:c16="http://schemas.microsoft.com/office/drawing/2014/chart" uri="{C3380CC4-5D6E-409C-BE32-E72D297353CC}">
                <c16:uniqueId val="{00000177-2993-41DE-A2CB-63102DE87051}"/>
              </c:ext>
            </c:extLst>
          </c:dPt>
          <c:dPt>
            <c:idx val="187"/>
            <c:invertIfNegative val="1"/>
            <c:bubble3D val="0"/>
            <c:spPr>
              <a:solidFill>
                <a:srgbClr val="00A097"/>
              </a:solidFill>
            </c:spPr>
            <c:extLst>
              <c:ext xmlns:c16="http://schemas.microsoft.com/office/drawing/2014/chart" uri="{C3380CC4-5D6E-409C-BE32-E72D297353CC}">
                <c16:uniqueId val="{00000179-2993-41DE-A2CB-63102DE87051}"/>
              </c:ext>
            </c:extLst>
          </c:dPt>
          <c:dPt>
            <c:idx val="188"/>
            <c:invertIfNegative val="1"/>
            <c:bubble3D val="0"/>
            <c:spPr>
              <a:solidFill>
                <a:srgbClr val="00A097"/>
              </a:solidFill>
            </c:spPr>
            <c:extLst>
              <c:ext xmlns:c16="http://schemas.microsoft.com/office/drawing/2014/chart" uri="{C3380CC4-5D6E-409C-BE32-E72D297353CC}">
                <c16:uniqueId val="{0000017B-2993-41DE-A2CB-63102DE87051}"/>
              </c:ext>
            </c:extLst>
          </c:dPt>
          <c:dPt>
            <c:idx val="189"/>
            <c:invertIfNegative val="1"/>
            <c:bubble3D val="0"/>
            <c:spPr>
              <a:solidFill>
                <a:srgbClr val="00A097"/>
              </a:solidFill>
            </c:spPr>
            <c:extLst>
              <c:ext xmlns:c16="http://schemas.microsoft.com/office/drawing/2014/chart" uri="{C3380CC4-5D6E-409C-BE32-E72D297353CC}">
                <c16:uniqueId val="{0000017D-2993-41DE-A2CB-63102DE87051}"/>
              </c:ext>
            </c:extLst>
          </c:dPt>
          <c:dPt>
            <c:idx val="190"/>
            <c:invertIfNegative val="1"/>
            <c:bubble3D val="0"/>
            <c:spPr>
              <a:solidFill>
                <a:srgbClr val="00A097"/>
              </a:solidFill>
            </c:spPr>
            <c:extLst>
              <c:ext xmlns:c16="http://schemas.microsoft.com/office/drawing/2014/chart" uri="{C3380CC4-5D6E-409C-BE32-E72D297353CC}">
                <c16:uniqueId val="{0000017F-2993-41DE-A2CB-63102DE87051}"/>
              </c:ext>
            </c:extLst>
          </c:dPt>
          <c:dPt>
            <c:idx val="191"/>
            <c:invertIfNegative val="1"/>
            <c:bubble3D val="0"/>
            <c:spPr>
              <a:solidFill>
                <a:srgbClr val="00A097"/>
              </a:solidFill>
            </c:spPr>
            <c:extLst>
              <c:ext xmlns:c16="http://schemas.microsoft.com/office/drawing/2014/chart" uri="{C3380CC4-5D6E-409C-BE32-E72D297353CC}">
                <c16:uniqueId val="{00000181-2993-41DE-A2CB-63102DE87051}"/>
              </c:ext>
            </c:extLst>
          </c:dPt>
          <c:dPt>
            <c:idx val="192"/>
            <c:invertIfNegative val="1"/>
            <c:bubble3D val="0"/>
            <c:spPr>
              <a:solidFill>
                <a:srgbClr val="00A097"/>
              </a:solidFill>
            </c:spPr>
            <c:extLst>
              <c:ext xmlns:c16="http://schemas.microsoft.com/office/drawing/2014/chart" uri="{C3380CC4-5D6E-409C-BE32-E72D297353CC}">
                <c16:uniqueId val="{00000183-2993-41DE-A2CB-63102DE87051}"/>
              </c:ext>
            </c:extLst>
          </c:dPt>
          <c:dPt>
            <c:idx val="193"/>
            <c:invertIfNegative val="1"/>
            <c:bubble3D val="0"/>
            <c:spPr>
              <a:solidFill>
                <a:srgbClr val="00A097"/>
              </a:solidFill>
            </c:spPr>
            <c:extLst>
              <c:ext xmlns:c16="http://schemas.microsoft.com/office/drawing/2014/chart" uri="{C3380CC4-5D6E-409C-BE32-E72D297353CC}">
                <c16:uniqueId val="{00000185-2993-41DE-A2CB-63102DE87051}"/>
              </c:ext>
            </c:extLst>
          </c:dPt>
          <c:dPt>
            <c:idx val="194"/>
            <c:invertIfNegative val="1"/>
            <c:bubble3D val="0"/>
            <c:spPr>
              <a:solidFill>
                <a:srgbClr val="00A097"/>
              </a:solidFill>
            </c:spPr>
            <c:extLst>
              <c:ext xmlns:c16="http://schemas.microsoft.com/office/drawing/2014/chart" uri="{C3380CC4-5D6E-409C-BE32-E72D297353CC}">
                <c16:uniqueId val="{00000187-2993-41DE-A2CB-63102DE87051}"/>
              </c:ext>
            </c:extLst>
          </c:dPt>
          <c:dPt>
            <c:idx val="195"/>
            <c:invertIfNegative val="1"/>
            <c:bubble3D val="0"/>
            <c:spPr>
              <a:solidFill>
                <a:srgbClr val="00A097"/>
              </a:solidFill>
            </c:spPr>
            <c:extLst>
              <c:ext xmlns:c16="http://schemas.microsoft.com/office/drawing/2014/chart" uri="{C3380CC4-5D6E-409C-BE32-E72D297353CC}">
                <c16:uniqueId val="{00000189-2993-41DE-A2CB-63102DE87051}"/>
              </c:ext>
            </c:extLst>
          </c:dPt>
          <c:dPt>
            <c:idx val="196"/>
            <c:invertIfNegative val="1"/>
            <c:bubble3D val="0"/>
            <c:spPr>
              <a:solidFill>
                <a:srgbClr val="00A097"/>
              </a:solidFill>
            </c:spPr>
            <c:extLst>
              <c:ext xmlns:c16="http://schemas.microsoft.com/office/drawing/2014/chart" uri="{C3380CC4-5D6E-409C-BE32-E72D297353CC}">
                <c16:uniqueId val="{0000018B-2993-41DE-A2CB-63102DE87051}"/>
              </c:ext>
            </c:extLst>
          </c:dPt>
          <c:dPt>
            <c:idx val="197"/>
            <c:invertIfNegative val="1"/>
            <c:bubble3D val="0"/>
            <c:spPr>
              <a:solidFill>
                <a:srgbClr val="00A097"/>
              </a:solidFill>
            </c:spPr>
            <c:extLst>
              <c:ext xmlns:c16="http://schemas.microsoft.com/office/drawing/2014/chart" uri="{C3380CC4-5D6E-409C-BE32-E72D297353CC}">
                <c16:uniqueId val="{0000018D-2993-41DE-A2CB-63102DE87051}"/>
              </c:ext>
            </c:extLst>
          </c:dPt>
          <c:dPt>
            <c:idx val="198"/>
            <c:invertIfNegative val="1"/>
            <c:bubble3D val="0"/>
            <c:spPr>
              <a:solidFill>
                <a:srgbClr val="00A097"/>
              </a:solidFill>
            </c:spPr>
            <c:extLst>
              <c:ext xmlns:c16="http://schemas.microsoft.com/office/drawing/2014/chart" uri="{C3380CC4-5D6E-409C-BE32-E72D297353CC}">
                <c16:uniqueId val="{0000018F-2993-41DE-A2CB-63102DE87051}"/>
              </c:ext>
            </c:extLst>
          </c:dPt>
          <c:dPt>
            <c:idx val="199"/>
            <c:invertIfNegative val="1"/>
            <c:bubble3D val="0"/>
            <c:spPr>
              <a:solidFill>
                <a:srgbClr val="00A097"/>
              </a:solidFill>
            </c:spPr>
            <c:extLst>
              <c:ext xmlns:c16="http://schemas.microsoft.com/office/drawing/2014/chart" uri="{C3380CC4-5D6E-409C-BE32-E72D297353CC}">
                <c16:uniqueId val="{00000191-2993-41DE-A2CB-63102DE87051}"/>
              </c:ext>
            </c:extLst>
          </c:dPt>
          <c:dPt>
            <c:idx val="200"/>
            <c:invertIfNegative val="1"/>
            <c:bubble3D val="0"/>
            <c:spPr>
              <a:solidFill>
                <a:srgbClr val="00A097"/>
              </a:solidFill>
            </c:spPr>
            <c:extLst>
              <c:ext xmlns:c16="http://schemas.microsoft.com/office/drawing/2014/chart" uri="{C3380CC4-5D6E-409C-BE32-E72D297353CC}">
                <c16:uniqueId val="{00000193-2993-41DE-A2CB-63102DE87051}"/>
              </c:ext>
            </c:extLst>
          </c:dPt>
          <c:dPt>
            <c:idx val="201"/>
            <c:invertIfNegative val="1"/>
            <c:bubble3D val="0"/>
            <c:spPr>
              <a:solidFill>
                <a:srgbClr val="00A097"/>
              </a:solidFill>
            </c:spPr>
            <c:extLst>
              <c:ext xmlns:c16="http://schemas.microsoft.com/office/drawing/2014/chart" uri="{C3380CC4-5D6E-409C-BE32-E72D297353CC}">
                <c16:uniqueId val="{00000195-2993-41DE-A2CB-63102DE87051}"/>
              </c:ext>
            </c:extLst>
          </c:dPt>
          <c:dPt>
            <c:idx val="202"/>
            <c:invertIfNegative val="1"/>
            <c:bubble3D val="0"/>
            <c:spPr>
              <a:solidFill>
                <a:srgbClr val="00A097"/>
              </a:solidFill>
            </c:spPr>
            <c:extLst>
              <c:ext xmlns:c16="http://schemas.microsoft.com/office/drawing/2014/chart" uri="{C3380CC4-5D6E-409C-BE32-E72D297353CC}">
                <c16:uniqueId val="{00000197-2993-41DE-A2CB-63102DE87051}"/>
              </c:ext>
            </c:extLst>
          </c:dPt>
          <c:dPt>
            <c:idx val="203"/>
            <c:invertIfNegative val="1"/>
            <c:bubble3D val="0"/>
            <c:spPr>
              <a:solidFill>
                <a:srgbClr val="00A097"/>
              </a:solidFill>
            </c:spPr>
            <c:extLst>
              <c:ext xmlns:c16="http://schemas.microsoft.com/office/drawing/2014/chart" uri="{C3380CC4-5D6E-409C-BE32-E72D297353CC}">
                <c16:uniqueId val="{00000199-2993-41DE-A2CB-63102DE87051}"/>
              </c:ext>
            </c:extLst>
          </c:dPt>
          <c:dPt>
            <c:idx val="204"/>
            <c:invertIfNegative val="1"/>
            <c:bubble3D val="0"/>
            <c:spPr>
              <a:solidFill>
                <a:srgbClr val="00A097"/>
              </a:solidFill>
            </c:spPr>
            <c:extLst>
              <c:ext xmlns:c16="http://schemas.microsoft.com/office/drawing/2014/chart" uri="{C3380CC4-5D6E-409C-BE32-E72D297353CC}">
                <c16:uniqueId val="{0000019B-2993-41DE-A2CB-63102DE87051}"/>
              </c:ext>
            </c:extLst>
          </c:dPt>
          <c:dPt>
            <c:idx val="205"/>
            <c:invertIfNegative val="1"/>
            <c:bubble3D val="0"/>
            <c:spPr>
              <a:solidFill>
                <a:srgbClr val="00A097"/>
              </a:solidFill>
            </c:spPr>
            <c:extLst>
              <c:ext xmlns:c16="http://schemas.microsoft.com/office/drawing/2014/chart" uri="{C3380CC4-5D6E-409C-BE32-E72D297353CC}">
                <c16:uniqueId val="{0000019D-2993-41DE-A2CB-63102DE87051}"/>
              </c:ext>
            </c:extLst>
          </c:dPt>
          <c:dPt>
            <c:idx val="206"/>
            <c:invertIfNegative val="1"/>
            <c:bubble3D val="0"/>
            <c:spPr>
              <a:solidFill>
                <a:srgbClr val="00A097"/>
              </a:solidFill>
            </c:spPr>
            <c:extLst>
              <c:ext xmlns:c16="http://schemas.microsoft.com/office/drawing/2014/chart" uri="{C3380CC4-5D6E-409C-BE32-E72D297353CC}">
                <c16:uniqueId val="{0000019F-2993-41DE-A2CB-63102DE87051}"/>
              </c:ext>
            </c:extLst>
          </c:dPt>
          <c:dPt>
            <c:idx val="207"/>
            <c:invertIfNegative val="1"/>
            <c:bubble3D val="0"/>
            <c:spPr>
              <a:solidFill>
                <a:srgbClr val="00A097"/>
              </a:solidFill>
            </c:spPr>
            <c:extLst>
              <c:ext xmlns:c16="http://schemas.microsoft.com/office/drawing/2014/chart" uri="{C3380CC4-5D6E-409C-BE32-E72D297353CC}">
                <c16:uniqueId val="{000001A1-2993-41DE-A2CB-63102DE87051}"/>
              </c:ext>
            </c:extLst>
          </c:dPt>
          <c:dPt>
            <c:idx val="208"/>
            <c:invertIfNegative val="1"/>
            <c:bubble3D val="0"/>
            <c:spPr>
              <a:solidFill>
                <a:srgbClr val="00A097"/>
              </a:solidFill>
            </c:spPr>
            <c:extLst>
              <c:ext xmlns:c16="http://schemas.microsoft.com/office/drawing/2014/chart" uri="{C3380CC4-5D6E-409C-BE32-E72D297353CC}">
                <c16:uniqueId val="{000001A3-2993-41DE-A2CB-63102DE87051}"/>
              </c:ext>
            </c:extLst>
          </c:dPt>
          <c:dPt>
            <c:idx val="209"/>
            <c:invertIfNegative val="1"/>
            <c:bubble3D val="0"/>
            <c:spPr>
              <a:solidFill>
                <a:srgbClr val="00A097"/>
              </a:solidFill>
            </c:spPr>
            <c:extLst>
              <c:ext xmlns:c16="http://schemas.microsoft.com/office/drawing/2014/chart" uri="{C3380CC4-5D6E-409C-BE32-E72D297353CC}">
                <c16:uniqueId val="{000001A5-2993-41DE-A2CB-63102DE87051}"/>
              </c:ext>
            </c:extLst>
          </c:dPt>
          <c:dPt>
            <c:idx val="210"/>
            <c:invertIfNegative val="1"/>
            <c:bubble3D val="0"/>
            <c:spPr>
              <a:solidFill>
                <a:srgbClr val="00A097"/>
              </a:solidFill>
            </c:spPr>
            <c:extLst>
              <c:ext xmlns:c16="http://schemas.microsoft.com/office/drawing/2014/chart" uri="{C3380CC4-5D6E-409C-BE32-E72D297353CC}">
                <c16:uniqueId val="{000001A7-7BE2-49F1-B47F-64DDA7BF3F9D}"/>
              </c:ext>
            </c:extLst>
          </c:dPt>
          <c:dPt>
            <c:idx val="211"/>
            <c:invertIfNegative val="1"/>
            <c:bubble3D val="0"/>
            <c:spPr>
              <a:solidFill>
                <a:srgbClr val="00A097"/>
              </a:solidFill>
            </c:spPr>
            <c:extLst>
              <c:ext xmlns:c16="http://schemas.microsoft.com/office/drawing/2014/chart" uri="{C3380CC4-5D6E-409C-BE32-E72D297353CC}">
                <c16:uniqueId val="{000001A9-7BE2-49F1-B47F-64DDA7BF3F9D}"/>
              </c:ext>
            </c:extLst>
          </c:dPt>
          <c:dPt>
            <c:idx val="212"/>
            <c:invertIfNegative val="1"/>
            <c:bubble3D val="0"/>
            <c:spPr>
              <a:solidFill>
                <a:srgbClr val="00A097"/>
              </a:solidFill>
            </c:spPr>
            <c:extLst>
              <c:ext xmlns:c16="http://schemas.microsoft.com/office/drawing/2014/chart" uri="{C3380CC4-5D6E-409C-BE32-E72D297353CC}">
                <c16:uniqueId val="{000001AB-7BE2-49F1-B47F-64DDA7BF3F9D}"/>
              </c:ext>
            </c:extLst>
          </c:dPt>
          <c:dPt>
            <c:idx val="213"/>
            <c:invertIfNegative val="1"/>
            <c:bubble3D val="0"/>
            <c:spPr>
              <a:solidFill>
                <a:srgbClr val="00A097"/>
              </a:solidFill>
            </c:spPr>
            <c:extLst>
              <c:ext xmlns:c16="http://schemas.microsoft.com/office/drawing/2014/chart" uri="{C3380CC4-5D6E-409C-BE32-E72D297353CC}">
                <c16:uniqueId val="{000001AD-7BE2-49F1-B47F-64DDA7BF3F9D}"/>
              </c:ext>
            </c:extLst>
          </c:dPt>
          <c:dPt>
            <c:idx val="214"/>
            <c:invertIfNegative val="1"/>
            <c:bubble3D val="0"/>
            <c:spPr>
              <a:solidFill>
                <a:srgbClr val="00A097"/>
              </a:solidFill>
            </c:spPr>
            <c:extLst>
              <c:ext xmlns:c16="http://schemas.microsoft.com/office/drawing/2014/chart" uri="{C3380CC4-5D6E-409C-BE32-E72D297353CC}">
                <c16:uniqueId val="{000001AF-7BE2-49F1-B47F-64DDA7BF3F9D}"/>
              </c:ext>
            </c:extLst>
          </c:dPt>
          <c:dPt>
            <c:idx val="215"/>
            <c:invertIfNegative val="1"/>
            <c:bubble3D val="0"/>
            <c:spPr>
              <a:solidFill>
                <a:srgbClr val="00A097"/>
              </a:solidFill>
            </c:spPr>
            <c:extLst>
              <c:ext xmlns:c16="http://schemas.microsoft.com/office/drawing/2014/chart" uri="{C3380CC4-5D6E-409C-BE32-E72D297353CC}">
                <c16:uniqueId val="{000001B1-7BE2-49F1-B47F-64DDA7BF3F9D}"/>
              </c:ext>
            </c:extLst>
          </c:dPt>
          <c:dPt>
            <c:idx val="216"/>
            <c:invertIfNegative val="1"/>
            <c:bubble3D val="0"/>
            <c:spPr>
              <a:solidFill>
                <a:srgbClr val="00A097"/>
              </a:solidFill>
            </c:spPr>
            <c:extLst>
              <c:ext xmlns:c16="http://schemas.microsoft.com/office/drawing/2014/chart" uri="{C3380CC4-5D6E-409C-BE32-E72D297353CC}">
                <c16:uniqueId val="{000001B3-7BE2-49F1-B47F-64DDA7BF3F9D}"/>
              </c:ext>
            </c:extLst>
          </c:dPt>
          <c:dPt>
            <c:idx val="217"/>
            <c:invertIfNegative val="1"/>
            <c:bubble3D val="0"/>
            <c:spPr>
              <a:solidFill>
                <a:srgbClr val="00A097"/>
              </a:solidFill>
            </c:spPr>
            <c:extLst>
              <c:ext xmlns:c16="http://schemas.microsoft.com/office/drawing/2014/chart" uri="{C3380CC4-5D6E-409C-BE32-E72D297353CC}">
                <c16:uniqueId val="{000001B5-7BE2-49F1-B47F-64DDA7BF3F9D}"/>
              </c:ext>
            </c:extLst>
          </c:dPt>
          <c:dPt>
            <c:idx val="218"/>
            <c:invertIfNegative val="1"/>
            <c:bubble3D val="0"/>
            <c:spPr>
              <a:solidFill>
                <a:srgbClr val="00A097"/>
              </a:solidFill>
            </c:spPr>
            <c:extLst>
              <c:ext xmlns:c16="http://schemas.microsoft.com/office/drawing/2014/chart" uri="{C3380CC4-5D6E-409C-BE32-E72D297353CC}">
                <c16:uniqueId val="{000001B7-7BE2-49F1-B47F-64DDA7BF3F9D}"/>
              </c:ext>
            </c:extLst>
          </c:dPt>
          <c:dPt>
            <c:idx val="219"/>
            <c:invertIfNegative val="1"/>
            <c:bubble3D val="0"/>
            <c:spPr>
              <a:solidFill>
                <a:srgbClr val="00A097"/>
              </a:solidFill>
            </c:spPr>
            <c:extLst>
              <c:ext xmlns:c16="http://schemas.microsoft.com/office/drawing/2014/chart" uri="{C3380CC4-5D6E-409C-BE32-E72D297353CC}">
                <c16:uniqueId val="{000001B9-7BE2-49F1-B47F-64DDA7BF3F9D}"/>
              </c:ext>
            </c:extLst>
          </c:dPt>
          <c:dPt>
            <c:idx val="220"/>
            <c:invertIfNegative val="1"/>
            <c:bubble3D val="0"/>
            <c:spPr>
              <a:solidFill>
                <a:srgbClr val="00A097"/>
              </a:solidFill>
            </c:spPr>
            <c:extLst>
              <c:ext xmlns:c16="http://schemas.microsoft.com/office/drawing/2014/chart" uri="{C3380CC4-5D6E-409C-BE32-E72D297353CC}">
                <c16:uniqueId val="{000001BB-7BE2-49F1-B47F-64DDA7BF3F9D}"/>
              </c:ext>
            </c:extLst>
          </c:dPt>
          <c:dPt>
            <c:idx val="221"/>
            <c:invertIfNegative val="1"/>
            <c:bubble3D val="0"/>
            <c:spPr>
              <a:solidFill>
                <a:srgbClr val="00A097"/>
              </a:solidFill>
            </c:spPr>
            <c:extLst>
              <c:ext xmlns:c16="http://schemas.microsoft.com/office/drawing/2014/chart" uri="{C3380CC4-5D6E-409C-BE32-E72D297353CC}">
                <c16:uniqueId val="{000001BD-7BE2-49F1-B47F-64DDA7BF3F9D}"/>
              </c:ext>
            </c:extLst>
          </c:dPt>
          <c:dPt>
            <c:idx val="222"/>
            <c:invertIfNegative val="1"/>
            <c:bubble3D val="0"/>
            <c:spPr>
              <a:solidFill>
                <a:srgbClr val="00A097"/>
              </a:solidFill>
            </c:spPr>
            <c:extLst>
              <c:ext xmlns:c16="http://schemas.microsoft.com/office/drawing/2014/chart" uri="{C3380CC4-5D6E-409C-BE32-E72D297353CC}">
                <c16:uniqueId val="{000001BF-7BE2-49F1-B47F-64DDA7BF3F9D}"/>
              </c:ext>
            </c:extLst>
          </c:dPt>
          <c:dPt>
            <c:idx val="223"/>
            <c:invertIfNegative val="1"/>
            <c:bubble3D val="0"/>
            <c:spPr>
              <a:solidFill>
                <a:srgbClr val="00A097"/>
              </a:solidFill>
            </c:spPr>
            <c:extLst>
              <c:ext xmlns:c16="http://schemas.microsoft.com/office/drawing/2014/chart" uri="{C3380CC4-5D6E-409C-BE32-E72D297353CC}">
                <c16:uniqueId val="{000001C1-7BE2-49F1-B47F-64DDA7BF3F9D}"/>
              </c:ext>
            </c:extLst>
          </c:dPt>
          <c:dPt>
            <c:idx val="224"/>
            <c:invertIfNegative val="1"/>
            <c:bubble3D val="0"/>
            <c:spPr>
              <a:solidFill>
                <a:srgbClr val="00A097"/>
              </a:solidFill>
            </c:spPr>
            <c:extLst>
              <c:ext xmlns:c16="http://schemas.microsoft.com/office/drawing/2014/chart" uri="{C3380CC4-5D6E-409C-BE32-E72D297353CC}">
                <c16:uniqueId val="{000001C3-7BE2-49F1-B47F-64DDA7BF3F9D}"/>
              </c:ext>
            </c:extLst>
          </c:dPt>
          <c:dPt>
            <c:idx val="225"/>
            <c:invertIfNegative val="1"/>
            <c:bubble3D val="0"/>
            <c:spPr>
              <a:solidFill>
                <a:srgbClr val="00A097"/>
              </a:solidFill>
            </c:spPr>
            <c:extLst>
              <c:ext xmlns:c16="http://schemas.microsoft.com/office/drawing/2014/chart" uri="{C3380CC4-5D6E-409C-BE32-E72D297353CC}">
                <c16:uniqueId val="{000001C5-7BE2-49F1-B47F-64DDA7BF3F9D}"/>
              </c:ext>
            </c:extLst>
          </c:dPt>
          <c:dPt>
            <c:idx val="226"/>
            <c:invertIfNegative val="1"/>
            <c:bubble3D val="0"/>
            <c:spPr>
              <a:solidFill>
                <a:srgbClr val="00A097"/>
              </a:solidFill>
            </c:spPr>
            <c:extLst>
              <c:ext xmlns:c16="http://schemas.microsoft.com/office/drawing/2014/chart" uri="{C3380CC4-5D6E-409C-BE32-E72D297353CC}">
                <c16:uniqueId val="{000001C7-7BE2-49F1-B47F-64DDA7BF3F9D}"/>
              </c:ext>
            </c:extLst>
          </c:dPt>
          <c:dPt>
            <c:idx val="227"/>
            <c:invertIfNegative val="1"/>
            <c:bubble3D val="0"/>
            <c:spPr>
              <a:solidFill>
                <a:srgbClr val="00A097"/>
              </a:solidFill>
            </c:spPr>
            <c:extLst>
              <c:ext xmlns:c16="http://schemas.microsoft.com/office/drawing/2014/chart" uri="{C3380CC4-5D6E-409C-BE32-E72D297353CC}">
                <c16:uniqueId val="{000001C9-7BE2-49F1-B47F-64DDA7BF3F9D}"/>
              </c:ext>
            </c:extLst>
          </c:dPt>
          <c:dPt>
            <c:idx val="228"/>
            <c:invertIfNegative val="1"/>
            <c:bubble3D val="0"/>
            <c:spPr>
              <a:solidFill>
                <a:srgbClr val="00A097"/>
              </a:solidFill>
            </c:spPr>
            <c:extLst>
              <c:ext xmlns:c16="http://schemas.microsoft.com/office/drawing/2014/chart" uri="{C3380CC4-5D6E-409C-BE32-E72D297353CC}">
                <c16:uniqueId val="{000001CB-7BE2-49F1-B47F-64DDA7BF3F9D}"/>
              </c:ext>
            </c:extLst>
          </c:dPt>
          <c:dPt>
            <c:idx val="229"/>
            <c:invertIfNegative val="1"/>
            <c:bubble3D val="0"/>
            <c:spPr>
              <a:solidFill>
                <a:srgbClr val="00A097"/>
              </a:solidFill>
            </c:spPr>
            <c:extLst>
              <c:ext xmlns:c16="http://schemas.microsoft.com/office/drawing/2014/chart" uri="{C3380CC4-5D6E-409C-BE32-E72D297353CC}">
                <c16:uniqueId val="{000001CD-7BE2-49F1-B47F-64DDA7BF3F9D}"/>
              </c:ext>
            </c:extLst>
          </c:dPt>
          <c:dPt>
            <c:idx val="230"/>
            <c:invertIfNegative val="1"/>
            <c:bubble3D val="0"/>
            <c:spPr>
              <a:solidFill>
                <a:srgbClr val="00A097"/>
              </a:solidFill>
            </c:spPr>
            <c:extLst>
              <c:ext xmlns:c16="http://schemas.microsoft.com/office/drawing/2014/chart" uri="{C3380CC4-5D6E-409C-BE32-E72D297353CC}">
                <c16:uniqueId val="{000001CF-7BE2-49F1-B47F-64DDA7BF3F9D}"/>
              </c:ext>
            </c:extLst>
          </c:dPt>
          <c:dPt>
            <c:idx val="231"/>
            <c:invertIfNegative val="1"/>
            <c:bubble3D val="0"/>
            <c:spPr>
              <a:solidFill>
                <a:srgbClr val="00A097"/>
              </a:solidFill>
            </c:spPr>
            <c:extLst>
              <c:ext xmlns:c16="http://schemas.microsoft.com/office/drawing/2014/chart" uri="{C3380CC4-5D6E-409C-BE32-E72D297353CC}">
                <c16:uniqueId val="{000001D1-7BE2-49F1-B47F-64DDA7BF3F9D}"/>
              </c:ext>
            </c:extLst>
          </c:dPt>
          <c:dPt>
            <c:idx val="232"/>
            <c:invertIfNegative val="1"/>
            <c:bubble3D val="0"/>
            <c:spPr>
              <a:solidFill>
                <a:srgbClr val="00A097"/>
              </a:solidFill>
            </c:spPr>
            <c:extLst>
              <c:ext xmlns:c16="http://schemas.microsoft.com/office/drawing/2014/chart" uri="{C3380CC4-5D6E-409C-BE32-E72D297353CC}">
                <c16:uniqueId val="{000001D3-7BE2-49F1-B47F-64DDA7BF3F9D}"/>
              </c:ext>
            </c:extLst>
          </c:dPt>
          <c:dPt>
            <c:idx val="233"/>
            <c:invertIfNegative val="1"/>
            <c:bubble3D val="0"/>
            <c:spPr>
              <a:solidFill>
                <a:srgbClr val="00A097"/>
              </a:solidFill>
            </c:spPr>
            <c:extLst>
              <c:ext xmlns:c16="http://schemas.microsoft.com/office/drawing/2014/chart" uri="{C3380CC4-5D6E-409C-BE32-E72D297353CC}">
                <c16:uniqueId val="{000001D5-7BE2-49F1-B47F-64DDA7BF3F9D}"/>
              </c:ext>
            </c:extLst>
          </c:dPt>
          <c:dPt>
            <c:idx val="234"/>
            <c:invertIfNegative val="1"/>
            <c:bubble3D val="0"/>
            <c:spPr>
              <a:solidFill>
                <a:srgbClr val="00A097"/>
              </a:solidFill>
            </c:spPr>
            <c:extLst>
              <c:ext xmlns:c16="http://schemas.microsoft.com/office/drawing/2014/chart" uri="{C3380CC4-5D6E-409C-BE32-E72D297353CC}">
                <c16:uniqueId val="{000001D7-7BE2-49F1-B47F-64DDA7BF3F9D}"/>
              </c:ext>
            </c:extLst>
          </c:dPt>
          <c:dPt>
            <c:idx val="235"/>
            <c:invertIfNegative val="1"/>
            <c:bubble3D val="0"/>
            <c:spPr>
              <a:solidFill>
                <a:srgbClr val="00A097"/>
              </a:solidFill>
            </c:spPr>
            <c:extLst>
              <c:ext xmlns:c16="http://schemas.microsoft.com/office/drawing/2014/chart" uri="{C3380CC4-5D6E-409C-BE32-E72D297353CC}">
                <c16:uniqueId val="{000001D9-7BE2-49F1-B47F-64DDA7BF3F9D}"/>
              </c:ext>
            </c:extLst>
          </c:dPt>
          <c:dPt>
            <c:idx val="236"/>
            <c:invertIfNegative val="1"/>
            <c:bubble3D val="0"/>
            <c:spPr>
              <a:solidFill>
                <a:srgbClr val="00A097"/>
              </a:solidFill>
            </c:spPr>
            <c:extLst>
              <c:ext xmlns:c16="http://schemas.microsoft.com/office/drawing/2014/chart" uri="{C3380CC4-5D6E-409C-BE32-E72D297353CC}">
                <c16:uniqueId val="{000001DB-7BE2-49F1-B47F-64DDA7BF3F9D}"/>
              </c:ext>
            </c:extLst>
          </c:dPt>
          <c:dPt>
            <c:idx val="237"/>
            <c:invertIfNegative val="1"/>
            <c:bubble3D val="0"/>
            <c:spPr>
              <a:solidFill>
                <a:srgbClr val="00A097"/>
              </a:solidFill>
            </c:spPr>
            <c:extLst>
              <c:ext xmlns:c16="http://schemas.microsoft.com/office/drawing/2014/chart" uri="{C3380CC4-5D6E-409C-BE32-E72D297353CC}">
                <c16:uniqueId val="{000001DD-7BE2-49F1-B47F-64DDA7BF3F9D}"/>
              </c:ext>
            </c:extLst>
          </c:dPt>
          <c:dPt>
            <c:idx val="238"/>
            <c:invertIfNegative val="1"/>
            <c:bubble3D val="0"/>
            <c:spPr>
              <a:solidFill>
                <a:srgbClr val="00A097"/>
              </a:solidFill>
            </c:spPr>
            <c:extLst>
              <c:ext xmlns:c16="http://schemas.microsoft.com/office/drawing/2014/chart" uri="{C3380CC4-5D6E-409C-BE32-E72D297353CC}">
                <c16:uniqueId val="{000001DF-7BE2-49F1-B47F-64DDA7BF3F9D}"/>
              </c:ext>
            </c:extLst>
          </c:dPt>
          <c:dPt>
            <c:idx val="239"/>
            <c:invertIfNegative val="1"/>
            <c:bubble3D val="0"/>
            <c:spPr>
              <a:solidFill>
                <a:srgbClr val="00A097"/>
              </a:solidFill>
            </c:spPr>
            <c:extLst>
              <c:ext xmlns:c16="http://schemas.microsoft.com/office/drawing/2014/chart" uri="{C3380CC4-5D6E-409C-BE32-E72D297353CC}">
                <c16:uniqueId val="{000001E1-7BE2-49F1-B47F-64DDA7BF3F9D}"/>
              </c:ext>
            </c:extLst>
          </c:dPt>
          <c:dPt>
            <c:idx val="240"/>
            <c:invertIfNegative val="1"/>
            <c:bubble3D val="0"/>
            <c:spPr>
              <a:solidFill>
                <a:srgbClr val="00A097"/>
              </a:solidFill>
            </c:spPr>
            <c:extLst>
              <c:ext xmlns:c16="http://schemas.microsoft.com/office/drawing/2014/chart" uri="{C3380CC4-5D6E-409C-BE32-E72D297353CC}">
                <c16:uniqueId val="{000001E3-7BE2-49F1-B47F-64DDA7BF3F9D}"/>
              </c:ext>
            </c:extLst>
          </c:dPt>
          <c:dPt>
            <c:idx val="241"/>
            <c:invertIfNegative val="1"/>
            <c:bubble3D val="0"/>
            <c:spPr>
              <a:solidFill>
                <a:srgbClr val="00A097"/>
              </a:solidFill>
            </c:spPr>
            <c:extLst>
              <c:ext xmlns:c16="http://schemas.microsoft.com/office/drawing/2014/chart" uri="{C3380CC4-5D6E-409C-BE32-E72D297353CC}">
                <c16:uniqueId val="{000001E5-7BE2-49F1-B47F-64DDA7BF3F9D}"/>
              </c:ext>
            </c:extLst>
          </c:dPt>
          <c:dPt>
            <c:idx val="242"/>
            <c:invertIfNegative val="1"/>
            <c:bubble3D val="0"/>
            <c:spPr>
              <a:solidFill>
                <a:srgbClr val="00A097"/>
              </a:solidFill>
            </c:spPr>
            <c:extLst>
              <c:ext xmlns:c16="http://schemas.microsoft.com/office/drawing/2014/chart" uri="{C3380CC4-5D6E-409C-BE32-E72D297353CC}">
                <c16:uniqueId val="{000001E7-7BE2-49F1-B47F-64DDA7BF3F9D}"/>
              </c:ext>
            </c:extLst>
          </c:dPt>
          <c:dPt>
            <c:idx val="243"/>
            <c:invertIfNegative val="1"/>
            <c:bubble3D val="0"/>
            <c:spPr>
              <a:solidFill>
                <a:srgbClr val="00A097"/>
              </a:solidFill>
            </c:spPr>
            <c:extLst>
              <c:ext xmlns:c16="http://schemas.microsoft.com/office/drawing/2014/chart" uri="{C3380CC4-5D6E-409C-BE32-E72D297353CC}">
                <c16:uniqueId val="{000001E9-7BE2-49F1-B47F-64DDA7BF3F9D}"/>
              </c:ext>
            </c:extLst>
          </c:dPt>
          <c:dPt>
            <c:idx val="244"/>
            <c:invertIfNegative val="1"/>
            <c:bubble3D val="0"/>
            <c:spPr>
              <a:solidFill>
                <a:srgbClr val="00A097"/>
              </a:solidFill>
            </c:spPr>
            <c:extLst>
              <c:ext xmlns:c16="http://schemas.microsoft.com/office/drawing/2014/chart" uri="{C3380CC4-5D6E-409C-BE32-E72D297353CC}">
                <c16:uniqueId val="{000001EB-7BE2-49F1-B47F-64DDA7BF3F9D}"/>
              </c:ext>
            </c:extLst>
          </c:dPt>
          <c:dPt>
            <c:idx val="245"/>
            <c:invertIfNegative val="1"/>
            <c:bubble3D val="0"/>
            <c:spPr>
              <a:solidFill>
                <a:srgbClr val="00A097"/>
              </a:solidFill>
            </c:spPr>
            <c:extLst>
              <c:ext xmlns:c16="http://schemas.microsoft.com/office/drawing/2014/chart" uri="{C3380CC4-5D6E-409C-BE32-E72D297353CC}">
                <c16:uniqueId val="{000001ED-7BE2-49F1-B47F-64DDA7BF3F9D}"/>
              </c:ext>
            </c:extLst>
          </c:dPt>
          <c:dPt>
            <c:idx val="246"/>
            <c:invertIfNegative val="1"/>
            <c:bubble3D val="0"/>
            <c:spPr>
              <a:solidFill>
                <a:srgbClr val="00A097"/>
              </a:solidFill>
            </c:spPr>
            <c:extLst>
              <c:ext xmlns:c16="http://schemas.microsoft.com/office/drawing/2014/chart" uri="{C3380CC4-5D6E-409C-BE32-E72D297353CC}">
                <c16:uniqueId val="{000001EF-7BE2-49F1-B47F-64DDA7BF3F9D}"/>
              </c:ext>
            </c:extLst>
          </c:dPt>
          <c:dPt>
            <c:idx val="247"/>
            <c:invertIfNegative val="1"/>
            <c:bubble3D val="0"/>
            <c:spPr>
              <a:solidFill>
                <a:srgbClr val="00A097"/>
              </a:solidFill>
            </c:spPr>
            <c:extLst>
              <c:ext xmlns:c16="http://schemas.microsoft.com/office/drawing/2014/chart" uri="{C3380CC4-5D6E-409C-BE32-E72D297353CC}">
                <c16:uniqueId val="{000001F1-7BE2-49F1-B47F-64DDA7BF3F9D}"/>
              </c:ext>
            </c:extLst>
          </c:dPt>
          <c:dPt>
            <c:idx val="248"/>
            <c:invertIfNegative val="1"/>
            <c:bubble3D val="0"/>
            <c:spPr>
              <a:solidFill>
                <a:srgbClr val="00A097"/>
              </a:solidFill>
            </c:spPr>
            <c:extLst>
              <c:ext xmlns:c16="http://schemas.microsoft.com/office/drawing/2014/chart" uri="{C3380CC4-5D6E-409C-BE32-E72D297353CC}">
                <c16:uniqueId val="{000001F3-7BE2-49F1-B47F-64DDA7BF3F9D}"/>
              </c:ext>
            </c:extLst>
          </c:dPt>
          <c:dPt>
            <c:idx val="249"/>
            <c:invertIfNegative val="1"/>
            <c:bubble3D val="0"/>
            <c:spPr>
              <a:solidFill>
                <a:srgbClr val="00A097"/>
              </a:solidFill>
            </c:spPr>
            <c:extLst>
              <c:ext xmlns:c16="http://schemas.microsoft.com/office/drawing/2014/chart" uri="{C3380CC4-5D6E-409C-BE32-E72D297353CC}">
                <c16:uniqueId val="{000001F5-7BE2-49F1-B47F-64DDA7BF3F9D}"/>
              </c:ext>
            </c:extLst>
          </c:dPt>
          <c:dPt>
            <c:idx val="250"/>
            <c:invertIfNegative val="1"/>
            <c:bubble3D val="0"/>
            <c:spPr>
              <a:solidFill>
                <a:srgbClr val="00A097"/>
              </a:solidFill>
            </c:spPr>
            <c:extLst>
              <c:ext xmlns:c16="http://schemas.microsoft.com/office/drawing/2014/chart" uri="{C3380CC4-5D6E-409C-BE32-E72D297353CC}">
                <c16:uniqueId val="{000001F7-7BE2-49F1-B47F-64DDA7BF3F9D}"/>
              </c:ext>
            </c:extLst>
          </c:dPt>
          <c:dPt>
            <c:idx val="251"/>
            <c:invertIfNegative val="1"/>
            <c:bubble3D val="0"/>
            <c:spPr>
              <a:solidFill>
                <a:srgbClr val="00A097"/>
              </a:solidFill>
            </c:spPr>
            <c:extLst>
              <c:ext xmlns:c16="http://schemas.microsoft.com/office/drawing/2014/chart" uri="{C3380CC4-5D6E-409C-BE32-E72D297353CC}">
                <c16:uniqueId val="{000001F9-7BE2-49F1-B47F-64DDA7BF3F9D}"/>
              </c:ext>
            </c:extLst>
          </c:dPt>
          <c:dPt>
            <c:idx val="252"/>
            <c:invertIfNegative val="1"/>
            <c:bubble3D val="0"/>
            <c:spPr>
              <a:solidFill>
                <a:srgbClr val="00A097"/>
              </a:solidFill>
            </c:spPr>
            <c:extLst>
              <c:ext xmlns:c16="http://schemas.microsoft.com/office/drawing/2014/chart" uri="{C3380CC4-5D6E-409C-BE32-E72D297353CC}">
                <c16:uniqueId val="{000001FB-7BE2-49F1-B47F-64DDA7BF3F9D}"/>
              </c:ext>
            </c:extLst>
          </c:dPt>
          <c:dPt>
            <c:idx val="253"/>
            <c:invertIfNegative val="1"/>
            <c:bubble3D val="0"/>
            <c:spPr>
              <a:solidFill>
                <a:srgbClr val="00A097"/>
              </a:solidFill>
            </c:spPr>
            <c:extLst>
              <c:ext xmlns:c16="http://schemas.microsoft.com/office/drawing/2014/chart" uri="{C3380CC4-5D6E-409C-BE32-E72D297353CC}">
                <c16:uniqueId val="{000001FD-7BE2-49F1-B47F-64DDA7BF3F9D}"/>
              </c:ext>
            </c:extLst>
          </c:dPt>
          <c:dPt>
            <c:idx val="254"/>
            <c:invertIfNegative val="1"/>
            <c:bubble3D val="0"/>
            <c:spPr>
              <a:solidFill>
                <a:srgbClr val="00A097"/>
              </a:solidFill>
            </c:spPr>
            <c:extLst>
              <c:ext xmlns:c16="http://schemas.microsoft.com/office/drawing/2014/chart" uri="{C3380CC4-5D6E-409C-BE32-E72D297353CC}">
                <c16:uniqueId val="{000001FF-7BE2-49F1-B47F-64DDA7BF3F9D}"/>
              </c:ext>
            </c:extLst>
          </c:dPt>
          <c:dPt>
            <c:idx val="255"/>
            <c:invertIfNegative val="1"/>
            <c:bubble3D val="0"/>
            <c:spPr>
              <a:solidFill>
                <a:srgbClr val="00A097"/>
              </a:solidFill>
            </c:spPr>
            <c:extLst>
              <c:ext xmlns:c16="http://schemas.microsoft.com/office/drawing/2014/chart" uri="{C3380CC4-5D6E-409C-BE32-E72D297353CC}">
                <c16:uniqueId val="{00000201-7BE2-49F1-B47F-64DDA7BF3F9D}"/>
              </c:ext>
            </c:extLst>
          </c:dPt>
          <c:dPt>
            <c:idx val="256"/>
            <c:invertIfNegative val="1"/>
            <c:bubble3D val="0"/>
            <c:spPr>
              <a:solidFill>
                <a:srgbClr val="00A097"/>
              </a:solidFill>
            </c:spPr>
            <c:extLst>
              <c:ext xmlns:c16="http://schemas.microsoft.com/office/drawing/2014/chart" uri="{C3380CC4-5D6E-409C-BE32-E72D297353CC}">
                <c16:uniqueId val="{00000203-7BE2-49F1-B47F-64DDA7BF3F9D}"/>
              </c:ext>
            </c:extLst>
          </c:dPt>
          <c:dPt>
            <c:idx val="257"/>
            <c:invertIfNegative val="1"/>
            <c:bubble3D val="0"/>
            <c:spPr>
              <a:solidFill>
                <a:srgbClr val="00A097"/>
              </a:solidFill>
            </c:spPr>
            <c:extLst>
              <c:ext xmlns:c16="http://schemas.microsoft.com/office/drawing/2014/chart" uri="{C3380CC4-5D6E-409C-BE32-E72D297353CC}">
                <c16:uniqueId val="{00000205-7BE2-49F1-B47F-64DDA7BF3F9D}"/>
              </c:ext>
            </c:extLst>
          </c:dPt>
          <c:dPt>
            <c:idx val="258"/>
            <c:invertIfNegative val="1"/>
            <c:bubble3D val="0"/>
            <c:spPr>
              <a:solidFill>
                <a:srgbClr val="00A097"/>
              </a:solidFill>
            </c:spPr>
            <c:extLst>
              <c:ext xmlns:c16="http://schemas.microsoft.com/office/drawing/2014/chart" uri="{C3380CC4-5D6E-409C-BE32-E72D297353CC}">
                <c16:uniqueId val="{00000207-7BE2-49F1-B47F-64DDA7BF3F9D}"/>
              </c:ext>
            </c:extLst>
          </c:dPt>
          <c:dPt>
            <c:idx val="259"/>
            <c:invertIfNegative val="1"/>
            <c:bubble3D val="0"/>
            <c:spPr>
              <a:solidFill>
                <a:srgbClr val="00A097"/>
              </a:solidFill>
            </c:spPr>
            <c:extLst>
              <c:ext xmlns:c16="http://schemas.microsoft.com/office/drawing/2014/chart" uri="{C3380CC4-5D6E-409C-BE32-E72D297353CC}">
                <c16:uniqueId val="{00000209-7BE2-49F1-B47F-64DDA7BF3F9D}"/>
              </c:ext>
            </c:extLst>
          </c:dPt>
          <c:dPt>
            <c:idx val="260"/>
            <c:invertIfNegative val="1"/>
            <c:bubble3D val="0"/>
            <c:spPr>
              <a:solidFill>
                <a:srgbClr val="00A097"/>
              </a:solidFill>
            </c:spPr>
            <c:extLst>
              <c:ext xmlns:c16="http://schemas.microsoft.com/office/drawing/2014/chart" uri="{C3380CC4-5D6E-409C-BE32-E72D297353CC}">
                <c16:uniqueId val="{0000020B-7BE2-49F1-B47F-64DDA7BF3F9D}"/>
              </c:ext>
            </c:extLst>
          </c:dPt>
          <c:dPt>
            <c:idx val="261"/>
            <c:invertIfNegative val="1"/>
            <c:bubble3D val="0"/>
            <c:spPr>
              <a:solidFill>
                <a:srgbClr val="00A097"/>
              </a:solidFill>
            </c:spPr>
            <c:extLst>
              <c:ext xmlns:c16="http://schemas.microsoft.com/office/drawing/2014/chart" uri="{C3380CC4-5D6E-409C-BE32-E72D297353CC}">
                <c16:uniqueId val="{0000020D-7BE2-49F1-B47F-64DDA7BF3F9D}"/>
              </c:ext>
            </c:extLst>
          </c:dPt>
          <c:dPt>
            <c:idx val="262"/>
            <c:invertIfNegative val="1"/>
            <c:bubble3D val="0"/>
            <c:spPr>
              <a:solidFill>
                <a:srgbClr val="00A097"/>
              </a:solidFill>
            </c:spPr>
            <c:extLst>
              <c:ext xmlns:c16="http://schemas.microsoft.com/office/drawing/2014/chart" uri="{C3380CC4-5D6E-409C-BE32-E72D297353CC}">
                <c16:uniqueId val="{0000020F-7BE2-49F1-B47F-64DDA7BF3F9D}"/>
              </c:ext>
            </c:extLst>
          </c:dPt>
          <c:dPt>
            <c:idx val="263"/>
            <c:invertIfNegative val="1"/>
            <c:bubble3D val="0"/>
            <c:spPr>
              <a:solidFill>
                <a:srgbClr val="00A097"/>
              </a:solidFill>
            </c:spPr>
            <c:extLst>
              <c:ext xmlns:c16="http://schemas.microsoft.com/office/drawing/2014/chart" uri="{C3380CC4-5D6E-409C-BE32-E72D297353CC}">
                <c16:uniqueId val="{00000211-7BE2-49F1-B47F-64DDA7BF3F9D}"/>
              </c:ext>
            </c:extLst>
          </c:dPt>
          <c:dPt>
            <c:idx val="264"/>
            <c:invertIfNegative val="1"/>
            <c:bubble3D val="0"/>
            <c:spPr>
              <a:solidFill>
                <a:srgbClr val="00A097"/>
              </a:solidFill>
            </c:spPr>
            <c:extLst>
              <c:ext xmlns:c16="http://schemas.microsoft.com/office/drawing/2014/chart" uri="{C3380CC4-5D6E-409C-BE32-E72D297353CC}">
                <c16:uniqueId val="{00000213-7BE2-49F1-B47F-64DDA7BF3F9D}"/>
              </c:ext>
            </c:extLst>
          </c:dPt>
          <c:dPt>
            <c:idx val="265"/>
            <c:invertIfNegative val="1"/>
            <c:bubble3D val="0"/>
            <c:spPr>
              <a:solidFill>
                <a:srgbClr val="00A097"/>
              </a:solidFill>
            </c:spPr>
            <c:extLst>
              <c:ext xmlns:c16="http://schemas.microsoft.com/office/drawing/2014/chart" uri="{C3380CC4-5D6E-409C-BE32-E72D297353CC}">
                <c16:uniqueId val="{00000215-7BE2-49F1-B47F-64DDA7BF3F9D}"/>
              </c:ext>
            </c:extLst>
          </c:dPt>
          <c:dPt>
            <c:idx val="266"/>
            <c:invertIfNegative val="1"/>
            <c:bubble3D val="0"/>
            <c:spPr>
              <a:solidFill>
                <a:srgbClr val="00A097"/>
              </a:solidFill>
            </c:spPr>
            <c:extLst>
              <c:ext xmlns:c16="http://schemas.microsoft.com/office/drawing/2014/chart" uri="{C3380CC4-5D6E-409C-BE32-E72D297353CC}">
                <c16:uniqueId val="{00000217-7BE2-49F1-B47F-64DDA7BF3F9D}"/>
              </c:ext>
            </c:extLst>
          </c:dPt>
          <c:dPt>
            <c:idx val="267"/>
            <c:invertIfNegative val="1"/>
            <c:bubble3D val="0"/>
            <c:spPr>
              <a:solidFill>
                <a:srgbClr val="00A097"/>
              </a:solidFill>
            </c:spPr>
            <c:extLst>
              <c:ext xmlns:c16="http://schemas.microsoft.com/office/drawing/2014/chart" uri="{C3380CC4-5D6E-409C-BE32-E72D297353CC}">
                <c16:uniqueId val="{00000219-7BE2-49F1-B47F-64DDA7BF3F9D}"/>
              </c:ext>
            </c:extLst>
          </c:dPt>
          <c:dPt>
            <c:idx val="268"/>
            <c:invertIfNegative val="1"/>
            <c:bubble3D val="0"/>
            <c:spPr>
              <a:solidFill>
                <a:srgbClr val="00A097"/>
              </a:solidFill>
            </c:spPr>
            <c:extLst>
              <c:ext xmlns:c16="http://schemas.microsoft.com/office/drawing/2014/chart" uri="{C3380CC4-5D6E-409C-BE32-E72D297353CC}">
                <c16:uniqueId val="{0000021B-7BE2-49F1-B47F-64DDA7BF3F9D}"/>
              </c:ext>
            </c:extLst>
          </c:dPt>
          <c:dPt>
            <c:idx val="269"/>
            <c:invertIfNegative val="1"/>
            <c:bubble3D val="0"/>
            <c:spPr>
              <a:solidFill>
                <a:srgbClr val="00A097"/>
              </a:solidFill>
            </c:spPr>
            <c:extLst>
              <c:ext xmlns:c16="http://schemas.microsoft.com/office/drawing/2014/chart" uri="{C3380CC4-5D6E-409C-BE32-E72D297353CC}">
                <c16:uniqueId val="{0000021D-7BE2-49F1-B47F-64DDA7BF3F9D}"/>
              </c:ext>
            </c:extLst>
          </c:dPt>
          <c:dPt>
            <c:idx val="270"/>
            <c:invertIfNegative val="1"/>
            <c:bubble3D val="0"/>
            <c:spPr>
              <a:solidFill>
                <a:srgbClr val="00A097"/>
              </a:solidFill>
            </c:spPr>
            <c:extLst>
              <c:ext xmlns:c16="http://schemas.microsoft.com/office/drawing/2014/chart" uri="{C3380CC4-5D6E-409C-BE32-E72D297353CC}">
                <c16:uniqueId val="{0000021F-7BE2-49F1-B47F-64DDA7BF3F9D}"/>
              </c:ext>
            </c:extLst>
          </c:dPt>
          <c:dPt>
            <c:idx val="271"/>
            <c:invertIfNegative val="1"/>
            <c:bubble3D val="0"/>
            <c:spPr>
              <a:solidFill>
                <a:srgbClr val="00A097"/>
              </a:solidFill>
            </c:spPr>
            <c:extLst>
              <c:ext xmlns:c16="http://schemas.microsoft.com/office/drawing/2014/chart" uri="{C3380CC4-5D6E-409C-BE32-E72D297353CC}">
                <c16:uniqueId val="{00000221-7BE2-49F1-B47F-64DDA7BF3F9D}"/>
              </c:ext>
            </c:extLst>
          </c:dPt>
          <c:dPt>
            <c:idx val="272"/>
            <c:invertIfNegative val="1"/>
            <c:bubble3D val="0"/>
            <c:spPr>
              <a:solidFill>
                <a:srgbClr val="00A097"/>
              </a:solidFill>
            </c:spPr>
            <c:extLst>
              <c:ext xmlns:c16="http://schemas.microsoft.com/office/drawing/2014/chart" uri="{C3380CC4-5D6E-409C-BE32-E72D297353CC}">
                <c16:uniqueId val="{00000223-7BE2-49F1-B47F-64DDA7BF3F9D}"/>
              </c:ext>
            </c:extLst>
          </c:dPt>
          <c:dPt>
            <c:idx val="273"/>
            <c:invertIfNegative val="1"/>
            <c:bubble3D val="0"/>
            <c:spPr>
              <a:solidFill>
                <a:srgbClr val="00A097"/>
              </a:solidFill>
            </c:spPr>
            <c:extLst>
              <c:ext xmlns:c16="http://schemas.microsoft.com/office/drawing/2014/chart" uri="{C3380CC4-5D6E-409C-BE32-E72D297353CC}">
                <c16:uniqueId val="{00000225-7BE2-49F1-B47F-64DDA7BF3F9D}"/>
              </c:ext>
            </c:extLst>
          </c:dPt>
          <c:dPt>
            <c:idx val="274"/>
            <c:invertIfNegative val="1"/>
            <c:bubble3D val="0"/>
            <c:spPr>
              <a:solidFill>
                <a:srgbClr val="00A097"/>
              </a:solidFill>
            </c:spPr>
            <c:extLst>
              <c:ext xmlns:c16="http://schemas.microsoft.com/office/drawing/2014/chart" uri="{C3380CC4-5D6E-409C-BE32-E72D297353CC}">
                <c16:uniqueId val="{00000227-7BE2-49F1-B47F-64DDA7BF3F9D}"/>
              </c:ext>
            </c:extLst>
          </c:dPt>
          <c:dPt>
            <c:idx val="275"/>
            <c:invertIfNegative val="1"/>
            <c:bubble3D val="0"/>
            <c:spPr>
              <a:solidFill>
                <a:srgbClr val="00A097"/>
              </a:solidFill>
            </c:spPr>
            <c:extLst>
              <c:ext xmlns:c16="http://schemas.microsoft.com/office/drawing/2014/chart" uri="{C3380CC4-5D6E-409C-BE32-E72D297353CC}">
                <c16:uniqueId val="{00000229-7BE2-49F1-B47F-64DDA7BF3F9D}"/>
              </c:ext>
            </c:extLst>
          </c:dPt>
          <c:dPt>
            <c:idx val="276"/>
            <c:invertIfNegative val="1"/>
            <c:bubble3D val="0"/>
            <c:spPr>
              <a:solidFill>
                <a:srgbClr val="00A097"/>
              </a:solidFill>
            </c:spPr>
            <c:extLst>
              <c:ext xmlns:c16="http://schemas.microsoft.com/office/drawing/2014/chart" uri="{C3380CC4-5D6E-409C-BE32-E72D297353CC}">
                <c16:uniqueId val="{0000022B-7BE2-49F1-B47F-64DDA7BF3F9D}"/>
              </c:ext>
            </c:extLst>
          </c:dPt>
          <c:dPt>
            <c:idx val="277"/>
            <c:invertIfNegative val="1"/>
            <c:bubble3D val="0"/>
            <c:spPr>
              <a:solidFill>
                <a:srgbClr val="00A097"/>
              </a:solidFill>
            </c:spPr>
            <c:extLst>
              <c:ext xmlns:c16="http://schemas.microsoft.com/office/drawing/2014/chart" uri="{C3380CC4-5D6E-409C-BE32-E72D297353CC}">
                <c16:uniqueId val="{0000022D-7BE2-49F1-B47F-64DDA7BF3F9D}"/>
              </c:ext>
            </c:extLst>
          </c:dPt>
          <c:dPt>
            <c:idx val="278"/>
            <c:invertIfNegative val="1"/>
            <c:bubble3D val="0"/>
            <c:spPr>
              <a:solidFill>
                <a:srgbClr val="00A097"/>
              </a:solidFill>
            </c:spPr>
            <c:extLst>
              <c:ext xmlns:c16="http://schemas.microsoft.com/office/drawing/2014/chart" uri="{C3380CC4-5D6E-409C-BE32-E72D297353CC}">
                <c16:uniqueId val="{0000022F-7BE2-49F1-B47F-64DDA7BF3F9D}"/>
              </c:ext>
            </c:extLst>
          </c:dPt>
          <c:dPt>
            <c:idx val="279"/>
            <c:invertIfNegative val="1"/>
            <c:bubble3D val="0"/>
            <c:spPr>
              <a:solidFill>
                <a:srgbClr val="00A097"/>
              </a:solidFill>
            </c:spPr>
            <c:extLst>
              <c:ext xmlns:c16="http://schemas.microsoft.com/office/drawing/2014/chart" uri="{C3380CC4-5D6E-409C-BE32-E72D297353CC}">
                <c16:uniqueId val="{00000231-7BE2-49F1-B47F-64DDA7BF3F9D}"/>
              </c:ext>
            </c:extLst>
          </c:dPt>
          <c:dPt>
            <c:idx val="280"/>
            <c:invertIfNegative val="1"/>
            <c:bubble3D val="0"/>
            <c:spPr>
              <a:solidFill>
                <a:srgbClr val="00A097"/>
              </a:solidFill>
            </c:spPr>
            <c:extLst>
              <c:ext xmlns:c16="http://schemas.microsoft.com/office/drawing/2014/chart" uri="{C3380CC4-5D6E-409C-BE32-E72D297353CC}">
                <c16:uniqueId val="{00000233-7BE2-49F1-B47F-64DDA7BF3F9D}"/>
              </c:ext>
            </c:extLst>
          </c:dPt>
          <c:dPt>
            <c:idx val="281"/>
            <c:invertIfNegative val="1"/>
            <c:bubble3D val="0"/>
            <c:spPr>
              <a:solidFill>
                <a:srgbClr val="00A097"/>
              </a:solidFill>
            </c:spPr>
            <c:extLst>
              <c:ext xmlns:c16="http://schemas.microsoft.com/office/drawing/2014/chart" uri="{C3380CC4-5D6E-409C-BE32-E72D297353CC}">
                <c16:uniqueId val="{00000235-7BE2-49F1-B47F-64DDA7BF3F9D}"/>
              </c:ext>
            </c:extLst>
          </c:dPt>
          <c:dPt>
            <c:idx val="282"/>
            <c:invertIfNegative val="1"/>
            <c:bubble3D val="0"/>
            <c:spPr>
              <a:solidFill>
                <a:srgbClr val="00A097"/>
              </a:solidFill>
            </c:spPr>
            <c:extLst>
              <c:ext xmlns:c16="http://schemas.microsoft.com/office/drawing/2014/chart" uri="{C3380CC4-5D6E-409C-BE32-E72D297353CC}">
                <c16:uniqueId val="{00000237-7BE2-49F1-B47F-64DDA7BF3F9D}"/>
              </c:ext>
            </c:extLst>
          </c:dPt>
          <c:dPt>
            <c:idx val="283"/>
            <c:invertIfNegative val="1"/>
            <c:bubble3D val="0"/>
            <c:spPr>
              <a:solidFill>
                <a:srgbClr val="00A097"/>
              </a:solidFill>
            </c:spPr>
            <c:extLst>
              <c:ext xmlns:c16="http://schemas.microsoft.com/office/drawing/2014/chart" uri="{C3380CC4-5D6E-409C-BE32-E72D297353CC}">
                <c16:uniqueId val="{00000239-7BE2-49F1-B47F-64DDA7BF3F9D}"/>
              </c:ext>
            </c:extLst>
          </c:dPt>
          <c:dPt>
            <c:idx val="284"/>
            <c:invertIfNegative val="1"/>
            <c:bubble3D val="0"/>
            <c:spPr>
              <a:solidFill>
                <a:srgbClr val="00A097"/>
              </a:solidFill>
            </c:spPr>
            <c:extLst>
              <c:ext xmlns:c16="http://schemas.microsoft.com/office/drawing/2014/chart" uri="{C3380CC4-5D6E-409C-BE32-E72D297353CC}">
                <c16:uniqueId val="{0000023B-7BE2-49F1-B47F-64DDA7BF3F9D}"/>
              </c:ext>
            </c:extLst>
          </c:dPt>
          <c:dPt>
            <c:idx val="285"/>
            <c:invertIfNegative val="1"/>
            <c:bubble3D val="0"/>
            <c:spPr>
              <a:solidFill>
                <a:srgbClr val="00A097"/>
              </a:solidFill>
            </c:spPr>
            <c:extLst>
              <c:ext xmlns:c16="http://schemas.microsoft.com/office/drawing/2014/chart" uri="{C3380CC4-5D6E-409C-BE32-E72D297353CC}">
                <c16:uniqueId val="{0000023D-7BE2-49F1-B47F-64DDA7BF3F9D}"/>
              </c:ext>
            </c:extLst>
          </c:dPt>
          <c:dPt>
            <c:idx val="286"/>
            <c:invertIfNegative val="1"/>
            <c:bubble3D val="0"/>
            <c:spPr>
              <a:solidFill>
                <a:srgbClr val="00A097"/>
              </a:solidFill>
            </c:spPr>
            <c:extLst>
              <c:ext xmlns:c16="http://schemas.microsoft.com/office/drawing/2014/chart" uri="{C3380CC4-5D6E-409C-BE32-E72D297353CC}">
                <c16:uniqueId val="{0000023F-7BE2-49F1-B47F-64DDA7BF3F9D}"/>
              </c:ext>
            </c:extLst>
          </c:dPt>
          <c:dPt>
            <c:idx val="287"/>
            <c:invertIfNegative val="1"/>
            <c:bubble3D val="0"/>
            <c:spPr>
              <a:solidFill>
                <a:srgbClr val="00A097"/>
              </a:solidFill>
            </c:spPr>
            <c:extLst>
              <c:ext xmlns:c16="http://schemas.microsoft.com/office/drawing/2014/chart" uri="{C3380CC4-5D6E-409C-BE32-E72D297353CC}">
                <c16:uniqueId val="{00000241-7BE2-49F1-B47F-64DDA7BF3F9D}"/>
              </c:ext>
            </c:extLst>
          </c:dPt>
          <c:dPt>
            <c:idx val="288"/>
            <c:invertIfNegative val="1"/>
            <c:bubble3D val="0"/>
            <c:spPr>
              <a:solidFill>
                <a:srgbClr val="00A097"/>
              </a:solidFill>
            </c:spPr>
            <c:extLst>
              <c:ext xmlns:c16="http://schemas.microsoft.com/office/drawing/2014/chart" uri="{C3380CC4-5D6E-409C-BE32-E72D297353CC}">
                <c16:uniqueId val="{00000243-7BE2-49F1-B47F-64DDA7BF3F9D}"/>
              </c:ext>
            </c:extLst>
          </c:dPt>
          <c:dPt>
            <c:idx val="289"/>
            <c:invertIfNegative val="1"/>
            <c:bubble3D val="0"/>
            <c:spPr>
              <a:solidFill>
                <a:srgbClr val="00A097"/>
              </a:solidFill>
            </c:spPr>
            <c:extLst>
              <c:ext xmlns:c16="http://schemas.microsoft.com/office/drawing/2014/chart" uri="{C3380CC4-5D6E-409C-BE32-E72D297353CC}">
                <c16:uniqueId val="{00000245-7BE2-49F1-B47F-64DDA7BF3F9D}"/>
              </c:ext>
            </c:extLst>
          </c:dPt>
          <c:dPt>
            <c:idx val="290"/>
            <c:invertIfNegative val="1"/>
            <c:bubble3D val="0"/>
            <c:spPr>
              <a:solidFill>
                <a:srgbClr val="00A097"/>
              </a:solidFill>
            </c:spPr>
            <c:extLst>
              <c:ext xmlns:c16="http://schemas.microsoft.com/office/drawing/2014/chart" uri="{C3380CC4-5D6E-409C-BE32-E72D297353CC}">
                <c16:uniqueId val="{00000247-7BE2-49F1-B47F-64DDA7BF3F9D}"/>
              </c:ext>
            </c:extLst>
          </c:dPt>
          <c:dPt>
            <c:idx val="291"/>
            <c:invertIfNegative val="1"/>
            <c:bubble3D val="0"/>
            <c:spPr>
              <a:solidFill>
                <a:srgbClr val="00A097"/>
              </a:solidFill>
            </c:spPr>
            <c:extLst>
              <c:ext xmlns:c16="http://schemas.microsoft.com/office/drawing/2014/chart" uri="{C3380CC4-5D6E-409C-BE32-E72D297353CC}">
                <c16:uniqueId val="{00000249-7BE2-49F1-B47F-64DDA7BF3F9D}"/>
              </c:ext>
            </c:extLst>
          </c:dPt>
          <c:dPt>
            <c:idx val="292"/>
            <c:invertIfNegative val="1"/>
            <c:bubble3D val="0"/>
            <c:spPr>
              <a:solidFill>
                <a:srgbClr val="00A097"/>
              </a:solidFill>
            </c:spPr>
            <c:extLst>
              <c:ext xmlns:c16="http://schemas.microsoft.com/office/drawing/2014/chart" uri="{C3380CC4-5D6E-409C-BE32-E72D297353CC}">
                <c16:uniqueId val="{0000024B-7BE2-49F1-B47F-64DDA7BF3F9D}"/>
              </c:ext>
            </c:extLst>
          </c:dPt>
          <c:dPt>
            <c:idx val="293"/>
            <c:invertIfNegative val="1"/>
            <c:bubble3D val="0"/>
            <c:spPr>
              <a:solidFill>
                <a:srgbClr val="00A097"/>
              </a:solidFill>
            </c:spPr>
            <c:extLst>
              <c:ext xmlns:c16="http://schemas.microsoft.com/office/drawing/2014/chart" uri="{C3380CC4-5D6E-409C-BE32-E72D297353CC}">
                <c16:uniqueId val="{0000024D-7BE2-49F1-B47F-64DDA7BF3F9D}"/>
              </c:ext>
            </c:extLst>
          </c:dPt>
          <c:dPt>
            <c:idx val="294"/>
            <c:invertIfNegative val="1"/>
            <c:bubble3D val="0"/>
            <c:spPr>
              <a:solidFill>
                <a:srgbClr val="00A097"/>
              </a:solidFill>
            </c:spPr>
            <c:extLst>
              <c:ext xmlns:c16="http://schemas.microsoft.com/office/drawing/2014/chart" uri="{C3380CC4-5D6E-409C-BE32-E72D297353CC}">
                <c16:uniqueId val="{0000024F-7BE2-49F1-B47F-64DDA7BF3F9D}"/>
              </c:ext>
            </c:extLst>
          </c:dPt>
          <c:dPt>
            <c:idx val="295"/>
            <c:invertIfNegative val="1"/>
            <c:bubble3D val="0"/>
            <c:spPr>
              <a:solidFill>
                <a:srgbClr val="00A097"/>
              </a:solidFill>
            </c:spPr>
            <c:extLst>
              <c:ext xmlns:c16="http://schemas.microsoft.com/office/drawing/2014/chart" uri="{C3380CC4-5D6E-409C-BE32-E72D297353CC}">
                <c16:uniqueId val="{00000251-7BE2-49F1-B47F-64DDA7BF3F9D}"/>
              </c:ext>
            </c:extLst>
          </c:dPt>
          <c:dPt>
            <c:idx val="296"/>
            <c:invertIfNegative val="1"/>
            <c:bubble3D val="0"/>
            <c:spPr>
              <a:solidFill>
                <a:srgbClr val="00A097"/>
              </a:solidFill>
            </c:spPr>
            <c:extLst>
              <c:ext xmlns:c16="http://schemas.microsoft.com/office/drawing/2014/chart" uri="{C3380CC4-5D6E-409C-BE32-E72D297353CC}">
                <c16:uniqueId val="{00000253-7BE2-49F1-B47F-64DDA7BF3F9D}"/>
              </c:ext>
            </c:extLst>
          </c:dPt>
          <c:dPt>
            <c:idx val="297"/>
            <c:invertIfNegative val="1"/>
            <c:bubble3D val="0"/>
            <c:spPr>
              <a:solidFill>
                <a:srgbClr val="00A097"/>
              </a:solidFill>
            </c:spPr>
            <c:extLst>
              <c:ext xmlns:c16="http://schemas.microsoft.com/office/drawing/2014/chart" uri="{C3380CC4-5D6E-409C-BE32-E72D297353CC}">
                <c16:uniqueId val="{00000255-7BE2-49F1-B47F-64DDA7BF3F9D}"/>
              </c:ext>
            </c:extLst>
          </c:dPt>
          <c:dPt>
            <c:idx val="298"/>
            <c:invertIfNegative val="1"/>
            <c:bubble3D val="0"/>
            <c:spPr>
              <a:solidFill>
                <a:srgbClr val="00A097"/>
              </a:solidFill>
            </c:spPr>
            <c:extLst>
              <c:ext xmlns:c16="http://schemas.microsoft.com/office/drawing/2014/chart" uri="{C3380CC4-5D6E-409C-BE32-E72D297353CC}">
                <c16:uniqueId val="{00000257-7BE2-49F1-B47F-64DDA7BF3F9D}"/>
              </c:ext>
            </c:extLst>
          </c:dPt>
          <c:dPt>
            <c:idx val="299"/>
            <c:invertIfNegative val="1"/>
            <c:bubble3D val="0"/>
            <c:spPr>
              <a:solidFill>
                <a:srgbClr val="00A097"/>
              </a:solidFill>
            </c:spPr>
            <c:extLst>
              <c:ext xmlns:c16="http://schemas.microsoft.com/office/drawing/2014/chart" uri="{C3380CC4-5D6E-409C-BE32-E72D297353CC}">
                <c16:uniqueId val="{00000259-7BE2-49F1-B47F-64DDA7BF3F9D}"/>
              </c:ext>
            </c:extLst>
          </c:dPt>
          <c:dPt>
            <c:idx val="300"/>
            <c:invertIfNegative val="1"/>
            <c:bubble3D val="0"/>
            <c:spPr>
              <a:solidFill>
                <a:srgbClr val="00A097"/>
              </a:solidFill>
            </c:spPr>
            <c:extLst>
              <c:ext xmlns:c16="http://schemas.microsoft.com/office/drawing/2014/chart" uri="{C3380CC4-5D6E-409C-BE32-E72D297353CC}">
                <c16:uniqueId val="{0000025B-7BE2-49F1-B47F-64DDA7BF3F9D}"/>
              </c:ext>
            </c:extLst>
          </c:dPt>
          <c:dPt>
            <c:idx val="301"/>
            <c:invertIfNegative val="1"/>
            <c:bubble3D val="0"/>
            <c:spPr>
              <a:solidFill>
                <a:srgbClr val="00A097"/>
              </a:solidFill>
            </c:spPr>
            <c:extLst>
              <c:ext xmlns:c16="http://schemas.microsoft.com/office/drawing/2014/chart" uri="{C3380CC4-5D6E-409C-BE32-E72D297353CC}">
                <c16:uniqueId val="{0000025D-7BE2-49F1-B47F-64DDA7BF3F9D}"/>
              </c:ext>
            </c:extLst>
          </c:dPt>
          <c:dPt>
            <c:idx val="302"/>
            <c:invertIfNegative val="1"/>
            <c:bubble3D val="0"/>
            <c:spPr>
              <a:solidFill>
                <a:srgbClr val="00A097"/>
              </a:solidFill>
            </c:spPr>
            <c:extLst>
              <c:ext xmlns:c16="http://schemas.microsoft.com/office/drawing/2014/chart" uri="{C3380CC4-5D6E-409C-BE32-E72D297353CC}">
                <c16:uniqueId val="{0000025F-7BE2-49F1-B47F-64DDA7BF3F9D}"/>
              </c:ext>
            </c:extLst>
          </c:dPt>
          <c:dPt>
            <c:idx val="303"/>
            <c:invertIfNegative val="1"/>
            <c:bubble3D val="0"/>
            <c:spPr>
              <a:solidFill>
                <a:srgbClr val="00A097"/>
              </a:solidFill>
            </c:spPr>
            <c:extLst>
              <c:ext xmlns:c16="http://schemas.microsoft.com/office/drawing/2014/chart" uri="{C3380CC4-5D6E-409C-BE32-E72D297353CC}">
                <c16:uniqueId val="{00000261-7BE2-49F1-B47F-64DDA7BF3F9D}"/>
              </c:ext>
            </c:extLst>
          </c:dPt>
          <c:dPt>
            <c:idx val="304"/>
            <c:invertIfNegative val="1"/>
            <c:bubble3D val="0"/>
            <c:spPr>
              <a:solidFill>
                <a:srgbClr val="00A097"/>
              </a:solidFill>
            </c:spPr>
            <c:extLst>
              <c:ext xmlns:c16="http://schemas.microsoft.com/office/drawing/2014/chart" uri="{C3380CC4-5D6E-409C-BE32-E72D297353CC}">
                <c16:uniqueId val="{00000263-7BE2-49F1-B47F-64DDA7BF3F9D}"/>
              </c:ext>
            </c:extLst>
          </c:dPt>
          <c:dPt>
            <c:idx val="305"/>
            <c:invertIfNegative val="1"/>
            <c:bubble3D val="0"/>
            <c:spPr>
              <a:solidFill>
                <a:srgbClr val="00A097"/>
              </a:solidFill>
            </c:spPr>
            <c:extLst>
              <c:ext xmlns:c16="http://schemas.microsoft.com/office/drawing/2014/chart" uri="{C3380CC4-5D6E-409C-BE32-E72D297353CC}">
                <c16:uniqueId val="{00000265-7BE2-49F1-B47F-64DDA7BF3F9D}"/>
              </c:ext>
            </c:extLst>
          </c:dPt>
          <c:dPt>
            <c:idx val="306"/>
            <c:invertIfNegative val="1"/>
            <c:bubble3D val="0"/>
            <c:spPr>
              <a:solidFill>
                <a:srgbClr val="00A097"/>
              </a:solidFill>
            </c:spPr>
            <c:extLst>
              <c:ext xmlns:c16="http://schemas.microsoft.com/office/drawing/2014/chart" uri="{C3380CC4-5D6E-409C-BE32-E72D297353CC}">
                <c16:uniqueId val="{00000267-7BE2-49F1-B47F-64DDA7BF3F9D}"/>
              </c:ext>
            </c:extLst>
          </c:dPt>
          <c:dPt>
            <c:idx val="307"/>
            <c:invertIfNegative val="1"/>
            <c:bubble3D val="0"/>
            <c:spPr>
              <a:solidFill>
                <a:srgbClr val="00A097"/>
              </a:solidFill>
            </c:spPr>
            <c:extLst>
              <c:ext xmlns:c16="http://schemas.microsoft.com/office/drawing/2014/chart" uri="{C3380CC4-5D6E-409C-BE32-E72D297353CC}">
                <c16:uniqueId val="{00000269-7BE2-49F1-B47F-64DDA7BF3F9D}"/>
              </c:ext>
            </c:extLst>
          </c:dPt>
          <c:dPt>
            <c:idx val="308"/>
            <c:invertIfNegative val="1"/>
            <c:bubble3D val="0"/>
            <c:spPr>
              <a:solidFill>
                <a:srgbClr val="00A097"/>
              </a:solidFill>
            </c:spPr>
            <c:extLst>
              <c:ext xmlns:c16="http://schemas.microsoft.com/office/drawing/2014/chart" uri="{C3380CC4-5D6E-409C-BE32-E72D297353CC}">
                <c16:uniqueId val="{0000026B-7BE2-49F1-B47F-64DDA7BF3F9D}"/>
              </c:ext>
            </c:extLst>
          </c:dPt>
          <c:dPt>
            <c:idx val="309"/>
            <c:invertIfNegative val="1"/>
            <c:bubble3D val="0"/>
            <c:spPr>
              <a:solidFill>
                <a:srgbClr val="00A097"/>
              </a:solidFill>
            </c:spPr>
            <c:extLst>
              <c:ext xmlns:c16="http://schemas.microsoft.com/office/drawing/2014/chart" uri="{C3380CC4-5D6E-409C-BE32-E72D297353CC}">
                <c16:uniqueId val="{0000026D-7BE2-49F1-B47F-64DDA7BF3F9D}"/>
              </c:ext>
            </c:extLst>
          </c:dPt>
          <c:dPt>
            <c:idx val="310"/>
            <c:invertIfNegative val="1"/>
            <c:bubble3D val="0"/>
            <c:spPr>
              <a:solidFill>
                <a:srgbClr val="00A097"/>
              </a:solidFill>
            </c:spPr>
            <c:extLst>
              <c:ext xmlns:c16="http://schemas.microsoft.com/office/drawing/2014/chart" uri="{C3380CC4-5D6E-409C-BE32-E72D297353CC}">
                <c16:uniqueId val="{0000026F-7BE2-49F1-B47F-64DDA7BF3F9D}"/>
              </c:ext>
            </c:extLst>
          </c:dPt>
          <c:dPt>
            <c:idx val="311"/>
            <c:invertIfNegative val="1"/>
            <c:bubble3D val="0"/>
            <c:spPr>
              <a:solidFill>
                <a:srgbClr val="00A097"/>
              </a:solidFill>
            </c:spPr>
            <c:extLst>
              <c:ext xmlns:c16="http://schemas.microsoft.com/office/drawing/2014/chart" uri="{C3380CC4-5D6E-409C-BE32-E72D297353CC}">
                <c16:uniqueId val="{00000271-7BE2-49F1-B47F-64DDA7BF3F9D}"/>
              </c:ext>
            </c:extLst>
          </c:dPt>
          <c:dPt>
            <c:idx val="312"/>
            <c:invertIfNegative val="1"/>
            <c:bubble3D val="0"/>
            <c:spPr>
              <a:solidFill>
                <a:srgbClr val="00A097"/>
              </a:solidFill>
            </c:spPr>
            <c:extLst>
              <c:ext xmlns:c16="http://schemas.microsoft.com/office/drawing/2014/chart" uri="{C3380CC4-5D6E-409C-BE32-E72D297353CC}">
                <c16:uniqueId val="{00000273-7BE2-49F1-B47F-64DDA7BF3F9D}"/>
              </c:ext>
            </c:extLst>
          </c:dPt>
          <c:dPt>
            <c:idx val="313"/>
            <c:invertIfNegative val="1"/>
            <c:bubble3D val="0"/>
            <c:spPr>
              <a:solidFill>
                <a:srgbClr val="00A097"/>
              </a:solidFill>
            </c:spPr>
            <c:extLst>
              <c:ext xmlns:c16="http://schemas.microsoft.com/office/drawing/2014/chart" uri="{C3380CC4-5D6E-409C-BE32-E72D297353CC}">
                <c16:uniqueId val="{00000275-7BE2-49F1-B47F-64DDA7BF3F9D}"/>
              </c:ext>
            </c:extLst>
          </c:dPt>
          <c:dPt>
            <c:idx val="314"/>
            <c:invertIfNegative val="1"/>
            <c:bubble3D val="0"/>
            <c:spPr>
              <a:solidFill>
                <a:srgbClr val="00A097"/>
              </a:solidFill>
            </c:spPr>
            <c:extLst>
              <c:ext xmlns:c16="http://schemas.microsoft.com/office/drawing/2014/chart" uri="{C3380CC4-5D6E-409C-BE32-E72D297353CC}">
                <c16:uniqueId val="{00000277-7BE2-49F1-B47F-64DDA7BF3F9D}"/>
              </c:ext>
            </c:extLst>
          </c:dPt>
          <c:dPt>
            <c:idx val="315"/>
            <c:invertIfNegative val="1"/>
            <c:bubble3D val="0"/>
            <c:spPr>
              <a:solidFill>
                <a:srgbClr val="00A097"/>
              </a:solidFill>
            </c:spPr>
            <c:extLst>
              <c:ext xmlns:c16="http://schemas.microsoft.com/office/drawing/2014/chart" uri="{C3380CC4-5D6E-409C-BE32-E72D297353CC}">
                <c16:uniqueId val="{00000279-7BE2-49F1-B47F-64DDA7BF3F9D}"/>
              </c:ext>
            </c:extLst>
          </c:dPt>
          <c:dPt>
            <c:idx val="316"/>
            <c:invertIfNegative val="1"/>
            <c:bubble3D val="0"/>
            <c:spPr>
              <a:solidFill>
                <a:srgbClr val="00A097"/>
              </a:solidFill>
            </c:spPr>
            <c:extLst>
              <c:ext xmlns:c16="http://schemas.microsoft.com/office/drawing/2014/chart" uri="{C3380CC4-5D6E-409C-BE32-E72D297353CC}">
                <c16:uniqueId val="{0000027B-7BE2-49F1-B47F-64DDA7BF3F9D}"/>
              </c:ext>
            </c:extLst>
          </c:dPt>
          <c:dPt>
            <c:idx val="317"/>
            <c:invertIfNegative val="1"/>
            <c:bubble3D val="0"/>
            <c:spPr>
              <a:solidFill>
                <a:srgbClr val="00A097"/>
              </a:solidFill>
            </c:spPr>
            <c:extLst>
              <c:ext xmlns:c16="http://schemas.microsoft.com/office/drawing/2014/chart" uri="{C3380CC4-5D6E-409C-BE32-E72D297353CC}">
                <c16:uniqueId val="{0000027D-7BE2-49F1-B47F-64DDA7BF3F9D}"/>
              </c:ext>
            </c:extLst>
          </c:dPt>
          <c:dPt>
            <c:idx val="318"/>
            <c:invertIfNegative val="1"/>
            <c:bubble3D val="0"/>
            <c:spPr>
              <a:solidFill>
                <a:srgbClr val="00A097"/>
              </a:solidFill>
            </c:spPr>
            <c:extLst>
              <c:ext xmlns:c16="http://schemas.microsoft.com/office/drawing/2014/chart" uri="{C3380CC4-5D6E-409C-BE32-E72D297353CC}">
                <c16:uniqueId val="{0000027F-7BE2-49F1-B47F-64DDA7BF3F9D}"/>
              </c:ext>
            </c:extLst>
          </c:dPt>
          <c:dPt>
            <c:idx val="319"/>
            <c:invertIfNegative val="1"/>
            <c:bubble3D val="0"/>
            <c:spPr>
              <a:solidFill>
                <a:srgbClr val="00A097"/>
              </a:solidFill>
            </c:spPr>
            <c:extLst>
              <c:ext xmlns:c16="http://schemas.microsoft.com/office/drawing/2014/chart" uri="{C3380CC4-5D6E-409C-BE32-E72D297353CC}">
                <c16:uniqueId val="{00000281-7BE2-49F1-B47F-64DDA7BF3F9D}"/>
              </c:ext>
            </c:extLst>
          </c:dPt>
          <c:dPt>
            <c:idx val="320"/>
            <c:invertIfNegative val="1"/>
            <c:bubble3D val="0"/>
            <c:spPr>
              <a:solidFill>
                <a:srgbClr val="00A097"/>
              </a:solidFill>
            </c:spPr>
            <c:extLst>
              <c:ext xmlns:c16="http://schemas.microsoft.com/office/drawing/2014/chart" uri="{C3380CC4-5D6E-409C-BE32-E72D297353CC}">
                <c16:uniqueId val="{00000283-7BE2-49F1-B47F-64DDA7BF3F9D}"/>
              </c:ext>
            </c:extLst>
          </c:dPt>
          <c:dPt>
            <c:idx val="321"/>
            <c:invertIfNegative val="1"/>
            <c:bubble3D val="0"/>
            <c:spPr>
              <a:solidFill>
                <a:srgbClr val="00A097"/>
              </a:solidFill>
            </c:spPr>
            <c:extLst>
              <c:ext xmlns:c16="http://schemas.microsoft.com/office/drawing/2014/chart" uri="{C3380CC4-5D6E-409C-BE32-E72D297353CC}">
                <c16:uniqueId val="{00000285-7BE2-49F1-B47F-64DDA7BF3F9D}"/>
              </c:ext>
            </c:extLst>
          </c:dPt>
          <c:dPt>
            <c:idx val="322"/>
            <c:invertIfNegative val="1"/>
            <c:bubble3D val="0"/>
            <c:spPr>
              <a:solidFill>
                <a:srgbClr val="00A097"/>
              </a:solidFill>
            </c:spPr>
            <c:extLst>
              <c:ext xmlns:c16="http://schemas.microsoft.com/office/drawing/2014/chart" uri="{C3380CC4-5D6E-409C-BE32-E72D297353CC}">
                <c16:uniqueId val="{00000287-7BE2-49F1-B47F-64DDA7BF3F9D}"/>
              </c:ext>
            </c:extLst>
          </c:dPt>
          <c:dPt>
            <c:idx val="323"/>
            <c:invertIfNegative val="1"/>
            <c:bubble3D val="0"/>
            <c:spPr>
              <a:solidFill>
                <a:srgbClr val="00A097"/>
              </a:solidFill>
            </c:spPr>
            <c:extLst>
              <c:ext xmlns:c16="http://schemas.microsoft.com/office/drawing/2014/chart" uri="{C3380CC4-5D6E-409C-BE32-E72D297353CC}">
                <c16:uniqueId val="{00000289-7BE2-49F1-B47F-64DDA7BF3F9D}"/>
              </c:ext>
            </c:extLst>
          </c:dPt>
          <c:dPt>
            <c:idx val="324"/>
            <c:invertIfNegative val="1"/>
            <c:bubble3D val="0"/>
            <c:spPr>
              <a:solidFill>
                <a:srgbClr val="00A097"/>
              </a:solidFill>
            </c:spPr>
            <c:extLst>
              <c:ext xmlns:c16="http://schemas.microsoft.com/office/drawing/2014/chart" uri="{C3380CC4-5D6E-409C-BE32-E72D297353CC}">
                <c16:uniqueId val="{0000028B-7BE2-49F1-B47F-64DDA7BF3F9D}"/>
              </c:ext>
            </c:extLst>
          </c:dPt>
          <c:dPt>
            <c:idx val="325"/>
            <c:invertIfNegative val="1"/>
            <c:bubble3D val="0"/>
            <c:spPr>
              <a:solidFill>
                <a:srgbClr val="00A097"/>
              </a:solidFill>
            </c:spPr>
            <c:extLst>
              <c:ext xmlns:c16="http://schemas.microsoft.com/office/drawing/2014/chart" uri="{C3380CC4-5D6E-409C-BE32-E72D297353CC}">
                <c16:uniqueId val="{0000028D-7BE2-49F1-B47F-64DDA7BF3F9D}"/>
              </c:ext>
            </c:extLst>
          </c:dPt>
          <c:dPt>
            <c:idx val="326"/>
            <c:invertIfNegative val="1"/>
            <c:bubble3D val="0"/>
            <c:spPr>
              <a:solidFill>
                <a:srgbClr val="00A097"/>
              </a:solidFill>
            </c:spPr>
            <c:extLst>
              <c:ext xmlns:c16="http://schemas.microsoft.com/office/drawing/2014/chart" uri="{C3380CC4-5D6E-409C-BE32-E72D297353CC}">
                <c16:uniqueId val="{0000028F-7BE2-49F1-B47F-64DDA7BF3F9D}"/>
              </c:ext>
            </c:extLst>
          </c:dPt>
          <c:dPt>
            <c:idx val="327"/>
            <c:invertIfNegative val="1"/>
            <c:bubble3D val="0"/>
            <c:spPr>
              <a:solidFill>
                <a:srgbClr val="00A097"/>
              </a:solidFill>
            </c:spPr>
            <c:extLst>
              <c:ext xmlns:c16="http://schemas.microsoft.com/office/drawing/2014/chart" uri="{C3380CC4-5D6E-409C-BE32-E72D297353CC}">
                <c16:uniqueId val="{00000291-7BE2-49F1-B47F-64DDA7BF3F9D}"/>
              </c:ext>
            </c:extLst>
          </c:dPt>
          <c:dPt>
            <c:idx val="328"/>
            <c:invertIfNegative val="1"/>
            <c:bubble3D val="0"/>
            <c:spPr>
              <a:solidFill>
                <a:srgbClr val="00A097"/>
              </a:solidFill>
            </c:spPr>
            <c:extLst>
              <c:ext xmlns:c16="http://schemas.microsoft.com/office/drawing/2014/chart" uri="{C3380CC4-5D6E-409C-BE32-E72D297353CC}">
                <c16:uniqueId val="{00000293-7BE2-49F1-B47F-64DDA7BF3F9D}"/>
              </c:ext>
            </c:extLst>
          </c:dPt>
          <c:dPt>
            <c:idx val="329"/>
            <c:invertIfNegative val="1"/>
            <c:bubble3D val="0"/>
            <c:spPr>
              <a:solidFill>
                <a:srgbClr val="00A097"/>
              </a:solidFill>
            </c:spPr>
            <c:extLst>
              <c:ext xmlns:c16="http://schemas.microsoft.com/office/drawing/2014/chart" uri="{C3380CC4-5D6E-409C-BE32-E72D297353CC}">
                <c16:uniqueId val="{00000295-7BE2-49F1-B47F-64DDA7BF3F9D}"/>
              </c:ext>
            </c:extLst>
          </c:dPt>
          <c:dPt>
            <c:idx val="330"/>
            <c:invertIfNegative val="1"/>
            <c:bubble3D val="0"/>
            <c:spPr>
              <a:solidFill>
                <a:srgbClr val="00A097"/>
              </a:solidFill>
            </c:spPr>
            <c:extLst>
              <c:ext xmlns:c16="http://schemas.microsoft.com/office/drawing/2014/chart" uri="{C3380CC4-5D6E-409C-BE32-E72D297353CC}">
                <c16:uniqueId val="{00000297-7BE2-49F1-B47F-64DDA7BF3F9D}"/>
              </c:ext>
            </c:extLst>
          </c:dPt>
          <c:dPt>
            <c:idx val="331"/>
            <c:invertIfNegative val="1"/>
            <c:bubble3D val="0"/>
            <c:spPr>
              <a:solidFill>
                <a:srgbClr val="00A097"/>
              </a:solidFill>
            </c:spPr>
            <c:extLst>
              <c:ext xmlns:c16="http://schemas.microsoft.com/office/drawing/2014/chart" uri="{C3380CC4-5D6E-409C-BE32-E72D297353CC}">
                <c16:uniqueId val="{00000299-7BE2-49F1-B47F-64DDA7BF3F9D}"/>
              </c:ext>
            </c:extLst>
          </c:dPt>
          <c:dPt>
            <c:idx val="332"/>
            <c:invertIfNegative val="1"/>
            <c:bubble3D val="0"/>
            <c:spPr>
              <a:solidFill>
                <a:srgbClr val="00A097"/>
              </a:solidFill>
            </c:spPr>
            <c:extLst>
              <c:ext xmlns:c16="http://schemas.microsoft.com/office/drawing/2014/chart" uri="{C3380CC4-5D6E-409C-BE32-E72D297353CC}">
                <c16:uniqueId val="{0000029B-7BE2-49F1-B47F-64DDA7BF3F9D}"/>
              </c:ext>
            </c:extLst>
          </c:dPt>
          <c:dPt>
            <c:idx val="333"/>
            <c:invertIfNegative val="1"/>
            <c:bubble3D val="0"/>
            <c:spPr>
              <a:solidFill>
                <a:srgbClr val="00A097"/>
              </a:solidFill>
            </c:spPr>
            <c:extLst>
              <c:ext xmlns:c16="http://schemas.microsoft.com/office/drawing/2014/chart" uri="{C3380CC4-5D6E-409C-BE32-E72D297353CC}">
                <c16:uniqueId val="{0000029D-7BE2-49F1-B47F-64DDA7BF3F9D}"/>
              </c:ext>
            </c:extLst>
          </c:dPt>
          <c:dPt>
            <c:idx val="334"/>
            <c:invertIfNegative val="1"/>
            <c:bubble3D val="0"/>
            <c:spPr>
              <a:solidFill>
                <a:srgbClr val="00A097"/>
              </a:solidFill>
            </c:spPr>
            <c:extLst>
              <c:ext xmlns:c16="http://schemas.microsoft.com/office/drawing/2014/chart" uri="{C3380CC4-5D6E-409C-BE32-E72D297353CC}">
                <c16:uniqueId val="{0000029F-7BE2-49F1-B47F-64DDA7BF3F9D}"/>
              </c:ext>
            </c:extLst>
          </c:dPt>
          <c:dPt>
            <c:idx val="335"/>
            <c:invertIfNegative val="1"/>
            <c:bubble3D val="0"/>
            <c:spPr>
              <a:solidFill>
                <a:srgbClr val="00A097"/>
              </a:solidFill>
            </c:spPr>
            <c:extLst>
              <c:ext xmlns:c16="http://schemas.microsoft.com/office/drawing/2014/chart" uri="{C3380CC4-5D6E-409C-BE32-E72D297353CC}">
                <c16:uniqueId val="{000002A1-7BE2-49F1-B47F-64DDA7BF3F9D}"/>
              </c:ext>
            </c:extLst>
          </c:dPt>
          <c:dPt>
            <c:idx val="336"/>
            <c:invertIfNegative val="1"/>
            <c:bubble3D val="0"/>
            <c:spPr>
              <a:solidFill>
                <a:srgbClr val="00A097"/>
              </a:solidFill>
            </c:spPr>
            <c:extLst>
              <c:ext xmlns:c16="http://schemas.microsoft.com/office/drawing/2014/chart" uri="{C3380CC4-5D6E-409C-BE32-E72D297353CC}">
                <c16:uniqueId val="{000002A3-7BE2-49F1-B47F-64DDA7BF3F9D}"/>
              </c:ext>
            </c:extLst>
          </c:dPt>
          <c:dPt>
            <c:idx val="337"/>
            <c:invertIfNegative val="1"/>
            <c:bubble3D val="0"/>
            <c:spPr>
              <a:solidFill>
                <a:srgbClr val="00A097"/>
              </a:solidFill>
            </c:spPr>
            <c:extLst>
              <c:ext xmlns:c16="http://schemas.microsoft.com/office/drawing/2014/chart" uri="{C3380CC4-5D6E-409C-BE32-E72D297353CC}">
                <c16:uniqueId val="{000002A5-7BE2-49F1-B47F-64DDA7BF3F9D}"/>
              </c:ext>
            </c:extLst>
          </c:dPt>
          <c:dPt>
            <c:idx val="338"/>
            <c:invertIfNegative val="1"/>
            <c:bubble3D val="0"/>
            <c:spPr>
              <a:solidFill>
                <a:srgbClr val="00A097"/>
              </a:solidFill>
            </c:spPr>
            <c:extLst>
              <c:ext xmlns:c16="http://schemas.microsoft.com/office/drawing/2014/chart" uri="{C3380CC4-5D6E-409C-BE32-E72D297353CC}">
                <c16:uniqueId val="{000002A7-7BE2-49F1-B47F-64DDA7BF3F9D}"/>
              </c:ext>
            </c:extLst>
          </c:dPt>
          <c:dPt>
            <c:idx val="339"/>
            <c:invertIfNegative val="1"/>
            <c:bubble3D val="0"/>
            <c:spPr>
              <a:solidFill>
                <a:srgbClr val="00A097"/>
              </a:solidFill>
            </c:spPr>
            <c:extLst>
              <c:ext xmlns:c16="http://schemas.microsoft.com/office/drawing/2014/chart" uri="{C3380CC4-5D6E-409C-BE32-E72D297353CC}">
                <c16:uniqueId val="{000002A9-7BE2-49F1-B47F-64DDA7BF3F9D}"/>
              </c:ext>
            </c:extLst>
          </c:dPt>
          <c:dPt>
            <c:idx val="340"/>
            <c:invertIfNegative val="1"/>
            <c:bubble3D val="0"/>
            <c:spPr>
              <a:solidFill>
                <a:srgbClr val="00A097"/>
              </a:solidFill>
            </c:spPr>
            <c:extLst>
              <c:ext xmlns:c16="http://schemas.microsoft.com/office/drawing/2014/chart" uri="{C3380CC4-5D6E-409C-BE32-E72D297353CC}">
                <c16:uniqueId val="{000002AB-7BE2-49F1-B47F-64DDA7BF3F9D}"/>
              </c:ext>
            </c:extLst>
          </c:dPt>
          <c:dPt>
            <c:idx val="341"/>
            <c:invertIfNegative val="1"/>
            <c:bubble3D val="0"/>
            <c:spPr>
              <a:solidFill>
                <a:srgbClr val="00A097"/>
              </a:solidFill>
            </c:spPr>
            <c:extLst>
              <c:ext xmlns:c16="http://schemas.microsoft.com/office/drawing/2014/chart" uri="{C3380CC4-5D6E-409C-BE32-E72D297353CC}">
                <c16:uniqueId val="{000002AD-7BE2-49F1-B47F-64DDA7BF3F9D}"/>
              </c:ext>
            </c:extLst>
          </c:dPt>
          <c:dPt>
            <c:idx val="342"/>
            <c:invertIfNegative val="1"/>
            <c:bubble3D val="0"/>
            <c:spPr>
              <a:solidFill>
                <a:srgbClr val="00A097"/>
              </a:solidFill>
            </c:spPr>
            <c:extLst>
              <c:ext xmlns:c16="http://schemas.microsoft.com/office/drawing/2014/chart" uri="{C3380CC4-5D6E-409C-BE32-E72D297353CC}">
                <c16:uniqueId val="{000002AF-7BE2-49F1-B47F-64DDA7BF3F9D}"/>
              </c:ext>
            </c:extLst>
          </c:dPt>
          <c:dPt>
            <c:idx val="343"/>
            <c:invertIfNegative val="1"/>
            <c:bubble3D val="0"/>
            <c:spPr>
              <a:solidFill>
                <a:srgbClr val="00A097"/>
              </a:solidFill>
            </c:spPr>
            <c:extLst>
              <c:ext xmlns:c16="http://schemas.microsoft.com/office/drawing/2014/chart" uri="{C3380CC4-5D6E-409C-BE32-E72D297353CC}">
                <c16:uniqueId val="{000002B1-7BE2-49F1-B47F-64DDA7BF3F9D}"/>
              </c:ext>
            </c:extLst>
          </c:dPt>
          <c:dPt>
            <c:idx val="344"/>
            <c:invertIfNegative val="1"/>
            <c:bubble3D val="0"/>
            <c:spPr>
              <a:solidFill>
                <a:srgbClr val="00A097"/>
              </a:solidFill>
            </c:spPr>
            <c:extLst>
              <c:ext xmlns:c16="http://schemas.microsoft.com/office/drawing/2014/chart" uri="{C3380CC4-5D6E-409C-BE32-E72D297353CC}">
                <c16:uniqueId val="{000002B3-7BE2-49F1-B47F-64DDA7BF3F9D}"/>
              </c:ext>
            </c:extLst>
          </c:dPt>
          <c:dPt>
            <c:idx val="345"/>
            <c:invertIfNegative val="1"/>
            <c:bubble3D val="0"/>
            <c:spPr>
              <a:solidFill>
                <a:srgbClr val="00A097"/>
              </a:solidFill>
            </c:spPr>
            <c:extLst>
              <c:ext xmlns:c16="http://schemas.microsoft.com/office/drawing/2014/chart" uri="{C3380CC4-5D6E-409C-BE32-E72D297353CC}">
                <c16:uniqueId val="{000002B5-7BE2-49F1-B47F-64DDA7BF3F9D}"/>
              </c:ext>
            </c:extLst>
          </c:dPt>
          <c:dPt>
            <c:idx val="346"/>
            <c:invertIfNegative val="1"/>
            <c:bubble3D val="0"/>
            <c:spPr>
              <a:solidFill>
                <a:srgbClr val="00A097"/>
              </a:solidFill>
            </c:spPr>
            <c:extLst>
              <c:ext xmlns:c16="http://schemas.microsoft.com/office/drawing/2014/chart" uri="{C3380CC4-5D6E-409C-BE32-E72D297353CC}">
                <c16:uniqueId val="{000002B7-7BE2-49F1-B47F-64DDA7BF3F9D}"/>
              </c:ext>
            </c:extLst>
          </c:dPt>
          <c:dPt>
            <c:idx val="347"/>
            <c:invertIfNegative val="1"/>
            <c:bubble3D val="0"/>
            <c:spPr>
              <a:solidFill>
                <a:srgbClr val="00A097"/>
              </a:solidFill>
            </c:spPr>
            <c:extLst>
              <c:ext xmlns:c16="http://schemas.microsoft.com/office/drawing/2014/chart" uri="{C3380CC4-5D6E-409C-BE32-E72D297353CC}">
                <c16:uniqueId val="{000002B9-7BE2-49F1-B47F-64DDA7BF3F9D}"/>
              </c:ext>
            </c:extLst>
          </c:dPt>
          <c:dPt>
            <c:idx val="348"/>
            <c:invertIfNegative val="1"/>
            <c:bubble3D val="0"/>
            <c:spPr>
              <a:solidFill>
                <a:srgbClr val="00A097"/>
              </a:solidFill>
            </c:spPr>
            <c:extLst>
              <c:ext xmlns:c16="http://schemas.microsoft.com/office/drawing/2014/chart" uri="{C3380CC4-5D6E-409C-BE32-E72D297353CC}">
                <c16:uniqueId val="{000002BB-7BE2-49F1-B47F-64DDA7BF3F9D}"/>
              </c:ext>
            </c:extLst>
          </c:dPt>
          <c:dPt>
            <c:idx val="349"/>
            <c:invertIfNegative val="1"/>
            <c:bubble3D val="0"/>
            <c:spPr>
              <a:solidFill>
                <a:srgbClr val="00A097"/>
              </a:solidFill>
            </c:spPr>
            <c:extLst>
              <c:ext xmlns:c16="http://schemas.microsoft.com/office/drawing/2014/chart" uri="{C3380CC4-5D6E-409C-BE32-E72D297353CC}">
                <c16:uniqueId val="{000002BD-7BE2-49F1-B47F-64DDA7BF3F9D}"/>
              </c:ext>
            </c:extLst>
          </c:dPt>
          <c:dPt>
            <c:idx val="350"/>
            <c:invertIfNegative val="1"/>
            <c:bubble3D val="0"/>
            <c:spPr>
              <a:solidFill>
                <a:srgbClr val="00A097"/>
              </a:solidFill>
            </c:spPr>
            <c:extLst>
              <c:ext xmlns:c16="http://schemas.microsoft.com/office/drawing/2014/chart" uri="{C3380CC4-5D6E-409C-BE32-E72D297353CC}">
                <c16:uniqueId val="{000002BF-7BE2-49F1-B47F-64DDA7BF3F9D}"/>
              </c:ext>
            </c:extLst>
          </c:dPt>
          <c:dPt>
            <c:idx val="351"/>
            <c:invertIfNegative val="1"/>
            <c:bubble3D val="0"/>
            <c:spPr>
              <a:solidFill>
                <a:srgbClr val="00A097"/>
              </a:solidFill>
            </c:spPr>
            <c:extLst>
              <c:ext xmlns:c16="http://schemas.microsoft.com/office/drawing/2014/chart" uri="{C3380CC4-5D6E-409C-BE32-E72D297353CC}">
                <c16:uniqueId val="{000002C1-7BE2-49F1-B47F-64DDA7BF3F9D}"/>
              </c:ext>
            </c:extLst>
          </c:dPt>
          <c:dPt>
            <c:idx val="352"/>
            <c:invertIfNegative val="1"/>
            <c:bubble3D val="0"/>
            <c:spPr>
              <a:solidFill>
                <a:srgbClr val="00A097"/>
              </a:solidFill>
            </c:spPr>
            <c:extLst>
              <c:ext xmlns:c16="http://schemas.microsoft.com/office/drawing/2014/chart" uri="{C3380CC4-5D6E-409C-BE32-E72D297353CC}">
                <c16:uniqueId val="{000002C3-7BE2-49F1-B47F-64DDA7BF3F9D}"/>
              </c:ext>
            </c:extLst>
          </c:dPt>
          <c:dPt>
            <c:idx val="353"/>
            <c:invertIfNegative val="1"/>
            <c:bubble3D val="0"/>
            <c:spPr>
              <a:solidFill>
                <a:srgbClr val="00A097"/>
              </a:solidFill>
            </c:spPr>
            <c:extLst>
              <c:ext xmlns:c16="http://schemas.microsoft.com/office/drawing/2014/chart" uri="{C3380CC4-5D6E-409C-BE32-E72D297353CC}">
                <c16:uniqueId val="{000002C5-7BE2-49F1-B47F-64DDA7BF3F9D}"/>
              </c:ext>
            </c:extLst>
          </c:dPt>
          <c:dPt>
            <c:idx val="354"/>
            <c:invertIfNegative val="1"/>
            <c:bubble3D val="0"/>
            <c:spPr>
              <a:solidFill>
                <a:srgbClr val="00A097"/>
              </a:solidFill>
            </c:spPr>
            <c:extLst>
              <c:ext xmlns:c16="http://schemas.microsoft.com/office/drawing/2014/chart" uri="{C3380CC4-5D6E-409C-BE32-E72D297353CC}">
                <c16:uniqueId val="{000002C7-7BE2-49F1-B47F-64DDA7BF3F9D}"/>
              </c:ext>
            </c:extLst>
          </c:dPt>
          <c:dPt>
            <c:idx val="355"/>
            <c:invertIfNegative val="1"/>
            <c:bubble3D val="0"/>
            <c:spPr>
              <a:solidFill>
                <a:srgbClr val="00A097"/>
              </a:solidFill>
            </c:spPr>
            <c:extLst>
              <c:ext xmlns:c16="http://schemas.microsoft.com/office/drawing/2014/chart" uri="{C3380CC4-5D6E-409C-BE32-E72D297353CC}">
                <c16:uniqueId val="{000002C9-7BE2-49F1-B47F-64DDA7BF3F9D}"/>
              </c:ext>
            </c:extLst>
          </c:dPt>
          <c:dPt>
            <c:idx val="356"/>
            <c:invertIfNegative val="1"/>
            <c:bubble3D val="0"/>
            <c:spPr>
              <a:solidFill>
                <a:srgbClr val="00A097"/>
              </a:solidFill>
            </c:spPr>
            <c:extLst>
              <c:ext xmlns:c16="http://schemas.microsoft.com/office/drawing/2014/chart" uri="{C3380CC4-5D6E-409C-BE32-E72D297353CC}">
                <c16:uniqueId val="{000002CB-7BE2-49F1-B47F-64DDA7BF3F9D}"/>
              </c:ext>
            </c:extLst>
          </c:dPt>
          <c:dPt>
            <c:idx val="357"/>
            <c:invertIfNegative val="1"/>
            <c:bubble3D val="0"/>
            <c:spPr>
              <a:solidFill>
                <a:srgbClr val="00A097"/>
              </a:solidFill>
            </c:spPr>
            <c:extLst>
              <c:ext xmlns:c16="http://schemas.microsoft.com/office/drawing/2014/chart" uri="{C3380CC4-5D6E-409C-BE32-E72D297353CC}">
                <c16:uniqueId val="{000002CD-7BE2-49F1-B47F-64DDA7BF3F9D}"/>
              </c:ext>
            </c:extLst>
          </c:dPt>
          <c:dPt>
            <c:idx val="358"/>
            <c:invertIfNegative val="1"/>
            <c:bubble3D val="0"/>
            <c:spPr>
              <a:solidFill>
                <a:srgbClr val="00A097"/>
              </a:solidFill>
            </c:spPr>
            <c:extLst>
              <c:ext xmlns:c16="http://schemas.microsoft.com/office/drawing/2014/chart" uri="{C3380CC4-5D6E-409C-BE32-E72D297353CC}">
                <c16:uniqueId val="{000002CF-7BE2-49F1-B47F-64DDA7BF3F9D}"/>
              </c:ext>
            </c:extLst>
          </c:dPt>
          <c:dPt>
            <c:idx val="359"/>
            <c:invertIfNegative val="1"/>
            <c:bubble3D val="0"/>
            <c:spPr>
              <a:solidFill>
                <a:srgbClr val="00A097"/>
              </a:solidFill>
            </c:spPr>
            <c:extLst>
              <c:ext xmlns:c16="http://schemas.microsoft.com/office/drawing/2014/chart" uri="{C3380CC4-5D6E-409C-BE32-E72D297353CC}">
                <c16:uniqueId val="{000002D1-7BE2-49F1-B47F-64DDA7BF3F9D}"/>
              </c:ext>
            </c:extLst>
          </c:dPt>
          <c:dPt>
            <c:idx val="360"/>
            <c:invertIfNegative val="1"/>
            <c:bubble3D val="0"/>
            <c:spPr>
              <a:solidFill>
                <a:srgbClr val="00A097"/>
              </a:solidFill>
            </c:spPr>
            <c:extLst>
              <c:ext xmlns:c16="http://schemas.microsoft.com/office/drawing/2014/chart" uri="{C3380CC4-5D6E-409C-BE32-E72D297353CC}">
                <c16:uniqueId val="{000002D3-7BE2-49F1-B47F-64DDA7BF3F9D}"/>
              </c:ext>
            </c:extLst>
          </c:dPt>
          <c:dPt>
            <c:idx val="361"/>
            <c:invertIfNegative val="1"/>
            <c:bubble3D val="0"/>
            <c:spPr>
              <a:solidFill>
                <a:srgbClr val="00A097"/>
              </a:solidFill>
            </c:spPr>
            <c:extLst>
              <c:ext xmlns:c16="http://schemas.microsoft.com/office/drawing/2014/chart" uri="{C3380CC4-5D6E-409C-BE32-E72D297353CC}">
                <c16:uniqueId val="{000002D5-7BE2-49F1-B47F-64DDA7BF3F9D}"/>
              </c:ext>
            </c:extLst>
          </c:dPt>
          <c:dPt>
            <c:idx val="362"/>
            <c:invertIfNegative val="1"/>
            <c:bubble3D val="0"/>
            <c:spPr>
              <a:solidFill>
                <a:srgbClr val="00A097"/>
              </a:solidFill>
            </c:spPr>
            <c:extLst>
              <c:ext xmlns:c16="http://schemas.microsoft.com/office/drawing/2014/chart" uri="{C3380CC4-5D6E-409C-BE32-E72D297353CC}">
                <c16:uniqueId val="{000002D7-7BE2-49F1-B47F-64DDA7BF3F9D}"/>
              </c:ext>
            </c:extLst>
          </c:dPt>
          <c:dPt>
            <c:idx val="363"/>
            <c:invertIfNegative val="1"/>
            <c:bubble3D val="0"/>
            <c:spPr>
              <a:solidFill>
                <a:srgbClr val="00A097"/>
              </a:solidFill>
            </c:spPr>
            <c:extLst>
              <c:ext xmlns:c16="http://schemas.microsoft.com/office/drawing/2014/chart" uri="{C3380CC4-5D6E-409C-BE32-E72D297353CC}">
                <c16:uniqueId val="{000002D9-7BE2-49F1-B47F-64DDA7BF3F9D}"/>
              </c:ext>
            </c:extLst>
          </c:dPt>
          <c:dPt>
            <c:idx val="364"/>
            <c:invertIfNegative val="1"/>
            <c:bubble3D val="0"/>
            <c:spPr>
              <a:solidFill>
                <a:srgbClr val="00A097"/>
              </a:solidFill>
            </c:spPr>
            <c:extLst>
              <c:ext xmlns:c16="http://schemas.microsoft.com/office/drawing/2014/chart" uri="{C3380CC4-5D6E-409C-BE32-E72D297353CC}">
                <c16:uniqueId val="{000002DB-7BE2-49F1-B47F-64DDA7BF3F9D}"/>
              </c:ext>
            </c:extLst>
          </c:dPt>
          <c:dPt>
            <c:idx val="365"/>
            <c:invertIfNegative val="1"/>
            <c:bubble3D val="0"/>
            <c:spPr>
              <a:solidFill>
                <a:srgbClr val="00A097"/>
              </a:solidFill>
            </c:spPr>
            <c:extLst>
              <c:ext xmlns:c16="http://schemas.microsoft.com/office/drawing/2014/chart" uri="{C3380CC4-5D6E-409C-BE32-E72D297353CC}">
                <c16:uniqueId val="{000002DD-7BE2-49F1-B47F-64DDA7BF3F9D}"/>
              </c:ext>
            </c:extLst>
          </c:dPt>
          <c:dPt>
            <c:idx val="366"/>
            <c:invertIfNegative val="1"/>
            <c:bubble3D val="0"/>
            <c:spPr>
              <a:solidFill>
                <a:srgbClr val="00A097"/>
              </a:solidFill>
            </c:spPr>
            <c:extLst>
              <c:ext xmlns:c16="http://schemas.microsoft.com/office/drawing/2014/chart" uri="{C3380CC4-5D6E-409C-BE32-E72D297353CC}">
                <c16:uniqueId val="{000002DF-7BE2-49F1-B47F-64DDA7BF3F9D}"/>
              </c:ext>
            </c:extLst>
          </c:dPt>
          <c:dPt>
            <c:idx val="367"/>
            <c:invertIfNegative val="1"/>
            <c:bubble3D val="0"/>
            <c:spPr>
              <a:solidFill>
                <a:srgbClr val="7ECAC4"/>
              </a:solidFill>
            </c:spPr>
            <c:extLst>
              <c:ext xmlns:c16="http://schemas.microsoft.com/office/drawing/2014/chart" uri="{C3380CC4-5D6E-409C-BE32-E72D297353CC}">
                <c16:uniqueId val="{000002E1-7BE2-49F1-B47F-64DDA7BF3F9D}"/>
              </c:ext>
            </c:extLst>
          </c:dPt>
          <c:dPt>
            <c:idx val="368"/>
            <c:invertIfNegative val="1"/>
            <c:bubble3D val="0"/>
            <c:spPr>
              <a:solidFill>
                <a:srgbClr val="7ECAC4"/>
              </a:solidFill>
            </c:spPr>
            <c:extLst>
              <c:ext xmlns:c16="http://schemas.microsoft.com/office/drawing/2014/chart" uri="{C3380CC4-5D6E-409C-BE32-E72D297353CC}">
                <c16:uniqueId val="{000002E3-7BE2-49F1-B47F-64DDA7BF3F9D}"/>
              </c:ext>
            </c:extLst>
          </c:dPt>
          <c:dPt>
            <c:idx val="369"/>
            <c:invertIfNegative val="1"/>
            <c:bubble3D val="0"/>
            <c:spPr>
              <a:solidFill>
                <a:srgbClr val="7ECAC4"/>
              </a:solidFill>
            </c:spPr>
            <c:extLst>
              <c:ext xmlns:c16="http://schemas.microsoft.com/office/drawing/2014/chart" uri="{C3380CC4-5D6E-409C-BE32-E72D297353CC}">
                <c16:uniqueId val="{000002E5-7BE2-49F1-B47F-64DDA7BF3F9D}"/>
              </c:ext>
            </c:extLst>
          </c:dPt>
          <c:dPt>
            <c:idx val="370"/>
            <c:invertIfNegative val="1"/>
            <c:bubble3D val="0"/>
            <c:spPr>
              <a:solidFill>
                <a:srgbClr val="7ECAC4"/>
              </a:solidFill>
            </c:spPr>
            <c:extLst>
              <c:ext xmlns:c16="http://schemas.microsoft.com/office/drawing/2014/chart" uri="{C3380CC4-5D6E-409C-BE32-E72D297353CC}">
                <c16:uniqueId val="{000002E7-7BE2-49F1-B47F-64DDA7BF3F9D}"/>
              </c:ext>
            </c:extLst>
          </c:dPt>
          <c:dPt>
            <c:idx val="371"/>
            <c:invertIfNegative val="1"/>
            <c:bubble3D val="0"/>
            <c:spPr>
              <a:solidFill>
                <a:srgbClr val="7ECAC4"/>
              </a:solidFill>
            </c:spPr>
            <c:extLst>
              <c:ext xmlns:c16="http://schemas.microsoft.com/office/drawing/2014/chart" uri="{C3380CC4-5D6E-409C-BE32-E72D297353CC}">
                <c16:uniqueId val="{000002E9-7BE2-49F1-B47F-64DDA7BF3F9D}"/>
              </c:ext>
            </c:extLst>
          </c:dPt>
          <c:dPt>
            <c:idx val="372"/>
            <c:invertIfNegative val="1"/>
            <c:bubble3D val="0"/>
            <c:spPr>
              <a:solidFill>
                <a:srgbClr val="7ECAC4"/>
              </a:solidFill>
            </c:spPr>
            <c:extLst>
              <c:ext xmlns:c16="http://schemas.microsoft.com/office/drawing/2014/chart" uri="{C3380CC4-5D6E-409C-BE32-E72D297353CC}">
                <c16:uniqueId val="{000002EB-7BE2-49F1-B47F-64DDA7BF3F9D}"/>
              </c:ext>
            </c:extLst>
          </c:dPt>
          <c:dPt>
            <c:idx val="373"/>
            <c:invertIfNegative val="1"/>
            <c:bubble3D val="0"/>
            <c:spPr>
              <a:solidFill>
                <a:srgbClr val="7ECAC4"/>
              </a:solidFill>
            </c:spPr>
            <c:extLst>
              <c:ext xmlns:c16="http://schemas.microsoft.com/office/drawing/2014/chart" uri="{C3380CC4-5D6E-409C-BE32-E72D297353CC}">
                <c16:uniqueId val="{000002ED-7BE2-49F1-B47F-64DDA7BF3F9D}"/>
              </c:ext>
            </c:extLst>
          </c:dPt>
          <c:dPt>
            <c:idx val="374"/>
            <c:invertIfNegative val="1"/>
            <c:bubble3D val="0"/>
            <c:spPr>
              <a:solidFill>
                <a:srgbClr val="7ECAC4"/>
              </a:solidFill>
            </c:spPr>
            <c:extLst>
              <c:ext xmlns:c16="http://schemas.microsoft.com/office/drawing/2014/chart" uri="{C3380CC4-5D6E-409C-BE32-E72D297353CC}">
                <c16:uniqueId val="{000002EF-7BE2-49F1-B47F-64DDA7BF3F9D}"/>
              </c:ext>
            </c:extLst>
          </c:dPt>
          <c:dPt>
            <c:idx val="375"/>
            <c:invertIfNegative val="1"/>
            <c:bubble3D val="0"/>
            <c:spPr>
              <a:solidFill>
                <a:srgbClr val="7ECAC4"/>
              </a:solidFill>
            </c:spPr>
            <c:extLst>
              <c:ext xmlns:c16="http://schemas.microsoft.com/office/drawing/2014/chart" uri="{C3380CC4-5D6E-409C-BE32-E72D297353CC}">
                <c16:uniqueId val="{000002F1-7BE2-49F1-B47F-64DDA7BF3F9D}"/>
              </c:ext>
            </c:extLst>
          </c:dPt>
          <c:dPt>
            <c:idx val="376"/>
            <c:invertIfNegative val="1"/>
            <c:bubble3D val="0"/>
            <c:spPr>
              <a:solidFill>
                <a:srgbClr val="7ECAC4"/>
              </a:solidFill>
            </c:spPr>
            <c:extLst>
              <c:ext xmlns:c16="http://schemas.microsoft.com/office/drawing/2014/chart" uri="{C3380CC4-5D6E-409C-BE32-E72D297353CC}">
                <c16:uniqueId val="{000002F3-7BE2-49F1-B47F-64DDA7BF3F9D}"/>
              </c:ext>
            </c:extLst>
          </c:dPt>
          <c:dPt>
            <c:idx val="377"/>
            <c:invertIfNegative val="1"/>
            <c:bubble3D val="0"/>
            <c:spPr>
              <a:solidFill>
                <a:srgbClr val="7ECAC4"/>
              </a:solidFill>
            </c:spPr>
            <c:extLst>
              <c:ext xmlns:c16="http://schemas.microsoft.com/office/drawing/2014/chart" uri="{C3380CC4-5D6E-409C-BE32-E72D297353CC}">
                <c16:uniqueId val="{000002F5-7BE2-49F1-B47F-64DDA7BF3F9D}"/>
              </c:ext>
            </c:extLst>
          </c:dPt>
          <c:dPt>
            <c:idx val="378"/>
            <c:invertIfNegative val="1"/>
            <c:bubble3D val="0"/>
            <c:spPr>
              <a:solidFill>
                <a:srgbClr val="7ECAC4"/>
              </a:solidFill>
            </c:spPr>
            <c:extLst>
              <c:ext xmlns:c16="http://schemas.microsoft.com/office/drawing/2014/chart" uri="{C3380CC4-5D6E-409C-BE32-E72D297353CC}">
                <c16:uniqueId val="{000002F7-7BE2-49F1-B47F-64DDA7BF3F9D}"/>
              </c:ext>
            </c:extLst>
          </c:dPt>
          <c:dPt>
            <c:idx val="379"/>
            <c:invertIfNegative val="1"/>
            <c:bubble3D val="0"/>
            <c:spPr>
              <a:solidFill>
                <a:srgbClr val="7ECAC4"/>
              </a:solidFill>
            </c:spPr>
            <c:extLst>
              <c:ext xmlns:c16="http://schemas.microsoft.com/office/drawing/2014/chart" uri="{C3380CC4-5D6E-409C-BE32-E72D297353CC}">
                <c16:uniqueId val="{000002F9-7BE2-49F1-B47F-64DDA7BF3F9D}"/>
              </c:ext>
            </c:extLst>
          </c:dPt>
          <c:dPt>
            <c:idx val="380"/>
            <c:invertIfNegative val="1"/>
            <c:bubble3D val="0"/>
            <c:spPr>
              <a:solidFill>
                <a:srgbClr val="7ECAC4"/>
              </a:solidFill>
            </c:spPr>
            <c:extLst>
              <c:ext xmlns:c16="http://schemas.microsoft.com/office/drawing/2014/chart" uri="{C3380CC4-5D6E-409C-BE32-E72D297353CC}">
                <c16:uniqueId val="{000002FB-7BE2-49F1-B47F-64DDA7BF3F9D}"/>
              </c:ext>
            </c:extLst>
          </c:dPt>
          <c:dPt>
            <c:idx val="381"/>
            <c:invertIfNegative val="1"/>
            <c:bubble3D val="0"/>
            <c:spPr>
              <a:solidFill>
                <a:srgbClr val="7ECAC4"/>
              </a:solidFill>
            </c:spPr>
            <c:extLst>
              <c:ext xmlns:c16="http://schemas.microsoft.com/office/drawing/2014/chart" uri="{C3380CC4-5D6E-409C-BE32-E72D297353CC}">
                <c16:uniqueId val="{000002FD-7BE2-49F1-B47F-64DDA7BF3F9D}"/>
              </c:ext>
            </c:extLst>
          </c:dPt>
          <c:dPt>
            <c:idx val="382"/>
            <c:invertIfNegative val="1"/>
            <c:bubble3D val="0"/>
            <c:spPr>
              <a:solidFill>
                <a:srgbClr val="7ECAC4"/>
              </a:solidFill>
            </c:spPr>
            <c:extLst>
              <c:ext xmlns:c16="http://schemas.microsoft.com/office/drawing/2014/chart" uri="{C3380CC4-5D6E-409C-BE32-E72D297353CC}">
                <c16:uniqueId val="{000002FF-7BE2-49F1-B47F-64DDA7BF3F9D}"/>
              </c:ext>
            </c:extLst>
          </c:dPt>
          <c:dPt>
            <c:idx val="383"/>
            <c:invertIfNegative val="1"/>
            <c:bubble3D val="0"/>
            <c:spPr>
              <a:solidFill>
                <a:srgbClr val="7ECAC4"/>
              </a:solidFill>
            </c:spPr>
            <c:extLst>
              <c:ext xmlns:c16="http://schemas.microsoft.com/office/drawing/2014/chart" uri="{C3380CC4-5D6E-409C-BE32-E72D297353CC}">
                <c16:uniqueId val="{00000301-7BE2-49F1-B47F-64DDA7BF3F9D}"/>
              </c:ext>
            </c:extLst>
          </c:dPt>
          <c:dPt>
            <c:idx val="384"/>
            <c:invertIfNegative val="1"/>
            <c:bubble3D val="0"/>
            <c:spPr>
              <a:solidFill>
                <a:srgbClr val="7ECAC4"/>
              </a:solidFill>
            </c:spPr>
            <c:extLst>
              <c:ext xmlns:c16="http://schemas.microsoft.com/office/drawing/2014/chart" uri="{C3380CC4-5D6E-409C-BE32-E72D297353CC}">
                <c16:uniqueId val="{00000303-7BE2-49F1-B47F-64DDA7BF3F9D}"/>
              </c:ext>
            </c:extLst>
          </c:dPt>
          <c:dPt>
            <c:idx val="385"/>
            <c:invertIfNegative val="1"/>
            <c:bubble3D val="0"/>
            <c:spPr>
              <a:solidFill>
                <a:srgbClr val="7ECAC4"/>
              </a:solidFill>
            </c:spPr>
            <c:extLst>
              <c:ext xmlns:c16="http://schemas.microsoft.com/office/drawing/2014/chart" uri="{C3380CC4-5D6E-409C-BE32-E72D297353CC}">
                <c16:uniqueId val="{00000305-7BE2-49F1-B47F-64DDA7BF3F9D}"/>
              </c:ext>
            </c:extLst>
          </c:dPt>
          <c:dPt>
            <c:idx val="386"/>
            <c:invertIfNegative val="1"/>
            <c:bubble3D val="0"/>
            <c:spPr>
              <a:solidFill>
                <a:srgbClr val="7ECAC4"/>
              </a:solidFill>
            </c:spPr>
            <c:extLst>
              <c:ext xmlns:c16="http://schemas.microsoft.com/office/drawing/2014/chart" uri="{C3380CC4-5D6E-409C-BE32-E72D297353CC}">
                <c16:uniqueId val="{00000307-7BE2-49F1-B47F-64DDA7BF3F9D}"/>
              </c:ext>
            </c:extLst>
          </c:dPt>
          <c:dPt>
            <c:idx val="387"/>
            <c:invertIfNegative val="1"/>
            <c:bubble3D val="0"/>
            <c:spPr>
              <a:solidFill>
                <a:srgbClr val="7ECAC4"/>
              </a:solidFill>
            </c:spPr>
            <c:extLst>
              <c:ext xmlns:c16="http://schemas.microsoft.com/office/drawing/2014/chart" uri="{C3380CC4-5D6E-409C-BE32-E72D297353CC}">
                <c16:uniqueId val="{00000309-7BE2-49F1-B47F-64DDA7BF3F9D}"/>
              </c:ext>
            </c:extLst>
          </c:dPt>
          <c:dPt>
            <c:idx val="388"/>
            <c:invertIfNegative val="1"/>
            <c:bubble3D val="0"/>
            <c:spPr>
              <a:solidFill>
                <a:srgbClr val="7ECAC4"/>
              </a:solidFill>
            </c:spPr>
            <c:extLst>
              <c:ext xmlns:c16="http://schemas.microsoft.com/office/drawing/2014/chart" uri="{C3380CC4-5D6E-409C-BE32-E72D297353CC}">
                <c16:uniqueId val="{0000030B-7BE2-49F1-B47F-64DDA7BF3F9D}"/>
              </c:ext>
            </c:extLst>
          </c:dPt>
          <c:dPt>
            <c:idx val="389"/>
            <c:invertIfNegative val="1"/>
            <c:bubble3D val="0"/>
            <c:spPr>
              <a:solidFill>
                <a:srgbClr val="7ECAC4"/>
              </a:solidFill>
            </c:spPr>
            <c:extLst>
              <c:ext xmlns:c16="http://schemas.microsoft.com/office/drawing/2014/chart" uri="{C3380CC4-5D6E-409C-BE32-E72D297353CC}">
                <c16:uniqueId val="{0000030D-7BE2-49F1-B47F-64DDA7BF3F9D}"/>
              </c:ext>
            </c:extLst>
          </c:dPt>
          <c:dPt>
            <c:idx val="390"/>
            <c:invertIfNegative val="1"/>
            <c:bubble3D val="0"/>
            <c:spPr>
              <a:solidFill>
                <a:srgbClr val="7ECAC4"/>
              </a:solidFill>
            </c:spPr>
            <c:extLst>
              <c:ext xmlns:c16="http://schemas.microsoft.com/office/drawing/2014/chart" uri="{C3380CC4-5D6E-409C-BE32-E72D297353CC}">
                <c16:uniqueId val="{0000030F-7BE2-49F1-B47F-64DDA7BF3F9D}"/>
              </c:ext>
            </c:extLst>
          </c:dPt>
          <c:dPt>
            <c:idx val="391"/>
            <c:invertIfNegative val="1"/>
            <c:bubble3D val="0"/>
            <c:spPr>
              <a:solidFill>
                <a:srgbClr val="7ECAC4"/>
              </a:solidFill>
            </c:spPr>
            <c:extLst>
              <c:ext xmlns:c16="http://schemas.microsoft.com/office/drawing/2014/chart" uri="{C3380CC4-5D6E-409C-BE32-E72D297353CC}">
                <c16:uniqueId val="{00000311-7BE2-49F1-B47F-64DDA7BF3F9D}"/>
              </c:ext>
            </c:extLst>
          </c:dPt>
          <c:dPt>
            <c:idx val="392"/>
            <c:invertIfNegative val="1"/>
            <c:bubble3D val="0"/>
            <c:spPr>
              <a:solidFill>
                <a:srgbClr val="7ECAC4"/>
              </a:solidFill>
            </c:spPr>
            <c:extLst>
              <c:ext xmlns:c16="http://schemas.microsoft.com/office/drawing/2014/chart" uri="{C3380CC4-5D6E-409C-BE32-E72D297353CC}">
                <c16:uniqueId val="{00000313-7BE2-49F1-B47F-64DDA7BF3F9D}"/>
              </c:ext>
            </c:extLst>
          </c:dPt>
          <c:dPt>
            <c:idx val="393"/>
            <c:invertIfNegative val="1"/>
            <c:bubble3D val="0"/>
            <c:spPr>
              <a:solidFill>
                <a:srgbClr val="7ECAC4"/>
              </a:solidFill>
            </c:spPr>
            <c:extLst>
              <c:ext xmlns:c16="http://schemas.microsoft.com/office/drawing/2014/chart" uri="{C3380CC4-5D6E-409C-BE32-E72D297353CC}">
                <c16:uniqueId val="{00000315-7BE2-49F1-B47F-64DDA7BF3F9D}"/>
              </c:ext>
            </c:extLst>
          </c:dPt>
          <c:dPt>
            <c:idx val="394"/>
            <c:invertIfNegative val="1"/>
            <c:bubble3D val="0"/>
            <c:spPr>
              <a:solidFill>
                <a:srgbClr val="7ECAC4"/>
              </a:solidFill>
            </c:spPr>
            <c:extLst>
              <c:ext xmlns:c16="http://schemas.microsoft.com/office/drawing/2014/chart" uri="{C3380CC4-5D6E-409C-BE32-E72D297353CC}">
                <c16:uniqueId val="{00000317-7BE2-49F1-B47F-64DDA7BF3F9D}"/>
              </c:ext>
            </c:extLst>
          </c:dPt>
          <c:dPt>
            <c:idx val="395"/>
            <c:invertIfNegative val="1"/>
            <c:bubble3D val="0"/>
            <c:spPr>
              <a:solidFill>
                <a:srgbClr val="7ECAC4"/>
              </a:solidFill>
            </c:spPr>
            <c:extLst>
              <c:ext xmlns:c16="http://schemas.microsoft.com/office/drawing/2014/chart" uri="{C3380CC4-5D6E-409C-BE32-E72D297353CC}">
                <c16:uniqueId val="{00000319-7BE2-49F1-B47F-64DDA7BF3F9D}"/>
              </c:ext>
            </c:extLst>
          </c:dPt>
          <c:dPt>
            <c:idx val="396"/>
            <c:invertIfNegative val="1"/>
            <c:bubble3D val="0"/>
            <c:spPr>
              <a:solidFill>
                <a:srgbClr val="7ECAC4"/>
              </a:solidFill>
            </c:spPr>
            <c:extLst>
              <c:ext xmlns:c16="http://schemas.microsoft.com/office/drawing/2014/chart" uri="{C3380CC4-5D6E-409C-BE32-E72D297353CC}">
                <c16:uniqueId val="{0000031B-7BE2-49F1-B47F-64DDA7BF3F9D}"/>
              </c:ext>
            </c:extLst>
          </c:dPt>
          <c:dPt>
            <c:idx val="397"/>
            <c:invertIfNegative val="1"/>
            <c:bubble3D val="0"/>
            <c:spPr>
              <a:solidFill>
                <a:srgbClr val="7ECAC4"/>
              </a:solidFill>
            </c:spPr>
            <c:extLst>
              <c:ext xmlns:c16="http://schemas.microsoft.com/office/drawing/2014/chart" uri="{C3380CC4-5D6E-409C-BE32-E72D297353CC}">
                <c16:uniqueId val="{0000031D-7BE2-49F1-B47F-64DDA7BF3F9D}"/>
              </c:ext>
            </c:extLst>
          </c:dPt>
          <c:dPt>
            <c:idx val="398"/>
            <c:invertIfNegative val="1"/>
            <c:bubble3D val="0"/>
            <c:spPr>
              <a:solidFill>
                <a:srgbClr val="7ECAC4"/>
              </a:solidFill>
            </c:spPr>
            <c:extLst>
              <c:ext xmlns:c16="http://schemas.microsoft.com/office/drawing/2014/chart" uri="{C3380CC4-5D6E-409C-BE32-E72D297353CC}">
                <c16:uniqueId val="{0000031F-7BE2-49F1-B47F-64DDA7BF3F9D}"/>
              </c:ext>
            </c:extLst>
          </c:dPt>
          <c:dPt>
            <c:idx val="399"/>
            <c:invertIfNegative val="1"/>
            <c:bubble3D val="0"/>
            <c:spPr>
              <a:solidFill>
                <a:srgbClr val="7ECAC4"/>
              </a:solidFill>
            </c:spPr>
            <c:extLst>
              <c:ext xmlns:c16="http://schemas.microsoft.com/office/drawing/2014/chart" uri="{C3380CC4-5D6E-409C-BE32-E72D297353CC}">
                <c16:uniqueId val="{00000321-7BE2-49F1-B47F-64DDA7BF3F9D}"/>
              </c:ext>
            </c:extLst>
          </c:dPt>
          <c:dPt>
            <c:idx val="400"/>
            <c:invertIfNegative val="1"/>
            <c:bubble3D val="0"/>
            <c:spPr>
              <a:solidFill>
                <a:srgbClr val="7ECAC4"/>
              </a:solidFill>
            </c:spPr>
            <c:extLst>
              <c:ext xmlns:c16="http://schemas.microsoft.com/office/drawing/2014/chart" uri="{C3380CC4-5D6E-409C-BE32-E72D297353CC}">
                <c16:uniqueId val="{00000323-7BE2-49F1-B47F-64DDA7BF3F9D}"/>
              </c:ext>
            </c:extLst>
          </c:dPt>
          <c:dPt>
            <c:idx val="401"/>
            <c:invertIfNegative val="1"/>
            <c:bubble3D val="0"/>
            <c:spPr>
              <a:solidFill>
                <a:srgbClr val="7ECAC4"/>
              </a:solidFill>
            </c:spPr>
            <c:extLst>
              <c:ext xmlns:c16="http://schemas.microsoft.com/office/drawing/2014/chart" uri="{C3380CC4-5D6E-409C-BE32-E72D297353CC}">
                <c16:uniqueId val="{00000325-7BE2-49F1-B47F-64DDA7BF3F9D}"/>
              </c:ext>
            </c:extLst>
          </c:dPt>
          <c:dPt>
            <c:idx val="402"/>
            <c:invertIfNegative val="1"/>
            <c:bubble3D val="0"/>
            <c:spPr>
              <a:solidFill>
                <a:srgbClr val="7ECAC4"/>
              </a:solidFill>
            </c:spPr>
            <c:extLst>
              <c:ext xmlns:c16="http://schemas.microsoft.com/office/drawing/2014/chart" uri="{C3380CC4-5D6E-409C-BE32-E72D297353CC}">
                <c16:uniqueId val="{00000327-7BE2-49F1-B47F-64DDA7BF3F9D}"/>
              </c:ext>
            </c:extLst>
          </c:dPt>
          <c:dPt>
            <c:idx val="403"/>
            <c:invertIfNegative val="1"/>
            <c:bubble3D val="0"/>
            <c:spPr>
              <a:solidFill>
                <a:srgbClr val="7ECAC4"/>
              </a:solidFill>
            </c:spPr>
            <c:extLst>
              <c:ext xmlns:c16="http://schemas.microsoft.com/office/drawing/2014/chart" uri="{C3380CC4-5D6E-409C-BE32-E72D297353CC}">
                <c16:uniqueId val="{00000329-7BE2-49F1-B47F-64DDA7BF3F9D}"/>
              </c:ext>
            </c:extLst>
          </c:dPt>
          <c:dPt>
            <c:idx val="404"/>
            <c:invertIfNegative val="1"/>
            <c:bubble3D val="0"/>
            <c:spPr>
              <a:solidFill>
                <a:srgbClr val="7ECAC4"/>
              </a:solidFill>
            </c:spPr>
            <c:extLst>
              <c:ext xmlns:c16="http://schemas.microsoft.com/office/drawing/2014/chart" uri="{C3380CC4-5D6E-409C-BE32-E72D297353CC}">
                <c16:uniqueId val="{0000032B-7BE2-49F1-B47F-64DDA7BF3F9D}"/>
              </c:ext>
            </c:extLst>
          </c:dPt>
          <c:dPt>
            <c:idx val="405"/>
            <c:invertIfNegative val="1"/>
            <c:bubble3D val="0"/>
            <c:spPr>
              <a:solidFill>
                <a:srgbClr val="7ECAC4"/>
              </a:solidFill>
            </c:spPr>
            <c:extLst>
              <c:ext xmlns:c16="http://schemas.microsoft.com/office/drawing/2014/chart" uri="{C3380CC4-5D6E-409C-BE32-E72D297353CC}">
                <c16:uniqueId val="{0000032D-7BE2-49F1-B47F-64DDA7BF3F9D}"/>
              </c:ext>
            </c:extLst>
          </c:dPt>
          <c:dPt>
            <c:idx val="406"/>
            <c:invertIfNegative val="1"/>
            <c:bubble3D val="0"/>
            <c:spPr>
              <a:solidFill>
                <a:srgbClr val="7ECAC4"/>
              </a:solidFill>
            </c:spPr>
            <c:extLst>
              <c:ext xmlns:c16="http://schemas.microsoft.com/office/drawing/2014/chart" uri="{C3380CC4-5D6E-409C-BE32-E72D297353CC}">
                <c16:uniqueId val="{0000032F-7BE2-49F1-B47F-64DDA7BF3F9D}"/>
              </c:ext>
            </c:extLst>
          </c:dPt>
          <c:dPt>
            <c:idx val="407"/>
            <c:invertIfNegative val="1"/>
            <c:bubble3D val="0"/>
            <c:spPr>
              <a:solidFill>
                <a:srgbClr val="7ECAC4"/>
              </a:solidFill>
            </c:spPr>
            <c:extLst>
              <c:ext xmlns:c16="http://schemas.microsoft.com/office/drawing/2014/chart" uri="{C3380CC4-5D6E-409C-BE32-E72D297353CC}">
                <c16:uniqueId val="{00000331-7BE2-49F1-B47F-64DDA7BF3F9D}"/>
              </c:ext>
            </c:extLst>
          </c:dPt>
          <c:dPt>
            <c:idx val="408"/>
            <c:invertIfNegative val="1"/>
            <c:bubble3D val="0"/>
            <c:spPr>
              <a:solidFill>
                <a:srgbClr val="7ECAC4"/>
              </a:solidFill>
            </c:spPr>
            <c:extLst>
              <c:ext xmlns:c16="http://schemas.microsoft.com/office/drawing/2014/chart" uri="{C3380CC4-5D6E-409C-BE32-E72D297353CC}">
                <c16:uniqueId val="{00000333-7BE2-49F1-B47F-64DDA7BF3F9D}"/>
              </c:ext>
            </c:extLst>
          </c:dPt>
          <c:dPt>
            <c:idx val="409"/>
            <c:invertIfNegative val="1"/>
            <c:bubble3D val="0"/>
            <c:spPr>
              <a:solidFill>
                <a:srgbClr val="7ECAC4"/>
              </a:solidFill>
            </c:spPr>
            <c:extLst>
              <c:ext xmlns:c16="http://schemas.microsoft.com/office/drawing/2014/chart" uri="{C3380CC4-5D6E-409C-BE32-E72D297353CC}">
                <c16:uniqueId val="{00000335-7BE2-49F1-B47F-64DDA7BF3F9D}"/>
              </c:ext>
            </c:extLst>
          </c:dPt>
          <c:dPt>
            <c:idx val="410"/>
            <c:invertIfNegative val="1"/>
            <c:bubble3D val="0"/>
            <c:spPr>
              <a:solidFill>
                <a:srgbClr val="7ECAC4"/>
              </a:solidFill>
            </c:spPr>
            <c:extLst>
              <c:ext xmlns:c16="http://schemas.microsoft.com/office/drawing/2014/chart" uri="{C3380CC4-5D6E-409C-BE32-E72D297353CC}">
                <c16:uniqueId val="{00000337-7BE2-49F1-B47F-64DDA7BF3F9D}"/>
              </c:ext>
            </c:extLst>
          </c:dPt>
          <c:dPt>
            <c:idx val="411"/>
            <c:invertIfNegative val="1"/>
            <c:bubble3D val="0"/>
            <c:spPr>
              <a:solidFill>
                <a:srgbClr val="7ECAC4"/>
              </a:solidFill>
            </c:spPr>
            <c:extLst>
              <c:ext xmlns:c16="http://schemas.microsoft.com/office/drawing/2014/chart" uri="{C3380CC4-5D6E-409C-BE32-E72D297353CC}">
                <c16:uniqueId val="{00000339-7BE2-49F1-B47F-64DDA7BF3F9D}"/>
              </c:ext>
            </c:extLst>
          </c:dPt>
          <c:dPt>
            <c:idx val="412"/>
            <c:invertIfNegative val="1"/>
            <c:bubble3D val="0"/>
            <c:spPr>
              <a:solidFill>
                <a:srgbClr val="7ECAC4"/>
              </a:solidFill>
            </c:spPr>
            <c:extLst>
              <c:ext xmlns:c16="http://schemas.microsoft.com/office/drawing/2014/chart" uri="{C3380CC4-5D6E-409C-BE32-E72D297353CC}">
                <c16:uniqueId val="{0000033B-7BE2-49F1-B47F-64DDA7BF3F9D}"/>
              </c:ext>
            </c:extLst>
          </c:dPt>
          <c:dPt>
            <c:idx val="413"/>
            <c:invertIfNegative val="1"/>
            <c:bubble3D val="0"/>
            <c:spPr>
              <a:solidFill>
                <a:srgbClr val="7ECAC4"/>
              </a:solidFill>
            </c:spPr>
            <c:extLst>
              <c:ext xmlns:c16="http://schemas.microsoft.com/office/drawing/2014/chart" uri="{C3380CC4-5D6E-409C-BE32-E72D297353CC}">
                <c16:uniqueId val="{0000033D-7BE2-49F1-B47F-64DDA7BF3F9D}"/>
              </c:ext>
            </c:extLst>
          </c:dPt>
          <c:dPt>
            <c:idx val="414"/>
            <c:invertIfNegative val="1"/>
            <c:bubble3D val="0"/>
            <c:spPr>
              <a:solidFill>
                <a:srgbClr val="7ECAC4"/>
              </a:solidFill>
            </c:spPr>
            <c:extLst>
              <c:ext xmlns:c16="http://schemas.microsoft.com/office/drawing/2014/chart" uri="{C3380CC4-5D6E-409C-BE32-E72D297353CC}">
                <c16:uniqueId val="{0000033F-7BE2-49F1-B47F-64DDA7BF3F9D}"/>
              </c:ext>
            </c:extLst>
          </c:dPt>
          <c:dPt>
            <c:idx val="415"/>
            <c:invertIfNegative val="1"/>
            <c:bubble3D val="0"/>
            <c:spPr>
              <a:solidFill>
                <a:srgbClr val="7ECAC4"/>
              </a:solidFill>
            </c:spPr>
            <c:extLst>
              <c:ext xmlns:c16="http://schemas.microsoft.com/office/drawing/2014/chart" uri="{C3380CC4-5D6E-409C-BE32-E72D297353CC}">
                <c16:uniqueId val="{00000341-7BE2-49F1-B47F-64DDA7BF3F9D}"/>
              </c:ext>
            </c:extLst>
          </c:dPt>
          <c:dPt>
            <c:idx val="416"/>
            <c:invertIfNegative val="1"/>
            <c:bubble3D val="0"/>
            <c:spPr>
              <a:solidFill>
                <a:srgbClr val="7ECAC4"/>
              </a:solidFill>
            </c:spPr>
            <c:extLst>
              <c:ext xmlns:c16="http://schemas.microsoft.com/office/drawing/2014/chart" uri="{C3380CC4-5D6E-409C-BE32-E72D297353CC}">
                <c16:uniqueId val="{00000343-7BE2-49F1-B47F-64DDA7BF3F9D}"/>
              </c:ext>
            </c:extLst>
          </c:dPt>
          <c:dPt>
            <c:idx val="417"/>
            <c:invertIfNegative val="1"/>
            <c:bubble3D val="0"/>
            <c:spPr>
              <a:solidFill>
                <a:srgbClr val="7ECAC4"/>
              </a:solidFill>
            </c:spPr>
            <c:extLst>
              <c:ext xmlns:c16="http://schemas.microsoft.com/office/drawing/2014/chart" uri="{C3380CC4-5D6E-409C-BE32-E72D297353CC}">
                <c16:uniqueId val="{00000345-7BE2-49F1-B47F-64DDA7BF3F9D}"/>
              </c:ext>
            </c:extLst>
          </c:dPt>
          <c:dPt>
            <c:idx val="418"/>
            <c:invertIfNegative val="1"/>
            <c:bubble3D val="0"/>
            <c:spPr>
              <a:solidFill>
                <a:srgbClr val="7ECAC4"/>
              </a:solidFill>
            </c:spPr>
            <c:extLst>
              <c:ext xmlns:c16="http://schemas.microsoft.com/office/drawing/2014/chart" uri="{C3380CC4-5D6E-409C-BE32-E72D297353CC}">
                <c16:uniqueId val="{00000347-7BE2-49F1-B47F-64DDA7BF3F9D}"/>
              </c:ext>
            </c:extLst>
          </c:dPt>
          <c:dPt>
            <c:idx val="419"/>
            <c:invertIfNegative val="1"/>
            <c:bubble3D val="0"/>
            <c:spPr>
              <a:solidFill>
                <a:srgbClr val="7ECAC4"/>
              </a:solidFill>
            </c:spPr>
            <c:extLst>
              <c:ext xmlns:c16="http://schemas.microsoft.com/office/drawing/2014/chart" uri="{C3380CC4-5D6E-409C-BE32-E72D297353CC}">
                <c16:uniqueId val="{00000349-7BE2-49F1-B47F-64DDA7BF3F9D}"/>
              </c:ext>
            </c:extLst>
          </c:dPt>
          <c:dPt>
            <c:idx val="420"/>
            <c:invertIfNegative val="1"/>
            <c:bubble3D val="0"/>
            <c:spPr>
              <a:solidFill>
                <a:srgbClr val="7ECAC4"/>
              </a:solidFill>
            </c:spPr>
            <c:extLst>
              <c:ext xmlns:c16="http://schemas.microsoft.com/office/drawing/2014/chart" uri="{C3380CC4-5D6E-409C-BE32-E72D297353CC}">
                <c16:uniqueId val="{0000034B-7BE2-49F1-B47F-64DDA7BF3F9D}"/>
              </c:ext>
            </c:extLst>
          </c:dPt>
          <c:dPt>
            <c:idx val="421"/>
            <c:invertIfNegative val="1"/>
            <c:bubble3D val="0"/>
            <c:spPr>
              <a:solidFill>
                <a:srgbClr val="7ECAC4"/>
              </a:solidFill>
            </c:spPr>
            <c:extLst>
              <c:ext xmlns:c16="http://schemas.microsoft.com/office/drawing/2014/chart" uri="{C3380CC4-5D6E-409C-BE32-E72D297353CC}">
                <c16:uniqueId val="{0000034D-7BE2-49F1-B47F-64DDA7BF3F9D}"/>
              </c:ext>
            </c:extLst>
          </c:dPt>
          <c:dPt>
            <c:idx val="422"/>
            <c:invertIfNegative val="1"/>
            <c:bubble3D val="0"/>
            <c:spPr>
              <a:solidFill>
                <a:srgbClr val="7ECAC4"/>
              </a:solidFill>
            </c:spPr>
            <c:extLst>
              <c:ext xmlns:c16="http://schemas.microsoft.com/office/drawing/2014/chart" uri="{C3380CC4-5D6E-409C-BE32-E72D297353CC}">
                <c16:uniqueId val="{0000034F-7BE2-49F1-B47F-64DDA7BF3F9D}"/>
              </c:ext>
            </c:extLst>
          </c:dPt>
          <c:dPt>
            <c:idx val="423"/>
            <c:invertIfNegative val="1"/>
            <c:bubble3D val="0"/>
            <c:spPr>
              <a:solidFill>
                <a:srgbClr val="7ECAC4"/>
              </a:solidFill>
            </c:spPr>
            <c:extLst>
              <c:ext xmlns:c16="http://schemas.microsoft.com/office/drawing/2014/chart" uri="{C3380CC4-5D6E-409C-BE32-E72D297353CC}">
                <c16:uniqueId val="{00000351-7BE2-49F1-B47F-64DDA7BF3F9D}"/>
              </c:ext>
            </c:extLst>
          </c:dPt>
          <c:dPt>
            <c:idx val="424"/>
            <c:invertIfNegative val="1"/>
            <c:bubble3D val="0"/>
            <c:spPr>
              <a:solidFill>
                <a:srgbClr val="7ECAC4"/>
              </a:solidFill>
            </c:spPr>
            <c:extLst>
              <c:ext xmlns:c16="http://schemas.microsoft.com/office/drawing/2014/chart" uri="{C3380CC4-5D6E-409C-BE32-E72D297353CC}">
                <c16:uniqueId val="{00000353-7BE2-49F1-B47F-64DDA7BF3F9D}"/>
              </c:ext>
            </c:extLst>
          </c:dPt>
          <c:dPt>
            <c:idx val="425"/>
            <c:invertIfNegative val="1"/>
            <c:bubble3D val="0"/>
            <c:spPr>
              <a:solidFill>
                <a:srgbClr val="7ECAC4"/>
              </a:solidFill>
            </c:spPr>
            <c:extLst>
              <c:ext xmlns:c16="http://schemas.microsoft.com/office/drawing/2014/chart" uri="{C3380CC4-5D6E-409C-BE32-E72D297353CC}">
                <c16:uniqueId val="{00000355-7BE2-49F1-B47F-64DDA7BF3F9D}"/>
              </c:ext>
            </c:extLst>
          </c:dPt>
          <c:dPt>
            <c:idx val="426"/>
            <c:invertIfNegative val="1"/>
            <c:bubble3D val="0"/>
            <c:spPr>
              <a:solidFill>
                <a:srgbClr val="7ECAC4"/>
              </a:solidFill>
            </c:spPr>
            <c:extLst>
              <c:ext xmlns:c16="http://schemas.microsoft.com/office/drawing/2014/chart" uri="{C3380CC4-5D6E-409C-BE32-E72D297353CC}">
                <c16:uniqueId val="{00000357-7BE2-49F1-B47F-64DDA7BF3F9D}"/>
              </c:ext>
            </c:extLst>
          </c:dPt>
          <c:dPt>
            <c:idx val="427"/>
            <c:invertIfNegative val="1"/>
            <c:bubble3D val="0"/>
            <c:spPr>
              <a:solidFill>
                <a:srgbClr val="7ECAC4"/>
              </a:solidFill>
            </c:spPr>
            <c:extLst>
              <c:ext xmlns:c16="http://schemas.microsoft.com/office/drawing/2014/chart" uri="{C3380CC4-5D6E-409C-BE32-E72D297353CC}">
                <c16:uniqueId val="{00000359-7BE2-49F1-B47F-64DDA7BF3F9D}"/>
              </c:ext>
            </c:extLst>
          </c:dPt>
          <c:dPt>
            <c:idx val="428"/>
            <c:invertIfNegative val="1"/>
            <c:bubble3D val="0"/>
            <c:spPr>
              <a:solidFill>
                <a:srgbClr val="7ECAC4"/>
              </a:solidFill>
            </c:spPr>
            <c:extLst>
              <c:ext xmlns:c16="http://schemas.microsoft.com/office/drawing/2014/chart" uri="{C3380CC4-5D6E-409C-BE32-E72D297353CC}">
                <c16:uniqueId val="{0000035B-7BE2-49F1-B47F-64DDA7BF3F9D}"/>
              </c:ext>
            </c:extLst>
          </c:dPt>
          <c:dPt>
            <c:idx val="429"/>
            <c:invertIfNegative val="1"/>
            <c:bubble3D val="0"/>
            <c:spPr>
              <a:solidFill>
                <a:srgbClr val="7ECAC4"/>
              </a:solidFill>
            </c:spPr>
            <c:extLst>
              <c:ext xmlns:c16="http://schemas.microsoft.com/office/drawing/2014/chart" uri="{C3380CC4-5D6E-409C-BE32-E72D297353CC}">
                <c16:uniqueId val="{0000035D-7BE2-49F1-B47F-64DDA7BF3F9D}"/>
              </c:ext>
            </c:extLst>
          </c:dPt>
          <c:dPt>
            <c:idx val="430"/>
            <c:invertIfNegative val="1"/>
            <c:bubble3D val="0"/>
            <c:spPr>
              <a:solidFill>
                <a:srgbClr val="7ECAC4"/>
              </a:solidFill>
            </c:spPr>
            <c:extLst>
              <c:ext xmlns:c16="http://schemas.microsoft.com/office/drawing/2014/chart" uri="{C3380CC4-5D6E-409C-BE32-E72D297353CC}">
                <c16:uniqueId val="{0000035F-7BE2-49F1-B47F-64DDA7BF3F9D}"/>
              </c:ext>
            </c:extLst>
          </c:dPt>
          <c:dPt>
            <c:idx val="431"/>
            <c:invertIfNegative val="1"/>
            <c:bubble3D val="0"/>
            <c:spPr>
              <a:solidFill>
                <a:srgbClr val="7ECAC4"/>
              </a:solidFill>
            </c:spPr>
            <c:extLst>
              <c:ext xmlns:c16="http://schemas.microsoft.com/office/drawing/2014/chart" uri="{C3380CC4-5D6E-409C-BE32-E72D297353CC}">
                <c16:uniqueId val="{00000361-7BE2-49F1-B47F-64DDA7BF3F9D}"/>
              </c:ext>
            </c:extLst>
          </c:dPt>
          <c:dPt>
            <c:idx val="432"/>
            <c:invertIfNegative val="1"/>
            <c:bubble3D val="0"/>
            <c:spPr>
              <a:solidFill>
                <a:srgbClr val="7ECAC4"/>
              </a:solidFill>
            </c:spPr>
            <c:extLst>
              <c:ext xmlns:c16="http://schemas.microsoft.com/office/drawing/2014/chart" uri="{C3380CC4-5D6E-409C-BE32-E72D297353CC}">
                <c16:uniqueId val="{00000363-7BE2-49F1-B47F-64DDA7BF3F9D}"/>
              </c:ext>
            </c:extLst>
          </c:dPt>
          <c:dPt>
            <c:idx val="433"/>
            <c:invertIfNegative val="1"/>
            <c:bubble3D val="0"/>
            <c:spPr>
              <a:solidFill>
                <a:srgbClr val="7ECAC4"/>
              </a:solidFill>
            </c:spPr>
            <c:extLst>
              <c:ext xmlns:c16="http://schemas.microsoft.com/office/drawing/2014/chart" uri="{C3380CC4-5D6E-409C-BE32-E72D297353CC}">
                <c16:uniqueId val="{00000365-7BE2-49F1-B47F-64DDA7BF3F9D}"/>
              </c:ext>
            </c:extLst>
          </c:dPt>
          <c:dPt>
            <c:idx val="434"/>
            <c:invertIfNegative val="1"/>
            <c:bubble3D val="0"/>
            <c:spPr>
              <a:solidFill>
                <a:srgbClr val="7ECAC4"/>
              </a:solidFill>
            </c:spPr>
            <c:extLst>
              <c:ext xmlns:c16="http://schemas.microsoft.com/office/drawing/2014/chart" uri="{C3380CC4-5D6E-409C-BE32-E72D297353CC}">
                <c16:uniqueId val="{00000367-7BE2-49F1-B47F-64DDA7BF3F9D}"/>
              </c:ext>
            </c:extLst>
          </c:dPt>
          <c:dPt>
            <c:idx val="435"/>
            <c:invertIfNegative val="1"/>
            <c:bubble3D val="0"/>
            <c:spPr>
              <a:solidFill>
                <a:srgbClr val="7ECAC4"/>
              </a:solidFill>
            </c:spPr>
            <c:extLst>
              <c:ext xmlns:c16="http://schemas.microsoft.com/office/drawing/2014/chart" uri="{C3380CC4-5D6E-409C-BE32-E72D297353CC}">
                <c16:uniqueId val="{00000369-7BE2-49F1-B47F-64DDA7BF3F9D}"/>
              </c:ext>
            </c:extLst>
          </c:dPt>
          <c:dPt>
            <c:idx val="436"/>
            <c:invertIfNegative val="1"/>
            <c:bubble3D val="0"/>
            <c:spPr>
              <a:solidFill>
                <a:srgbClr val="7ECAC4"/>
              </a:solidFill>
            </c:spPr>
            <c:extLst>
              <c:ext xmlns:c16="http://schemas.microsoft.com/office/drawing/2014/chart" uri="{C3380CC4-5D6E-409C-BE32-E72D297353CC}">
                <c16:uniqueId val="{0000036B-7BE2-49F1-B47F-64DDA7BF3F9D}"/>
              </c:ext>
            </c:extLst>
          </c:dPt>
          <c:dPt>
            <c:idx val="437"/>
            <c:invertIfNegative val="1"/>
            <c:bubble3D val="0"/>
            <c:spPr>
              <a:solidFill>
                <a:srgbClr val="7ECAC4"/>
              </a:solidFill>
            </c:spPr>
            <c:extLst>
              <c:ext xmlns:c16="http://schemas.microsoft.com/office/drawing/2014/chart" uri="{C3380CC4-5D6E-409C-BE32-E72D297353CC}">
                <c16:uniqueId val="{0000036D-7BE2-49F1-B47F-64DDA7BF3F9D}"/>
              </c:ext>
            </c:extLst>
          </c:dPt>
          <c:dPt>
            <c:idx val="438"/>
            <c:invertIfNegative val="1"/>
            <c:bubble3D val="0"/>
            <c:spPr>
              <a:solidFill>
                <a:srgbClr val="7ECAC4"/>
              </a:solidFill>
            </c:spPr>
            <c:extLst>
              <c:ext xmlns:c16="http://schemas.microsoft.com/office/drawing/2014/chart" uri="{C3380CC4-5D6E-409C-BE32-E72D297353CC}">
                <c16:uniqueId val="{0000036F-7BE2-49F1-B47F-64DDA7BF3F9D}"/>
              </c:ext>
            </c:extLst>
          </c:dPt>
          <c:dPt>
            <c:idx val="439"/>
            <c:invertIfNegative val="1"/>
            <c:bubble3D val="0"/>
            <c:spPr>
              <a:solidFill>
                <a:srgbClr val="7ECAC4"/>
              </a:solidFill>
            </c:spPr>
            <c:extLst>
              <c:ext xmlns:c16="http://schemas.microsoft.com/office/drawing/2014/chart" uri="{C3380CC4-5D6E-409C-BE32-E72D297353CC}">
                <c16:uniqueId val="{00000371-7BE2-49F1-B47F-64DDA7BF3F9D}"/>
              </c:ext>
            </c:extLst>
          </c:dPt>
          <c:dPt>
            <c:idx val="440"/>
            <c:invertIfNegative val="1"/>
            <c:bubble3D val="0"/>
            <c:spPr>
              <a:solidFill>
                <a:srgbClr val="7ECAC4"/>
              </a:solidFill>
            </c:spPr>
            <c:extLst>
              <c:ext xmlns:c16="http://schemas.microsoft.com/office/drawing/2014/chart" uri="{C3380CC4-5D6E-409C-BE32-E72D297353CC}">
                <c16:uniqueId val="{00000373-7BE2-49F1-B47F-64DDA7BF3F9D}"/>
              </c:ext>
            </c:extLst>
          </c:dPt>
          <c:dPt>
            <c:idx val="441"/>
            <c:invertIfNegative val="1"/>
            <c:bubble3D val="0"/>
            <c:spPr>
              <a:solidFill>
                <a:srgbClr val="7ECAC4"/>
              </a:solidFill>
            </c:spPr>
            <c:extLst>
              <c:ext xmlns:c16="http://schemas.microsoft.com/office/drawing/2014/chart" uri="{C3380CC4-5D6E-409C-BE32-E72D297353CC}">
                <c16:uniqueId val="{00000375-7BE2-49F1-B47F-64DDA7BF3F9D}"/>
              </c:ext>
            </c:extLst>
          </c:dPt>
          <c:dPt>
            <c:idx val="442"/>
            <c:invertIfNegative val="1"/>
            <c:bubble3D val="0"/>
            <c:spPr>
              <a:solidFill>
                <a:srgbClr val="7ECAC4"/>
              </a:solidFill>
            </c:spPr>
            <c:extLst>
              <c:ext xmlns:c16="http://schemas.microsoft.com/office/drawing/2014/chart" uri="{C3380CC4-5D6E-409C-BE32-E72D297353CC}">
                <c16:uniqueId val="{00000377-7BE2-49F1-B47F-64DDA7BF3F9D}"/>
              </c:ext>
            </c:extLst>
          </c:dPt>
          <c:dPt>
            <c:idx val="443"/>
            <c:invertIfNegative val="1"/>
            <c:bubble3D val="0"/>
            <c:spPr>
              <a:solidFill>
                <a:srgbClr val="7ECAC4"/>
              </a:solidFill>
            </c:spPr>
            <c:extLst>
              <c:ext xmlns:c16="http://schemas.microsoft.com/office/drawing/2014/chart" uri="{C3380CC4-5D6E-409C-BE32-E72D297353CC}">
                <c16:uniqueId val="{00000379-7BE2-49F1-B47F-64DDA7BF3F9D}"/>
              </c:ext>
            </c:extLst>
          </c:dPt>
          <c:dPt>
            <c:idx val="444"/>
            <c:invertIfNegative val="1"/>
            <c:bubble3D val="0"/>
            <c:spPr>
              <a:solidFill>
                <a:srgbClr val="7ECAC4"/>
              </a:solidFill>
            </c:spPr>
            <c:extLst>
              <c:ext xmlns:c16="http://schemas.microsoft.com/office/drawing/2014/chart" uri="{C3380CC4-5D6E-409C-BE32-E72D297353CC}">
                <c16:uniqueId val="{0000037B-7BE2-49F1-B47F-64DDA7BF3F9D}"/>
              </c:ext>
            </c:extLst>
          </c:dPt>
          <c:dPt>
            <c:idx val="445"/>
            <c:invertIfNegative val="1"/>
            <c:bubble3D val="0"/>
            <c:spPr>
              <a:solidFill>
                <a:srgbClr val="7ECAC4"/>
              </a:solidFill>
            </c:spPr>
            <c:extLst>
              <c:ext xmlns:c16="http://schemas.microsoft.com/office/drawing/2014/chart" uri="{C3380CC4-5D6E-409C-BE32-E72D297353CC}">
                <c16:uniqueId val="{0000037D-7BE2-49F1-B47F-64DDA7BF3F9D}"/>
              </c:ext>
            </c:extLst>
          </c:dPt>
          <c:dPt>
            <c:idx val="446"/>
            <c:invertIfNegative val="1"/>
            <c:bubble3D val="0"/>
            <c:spPr>
              <a:solidFill>
                <a:srgbClr val="7ECAC4"/>
              </a:solidFill>
            </c:spPr>
            <c:extLst>
              <c:ext xmlns:c16="http://schemas.microsoft.com/office/drawing/2014/chart" uri="{C3380CC4-5D6E-409C-BE32-E72D297353CC}">
                <c16:uniqueId val="{0000037F-7BE2-49F1-B47F-64DDA7BF3F9D}"/>
              </c:ext>
            </c:extLst>
          </c:dPt>
          <c:dPt>
            <c:idx val="447"/>
            <c:invertIfNegative val="1"/>
            <c:bubble3D val="0"/>
            <c:spPr>
              <a:solidFill>
                <a:srgbClr val="7ECAC4"/>
              </a:solidFill>
            </c:spPr>
            <c:extLst>
              <c:ext xmlns:c16="http://schemas.microsoft.com/office/drawing/2014/chart" uri="{C3380CC4-5D6E-409C-BE32-E72D297353CC}">
                <c16:uniqueId val="{00000381-7BE2-49F1-B47F-64DDA7BF3F9D}"/>
              </c:ext>
            </c:extLst>
          </c:dPt>
          <c:dPt>
            <c:idx val="448"/>
            <c:invertIfNegative val="1"/>
            <c:bubble3D val="0"/>
            <c:spPr>
              <a:solidFill>
                <a:srgbClr val="7ECAC4"/>
              </a:solidFill>
            </c:spPr>
            <c:extLst>
              <c:ext xmlns:c16="http://schemas.microsoft.com/office/drawing/2014/chart" uri="{C3380CC4-5D6E-409C-BE32-E72D297353CC}">
                <c16:uniqueId val="{00000383-7BE2-49F1-B47F-64DDA7BF3F9D}"/>
              </c:ext>
            </c:extLst>
          </c:dPt>
          <c:dPt>
            <c:idx val="449"/>
            <c:invertIfNegative val="1"/>
            <c:bubble3D val="0"/>
            <c:spPr>
              <a:solidFill>
                <a:srgbClr val="7ECAC4"/>
              </a:solidFill>
            </c:spPr>
            <c:extLst>
              <c:ext xmlns:c16="http://schemas.microsoft.com/office/drawing/2014/chart" uri="{C3380CC4-5D6E-409C-BE32-E72D297353CC}">
                <c16:uniqueId val="{00000385-7BE2-49F1-B47F-64DDA7BF3F9D}"/>
              </c:ext>
            </c:extLst>
          </c:dPt>
          <c:dPt>
            <c:idx val="450"/>
            <c:invertIfNegative val="1"/>
            <c:bubble3D val="0"/>
            <c:spPr>
              <a:solidFill>
                <a:srgbClr val="7ECAC4"/>
              </a:solidFill>
            </c:spPr>
            <c:extLst>
              <c:ext xmlns:c16="http://schemas.microsoft.com/office/drawing/2014/chart" uri="{C3380CC4-5D6E-409C-BE32-E72D297353CC}">
                <c16:uniqueId val="{00000387-7BE2-49F1-B47F-64DDA7BF3F9D}"/>
              </c:ext>
            </c:extLst>
          </c:dPt>
          <c:dPt>
            <c:idx val="451"/>
            <c:invertIfNegative val="1"/>
            <c:bubble3D val="0"/>
            <c:spPr>
              <a:solidFill>
                <a:srgbClr val="7ECAC4"/>
              </a:solidFill>
            </c:spPr>
            <c:extLst>
              <c:ext xmlns:c16="http://schemas.microsoft.com/office/drawing/2014/chart" uri="{C3380CC4-5D6E-409C-BE32-E72D297353CC}">
                <c16:uniqueId val="{00000389-7BE2-49F1-B47F-64DDA7BF3F9D}"/>
              </c:ext>
            </c:extLst>
          </c:dPt>
          <c:dPt>
            <c:idx val="452"/>
            <c:invertIfNegative val="1"/>
            <c:bubble3D val="0"/>
            <c:spPr>
              <a:solidFill>
                <a:srgbClr val="7ECAC4"/>
              </a:solidFill>
            </c:spPr>
            <c:extLst>
              <c:ext xmlns:c16="http://schemas.microsoft.com/office/drawing/2014/chart" uri="{C3380CC4-5D6E-409C-BE32-E72D297353CC}">
                <c16:uniqueId val="{0000038B-7BE2-49F1-B47F-64DDA7BF3F9D}"/>
              </c:ext>
            </c:extLst>
          </c:dPt>
          <c:dPt>
            <c:idx val="453"/>
            <c:invertIfNegative val="1"/>
            <c:bubble3D val="0"/>
            <c:spPr>
              <a:solidFill>
                <a:srgbClr val="7ECAC4"/>
              </a:solidFill>
            </c:spPr>
            <c:extLst>
              <c:ext xmlns:c16="http://schemas.microsoft.com/office/drawing/2014/chart" uri="{C3380CC4-5D6E-409C-BE32-E72D297353CC}">
                <c16:uniqueId val="{0000038D-7BE2-49F1-B47F-64DDA7BF3F9D}"/>
              </c:ext>
            </c:extLst>
          </c:dPt>
          <c:dPt>
            <c:idx val="454"/>
            <c:invertIfNegative val="1"/>
            <c:bubble3D val="0"/>
            <c:spPr>
              <a:solidFill>
                <a:srgbClr val="7ECAC4"/>
              </a:solidFill>
            </c:spPr>
            <c:extLst>
              <c:ext xmlns:c16="http://schemas.microsoft.com/office/drawing/2014/chart" uri="{C3380CC4-5D6E-409C-BE32-E72D297353CC}">
                <c16:uniqueId val="{0000038F-7BE2-49F1-B47F-64DDA7BF3F9D}"/>
              </c:ext>
            </c:extLst>
          </c:dPt>
          <c:dPt>
            <c:idx val="455"/>
            <c:invertIfNegative val="1"/>
            <c:bubble3D val="0"/>
            <c:spPr>
              <a:solidFill>
                <a:srgbClr val="7ECAC4"/>
              </a:solidFill>
            </c:spPr>
            <c:extLst>
              <c:ext xmlns:c16="http://schemas.microsoft.com/office/drawing/2014/chart" uri="{C3380CC4-5D6E-409C-BE32-E72D297353CC}">
                <c16:uniqueId val="{00000391-7BE2-49F1-B47F-64DDA7BF3F9D}"/>
              </c:ext>
            </c:extLst>
          </c:dPt>
          <c:dPt>
            <c:idx val="456"/>
            <c:invertIfNegative val="1"/>
            <c:bubble3D val="0"/>
            <c:spPr>
              <a:solidFill>
                <a:srgbClr val="7ECAC4"/>
              </a:solidFill>
            </c:spPr>
            <c:extLst>
              <c:ext xmlns:c16="http://schemas.microsoft.com/office/drawing/2014/chart" uri="{C3380CC4-5D6E-409C-BE32-E72D297353CC}">
                <c16:uniqueId val="{00000393-7BE2-49F1-B47F-64DDA7BF3F9D}"/>
              </c:ext>
            </c:extLst>
          </c:dPt>
          <c:dPt>
            <c:idx val="457"/>
            <c:invertIfNegative val="1"/>
            <c:bubble3D val="0"/>
            <c:spPr>
              <a:solidFill>
                <a:srgbClr val="7ECAC4"/>
              </a:solidFill>
            </c:spPr>
            <c:extLst>
              <c:ext xmlns:c16="http://schemas.microsoft.com/office/drawing/2014/chart" uri="{C3380CC4-5D6E-409C-BE32-E72D297353CC}">
                <c16:uniqueId val="{00000395-7BE2-49F1-B47F-64DDA7BF3F9D}"/>
              </c:ext>
            </c:extLst>
          </c:dPt>
          <c:dPt>
            <c:idx val="458"/>
            <c:invertIfNegative val="1"/>
            <c:bubble3D val="0"/>
            <c:spPr>
              <a:solidFill>
                <a:srgbClr val="7ECAC4"/>
              </a:solidFill>
            </c:spPr>
            <c:extLst>
              <c:ext xmlns:c16="http://schemas.microsoft.com/office/drawing/2014/chart" uri="{C3380CC4-5D6E-409C-BE32-E72D297353CC}">
                <c16:uniqueId val="{00000397-7BE2-49F1-B47F-64DDA7BF3F9D}"/>
              </c:ext>
            </c:extLst>
          </c:dPt>
          <c:dPt>
            <c:idx val="459"/>
            <c:invertIfNegative val="1"/>
            <c:bubble3D val="0"/>
            <c:spPr>
              <a:solidFill>
                <a:srgbClr val="7ECAC4"/>
              </a:solidFill>
            </c:spPr>
            <c:extLst>
              <c:ext xmlns:c16="http://schemas.microsoft.com/office/drawing/2014/chart" uri="{C3380CC4-5D6E-409C-BE32-E72D297353CC}">
                <c16:uniqueId val="{00000399-7BE2-49F1-B47F-64DDA7BF3F9D}"/>
              </c:ext>
            </c:extLst>
          </c:dPt>
          <c:dPt>
            <c:idx val="460"/>
            <c:invertIfNegative val="1"/>
            <c:bubble3D val="0"/>
            <c:spPr>
              <a:solidFill>
                <a:srgbClr val="7ECAC4"/>
              </a:solidFill>
            </c:spPr>
            <c:extLst>
              <c:ext xmlns:c16="http://schemas.microsoft.com/office/drawing/2014/chart" uri="{C3380CC4-5D6E-409C-BE32-E72D297353CC}">
                <c16:uniqueId val="{0000039B-7BE2-49F1-B47F-64DDA7BF3F9D}"/>
              </c:ext>
            </c:extLst>
          </c:dPt>
          <c:dPt>
            <c:idx val="461"/>
            <c:invertIfNegative val="1"/>
            <c:bubble3D val="0"/>
            <c:spPr>
              <a:solidFill>
                <a:srgbClr val="7ECAC4"/>
              </a:solidFill>
            </c:spPr>
            <c:extLst>
              <c:ext xmlns:c16="http://schemas.microsoft.com/office/drawing/2014/chart" uri="{C3380CC4-5D6E-409C-BE32-E72D297353CC}">
                <c16:uniqueId val="{0000039D-7BE2-49F1-B47F-64DDA7BF3F9D}"/>
              </c:ext>
            </c:extLst>
          </c:dPt>
          <c:dPt>
            <c:idx val="462"/>
            <c:invertIfNegative val="1"/>
            <c:bubble3D val="0"/>
            <c:spPr>
              <a:solidFill>
                <a:srgbClr val="7ECAC4"/>
              </a:solidFill>
            </c:spPr>
            <c:extLst>
              <c:ext xmlns:c16="http://schemas.microsoft.com/office/drawing/2014/chart" uri="{C3380CC4-5D6E-409C-BE32-E72D297353CC}">
                <c16:uniqueId val="{0000039F-7BE2-49F1-B47F-64DDA7BF3F9D}"/>
              </c:ext>
            </c:extLst>
          </c:dPt>
          <c:dPt>
            <c:idx val="463"/>
            <c:invertIfNegative val="1"/>
            <c:bubble3D val="0"/>
            <c:spPr>
              <a:solidFill>
                <a:srgbClr val="7ECAC4"/>
              </a:solidFill>
            </c:spPr>
            <c:extLst>
              <c:ext xmlns:c16="http://schemas.microsoft.com/office/drawing/2014/chart" uri="{C3380CC4-5D6E-409C-BE32-E72D297353CC}">
                <c16:uniqueId val="{000003A1-7BE2-49F1-B47F-64DDA7BF3F9D}"/>
              </c:ext>
            </c:extLst>
          </c:dPt>
          <c:dPt>
            <c:idx val="464"/>
            <c:invertIfNegative val="1"/>
            <c:bubble3D val="0"/>
            <c:spPr>
              <a:solidFill>
                <a:srgbClr val="7ECAC4"/>
              </a:solidFill>
            </c:spPr>
            <c:extLst>
              <c:ext xmlns:c16="http://schemas.microsoft.com/office/drawing/2014/chart" uri="{C3380CC4-5D6E-409C-BE32-E72D297353CC}">
                <c16:uniqueId val="{000003A3-7BE2-49F1-B47F-64DDA7BF3F9D}"/>
              </c:ext>
            </c:extLst>
          </c:dPt>
          <c:dPt>
            <c:idx val="465"/>
            <c:invertIfNegative val="1"/>
            <c:bubble3D val="0"/>
            <c:spPr>
              <a:solidFill>
                <a:srgbClr val="7ECAC4"/>
              </a:solidFill>
            </c:spPr>
            <c:extLst>
              <c:ext xmlns:c16="http://schemas.microsoft.com/office/drawing/2014/chart" uri="{C3380CC4-5D6E-409C-BE32-E72D297353CC}">
                <c16:uniqueId val="{000003A5-7BE2-49F1-B47F-64DDA7BF3F9D}"/>
              </c:ext>
            </c:extLst>
          </c:dPt>
          <c:dPt>
            <c:idx val="466"/>
            <c:invertIfNegative val="1"/>
            <c:bubble3D val="0"/>
            <c:spPr>
              <a:solidFill>
                <a:srgbClr val="7ECAC4"/>
              </a:solidFill>
            </c:spPr>
            <c:extLst>
              <c:ext xmlns:c16="http://schemas.microsoft.com/office/drawing/2014/chart" uri="{C3380CC4-5D6E-409C-BE32-E72D297353CC}">
                <c16:uniqueId val="{000003A7-7BE2-49F1-B47F-64DDA7BF3F9D}"/>
              </c:ext>
            </c:extLst>
          </c:dPt>
          <c:dPt>
            <c:idx val="467"/>
            <c:invertIfNegative val="1"/>
            <c:bubble3D val="0"/>
            <c:spPr>
              <a:solidFill>
                <a:srgbClr val="7ECAC4"/>
              </a:solidFill>
            </c:spPr>
            <c:extLst>
              <c:ext xmlns:c16="http://schemas.microsoft.com/office/drawing/2014/chart" uri="{C3380CC4-5D6E-409C-BE32-E72D297353CC}">
                <c16:uniqueId val="{000003A9-7BE2-49F1-B47F-64DDA7BF3F9D}"/>
              </c:ext>
            </c:extLst>
          </c:dPt>
          <c:dPt>
            <c:idx val="468"/>
            <c:invertIfNegative val="1"/>
            <c:bubble3D val="0"/>
            <c:spPr>
              <a:solidFill>
                <a:srgbClr val="7ECAC4"/>
              </a:solidFill>
            </c:spPr>
            <c:extLst>
              <c:ext xmlns:c16="http://schemas.microsoft.com/office/drawing/2014/chart" uri="{C3380CC4-5D6E-409C-BE32-E72D297353CC}">
                <c16:uniqueId val="{000003AB-7BE2-49F1-B47F-64DDA7BF3F9D}"/>
              </c:ext>
            </c:extLst>
          </c:dPt>
          <c:dPt>
            <c:idx val="469"/>
            <c:invertIfNegative val="1"/>
            <c:bubble3D val="0"/>
            <c:spPr>
              <a:solidFill>
                <a:srgbClr val="7ECAC4"/>
              </a:solidFill>
            </c:spPr>
            <c:extLst>
              <c:ext xmlns:c16="http://schemas.microsoft.com/office/drawing/2014/chart" uri="{C3380CC4-5D6E-409C-BE32-E72D297353CC}">
                <c16:uniqueId val="{000003AD-7BE2-49F1-B47F-64DDA7BF3F9D}"/>
              </c:ext>
            </c:extLst>
          </c:dPt>
          <c:dPt>
            <c:idx val="470"/>
            <c:invertIfNegative val="1"/>
            <c:bubble3D val="0"/>
            <c:spPr>
              <a:solidFill>
                <a:srgbClr val="7ECAC4"/>
              </a:solidFill>
            </c:spPr>
            <c:extLst>
              <c:ext xmlns:c16="http://schemas.microsoft.com/office/drawing/2014/chart" uri="{C3380CC4-5D6E-409C-BE32-E72D297353CC}">
                <c16:uniqueId val="{000003AF-7BE2-49F1-B47F-64DDA7BF3F9D}"/>
              </c:ext>
            </c:extLst>
          </c:dPt>
          <c:dPt>
            <c:idx val="471"/>
            <c:invertIfNegative val="1"/>
            <c:bubble3D val="0"/>
            <c:spPr>
              <a:solidFill>
                <a:srgbClr val="7ECAC4"/>
              </a:solidFill>
            </c:spPr>
            <c:extLst>
              <c:ext xmlns:c16="http://schemas.microsoft.com/office/drawing/2014/chart" uri="{C3380CC4-5D6E-409C-BE32-E72D297353CC}">
                <c16:uniqueId val="{000003B1-7BE2-49F1-B47F-64DDA7BF3F9D}"/>
              </c:ext>
            </c:extLst>
          </c:dPt>
          <c:dPt>
            <c:idx val="472"/>
            <c:invertIfNegative val="1"/>
            <c:bubble3D val="0"/>
            <c:spPr>
              <a:solidFill>
                <a:srgbClr val="7ECAC4"/>
              </a:solidFill>
            </c:spPr>
            <c:extLst>
              <c:ext xmlns:c16="http://schemas.microsoft.com/office/drawing/2014/chart" uri="{C3380CC4-5D6E-409C-BE32-E72D297353CC}">
                <c16:uniqueId val="{000003B3-7BE2-49F1-B47F-64DDA7BF3F9D}"/>
              </c:ext>
            </c:extLst>
          </c:dPt>
          <c:dPt>
            <c:idx val="473"/>
            <c:invertIfNegative val="1"/>
            <c:bubble3D val="0"/>
            <c:spPr>
              <a:solidFill>
                <a:srgbClr val="7ECAC4"/>
              </a:solidFill>
            </c:spPr>
            <c:extLst>
              <c:ext xmlns:c16="http://schemas.microsoft.com/office/drawing/2014/chart" uri="{C3380CC4-5D6E-409C-BE32-E72D297353CC}">
                <c16:uniqueId val="{000003B5-7BE2-49F1-B47F-64DDA7BF3F9D}"/>
              </c:ext>
            </c:extLst>
          </c:dPt>
          <c:dPt>
            <c:idx val="474"/>
            <c:invertIfNegative val="1"/>
            <c:bubble3D val="0"/>
            <c:spPr>
              <a:solidFill>
                <a:srgbClr val="7ECAC4"/>
              </a:solidFill>
            </c:spPr>
            <c:extLst>
              <c:ext xmlns:c16="http://schemas.microsoft.com/office/drawing/2014/chart" uri="{C3380CC4-5D6E-409C-BE32-E72D297353CC}">
                <c16:uniqueId val="{000003B7-7BE2-49F1-B47F-64DDA7BF3F9D}"/>
              </c:ext>
            </c:extLst>
          </c:dPt>
          <c:dPt>
            <c:idx val="475"/>
            <c:invertIfNegative val="1"/>
            <c:bubble3D val="0"/>
            <c:spPr>
              <a:solidFill>
                <a:srgbClr val="7ECAC4"/>
              </a:solidFill>
            </c:spPr>
            <c:extLst>
              <c:ext xmlns:c16="http://schemas.microsoft.com/office/drawing/2014/chart" uri="{C3380CC4-5D6E-409C-BE32-E72D297353CC}">
                <c16:uniqueId val="{000003B9-7BE2-49F1-B47F-64DDA7BF3F9D}"/>
              </c:ext>
            </c:extLst>
          </c:dPt>
          <c:dPt>
            <c:idx val="476"/>
            <c:invertIfNegative val="1"/>
            <c:bubble3D val="0"/>
            <c:spPr>
              <a:solidFill>
                <a:srgbClr val="7ECAC4"/>
              </a:solidFill>
            </c:spPr>
            <c:extLst>
              <c:ext xmlns:c16="http://schemas.microsoft.com/office/drawing/2014/chart" uri="{C3380CC4-5D6E-409C-BE32-E72D297353CC}">
                <c16:uniqueId val="{000003BB-7BE2-49F1-B47F-64DDA7BF3F9D}"/>
              </c:ext>
            </c:extLst>
          </c:dPt>
          <c:dPt>
            <c:idx val="477"/>
            <c:invertIfNegative val="1"/>
            <c:bubble3D val="0"/>
            <c:spPr>
              <a:solidFill>
                <a:srgbClr val="7ECAC4"/>
              </a:solidFill>
            </c:spPr>
            <c:extLst>
              <c:ext xmlns:c16="http://schemas.microsoft.com/office/drawing/2014/chart" uri="{C3380CC4-5D6E-409C-BE32-E72D297353CC}">
                <c16:uniqueId val="{000003BD-7BE2-49F1-B47F-64DDA7BF3F9D}"/>
              </c:ext>
            </c:extLst>
          </c:dPt>
          <c:dPt>
            <c:idx val="478"/>
            <c:invertIfNegative val="1"/>
            <c:bubble3D val="0"/>
            <c:spPr>
              <a:solidFill>
                <a:srgbClr val="7ECAC4"/>
              </a:solidFill>
            </c:spPr>
            <c:extLst>
              <c:ext xmlns:c16="http://schemas.microsoft.com/office/drawing/2014/chart" uri="{C3380CC4-5D6E-409C-BE32-E72D297353CC}">
                <c16:uniqueId val="{000003BF-7BE2-49F1-B47F-64DDA7BF3F9D}"/>
              </c:ext>
            </c:extLst>
          </c:dPt>
          <c:dPt>
            <c:idx val="479"/>
            <c:invertIfNegative val="1"/>
            <c:bubble3D val="0"/>
            <c:spPr>
              <a:solidFill>
                <a:srgbClr val="7ECAC4"/>
              </a:solidFill>
            </c:spPr>
            <c:extLst>
              <c:ext xmlns:c16="http://schemas.microsoft.com/office/drawing/2014/chart" uri="{C3380CC4-5D6E-409C-BE32-E72D297353CC}">
                <c16:uniqueId val="{000003C1-7BE2-49F1-B47F-64DDA7BF3F9D}"/>
              </c:ext>
            </c:extLst>
          </c:dPt>
          <c:dPt>
            <c:idx val="480"/>
            <c:invertIfNegative val="1"/>
            <c:bubble3D val="0"/>
            <c:spPr>
              <a:solidFill>
                <a:srgbClr val="7ECAC4"/>
              </a:solidFill>
            </c:spPr>
            <c:extLst>
              <c:ext xmlns:c16="http://schemas.microsoft.com/office/drawing/2014/chart" uri="{C3380CC4-5D6E-409C-BE32-E72D297353CC}">
                <c16:uniqueId val="{000003C3-7BE2-49F1-B47F-64DDA7BF3F9D}"/>
              </c:ext>
            </c:extLst>
          </c:dPt>
          <c:dPt>
            <c:idx val="481"/>
            <c:invertIfNegative val="1"/>
            <c:bubble3D val="0"/>
            <c:spPr>
              <a:solidFill>
                <a:srgbClr val="7ECAC4"/>
              </a:solidFill>
            </c:spPr>
            <c:extLst>
              <c:ext xmlns:c16="http://schemas.microsoft.com/office/drawing/2014/chart" uri="{C3380CC4-5D6E-409C-BE32-E72D297353CC}">
                <c16:uniqueId val="{000003C5-7BE2-49F1-B47F-64DDA7BF3F9D}"/>
              </c:ext>
            </c:extLst>
          </c:dPt>
          <c:dPt>
            <c:idx val="482"/>
            <c:invertIfNegative val="1"/>
            <c:bubble3D val="0"/>
            <c:spPr>
              <a:solidFill>
                <a:srgbClr val="7ECAC4"/>
              </a:solidFill>
            </c:spPr>
            <c:extLst>
              <c:ext xmlns:c16="http://schemas.microsoft.com/office/drawing/2014/chart" uri="{C3380CC4-5D6E-409C-BE32-E72D297353CC}">
                <c16:uniqueId val="{000003C7-7BE2-49F1-B47F-64DDA7BF3F9D}"/>
              </c:ext>
            </c:extLst>
          </c:dPt>
          <c:dPt>
            <c:idx val="483"/>
            <c:invertIfNegative val="1"/>
            <c:bubble3D val="0"/>
            <c:spPr>
              <a:solidFill>
                <a:srgbClr val="7ECAC4"/>
              </a:solidFill>
            </c:spPr>
            <c:extLst>
              <c:ext xmlns:c16="http://schemas.microsoft.com/office/drawing/2014/chart" uri="{C3380CC4-5D6E-409C-BE32-E72D297353CC}">
                <c16:uniqueId val="{000003C9-7BE2-49F1-B47F-64DDA7BF3F9D}"/>
              </c:ext>
            </c:extLst>
          </c:dPt>
          <c:dPt>
            <c:idx val="484"/>
            <c:invertIfNegative val="1"/>
            <c:bubble3D val="0"/>
            <c:spPr>
              <a:solidFill>
                <a:srgbClr val="7ECAC4"/>
              </a:solidFill>
            </c:spPr>
            <c:extLst>
              <c:ext xmlns:c16="http://schemas.microsoft.com/office/drawing/2014/chart" uri="{C3380CC4-5D6E-409C-BE32-E72D297353CC}">
                <c16:uniqueId val="{000003CB-7BE2-49F1-B47F-64DDA7BF3F9D}"/>
              </c:ext>
            </c:extLst>
          </c:dPt>
          <c:dPt>
            <c:idx val="485"/>
            <c:invertIfNegative val="1"/>
            <c:bubble3D val="0"/>
            <c:spPr>
              <a:solidFill>
                <a:srgbClr val="7ECAC4"/>
              </a:solidFill>
            </c:spPr>
            <c:extLst>
              <c:ext xmlns:c16="http://schemas.microsoft.com/office/drawing/2014/chart" uri="{C3380CC4-5D6E-409C-BE32-E72D297353CC}">
                <c16:uniqueId val="{000003CD-7BE2-49F1-B47F-64DDA7BF3F9D}"/>
              </c:ext>
            </c:extLst>
          </c:dPt>
          <c:dPt>
            <c:idx val="486"/>
            <c:invertIfNegative val="1"/>
            <c:bubble3D val="0"/>
            <c:spPr>
              <a:solidFill>
                <a:srgbClr val="7ECAC4"/>
              </a:solidFill>
            </c:spPr>
            <c:extLst>
              <c:ext xmlns:c16="http://schemas.microsoft.com/office/drawing/2014/chart" uri="{C3380CC4-5D6E-409C-BE32-E72D297353CC}">
                <c16:uniqueId val="{000003CF-7BE2-49F1-B47F-64DDA7BF3F9D}"/>
              </c:ext>
            </c:extLst>
          </c:dPt>
          <c:dPt>
            <c:idx val="487"/>
            <c:invertIfNegative val="1"/>
            <c:bubble3D val="0"/>
            <c:spPr>
              <a:solidFill>
                <a:srgbClr val="7ECAC4"/>
              </a:solidFill>
            </c:spPr>
            <c:extLst>
              <c:ext xmlns:c16="http://schemas.microsoft.com/office/drawing/2014/chart" uri="{C3380CC4-5D6E-409C-BE32-E72D297353CC}">
                <c16:uniqueId val="{000003D1-7BE2-49F1-B47F-64DDA7BF3F9D}"/>
              </c:ext>
            </c:extLst>
          </c:dPt>
          <c:dPt>
            <c:idx val="488"/>
            <c:invertIfNegative val="1"/>
            <c:bubble3D val="0"/>
            <c:spPr>
              <a:solidFill>
                <a:srgbClr val="7ECAC4"/>
              </a:solidFill>
            </c:spPr>
            <c:extLst>
              <c:ext xmlns:c16="http://schemas.microsoft.com/office/drawing/2014/chart" uri="{C3380CC4-5D6E-409C-BE32-E72D297353CC}">
                <c16:uniqueId val="{000003D3-7BE2-49F1-B47F-64DDA7BF3F9D}"/>
              </c:ext>
            </c:extLst>
          </c:dPt>
          <c:dPt>
            <c:idx val="489"/>
            <c:invertIfNegative val="1"/>
            <c:bubble3D val="0"/>
            <c:spPr>
              <a:solidFill>
                <a:srgbClr val="7ECAC4"/>
              </a:solidFill>
            </c:spPr>
            <c:extLst>
              <c:ext xmlns:c16="http://schemas.microsoft.com/office/drawing/2014/chart" uri="{C3380CC4-5D6E-409C-BE32-E72D297353CC}">
                <c16:uniqueId val="{000003D5-7BE2-49F1-B47F-64DDA7BF3F9D}"/>
              </c:ext>
            </c:extLst>
          </c:dPt>
          <c:dPt>
            <c:idx val="490"/>
            <c:invertIfNegative val="1"/>
            <c:bubble3D val="0"/>
            <c:spPr>
              <a:solidFill>
                <a:srgbClr val="7ECAC4"/>
              </a:solidFill>
            </c:spPr>
            <c:extLst>
              <c:ext xmlns:c16="http://schemas.microsoft.com/office/drawing/2014/chart" uri="{C3380CC4-5D6E-409C-BE32-E72D297353CC}">
                <c16:uniqueId val="{000003D7-7BE2-49F1-B47F-64DDA7BF3F9D}"/>
              </c:ext>
            </c:extLst>
          </c:dPt>
          <c:dPt>
            <c:idx val="491"/>
            <c:invertIfNegative val="1"/>
            <c:bubble3D val="0"/>
            <c:spPr>
              <a:solidFill>
                <a:srgbClr val="7ECAC4"/>
              </a:solidFill>
            </c:spPr>
            <c:extLst>
              <c:ext xmlns:c16="http://schemas.microsoft.com/office/drawing/2014/chart" uri="{C3380CC4-5D6E-409C-BE32-E72D297353CC}">
                <c16:uniqueId val="{000003D9-7BE2-49F1-B47F-64DDA7BF3F9D}"/>
              </c:ext>
            </c:extLst>
          </c:dPt>
          <c:dPt>
            <c:idx val="492"/>
            <c:invertIfNegative val="1"/>
            <c:bubble3D val="0"/>
            <c:spPr>
              <a:solidFill>
                <a:srgbClr val="7ECAC4"/>
              </a:solidFill>
            </c:spPr>
            <c:extLst>
              <c:ext xmlns:c16="http://schemas.microsoft.com/office/drawing/2014/chart" uri="{C3380CC4-5D6E-409C-BE32-E72D297353CC}">
                <c16:uniqueId val="{000003DB-7BE2-49F1-B47F-64DDA7BF3F9D}"/>
              </c:ext>
            </c:extLst>
          </c:dPt>
          <c:dPt>
            <c:idx val="493"/>
            <c:invertIfNegative val="1"/>
            <c:bubble3D val="0"/>
            <c:spPr>
              <a:solidFill>
                <a:srgbClr val="7ECAC4"/>
              </a:solidFill>
            </c:spPr>
            <c:extLst>
              <c:ext xmlns:c16="http://schemas.microsoft.com/office/drawing/2014/chart" uri="{C3380CC4-5D6E-409C-BE32-E72D297353CC}">
                <c16:uniqueId val="{000003DD-7BE2-49F1-B47F-64DDA7BF3F9D}"/>
              </c:ext>
            </c:extLst>
          </c:dPt>
          <c:dPt>
            <c:idx val="494"/>
            <c:invertIfNegative val="1"/>
            <c:bubble3D val="0"/>
            <c:spPr>
              <a:solidFill>
                <a:srgbClr val="7ECAC4"/>
              </a:solidFill>
            </c:spPr>
            <c:extLst>
              <c:ext xmlns:c16="http://schemas.microsoft.com/office/drawing/2014/chart" uri="{C3380CC4-5D6E-409C-BE32-E72D297353CC}">
                <c16:uniqueId val="{000003DF-7BE2-49F1-B47F-64DDA7BF3F9D}"/>
              </c:ext>
            </c:extLst>
          </c:dPt>
          <c:dPt>
            <c:idx val="495"/>
            <c:invertIfNegative val="1"/>
            <c:bubble3D val="0"/>
            <c:spPr>
              <a:solidFill>
                <a:srgbClr val="7ECAC4"/>
              </a:solidFill>
            </c:spPr>
            <c:extLst>
              <c:ext xmlns:c16="http://schemas.microsoft.com/office/drawing/2014/chart" uri="{C3380CC4-5D6E-409C-BE32-E72D297353CC}">
                <c16:uniqueId val="{000003E1-7BE2-49F1-B47F-64DDA7BF3F9D}"/>
              </c:ext>
            </c:extLst>
          </c:dPt>
          <c:dPt>
            <c:idx val="496"/>
            <c:invertIfNegative val="1"/>
            <c:bubble3D val="0"/>
            <c:spPr>
              <a:solidFill>
                <a:srgbClr val="7ECAC4"/>
              </a:solidFill>
            </c:spPr>
            <c:extLst>
              <c:ext xmlns:c16="http://schemas.microsoft.com/office/drawing/2014/chart" uri="{C3380CC4-5D6E-409C-BE32-E72D297353CC}">
                <c16:uniqueId val="{000003E3-7BE2-49F1-B47F-64DDA7BF3F9D}"/>
              </c:ext>
            </c:extLst>
          </c:dPt>
          <c:dPt>
            <c:idx val="497"/>
            <c:invertIfNegative val="1"/>
            <c:bubble3D val="0"/>
            <c:spPr>
              <a:solidFill>
                <a:srgbClr val="7ECAC4"/>
              </a:solidFill>
            </c:spPr>
            <c:extLst>
              <c:ext xmlns:c16="http://schemas.microsoft.com/office/drawing/2014/chart" uri="{C3380CC4-5D6E-409C-BE32-E72D297353CC}">
                <c16:uniqueId val="{000003E5-7BE2-49F1-B47F-64DDA7BF3F9D}"/>
              </c:ext>
            </c:extLst>
          </c:dPt>
          <c:dPt>
            <c:idx val="498"/>
            <c:invertIfNegative val="1"/>
            <c:bubble3D val="0"/>
            <c:spPr>
              <a:solidFill>
                <a:srgbClr val="7ECAC4"/>
              </a:solidFill>
            </c:spPr>
            <c:extLst>
              <c:ext xmlns:c16="http://schemas.microsoft.com/office/drawing/2014/chart" uri="{C3380CC4-5D6E-409C-BE32-E72D297353CC}">
                <c16:uniqueId val="{000003E7-7BE2-49F1-B47F-64DDA7BF3F9D}"/>
              </c:ext>
            </c:extLst>
          </c:dPt>
          <c:dPt>
            <c:idx val="499"/>
            <c:invertIfNegative val="1"/>
            <c:bubble3D val="0"/>
            <c:spPr>
              <a:solidFill>
                <a:srgbClr val="7ECAC4"/>
              </a:solidFill>
            </c:spPr>
            <c:extLst>
              <c:ext xmlns:c16="http://schemas.microsoft.com/office/drawing/2014/chart" uri="{C3380CC4-5D6E-409C-BE32-E72D297353CC}">
                <c16:uniqueId val="{000003E9-7BE2-49F1-B47F-64DDA7BF3F9D}"/>
              </c:ext>
            </c:extLst>
          </c:dPt>
          <c:dPt>
            <c:idx val="500"/>
            <c:invertIfNegative val="1"/>
            <c:bubble3D val="0"/>
            <c:spPr>
              <a:solidFill>
                <a:srgbClr val="7ECAC4"/>
              </a:solidFill>
            </c:spPr>
            <c:extLst>
              <c:ext xmlns:c16="http://schemas.microsoft.com/office/drawing/2014/chart" uri="{C3380CC4-5D6E-409C-BE32-E72D297353CC}">
                <c16:uniqueId val="{000003EB-7BE2-49F1-B47F-64DDA7BF3F9D}"/>
              </c:ext>
            </c:extLst>
          </c:dPt>
          <c:dPt>
            <c:idx val="501"/>
            <c:invertIfNegative val="1"/>
            <c:bubble3D val="0"/>
            <c:spPr>
              <a:solidFill>
                <a:srgbClr val="7ECAC4"/>
              </a:solidFill>
            </c:spPr>
            <c:extLst>
              <c:ext xmlns:c16="http://schemas.microsoft.com/office/drawing/2014/chart" uri="{C3380CC4-5D6E-409C-BE32-E72D297353CC}">
                <c16:uniqueId val="{000003ED-7BE2-49F1-B47F-64DDA7BF3F9D}"/>
              </c:ext>
            </c:extLst>
          </c:dPt>
          <c:dPt>
            <c:idx val="502"/>
            <c:invertIfNegative val="1"/>
            <c:bubble3D val="0"/>
            <c:spPr>
              <a:solidFill>
                <a:srgbClr val="7ECAC4"/>
              </a:solidFill>
            </c:spPr>
            <c:extLst>
              <c:ext xmlns:c16="http://schemas.microsoft.com/office/drawing/2014/chart" uri="{C3380CC4-5D6E-409C-BE32-E72D297353CC}">
                <c16:uniqueId val="{000003EF-7BE2-49F1-B47F-64DDA7BF3F9D}"/>
              </c:ext>
            </c:extLst>
          </c:dPt>
          <c:dPt>
            <c:idx val="503"/>
            <c:invertIfNegative val="1"/>
            <c:bubble3D val="0"/>
            <c:spPr>
              <a:solidFill>
                <a:srgbClr val="7ECAC4"/>
              </a:solidFill>
            </c:spPr>
            <c:extLst>
              <c:ext xmlns:c16="http://schemas.microsoft.com/office/drawing/2014/chart" uri="{C3380CC4-5D6E-409C-BE32-E72D297353CC}">
                <c16:uniqueId val="{000003F1-7BE2-49F1-B47F-64DDA7BF3F9D}"/>
              </c:ext>
            </c:extLst>
          </c:dPt>
          <c:dPt>
            <c:idx val="504"/>
            <c:invertIfNegative val="1"/>
            <c:bubble3D val="0"/>
            <c:spPr>
              <a:solidFill>
                <a:srgbClr val="7ECAC4"/>
              </a:solidFill>
            </c:spPr>
            <c:extLst>
              <c:ext xmlns:c16="http://schemas.microsoft.com/office/drawing/2014/chart" uri="{C3380CC4-5D6E-409C-BE32-E72D297353CC}">
                <c16:uniqueId val="{000003F3-7BE2-49F1-B47F-64DDA7BF3F9D}"/>
              </c:ext>
            </c:extLst>
          </c:dPt>
          <c:dPt>
            <c:idx val="505"/>
            <c:invertIfNegative val="1"/>
            <c:bubble3D val="0"/>
            <c:spPr>
              <a:solidFill>
                <a:srgbClr val="7ECAC4"/>
              </a:solidFill>
            </c:spPr>
            <c:extLst>
              <c:ext xmlns:c16="http://schemas.microsoft.com/office/drawing/2014/chart" uri="{C3380CC4-5D6E-409C-BE32-E72D297353CC}">
                <c16:uniqueId val="{000003F5-7BE2-49F1-B47F-64DDA7BF3F9D}"/>
              </c:ext>
            </c:extLst>
          </c:dPt>
          <c:dPt>
            <c:idx val="506"/>
            <c:invertIfNegative val="1"/>
            <c:bubble3D val="0"/>
            <c:spPr>
              <a:solidFill>
                <a:srgbClr val="7ECAC4"/>
              </a:solidFill>
            </c:spPr>
            <c:extLst>
              <c:ext xmlns:c16="http://schemas.microsoft.com/office/drawing/2014/chart" uri="{C3380CC4-5D6E-409C-BE32-E72D297353CC}">
                <c16:uniqueId val="{000003F7-7BE2-49F1-B47F-64DDA7BF3F9D}"/>
              </c:ext>
            </c:extLst>
          </c:dPt>
          <c:dPt>
            <c:idx val="507"/>
            <c:invertIfNegative val="1"/>
            <c:bubble3D val="0"/>
            <c:spPr>
              <a:solidFill>
                <a:srgbClr val="7ECAC4"/>
              </a:solidFill>
            </c:spPr>
            <c:extLst>
              <c:ext xmlns:c16="http://schemas.microsoft.com/office/drawing/2014/chart" uri="{C3380CC4-5D6E-409C-BE32-E72D297353CC}">
                <c16:uniqueId val="{000003F9-7BE2-49F1-B47F-64DDA7BF3F9D}"/>
              </c:ext>
            </c:extLst>
          </c:dPt>
          <c:dPt>
            <c:idx val="508"/>
            <c:invertIfNegative val="1"/>
            <c:bubble3D val="0"/>
            <c:spPr>
              <a:solidFill>
                <a:srgbClr val="7ECAC4"/>
              </a:solidFill>
            </c:spPr>
            <c:extLst>
              <c:ext xmlns:c16="http://schemas.microsoft.com/office/drawing/2014/chart" uri="{C3380CC4-5D6E-409C-BE32-E72D297353CC}">
                <c16:uniqueId val="{000003FB-7BE2-49F1-B47F-64DDA7BF3F9D}"/>
              </c:ext>
            </c:extLst>
          </c:dPt>
          <c:dPt>
            <c:idx val="509"/>
            <c:invertIfNegative val="1"/>
            <c:bubble3D val="0"/>
            <c:spPr>
              <a:solidFill>
                <a:srgbClr val="7ECAC4"/>
              </a:solidFill>
            </c:spPr>
            <c:extLst>
              <c:ext xmlns:c16="http://schemas.microsoft.com/office/drawing/2014/chart" uri="{C3380CC4-5D6E-409C-BE32-E72D297353CC}">
                <c16:uniqueId val="{000003FD-7BE2-49F1-B47F-64DDA7BF3F9D}"/>
              </c:ext>
            </c:extLst>
          </c:dPt>
          <c:dPt>
            <c:idx val="510"/>
            <c:invertIfNegative val="1"/>
            <c:bubble3D val="0"/>
            <c:spPr>
              <a:solidFill>
                <a:srgbClr val="7ECAC4"/>
              </a:solidFill>
            </c:spPr>
            <c:extLst>
              <c:ext xmlns:c16="http://schemas.microsoft.com/office/drawing/2014/chart" uri="{C3380CC4-5D6E-409C-BE32-E72D297353CC}">
                <c16:uniqueId val="{000003FF-7BE2-49F1-B47F-64DDA7BF3F9D}"/>
              </c:ext>
            </c:extLst>
          </c:dPt>
          <c:dPt>
            <c:idx val="511"/>
            <c:invertIfNegative val="1"/>
            <c:bubble3D val="0"/>
            <c:spPr>
              <a:solidFill>
                <a:srgbClr val="7ECAC4"/>
              </a:solidFill>
            </c:spPr>
            <c:extLst>
              <c:ext xmlns:c16="http://schemas.microsoft.com/office/drawing/2014/chart" uri="{C3380CC4-5D6E-409C-BE32-E72D297353CC}">
                <c16:uniqueId val="{00000401-7BE2-49F1-B47F-64DDA7BF3F9D}"/>
              </c:ext>
            </c:extLst>
          </c:dPt>
          <c:dPt>
            <c:idx val="512"/>
            <c:invertIfNegative val="1"/>
            <c:bubble3D val="0"/>
            <c:spPr>
              <a:solidFill>
                <a:srgbClr val="7ECAC4"/>
              </a:solidFill>
            </c:spPr>
            <c:extLst>
              <c:ext xmlns:c16="http://schemas.microsoft.com/office/drawing/2014/chart" uri="{C3380CC4-5D6E-409C-BE32-E72D297353CC}">
                <c16:uniqueId val="{00000403-7BE2-49F1-B47F-64DDA7BF3F9D}"/>
              </c:ext>
            </c:extLst>
          </c:dPt>
          <c:dPt>
            <c:idx val="513"/>
            <c:invertIfNegative val="1"/>
            <c:bubble3D val="0"/>
            <c:spPr>
              <a:solidFill>
                <a:srgbClr val="7ECAC4"/>
              </a:solidFill>
            </c:spPr>
            <c:extLst>
              <c:ext xmlns:c16="http://schemas.microsoft.com/office/drawing/2014/chart" uri="{C3380CC4-5D6E-409C-BE32-E72D297353CC}">
                <c16:uniqueId val="{00000405-7BE2-49F1-B47F-64DDA7BF3F9D}"/>
              </c:ext>
            </c:extLst>
          </c:dPt>
          <c:dPt>
            <c:idx val="514"/>
            <c:invertIfNegative val="1"/>
            <c:bubble3D val="0"/>
            <c:spPr>
              <a:solidFill>
                <a:srgbClr val="7ECAC4"/>
              </a:solidFill>
            </c:spPr>
            <c:extLst>
              <c:ext xmlns:c16="http://schemas.microsoft.com/office/drawing/2014/chart" uri="{C3380CC4-5D6E-409C-BE32-E72D297353CC}">
                <c16:uniqueId val="{00000407-7BE2-49F1-B47F-64DDA7BF3F9D}"/>
              </c:ext>
            </c:extLst>
          </c:dPt>
          <c:dPt>
            <c:idx val="515"/>
            <c:invertIfNegative val="1"/>
            <c:bubble3D val="0"/>
            <c:spPr>
              <a:solidFill>
                <a:srgbClr val="7ECAC4"/>
              </a:solidFill>
            </c:spPr>
            <c:extLst>
              <c:ext xmlns:c16="http://schemas.microsoft.com/office/drawing/2014/chart" uri="{C3380CC4-5D6E-409C-BE32-E72D297353CC}">
                <c16:uniqueId val="{00000409-7BE2-49F1-B47F-64DDA7BF3F9D}"/>
              </c:ext>
            </c:extLst>
          </c:dPt>
          <c:dPt>
            <c:idx val="516"/>
            <c:invertIfNegative val="1"/>
            <c:bubble3D val="0"/>
            <c:spPr>
              <a:solidFill>
                <a:srgbClr val="7ECAC4"/>
              </a:solidFill>
            </c:spPr>
            <c:extLst>
              <c:ext xmlns:c16="http://schemas.microsoft.com/office/drawing/2014/chart" uri="{C3380CC4-5D6E-409C-BE32-E72D297353CC}">
                <c16:uniqueId val="{0000040B-7BE2-49F1-B47F-64DDA7BF3F9D}"/>
              </c:ext>
            </c:extLst>
          </c:dPt>
          <c:dPt>
            <c:idx val="517"/>
            <c:invertIfNegative val="1"/>
            <c:bubble3D val="0"/>
            <c:spPr>
              <a:solidFill>
                <a:srgbClr val="7ECAC4"/>
              </a:solidFill>
            </c:spPr>
            <c:extLst>
              <c:ext xmlns:c16="http://schemas.microsoft.com/office/drawing/2014/chart" uri="{C3380CC4-5D6E-409C-BE32-E72D297353CC}">
                <c16:uniqueId val="{0000040D-7BE2-49F1-B47F-64DDA7BF3F9D}"/>
              </c:ext>
            </c:extLst>
          </c:dPt>
          <c:dPt>
            <c:idx val="518"/>
            <c:invertIfNegative val="1"/>
            <c:bubble3D val="0"/>
            <c:spPr>
              <a:solidFill>
                <a:srgbClr val="7ECAC4"/>
              </a:solidFill>
            </c:spPr>
            <c:extLst>
              <c:ext xmlns:c16="http://schemas.microsoft.com/office/drawing/2014/chart" uri="{C3380CC4-5D6E-409C-BE32-E72D297353CC}">
                <c16:uniqueId val="{0000040F-7BE2-49F1-B47F-64DDA7BF3F9D}"/>
              </c:ext>
            </c:extLst>
          </c:dPt>
          <c:dPt>
            <c:idx val="519"/>
            <c:invertIfNegative val="1"/>
            <c:bubble3D val="0"/>
            <c:spPr>
              <a:solidFill>
                <a:srgbClr val="7ECAC4"/>
              </a:solidFill>
            </c:spPr>
            <c:extLst>
              <c:ext xmlns:c16="http://schemas.microsoft.com/office/drawing/2014/chart" uri="{C3380CC4-5D6E-409C-BE32-E72D297353CC}">
                <c16:uniqueId val="{00000411-7BE2-49F1-B47F-64DDA7BF3F9D}"/>
              </c:ext>
            </c:extLst>
          </c:dPt>
          <c:dPt>
            <c:idx val="520"/>
            <c:invertIfNegative val="1"/>
            <c:bubble3D val="0"/>
            <c:spPr>
              <a:solidFill>
                <a:srgbClr val="7ECAC4"/>
              </a:solidFill>
            </c:spPr>
            <c:extLst>
              <c:ext xmlns:c16="http://schemas.microsoft.com/office/drawing/2014/chart" uri="{C3380CC4-5D6E-409C-BE32-E72D297353CC}">
                <c16:uniqueId val="{00000413-7BE2-49F1-B47F-64DDA7BF3F9D}"/>
              </c:ext>
            </c:extLst>
          </c:dPt>
          <c:dPt>
            <c:idx val="521"/>
            <c:invertIfNegative val="1"/>
            <c:bubble3D val="0"/>
            <c:spPr>
              <a:solidFill>
                <a:srgbClr val="7ECAC4"/>
              </a:solidFill>
            </c:spPr>
            <c:extLst>
              <c:ext xmlns:c16="http://schemas.microsoft.com/office/drawing/2014/chart" uri="{C3380CC4-5D6E-409C-BE32-E72D297353CC}">
                <c16:uniqueId val="{00000415-7BE2-49F1-B47F-64DDA7BF3F9D}"/>
              </c:ext>
            </c:extLst>
          </c:dPt>
          <c:dPt>
            <c:idx val="522"/>
            <c:invertIfNegative val="1"/>
            <c:bubble3D val="0"/>
            <c:spPr>
              <a:solidFill>
                <a:srgbClr val="7ECAC4"/>
              </a:solidFill>
            </c:spPr>
            <c:extLst>
              <c:ext xmlns:c16="http://schemas.microsoft.com/office/drawing/2014/chart" uri="{C3380CC4-5D6E-409C-BE32-E72D297353CC}">
                <c16:uniqueId val="{00000417-7BE2-49F1-B47F-64DDA7BF3F9D}"/>
              </c:ext>
            </c:extLst>
          </c:dPt>
          <c:dPt>
            <c:idx val="523"/>
            <c:invertIfNegative val="1"/>
            <c:bubble3D val="0"/>
            <c:spPr>
              <a:solidFill>
                <a:srgbClr val="7ECAC4"/>
              </a:solidFill>
            </c:spPr>
            <c:extLst>
              <c:ext xmlns:c16="http://schemas.microsoft.com/office/drawing/2014/chart" uri="{C3380CC4-5D6E-409C-BE32-E72D297353CC}">
                <c16:uniqueId val="{00000419-7BE2-49F1-B47F-64DDA7BF3F9D}"/>
              </c:ext>
            </c:extLst>
          </c:dPt>
          <c:dPt>
            <c:idx val="524"/>
            <c:invertIfNegative val="1"/>
            <c:bubble3D val="0"/>
            <c:spPr>
              <a:solidFill>
                <a:srgbClr val="7ECAC4"/>
              </a:solidFill>
            </c:spPr>
            <c:extLst>
              <c:ext xmlns:c16="http://schemas.microsoft.com/office/drawing/2014/chart" uri="{C3380CC4-5D6E-409C-BE32-E72D297353CC}">
                <c16:uniqueId val="{0000041B-7BE2-49F1-B47F-64DDA7BF3F9D}"/>
              </c:ext>
            </c:extLst>
          </c:dPt>
          <c:dPt>
            <c:idx val="525"/>
            <c:invertIfNegative val="1"/>
            <c:bubble3D val="0"/>
            <c:spPr>
              <a:solidFill>
                <a:srgbClr val="7ECAC4"/>
              </a:solidFill>
            </c:spPr>
            <c:extLst>
              <c:ext xmlns:c16="http://schemas.microsoft.com/office/drawing/2014/chart" uri="{C3380CC4-5D6E-409C-BE32-E72D297353CC}">
                <c16:uniqueId val="{0000041D-7BE2-49F1-B47F-64DDA7BF3F9D}"/>
              </c:ext>
            </c:extLst>
          </c:dPt>
          <c:dPt>
            <c:idx val="526"/>
            <c:invertIfNegative val="1"/>
            <c:bubble3D val="0"/>
            <c:spPr>
              <a:solidFill>
                <a:srgbClr val="7ECAC4"/>
              </a:solidFill>
            </c:spPr>
            <c:extLst>
              <c:ext xmlns:c16="http://schemas.microsoft.com/office/drawing/2014/chart" uri="{C3380CC4-5D6E-409C-BE32-E72D297353CC}">
                <c16:uniqueId val="{0000041F-7BE2-49F1-B47F-64DDA7BF3F9D}"/>
              </c:ext>
            </c:extLst>
          </c:dPt>
          <c:dPt>
            <c:idx val="527"/>
            <c:invertIfNegative val="1"/>
            <c:bubble3D val="0"/>
            <c:spPr>
              <a:solidFill>
                <a:srgbClr val="7ECAC4"/>
              </a:solidFill>
            </c:spPr>
            <c:extLst>
              <c:ext xmlns:c16="http://schemas.microsoft.com/office/drawing/2014/chart" uri="{C3380CC4-5D6E-409C-BE32-E72D297353CC}">
                <c16:uniqueId val="{00000421-7BE2-49F1-B47F-64DDA7BF3F9D}"/>
              </c:ext>
            </c:extLst>
          </c:dPt>
          <c:dPt>
            <c:idx val="528"/>
            <c:invertIfNegative val="1"/>
            <c:bubble3D val="0"/>
            <c:spPr>
              <a:solidFill>
                <a:srgbClr val="7ECAC4"/>
              </a:solidFill>
            </c:spPr>
            <c:extLst>
              <c:ext xmlns:c16="http://schemas.microsoft.com/office/drawing/2014/chart" uri="{C3380CC4-5D6E-409C-BE32-E72D297353CC}">
                <c16:uniqueId val="{00000423-7BE2-49F1-B47F-64DDA7BF3F9D}"/>
              </c:ext>
            </c:extLst>
          </c:dPt>
          <c:dPt>
            <c:idx val="529"/>
            <c:invertIfNegative val="1"/>
            <c:bubble3D val="0"/>
            <c:spPr>
              <a:solidFill>
                <a:srgbClr val="7ECAC4"/>
              </a:solidFill>
            </c:spPr>
            <c:extLst>
              <c:ext xmlns:c16="http://schemas.microsoft.com/office/drawing/2014/chart" uri="{C3380CC4-5D6E-409C-BE32-E72D297353CC}">
                <c16:uniqueId val="{00000425-7BE2-49F1-B47F-64DDA7BF3F9D}"/>
              </c:ext>
            </c:extLst>
          </c:dPt>
          <c:dPt>
            <c:idx val="530"/>
            <c:invertIfNegative val="1"/>
            <c:bubble3D val="0"/>
            <c:spPr>
              <a:solidFill>
                <a:srgbClr val="7ECAC4"/>
              </a:solidFill>
            </c:spPr>
            <c:extLst>
              <c:ext xmlns:c16="http://schemas.microsoft.com/office/drawing/2014/chart" uri="{C3380CC4-5D6E-409C-BE32-E72D297353CC}">
                <c16:uniqueId val="{00000427-7BE2-49F1-B47F-64DDA7BF3F9D}"/>
              </c:ext>
            </c:extLst>
          </c:dPt>
          <c:dPt>
            <c:idx val="531"/>
            <c:invertIfNegative val="1"/>
            <c:bubble3D val="0"/>
            <c:spPr>
              <a:solidFill>
                <a:srgbClr val="7ECAC4"/>
              </a:solidFill>
            </c:spPr>
            <c:extLst>
              <c:ext xmlns:c16="http://schemas.microsoft.com/office/drawing/2014/chart" uri="{C3380CC4-5D6E-409C-BE32-E72D297353CC}">
                <c16:uniqueId val="{00000429-7BE2-49F1-B47F-64DDA7BF3F9D}"/>
              </c:ext>
            </c:extLst>
          </c:dPt>
          <c:dPt>
            <c:idx val="532"/>
            <c:invertIfNegative val="1"/>
            <c:bubble3D val="0"/>
            <c:spPr>
              <a:solidFill>
                <a:srgbClr val="7ECAC4"/>
              </a:solidFill>
            </c:spPr>
            <c:extLst>
              <c:ext xmlns:c16="http://schemas.microsoft.com/office/drawing/2014/chart" uri="{C3380CC4-5D6E-409C-BE32-E72D297353CC}">
                <c16:uniqueId val="{0000042B-7BE2-49F1-B47F-64DDA7BF3F9D}"/>
              </c:ext>
            </c:extLst>
          </c:dPt>
          <c:dPt>
            <c:idx val="533"/>
            <c:invertIfNegative val="1"/>
            <c:bubble3D val="0"/>
            <c:spPr>
              <a:solidFill>
                <a:srgbClr val="7ECAC4"/>
              </a:solidFill>
            </c:spPr>
            <c:extLst>
              <c:ext xmlns:c16="http://schemas.microsoft.com/office/drawing/2014/chart" uri="{C3380CC4-5D6E-409C-BE32-E72D297353CC}">
                <c16:uniqueId val="{0000042D-7BE2-49F1-B47F-64DDA7BF3F9D}"/>
              </c:ext>
            </c:extLst>
          </c:dPt>
          <c:dPt>
            <c:idx val="534"/>
            <c:invertIfNegative val="1"/>
            <c:bubble3D val="0"/>
            <c:spPr>
              <a:solidFill>
                <a:srgbClr val="7ECAC4"/>
              </a:solidFill>
            </c:spPr>
            <c:extLst>
              <c:ext xmlns:c16="http://schemas.microsoft.com/office/drawing/2014/chart" uri="{C3380CC4-5D6E-409C-BE32-E72D297353CC}">
                <c16:uniqueId val="{0000042F-7BE2-49F1-B47F-64DDA7BF3F9D}"/>
              </c:ext>
            </c:extLst>
          </c:dPt>
          <c:dPt>
            <c:idx val="535"/>
            <c:invertIfNegative val="1"/>
            <c:bubble3D val="0"/>
            <c:spPr>
              <a:solidFill>
                <a:srgbClr val="7ECAC4"/>
              </a:solidFill>
            </c:spPr>
            <c:extLst>
              <c:ext xmlns:c16="http://schemas.microsoft.com/office/drawing/2014/chart" uri="{C3380CC4-5D6E-409C-BE32-E72D297353CC}">
                <c16:uniqueId val="{00000431-7BE2-49F1-B47F-64DDA7BF3F9D}"/>
              </c:ext>
            </c:extLst>
          </c:dPt>
          <c:dPt>
            <c:idx val="536"/>
            <c:invertIfNegative val="1"/>
            <c:bubble3D val="0"/>
            <c:spPr>
              <a:solidFill>
                <a:srgbClr val="7ECAC4"/>
              </a:solidFill>
            </c:spPr>
            <c:extLst>
              <c:ext xmlns:c16="http://schemas.microsoft.com/office/drawing/2014/chart" uri="{C3380CC4-5D6E-409C-BE32-E72D297353CC}">
                <c16:uniqueId val="{00000433-7BE2-49F1-B47F-64DDA7BF3F9D}"/>
              </c:ext>
            </c:extLst>
          </c:dPt>
          <c:dPt>
            <c:idx val="537"/>
            <c:invertIfNegative val="1"/>
            <c:bubble3D val="0"/>
            <c:spPr>
              <a:solidFill>
                <a:srgbClr val="7ECAC4"/>
              </a:solidFill>
            </c:spPr>
            <c:extLst>
              <c:ext xmlns:c16="http://schemas.microsoft.com/office/drawing/2014/chart" uri="{C3380CC4-5D6E-409C-BE32-E72D297353CC}">
                <c16:uniqueId val="{00000435-7BE2-49F1-B47F-64DDA7BF3F9D}"/>
              </c:ext>
            </c:extLst>
          </c:dPt>
          <c:dPt>
            <c:idx val="538"/>
            <c:invertIfNegative val="1"/>
            <c:bubble3D val="0"/>
            <c:spPr>
              <a:solidFill>
                <a:srgbClr val="7ECAC4"/>
              </a:solidFill>
            </c:spPr>
            <c:extLst>
              <c:ext xmlns:c16="http://schemas.microsoft.com/office/drawing/2014/chart" uri="{C3380CC4-5D6E-409C-BE32-E72D297353CC}">
                <c16:uniqueId val="{00000437-7BE2-49F1-B47F-64DDA7BF3F9D}"/>
              </c:ext>
            </c:extLst>
          </c:dPt>
          <c:dPt>
            <c:idx val="539"/>
            <c:invertIfNegative val="1"/>
            <c:bubble3D val="0"/>
            <c:spPr>
              <a:solidFill>
                <a:srgbClr val="7ECAC4"/>
              </a:solidFill>
            </c:spPr>
            <c:extLst>
              <c:ext xmlns:c16="http://schemas.microsoft.com/office/drawing/2014/chart" uri="{C3380CC4-5D6E-409C-BE32-E72D297353CC}">
                <c16:uniqueId val="{00000439-7BE2-49F1-B47F-64DDA7BF3F9D}"/>
              </c:ext>
            </c:extLst>
          </c:dPt>
          <c:dPt>
            <c:idx val="540"/>
            <c:invertIfNegative val="1"/>
            <c:bubble3D val="0"/>
            <c:spPr>
              <a:solidFill>
                <a:srgbClr val="7ECAC4"/>
              </a:solidFill>
            </c:spPr>
            <c:extLst>
              <c:ext xmlns:c16="http://schemas.microsoft.com/office/drawing/2014/chart" uri="{C3380CC4-5D6E-409C-BE32-E72D297353CC}">
                <c16:uniqueId val="{0000043B-7BE2-49F1-B47F-64DDA7BF3F9D}"/>
              </c:ext>
            </c:extLst>
          </c:dPt>
          <c:dPt>
            <c:idx val="541"/>
            <c:invertIfNegative val="1"/>
            <c:bubble3D val="0"/>
            <c:spPr>
              <a:solidFill>
                <a:srgbClr val="7ECAC4"/>
              </a:solidFill>
            </c:spPr>
            <c:extLst>
              <c:ext xmlns:c16="http://schemas.microsoft.com/office/drawing/2014/chart" uri="{C3380CC4-5D6E-409C-BE32-E72D297353CC}">
                <c16:uniqueId val="{0000043D-7BE2-49F1-B47F-64DDA7BF3F9D}"/>
              </c:ext>
            </c:extLst>
          </c:dPt>
          <c:dPt>
            <c:idx val="542"/>
            <c:invertIfNegative val="1"/>
            <c:bubble3D val="0"/>
            <c:spPr>
              <a:solidFill>
                <a:srgbClr val="7ECAC4"/>
              </a:solidFill>
            </c:spPr>
            <c:extLst>
              <c:ext xmlns:c16="http://schemas.microsoft.com/office/drawing/2014/chart" uri="{C3380CC4-5D6E-409C-BE32-E72D297353CC}">
                <c16:uniqueId val="{0000043F-7BE2-49F1-B47F-64DDA7BF3F9D}"/>
              </c:ext>
            </c:extLst>
          </c:dPt>
          <c:dPt>
            <c:idx val="543"/>
            <c:invertIfNegative val="1"/>
            <c:bubble3D val="0"/>
            <c:spPr>
              <a:solidFill>
                <a:srgbClr val="7ECAC4"/>
              </a:solidFill>
            </c:spPr>
            <c:extLst>
              <c:ext xmlns:c16="http://schemas.microsoft.com/office/drawing/2014/chart" uri="{C3380CC4-5D6E-409C-BE32-E72D297353CC}">
                <c16:uniqueId val="{00000441-7BE2-49F1-B47F-64DDA7BF3F9D}"/>
              </c:ext>
            </c:extLst>
          </c:dPt>
          <c:dPt>
            <c:idx val="544"/>
            <c:invertIfNegative val="1"/>
            <c:bubble3D val="0"/>
            <c:spPr>
              <a:solidFill>
                <a:srgbClr val="7ECAC4"/>
              </a:solidFill>
            </c:spPr>
            <c:extLst>
              <c:ext xmlns:c16="http://schemas.microsoft.com/office/drawing/2014/chart" uri="{C3380CC4-5D6E-409C-BE32-E72D297353CC}">
                <c16:uniqueId val="{00000443-7BE2-49F1-B47F-64DDA7BF3F9D}"/>
              </c:ext>
            </c:extLst>
          </c:dPt>
          <c:dPt>
            <c:idx val="545"/>
            <c:invertIfNegative val="1"/>
            <c:bubble3D val="0"/>
            <c:spPr>
              <a:solidFill>
                <a:srgbClr val="7ECAC4"/>
              </a:solidFill>
            </c:spPr>
            <c:extLst>
              <c:ext xmlns:c16="http://schemas.microsoft.com/office/drawing/2014/chart" uri="{C3380CC4-5D6E-409C-BE32-E72D297353CC}">
                <c16:uniqueId val="{00000445-7BE2-49F1-B47F-64DDA7BF3F9D}"/>
              </c:ext>
            </c:extLst>
          </c:dPt>
          <c:dPt>
            <c:idx val="546"/>
            <c:invertIfNegative val="1"/>
            <c:bubble3D val="0"/>
            <c:spPr>
              <a:solidFill>
                <a:srgbClr val="7ECAC4"/>
              </a:solidFill>
            </c:spPr>
            <c:extLst>
              <c:ext xmlns:c16="http://schemas.microsoft.com/office/drawing/2014/chart" uri="{C3380CC4-5D6E-409C-BE32-E72D297353CC}">
                <c16:uniqueId val="{00000447-7BE2-49F1-B47F-64DDA7BF3F9D}"/>
              </c:ext>
            </c:extLst>
          </c:dPt>
          <c:dPt>
            <c:idx val="547"/>
            <c:invertIfNegative val="1"/>
            <c:bubble3D val="0"/>
            <c:spPr>
              <a:solidFill>
                <a:srgbClr val="7ECAC4"/>
              </a:solidFill>
            </c:spPr>
            <c:extLst>
              <c:ext xmlns:c16="http://schemas.microsoft.com/office/drawing/2014/chart" uri="{C3380CC4-5D6E-409C-BE32-E72D297353CC}">
                <c16:uniqueId val="{00000449-7BE2-49F1-B47F-64DDA7BF3F9D}"/>
              </c:ext>
            </c:extLst>
          </c:dPt>
          <c:dPt>
            <c:idx val="548"/>
            <c:invertIfNegative val="1"/>
            <c:bubble3D val="0"/>
            <c:spPr>
              <a:solidFill>
                <a:srgbClr val="7ECAC4"/>
              </a:solidFill>
            </c:spPr>
            <c:extLst>
              <c:ext xmlns:c16="http://schemas.microsoft.com/office/drawing/2014/chart" uri="{C3380CC4-5D6E-409C-BE32-E72D297353CC}">
                <c16:uniqueId val="{0000044B-7BE2-49F1-B47F-64DDA7BF3F9D}"/>
              </c:ext>
            </c:extLst>
          </c:dPt>
          <c:dPt>
            <c:idx val="549"/>
            <c:invertIfNegative val="1"/>
            <c:bubble3D val="0"/>
            <c:spPr>
              <a:solidFill>
                <a:srgbClr val="7ECAC4"/>
              </a:solidFill>
            </c:spPr>
            <c:extLst>
              <c:ext xmlns:c16="http://schemas.microsoft.com/office/drawing/2014/chart" uri="{C3380CC4-5D6E-409C-BE32-E72D297353CC}">
                <c16:uniqueId val="{0000044D-7BE2-49F1-B47F-64DDA7BF3F9D}"/>
              </c:ext>
            </c:extLst>
          </c:dPt>
          <c:dPt>
            <c:idx val="550"/>
            <c:invertIfNegative val="1"/>
            <c:bubble3D val="0"/>
            <c:spPr>
              <a:solidFill>
                <a:srgbClr val="7ECAC4"/>
              </a:solidFill>
            </c:spPr>
            <c:extLst>
              <c:ext xmlns:c16="http://schemas.microsoft.com/office/drawing/2014/chart" uri="{C3380CC4-5D6E-409C-BE32-E72D297353CC}">
                <c16:uniqueId val="{0000044F-7BE2-49F1-B47F-64DDA7BF3F9D}"/>
              </c:ext>
            </c:extLst>
          </c:dPt>
          <c:dPt>
            <c:idx val="551"/>
            <c:invertIfNegative val="1"/>
            <c:bubble3D val="0"/>
            <c:spPr>
              <a:solidFill>
                <a:srgbClr val="7ECAC4"/>
              </a:solidFill>
            </c:spPr>
            <c:extLst>
              <c:ext xmlns:c16="http://schemas.microsoft.com/office/drawing/2014/chart" uri="{C3380CC4-5D6E-409C-BE32-E72D297353CC}">
                <c16:uniqueId val="{00000451-7BE2-49F1-B47F-64DDA7BF3F9D}"/>
              </c:ext>
            </c:extLst>
          </c:dPt>
          <c:dPt>
            <c:idx val="552"/>
            <c:invertIfNegative val="1"/>
            <c:bubble3D val="0"/>
            <c:spPr>
              <a:solidFill>
                <a:srgbClr val="7ECAC4"/>
              </a:solidFill>
            </c:spPr>
            <c:extLst>
              <c:ext xmlns:c16="http://schemas.microsoft.com/office/drawing/2014/chart" uri="{C3380CC4-5D6E-409C-BE32-E72D297353CC}">
                <c16:uniqueId val="{00000453-7BE2-49F1-B47F-64DDA7BF3F9D}"/>
              </c:ext>
            </c:extLst>
          </c:dPt>
          <c:dPt>
            <c:idx val="553"/>
            <c:invertIfNegative val="1"/>
            <c:bubble3D val="0"/>
            <c:spPr>
              <a:solidFill>
                <a:srgbClr val="7ECAC4"/>
              </a:solidFill>
            </c:spPr>
            <c:extLst>
              <c:ext xmlns:c16="http://schemas.microsoft.com/office/drawing/2014/chart" uri="{C3380CC4-5D6E-409C-BE32-E72D297353CC}">
                <c16:uniqueId val="{00000455-7BE2-49F1-B47F-64DDA7BF3F9D}"/>
              </c:ext>
            </c:extLst>
          </c:dPt>
          <c:dPt>
            <c:idx val="554"/>
            <c:invertIfNegative val="1"/>
            <c:bubble3D val="0"/>
            <c:spPr>
              <a:solidFill>
                <a:srgbClr val="7ECAC4"/>
              </a:solidFill>
            </c:spPr>
            <c:extLst>
              <c:ext xmlns:c16="http://schemas.microsoft.com/office/drawing/2014/chart" uri="{C3380CC4-5D6E-409C-BE32-E72D297353CC}">
                <c16:uniqueId val="{00000457-7BE2-49F1-B47F-64DDA7BF3F9D}"/>
              </c:ext>
            </c:extLst>
          </c:dPt>
          <c:dPt>
            <c:idx val="555"/>
            <c:invertIfNegative val="1"/>
            <c:bubble3D val="0"/>
            <c:spPr>
              <a:solidFill>
                <a:srgbClr val="7ECAC4"/>
              </a:solidFill>
            </c:spPr>
            <c:extLst>
              <c:ext xmlns:c16="http://schemas.microsoft.com/office/drawing/2014/chart" uri="{C3380CC4-5D6E-409C-BE32-E72D297353CC}">
                <c16:uniqueId val="{00000459-7BE2-49F1-B47F-64DDA7BF3F9D}"/>
              </c:ext>
            </c:extLst>
          </c:dPt>
          <c:dPt>
            <c:idx val="556"/>
            <c:invertIfNegative val="1"/>
            <c:bubble3D val="0"/>
            <c:spPr>
              <a:solidFill>
                <a:srgbClr val="7ECAC4"/>
              </a:solidFill>
            </c:spPr>
            <c:extLst>
              <c:ext xmlns:c16="http://schemas.microsoft.com/office/drawing/2014/chart" uri="{C3380CC4-5D6E-409C-BE32-E72D297353CC}">
                <c16:uniqueId val="{0000045B-7BE2-49F1-B47F-64DDA7BF3F9D}"/>
              </c:ext>
            </c:extLst>
          </c:dPt>
          <c:dPt>
            <c:idx val="557"/>
            <c:invertIfNegative val="1"/>
            <c:bubble3D val="0"/>
            <c:spPr>
              <a:solidFill>
                <a:srgbClr val="7ECAC4"/>
              </a:solidFill>
            </c:spPr>
            <c:extLst>
              <c:ext xmlns:c16="http://schemas.microsoft.com/office/drawing/2014/chart" uri="{C3380CC4-5D6E-409C-BE32-E72D297353CC}">
                <c16:uniqueId val="{0000045D-7BE2-49F1-B47F-64DDA7BF3F9D}"/>
              </c:ext>
            </c:extLst>
          </c:dPt>
          <c:dPt>
            <c:idx val="558"/>
            <c:invertIfNegative val="1"/>
            <c:bubble3D val="0"/>
            <c:spPr>
              <a:solidFill>
                <a:srgbClr val="7ECAC4"/>
              </a:solidFill>
            </c:spPr>
            <c:extLst>
              <c:ext xmlns:c16="http://schemas.microsoft.com/office/drawing/2014/chart" uri="{C3380CC4-5D6E-409C-BE32-E72D297353CC}">
                <c16:uniqueId val="{0000045F-7BE2-49F1-B47F-64DDA7BF3F9D}"/>
              </c:ext>
            </c:extLst>
          </c:dPt>
          <c:dPt>
            <c:idx val="559"/>
            <c:invertIfNegative val="1"/>
            <c:bubble3D val="0"/>
            <c:spPr>
              <a:solidFill>
                <a:srgbClr val="7ECAC4"/>
              </a:solidFill>
            </c:spPr>
            <c:extLst>
              <c:ext xmlns:c16="http://schemas.microsoft.com/office/drawing/2014/chart" uri="{C3380CC4-5D6E-409C-BE32-E72D297353CC}">
                <c16:uniqueId val="{00000461-7BE2-49F1-B47F-64DDA7BF3F9D}"/>
              </c:ext>
            </c:extLst>
          </c:dPt>
          <c:dPt>
            <c:idx val="560"/>
            <c:invertIfNegative val="1"/>
            <c:bubble3D val="0"/>
            <c:spPr>
              <a:solidFill>
                <a:srgbClr val="7ECAC4"/>
              </a:solidFill>
            </c:spPr>
            <c:extLst>
              <c:ext xmlns:c16="http://schemas.microsoft.com/office/drawing/2014/chart" uri="{C3380CC4-5D6E-409C-BE32-E72D297353CC}">
                <c16:uniqueId val="{00000463-7BE2-49F1-B47F-64DDA7BF3F9D}"/>
              </c:ext>
            </c:extLst>
          </c:dPt>
          <c:dPt>
            <c:idx val="561"/>
            <c:invertIfNegative val="1"/>
            <c:bubble3D val="0"/>
            <c:spPr>
              <a:solidFill>
                <a:srgbClr val="7ECAC4"/>
              </a:solidFill>
            </c:spPr>
            <c:extLst>
              <c:ext xmlns:c16="http://schemas.microsoft.com/office/drawing/2014/chart" uri="{C3380CC4-5D6E-409C-BE32-E72D297353CC}">
                <c16:uniqueId val="{00000465-7BE2-49F1-B47F-64DDA7BF3F9D}"/>
              </c:ext>
            </c:extLst>
          </c:dPt>
          <c:dPt>
            <c:idx val="562"/>
            <c:invertIfNegative val="1"/>
            <c:bubble3D val="0"/>
            <c:spPr>
              <a:solidFill>
                <a:srgbClr val="7ECAC4"/>
              </a:solidFill>
            </c:spPr>
            <c:extLst>
              <c:ext xmlns:c16="http://schemas.microsoft.com/office/drawing/2014/chart" uri="{C3380CC4-5D6E-409C-BE32-E72D297353CC}">
                <c16:uniqueId val="{00000467-7BE2-49F1-B47F-64DDA7BF3F9D}"/>
              </c:ext>
            </c:extLst>
          </c:dPt>
          <c:dPt>
            <c:idx val="563"/>
            <c:invertIfNegative val="1"/>
            <c:bubble3D val="0"/>
            <c:spPr>
              <a:solidFill>
                <a:srgbClr val="7ECAC4"/>
              </a:solidFill>
            </c:spPr>
            <c:extLst>
              <c:ext xmlns:c16="http://schemas.microsoft.com/office/drawing/2014/chart" uri="{C3380CC4-5D6E-409C-BE32-E72D297353CC}">
                <c16:uniqueId val="{00000469-7BE2-49F1-B47F-64DDA7BF3F9D}"/>
              </c:ext>
            </c:extLst>
          </c:dPt>
          <c:dPt>
            <c:idx val="564"/>
            <c:invertIfNegative val="1"/>
            <c:bubble3D val="0"/>
            <c:spPr>
              <a:solidFill>
                <a:srgbClr val="7ECAC4"/>
              </a:solidFill>
            </c:spPr>
            <c:extLst>
              <c:ext xmlns:c16="http://schemas.microsoft.com/office/drawing/2014/chart" uri="{C3380CC4-5D6E-409C-BE32-E72D297353CC}">
                <c16:uniqueId val="{0000046B-7BE2-49F1-B47F-64DDA7BF3F9D}"/>
              </c:ext>
            </c:extLst>
          </c:dPt>
          <c:dPt>
            <c:idx val="565"/>
            <c:invertIfNegative val="1"/>
            <c:bubble3D val="0"/>
            <c:spPr>
              <a:solidFill>
                <a:srgbClr val="7ECAC4"/>
              </a:solidFill>
            </c:spPr>
            <c:extLst>
              <c:ext xmlns:c16="http://schemas.microsoft.com/office/drawing/2014/chart" uri="{C3380CC4-5D6E-409C-BE32-E72D297353CC}">
                <c16:uniqueId val="{0000046D-7BE2-49F1-B47F-64DDA7BF3F9D}"/>
              </c:ext>
            </c:extLst>
          </c:dPt>
          <c:dPt>
            <c:idx val="566"/>
            <c:invertIfNegative val="1"/>
            <c:bubble3D val="0"/>
            <c:spPr>
              <a:solidFill>
                <a:srgbClr val="7ECAC4"/>
              </a:solidFill>
            </c:spPr>
            <c:extLst>
              <c:ext xmlns:c16="http://schemas.microsoft.com/office/drawing/2014/chart" uri="{C3380CC4-5D6E-409C-BE32-E72D297353CC}">
                <c16:uniqueId val="{0000046F-7BE2-49F1-B47F-64DDA7BF3F9D}"/>
              </c:ext>
            </c:extLst>
          </c:dPt>
          <c:dPt>
            <c:idx val="567"/>
            <c:invertIfNegative val="1"/>
            <c:bubble3D val="0"/>
            <c:spPr>
              <a:solidFill>
                <a:srgbClr val="7ECAC4"/>
              </a:solidFill>
            </c:spPr>
            <c:extLst>
              <c:ext xmlns:c16="http://schemas.microsoft.com/office/drawing/2014/chart" uri="{C3380CC4-5D6E-409C-BE32-E72D297353CC}">
                <c16:uniqueId val="{00000471-7BE2-49F1-B47F-64DDA7BF3F9D}"/>
              </c:ext>
            </c:extLst>
          </c:dPt>
          <c:dPt>
            <c:idx val="568"/>
            <c:invertIfNegative val="1"/>
            <c:bubble3D val="0"/>
            <c:spPr>
              <a:solidFill>
                <a:srgbClr val="7ECAC4"/>
              </a:solidFill>
            </c:spPr>
            <c:extLst>
              <c:ext xmlns:c16="http://schemas.microsoft.com/office/drawing/2014/chart" uri="{C3380CC4-5D6E-409C-BE32-E72D297353CC}">
                <c16:uniqueId val="{00000473-7BE2-49F1-B47F-64DDA7BF3F9D}"/>
              </c:ext>
            </c:extLst>
          </c:dPt>
          <c:dPt>
            <c:idx val="569"/>
            <c:invertIfNegative val="1"/>
            <c:bubble3D val="0"/>
            <c:spPr>
              <a:solidFill>
                <a:srgbClr val="7ECAC4"/>
              </a:solidFill>
            </c:spPr>
            <c:extLst>
              <c:ext xmlns:c16="http://schemas.microsoft.com/office/drawing/2014/chart" uri="{C3380CC4-5D6E-409C-BE32-E72D297353CC}">
                <c16:uniqueId val="{00000475-7BE2-49F1-B47F-64DDA7BF3F9D}"/>
              </c:ext>
            </c:extLst>
          </c:dPt>
          <c:dPt>
            <c:idx val="570"/>
            <c:invertIfNegative val="1"/>
            <c:bubble3D val="0"/>
            <c:spPr>
              <a:solidFill>
                <a:srgbClr val="7ECAC4"/>
              </a:solidFill>
            </c:spPr>
            <c:extLst>
              <c:ext xmlns:c16="http://schemas.microsoft.com/office/drawing/2014/chart" uri="{C3380CC4-5D6E-409C-BE32-E72D297353CC}">
                <c16:uniqueId val="{00000477-7BE2-49F1-B47F-64DDA7BF3F9D}"/>
              </c:ext>
            </c:extLst>
          </c:dPt>
          <c:dPt>
            <c:idx val="571"/>
            <c:invertIfNegative val="1"/>
            <c:bubble3D val="0"/>
            <c:spPr>
              <a:solidFill>
                <a:srgbClr val="7ECAC4"/>
              </a:solidFill>
            </c:spPr>
            <c:extLst>
              <c:ext xmlns:c16="http://schemas.microsoft.com/office/drawing/2014/chart" uri="{C3380CC4-5D6E-409C-BE32-E72D297353CC}">
                <c16:uniqueId val="{00000479-7BE2-49F1-B47F-64DDA7BF3F9D}"/>
              </c:ext>
            </c:extLst>
          </c:dPt>
          <c:dPt>
            <c:idx val="572"/>
            <c:invertIfNegative val="1"/>
            <c:bubble3D val="0"/>
            <c:spPr>
              <a:solidFill>
                <a:srgbClr val="7ECAC4"/>
              </a:solidFill>
            </c:spPr>
            <c:extLst>
              <c:ext xmlns:c16="http://schemas.microsoft.com/office/drawing/2014/chart" uri="{C3380CC4-5D6E-409C-BE32-E72D297353CC}">
                <c16:uniqueId val="{0000047B-7BE2-49F1-B47F-64DDA7BF3F9D}"/>
              </c:ext>
            </c:extLst>
          </c:dPt>
          <c:dPt>
            <c:idx val="573"/>
            <c:invertIfNegative val="1"/>
            <c:bubble3D val="0"/>
            <c:spPr>
              <a:solidFill>
                <a:srgbClr val="7ECAC4"/>
              </a:solidFill>
            </c:spPr>
            <c:extLst>
              <c:ext xmlns:c16="http://schemas.microsoft.com/office/drawing/2014/chart" uri="{C3380CC4-5D6E-409C-BE32-E72D297353CC}">
                <c16:uniqueId val="{0000047D-7BE2-49F1-B47F-64DDA7BF3F9D}"/>
              </c:ext>
            </c:extLst>
          </c:dPt>
          <c:dPt>
            <c:idx val="574"/>
            <c:invertIfNegative val="1"/>
            <c:bubble3D val="0"/>
            <c:spPr>
              <a:solidFill>
                <a:srgbClr val="7ECAC4"/>
              </a:solidFill>
            </c:spPr>
            <c:extLst>
              <c:ext xmlns:c16="http://schemas.microsoft.com/office/drawing/2014/chart" uri="{C3380CC4-5D6E-409C-BE32-E72D297353CC}">
                <c16:uniqueId val="{0000047F-7BE2-49F1-B47F-64DDA7BF3F9D}"/>
              </c:ext>
            </c:extLst>
          </c:dPt>
          <c:dPt>
            <c:idx val="575"/>
            <c:invertIfNegative val="1"/>
            <c:bubble3D val="0"/>
            <c:spPr>
              <a:solidFill>
                <a:srgbClr val="7ECAC4"/>
              </a:solidFill>
            </c:spPr>
            <c:extLst>
              <c:ext xmlns:c16="http://schemas.microsoft.com/office/drawing/2014/chart" uri="{C3380CC4-5D6E-409C-BE32-E72D297353CC}">
                <c16:uniqueId val="{00000481-7BE2-49F1-B47F-64DDA7BF3F9D}"/>
              </c:ext>
            </c:extLst>
          </c:dPt>
          <c:dPt>
            <c:idx val="576"/>
            <c:invertIfNegative val="1"/>
            <c:bubble3D val="0"/>
            <c:spPr>
              <a:solidFill>
                <a:srgbClr val="7ECAC4"/>
              </a:solidFill>
            </c:spPr>
            <c:extLst>
              <c:ext xmlns:c16="http://schemas.microsoft.com/office/drawing/2014/chart" uri="{C3380CC4-5D6E-409C-BE32-E72D297353CC}">
                <c16:uniqueId val="{00000483-7BE2-49F1-B47F-64DDA7BF3F9D}"/>
              </c:ext>
            </c:extLst>
          </c:dPt>
          <c:dPt>
            <c:idx val="577"/>
            <c:invertIfNegative val="1"/>
            <c:bubble3D val="0"/>
            <c:spPr>
              <a:solidFill>
                <a:srgbClr val="7ECAC4"/>
              </a:solidFill>
            </c:spPr>
            <c:extLst>
              <c:ext xmlns:c16="http://schemas.microsoft.com/office/drawing/2014/chart" uri="{C3380CC4-5D6E-409C-BE32-E72D297353CC}">
                <c16:uniqueId val="{00000485-7BE2-49F1-B47F-64DDA7BF3F9D}"/>
              </c:ext>
            </c:extLst>
          </c:dPt>
          <c:dPt>
            <c:idx val="578"/>
            <c:invertIfNegative val="1"/>
            <c:bubble3D val="0"/>
            <c:spPr>
              <a:solidFill>
                <a:srgbClr val="7ECAC4"/>
              </a:solidFill>
            </c:spPr>
            <c:extLst>
              <c:ext xmlns:c16="http://schemas.microsoft.com/office/drawing/2014/chart" uri="{C3380CC4-5D6E-409C-BE32-E72D297353CC}">
                <c16:uniqueId val="{00000487-7BE2-49F1-B47F-64DDA7BF3F9D}"/>
              </c:ext>
            </c:extLst>
          </c:dPt>
          <c:dPt>
            <c:idx val="579"/>
            <c:invertIfNegative val="1"/>
            <c:bubble3D val="0"/>
            <c:spPr>
              <a:solidFill>
                <a:srgbClr val="7ECAC4"/>
              </a:solidFill>
            </c:spPr>
            <c:extLst>
              <c:ext xmlns:c16="http://schemas.microsoft.com/office/drawing/2014/chart" uri="{C3380CC4-5D6E-409C-BE32-E72D297353CC}">
                <c16:uniqueId val="{00000489-7BE2-49F1-B47F-64DDA7BF3F9D}"/>
              </c:ext>
            </c:extLst>
          </c:dPt>
          <c:dPt>
            <c:idx val="580"/>
            <c:invertIfNegative val="1"/>
            <c:bubble3D val="0"/>
            <c:spPr>
              <a:solidFill>
                <a:srgbClr val="7ECAC4"/>
              </a:solidFill>
            </c:spPr>
            <c:extLst>
              <c:ext xmlns:c16="http://schemas.microsoft.com/office/drawing/2014/chart" uri="{C3380CC4-5D6E-409C-BE32-E72D297353CC}">
                <c16:uniqueId val="{0000048B-7BE2-49F1-B47F-64DDA7BF3F9D}"/>
              </c:ext>
            </c:extLst>
          </c:dPt>
          <c:dPt>
            <c:idx val="581"/>
            <c:invertIfNegative val="1"/>
            <c:bubble3D val="0"/>
            <c:spPr>
              <a:solidFill>
                <a:srgbClr val="7ECAC4"/>
              </a:solidFill>
            </c:spPr>
            <c:extLst>
              <c:ext xmlns:c16="http://schemas.microsoft.com/office/drawing/2014/chart" uri="{C3380CC4-5D6E-409C-BE32-E72D297353CC}">
                <c16:uniqueId val="{0000048D-7BE2-49F1-B47F-64DDA7BF3F9D}"/>
              </c:ext>
            </c:extLst>
          </c:dPt>
          <c:dPt>
            <c:idx val="582"/>
            <c:invertIfNegative val="1"/>
            <c:bubble3D val="0"/>
            <c:spPr>
              <a:solidFill>
                <a:srgbClr val="7ECAC4"/>
              </a:solidFill>
            </c:spPr>
            <c:extLst>
              <c:ext xmlns:c16="http://schemas.microsoft.com/office/drawing/2014/chart" uri="{C3380CC4-5D6E-409C-BE32-E72D297353CC}">
                <c16:uniqueId val="{0000048F-7BE2-49F1-B47F-64DDA7BF3F9D}"/>
              </c:ext>
            </c:extLst>
          </c:dPt>
          <c:dPt>
            <c:idx val="583"/>
            <c:invertIfNegative val="1"/>
            <c:bubble3D val="0"/>
            <c:spPr>
              <a:solidFill>
                <a:srgbClr val="7ECAC4"/>
              </a:solidFill>
            </c:spPr>
            <c:extLst>
              <c:ext xmlns:c16="http://schemas.microsoft.com/office/drawing/2014/chart" uri="{C3380CC4-5D6E-409C-BE32-E72D297353CC}">
                <c16:uniqueId val="{00000491-7BE2-49F1-B47F-64DDA7BF3F9D}"/>
              </c:ext>
            </c:extLst>
          </c:dPt>
          <c:dPt>
            <c:idx val="584"/>
            <c:invertIfNegative val="1"/>
            <c:bubble3D val="0"/>
            <c:spPr>
              <a:solidFill>
                <a:srgbClr val="7ECAC4"/>
              </a:solidFill>
            </c:spPr>
            <c:extLst>
              <c:ext xmlns:c16="http://schemas.microsoft.com/office/drawing/2014/chart" uri="{C3380CC4-5D6E-409C-BE32-E72D297353CC}">
                <c16:uniqueId val="{00000493-7BE2-49F1-B47F-64DDA7BF3F9D}"/>
              </c:ext>
            </c:extLst>
          </c:dPt>
          <c:dPt>
            <c:idx val="585"/>
            <c:invertIfNegative val="1"/>
            <c:bubble3D val="0"/>
            <c:spPr>
              <a:solidFill>
                <a:srgbClr val="7ECAC4"/>
              </a:solidFill>
            </c:spPr>
            <c:extLst>
              <c:ext xmlns:c16="http://schemas.microsoft.com/office/drawing/2014/chart" uri="{C3380CC4-5D6E-409C-BE32-E72D297353CC}">
                <c16:uniqueId val="{00000495-7BE2-49F1-B47F-64DDA7BF3F9D}"/>
              </c:ext>
            </c:extLst>
          </c:dPt>
          <c:dPt>
            <c:idx val="586"/>
            <c:invertIfNegative val="1"/>
            <c:bubble3D val="0"/>
            <c:spPr>
              <a:solidFill>
                <a:srgbClr val="7ECAC4"/>
              </a:solidFill>
            </c:spPr>
            <c:extLst>
              <c:ext xmlns:c16="http://schemas.microsoft.com/office/drawing/2014/chart" uri="{C3380CC4-5D6E-409C-BE32-E72D297353CC}">
                <c16:uniqueId val="{00000497-7BE2-49F1-B47F-64DDA7BF3F9D}"/>
              </c:ext>
            </c:extLst>
          </c:dPt>
          <c:dPt>
            <c:idx val="587"/>
            <c:invertIfNegative val="1"/>
            <c:bubble3D val="0"/>
            <c:spPr>
              <a:solidFill>
                <a:srgbClr val="7ECAC4"/>
              </a:solidFill>
            </c:spPr>
            <c:extLst>
              <c:ext xmlns:c16="http://schemas.microsoft.com/office/drawing/2014/chart" uri="{C3380CC4-5D6E-409C-BE32-E72D297353CC}">
                <c16:uniqueId val="{00000499-7BE2-49F1-B47F-64DDA7BF3F9D}"/>
              </c:ext>
            </c:extLst>
          </c:dPt>
          <c:dPt>
            <c:idx val="588"/>
            <c:invertIfNegative val="1"/>
            <c:bubble3D val="0"/>
            <c:spPr>
              <a:solidFill>
                <a:srgbClr val="7ECAC4"/>
              </a:solidFill>
            </c:spPr>
            <c:extLst>
              <c:ext xmlns:c16="http://schemas.microsoft.com/office/drawing/2014/chart" uri="{C3380CC4-5D6E-409C-BE32-E72D297353CC}">
                <c16:uniqueId val="{0000049B-7BE2-49F1-B47F-64DDA7BF3F9D}"/>
              </c:ext>
            </c:extLst>
          </c:dPt>
          <c:dPt>
            <c:idx val="589"/>
            <c:invertIfNegative val="1"/>
            <c:bubble3D val="0"/>
            <c:spPr>
              <a:solidFill>
                <a:srgbClr val="7ECAC4"/>
              </a:solidFill>
            </c:spPr>
            <c:extLst>
              <c:ext xmlns:c16="http://schemas.microsoft.com/office/drawing/2014/chart" uri="{C3380CC4-5D6E-409C-BE32-E72D297353CC}">
                <c16:uniqueId val="{0000049D-7BE2-49F1-B47F-64DDA7BF3F9D}"/>
              </c:ext>
            </c:extLst>
          </c:dPt>
          <c:dPt>
            <c:idx val="590"/>
            <c:invertIfNegative val="1"/>
            <c:bubble3D val="0"/>
            <c:spPr>
              <a:solidFill>
                <a:srgbClr val="7ECAC4"/>
              </a:solidFill>
            </c:spPr>
            <c:extLst>
              <c:ext xmlns:c16="http://schemas.microsoft.com/office/drawing/2014/chart" uri="{C3380CC4-5D6E-409C-BE32-E72D297353CC}">
                <c16:uniqueId val="{0000049F-7BE2-49F1-B47F-64DDA7BF3F9D}"/>
              </c:ext>
            </c:extLst>
          </c:dPt>
          <c:dPt>
            <c:idx val="591"/>
            <c:invertIfNegative val="1"/>
            <c:bubble3D val="0"/>
            <c:spPr>
              <a:solidFill>
                <a:srgbClr val="7ECAC4"/>
              </a:solidFill>
            </c:spPr>
            <c:extLst>
              <c:ext xmlns:c16="http://schemas.microsoft.com/office/drawing/2014/chart" uri="{C3380CC4-5D6E-409C-BE32-E72D297353CC}">
                <c16:uniqueId val="{000004A1-7BE2-49F1-B47F-64DDA7BF3F9D}"/>
              </c:ext>
            </c:extLst>
          </c:dPt>
          <c:dPt>
            <c:idx val="592"/>
            <c:invertIfNegative val="1"/>
            <c:bubble3D val="0"/>
            <c:spPr>
              <a:solidFill>
                <a:srgbClr val="7ECAC4"/>
              </a:solidFill>
            </c:spPr>
            <c:extLst>
              <c:ext xmlns:c16="http://schemas.microsoft.com/office/drawing/2014/chart" uri="{C3380CC4-5D6E-409C-BE32-E72D297353CC}">
                <c16:uniqueId val="{000004A3-7BE2-49F1-B47F-64DDA7BF3F9D}"/>
              </c:ext>
            </c:extLst>
          </c:dPt>
          <c:dPt>
            <c:idx val="593"/>
            <c:invertIfNegative val="1"/>
            <c:bubble3D val="0"/>
            <c:spPr>
              <a:solidFill>
                <a:srgbClr val="7ECAC4"/>
              </a:solidFill>
            </c:spPr>
            <c:extLst>
              <c:ext xmlns:c16="http://schemas.microsoft.com/office/drawing/2014/chart" uri="{C3380CC4-5D6E-409C-BE32-E72D297353CC}">
                <c16:uniqueId val="{000004A5-7BE2-49F1-B47F-64DDA7BF3F9D}"/>
              </c:ext>
            </c:extLst>
          </c:dPt>
          <c:dPt>
            <c:idx val="594"/>
            <c:invertIfNegative val="1"/>
            <c:bubble3D val="0"/>
            <c:spPr>
              <a:solidFill>
                <a:srgbClr val="7ECAC4"/>
              </a:solidFill>
            </c:spPr>
            <c:extLst>
              <c:ext xmlns:c16="http://schemas.microsoft.com/office/drawing/2014/chart" uri="{C3380CC4-5D6E-409C-BE32-E72D297353CC}">
                <c16:uniqueId val="{000004A7-7BE2-49F1-B47F-64DDA7BF3F9D}"/>
              </c:ext>
            </c:extLst>
          </c:dPt>
          <c:dPt>
            <c:idx val="595"/>
            <c:invertIfNegative val="1"/>
            <c:bubble3D val="0"/>
            <c:spPr>
              <a:solidFill>
                <a:srgbClr val="7ECAC4"/>
              </a:solidFill>
            </c:spPr>
            <c:extLst>
              <c:ext xmlns:c16="http://schemas.microsoft.com/office/drawing/2014/chart" uri="{C3380CC4-5D6E-409C-BE32-E72D297353CC}">
                <c16:uniqueId val="{000004A9-7BE2-49F1-B47F-64DDA7BF3F9D}"/>
              </c:ext>
            </c:extLst>
          </c:dPt>
          <c:dPt>
            <c:idx val="596"/>
            <c:invertIfNegative val="1"/>
            <c:bubble3D val="0"/>
            <c:spPr>
              <a:solidFill>
                <a:srgbClr val="7ECAC4"/>
              </a:solidFill>
            </c:spPr>
            <c:extLst>
              <c:ext xmlns:c16="http://schemas.microsoft.com/office/drawing/2014/chart" uri="{C3380CC4-5D6E-409C-BE32-E72D297353CC}">
                <c16:uniqueId val="{000004AB-7BE2-49F1-B47F-64DDA7BF3F9D}"/>
              </c:ext>
            </c:extLst>
          </c:dPt>
          <c:dPt>
            <c:idx val="597"/>
            <c:invertIfNegative val="1"/>
            <c:bubble3D val="0"/>
            <c:spPr>
              <a:solidFill>
                <a:srgbClr val="7ECAC4"/>
              </a:solidFill>
            </c:spPr>
            <c:extLst>
              <c:ext xmlns:c16="http://schemas.microsoft.com/office/drawing/2014/chart" uri="{C3380CC4-5D6E-409C-BE32-E72D297353CC}">
                <c16:uniqueId val="{000004AD-7BE2-49F1-B47F-64DDA7BF3F9D}"/>
              </c:ext>
            </c:extLst>
          </c:dPt>
          <c:dPt>
            <c:idx val="598"/>
            <c:invertIfNegative val="1"/>
            <c:bubble3D val="0"/>
            <c:spPr>
              <a:solidFill>
                <a:srgbClr val="7ECAC4"/>
              </a:solidFill>
            </c:spPr>
            <c:extLst>
              <c:ext xmlns:c16="http://schemas.microsoft.com/office/drawing/2014/chart" uri="{C3380CC4-5D6E-409C-BE32-E72D297353CC}">
                <c16:uniqueId val="{000004AF-7BE2-49F1-B47F-64DDA7BF3F9D}"/>
              </c:ext>
            </c:extLst>
          </c:dPt>
          <c:dPt>
            <c:idx val="599"/>
            <c:invertIfNegative val="1"/>
            <c:bubble3D val="0"/>
            <c:spPr>
              <a:solidFill>
                <a:srgbClr val="7ECAC4"/>
              </a:solidFill>
            </c:spPr>
            <c:extLst>
              <c:ext xmlns:c16="http://schemas.microsoft.com/office/drawing/2014/chart" uri="{C3380CC4-5D6E-409C-BE32-E72D297353CC}">
                <c16:uniqueId val="{000004B1-7BE2-49F1-B47F-64DDA7BF3F9D}"/>
              </c:ext>
            </c:extLst>
          </c:dPt>
          <c:dPt>
            <c:idx val="600"/>
            <c:invertIfNegative val="1"/>
            <c:bubble3D val="0"/>
            <c:spPr>
              <a:solidFill>
                <a:srgbClr val="7ECAC4"/>
              </a:solidFill>
            </c:spPr>
            <c:extLst>
              <c:ext xmlns:c16="http://schemas.microsoft.com/office/drawing/2014/chart" uri="{C3380CC4-5D6E-409C-BE32-E72D297353CC}">
                <c16:uniqueId val="{000004B3-7BE2-49F1-B47F-64DDA7BF3F9D}"/>
              </c:ext>
            </c:extLst>
          </c:dPt>
          <c:dPt>
            <c:idx val="601"/>
            <c:invertIfNegative val="1"/>
            <c:bubble3D val="0"/>
            <c:spPr>
              <a:solidFill>
                <a:srgbClr val="7ECAC4"/>
              </a:solidFill>
            </c:spPr>
            <c:extLst>
              <c:ext xmlns:c16="http://schemas.microsoft.com/office/drawing/2014/chart" uri="{C3380CC4-5D6E-409C-BE32-E72D297353CC}">
                <c16:uniqueId val="{000004B5-7BE2-49F1-B47F-64DDA7BF3F9D}"/>
              </c:ext>
            </c:extLst>
          </c:dPt>
          <c:dPt>
            <c:idx val="602"/>
            <c:invertIfNegative val="1"/>
            <c:bubble3D val="0"/>
            <c:spPr>
              <a:solidFill>
                <a:srgbClr val="7ECAC4"/>
              </a:solidFill>
            </c:spPr>
            <c:extLst>
              <c:ext xmlns:c16="http://schemas.microsoft.com/office/drawing/2014/chart" uri="{C3380CC4-5D6E-409C-BE32-E72D297353CC}">
                <c16:uniqueId val="{000004B7-7BE2-49F1-B47F-64DDA7BF3F9D}"/>
              </c:ext>
            </c:extLst>
          </c:dPt>
          <c:dPt>
            <c:idx val="603"/>
            <c:invertIfNegative val="1"/>
            <c:bubble3D val="0"/>
            <c:spPr>
              <a:solidFill>
                <a:srgbClr val="7ECAC4"/>
              </a:solidFill>
            </c:spPr>
            <c:extLst>
              <c:ext xmlns:c16="http://schemas.microsoft.com/office/drawing/2014/chart" uri="{C3380CC4-5D6E-409C-BE32-E72D297353CC}">
                <c16:uniqueId val="{000004B9-7BE2-49F1-B47F-64DDA7BF3F9D}"/>
              </c:ext>
            </c:extLst>
          </c:dPt>
          <c:dPt>
            <c:idx val="604"/>
            <c:invertIfNegative val="1"/>
            <c:bubble3D val="0"/>
            <c:spPr>
              <a:solidFill>
                <a:srgbClr val="7ECAC4"/>
              </a:solidFill>
            </c:spPr>
            <c:extLst>
              <c:ext xmlns:c16="http://schemas.microsoft.com/office/drawing/2014/chart" uri="{C3380CC4-5D6E-409C-BE32-E72D297353CC}">
                <c16:uniqueId val="{000004BB-7BE2-49F1-B47F-64DDA7BF3F9D}"/>
              </c:ext>
            </c:extLst>
          </c:dPt>
          <c:dPt>
            <c:idx val="605"/>
            <c:invertIfNegative val="1"/>
            <c:bubble3D val="0"/>
            <c:spPr>
              <a:solidFill>
                <a:srgbClr val="7ECAC4"/>
              </a:solidFill>
            </c:spPr>
            <c:extLst>
              <c:ext xmlns:c16="http://schemas.microsoft.com/office/drawing/2014/chart" uri="{C3380CC4-5D6E-409C-BE32-E72D297353CC}">
                <c16:uniqueId val="{000004BD-7BE2-49F1-B47F-64DDA7BF3F9D}"/>
              </c:ext>
            </c:extLst>
          </c:dPt>
          <c:dPt>
            <c:idx val="606"/>
            <c:invertIfNegative val="1"/>
            <c:bubble3D val="0"/>
            <c:spPr>
              <a:solidFill>
                <a:srgbClr val="7ECAC4"/>
              </a:solidFill>
            </c:spPr>
            <c:extLst>
              <c:ext xmlns:c16="http://schemas.microsoft.com/office/drawing/2014/chart" uri="{C3380CC4-5D6E-409C-BE32-E72D297353CC}">
                <c16:uniqueId val="{000004BF-7BE2-49F1-B47F-64DDA7BF3F9D}"/>
              </c:ext>
            </c:extLst>
          </c:dPt>
          <c:dPt>
            <c:idx val="607"/>
            <c:invertIfNegative val="1"/>
            <c:bubble3D val="0"/>
            <c:spPr>
              <a:solidFill>
                <a:srgbClr val="7ECAC4"/>
              </a:solidFill>
            </c:spPr>
            <c:extLst>
              <c:ext xmlns:c16="http://schemas.microsoft.com/office/drawing/2014/chart" uri="{C3380CC4-5D6E-409C-BE32-E72D297353CC}">
                <c16:uniqueId val="{000004C1-7BE2-49F1-B47F-64DDA7BF3F9D}"/>
              </c:ext>
            </c:extLst>
          </c:dPt>
          <c:dPt>
            <c:idx val="608"/>
            <c:invertIfNegative val="1"/>
            <c:bubble3D val="0"/>
            <c:spPr>
              <a:solidFill>
                <a:srgbClr val="7ECAC4"/>
              </a:solidFill>
            </c:spPr>
            <c:extLst>
              <c:ext xmlns:c16="http://schemas.microsoft.com/office/drawing/2014/chart" uri="{C3380CC4-5D6E-409C-BE32-E72D297353CC}">
                <c16:uniqueId val="{000004C3-7BE2-49F1-B47F-64DDA7BF3F9D}"/>
              </c:ext>
            </c:extLst>
          </c:dPt>
          <c:dPt>
            <c:idx val="609"/>
            <c:invertIfNegative val="1"/>
            <c:bubble3D val="0"/>
            <c:spPr>
              <a:solidFill>
                <a:srgbClr val="7ECAC4"/>
              </a:solidFill>
            </c:spPr>
            <c:extLst>
              <c:ext xmlns:c16="http://schemas.microsoft.com/office/drawing/2014/chart" uri="{C3380CC4-5D6E-409C-BE32-E72D297353CC}">
                <c16:uniqueId val="{000004C5-7BE2-49F1-B47F-64DDA7BF3F9D}"/>
              </c:ext>
            </c:extLst>
          </c:dPt>
          <c:dPt>
            <c:idx val="610"/>
            <c:invertIfNegative val="1"/>
            <c:bubble3D val="0"/>
            <c:spPr>
              <a:solidFill>
                <a:srgbClr val="7ECAC4"/>
              </a:solidFill>
            </c:spPr>
            <c:extLst>
              <c:ext xmlns:c16="http://schemas.microsoft.com/office/drawing/2014/chart" uri="{C3380CC4-5D6E-409C-BE32-E72D297353CC}">
                <c16:uniqueId val="{000004C7-7BE2-49F1-B47F-64DDA7BF3F9D}"/>
              </c:ext>
            </c:extLst>
          </c:dPt>
          <c:dPt>
            <c:idx val="611"/>
            <c:invertIfNegative val="1"/>
            <c:bubble3D val="0"/>
            <c:spPr>
              <a:solidFill>
                <a:srgbClr val="7ECAC4"/>
              </a:solidFill>
            </c:spPr>
            <c:extLst>
              <c:ext xmlns:c16="http://schemas.microsoft.com/office/drawing/2014/chart" uri="{C3380CC4-5D6E-409C-BE32-E72D297353CC}">
                <c16:uniqueId val="{000004C9-7BE2-49F1-B47F-64DDA7BF3F9D}"/>
              </c:ext>
            </c:extLst>
          </c:dPt>
          <c:dPt>
            <c:idx val="612"/>
            <c:invertIfNegative val="1"/>
            <c:bubble3D val="0"/>
            <c:spPr>
              <a:solidFill>
                <a:srgbClr val="7ECAC4"/>
              </a:solidFill>
            </c:spPr>
            <c:extLst>
              <c:ext xmlns:c16="http://schemas.microsoft.com/office/drawing/2014/chart" uri="{C3380CC4-5D6E-409C-BE32-E72D297353CC}">
                <c16:uniqueId val="{000004CB-7BE2-49F1-B47F-64DDA7BF3F9D}"/>
              </c:ext>
            </c:extLst>
          </c:dPt>
          <c:dPt>
            <c:idx val="613"/>
            <c:invertIfNegative val="1"/>
            <c:bubble3D val="0"/>
            <c:spPr>
              <a:solidFill>
                <a:srgbClr val="7ECAC4"/>
              </a:solidFill>
            </c:spPr>
            <c:extLst>
              <c:ext xmlns:c16="http://schemas.microsoft.com/office/drawing/2014/chart" uri="{C3380CC4-5D6E-409C-BE32-E72D297353CC}">
                <c16:uniqueId val="{000004CD-7BE2-49F1-B47F-64DDA7BF3F9D}"/>
              </c:ext>
            </c:extLst>
          </c:dPt>
          <c:dPt>
            <c:idx val="614"/>
            <c:invertIfNegative val="1"/>
            <c:bubble3D val="0"/>
            <c:spPr>
              <a:solidFill>
                <a:srgbClr val="7ECAC4"/>
              </a:solidFill>
            </c:spPr>
            <c:extLst>
              <c:ext xmlns:c16="http://schemas.microsoft.com/office/drawing/2014/chart" uri="{C3380CC4-5D6E-409C-BE32-E72D297353CC}">
                <c16:uniqueId val="{000004CF-7BE2-49F1-B47F-64DDA7BF3F9D}"/>
              </c:ext>
            </c:extLst>
          </c:dPt>
          <c:dPt>
            <c:idx val="615"/>
            <c:invertIfNegative val="1"/>
            <c:bubble3D val="0"/>
            <c:spPr>
              <a:solidFill>
                <a:srgbClr val="7ECAC4"/>
              </a:solidFill>
            </c:spPr>
            <c:extLst>
              <c:ext xmlns:c16="http://schemas.microsoft.com/office/drawing/2014/chart" uri="{C3380CC4-5D6E-409C-BE32-E72D297353CC}">
                <c16:uniqueId val="{000004D1-7BE2-49F1-B47F-64DDA7BF3F9D}"/>
              </c:ext>
            </c:extLst>
          </c:dPt>
          <c:dPt>
            <c:idx val="616"/>
            <c:invertIfNegative val="1"/>
            <c:bubble3D val="0"/>
            <c:spPr>
              <a:solidFill>
                <a:srgbClr val="7ECAC4"/>
              </a:solidFill>
            </c:spPr>
            <c:extLst>
              <c:ext xmlns:c16="http://schemas.microsoft.com/office/drawing/2014/chart" uri="{C3380CC4-5D6E-409C-BE32-E72D297353CC}">
                <c16:uniqueId val="{000004D3-7BE2-49F1-B47F-64DDA7BF3F9D}"/>
              </c:ext>
            </c:extLst>
          </c:dPt>
          <c:dPt>
            <c:idx val="617"/>
            <c:invertIfNegative val="1"/>
            <c:bubble3D val="0"/>
            <c:spPr>
              <a:solidFill>
                <a:srgbClr val="7ECAC4"/>
              </a:solidFill>
            </c:spPr>
            <c:extLst>
              <c:ext xmlns:c16="http://schemas.microsoft.com/office/drawing/2014/chart" uri="{C3380CC4-5D6E-409C-BE32-E72D297353CC}">
                <c16:uniqueId val="{000004D5-7BE2-49F1-B47F-64DDA7BF3F9D}"/>
              </c:ext>
            </c:extLst>
          </c:dPt>
          <c:dPt>
            <c:idx val="618"/>
            <c:invertIfNegative val="1"/>
            <c:bubble3D val="0"/>
            <c:spPr>
              <a:solidFill>
                <a:srgbClr val="7ECAC4"/>
              </a:solidFill>
            </c:spPr>
            <c:extLst>
              <c:ext xmlns:c16="http://schemas.microsoft.com/office/drawing/2014/chart" uri="{C3380CC4-5D6E-409C-BE32-E72D297353CC}">
                <c16:uniqueId val="{000004D7-7BE2-49F1-B47F-64DDA7BF3F9D}"/>
              </c:ext>
            </c:extLst>
          </c:dPt>
          <c:dPt>
            <c:idx val="619"/>
            <c:invertIfNegative val="1"/>
            <c:bubble3D val="0"/>
            <c:spPr>
              <a:solidFill>
                <a:srgbClr val="7ECAC4"/>
              </a:solidFill>
            </c:spPr>
            <c:extLst>
              <c:ext xmlns:c16="http://schemas.microsoft.com/office/drawing/2014/chart" uri="{C3380CC4-5D6E-409C-BE32-E72D297353CC}">
                <c16:uniqueId val="{000004D9-7BE2-49F1-B47F-64DDA7BF3F9D}"/>
              </c:ext>
            </c:extLst>
          </c:dPt>
          <c:dPt>
            <c:idx val="620"/>
            <c:invertIfNegative val="1"/>
            <c:bubble3D val="0"/>
            <c:spPr>
              <a:solidFill>
                <a:srgbClr val="7ECAC4"/>
              </a:solidFill>
            </c:spPr>
            <c:extLst>
              <c:ext xmlns:c16="http://schemas.microsoft.com/office/drawing/2014/chart" uri="{C3380CC4-5D6E-409C-BE32-E72D297353CC}">
                <c16:uniqueId val="{000004DB-7BE2-49F1-B47F-64DDA7BF3F9D}"/>
              </c:ext>
            </c:extLst>
          </c:dPt>
          <c:dPt>
            <c:idx val="621"/>
            <c:invertIfNegative val="1"/>
            <c:bubble3D val="0"/>
            <c:spPr>
              <a:solidFill>
                <a:srgbClr val="7ECAC4"/>
              </a:solidFill>
            </c:spPr>
            <c:extLst>
              <c:ext xmlns:c16="http://schemas.microsoft.com/office/drawing/2014/chart" uri="{C3380CC4-5D6E-409C-BE32-E72D297353CC}">
                <c16:uniqueId val="{000004DD-7BE2-49F1-B47F-64DDA7BF3F9D}"/>
              </c:ext>
            </c:extLst>
          </c:dPt>
          <c:dPt>
            <c:idx val="622"/>
            <c:invertIfNegative val="1"/>
            <c:bubble3D val="0"/>
            <c:spPr>
              <a:solidFill>
                <a:srgbClr val="7ECAC4"/>
              </a:solidFill>
            </c:spPr>
            <c:extLst>
              <c:ext xmlns:c16="http://schemas.microsoft.com/office/drawing/2014/chart" uri="{C3380CC4-5D6E-409C-BE32-E72D297353CC}">
                <c16:uniqueId val="{000004DF-7BE2-49F1-B47F-64DDA7BF3F9D}"/>
              </c:ext>
            </c:extLst>
          </c:dPt>
          <c:dPt>
            <c:idx val="623"/>
            <c:invertIfNegative val="1"/>
            <c:bubble3D val="0"/>
            <c:spPr>
              <a:solidFill>
                <a:srgbClr val="7ECAC4"/>
              </a:solidFill>
            </c:spPr>
            <c:extLst>
              <c:ext xmlns:c16="http://schemas.microsoft.com/office/drawing/2014/chart" uri="{C3380CC4-5D6E-409C-BE32-E72D297353CC}">
                <c16:uniqueId val="{000004E1-7BE2-49F1-B47F-64DDA7BF3F9D}"/>
              </c:ext>
            </c:extLst>
          </c:dPt>
          <c:dPt>
            <c:idx val="624"/>
            <c:invertIfNegative val="1"/>
            <c:bubble3D val="0"/>
            <c:spPr>
              <a:solidFill>
                <a:srgbClr val="7ECAC4"/>
              </a:solidFill>
            </c:spPr>
            <c:extLst>
              <c:ext xmlns:c16="http://schemas.microsoft.com/office/drawing/2014/chart" uri="{C3380CC4-5D6E-409C-BE32-E72D297353CC}">
                <c16:uniqueId val="{000004E3-7BE2-49F1-B47F-64DDA7BF3F9D}"/>
              </c:ext>
            </c:extLst>
          </c:dPt>
          <c:dPt>
            <c:idx val="625"/>
            <c:invertIfNegative val="1"/>
            <c:bubble3D val="0"/>
            <c:spPr>
              <a:solidFill>
                <a:srgbClr val="7ECAC4"/>
              </a:solidFill>
            </c:spPr>
            <c:extLst>
              <c:ext xmlns:c16="http://schemas.microsoft.com/office/drawing/2014/chart" uri="{C3380CC4-5D6E-409C-BE32-E72D297353CC}">
                <c16:uniqueId val="{000004E5-7BE2-49F1-B47F-64DDA7BF3F9D}"/>
              </c:ext>
            </c:extLst>
          </c:dPt>
          <c:dPt>
            <c:idx val="626"/>
            <c:invertIfNegative val="1"/>
            <c:bubble3D val="0"/>
            <c:spPr>
              <a:solidFill>
                <a:srgbClr val="7ECAC4"/>
              </a:solidFill>
            </c:spPr>
            <c:extLst>
              <c:ext xmlns:c16="http://schemas.microsoft.com/office/drawing/2014/chart" uri="{C3380CC4-5D6E-409C-BE32-E72D297353CC}">
                <c16:uniqueId val="{000004E7-7BE2-49F1-B47F-64DDA7BF3F9D}"/>
              </c:ext>
            </c:extLst>
          </c:dPt>
          <c:dPt>
            <c:idx val="627"/>
            <c:invertIfNegative val="1"/>
            <c:bubble3D val="0"/>
            <c:spPr>
              <a:solidFill>
                <a:srgbClr val="7ECAC4"/>
              </a:solidFill>
            </c:spPr>
            <c:extLst>
              <c:ext xmlns:c16="http://schemas.microsoft.com/office/drawing/2014/chart" uri="{C3380CC4-5D6E-409C-BE32-E72D297353CC}">
                <c16:uniqueId val="{000004E9-7BE2-49F1-B47F-64DDA7BF3F9D}"/>
              </c:ext>
            </c:extLst>
          </c:dPt>
          <c:dPt>
            <c:idx val="628"/>
            <c:invertIfNegative val="1"/>
            <c:bubble3D val="0"/>
            <c:spPr>
              <a:solidFill>
                <a:srgbClr val="7ECAC4"/>
              </a:solidFill>
            </c:spPr>
            <c:extLst>
              <c:ext xmlns:c16="http://schemas.microsoft.com/office/drawing/2014/chart" uri="{C3380CC4-5D6E-409C-BE32-E72D297353CC}">
                <c16:uniqueId val="{000004EB-7BE2-49F1-B47F-64DDA7BF3F9D}"/>
              </c:ext>
            </c:extLst>
          </c:dPt>
          <c:dPt>
            <c:idx val="629"/>
            <c:invertIfNegative val="1"/>
            <c:bubble3D val="0"/>
            <c:spPr>
              <a:solidFill>
                <a:srgbClr val="7ECAC4"/>
              </a:solidFill>
            </c:spPr>
            <c:extLst>
              <c:ext xmlns:c16="http://schemas.microsoft.com/office/drawing/2014/chart" uri="{C3380CC4-5D6E-409C-BE32-E72D297353CC}">
                <c16:uniqueId val="{000004ED-7BE2-49F1-B47F-64DDA7BF3F9D}"/>
              </c:ext>
            </c:extLst>
          </c:dPt>
          <c:dPt>
            <c:idx val="630"/>
            <c:invertIfNegative val="1"/>
            <c:bubble3D val="0"/>
            <c:spPr>
              <a:solidFill>
                <a:srgbClr val="7ECAC4"/>
              </a:solidFill>
            </c:spPr>
            <c:extLst>
              <c:ext xmlns:c16="http://schemas.microsoft.com/office/drawing/2014/chart" uri="{C3380CC4-5D6E-409C-BE32-E72D297353CC}">
                <c16:uniqueId val="{000004EF-7BE2-49F1-B47F-64DDA7BF3F9D}"/>
              </c:ext>
            </c:extLst>
          </c:dPt>
          <c:dPt>
            <c:idx val="631"/>
            <c:invertIfNegative val="1"/>
            <c:bubble3D val="0"/>
            <c:spPr>
              <a:solidFill>
                <a:srgbClr val="7ECAC4"/>
              </a:solidFill>
            </c:spPr>
            <c:extLst>
              <c:ext xmlns:c16="http://schemas.microsoft.com/office/drawing/2014/chart" uri="{C3380CC4-5D6E-409C-BE32-E72D297353CC}">
                <c16:uniqueId val="{000004F1-7BE2-49F1-B47F-64DDA7BF3F9D}"/>
              </c:ext>
            </c:extLst>
          </c:dPt>
          <c:dPt>
            <c:idx val="632"/>
            <c:invertIfNegative val="1"/>
            <c:bubble3D val="0"/>
            <c:spPr>
              <a:solidFill>
                <a:srgbClr val="7ECAC4"/>
              </a:solidFill>
            </c:spPr>
            <c:extLst>
              <c:ext xmlns:c16="http://schemas.microsoft.com/office/drawing/2014/chart" uri="{C3380CC4-5D6E-409C-BE32-E72D297353CC}">
                <c16:uniqueId val="{000004F3-7BE2-49F1-B47F-64DDA7BF3F9D}"/>
              </c:ext>
            </c:extLst>
          </c:dPt>
          <c:dPt>
            <c:idx val="633"/>
            <c:invertIfNegative val="1"/>
            <c:bubble3D val="0"/>
            <c:spPr>
              <a:solidFill>
                <a:srgbClr val="7ECAC4"/>
              </a:solidFill>
            </c:spPr>
            <c:extLst>
              <c:ext xmlns:c16="http://schemas.microsoft.com/office/drawing/2014/chart" uri="{C3380CC4-5D6E-409C-BE32-E72D297353CC}">
                <c16:uniqueId val="{000004F5-7BE2-49F1-B47F-64DDA7BF3F9D}"/>
              </c:ext>
            </c:extLst>
          </c:dPt>
          <c:dPt>
            <c:idx val="634"/>
            <c:invertIfNegative val="1"/>
            <c:bubble3D val="0"/>
            <c:spPr>
              <a:solidFill>
                <a:srgbClr val="7ECAC4"/>
              </a:solidFill>
            </c:spPr>
            <c:extLst>
              <c:ext xmlns:c16="http://schemas.microsoft.com/office/drawing/2014/chart" uri="{C3380CC4-5D6E-409C-BE32-E72D297353CC}">
                <c16:uniqueId val="{000004F7-7BE2-49F1-B47F-64DDA7BF3F9D}"/>
              </c:ext>
            </c:extLst>
          </c:dPt>
          <c:dPt>
            <c:idx val="635"/>
            <c:invertIfNegative val="1"/>
            <c:bubble3D val="0"/>
            <c:spPr>
              <a:solidFill>
                <a:srgbClr val="7ECAC4"/>
              </a:solidFill>
            </c:spPr>
            <c:extLst>
              <c:ext xmlns:c16="http://schemas.microsoft.com/office/drawing/2014/chart" uri="{C3380CC4-5D6E-409C-BE32-E72D297353CC}">
                <c16:uniqueId val="{000004F9-7BE2-49F1-B47F-64DDA7BF3F9D}"/>
              </c:ext>
            </c:extLst>
          </c:dPt>
          <c:dPt>
            <c:idx val="636"/>
            <c:invertIfNegative val="1"/>
            <c:bubble3D val="0"/>
            <c:spPr>
              <a:solidFill>
                <a:srgbClr val="7ECAC4"/>
              </a:solidFill>
            </c:spPr>
            <c:extLst>
              <c:ext xmlns:c16="http://schemas.microsoft.com/office/drawing/2014/chart" uri="{C3380CC4-5D6E-409C-BE32-E72D297353CC}">
                <c16:uniqueId val="{000004FB-7BE2-49F1-B47F-64DDA7BF3F9D}"/>
              </c:ext>
            </c:extLst>
          </c:dPt>
          <c:dPt>
            <c:idx val="637"/>
            <c:invertIfNegative val="1"/>
            <c:bubble3D val="0"/>
            <c:spPr>
              <a:solidFill>
                <a:srgbClr val="7ECAC4"/>
              </a:solidFill>
            </c:spPr>
            <c:extLst>
              <c:ext xmlns:c16="http://schemas.microsoft.com/office/drawing/2014/chart" uri="{C3380CC4-5D6E-409C-BE32-E72D297353CC}">
                <c16:uniqueId val="{000004FD-7BE2-49F1-B47F-64DDA7BF3F9D}"/>
              </c:ext>
            </c:extLst>
          </c:dPt>
          <c:dPt>
            <c:idx val="638"/>
            <c:invertIfNegative val="1"/>
            <c:bubble3D val="0"/>
            <c:spPr>
              <a:solidFill>
                <a:srgbClr val="7ECAC4"/>
              </a:solidFill>
            </c:spPr>
            <c:extLst>
              <c:ext xmlns:c16="http://schemas.microsoft.com/office/drawing/2014/chart" uri="{C3380CC4-5D6E-409C-BE32-E72D297353CC}">
                <c16:uniqueId val="{000004FF-7BE2-49F1-B47F-64DDA7BF3F9D}"/>
              </c:ext>
            </c:extLst>
          </c:dPt>
          <c:dPt>
            <c:idx val="639"/>
            <c:invertIfNegative val="1"/>
            <c:bubble3D val="0"/>
            <c:spPr>
              <a:solidFill>
                <a:srgbClr val="7ECAC4"/>
              </a:solidFill>
            </c:spPr>
            <c:extLst>
              <c:ext xmlns:c16="http://schemas.microsoft.com/office/drawing/2014/chart" uri="{C3380CC4-5D6E-409C-BE32-E72D297353CC}">
                <c16:uniqueId val="{00000501-7BE2-49F1-B47F-64DDA7BF3F9D}"/>
              </c:ext>
            </c:extLst>
          </c:dPt>
          <c:dPt>
            <c:idx val="640"/>
            <c:invertIfNegative val="1"/>
            <c:bubble3D val="0"/>
            <c:spPr>
              <a:solidFill>
                <a:srgbClr val="7ECAC4"/>
              </a:solidFill>
            </c:spPr>
            <c:extLst>
              <c:ext xmlns:c16="http://schemas.microsoft.com/office/drawing/2014/chart" uri="{C3380CC4-5D6E-409C-BE32-E72D297353CC}">
                <c16:uniqueId val="{00000503-7BE2-49F1-B47F-64DDA7BF3F9D}"/>
              </c:ext>
            </c:extLst>
          </c:dPt>
          <c:dPt>
            <c:idx val="641"/>
            <c:invertIfNegative val="1"/>
            <c:bubble3D val="0"/>
            <c:spPr>
              <a:solidFill>
                <a:srgbClr val="7ECAC4"/>
              </a:solidFill>
            </c:spPr>
            <c:extLst>
              <c:ext xmlns:c16="http://schemas.microsoft.com/office/drawing/2014/chart" uri="{C3380CC4-5D6E-409C-BE32-E72D297353CC}">
                <c16:uniqueId val="{00000505-7BE2-49F1-B47F-64DDA7BF3F9D}"/>
              </c:ext>
            </c:extLst>
          </c:dPt>
          <c:dPt>
            <c:idx val="642"/>
            <c:invertIfNegative val="1"/>
            <c:bubble3D val="0"/>
            <c:spPr>
              <a:solidFill>
                <a:srgbClr val="7ECAC4"/>
              </a:solidFill>
            </c:spPr>
            <c:extLst>
              <c:ext xmlns:c16="http://schemas.microsoft.com/office/drawing/2014/chart" uri="{C3380CC4-5D6E-409C-BE32-E72D297353CC}">
                <c16:uniqueId val="{00000507-7BE2-49F1-B47F-64DDA7BF3F9D}"/>
              </c:ext>
            </c:extLst>
          </c:dPt>
          <c:dPt>
            <c:idx val="643"/>
            <c:invertIfNegative val="1"/>
            <c:bubble3D val="0"/>
            <c:spPr>
              <a:solidFill>
                <a:srgbClr val="7ECAC4"/>
              </a:solidFill>
            </c:spPr>
            <c:extLst>
              <c:ext xmlns:c16="http://schemas.microsoft.com/office/drawing/2014/chart" uri="{C3380CC4-5D6E-409C-BE32-E72D297353CC}">
                <c16:uniqueId val="{00000509-7BE2-49F1-B47F-64DDA7BF3F9D}"/>
              </c:ext>
            </c:extLst>
          </c:dPt>
          <c:dPt>
            <c:idx val="644"/>
            <c:invertIfNegative val="1"/>
            <c:bubble3D val="0"/>
            <c:spPr>
              <a:solidFill>
                <a:srgbClr val="7ECAC4"/>
              </a:solidFill>
            </c:spPr>
            <c:extLst>
              <c:ext xmlns:c16="http://schemas.microsoft.com/office/drawing/2014/chart" uri="{C3380CC4-5D6E-409C-BE32-E72D297353CC}">
                <c16:uniqueId val="{0000050B-7BE2-49F1-B47F-64DDA7BF3F9D}"/>
              </c:ext>
            </c:extLst>
          </c:dPt>
          <c:dPt>
            <c:idx val="645"/>
            <c:invertIfNegative val="1"/>
            <c:bubble3D val="0"/>
            <c:spPr>
              <a:solidFill>
                <a:srgbClr val="7ECAC4"/>
              </a:solidFill>
            </c:spPr>
            <c:extLst>
              <c:ext xmlns:c16="http://schemas.microsoft.com/office/drawing/2014/chart" uri="{C3380CC4-5D6E-409C-BE32-E72D297353CC}">
                <c16:uniqueId val="{0000050D-7BE2-49F1-B47F-64DDA7BF3F9D}"/>
              </c:ext>
            </c:extLst>
          </c:dPt>
          <c:dPt>
            <c:idx val="646"/>
            <c:invertIfNegative val="1"/>
            <c:bubble3D val="0"/>
            <c:spPr>
              <a:solidFill>
                <a:srgbClr val="7ECAC4"/>
              </a:solidFill>
            </c:spPr>
            <c:extLst>
              <c:ext xmlns:c16="http://schemas.microsoft.com/office/drawing/2014/chart" uri="{C3380CC4-5D6E-409C-BE32-E72D297353CC}">
                <c16:uniqueId val="{0000050F-7BE2-49F1-B47F-64DDA7BF3F9D}"/>
              </c:ext>
            </c:extLst>
          </c:dPt>
          <c:dPt>
            <c:idx val="647"/>
            <c:invertIfNegative val="1"/>
            <c:bubble3D val="0"/>
            <c:spPr>
              <a:solidFill>
                <a:srgbClr val="7ECAC4"/>
              </a:solidFill>
            </c:spPr>
            <c:extLst>
              <c:ext xmlns:c16="http://schemas.microsoft.com/office/drawing/2014/chart" uri="{C3380CC4-5D6E-409C-BE32-E72D297353CC}">
                <c16:uniqueId val="{00000511-7BE2-49F1-B47F-64DDA7BF3F9D}"/>
              </c:ext>
            </c:extLst>
          </c:dPt>
          <c:dPt>
            <c:idx val="648"/>
            <c:invertIfNegative val="1"/>
            <c:bubble3D val="0"/>
            <c:spPr>
              <a:solidFill>
                <a:srgbClr val="7ECAC4"/>
              </a:solidFill>
            </c:spPr>
            <c:extLst>
              <c:ext xmlns:c16="http://schemas.microsoft.com/office/drawing/2014/chart" uri="{C3380CC4-5D6E-409C-BE32-E72D297353CC}">
                <c16:uniqueId val="{00000513-7BE2-49F1-B47F-64DDA7BF3F9D}"/>
              </c:ext>
            </c:extLst>
          </c:dPt>
          <c:dPt>
            <c:idx val="649"/>
            <c:invertIfNegative val="1"/>
            <c:bubble3D val="0"/>
            <c:spPr>
              <a:solidFill>
                <a:srgbClr val="7ECAC4"/>
              </a:solidFill>
            </c:spPr>
            <c:extLst>
              <c:ext xmlns:c16="http://schemas.microsoft.com/office/drawing/2014/chart" uri="{C3380CC4-5D6E-409C-BE32-E72D297353CC}">
                <c16:uniqueId val="{00000515-7BE2-49F1-B47F-64DDA7BF3F9D}"/>
              </c:ext>
            </c:extLst>
          </c:dPt>
          <c:dPt>
            <c:idx val="650"/>
            <c:invertIfNegative val="1"/>
            <c:bubble3D val="0"/>
            <c:spPr>
              <a:solidFill>
                <a:srgbClr val="7ECAC4"/>
              </a:solidFill>
            </c:spPr>
            <c:extLst>
              <c:ext xmlns:c16="http://schemas.microsoft.com/office/drawing/2014/chart" uri="{C3380CC4-5D6E-409C-BE32-E72D297353CC}">
                <c16:uniqueId val="{00000517-7BE2-49F1-B47F-64DDA7BF3F9D}"/>
              </c:ext>
            </c:extLst>
          </c:dPt>
          <c:dPt>
            <c:idx val="651"/>
            <c:invertIfNegative val="1"/>
            <c:bubble3D val="0"/>
            <c:spPr>
              <a:solidFill>
                <a:srgbClr val="7ECAC4"/>
              </a:solidFill>
            </c:spPr>
            <c:extLst>
              <c:ext xmlns:c16="http://schemas.microsoft.com/office/drawing/2014/chart" uri="{C3380CC4-5D6E-409C-BE32-E72D297353CC}">
                <c16:uniqueId val="{00000519-7BE2-49F1-B47F-64DDA7BF3F9D}"/>
              </c:ext>
            </c:extLst>
          </c:dPt>
          <c:dPt>
            <c:idx val="652"/>
            <c:invertIfNegative val="1"/>
            <c:bubble3D val="0"/>
            <c:spPr>
              <a:solidFill>
                <a:srgbClr val="7ECAC4"/>
              </a:solidFill>
            </c:spPr>
            <c:extLst>
              <c:ext xmlns:c16="http://schemas.microsoft.com/office/drawing/2014/chart" uri="{C3380CC4-5D6E-409C-BE32-E72D297353CC}">
                <c16:uniqueId val="{0000051B-7BE2-49F1-B47F-64DDA7BF3F9D}"/>
              </c:ext>
            </c:extLst>
          </c:dPt>
          <c:dPt>
            <c:idx val="653"/>
            <c:invertIfNegative val="1"/>
            <c:bubble3D val="0"/>
            <c:spPr>
              <a:solidFill>
                <a:srgbClr val="7ECAC4"/>
              </a:solidFill>
            </c:spPr>
            <c:extLst>
              <c:ext xmlns:c16="http://schemas.microsoft.com/office/drawing/2014/chart" uri="{C3380CC4-5D6E-409C-BE32-E72D297353CC}">
                <c16:uniqueId val="{0000051D-7BE2-49F1-B47F-64DDA7BF3F9D}"/>
              </c:ext>
            </c:extLst>
          </c:dPt>
          <c:dPt>
            <c:idx val="654"/>
            <c:invertIfNegative val="1"/>
            <c:bubble3D val="0"/>
            <c:spPr>
              <a:solidFill>
                <a:srgbClr val="7ECAC4"/>
              </a:solidFill>
            </c:spPr>
            <c:extLst>
              <c:ext xmlns:c16="http://schemas.microsoft.com/office/drawing/2014/chart" uri="{C3380CC4-5D6E-409C-BE32-E72D297353CC}">
                <c16:uniqueId val="{0000051F-7BE2-49F1-B47F-64DDA7BF3F9D}"/>
              </c:ext>
            </c:extLst>
          </c:dPt>
          <c:dPt>
            <c:idx val="655"/>
            <c:invertIfNegative val="1"/>
            <c:bubble3D val="0"/>
            <c:spPr>
              <a:solidFill>
                <a:srgbClr val="7ECAC4"/>
              </a:solidFill>
            </c:spPr>
            <c:extLst>
              <c:ext xmlns:c16="http://schemas.microsoft.com/office/drawing/2014/chart" uri="{C3380CC4-5D6E-409C-BE32-E72D297353CC}">
                <c16:uniqueId val="{00000521-7BE2-49F1-B47F-64DDA7BF3F9D}"/>
              </c:ext>
            </c:extLst>
          </c:dPt>
          <c:dPt>
            <c:idx val="656"/>
            <c:invertIfNegative val="1"/>
            <c:bubble3D val="0"/>
            <c:spPr>
              <a:solidFill>
                <a:srgbClr val="7ECAC4"/>
              </a:solidFill>
            </c:spPr>
            <c:extLst>
              <c:ext xmlns:c16="http://schemas.microsoft.com/office/drawing/2014/chart" uri="{C3380CC4-5D6E-409C-BE32-E72D297353CC}">
                <c16:uniqueId val="{00000523-7BE2-49F1-B47F-64DDA7BF3F9D}"/>
              </c:ext>
            </c:extLst>
          </c:dPt>
          <c:dPt>
            <c:idx val="657"/>
            <c:invertIfNegative val="1"/>
            <c:bubble3D val="0"/>
            <c:spPr>
              <a:solidFill>
                <a:srgbClr val="7ECAC4"/>
              </a:solidFill>
            </c:spPr>
            <c:extLst>
              <c:ext xmlns:c16="http://schemas.microsoft.com/office/drawing/2014/chart" uri="{C3380CC4-5D6E-409C-BE32-E72D297353CC}">
                <c16:uniqueId val="{00000525-7BE2-49F1-B47F-64DDA7BF3F9D}"/>
              </c:ext>
            </c:extLst>
          </c:dPt>
          <c:dPt>
            <c:idx val="658"/>
            <c:invertIfNegative val="1"/>
            <c:bubble3D val="0"/>
            <c:spPr>
              <a:solidFill>
                <a:srgbClr val="7ECAC4"/>
              </a:solidFill>
            </c:spPr>
            <c:extLst>
              <c:ext xmlns:c16="http://schemas.microsoft.com/office/drawing/2014/chart" uri="{C3380CC4-5D6E-409C-BE32-E72D297353CC}">
                <c16:uniqueId val="{00000527-7BE2-49F1-B47F-64DDA7BF3F9D}"/>
              </c:ext>
            </c:extLst>
          </c:dPt>
          <c:dPt>
            <c:idx val="659"/>
            <c:invertIfNegative val="1"/>
            <c:bubble3D val="0"/>
            <c:spPr>
              <a:solidFill>
                <a:srgbClr val="7ECAC4"/>
              </a:solidFill>
            </c:spPr>
            <c:extLst>
              <c:ext xmlns:c16="http://schemas.microsoft.com/office/drawing/2014/chart" uri="{C3380CC4-5D6E-409C-BE32-E72D297353CC}">
                <c16:uniqueId val="{00000529-7BE2-49F1-B47F-64DDA7BF3F9D}"/>
              </c:ext>
            </c:extLst>
          </c:dPt>
          <c:dPt>
            <c:idx val="660"/>
            <c:invertIfNegative val="1"/>
            <c:bubble3D val="0"/>
            <c:spPr>
              <a:solidFill>
                <a:srgbClr val="7ECAC4"/>
              </a:solidFill>
            </c:spPr>
            <c:extLst>
              <c:ext xmlns:c16="http://schemas.microsoft.com/office/drawing/2014/chart" uri="{C3380CC4-5D6E-409C-BE32-E72D297353CC}">
                <c16:uniqueId val="{0000052B-7BE2-49F1-B47F-64DDA7BF3F9D}"/>
              </c:ext>
            </c:extLst>
          </c:dPt>
          <c:dPt>
            <c:idx val="661"/>
            <c:invertIfNegative val="1"/>
            <c:bubble3D val="0"/>
            <c:spPr>
              <a:solidFill>
                <a:srgbClr val="7ECAC4"/>
              </a:solidFill>
            </c:spPr>
            <c:extLst>
              <c:ext xmlns:c16="http://schemas.microsoft.com/office/drawing/2014/chart" uri="{C3380CC4-5D6E-409C-BE32-E72D297353CC}">
                <c16:uniqueId val="{0000052D-7BE2-49F1-B47F-64DDA7BF3F9D}"/>
              </c:ext>
            </c:extLst>
          </c:dPt>
          <c:dPt>
            <c:idx val="662"/>
            <c:invertIfNegative val="1"/>
            <c:bubble3D val="0"/>
            <c:spPr>
              <a:solidFill>
                <a:srgbClr val="7ECAC4"/>
              </a:solidFill>
            </c:spPr>
            <c:extLst>
              <c:ext xmlns:c16="http://schemas.microsoft.com/office/drawing/2014/chart" uri="{C3380CC4-5D6E-409C-BE32-E72D297353CC}">
                <c16:uniqueId val="{0000052F-7BE2-49F1-B47F-64DDA7BF3F9D}"/>
              </c:ext>
            </c:extLst>
          </c:dPt>
          <c:dPt>
            <c:idx val="663"/>
            <c:invertIfNegative val="1"/>
            <c:bubble3D val="0"/>
            <c:spPr>
              <a:solidFill>
                <a:srgbClr val="7ECAC4"/>
              </a:solidFill>
            </c:spPr>
            <c:extLst>
              <c:ext xmlns:c16="http://schemas.microsoft.com/office/drawing/2014/chart" uri="{C3380CC4-5D6E-409C-BE32-E72D297353CC}">
                <c16:uniqueId val="{00000531-7BE2-49F1-B47F-64DDA7BF3F9D}"/>
              </c:ext>
            </c:extLst>
          </c:dPt>
          <c:dPt>
            <c:idx val="664"/>
            <c:invertIfNegative val="1"/>
            <c:bubble3D val="0"/>
            <c:spPr>
              <a:solidFill>
                <a:srgbClr val="7ECAC4"/>
              </a:solidFill>
            </c:spPr>
            <c:extLst>
              <c:ext xmlns:c16="http://schemas.microsoft.com/office/drawing/2014/chart" uri="{C3380CC4-5D6E-409C-BE32-E72D297353CC}">
                <c16:uniqueId val="{00000533-7BE2-49F1-B47F-64DDA7BF3F9D}"/>
              </c:ext>
            </c:extLst>
          </c:dPt>
          <c:dPt>
            <c:idx val="665"/>
            <c:invertIfNegative val="1"/>
            <c:bubble3D val="0"/>
            <c:spPr>
              <a:solidFill>
                <a:srgbClr val="7ECAC4"/>
              </a:solidFill>
            </c:spPr>
            <c:extLst>
              <c:ext xmlns:c16="http://schemas.microsoft.com/office/drawing/2014/chart" uri="{C3380CC4-5D6E-409C-BE32-E72D297353CC}">
                <c16:uniqueId val="{00000535-7BE2-49F1-B47F-64DDA7BF3F9D}"/>
              </c:ext>
            </c:extLst>
          </c:dPt>
          <c:dPt>
            <c:idx val="666"/>
            <c:invertIfNegative val="1"/>
            <c:bubble3D val="0"/>
            <c:spPr>
              <a:solidFill>
                <a:srgbClr val="7ECAC4"/>
              </a:solidFill>
            </c:spPr>
            <c:extLst>
              <c:ext xmlns:c16="http://schemas.microsoft.com/office/drawing/2014/chart" uri="{C3380CC4-5D6E-409C-BE32-E72D297353CC}">
                <c16:uniqueId val="{00000537-7BE2-49F1-B47F-64DDA7BF3F9D}"/>
              </c:ext>
            </c:extLst>
          </c:dPt>
          <c:dPt>
            <c:idx val="667"/>
            <c:invertIfNegative val="1"/>
            <c:bubble3D val="0"/>
            <c:spPr>
              <a:solidFill>
                <a:srgbClr val="7ECAC4"/>
              </a:solidFill>
            </c:spPr>
            <c:extLst>
              <c:ext xmlns:c16="http://schemas.microsoft.com/office/drawing/2014/chart" uri="{C3380CC4-5D6E-409C-BE32-E72D297353CC}">
                <c16:uniqueId val="{00000539-7BE2-49F1-B47F-64DDA7BF3F9D}"/>
              </c:ext>
            </c:extLst>
          </c:dPt>
          <c:dPt>
            <c:idx val="668"/>
            <c:invertIfNegative val="1"/>
            <c:bubble3D val="0"/>
            <c:spPr>
              <a:solidFill>
                <a:srgbClr val="7ECAC4"/>
              </a:solidFill>
            </c:spPr>
            <c:extLst>
              <c:ext xmlns:c16="http://schemas.microsoft.com/office/drawing/2014/chart" uri="{C3380CC4-5D6E-409C-BE32-E72D297353CC}">
                <c16:uniqueId val="{0000053B-7BE2-49F1-B47F-64DDA7BF3F9D}"/>
              </c:ext>
            </c:extLst>
          </c:dPt>
          <c:dPt>
            <c:idx val="669"/>
            <c:invertIfNegative val="1"/>
            <c:bubble3D val="0"/>
            <c:spPr>
              <a:solidFill>
                <a:srgbClr val="7ECAC4"/>
              </a:solidFill>
            </c:spPr>
            <c:extLst>
              <c:ext xmlns:c16="http://schemas.microsoft.com/office/drawing/2014/chart" uri="{C3380CC4-5D6E-409C-BE32-E72D297353CC}">
                <c16:uniqueId val="{0000053D-7BE2-49F1-B47F-64DDA7BF3F9D}"/>
              </c:ext>
            </c:extLst>
          </c:dPt>
          <c:dPt>
            <c:idx val="670"/>
            <c:invertIfNegative val="1"/>
            <c:bubble3D val="0"/>
            <c:spPr>
              <a:solidFill>
                <a:srgbClr val="7ECAC4"/>
              </a:solidFill>
            </c:spPr>
            <c:extLst>
              <c:ext xmlns:c16="http://schemas.microsoft.com/office/drawing/2014/chart" uri="{C3380CC4-5D6E-409C-BE32-E72D297353CC}">
                <c16:uniqueId val="{0000053F-7BE2-49F1-B47F-64DDA7BF3F9D}"/>
              </c:ext>
            </c:extLst>
          </c:dPt>
          <c:dPt>
            <c:idx val="671"/>
            <c:invertIfNegative val="1"/>
            <c:bubble3D val="0"/>
            <c:spPr>
              <a:solidFill>
                <a:srgbClr val="7ECAC4"/>
              </a:solidFill>
            </c:spPr>
            <c:extLst>
              <c:ext xmlns:c16="http://schemas.microsoft.com/office/drawing/2014/chart" uri="{C3380CC4-5D6E-409C-BE32-E72D297353CC}">
                <c16:uniqueId val="{00000541-7BE2-49F1-B47F-64DDA7BF3F9D}"/>
              </c:ext>
            </c:extLst>
          </c:dPt>
          <c:dPt>
            <c:idx val="672"/>
            <c:invertIfNegative val="1"/>
            <c:bubble3D val="0"/>
            <c:spPr>
              <a:solidFill>
                <a:srgbClr val="7ECAC4"/>
              </a:solidFill>
            </c:spPr>
            <c:extLst>
              <c:ext xmlns:c16="http://schemas.microsoft.com/office/drawing/2014/chart" uri="{C3380CC4-5D6E-409C-BE32-E72D297353CC}">
                <c16:uniqueId val="{00000543-7BE2-49F1-B47F-64DDA7BF3F9D}"/>
              </c:ext>
            </c:extLst>
          </c:dPt>
          <c:dPt>
            <c:idx val="673"/>
            <c:invertIfNegative val="1"/>
            <c:bubble3D val="0"/>
            <c:spPr>
              <a:solidFill>
                <a:srgbClr val="7ECAC4"/>
              </a:solidFill>
            </c:spPr>
            <c:extLst>
              <c:ext xmlns:c16="http://schemas.microsoft.com/office/drawing/2014/chart" uri="{C3380CC4-5D6E-409C-BE32-E72D297353CC}">
                <c16:uniqueId val="{00000545-7BE2-49F1-B47F-64DDA7BF3F9D}"/>
              </c:ext>
            </c:extLst>
          </c:dPt>
          <c:dPt>
            <c:idx val="674"/>
            <c:invertIfNegative val="1"/>
            <c:bubble3D val="0"/>
            <c:spPr>
              <a:solidFill>
                <a:srgbClr val="7ECAC4"/>
              </a:solidFill>
            </c:spPr>
            <c:extLst>
              <c:ext xmlns:c16="http://schemas.microsoft.com/office/drawing/2014/chart" uri="{C3380CC4-5D6E-409C-BE32-E72D297353CC}">
                <c16:uniqueId val="{00000547-7BE2-49F1-B47F-64DDA7BF3F9D}"/>
              </c:ext>
            </c:extLst>
          </c:dPt>
          <c:dPt>
            <c:idx val="675"/>
            <c:invertIfNegative val="1"/>
            <c:bubble3D val="0"/>
            <c:spPr>
              <a:solidFill>
                <a:srgbClr val="7ECAC4"/>
              </a:solidFill>
            </c:spPr>
            <c:extLst>
              <c:ext xmlns:c16="http://schemas.microsoft.com/office/drawing/2014/chart" uri="{C3380CC4-5D6E-409C-BE32-E72D297353CC}">
                <c16:uniqueId val="{00000549-7BE2-49F1-B47F-64DDA7BF3F9D}"/>
              </c:ext>
            </c:extLst>
          </c:dPt>
          <c:dPt>
            <c:idx val="676"/>
            <c:invertIfNegative val="1"/>
            <c:bubble3D val="0"/>
            <c:spPr>
              <a:solidFill>
                <a:srgbClr val="7ECAC4"/>
              </a:solidFill>
            </c:spPr>
            <c:extLst>
              <c:ext xmlns:c16="http://schemas.microsoft.com/office/drawing/2014/chart" uri="{C3380CC4-5D6E-409C-BE32-E72D297353CC}">
                <c16:uniqueId val="{0000054B-7BE2-49F1-B47F-64DDA7BF3F9D}"/>
              </c:ext>
            </c:extLst>
          </c:dPt>
          <c:dPt>
            <c:idx val="677"/>
            <c:invertIfNegative val="1"/>
            <c:bubble3D val="0"/>
            <c:spPr>
              <a:solidFill>
                <a:srgbClr val="7ECAC4"/>
              </a:solidFill>
            </c:spPr>
            <c:extLst>
              <c:ext xmlns:c16="http://schemas.microsoft.com/office/drawing/2014/chart" uri="{C3380CC4-5D6E-409C-BE32-E72D297353CC}">
                <c16:uniqueId val="{0000054D-7BE2-49F1-B47F-64DDA7BF3F9D}"/>
              </c:ext>
            </c:extLst>
          </c:dPt>
          <c:dPt>
            <c:idx val="678"/>
            <c:invertIfNegative val="1"/>
            <c:bubble3D val="0"/>
            <c:spPr>
              <a:solidFill>
                <a:srgbClr val="7ECAC4"/>
              </a:solidFill>
            </c:spPr>
            <c:extLst>
              <c:ext xmlns:c16="http://schemas.microsoft.com/office/drawing/2014/chart" uri="{C3380CC4-5D6E-409C-BE32-E72D297353CC}">
                <c16:uniqueId val="{0000054F-7BE2-49F1-B47F-64DDA7BF3F9D}"/>
              </c:ext>
            </c:extLst>
          </c:dPt>
          <c:dPt>
            <c:idx val="679"/>
            <c:invertIfNegative val="1"/>
            <c:bubble3D val="0"/>
            <c:spPr>
              <a:solidFill>
                <a:srgbClr val="7ECAC4"/>
              </a:solidFill>
            </c:spPr>
            <c:extLst>
              <c:ext xmlns:c16="http://schemas.microsoft.com/office/drawing/2014/chart" uri="{C3380CC4-5D6E-409C-BE32-E72D297353CC}">
                <c16:uniqueId val="{00000551-7BE2-49F1-B47F-64DDA7BF3F9D}"/>
              </c:ext>
            </c:extLst>
          </c:dPt>
          <c:dPt>
            <c:idx val="680"/>
            <c:invertIfNegative val="1"/>
            <c:bubble3D val="0"/>
            <c:spPr>
              <a:solidFill>
                <a:srgbClr val="7ECAC4"/>
              </a:solidFill>
            </c:spPr>
            <c:extLst>
              <c:ext xmlns:c16="http://schemas.microsoft.com/office/drawing/2014/chart" uri="{C3380CC4-5D6E-409C-BE32-E72D297353CC}">
                <c16:uniqueId val="{00000553-7BE2-49F1-B47F-64DDA7BF3F9D}"/>
              </c:ext>
            </c:extLst>
          </c:dPt>
          <c:dPt>
            <c:idx val="681"/>
            <c:invertIfNegative val="1"/>
            <c:bubble3D val="0"/>
            <c:spPr>
              <a:solidFill>
                <a:srgbClr val="7ECAC4"/>
              </a:solidFill>
            </c:spPr>
            <c:extLst>
              <c:ext xmlns:c16="http://schemas.microsoft.com/office/drawing/2014/chart" uri="{C3380CC4-5D6E-409C-BE32-E72D297353CC}">
                <c16:uniqueId val="{00000555-7BE2-49F1-B47F-64DDA7BF3F9D}"/>
              </c:ext>
            </c:extLst>
          </c:dPt>
          <c:dPt>
            <c:idx val="682"/>
            <c:invertIfNegative val="1"/>
            <c:bubble3D val="0"/>
            <c:spPr>
              <a:solidFill>
                <a:srgbClr val="7ECAC4"/>
              </a:solidFill>
            </c:spPr>
            <c:extLst>
              <c:ext xmlns:c16="http://schemas.microsoft.com/office/drawing/2014/chart" uri="{C3380CC4-5D6E-409C-BE32-E72D297353CC}">
                <c16:uniqueId val="{00000557-7BE2-49F1-B47F-64DDA7BF3F9D}"/>
              </c:ext>
            </c:extLst>
          </c:dPt>
          <c:dPt>
            <c:idx val="683"/>
            <c:invertIfNegative val="1"/>
            <c:bubble3D val="0"/>
            <c:spPr>
              <a:solidFill>
                <a:srgbClr val="7ECAC4"/>
              </a:solidFill>
            </c:spPr>
            <c:extLst>
              <c:ext xmlns:c16="http://schemas.microsoft.com/office/drawing/2014/chart" uri="{C3380CC4-5D6E-409C-BE32-E72D297353CC}">
                <c16:uniqueId val="{00000559-7BE2-49F1-B47F-64DDA7BF3F9D}"/>
              </c:ext>
            </c:extLst>
          </c:dPt>
          <c:dPt>
            <c:idx val="684"/>
            <c:invertIfNegative val="1"/>
            <c:bubble3D val="0"/>
            <c:spPr>
              <a:solidFill>
                <a:srgbClr val="7ECAC4"/>
              </a:solidFill>
            </c:spPr>
            <c:extLst>
              <c:ext xmlns:c16="http://schemas.microsoft.com/office/drawing/2014/chart" uri="{C3380CC4-5D6E-409C-BE32-E72D297353CC}">
                <c16:uniqueId val="{0000055B-7BE2-49F1-B47F-64DDA7BF3F9D}"/>
              </c:ext>
            </c:extLst>
          </c:dPt>
          <c:dPt>
            <c:idx val="685"/>
            <c:invertIfNegative val="1"/>
            <c:bubble3D val="0"/>
            <c:spPr>
              <a:solidFill>
                <a:srgbClr val="7ECAC4"/>
              </a:solidFill>
            </c:spPr>
            <c:extLst>
              <c:ext xmlns:c16="http://schemas.microsoft.com/office/drawing/2014/chart" uri="{C3380CC4-5D6E-409C-BE32-E72D297353CC}">
                <c16:uniqueId val="{0000055D-7BE2-49F1-B47F-64DDA7BF3F9D}"/>
              </c:ext>
            </c:extLst>
          </c:dPt>
          <c:dPt>
            <c:idx val="686"/>
            <c:invertIfNegative val="1"/>
            <c:bubble3D val="0"/>
            <c:spPr>
              <a:solidFill>
                <a:srgbClr val="7ECAC4"/>
              </a:solidFill>
            </c:spPr>
            <c:extLst>
              <c:ext xmlns:c16="http://schemas.microsoft.com/office/drawing/2014/chart" uri="{C3380CC4-5D6E-409C-BE32-E72D297353CC}">
                <c16:uniqueId val="{0000055F-7BE2-49F1-B47F-64DDA7BF3F9D}"/>
              </c:ext>
            </c:extLst>
          </c:dPt>
          <c:dPt>
            <c:idx val="687"/>
            <c:invertIfNegative val="1"/>
            <c:bubble3D val="0"/>
            <c:spPr>
              <a:solidFill>
                <a:srgbClr val="7ECAC4"/>
              </a:solidFill>
            </c:spPr>
            <c:extLst>
              <c:ext xmlns:c16="http://schemas.microsoft.com/office/drawing/2014/chart" uri="{C3380CC4-5D6E-409C-BE32-E72D297353CC}">
                <c16:uniqueId val="{00000561-7BE2-49F1-B47F-64DDA7BF3F9D}"/>
              </c:ext>
            </c:extLst>
          </c:dPt>
          <c:dPt>
            <c:idx val="688"/>
            <c:invertIfNegative val="1"/>
            <c:bubble3D val="0"/>
            <c:spPr>
              <a:solidFill>
                <a:srgbClr val="7ECAC4"/>
              </a:solidFill>
            </c:spPr>
            <c:extLst>
              <c:ext xmlns:c16="http://schemas.microsoft.com/office/drawing/2014/chart" uri="{C3380CC4-5D6E-409C-BE32-E72D297353CC}">
                <c16:uniqueId val="{00000563-7BE2-49F1-B47F-64DDA7BF3F9D}"/>
              </c:ext>
            </c:extLst>
          </c:dPt>
          <c:dPt>
            <c:idx val="689"/>
            <c:invertIfNegative val="1"/>
            <c:bubble3D val="0"/>
            <c:spPr>
              <a:solidFill>
                <a:srgbClr val="7ECAC4"/>
              </a:solidFill>
            </c:spPr>
            <c:extLst>
              <c:ext xmlns:c16="http://schemas.microsoft.com/office/drawing/2014/chart" uri="{C3380CC4-5D6E-409C-BE32-E72D297353CC}">
                <c16:uniqueId val="{00000565-7BE2-49F1-B47F-64DDA7BF3F9D}"/>
              </c:ext>
            </c:extLst>
          </c:dPt>
          <c:dPt>
            <c:idx val="690"/>
            <c:invertIfNegative val="1"/>
            <c:bubble3D val="0"/>
            <c:spPr>
              <a:solidFill>
                <a:srgbClr val="7ECAC4"/>
              </a:solidFill>
            </c:spPr>
            <c:extLst>
              <c:ext xmlns:c16="http://schemas.microsoft.com/office/drawing/2014/chart" uri="{C3380CC4-5D6E-409C-BE32-E72D297353CC}">
                <c16:uniqueId val="{00000567-7BE2-49F1-B47F-64DDA7BF3F9D}"/>
              </c:ext>
            </c:extLst>
          </c:dPt>
          <c:dPt>
            <c:idx val="691"/>
            <c:invertIfNegative val="1"/>
            <c:bubble3D val="0"/>
            <c:spPr>
              <a:solidFill>
                <a:srgbClr val="7ECAC4"/>
              </a:solidFill>
            </c:spPr>
            <c:extLst>
              <c:ext xmlns:c16="http://schemas.microsoft.com/office/drawing/2014/chart" uri="{C3380CC4-5D6E-409C-BE32-E72D297353CC}">
                <c16:uniqueId val="{00000569-7BE2-49F1-B47F-64DDA7BF3F9D}"/>
              </c:ext>
            </c:extLst>
          </c:dPt>
          <c:dPt>
            <c:idx val="692"/>
            <c:invertIfNegative val="1"/>
            <c:bubble3D val="0"/>
            <c:spPr>
              <a:solidFill>
                <a:srgbClr val="7ECAC4"/>
              </a:solidFill>
            </c:spPr>
            <c:extLst>
              <c:ext xmlns:c16="http://schemas.microsoft.com/office/drawing/2014/chart" uri="{C3380CC4-5D6E-409C-BE32-E72D297353CC}">
                <c16:uniqueId val="{0000056B-7BE2-49F1-B47F-64DDA7BF3F9D}"/>
              </c:ext>
            </c:extLst>
          </c:dPt>
          <c:dPt>
            <c:idx val="693"/>
            <c:invertIfNegative val="1"/>
            <c:bubble3D val="0"/>
            <c:spPr>
              <a:solidFill>
                <a:srgbClr val="7ECAC4"/>
              </a:solidFill>
            </c:spPr>
            <c:extLst>
              <c:ext xmlns:c16="http://schemas.microsoft.com/office/drawing/2014/chart" uri="{C3380CC4-5D6E-409C-BE32-E72D297353CC}">
                <c16:uniqueId val="{0000056D-7BE2-49F1-B47F-64DDA7BF3F9D}"/>
              </c:ext>
            </c:extLst>
          </c:dPt>
          <c:dPt>
            <c:idx val="694"/>
            <c:invertIfNegative val="1"/>
            <c:bubble3D val="0"/>
            <c:spPr>
              <a:solidFill>
                <a:srgbClr val="7ECAC4"/>
              </a:solidFill>
            </c:spPr>
            <c:extLst>
              <c:ext xmlns:c16="http://schemas.microsoft.com/office/drawing/2014/chart" uri="{C3380CC4-5D6E-409C-BE32-E72D297353CC}">
                <c16:uniqueId val="{0000056F-7BE2-49F1-B47F-64DDA7BF3F9D}"/>
              </c:ext>
            </c:extLst>
          </c:dPt>
          <c:dPt>
            <c:idx val="695"/>
            <c:invertIfNegative val="1"/>
            <c:bubble3D val="0"/>
            <c:spPr>
              <a:solidFill>
                <a:srgbClr val="7ECAC4"/>
              </a:solidFill>
            </c:spPr>
            <c:extLst>
              <c:ext xmlns:c16="http://schemas.microsoft.com/office/drawing/2014/chart" uri="{C3380CC4-5D6E-409C-BE32-E72D297353CC}">
                <c16:uniqueId val="{00000571-7BE2-49F1-B47F-64DDA7BF3F9D}"/>
              </c:ext>
            </c:extLst>
          </c:dPt>
          <c:dPt>
            <c:idx val="696"/>
            <c:invertIfNegative val="1"/>
            <c:bubble3D val="0"/>
            <c:spPr>
              <a:solidFill>
                <a:srgbClr val="7ECAC4"/>
              </a:solidFill>
            </c:spPr>
            <c:extLst>
              <c:ext xmlns:c16="http://schemas.microsoft.com/office/drawing/2014/chart" uri="{C3380CC4-5D6E-409C-BE32-E72D297353CC}">
                <c16:uniqueId val="{00000573-7BE2-49F1-B47F-64DDA7BF3F9D}"/>
              </c:ext>
            </c:extLst>
          </c:dPt>
          <c:dPt>
            <c:idx val="697"/>
            <c:invertIfNegative val="1"/>
            <c:bubble3D val="0"/>
            <c:spPr>
              <a:solidFill>
                <a:srgbClr val="7ECAC4"/>
              </a:solidFill>
            </c:spPr>
            <c:extLst>
              <c:ext xmlns:c16="http://schemas.microsoft.com/office/drawing/2014/chart" uri="{C3380CC4-5D6E-409C-BE32-E72D297353CC}">
                <c16:uniqueId val="{00000575-7BE2-49F1-B47F-64DDA7BF3F9D}"/>
              </c:ext>
            </c:extLst>
          </c:dPt>
          <c:dPt>
            <c:idx val="698"/>
            <c:invertIfNegative val="1"/>
            <c:bubble3D val="0"/>
            <c:spPr>
              <a:solidFill>
                <a:srgbClr val="7ECAC4"/>
              </a:solidFill>
            </c:spPr>
            <c:extLst>
              <c:ext xmlns:c16="http://schemas.microsoft.com/office/drawing/2014/chart" uri="{C3380CC4-5D6E-409C-BE32-E72D297353CC}">
                <c16:uniqueId val="{00000577-7BE2-49F1-B47F-64DDA7BF3F9D}"/>
              </c:ext>
            </c:extLst>
          </c:dPt>
          <c:dPt>
            <c:idx val="699"/>
            <c:invertIfNegative val="1"/>
            <c:bubble3D val="0"/>
            <c:spPr>
              <a:solidFill>
                <a:srgbClr val="7ECAC4"/>
              </a:solidFill>
            </c:spPr>
            <c:extLst>
              <c:ext xmlns:c16="http://schemas.microsoft.com/office/drawing/2014/chart" uri="{C3380CC4-5D6E-409C-BE32-E72D297353CC}">
                <c16:uniqueId val="{00000579-7BE2-49F1-B47F-64DDA7BF3F9D}"/>
              </c:ext>
            </c:extLst>
          </c:dPt>
          <c:dPt>
            <c:idx val="700"/>
            <c:invertIfNegative val="1"/>
            <c:bubble3D val="0"/>
            <c:spPr>
              <a:solidFill>
                <a:srgbClr val="7ECAC4"/>
              </a:solidFill>
            </c:spPr>
            <c:extLst>
              <c:ext xmlns:c16="http://schemas.microsoft.com/office/drawing/2014/chart" uri="{C3380CC4-5D6E-409C-BE32-E72D297353CC}">
                <c16:uniqueId val="{0000057B-7BE2-49F1-B47F-64DDA7BF3F9D}"/>
              </c:ext>
            </c:extLst>
          </c:dPt>
          <c:dPt>
            <c:idx val="701"/>
            <c:invertIfNegative val="1"/>
            <c:bubble3D val="0"/>
            <c:spPr>
              <a:solidFill>
                <a:srgbClr val="7ECAC4"/>
              </a:solidFill>
            </c:spPr>
            <c:extLst>
              <c:ext xmlns:c16="http://schemas.microsoft.com/office/drawing/2014/chart" uri="{C3380CC4-5D6E-409C-BE32-E72D297353CC}">
                <c16:uniqueId val="{0000057D-7BE2-49F1-B47F-64DDA7BF3F9D}"/>
              </c:ext>
            </c:extLst>
          </c:dPt>
          <c:dPt>
            <c:idx val="702"/>
            <c:invertIfNegative val="1"/>
            <c:bubble3D val="0"/>
            <c:spPr>
              <a:solidFill>
                <a:srgbClr val="7ECAC4"/>
              </a:solidFill>
            </c:spPr>
            <c:extLst>
              <c:ext xmlns:c16="http://schemas.microsoft.com/office/drawing/2014/chart" uri="{C3380CC4-5D6E-409C-BE32-E72D297353CC}">
                <c16:uniqueId val="{0000057F-7BE2-49F1-B47F-64DDA7BF3F9D}"/>
              </c:ext>
            </c:extLst>
          </c:dPt>
          <c:dPt>
            <c:idx val="703"/>
            <c:invertIfNegative val="1"/>
            <c:bubble3D val="0"/>
            <c:spPr>
              <a:solidFill>
                <a:srgbClr val="7ECAC4"/>
              </a:solidFill>
            </c:spPr>
            <c:extLst>
              <c:ext xmlns:c16="http://schemas.microsoft.com/office/drawing/2014/chart" uri="{C3380CC4-5D6E-409C-BE32-E72D297353CC}">
                <c16:uniqueId val="{00000581-7BE2-49F1-B47F-64DDA7BF3F9D}"/>
              </c:ext>
            </c:extLst>
          </c:dPt>
          <c:dPt>
            <c:idx val="704"/>
            <c:invertIfNegative val="1"/>
            <c:bubble3D val="0"/>
            <c:spPr>
              <a:solidFill>
                <a:srgbClr val="7ECAC4"/>
              </a:solidFill>
            </c:spPr>
            <c:extLst>
              <c:ext xmlns:c16="http://schemas.microsoft.com/office/drawing/2014/chart" uri="{C3380CC4-5D6E-409C-BE32-E72D297353CC}">
                <c16:uniqueId val="{00000583-7BE2-49F1-B47F-64DDA7BF3F9D}"/>
              </c:ext>
            </c:extLst>
          </c:dPt>
          <c:dPt>
            <c:idx val="705"/>
            <c:invertIfNegative val="1"/>
            <c:bubble3D val="0"/>
            <c:spPr>
              <a:solidFill>
                <a:srgbClr val="7ECAC4"/>
              </a:solidFill>
            </c:spPr>
            <c:extLst>
              <c:ext xmlns:c16="http://schemas.microsoft.com/office/drawing/2014/chart" uri="{C3380CC4-5D6E-409C-BE32-E72D297353CC}">
                <c16:uniqueId val="{00000585-7BE2-49F1-B47F-64DDA7BF3F9D}"/>
              </c:ext>
            </c:extLst>
          </c:dPt>
          <c:dPt>
            <c:idx val="706"/>
            <c:invertIfNegative val="1"/>
            <c:bubble3D val="0"/>
            <c:spPr>
              <a:solidFill>
                <a:srgbClr val="7ECAC4"/>
              </a:solidFill>
            </c:spPr>
            <c:extLst>
              <c:ext xmlns:c16="http://schemas.microsoft.com/office/drawing/2014/chart" uri="{C3380CC4-5D6E-409C-BE32-E72D297353CC}">
                <c16:uniqueId val="{00000587-7BE2-49F1-B47F-64DDA7BF3F9D}"/>
              </c:ext>
            </c:extLst>
          </c:dPt>
          <c:dPt>
            <c:idx val="707"/>
            <c:invertIfNegative val="1"/>
            <c:bubble3D val="0"/>
            <c:spPr>
              <a:solidFill>
                <a:srgbClr val="7ECAC4"/>
              </a:solidFill>
            </c:spPr>
            <c:extLst>
              <c:ext xmlns:c16="http://schemas.microsoft.com/office/drawing/2014/chart" uri="{C3380CC4-5D6E-409C-BE32-E72D297353CC}">
                <c16:uniqueId val="{00000589-7BE2-49F1-B47F-64DDA7BF3F9D}"/>
              </c:ext>
            </c:extLst>
          </c:dPt>
          <c:dPt>
            <c:idx val="708"/>
            <c:invertIfNegative val="1"/>
            <c:bubble3D val="0"/>
            <c:spPr>
              <a:solidFill>
                <a:srgbClr val="7ECAC4"/>
              </a:solidFill>
            </c:spPr>
            <c:extLst>
              <c:ext xmlns:c16="http://schemas.microsoft.com/office/drawing/2014/chart" uri="{C3380CC4-5D6E-409C-BE32-E72D297353CC}">
                <c16:uniqueId val="{0000058B-7BE2-49F1-B47F-64DDA7BF3F9D}"/>
              </c:ext>
            </c:extLst>
          </c:dPt>
          <c:dPt>
            <c:idx val="709"/>
            <c:invertIfNegative val="1"/>
            <c:bubble3D val="0"/>
            <c:spPr>
              <a:solidFill>
                <a:srgbClr val="7ECAC4"/>
              </a:solidFill>
            </c:spPr>
            <c:extLst>
              <c:ext xmlns:c16="http://schemas.microsoft.com/office/drawing/2014/chart" uri="{C3380CC4-5D6E-409C-BE32-E72D297353CC}">
                <c16:uniqueId val="{0000058D-7BE2-49F1-B47F-64DDA7BF3F9D}"/>
              </c:ext>
            </c:extLst>
          </c:dPt>
          <c:dPt>
            <c:idx val="710"/>
            <c:invertIfNegative val="1"/>
            <c:bubble3D val="0"/>
            <c:spPr>
              <a:solidFill>
                <a:srgbClr val="7ECAC4"/>
              </a:solidFill>
            </c:spPr>
            <c:extLst>
              <c:ext xmlns:c16="http://schemas.microsoft.com/office/drawing/2014/chart" uri="{C3380CC4-5D6E-409C-BE32-E72D297353CC}">
                <c16:uniqueId val="{0000058F-7BE2-49F1-B47F-64DDA7BF3F9D}"/>
              </c:ext>
            </c:extLst>
          </c:dPt>
          <c:dPt>
            <c:idx val="711"/>
            <c:invertIfNegative val="1"/>
            <c:bubble3D val="0"/>
            <c:spPr>
              <a:solidFill>
                <a:srgbClr val="7ECAC4"/>
              </a:solidFill>
            </c:spPr>
            <c:extLst>
              <c:ext xmlns:c16="http://schemas.microsoft.com/office/drawing/2014/chart" uri="{C3380CC4-5D6E-409C-BE32-E72D297353CC}">
                <c16:uniqueId val="{00000591-7BE2-49F1-B47F-64DDA7BF3F9D}"/>
              </c:ext>
            </c:extLst>
          </c:dPt>
          <c:dPt>
            <c:idx val="712"/>
            <c:invertIfNegative val="1"/>
            <c:bubble3D val="0"/>
            <c:spPr>
              <a:solidFill>
                <a:srgbClr val="7ECAC4"/>
              </a:solidFill>
            </c:spPr>
            <c:extLst>
              <c:ext xmlns:c16="http://schemas.microsoft.com/office/drawing/2014/chart" uri="{C3380CC4-5D6E-409C-BE32-E72D297353CC}">
                <c16:uniqueId val="{00000593-7BE2-49F1-B47F-64DDA7BF3F9D}"/>
              </c:ext>
            </c:extLst>
          </c:dPt>
          <c:dPt>
            <c:idx val="713"/>
            <c:invertIfNegative val="1"/>
            <c:bubble3D val="0"/>
            <c:spPr>
              <a:solidFill>
                <a:srgbClr val="7ECAC4"/>
              </a:solidFill>
            </c:spPr>
            <c:extLst>
              <c:ext xmlns:c16="http://schemas.microsoft.com/office/drawing/2014/chart" uri="{C3380CC4-5D6E-409C-BE32-E72D297353CC}">
                <c16:uniqueId val="{00000595-7BE2-49F1-B47F-64DDA7BF3F9D}"/>
              </c:ext>
            </c:extLst>
          </c:dPt>
          <c:dPt>
            <c:idx val="714"/>
            <c:invertIfNegative val="1"/>
            <c:bubble3D val="0"/>
            <c:spPr>
              <a:solidFill>
                <a:srgbClr val="7ECAC4"/>
              </a:solidFill>
            </c:spPr>
            <c:extLst>
              <c:ext xmlns:c16="http://schemas.microsoft.com/office/drawing/2014/chart" uri="{C3380CC4-5D6E-409C-BE32-E72D297353CC}">
                <c16:uniqueId val="{00000597-7BE2-49F1-B47F-64DDA7BF3F9D}"/>
              </c:ext>
            </c:extLst>
          </c:dPt>
          <c:dPt>
            <c:idx val="715"/>
            <c:invertIfNegative val="1"/>
            <c:bubble3D val="0"/>
            <c:spPr>
              <a:solidFill>
                <a:srgbClr val="7ECAC4"/>
              </a:solidFill>
            </c:spPr>
            <c:extLst>
              <c:ext xmlns:c16="http://schemas.microsoft.com/office/drawing/2014/chart" uri="{C3380CC4-5D6E-409C-BE32-E72D297353CC}">
                <c16:uniqueId val="{00000599-7BE2-49F1-B47F-64DDA7BF3F9D}"/>
              </c:ext>
            </c:extLst>
          </c:dPt>
          <c:dPt>
            <c:idx val="716"/>
            <c:invertIfNegative val="1"/>
            <c:bubble3D val="0"/>
            <c:spPr>
              <a:solidFill>
                <a:srgbClr val="7ECAC4"/>
              </a:solidFill>
            </c:spPr>
            <c:extLst>
              <c:ext xmlns:c16="http://schemas.microsoft.com/office/drawing/2014/chart" uri="{C3380CC4-5D6E-409C-BE32-E72D297353CC}">
                <c16:uniqueId val="{0000059B-7BE2-49F1-B47F-64DDA7BF3F9D}"/>
              </c:ext>
            </c:extLst>
          </c:dPt>
          <c:dPt>
            <c:idx val="717"/>
            <c:invertIfNegative val="1"/>
            <c:bubble3D val="0"/>
            <c:spPr>
              <a:solidFill>
                <a:srgbClr val="7ECAC4"/>
              </a:solidFill>
            </c:spPr>
            <c:extLst>
              <c:ext xmlns:c16="http://schemas.microsoft.com/office/drawing/2014/chart" uri="{C3380CC4-5D6E-409C-BE32-E72D297353CC}">
                <c16:uniqueId val="{0000059D-7BE2-49F1-B47F-64DDA7BF3F9D}"/>
              </c:ext>
            </c:extLst>
          </c:dPt>
          <c:dPt>
            <c:idx val="718"/>
            <c:invertIfNegative val="1"/>
            <c:bubble3D val="0"/>
            <c:spPr>
              <a:solidFill>
                <a:srgbClr val="7ECAC4"/>
              </a:solidFill>
            </c:spPr>
            <c:extLst>
              <c:ext xmlns:c16="http://schemas.microsoft.com/office/drawing/2014/chart" uri="{C3380CC4-5D6E-409C-BE32-E72D297353CC}">
                <c16:uniqueId val="{0000059F-7BE2-49F1-B47F-64DDA7BF3F9D}"/>
              </c:ext>
            </c:extLst>
          </c:dPt>
          <c:dPt>
            <c:idx val="719"/>
            <c:invertIfNegative val="1"/>
            <c:bubble3D val="0"/>
            <c:spPr>
              <a:solidFill>
                <a:srgbClr val="7ECAC4"/>
              </a:solidFill>
            </c:spPr>
            <c:extLst>
              <c:ext xmlns:c16="http://schemas.microsoft.com/office/drawing/2014/chart" uri="{C3380CC4-5D6E-409C-BE32-E72D297353CC}">
                <c16:uniqueId val="{000005A1-7BE2-49F1-B47F-64DDA7BF3F9D}"/>
              </c:ext>
            </c:extLst>
          </c:dPt>
          <c:dPt>
            <c:idx val="720"/>
            <c:invertIfNegative val="1"/>
            <c:bubble3D val="0"/>
            <c:spPr>
              <a:solidFill>
                <a:srgbClr val="7ECAC4"/>
              </a:solidFill>
            </c:spPr>
            <c:extLst>
              <c:ext xmlns:c16="http://schemas.microsoft.com/office/drawing/2014/chart" uri="{C3380CC4-5D6E-409C-BE32-E72D297353CC}">
                <c16:uniqueId val="{000005A3-7BE2-49F1-B47F-64DDA7BF3F9D}"/>
              </c:ext>
            </c:extLst>
          </c:dPt>
          <c:dPt>
            <c:idx val="721"/>
            <c:invertIfNegative val="1"/>
            <c:bubble3D val="0"/>
            <c:spPr>
              <a:solidFill>
                <a:srgbClr val="7ECAC4"/>
              </a:solidFill>
            </c:spPr>
            <c:extLst>
              <c:ext xmlns:c16="http://schemas.microsoft.com/office/drawing/2014/chart" uri="{C3380CC4-5D6E-409C-BE32-E72D297353CC}">
                <c16:uniqueId val="{000005A5-7BE2-49F1-B47F-64DDA7BF3F9D}"/>
              </c:ext>
            </c:extLst>
          </c:dPt>
          <c:dPt>
            <c:idx val="722"/>
            <c:invertIfNegative val="1"/>
            <c:bubble3D val="0"/>
            <c:spPr>
              <a:solidFill>
                <a:srgbClr val="7ECAC4"/>
              </a:solidFill>
            </c:spPr>
            <c:extLst>
              <c:ext xmlns:c16="http://schemas.microsoft.com/office/drawing/2014/chart" uri="{C3380CC4-5D6E-409C-BE32-E72D297353CC}">
                <c16:uniqueId val="{000005A7-7BE2-49F1-B47F-64DDA7BF3F9D}"/>
              </c:ext>
            </c:extLst>
          </c:dPt>
          <c:dPt>
            <c:idx val="723"/>
            <c:invertIfNegative val="1"/>
            <c:bubble3D val="0"/>
            <c:spPr>
              <a:solidFill>
                <a:srgbClr val="7ECAC4"/>
              </a:solidFill>
            </c:spPr>
            <c:extLst>
              <c:ext xmlns:c16="http://schemas.microsoft.com/office/drawing/2014/chart" uri="{C3380CC4-5D6E-409C-BE32-E72D297353CC}">
                <c16:uniqueId val="{000005A9-7BE2-49F1-B47F-64DDA7BF3F9D}"/>
              </c:ext>
            </c:extLst>
          </c:dPt>
          <c:dPt>
            <c:idx val="724"/>
            <c:invertIfNegative val="1"/>
            <c:bubble3D val="0"/>
            <c:spPr>
              <a:solidFill>
                <a:srgbClr val="7ECAC4"/>
              </a:solidFill>
            </c:spPr>
            <c:extLst>
              <c:ext xmlns:c16="http://schemas.microsoft.com/office/drawing/2014/chart" uri="{C3380CC4-5D6E-409C-BE32-E72D297353CC}">
                <c16:uniqueId val="{000005AB-7BE2-49F1-B47F-64DDA7BF3F9D}"/>
              </c:ext>
            </c:extLst>
          </c:dPt>
          <c:dPt>
            <c:idx val="725"/>
            <c:invertIfNegative val="1"/>
            <c:bubble3D val="0"/>
            <c:spPr>
              <a:solidFill>
                <a:srgbClr val="7ECAC4"/>
              </a:solidFill>
            </c:spPr>
            <c:extLst>
              <c:ext xmlns:c16="http://schemas.microsoft.com/office/drawing/2014/chart" uri="{C3380CC4-5D6E-409C-BE32-E72D297353CC}">
                <c16:uniqueId val="{000005AD-7BE2-49F1-B47F-64DDA7BF3F9D}"/>
              </c:ext>
            </c:extLst>
          </c:dPt>
          <c:dPt>
            <c:idx val="726"/>
            <c:invertIfNegative val="1"/>
            <c:bubble3D val="0"/>
            <c:spPr>
              <a:solidFill>
                <a:srgbClr val="7ECAC4"/>
              </a:solidFill>
            </c:spPr>
            <c:extLst>
              <c:ext xmlns:c16="http://schemas.microsoft.com/office/drawing/2014/chart" uri="{C3380CC4-5D6E-409C-BE32-E72D297353CC}">
                <c16:uniqueId val="{000005AF-7BE2-49F1-B47F-64DDA7BF3F9D}"/>
              </c:ext>
            </c:extLst>
          </c:dPt>
          <c:dPt>
            <c:idx val="727"/>
            <c:invertIfNegative val="1"/>
            <c:bubble3D val="0"/>
            <c:spPr>
              <a:solidFill>
                <a:srgbClr val="7ECAC4"/>
              </a:solidFill>
            </c:spPr>
            <c:extLst>
              <c:ext xmlns:c16="http://schemas.microsoft.com/office/drawing/2014/chart" uri="{C3380CC4-5D6E-409C-BE32-E72D297353CC}">
                <c16:uniqueId val="{000005B1-7BE2-49F1-B47F-64DDA7BF3F9D}"/>
              </c:ext>
            </c:extLst>
          </c:dPt>
          <c:dPt>
            <c:idx val="728"/>
            <c:invertIfNegative val="1"/>
            <c:bubble3D val="0"/>
            <c:spPr>
              <a:solidFill>
                <a:srgbClr val="7ECAC4"/>
              </a:solidFill>
            </c:spPr>
            <c:extLst>
              <c:ext xmlns:c16="http://schemas.microsoft.com/office/drawing/2014/chart" uri="{C3380CC4-5D6E-409C-BE32-E72D297353CC}">
                <c16:uniqueId val="{000005B3-7BE2-49F1-B47F-64DDA7BF3F9D}"/>
              </c:ext>
            </c:extLst>
          </c:dPt>
          <c:dPt>
            <c:idx val="729"/>
            <c:invertIfNegative val="1"/>
            <c:bubble3D val="0"/>
            <c:spPr>
              <a:solidFill>
                <a:srgbClr val="7ECAC4"/>
              </a:solidFill>
            </c:spPr>
            <c:extLst>
              <c:ext xmlns:c16="http://schemas.microsoft.com/office/drawing/2014/chart" uri="{C3380CC4-5D6E-409C-BE32-E72D297353CC}">
                <c16:uniqueId val="{000005B5-7BE2-49F1-B47F-64DDA7BF3F9D}"/>
              </c:ext>
            </c:extLst>
          </c:dPt>
          <c:dPt>
            <c:idx val="730"/>
            <c:invertIfNegative val="1"/>
            <c:bubble3D val="0"/>
            <c:spPr>
              <a:solidFill>
                <a:srgbClr val="7ECAC4"/>
              </a:solidFill>
            </c:spPr>
            <c:extLst>
              <c:ext xmlns:c16="http://schemas.microsoft.com/office/drawing/2014/chart" uri="{C3380CC4-5D6E-409C-BE32-E72D297353CC}">
                <c16:uniqueId val="{000005B7-7BE2-49F1-B47F-64DDA7BF3F9D}"/>
              </c:ext>
            </c:extLst>
          </c:dPt>
          <c:dPt>
            <c:idx val="731"/>
            <c:invertIfNegative val="1"/>
            <c:bubble3D val="0"/>
            <c:spPr>
              <a:solidFill>
                <a:srgbClr val="7ECAC4"/>
              </a:solidFill>
            </c:spPr>
            <c:extLst>
              <c:ext xmlns:c16="http://schemas.microsoft.com/office/drawing/2014/chart" uri="{C3380CC4-5D6E-409C-BE32-E72D297353CC}">
                <c16:uniqueId val="{000005B9-7BE2-49F1-B47F-64DDA7BF3F9D}"/>
              </c:ext>
            </c:extLst>
          </c:dPt>
          <c:dPt>
            <c:idx val="732"/>
            <c:invertIfNegative val="1"/>
            <c:bubble3D val="0"/>
            <c:spPr>
              <a:solidFill>
                <a:srgbClr val="7ECAC4"/>
              </a:solidFill>
            </c:spPr>
            <c:extLst>
              <c:ext xmlns:c16="http://schemas.microsoft.com/office/drawing/2014/chart" uri="{C3380CC4-5D6E-409C-BE32-E72D297353CC}">
                <c16:uniqueId val="{000005BB-7BE2-49F1-B47F-64DDA7BF3F9D}"/>
              </c:ext>
            </c:extLst>
          </c:dPt>
          <c:dPt>
            <c:idx val="733"/>
            <c:invertIfNegative val="1"/>
            <c:bubble3D val="0"/>
            <c:spPr>
              <a:solidFill>
                <a:srgbClr val="7ECAC4"/>
              </a:solidFill>
            </c:spPr>
            <c:extLst>
              <c:ext xmlns:c16="http://schemas.microsoft.com/office/drawing/2014/chart" uri="{C3380CC4-5D6E-409C-BE32-E72D297353CC}">
                <c16:uniqueId val="{000005BD-7BE2-49F1-B47F-64DDA7BF3F9D}"/>
              </c:ext>
            </c:extLst>
          </c:dPt>
          <c:dPt>
            <c:idx val="734"/>
            <c:invertIfNegative val="1"/>
            <c:bubble3D val="0"/>
            <c:spPr>
              <a:solidFill>
                <a:srgbClr val="7ECAC4"/>
              </a:solidFill>
            </c:spPr>
            <c:extLst>
              <c:ext xmlns:c16="http://schemas.microsoft.com/office/drawing/2014/chart" uri="{C3380CC4-5D6E-409C-BE32-E72D297353CC}">
                <c16:uniqueId val="{000005BF-7BE2-49F1-B47F-64DDA7BF3F9D}"/>
              </c:ext>
            </c:extLst>
          </c:dPt>
          <c:dPt>
            <c:idx val="735"/>
            <c:invertIfNegative val="1"/>
            <c:bubble3D val="0"/>
            <c:spPr>
              <a:solidFill>
                <a:srgbClr val="7ECAC4"/>
              </a:solidFill>
            </c:spPr>
            <c:extLst>
              <c:ext xmlns:c16="http://schemas.microsoft.com/office/drawing/2014/chart" uri="{C3380CC4-5D6E-409C-BE32-E72D297353CC}">
                <c16:uniqueId val="{000005C1-7BE2-49F1-B47F-64DDA7BF3F9D}"/>
              </c:ext>
            </c:extLst>
          </c:dPt>
          <c:dPt>
            <c:idx val="736"/>
            <c:invertIfNegative val="1"/>
            <c:bubble3D val="0"/>
            <c:spPr>
              <a:solidFill>
                <a:srgbClr val="7ECAC4"/>
              </a:solidFill>
            </c:spPr>
            <c:extLst>
              <c:ext xmlns:c16="http://schemas.microsoft.com/office/drawing/2014/chart" uri="{C3380CC4-5D6E-409C-BE32-E72D297353CC}">
                <c16:uniqueId val="{000005C3-7BE2-49F1-B47F-64DDA7BF3F9D}"/>
              </c:ext>
            </c:extLst>
          </c:dPt>
          <c:dPt>
            <c:idx val="737"/>
            <c:invertIfNegative val="1"/>
            <c:bubble3D val="0"/>
            <c:spPr>
              <a:solidFill>
                <a:srgbClr val="7ECAC4"/>
              </a:solidFill>
            </c:spPr>
            <c:extLst>
              <c:ext xmlns:c16="http://schemas.microsoft.com/office/drawing/2014/chart" uri="{C3380CC4-5D6E-409C-BE32-E72D297353CC}">
                <c16:uniqueId val="{000005C5-7BE2-49F1-B47F-64DDA7BF3F9D}"/>
              </c:ext>
            </c:extLst>
          </c:dPt>
          <c:dPt>
            <c:idx val="738"/>
            <c:invertIfNegative val="1"/>
            <c:bubble3D val="0"/>
            <c:spPr>
              <a:solidFill>
                <a:srgbClr val="7ECAC4"/>
              </a:solidFill>
            </c:spPr>
            <c:extLst>
              <c:ext xmlns:c16="http://schemas.microsoft.com/office/drawing/2014/chart" uri="{C3380CC4-5D6E-409C-BE32-E72D297353CC}">
                <c16:uniqueId val="{000005C7-7BE2-49F1-B47F-64DDA7BF3F9D}"/>
              </c:ext>
            </c:extLst>
          </c:dPt>
          <c:dPt>
            <c:idx val="739"/>
            <c:invertIfNegative val="1"/>
            <c:bubble3D val="0"/>
            <c:spPr>
              <a:solidFill>
                <a:srgbClr val="7ECAC4"/>
              </a:solidFill>
            </c:spPr>
            <c:extLst>
              <c:ext xmlns:c16="http://schemas.microsoft.com/office/drawing/2014/chart" uri="{C3380CC4-5D6E-409C-BE32-E72D297353CC}">
                <c16:uniqueId val="{000005C9-7BE2-49F1-B47F-64DDA7BF3F9D}"/>
              </c:ext>
            </c:extLst>
          </c:dPt>
          <c:dPt>
            <c:idx val="740"/>
            <c:invertIfNegative val="1"/>
            <c:bubble3D val="0"/>
            <c:spPr>
              <a:solidFill>
                <a:srgbClr val="7ECAC4"/>
              </a:solidFill>
            </c:spPr>
            <c:extLst>
              <c:ext xmlns:c16="http://schemas.microsoft.com/office/drawing/2014/chart" uri="{C3380CC4-5D6E-409C-BE32-E72D297353CC}">
                <c16:uniqueId val="{000005CB-7BE2-49F1-B47F-64DDA7BF3F9D}"/>
              </c:ext>
            </c:extLst>
          </c:dPt>
          <c:dPt>
            <c:idx val="741"/>
            <c:invertIfNegative val="1"/>
            <c:bubble3D val="0"/>
            <c:spPr>
              <a:solidFill>
                <a:srgbClr val="7ECAC4"/>
              </a:solidFill>
            </c:spPr>
            <c:extLst>
              <c:ext xmlns:c16="http://schemas.microsoft.com/office/drawing/2014/chart" uri="{C3380CC4-5D6E-409C-BE32-E72D297353CC}">
                <c16:uniqueId val="{000005CD-7BE2-49F1-B47F-64DDA7BF3F9D}"/>
              </c:ext>
            </c:extLst>
          </c:dPt>
          <c:dPt>
            <c:idx val="742"/>
            <c:invertIfNegative val="1"/>
            <c:bubble3D val="0"/>
            <c:spPr>
              <a:solidFill>
                <a:srgbClr val="7ECAC4"/>
              </a:solidFill>
            </c:spPr>
            <c:extLst>
              <c:ext xmlns:c16="http://schemas.microsoft.com/office/drawing/2014/chart" uri="{C3380CC4-5D6E-409C-BE32-E72D297353CC}">
                <c16:uniqueId val="{000005CF-7BE2-49F1-B47F-64DDA7BF3F9D}"/>
              </c:ext>
            </c:extLst>
          </c:dPt>
          <c:dPt>
            <c:idx val="743"/>
            <c:invertIfNegative val="1"/>
            <c:bubble3D val="0"/>
            <c:spPr>
              <a:solidFill>
                <a:srgbClr val="7ECAC4"/>
              </a:solidFill>
            </c:spPr>
            <c:extLst>
              <c:ext xmlns:c16="http://schemas.microsoft.com/office/drawing/2014/chart" uri="{C3380CC4-5D6E-409C-BE32-E72D297353CC}">
                <c16:uniqueId val="{000005D1-7BE2-49F1-B47F-64DDA7BF3F9D}"/>
              </c:ext>
            </c:extLst>
          </c:dPt>
          <c:dPt>
            <c:idx val="744"/>
            <c:invertIfNegative val="1"/>
            <c:bubble3D val="0"/>
            <c:spPr>
              <a:solidFill>
                <a:srgbClr val="7ECAC4"/>
              </a:solidFill>
            </c:spPr>
            <c:extLst>
              <c:ext xmlns:c16="http://schemas.microsoft.com/office/drawing/2014/chart" uri="{C3380CC4-5D6E-409C-BE32-E72D297353CC}">
                <c16:uniqueId val="{000005D3-7BE2-49F1-B47F-64DDA7BF3F9D}"/>
              </c:ext>
            </c:extLst>
          </c:dPt>
          <c:dPt>
            <c:idx val="745"/>
            <c:invertIfNegative val="1"/>
            <c:bubble3D val="0"/>
            <c:spPr>
              <a:solidFill>
                <a:srgbClr val="7ECAC4"/>
              </a:solidFill>
            </c:spPr>
            <c:extLst>
              <c:ext xmlns:c16="http://schemas.microsoft.com/office/drawing/2014/chart" uri="{C3380CC4-5D6E-409C-BE32-E72D297353CC}">
                <c16:uniqueId val="{000005D5-7BE2-49F1-B47F-64DDA7BF3F9D}"/>
              </c:ext>
            </c:extLst>
          </c:dPt>
          <c:dPt>
            <c:idx val="746"/>
            <c:invertIfNegative val="1"/>
            <c:bubble3D val="0"/>
            <c:spPr>
              <a:solidFill>
                <a:srgbClr val="7ECAC4"/>
              </a:solidFill>
            </c:spPr>
            <c:extLst>
              <c:ext xmlns:c16="http://schemas.microsoft.com/office/drawing/2014/chart" uri="{C3380CC4-5D6E-409C-BE32-E72D297353CC}">
                <c16:uniqueId val="{000005D7-7BE2-49F1-B47F-64DDA7BF3F9D}"/>
              </c:ext>
            </c:extLst>
          </c:dPt>
          <c:dPt>
            <c:idx val="747"/>
            <c:invertIfNegative val="1"/>
            <c:bubble3D val="0"/>
            <c:spPr>
              <a:solidFill>
                <a:srgbClr val="7ECAC4"/>
              </a:solidFill>
            </c:spPr>
            <c:extLst>
              <c:ext xmlns:c16="http://schemas.microsoft.com/office/drawing/2014/chart" uri="{C3380CC4-5D6E-409C-BE32-E72D297353CC}">
                <c16:uniqueId val="{000005D9-7BE2-49F1-B47F-64DDA7BF3F9D}"/>
              </c:ext>
            </c:extLst>
          </c:dPt>
          <c:dPt>
            <c:idx val="748"/>
            <c:invertIfNegative val="1"/>
            <c:bubble3D val="0"/>
            <c:spPr>
              <a:solidFill>
                <a:srgbClr val="7ECAC4"/>
              </a:solidFill>
            </c:spPr>
            <c:extLst>
              <c:ext xmlns:c16="http://schemas.microsoft.com/office/drawing/2014/chart" uri="{C3380CC4-5D6E-409C-BE32-E72D297353CC}">
                <c16:uniqueId val="{000005DB-7BE2-49F1-B47F-64DDA7BF3F9D}"/>
              </c:ext>
            </c:extLst>
          </c:dPt>
          <c:dPt>
            <c:idx val="749"/>
            <c:invertIfNegative val="1"/>
            <c:bubble3D val="0"/>
            <c:spPr>
              <a:solidFill>
                <a:srgbClr val="7ECAC4"/>
              </a:solidFill>
            </c:spPr>
            <c:extLst>
              <c:ext xmlns:c16="http://schemas.microsoft.com/office/drawing/2014/chart" uri="{C3380CC4-5D6E-409C-BE32-E72D297353CC}">
                <c16:uniqueId val="{000005DD-7BE2-49F1-B47F-64DDA7BF3F9D}"/>
              </c:ext>
            </c:extLst>
          </c:dPt>
          <c:dPt>
            <c:idx val="750"/>
            <c:invertIfNegative val="1"/>
            <c:bubble3D val="0"/>
            <c:spPr>
              <a:solidFill>
                <a:srgbClr val="7ECAC4"/>
              </a:solidFill>
            </c:spPr>
            <c:extLst>
              <c:ext xmlns:c16="http://schemas.microsoft.com/office/drawing/2014/chart" uri="{C3380CC4-5D6E-409C-BE32-E72D297353CC}">
                <c16:uniqueId val="{000005DF-7BE2-49F1-B47F-64DDA7BF3F9D}"/>
              </c:ext>
            </c:extLst>
          </c:dPt>
          <c:dPt>
            <c:idx val="751"/>
            <c:invertIfNegative val="1"/>
            <c:bubble3D val="0"/>
            <c:spPr>
              <a:solidFill>
                <a:srgbClr val="7ECAC4"/>
              </a:solidFill>
            </c:spPr>
            <c:extLst>
              <c:ext xmlns:c16="http://schemas.microsoft.com/office/drawing/2014/chart" uri="{C3380CC4-5D6E-409C-BE32-E72D297353CC}">
                <c16:uniqueId val="{000005E1-7BE2-49F1-B47F-64DDA7BF3F9D}"/>
              </c:ext>
            </c:extLst>
          </c:dPt>
          <c:dPt>
            <c:idx val="752"/>
            <c:invertIfNegative val="1"/>
            <c:bubble3D val="0"/>
            <c:spPr>
              <a:solidFill>
                <a:srgbClr val="7ECAC4"/>
              </a:solidFill>
            </c:spPr>
            <c:extLst>
              <c:ext xmlns:c16="http://schemas.microsoft.com/office/drawing/2014/chart" uri="{C3380CC4-5D6E-409C-BE32-E72D297353CC}">
                <c16:uniqueId val="{000005E3-7BE2-49F1-B47F-64DDA7BF3F9D}"/>
              </c:ext>
            </c:extLst>
          </c:dPt>
          <c:dPt>
            <c:idx val="753"/>
            <c:invertIfNegative val="1"/>
            <c:bubble3D val="0"/>
            <c:spPr>
              <a:solidFill>
                <a:srgbClr val="7ECAC4"/>
              </a:solidFill>
            </c:spPr>
            <c:extLst>
              <c:ext xmlns:c16="http://schemas.microsoft.com/office/drawing/2014/chart" uri="{C3380CC4-5D6E-409C-BE32-E72D297353CC}">
                <c16:uniqueId val="{000005E5-7BE2-49F1-B47F-64DDA7BF3F9D}"/>
              </c:ext>
            </c:extLst>
          </c:dPt>
          <c:dPt>
            <c:idx val="754"/>
            <c:invertIfNegative val="1"/>
            <c:bubble3D val="0"/>
            <c:spPr>
              <a:solidFill>
                <a:srgbClr val="7ECAC4"/>
              </a:solidFill>
            </c:spPr>
            <c:extLst>
              <c:ext xmlns:c16="http://schemas.microsoft.com/office/drawing/2014/chart" uri="{C3380CC4-5D6E-409C-BE32-E72D297353CC}">
                <c16:uniqueId val="{000005E7-7BE2-49F1-B47F-64DDA7BF3F9D}"/>
              </c:ext>
            </c:extLst>
          </c:dPt>
          <c:dPt>
            <c:idx val="755"/>
            <c:invertIfNegative val="1"/>
            <c:bubble3D val="0"/>
            <c:spPr>
              <a:solidFill>
                <a:srgbClr val="7ECAC4"/>
              </a:solidFill>
            </c:spPr>
            <c:extLst>
              <c:ext xmlns:c16="http://schemas.microsoft.com/office/drawing/2014/chart" uri="{C3380CC4-5D6E-409C-BE32-E72D297353CC}">
                <c16:uniqueId val="{000005E9-7BE2-49F1-B47F-64DDA7BF3F9D}"/>
              </c:ext>
            </c:extLst>
          </c:dPt>
          <c:dPt>
            <c:idx val="756"/>
            <c:invertIfNegative val="1"/>
            <c:bubble3D val="0"/>
            <c:spPr>
              <a:solidFill>
                <a:srgbClr val="7ECAC4"/>
              </a:solidFill>
            </c:spPr>
            <c:extLst>
              <c:ext xmlns:c16="http://schemas.microsoft.com/office/drawing/2014/chart" uri="{C3380CC4-5D6E-409C-BE32-E72D297353CC}">
                <c16:uniqueId val="{000005EB-7BE2-49F1-B47F-64DDA7BF3F9D}"/>
              </c:ext>
            </c:extLst>
          </c:dPt>
          <c:dPt>
            <c:idx val="757"/>
            <c:invertIfNegative val="1"/>
            <c:bubble3D val="0"/>
            <c:spPr>
              <a:solidFill>
                <a:srgbClr val="7ECAC4"/>
              </a:solidFill>
            </c:spPr>
            <c:extLst>
              <c:ext xmlns:c16="http://schemas.microsoft.com/office/drawing/2014/chart" uri="{C3380CC4-5D6E-409C-BE32-E72D297353CC}">
                <c16:uniqueId val="{000005ED-7BE2-49F1-B47F-64DDA7BF3F9D}"/>
              </c:ext>
            </c:extLst>
          </c:dPt>
          <c:dPt>
            <c:idx val="758"/>
            <c:invertIfNegative val="1"/>
            <c:bubble3D val="0"/>
            <c:spPr>
              <a:solidFill>
                <a:srgbClr val="7ECAC4"/>
              </a:solidFill>
            </c:spPr>
            <c:extLst>
              <c:ext xmlns:c16="http://schemas.microsoft.com/office/drawing/2014/chart" uri="{C3380CC4-5D6E-409C-BE32-E72D297353CC}">
                <c16:uniqueId val="{000005EF-7BE2-49F1-B47F-64DDA7BF3F9D}"/>
              </c:ext>
            </c:extLst>
          </c:dPt>
          <c:dPt>
            <c:idx val="759"/>
            <c:invertIfNegative val="1"/>
            <c:bubble3D val="0"/>
            <c:spPr>
              <a:solidFill>
                <a:srgbClr val="7ECAC4"/>
              </a:solidFill>
            </c:spPr>
            <c:extLst>
              <c:ext xmlns:c16="http://schemas.microsoft.com/office/drawing/2014/chart" uri="{C3380CC4-5D6E-409C-BE32-E72D297353CC}">
                <c16:uniqueId val="{000005F1-7BE2-49F1-B47F-64DDA7BF3F9D}"/>
              </c:ext>
            </c:extLst>
          </c:dPt>
          <c:dPt>
            <c:idx val="760"/>
            <c:invertIfNegative val="1"/>
            <c:bubble3D val="0"/>
            <c:spPr>
              <a:solidFill>
                <a:srgbClr val="7ECAC4"/>
              </a:solidFill>
            </c:spPr>
            <c:extLst>
              <c:ext xmlns:c16="http://schemas.microsoft.com/office/drawing/2014/chart" uri="{C3380CC4-5D6E-409C-BE32-E72D297353CC}">
                <c16:uniqueId val="{000005F3-7BE2-49F1-B47F-64DDA7BF3F9D}"/>
              </c:ext>
            </c:extLst>
          </c:dPt>
          <c:dPt>
            <c:idx val="761"/>
            <c:invertIfNegative val="1"/>
            <c:bubble3D val="0"/>
            <c:spPr>
              <a:solidFill>
                <a:srgbClr val="7ECAC4"/>
              </a:solidFill>
            </c:spPr>
            <c:extLst>
              <c:ext xmlns:c16="http://schemas.microsoft.com/office/drawing/2014/chart" uri="{C3380CC4-5D6E-409C-BE32-E72D297353CC}">
                <c16:uniqueId val="{000005F5-7BE2-49F1-B47F-64DDA7BF3F9D}"/>
              </c:ext>
            </c:extLst>
          </c:dPt>
          <c:dPt>
            <c:idx val="762"/>
            <c:invertIfNegative val="1"/>
            <c:bubble3D val="0"/>
            <c:spPr>
              <a:solidFill>
                <a:srgbClr val="7ECAC4"/>
              </a:solidFill>
            </c:spPr>
            <c:extLst>
              <c:ext xmlns:c16="http://schemas.microsoft.com/office/drawing/2014/chart" uri="{C3380CC4-5D6E-409C-BE32-E72D297353CC}">
                <c16:uniqueId val="{000005F7-7BE2-49F1-B47F-64DDA7BF3F9D}"/>
              </c:ext>
            </c:extLst>
          </c:dPt>
          <c:dPt>
            <c:idx val="763"/>
            <c:invertIfNegative val="1"/>
            <c:bubble3D val="0"/>
            <c:spPr>
              <a:solidFill>
                <a:srgbClr val="7ECAC4"/>
              </a:solidFill>
            </c:spPr>
            <c:extLst>
              <c:ext xmlns:c16="http://schemas.microsoft.com/office/drawing/2014/chart" uri="{C3380CC4-5D6E-409C-BE32-E72D297353CC}">
                <c16:uniqueId val="{000005F9-7BE2-49F1-B47F-64DDA7BF3F9D}"/>
              </c:ext>
            </c:extLst>
          </c:dPt>
          <c:dPt>
            <c:idx val="764"/>
            <c:invertIfNegative val="1"/>
            <c:bubble3D val="0"/>
            <c:spPr>
              <a:solidFill>
                <a:srgbClr val="7ECAC4"/>
              </a:solidFill>
            </c:spPr>
            <c:extLst>
              <c:ext xmlns:c16="http://schemas.microsoft.com/office/drawing/2014/chart" uri="{C3380CC4-5D6E-409C-BE32-E72D297353CC}">
                <c16:uniqueId val="{000005FB-7BE2-49F1-B47F-64DDA7BF3F9D}"/>
              </c:ext>
            </c:extLst>
          </c:dPt>
          <c:dPt>
            <c:idx val="765"/>
            <c:invertIfNegative val="1"/>
            <c:bubble3D val="0"/>
            <c:spPr>
              <a:solidFill>
                <a:srgbClr val="7ECAC4"/>
              </a:solidFill>
            </c:spPr>
            <c:extLst>
              <c:ext xmlns:c16="http://schemas.microsoft.com/office/drawing/2014/chart" uri="{C3380CC4-5D6E-409C-BE32-E72D297353CC}">
                <c16:uniqueId val="{000005FD-7BE2-49F1-B47F-64DDA7BF3F9D}"/>
              </c:ext>
            </c:extLst>
          </c:dPt>
          <c:dPt>
            <c:idx val="766"/>
            <c:invertIfNegative val="1"/>
            <c:bubble3D val="0"/>
            <c:spPr>
              <a:solidFill>
                <a:srgbClr val="7ECAC4"/>
              </a:solidFill>
            </c:spPr>
            <c:extLst>
              <c:ext xmlns:c16="http://schemas.microsoft.com/office/drawing/2014/chart" uri="{C3380CC4-5D6E-409C-BE32-E72D297353CC}">
                <c16:uniqueId val="{000005FF-7BE2-49F1-B47F-64DDA7BF3F9D}"/>
              </c:ext>
            </c:extLst>
          </c:dPt>
          <c:dPt>
            <c:idx val="767"/>
            <c:invertIfNegative val="1"/>
            <c:bubble3D val="0"/>
            <c:spPr>
              <a:solidFill>
                <a:srgbClr val="7ECAC4"/>
              </a:solidFill>
            </c:spPr>
            <c:extLst>
              <c:ext xmlns:c16="http://schemas.microsoft.com/office/drawing/2014/chart" uri="{C3380CC4-5D6E-409C-BE32-E72D297353CC}">
                <c16:uniqueId val="{00000601-7BE2-49F1-B47F-64DDA7BF3F9D}"/>
              </c:ext>
            </c:extLst>
          </c:dPt>
          <c:dPt>
            <c:idx val="768"/>
            <c:invertIfNegative val="1"/>
            <c:bubble3D val="0"/>
            <c:spPr>
              <a:solidFill>
                <a:srgbClr val="7ECAC4"/>
              </a:solidFill>
            </c:spPr>
            <c:extLst>
              <c:ext xmlns:c16="http://schemas.microsoft.com/office/drawing/2014/chart" uri="{C3380CC4-5D6E-409C-BE32-E72D297353CC}">
                <c16:uniqueId val="{00000603-7BE2-49F1-B47F-64DDA7BF3F9D}"/>
              </c:ext>
            </c:extLst>
          </c:dPt>
          <c:dPt>
            <c:idx val="769"/>
            <c:invertIfNegative val="1"/>
            <c:bubble3D val="0"/>
            <c:spPr>
              <a:solidFill>
                <a:srgbClr val="7ECAC4"/>
              </a:solidFill>
            </c:spPr>
            <c:extLst>
              <c:ext xmlns:c16="http://schemas.microsoft.com/office/drawing/2014/chart" uri="{C3380CC4-5D6E-409C-BE32-E72D297353CC}">
                <c16:uniqueId val="{00000605-7BE2-49F1-B47F-64DDA7BF3F9D}"/>
              </c:ext>
            </c:extLst>
          </c:dPt>
          <c:dPt>
            <c:idx val="770"/>
            <c:invertIfNegative val="1"/>
            <c:bubble3D val="0"/>
            <c:spPr>
              <a:solidFill>
                <a:srgbClr val="7ECAC4"/>
              </a:solidFill>
            </c:spPr>
            <c:extLst>
              <c:ext xmlns:c16="http://schemas.microsoft.com/office/drawing/2014/chart" uri="{C3380CC4-5D6E-409C-BE32-E72D297353CC}">
                <c16:uniqueId val="{00000607-7BE2-49F1-B47F-64DDA7BF3F9D}"/>
              </c:ext>
            </c:extLst>
          </c:dPt>
          <c:dPt>
            <c:idx val="771"/>
            <c:invertIfNegative val="1"/>
            <c:bubble3D val="0"/>
            <c:spPr>
              <a:solidFill>
                <a:srgbClr val="7ECAC4"/>
              </a:solidFill>
            </c:spPr>
            <c:extLst>
              <c:ext xmlns:c16="http://schemas.microsoft.com/office/drawing/2014/chart" uri="{C3380CC4-5D6E-409C-BE32-E72D297353CC}">
                <c16:uniqueId val="{00000609-7BE2-49F1-B47F-64DDA7BF3F9D}"/>
              </c:ext>
            </c:extLst>
          </c:dPt>
          <c:dPt>
            <c:idx val="772"/>
            <c:invertIfNegative val="1"/>
            <c:bubble3D val="0"/>
            <c:spPr>
              <a:solidFill>
                <a:srgbClr val="7ECAC4"/>
              </a:solidFill>
            </c:spPr>
            <c:extLst>
              <c:ext xmlns:c16="http://schemas.microsoft.com/office/drawing/2014/chart" uri="{C3380CC4-5D6E-409C-BE32-E72D297353CC}">
                <c16:uniqueId val="{0000060B-7BE2-49F1-B47F-64DDA7BF3F9D}"/>
              </c:ext>
            </c:extLst>
          </c:dPt>
          <c:dPt>
            <c:idx val="773"/>
            <c:invertIfNegative val="1"/>
            <c:bubble3D val="0"/>
            <c:spPr>
              <a:solidFill>
                <a:srgbClr val="7ECAC4"/>
              </a:solidFill>
            </c:spPr>
            <c:extLst>
              <c:ext xmlns:c16="http://schemas.microsoft.com/office/drawing/2014/chart" uri="{C3380CC4-5D6E-409C-BE32-E72D297353CC}">
                <c16:uniqueId val="{0000060D-7BE2-49F1-B47F-64DDA7BF3F9D}"/>
              </c:ext>
            </c:extLst>
          </c:dPt>
          <c:dPt>
            <c:idx val="774"/>
            <c:invertIfNegative val="1"/>
            <c:bubble3D val="0"/>
            <c:spPr>
              <a:solidFill>
                <a:srgbClr val="7ECAC4"/>
              </a:solidFill>
            </c:spPr>
            <c:extLst>
              <c:ext xmlns:c16="http://schemas.microsoft.com/office/drawing/2014/chart" uri="{C3380CC4-5D6E-409C-BE32-E72D297353CC}">
                <c16:uniqueId val="{0000060F-7BE2-49F1-B47F-64DDA7BF3F9D}"/>
              </c:ext>
            </c:extLst>
          </c:dPt>
          <c:dPt>
            <c:idx val="775"/>
            <c:invertIfNegative val="1"/>
            <c:bubble3D val="0"/>
            <c:spPr>
              <a:solidFill>
                <a:srgbClr val="7ECAC4"/>
              </a:solidFill>
            </c:spPr>
            <c:extLst>
              <c:ext xmlns:c16="http://schemas.microsoft.com/office/drawing/2014/chart" uri="{C3380CC4-5D6E-409C-BE32-E72D297353CC}">
                <c16:uniqueId val="{00000611-7BE2-49F1-B47F-64DDA7BF3F9D}"/>
              </c:ext>
            </c:extLst>
          </c:dPt>
          <c:dPt>
            <c:idx val="776"/>
            <c:invertIfNegative val="1"/>
            <c:bubble3D val="0"/>
            <c:spPr>
              <a:solidFill>
                <a:srgbClr val="7ECAC4"/>
              </a:solidFill>
            </c:spPr>
            <c:extLst>
              <c:ext xmlns:c16="http://schemas.microsoft.com/office/drawing/2014/chart" uri="{C3380CC4-5D6E-409C-BE32-E72D297353CC}">
                <c16:uniqueId val="{00000613-7BE2-49F1-B47F-64DDA7BF3F9D}"/>
              </c:ext>
            </c:extLst>
          </c:dPt>
          <c:dPt>
            <c:idx val="777"/>
            <c:invertIfNegative val="1"/>
            <c:bubble3D val="0"/>
            <c:spPr>
              <a:solidFill>
                <a:srgbClr val="7ECAC4"/>
              </a:solidFill>
            </c:spPr>
            <c:extLst>
              <c:ext xmlns:c16="http://schemas.microsoft.com/office/drawing/2014/chart" uri="{C3380CC4-5D6E-409C-BE32-E72D297353CC}">
                <c16:uniqueId val="{00000615-7BE2-49F1-B47F-64DDA7BF3F9D}"/>
              </c:ext>
            </c:extLst>
          </c:dPt>
          <c:dPt>
            <c:idx val="778"/>
            <c:invertIfNegative val="1"/>
            <c:bubble3D val="0"/>
            <c:spPr>
              <a:solidFill>
                <a:srgbClr val="7ECAC4"/>
              </a:solidFill>
            </c:spPr>
            <c:extLst>
              <c:ext xmlns:c16="http://schemas.microsoft.com/office/drawing/2014/chart" uri="{C3380CC4-5D6E-409C-BE32-E72D297353CC}">
                <c16:uniqueId val="{00000617-7BE2-49F1-B47F-64DDA7BF3F9D}"/>
              </c:ext>
            </c:extLst>
          </c:dPt>
          <c:dPt>
            <c:idx val="779"/>
            <c:invertIfNegative val="1"/>
            <c:bubble3D val="0"/>
            <c:spPr>
              <a:solidFill>
                <a:srgbClr val="7ECAC4"/>
              </a:solidFill>
            </c:spPr>
            <c:extLst>
              <c:ext xmlns:c16="http://schemas.microsoft.com/office/drawing/2014/chart" uri="{C3380CC4-5D6E-409C-BE32-E72D297353CC}">
                <c16:uniqueId val="{00000619-7BE2-49F1-B47F-64DDA7BF3F9D}"/>
              </c:ext>
            </c:extLst>
          </c:dPt>
          <c:dPt>
            <c:idx val="780"/>
            <c:invertIfNegative val="1"/>
            <c:bubble3D val="0"/>
            <c:spPr>
              <a:solidFill>
                <a:srgbClr val="7ECAC4"/>
              </a:solidFill>
            </c:spPr>
            <c:extLst>
              <c:ext xmlns:c16="http://schemas.microsoft.com/office/drawing/2014/chart" uri="{C3380CC4-5D6E-409C-BE32-E72D297353CC}">
                <c16:uniqueId val="{0000061B-7BE2-49F1-B47F-64DDA7BF3F9D}"/>
              </c:ext>
            </c:extLst>
          </c:dPt>
          <c:dPt>
            <c:idx val="781"/>
            <c:invertIfNegative val="1"/>
            <c:bubble3D val="0"/>
            <c:spPr>
              <a:solidFill>
                <a:srgbClr val="7ECAC4"/>
              </a:solidFill>
            </c:spPr>
            <c:extLst>
              <c:ext xmlns:c16="http://schemas.microsoft.com/office/drawing/2014/chart" uri="{C3380CC4-5D6E-409C-BE32-E72D297353CC}">
                <c16:uniqueId val="{0000061D-7BE2-49F1-B47F-64DDA7BF3F9D}"/>
              </c:ext>
            </c:extLst>
          </c:dPt>
          <c:dPt>
            <c:idx val="782"/>
            <c:invertIfNegative val="1"/>
            <c:bubble3D val="0"/>
            <c:spPr>
              <a:solidFill>
                <a:srgbClr val="7ECAC4"/>
              </a:solidFill>
            </c:spPr>
            <c:extLst>
              <c:ext xmlns:c16="http://schemas.microsoft.com/office/drawing/2014/chart" uri="{C3380CC4-5D6E-409C-BE32-E72D297353CC}">
                <c16:uniqueId val="{0000061F-7BE2-49F1-B47F-64DDA7BF3F9D}"/>
              </c:ext>
            </c:extLst>
          </c:dPt>
          <c:dPt>
            <c:idx val="783"/>
            <c:invertIfNegative val="1"/>
            <c:bubble3D val="0"/>
            <c:spPr>
              <a:solidFill>
                <a:srgbClr val="7ECAC4"/>
              </a:solidFill>
            </c:spPr>
            <c:extLst>
              <c:ext xmlns:c16="http://schemas.microsoft.com/office/drawing/2014/chart" uri="{C3380CC4-5D6E-409C-BE32-E72D297353CC}">
                <c16:uniqueId val="{00000621-7BE2-49F1-B47F-64DDA7BF3F9D}"/>
              </c:ext>
            </c:extLst>
          </c:dPt>
          <c:dPt>
            <c:idx val="784"/>
            <c:invertIfNegative val="1"/>
            <c:bubble3D val="0"/>
            <c:spPr>
              <a:solidFill>
                <a:srgbClr val="7ECAC4"/>
              </a:solidFill>
            </c:spPr>
            <c:extLst>
              <c:ext xmlns:c16="http://schemas.microsoft.com/office/drawing/2014/chart" uri="{C3380CC4-5D6E-409C-BE32-E72D297353CC}">
                <c16:uniqueId val="{00000623-7BE2-49F1-B47F-64DDA7BF3F9D}"/>
              </c:ext>
            </c:extLst>
          </c:dPt>
          <c:dPt>
            <c:idx val="785"/>
            <c:invertIfNegative val="1"/>
            <c:bubble3D val="0"/>
            <c:spPr>
              <a:solidFill>
                <a:srgbClr val="7ECAC4"/>
              </a:solidFill>
            </c:spPr>
            <c:extLst>
              <c:ext xmlns:c16="http://schemas.microsoft.com/office/drawing/2014/chart" uri="{C3380CC4-5D6E-409C-BE32-E72D297353CC}">
                <c16:uniqueId val="{00000625-7BE2-49F1-B47F-64DDA7BF3F9D}"/>
              </c:ext>
            </c:extLst>
          </c:dPt>
          <c:dPt>
            <c:idx val="786"/>
            <c:invertIfNegative val="1"/>
            <c:bubble3D val="0"/>
            <c:spPr>
              <a:solidFill>
                <a:srgbClr val="7ECAC4"/>
              </a:solidFill>
            </c:spPr>
            <c:extLst>
              <c:ext xmlns:c16="http://schemas.microsoft.com/office/drawing/2014/chart" uri="{C3380CC4-5D6E-409C-BE32-E72D297353CC}">
                <c16:uniqueId val="{00000627-7BE2-49F1-B47F-64DDA7BF3F9D}"/>
              </c:ext>
            </c:extLst>
          </c:dPt>
          <c:dPt>
            <c:idx val="787"/>
            <c:invertIfNegative val="1"/>
            <c:bubble3D val="0"/>
            <c:spPr>
              <a:solidFill>
                <a:srgbClr val="7ECAC4"/>
              </a:solidFill>
            </c:spPr>
            <c:extLst>
              <c:ext xmlns:c16="http://schemas.microsoft.com/office/drawing/2014/chart" uri="{C3380CC4-5D6E-409C-BE32-E72D297353CC}">
                <c16:uniqueId val="{00000629-7BE2-49F1-B47F-64DDA7BF3F9D}"/>
              </c:ext>
            </c:extLst>
          </c:dPt>
          <c:dPt>
            <c:idx val="788"/>
            <c:invertIfNegative val="1"/>
            <c:bubble3D val="0"/>
            <c:spPr>
              <a:solidFill>
                <a:srgbClr val="7ECAC4"/>
              </a:solidFill>
            </c:spPr>
            <c:extLst>
              <c:ext xmlns:c16="http://schemas.microsoft.com/office/drawing/2014/chart" uri="{C3380CC4-5D6E-409C-BE32-E72D297353CC}">
                <c16:uniqueId val="{0000062B-7BE2-49F1-B47F-64DDA7BF3F9D}"/>
              </c:ext>
            </c:extLst>
          </c:dPt>
          <c:dPt>
            <c:idx val="789"/>
            <c:invertIfNegative val="1"/>
            <c:bubble3D val="0"/>
            <c:spPr>
              <a:solidFill>
                <a:srgbClr val="7ECAC4"/>
              </a:solidFill>
            </c:spPr>
            <c:extLst>
              <c:ext xmlns:c16="http://schemas.microsoft.com/office/drawing/2014/chart" uri="{C3380CC4-5D6E-409C-BE32-E72D297353CC}">
                <c16:uniqueId val="{0000062D-7BE2-49F1-B47F-64DDA7BF3F9D}"/>
              </c:ext>
            </c:extLst>
          </c:dPt>
          <c:dPt>
            <c:idx val="790"/>
            <c:invertIfNegative val="1"/>
            <c:bubble3D val="0"/>
            <c:spPr>
              <a:solidFill>
                <a:srgbClr val="7ECAC4"/>
              </a:solidFill>
            </c:spPr>
            <c:extLst>
              <c:ext xmlns:c16="http://schemas.microsoft.com/office/drawing/2014/chart" uri="{C3380CC4-5D6E-409C-BE32-E72D297353CC}">
                <c16:uniqueId val="{0000062F-7BE2-49F1-B47F-64DDA7BF3F9D}"/>
              </c:ext>
            </c:extLst>
          </c:dPt>
          <c:dPt>
            <c:idx val="791"/>
            <c:invertIfNegative val="1"/>
            <c:bubble3D val="0"/>
            <c:spPr>
              <a:solidFill>
                <a:srgbClr val="7ECAC4"/>
              </a:solidFill>
            </c:spPr>
            <c:extLst>
              <c:ext xmlns:c16="http://schemas.microsoft.com/office/drawing/2014/chart" uri="{C3380CC4-5D6E-409C-BE32-E72D297353CC}">
                <c16:uniqueId val="{00000631-7BE2-49F1-B47F-64DDA7BF3F9D}"/>
              </c:ext>
            </c:extLst>
          </c:dPt>
          <c:dPt>
            <c:idx val="792"/>
            <c:invertIfNegative val="1"/>
            <c:bubble3D val="0"/>
            <c:spPr>
              <a:solidFill>
                <a:srgbClr val="7ECAC4"/>
              </a:solidFill>
            </c:spPr>
            <c:extLst>
              <c:ext xmlns:c16="http://schemas.microsoft.com/office/drawing/2014/chart" uri="{C3380CC4-5D6E-409C-BE32-E72D297353CC}">
                <c16:uniqueId val="{00000633-7BE2-49F1-B47F-64DDA7BF3F9D}"/>
              </c:ext>
            </c:extLst>
          </c:dPt>
          <c:dPt>
            <c:idx val="793"/>
            <c:invertIfNegative val="1"/>
            <c:bubble3D val="0"/>
            <c:spPr>
              <a:solidFill>
                <a:srgbClr val="7ECAC4"/>
              </a:solidFill>
            </c:spPr>
            <c:extLst>
              <c:ext xmlns:c16="http://schemas.microsoft.com/office/drawing/2014/chart" uri="{C3380CC4-5D6E-409C-BE32-E72D297353CC}">
                <c16:uniqueId val="{00000635-7BE2-49F1-B47F-64DDA7BF3F9D}"/>
              </c:ext>
            </c:extLst>
          </c:dPt>
          <c:dPt>
            <c:idx val="794"/>
            <c:invertIfNegative val="1"/>
            <c:bubble3D val="0"/>
            <c:spPr>
              <a:solidFill>
                <a:srgbClr val="7ECAC4"/>
              </a:solidFill>
            </c:spPr>
            <c:extLst>
              <c:ext xmlns:c16="http://schemas.microsoft.com/office/drawing/2014/chart" uri="{C3380CC4-5D6E-409C-BE32-E72D297353CC}">
                <c16:uniqueId val="{00000637-7BE2-49F1-B47F-64DDA7BF3F9D}"/>
              </c:ext>
            </c:extLst>
          </c:dPt>
          <c:dPt>
            <c:idx val="795"/>
            <c:invertIfNegative val="1"/>
            <c:bubble3D val="0"/>
            <c:spPr>
              <a:solidFill>
                <a:srgbClr val="7ECAC4"/>
              </a:solidFill>
            </c:spPr>
            <c:extLst>
              <c:ext xmlns:c16="http://schemas.microsoft.com/office/drawing/2014/chart" uri="{C3380CC4-5D6E-409C-BE32-E72D297353CC}">
                <c16:uniqueId val="{00000639-7BE2-49F1-B47F-64DDA7BF3F9D}"/>
              </c:ext>
            </c:extLst>
          </c:dPt>
          <c:dPt>
            <c:idx val="796"/>
            <c:invertIfNegative val="1"/>
            <c:bubble3D val="0"/>
            <c:spPr>
              <a:solidFill>
                <a:srgbClr val="7ECAC4"/>
              </a:solidFill>
            </c:spPr>
            <c:extLst>
              <c:ext xmlns:c16="http://schemas.microsoft.com/office/drawing/2014/chart" uri="{C3380CC4-5D6E-409C-BE32-E72D297353CC}">
                <c16:uniqueId val="{0000063B-7BE2-49F1-B47F-64DDA7BF3F9D}"/>
              </c:ext>
            </c:extLst>
          </c:dPt>
          <c:dPt>
            <c:idx val="797"/>
            <c:invertIfNegative val="1"/>
            <c:bubble3D val="0"/>
            <c:spPr>
              <a:solidFill>
                <a:srgbClr val="7ECAC4"/>
              </a:solidFill>
            </c:spPr>
            <c:extLst>
              <c:ext xmlns:c16="http://schemas.microsoft.com/office/drawing/2014/chart" uri="{C3380CC4-5D6E-409C-BE32-E72D297353CC}">
                <c16:uniqueId val="{0000063D-7BE2-49F1-B47F-64DDA7BF3F9D}"/>
              </c:ext>
            </c:extLst>
          </c:dPt>
          <c:dPt>
            <c:idx val="798"/>
            <c:invertIfNegative val="1"/>
            <c:bubble3D val="0"/>
            <c:spPr>
              <a:solidFill>
                <a:srgbClr val="7ECAC4"/>
              </a:solidFill>
            </c:spPr>
            <c:extLst>
              <c:ext xmlns:c16="http://schemas.microsoft.com/office/drawing/2014/chart" uri="{C3380CC4-5D6E-409C-BE32-E72D297353CC}">
                <c16:uniqueId val="{0000063F-7BE2-49F1-B47F-64DDA7BF3F9D}"/>
              </c:ext>
            </c:extLst>
          </c:dPt>
          <c:dPt>
            <c:idx val="799"/>
            <c:invertIfNegative val="1"/>
            <c:bubble3D val="0"/>
            <c:spPr>
              <a:solidFill>
                <a:srgbClr val="7ECAC4"/>
              </a:solidFill>
            </c:spPr>
            <c:extLst>
              <c:ext xmlns:c16="http://schemas.microsoft.com/office/drawing/2014/chart" uri="{C3380CC4-5D6E-409C-BE32-E72D297353CC}">
                <c16:uniqueId val="{00000641-7BE2-49F1-B47F-64DDA7BF3F9D}"/>
              </c:ext>
            </c:extLst>
          </c:dPt>
          <c:dPt>
            <c:idx val="800"/>
            <c:invertIfNegative val="1"/>
            <c:bubble3D val="0"/>
            <c:spPr>
              <a:solidFill>
                <a:srgbClr val="7ECAC4"/>
              </a:solidFill>
            </c:spPr>
            <c:extLst>
              <c:ext xmlns:c16="http://schemas.microsoft.com/office/drawing/2014/chart" uri="{C3380CC4-5D6E-409C-BE32-E72D297353CC}">
                <c16:uniqueId val="{00000643-7BE2-49F1-B47F-64DDA7BF3F9D}"/>
              </c:ext>
            </c:extLst>
          </c:dPt>
          <c:dPt>
            <c:idx val="801"/>
            <c:invertIfNegative val="1"/>
            <c:bubble3D val="0"/>
            <c:spPr>
              <a:solidFill>
                <a:srgbClr val="7ECAC4"/>
              </a:solidFill>
            </c:spPr>
            <c:extLst>
              <c:ext xmlns:c16="http://schemas.microsoft.com/office/drawing/2014/chart" uri="{C3380CC4-5D6E-409C-BE32-E72D297353CC}">
                <c16:uniqueId val="{00000645-7BE2-49F1-B47F-64DDA7BF3F9D}"/>
              </c:ext>
            </c:extLst>
          </c:dPt>
          <c:dPt>
            <c:idx val="802"/>
            <c:invertIfNegative val="1"/>
            <c:bubble3D val="0"/>
            <c:spPr>
              <a:solidFill>
                <a:srgbClr val="7ECAC4"/>
              </a:solidFill>
            </c:spPr>
            <c:extLst>
              <c:ext xmlns:c16="http://schemas.microsoft.com/office/drawing/2014/chart" uri="{C3380CC4-5D6E-409C-BE32-E72D297353CC}">
                <c16:uniqueId val="{00000647-7BE2-49F1-B47F-64DDA7BF3F9D}"/>
              </c:ext>
            </c:extLst>
          </c:dPt>
          <c:dPt>
            <c:idx val="803"/>
            <c:invertIfNegative val="1"/>
            <c:bubble3D val="0"/>
            <c:spPr>
              <a:solidFill>
                <a:srgbClr val="7ECAC4"/>
              </a:solidFill>
            </c:spPr>
            <c:extLst>
              <c:ext xmlns:c16="http://schemas.microsoft.com/office/drawing/2014/chart" uri="{C3380CC4-5D6E-409C-BE32-E72D297353CC}">
                <c16:uniqueId val="{00000649-7BE2-49F1-B47F-64DDA7BF3F9D}"/>
              </c:ext>
            </c:extLst>
          </c:dPt>
          <c:dPt>
            <c:idx val="804"/>
            <c:invertIfNegative val="1"/>
            <c:bubble3D val="0"/>
            <c:spPr>
              <a:solidFill>
                <a:srgbClr val="7ECAC4"/>
              </a:solidFill>
            </c:spPr>
            <c:extLst>
              <c:ext xmlns:c16="http://schemas.microsoft.com/office/drawing/2014/chart" uri="{C3380CC4-5D6E-409C-BE32-E72D297353CC}">
                <c16:uniqueId val="{0000064B-7BE2-49F1-B47F-64DDA7BF3F9D}"/>
              </c:ext>
            </c:extLst>
          </c:dPt>
          <c:dPt>
            <c:idx val="805"/>
            <c:invertIfNegative val="1"/>
            <c:bubble3D val="0"/>
            <c:spPr>
              <a:solidFill>
                <a:srgbClr val="7ECAC4"/>
              </a:solidFill>
            </c:spPr>
            <c:extLst>
              <c:ext xmlns:c16="http://schemas.microsoft.com/office/drawing/2014/chart" uri="{C3380CC4-5D6E-409C-BE32-E72D297353CC}">
                <c16:uniqueId val="{0000064D-7BE2-49F1-B47F-64DDA7BF3F9D}"/>
              </c:ext>
            </c:extLst>
          </c:dPt>
          <c:dPt>
            <c:idx val="806"/>
            <c:invertIfNegative val="1"/>
            <c:bubble3D val="0"/>
            <c:spPr>
              <a:solidFill>
                <a:srgbClr val="7ECAC4"/>
              </a:solidFill>
            </c:spPr>
            <c:extLst>
              <c:ext xmlns:c16="http://schemas.microsoft.com/office/drawing/2014/chart" uri="{C3380CC4-5D6E-409C-BE32-E72D297353CC}">
                <c16:uniqueId val="{0000064F-7BE2-49F1-B47F-64DDA7BF3F9D}"/>
              </c:ext>
            </c:extLst>
          </c:dPt>
          <c:dPt>
            <c:idx val="807"/>
            <c:invertIfNegative val="1"/>
            <c:bubble3D val="0"/>
            <c:spPr>
              <a:solidFill>
                <a:srgbClr val="7ECAC4"/>
              </a:solidFill>
            </c:spPr>
            <c:extLst>
              <c:ext xmlns:c16="http://schemas.microsoft.com/office/drawing/2014/chart" uri="{C3380CC4-5D6E-409C-BE32-E72D297353CC}">
                <c16:uniqueId val="{00000651-7BE2-49F1-B47F-64DDA7BF3F9D}"/>
              </c:ext>
            </c:extLst>
          </c:dPt>
          <c:dPt>
            <c:idx val="808"/>
            <c:invertIfNegative val="1"/>
            <c:bubble3D val="0"/>
            <c:spPr>
              <a:solidFill>
                <a:srgbClr val="7ECAC4"/>
              </a:solidFill>
            </c:spPr>
            <c:extLst>
              <c:ext xmlns:c16="http://schemas.microsoft.com/office/drawing/2014/chart" uri="{C3380CC4-5D6E-409C-BE32-E72D297353CC}">
                <c16:uniqueId val="{00000653-7BE2-49F1-B47F-64DDA7BF3F9D}"/>
              </c:ext>
            </c:extLst>
          </c:dPt>
          <c:dPt>
            <c:idx val="809"/>
            <c:invertIfNegative val="1"/>
            <c:bubble3D val="0"/>
            <c:spPr>
              <a:solidFill>
                <a:srgbClr val="7ECAC4"/>
              </a:solidFill>
            </c:spPr>
            <c:extLst>
              <c:ext xmlns:c16="http://schemas.microsoft.com/office/drawing/2014/chart" uri="{C3380CC4-5D6E-409C-BE32-E72D297353CC}">
                <c16:uniqueId val="{00000655-7BE2-49F1-B47F-64DDA7BF3F9D}"/>
              </c:ext>
            </c:extLst>
          </c:dPt>
          <c:dPt>
            <c:idx val="810"/>
            <c:invertIfNegative val="1"/>
            <c:bubble3D val="0"/>
            <c:spPr>
              <a:solidFill>
                <a:srgbClr val="7ECAC4"/>
              </a:solidFill>
            </c:spPr>
            <c:extLst>
              <c:ext xmlns:c16="http://schemas.microsoft.com/office/drawing/2014/chart" uri="{C3380CC4-5D6E-409C-BE32-E72D297353CC}">
                <c16:uniqueId val="{00000657-7BE2-49F1-B47F-64DDA7BF3F9D}"/>
              </c:ext>
            </c:extLst>
          </c:dPt>
          <c:dPt>
            <c:idx val="811"/>
            <c:invertIfNegative val="1"/>
            <c:bubble3D val="0"/>
            <c:spPr>
              <a:solidFill>
                <a:srgbClr val="7ECAC4"/>
              </a:solidFill>
            </c:spPr>
            <c:extLst>
              <c:ext xmlns:c16="http://schemas.microsoft.com/office/drawing/2014/chart" uri="{C3380CC4-5D6E-409C-BE32-E72D297353CC}">
                <c16:uniqueId val="{00000659-7BE2-49F1-B47F-64DDA7BF3F9D}"/>
              </c:ext>
            </c:extLst>
          </c:dPt>
          <c:dPt>
            <c:idx val="812"/>
            <c:invertIfNegative val="1"/>
            <c:bubble3D val="0"/>
            <c:spPr>
              <a:solidFill>
                <a:srgbClr val="7ECAC4"/>
              </a:solidFill>
            </c:spPr>
            <c:extLst>
              <c:ext xmlns:c16="http://schemas.microsoft.com/office/drawing/2014/chart" uri="{C3380CC4-5D6E-409C-BE32-E72D297353CC}">
                <c16:uniqueId val="{0000065B-7BE2-49F1-B47F-64DDA7BF3F9D}"/>
              </c:ext>
            </c:extLst>
          </c:dPt>
          <c:dPt>
            <c:idx val="813"/>
            <c:invertIfNegative val="1"/>
            <c:bubble3D val="0"/>
            <c:spPr>
              <a:solidFill>
                <a:srgbClr val="7ECAC4"/>
              </a:solidFill>
            </c:spPr>
            <c:extLst>
              <c:ext xmlns:c16="http://schemas.microsoft.com/office/drawing/2014/chart" uri="{C3380CC4-5D6E-409C-BE32-E72D297353CC}">
                <c16:uniqueId val="{0000065D-7BE2-49F1-B47F-64DDA7BF3F9D}"/>
              </c:ext>
            </c:extLst>
          </c:dPt>
          <c:dPt>
            <c:idx val="814"/>
            <c:invertIfNegative val="1"/>
            <c:bubble3D val="0"/>
            <c:spPr>
              <a:solidFill>
                <a:srgbClr val="7ECAC4"/>
              </a:solidFill>
            </c:spPr>
            <c:extLst>
              <c:ext xmlns:c16="http://schemas.microsoft.com/office/drawing/2014/chart" uri="{C3380CC4-5D6E-409C-BE32-E72D297353CC}">
                <c16:uniqueId val="{0000065F-7BE2-49F1-B47F-64DDA7BF3F9D}"/>
              </c:ext>
            </c:extLst>
          </c:dPt>
          <c:dPt>
            <c:idx val="815"/>
            <c:invertIfNegative val="1"/>
            <c:bubble3D val="0"/>
            <c:spPr>
              <a:solidFill>
                <a:srgbClr val="7ECAC4"/>
              </a:solidFill>
            </c:spPr>
            <c:extLst>
              <c:ext xmlns:c16="http://schemas.microsoft.com/office/drawing/2014/chart" uri="{C3380CC4-5D6E-409C-BE32-E72D297353CC}">
                <c16:uniqueId val="{00000661-7BE2-49F1-B47F-64DDA7BF3F9D}"/>
              </c:ext>
            </c:extLst>
          </c:dPt>
          <c:dPt>
            <c:idx val="816"/>
            <c:invertIfNegative val="1"/>
            <c:bubble3D val="0"/>
            <c:spPr>
              <a:solidFill>
                <a:srgbClr val="7ECAC4"/>
              </a:solidFill>
            </c:spPr>
            <c:extLst>
              <c:ext xmlns:c16="http://schemas.microsoft.com/office/drawing/2014/chart" uri="{C3380CC4-5D6E-409C-BE32-E72D297353CC}">
                <c16:uniqueId val="{00000663-7BE2-49F1-B47F-64DDA7BF3F9D}"/>
              </c:ext>
            </c:extLst>
          </c:dPt>
          <c:dPt>
            <c:idx val="817"/>
            <c:invertIfNegative val="1"/>
            <c:bubble3D val="0"/>
            <c:spPr>
              <a:solidFill>
                <a:srgbClr val="7ECAC4"/>
              </a:solidFill>
            </c:spPr>
            <c:extLst>
              <c:ext xmlns:c16="http://schemas.microsoft.com/office/drawing/2014/chart" uri="{C3380CC4-5D6E-409C-BE32-E72D297353CC}">
                <c16:uniqueId val="{00000665-7BE2-49F1-B47F-64DDA7BF3F9D}"/>
              </c:ext>
            </c:extLst>
          </c:dPt>
          <c:dPt>
            <c:idx val="818"/>
            <c:invertIfNegative val="1"/>
            <c:bubble3D val="0"/>
            <c:spPr>
              <a:solidFill>
                <a:srgbClr val="7ECAC4"/>
              </a:solidFill>
            </c:spPr>
            <c:extLst>
              <c:ext xmlns:c16="http://schemas.microsoft.com/office/drawing/2014/chart" uri="{C3380CC4-5D6E-409C-BE32-E72D297353CC}">
                <c16:uniqueId val="{00000667-7BE2-49F1-B47F-64DDA7BF3F9D}"/>
              </c:ext>
            </c:extLst>
          </c:dPt>
          <c:dPt>
            <c:idx val="819"/>
            <c:invertIfNegative val="1"/>
            <c:bubble3D val="0"/>
            <c:spPr>
              <a:solidFill>
                <a:srgbClr val="7ECAC4"/>
              </a:solidFill>
            </c:spPr>
            <c:extLst>
              <c:ext xmlns:c16="http://schemas.microsoft.com/office/drawing/2014/chart" uri="{C3380CC4-5D6E-409C-BE32-E72D297353CC}">
                <c16:uniqueId val="{00000669-7BE2-49F1-B47F-64DDA7BF3F9D}"/>
              </c:ext>
            </c:extLst>
          </c:dPt>
          <c:dPt>
            <c:idx val="820"/>
            <c:invertIfNegative val="1"/>
            <c:bubble3D val="0"/>
            <c:spPr>
              <a:solidFill>
                <a:srgbClr val="7ECAC4"/>
              </a:solidFill>
            </c:spPr>
            <c:extLst>
              <c:ext xmlns:c16="http://schemas.microsoft.com/office/drawing/2014/chart" uri="{C3380CC4-5D6E-409C-BE32-E72D297353CC}">
                <c16:uniqueId val="{0000066B-7BE2-49F1-B47F-64DDA7BF3F9D}"/>
              </c:ext>
            </c:extLst>
          </c:dPt>
          <c:dPt>
            <c:idx val="821"/>
            <c:invertIfNegative val="1"/>
            <c:bubble3D val="0"/>
            <c:spPr>
              <a:solidFill>
                <a:srgbClr val="7ECAC4"/>
              </a:solidFill>
            </c:spPr>
            <c:extLst>
              <c:ext xmlns:c16="http://schemas.microsoft.com/office/drawing/2014/chart" uri="{C3380CC4-5D6E-409C-BE32-E72D297353CC}">
                <c16:uniqueId val="{0000066D-7BE2-49F1-B47F-64DDA7BF3F9D}"/>
              </c:ext>
            </c:extLst>
          </c:dPt>
          <c:dPt>
            <c:idx val="822"/>
            <c:invertIfNegative val="1"/>
            <c:bubble3D val="0"/>
            <c:spPr>
              <a:solidFill>
                <a:srgbClr val="7ECAC4"/>
              </a:solidFill>
            </c:spPr>
            <c:extLst>
              <c:ext xmlns:c16="http://schemas.microsoft.com/office/drawing/2014/chart" uri="{C3380CC4-5D6E-409C-BE32-E72D297353CC}">
                <c16:uniqueId val="{0000066F-7BE2-49F1-B47F-64DDA7BF3F9D}"/>
              </c:ext>
            </c:extLst>
          </c:dPt>
          <c:dPt>
            <c:idx val="823"/>
            <c:invertIfNegative val="1"/>
            <c:bubble3D val="0"/>
            <c:spPr>
              <a:solidFill>
                <a:srgbClr val="7ECAC4"/>
              </a:solidFill>
            </c:spPr>
            <c:extLst>
              <c:ext xmlns:c16="http://schemas.microsoft.com/office/drawing/2014/chart" uri="{C3380CC4-5D6E-409C-BE32-E72D297353CC}">
                <c16:uniqueId val="{00000671-7BE2-49F1-B47F-64DDA7BF3F9D}"/>
              </c:ext>
            </c:extLst>
          </c:dPt>
          <c:dPt>
            <c:idx val="824"/>
            <c:invertIfNegative val="1"/>
            <c:bubble3D val="0"/>
            <c:spPr>
              <a:solidFill>
                <a:srgbClr val="7ECAC4"/>
              </a:solidFill>
            </c:spPr>
            <c:extLst>
              <c:ext xmlns:c16="http://schemas.microsoft.com/office/drawing/2014/chart" uri="{C3380CC4-5D6E-409C-BE32-E72D297353CC}">
                <c16:uniqueId val="{00000673-7BE2-49F1-B47F-64DDA7BF3F9D}"/>
              </c:ext>
            </c:extLst>
          </c:dPt>
          <c:dPt>
            <c:idx val="825"/>
            <c:invertIfNegative val="1"/>
            <c:bubble3D val="0"/>
            <c:spPr>
              <a:solidFill>
                <a:srgbClr val="7ECAC4"/>
              </a:solidFill>
            </c:spPr>
            <c:extLst>
              <c:ext xmlns:c16="http://schemas.microsoft.com/office/drawing/2014/chart" uri="{C3380CC4-5D6E-409C-BE32-E72D297353CC}">
                <c16:uniqueId val="{00000675-7BE2-49F1-B47F-64DDA7BF3F9D}"/>
              </c:ext>
            </c:extLst>
          </c:dPt>
          <c:dPt>
            <c:idx val="826"/>
            <c:invertIfNegative val="1"/>
            <c:bubble3D val="0"/>
            <c:spPr>
              <a:solidFill>
                <a:srgbClr val="7ECAC4"/>
              </a:solidFill>
            </c:spPr>
            <c:extLst>
              <c:ext xmlns:c16="http://schemas.microsoft.com/office/drawing/2014/chart" uri="{C3380CC4-5D6E-409C-BE32-E72D297353CC}">
                <c16:uniqueId val="{00000677-7BE2-49F1-B47F-64DDA7BF3F9D}"/>
              </c:ext>
            </c:extLst>
          </c:dPt>
          <c:dPt>
            <c:idx val="827"/>
            <c:invertIfNegative val="1"/>
            <c:bubble3D val="0"/>
            <c:spPr>
              <a:solidFill>
                <a:srgbClr val="7ECAC4"/>
              </a:solidFill>
            </c:spPr>
            <c:extLst>
              <c:ext xmlns:c16="http://schemas.microsoft.com/office/drawing/2014/chart" uri="{C3380CC4-5D6E-409C-BE32-E72D297353CC}">
                <c16:uniqueId val="{00000679-7BE2-49F1-B47F-64DDA7BF3F9D}"/>
              </c:ext>
            </c:extLst>
          </c:dPt>
          <c:dPt>
            <c:idx val="828"/>
            <c:invertIfNegative val="1"/>
            <c:bubble3D val="0"/>
            <c:spPr>
              <a:solidFill>
                <a:srgbClr val="7ECAC4"/>
              </a:solidFill>
            </c:spPr>
            <c:extLst>
              <c:ext xmlns:c16="http://schemas.microsoft.com/office/drawing/2014/chart" uri="{C3380CC4-5D6E-409C-BE32-E72D297353CC}">
                <c16:uniqueId val="{0000067B-7BE2-49F1-B47F-64DDA7BF3F9D}"/>
              </c:ext>
            </c:extLst>
          </c:dPt>
          <c:dPt>
            <c:idx val="829"/>
            <c:invertIfNegative val="1"/>
            <c:bubble3D val="0"/>
            <c:spPr>
              <a:solidFill>
                <a:srgbClr val="7ECAC4"/>
              </a:solidFill>
            </c:spPr>
            <c:extLst>
              <c:ext xmlns:c16="http://schemas.microsoft.com/office/drawing/2014/chart" uri="{C3380CC4-5D6E-409C-BE32-E72D297353CC}">
                <c16:uniqueId val="{0000067D-7BE2-49F1-B47F-64DDA7BF3F9D}"/>
              </c:ext>
            </c:extLst>
          </c:dPt>
          <c:dPt>
            <c:idx val="830"/>
            <c:invertIfNegative val="1"/>
            <c:bubble3D val="0"/>
            <c:spPr>
              <a:solidFill>
                <a:srgbClr val="7ECAC4"/>
              </a:solidFill>
            </c:spPr>
            <c:extLst>
              <c:ext xmlns:c16="http://schemas.microsoft.com/office/drawing/2014/chart" uri="{C3380CC4-5D6E-409C-BE32-E72D297353CC}">
                <c16:uniqueId val="{0000067F-7BE2-49F1-B47F-64DDA7BF3F9D}"/>
              </c:ext>
            </c:extLst>
          </c:dPt>
          <c:dPt>
            <c:idx val="831"/>
            <c:invertIfNegative val="1"/>
            <c:bubble3D val="0"/>
            <c:spPr>
              <a:solidFill>
                <a:srgbClr val="7ECAC4"/>
              </a:solidFill>
            </c:spPr>
            <c:extLst>
              <c:ext xmlns:c16="http://schemas.microsoft.com/office/drawing/2014/chart" uri="{C3380CC4-5D6E-409C-BE32-E72D297353CC}">
                <c16:uniqueId val="{00000681-7BE2-49F1-B47F-64DDA7BF3F9D}"/>
              </c:ext>
            </c:extLst>
          </c:dPt>
          <c:dPt>
            <c:idx val="832"/>
            <c:invertIfNegative val="1"/>
            <c:bubble3D val="0"/>
            <c:spPr>
              <a:solidFill>
                <a:srgbClr val="7ECAC4"/>
              </a:solidFill>
            </c:spPr>
            <c:extLst>
              <c:ext xmlns:c16="http://schemas.microsoft.com/office/drawing/2014/chart" uri="{C3380CC4-5D6E-409C-BE32-E72D297353CC}">
                <c16:uniqueId val="{00000683-7BE2-49F1-B47F-64DDA7BF3F9D}"/>
              </c:ext>
            </c:extLst>
          </c:dPt>
          <c:dPt>
            <c:idx val="833"/>
            <c:invertIfNegative val="1"/>
            <c:bubble3D val="0"/>
            <c:spPr>
              <a:solidFill>
                <a:srgbClr val="7ECAC4"/>
              </a:solidFill>
            </c:spPr>
            <c:extLst>
              <c:ext xmlns:c16="http://schemas.microsoft.com/office/drawing/2014/chart" uri="{C3380CC4-5D6E-409C-BE32-E72D297353CC}">
                <c16:uniqueId val="{00000685-7BE2-49F1-B47F-64DDA7BF3F9D}"/>
              </c:ext>
            </c:extLst>
          </c:dPt>
          <c:dPt>
            <c:idx val="834"/>
            <c:invertIfNegative val="1"/>
            <c:bubble3D val="0"/>
            <c:spPr>
              <a:solidFill>
                <a:srgbClr val="7ECAC4"/>
              </a:solidFill>
            </c:spPr>
            <c:extLst>
              <c:ext xmlns:c16="http://schemas.microsoft.com/office/drawing/2014/chart" uri="{C3380CC4-5D6E-409C-BE32-E72D297353CC}">
                <c16:uniqueId val="{00000687-7BE2-49F1-B47F-64DDA7BF3F9D}"/>
              </c:ext>
            </c:extLst>
          </c:dPt>
          <c:dPt>
            <c:idx val="835"/>
            <c:invertIfNegative val="1"/>
            <c:bubble3D val="0"/>
            <c:spPr>
              <a:solidFill>
                <a:srgbClr val="7ECAC4"/>
              </a:solidFill>
            </c:spPr>
            <c:extLst>
              <c:ext xmlns:c16="http://schemas.microsoft.com/office/drawing/2014/chart" uri="{C3380CC4-5D6E-409C-BE32-E72D297353CC}">
                <c16:uniqueId val="{00000689-7BE2-49F1-B47F-64DDA7BF3F9D}"/>
              </c:ext>
            </c:extLst>
          </c:dPt>
          <c:dPt>
            <c:idx val="836"/>
            <c:invertIfNegative val="1"/>
            <c:bubble3D val="0"/>
            <c:spPr>
              <a:solidFill>
                <a:srgbClr val="7ECAC4"/>
              </a:solidFill>
            </c:spPr>
            <c:extLst>
              <c:ext xmlns:c16="http://schemas.microsoft.com/office/drawing/2014/chart" uri="{C3380CC4-5D6E-409C-BE32-E72D297353CC}">
                <c16:uniqueId val="{0000068B-7BE2-49F1-B47F-64DDA7BF3F9D}"/>
              </c:ext>
            </c:extLst>
          </c:dPt>
          <c:dPt>
            <c:idx val="837"/>
            <c:invertIfNegative val="1"/>
            <c:bubble3D val="0"/>
            <c:spPr>
              <a:solidFill>
                <a:srgbClr val="7ECAC4"/>
              </a:solidFill>
            </c:spPr>
            <c:extLst>
              <c:ext xmlns:c16="http://schemas.microsoft.com/office/drawing/2014/chart" uri="{C3380CC4-5D6E-409C-BE32-E72D297353CC}">
                <c16:uniqueId val="{0000068D-7BE2-49F1-B47F-64DDA7BF3F9D}"/>
              </c:ext>
            </c:extLst>
          </c:dPt>
          <c:dPt>
            <c:idx val="838"/>
            <c:invertIfNegative val="1"/>
            <c:bubble3D val="0"/>
            <c:spPr>
              <a:solidFill>
                <a:srgbClr val="AEABAB"/>
              </a:solidFill>
            </c:spPr>
            <c:extLst>
              <c:ext xmlns:c16="http://schemas.microsoft.com/office/drawing/2014/chart" uri="{C3380CC4-5D6E-409C-BE32-E72D297353CC}">
                <c16:uniqueId val="{0000068F-7BE2-49F1-B47F-64DDA7BF3F9D}"/>
              </c:ext>
            </c:extLst>
          </c:dPt>
          <c:dPt>
            <c:idx val="839"/>
            <c:invertIfNegative val="1"/>
            <c:bubble3D val="0"/>
            <c:spPr>
              <a:solidFill>
                <a:srgbClr val="AEABAB"/>
              </a:solidFill>
            </c:spPr>
            <c:extLst>
              <c:ext xmlns:c16="http://schemas.microsoft.com/office/drawing/2014/chart" uri="{C3380CC4-5D6E-409C-BE32-E72D297353CC}">
                <c16:uniqueId val="{00000691-7BE2-49F1-B47F-64DDA7BF3F9D}"/>
              </c:ext>
            </c:extLst>
          </c:dPt>
          <c:dPt>
            <c:idx val="840"/>
            <c:invertIfNegative val="1"/>
            <c:bubble3D val="0"/>
            <c:spPr>
              <a:solidFill>
                <a:srgbClr val="AEABAB"/>
              </a:solidFill>
            </c:spPr>
            <c:extLst>
              <c:ext xmlns:c16="http://schemas.microsoft.com/office/drawing/2014/chart" uri="{C3380CC4-5D6E-409C-BE32-E72D297353CC}">
                <c16:uniqueId val="{00000693-7BE2-49F1-B47F-64DDA7BF3F9D}"/>
              </c:ext>
            </c:extLst>
          </c:dPt>
          <c:dPt>
            <c:idx val="841"/>
            <c:invertIfNegative val="1"/>
            <c:bubble3D val="0"/>
            <c:spPr>
              <a:solidFill>
                <a:srgbClr val="AEABAB"/>
              </a:solidFill>
            </c:spPr>
            <c:extLst>
              <c:ext xmlns:c16="http://schemas.microsoft.com/office/drawing/2014/chart" uri="{C3380CC4-5D6E-409C-BE32-E72D297353CC}">
                <c16:uniqueId val="{00000695-7BE2-49F1-B47F-64DDA7BF3F9D}"/>
              </c:ext>
            </c:extLst>
          </c:dPt>
          <c:dPt>
            <c:idx val="842"/>
            <c:invertIfNegative val="1"/>
            <c:bubble3D val="0"/>
            <c:spPr>
              <a:solidFill>
                <a:srgbClr val="AEABAB"/>
              </a:solidFill>
            </c:spPr>
            <c:extLst>
              <c:ext xmlns:c16="http://schemas.microsoft.com/office/drawing/2014/chart" uri="{C3380CC4-5D6E-409C-BE32-E72D297353CC}">
                <c16:uniqueId val="{00000697-7BE2-49F1-B47F-64DDA7BF3F9D}"/>
              </c:ext>
            </c:extLst>
          </c:dPt>
          <c:dPt>
            <c:idx val="843"/>
            <c:invertIfNegative val="1"/>
            <c:bubble3D val="0"/>
            <c:spPr>
              <a:solidFill>
                <a:srgbClr val="AEABAB"/>
              </a:solidFill>
            </c:spPr>
            <c:extLst>
              <c:ext xmlns:c16="http://schemas.microsoft.com/office/drawing/2014/chart" uri="{C3380CC4-5D6E-409C-BE32-E72D297353CC}">
                <c16:uniqueId val="{00000699-7BE2-49F1-B47F-64DDA7BF3F9D}"/>
              </c:ext>
            </c:extLst>
          </c:dPt>
          <c:dPt>
            <c:idx val="844"/>
            <c:invertIfNegative val="1"/>
            <c:bubble3D val="0"/>
            <c:spPr>
              <a:solidFill>
                <a:srgbClr val="AEABAB"/>
              </a:solidFill>
            </c:spPr>
            <c:extLst>
              <c:ext xmlns:c16="http://schemas.microsoft.com/office/drawing/2014/chart" uri="{C3380CC4-5D6E-409C-BE32-E72D297353CC}">
                <c16:uniqueId val="{0000069B-7BE2-49F1-B47F-64DDA7BF3F9D}"/>
              </c:ext>
            </c:extLst>
          </c:dPt>
          <c:dPt>
            <c:idx val="845"/>
            <c:invertIfNegative val="1"/>
            <c:bubble3D val="0"/>
            <c:spPr>
              <a:solidFill>
                <a:srgbClr val="AEABAB"/>
              </a:solidFill>
            </c:spPr>
            <c:extLst>
              <c:ext xmlns:c16="http://schemas.microsoft.com/office/drawing/2014/chart" uri="{C3380CC4-5D6E-409C-BE32-E72D297353CC}">
                <c16:uniqueId val="{0000069D-7BE2-49F1-B47F-64DDA7BF3F9D}"/>
              </c:ext>
            </c:extLst>
          </c:dPt>
          <c:dPt>
            <c:idx val="846"/>
            <c:invertIfNegative val="1"/>
            <c:bubble3D val="0"/>
            <c:spPr>
              <a:solidFill>
                <a:srgbClr val="AEABAB"/>
              </a:solidFill>
            </c:spPr>
            <c:extLst>
              <c:ext xmlns:c16="http://schemas.microsoft.com/office/drawing/2014/chart" uri="{C3380CC4-5D6E-409C-BE32-E72D297353CC}">
                <c16:uniqueId val="{0000069F-7BE2-49F1-B47F-64DDA7BF3F9D}"/>
              </c:ext>
            </c:extLst>
          </c:dPt>
          <c:dPt>
            <c:idx val="847"/>
            <c:invertIfNegative val="1"/>
            <c:bubble3D val="0"/>
            <c:spPr>
              <a:solidFill>
                <a:srgbClr val="AEABAB"/>
              </a:solidFill>
            </c:spPr>
            <c:extLst>
              <c:ext xmlns:c16="http://schemas.microsoft.com/office/drawing/2014/chart" uri="{C3380CC4-5D6E-409C-BE32-E72D297353CC}">
                <c16:uniqueId val="{000006A1-7BE2-49F1-B47F-64DDA7BF3F9D}"/>
              </c:ext>
            </c:extLst>
          </c:dPt>
          <c:dPt>
            <c:idx val="848"/>
            <c:invertIfNegative val="1"/>
            <c:bubble3D val="0"/>
            <c:spPr>
              <a:solidFill>
                <a:srgbClr val="AEABAB"/>
              </a:solidFill>
            </c:spPr>
            <c:extLst>
              <c:ext xmlns:c16="http://schemas.microsoft.com/office/drawing/2014/chart" uri="{C3380CC4-5D6E-409C-BE32-E72D297353CC}">
                <c16:uniqueId val="{000006A3-7BE2-49F1-B47F-64DDA7BF3F9D}"/>
              </c:ext>
            </c:extLst>
          </c:dPt>
          <c:dPt>
            <c:idx val="849"/>
            <c:invertIfNegative val="1"/>
            <c:bubble3D val="0"/>
            <c:spPr>
              <a:solidFill>
                <a:srgbClr val="AEABAB"/>
              </a:solidFill>
            </c:spPr>
            <c:extLst>
              <c:ext xmlns:c16="http://schemas.microsoft.com/office/drawing/2014/chart" uri="{C3380CC4-5D6E-409C-BE32-E72D297353CC}">
                <c16:uniqueId val="{000006A5-7BE2-49F1-B47F-64DDA7BF3F9D}"/>
              </c:ext>
            </c:extLst>
          </c:dPt>
          <c:dPt>
            <c:idx val="850"/>
            <c:invertIfNegative val="1"/>
            <c:bubble3D val="0"/>
            <c:spPr>
              <a:solidFill>
                <a:srgbClr val="AEABAB"/>
              </a:solidFill>
            </c:spPr>
            <c:extLst>
              <c:ext xmlns:c16="http://schemas.microsoft.com/office/drawing/2014/chart" uri="{C3380CC4-5D6E-409C-BE32-E72D297353CC}">
                <c16:uniqueId val="{000006A7-7BE2-49F1-B47F-64DDA7BF3F9D}"/>
              </c:ext>
            </c:extLst>
          </c:dPt>
          <c:dPt>
            <c:idx val="851"/>
            <c:invertIfNegative val="1"/>
            <c:bubble3D val="0"/>
            <c:spPr>
              <a:solidFill>
                <a:srgbClr val="AEABAB"/>
              </a:solidFill>
            </c:spPr>
            <c:extLst>
              <c:ext xmlns:c16="http://schemas.microsoft.com/office/drawing/2014/chart" uri="{C3380CC4-5D6E-409C-BE32-E72D297353CC}">
                <c16:uniqueId val="{000006A9-7BE2-49F1-B47F-64DDA7BF3F9D}"/>
              </c:ext>
            </c:extLst>
          </c:dPt>
          <c:dPt>
            <c:idx val="852"/>
            <c:invertIfNegative val="1"/>
            <c:bubble3D val="0"/>
            <c:spPr>
              <a:solidFill>
                <a:srgbClr val="AEABAB"/>
              </a:solidFill>
            </c:spPr>
            <c:extLst>
              <c:ext xmlns:c16="http://schemas.microsoft.com/office/drawing/2014/chart" uri="{C3380CC4-5D6E-409C-BE32-E72D297353CC}">
                <c16:uniqueId val="{000006AB-7BE2-49F1-B47F-64DDA7BF3F9D}"/>
              </c:ext>
            </c:extLst>
          </c:dPt>
          <c:dPt>
            <c:idx val="853"/>
            <c:invertIfNegative val="1"/>
            <c:bubble3D val="0"/>
            <c:spPr>
              <a:solidFill>
                <a:srgbClr val="AEABAB"/>
              </a:solidFill>
            </c:spPr>
            <c:extLst>
              <c:ext xmlns:c16="http://schemas.microsoft.com/office/drawing/2014/chart" uri="{C3380CC4-5D6E-409C-BE32-E72D297353CC}">
                <c16:uniqueId val="{000006AD-7BE2-49F1-B47F-64DDA7BF3F9D}"/>
              </c:ext>
            </c:extLst>
          </c:dPt>
          <c:dPt>
            <c:idx val="854"/>
            <c:invertIfNegative val="1"/>
            <c:bubble3D val="0"/>
            <c:spPr>
              <a:solidFill>
                <a:srgbClr val="AEABAB"/>
              </a:solidFill>
            </c:spPr>
            <c:extLst>
              <c:ext xmlns:c16="http://schemas.microsoft.com/office/drawing/2014/chart" uri="{C3380CC4-5D6E-409C-BE32-E72D297353CC}">
                <c16:uniqueId val="{000006AF-7BE2-49F1-B47F-64DDA7BF3F9D}"/>
              </c:ext>
            </c:extLst>
          </c:dPt>
          <c:dPt>
            <c:idx val="855"/>
            <c:invertIfNegative val="1"/>
            <c:bubble3D val="0"/>
            <c:spPr>
              <a:solidFill>
                <a:srgbClr val="AEABAB"/>
              </a:solidFill>
            </c:spPr>
            <c:extLst>
              <c:ext xmlns:c16="http://schemas.microsoft.com/office/drawing/2014/chart" uri="{C3380CC4-5D6E-409C-BE32-E72D297353CC}">
                <c16:uniqueId val="{000006B1-7BE2-49F1-B47F-64DDA7BF3F9D}"/>
              </c:ext>
            </c:extLst>
          </c:dPt>
          <c:dPt>
            <c:idx val="856"/>
            <c:invertIfNegative val="1"/>
            <c:bubble3D val="0"/>
            <c:spPr>
              <a:solidFill>
                <a:srgbClr val="AEABAB"/>
              </a:solidFill>
            </c:spPr>
            <c:extLst>
              <c:ext xmlns:c16="http://schemas.microsoft.com/office/drawing/2014/chart" uri="{C3380CC4-5D6E-409C-BE32-E72D297353CC}">
                <c16:uniqueId val="{000006B3-7BE2-49F1-B47F-64DDA7BF3F9D}"/>
              </c:ext>
            </c:extLst>
          </c:dPt>
          <c:dPt>
            <c:idx val="857"/>
            <c:invertIfNegative val="1"/>
            <c:bubble3D val="0"/>
            <c:spPr>
              <a:solidFill>
                <a:srgbClr val="AEABAB"/>
              </a:solidFill>
            </c:spPr>
            <c:extLst>
              <c:ext xmlns:c16="http://schemas.microsoft.com/office/drawing/2014/chart" uri="{C3380CC4-5D6E-409C-BE32-E72D297353CC}">
                <c16:uniqueId val="{000006B5-7BE2-49F1-B47F-64DDA7BF3F9D}"/>
              </c:ext>
            </c:extLst>
          </c:dPt>
          <c:dPt>
            <c:idx val="858"/>
            <c:invertIfNegative val="1"/>
            <c:bubble3D val="0"/>
            <c:spPr>
              <a:solidFill>
                <a:srgbClr val="AEABAB"/>
              </a:solidFill>
            </c:spPr>
            <c:extLst>
              <c:ext xmlns:c16="http://schemas.microsoft.com/office/drawing/2014/chart" uri="{C3380CC4-5D6E-409C-BE32-E72D297353CC}">
                <c16:uniqueId val="{000006B7-7BE2-49F1-B47F-64DDA7BF3F9D}"/>
              </c:ext>
            </c:extLst>
          </c:dPt>
          <c:dPt>
            <c:idx val="859"/>
            <c:invertIfNegative val="1"/>
            <c:bubble3D val="0"/>
            <c:spPr>
              <a:solidFill>
                <a:srgbClr val="AEABAB"/>
              </a:solidFill>
            </c:spPr>
            <c:extLst>
              <c:ext xmlns:c16="http://schemas.microsoft.com/office/drawing/2014/chart" uri="{C3380CC4-5D6E-409C-BE32-E72D297353CC}">
                <c16:uniqueId val="{000006B9-7BE2-49F1-B47F-64DDA7BF3F9D}"/>
              </c:ext>
            </c:extLst>
          </c:dPt>
          <c:dPt>
            <c:idx val="860"/>
            <c:invertIfNegative val="1"/>
            <c:bubble3D val="0"/>
            <c:spPr>
              <a:solidFill>
                <a:srgbClr val="AEABAB"/>
              </a:solidFill>
            </c:spPr>
            <c:extLst>
              <c:ext xmlns:c16="http://schemas.microsoft.com/office/drawing/2014/chart" uri="{C3380CC4-5D6E-409C-BE32-E72D297353CC}">
                <c16:uniqueId val="{000006BB-7BE2-49F1-B47F-64DDA7BF3F9D}"/>
              </c:ext>
            </c:extLst>
          </c:dPt>
          <c:dPt>
            <c:idx val="861"/>
            <c:invertIfNegative val="1"/>
            <c:bubble3D val="0"/>
            <c:spPr>
              <a:solidFill>
                <a:srgbClr val="AEABAB"/>
              </a:solidFill>
            </c:spPr>
            <c:extLst>
              <c:ext xmlns:c16="http://schemas.microsoft.com/office/drawing/2014/chart" uri="{C3380CC4-5D6E-409C-BE32-E72D297353CC}">
                <c16:uniqueId val="{000006BD-7BE2-49F1-B47F-64DDA7BF3F9D}"/>
              </c:ext>
            </c:extLst>
          </c:dPt>
          <c:dPt>
            <c:idx val="862"/>
            <c:invertIfNegative val="1"/>
            <c:bubble3D val="0"/>
            <c:spPr>
              <a:solidFill>
                <a:srgbClr val="AEABAB"/>
              </a:solidFill>
            </c:spPr>
            <c:extLst>
              <c:ext xmlns:c16="http://schemas.microsoft.com/office/drawing/2014/chart" uri="{C3380CC4-5D6E-409C-BE32-E72D297353CC}">
                <c16:uniqueId val="{000006BF-7BE2-49F1-B47F-64DDA7BF3F9D}"/>
              </c:ext>
            </c:extLst>
          </c:dPt>
          <c:dPt>
            <c:idx val="863"/>
            <c:invertIfNegative val="1"/>
            <c:bubble3D val="0"/>
            <c:spPr>
              <a:solidFill>
                <a:srgbClr val="AEABAB"/>
              </a:solidFill>
            </c:spPr>
            <c:extLst>
              <c:ext xmlns:c16="http://schemas.microsoft.com/office/drawing/2014/chart" uri="{C3380CC4-5D6E-409C-BE32-E72D297353CC}">
                <c16:uniqueId val="{000006C1-7BE2-49F1-B47F-64DDA7BF3F9D}"/>
              </c:ext>
            </c:extLst>
          </c:dPt>
          <c:dPt>
            <c:idx val="864"/>
            <c:invertIfNegative val="1"/>
            <c:bubble3D val="0"/>
            <c:spPr>
              <a:solidFill>
                <a:srgbClr val="AEABAB"/>
              </a:solidFill>
            </c:spPr>
            <c:extLst>
              <c:ext xmlns:c16="http://schemas.microsoft.com/office/drawing/2014/chart" uri="{C3380CC4-5D6E-409C-BE32-E72D297353CC}">
                <c16:uniqueId val="{000006C3-7BE2-49F1-B47F-64DDA7BF3F9D}"/>
              </c:ext>
            </c:extLst>
          </c:dPt>
          <c:dPt>
            <c:idx val="865"/>
            <c:invertIfNegative val="1"/>
            <c:bubble3D val="0"/>
            <c:spPr>
              <a:solidFill>
                <a:srgbClr val="AEABAB"/>
              </a:solidFill>
            </c:spPr>
            <c:extLst>
              <c:ext xmlns:c16="http://schemas.microsoft.com/office/drawing/2014/chart" uri="{C3380CC4-5D6E-409C-BE32-E72D297353CC}">
                <c16:uniqueId val="{000006C5-7BE2-49F1-B47F-64DDA7BF3F9D}"/>
              </c:ext>
            </c:extLst>
          </c:dPt>
          <c:dPt>
            <c:idx val="866"/>
            <c:invertIfNegative val="1"/>
            <c:bubble3D val="0"/>
            <c:spPr>
              <a:solidFill>
                <a:srgbClr val="AEABAB"/>
              </a:solidFill>
            </c:spPr>
            <c:extLst>
              <c:ext xmlns:c16="http://schemas.microsoft.com/office/drawing/2014/chart" uri="{C3380CC4-5D6E-409C-BE32-E72D297353CC}">
                <c16:uniqueId val="{000006C7-7BE2-49F1-B47F-64DDA7BF3F9D}"/>
              </c:ext>
            </c:extLst>
          </c:dPt>
          <c:dPt>
            <c:idx val="867"/>
            <c:invertIfNegative val="1"/>
            <c:bubble3D val="0"/>
            <c:spPr>
              <a:solidFill>
                <a:srgbClr val="AEABAB"/>
              </a:solidFill>
            </c:spPr>
            <c:extLst>
              <c:ext xmlns:c16="http://schemas.microsoft.com/office/drawing/2014/chart" uri="{C3380CC4-5D6E-409C-BE32-E72D297353CC}">
                <c16:uniqueId val="{000006C9-7BE2-49F1-B47F-64DDA7BF3F9D}"/>
              </c:ext>
            </c:extLst>
          </c:dPt>
          <c:dPt>
            <c:idx val="868"/>
            <c:invertIfNegative val="1"/>
            <c:bubble3D val="0"/>
            <c:spPr>
              <a:solidFill>
                <a:srgbClr val="AEABAB"/>
              </a:solidFill>
            </c:spPr>
            <c:extLst>
              <c:ext xmlns:c16="http://schemas.microsoft.com/office/drawing/2014/chart" uri="{C3380CC4-5D6E-409C-BE32-E72D297353CC}">
                <c16:uniqueId val="{000006CB-7BE2-49F1-B47F-64DDA7BF3F9D}"/>
              </c:ext>
            </c:extLst>
          </c:dPt>
          <c:dPt>
            <c:idx val="869"/>
            <c:invertIfNegative val="1"/>
            <c:bubble3D val="0"/>
            <c:spPr>
              <a:solidFill>
                <a:srgbClr val="AEABAB"/>
              </a:solidFill>
            </c:spPr>
            <c:extLst>
              <c:ext xmlns:c16="http://schemas.microsoft.com/office/drawing/2014/chart" uri="{C3380CC4-5D6E-409C-BE32-E72D297353CC}">
                <c16:uniqueId val="{000006CD-7BE2-49F1-B47F-64DDA7BF3F9D}"/>
              </c:ext>
            </c:extLst>
          </c:dPt>
          <c:dPt>
            <c:idx val="870"/>
            <c:invertIfNegative val="1"/>
            <c:bubble3D val="0"/>
            <c:spPr>
              <a:solidFill>
                <a:srgbClr val="AEABAB"/>
              </a:solidFill>
            </c:spPr>
            <c:extLst>
              <c:ext xmlns:c16="http://schemas.microsoft.com/office/drawing/2014/chart" uri="{C3380CC4-5D6E-409C-BE32-E72D297353CC}">
                <c16:uniqueId val="{000006CF-7BE2-49F1-B47F-64DDA7BF3F9D}"/>
              </c:ext>
            </c:extLst>
          </c:dPt>
          <c:dPt>
            <c:idx val="871"/>
            <c:invertIfNegative val="1"/>
            <c:bubble3D val="0"/>
            <c:spPr>
              <a:solidFill>
                <a:srgbClr val="AEABAB"/>
              </a:solidFill>
            </c:spPr>
            <c:extLst>
              <c:ext xmlns:c16="http://schemas.microsoft.com/office/drawing/2014/chart" uri="{C3380CC4-5D6E-409C-BE32-E72D297353CC}">
                <c16:uniqueId val="{000006D1-7BE2-49F1-B47F-64DDA7BF3F9D}"/>
              </c:ext>
            </c:extLst>
          </c:dPt>
          <c:dPt>
            <c:idx val="872"/>
            <c:invertIfNegative val="1"/>
            <c:bubble3D val="0"/>
            <c:spPr>
              <a:solidFill>
                <a:srgbClr val="AEABAB"/>
              </a:solidFill>
            </c:spPr>
            <c:extLst>
              <c:ext xmlns:c16="http://schemas.microsoft.com/office/drawing/2014/chart" uri="{C3380CC4-5D6E-409C-BE32-E72D297353CC}">
                <c16:uniqueId val="{000006D3-7BE2-49F1-B47F-64DDA7BF3F9D}"/>
              </c:ext>
            </c:extLst>
          </c:dPt>
          <c:dPt>
            <c:idx val="873"/>
            <c:invertIfNegative val="1"/>
            <c:bubble3D val="0"/>
            <c:spPr>
              <a:solidFill>
                <a:srgbClr val="AEABAB"/>
              </a:solidFill>
            </c:spPr>
            <c:extLst>
              <c:ext xmlns:c16="http://schemas.microsoft.com/office/drawing/2014/chart" uri="{C3380CC4-5D6E-409C-BE32-E72D297353CC}">
                <c16:uniqueId val="{000006D5-7BE2-49F1-B47F-64DDA7BF3F9D}"/>
              </c:ext>
            </c:extLst>
          </c:dPt>
          <c:dPt>
            <c:idx val="874"/>
            <c:invertIfNegative val="1"/>
            <c:bubble3D val="0"/>
            <c:spPr>
              <a:solidFill>
                <a:srgbClr val="AEABAB"/>
              </a:solidFill>
            </c:spPr>
            <c:extLst>
              <c:ext xmlns:c16="http://schemas.microsoft.com/office/drawing/2014/chart" uri="{C3380CC4-5D6E-409C-BE32-E72D297353CC}">
                <c16:uniqueId val="{000006D7-7BE2-49F1-B47F-64DDA7BF3F9D}"/>
              </c:ext>
            </c:extLst>
          </c:dPt>
          <c:dPt>
            <c:idx val="875"/>
            <c:invertIfNegative val="1"/>
            <c:bubble3D val="0"/>
            <c:spPr>
              <a:solidFill>
                <a:srgbClr val="AEABAB"/>
              </a:solidFill>
            </c:spPr>
            <c:extLst>
              <c:ext xmlns:c16="http://schemas.microsoft.com/office/drawing/2014/chart" uri="{C3380CC4-5D6E-409C-BE32-E72D297353CC}">
                <c16:uniqueId val="{000006D9-7BE2-49F1-B47F-64DDA7BF3F9D}"/>
              </c:ext>
            </c:extLst>
          </c:dPt>
          <c:dPt>
            <c:idx val="876"/>
            <c:invertIfNegative val="1"/>
            <c:bubble3D val="0"/>
            <c:spPr>
              <a:solidFill>
                <a:srgbClr val="AEABAB"/>
              </a:solidFill>
            </c:spPr>
            <c:extLst>
              <c:ext xmlns:c16="http://schemas.microsoft.com/office/drawing/2014/chart" uri="{C3380CC4-5D6E-409C-BE32-E72D297353CC}">
                <c16:uniqueId val="{000006DB-7BE2-49F1-B47F-64DDA7BF3F9D}"/>
              </c:ext>
            </c:extLst>
          </c:dPt>
          <c:dPt>
            <c:idx val="877"/>
            <c:invertIfNegative val="1"/>
            <c:bubble3D val="0"/>
            <c:spPr>
              <a:solidFill>
                <a:srgbClr val="AEABAB"/>
              </a:solidFill>
            </c:spPr>
            <c:extLst>
              <c:ext xmlns:c16="http://schemas.microsoft.com/office/drawing/2014/chart" uri="{C3380CC4-5D6E-409C-BE32-E72D297353CC}">
                <c16:uniqueId val="{000006DD-7BE2-49F1-B47F-64DDA7BF3F9D}"/>
              </c:ext>
            </c:extLst>
          </c:dPt>
          <c:dPt>
            <c:idx val="878"/>
            <c:invertIfNegative val="1"/>
            <c:bubble3D val="0"/>
            <c:spPr>
              <a:solidFill>
                <a:srgbClr val="AEABAB"/>
              </a:solidFill>
            </c:spPr>
            <c:extLst>
              <c:ext xmlns:c16="http://schemas.microsoft.com/office/drawing/2014/chart" uri="{C3380CC4-5D6E-409C-BE32-E72D297353CC}">
                <c16:uniqueId val="{000006DF-7BE2-49F1-B47F-64DDA7BF3F9D}"/>
              </c:ext>
            </c:extLst>
          </c:dPt>
          <c:dPt>
            <c:idx val="879"/>
            <c:invertIfNegative val="1"/>
            <c:bubble3D val="0"/>
            <c:spPr>
              <a:solidFill>
                <a:srgbClr val="AEABAB"/>
              </a:solidFill>
            </c:spPr>
            <c:extLst>
              <c:ext xmlns:c16="http://schemas.microsoft.com/office/drawing/2014/chart" uri="{C3380CC4-5D6E-409C-BE32-E72D297353CC}">
                <c16:uniqueId val="{000006E1-7BE2-49F1-B47F-64DDA7BF3F9D}"/>
              </c:ext>
            </c:extLst>
          </c:dPt>
          <c:dPt>
            <c:idx val="880"/>
            <c:invertIfNegative val="1"/>
            <c:bubble3D val="0"/>
            <c:spPr>
              <a:solidFill>
                <a:srgbClr val="AEABAB"/>
              </a:solidFill>
            </c:spPr>
            <c:extLst>
              <c:ext xmlns:c16="http://schemas.microsoft.com/office/drawing/2014/chart" uri="{C3380CC4-5D6E-409C-BE32-E72D297353CC}">
                <c16:uniqueId val="{000006E3-7BE2-49F1-B47F-64DDA7BF3F9D}"/>
              </c:ext>
            </c:extLst>
          </c:dPt>
          <c:dPt>
            <c:idx val="881"/>
            <c:invertIfNegative val="1"/>
            <c:bubble3D val="0"/>
            <c:spPr>
              <a:solidFill>
                <a:srgbClr val="AEABAB"/>
              </a:solidFill>
            </c:spPr>
            <c:extLst>
              <c:ext xmlns:c16="http://schemas.microsoft.com/office/drawing/2014/chart" uri="{C3380CC4-5D6E-409C-BE32-E72D297353CC}">
                <c16:uniqueId val="{000006E5-7BE2-49F1-B47F-64DDA7BF3F9D}"/>
              </c:ext>
            </c:extLst>
          </c:dPt>
          <c:dPt>
            <c:idx val="882"/>
            <c:invertIfNegative val="1"/>
            <c:bubble3D val="0"/>
            <c:spPr>
              <a:solidFill>
                <a:srgbClr val="AEABAB"/>
              </a:solidFill>
            </c:spPr>
            <c:extLst>
              <c:ext xmlns:c16="http://schemas.microsoft.com/office/drawing/2014/chart" uri="{C3380CC4-5D6E-409C-BE32-E72D297353CC}">
                <c16:uniqueId val="{000006E7-7BE2-49F1-B47F-64DDA7BF3F9D}"/>
              </c:ext>
            </c:extLst>
          </c:dPt>
          <c:dPt>
            <c:idx val="883"/>
            <c:invertIfNegative val="1"/>
            <c:bubble3D val="0"/>
            <c:spPr>
              <a:solidFill>
                <a:srgbClr val="AEABAB"/>
              </a:solidFill>
            </c:spPr>
            <c:extLst>
              <c:ext xmlns:c16="http://schemas.microsoft.com/office/drawing/2014/chart" uri="{C3380CC4-5D6E-409C-BE32-E72D297353CC}">
                <c16:uniqueId val="{000006E9-7BE2-49F1-B47F-64DDA7BF3F9D}"/>
              </c:ext>
            </c:extLst>
          </c:dPt>
          <c:dPt>
            <c:idx val="884"/>
            <c:invertIfNegative val="1"/>
            <c:bubble3D val="0"/>
            <c:spPr>
              <a:solidFill>
                <a:srgbClr val="AEABAB"/>
              </a:solidFill>
            </c:spPr>
            <c:extLst>
              <c:ext xmlns:c16="http://schemas.microsoft.com/office/drawing/2014/chart" uri="{C3380CC4-5D6E-409C-BE32-E72D297353CC}">
                <c16:uniqueId val="{000006EB-7BE2-49F1-B47F-64DDA7BF3F9D}"/>
              </c:ext>
            </c:extLst>
          </c:dPt>
          <c:dPt>
            <c:idx val="885"/>
            <c:invertIfNegative val="1"/>
            <c:bubble3D val="0"/>
            <c:spPr>
              <a:solidFill>
                <a:srgbClr val="AEABAB"/>
              </a:solidFill>
            </c:spPr>
            <c:extLst>
              <c:ext xmlns:c16="http://schemas.microsoft.com/office/drawing/2014/chart" uri="{C3380CC4-5D6E-409C-BE32-E72D297353CC}">
                <c16:uniqueId val="{000006ED-7BE2-49F1-B47F-64DDA7BF3F9D}"/>
              </c:ext>
            </c:extLst>
          </c:dPt>
          <c:dPt>
            <c:idx val="886"/>
            <c:invertIfNegative val="1"/>
            <c:bubble3D val="0"/>
            <c:spPr>
              <a:solidFill>
                <a:srgbClr val="AEABAB"/>
              </a:solidFill>
            </c:spPr>
            <c:extLst>
              <c:ext xmlns:c16="http://schemas.microsoft.com/office/drawing/2014/chart" uri="{C3380CC4-5D6E-409C-BE32-E72D297353CC}">
                <c16:uniqueId val="{000006EF-7BE2-49F1-B47F-64DDA7BF3F9D}"/>
              </c:ext>
            </c:extLst>
          </c:dPt>
          <c:dPt>
            <c:idx val="887"/>
            <c:invertIfNegative val="1"/>
            <c:bubble3D val="0"/>
            <c:spPr>
              <a:solidFill>
                <a:srgbClr val="AEABAB"/>
              </a:solidFill>
            </c:spPr>
            <c:extLst>
              <c:ext xmlns:c16="http://schemas.microsoft.com/office/drawing/2014/chart" uri="{C3380CC4-5D6E-409C-BE32-E72D297353CC}">
                <c16:uniqueId val="{000006F1-7BE2-49F1-B47F-64DDA7BF3F9D}"/>
              </c:ext>
            </c:extLst>
          </c:dPt>
          <c:dPt>
            <c:idx val="888"/>
            <c:invertIfNegative val="1"/>
            <c:bubble3D val="0"/>
            <c:spPr>
              <a:solidFill>
                <a:srgbClr val="AEABAB"/>
              </a:solidFill>
            </c:spPr>
            <c:extLst>
              <c:ext xmlns:c16="http://schemas.microsoft.com/office/drawing/2014/chart" uri="{C3380CC4-5D6E-409C-BE32-E72D297353CC}">
                <c16:uniqueId val="{000006F3-7BE2-49F1-B47F-64DDA7BF3F9D}"/>
              </c:ext>
            </c:extLst>
          </c:dPt>
          <c:dPt>
            <c:idx val="889"/>
            <c:invertIfNegative val="1"/>
            <c:bubble3D val="0"/>
            <c:spPr>
              <a:solidFill>
                <a:srgbClr val="AEABAB"/>
              </a:solidFill>
            </c:spPr>
            <c:extLst>
              <c:ext xmlns:c16="http://schemas.microsoft.com/office/drawing/2014/chart" uri="{C3380CC4-5D6E-409C-BE32-E72D297353CC}">
                <c16:uniqueId val="{000006F5-7BE2-49F1-B47F-64DDA7BF3F9D}"/>
              </c:ext>
            </c:extLst>
          </c:dPt>
          <c:dPt>
            <c:idx val="890"/>
            <c:invertIfNegative val="1"/>
            <c:bubble3D val="0"/>
            <c:spPr>
              <a:solidFill>
                <a:srgbClr val="AEABAB"/>
              </a:solidFill>
            </c:spPr>
            <c:extLst>
              <c:ext xmlns:c16="http://schemas.microsoft.com/office/drawing/2014/chart" uri="{C3380CC4-5D6E-409C-BE32-E72D297353CC}">
                <c16:uniqueId val="{000006F7-7BE2-49F1-B47F-64DDA7BF3F9D}"/>
              </c:ext>
            </c:extLst>
          </c:dPt>
          <c:dPt>
            <c:idx val="891"/>
            <c:invertIfNegative val="1"/>
            <c:bubble3D val="0"/>
            <c:spPr>
              <a:solidFill>
                <a:srgbClr val="AEABAB"/>
              </a:solidFill>
            </c:spPr>
            <c:extLst>
              <c:ext xmlns:c16="http://schemas.microsoft.com/office/drawing/2014/chart" uri="{C3380CC4-5D6E-409C-BE32-E72D297353CC}">
                <c16:uniqueId val="{000006F9-7BE2-49F1-B47F-64DDA7BF3F9D}"/>
              </c:ext>
            </c:extLst>
          </c:dPt>
          <c:dPt>
            <c:idx val="892"/>
            <c:invertIfNegative val="1"/>
            <c:bubble3D val="0"/>
            <c:spPr>
              <a:solidFill>
                <a:srgbClr val="AEABAB"/>
              </a:solidFill>
            </c:spPr>
            <c:extLst>
              <c:ext xmlns:c16="http://schemas.microsoft.com/office/drawing/2014/chart" uri="{C3380CC4-5D6E-409C-BE32-E72D297353CC}">
                <c16:uniqueId val="{000006FB-7BE2-49F1-B47F-64DDA7BF3F9D}"/>
              </c:ext>
            </c:extLst>
          </c:dPt>
          <c:dPt>
            <c:idx val="893"/>
            <c:invertIfNegative val="1"/>
            <c:bubble3D val="0"/>
            <c:spPr>
              <a:solidFill>
                <a:srgbClr val="AEABAB"/>
              </a:solidFill>
            </c:spPr>
            <c:extLst>
              <c:ext xmlns:c16="http://schemas.microsoft.com/office/drawing/2014/chart" uri="{C3380CC4-5D6E-409C-BE32-E72D297353CC}">
                <c16:uniqueId val="{000006FD-7BE2-49F1-B47F-64DDA7BF3F9D}"/>
              </c:ext>
            </c:extLst>
          </c:dPt>
          <c:dPt>
            <c:idx val="894"/>
            <c:invertIfNegative val="1"/>
            <c:bubble3D val="0"/>
            <c:spPr>
              <a:solidFill>
                <a:srgbClr val="AEABAB"/>
              </a:solidFill>
            </c:spPr>
            <c:extLst>
              <c:ext xmlns:c16="http://schemas.microsoft.com/office/drawing/2014/chart" uri="{C3380CC4-5D6E-409C-BE32-E72D297353CC}">
                <c16:uniqueId val="{000006FF-7BE2-49F1-B47F-64DDA7BF3F9D}"/>
              </c:ext>
            </c:extLst>
          </c:dPt>
          <c:dPt>
            <c:idx val="895"/>
            <c:invertIfNegative val="1"/>
            <c:bubble3D val="0"/>
            <c:spPr>
              <a:solidFill>
                <a:srgbClr val="AEABAB"/>
              </a:solidFill>
            </c:spPr>
            <c:extLst>
              <c:ext xmlns:c16="http://schemas.microsoft.com/office/drawing/2014/chart" uri="{C3380CC4-5D6E-409C-BE32-E72D297353CC}">
                <c16:uniqueId val="{00000701-7BE2-49F1-B47F-64DDA7BF3F9D}"/>
              </c:ext>
            </c:extLst>
          </c:dPt>
          <c:dPt>
            <c:idx val="896"/>
            <c:invertIfNegative val="1"/>
            <c:bubble3D val="0"/>
            <c:spPr>
              <a:solidFill>
                <a:srgbClr val="AEABAB"/>
              </a:solidFill>
            </c:spPr>
            <c:extLst>
              <c:ext xmlns:c16="http://schemas.microsoft.com/office/drawing/2014/chart" uri="{C3380CC4-5D6E-409C-BE32-E72D297353CC}">
                <c16:uniqueId val="{00000703-7BE2-49F1-B47F-64DDA7BF3F9D}"/>
              </c:ext>
            </c:extLst>
          </c:dPt>
          <c:dPt>
            <c:idx val="897"/>
            <c:invertIfNegative val="1"/>
            <c:bubble3D val="0"/>
            <c:spPr>
              <a:solidFill>
                <a:srgbClr val="AEABAB"/>
              </a:solidFill>
            </c:spPr>
            <c:extLst>
              <c:ext xmlns:c16="http://schemas.microsoft.com/office/drawing/2014/chart" uri="{C3380CC4-5D6E-409C-BE32-E72D297353CC}">
                <c16:uniqueId val="{00000705-7BE2-49F1-B47F-64DDA7BF3F9D}"/>
              </c:ext>
            </c:extLst>
          </c:dPt>
          <c:dPt>
            <c:idx val="898"/>
            <c:invertIfNegative val="1"/>
            <c:bubble3D val="0"/>
            <c:spPr>
              <a:solidFill>
                <a:srgbClr val="AEABAB"/>
              </a:solidFill>
            </c:spPr>
            <c:extLst>
              <c:ext xmlns:c16="http://schemas.microsoft.com/office/drawing/2014/chart" uri="{C3380CC4-5D6E-409C-BE32-E72D297353CC}">
                <c16:uniqueId val="{00000707-7BE2-49F1-B47F-64DDA7BF3F9D}"/>
              </c:ext>
            </c:extLst>
          </c:dPt>
          <c:dPt>
            <c:idx val="899"/>
            <c:invertIfNegative val="1"/>
            <c:bubble3D val="0"/>
            <c:spPr>
              <a:solidFill>
                <a:srgbClr val="AEABAB"/>
              </a:solidFill>
            </c:spPr>
            <c:extLst>
              <c:ext xmlns:c16="http://schemas.microsoft.com/office/drawing/2014/chart" uri="{C3380CC4-5D6E-409C-BE32-E72D297353CC}">
                <c16:uniqueId val="{00000709-7BE2-49F1-B47F-64DDA7BF3F9D}"/>
              </c:ext>
            </c:extLst>
          </c:dPt>
          <c:dPt>
            <c:idx val="900"/>
            <c:invertIfNegative val="1"/>
            <c:bubble3D val="0"/>
            <c:spPr>
              <a:solidFill>
                <a:srgbClr val="AEABAB"/>
              </a:solidFill>
            </c:spPr>
            <c:extLst>
              <c:ext xmlns:c16="http://schemas.microsoft.com/office/drawing/2014/chart" uri="{C3380CC4-5D6E-409C-BE32-E72D297353CC}">
                <c16:uniqueId val="{0000070B-7BE2-49F1-B47F-64DDA7BF3F9D}"/>
              </c:ext>
            </c:extLst>
          </c:dPt>
          <c:dPt>
            <c:idx val="901"/>
            <c:invertIfNegative val="1"/>
            <c:bubble3D val="0"/>
            <c:spPr>
              <a:solidFill>
                <a:srgbClr val="AEABAB"/>
              </a:solidFill>
            </c:spPr>
            <c:extLst>
              <c:ext xmlns:c16="http://schemas.microsoft.com/office/drawing/2014/chart" uri="{C3380CC4-5D6E-409C-BE32-E72D297353CC}">
                <c16:uniqueId val="{0000070D-7BE2-49F1-B47F-64DDA7BF3F9D}"/>
              </c:ext>
            </c:extLst>
          </c:dPt>
          <c:dPt>
            <c:idx val="902"/>
            <c:invertIfNegative val="1"/>
            <c:bubble3D val="0"/>
            <c:spPr>
              <a:solidFill>
                <a:srgbClr val="AEABAB"/>
              </a:solidFill>
            </c:spPr>
            <c:extLst>
              <c:ext xmlns:c16="http://schemas.microsoft.com/office/drawing/2014/chart" uri="{C3380CC4-5D6E-409C-BE32-E72D297353CC}">
                <c16:uniqueId val="{0000070F-7BE2-49F1-B47F-64DDA7BF3F9D}"/>
              </c:ext>
            </c:extLst>
          </c:dPt>
          <c:dPt>
            <c:idx val="903"/>
            <c:invertIfNegative val="1"/>
            <c:bubble3D val="0"/>
            <c:spPr>
              <a:solidFill>
                <a:srgbClr val="AEABAB"/>
              </a:solidFill>
            </c:spPr>
            <c:extLst>
              <c:ext xmlns:c16="http://schemas.microsoft.com/office/drawing/2014/chart" uri="{C3380CC4-5D6E-409C-BE32-E72D297353CC}">
                <c16:uniqueId val="{00000711-7BE2-49F1-B47F-64DDA7BF3F9D}"/>
              </c:ext>
            </c:extLst>
          </c:dPt>
          <c:dPt>
            <c:idx val="904"/>
            <c:invertIfNegative val="1"/>
            <c:bubble3D val="0"/>
            <c:spPr>
              <a:solidFill>
                <a:srgbClr val="AEABAB"/>
              </a:solidFill>
            </c:spPr>
            <c:extLst>
              <c:ext xmlns:c16="http://schemas.microsoft.com/office/drawing/2014/chart" uri="{C3380CC4-5D6E-409C-BE32-E72D297353CC}">
                <c16:uniqueId val="{00000713-7BE2-49F1-B47F-64DDA7BF3F9D}"/>
              </c:ext>
            </c:extLst>
          </c:dPt>
          <c:dPt>
            <c:idx val="905"/>
            <c:invertIfNegative val="1"/>
            <c:bubble3D val="0"/>
            <c:spPr>
              <a:solidFill>
                <a:srgbClr val="AEABAB"/>
              </a:solidFill>
            </c:spPr>
            <c:extLst>
              <c:ext xmlns:c16="http://schemas.microsoft.com/office/drawing/2014/chart" uri="{C3380CC4-5D6E-409C-BE32-E72D297353CC}">
                <c16:uniqueId val="{00000715-7BE2-49F1-B47F-64DDA7BF3F9D}"/>
              </c:ext>
            </c:extLst>
          </c:dPt>
          <c:dPt>
            <c:idx val="906"/>
            <c:invertIfNegative val="1"/>
            <c:bubble3D val="0"/>
            <c:spPr>
              <a:solidFill>
                <a:srgbClr val="AEABAB"/>
              </a:solidFill>
            </c:spPr>
            <c:extLst>
              <c:ext xmlns:c16="http://schemas.microsoft.com/office/drawing/2014/chart" uri="{C3380CC4-5D6E-409C-BE32-E72D297353CC}">
                <c16:uniqueId val="{00000717-7BE2-49F1-B47F-64DDA7BF3F9D}"/>
              </c:ext>
            </c:extLst>
          </c:dPt>
          <c:dPt>
            <c:idx val="907"/>
            <c:invertIfNegative val="1"/>
            <c:bubble3D val="0"/>
            <c:spPr>
              <a:solidFill>
                <a:srgbClr val="AEABAB"/>
              </a:solidFill>
            </c:spPr>
            <c:extLst>
              <c:ext xmlns:c16="http://schemas.microsoft.com/office/drawing/2014/chart" uri="{C3380CC4-5D6E-409C-BE32-E72D297353CC}">
                <c16:uniqueId val="{00000719-7BE2-49F1-B47F-64DDA7BF3F9D}"/>
              </c:ext>
            </c:extLst>
          </c:dPt>
          <c:dPt>
            <c:idx val="908"/>
            <c:invertIfNegative val="1"/>
            <c:bubble3D val="0"/>
            <c:spPr>
              <a:solidFill>
                <a:srgbClr val="AEABAB"/>
              </a:solidFill>
            </c:spPr>
            <c:extLst>
              <c:ext xmlns:c16="http://schemas.microsoft.com/office/drawing/2014/chart" uri="{C3380CC4-5D6E-409C-BE32-E72D297353CC}">
                <c16:uniqueId val="{0000071B-7BE2-49F1-B47F-64DDA7BF3F9D}"/>
              </c:ext>
            </c:extLst>
          </c:dPt>
          <c:dPt>
            <c:idx val="909"/>
            <c:invertIfNegative val="1"/>
            <c:bubble3D val="0"/>
            <c:spPr>
              <a:solidFill>
                <a:srgbClr val="AEABAB"/>
              </a:solidFill>
            </c:spPr>
            <c:extLst>
              <c:ext xmlns:c16="http://schemas.microsoft.com/office/drawing/2014/chart" uri="{C3380CC4-5D6E-409C-BE32-E72D297353CC}">
                <c16:uniqueId val="{0000071D-7BE2-49F1-B47F-64DDA7BF3F9D}"/>
              </c:ext>
            </c:extLst>
          </c:dPt>
          <c:dPt>
            <c:idx val="910"/>
            <c:invertIfNegative val="1"/>
            <c:bubble3D val="0"/>
            <c:spPr>
              <a:solidFill>
                <a:srgbClr val="AEABAB"/>
              </a:solidFill>
            </c:spPr>
            <c:extLst>
              <c:ext xmlns:c16="http://schemas.microsoft.com/office/drawing/2014/chart" uri="{C3380CC4-5D6E-409C-BE32-E72D297353CC}">
                <c16:uniqueId val="{0000071F-7BE2-49F1-B47F-64DDA7BF3F9D}"/>
              </c:ext>
            </c:extLst>
          </c:dPt>
          <c:dPt>
            <c:idx val="911"/>
            <c:invertIfNegative val="1"/>
            <c:bubble3D val="0"/>
            <c:spPr>
              <a:solidFill>
                <a:srgbClr val="AEABAB"/>
              </a:solidFill>
            </c:spPr>
            <c:extLst>
              <c:ext xmlns:c16="http://schemas.microsoft.com/office/drawing/2014/chart" uri="{C3380CC4-5D6E-409C-BE32-E72D297353CC}">
                <c16:uniqueId val="{00000721-7BE2-49F1-B47F-64DDA7BF3F9D}"/>
              </c:ext>
            </c:extLst>
          </c:dPt>
          <c:dPt>
            <c:idx val="912"/>
            <c:invertIfNegative val="1"/>
            <c:bubble3D val="0"/>
            <c:spPr>
              <a:solidFill>
                <a:srgbClr val="AEABAB"/>
              </a:solidFill>
            </c:spPr>
            <c:extLst>
              <c:ext xmlns:c16="http://schemas.microsoft.com/office/drawing/2014/chart" uri="{C3380CC4-5D6E-409C-BE32-E72D297353CC}">
                <c16:uniqueId val="{00000723-7BE2-49F1-B47F-64DDA7BF3F9D}"/>
              </c:ext>
            </c:extLst>
          </c:dPt>
          <c:dPt>
            <c:idx val="913"/>
            <c:invertIfNegative val="1"/>
            <c:bubble3D val="0"/>
            <c:spPr>
              <a:solidFill>
                <a:srgbClr val="AEABAB"/>
              </a:solidFill>
            </c:spPr>
            <c:extLst>
              <c:ext xmlns:c16="http://schemas.microsoft.com/office/drawing/2014/chart" uri="{C3380CC4-5D6E-409C-BE32-E72D297353CC}">
                <c16:uniqueId val="{00000725-7BE2-49F1-B47F-64DDA7BF3F9D}"/>
              </c:ext>
            </c:extLst>
          </c:dPt>
          <c:dPt>
            <c:idx val="914"/>
            <c:invertIfNegative val="1"/>
            <c:bubble3D val="0"/>
            <c:spPr>
              <a:solidFill>
                <a:srgbClr val="AEABAB"/>
              </a:solidFill>
            </c:spPr>
            <c:extLst>
              <c:ext xmlns:c16="http://schemas.microsoft.com/office/drawing/2014/chart" uri="{C3380CC4-5D6E-409C-BE32-E72D297353CC}">
                <c16:uniqueId val="{00000727-7BE2-49F1-B47F-64DDA7BF3F9D}"/>
              </c:ext>
            </c:extLst>
          </c:dPt>
          <c:dPt>
            <c:idx val="915"/>
            <c:invertIfNegative val="1"/>
            <c:bubble3D val="0"/>
            <c:spPr>
              <a:solidFill>
                <a:srgbClr val="AEABAB"/>
              </a:solidFill>
            </c:spPr>
            <c:extLst>
              <c:ext xmlns:c16="http://schemas.microsoft.com/office/drawing/2014/chart" uri="{C3380CC4-5D6E-409C-BE32-E72D297353CC}">
                <c16:uniqueId val="{00000729-7BE2-49F1-B47F-64DDA7BF3F9D}"/>
              </c:ext>
            </c:extLst>
          </c:dPt>
          <c:dPt>
            <c:idx val="916"/>
            <c:invertIfNegative val="1"/>
            <c:bubble3D val="0"/>
            <c:spPr>
              <a:solidFill>
                <a:srgbClr val="AEABAB"/>
              </a:solidFill>
            </c:spPr>
            <c:extLst>
              <c:ext xmlns:c16="http://schemas.microsoft.com/office/drawing/2014/chart" uri="{C3380CC4-5D6E-409C-BE32-E72D297353CC}">
                <c16:uniqueId val="{0000072B-7BE2-49F1-B47F-64DDA7BF3F9D}"/>
              </c:ext>
            </c:extLst>
          </c:dPt>
          <c:dPt>
            <c:idx val="917"/>
            <c:invertIfNegative val="1"/>
            <c:bubble3D val="0"/>
            <c:spPr>
              <a:solidFill>
                <a:srgbClr val="AEABAB"/>
              </a:solidFill>
            </c:spPr>
            <c:extLst>
              <c:ext xmlns:c16="http://schemas.microsoft.com/office/drawing/2014/chart" uri="{C3380CC4-5D6E-409C-BE32-E72D297353CC}">
                <c16:uniqueId val="{0000072D-7BE2-49F1-B47F-64DDA7BF3F9D}"/>
              </c:ext>
            </c:extLst>
          </c:dPt>
          <c:dPt>
            <c:idx val="918"/>
            <c:invertIfNegative val="1"/>
            <c:bubble3D val="0"/>
            <c:spPr>
              <a:solidFill>
                <a:srgbClr val="AEABAB"/>
              </a:solidFill>
            </c:spPr>
            <c:extLst>
              <c:ext xmlns:c16="http://schemas.microsoft.com/office/drawing/2014/chart" uri="{C3380CC4-5D6E-409C-BE32-E72D297353CC}">
                <c16:uniqueId val="{0000072F-7BE2-49F1-B47F-64DDA7BF3F9D}"/>
              </c:ext>
            </c:extLst>
          </c:dPt>
          <c:dPt>
            <c:idx val="919"/>
            <c:invertIfNegative val="1"/>
            <c:bubble3D val="0"/>
            <c:spPr>
              <a:solidFill>
                <a:srgbClr val="AEABAB"/>
              </a:solidFill>
            </c:spPr>
            <c:extLst>
              <c:ext xmlns:c16="http://schemas.microsoft.com/office/drawing/2014/chart" uri="{C3380CC4-5D6E-409C-BE32-E72D297353CC}">
                <c16:uniqueId val="{00000731-7BE2-49F1-B47F-64DDA7BF3F9D}"/>
              </c:ext>
            </c:extLst>
          </c:dPt>
          <c:dPt>
            <c:idx val="920"/>
            <c:invertIfNegative val="1"/>
            <c:bubble3D val="0"/>
            <c:spPr>
              <a:solidFill>
                <a:srgbClr val="AEABAB"/>
              </a:solidFill>
            </c:spPr>
            <c:extLst>
              <c:ext xmlns:c16="http://schemas.microsoft.com/office/drawing/2014/chart" uri="{C3380CC4-5D6E-409C-BE32-E72D297353CC}">
                <c16:uniqueId val="{00000733-7BE2-49F1-B47F-64DDA7BF3F9D}"/>
              </c:ext>
            </c:extLst>
          </c:dPt>
          <c:dPt>
            <c:idx val="921"/>
            <c:invertIfNegative val="1"/>
            <c:bubble3D val="0"/>
            <c:spPr>
              <a:solidFill>
                <a:srgbClr val="AEABAB"/>
              </a:solidFill>
            </c:spPr>
            <c:extLst>
              <c:ext xmlns:c16="http://schemas.microsoft.com/office/drawing/2014/chart" uri="{C3380CC4-5D6E-409C-BE32-E72D297353CC}">
                <c16:uniqueId val="{00000735-7BE2-49F1-B47F-64DDA7BF3F9D}"/>
              </c:ext>
            </c:extLst>
          </c:dPt>
          <c:dPt>
            <c:idx val="922"/>
            <c:invertIfNegative val="1"/>
            <c:bubble3D val="0"/>
            <c:spPr>
              <a:solidFill>
                <a:srgbClr val="AEABAB"/>
              </a:solidFill>
            </c:spPr>
            <c:extLst>
              <c:ext xmlns:c16="http://schemas.microsoft.com/office/drawing/2014/chart" uri="{C3380CC4-5D6E-409C-BE32-E72D297353CC}">
                <c16:uniqueId val="{00000737-7BE2-49F1-B47F-64DDA7BF3F9D}"/>
              </c:ext>
            </c:extLst>
          </c:dPt>
          <c:dPt>
            <c:idx val="923"/>
            <c:invertIfNegative val="1"/>
            <c:bubble3D val="0"/>
            <c:spPr>
              <a:solidFill>
                <a:srgbClr val="AEABAB"/>
              </a:solidFill>
            </c:spPr>
            <c:extLst>
              <c:ext xmlns:c16="http://schemas.microsoft.com/office/drawing/2014/chart" uri="{C3380CC4-5D6E-409C-BE32-E72D297353CC}">
                <c16:uniqueId val="{00000739-7BE2-49F1-B47F-64DDA7BF3F9D}"/>
              </c:ext>
            </c:extLst>
          </c:dPt>
          <c:dPt>
            <c:idx val="924"/>
            <c:invertIfNegative val="1"/>
            <c:bubble3D val="0"/>
            <c:spPr>
              <a:solidFill>
                <a:srgbClr val="AEABAB"/>
              </a:solidFill>
            </c:spPr>
            <c:extLst>
              <c:ext xmlns:c16="http://schemas.microsoft.com/office/drawing/2014/chart" uri="{C3380CC4-5D6E-409C-BE32-E72D297353CC}">
                <c16:uniqueId val="{0000073B-7BE2-49F1-B47F-64DDA7BF3F9D}"/>
              </c:ext>
            </c:extLst>
          </c:dPt>
          <c:dPt>
            <c:idx val="925"/>
            <c:invertIfNegative val="1"/>
            <c:bubble3D val="0"/>
            <c:spPr>
              <a:solidFill>
                <a:srgbClr val="AEABAB"/>
              </a:solidFill>
            </c:spPr>
            <c:extLst>
              <c:ext xmlns:c16="http://schemas.microsoft.com/office/drawing/2014/chart" uri="{C3380CC4-5D6E-409C-BE32-E72D297353CC}">
                <c16:uniqueId val="{0000073D-7BE2-49F1-B47F-64DDA7BF3F9D}"/>
              </c:ext>
            </c:extLst>
          </c:dPt>
          <c:dPt>
            <c:idx val="926"/>
            <c:invertIfNegative val="1"/>
            <c:bubble3D val="0"/>
            <c:spPr>
              <a:solidFill>
                <a:srgbClr val="AEABAB"/>
              </a:solidFill>
            </c:spPr>
            <c:extLst>
              <c:ext xmlns:c16="http://schemas.microsoft.com/office/drawing/2014/chart" uri="{C3380CC4-5D6E-409C-BE32-E72D297353CC}">
                <c16:uniqueId val="{0000073F-7BE2-49F1-B47F-64DDA7BF3F9D}"/>
              </c:ext>
            </c:extLst>
          </c:dPt>
          <c:dPt>
            <c:idx val="927"/>
            <c:invertIfNegative val="1"/>
            <c:bubble3D val="0"/>
            <c:spPr>
              <a:solidFill>
                <a:srgbClr val="AEABAB"/>
              </a:solidFill>
            </c:spPr>
            <c:extLst>
              <c:ext xmlns:c16="http://schemas.microsoft.com/office/drawing/2014/chart" uri="{C3380CC4-5D6E-409C-BE32-E72D297353CC}">
                <c16:uniqueId val="{00000741-7BE2-49F1-B47F-64DDA7BF3F9D}"/>
              </c:ext>
            </c:extLst>
          </c:dPt>
          <c:dPt>
            <c:idx val="928"/>
            <c:invertIfNegative val="1"/>
            <c:bubble3D val="0"/>
            <c:spPr>
              <a:solidFill>
                <a:srgbClr val="AEABAB"/>
              </a:solidFill>
            </c:spPr>
            <c:extLst>
              <c:ext xmlns:c16="http://schemas.microsoft.com/office/drawing/2014/chart" uri="{C3380CC4-5D6E-409C-BE32-E72D297353CC}">
                <c16:uniqueId val="{00000743-7BE2-49F1-B47F-64DDA7BF3F9D}"/>
              </c:ext>
            </c:extLst>
          </c:dPt>
          <c:dPt>
            <c:idx val="929"/>
            <c:invertIfNegative val="1"/>
            <c:bubble3D val="0"/>
            <c:spPr>
              <a:solidFill>
                <a:srgbClr val="AEABAB"/>
              </a:solidFill>
            </c:spPr>
            <c:extLst>
              <c:ext xmlns:c16="http://schemas.microsoft.com/office/drawing/2014/chart" uri="{C3380CC4-5D6E-409C-BE32-E72D297353CC}">
                <c16:uniqueId val="{00000745-7BE2-49F1-B47F-64DDA7BF3F9D}"/>
              </c:ext>
            </c:extLst>
          </c:dPt>
          <c:dPt>
            <c:idx val="930"/>
            <c:invertIfNegative val="1"/>
            <c:bubble3D val="0"/>
            <c:spPr>
              <a:solidFill>
                <a:srgbClr val="AEABAB"/>
              </a:solidFill>
            </c:spPr>
            <c:extLst>
              <c:ext xmlns:c16="http://schemas.microsoft.com/office/drawing/2014/chart" uri="{C3380CC4-5D6E-409C-BE32-E72D297353CC}">
                <c16:uniqueId val="{00000747-7BE2-49F1-B47F-64DDA7BF3F9D}"/>
              </c:ext>
            </c:extLst>
          </c:dPt>
          <c:dPt>
            <c:idx val="931"/>
            <c:invertIfNegative val="1"/>
            <c:bubble3D val="0"/>
            <c:spPr>
              <a:solidFill>
                <a:srgbClr val="AEABAB"/>
              </a:solidFill>
            </c:spPr>
            <c:extLst>
              <c:ext xmlns:c16="http://schemas.microsoft.com/office/drawing/2014/chart" uri="{C3380CC4-5D6E-409C-BE32-E72D297353CC}">
                <c16:uniqueId val="{00000749-7BE2-49F1-B47F-64DDA7BF3F9D}"/>
              </c:ext>
            </c:extLst>
          </c:dPt>
          <c:dPt>
            <c:idx val="932"/>
            <c:invertIfNegative val="1"/>
            <c:bubble3D val="0"/>
            <c:spPr>
              <a:solidFill>
                <a:srgbClr val="AEABAB"/>
              </a:solidFill>
            </c:spPr>
            <c:extLst>
              <c:ext xmlns:c16="http://schemas.microsoft.com/office/drawing/2014/chart" uri="{C3380CC4-5D6E-409C-BE32-E72D297353CC}">
                <c16:uniqueId val="{0000074B-7BE2-49F1-B47F-64DDA7BF3F9D}"/>
              </c:ext>
            </c:extLst>
          </c:dPt>
          <c:dPt>
            <c:idx val="933"/>
            <c:invertIfNegative val="1"/>
            <c:bubble3D val="0"/>
            <c:spPr>
              <a:solidFill>
                <a:srgbClr val="AEABAB"/>
              </a:solidFill>
            </c:spPr>
            <c:extLst>
              <c:ext xmlns:c16="http://schemas.microsoft.com/office/drawing/2014/chart" uri="{C3380CC4-5D6E-409C-BE32-E72D297353CC}">
                <c16:uniqueId val="{0000074D-7BE2-49F1-B47F-64DDA7BF3F9D}"/>
              </c:ext>
            </c:extLst>
          </c:dPt>
          <c:dPt>
            <c:idx val="934"/>
            <c:invertIfNegative val="1"/>
            <c:bubble3D val="0"/>
            <c:spPr>
              <a:solidFill>
                <a:srgbClr val="AEABAB"/>
              </a:solidFill>
            </c:spPr>
            <c:extLst>
              <c:ext xmlns:c16="http://schemas.microsoft.com/office/drawing/2014/chart" uri="{C3380CC4-5D6E-409C-BE32-E72D297353CC}">
                <c16:uniqueId val="{0000074F-7BE2-49F1-B47F-64DDA7BF3F9D}"/>
              </c:ext>
            </c:extLst>
          </c:dPt>
          <c:dPt>
            <c:idx val="935"/>
            <c:invertIfNegative val="1"/>
            <c:bubble3D val="0"/>
            <c:spPr>
              <a:solidFill>
                <a:srgbClr val="AEABAB"/>
              </a:solidFill>
            </c:spPr>
            <c:extLst>
              <c:ext xmlns:c16="http://schemas.microsoft.com/office/drawing/2014/chart" uri="{C3380CC4-5D6E-409C-BE32-E72D297353CC}">
                <c16:uniqueId val="{00000751-7BE2-49F1-B47F-64DDA7BF3F9D}"/>
              </c:ext>
            </c:extLst>
          </c:dPt>
          <c:dPt>
            <c:idx val="936"/>
            <c:invertIfNegative val="1"/>
            <c:bubble3D val="0"/>
            <c:spPr>
              <a:solidFill>
                <a:srgbClr val="AEABAB"/>
              </a:solidFill>
            </c:spPr>
            <c:extLst>
              <c:ext xmlns:c16="http://schemas.microsoft.com/office/drawing/2014/chart" uri="{C3380CC4-5D6E-409C-BE32-E72D297353CC}">
                <c16:uniqueId val="{00000753-7BE2-49F1-B47F-64DDA7BF3F9D}"/>
              </c:ext>
            </c:extLst>
          </c:dPt>
          <c:dPt>
            <c:idx val="937"/>
            <c:invertIfNegative val="1"/>
            <c:bubble3D val="0"/>
            <c:spPr>
              <a:solidFill>
                <a:srgbClr val="AEABAB"/>
              </a:solidFill>
            </c:spPr>
            <c:extLst>
              <c:ext xmlns:c16="http://schemas.microsoft.com/office/drawing/2014/chart" uri="{C3380CC4-5D6E-409C-BE32-E72D297353CC}">
                <c16:uniqueId val="{00000755-7BE2-49F1-B47F-64DDA7BF3F9D}"/>
              </c:ext>
            </c:extLst>
          </c:dPt>
          <c:dPt>
            <c:idx val="938"/>
            <c:invertIfNegative val="1"/>
            <c:bubble3D val="0"/>
            <c:spPr>
              <a:solidFill>
                <a:srgbClr val="AEABAB"/>
              </a:solidFill>
            </c:spPr>
            <c:extLst>
              <c:ext xmlns:c16="http://schemas.microsoft.com/office/drawing/2014/chart" uri="{C3380CC4-5D6E-409C-BE32-E72D297353CC}">
                <c16:uniqueId val="{00000757-7BE2-49F1-B47F-64DDA7BF3F9D}"/>
              </c:ext>
            </c:extLst>
          </c:dPt>
          <c:dPt>
            <c:idx val="939"/>
            <c:invertIfNegative val="1"/>
            <c:bubble3D val="0"/>
            <c:spPr>
              <a:solidFill>
                <a:srgbClr val="AEABAB"/>
              </a:solidFill>
            </c:spPr>
            <c:extLst>
              <c:ext xmlns:c16="http://schemas.microsoft.com/office/drawing/2014/chart" uri="{C3380CC4-5D6E-409C-BE32-E72D297353CC}">
                <c16:uniqueId val="{00000759-7BE2-49F1-B47F-64DDA7BF3F9D}"/>
              </c:ext>
            </c:extLst>
          </c:dPt>
          <c:dPt>
            <c:idx val="940"/>
            <c:invertIfNegative val="1"/>
            <c:bubble3D val="0"/>
            <c:spPr>
              <a:solidFill>
                <a:srgbClr val="AEABAB"/>
              </a:solidFill>
            </c:spPr>
            <c:extLst>
              <c:ext xmlns:c16="http://schemas.microsoft.com/office/drawing/2014/chart" uri="{C3380CC4-5D6E-409C-BE32-E72D297353CC}">
                <c16:uniqueId val="{0000075B-7BE2-49F1-B47F-64DDA7BF3F9D}"/>
              </c:ext>
            </c:extLst>
          </c:dPt>
          <c:dPt>
            <c:idx val="941"/>
            <c:invertIfNegative val="1"/>
            <c:bubble3D val="0"/>
            <c:spPr>
              <a:solidFill>
                <a:srgbClr val="AEABAB"/>
              </a:solidFill>
            </c:spPr>
            <c:extLst>
              <c:ext xmlns:c16="http://schemas.microsoft.com/office/drawing/2014/chart" uri="{C3380CC4-5D6E-409C-BE32-E72D297353CC}">
                <c16:uniqueId val="{0000075D-7BE2-49F1-B47F-64DDA7BF3F9D}"/>
              </c:ext>
            </c:extLst>
          </c:dPt>
          <c:dPt>
            <c:idx val="942"/>
            <c:invertIfNegative val="1"/>
            <c:bubble3D val="0"/>
            <c:spPr>
              <a:solidFill>
                <a:srgbClr val="AEABAB"/>
              </a:solidFill>
            </c:spPr>
            <c:extLst>
              <c:ext xmlns:c16="http://schemas.microsoft.com/office/drawing/2014/chart" uri="{C3380CC4-5D6E-409C-BE32-E72D297353CC}">
                <c16:uniqueId val="{0000075F-7BE2-49F1-B47F-64DDA7BF3F9D}"/>
              </c:ext>
            </c:extLst>
          </c:dPt>
          <c:dPt>
            <c:idx val="943"/>
            <c:invertIfNegative val="1"/>
            <c:bubble3D val="0"/>
            <c:spPr>
              <a:solidFill>
                <a:srgbClr val="AEABAB"/>
              </a:solidFill>
            </c:spPr>
            <c:extLst>
              <c:ext xmlns:c16="http://schemas.microsoft.com/office/drawing/2014/chart" uri="{C3380CC4-5D6E-409C-BE32-E72D297353CC}">
                <c16:uniqueId val="{00000761-7BE2-49F1-B47F-64DDA7BF3F9D}"/>
              </c:ext>
            </c:extLst>
          </c:dPt>
          <c:dPt>
            <c:idx val="944"/>
            <c:invertIfNegative val="1"/>
            <c:bubble3D val="0"/>
            <c:spPr>
              <a:solidFill>
                <a:srgbClr val="AEABAB"/>
              </a:solidFill>
            </c:spPr>
            <c:extLst>
              <c:ext xmlns:c16="http://schemas.microsoft.com/office/drawing/2014/chart" uri="{C3380CC4-5D6E-409C-BE32-E72D297353CC}">
                <c16:uniqueId val="{00000763-7BE2-49F1-B47F-64DDA7BF3F9D}"/>
              </c:ext>
            </c:extLst>
          </c:dPt>
          <c:dPt>
            <c:idx val="945"/>
            <c:invertIfNegative val="1"/>
            <c:bubble3D val="0"/>
            <c:spPr>
              <a:solidFill>
                <a:srgbClr val="AEABAB"/>
              </a:solidFill>
            </c:spPr>
            <c:extLst>
              <c:ext xmlns:c16="http://schemas.microsoft.com/office/drawing/2014/chart" uri="{C3380CC4-5D6E-409C-BE32-E72D297353CC}">
                <c16:uniqueId val="{00000765-7BE2-49F1-B47F-64DDA7BF3F9D}"/>
              </c:ext>
            </c:extLst>
          </c:dPt>
          <c:dPt>
            <c:idx val="946"/>
            <c:invertIfNegative val="1"/>
            <c:bubble3D val="0"/>
            <c:spPr>
              <a:solidFill>
                <a:srgbClr val="AEABAB"/>
              </a:solidFill>
            </c:spPr>
            <c:extLst>
              <c:ext xmlns:c16="http://schemas.microsoft.com/office/drawing/2014/chart" uri="{C3380CC4-5D6E-409C-BE32-E72D297353CC}">
                <c16:uniqueId val="{00000767-7BE2-49F1-B47F-64DDA7BF3F9D}"/>
              </c:ext>
            </c:extLst>
          </c:dPt>
          <c:dPt>
            <c:idx val="947"/>
            <c:invertIfNegative val="1"/>
            <c:bubble3D val="0"/>
            <c:spPr>
              <a:solidFill>
                <a:srgbClr val="AEABAB"/>
              </a:solidFill>
            </c:spPr>
            <c:extLst>
              <c:ext xmlns:c16="http://schemas.microsoft.com/office/drawing/2014/chart" uri="{C3380CC4-5D6E-409C-BE32-E72D297353CC}">
                <c16:uniqueId val="{00000769-7BE2-49F1-B47F-64DDA7BF3F9D}"/>
              </c:ext>
            </c:extLst>
          </c:dPt>
          <c:dPt>
            <c:idx val="948"/>
            <c:invertIfNegative val="1"/>
            <c:bubble3D val="0"/>
            <c:spPr>
              <a:solidFill>
                <a:srgbClr val="AEABAB"/>
              </a:solidFill>
            </c:spPr>
            <c:extLst>
              <c:ext xmlns:c16="http://schemas.microsoft.com/office/drawing/2014/chart" uri="{C3380CC4-5D6E-409C-BE32-E72D297353CC}">
                <c16:uniqueId val="{0000076B-7BE2-49F1-B47F-64DDA7BF3F9D}"/>
              </c:ext>
            </c:extLst>
          </c:dPt>
          <c:dPt>
            <c:idx val="949"/>
            <c:invertIfNegative val="1"/>
            <c:bubble3D val="0"/>
            <c:spPr>
              <a:solidFill>
                <a:srgbClr val="AEABAB"/>
              </a:solidFill>
            </c:spPr>
            <c:extLst>
              <c:ext xmlns:c16="http://schemas.microsoft.com/office/drawing/2014/chart" uri="{C3380CC4-5D6E-409C-BE32-E72D297353CC}">
                <c16:uniqueId val="{0000076D-7BE2-49F1-B47F-64DDA7BF3F9D}"/>
              </c:ext>
            </c:extLst>
          </c:dPt>
          <c:dPt>
            <c:idx val="950"/>
            <c:invertIfNegative val="1"/>
            <c:bubble3D val="0"/>
            <c:spPr>
              <a:solidFill>
                <a:srgbClr val="AEABAB"/>
              </a:solidFill>
            </c:spPr>
            <c:extLst>
              <c:ext xmlns:c16="http://schemas.microsoft.com/office/drawing/2014/chart" uri="{C3380CC4-5D6E-409C-BE32-E72D297353CC}">
                <c16:uniqueId val="{0000076F-7BE2-49F1-B47F-64DDA7BF3F9D}"/>
              </c:ext>
            </c:extLst>
          </c:dPt>
          <c:dPt>
            <c:idx val="951"/>
            <c:invertIfNegative val="1"/>
            <c:bubble3D val="0"/>
            <c:spPr>
              <a:solidFill>
                <a:srgbClr val="AEABAB"/>
              </a:solidFill>
            </c:spPr>
            <c:extLst>
              <c:ext xmlns:c16="http://schemas.microsoft.com/office/drawing/2014/chart" uri="{C3380CC4-5D6E-409C-BE32-E72D297353CC}">
                <c16:uniqueId val="{00000771-7BE2-49F1-B47F-64DDA7BF3F9D}"/>
              </c:ext>
            </c:extLst>
          </c:dPt>
          <c:dPt>
            <c:idx val="952"/>
            <c:invertIfNegative val="1"/>
            <c:bubble3D val="0"/>
            <c:spPr>
              <a:solidFill>
                <a:srgbClr val="AEABAB"/>
              </a:solidFill>
            </c:spPr>
            <c:extLst>
              <c:ext xmlns:c16="http://schemas.microsoft.com/office/drawing/2014/chart" uri="{C3380CC4-5D6E-409C-BE32-E72D297353CC}">
                <c16:uniqueId val="{00000773-7BE2-49F1-B47F-64DDA7BF3F9D}"/>
              </c:ext>
            </c:extLst>
          </c:dPt>
          <c:dPt>
            <c:idx val="953"/>
            <c:invertIfNegative val="1"/>
            <c:bubble3D val="0"/>
            <c:spPr>
              <a:solidFill>
                <a:srgbClr val="AEABAB"/>
              </a:solidFill>
            </c:spPr>
            <c:extLst>
              <c:ext xmlns:c16="http://schemas.microsoft.com/office/drawing/2014/chart" uri="{C3380CC4-5D6E-409C-BE32-E72D297353CC}">
                <c16:uniqueId val="{00000775-7BE2-49F1-B47F-64DDA7BF3F9D}"/>
              </c:ext>
            </c:extLst>
          </c:dPt>
          <c:dPt>
            <c:idx val="954"/>
            <c:invertIfNegative val="1"/>
            <c:bubble3D val="0"/>
            <c:spPr>
              <a:solidFill>
                <a:srgbClr val="AEABAB"/>
              </a:solidFill>
            </c:spPr>
            <c:extLst>
              <c:ext xmlns:c16="http://schemas.microsoft.com/office/drawing/2014/chart" uri="{C3380CC4-5D6E-409C-BE32-E72D297353CC}">
                <c16:uniqueId val="{00000777-7BE2-49F1-B47F-64DDA7BF3F9D}"/>
              </c:ext>
            </c:extLst>
          </c:dPt>
          <c:dPt>
            <c:idx val="955"/>
            <c:invertIfNegative val="1"/>
            <c:bubble3D val="0"/>
            <c:spPr>
              <a:solidFill>
                <a:srgbClr val="AEABAB"/>
              </a:solidFill>
            </c:spPr>
            <c:extLst>
              <c:ext xmlns:c16="http://schemas.microsoft.com/office/drawing/2014/chart" uri="{C3380CC4-5D6E-409C-BE32-E72D297353CC}">
                <c16:uniqueId val="{00000779-7BE2-49F1-B47F-64DDA7BF3F9D}"/>
              </c:ext>
            </c:extLst>
          </c:dPt>
          <c:dPt>
            <c:idx val="956"/>
            <c:invertIfNegative val="1"/>
            <c:bubble3D val="0"/>
            <c:spPr>
              <a:solidFill>
                <a:srgbClr val="AEABAB"/>
              </a:solidFill>
            </c:spPr>
            <c:extLst>
              <c:ext xmlns:c16="http://schemas.microsoft.com/office/drawing/2014/chart" uri="{C3380CC4-5D6E-409C-BE32-E72D297353CC}">
                <c16:uniqueId val="{0000077B-7BE2-49F1-B47F-64DDA7BF3F9D}"/>
              </c:ext>
            </c:extLst>
          </c:dPt>
          <c:dPt>
            <c:idx val="957"/>
            <c:invertIfNegative val="1"/>
            <c:bubble3D val="0"/>
            <c:spPr>
              <a:solidFill>
                <a:srgbClr val="AEABAB"/>
              </a:solidFill>
            </c:spPr>
            <c:extLst>
              <c:ext xmlns:c16="http://schemas.microsoft.com/office/drawing/2014/chart" uri="{C3380CC4-5D6E-409C-BE32-E72D297353CC}">
                <c16:uniqueId val="{0000077D-7BE2-49F1-B47F-64DDA7BF3F9D}"/>
              </c:ext>
            </c:extLst>
          </c:dPt>
          <c:dPt>
            <c:idx val="958"/>
            <c:invertIfNegative val="1"/>
            <c:bubble3D val="0"/>
            <c:spPr>
              <a:solidFill>
                <a:srgbClr val="AEABAB"/>
              </a:solidFill>
            </c:spPr>
            <c:extLst>
              <c:ext xmlns:c16="http://schemas.microsoft.com/office/drawing/2014/chart" uri="{C3380CC4-5D6E-409C-BE32-E72D297353CC}">
                <c16:uniqueId val="{0000077F-7BE2-49F1-B47F-64DDA7BF3F9D}"/>
              </c:ext>
            </c:extLst>
          </c:dPt>
          <c:dPt>
            <c:idx val="959"/>
            <c:invertIfNegative val="1"/>
            <c:bubble3D val="0"/>
            <c:spPr>
              <a:solidFill>
                <a:srgbClr val="AEABAB"/>
              </a:solidFill>
            </c:spPr>
            <c:extLst>
              <c:ext xmlns:c16="http://schemas.microsoft.com/office/drawing/2014/chart" uri="{C3380CC4-5D6E-409C-BE32-E72D297353CC}">
                <c16:uniqueId val="{00000781-7BE2-49F1-B47F-64DDA7BF3F9D}"/>
              </c:ext>
            </c:extLst>
          </c:dPt>
          <c:dPt>
            <c:idx val="960"/>
            <c:invertIfNegative val="1"/>
            <c:bubble3D val="0"/>
            <c:spPr>
              <a:solidFill>
                <a:srgbClr val="AEABAB"/>
              </a:solidFill>
            </c:spPr>
            <c:extLst>
              <c:ext xmlns:c16="http://schemas.microsoft.com/office/drawing/2014/chart" uri="{C3380CC4-5D6E-409C-BE32-E72D297353CC}">
                <c16:uniqueId val="{00000783-7BE2-49F1-B47F-64DDA7BF3F9D}"/>
              </c:ext>
            </c:extLst>
          </c:dPt>
          <c:dPt>
            <c:idx val="961"/>
            <c:invertIfNegative val="1"/>
            <c:bubble3D val="0"/>
            <c:spPr>
              <a:solidFill>
                <a:srgbClr val="AEABAB"/>
              </a:solidFill>
            </c:spPr>
            <c:extLst>
              <c:ext xmlns:c16="http://schemas.microsoft.com/office/drawing/2014/chart" uri="{C3380CC4-5D6E-409C-BE32-E72D297353CC}">
                <c16:uniqueId val="{00000785-7BE2-49F1-B47F-64DDA7BF3F9D}"/>
              </c:ext>
            </c:extLst>
          </c:dPt>
          <c:dPt>
            <c:idx val="962"/>
            <c:invertIfNegative val="1"/>
            <c:bubble3D val="0"/>
            <c:spPr>
              <a:solidFill>
                <a:srgbClr val="AEABAB"/>
              </a:solidFill>
            </c:spPr>
            <c:extLst>
              <c:ext xmlns:c16="http://schemas.microsoft.com/office/drawing/2014/chart" uri="{C3380CC4-5D6E-409C-BE32-E72D297353CC}">
                <c16:uniqueId val="{00000787-7BE2-49F1-B47F-64DDA7BF3F9D}"/>
              </c:ext>
            </c:extLst>
          </c:dPt>
          <c:dPt>
            <c:idx val="963"/>
            <c:invertIfNegative val="1"/>
            <c:bubble3D val="0"/>
            <c:spPr>
              <a:solidFill>
                <a:srgbClr val="AEABAB"/>
              </a:solidFill>
            </c:spPr>
            <c:extLst>
              <c:ext xmlns:c16="http://schemas.microsoft.com/office/drawing/2014/chart" uri="{C3380CC4-5D6E-409C-BE32-E72D297353CC}">
                <c16:uniqueId val="{00000789-7BE2-49F1-B47F-64DDA7BF3F9D}"/>
              </c:ext>
            </c:extLst>
          </c:dPt>
          <c:dPt>
            <c:idx val="964"/>
            <c:invertIfNegative val="1"/>
            <c:bubble3D val="0"/>
            <c:spPr>
              <a:solidFill>
                <a:srgbClr val="AEABAB"/>
              </a:solidFill>
            </c:spPr>
            <c:extLst>
              <c:ext xmlns:c16="http://schemas.microsoft.com/office/drawing/2014/chart" uri="{C3380CC4-5D6E-409C-BE32-E72D297353CC}">
                <c16:uniqueId val="{0000078B-7BE2-49F1-B47F-64DDA7BF3F9D}"/>
              </c:ext>
            </c:extLst>
          </c:dPt>
          <c:dPt>
            <c:idx val="965"/>
            <c:invertIfNegative val="1"/>
            <c:bubble3D val="0"/>
            <c:spPr>
              <a:solidFill>
                <a:srgbClr val="AEABAB"/>
              </a:solidFill>
            </c:spPr>
            <c:extLst>
              <c:ext xmlns:c16="http://schemas.microsoft.com/office/drawing/2014/chart" uri="{C3380CC4-5D6E-409C-BE32-E72D297353CC}">
                <c16:uniqueId val="{0000078D-7BE2-49F1-B47F-64DDA7BF3F9D}"/>
              </c:ext>
            </c:extLst>
          </c:dPt>
          <c:dPt>
            <c:idx val="966"/>
            <c:invertIfNegative val="1"/>
            <c:bubble3D val="0"/>
            <c:spPr>
              <a:solidFill>
                <a:srgbClr val="AEABAB"/>
              </a:solidFill>
            </c:spPr>
            <c:extLst>
              <c:ext xmlns:c16="http://schemas.microsoft.com/office/drawing/2014/chart" uri="{C3380CC4-5D6E-409C-BE32-E72D297353CC}">
                <c16:uniqueId val="{0000078F-7BE2-49F1-B47F-64DDA7BF3F9D}"/>
              </c:ext>
            </c:extLst>
          </c:dPt>
          <c:dPt>
            <c:idx val="967"/>
            <c:invertIfNegative val="1"/>
            <c:bubble3D val="0"/>
            <c:spPr>
              <a:solidFill>
                <a:srgbClr val="AEABAB"/>
              </a:solidFill>
            </c:spPr>
            <c:extLst>
              <c:ext xmlns:c16="http://schemas.microsoft.com/office/drawing/2014/chart" uri="{C3380CC4-5D6E-409C-BE32-E72D297353CC}">
                <c16:uniqueId val="{00000791-7BE2-49F1-B47F-64DDA7BF3F9D}"/>
              </c:ext>
            </c:extLst>
          </c:dPt>
          <c:dPt>
            <c:idx val="968"/>
            <c:invertIfNegative val="1"/>
            <c:bubble3D val="0"/>
            <c:spPr>
              <a:solidFill>
                <a:srgbClr val="AEABAB"/>
              </a:solidFill>
            </c:spPr>
            <c:extLst>
              <c:ext xmlns:c16="http://schemas.microsoft.com/office/drawing/2014/chart" uri="{C3380CC4-5D6E-409C-BE32-E72D297353CC}">
                <c16:uniqueId val="{00000793-7BE2-49F1-B47F-64DDA7BF3F9D}"/>
              </c:ext>
            </c:extLst>
          </c:dPt>
          <c:dPt>
            <c:idx val="969"/>
            <c:invertIfNegative val="1"/>
            <c:bubble3D val="0"/>
            <c:spPr>
              <a:solidFill>
                <a:srgbClr val="AEABAB"/>
              </a:solidFill>
            </c:spPr>
            <c:extLst>
              <c:ext xmlns:c16="http://schemas.microsoft.com/office/drawing/2014/chart" uri="{C3380CC4-5D6E-409C-BE32-E72D297353CC}">
                <c16:uniqueId val="{00000795-7BE2-49F1-B47F-64DDA7BF3F9D}"/>
              </c:ext>
            </c:extLst>
          </c:dPt>
          <c:dPt>
            <c:idx val="970"/>
            <c:invertIfNegative val="1"/>
            <c:bubble3D val="0"/>
            <c:spPr>
              <a:solidFill>
                <a:srgbClr val="AEABAB"/>
              </a:solidFill>
            </c:spPr>
            <c:extLst>
              <c:ext xmlns:c16="http://schemas.microsoft.com/office/drawing/2014/chart" uri="{C3380CC4-5D6E-409C-BE32-E72D297353CC}">
                <c16:uniqueId val="{00000797-7BE2-49F1-B47F-64DDA7BF3F9D}"/>
              </c:ext>
            </c:extLst>
          </c:dPt>
          <c:dPt>
            <c:idx val="971"/>
            <c:invertIfNegative val="1"/>
            <c:bubble3D val="0"/>
            <c:spPr>
              <a:solidFill>
                <a:srgbClr val="AEABAB"/>
              </a:solidFill>
            </c:spPr>
            <c:extLst>
              <c:ext xmlns:c16="http://schemas.microsoft.com/office/drawing/2014/chart" uri="{C3380CC4-5D6E-409C-BE32-E72D297353CC}">
                <c16:uniqueId val="{00000799-7BE2-49F1-B47F-64DDA7BF3F9D}"/>
              </c:ext>
            </c:extLst>
          </c:dPt>
          <c:dPt>
            <c:idx val="972"/>
            <c:invertIfNegative val="1"/>
            <c:bubble3D val="0"/>
            <c:spPr>
              <a:solidFill>
                <a:srgbClr val="AEABAB"/>
              </a:solidFill>
            </c:spPr>
            <c:extLst>
              <c:ext xmlns:c16="http://schemas.microsoft.com/office/drawing/2014/chart" uri="{C3380CC4-5D6E-409C-BE32-E72D297353CC}">
                <c16:uniqueId val="{0000079B-7BE2-49F1-B47F-64DDA7BF3F9D}"/>
              </c:ext>
            </c:extLst>
          </c:dPt>
          <c:dPt>
            <c:idx val="973"/>
            <c:invertIfNegative val="1"/>
            <c:bubble3D val="0"/>
            <c:spPr>
              <a:solidFill>
                <a:srgbClr val="AEABAB"/>
              </a:solidFill>
            </c:spPr>
            <c:extLst>
              <c:ext xmlns:c16="http://schemas.microsoft.com/office/drawing/2014/chart" uri="{C3380CC4-5D6E-409C-BE32-E72D297353CC}">
                <c16:uniqueId val="{0000079D-7BE2-49F1-B47F-64DDA7BF3F9D}"/>
              </c:ext>
            </c:extLst>
          </c:dPt>
          <c:dPt>
            <c:idx val="974"/>
            <c:invertIfNegative val="1"/>
            <c:bubble3D val="0"/>
            <c:spPr>
              <a:solidFill>
                <a:srgbClr val="AEABAB"/>
              </a:solidFill>
            </c:spPr>
            <c:extLst>
              <c:ext xmlns:c16="http://schemas.microsoft.com/office/drawing/2014/chart" uri="{C3380CC4-5D6E-409C-BE32-E72D297353CC}">
                <c16:uniqueId val="{0000079F-7BE2-49F1-B47F-64DDA7BF3F9D}"/>
              </c:ext>
            </c:extLst>
          </c:dPt>
          <c:dPt>
            <c:idx val="975"/>
            <c:invertIfNegative val="1"/>
            <c:bubble3D val="0"/>
            <c:spPr>
              <a:solidFill>
                <a:srgbClr val="AEABAB"/>
              </a:solidFill>
            </c:spPr>
            <c:extLst>
              <c:ext xmlns:c16="http://schemas.microsoft.com/office/drawing/2014/chart" uri="{C3380CC4-5D6E-409C-BE32-E72D297353CC}">
                <c16:uniqueId val="{000007A1-7BE2-49F1-B47F-64DDA7BF3F9D}"/>
              </c:ext>
            </c:extLst>
          </c:dPt>
          <c:dPt>
            <c:idx val="976"/>
            <c:invertIfNegative val="1"/>
            <c:bubble3D val="0"/>
            <c:spPr>
              <a:solidFill>
                <a:srgbClr val="AEABAB"/>
              </a:solidFill>
            </c:spPr>
            <c:extLst>
              <c:ext xmlns:c16="http://schemas.microsoft.com/office/drawing/2014/chart" uri="{C3380CC4-5D6E-409C-BE32-E72D297353CC}">
                <c16:uniqueId val="{000007A3-7BE2-49F1-B47F-64DDA7BF3F9D}"/>
              </c:ext>
            </c:extLst>
          </c:dPt>
          <c:dPt>
            <c:idx val="977"/>
            <c:invertIfNegative val="1"/>
            <c:bubble3D val="0"/>
            <c:spPr>
              <a:solidFill>
                <a:srgbClr val="AEABAB"/>
              </a:solidFill>
            </c:spPr>
            <c:extLst>
              <c:ext xmlns:c16="http://schemas.microsoft.com/office/drawing/2014/chart" uri="{C3380CC4-5D6E-409C-BE32-E72D297353CC}">
                <c16:uniqueId val="{000007A5-7BE2-49F1-B47F-64DDA7BF3F9D}"/>
              </c:ext>
            </c:extLst>
          </c:dPt>
          <c:dPt>
            <c:idx val="978"/>
            <c:invertIfNegative val="1"/>
            <c:bubble3D val="0"/>
            <c:spPr>
              <a:solidFill>
                <a:srgbClr val="AEABAB"/>
              </a:solidFill>
            </c:spPr>
            <c:extLst>
              <c:ext xmlns:c16="http://schemas.microsoft.com/office/drawing/2014/chart" uri="{C3380CC4-5D6E-409C-BE32-E72D297353CC}">
                <c16:uniqueId val="{000007A7-7BE2-49F1-B47F-64DDA7BF3F9D}"/>
              </c:ext>
            </c:extLst>
          </c:dPt>
          <c:dPt>
            <c:idx val="979"/>
            <c:invertIfNegative val="1"/>
            <c:bubble3D val="0"/>
            <c:spPr>
              <a:solidFill>
                <a:srgbClr val="AEABAB"/>
              </a:solidFill>
            </c:spPr>
            <c:extLst>
              <c:ext xmlns:c16="http://schemas.microsoft.com/office/drawing/2014/chart" uri="{C3380CC4-5D6E-409C-BE32-E72D297353CC}">
                <c16:uniqueId val="{000007A9-7BE2-49F1-B47F-64DDA7BF3F9D}"/>
              </c:ext>
            </c:extLst>
          </c:dPt>
          <c:dPt>
            <c:idx val="980"/>
            <c:invertIfNegative val="1"/>
            <c:bubble3D val="0"/>
            <c:spPr>
              <a:solidFill>
                <a:srgbClr val="AEABAB"/>
              </a:solidFill>
            </c:spPr>
            <c:extLst>
              <c:ext xmlns:c16="http://schemas.microsoft.com/office/drawing/2014/chart" uri="{C3380CC4-5D6E-409C-BE32-E72D297353CC}">
                <c16:uniqueId val="{000007AB-7BE2-49F1-B47F-64DDA7BF3F9D}"/>
              </c:ext>
            </c:extLst>
          </c:dPt>
          <c:dPt>
            <c:idx val="981"/>
            <c:invertIfNegative val="1"/>
            <c:bubble3D val="0"/>
            <c:spPr>
              <a:solidFill>
                <a:srgbClr val="AEABAB"/>
              </a:solidFill>
            </c:spPr>
            <c:extLst>
              <c:ext xmlns:c16="http://schemas.microsoft.com/office/drawing/2014/chart" uri="{C3380CC4-5D6E-409C-BE32-E72D297353CC}">
                <c16:uniqueId val="{000007AD-7BE2-49F1-B47F-64DDA7BF3F9D}"/>
              </c:ext>
            </c:extLst>
          </c:dPt>
          <c:dPt>
            <c:idx val="982"/>
            <c:invertIfNegative val="1"/>
            <c:bubble3D val="0"/>
            <c:spPr>
              <a:solidFill>
                <a:srgbClr val="AEABAB"/>
              </a:solidFill>
            </c:spPr>
            <c:extLst>
              <c:ext xmlns:c16="http://schemas.microsoft.com/office/drawing/2014/chart" uri="{C3380CC4-5D6E-409C-BE32-E72D297353CC}">
                <c16:uniqueId val="{000007AF-7BE2-49F1-B47F-64DDA7BF3F9D}"/>
              </c:ext>
            </c:extLst>
          </c:dPt>
          <c:dPt>
            <c:idx val="983"/>
            <c:invertIfNegative val="1"/>
            <c:bubble3D val="0"/>
            <c:spPr>
              <a:solidFill>
                <a:srgbClr val="AEABAB"/>
              </a:solidFill>
            </c:spPr>
            <c:extLst>
              <c:ext xmlns:c16="http://schemas.microsoft.com/office/drawing/2014/chart" uri="{C3380CC4-5D6E-409C-BE32-E72D297353CC}">
                <c16:uniqueId val="{000007B1-7BE2-49F1-B47F-64DDA7BF3F9D}"/>
              </c:ext>
            </c:extLst>
          </c:dPt>
          <c:dPt>
            <c:idx val="984"/>
            <c:invertIfNegative val="1"/>
            <c:bubble3D val="0"/>
            <c:spPr>
              <a:solidFill>
                <a:srgbClr val="AEABAB"/>
              </a:solidFill>
            </c:spPr>
            <c:extLst>
              <c:ext xmlns:c16="http://schemas.microsoft.com/office/drawing/2014/chart" uri="{C3380CC4-5D6E-409C-BE32-E72D297353CC}">
                <c16:uniqueId val="{000007B3-7BE2-49F1-B47F-64DDA7BF3F9D}"/>
              </c:ext>
            </c:extLst>
          </c:dPt>
          <c:dPt>
            <c:idx val="985"/>
            <c:invertIfNegative val="1"/>
            <c:bubble3D val="0"/>
            <c:spPr>
              <a:solidFill>
                <a:srgbClr val="AEABAB"/>
              </a:solidFill>
            </c:spPr>
            <c:extLst>
              <c:ext xmlns:c16="http://schemas.microsoft.com/office/drawing/2014/chart" uri="{C3380CC4-5D6E-409C-BE32-E72D297353CC}">
                <c16:uniqueId val="{000007B5-7BE2-49F1-B47F-64DDA7BF3F9D}"/>
              </c:ext>
            </c:extLst>
          </c:dPt>
          <c:dPt>
            <c:idx val="986"/>
            <c:invertIfNegative val="1"/>
            <c:bubble3D val="0"/>
            <c:spPr>
              <a:solidFill>
                <a:srgbClr val="AEABAB"/>
              </a:solidFill>
            </c:spPr>
            <c:extLst>
              <c:ext xmlns:c16="http://schemas.microsoft.com/office/drawing/2014/chart" uri="{C3380CC4-5D6E-409C-BE32-E72D297353CC}">
                <c16:uniqueId val="{000007B7-7BE2-49F1-B47F-64DDA7BF3F9D}"/>
              </c:ext>
            </c:extLst>
          </c:dPt>
          <c:dPt>
            <c:idx val="987"/>
            <c:invertIfNegative val="1"/>
            <c:bubble3D val="0"/>
            <c:spPr>
              <a:solidFill>
                <a:srgbClr val="AEABAB"/>
              </a:solidFill>
            </c:spPr>
            <c:extLst>
              <c:ext xmlns:c16="http://schemas.microsoft.com/office/drawing/2014/chart" uri="{C3380CC4-5D6E-409C-BE32-E72D297353CC}">
                <c16:uniqueId val="{000007B9-7BE2-49F1-B47F-64DDA7BF3F9D}"/>
              </c:ext>
            </c:extLst>
          </c:dPt>
          <c:dPt>
            <c:idx val="988"/>
            <c:invertIfNegative val="1"/>
            <c:bubble3D val="0"/>
            <c:spPr>
              <a:solidFill>
                <a:srgbClr val="AEABAB"/>
              </a:solidFill>
            </c:spPr>
            <c:extLst>
              <c:ext xmlns:c16="http://schemas.microsoft.com/office/drawing/2014/chart" uri="{C3380CC4-5D6E-409C-BE32-E72D297353CC}">
                <c16:uniqueId val="{000007BB-7BE2-49F1-B47F-64DDA7BF3F9D}"/>
              </c:ext>
            </c:extLst>
          </c:dPt>
          <c:dPt>
            <c:idx val="989"/>
            <c:invertIfNegative val="1"/>
            <c:bubble3D val="0"/>
            <c:spPr>
              <a:solidFill>
                <a:srgbClr val="AEABAB"/>
              </a:solidFill>
            </c:spPr>
            <c:extLst>
              <c:ext xmlns:c16="http://schemas.microsoft.com/office/drawing/2014/chart" uri="{C3380CC4-5D6E-409C-BE32-E72D297353CC}">
                <c16:uniqueId val="{000007BD-7BE2-49F1-B47F-64DDA7BF3F9D}"/>
              </c:ext>
            </c:extLst>
          </c:dPt>
          <c:dPt>
            <c:idx val="990"/>
            <c:invertIfNegative val="1"/>
            <c:bubble3D val="0"/>
            <c:spPr>
              <a:solidFill>
                <a:srgbClr val="AEABAB"/>
              </a:solidFill>
            </c:spPr>
            <c:extLst>
              <c:ext xmlns:c16="http://schemas.microsoft.com/office/drawing/2014/chart" uri="{C3380CC4-5D6E-409C-BE32-E72D297353CC}">
                <c16:uniqueId val="{000007BF-7BE2-49F1-B47F-64DDA7BF3F9D}"/>
              </c:ext>
            </c:extLst>
          </c:dPt>
          <c:dPt>
            <c:idx val="991"/>
            <c:invertIfNegative val="1"/>
            <c:bubble3D val="0"/>
            <c:spPr>
              <a:solidFill>
                <a:srgbClr val="AEABAB"/>
              </a:solidFill>
            </c:spPr>
            <c:extLst>
              <c:ext xmlns:c16="http://schemas.microsoft.com/office/drawing/2014/chart" uri="{C3380CC4-5D6E-409C-BE32-E72D297353CC}">
                <c16:uniqueId val="{000007C1-7BE2-49F1-B47F-64DDA7BF3F9D}"/>
              </c:ext>
            </c:extLst>
          </c:dPt>
          <c:dPt>
            <c:idx val="992"/>
            <c:invertIfNegative val="1"/>
            <c:bubble3D val="0"/>
            <c:spPr>
              <a:solidFill>
                <a:srgbClr val="AEABAB"/>
              </a:solidFill>
            </c:spPr>
            <c:extLst>
              <c:ext xmlns:c16="http://schemas.microsoft.com/office/drawing/2014/chart" uri="{C3380CC4-5D6E-409C-BE32-E72D297353CC}">
                <c16:uniqueId val="{000007C3-7BE2-49F1-B47F-64DDA7BF3F9D}"/>
              </c:ext>
            </c:extLst>
          </c:dPt>
          <c:dPt>
            <c:idx val="993"/>
            <c:invertIfNegative val="1"/>
            <c:bubble3D val="0"/>
            <c:spPr>
              <a:solidFill>
                <a:srgbClr val="AEABAB"/>
              </a:solidFill>
            </c:spPr>
            <c:extLst>
              <c:ext xmlns:c16="http://schemas.microsoft.com/office/drawing/2014/chart" uri="{C3380CC4-5D6E-409C-BE32-E72D297353CC}">
                <c16:uniqueId val="{000007C5-7BE2-49F1-B47F-64DDA7BF3F9D}"/>
              </c:ext>
            </c:extLst>
          </c:dPt>
          <c:dPt>
            <c:idx val="994"/>
            <c:invertIfNegative val="1"/>
            <c:bubble3D val="0"/>
            <c:spPr>
              <a:solidFill>
                <a:srgbClr val="AEABAB"/>
              </a:solidFill>
            </c:spPr>
            <c:extLst>
              <c:ext xmlns:c16="http://schemas.microsoft.com/office/drawing/2014/chart" uri="{C3380CC4-5D6E-409C-BE32-E72D297353CC}">
                <c16:uniqueId val="{000007C7-7BE2-49F1-B47F-64DDA7BF3F9D}"/>
              </c:ext>
            </c:extLst>
          </c:dPt>
          <c:dPt>
            <c:idx val="995"/>
            <c:invertIfNegative val="1"/>
            <c:bubble3D val="0"/>
            <c:spPr>
              <a:solidFill>
                <a:srgbClr val="AEABAB"/>
              </a:solidFill>
            </c:spPr>
            <c:extLst>
              <c:ext xmlns:c16="http://schemas.microsoft.com/office/drawing/2014/chart" uri="{C3380CC4-5D6E-409C-BE32-E72D297353CC}">
                <c16:uniqueId val="{000007C9-7BE2-49F1-B47F-64DDA7BF3F9D}"/>
              </c:ext>
            </c:extLst>
          </c:dPt>
          <c:dPt>
            <c:idx val="996"/>
            <c:invertIfNegative val="1"/>
            <c:bubble3D val="0"/>
            <c:spPr>
              <a:solidFill>
                <a:srgbClr val="AEABAB"/>
              </a:solidFill>
            </c:spPr>
            <c:extLst>
              <c:ext xmlns:c16="http://schemas.microsoft.com/office/drawing/2014/chart" uri="{C3380CC4-5D6E-409C-BE32-E72D297353CC}">
                <c16:uniqueId val="{000007CB-7BE2-49F1-B47F-64DDA7BF3F9D}"/>
              </c:ext>
            </c:extLst>
          </c:dPt>
          <c:dPt>
            <c:idx val="997"/>
            <c:invertIfNegative val="1"/>
            <c:bubble3D val="0"/>
            <c:spPr>
              <a:solidFill>
                <a:srgbClr val="AEABAB"/>
              </a:solidFill>
            </c:spPr>
            <c:extLst>
              <c:ext xmlns:c16="http://schemas.microsoft.com/office/drawing/2014/chart" uri="{C3380CC4-5D6E-409C-BE32-E72D297353CC}">
                <c16:uniqueId val="{000007CD-7BE2-49F1-B47F-64DDA7BF3F9D}"/>
              </c:ext>
            </c:extLst>
          </c:dPt>
          <c:dPt>
            <c:idx val="998"/>
            <c:invertIfNegative val="1"/>
            <c:bubble3D val="0"/>
            <c:spPr>
              <a:solidFill>
                <a:srgbClr val="AEABAB"/>
              </a:solidFill>
            </c:spPr>
            <c:extLst>
              <c:ext xmlns:c16="http://schemas.microsoft.com/office/drawing/2014/chart" uri="{C3380CC4-5D6E-409C-BE32-E72D297353CC}">
                <c16:uniqueId val="{000007CF-7BE2-49F1-B47F-64DDA7BF3F9D}"/>
              </c:ext>
            </c:extLst>
          </c:dPt>
          <c:dPt>
            <c:idx val="999"/>
            <c:invertIfNegative val="1"/>
            <c:bubble3D val="0"/>
            <c:spPr>
              <a:solidFill>
                <a:srgbClr val="AEABAB"/>
              </a:solidFill>
            </c:spPr>
            <c:extLst>
              <c:ext xmlns:c16="http://schemas.microsoft.com/office/drawing/2014/chart" uri="{C3380CC4-5D6E-409C-BE32-E72D297353CC}">
                <c16:uniqueId val="{000007D1-7BE2-49F1-B47F-64DDA7BF3F9D}"/>
              </c:ext>
            </c:extLst>
          </c:dPt>
          <c:dPt>
            <c:idx val="1000"/>
            <c:invertIfNegative val="1"/>
            <c:bubble3D val="0"/>
            <c:spPr>
              <a:solidFill>
                <a:srgbClr val="AEABAB"/>
              </a:solidFill>
            </c:spPr>
            <c:extLst>
              <c:ext xmlns:c16="http://schemas.microsoft.com/office/drawing/2014/chart" uri="{C3380CC4-5D6E-409C-BE32-E72D297353CC}">
                <c16:uniqueId val="{000007D3-7BE2-49F1-B47F-64DDA7BF3F9D}"/>
              </c:ext>
            </c:extLst>
          </c:dPt>
          <c:dPt>
            <c:idx val="1001"/>
            <c:invertIfNegative val="1"/>
            <c:bubble3D val="0"/>
            <c:spPr>
              <a:solidFill>
                <a:srgbClr val="AEABAB"/>
              </a:solidFill>
            </c:spPr>
            <c:extLst>
              <c:ext xmlns:c16="http://schemas.microsoft.com/office/drawing/2014/chart" uri="{C3380CC4-5D6E-409C-BE32-E72D297353CC}">
                <c16:uniqueId val="{000007D5-7BE2-49F1-B47F-64DDA7BF3F9D}"/>
              </c:ext>
            </c:extLst>
          </c:dPt>
          <c:dPt>
            <c:idx val="1002"/>
            <c:invertIfNegative val="1"/>
            <c:bubble3D val="0"/>
            <c:spPr>
              <a:solidFill>
                <a:srgbClr val="AEABAB"/>
              </a:solidFill>
            </c:spPr>
            <c:extLst>
              <c:ext xmlns:c16="http://schemas.microsoft.com/office/drawing/2014/chart" uri="{C3380CC4-5D6E-409C-BE32-E72D297353CC}">
                <c16:uniqueId val="{000007D7-7BE2-49F1-B47F-64DDA7BF3F9D}"/>
              </c:ext>
            </c:extLst>
          </c:dPt>
          <c:dPt>
            <c:idx val="1003"/>
            <c:invertIfNegative val="1"/>
            <c:bubble3D val="0"/>
            <c:spPr>
              <a:solidFill>
                <a:srgbClr val="AEABAB"/>
              </a:solidFill>
            </c:spPr>
            <c:extLst>
              <c:ext xmlns:c16="http://schemas.microsoft.com/office/drawing/2014/chart" uri="{C3380CC4-5D6E-409C-BE32-E72D297353CC}">
                <c16:uniqueId val="{000007D9-7BE2-49F1-B47F-64DDA7BF3F9D}"/>
              </c:ext>
            </c:extLst>
          </c:dPt>
          <c:dPt>
            <c:idx val="1004"/>
            <c:invertIfNegative val="1"/>
            <c:bubble3D val="0"/>
            <c:spPr>
              <a:solidFill>
                <a:srgbClr val="AEABAB"/>
              </a:solidFill>
            </c:spPr>
            <c:extLst>
              <c:ext xmlns:c16="http://schemas.microsoft.com/office/drawing/2014/chart" uri="{C3380CC4-5D6E-409C-BE32-E72D297353CC}">
                <c16:uniqueId val="{000007DB-7BE2-49F1-B47F-64DDA7BF3F9D}"/>
              </c:ext>
            </c:extLst>
          </c:dPt>
          <c:dPt>
            <c:idx val="1005"/>
            <c:invertIfNegative val="1"/>
            <c:bubble3D val="0"/>
            <c:spPr>
              <a:solidFill>
                <a:srgbClr val="AEABAB"/>
              </a:solidFill>
            </c:spPr>
            <c:extLst>
              <c:ext xmlns:c16="http://schemas.microsoft.com/office/drawing/2014/chart" uri="{C3380CC4-5D6E-409C-BE32-E72D297353CC}">
                <c16:uniqueId val="{000007DD-7BE2-49F1-B47F-64DDA7BF3F9D}"/>
              </c:ext>
            </c:extLst>
          </c:dPt>
          <c:dPt>
            <c:idx val="1006"/>
            <c:invertIfNegative val="1"/>
            <c:bubble3D val="0"/>
            <c:spPr>
              <a:solidFill>
                <a:srgbClr val="AEABAB"/>
              </a:solidFill>
            </c:spPr>
            <c:extLst>
              <c:ext xmlns:c16="http://schemas.microsoft.com/office/drawing/2014/chart" uri="{C3380CC4-5D6E-409C-BE32-E72D297353CC}">
                <c16:uniqueId val="{000007DF-7BE2-49F1-B47F-64DDA7BF3F9D}"/>
              </c:ext>
            </c:extLst>
          </c:dPt>
          <c:dPt>
            <c:idx val="1007"/>
            <c:invertIfNegative val="1"/>
            <c:bubble3D val="0"/>
            <c:spPr>
              <a:solidFill>
                <a:srgbClr val="AEABAB"/>
              </a:solidFill>
            </c:spPr>
            <c:extLst>
              <c:ext xmlns:c16="http://schemas.microsoft.com/office/drawing/2014/chart" uri="{C3380CC4-5D6E-409C-BE32-E72D297353CC}">
                <c16:uniqueId val="{000007E1-7BE2-49F1-B47F-64DDA7BF3F9D}"/>
              </c:ext>
            </c:extLst>
          </c:dPt>
          <c:dPt>
            <c:idx val="1008"/>
            <c:invertIfNegative val="1"/>
            <c:bubble3D val="0"/>
            <c:spPr>
              <a:solidFill>
                <a:srgbClr val="AEABAB"/>
              </a:solidFill>
            </c:spPr>
            <c:extLst>
              <c:ext xmlns:c16="http://schemas.microsoft.com/office/drawing/2014/chart" uri="{C3380CC4-5D6E-409C-BE32-E72D297353CC}">
                <c16:uniqueId val="{000007E3-7BE2-49F1-B47F-64DDA7BF3F9D}"/>
              </c:ext>
            </c:extLst>
          </c:dPt>
          <c:dPt>
            <c:idx val="1009"/>
            <c:invertIfNegative val="1"/>
            <c:bubble3D val="0"/>
            <c:spPr>
              <a:solidFill>
                <a:srgbClr val="AEABAB"/>
              </a:solidFill>
            </c:spPr>
            <c:extLst>
              <c:ext xmlns:c16="http://schemas.microsoft.com/office/drawing/2014/chart" uri="{C3380CC4-5D6E-409C-BE32-E72D297353CC}">
                <c16:uniqueId val="{000007E5-7BE2-49F1-B47F-64DDA7BF3F9D}"/>
              </c:ext>
            </c:extLst>
          </c:dPt>
          <c:dPt>
            <c:idx val="1010"/>
            <c:invertIfNegative val="1"/>
            <c:bubble3D val="0"/>
            <c:spPr>
              <a:solidFill>
                <a:srgbClr val="AEABAB"/>
              </a:solidFill>
            </c:spPr>
            <c:extLst>
              <c:ext xmlns:c16="http://schemas.microsoft.com/office/drawing/2014/chart" uri="{C3380CC4-5D6E-409C-BE32-E72D297353CC}">
                <c16:uniqueId val="{000007E7-7BE2-49F1-B47F-64DDA7BF3F9D}"/>
              </c:ext>
            </c:extLst>
          </c:dPt>
          <c:dPt>
            <c:idx val="1011"/>
            <c:invertIfNegative val="1"/>
            <c:bubble3D val="0"/>
            <c:spPr>
              <a:solidFill>
                <a:srgbClr val="AEABAB"/>
              </a:solidFill>
            </c:spPr>
            <c:extLst>
              <c:ext xmlns:c16="http://schemas.microsoft.com/office/drawing/2014/chart" uri="{C3380CC4-5D6E-409C-BE32-E72D297353CC}">
                <c16:uniqueId val="{000007E9-7BE2-49F1-B47F-64DDA7BF3F9D}"/>
              </c:ext>
            </c:extLst>
          </c:dPt>
          <c:dPt>
            <c:idx val="1012"/>
            <c:invertIfNegative val="1"/>
            <c:bubble3D val="0"/>
            <c:spPr>
              <a:solidFill>
                <a:srgbClr val="AEABAB"/>
              </a:solidFill>
            </c:spPr>
            <c:extLst>
              <c:ext xmlns:c16="http://schemas.microsoft.com/office/drawing/2014/chart" uri="{C3380CC4-5D6E-409C-BE32-E72D297353CC}">
                <c16:uniqueId val="{000007EB-7BE2-49F1-B47F-64DDA7BF3F9D}"/>
              </c:ext>
            </c:extLst>
          </c:dPt>
          <c:dPt>
            <c:idx val="1013"/>
            <c:invertIfNegative val="1"/>
            <c:bubble3D val="0"/>
            <c:spPr>
              <a:solidFill>
                <a:srgbClr val="AEABAB"/>
              </a:solidFill>
            </c:spPr>
            <c:extLst>
              <c:ext xmlns:c16="http://schemas.microsoft.com/office/drawing/2014/chart" uri="{C3380CC4-5D6E-409C-BE32-E72D297353CC}">
                <c16:uniqueId val="{000007ED-7BE2-49F1-B47F-64DDA7BF3F9D}"/>
              </c:ext>
            </c:extLst>
          </c:dPt>
          <c:dPt>
            <c:idx val="1014"/>
            <c:invertIfNegative val="1"/>
            <c:bubble3D val="0"/>
            <c:spPr>
              <a:solidFill>
                <a:srgbClr val="AEABAB"/>
              </a:solidFill>
            </c:spPr>
            <c:extLst>
              <c:ext xmlns:c16="http://schemas.microsoft.com/office/drawing/2014/chart" uri="{C3380CC4-5D6E-409C-BE32-E72D297353CC}">
                <c16:uniqueId val="{000007EF-7BE2-49F1-B47F-64DDA7BF3F9D}"/>
              </c:ext>
            </c:extLst>
          </c:dPt>
          <c:dPt>
            <c:idx val="1015"/>
            <c:invertIfNegative val="1"/>
            <c:bubble3D val="0"/>
            <c:spPr>
              <a:solidFill>
                <a:srgbClr val="AEABAB"/>
              </a:solidFill>
            </c:spPr>
            <c:extLst>
              <c:ext xmlns:c16="http://schemas.microsoft.com/office/drawing/2014/chart" uri="{C3380CC4-5D6E-409C-BE32-E72D297353CC}">
                <c16:uniqueId val="{000007F1-7BE2-49F1-B47F-64DDA7BF3F9D}"/>
              </c:ext>
            </c:extLst>
          </c:dPt>
          <c:dPt>
            <c:idx val="1016"/>
            <c:invertIfNegative val="1"/>
            <c:bubble3D val="0"/>
            <c:spPr>
              <a:solidFill>
                <a:srgbClr val="AEABAB"/>
              </a:solidFill>
            </c:spPr>
            <c:extLst>
              <c:ext xmlns:c16="http://schemas.microsoft.com/office/drawing/2014/chart" uri="{C3380CC4-5D6E-409C-BE32-E72D297353CC}">
                <c16:uniqueId val="{000007F3-7BE2-49F1-B47F-64DDA7BF3F9D}"/>
              </c:ext>
            </c:extLst>
          </c:dPt>
          <c:dPt>
            <c:idx val="1017"/>
            <c:invertIfNegative val="1"/>
            <c:bubble3D val="0"/>
            <c:spPr>
              <a:solidFill>
                <a:srgbClr val="AEABAB"/>
              </a:solidFill>
            </c:spPr>
            <c:extLst>
              <c:ext xmlns:c16="http://schemas.microsoft.com/office/drawing/2014/chart" uri="{C3380CC4-5D6E-409C-BE32-E72D297353CC}">
                <c16:uniqueId val="{000007F5-7BE2-49F1-B47F-64DDA7BF3F9D}"/>
              </c:ext>
            </c:extLst>
          </c:dPt>
          <c:dPt>
            <c:idx val="1018"/>
            <c:invertIfNegative val="1"/>
            <c:bubble3D val="0"/>
            <c:spPr>
              <a:solidFill>
                <a:srgbClr val="AEABAB"/>
              </a:solidFill>
            </c:spPr>
            <c:extLst>
              <c:ext xmlns:c16="http://schemas.microsoft.com/office/drawing/2014/chart" uri="{C3380CC4-5D6E-409C-BE32-E72D297353CC}">
                <c16:uniqueId val="{000007F7-7BE2-49F1-B47F-64DDA7BF3F9D}"/>
              </c:ext>
            </c:extLst>
          </c:dPt>
          <c:dPt>
            <c:idx val="1019"/>
            <c:invertIfNegative val="1"/>
            <c:bubble3D val="0"/>
            <c:spPr>
              <a:solidFill>
                <a:srgbClr val="AEABAB"/>
              </a:solidFill>
            </c:spPr>
            <c:extLst>
              <c:ext xmlns:c16="http://schemas.microsoft.com/office/drawing/2014/chart" uri="{C3380CC4-5D6E-409C-BE32-E72D297353CC}">
                <c16:uniqueId val="{000007F9-7BE2-49F1-B47F-64DDA7BF3F9D}"/>
              </c:ext>
            </c:extLst>
          </c:dPt>
          <c:dPt>
            <c:idx val="1020"/>
            <c:invertIfNegative val="1"/>
            <c:bubble3D val="0"/>
            <c:spPr>
              <a:solidFill>
                <a:srgbClr val="AEABAB"/>
              </a:solidFill>
            </c:spPr>
            <c:extLst>
              <c:ext xmlns:c16="http://schemas.microsoft.com/office/drawing/2014/chart" uri="{C3380CC4-5D6E-409C-BE32-E72D297353CC}">
                <c16:uniqueId val="{000007FB-7BE2-49F1-B47F-64DDA7BF3F9D}"/>
              </c:ext>
            </c:extLst>
          </c:dPt>
          <c:dPt>
            <c:idx val="1021"/>
            <c:invertIfNegative val="1"/>
            <c:bubble3D val="0"/>
            <c:spPr>
              <a:solidFill>
                <a:srgbClr val="AEABAB"/>
              </a:solidFill>
            </c:spPr>
            <c:extLst>
              <c:ext xmlns:c16="http://schemas.microsoft.com/office/drawing/2014/chart" uri="{C3380CC4-5D6E-409C-BE32-E72D297353CC}">
                <c16:uniqueId val="{000007FD-7BE2-49F1-B47F-64DDA7BF3F9D}"/>
              </c:ext>
            </c:extLst>
          </c:dPt>
          <c:dPt>
            <c:idx val="1022"/>
            <c:invertIfNegative val="1"/>
            <c:bubble3D val="0"/>
            <c:spPr>
              <a:solidFill>
                <a:srgbClr val="AEABAB"/>
              </a:solidFill>
            </c:spPr>
            <c:extLst>
              <c:ext xmlns:c16="http://schemas.microsoft.com/office/drawing/2014/chart" uri="{C3380CC4-5D6E-409C-BE32-E72D297353CC}">
                <c16:uniqueId val="{000007FF-7BE2-49F1-B47F-64DDA7BF3F9D}"/>
              </c:ext>
            </c:extLst>
          </c:dPt>
          <c:dPt>
            <c:idx val="1023"/>
            <c:invertIfNegative val="1"/>
            <c:bubble3D val="0"/>
            <c:spPr>
              <a:solidFill>
                <a:srgbClr val="AEABAB"/>
              </a:solidFill>
            </c:spPr>
            <c:extLst>
              <c:ext xmlns:c16="http://schemas.microsoft.com/office/drawing/2014/chart" uri="{C3380CC4-5D6E-409C-BE32-E72D297353CC}">
                <c16:uniqueId val="{00000801-7BE2-49F1-B47F-64DDA7BF3F9D}"/>
              </c:ext>
            </c:extLst>
          </c:dPt>
          <c:dPt>
            <c:idx val="1024"/>
            <c:invertIfNegative val="1"/>
            <c:bubble3D val="0"/>
            <c:spPr>
              <a:solidFill>
                <a:srgbClr val="AEABAB"/>
              </a:solidFill>
            </c:spPr>
            <c:extLst>
              <c:ext xmlns:c16="http://schemas.microsoft.com/office/drawing/2014/chart" uri="{C3380CC4-5D6E-409C-BE32-E72D297353CC}">
                <c16:uniqueId val="{00000803-7BE2-49F1-B47F-64DDA7BF3F9D}"/>
              </c:ext>
            </c:extLst>
          </c:dPt>
          <c:dPt>
            <c:idx val="1025"/>
            <c:invertIfNegative val="1"/>
            <c:bubble3D val="0"/>
            <c:spPr>
              <a:solidFill>
                <a:srgbClr val="AEABAB"/>
              </a:solidFill>
            </c:spPr>
            <c:extLst>
              <c:ext xmlns:c16="http://schemas.microsoft.com/office/drawing/2014/chart" uri="{C3380CC4-5D6E-409C-BE32-E72D297353CC}">
                <c16:uniqueId val="{00000805-7BE2-49F1-B47F-64DDA7BF3F9D}"/>
              </c:ext>
            </c:extLst>
          </c:dPt>
          <c:dPt>
            <c:idx val="1026"/>
            <c:invertIfNegative val="1"/>
            <c:bubble3D val="0"/>
            <c:spPr>
              <a:solidFill>
                <a:srgbClr val="AEABAB"/>
              </a:solidFill>
            </c:spPr>
            <c:extLst>
              <c:ext xmlns:c16="http://schemas.microsoft.com/office/drawing/2014/chart" uri="{C3380CC4-5D6E-409C-BE32-E72D297353CC}">
                <c16:uniqueId val="{00000807-7BE2-49F1-B47F-64DDA7BF3F9D}"/>
              </c:ext>
            </c:extLst>
          </c:dPt>
          <c:dPt>
            <c:idx val="1027"/>
            <c:invertIfNegative val="1"/>
            <c:bubble3D val="0"/>
            <c:spPr>
              <a:solidFill>
                <a:srgbClr val="AEABAB"/>
              </a:solidFill>
            </c:spPr>
            <c:extLst>
              <c:ext xmlns:c16="http://schemas.microsoft.com/office/drawing/2014/chart" uri="{C3380CC4-5D6E-409C-BE32-E72D297353CC}">
                <c16:uniqueId val="{00000809-7BE2-49F1-B47F-64DDA7BF3F9D}"/>
              </c:ext>
            </c:extLst>
          </c:dPt>
          <c:dPt>
            <c:idx val="1028"/>
            <c:invertIfNegative val="1"/>
            <c:bubble3D val="0"/>
            <c:spPr>
              <a:solidFill>
                <a:srgbClr val="AEABAB"/>
              </a:solidFill>
            </c:spPr>
            <c:extLst>
              <c:ext xmlns:c16="http://schemas.microsoft.com/office/drawing/2014/chart" uri="{C3380CC4-5D6E-409C-BE32-E72D297353CC}">
                <c16:uniqueId val="{0000080B-7BE2-49F1-B47F-64DDA7BF3F9D}"/>
              </c:ext>
            </c:extLst>
          </c:dPt>
          <c:dPt>
            <c:idx val="1029"/>
            <c:invertIfNegative val="1"/>
            <c:bubble3D val="0"/>
            <c:spPr>
              <a:solidFill>
                <a:srgbClr val="AEABAB"/>
              </a:solidFill>
            </c:spPr>
            <c:extLst>
              <c:ext xmlns:c16="http://schemas.microsoft.com/office/drawing/2014/chart" uri="{C3380CC4-5D6E-409C-BE32-E72D297353CC}">
                <c16:uniqueId val="{0000080D-7BE2-49F1-B47F-64DDA7BF3F9D}"/>
              </c:ext>
            </c:extLst>
          </c:dPt>
          <c:dPt>
            <c:idx val="1030"/>
            <c:invertIfNegative val="1"/>
            <c:bubble3D val="0"/>
            <c:spPr>
              <a:solidFill>
                <a:srgbClr val="AEABAB"/>
              </a:solidFill>
            </c:spPr>
            <c:extLst>
              <c:ext xmlns:c16="http://schemas.microsoft.com/office/drawing/2014/chart" uri="{C3380CC4-5D6E-409C-BE32-E72D297353CC}">
                <c16:uniqueId val="{0000080F-7BE2-49F1-B47F-64DDA7BF3F9D}"/>
              </c:ext>
            </c:extLst>
          </c:dPt>
          <c:dPt>
            <c:idx val="1031"/>
            <c:invertIfNegative val="1"/>
            <c:bubble3D val="0"/>
            <c:spPr>
              <a:solidFill>
                <a:srgbClr val="AEABAB"/>
              </a:solidFill>
            </c:spPr>
            <c:extLst>
              <c:ext xmlns:c16="http://schemas.microsoft.com/office/drawing/2014/chart" uri="{C3380CC4-5D6E-409C-BE32-E72D297353CC}">
                <c16:uniqueId val="{00000811-7BE2-49F1-B47F-64DDA7BF3F9D}"/>
              </c:ext>
            </c:extLst>
          </c:dPt>
          <c:dPt>
            <c:idx val="1032"/>
            <c:invertIfNegative val="1"/>
            <c:bubble3D val="0"/>
            <c:spPr>
              <a:solidFill>
                <a:srgbClr val="AEABAB"/>
              </a:solidFill>
            </c:spPr>
            <c:extLst>
              <c:ext xmlns:c16="http://schemas.microsoft.com/office/drawing/2014/chart" uri="{C3380CC4-5D6E-409C-BE32-E72D297353CC}">
                <c16:uniqueId val="{00000813-7BE2-49F1-B47F-64DDA7BF3F9D}"/>
              </c:ext>
            </c:extLst>
          </c:dPt>
          <c:dPt>
            <c:idx val="1033"/>
            <c:invertIfNegative val="1"/>
            <c:bubble3D val="0"/>
            <c:spPr>
              <a:solidFill>
                <a:srgbClr val="AEABAB"/>
              </a:solidFill>
            </c:spPr>
            <c:extLst>
              <c:ext xmlns:c16="http://schemas.microsoft.com/office/drawing/2014/chart" uri="{C3380CC4-5D6E-409C-BE32-E72D297353CC}">
                <c16:uniqueId val="{00000815-7BE2-49F1-B47F-64DDA7BF3F9D}"/>
              </c:ext>
            </c:extLst>
          </c:dPt>
          <c:dPt>
            <c:idx val="1034"/>
            <c:invertIfNegative val="1"/>
            <c:bubble3D val="0"/>
            <c:spPr>
              <a:solidFill>
                <a:srgbClr val="AEABAB"/>
              </a:solidFill>
            </c:spPr>
            <c:extLst>
              <c:ext xmlns:c16="http://schemas.microsoft.com/office/drawing/2014/chart" uri="{C3380CC4-5D6E-409C-BE32-E72D297353CC}">
                <c16:uniqueId val="{00000817-7BE2-49F1-B47F-64DDA7BF3F9D}"/>
              </c:ext>
            </c:extLst>
          </c:dPt>
          <c:dPt>
            <c:idx val="1035"/>
            <c:invertIfNegative val="1"/>
            <c:bubble3D val="0"/>
            <c:spPr>
              <a:solidFill>
                <a:srgbClr val="AEABAB"/>
              </a:solidFill>
            </c:spPr>
            <c:extLst>
              <c:ext xmlns:c16="http://schemas.microsoft.com/office/drawing/2014/chart" uri="{C3380CC4-5D6E-409C-BE32-E72D297353CC}">
                <c16:uniqueId val="{00000819-7BE2-49F1-B47F-64DDA7BF3F9D}"/>
              </c:ext>
            </c:extLst>
          </c:dPt>
          <c:dPt>
            <c:idx val="1036"/>
            <c:invertIfNegative val="1"/>
            <c:bubble3D val="0"/>
            <c:spPr>
              <a:solidFill>
                <a:srgbClr val="AEABAB"/>
              </a:solidFill>
            </c:spPr>
            <c:extLst>
              <c:ext xmlns:c16="http://schemas.microsoft.com/office/drawing/2014/chart" uri="{C3380CC4-5D6E-409C-BE32-E72D297353CC}">
                <c16:uniqueId val="{0000081B-7BE2-49F1-B47F-64DDA7BF3F9D}"/>
              </c:ext>
            </c:extLst>
          </c:dPt>
          <c:dPt>
            <c:idx val="1037"/>
            <c:invertIfNegative val="1"/>
            <c:bubble3D val="0"/>
            <c:spPr>
              <a:solidFill>
                <a:srgbClr val="AEABAB"/>
              </a:solidFill>
            </c:spPr>
            <c:extLst>
              <c:ext xmlns:c16="http://schemas.microsoft.com/office/drawing/2014/chart" uri="{C3380CC4-5D6E-409C-BE32-E72D297353CC}">
                <c16:uniqueId val="{0000081D-7BE2-49F1-B47F-64DDA7BF3F9D}"/>
              </c:ext>
            </c:extLst>
          </c:dPt>
          <c:dPt>
            <c:idx val="1038"/>
            <c:invertIfNegative val="1"/>
            <c:bubble3D val="0"/>
            <c:spPr>
              <a:solidFill>
                <a:srgbClr val="AEABAB"/>
              </a:solidFill>
            </c:spPr>
            <c:extLst>
              <c:ext xmlns:c16="http://schemas.microsoft.com/office/drawing/2014/chart" uri="{C3380CC4-5D6E-409C-BE32-E72D297353CC}">
                <c16:uniqueId val="{0000081F-7BE2-49F1-B47F-64DDA7BF3F9D}"/>
              </c:ext>
            </c:extLst>
          </c:dPt>
          <c:dPt>
            <c:idx val="1039"/>
            <c:invertIfNegative val="1"/>
            <c:bubble3D val="0"/>
            <c:spPr>
              <a:solidFill>
                <a:srgbClr val="AEABAB"/>
              </a:solidFill>
            </c:spPr>
            <c:extLst>
              <c:ext xmlns:c16="http://schemas.microsoft.com/office/drawing/2014/chart" uri="{C3380CC4-5D6E-409C-BE32-E72D297353CC}">
                <c16:uniqueId val="{00000821-7BE2-49F1-B47F-64DDA7BF3F9D}"/>
              </c:ext>
            </c:extLst>
          </c:dPt>
          <c:dPt>
            <c:idx val="1040"/>
            <c:invertIfNegative val="1"/>
            <c:bubble3D val="0"/>
            <c:spPr>
              <a:solidFill>
                <a:srgbClr val="AEABAB"/>
              </a:solidFill>
            </c:spPr>
            <c:extLst>
              <c:ext xmlns:c16="http://schemas.microsoft.com/office/drawing/2014/chart" uri="{C3380CC4-5D6E-409C-BE32-E72D297353CC}">
                <c16:uniqueId val="{00000823-7BE2-49F1-B47F-64DDA7BF3F9D}"/>
              </c:ext>
            </c:extLst>
          </c:dPt>
          <c:dPt>
            <c:idx val="1041"/>
            <c:invertIfNegative val="1"/>
            <c:bubble3D val="0"/>
            <c:spPr>
              <a:solidFill>
                <a:srgbClr val="AEABAB"/>
              </a:solidFill>
            </c:spPr>
            <c:extLst>
              <c:ext xmlns:c16="http://schemas.microsoft.com/office/drawing/2014/chart" uri="{C3380CC4-5D6E-409C-BE32-E72D297353CC}">
                <c16:uniqueId val="{00000825-7BE2-49F1-B47F-64DDA7BF3F9D}"/>
              </c:ext>
            </c:extLst>
          </c:dPt>
          <c:dPt>
            <c:idx val="1042"/>
            <c:invertIfNegative val="1"/>
            <c:bubble3D val="0"/>
            <c:spPr>
              <a:solidFill>
                <a:srgbClr val="AEABAB"/>
              </a:solidFill>
            </c:spPr>
            <c:extLst>
              <c:ext xmlns:c16="http://schemas.microsoft.com/office/drawing/2014/chart" uri="{C3380CC4-5D6E-409C-BE32-E72D297353CC}">
                <c16:uniqueId val="{00000827-7BE2-49F1-B47F-64DDA7BF3F9D}"/>
              </c:ext>
            </c:extLst>
          </c:dPt>
          <c:dPt>
            <c:idx val="1043"/>
            <c:invertIfNegative val="1"/>
            <c:bubble3D val="0"/>
            <c:spPr>
              <a:solidFill>
                <a:srgbClr val="AEABAB"/>
              </a:solidFill>
            </c:spPr>
            <c:extLst>
              <c:ext xmlns:c16="http://schemas.microsoft.com/office/drawing/2014/chart" uri="{C3380CC4-5D6E-409C-BE32-E72D297353CC}">
                <c16:uniqueId val="{00000829-7BE2-49F1-B47F-64DDA7BF3F9D}"/>
              </c:ext>
            </c:extLst>
          </c:dPt>
          <c:dPt>
            <c:idx val="1044"/>
            <c:invertIfNegative val="1"/>
            <c:bubble3D val="0"/>
            <c:spPr>
              <a:solidFill>
                <a:srgbClr val="AEABAB"/>
              </a:solidFill>
            </c:spPr>
            <c:extLst>
              <c:ext xmlns:c16="http://schemas.microsoft.com/office/drawing/2014/chart" uri="{C3380CC4-5D6E-409C-BE32-E72D297353CC}">
                <c16:uniqueId val="{0000082B-7BE2-49F1-B47F-64DDA7BF3F9D}"/>
              </c:ext>
            </c:extLst>
          </c:dPt>
          <c:dPt>
            <c:idx val="1045"/>
            <c:invertIfNegative val="1"/>
            <c:bubble3D val="0"/>
            <c:spPr>
              <a:solidFill>
                <a:srgbClr val="AEABAB"/>
              </a:solidFill>
            </c:spPr>
            <c:extLst>
              <c:ext xmlns:c16="http://schemas.microsoft.com/office/drawing/2014/chart" uri="{C3380CC4-5D6E-409C-BE32-E72D297353CC}">
                <c16:uniqueId val="{0000082D-7BE2-49F1-B47F-64DDA7BF3F9D}"/>
              </c:ext>
            </c:extLst>
          </c:dPt>
          <c:dPt>
            <c:idx val="1046"/>
            <c:invertIfNegative val="1"/>
            <c:bubble3D val="0"/>
            <c:spPr>
              <a:solidFill>
                <a:srgbClr val="AEABAB"/>
              </a:solidFill>
            </c:spPr>
            <c:extLst>
              <c:ext xmlns:c16="http://schemas.microsoft.com/office/drawing/2014/chart" uri="{C3380CC4-5D6E-409C-BE32-E72D297353CC}">
                <c16:uniqueId val="{0000082F-7BE2-49F1-B47F-64DDA7BF3F9D}"/>
              </c:ext>
            </c:extLst>
          </c:dPt>
          <c:dPt>
            <c:idx val="1047"/>
            <c:invertIfNegative val="1"/>
            <c:bubble3D val="0"/>
            <c:spPr>
              <a:solidFill>
                <a:srgbClr val="AEABAB"/>
              </a:solidFill>
            </c:spPr>
            <c:extLst>
              <c:ext xmlns:c16="http://schemas.microsoft.com/office/drawing/2014/chart" uri="{C3380CC4-5D6E-409C-BE32-E72D297353CC}">
                <c16:uniqueId val="{00000831-7BE2-49F1-B47F-64DDA7BF3F9D}"/>
              </c:ext>
            </c:extLst>
          </c:dPt>
          <c:dPt>
            <c:idx val="1048"/>
            <c:invertIfNegative val="1"/>
            <c:bubble3D val="0"/>
            <c:spPr>
              <a:solidFill>
                <a:srgbClr val="AEABAB"/>
              </a:solidFill>
            </c:spPr>
            <c:extLst>
              <c:ext xmlns:c16="http://schemas.microsoft.com/office/drawing/2014/chart" uri="{C3380CC4-5D6E-409C-BE32-E72D297353CC}">
                <c16:uniqueId val="{00000833-7BE2-49F1-B47F-64DDA7BF3F9D}"/>
              </c:ext>
            </c:extLst>
          </c:dPt>
          <c:dPt>
            <c:idx val="1049"/>
            <c:invertIfNegative val="1"/>
            <c:bubble3D val="0"/>
            <c:spPr>
              <a:solidFill>
                <a:srgbClr val="AEABAB"/>
              </a:solidFill>
            </c:spPr>
            <c:extLst>
              <c:ext xmlns:c16="http://schemas.microsoft.com/office/drawing/2014/chart" uri="{C3380CC4-5D6E-409C-BE32-E72D297353CC}">
                <c16:uniqueId val="{00000835-7BE2-49F1-B47F-64DDA7BF3F9D}"/>
              </c:ext>
            </c:extLst>
          </c:dPt>
          <c:dPt>
            <c:idx val="1050"/>
            <c:invertIfNegative val="1"/>
            <c:bubble3D val="0"/>
            <c:spPr>
              <a:solidFill>
                <a:srgbClr val="AEABAB"/>
              </a:solidFill>
            </c:spPr>
            <c:extLst>
              <c:ext xmlns:c16="http://schemas.microsoft.com/office/drawing/2014/chart" uri="{C3380CC4-5D6E-409C-BE32-E72D297353CC}">
                <c16:uniqueId val="{00000837-7BE2-49F1-B47F-64DDA7BF3F9D}"/>
              </c:ext>
            </c:extLst>
          </c:dPt>
          <c:dPt>
            <c:idx val="1051"/>
            <c:invertIfNegative val="1"/>
            <c:bubble3D val="0"/>
            <c:spPr>
              <a:solidFill>
                <a:srgbClr val="AEABAB"/>
              </a:solidFill>
            </c:spPr>
            <c:extLst>
              <c:ext xmlns:c16="http://schemas.microsoft.com/office/drawing/2014/chart" uri="{C3380CC4-5D6E-409C-BE32-E72D297353CC}">
                <c16:uniqueId val="{00000839-7BE2-49F1-B47F-64DDA7BF3F9D}"/>
              </c:ext>
            </c:extLst>
          </c:dPt>
          <c:dPt>
            <c:idx val="1052"/>
            <c:invertIfNegative val="1"/>
            <c:bubble3D val="0"/>
            <c:spPr>
              <a:solidFill>
                <a:srgbClr val="AEABAB"/>
              </a:solidFill>
            </c:spPr>
            <c:extLst>
              <c:ext xmlns:c16="http://schemas.microsoft.com/office/drawing/2014/chart" uri="{C3380CC4-5D6E-409C-BE32-E72D297353CC}">
                <c16:uniqueId val="{0000083B-7BE2-49F1-B47F-64DDA7BF3F9D}"/>
              </c:ext>
            </c:extLst>
          </c:dPt>
          <c:dPt>
            <c:idx val="1053"/>
            <c:invertIfNegative val="1"/>
            <c:bubble3D val="0"/>
            <c:spPr>
              <a:solidFill>
                <a:srgbClr val="AEABAB"/>
              </a:solidFill>
            </c:spPr>
            <c:extLst>
              <c:ext xmlns:c16="http://schemas.microsoft.com/office/drawing/2014/chart" uri="{C3380CC4-5D6E-409C-BE32-E72D297353CC}">
                <c16:uniqueId val="{0000083D-7BE2-49F1-B47F-64DDA7BF3F9D}"/>
              </c:ext>
            </c:extLst>
          </c:dPt>
          <c:dPt>
            <c:idx val="1054"/>
            <c:invertIfNegative val="1"/>
            <c:bubble3D val="0"/>
            <c:spPr>
              <a:solidFill>
                <a:srgbClr val="AEABAB"/>
              </a:solidFill>
            </c:spPr>
            <c:extLst>
              <c:ext xmlns:c16="http://schemas.microsoft.com/office/drawing/2014/chart" uri="{C3380CC4-5D6E-409C-BE32-E72D297353CC}">
                <c16:uniqueId val="{0000083F-7BE2-49F1-B47F-64DDA7BF3F9D}"/>
              </c:ext>
            </c:extLst>
          </c:dPt>
          <c:dPt>
            <c:idx val="1055"/>
            <c:invertIfNegative val="1"/>
            <c:bubble3D val="0"/>
            <c:spPr>
              <a:solidFill>
                <a:srgbClr val="AEABAB"/>
              </a:solidFill>
            </c:spPr>
            <c:extLst>
              <c:ext xmlns:c16="http://schemas.microsoft.com/office/drawing/2014/chart" uri="{C3380CC4-5D6E-409C-BE32-E72D297353CC}">
                <c16:uniqueId val="{00000841-7BE2-49F1-B47F-64DDA7BF3F9D}"/>
              </c:ext>
            </c:extLst>
          </c:dPt>
          <c:dPt>
            <c:idx val="1056"/>
            <c:invertIfNegative val="1"/>
            <c:bubble3D val="0"/>
            <c:spPr>
              <a:solidFill>
                <a:srgbClr val="AEABAB"/>
              </a:solidFill>
            </c:spPr>
            <c:extLst>
              <c:ext xmlns:c16="http://schemas.microsoft.com/office/drawing/2014/chart" uri="{C3380CC4-5D6E-409C-BE32-E72D297353CC}">
                <c16:uniqueId val="{00000843-7BE2-49F1-B47F-64DDA7BF3F9D}"/>
              </c:ext>
            </c:extLst>
          </c:dPt>
          <c:dPt>
            <c:idx val="1057"/>
            <c:invertIfNegative val="1"/>
            <c:bubble3D val="0"/>
            <c:spPr>
              <a:solidFill>
                <a:srgbClr val="AEABAB"/>
              </a:solidFill>
            </c:spPr>
            <c:extLst>
              <c:ext xmlns:c16="http://schemas.microsoft.com/office/drawing/2014/chart" uri="{C3380CC4-5D6E-409C-BE32-E72D297353CC}">
                <c16:uniqueId val="{00000845-7BE2-49F1-B47F-64DDA7BF3F9D}"/>
              </c:ext>
            </c:extLst>
          </c:dPt>
          <c:dPt>
            <c:idx val="1058"/>
            <c:invertIfNegative val="1"/>
            <c:bubble3D val="0"/>
            <c:spPr>
              <a:solidFill>
                <a:srgbClr val="AEABAB"/>
              </a:solidFill>
            </c:spPr>
            <c:extLst>
              <c:ext xmlns:c16="http://schemas.microsoft.com/office/drawing/2014/chart" uri="{C3380CC4-5D6E-409C-BE32-E72D297353CC}">
                <c16:uniqueId val="{00000847-7BE2-49F1-B47F-64DDA7BF3F9D}"/>
              </c:ext>
            </c:extLst>
          </c:dPt>
          <c:dPt>
            <c:idx val="1059"/>
            <c:invertIfNegative val="1"/>
            <c:bubble3D val="0"/>
            <c:spPr>
              <a:solidFill>
                <a:srgbClr val="AEABAB"/>
              </a:solidFill>
            </c:spPr>
            <c:extLst>
              <c:ext xmlns:c16="http://schemas.microsoft.com/office/drawing/2014/chart" uri="{C3380CC4-5D6E-409C-BE32-E72D297353CC}">
                <c16:uniqueId val="{00000849-7BE2-49F1-B47F-64DDA7BF3F9D}"/>
              </c:ext>
            </c:extLst>
          </c:dPt>
          <c:dPt>
            <c:idx val="1060"/>
            <c:invertIfNegative val="1"/>
            <c:bubble3D val="0"/>
            <c:spPr>
              <a:solidFill>
                <a:srgbClr val="AEABAB"/>
              </a:solidFill>
            </c:spPr>
            <c:extLst>
              <c:ext xmlns:c16="http://schemas.microsoft.com/office/drawing/2014/chart" uri="{C3380CC4-5D6E-409C-BE32-E72D297353CC}">
                <c16:uniqueId val="{0000084B-7BE2-49F1-B47F-64DDA7BF3F9D}"/>
              </c:ext>
            </c:extLst>
          </c:dPt>
          <c:dPt>
            <c:idx val="1061"/>
            <c:invertIfNegative val="1"/>
            <c:bubble3D val="0"/>
            <c:spPr>
              <a:solidFill>
                <a:srgbClr val="AEABAB"/>
              </a:solidFill>
            </c:spPr>
            <c:extLst>
              <c:ext xmlns:c16="http://schemas.microsoft.com/office/drawing/2014/chart" uri="{C3380CC4-5D6E-409C-BE32-E72D297353CC}">
                <c16:uniqueId val="{0000084D-7BE2-49F1-B47F-64DDA7BF3F9D}"/>
              </c:ext>
            </c:extLst>
          </c:dPt>
          <c:dPt>
            <c:idx val="1062"/>
            <c:invertIfNegative val="1"/>
            <c:bubble3D val="0"/>
            <c:spPr>
              <a:solidFill>
                <a:srgbClr val="AEABAB"/>
              </a:solidFill>
            </c:spPr>
            <c:extLst>
              <c:ext xmlns:c16="http://schemas.microsoft.com/office/drawing/2014/chart" uri="{C3380CC4-5D6E-409C-BE32-E72D297353CC}">
                <c16:uniqueId val="{0000084F-7BE2-49F1-B47F-64DDA7BF3F9D}"/>
              </c:ext>
            </c:extLst>
          </c:dPt>
          <c:dPt>
            <c:idx val="1063"/>
            <c:invertIfNegative val="1"/>
            <c:bubble3D val="0"/>
            <c:spPr>
              <a:solidFill>
                <a:srgbClr val="AEABAB"/>
              </a:solidFill>
            </c:spPr>
            <c:extLst>
              <c:ext xmlns:c16="http://schemas.microsoft.com/office/drawing/2014/chart" uri="{C3380CC4-5D6E-409C-BE32-E72D297353CC}">
                <c16:uniqueId val="{00000851-7BE2-49F1-B47F-64DDA7BF3F9D}"/>
              </c:ext>
            </c:extLst>
          </c:dPt>
          <c:dPt>
            <c:idx val="1064"/>
            <c:invertIfNegative val="1"/>
            <c:bubble3D val="0"/>
            <c:spPr>
              <a:solidFill>
                <a:srgbClr val="AEABAB"/>
              </a:solidFill>
            </c:spPr>
            <c:extLst>
              <c:ext xmlns:c16="http://schemas.microsoft.com/office/drawing/2014/chart" uri="{C3380CC4-5D6E-409C-BE32-E72D297353CC}">
                <c16:uniqueId val="{00000853-7BE2-49F1-B47F-64DDA7BF3F9D}"/>
              </c:ext>
            </c:extLst>
          </c:dPt>
          <c:dPt>
            <c:idx val="1065"/>
            <c:invertIfNegative val="1"/>
            <c:bubble3D val="0"/>
            <c:spPr>
              <a:solidFill>
                <a:srgbClr val="AEABAB"/>
              </a:solidFill>
            </c:spPr>
            <c:extLst>
              <c:ext xmlns:c16="http://schemas.microsoft.com/office/drawing/2014/chart" uri="{C3380CC4-5D6E-409C-BE32-E72D297353CC}">
                <c16:uniqueId val="{00000855-7BE2-49F1-B47F-64DDA7BF3F9D}"/>
              </c:ext>
            </c:extLst>
          </c:dPt>
          <c:dPt>
            <c:idx val="1066"/>
            <c:invertIfNegative val="1"/>
            <c:bubble3D val="0"/>
            <c:spPr>
              <a:solidFill>
                <a:srgbClr val="AEABAB"/>
              </a:solidFill>
            </c:spPr>
            <c:extLst>
              <c:ext xmlns:c16="http://schemas.microsoft.com/office/drawing/2014/chart" uri="{C3380CC4-5D6E-409C-BE32-E72D297353CC}">
                <c16:uniqueId val="{00000857-7BE2-49F1-B47F-64DDA7BF3F9D}"/>
              </c:ext>
            </c:extLst>
          </c:dPt>
          <c:dPt>
            <c:idx val="1067"/>
            <c:invertIfNegative val="1"/>
            <c:bubble3D val="0"/>
            <c:spPr>
              <a:solidFill>
                <a:srgbClr val="AEABAB"/>
              </a:solidFill>
            </c:spPr>
            <c:extLst>
              <c:ext xmlns:c16="http://schemas.microsoft.com/office/drawing/2014/chart" uri="{C3380CC4-5D6E-409C-BE32-E72D297353CC}">
                <c16:uniqueId val="{00000859-7BE2-49F1-B47F-64DDA7BF3F9D}"/>
              </c:ext>
            </c:extLst>
          </c:dPt>
          <c:dPt>
            <c:idx val="1068"/>
            <c:invertIfNegative val="1"/>
            <c:bubble3D val="0"/>
            <c:spPr>
              <a:solidFill>
                <a:srgbClr val="AEABAB"/>
              </a:solidFill>
            </c:spPr>
            <c:extLst>
              <c:ext xmlns:c16="http://schemas.microsoft.com/office/drawing/2014/chart" uri="{C3380CC4-5D6E-409C-BE32-E72D297353CC}">
                <c16:uniqueId val="{0000085B-7BE2-49F1-B47F-64DDA7BF3F9D}"/>
              </c:ext>
            </c:extLst>
          </c:dPt>
          <c:dPt>
            <c:idx val="1069"/>
            <c:invertIfNegative val="1"/>
            <c:bubble3D val="0"/>
            <c:spPr>
              <a:solidFill>
                <a:srgbClr val="AEABAB"/>
              </a:solidFill>
            </c:spPr>
            <c:extLst>
              <c:ext xmlns:c16="http://schemas.microsoft.com/office/drawing/2014/chart" uri="{C3380CC4-5D6E-409C-BE32-E72D297353CC}">
                <c16:uniqueId val="{0000085D-7BE2-49F1-B47F-64DDA7BF3F9D}"/>
              </c:ext>
            </c:extLst>
          </c:dPt>
          <c:dPt>
            <c:idx val="1070"/>
            <c:invertIfNegative val="1"/>
            <c:bubble3D val="0"/>
            <c:spPr>
              <a:solidFill>
                <a:srgbClr val="AEABAB"/>
              </a:solidFill>
            </c:spPr>
            <c:extLst>
              <c:ext xmlns:c16="http://schemas.microsoft.com/office/drawing/2014/chart" uri="{C3380CC4-5D6E-409C-BE32-E72D297353CC}">
                <c16:uniqueId val="{0000085F-7BE2-49F1-B47F-64DDA7BF3F9D}"/>
              </c:ext>
            </c:extLst>
          </c:dPt>
          <c:dPt>
            <c:idx val="1071"/>
            <c:invertIfNegative val="1"/>
            <c:bubble3D val="0"/>
            <c:spPr>
              <a:solidFill>
                <a:srgbClr val="AEABAB"/>
              </a:solidFill>
            </c:spPr>
            <c:extLst>
              <c:ext xmlns:c16="http://schemas.microsoft.com/office/drawing/2014/chart" uri="{C3380CC4-5D6E-409C-BE32-E72D297353CC}">
                <c16:uniqueId val="{00000861-7BE2-49F1-B47F-64DDA7BF3F9D}"/>
              </c:ext>
            </c:extLst>
          </c:dPt>
          <c:dPt>
            <c:idx val="1072"/>
            <c:invertIfNegative val="1"/>
            <c:bubble3D val="0"/>
            <c:spPr>
              <a:solidFill>
                <a:srgbClr val="AEABAB"/>
              </a:solidFill>
            </c:spPr>
            <c:extLst>
              <c:ext xmlns:c16="http://schemas.microsoft.com/office/drawing/2014/chart" uri="{C3380CC4-5D6E-409C-BE32-E72D297353CC}">
                <c16:uniqueId val="{00000863-7BE2-49F1-B47F-64DDA7BF3F9D}"/>
              </c:ext>
            </c:extLst>
          </c:dPt>
          <c:dPt>
            <c:idx val="1073"/>
            <c:invertIfNegative val="1"/>
            <c:bubble3D val="0"/>
            <c:spPr>
              <a:solidFill>
                <a:srgbClr val="AEABAB"/>
              </a:solidFill>
            </c:spPr>
            <c:extLst>
              <c:ext xmlns:c16="http://schemas.microsoft.com/office/drawing/2014/chart" uri="{C3380CC4-5D6E-409C-BE32-E72D297353CC}">
                <c16:uniqueId val="{00000865-7BE2-49F1-B47F-64DDA7BF3F9D}"/>
              </c:ext>
            </c:extLst>
          </c:dPt>
          <c:dPt>
            <c:idx val="1074"/>
            <c:invertIfNegative val="1"/>
            <c:bubble3D val="0"/>
            <c:spPr>
              <a:solidFill>
                <a:srgbClr val="AEABAB"/>
              </a:solidFill>
            </c:spPr>
            <c:extLst>
              <c:ext xmlns:c16="http://schemas.microsoft.com/office/drawing/2014/chart" uri="{C3380CC4-5D6E-409C-BE32-E72D297353CC}">
                <c16:uniqueId val="{00000867-7BE2-49F1-B47F-64DDA7BF3F9D}"/>
              </c:ext>
            </c:extLst>
          </c:dPt>
          <c:dPt>
            <c:idx val="1075"/>
            <c:invertIfNegative val="1"/>
            <c:bubble3D val="0"/>
            <c:spPr>
              <a:solidFill>
                <a:srgbClr val="AEABAB"/>
              </a:solidFill>
            </c:spPr>
            <c:extLst>
              <c:ext xmlns:c16="http://schemas.microsoft.com/office/drawing/2014/chart" uri="{C3380CC4-5D6E-409C-BE32-E72D297353CC}">
                <c16:uniqueId val="{00000869-7BE2-49F1-B47F-64DDA7BF3F9D}"/>
              </c:ext>
            </c:extLst>
          </c:dPt>
          <c:dPt>
            <c:idx val="1076"/>
            <c:invertIfNegative val="1"/>
            <c:bubble3D val="0"/>
            <c:spPr>
              <a:solidFill>
                <a:srgbClr val="AEABAB"/>
              </a:solidFill>
            </c:spPr>
            <c:extLst>
              <c:ext xmlns:c16="http://schemas.microsoft.com/office/drawing/2014/chart" uri="{C3380CC4-5D6E-409C-BE32-E72D297353CC}">
                <c16:uniqueId val="{0000086B-7BE2-49F1-B47F-64DDA7BF3F9D}"/>
              </c:ext>
            </c:extLst>
          </c:dPt>
          <c:dPt>
            <c:idx val="1077"/>
            <c:invertIfNegative val="1"/>
            <c:bubble3D val="0"/>
            <c:spPr>
              <a:solidFill>
                <a:srgbClr val="AEABAB"/>
              </a:solidFill>
            </c:spPr>
            <c:extLst>
              <c:ext xmlns:c16="http://schemas.microsoft.com/office/drawing/2014/chart" uri="{C3380CC4-5D6E-409C-BE32-E72D297353CC}">
                <c16:uniqueId val="{0000086D-7BE2-49F1-B47F-64DDA7BF3F9D}"/>
              </c:ext>
            </c:extLst>
          </c:dPt>
          <c:dPt>
            <c:idx val="1078"/>
            <c:invertIfNegative val="1"/>
            <c:bubble3D val="0"/>
            <c:spPr>
              <a:solidFill>
                <a:srgbClr val="AEABAB"/>
              </a:solidFill>
            </c:spPr>
            <c:extLst>
              <c:ext xmlns:c16="http://schemas.microsoft.com/office/drawing/2014/chart" uri="{C3380CC4-5D6E-409C-BE32-E72D297353CC}">
                <c16:uniqueId val="{0000086F-7BE2-49F1-B47F-64DDA7BF3F9D}"/>
              </c:ext>
            </c:extLst>
          </c:dPt>
          <c:dPt>
            <c:idx val="1079"/>
            <c:invertIfNegative val="1"/>
            <c:bubble3D val="0"/>
            <c:spPr>
              <a:solidFill>
                <a:srgbClr val="AEABAB"/>
              </a:solidFill>
            </c:spPr>
            <c:extLst>
              <c:ext xmlns:c16="http://schemas.microsoft.com/office/drawing/2014/chart" uri="{C3380CC4-5D6E-409C-BE32-E72D297353CC}">
                <c16:uniqueId val="{00000871-7BE2-49F1-B47F-64DDA7BF3F9D}"/>
              </c:ext>
            </c:extLst>
          </c:dPt>
          <c:dPt>
            <c:idx val="1080"/>
            <c:invertIfNegative val="1"/>
            <c:bubble3D val="0"/>
            <c:spPr>
              <a:solidFill>
                <a:srgbClr val="AEABAB"/>
              </a:solidFill>
            </c:spPr>
            <c:extLst>
              <c:ext xmlns:c16="http://schemas.microsoft.com/office/drawing/2014/chart" uri="{C3380CC4-5D6E-409C-BE32-E72D297353CC}">
                <c16:uniqueId val="{00000873-7BE2-49F1-B47F-64DDA7BF3F9D}"/>
              </c:ext>
            </c:extLst>
          </c:dPt>
          <c:dPt>
            <c:idx val="1081"/>
            <c:invertIfNegative val="1"/>
            <c:bubble3D val="0"/>
            <c:spPr>
              <a:solidFill>
                <a:srgbClr val="AEABAB"/>
              </a:solidFill>
            </c:spPr>
            <c:extLst>
              <c:ext xmlns:c16="http://schemas.microsoft.com/office/drawing/2014/chart" uri="{C3380CC4-5D6E-409C-BE32-E72D297353CC}">
                <c16:uniqueId val="{00000875-7BE2-49F1-B47F-64DDA7BF3F9D}"/>
              </c:ext>
            </c:extLst>
          </c:dPt>
          <c:dPt>
            <c:idx val="1082"/>
            <c:invertIfNegative val="1"/>
            <c:bubble3D val="0"/>
            <c:spPr>
              <a:solidFill>
                <a:srgbClr val="AEABAB"/>
              </a:solidFill>
            </c:spPr>
            <c:extLst>
              <c:ext xmlns:c16="http://schemas.microsoft.com/office/drawing/2014/chart" uri="{C3380CC4-5D6E-409C-BE32-E72D297353CC}">
                <c16:uniqueId val="{00000877-7BE2-49F1-B47F-64DDA7BF3F9D}"/>
              </c:ext>
            </c:extLst>
          </c:dPt>
          <c:dPt>
            <c:idx val="1083"/>
            <c:invertIfNegative val="1"/>
            <c:bubble3D val="0"/>
            <c:spPr>
              <a:solidFill>
                <a:srgbClr val="AEABAB"/>
              </a:solidFill>
            </c:spPr>
            <c:extLst>
              <c:ext xmlns:c16="http://schemas.microsoft.com/office/drawing/2014/chart" uri="{C3380CC4-5D6E-409C-BE32-E72D297353CC}">
                <c16:uniqueId val="{00000879-7BE2-49F1-B47F-64DDA7BF3F9D}"/>
              </c:ext>
            </c:extLst>
          </c:dPt>
          <c:dPt>
            <c:idx val="1084"/>
            <c:invertIfNegative val="1"/>
            <c:bubble3D val="0"/>
            <c:spPr>
              <a:solidFill>
                <a:srgbClr val="AEABAB"/>
              </a:solidFill>
            </c:spPr>
            <c:extLst>
              <c:ext xmlns:c16="http://schemas.microsoft.com/office/drawing/2014/chart" uri="{C3380CC4-5D6E-409C-BE32-E72D297353CC}">
                <c16:uniqueId val="{0000087B-7BE2-49F1-B47F-64DDA7BF3F9D}"/>
              </c:ext>
            </c:extLst>
          </c:dPt>
          <c:dPt>
            <c:idx val="1085"/>
            <c:invertIfNegative val="1"/>
            <c:bubble3D val="0"/>
            <c:spPr>
              <a:solidFill>
                <a:srgbClr val="AEABAB"/>
              </a:solidFill>
            </c:spPr>
            <c:extLst>
              <c:ext xmlns:c16="http://schemas.microsoft.com/office/drawing/2014/chart" uri="{C3380CC4-5D6E-409C-BE32-E72D297353CC}">
                <c16:uniqueId val="{0000087D-7BE2-49F1-B47F-64DDA7BF3F9D}"/>
              </c:ext>
            </c:extLst>
          </c:dPt>
          <c:dPt>
            <c:idx val="1086"/>
            <c:invertIfNegative val="1"/>
            <c:bubble3D val="0"/>
            <c:spPr>
              <a:solidFill>
                <a:srgbClr val="AEABAB"/>
              </a:solidFill>
            </c:spPr>
            <c:extLst>
              <c:ext xmlns:c16="http://schemas.microsoft.com/office/drawing/2014/chart" uri="{C3380CC4-5D6E-409C-BE32-E72D297353CC}">
                <c16:uniqueId val="{0000087F-7BE2-49F1-B47F-64DDA7BF3F9D}"/>
              </c:ext>
            </c:extLst>
          </c:dPt>
          <c:dPt>
            <c:idx val="1087"/>
            <c:invertIfNegative val="1"/>
            <c:bubble3D val="0"/>
            <c:spPr>
              <a:solidFill>
                <a:srgbClr val="AEABAB"/>
              </a:solidFill>
            </c:spPr>
            <c:extLst>
              <c:ext xmlns:c16="http://schemas.microsoft.com/office/drawing/2014/chart" uri="{C3380CC4-5D6E-409C-BE32-E72D297353CC}">
                <c16:uniqueId val="{00000881-7BE2-49F1-B47F-64DDA7BF3F9D}"/>
              </c:ext>
            </c:extLst>
          </c:dPt>
          <c:dPt>
            <c:idx val="1088"/>
            <c:invertIfNegative val="1"/>
            <c:bubble3D val="0"/>
            <c:spPr>
              <a:solidFill>
                <a:srgbClr val="AEABAB"/>
              </a:solidFill>
            </c:spPr>
            <c:extLst>
              <c:ext xmlns:c16="http://schemas.microsoft.com/office/drawing/2014/chart" uri="{C3380CC4-5D6E-409C-BE32-E72D297353CC}">
                <c16:uniqueId val="{00000883-7BE2-49F1-B47F-64DDA7BF3F9D}"/>
              </c:ext>
            </c:extLst>
          </c:dPt>
          <c:dPt>
            <c:idx val="1089"/>
            <c:invertIfNegative val="1"/>
            <c:bubble3D val="0"/>
            <c:spPr>
              <a:solidFill>
                <a:srgbClr val="AEABAB"/>
              </a:solidFill>
            </c:spPr>
            <c:extLst>
              <c:ext xmlns:c16="http://schemas.microsoft.com/office/drawing/2014/chart" uri="{C3380CC4-5D6E-409C-BE32-E72D297353CC}">
                <c16:uniqueId val="{00000885-7BE2-49F1-B47F-64DDA7BF3F9D}"/>
              </c:ext>
            </c:extLst>
          </c:dPt>
          <c:dPt>
            <c:idx val="1090"/>
            <c:invertIfNegative val="1"/>
            <c:bubble3D val="0"/>
            <c:spPr>
              <a:solidFill>
                <a:srgbClr val="AEABAB"/>
              </a:solidFill>
            </c:spPr>
            <c:extLst>
              <c:ext xmlns:c16="http://schemas.microsoft.com/office/drawing/2014/chart" uri="{C3380CC4-5D6E-409C-BE32-E72D297353CC}">
                <c16:uniqueId val="{00000887-7BE2-49F1-B47F-64DDA7BF3F9D}"/>
              </c:ext>
            </c:extLst>
          </c:dPt>
          <c:dPt>
            <c:idx val="1091"/>
            <c:invertIfNegative val="1"/>
            <c:bubble3D val="0"/>
            <c:spPr>
              <a:solidFill>
                <a:srgbClr val="AEABAB"/>
              </a:solidFill>
            </c:spPr>
            <c:extLst>
              <c:ext xmlns:c16="http://schemas.microsoft.com/office/drawing/2014/chart" uri="{C3380CC4-5D6E-409C-BE32-E72D297353CC}">
                <c16:uniqueId val="{00000889-7BE2-49F1-B47F-64DDA7BF3F9D}"/>
              </c:ext>
            </c:extLst>
          </c:dPt>
          <c:dPt>
            <c:idx val="1092"/>
            <c:invertIfNegative val="1"/>
            <c:bubble3D val="0"/>
            <c:spPr>
              <a:solidFill>
                <a:srgbClr val="AEABAB"/>
              </a:solidFill>
            </c:spPr>
            <c:extLst>
              <c:ext xmlns:c16="http://schemas.microsoft.com/office/drawing/2014/chart" uri="{C3380CC4-5D6E-409C-BE32-E72D297353CC}">
                <c16:uniqueId val="{0000088B-7BE2-49F1-B47F-64DDA7BF3F9D}"/>
              </c:ext>
            </c:extLst>
          </c:dPt>
          <c:dPt>
            <c:idx val="1093"/>
            <c:invertIfNegative val="1"/>
            <c:bubble3D val="0"/>
            <c:spPr>
              <a:solidFill>
                <a:srgbClr val="AEABAB"/>
              </a:solidFill>
            </c:spPr>
            <c:extLst>
              <c:ext xmlns:c16="http://schemas.microsoft.com/office/drawing/2014/chart" uri="{C3380CC4-5D6E-409C-BE32-E72D297353CC}">
                <c16:uniqueId val="{0000088D-7BE2-49F1-B47F-64DDA7BF3F9D}"/>
              </c:ext>
            </c:extLst>
          </c:dPt>
          <c:dPt>
            <c:idx val="1094"/>
            <c:invertIfNegative val="1"/>
            <c:bubble3D val="0"/>
            <c:spPr>
              <a:solidFill>
                <a:srgbClr val="AEABAB"/>
              </a:solidFill>
            </c:spPr>
            <c:extLst>
              <c:ext xmlns:c16="http://schemas.microsoft.com/office/drawing/2014/chart" uri="{C3380CC4-5D6E-409C-BE32-E72D297353CC}">
                <c16:uniqueId val="{0000088F-7BE2-49F1-B47F-64DDA7BF3F9D}"/>
              </c:ext>
            </c:extLst>
          </c:dPt>
          <c:dPt>
            <c:idx val="1095"/>
            <c:invertIfNegative val="1"/>
            <c:bubble3D val="0"/>
            <c:spPr>
              <a:solidFill>
                <a:srgbClr val="AEABAB"/>
              </a:solidFill>
            </c:spPr>
            <c:extLst>
              <c:ext xmlns:c16="http://schemas.microsoft.com/office/drawing/2014/chart" uri="{C3380CC4-5D6E-409C-BE32-E72D297353CC}">
                <c16:uniqueId val="{00000891-7BE2-49F1-B47F-64DDA7BF3F9D}"/>
              </c:ext>
            </c:extLst>
          </c:dPt>
          <c:dPt>
            <c:idx val="1096"/>
            <c:invertIfNegative val="1"/>
            <c:bubble3D val="0"/>
            <c:spPr>
              <a:solidFill>
                <a:srgbClr val="AEABAB"/>
              </a:solidFill>
            </c:spPr>
            <c:extLst>
              <c:ext xmlns:c16="http://schemas.microsoft.com/office/drawing/2014/chart" uri="{C3380CC4-5D6E-409C-BE32-E72D297353CC}">
                <c16:uniqueId val="{00000893-7BE2-49F1-B47F-64DDA7BF3F9D}"/>
              </c:ext>
            </c:extLst>
          </c:dPt>
          <c:dPt>
            <c:idx val="1097"/>
            <c:invertIfNegative val="1"/>
            <c:bubble3D val="0"/>
            <c:spPr>
              <a:solidFill>
                <a:srgbClr val="AEABAB"/>
              </a:solidFill>
            </c:spPr>
            <c:extLst>
              <c:ext xmlns:c16="http://schemas.microsoft.com/office/drawing/2014/chart" uri="{C3380CC4-5D6E-409C-BE32-E72D297353CC}">
                <c16:uniqueId val="{00000895-7BE2-49F1-B47F-64DDA7BF3F9D}"/>
              </c:ext>
            </c:extLst>
          </c:dPt>
          <c:dPt>
            <c:idx val="1098"/>
            <c:invertIfNegative val="1"/>
            <c:bubble3D val="0"/>
            <c:spPr>
              <a:solidFill>
                <a:srgbClr val="AEABAB"/>
              </a:solidFill>
            </c:spPr>
            <c:extLst>
              <c:ext xmlns:c16="http://schemas.microsoft.com/office/drawing/2014/chart" uri="{C3380CC4-5D6E-409C-BE32-E72D297353CC}">
                <c16:uniqueId val="{00000897-7BE2-49F1-B47F-64DDA7BF3F9D}"/>
              </c:ext>
            </c:extLst>
          </c:dPt>
          <c:dPt>
            <c:idx val="1099"/>
            <c:invertIfNegative val="1"/>
            <c:bubble3D val="0"/>
            <c:spPr>
              <a:solidFill>
                <a:srgbClr val="AEABAB"/>
              </a:solidFill>
            </c:spPr>
            <c:extLst>
              <c:ext xmlns:c16="http://schemas.microsoft.com/office/drawing/2014/chart" uri="{C3380CC4-5D6E-409C-BE32-E72D297353CC}">
                <c16:uniqueId val="{00000899-7BE2-49F1-B47F-64DDA7BF3F9D}"/>
              </c:ext>
            </c:extLst>
          </c:dPt>
          <c:dPt>
            <c:idx val="1100"/>
            <c:invertIfNegative val="1"/>
            <c:bubble3D val="0"/>
            <c:spPr>
              <a:solidFill>
                <a:srgbClr val="AEABAB"/>
              </a:solidFill>
            </c:spPr>
            <c:extLst>
              <c:ext xmlns:c16="http://schemas.microsoft.com/office/drawing/2014/chart" uri="{C3380CC4-5D6E-409C-BE32-E72D297353CC}">
                <c16:uniqueId val="{0000089B-7BE2-49F1-B47F-64DDA7BF3F9D}"/>
              </c:ext>
            </c:extLst>
          </c:dPt>
          <c:dPt>
            <c:idx val="1101"/>
            <c:invertIfNegative val="1"/>
            <c:bubble3D val="0"/>
            <c:spPr>
              <a:solidFill>
                <a:srgbClr val="AEABAB"/>
              </a:solidFill>
            </c:spPr>
            <c:extLst>
              <c:ext xmlns:c16="http://schemas.microsoft.com/office/drawing/2014/chart" uri="{C3380CC4-5D6E-409C-BE32-E72D297353CC}">
                <c16:uniqueId val="{0000089D-7BE2-49F1-B47F-64DDA7BF3F9D}"/>
              </c:ext>
            </c:extLst>
          </c:dPt>
          <c:dPt>
            <c:idx val="1102"/>
            <c:invertIfNegative val="1"/>
            <c:bubble3D val="0"/>
            <c:spPr>
              <a:solidFill>
                <a:srgbClr val="AEABAB"/>
              </a:solidFill>
            </c:spPr>
            <c:extLst>
              <c:ext xmlns:c16="http://schemas.microsoft.com/office/drawing/2014/chart" uri="{C3380CC4-5D6E-409C-BE32-E72D297353CC}">
                <c16:uniqueId val="{0000089F-7BE2-49F1-B47F-64DDA7BF3F9D}"/>
              </c:ext>
            </c:extLst>
          </c:dPt>
          <c:dPt>
            <c:idx val="1103"/>
            <c:invertIfNegative val="1"/>
            <c:bubble3D val="0"/>
            <c:spPr>
              <a:solidFill>
                <a:srgbClr val="AEABAB"/>
              </a:solidFill>
            </c:spPr>
            <c:extLst>
              <c:ext xmlns:c16="http://schemas.microsoft.com/office/drawing/2014/chart" uri="{C3380CC4-5D6E-409C-BE32-E72D297353CC}">
                <c16:uniqueId val="{000008A1-7BE2-49F1-B47F-64DDA7BF3F9D}"/>
              </c:ext>
            </c:extLst>
          </c:dPt>
          <c:dPt>
            <c:idx val="1104"/>
            <c:invertIfNegative val="1"/>
            <c:bubble3D val="0"/>
            <c:spPr>
              <a:solidFill>
                <a:srgbClr val="AEABAB"/>
              </a:solidFill>
            </c:spPr>
            <c:extLst>
              <c:ext xmlns:c16="http://schemas.microsoft.com/office/drawing/2014/chart" uri="{C3380CC4-5D6E-409C-BE32-E72D297353CC}">
                <c16:uniqueId val="{000008A3-7BE2-49F1-B47F-64DDA7BF3F9D}"/>
              </c:ext>
            </c:extLst>
          </c:dPt>
          <c:dPt>
            <c:idx val="1105"/>
            <c:invertIfNegative val="1"/>
            <c:bubble3D val="0"/>
            <c:spPr>
              <a:solidFill>
                <a:srgbClr val="AEABAB"/>
              </a:solidFill>
            </c:spPr>
            <c:extLst>
              <c:ext xmlns:c16="http://schemas.microsoft.com/office/drawing/2014/chart" uri="{C3380CC4-5D6E-409C-BE32-E72D297353CC}">
                <c16:uniqueId val="{000008A5-7BE2-49F1-B47F-64DDA7BF3F9D}"/>
              </c:ext>
            </c:extLst>
          </c:dPt>
          <c:dPt>
            <c:idx val="1106"/>
            <c:invertIfNegative val="1"/>
            <c:bubble3D val="0"/>
            <c:spPr>
              <a:solidFill>
                <a:srgbClr val="AEABAB"/>
              </a:solidFill>
            </c:spPr>
            <c:extLst>
              <c:ext xmlns:c16="http://schemas.microsoft.com/office/drawing/2014/chart" uri="{C3380CC4-5D6E-409C-BE32-E72D297353CC}">
                <c16:uniqueId val="{000008A7-7BE2-49F1-B47F-64DDA7BF3F9D}"/>
              </c:ext>
            </c:extLst>
          </c:dPt>
          <c:dPt>
            <c:idx val="1107"/>
            <c:invertIfNegative val="1"/>
            <c:bubble3D val="0"/>
            <c:spPr>
              <a:solidFill>
                <a:srgbClr val="AEABAB"/>
              </a:solidFill>
            </c:spPr>
            <c:extLst>
              <c:ext xmlns:c16="http://schemas.microsoft.com/office/drawing/2014/chart" uri="{C3380CC4-5D6E-409C-BE32-E72D297353CC}">
                <c16:uniqueId val="{000008A9-7BE2-49F1-B47F-64DDA7BF3F9D}"/>
              </c:ext>
            </c:extLst>
          </c:dPt>
          <c:dPt>
            <c:idx val="1108"/>
            <c:invertIfNegative val="1"/>
            <c:bubble3D val="0"/>
            <c:spPr>
              <a:solidFill>
                <a:srgbClr val="AEABAB"/>
              </a:solidFill>
            </c:spPr>
            <c:extLst>
              <c:ext xmlns:c16="http://schemas.microsoft.com/office/drawing/2014/chart" uri="{C3380CC4-5D6E-409C-BE32-E72D297353CC}">
                <c16:uniqueId val="{000008AB-7BE2-49F1-B47F-64DDA7BF3F9D}"/>
              </c:ext>
            </c:extLst>
          </c:dPt>
          <c:dPt>
            <c:idx val="1109"/>
            <c:invertIfNegative val="1"/>
            <c:bubble3D val="0"/>
            <c:spPr>
              <a:solidFill>
                <a:srgbClr val="AEABAB"/>
              </a:solidFill>
            </c:spPr>
            <c:extLst>
              <c:ext xmlns:c16="http://schemas.microsoft.com/office/drawing/2014/chart" uri="{C3380CC4-5D6E-409C-BE32-E72D297353CC}">
                <c16:uniqueId val="{000008AD-7BE2-49F1-B47F-64DDA7BF3F9D}"/>
              </c:ext>
            </c:extLst>
          </c:dPt>
          <c:dPt>
            <c:idx val="1110"/>
            <c:invertIfNegative val="1"/>
            <c:bubble3D val="0"/>
            <c:spPr>
              <a:solidFill>
                <a:srgbClr val="AEABAB"/>
              </a:solidFill>
            </c:spPr>
            <c:extLst>
              <c:ext xmlns:c16="http://schemas.microsoft.com/office/drawing/2014/chart" uri="{C3380CC4-5D6E-409C-BE32-E72D297353CC}">
                <c16:uniqueId val="{000008AF-7BE2-49F1-B47F-64DDA7BF3F9D}"/>
              </c:ext>
            </c:extLst>
          </c:dPt>
          <c:dPt>
            <c:idx val="1111"/>
            <c:invertIfNegative val="1"/>
            <c:bubble3D val="0"/>
            <c:spPr>
              <a:solidFill>
                <a:srgbClr val="AEABAB"/>
              </a:solidFill>
            </c:spPr>
            <c:extLst>
              <c:ext xmlns:c16="http://schemas.microsoft.com/office/drawing/2014/chart" uri="{C3380CC4-5D6E-409C-BE32-E72D297353CC}">
                <c16:uniqueId val="{000008B1-7BE2-49F1-B47F-64DDA7BF3F9D}"/>
              </c:ext>
            </c:extLst>
          </c:dPt>
          <c:dPt>
            <c:idx val="1112"/>
            <c:invertIfNegative val="1"/>
            <c:bubble3D val="0"/>
            <c:spPr>
              <a:solidFill>
                <a:srgbClr val="AEABAB"/>
              </a:solidFill>
            </c:spPr>
            <c:extLst>
              <c:ext xmlns:c16="http://schemas.microsoft.com/office/drawing/2014/chart" uri="{C3380CC4-5D6E-409C-BE32-E72D297353CC}">
                <c16:uniqueId val="{000008B3-7BE2-49F1-B47F-64DDA7BF3F9D}"/>
              </c:ext>
            </c:extLst>
          </c:dPt>
          <c:dPt>
            <c:idx val="1113"/>
            <c:invertIfNegative val="1"/>
            <c:bubble3D val="0"/>
            <c:spPr>
              <a:solidFill>
                <a:srgbClr val="AEABAB"/>
              </a:solidFill>
            </c:spPr>
            <c:extLst>
              <c:ext xmlns:c16="http://schemas.microsoft.com/office/drawing/2014/chart" uri="{C3380CC4-5D6E-409C-BE32-E72D297353CC}">
                <c16:uniqueId val="{000008B5-7BE2-49F1-B47F-64DDA7BF3F9D}"/>
              </c:ext>
            </c:extLst>
          </c:dPt>
          <c:dPt>
            <c:idx val="1114"/>
            <c:invertIfNegative val="1"/>
            <c:bubble3D val="0"/>
            <c:spPr>
              <a:solidFill>
                <a:srgbClr val="AEABAB"/>
              </a:solidFill>
            </c:spPr>
            <c:extLst>
              <c:ext xmlns:c16="http://schemas.microsoft.com/office/drawing/2014/chart" uri="{C3380CC4-5D6E-409C-BE32-E72D297353CC}">
                <c16:uniqueId val="{000008B7-7BE2-49F1-B47F-64DDA7BF3F9D}"/>
              </c:ext>
            </c:extLst>
          </c:dPt>
          <c:dPt>
            <c:idx val="1115"/>
            <c:invertIfNegative val="1"/>
            <c:bubble3D val="0"/>
            <c:spPr>
              <a:solidFill>
                <a:srgbClr val="AEABAB"/>
              </a:solidFill>
            </c:spPr>
            <c:extLst>
              <c:ext xmlns:c16="http://schemas.microsoft.com/office/drawing/2014/chart" uri="{C3380CC4-5D6E-409C-BE32-E72D297353CC}">
                <c16:uniqueId val="{000008B9-7BE2-49F1-B47F-64DDA7BF3F9D}"/>
              </c:ext>
            </c:extLst>
          </c:dPt>
          <c:dPt>
            <c:idx val="1116"/>
            <c:invertIfNegative val="1"/>
            <c:bubble3D val="0"/>
            <c:spPr>
              <a:solidFill>
                <a:srgbClr val="AEABAB"/>
              </a:solidFill>
            </c:spPr>
            <c:extLst>
              <c:ext xmlns:c16="http://schemas.microsoft.com/office/drawing/2014/chart" uri="{C3380CC4-5D6E-409C-BE32-E72D297353CC}">
                <c16:uniqueId val="{000008BB-7BE2-49F1-B47F-64DDA7BF3F9D}"/>
              </c:ext>
            </c:extLst>
          </c:dPt>
          <c:dPt>
            <c:idx val="1117"/>
            <c:invertIfNegative val="1"/>
            <c:bubble3D val="0"/>
            <c:spPr>
              <a:solidFill>
                <a:srgbClr val="AEABAB"/>
              </a:solidFill>
            </c:spPr>
            <c:extLst>
              <c:ext xmlns:c16="http://schemas.microsoft.com/office/drawing/2014/chart" uri="{C3380CC4-5D6E-409C-BE32-E72D297353CC}">
                <c16:uniqueId val="{000008BD-7BE2-49F1-B47F-64DDA7BF3F9D}"/>
              </c:ext>
            </c:extLst>
          </c:dPt>
          <c:dPt>
            <c:idx val="1118"/>
            <c:invertIfNegative val="1"/>
            <c:bubble3D val="0"/>
            <c:spPr>
              <a:solidFill>
                <a:srgbClr val="AEABAB"/>
              </a:solidFill>
            </c:spPr>
            <c:extLst>
              <c:ext xmlns:c16="http://schemas.microsoft.com/office/drawing/2014/chart" uri="{C3380CC4-5D6E-409C-BE32-E72D297353CC}">
                <c16:uniqueId val="{000008BF-7BE2-49F1-B47F-64DDA7BF3F9D}"/>
              </c:ext>
            </c:extLst>
          </c:dPt>
          <c:dPt>
            <c:idx val="1119"/>
            <c:invertIfNegative val="1"/>
            <c:bubble3D val="0"/>
            <c:spPr>
              <a:solidFill>
                <a:srgbClr val="AEABAB"/>
              </a:solidFill>
            </c:spPr>
            <c:extLst>
              <c:ext xmlns:c16="http://schemas.microsoft.com/office/drawing/2014/chart" uri="{C3380CC4-5D6E-409C-BE32-E72D297353CC}">
                <c16:uniqueId val="{000008C1-7BE2-49F1-B47F-64DDA7BF3F9D}"/>
              </c:ext>
            </c:extLst>
          </c:dPt>
          <c:dPt>
            <c:idx val="1120"/>
            <c:invertIfNegative val="1"/>
            <c:bubble3D val="0"/>
            <c:spPr>
              <a:solidFill>
                <a:srgbClr val="AEABAB"/>
              </a:solidFill>
            </c:spPr>
            <c:extLst>
              <c:ext xmlns:c16="http://schemas.microsoft.com/office/drawing/2014/chart" uri="{C3380CC4-5D6E-409C-BE32-E72D297353CC}">
                <c16:uniqueId val="{000008C3-7BE2-49F1-B47F-64DDA7BF3F9D}"/>
              </c:ext>
            </c:extLst>
          </c:dPt>
          <c:dPt>
            <c:idx val="1121"/>
            <c:invertIfNegative val="1"/>
            <c:bubble3D val="0"/>
            <c:spPr>
              <a:solidFill>
                <a:srgbClr val="AEABAB"/>
              </a:solidFill>
            </c:spPr>
            <c:extLst>
              <c:ext xmlns:c16="http://schemas.microsoft.com/office/drawing/2014/chart" uri="{C3380CC4-5D6E-409C-BE32-E72D297353CC}">
                <c16:uniqueId val="{000008C5-7BE2-49F1-B47F-64DDA7BF3F9D}"/>
              </c:ext>
            </c:extLst>
          </c:dPt>
          <c:dPt>
            <c:idx val="1122"/>
            <c:invertIfNegative val="1"/>
            <c:bubble3D val="0"/>
            <c:spPr>
              <a:solidFill>
                <a:srgbClr val="AEABAB"/>
              </a:solidFill>
            </c:spPr>
            <c:extLst>
              <c:ext xmlns:c16="http://schemas.microsoft.com/office/drawing/2014/chart" uri="{C3380CC4-5D6E-409C-BE32-E72D297353CC}">
                <c16:uniqueId val="{000008C7-7BE2-49F1-B47F-64DDA7BF3F9D}"/>
              </c:ext>
            </c:extLst>
          </c:dPt>
          <c:dPt>
            <c:idx val="1123"/>
            <c:invertIfNegative val="1"/>
            <c:bubble3D val="0"/>
            <c:spPr>
              <a:solidFill>
                <a:srgbClr val="AEABAB"/>
              </a:solidFill>
            </c:spPr>
            <c:extLst>
              <c:ext xmlns:c16="http://schemas.microsoft.com/office/drawing/2014/chart" uri="{C3380CC4-5D6E-409C-BE32-E72D297353CC}">
                <c16:uniqueId val="{000008C9-7BE2-49F1-B47F-64DDA7BF3F9D}"/>
              </c:ext>
            </c:extLst>
          </c:dPt>
          <c:dPt>
            <c:idx val="1124"/>
            <c:invertIfNegative val="1"/>
            <c:bubble3D val="0"/>
            <c:spPr>
              <a:solidFill>
                <a:srgbClr val="AEABAB"/>
              </a:solidFill>
            </c:spPr>
            <c:extLst>
              <c:ext xmlns:c16="http://schemas.microsoft.com/office/drawing/2014/chart" uri="{C3380CC4-5D6E-409C-BE32-E72D297353CC}">
                <c16:uniqueId val="{000008CB-7BE2-49F1-B47F-64DDA7BF3F9D}"/>
              </c:ext>
            </c:extLst>
          </c:dPt>
          <c:dPt>
            <c:idx val="1125"/>
            <c:invertIfNegative val="1"/>
            <c:bubble3D val="0"/>
            <c:spPr>
              <a:solidFill>
                <a:srgbClr val="AEABAB"/>
              </a:solidFill>
            </c:spPr>
            <c:extLst>
              <c:ext xmlns:c16="http://schemas.microsoft.com/office/drawing/2014/chart" uri="{C3380CC4-5D6E-409C-BE32-E72D297353CC}">
                <c16:uniqueId val="{000008CD-7BE2-49F1-B47F-64DDA7BF3F9D}"/>
              </c:ext>
            </c:extLst>
          </c:dPt>
          <c:dPt>
            <c:idx val="1126"/>
            <c:invertIfNegative val="1"/>
            <c:bubble3D val="0"/>
            <c:spPr>
              <a:solidFill>
                <a:srgbClr val="AEABAB"/>
              </a:solidFill>
            </c:spPr>
            <c:extLst>
              <c:ext xmlns:c16="http://schemas.microsoft.com/office/drawing/2014/chart" uri="{C3380CC4-5D6E-409C-BE32-E72D297353CC}">
                <c16:uniqueId val="{000008CF-7BE2-49F1-B47F-64DDA7BF3F9D}"/>
              </c:ext>
            </c:extLst>
          </c:dPt>
          <c:dPt>
            <c:idx val="1127"/>
            <c:invertIfNegative val="1"/>
            <c:bubble3D val="0"/>
            <c:spPr>
              <a:solidFill>
                <a:srgbClr val="AEABAB"/>
              </a:solidFill>
            </c:spPr>
            <c:extLst>
              <c:ext xmlns:c16="http://schemas.microsoft.com/office/drawing/2014/chart" uri="{C3380CC4-5D6E-409C-BE32-E72D297353CC}">
                <c16:uniqueId val="{000008D1-7BE2-49F1-B47F-64DDA7BF3F9D}"/>
              </c:ext>
            </c:extLst>
          </c:dPt>
          <c:dPt>
            <c:idx val="1128"/>
            <c:invertIfNegative val="1"/>
            <c:bubble3D val="0"/>
            <c:spPr>
              <a:solidFill>
                <a:srgbClr val="AEABAB"/>
              </a:solidFill>
            </c:spPr>
            <c:extLst>
              <c:ext xmlns:c16="http://schemas.microsoft.com/office/drawing/2014/chart" uri="{C3380CC4-5D6E-409C-BE32-E72D297353CC}">
                <c16:uniqueId val="{000008D3-7BE2-49F1-B47F-64DDA7BF3F9D}"/>
              </c:ext>
            </c:extLst>
          </c:dPt>
          <c:dPt>
            <c:idx val="1129"/>
            <c:invertIfNegative val="1"/>
            <c:bubble3D val="0"/>
            <c:spPr>
              <a:solidFill>
                <a:srgbClr val="AEABAB"/>
              </a:solidFill>
            </c:spPr>
            <c:extLst>
              <c:ext xmlns:c16="http://schemas.microsoft.com/office/drawing/2014/chart" uri="{C3380CC4-5D6E-409C-BE32-E72D297353CC}">
                <c16:uniqueId val="{000008D5-7BE2-49F1-B47F-64DDA7BF3F9D}"/>
              </c:ext>
            </c:extLst>
          </c:dPt>
          <c:dPt>
            <c:idx val="1130"/>
            <c:invertIfNegative val="1"/>
            <c:bubble3D val="0"/>
            <c:spPr>
              <a:solidFill>
                <a:srgbClr val="AEABAB"/>
              </a:solidFill>
            </c:spPr>
            <c:extLst>
              <c:ext xmlns:c16="http://schemas.microsoft.com/office/drawing/2014/chart" uri="{C3380CC4-5D6E-409C-BE32-E72D297353CC}">
                <c16:uniqueId val="{000008D7-7BE2-49F1-B47F-64DDA7BF3F9D}"/>
              </c:ext>
            </c:extLst>
          </c:dPt>
          <c:dPt>
            <c:idx val="1131"/>
            <c:invertIfNegative val="1"/>
            <c:bubble3D val="0"/>
            <c:spPr>
              <a:solidFill>
                <a:srgbClr val="AEABAB"/>
              </a:solidFill>
            </c:spPr>
            <c:extLst>
              <c:ext xmlns:c16="http://schemas.microsoft.com/office/drawing/2014/chart" uri="{C3380CC4-5D6E-409C-BE32-E72D297353CC}">
                <c16:uniqueId val="{000008D9-7BE2-49F1-B47F-64DDA7BF3F9D}"/>
              </c:ext>
            </c:extLst>
          </c:dPt>
          <c:dPt>
            <c:idx val="1132"/>
            <c:invertIfNegative val="1"/>
            <c:bubble3D val="0"/>
            <c:spPr>
              <a:solidFill>
                <a:srgbClr val="AEABAB"/>
              </a:solidFill>
            </c:spPr>
            <c:extLst>
              <c:ext xmlns:c16="http://schemas.microsoft.com/office/drawing/2014/chart" uri="{C3380CC4-5D6E-409C-BE32-E72D297353CC}">
                <c16:uniqueId val="{000008DB-7BE2-49F1-B47F-64DDA7BF3F9D}"/>
              </c:ext>
            </c:extLst>
          </c:dPt>
          <c:dPt>
            <c:idx val="1133"/>
            <c:invertIfNegative val="1"/>
            <c:bubble3D val="0"/>
            <c:spPr>
              <a:solidFill>
                <a:srgbClr val="AEABAB"/>
              </a:solidFill>
            </c:spPr>
            <c:extLst>
              <c:ext xmlns:c16="http://schemas.microsoft.com/office/drawing/2014/chart" uri="{C3380CC4-5D6E-409C-BE32-E72D297353CC}">
                <c16:uniqueId val="{000008DD-7BE2-49F1-B47F-64DDA7BF3F9D}"/>
              </c:ext>
            </c:extLst>
          </c:dPt>
          <c:dPt>
            <c:idx val="1134"/>
            <c:invertIfNegative val="1"/>
            <c:bubble3D val="0"/>
            <c:spPr>
              <a:solidFill>
                <a:srgbClr val="AEABAB"/>
              </a:solidFill>
            </c:spPr>
            <c:extLst>
              <c:ext xmlns:c16="http://schemas.microsoft.com/office/drawing/2014/chart" uri="{C3380CC4-5D6E-409C-BE32-E72D297353CC}">
                <c16:uniqueId val="{000008DF-7BE2-49F1-B47F-64DDA7BF3F9D}"/>
              </c:ext>
            </c:extLst>
          </c:dPt>
          <c:dPt>
            <c:idx val="1135"/>
            <c:invertIfNegative val="1"/>
            <c:bubble3D val="0"/>
            <c:spPr>
              <a:solidFill>
                <a:srgbClr val="AEABAB"/>
              </a:solidFill>
            </c:spPr>
            <c:extLst>
              <c:ext xmlns:c16="http://schemas.microsoft.com/office/drawing/2014/chart" uri="{C3380CC4-5D6E-409C-BE32-E72D297353CC}">
                <c16:uniqueId val="{000008E1-7BE2-49F1-B47F-64DDA7BF3F9D}"/>
              </c:ext>
            </c:extLst>
          </c:dPt>
          <c:dPt>
            <c:idx val="1136"/>
            <c:invertIfNegative val="1"/>
            <c:bubble3D val="0"/>
            <c:spPr>
              <a:solidFill>
                <a:srgbClr val="AEABAB"/>
              </a:solidFill>
            </c:spPr>
            <c:extLst>
              <c:ext xmlns:c16="http://schemas.microsoft.com/office/drawing/2014/chart" uri="{C3380CC4-5D6E-409C-BE32-E72D297353CC}">
                <c16:uniqueId val="{000008E3-7BE2-49F1-B47F-64DDA7BF3F9D}"/>
              </c:ext>
            </c:extLst>
          </c:dPt>
          <c:dPt>
            <c:idx val="1137"/>
            <c:invertIfNegative val="1"/>
            <c:bubble3D val="0"/>
            <c:spPr>
              <a:solidFill>
                <a:srgbClr val="AEABAB"/>
              </a:solidFill>
            </c:spPr>
            <c:extLst>
              <c:ext xmlns:c16="http://schemas.microsoft.com/office/drawing/2014/chart" uri="{C3380CC4-5D6E-409C-BE32-E72D297353CC}">
                <c16:uniqueId val="{000008E5-7BE2-49F1-B47F-64DDA7BF3F9D}"/>
              </c:ext>
            </c:extLst>
          </c:dPt>
          <c:dPt>
            <c:idx val="1138"/>
            <c:invertIfNegative val="1"/>
            <c:bubble3D val="0"/>
            <c:spPr>
              <a:solidFill>
                <a:srgbClr val="AEABAB"/>
              </a:solidFill>
            </c:spPr>
            <c:extLst>
              <c:ext xmlns:c16="http://schemas.microsoft.com/office/drawing/2014/chart" uri="{C3380CC4-5D6E-409C-BE32-E72D297353CC}">
                <c16:uniqueId val="{000008E7-7BE2-49F1-B47F-64DDA7BF3F9D}"/>
              </c:ext>
            </c:extLst>
          </c:dPt>
          <c:dPt>
            <c:idx val="1139"/>
            <c:invertIfNegative val="1"/>
            <c:bubble3D val="0"/>
            <c:spPr>
              <a:solidFill>
                <a:srgbClr val="AEABAB"/>
              </a:solidFill>
            </c:spPr>
            <c:extLst>
              <c:ext xmlns:c16="http://schemas.microsoft.com/office/drawing/2014/chart" uri="{C3380CC4-5D6E-409C-BE32-E72D297353CC}">
                <c16:uniqueId val="{000008E9-7BE2-49F1-B47F-64DDA7BF3F9D}"/>
              </c:ext>
            </c:extLst>
          </c:dPt>
          <c:dPt>
            <c:idx val="1140"/>
            <c:invertIfNegative val="1"/>
            <c:bubble3D val="0"/>
            <c:spPr>
              <a:solidFill>
                <a:srgbClr val="AEABAB"/>
              </a:solidFill>
            </c:spPr>
            <c:extLst>
              <c:ext xmlns:c16="http://schemas.microsoft.com/office/drawing/2014/chart" uri="{C3380CC4-5D6E-409C-BE32-E72D297353CC}">
                <c16:uniqueId val="{000008EB-7BE2-49F1-B47F-64DDA7BF3F9D}"/>
              </c:ext>
            </c:extLst>
          </c:dPt>
          <c:dPt>
            <c:idx val="1141"/>
            <c:invertIfNegative val="1"/>
            <c:bubble3D val="0"/>
            <c:spPr>
              <a:solidFill>
                <a:srgbClr val="AEABAB"/>
              </a:solidFill>
            </c:spPr>
            <c:extLst>
              <c:ext xmlns:c16="http://schemas.microsoft.com/office/drawing/2014/chart" uri="{C3380CC4-5D6E-409C-BE32-E72D297353CC}">
                <c16:uniqueId val="{000008ED-7BE2-49F1-B47F-64DDA7BF3F9D}"/>
              </c:ext>
            </c:extLst>
          </c:dPt>
          <c:dPt>
            <c:idx val="1142"/>
            <c:invertIfNegative val="1"/>
            <c:bubble3D val="0"/>
            <c:spPr>
              <a:solidFill>
                <a:srgbClr val="AEABAB"/>
              </a:solidFill>
            </c:spPr>
            <c:extLst>
              <c:ext xmlns:c16="http://schemas.microsoft.com/office/drawing/2014/chart" uri="{C3380CC4-5D6E-409C-BE32-E72D297353CC}">
                <c16:uniqueId val="{000008EF-7BE2-49F1-B47F-64DDA7BF3F9D}"/>
              </c:ext>
            </c:extLst>
          </c:dPt>
          <c:dPt>
            <c:idx val="1143"/>
            <c:invertIfNegative val="1"/>
            <c:bubble3D val="0"/>
            <c:spPr>
              <a:solidFill>
                <a:srgbClr val="AEABAB"/>
              </a:solidFill>
            </c:spPr>
            <c:extLst>
              <c:ext xmlns:c16="http://schemas.microsoft.com/office/drawing/2014/chart" uri="{C3380CC4-5D6E-409C-BE32-E72D297353CC}">
                <c16:uniqueId val="{000008F1-7BE2-49F1-B47F-64DDA7BF3F9D}"/>
              </c:ext>
            </c:extLst>
          </c:dPt>
          <c:dPt>
            <c:idx val="1144"/>
            <c:invertIfNegative val="1"/>
            <c:bubble3D val="0"/>
            <c:spPr>
              <a:solidFill>
                <a:srgbClr val="AEABAB"/>
              </a:solidFill>
            </c:spPr>
            <c:extLst>
              <c:ext xmlns:c16="http://schemas.microsoft.com/office/drawing/2014/chart" uri="{C3380CC4-5D6E-409C-BE32-E72D297353CC}">
                <c16:uniqueId val="{000008F3-7BE2-49F1-B47F-64DDA7BF3F9D}"/>
              </c:ext>
            </c:extLst>
          </c:dPt>
          <c:dPt>
            <c:idx val="1145"/>
            <c:invertIfNegative val="1"/>
            <c:bubble3D val="0"/>
            <c:spPr>
              <a:solidFill>
                <a:srgbClr val="AEABAB"/>
              </a:solidFill>
            </c:spPr>
            <c:extLst>
              <c:ext xmlns:c16="http://schemas.microsoft.com/office/drawing/2014/chart" uri="{C3380CC4-5D6E-409C-BE32-E72D297353CC}">
                <c16:uniqueId val="{000008F5-7BE2-49F1-B47F-64DDA7BF3F9D}"/>
              </c:ext>
            </c:extLst>
          </c:dPt>
          <c:dPt>
            <c:idx val="1146"/>
            <c:invertIfNegative val="1"/>
            <c:bubble3D val="0"/>
            <c:spPr>
              <a:solidFill>
                <a:srgbClr val="AEABAB"/>
              </a:solidFill>
            </c:spPr>
            <c:extLst>
              <c:ext xmlns:c16="http://schemas.microsoft.com/office/drawing/2014/chart" uri="{C3380CC4-5D6E-409C-BE32-E72D297353CC}">
                <c16:uniqueId val="{000008F7-7BE2-49F1-B47F-64DDA7BF3F9D}"/>
              </c:ext>
            </c:extLst>
          </c:dPt>
          <c:dPt>
            <c:idx val="1147"/>
            <c:invertIfNegative val="1"/>
            <c:bubble3D val="0"/>
            <c:spPr>
              <a:solidFill>
                <a:srgbClr val="AEABAB"/>
              </a:solidFill>
            </c:spPr>
            <c:extLst>
              <c:ext xmlns:c16="http://schemas.microsoft.com/office/drawing/2014/chart" uri="{C3380CC4-5D6E-409C-BE32-E72D297353CC}">
                <c16:uniqueId val="{000008F9-7BE2-49F1-B47F-64DDA7BF3F9D}"/>
              </c:ext>
            </c:extLst>
          </c:dPt>
          <c:dPt>
            <c:idx val="1148"/>
            <c:invertIfNegative val="1"/>
            <c:bubble3D val="0"/>
            <c:spPr>
              <a:solidFill>
                <a:srgbClr val="AEABAB"/>
              </a:solidFill>
            </c:spPr>
            <c:extLst>
              <c:ext xmlns:c16="http://schemas.microsoft.com/office/drawing/2014/chart" uri="{C3380CC4-5D6E-409C-BE32-E72D297353CC}">
                <c16:uniqueId val="{000008FB-7BE2-49F1-B47F-64DDA7BF3F9D}"/>
              </c:ext>
            </c:extLst>
          </c:dPt>
          <c:dPt>
            <c:idx val="1149"/>
            <c:invertIfNegative val="1"/>
            <c:bubble3D val="0"/>
            <c:spPr>
              <a:solidFill>
                <a:srgbClr val="AEABAB"/>
              </a:solidFill>
            </c:spPr>
            <c:extLst>
              <c:ext xmlns:c16="http://schemas.microsoft.com/office/drawing/2014/chart" uri="{C3380CC4-5D6E-409C-BE32-E72D297353CC}">
                <c16:uniqueId val="{000008FD-7BE2-49F1-B47F-64DDA7BF3F9D}"/>
              </c:ext>
            </c:extLst>
          </c:dPt>
          <c:dPt>
            <c:idx val="1150"/>
            <c:invertIfNegative val="1"/>
            <c:bubble3D val="0"/>
            <c:spPr>
              <a:solidFill>
                <a:srgbClr val="AEABAB"/>
              </a:solidFill>
            </c:spPr>
            <c:extLst>
              <c:ext xmlns:c16="http://schemas.microsoft.com/office/drawing/2014/chart" uri="{C3380CC4-5D6E-409C-BE32-E72D297353CC}">
                <c16:uniqueId val="{000008FF-7BE2-49F1-B47F-64DDA7BF3F9D}"/>
              </c:ext>
            </c:extLst>
          </c:dPt>
          <c:dPt>
            <c:idx val="1151"/>
            <c:invertIfNegative val="1"/>
            <c:bubble3D val="0"/>
            <c:spPr>
              <a:solidFill>
                <a:srgbClr val="AEABAB"/>
              </a:solidFill>
            </c:spPr>
            <c:extLst>
              <c:ext xmlns:c16="http://schemas.microsoft.com/office/drawing/2014/chart" uri="{C3380CC4-5D6E-409C-BE32-E72D297353CC}">
                <c16:uniqueId val="{00000901-7BE2-49F1-B47F-64DDA7BF3F9D}"/>
              </c:ext>
            </c:extLst>
          </c:dPt>
          <c:dPt>
            <c:idx val="1152"/>
            <c:invertIfNegative val="1"/>
            <c:bubble3D val="0"/>
            <c:spPr>
              <a:solidFill>
                <a:srgbClr val="AEABAB"/>
              </a:solidFill>
            </c:spPr>
            <c:extLst>
              <c:ext xmlns:c16="http://schemas.microsoft.com/office/drawing/2014/chart" uri="{C3380CC4-5D6E-409C-BE32-E72D297353CC}">
                <c16:uniqueId val="{00000903-7BE2-49F1-B47F-64DDA7BF3F9D}"/>
              </c:ext>
            </c:extLst>
          </c:dPt>
          <c:dPt>
            <c:idx val="1153"/>
            <c:invertIfNegative val="1"/>
            <c:bubble3D val="0"/>
            <c:spPr>
              <a:solidFill>
                <a:srgbClr val="AEABAB"/>
              </a:solidFill>
            </c:spPr>
            <c:extLst>
              <c:ext xmlns:c16="http://schemas.microsoft.com/office/drawing/2014/chart" uri="{C3380CC4-5D6E-409C-BE32-E72D297353CC}">
                <c16:uniqueId val="{00000905-7BE2-49F1-B47F-64DDA7BF3F9D}"/>
              </c:ext>
            </c:extLst>
          </c:dPt>
          <c:dPt>
            <c:idx val="1154"/>
            <c:invertIfNegative val="1"/>
            <c:bubble3D val="0"/>
            <c:spPr>
              <a:solidFill>
                <a:srgbClr val="AEABAB"/>
              </a:solidFill>
            </c:spPr>
            <c:extLst>
              <c:ext xmlns:c16="http://schemas.microsoft.com/office/drawing/2014/chart" uri="{C3380CC4-5D6E-409C-BE32-E72D297353CC}">
                <c16:uniqueId val="{00000907-7BE2-49F1-B47F-64DDA7BF3F9D}"/>
              </c:ext>
            </c:extLst>
          </c:dPt>
          <c:dPt>
            <c:idx val="1155"/>
            <c:invertIfNegative val="1"/>
            <c:bubble3D val="0"/>
            <c:spPr>
              <a:solidFill>
                <a:srgbClr val="AEABAB"/>
              </a:solidFill>
            </c:spPr>
            <c:extLst>
              <c:ext xmlns:c16="http://schemas.microsoft.com/office/drawing/2014/chart" uri="{C3380CC4-5D6E-409C-BE32-E72D297353CC}">
                <c16:uniqueId val="{00000909-7BE2-49F1-B47F-64DDA7BF3F9D}"/>
              </c:ext>
            </c:extLst>
          </c:dPt>
          <c:dPt>
            <c:idx val="1156"/>
            <c:invertIfNegative val="1"/>
            <c:bubble3D val="0"/>
            <c:spPr>
              <a:solidFill>
                <a:srgbClr val="AEABAB"/>
              </a:solidFill>
            </c:spPr>
            <c:extLst>
              <c:ext xmlns:c16="http://schemas.microsoft.com/office/drawing/2014/chart" uri="{C3380CC4-5D6E-409C-BE32-E72D297353CC}">
                <c16:uniqueId val="{0000090B-7BE2-49F1-B47F-64DDA7BF3F9D}"/>
              </c:ext>
            </c:extLst>
          </c:dPt>
          <c:dPt>
            <c:idx val="1157"/>
            <c:invertIfNegative val="1"/>
            <c:bubble3D val="0"/>
            <c:spPr>
              <a:solidFill>
                <a:srgbClr val="AEABAB"/>
              </a:solidFill>
            </c:spPr>
            <c:extLst>
              <c:ext xmlns:c16="http://schemas.microsoft.com/office/drawing/2014/chart" uri="{C3380CC4-5D6E-409C-BE32-E72D297353CC}">
                <c16:uniqueId val="{0000090D-7BE2-49F1-B47F-64DDA7BF3F9D}"/>
              </c:ext>
            </c:extLst>
          </c:dPt>
          <c:dPt>
            <c:idx val="1158"/>
            <c:invertIfNegative val="1"/>
            <c:bubble3D val="0"/>
            <c:spPr>
              <a:solidFill>
                <a:srgbClr val="AEABAB"/>
              </a:solidFill>
            </c:spPr>
            <c:extLst>
              <c:ext xmlns:c16="http://schemas.microsoft.com/office/drawing/2014/chart" uri="{C3380CC4-5D6E-409C-BE32-E72D297353CC}">
                <c16:uniqueId val="{0000090F-7BE2-49F1-B47F-64DDA7BF3F9D}"/>
              </c:ext>
            </c:extLst>
          </c:dPt>
          <c:dPt>
            <c:idx val="1159"/>
            <c:invertIfNegative val="1"/>
            <c:bubble3D val="0"/>
            <c:spPr>
              <a:solidFill>
                <a:srgbClr val="AEABAB"/>
              </a:solidFill>
            </c:spPr>
            <c:extLst>
              <c:ext xmlns:c16="http://schemas.microsoft.com/office/drawing/2014/chart" uri="{C3380CC4-5D6E-409C-BE32-E72D297353CC}">
                <c16:uniqueId val="{00000911-7BE2-49F1-B47F-64DDA7BF3F9D}"/>
              </c:ext>
            </c:extLst>
          </c:dPt>
          <c:dPt>
            <c:idx val="1160"/>
            <c:invertIfNegative val="1"/>
            <c:bubble3D val="0"/>
            <c:spPr>
              <a:solidFill>
                <a:srgbClr val="AEABAB"/>
              </a:solidFill>
            </c:spPr>
            <c:extLst>
              <c:ext xmlns:c16="http://schemas.microsoft.com/office/drawing/2014/chart" uri="{C3380CC4-5D6E-409C-BE32-E72D297353CC}">
                <c16:uniqueId val="{00000913-7BE2-49F1-B47F-64DDA7BF3F9D}"/>
              </c:ext>
            </c:extLst>
          </c:dPt>
          <c:dPt>
            <c:idx val="1161"/>
            <c:invertIfNegative val="1"/>
            <c:bubble3D val="0"/>
            <c:spPr>
              <a:solidFill>
                <a:srgbClr val="AEABAB"/>
              </a:solidFill>
            </c:spPr>
            <c:extLst>
              <c:ext xmlns:c16="http://schemas.microsoft.com/office/drawing/2014/chart" uri="{C3380CC4-5D6E-409C-BE32-E72D297353CC}">
                <c16:uniqueId val="{00000915-7BE2-49F1-B47F-64DDA7BF3F9D}"/>
              </c:ext>
            </c:extLst>
          </c:dPt>
          <c:dPt>
            <c:idx val="1162"/>
            <c:invertIfNegative val="1"/>
            <c:bubble3D val="0"/>
            <c:spPr>
              <a:solidFill>
                <a:srgbClr val="AEABAB"/>
              </a:solidFill>
            </c:spPr>
            <c:extLst>
              <c:ext xmlns:c16="http://schemas.microsoft.com/office/drawing/2014/chart" uri="{C3380CC4-5D6E-409C-BE32-E72D297353CC}">
                <c16:uniqueId val="{00000917-7BE2-49F1-B47F-64DDA7BF3F9D}"/>
              </c:ext>
            </c:extLst>
          </c:dPt>
          <c:dPt>
            <c:idx val="1163"/>
            <c:invertIfNegative val="1"/>
            <c:bubble3D val="0"/>
            <c:spPr>
              <a:solidFill>
                <a:srgbClr val="AEABAB"/>
              </a:solidFill>
            </c:spPr>
            <c:extLst>
              <c:ext xmlns:c16="http://schemas.microsoft.com/office/drawing/2014/chart" uri="{C3380CC4-5D6E-409C-BE32-E72D297353CC}">
                <c16:uniqueId val="{00000919-7BE2-49F1-B47F-64DDA7BF3F9D}"/>
              </c:ext>
            </c:extLst>
          </c:dPt>
          <c:dPt>
            <c:idx val="1164"/>
            <c:invertIfNegative val="1"/>
            <c:bubble3D val="0"/>
            <c:spPr>
              <a:solidFill>
                <a:srgbClr val="AEABAB"/>
              </a:solidFill>
            </c:spPr>
            <c:extLst>
              <c:ext xmlns:c16="http://schemas.microsoft.com/office/drawing/2014/chart" uri="{C3380CC4-5D6E-409C-BE32-E72D297353CC}">
                <c16:uniqueId val="{0000091B-7BE2-49F1-B47F-64DDA7BF3F9D}"/>
              </c:ext>
            </c:extLst>
          </c:dPt>
          <c:dPt>
            <c:idx val="1165"/>
            <c:invertIfNegative val="1"/>
            <c:bubble3D val="0"/>
            <c:spPr>
              <a:solidFill>
                <a:srgbClr val="AEABAB"/>
              </a:solidFill>
            </c:spPr>
            <c:extLst>
              <c:ext xmlns:c16="http://schemas.microsoft.com/office/drawing/2014/chart" uri="{C3380CC4-5D6E-409C-BE32-E72D297353CC}">
                <c16:uniqueId val="{0000091D-7BE2-49F1-B47F-64DDA7BF3F9D}"/>
              </c:ext>
            </c:extLst>
          </c:dPt>
          <c:dPt>
            <c:idx val="1166"/>
            <c:invertIfNegative val="1"/>
            <c:bubble3D val="0"/>
            <c:spPr>
              <a:solidFill>
                <a:srgbClr val="AEABAB"/>
              </a:solidFill>
            </c:spPr>
            <c:extLst>
              <c:ext xmlns:c16="http://schemas.microsoft.com/office/drawing/2014/chart" uri="{C3380CC4-5D6E-409C-BE32-E72D297353CC}">
                <c16:uniqueId val="{0000091F-7BE2-49F1-B47F-64DDA7BF3F9D}"/>
              </c:ext>
            </c:extLst>
          </c:dPt>
          <c:dPt>
            <c:idx val="1167"/>
            <c:invertIfNegative val="1"/>
            <c:bubble3D val="0"/>
            <c:spPr>
              <a:solidFill>
                <a:srgbClr val="AEABAB"/>
              </a:solidFill>
            </c:spPr>
            <c:extLst>
              <c:ext xmlns:c16="http://schemas.microsoft.com/office/drawing/2014/chart" uri="{C3380CC4-5D6E-409C-BE32-E72D297353CC}">
                <c16:uniqueId val="{00000921-7BE2-49F1-B47F-64DDA7BF3F9D}"/>
              </c:ext>
            </c:extLst>
          </c:dPt>
          <c:dPt>
            <c:idx val="1168"/>
            <c:invertIfNegative val="1"/>
            <c:bubble3D val="0"/>
            <c:spPr>
              <a:solidFill>
                <a:srgbClr val="AEABAB"/>
              </a:solidFill>
            </c:spPr>
            <c:extLst>
              <c:ext xmlns:c16="http://schemas.microsoft.com/office/drawing/2014/chart" uri="{C3380CC4-5D6E-409C-BE32-E72D297353CC}">
                <c16:uniqueId val="{00000923-7BE2-49F1-B47F-64DDA7BF3F9D}"/>
              </c:ext>
            </c:extLst>
          </c:dPt>
          <c:dPt>
            <c:idx val="1169"/>
            <c:invertIfNegative val="1"/>
            <c:bubble3D val="0"/>
            <c:spPr>
              <a:solidFill>
                <a:srgbClr val="AEABAB"/>
              </a:solidFill>
            </c:spPr>
            <c:extLst>
              <c:ext xmlns:c16="http://schemas.microsoft.com/office/drawing/2014/chart" uri="{C3380CC4-5D6E-409C-BE32-E72D297353CC}">
                <c16:uniqueId val="{00000925-7BE2-49F1-B47F-64DDA7BF3F9D}"/>
              </c:ext>
            </c:extLst>
          </c:dPt>
          <c:dPt>
            <c:idx val="1170"/>
            <c:invertIfNegative val="1"/>
            <c:bubble3D val="0"/>
            <c:spPr>
              <a:solidFill>
                <a:srgbClr val="AEABAB"/>
              </a:solidFill>
            </c:spPr>
            <c:extLst>
              <c:ext xmlns:c16="http://schemas.microsoft.com/office/drawing/2014/chart" uri="{C3380CC4-5D6E-409C-BE32-E72D297353CC}">
                <c16:uniqueId val="{00000927-7BE2-49F1-B47F-64DDA7BF3F9D}"/>
              </c:ext>
            </c:extLst>
          </c:dPt>
          <c:dPt>
            <c:idx val="1171"/>
            <c:invertIfNegative val="1"/>
            <c:bubble3D val="0"/>
            <c:spPr>
              <a:solidFill>
                <a:srgbClr val="AEABAB"/>
              </a:solidFill>
            </c:spPr>
            <c:extLst>
              <c:ext xmlns:c16="http://schemas.microsoft.com/office/drawing/2014/chart" uri="{C3380CC4-5D6E-409C-BE32-E72D297353CC}">
                <c16:uniqueId val="{00000929-7BE2-49F1-B47F-64DDA7BF3F9D}"/>
              </c:ext>
            </c:extLst>
          </c:dPt>
          <c:dPt>
            <c:idx val="1172"/>
            <c:invertIfNegative val="1"/>
            <c:bubble3D val="0"/>
            <c:spPr>
              <a:solidFill>
                <a:srgbClr val="AEABAB"/>
              </a:solidFill>
            </c:spPr>
            <c:extLst>
              <c:ext xmlns:c16="http://schemas.microsoft.com/office/drawing/2014/chart" uri="{C3380CC4-5D6E-409C-BE32-E72D297353CC}">
                <c16:uniqueId val="{0000092B-7BE2-49F1-B47F-64DDA7BF3F9D}"/>
              </c:ext>
            </c:extLst>
          </c:dPt>
          <c:dPt>
            <c:idx val="1173"/>
            <c:invertIfNegative val="1"/>
            <c:bubble3D val="0"/>
            <c:spPr>
              <a:solidFill>
                <a:srgbClr val="AEABAB"/>
              </a:solidFill>
            </c:spPr>
            <c:extLst>
              <c:ext xmlns:c16="http://schemas.microsoft.com/office/drawing/2014/chart" uri="{C3380CC4-5D6E-409C-BE32-E72D297353CC}">
                <c16:uniqueId val="{0000092D-7BE2-49F1-B47F-64DDA7BF3F9D}"/>
              </c:ext>
            </c:extLst>
          </c:dPt>
          <c:dPt>
            <c:idx val="1174"/>
            <c:invertIfNegative val="1"/>
            <c:bubble3D val="0"/>
            <c:spPr>
              <a:solidFill>
                <a:srgbClr val="AEABAB"/>
              </a:solidFill>
            </c:spPr>
            <c:extLst>
              <c:ext xmlns:c16="http://schemas.microsoft.com/office/drawing/2014/chart" uri="{C3380CC4-5D6E-409C-BE32-E72D297353CC}">
                <c16:uniqueId val="{0000092F-7BE2-49F1-B47F-64DDA7BF3F9D}"/>
              </c:ext>
            </c:extLst>
          </c:dPt>
          <c:dPt>
            <c:idx val="1175"/>
            <c:invertIfNegative val="1"/>
            <c:bubble3D val="0"/>
            <c:spPr>
              <a:solidFill>
                <a:srgbClr val="AEABAB"/>
              </a:solidFill>
            </c:spPr>
            <c:extLst>
              <c:ext xmlns:c16="http://schemas.microsoft.com/office/drawing/2014/chart" uri="{C3380CC4-5D6E-409C-BE32-E72D297353CC}">
                <c16:uniqueId val="{00000931-7BE2-49F1-B47F-64DDA7BF3F9D}"/>
              </c:ext>
            </c:extLst>
          </c:dPt>
          <c:dPt>
            <c:idx val="1176"/>
            <c:invertIfNegative val="1"/>
            <c:bubble3D val="0"/>
            <c:spPr>
              <a:solidFill>
                <a:srgbClr val="AEABAB"/>
              </a:solidFill>
            </c:spPr>
            <c:extLst>
              <c:ext xmlns:c16="http://schemas.microsoft.com/office/drawing/2014/chart" uri="{C3380CC4-5D6E-409C-BE32-E72D297353CC}">
                <c16:uniqueId val="{00000933-7BE2-49F1-B47F-64DDA7BF3F9D}"/>
              </c:ext>
            </c:extLst>
          </c:dPt>
          <c:dPt>
            <c:idx val="1177"/>
            <c:invertIfNegative val="1"/>
            <c:bubble3D val="0"/>
            <c:spPr>
              <a:solidFill>
                <a:srgbClr val="AEABAB"/>
              </a:solidFill>
            </c:spPr>
            <c:extLst>
              <c:ext xmlns:c16="http://schemas.microsoft.com/office/drawing/2014/chart" uri="{C3380CC4-5D6E-409C-BE32-E72D297353CC}">
                <c16:uniqueId val="{00000935-7BE2-49F1-B47F-64DDA7BF3F9D}"/>
              </c:ext>
            </c:extLst>
          </c:dPt>
          <c:dPt>
            <c:idx val="1178"/>
            <c:invertIfNegative val="1"/>
            <c:bubble3D val="0"/>
            <c:spPr>
              <a:solidFill>
                <a:srgbClr val="AEABAB"/>
              </a:solidFill>
            </c:spPr>
            <c:extLst>
              <c:ext xmlns:c16="http://schemas.microsoft.com/office/drawing/2014/chart" uri="{C3380CC4-5D6E-409C-BE32-E72D297353CC}">
                <c16:uniqueId val="{00000937-7BE2-49F1-B47F-64DDA7BF3F9D}"/>
              </c:ext>
            </c:extLst>
          </c:dPt>
          <c:dPt>
            <c:idx val="1179"/>
            <c:invertIfNegative val="1"/>
            <c:bubble3D val="0"/>
            <c:spPr>
              <a:solidFill>
                <a:srgbClr val="AEABAB"/>
              </a:solidFill>
            </c:spPr>
            <c:extLst>
              <c:ext xmlns:c16="http://schemas.microsoft.com/office/drawing/2014/chart" uri="{C3380CC4-5D6E-409C-BE32-E72D297353CC}">
                <c16:uniqueId val="{00000939-7BE2-49F1-B47F-64DDA7BF3F9D}"/>
              </c:ext>
            </c:extLst>
          </c:dPt>
          <c:dPt>
            <c:idx val="1180"/>
            <c:invertIfNegative val="1"/>
            <c:bubble3D val="0"/>
            <c:spPr>
              <a:solidFill>
                <a:srgbClr val="AEABAB"/>
              </a:solidFill>
            </c:spPr>
            <c:extLst>
              <c:ext xmlns:c16="http://schemas.microsoft.com/office/drawing/2014/chart" uri="{C3380CC4-5D6E-409C-BE32-E72D297353CC}">
                <c16:uniqueId val="{0000093B-7BE2-49F1-B47F-64DDA7BF3F9D}"/>
              </c:ext>
            </c:extLst>
          </c:dPt>
          <c:dPt>
            <c:idx val="1181"/>
            <c:invertIfNegative val="1"/>
            <c:bubble3D val="0"/>
            <c:spPr>
              <a:solidFill>
                <a:srgbClr val="AEABAB"/>
              </a:solidFill>
            </c:spPr>
            <c:extLst>
              <c:ext xmlns:c16="http://schemas.microsoft.com/office/drawing/2014/chart" uri="{C3380CC4-5D6E-409C-BE32-E72D297353CC}">
                <c16:uniqueId val="{0000093D-7BE2-49F1-B47F-64DDA7BF3F9D}"/>
              </c:ext>
            </c:extLst>
          </c:dPt>
          <c:dPt>
            <c:idx val="1182"/>
            <c:invertIfNegative val="1"/>
            <c:bubble3D val="0"/>
            <c:spPr>
              <a:solidFill>
                <a:srgbClr val="AEABAB"/>
              </a:solidFill>
            </c:spPr>
            <c:extLst>
              <c:ext xmlns:c16="http://schemas.microsoft.com/office/drawing/2014/chart" uri="{C3380CC4-5D6E-409C-BE32-E72D297353CC}">
                <c16:uniqueId val="{0000093F-7BE2-49F1-B47F-64DDA7BF3F9D}"/>
              </c:ext>
            </c:extLst>
          </c:dPt>
          <c:dPt>
            <c:idx val="1183"/>
            <c:invertIfNegative val="1"/>
            <c:bubble3D val="0"/>
            <c:spPr>
              <a:solidFill>
                <a:srgbClr val="AEABAB"/>
              </a:solidFill>
            </c:spPr>
            <c:extLst>
              <c:ext xmlns:c16="http://schemas.microsoft.com/office/drawing/2014/chart" uri="{C3380CC4-5D6E-409C-BE32-E72D297353CC}">
                <c16:uniqueId val="{00000941-7BE2-49F1-B47F-64DDA7BF3F9D}"/>
              </c:ext>
            </c:extLst>
          </c:dPt>
          <c:dPt>
            <c:idx val="1184"/>
            <c:invertIfNegative val="1"/>
            <c:bubble3D val="0"/>
            <c:spPr>
              <a:solidFill>
                <a:srgbClr val="AEABAB"/>
              </a:solidFill>
            </c:spPr>
            <c:extLst>
              <c:ext xmlns:c16="http://schemas.microsoft.com/office/drawing/2014/chart" uri="{C3380CC4-5D6E-409C-BE32-E72D297353CC}">
                <c16:uniqueId val="{00000943-7BE2-49F1-B47F-64DDA7BF3F9D}"/>
              </c:ext>
            </c:extLst>
          </c:dPt>
          <c:dPt>
            <c:idx val="1185"/>
            <c:invertIfNegative val="1"/>
            <c:bubble3D val="0"/>
            <c:spPr>
              <a:solidFill>
                <a:srgbClr val="AEABAB"/>
              </a:solidFill>
            </c:spPr>
            <c:extLst>
              <c:ext xmlns:c16="http://schemas.microsoft.com/office/drawing/2014/chart" uri="{C3380CC4-5D6E-409C-BE32-E72D297353CC}">
                <c16:uniqueId val="{00000945-7BE2-49F1-B47F-64DDA7BF3F9D}"/>
              </c:ext>
            </c:extLst>
          </c:dPt>
          <c:dPt>
            <c:idx val="1186"/>
            <c:invertIfNegative val="1"/>
            <c:bubble3D val="0"/>
            <c:spPr>
              <a:solidFill>
                <a:srgbClr val="AEABAB"/>
              </a:solidFill>
            </c:spPr>
            <c:extLst>
              <c:ext xmlns:c16="http://schemas.microsoft.com/office/drawing/2014/chart" uri="{C3380CC4-5D6E-409C-BE32-E72D297353CC}">
                <c16:uniqueId val="{00000947-7BE2-49F1-B47F-64DDA7BF3F9D}"/>
              </c:ext>
            </c:extLst>
          </c:dPt>
          <c:dPt>
            <c:idx val="1187"/>
            <c:invertIfNegative val="1"/>
            <c:bubble3D val="0"/>
            <c:spPr>
              <a:solidFill>
                <a:srgbClr val="AEABAB"/>
              </a:solidFill>
            </c:spPr>
            <c:extLst>
              <c:ext xmlns:c16="http://schemas.microsoft.com/office/drawing/2014/chart" uri="{C3380CC4-5D6E-409C-BE32-E72D297353CC}">
                <c16:uniqueId val="{00000949-7BE2-49F1-B47F-64DDA7BF3F9D}"/>
              </c:ext>
            </c:extLst>
          </c:dPt>
          <c:dPt>
            <c:idx val="1188"/>
            <c:invertIfNegative val="1"/>
            <c:bubble3D val="0"/>
            <c:spPr>
              <a:solidFill>
                <a:srgbClr val="AEABAB"/>
              </a:solidFill>
            </c:spPr>
            <c:extLst>
              <c:ext xmlns:c16="http://schemas.microsoft.com/office/drawing/2014/chart" uri="{C3380CC4-5D6E-409C-BE32-E72D297353CC}">
                <c16:uniqueId val="{0000094B-7BE2-49F1-B47F-64DDA7BF3F9D}"/>
              </c:ext>
            </c:extLst>
          </c:dPt>
          <c:dPt>
            <c:idx val="1189"/>
            <c:invertIfNegative val="1"/>
            <c:bubble3D val="0"/>
            <c:spPr>
              <a:solidFill>
                <a:srgbClr val="AEABAB"/>
              </a:solidFill>
            </c:spPr>
            <c:extLst>
              <c:ext xmlns:c16="http://schemas.microsoft.com/office/drawing/2014/chart" uri="{C3380CC4-5D6E-409C-BE32-E72D297353CC}">
                <c16:uniqueId val="{0000094D-7BE2-49F1-B47F-64DDA7BF3F9D}"/>
              </c:ext>
            </c:extLst>
          </c:dPt>
          <c:dPt>
            <c:idx val="1190"/>
            <c:invertIfNegative val="1"/>
            <c:bubble3D val="0"/>
            <c:spPr>
              <a:solidFill>
                <a:srgbClr val="AEABAB"/>
              </a:solidFill>
            </c:spPr>
            <c:extLst>
              <c:ext xmlns:c16="http://schemas.microsoft.com/office/drawing/2014/chart" uri="{C3380CC4-5D6E-409C-BE32-E72D297353CC}">
                <c16:uniqueId val="{0000094F-7BE2-49F1-B47F-64DDA7BF3F9D}"/>
              </c:ext>
            </c:extLst>
          </c:dPt>
          <c:dPt>
            <c:idx val="1191"/>
            <c:invertIfNegative val="1"/>
            <c:bubble3D val="0"/>
            <c:spPr>
              <a:solidFill>
                <a:srgbClr val="AEABAB"/>
              </a:solidFill>
            </c:spPr>
            <c:extLst>
              <c:ext xmlns:c16="http://schemas.microsoft.com/office/drawing/2014/chart" uri="{C3380CC4-5D6E-409C-BE32-E72D297353CC}">
                <c16:uniqueId val="{00000951-7BE2-49F1-B47F-64DDA7BF3F9D}"/>
              </c:ext>
            </c:extLst>
          </c:dPt>
          <c:dPt>
            <c:idx val="1192"/>
            <c:invertIfNegative val="1"/>
            <c:bubble3D val="0"/>
            <c:spPr>
              <a:solidFill>
                <a:srgbClr val="AEABAB"/>
              </a:solidFill>
            </c:spPr>
            <c:extLst>
              <c:ext xmlns:c16="http://schemas.microsoft.com/office/drawing/2014/chart" uri="{C3380CC4-5D6E-409C-BE32-E72D297353CC}">
                <c16:uniqueId val="{00000953-7BE2-49F1-B47F-64DDA7BF3F9D}"/>
              </c:ext>
            </c:extLst>
          </c:dPt>
          <c:dPt>
            <c:idx val="1193"/>
            <c:invertIfNegative val="1"/>
            <c:bubble3D val="0"/>
            <c:spPr>
              <a:solidFill>
                <a:srgbClr val="AEABAB"/>
              </a:solidFill>
            </c:spPr>
            <c:extLst>
              <c:ext xmlns:c16="http://schemas.microsoft.com/office/drawing/2014/chart" uri="{C3380CC4-5D6E-409C-BE32-E72D297353CC}">
                <c16:uniqueId val="{00000955-7BE2-49F1-B47F-64DDA7BF3F9D}"/>
              </c:ext>
            </c:extLst>
          </c:dPt>
          <c:dPt>
            <c:idx val="1194"/>
            <c:invertIfNegative val="1"/>
            <c:bubble3D val="0"/>
            <c:spPr>
              <a:solidFill>
                <a:srgbClr val="AEABAB"/>
              </a:solidFill>
            </c:spPr>
            <c:extLst>
              <c:ext xmlns:c16="http://schemas.microsoft.com/office/drawing/2014/chart" uri="{C3380CC4-5D6E-409C-BE32-E72D297353CC}">
                <c16:uniqueId val="{00000957-7BE2-49F1-B47F-64DDA7BF3F9D}"/>
              </c:ext>
            </c:extLst>
          </c:dPt>
          <c:dPt>
            <c:idx val="1195"/>
            <c:invertIfNegative val="1"/>
            <c:bubble3D val="0"/>
            <c:spPr>
              <a:solidFill>
                <a:srgbClr val="AEABAB"/>
              </a:solidFill>
            </c:spPr>
            <c:extLst>
              <c:ext xmlns:c16="http://schemas.microsoft.com/office/drawing/2014/chart" uri="{C3380CC4-5D6E-409C-BE32-E72D297353CC}">
                <c16:uniqueId val="{00000959-7BE2-49F1-B47F-64DDA7BF3F9D}"/>
              </c:ext>
            </c:extLst>
          </c:dPt>
          <c:dPt>
            <c:idx val="1196"/>
            <c:invertIfNegative val="1"/>
            <c:bubble3D val="0"/>
            <c:spPr>
              <a:solidFill>
                <a:srgbClr val="AEABAB"/>
              </a:solidFill>
            </c:spPr>
            <c:extLst>
              <c:ext xmlns:c16="http://schemas.microsoft.com/office/drawing/2014/chart" uri="{C3380CC4-5D6E-409C-BE32-E72D297353CC}">
                <c16:uniqueId val="{0000095B-7BE2-49F1-B47F-64DDA7BF3F9D}"/>
              </c:ext>
            </c:extLst>
          </c:dPt>
          <c:dPt>
            <c:idx val="1197"/>
            <c:invertIfNegative val="1"/>
            <c:bubble3D val="0"/>
            <c:spPr>
              <a:solidFill>
                <a:srgbClr val="AEABAB"/>
              </a:solidFill>
            </c:spPr>
            <c:extLst>
              <c:ext xmlns:c16="http://schemas.microsoft.com/office/drawing/2014/chart" uri="{C3380CC4-5D6E-409C-BE32-E72D297353CC}">
                <c16:uniqueId val="{0000095D-7BE2-49F1-B47F-64DDA7BF3F9D}"/>
              </c:ext>
            </c:extLst>
          </c:dPt>
          <c:dPt>
            <c:idx val="1198"/>
            <c:invertIfNegative val="1"/>
            <c:bubble3D val="0"/>
            <c:spPr>
              <a:solidFill>
                <a:srgbClr val="AEABAB"/>
              </a:solidFill>
            </c:spPr>
            <c:extLst>
              <c:ext xmlns:c16="http://schemas.microsoft.com/office/drawing/2014/chart" uri="{C3380CC4-5D6E-409C-BE32-E72D297353CC}">
                <c16:uniqueId val="{0000095F-7BE2-49F1-B47F-64DDA7BF3F9D}"/>
              </c:ext>
            </c:extLst>
          </c:dPt>
          <c:dPt>
            <c:idx val="1199"/>
            <c:invertIfNegative val="1"/>
            <c:bubble3D val="0"/>
            <c:spPr>
              <a:solidFill>
                <a:srgbClr val="AEABAB"/>
              </a:solidFill>
            </c:spPr>
            <c:extLst>
              <c:ext xmlns:c16="http://schemas.microsoft.com/office/drawing/2014/chart" uri="{C3380CC4-5D6E-409C-BE32-E72D297353CC}">
                <c16:uniqueId val="{00000961-7BE2-49F1-B47F-64DDA7BF3F9D}"/>
              </c:ext>
            </c:extLst>
          </c:dPt>
          <c:dPt>
            <c:idx val="1200"/>
            <c:invertIfNegative val="1"/>
            <c:bubble3D val="0"/>
            <c:spPr>
              <a:solidFill>
                <a:srgbClr val="AEABAB"/>
              </a:solidFill>
            </c:spPr>
            <c:extLst>
              <c:ext xmlns:c16="http://schemas.microsoft.com/office/drawing/2014/chart" uri="{C3380CC4-5D6E-409C-BE32-E72D297353CC}">
                <c16:uniqueId val="{00000963-7BE2-49F1-B47F-64DDA7BF3F9D}"/>
              </c:ext>
            </c:extLst>
          </c:dPt>
          <c:dPt>
            <c:idx val="1201"/>
            <c:invertIfNegative val="1"/>
            <c:bubble3D val="0"/>
            <c:spPr>
              <a:solidFill>
                <a:srgbClr val="AEABAB"/>
              </a:solidFill>
            </c:spPr>
            <c:extLst>
              <c:ext xmlns:c16="http://schemas.microsoft.com/office/drawing/2014/chart" uri="{C3380CC4-5D6E-409C-BE32-E72D297353CC}">
                <c16:uniqueId val="{00000965-7BE2-49F1-B47F-64DDA7BF3F9D}"/>
              </c:ext>
            </c:extLst>
          </c:dPt>
          <c:dPt>
            <c:idx val="1202"/>
            <c:invertIfNegative val="1"/>
            <c:bubble3D val="0"/>
            <c:spPr>
              <a:solidFill>
                <a:srgbClr val="AEABAB"/>
              </a:solidFill>
            </c:spPr>
            <c:extLst>
              <c:ext xmlns:c16="http://schemas.microsoft.com/office/drawing/2014/chart" uri="{C3380CC4-5D6E-409C-BE32-E72D297353CC}">
                <c16:uniqueId val="{00000967-7BE2-49F1-B47F-64DDA7BF3F9D}"/>
              </c:ext>
            </c:extLst>
          </c:dPt>
          <c:dPt>
            <c:idx val="1203"/>
            <c:invertIfNegative val="1"/>
            <c:bubble3D val="0"/>
            <c:spPr>
              <a:solidFill>
                <a:srgbClr val="AEABAB"/>
              </a:solidFill>
            </c:spPr>
            <c:extLst>
              <c:ext xmlns:c16="http://schemas.microsoft.com/office/drawing/2014/chart" uri="{C3380CC4-5D6E-409C-BE32-E72D297353CC}">
                <c16:uniqueId val="{00000969-7BE2-49F1-B47F-64DDA7BF3F9D}"/>
              </c:ext>
            </c:extLst>
          </c:dPt>
          <c:dPt>
            <c:idx val="1204"/>
            <c:invertIfNegative val="1"/>
            <c:bubble3D val="0"/>
            <c:spPr>
              <a:solidFill>
                <a:srgbClr val="AEABAB"/>
              </a:solidFill>
            </c:spPr>
            <c:extLst>
              <c:ext xmlns:c16="http://schemas.microsoft.com/office/drawing/2014/chart" uri="{C3380CC4-5D6E-409C-BE32-E72D297353CC}">
                <c16:uniqueId val="{0000096B-7BE2-49F1-B47F-64DDA7BF3F9D}"/>
              </c:ext>
            </c:extLst>
          </c:dPt>
          <c:dPt>
            <c:idx val="1205"/>
            <c:invertIfNegative val="1"/>
            <c:bubble3D val="0"/>
            <c:spPr>
              <a:solidFill>
                <a:srgbClr val="AEABAB"/>
              </a:solidFill>
            </c:spPr>
            <c:extLst>
              <c:ext xmlns:c16="http://schemas.microsoft.com/office/drawing/2014/chart" uri="{C3380CC4-5D6E-409C-BE32-E72D297353CC}">
                <c16:uniqueId val="{0000096D-7BE2-49F1-B47F-64DDA7BF3F9D}"/>
              </c:ext>
            </c:extLst>
          </c:dPt>
          <c:dPt>
            <c:idx val="1206"/>
            <c:invertIfNegative val="1"/>
            <c:bubble3D val="0"/>
            <c:spPr>
              <a:solidFill>
                <a:srgbClr val="AEABAB"/>
              </a:solidFill>
            </c:spPr>
            <c:extLst>
              <c:ext xmlns:c16="http://schemas.microsoft.com/office/drawing/2014/chart" uri="{C3380CC4-5D6E-409C-BE32-E72D297353CC}">
                <c16:uniqueId val="{0000096F-7BE2-49F1-B47F-64DDA7BF3F9D}"/>
              </c:ext>
            </c:extLst>
          </c:dPt>
          <c:dPt>
            <c:idx val="1207"/>
            <c:invertIfNegative val="1"/>
            <c:bubble3D val="0"/>
            <c:spPr>
              <a:solidFill>
                <a:srgbClr val="AEABAB"/>
              </a:solidFill>
            </c:spPr>
            <c:extLst>
              <c:ext xmlns:c16="http://schemas.microsoft.com/office/drawing/2014/chart" uri="{C3380CC4-5D6E-409C-BE32-E72D297353CC}">
                <c16:uniqueId val="{00000971-7BE2-49F1-B47F-64DDA7BF3F9D}"/>
              </c:ext>
            </c:extLst>
          </c:dPt>
          <c:dPt>
            <c:idx val="1208"/>
            <c:invertIfNegative val="1"/>
            <c:bubble3D val="0"/>
            <c:spPr>
              <a:solidFill>
                <a:srgbClr val="AEABAB"/>
              </a:solidFill>
            </c:spPr>
            <c:extLst>
              <c:ext xmlns:c16="http://schemas.microsoft.com/office/drawing/2014/chart" uri="{C3380CC4-5D6E-409C-BE32-E72D297353CC}">
                <c16:uniqueId val="{00000973-7BE2-49F1-B47F-64DDA7BF3F9D}"/>
              </c:ext>
            </c:extLst>
          </c:dPt>
          <c:dPt>
            <c:idx val="1209"/>
            <c:invertIfNegative val="1"/>
            <c:bubble3D val="0"/>
            <c:spPr>
              <a:solidFill>
                <a:srgbClr val="AEABAB"/>
              </a:solidFill>
            </c:spPr>
            <c:extLst>
              <c:ext xmlns:c16="http://schemas.microsoft.com/office/drawing/2014/chart" uri="{C3380CC4-5D6E-409C-BE32-E72D297353CC}">
                <c16:uniqueId val="{00000975-7BE2-49F1-B47F-64DDA7BF3F9D}"/>
              </c:ext>
            </c:extLst>
          </c:dPt>
          <c:dPt>
            <c:idx val="1210"/>
            <c:invertIfNegative val="1"/>
            <c:bubble3D val="0"/>
            <c:spPr>
              <a:solidFill>
                <a:srgbClr val="AEABAB"/>
              </a:solidFill>
            </c:spPr>
            <c:extLst>
              <c:ext xmlns:c16="http://schemas.microsoft.com/office/drawing/2014/chart" uri="{C3380CC4-5D6E-409C-BE32-E72D297353CC}">
                <c16:uniqueId val="{00000977-7BE2-49F1-B47F-64DDA7BF3F9D}"/>
              </c:ext>
            </c:extLst>
          </c:dPt>
          <c:dPt>
            <c:idx val="1211"/>
            <c:invertIfNegative val="1"/>
            <c:bubble3D val="0"/>
            <c:spPr>
              <a:solidFill>
                <a:srgbClr val="AEABAB"/>
              </a:solidFill>
            </c:spPr>
            <c:extLst>
              <c:ext xmlns:c16="http://schemas.microsoft.com/office/drawing/2014/chart" uri="{C3380CC4-5D6E-409C-BE32-E72D297353CC}">
                <c16:uniqueId val="{00000979-7BE2-49F1-B47F-64DDA7BF3F9D}"/>
              </c:ext>
            </c:extLst>
          </c:dPt>
          <c:dPt>
            <c:idx val="1212"/>
            <c:invertIfNegative val="1"/>
            <c:bubble3D val="0"/>
            <c:spPr>
              <a:solidFill>
                <a:srgbClr val="AEABAB"/>
              </a:solidFill>
            </c:spPr>
            <c:extLst>
              <c:ext xmlns:c16="http://schemas.microsoft.com/office/drawing/2014/chart" uri="{C3380CC4-5D6E-409C-BE32-E72D297353CC}">
                <c16:uniqueId val="{0000097B-7BE2-49F1-B47F-64DDA7BF3F9D}"/>
              </c:ext>
            </c:extLst>
          </c:dPt>
          <c:dPt>
            <c:idx val="1213"/>
            <c:invertIfNegative val="1"/>
            <c:bubble3D val="0"/>
            <c:spPr>
              <a:solidFill>
                <a:srgbClr val="AEABAB"/>
              </a:solidFill>
            </c:spPr>
            <c:extLst>
              <c:ext xmlns:c16="http://schemas.microsoft.com/office/drawing/2014/chart" uri="{C3380CC4-5D6E-409C-BE32-E72D297353CC}">
                <c16:uniqueId val="{0000097D-7BE2-49F1-B47F-64DDA7BF3F9D}"/>
              </c:ext>
            </c:extLst>
          </c:dPt>
          <c:dPt>
            <c:idx val="1214"/>
            <c:invertIfNegative val="1"/>
            <c:bubble3D val="0"/>
            <c:spPr>
              <a:solidFill>
                <a:srgbClr val="AEABAB"/>
              </a:solidFill>
            </c:spPr>
            <c:extLst>
              <c:ext xmlns:c16="http://schemas.microsoft.com/office/drawing/2014/chart" uri="{C3380CC4-5D6E-409C-BE32-E72D297353CC}">
                <c16:uniqueId val="{0000097F-7BE2-49F1-B47F-64DDA7BF3F9D}"/>
              </c:ext>
            </c:extLst>
          </c:dPt>
          <c:dPt>
            <c:idx val="1215"/>
            <c:invertIfNegative val="1"/>
            <c:bubble3D val="0"/>
            <c:spPr>
              <a:solidFill>
                <a:srgbClr val="AEABAB"/>
              </a:solidFill>
            </c:spPr>
            <c:extLst>
              <c:ext xmlns:c16="http://schemas.microsoft.com/office/drawing/2014/chart" uri="{C3380CC4-5D6E-409C-BE32-E72D297353CC}">
                <c16:uniqueId val="{00000981-7BE2-49F1-B47F-64DDA7BF3F9D}"/>
              </c:ext>
            </c:extLst>
          </c:dPt>
          <c:dPt>
            <c:idx val="1216"/>
            <c:invertIfNegative val="1"/>
            <c:bubble3D val="0"/>
            <c:spPr>
              <a:solidFill>
                <a:srgbClr val="AEABAB"/>
              </a:solidFill>
            </c:spPr>
            <c:extLst>
              <c:ext xmlns:c16="http://schemas.microsoft.com/office/drawing/2014/chart" uri="{C3380CC4-5D6E-409C-BE32-E72D297353CC}">
                <c16:uniqueId val="{00000983-7BE2-49F1-B47F-64DDA7BF3F9D}"/>
              </c:ext>
            </c:extLst>
          </c:dPt>
          <c:dPt>
            <c:idx val="1217"/>
            <c:invertIfNegative val="1"/>
            <c:bubble3D val="0"/>
            <c:spPr>
              <a:solidFill>
                <a:srgbClr val="AEABAB"/>
              </a:solidFill>
            </c:spPr>
            <c:extLst>
              <c:ext xmlns:c16="http://schemas.microsoft.com/office/drawing/2014/chart" uri="{C3380CC4-5D6E-409C-BE32-E72D297353CC}">
                <c16:uniqueId val="{00000985-7BE2-49F1-B47F-64DDA7BF3F9D}"/>
              </c:ext>
            </c:extLst>
          </c:dPt>
          <c:dPt>
            <c:idx val="1218"/>
            <c:invertIfNegative val="1"/>
            <c:bubble3D val="0"/>
            <c:spPr>
              <a:solidFill>
                <a:srgbClr val="AEABAB"/>
              </a:solidFill>
            </c:spPr>
            <c:extLst>
              <c:ext xmlns:c16="http://schemas.microsoft.com/office/drawing/2014/chart" uri="{C3380CC4-5D6E-409C-BE32-E72D297353CC}">
                <c16:uniqueId val="{00000987-7BE2-49F1-B47F-64DDA7BF3F9D}"/>
              </c:ext>
            </c:extLst>
          </c:dPt>
          <c:dPt>
            <c:idx val="1219"/>
            <c:invertIfNegative val="1"/>
            <c:bubble3D val="0"/>
            <c:spPr>
              <a:solidFill>
                <a:srgbClr val="AEABAB"/>
              </a:solidFill>
            </c:spPr>
            <c:extLst>
              <c:ext xmlns:c16="http://schemas.microsoft.com/office/drawing/2014/chart" uri="{C3380CC4-5D6E-409C-BE32-E72D297353CC}">
                <c16:uniqueId val="{00000989-7BE2-49F1-B47F-64DDA7BF3F9D}"/>
              </c:ext>
            </c:extLst>
          </c:dPt>
          <c:dPt>
            <c:idx val="1220"/>
            <c:invertIfNegative val="1"/>
            <c:bubble3D val="0"/>
            <c:spPr>
              <a:solidFill>
                <a:srgbClr val="AEABAB"/>
              </a:solidFill>
            </c:spPr>
            <c:extLst>
              <c:ext xmlns:c16="http://schemas.microsoft.com/office/drawing/2014/chart" uri="{C3380CC4-5D6E-409C-BE32-E72D297353CC}">
                <c16:uniqueId val="{0000098B-7BE2-49F1-B47F-64DDA7BF3F9D}"/>
              </c:ext>
            </c:extLst>
          </c:dPt>
          <c:dPt>
            <c:idx val="1221"/>
            <c:invertIfNegative val="1"/>
            <c:bubble3D val="0"/>
            <c:spPr>
              <a:solidFill>
                <a:srgbClr val="AEABAB"/>
              </a:solidFill>
            </c:spPr>
            <c:extLst>
              <c:ext xmlns:c16="http://schemas.microsoft.com/office/drawing/2014/chart" uri="{C3380CC4-5D6E-409C-BE32-E72D297353CC}">
                <c16:uniqueId val="{0000098D-7BE2-49F1-B47F-64DDA7BF3F9D}"/>
              </c:ext>
            </c:extLst>
          </c:dPt>
          <c:dPt>
            <c:idx val="1222"/>
            <c:invertIfNegative val="1"/>
            <c:bubble3D val="0"/>
            <c:spPr>
              <a:solidFill>
                <a:srgbClr val="AEABAB"/>
              </a:solidFill>
            </c:spPr>
            <c:extLst>
              <c:ext xmlns:c16="http://schemas.microsoft.com/office/drawing/2014/chart" uri="{C3380CC4-5D6E-409C-BE32-E72D297353CC}">
                <c16:uniqueId val="{0000098F-7BE2-49F1-B47F-64DDA7BF3F9D}"/>
              </c:ext>
            </c:extLst>
          </c:dPt>
          <c:dPt>
            <c:idx val="1223"/>
            <c:invertIfNegative val="1"/>
            <c:bubble3D val="0"/>
            <c:spPr>
              <a:solidFill>
                <a:srgbClr val="AEABAB"/>
              </a:solidFill>
            </c:spPr>
            <c:extLst>
              <c:ext xmlns:c16="http://schemas.microsoft.com/office/drawing/2014/chart" uri="{C3380CC4-5D6E-409C-BE32-E72D297353CC}">
                <c16:uniqueId val="{00000991-7BE2-49F1-B47F-64DDA7BF3F9D}"/>
              </c:ext>
            </c:extLst>
          </c:dPt>
          <c:dPt>
            <c:idx val="1224"/>
            <c:invertIfNegative val="1"/>
            <c:bubble3D val="0"/>
            <c:spPr>
              <a:solidFill>
                <a:srgbClr val="AEABAB"/>
              </a:solidFill>
            </c:spPr>
            <c:extLst>
              <c:ext xmlns:c16="http://schemas.microsoft.com/office/drawing/2014/chart" uri="{C3380CC4-5D6E-409C-BE32-E72D297353CC}">
                <c16:uniqueId val="{00000993-7BE2-49F1-B47F-64DDA7BF3F9D}"/>
              </c:ext>
            </c:extLst>
          </c:dPt>
          <c:dPt>
            <c:idx val="1225"/>
            <c:invertIfNegative val="1"/>
            <c:bubble3D val="0"/>
            <c:spPr>
              <a:solidFill>
                <a:srgbClr val="AEABAB"/>
              </a:solidFill>
            </c:spPr>
            <c:extLst>
              <c:ext xmlns:c16="http://schemas.microsoft.com/office/drawing/2014/chart" uri="{C3380CC4-5D6E-409C-BE32-E72D297353CC}">
                <c16:uniqueId val="{00000995-7BE2-49F1-B47F-64DDA7BF3F9D}"/>
              </c:ext>
            </c:extLst>
          </c:dPt>
          <c:dPt>
            <c:idx val="1226"/>
            <c:invertIfNegative val="1"/>
            <c:bubble3D val="0"/>
            <c:spPr>
              <a:solidFill>
                <a:srgbClr val="AEABAB"/>
              </a:solidFill>
            </c:spPr>
            <c:extLst>
              <c:ext xmlns:c16="http://schemas.microsoft.com/office/drawing/2014/chart" uri="{C3380CC4-5D6E-409C-BE32-E72D297353CC}">
                <c16:uniqueId val="{00000997-7BE2-49F1-B47F-64DDA7BF3F9D}"/>
              </c:ext>
            </c:extLst>
          </c:dPt>
          <c:dPt>
            <c:idx val="1227"/>
            <c:invertIfNegative val="1"/>
            <c:bubble3D val="0"/>
            <c:spPr>
              <a:solidFill>
                <a:srgbClr val="AEABAB"/>
              </a:solidFill>
            </c:spPr>
            <c:extLst>
              <c:ext xmlns:c16="http://schemas.microsoft.com/office/drawing/2014/chart" uri="{C3380CC4-5D6E-409C-BE32-E72D297353CC}">
                <c16:uniqueId val="{00000999-7BE2-49F1-B47F-64DDA7BF3F9D}"/>
              </c:ext>
            </c:extLst>
          </c:dPt>
          <c:dPt>
            <c:idx val="1228"/>
            <c:invertIfNegative val="1"/>
            <c:bubble3D val="0"/>
            <c:spPr>
              <a:solidFill>
                <a:srgbClr val="AEABAB"/>
              </a:solidFill>
            </c:spPr>
            <c:extLst>
              <c:ext xmlns:c16="http://schemas.microsoft.com/office/drawing/2014/chart" uri="{C3380CC4-5D6E-409C-BE32-E72D297353CC}">
                <c16:uniqueId val="{0000099B-7BE2-49F1-B47F-64DDA7BF3F9D}"/>
              </c:ext>
            </c:extLst>
          </c:dPt>
          <c:dPt>
            <c:idx val="1229"/>
            <c:invertIfNegative val="1"/>
            <c:bubble3D val="0"/>
            <c:spPr>
              <a:solidFill>
                <a:srgbClr val="AEABAB"/>
              </a:solidFill>
            </c:spPr>
            <c:extLst>
              <c:ext xmlns:c16="http://schemas.microsoft.com/office/drawing/2014/chart" uri="{C3380CC4-5D6E-409C-BE32-E72D297353CC}">
                <c16:uniqueId val="{0000099D-7BE2-49F1-B47F-64DDA7BF3F9D}"/>
              </c:ext>
            </c:extLst>
          </c:dPt>
          <c:dPt>
            <c:idx val="1230"/>
            <c:invertIfNegative val="1"/>
            <c:bubble3D val="0"/>
            <c:spPr>
              <a:solidFill>
                <a:srgbClr val="AEABAB"/>
              </a:solidFill>
            </c:spPr>
            <c:extLst>
              <c:ext xmlns:c16="http://schemas.microsoft.com/office/drawing/2014/chart" uri="{C3380CC4-5D6E-409C-BE32-E72D297353CC}">
                <c16:uniqueId val="{0000099F-7BE2-49F1-B47F-64DDA7BF3F9D}"/>
              </c:ext>
            </c:extLst>
          </c:dPt>
          <c:dPt>
            <c:idx val="1231"/>
            <c:invertIfNegative val="1"/>
            <c:bubble3D val="0"/>
            <c:spPr>
              <a:solidFill>
                <a:srgbClr val="AEABAB"/>
              </a:solidFill>
            </c:spPr>
            <c:extLst>
              <c:ext xmlns:c16="http://schemas.microsoft.com/office/drawing/2014/chart" uri="{C3380CC4-5D6E-409C-BE32-E72D297353CC}">
                <c16:uniqueId val="{000009A1-7BE2-49F1-B47F-64DDA7BF3F9D}"/>
              </c:ext>
            </c:extLst>
          </c:dPt>
          <c:dPt>
            <c:idx val="1232"/>
            <c:invertIfNegative val="1"/>
            <c:bubble3D val="0"/>
            <c:spPr>
              <a:solidFill>
                <a:srgbClr val="AEABAB"/>
              </a:solidFill>
            </c:spPr>
            <c:extLst>
              <c:ext xmlns:c16="http://schemas.microsoft.com/office/drawing/2014/chart" uri="{C3380CC4-5D6E-409C-BE32-E72D297353CC}">
                <c16:uniqueId val="{000009A3-7BE2-49F1-B47F-64DDA7BF3F9D}"/>
              </c:ext>
            </c:extLst>
          </c:dPt>
          <c:dPt>
            <c:idx val="1233"/>
            <c:invertIfNegative val="1"/>
            <c:bubble3D val="0"/>
            <c:spPr>
              <a:solidFill>
                <a:srgbClr val="AEABAB"/>
              </a:solidFill>
            </c:spPr>
            <c:extLst>
              <c:ext xmlns:c16="http://schemas.microsoft.com/office/drawing/2014/chart" uri="{C3380CC4-5D6E-409C-BE32-E72D297353CC}">
                <c16:uniqueId val="{000009A5-7BE2-49F1-B47F-64DDA7BF3F9D}"/>
              </c:ext>
            </c:extLst>
          </c:dPt>
          <c:dPt>
            <c:idx val="1234"/>
            <c:invertIfNegative val="1"/>
            <c:bubble3D val="0"/>
            <c:spPr>
              <a:solidFill>
                <a:srgbClr val="AEABAB"/>
              </a:solidFill>
            </c:spPr>
            <c:extLst>
              <c:ext xmlns:c16="http://schemas.microsoft.com/office/drawing/2014/chart" uri="{C3380CC4-5D6E-409C-BE32-E72D297353CC}">
                <c16:uniqueId val="{000009A7-7BE2-49F1-B47F-64DDA7BF3F9D}"/>
              </c:ext>
            </c:extLst>
          </c:dPt>
          <c:dPt>
            <c:idx val="1235"/>
            <c:invertIfNegative val="1"/>
            <c:bubble3D val="0"/>
            <c:spPr>
              <a:solidFill>
                <a:srgbClr val="AEABAB"/>
              </a:solidFill>
            </c:spPr>
            <c:extLst>
              <c:ext xmlns:c16="http://schemas.microsoft.com/office/drawing/2014/chart" uri="{C3380CC4-5D6E-409C-BE32-E72D297353CC}">
                <c16:uniqueId val="{000009A9-7BE2-49F1-B47F-64DDA7BF3F9D}"/>
              </c:ext>
            </c:extLst>
          </c:dPt>
          <c:dPt>
            <c:idx val="1236"/>
            <c:invertIfNegative val="1"/>
            <c:bubble3D val="0"/>
            <c:spPr>
              <a:solidFill>
                <a:srgbClr val="AEABAB"/>
              </a:solidFill>
            </c:spPr>
            <c:extLst>
              <c:ext xmlns:c16="http://schemas.microsoft.com/office/drawing/2014/chart" uri="{C3380CC4-5D6E-409C-BE32-E72D297353CC}">
                <c16:uniqueId val="{000009AB-7BE2-49F1-B47F-64DDA7BF3F9D}"/>
              </c:ext>
            </c:extLst>
          </c:dPt>
          <c:dPt>
            <c:idx val="1237"/>
            <c:invertIfNegative val="1"/>
            <c:bubble3D val="0"/>
            <c:spPr>
              <a:solidFill>
                <a:srgbClr val="AEABAB"/>
              </a:solidFill>
            </c:spPr>
            <c:extLst>
              <c:ext xmlns:c16="http://schemas.microsoft.com/office/drawing/2014/chart" uri="{C3380CC4-5D6E-409C-BE32-E72D297353CC}">
                <c16:uniqueId val="{000009AD-7BE2-49F1-B47F-64DDA7BF3F9D}"/>
              </c:ext>
            </c:extLst>
          </c:dPt>
          <c:dPt>
            <c:idx val="1238"/>
            <c:invertIfNegative val="1"/>
            <c:bubble3D val="0"/>
            <c:spPr>
              <a:solidFill>
                <a:srgbClr val="AEABAB"/>
              </a:solidFill>
            </c:spPr>
            <c:extLst>
              <c:ext xmlns:c16="http://schemas.microsoft.com/office/drawing/2014/chart" uri="{C3380CC4-5D6E-409C-BE32-E72D297353CC}">
                <c16:uniqueId val="{000009AF-7BE2-49F1-B47F-64DDA7BF3F9D}"/>
              </c:ext>
            </c:extLst>
          </c:dPt>
          <c:dPt>
            <c:idx val="1239"/>
            <c:invertIfNegative val="1"/>
            <c:bubble3D val="0"/>
            <c:spPr>
              <a:solidFill>
                <a:srgbClr val="AEABAB"/>
              </a:solidFill>
            </c:spPr>
            <c:extLst>
              <c:ext xmlns:c16="http://schemas.microsoft.com/office/drawing/2014/chart" uri="{C3380CC4-5D6E-409C-BE32-E72D297353CC}">
                <c16:uniqueId val="{000009B1-7BE2-49F1-B47F-64DDA7BF3F9D}"/>
              </c:ext>
            </c:extLst>
          </c:dPt>
          <c:dPt>
            <c:idx val="1240"/>
            <c:invertIfNegative val="1"/>
            <c:bubble3D val="0"/>
            <c:spPr>
              <a:solidFill>
                <a:srgbClr val="AEABAB"/>
              </a:solidFill>
            </c:spPr>
            <c:extLst>
              <c:ext xmlns:c16="http://schemas.microsoft.com/office/drawing/2014/chart" uri="{C3380CC4-5D6E-409C-BE32-E72D297353CC}">
                <c16:uniqueId val="{000009B3-7BE2-49F1-B47F-64DDA7BF3F9D}"/>
              </c:ext>
            </c:extLst>
          </c:dPt>
          <c:dPt>
            <c:idx val="1241"/>
            <c:invertIfNegative val="1"/>
            <c:bubble3D val="0"/>
            <c:spPr>
              <a:solidFill>
                <a:srgbClr val="AEABAB"/>
              </a:solidFill>
            </c:spPr>
            <c:extLst>
              <c:ext xmlns:c16="http://schemas.microsoft.com/office/drawing/2014/chart" uri="{C3380CC4-5D6E-409C-BE32-E72D297353CC}">
                <c16:uniqueId val="{000009B5-7BE2-49F1-B47F-64DDA7BF3F9D}"/>
              </c:ext>
            </c:extLst>
          </c:dPt>
          <c:dPt>
            <c:idx val="1242"/>
            <c:invertIfNegative val="1"/>
            <c:bubble3D val="0"/>
            <c:spPr>
              <a:solidFill>
                <a:srgbClr val="AEABAB"/>
              </a:solidFill>
            </c:spPr>
            <c:extLst>
              <c:ext xmlns:c16="http://schemas.microsoft.com/office/drawing/2014/chart" uri="{C3380CC4-5D6E-409C-BE32-E72D297353CC}">
                <c16:uniqueId val="{000009B7-7BE2-49F1-B47F-64DDA7BF3F9D}"/>
              </c:ext>
            </c:extLst>
          </c:dPt>
          <c:dPt>
            <c:idx val="1243"/>
            <c:invertIfNegative val="1"/>
            <c:bubble3D val="0"/>
            <c:spPr>
              <a:solidFill>
                <a:srgbClr val="AEABAB"/>
              </a:solidFill>
            </c:spPr>
            <c:extLst>
              <c:ext xmlns:c16="http://schemas.microsoft.com/office/drawing/2014/chart" uri="{C3380CC4-5D6E-409C-BE32-E72D297353CC}">
                <c16:uniqueId val="{000009B9-7BE2-49F1-B47F-64DDA7BF3F9D}"/>
              </c:ext>
            </c:extLst>
          </c:dPt>
          <c:dPt>
            <c:idx val="1244"/>
            <c:invertIfNegative val="1"/>
            <c:bubble3D val="0"/>
            <c:spPr>
              <a:solidFill>
                <a:srgbClr val="AEABAB"/>
              </a:solidFill>
            </c:spPr>
            <c:extLst>
              <c:ext xmlns:c16="http://schemas.microsoft.com/office/drawing/2014/chart" uri="{C3380CC4-5D6E-409C-BE32-E72D297353CC}">
                <c16:uniqueId val="{000009BB-7BE2-49F1-B47F-64DDA7BF3F9D}"/>
              </c:ext>
            </c:extLst>
          </c:dPt>
          <c:dPt>
            <c:idx val="1245"/>
            <c:invertIfNegative val="1"/>
            <c:bubble3D val="0"/>
            <c:spPr>
              <a:solidFill>
                <a:srgbClr val="AEABAB"/>
              </a:solidFill>
            </c:spPr>
            <c:extLst>
              <c:ext xmlns:c16="http://schemas.microsoft.com/office/drawing/2014/chart" uri="{C3380CC4-5D6E-409C-BE32-E72D297353CC}">
                <c16:uniqueId val="{000009BD-7BE2-49F1-B47F-64DDA7BF3F9D}"/>
              </c:ext>
            </c:extLst>
          </c:dPt>
          <c:dPt>
            <c:idx val="1246"/>
            <c:invertIfNegative val="1"/>
            <c:bubble3D val="0"/>
            <c:spPr>
              <a:solidFill>
                <a:srgbClr val="AEABAB"/>
              </a:solidFill>
            </c:spPr>
            <c:extLst>
              <c:ext xmlns:c16="http://schemas.microsoft.com/office/drawing/2014/chart" uri="{C3380CC4-5D6E-409C-BE32-E72D297353CC}">
                <c16:uniqueId val="{000009BF-7BE2-49F1-B47F-64DDA7BF3F9D}"/>
              </c:ext>
            </c:extLst>
          </c:dPt>
          <c:dPt>
            <c:idx val="1247"/>
            <c:invertIfNegative val="1"/>
            <c:bubble3D val="0"/>
            <c:spPr>
              <a:solidFill>
                <a:srgbClr val="AEABAB"/>
              </a:solidFill>
            </c:spPr>
            <c:extLst>
              <c:ext xmlns:c16="http://schemas.microsoft.com/office/drawing/2014/chart" uri="{C3380CC4-5D6E-409C-BE32-E72D297353CC}">
                <c16:uniqueId val="{000009C1-7BE2-49F1-B47F-64DDA7BF3F9D}"/>
              </c:ext>
            </c:extLst>
          </c:dPt>
          <c:dPt>
            <c:idx val="1248"/>
            <c:invertIfNegative val="1"/>
            <c:bubble3D val="0"/>
            <c:spPr>
              <a:solidFill>
                <a:srgbClr val="AEABAB"/>
              </a:solidFill>
            </c:spPr>
            <c:extLst>
              <c:ext xmlns:c16="http://schemas.microsoft.com/office/drawing/2014/chart" uri="{C3380CC4-5D6E-409C-BE32-E72D297353CC}">
                <c16:uniqueId val="{000009C3-7BE2-49F1-B47F-64DDA7BF3F9D}"/>
              </c:ext>
            </c:extLst>
          </c:dPt>
          <c:dPt>
            <c:idx val="1249"/>
            <c:invertIfNegative val="1"/>
            <c:bubble3D val="0"/>
            <c:spPr>
              <a:solidFill>
                <a:srgbClr val="AEABAB"/>
              </a:solidFill>
            </c:spPr>
            <c:extLst>
              <c:ext xmlns:c16="http://schemas.microsoft.com/office/drawing/2014/chart" uri="{C3380CC4-5D6E-409C-BE32-E72D297353CC}">
                <c16:uniqueId val="{000009C5-7BE2-49F1-B47F-64DDA7BF3F9D}"/>
              </c:ext>
            </c:extLst>
          </c:dPt>
          <c:dPt>
            <c:idx val="1250"/>
            <c:invertIfNegative val="1"/>
            <c:bubble3D val="0"/>
            <c:spPr>
              <a:solidFill>
                <a:srgbClr val="AEABAB"/>
              </a:solidFill>
            </c:spPr>
            <c:extLst>
              <c:ext xmlns:c16="http://schemas.microsoft.com/office/drawing/2014/chart" uri="{C3380CC4-5D6E-409C-BE32-E72D297353CC}">
                <c16:uniqueId val="{000009C7-7BE2-49F1-B47F-64DDA7BF3F9D}"/>
              </c:ext>
            </c:extLst>
          </c:dPt>
          <c:dPt>
            <c:idx val="1251"/>
            <c:invertIfNegative val="1"/>
            <c:bubble3D val="0"/>
            <c:spPr>
              <a:solidFill>
                <a:srgbClr val="AEABAB"/>
              </a:solidFill>
            </c:spPr>
            <c:extLst>
              <c:ext xmlns:c16="http://schemas.microsoft.com/office/drawing/2014/chart" uri="{C3380CC4-5D6E-409C-BE32-E72D297353CC}">
                <c16:uniqueId val="{000009C9-7BE2-49F1-B47F-64DDA7BF3F9D}"/>
              </c:ext>
            </c:extLst>
          </c:dPt>
          <c:dPt>
            <c:idx val="1252"/>
            <c:invertIfNegative val="1"/>
            <c:bubble3D val="0"/>
            <c:spPr>
              <a:solidFill>
                <a:srgbClr val="AEABAB"/>
              </a:solidFill>
            </c:spPr>
            <c:extLst>
              <c:ext xmlns:c16="http://schemas.microsoft.com/office/drawing/2014/chart" uri="{C3380CC4-5D6E-409C-BE32-E72D297353CC}">
                <c16:uniqueId val="{000009CB-7BE2-49F1-B47F-64DDA7BF3F9D}"/>
              </c:ext>
            </c:extLst>
          </c:dPt>
          <c:dPt>
            <c:idx val="1253"/>
            <c:invertIfNegative val="1"/>
            <c:bubble3D val="0"/>
            <c:spPr>
              <a:solidFill>
                <a:srgbClr val="AEABAB"/>
              </a:solidFill>
            </c:spPr>
            <c:extLst>
              <c:ext xmlns:c16="http://schemas.microsoft.com/office/drawing/2014/chart" uri="{C3380CC4-5D6E-409C-BE32-E72D297353CC}">
                <c16:uniqueId val="{000009CD-7BE2-49F1-B47F-64DDA7BF3F9D}"/>
              </c:ext>
            </c:extLst>
          </c:dPt>
          <c:dPt>
            <c:idx val="1254"/>
            <c:invertIfNegative val="1"/>
            <c:bubble3D val="0"/>
            <c:spPr>
              <a:solidFill>
                <a:srgbClr val="AEABAB"/>
              </a:solidFill>
            </c:spPr>
            <c:extLst>
              <c:ext xmlns:c16="http://schemas.microsoft.com/office/drawing/2014/chart" uri="{C3380CC4-5D6E-409C-BE32-E72D297353CC}">
                <c16:uniqueId val="{000009CF-7BE2-49F1-B47F-64DDA7BF3F9D}"/>
              </c:ext>
            </c:extLst>
          </c:dPt>
          <c:dPt>
            <c:idx val="1255"/>
            <c:invertIfNegative val="1"/>
            <c:bubble3D val="0"/>
            <c:spPr>
              <a:solidFill>
                <a:srgbClr val="AEABAB"/>
              </a:solidFill>
            </c:spPr>
            <c:extLst>
              <c:ext xmlns:c16="http://schemas.microsoft.com/office/drawing/2014/chart" uri="{C3380CC4-5D6E-409C-BE32-E72D297353CC}">
                <c16:uniqueId val="{000009D1-7BE2-49F1-B47F-64DDA7BF3F9D}"/>
              </c:ext>
            </c:extLst>
          </c:dPt>
          <c:dPt>
            <c:idx val="1256"/>
            <c:invertIfNegative val="1"/>
            <c:bubble3D val="0"/>
            <c:spPr>
              <a:solidFill>
                <a:srgbClr val="AEABAB"/>
              </a:solidFill>
            </c:spPr>
            <c:extLst>
              <c:ext xmlns:c16="http://schemas.microsoft.com/office/drawing/2014/chart" uri="{C3380CC4-5D6E-409C-BE32-E72D297353CC}">
                <c16:uniqueId val="{000009D3-7BE2-49F1-B47F-64DDA7BF3F9D}"/>
              </c:ext>
            </c:extLst>
          </c:dPt>
          <c:dPt>
            <c:idx val="1257"/>
            <c:invertIfNegative val="1"/>
            <c:bubble3D val="0"/>
            <c:spPr>
              <a:solidFill>
                <a:srgbClr val="AEABAB"/>
              </a:solidFill>
            </c:spPr>
            <c:extLst>
              <c:ext xmlns:c16="http://schemas.microsoft.com/office/drawing/2014/chart" uri="{C3380CC4-5D6E-409C-BE32-E72D297353CC}">
                <c16:uniqueId val="{000009D5-7BE2-49F1-B47F-64DDA7BF3F9D}"/>
              </c:ext>
            </c:extLst>
          </c:dPt>
          <c:dPt>
            <c:idx val="1258"/>
            <c:invertIfNegative val="1"/>
            <c:bubble3D val="0"/>
            <c:spPr>
              <a:solidFill>
                <a:srgbClr val="AEABAB"/>
              </a:solidFill>
            </c:spPr>
            <c:extLst>
              <c:ext xmlns:c16="http://schemas.microsoft.com/office/drawing/2014/chart" uri="{C3380CC4-5D6E-409C-BE32-E72D297353CC}">
                <c16:uniqueId val="{000009D7-7BE2-49F1-B47F-64DDA7BF3F9D}"/>
              </c:ext>
            </c:extLst>
          </c:dPt>
          <c:dPt>
            <c:idx val="1259"/>
            <c:invertIfNegative val="1"/>
            <c:bubble3D val="0"/>
            <c:spPr>
              <a:solidFill>
                <a:srgbClr val="AEABAB"/>
              </a:solidFill>
            </c:spPr>
            <c:extLst>
              <c:ext xmlns:c16="http://schemas.microsoft.com/office/drawing/2014/chart" uri="{C3380CC4-5D6E-409C-BE32-E72D297353CC}">
                <c16:uniqueId val="{000009D9-7BE2-49F1-B47F-64DDA7BF3F9D}"/>
              </c:ext>
            </c:extLst>
          </c:dPt>
          <c:dPt>
            <c:idx val="1260"/>
            <c:invertIfNegative val="1"/>
            <c:bubble3D val="0"/>
            <c:spPr>
              <a:solidFill>
                <a:srgbClr val="AEABAB"/>
              </a:solidFill>
            </c:spPr>
            <c:extLst>
              <c:ext xmlns:c16="http://schemas.microsoft.com/office/drawing/2014/chart" uri="{C3380CC4-5D6E-409C-BE32-E72D297353CC}">
                <c16:uniqueId val="{000009DB-7BE2-49F1-B47F-64DDA7BF3F9D}"/>
              </c:ext>
            </c:extLst>
          </c:dPt>
          <c:dPt>
            <c:idx val="1261"/>
            <c:invertIfNegative val="1"/>
            <c:bubble3D val="0"/>
            <c:spPr>
              <a:solidFill>
                <a:srgbClr val="AEABAB"/>
              </a:solidFill>
            </c:spPr>
            <c:extLst>
              <c:ext xmlns:c16="http://schemas.microsoft.com/office/drawing/2014/chart" uri="{C3380CC4-5D6E-409C-BE32-E72D297353CC}">
                <c16:uniqueId val="{000009DD-7BE2-49F1-B47F-64DDA7BF3F9D}"/>
              </c:ext>
            </c:extLst>
          </c:dPt>
          <c:dPt>
            <c:idx val="1262"/>
            <c:invertIfNegative val="1"/>
            <c:bubble3D val="0"/>
            <c:spPr>
              <a:solidFill>
                <a:srgbClr val="AEABAB"/>
              </a:solidFill>
            </c:spPr>
            <c:extLst>
              <c:ext xmlns:c16="http://schemas.microsoft.com/office/drawing/2014/chart" uri="{C3380CC4-5D6E-409C-BE32-E72D297353CC}">
                <c16:uniqueId val="{000009DF-7BE2-49F1-B47F-64DDA7BF3F9D}"/>
              </c:ext>
            </c:extLst>
          </c:dPt>
          <c:dPt>
            <c:idx val="1263"/>
            <c:invertIfNegative val="1"/>
            <c:bubble3D val="0"/>
            <c:spPr>
              <a:solidFill>
                <a:srgbClr val="AEABAB"/>
              </a:solidFill>
            </c:spPr>
            <c:extLst>
              <c:ext xmlns:c16="http://schemas.microsoft.com/office/drawing/2014/chart" uri="{C3380CC4-5D6E-409C-BE32-E72D297353CC}">
                <c16:uniqueId val="{000009E1-7BE2-49F1-B47F-64DDA7BF3F9D}"/>
              </c:ext>
            </c:extLst>
          </c:dPt>
          <c:dPt>
            <c:idx val="1264"/>
            <c:invertIfNegative val="1"/>
            <c:bubble3D val="0"/>
            <c:spPr>
              <a:solidFill>
                <a:srgbClr val="AEABAB"/>
              </a:solidFill>
            </c:spPr>
            <c:extLst>
              <c:ext xmlns:c16="http://schemas.microsoft.com/office/drawing/2014/chart" uri="{C3380CC4-5D6E-409C-BE32-E72D297353CC}">
                <c16:uniqueId val="{000009E3-7BE2-49F1-B47F-64DDA7BF3F9D}"/>
              </c:ext>
            </c:extLst>
          </c:dPt>
          <c:dPt>
            <c:idx val="1265"/>
            <c:invertIfNegative val="1"/>
            <c:bubble3D val="0"/>
            <c:spPr>
              <a:solidFill>
                <a:srgbClr val="AEABAB"/>
              </a:solidFill>
            </c:spPr>
            <c:extLst>
              <c:ext xmlns:c16="http://schemas.microsoft.com/office/drawing/2014/chart" uri="{C3380CC4-5D6E-409C-BE32-E72D297353CC}">
                <c16:uniqueId val="{000009E5-7BE2-49F1-B47F-64DDA7BF3F9D}"/>
              </c:ext>
            </c:extLst>
          </c:dPt>
          <c:dPt>
            <c:idx val="1266"/>
            <c:invertIfNegative val="1"/>
            <c:bubble3D val="0"/>
            <c:spPr>
              <a:solidFill>
                <a:srgbClr val="AEABAB"/>
              </a:solidFill>
            </c:spPr>
            <c:extLst>
              <c:ext xmlns:c16="http://schemas.microsoft.com/office/drawing/2014/chart" uri="{C3380CC4-5D6E-409C-BE32-E72D297353CC}">
                <c16:uniqueId val="{000009E7-7BE2-49F1-B47F-64DDA7BF3F9D}"/>
              </c:ext>
            </c:extLst>
          </c:dPt>
          <c:dPt>
            <c:idx val="1267"/>
            <c:invertIfNegative val="1"/>
            <c:bubble3D val="0"/>
            <c:spPr>
              <a:solidFill>
                <a:srgbClr val="AEABAB"/>
              </a:solidFill>
            </c:spPr>
            <c:extLst>
              <c:ext xmlns:c16="http://schemas.microsoft.com/office/drawing/2014/chart" uri="{C3380CC4-5D6E-409C-BE32-E72D297353CC}">
                <c16:uniqueId val="{000009E9-7BE2-49F1-B47F-64DDA7BF3F9D}"/>
              </c:ext>
            </c:extLst>
          </c:dPt>
          <c:dPt>
            <c:idx val="1268"/>
            <c:invertIfNegative val="1"/>
            <c:bubble3D val="0"/>
            <c:spPr>
              <a:solidFill>
                <a:srgbClr val="AEABAB"/>
              </a:solidFill>
            </c:spPr>
            <c:extLst>
              <c:ext xmlns:c16="http://schemas.microsoft.com/office/drawing/2014/chart" uri="{C3380CC4-5D6E-409C-BE32-E72D297353CC}">
                <c16:uniqueId val="{000009EB-7BE2-49F1-B47F-64DDA7BF3F9D}"/>
              </c:ext>
            </c:extLst>
          </c:dPt>
          <c:dPt>
            <c:idx val="1269"/>
            <c:invertIfNegative val="1"/>
            <c:bubble3D val="0"/>
            <c:spPr>
              <a:solidFill>
                <a:srgbClr val="AEABAB"/>
              </a:solidFill>
            </c:spPr>
            <c:extLst>
              <c:ext xmlns:c16="http://schemas.microsoft.com/office/drawing/2014/chart" uri="{C3380CC4-5D6E-409C-BE32-E72D297353CC}">
                <c16:uniqueId val="{000009ED-7BE2-49F1-B47F-64DDA7BF3F9D}"/>
              </c:ext>
            </c:extLst>
          </c:dPt>
          <c:dPt>
            <c:idx val="1270"/>
            <c:invertIfNegative val="1"/>
            <c:bubble3D val="0"/>
            <c:spPr>
              <a:solidFill>
                <a:srgbClr val="AEABAB"/>
              </a:solidFill>
            </c:spPr>
            <c:extLst>
              <c:ext xmlns:c16="http://schemas.microsoft.com/office/drawing/2014/chart" uri="{C3380CC4-5D6E-409C-BE32-E72D297353CC}">
                <c16:uniqueId val="{000009EF-7BE2-49F1-B47F-64DDA7BF3F9D}"/>
              </c:ext>
            </c:extLst>
          </c:dPt>
          <c:dPt>
            <c:idx val="1271"/>
            <c:invertIfNegative val="1"/>
            <c:bubble3D val="0"/>
            <c:spPr>
              <a:solidFill>
                <a:srgbClr val="AEABAB"/>
              </a:solidFill>
            </c:spPr>
            <c:extLst>
              <c:ext xmlns:c16="http://schemas.microsoft.com/office/drawing/2014/chart" uri="{C3380CC4-5D6E-409C-BE32-E72D297353CC}">
                <c16:uniqueId val="{000009F1-7BE2-49F1-B47F-64DDA7BF3F9D}"/>
              </c:ext>
            </c:extLst>
          </c:dPt>
          <c:dPt>
            <c:idx val="1272"/>
            <c:invertIfNegative val="1"/>
            <c:bubble3D val="0"/>
            <c:spPr>
              <a:solidFill>
                <a:srgbClr val="AEABAB"/>
              </a:solidFill>
            </c:spPr>
            <c:extLst>
              <c:ext xmlns:c16="http://schemas.microsoft.com/office/drawing/2014/chart" uri="{C3380CC4-5D6E-409C-BE32-E72D297353CC}">
                <c16:uniqueId val="{000009F3-7BE2-49F1-B47F-64DDA7BF3F9D}"/>
              </c:ext>
            </c:extLst>
          </c:dPt>
          <c:dPt>
            <c:idx val="1273"/>
            <c:invertIfNegative val="1"/>
            <c:bubble3D val="0"/>
            <c:spPr>
              <a:solidFill>
                <a:srgbClr val="AEABAB"/>
              </a:solidFill>
            </c:spPr>
            <c:extLst>
              <c:ext xmlns:c16="http://schemas.microsoft.com/office/drawing/2014/chart" uri="{C3380CC4-5D6E-409C-BE32-E72D297353CC}">
                <c16:uniqueId val="{000009F5-7BE2-49F1-B47F-64DDA7BF3F9D}"/>
              </c:ext>
            </c:extLst>
          </c:dPt>
          <c:dPt>
            <c:idx val="1274"/>
            <c:invertIfNegative val="1"/>
            <c:bubble3D val="0"/>
            <c:spPr>
              <a:solidFill>
                <a:srgbClr val="AEABAB"/>
              </a:solidFill>
            </c:spPr>
            <c:extLst>
              <c:ext xmlns:c16="http://schemas.microsoft.com/office/drawing/2014/chart" uri="{C3380CC4-5D6E-409C-BE32-E72D297353CC}">
                <c16:uniqueId val="{000009F7-7BE2-49F1-B47F-64DDA7BF3F9D}"/>
              </c:ext>
            </c:extLst>
          </c:dPt>
          <c:dPt>
            <c:idx val="1275"/>
            <c:invertIfNegative val="1"/>
            <c:bubble3D val="0"/>
            <c:spPr>
              <a:solidFill>
                <a:srgbClr val="AEABAB"/>
              </a:solidFill>
            </c:spPr>
            <c:extLst>
              <c:ext xmlns:c16="http://schemas.microsoft.com/office/drawing/2014/chart" uri="{C3380CC4-5D6E-409C-BE32-E72D297353CC}">
                <c16:uniqueId val="{000009F9-7BE2-49F1-B47F-64DDA7BF3F9D}"/>
              </c:ext>
            </c:extLst>
          </c:dPt>
          <c:dPt>
            <c:idx val="1276"/>
            <c:invertIfNegative val="1"/>
            <c:bubble3D val="0"/>
            <c:spPr>
              <a:solidFill>
                <a:srgbClr val="AEABAB"/>
              </a:solidFill>
            </c:spPr>
            <c:extLst>
              <c:ext xmlns:c16="http://schemas.microsoft.com/office/drawing/2014/chart" uri="{C3380CC4-5D6E-409C-BE32-E72D297353CC}">
                <c16:uniqueId val="{000009FB-7BE2-49F1-B47F-64DDA7BF3F9D}"/>
              </c:ext>
            </c:extLst>
          </c:dPt>
          <c:dPt>
            <c:idx val="1277"/>
            <c:invertIfNegative val="1"/>
            <c:bubble3D val="0"/>
            <c:spPr>
              <a:solidFill>
                <a:srgbClr val="AEABAB"/>
              </a:solidFill>
            </c:spPr>
            <c:extLst>
              <c:ext xmlns:c16="http://schemas.microsoft.com/office/drawing/2014/chart" uri="{C3380CC4-5D6E-409C-BE32-E72D297353CC}">
                <c16:uniqueId val="{000009FD-7BE2-49F1-B47F-64DDA7BF3F9D}"/>
              </c:ext>
            </c:extLst>
          </c:dPt>
          <c:dPt>
            <c:idx val="1278"/>
            <c:invertIfNegative val="1"/>
            <c:bubble3D val="0"/>
            <c:spPr>
              <a:solidFill>
                <a:srgbClr val="AEABAB"/>
              </a:solidFill>
            </c:spPr>
            <c:extLst>
              <c:ext xmlns:c16="http://schemas.microsoft.com/office/drawing/2014/chart" uri="{C3380CC4-5D6E-409C-BE32-E72D297353CC}">
                <c16:uniqueId val="{000009FF-7BE2-49F1-B47F-64DDA7BF3F9D}"/>
              </c:ext>
            </c:extLst>
          </c:dPt>
          <c:dPt>
            <c:idx val="1279"/>
            <c:invertIfNegative val="1"/>
            <c:bubble3D val="0"/>
            <c:spPr>
              <a:solidFill>
                <a:srgbClr val="AEABAB"/>
              </a:solidFill>
            </c:spPr>
            <c:extLst>
              <c:ext xmlns:c16="http://schemas.microsoft.com/office/drawing/2014/chart" uri="{C3380CC4-5D6E-409C-BE32-E72D297353CC}">
                <c16:uniqueId val="{00000A01-7BE2-49F1-B47F-64DDA7BF3F9D}"/>
              </c:ext>
            </c:extLst>
          </c:dPt>
          <c:dPt>
            <c:idx val="1280"/>
            <c:invertIfNegative val="1"/>
            <c:bubble3D val="0"/>
            <c:spPr>
              <a:solidFill>
                <a:srgbClr val="AEABAB"/>
              </a:solidFill>
            </c:spPr>
            <c:extLst>
              <c:ext xmlns:c16="http://schemas.microsoft.com/office/drawing/2014/chart" uri="{C3380CC4-5D6E-409C-BE32-E72D297353CC}">
                <c16:uniqueId val="{00000A03-7BE2-49F1-B47F-64DDA7BF3F9D}"/>
              </c:ext>
            </c:extLst>
          </c:dPt>
          <c:dPt>
            <c:idx val="1281"/>
            <c:invertIfNegative val="1"/>
            <c:bubble3D val="0"/>
            <c:spPr>
              <a:solidFill>
                <a:srgbClr val="AEABAB"/>
              </a:solidFill>
            </c:spPr>
            <c:extLst>
              <c:ext xmlns:c16="http://schemas.microsoft.com/office/drawing/2014/chart" uri="{C3380CC4-5D6E-409C-BE32-E72D297353CC}">
                <c16:uniqueId val="{00000A05-7BE2-49F1-B47F-64DDA7BF3F9D}"/>
              </c:ext>
            </c:extLst>
          </c:dPt>
          <c:dPt>
            <c:idx val="1282"/>
            <c:invertIfNegative val="1"/>
            <c:bubble3D val="0"/>
            <c:spPr>
              <a:solidFill>
                <a:srgbClr val="AEABAB"/>
              </a:solidFill>
            </c:spPr>
            <c:extLst>
              <c:ext xmlns:c16="http://schemas.microsoft.com/office/drawing/2014/chart" uri="{C3380CC4-5D6E-409C-BE32-E72D297353CC}">
                <c16:uniqueId val="{00000A07-7BE2-49F1-B47F-64DDA7BF3F9D}"/>
              </c:ext>
            </c:extLst>
          </c:dPt>
          <c:dPt>
            <c:idx val="1283"/>
            <c:invertIfNegative val="1"/>
            <c:bubble3D val="0"/>
            <c:spPr>
              <a:solidFill>
                <a:srgbClr val="AEABAB"/>
              </a:solidFill>
            </c:spPr>
            <c:extLst>
              <c:ext xmlns:c16="http://schemas.microsoft.com/office/drawing/2014/chart" uri="{C3380CC4-5D6E-409C-BE32-E72D297353CC}">
                <c16:uniqueId val="{00000A09-7BE2-49F1-B47F-64DDA7BF3F9D}"/>
              </c:ext>
            </c:extLst>
          </c:dPt>
          <c:dPt>
            <c:idx val="1284"/>
            <c:invertIfNegative val="1"/>
            <c:bubble3D val="0"/>
            <c:spPr>
              <a:solidFill>
                <a:srgbClr val="AEABAB"/>
              </a:solidFill>
            </c:spPr>
            <c:extLst>
              <c:ext xmlns:c16="http://schemas.microsoft.com/office/drawing/2014/chart" uri="{C3380CC4-5D6E-409C-BE32-E72D297353CC}">
                <c16:uniqueId val="{00000A0B-7BE2-49F1-B47F-64DDA7BF3F9D}"/>
              </c:ext>
            </c:extLst>
          </c:dPt>
          <c:dPt>
            <c:idx val="1285"/>
            <c:invertIfNegative val="1"/>
            <c:bubble3D val="0"/>
            <c:spPr>
              <a:solidFill>
                <a:srgbClr val="AEABAB"/>
              </a:solidFill>
            </c:spPr>
            <c:extLst>
              <c:ext xmlns:c16="http://schemas.microsoft.com/office/drawing/2014/chart" uri="{C3380CC4-5D6E-409C-BE32-E72D297353CC}">
                <c16:uniqueId val="{00000A0D-7BE2-49F1-B47F-64DDA7BF3F9D}"/>
              </c:ext>
            </c:extLst>
          </c:dPt>
          <c:dPt>
            <c:idx val="1286"/>
            <c:invertIfNegative val="1"/>
            <c:bubble3D val="0"/>
            <c:spPr>
              <a:solidFill>
                <a:srgbClr val="AEABAB"/>
              </a:solidFill>
            </c:spPr>
            <c:extLst>
              <c:ext xmlns:c16="http://schemas.microsoft.com/office/drawing/2014/chart" uri="{C3380CC4-5D6E-409C-BE32-E72D297353CC}">
                <c16:uniqueId val="{00000A0F-7BE2-49F1-B47F-64DDA7BF3F9D}"/>
              </c:ext>
            </c:extLst>
          </c:dPt>
          <c:dPt>
            <c:idx val="1287"/>
            <c:invertIfNegative val="1"/>
            <c:bubble3D val="0"/>
            <c:spPr>
              <a:solidFill>
                <a:srgbClr val="AEABAB"/>
              </a:solidFill>
            </c:spPr>
            <c:extLst>
              <c:ext xmlns:c16="http://schemas.microsoft.com/office/drawing/2014/chart" uri="{C3380CC4-5D6E-409C-BE32-E72D297353CC}">
                <c16:uniqueId val="{00000A11-7BE2-49F1-B47F-64DDA7BF3F9D}"/>
              </c:ext>
            </c:extLst>
          </c:dPt>
          <c:dPt>
            <c:idx val="1288"/>
            <c:invertIfNegative val="1"/>
            <c:bubble3D val="0"/>
            <c:spPr>
              <a:solidFill>
                <a:srgbClr val="AEABAB"/>
              </a:solidFill>
            </c:spPr>
            <c:extLst>
              <c:ext xmlns:c16="http://schemas.microsoft.com/office/drawing/2014/chart" uri="{C3380CC4-5D6E-409C-BE32-E72D297353CC}">
                <c16:uniqueId val="{00000A13-7BE2-49F1-B47F-64DDA7BF3F9D}"/>
              </c:ext>
            </c:extLst>
          </c:dPt>
          <c:dPt>
            <c:idx val="1289"/>
            <c:invertIfNegative val="1"/>
            <c:bubble3D val="0"/>
            <c:spPr>
              <a:solidFill>
                <a:srgbClr val="AEABAB"/>
              </a:solidFill>
            </c:spPr>
            <c:extLst>
              <c:ext xmlns:c16="http://schemas.microsoft.com/office/drawing/2014/chart" uri="{C3380CC4-5D6E-409C-BE32-E72D297353CC}">
                <c16:uniqueId val="{00000A15-7BE2-49F1-B47F-64DDA7BF3F9D}"/>
              </c:ext>
            </c:extLst>
          </c:dPt>
          <c:dPt>
            <c:idx val="1290"/>
            <c:invertIfNegative val="1"/>
            <c:bubble3D val="0"/>
            <c:spPr>
              <a:solidFill>
                <a:srgbClr val="AEABAB"/>
              </a:solidFill>
            </c:spPr>
            <c:extLst>
              <c:ext xmlns:c16="http://schemas.microsoft.com/office/drawing/2014/chart" uri="{C3380CC4-5D6E-409C-BE32-E72D297353CC}">
                <c16:uniqueId val="{00000A17-7BE2-49F1-B47F-64DDA7BF3F9D}"/>
              </c:ext>
            </c:extLst>
          </c:dPt>
          <c:dPt>
            <c:idx val="1291"/>
            <c:invertIfNegative val="1"/>
            <c:bubble3D val="0"/>
            <c:spPr>
              <a:solidFill>
                <a:srgbClr val="AEABAB"/>
              </a:solidFill>
            </c:spPr>
            <c:extLst>
              <c:ext xmlns:c16="http://schemas.microsoft.com/office/drawing/2014/chart" uri="{C3380CC4-5D6E-409C-BE32-E72D297353CC}">
                <c16:uniqueId val="{00000A19-7BE2-49F1-B47F-64DDA7BF3F9D}"/>
              </c:ext>
            </c:extLst>
          </c:dPt>
          <c:dPt>
            <c:idx val="1292"/>
            <c:invertIfNegative val="1"/>
            <c:bubble3D val="0"/>
            <c:spPr>
              <a:solidFill>
                <a:srgbClr val="AEABAB"/>
              </a:solidFill>
            </c:spPr>
            <c:extLst>
              <c:ext xmlns:c16="http://schemas.microsoft.com/office/drawing/2014/chart" uri="{C3380CC4-5D6E-409C-BE32-E72D297353CC}">
                <c16:uniqueId val="{00000A1B-7BE2-49F1-B47F-64DDA7BF3F9D}"/>
              </c:ext>
            </c:extLst>
          </c:dPt>
          <c:dPt>
            <c:idx val="1293"/>
            <c:invertIfNegative val="1"/>
            <c:bubble3D val="0"/>
            <c:spPr>
              <a:solidFill>
                <a:srgbClr val="AEABAB"/>
              </a:solidFill>
            </c:spPr>
            <c:extLst>
              <c:ext xmlns:c16="http://schemas.microsoft.com/office/drawing/2014/chart" uri="{C3380CC4-5D6E-409C-BE32-E72D297353CC}">
                <c16:uniqueId val="{00000A1D-7BE2-49F1-B47F-64DDA7BF3F9D}"/>
              </c:ext>
            </c:extLst>
          </c:dPt>
          <c:dPt>
            <c:idx val="1294"/>
            <c:invertIfNegative val="1"/>
            <c:bubble3D val="0"/>
            <c:spPr>
              <a:solidFill>
                <a:srgbClr val="AEABAB"/>
              </a:solidFill>
            </c:spPr>
            <c:extLst>
              <c:ext xmlns:c16="http://schemas.microsoft.com/office/drawing/2014/chart" uri="{C3380CC4-5D6E-409C-BE32-E72D297353CC}">
                <c16:uniqueId val="{00000A1F-7BE2-49F1-B47F-64DDA7BF3F9D}"/>
              </c:ext>
            </c:extLst>
          </c:dPt>
          <c:dPt>
            <c:idx val="1295"/>
            <c:invertIfNegative val="1"/>
            <c:bubble3D val="0"/>
            <c:spPr>
              <a:solidFill>
                <a:srgbClr val="AEABAB"/>
              </a:solidFill>
            </c:spPr>
            <c:extLst>
              <c:ext xmlns:c16="http://schemas.microsoft.com/office/drawing/2014/chart" uri="{C3380CC4-5D6E-409C-BE32-E72D297353CC}">
                <c16:uniqueId val="{00000A21-7BE2-49F1-B47F-64DDA7BF3F9D}"/>
              </c:ext>
            </c:extLst>
          </c:dPt>
          <c:dPt>
            <c:idx val="1296"/>
            <c:invertIfNegative val="1"/>
            <c:bubble3D val="0"/>
            <c:spPr>
              <a:solidFill>
                <a:srgbClr val="AEABAB"/>
              </a:solidFill>
            </c:spPr>
            <c:extLst>
              <c:ext xmlns:c16="http://schemas.microsoft.com/office/drawing/2014/chart" uri="{C3380CC4-5D6E-409C-BE32-E72D297353CC}">
                <c16:uniqueId val="{00000A23-7BE2-49F1-B47F-64DDA7BF3F9D}"/>
              </c:ext>
            </c:extLst>
          </c:dPt>
          <c:dPt>
            <c:idx val="1297"/>
            <c:invertIfNegative val="1"/>
            <c:bubble3D val="0"/>
            <c:spPr>
              <a:solidFill>
                <a:srgbClr val="AEABAB"/>
              </a:solidFill>
            </c:spPr>
            <c:extLst>
              <c:ext xmlns:c16="http://schemas.microsoft.com/office/drawing/2014/chart" uri="{C3380CC4-5D6E-409C-BE32-E72D297353CC}">
                <c16:uniqueId val="{00000A25-7BE2-49F1-B47F-64DDA7BF3F9D}"/>
              </c:ext>
            </c:extLst>
          </c:dPt>
          <c:dPt>
            <c:idx val="1298"/>
            <c:invertIfNegative val="1"/>
            <c:bubble3D val="0"/>
            <c:spPr>
              <a:solidFill>
                <a:srgbClr val="AEABAB"/>
              </a:solidFill>
            </c:spPr>
            <c:extLst>
              <c:ext xmlns:c16="http://schemas.microsoft.com/office/drawing/2014/chart" uri="{C3380CC4-5D6E-409C-BE32-E72D297353CC}">
                <c16:uniqueId val="{00000A27-7BE2-49F1-B47F-64DDA7BF3F9D}"/>
              </c:ext>
            </c:extLst>
          </c:dPt>
          <c:dPt>
            <c:idx val="1299"/>
            <c:invertIfNegative val="1"/>
            <c:bubble3D val="0"/>
            <c:spPr>
              <a:solidFill>
                <a:srgbClr val="AEABAB"/>
              </a:solidFill>
            </c:spPr>
            <c:extLst>
              <c:ext xmlns:c16="http://schemas.microsoft.com/office/drawing/2014/chart" uri="{C3380CC4-5D6E-409C-BE32-E72D297353CC}">
                <c16:uniqueId val="{00000A29-7BE2-49F1-B47F-64DDA7BF3F9D}"/>
              </c:ext>
            </c:extLst>
          </c:dPt>
          <c:dPt>
            <c:idx val="1300"/>
            <c:invertIfNegative val="1"/>
            <c:bubble3D val="0"/>
            <c:spPr>
              <a:solidFill>
                <a:srgbClr val="AEABAB"/>
              </a:solidFill>
            </c:spPr>
            <c:extLst>
              <c:ext xmlns:c16="http://schemas.microsoft.com/office/drawing/2014/chart" uri="{C3380CC4-5D6E-409C-BE32-E72D297353CC}">
                <c16:uniqueId val="{00000A2B-7BE2-49F1-B47F-64DDA7BF3F9D}"/>
              </c:ext>
            </c:extLst>
          </c:dPt>
          <c:dPt>
            <c:idx val="1301"/>
            <c:invertIfNegative val="1"/>
            <c:bubble3D val="0"/>
            <c:spPr>
              <a:solidFill>
                <a:srgbClr val="AEABAB"/>
              </a:solidFill>
            </c:spPr>
            <c:extLst>
              <c:ext xmlns:c16="http://schemas.microsoft.com/office/drawing/2014/chart" uri="{C3380CC4-5D6E-409C-BE32-E72D297353CC}">
                <c16:uniqueId val="{00000A2D-7BE2-49F1-B47F-64DDA7BF3F9D}"/>
              </c:ext>
            </c:extLst>
          </c:dPt>
          <c:dPt>
            <c:idx val="1302"/>
            <c:invertIfNegative val="1"/>
            <c:bubble3D val="0"/>
            <c:spPr>
              <a:solidFill>
                <a:srgbClr val="AEABAB"/>
              </a:solidFill>
            </c:spPr>
            <c:extLst>
              <c:ext xmlns:c16="http://schemas.microsoft.com/office/drawing/2014/chart" uri="{C3380CC4-5D6E-409C-BE32-E72D297353CC}">
                <c16:uniqueId val="{00000A2F-7BE2-49F1-B47F-64DDA7BF3F9D}"/>
              </c:ext>
            </c:extLst>
          </c:dPt>
          <c:dPt>
            <c:idx val="1303"/>
            <c:invertIfNegative val="1"/>
            <c:bubble3D val="0"/>
            <c:spPr>
              <a:solidFill>
                <a:srgbClr val="AEABAB"/>
              </a:solidFill>
            </c:spPr>
            <c:extLst>
              <c:ext xmlns:c16="http://schemas.microsoft.com/office/drawing/2014/chart" uri="{C3380CC4-5D6E-409C-BE32-E72D297353CC}">
                <c16:uniqueId val="{00000A31-7BE2-49F1-B47F-64DDA7BF3F9D}"/>
              </c:ext>
            </c:extLst>
          </c:dPt>
          <c:dPt>
            <c:idx val="1304"/>
            <c:invertIfNegative val="1"/>
            <c:bubble3D val="0"/>
            <c:spPr>
              <a:solidFill>
                <a:srgbClr val="AEABAB"/>
              </a:solidFill>
            </c:spPr>
            <c:extLst>
              <c:ext xmlns:c16="http://schemas.microsoft.com/office/drawing/2014/chart" uri="{C3380CC4-5D6E-409C-BE32-E72D297353CC}">
                <c16:uniqueId val="{00000A33-7BE2-49F1-B47F-64DDA7BF3F9D}"/>
              </c:ext>
            </c:extLst>
          </c:dPt>
          <c:dPt>
            <c:idx val="1305"/>
            <c:invertIfNegative val="1"/>
            <c:bubble3D val="0"/>
            <c:spPr>
              <a:solidFill>
                <a:srgbClr val="AEABAB"/>
              </a:solidFill>
            </c:spPr>
            <c:extLst>
              <c:ext xmlns:c16="http://schemas.microsoft.com/office/drawing/2014/chart" uri="{C3380CC4-5D6E-409C-BE32-E72D297353CC}">
                <c16:uniqueId val="{00000A35-7BE2-49F1-B47F-64DDA7BF3F9D}"/>
              </c:ext>
            </c:extLst>
          </c:dPt>
          <c:dPt>
            <c:idx val="1306"/>
            <c:invertIfNegative val="1"/>
            <c:bubble3D val="0"/>
            <c:spPr>
              <a:solidFill>
                <a:srgbClr val="AEABAB"/>
              </a:solidFill>
            </c:spPr>
            <c:extLst>
              <c:ext xmlns:c16="http://schemas.microsoft.com/office/drawing/2014/chart" uri="{C3380CC4-5D6E-409C-BE32-E72D297353CC}">
                <c16:uniqueId val="{00000A37-7BE2-49F1-B47F-64DDA7BF3F9D}"/>
              </c:ext>
            </c:extLst>
          </c:dPt>
          <c:dPt>
            <c:idx val="1307"/>
            <c:invertIfNegative val="1"/>
            <c:bubble3D val="0"/>
            <c:spPr>
              <a:solidFill>
                <a:srgbClr val="AEABAB"/>
              </a:solidFill>
            </c:spPr>
            <c:extLst>
              <c:ext xmlns:c16="http://schemas.microsoft.com/office/drawing/2014/chart" uri="{C3380CC4-5D6E-409C-BE32-E72D297353CC}">
                <c16:uniqueId val="{00000A39-7BE2-49F1-B47F-64DDA7BF3F9D}"/>
              </c:ext>
            </c:extLst>
          </c:dPt>
          <c:dPt>
            <c:idx val="1308"/>
            <c:invertIfNegative val="1"/>
            <c:bubble3D val="0"/>
            <c:spPr>
              <a:solidFill>
                <a:srgbClr val="AEABAB"/>
              </a:solidFill>
            </c:spPr>
            <c:extLst>
              <c:ext xmlns:c16="http://schemas.microsoft.com/office/drawing/2014/chart" uri="{C3380CC4-5D6E-409C-BE32-E72D297353CC}">
                <c16:uniqueId val="{00000A3B-7BE2-49F1-B47F-64DDA7BF3F9D}"/>
              </c:ext>
            </c:extLst>
          </c:dPt>
          <c:dPt>
            <c:idx val="1309"/>
            <c:invertIfNegative val="1"/>
            <c:bubble3D val="0"/>
            <c:spPr>
              <a:solidFill>
                <a:srgbClr val="AEABAB"/>
              </a:solidFill>
            </c:spPr>
            <c:extLst>
              <c:ext xmlns:c16="http://schemas.microsoft.com/office/drawing/2014/chart" uri="{C3380CC4-5D6E-409C-BE32-E72D297353CC}">
                <c16:uniqueId val="{00000A3D-7BE2-49F1-B47F-64DDA7BF3F9D}"/>
              </c:ext>
            </c:extLst>
          </c:dPt>
          <c:dPt>
            <c:idx val="1310"/>
            <c:invertIfNegative val="1"/>
            <c:bubble3D val="0"/>
            <c:spPr>
              <a:solidFill>
                <a:srgbClr val="AEABAB"/>
              </a:solidFill>
            </c:spPr>
            <c:extLst>
              <c:ext xmlns:c16="http://schemas.microsoft.com/office/drawing/2014/chart" uri="{C3380CC4-5D6E-409C-BE32-E72D297353CC}">
                <c16:uniqueId val="{00000A3F-7BE2-49F1-B47F-64DDA7BF3F9D}"/>
              </c:ext>
            </c:extLst>
          </c:dPt>
          <c:dPt>
            <c:idx val="1311"/>
            <c:invertIfNegative val="1"/>
            <c:bubble3D val="0"/>
            <c:spPr>
              <a:solidFill>
                <a:srgbClr val="AEABAB"/>
              </a:solidFill>
            </c:spPr>
            <c:extLst>
              <c:ext xmlns:c16="http://schemas.microsoft.com/office/drawing/2014/chart" uri="{C3380CC4-5D6E-409C-BE32-E72D297353CC}">
                <c16:uniqueId val="{00000A41-7BE2-49F1-B47F-64DDA7BF3F9D}"/>
              </c:ext>
            </c:extLst>
          </c:dPt>
          <c:dPt>
            <c:idx val="1312"/>
            <c:invertIfNegative val="1"/>
            <c:bubble3D val="0"/>
            <c:spPr>
              <a:solidFill>
                <a:srgbClr val="AEABAB"/>
              </a:solidFill>
            </c:spPr>
            <c:extLst>
              <c:ext xmlns:c16="http://schemas.microsoft.com/office/drawing/2014/chart" uri="{C3380CC4-5D6E-409C-BE32-E72D297353CC}">
                <c16:uniqueId val="{00000A43-7BE2-49F1-B47F-64DDA7BF3F9D}"/>
              </c:ext>
            </c:extLst>
          </c:dPt>
          <c:dPt>
            <c:idx val="1313"/>
            <c:invertIfNegative val="1"/>
            <c:bubble3D val="0"/>
            <c:spPr>
              <a:solidFill>
                <a:srgbClr val="AEABAB"/>
              </a:solidFill>
            </c:spPr>
            <c:extLst>
              <c:ext xmlns:c16="http://schemas.microsoft.com/office/drawing/2014/chart" uri="{C3380CC4-5D6E-409C-BE32-E72D297353CC}">
                <c16:uniqueId val="{00000A45-7BE2-49F1-B47F-64DDA7BF3F9D}"/>
              </c:ext>
            </c:extLst>
          </c:dPt>
          <c:dPt>
            <c:idx val="1314"/>
            <c:invertIfNegative val="1"/>
            <c:bubble3D val="0"/>
            <c:spPr>
              <a:solidFill>
                <a:srgbClr val="AEABAB"/>
              </a:solidFill>
            </c:spPr>
            <c:extLst>
              <c:ext xmlns:c16="http://schemas.microsoft.com/office/drawing/2014/chart" uri="{C3380CC4-5D6E-409C-BE32-E72D297353CC}">
                <c16:uniqueId val="{00000A47-7BE2-49F1-B47F-64DDA7BF3F9D}"/>
              </c:ext>
            </c:extLst>
          </c:dPt>
          <c:dPt>
            <c:idx val="1315"/>
            <c:invertIfNegative val="1"/>
            <c:bubble3D val="0"/>
            <c:spPr>
              <a:solidFill>
                <a:srgbClr val="AEABAB"/>
              </a:solidFill>
            </c:spPr>
            <c:extLst>
              <c:ext xmlns:c16="http://schemas.microsoft.com/office/drawing/2014/chart" uri="{C3380CC4-5D6E-409C-BE32-E72D297353CC}">
                <c16:uniqueId val="{00000A49-7BE2-49F1-B47F-64DDA7BF3F9D}"/>
              </c:ext>
            </c:extLst>
          </c:dPt>
          <c:dPt>
            <c:idx val="1316"/>
            <c:invertIfNegative val="1"/>
            <c:bubble3D val="0"/>
            <c:spPr>
              <a:solidFill>
                <a:srgbClr val="AEABAB"/>
              </a:solidFill>
            </c:spPr>
            <c:extLst>
              <c:ext xmlns:c16="http://schemas.microsoft.com/office/drawing/2014/chart" uri="{C3380CC4-5D6E-409C-BE32-E72D297353CC}">
                <c16:uniqueId val="{00000A4B-7BE2-49F1-B47F-64DDA7BF3F9D}"/>
              </c:ext>
            </c:extLst>
          </c:dPt>
          <c:dPt>
            <c:idx val="1317"/>
            <c:invertIfNegative val="1"/>
            <c:bubble3D val="0"/>
            <c:spPr>
              <a:solidFill>
                <a:srgbClr val="AEABAB"/>
              </a:solidFill>
            </c:spPr>
            <c:extLst>
              <c:ext xmlns:c16="http://schemas.microsoft.com/office/drawing/2014/chart" uri="{C3380CC4-5D6E-409C-BE32-E72D297353CC}">
                <c16:uniqueId val="{00000A4D-7BE2-49F1-B47F-64DDA7BF3F9D}"/>
              </c:ext>
            </c:extLst>
          </c:dPt>
          <c:dPt>
            <c:idx val="1318"/>
            <c:invertIfNegative val="1"/>
            <c:bubble3D val="0"/>
            <c:spPr>
              <a:solidFill>
                <a:srgbClr val="AEABAB"/>
              </a:solidFill>
            </c:spPr>
            <c:extLst>
              <c:ext xmlns:c16="http://schemas.microsoft.com/office/drawing/2014/chart" uri="{C3380CC4-5D6E-409C-BE32-E72D297353CC}">
                <c16:uniqueId val="{00000A4F-7BE2-49F1-B47F-64DDA7BF3F9D}"/>
              </c:ext>
            </c:extLst>
          </c:dPt>
          <c:dPt>
            <c:idx val="1319"/>
            <c:invertIfNegative val="1"/>
            <c:bubble3D val="0"/>
            <c:spPr>
              <a:solidFill>
                <a:srgbClr val="AEABAB"/>
              </a:solidFill>
            </c:spPr>
            <c:extLst>
              <c:ext xmlns:c16="http://schemas.microsoft.com/office/drawing/2014/chart" uri="{C3380CC4-5D6E-409C-BE32-E72D297353CC}">
                <c16:uniqueId val="{00000A51-7BE2-49F1-B47F-64DDA7BF3F9D}"/>
              </c:ext>
            </c:extLst>
          </c:dPt>
          <c:dPt>
            <c:idx val="1320"/>
            <c:invertIfNegative val="1"/>
            <c:bubble3D val="0"/>
            <c:spPr>
              <a:solidFill>
                <a:srgbClr val="AEABAB"/>
              </a:solidFill>
            </c:spPr>
            <c:extLst>
              <c:ext xmlns:c16="http://schemas.microsoft.com/office/drawing/2014/chart" uri="{C3380CC4-5D6E-409C-BE32-E72D297353CC}">
                <c16:uniqueId val="{00000A53-7BE2-49F1-B47F-64DDA7BF3F9D}"/>
              </c:ext>
            </c:extLst>
          </c:dPt>
          <c:dPt>
            <c:idx val="1321"/>
            <c:invertIfNegative val="1"/>
            <c:bubble3D val="0"/>
            <c:spPr>
              <a:solidFill>
                <a:srgbClr val="AEABAB"/>
              </a:solidFill>
            </c:spPr>
            <c:extLst>
              <c:ext xmlns:c16="http://schemas.microsoft.com/office/drawing/2014/chart" uri="{C3380CC4-5D6E-409C-BE32-E72D297353CC}">
                <c16:uniqueId val="{00000A55-7BE2-49F1-B47F-64DDA7BF3F9D}"/>
              </c:ext>
            </c:extLst>
          </c:dPt>
          <c:dPt>
            <c:idx val="1322"/>
            <c:invertIfNegative val="1"/>
            <c:bubble3D val="0"/>
            <c:spPr>
              <a:solidFill>
                <a:srgbClr val="AEABAB"/>
              </a:solidFill>
            </c:spPr>
            <c:extLst>
              <c:ext xmlns:c16="http://schemas.microsoft.com/office/drawing/2014/chart" uri="{C3380CC4-5D6E-409C-BE32-E72D297353CC}">
                <c16:uniqueId val="{00000A57-7BE2-49F1-B47F-64DDA7BF3F9D}"/>
              </c:ext>
            </c:extLst>
          </c:dPt>
          <c:dPt>
            <c:idx val="1323"/>
            <c:invertIfNegative val="1"/>
            <c:bubble3D val="0"/>
            <c:spPr>
              <a:solidFill>
                <a:srgbClr val="AEABAB"/>
              </a:solidFill>
            </c:spPr>
            <c:extLst>
              <c:ext xmlns:c16="http://schemas.microsoft.com/office/drawing/2014/chart" uri="{C3380CC4-5D6E-409C-BE32-E72D297353CC}">
                <c16:uniqueId val="{00000A59-7BE2-49F1-B47F-64DDA7BF3F9D}"/>
              </c:ext>
            </c:extLst>
          </c:dPt>
          <c:dPt>
            <c:idx val="1324"/>
            <c:invertIfNegative val="1"/>
            <c:bubble3D val="0"/>
            <c:spPr>
              <a:solidFill>
                <a:srgbClr val="AEABAB"/>
              </a:solidFill>
            </c:spPr>
            <c:extLst>
              <c:ext xmlns:c16="http://schemas.microsoft.com/office/drawing/2014/chart" uri="{C3380CC4-5D6E-409C-BE32-E72D297353CC}">
                <c16:uniqueId val="{00000A5B-7BE2-49F1-B47F-64DDA7BF3F9D}"/>
              </c:ext>
            </c:extLst>
          </c:dPt>
          <c:dPt>
            <c:idx val="1325"/>
            <c:invertIfNegative val="1"/>
            <c:bubble3D val="0"/>
            <c:spPr>
              <a:solidFill>
                <a:srgbClr val="AEABAB"/>
              </a:solidFill>
            </c:spPr>
            <c:extLst>
              <c:ext xmlns:c16="http://schemas.microsoft.com/office/drawing/2014/chart" uri="{C3380CC4-5D6E-409C-BE32-E72D297353CC}">
                <c16:uniqueId val="{00000A5D-7BE2-49F1-B47F-64DDA7BF3F9D}"/>
              </c:ext>
            </c:extLst>
          </c:dPt>
          <c:dPt>
            <c:idx val="1326"/>
            <c:invertIfNegative val="1"/>
            <c:bubble3D val="0"/>
            <c:spPr>
              <a:solidFill>
                <a:srgbClr val="AEABAB"/>
              </a:solidFill>
            </c:spPr>
            <c:extLst>
              <c:ext xmlns:c16="http://schemas.microsoft.com/office/drawing/2014/chart" uri="{C3380CC4-5D6E-409C-BE32-E72D297353CC}">
                <c16:uniqueId val="{00000A5F-7BE2-49F1-B47F-64DDA7BF3F9D}"/>
              </c:ext>
            </c:extLst>
          </c:dPt>
          <c:dPt>
            <c:idx val="1327"/>
            <c:invertIfNegative val="1"/>
            <c:bubble3D val="0"/>
            <c:spPr>
              <a:solidFill>
                <a:srgbClr val="AEABAB"/>
              </a:solidFill>
            </c:spPr>
            <c:extLst>
              <c:ext xmlns:c16="http://schemas.microsoft.com/office/drawing/2014/chart" uri="{C3380CC4-5D6E-409C-BE32-E72D297353CC}">
                <c16:uniqueId val="{00000A61-7BE2-49F1-B47F-64DDA7BF3F9D}"/>
              </c:ext>
            </c:extLst>
          </c:dPt>
          <c:dPt>
            <c:idx val="1328"/>
            <c:invertIfNegative val="1"/>
            <c:bubble3D val="0"/>
            <c:spPr>
              <a:solidFill>
                <a:srgbClr val="AEABAB"/>
              </a:solidFill>
            </c:spPr>
            <c:extLst>
              <c:ext xmlns:c16="http://schemas.microsoft.com/office/drawing/2014/chart" uri="{C3380CC4-5D6E-409C-BE32-E72D297353CC}">
                <c16:uniqueId val="{00000A63-7BE2-49F1-B47F-64DDA7BF3F9D}"/>
              </c:ext>
            </c:extLst>
          </c:dPt>
          <c:dPt>
            <c:idx val="1329"/>
            <c:invertIfNegative val="1"/>
            <c:bubble3D val="0"/>
            <c:spPr>
              <a:solidFill>
                <a:srgbClr val="AEABAB"/>
              </a:solidFill>
            </c:spPr>
            <c:extLst>
              <c:ext xmlns:c16="http://schemas.microsoft.com/office/drawing/2014/chart" uri="{C3380CC4-5D6E-409C-BE32-E72D297353CC}">
                <c16:uniqueId val="{00000A65-7BE2-49F1-B47F-64DDA7BF3F9D}"/>
              </c:ext>
            </c:extLst>
          </c:dPt>
          <c:dPt>
            <c:idx val="1330"/>
            <c:invertIfNegative val="1"/>
            <c:bubble3D val="0"/>
            <c:spPr>
              <a:solidFill>
                <a:srgbClr val="AEABAB"/>
              </a:solidFill>
            </c:spPr>
            <c:extLst>
              <c:ext xmlns:c16="http://schemas.microsoft.com/office/drawing/2014/chart" uri="{C3380CC4-5D6E-409C-BE32-E72D297353CC}">
                <c16:uniqueId val="{00000A67-7BE2-49F1-B47F-64DDA7BF3F9D}"/>
              </c:ext>
            </c:extLst>
          </c:dPt>
          <c:dPt>
            <c:idx val="1331"/>
            <c:invertIfNegative val="1"/>
            <c:bubble3D val="0"/>
            <c:spPr>
              <a:solidFill>
                <a:srgbClr val="AEABAB"/>
              </a:solidFill>
            </c:spPr>
            <c:extLst>
              <c:ext xmlns:c16="http://schemas.microsoft.com/office/drawing/2014/chart" uri="{C3380CC4-5D6E-409C-BE32-E72D297353CC}">
                <c16:uniqueId val="{00000A69-7BE2-49F1-B47F-64DDA7BF3F9D}"/>
              </c:ext>
            </c:extLst>
          </c:dPt>
          <c:dPt>
            <c:idx val="1332"/>
            <c:invertIfNegative val="1"/>
            <c:bubble3D val="0"/>
            <c:spPr>
              <a:solidFill>
                <a:srgbClr val="AEABAB"/>
              </a:solidFill>
            </c:spPr>
            <c:extLst>
              <c:ext xmlns:c16="http://schemas.microsoft.com/office/drawing/2014/chart" uri="{C3380CC4-5D6E-409C-BE32-E72D297353CC}">
                <c16:uniqueId val="{00000A6B-7BE2-49F1-B47F-64DDA7BF3F9D}"/>
              </c:ext>
            </c:extLst>
          </c:dPt>
          <c:dPt>
            <c:idx val="1333"/>
            <c:invertIfNegative val="1"/>
            <c:bubble3D val="0"/>
            <c:spPr>
              <a:solidFill>
                <a:srgbClr val="AEABAB"/>
              </a:solidFill>
            </c:spPr>
            <c:extLst>
              <c:ext xmlns:c16="http://schemas.microsoft.com/office/drawing/2014/chart" uri="{C3380CC4-5D6E-409C-BE32-E72D297353CC}">
                <c16:uniqueId val="{00000A6D-7BE2-49F1-B47F-64DDA7BF3F9D}"/>
              </c:ext>
            </c:extLst>
          </c:dPt>
          <c:dPt>
            <c:idx val="1334"/>
            <c:invertIfNegative val="1"/>
            <c:bubble3D val="0"/>
            <c:spPr>
              <a:solidFill>
                <a:srgbClr val="AEABAB"/>
              </a:solidFill>
            </c:spPr>
            <c:extLst>
              <c:ext xmlns:c16="http://schemas.microsoft.com/office/drawing/2014/chart" uri="{C3380CC4-5D6E-409C-BE32-E72D297353CC}">
                <c16:uniqueId val="{00000A6F-7BE2-49F1-B47F-64DDA7BF3F9D}"/>
              </c:ext>
            </c:extLst>
          </c:dPt>
          <c:dPt>
            <c:idx val="1335"/>
            <c:invertIfNegative val="1"/>
            <c:bubble3D val="0"/>
            <c:spPr>
              <a:solidFill>
                <a:srgbClr val="AEABAB"/>
              </a:solidFill>
            </c:spPr>
            <c:extLst>
              <c:ext xmlns:c16="http://schemas.microsoft.com/office/drawing/2014/chart" uri="{C3380CC4-5D6E-409C-BE32-E72D297353CC}">
                <c16:uniqueId val="{00000A71-7BE2-49F1-B47F-64DDA7BF3F9D}"/>
              </c:ext>
            </c:extLst>
          </c:dPt>
          <c:dPt>
            <c:idx val="1336"/>
            <c:invertIfNegative val="1"/>
            <c:bubble3D val="0"/>
            <c:spPr>
              <a:solidFill>
                <a:srgbClr val="AEABAB"/>
              </a:solidFill>
            </c:spPr>
            <c:extLst>
              <c:ext xmlns:c16="http://schemas.microsoft.com/office/drawing/2014/chart" uri="{C3380CC4-5D6E-409C-BE32-E72D297353CC}">
                <c16:uniqueId val="{00000A73-7BE2-49F1-B47F-64DDA7BF3F9D}"/>
              </c:ext>
            </c:extLst>
          </c:dPt>
          <c:dPt>
            <c:idx val="1337"/>
            <c:invertIfNegative val="1"/>
            <c:bubble3D val="0"/>
            <c:spPr>
              <a:solidFill>
                <a:srgbClr val="AEABAB"/>
              </a:solidFill>
            </c:spPr>
            <c:extLst>
              <c:ext xmlns:c16="http://schemas.microsoft.com/office/drawing/2014/chart" uri="{C3380CC4-5D6E-409C-BE32-E72D297353CC}">
                <c16:uniqueId val="{00000A75-7BE2-49F1-B47F-64DDA7BF3F9D}"/>
              </c:ext>
            </c:extLst>
          </c:dPt>
          <c:dPt>
            <c:idx val="1338"/>
            <c:invertIfNegative val="1"/>
            <c:bubble3D val="0"/>
            <c:spPr>
              <a:solidFill>
                <a:srgbClr val="AEABAB"/>
              </a:solidFill>
            </c:spPr>
            <c:extLst>
              <c:ext xmlns:c16="http://schemas.microsoft.com/office/drawing/2014/chart" uri="{C3380CC4-5D6E-409C-BE32-E72D297353CC}">
                <c16:uniqueId val="{00000A77-7BE2-49F1-B47F-64DDA7BF3F9D}"/>
              </c:ext>
            </c:extLst>
          </c:dPt>
          <c:dPt>
            <c:idx val="1339"/>
            <c:invertIfNegative val="1"/>
            <c:bubble3D val="0"/>
            <c:spPr>
              <a:solidFill>
                <a:srgbClr val="AEABAB"/>
              </a:solidFill>
            </c:spPr>
            <c:extLst>
              <c:ext xmlns:c16="http://schemas.microsoft.com/office/drawing/2014/chart" uri="{C3380CC4-5D6E-409C-BE32-E72D297353CC}">
                <c16:uniqueId val="{00000A79-7BE2-49F1-B47F-64DDA7BF3F9D}"/>
              </c:ext>
            </c:extLst>
          </c:dPt>
          <c:dPt>
            <c:idx val="1340"/>
            <c:invertIfNegative val="1"/>
            <c:bubble3D val="0"/>
            <c:spPr>
              <a:solidFill>
                <a:srgbClr val="AEABAB"/>
              </a:solidFill>
            </c:spPr>
            <c:extLst>
              <c:ext xmlns:c16="http://schemas.microsoft.com/office/drawing/2014/chart" uri="{C3380CC4-5D6E-409C-BE32-E72D297353CC}">
                <c16:uniqueId val="{00000A7B-7BE2-49F1-B47F-64DDA7BF3F9D}"/>
              </c:ext>
            </c:extLst>
          </c:dPt>
          <c:dPt>
            <c:idx val="1341"/>
            <c:invertIfNegative val="1"/>
            <c:bubble3D val="0"/>
            <c:spPr>
              <a:solidFill>
                <a:srgbClr val="AEABAB"/>
              </a:solidFill>
            </c:spPr>
            <c:extLst>
              <c:ext xmlns:c16="http://schemas.microsoft.com/office/drawing/2014/chart" uri="{C3380CC4-5D6E-409C-BE32-E72D297353CC}">
                <c16:uniqueId val="{00000A7D-7BE2-49F1-B47F-64DDA7BF3F9D}"/>
              </c:ext>
            </c:extLst>
          </c:dPt>
          <c:dPt>
            <c:idx val="1342"/>
            <c:invertIfNegative val="1"/>
            <c:bubble3D val="0"/>
            <c:spPr>
              <a:solidFill>
                <a:srgbClr val="AEABAB"/>
              </a:solidFill>
            </c:spPr>
            <c:extLst>
              <c:ext xmlns:c16="http://schemas.microsoft.com/office/drawing/2014/chart" uri="{C3380CC4-5D6E-409C-BE32-E72D297353CC}">
                <c16:uniqueId val="{00000A7F-7BE2-49F1-B47F-64DDA7BF3F9D}"/>
              </c:ext>
            </c:extLst>
          </c:dPt>
          <c:dPt>
            <c:idx val="1343"/>
            <c:invertIfNegative val="1"/>
            <c:bubble3D val="0"/>
            <c:spPr>
              <a:solidFill>
                <a:srgbClr val="AEABAB"/>
              </a:solidFill>
            </c:spPr>
            <c:extLst>
              <c:ext xmlns:c16="http://schemas.microsoft.com/office/drawing/2014/chart" uri="{C3380CC4-5D6E-409C-BE32-E72D297353CC}">
                <c16:uniqueId val="{00000A81-7BE2-49F1-B47F-64DDA7BF3F9D}"/>
              </c:ext>
            </c:extLst>
          </c:dPt>
          <c:dPt>
            <c:idx val="1344"/>
            <c:invertIfNegative val="1"/>
            <c:bubble3D val="0"/>
            <c:spPr>
              <a:solidFill>
                <a:srgbClr val="AEABAB"/>
              </a:solidFill>
            </c:spPr>
            <c:extLst>
              <c:ext xmlns:c16="http://schemas.microsoft.com/office/drawing/2014/chart" uri="{C3380CC4-5D6E-409C-BE32-E72D297353CC}">
                <c16:uniqueId val="{00000A83-7BE2-49F1-B47F-64DDA7BF3F9D}"/>
              </c:ext>
            </c:extLst>
          </c:dPt>
          <c:dPt>
            <c:idx val="1345"/>
            <c:invertIfNegative val="1"/>
            <c:bubble3D val="0"/>
            <c:spPr>
              <a:solidFill>
                <a:srgbClr val="AEABAB"/>
              </a:solidFill>
            </c:spPr>
            <c:extLst>
              <c:ext xmlns:c16="http://schemas.microsoft.com/office/drawing/2014/chart" uri="{C3380CC4-5D6E-409C-BE32-E72D297353CC}">
                <c16:uniqueId val="{00000A85-7BE2-49F1-B47F-64DDA7BF3F9D}"/>
              </c:ext>
            </c:extLst>
          </c:dPt>
          <c:dPt>
            <c:idx val="1346"/>
            <c:invertIfNegative val="1"/>
            <c:bubble3D val="0"/>
            <c:spPr>
              <a:solidFill>
                <a:srgbClr val="AEABAB"/>
              </a:solidFill>
            </c:spPr>
            <c:extLst>
              <c:ext xmlns:c16="http://schemas.microsoft.com/office/drawing/2014/chart" uri="{C3380CC4-5D6E-409C-BE32-E72D297353CC}">
                <c16:uniqueId val="{00000A87-7BE2-49F1-B47F-64DDA7BF3F9D}"/>
              </c:ext>
            </c:extLst>
          </c:dPt>
          <c:dPt>
            <c:idx val="1347"/>
            <c:invertIfNegative val="1"/>
            <c:bubble3D val="0"/>
            <c:spPr>
              <a:solidFill>
                <a:srgbClr val="AEABAB"/>
              </a:solidFill>
            </c:spPr>
            <c:extLst>
              <c:ext xmlns:c16="http://schemas.microsoft.com/office/drawing/2014/chart" uri="{C3380CC4-5D6E-409C-BE32-E72D297353CC}">
                <c16:uniqueId val="{00000A89-7BE2-49F1-B47F-64DDA7BF3F9D}"/>
              </c:ext>
            </c:extLst>
          </c:dPt>
          <c:dPt>
            <c:idx val="1348"/>
            <c:invertIfNegative val="1"/>
            <c:bubble3D val="0"/>
            <c:spPr>
              <a:solidFill>
                <a:srgbClr val="AEABAB"/>
              </a:solidFill>
            </c:spPr>
            <c:extLst>
              <c:ext xmlns:c16="http://schemas.microsoft.com/office/drawing/2014/chart" uri="{C3380CC4-5D6E-409C-BE32-E72D297353CC}">
                <c16:uniqueId val="{00000A8B-7BE2-49F1-B47F-64DDA7BF3F9D}"/>
              </c:ext>
            </c:extLst>
          </c:dPt>
          <c:dPt>
            <c:idx val="1349"/>
            <c:invertIfNegative val="1"/>
            <c:bubble3D val="0"/>
            <c:spPr>
              <a:solidFill>
                <a:srgbClr val="AEABAB"/>
              </a:solidFill>
            </c:spPr>
            <c:extLst>
              <c:ext xmlns:c16="http://schemas.microsoft.com/office/drawing/2014/chart" uri="{C3380CC4-5D6E-409C-BE32-E72D297353CC}">
                <c16:uniqueId val="{00000A8D-7BE2-49F1-B47F-64DDA7BF3F9D}"/>
              </c:ext>
            </c:extLst>
          </c:dPt>
          <c:dPt>
            <c:idx val="1350"/>
            <c:invertIfNegative val="1"/>
            <c:bubble3D val="0"/>
            <c:spPr>
              <a:solidFill>
                <a:srgbClr val="AEABAB"/>
              </a:solidFill>
            </c:spPr>
            <c:extLst>
              <c:ext xmlns:c16="http://schemas.microsoft.com/office/drawing/2014/chart" uri="{C3380CC4-5D6E-409C-BE32-E72D297353CC}">
                <c16:uniqueId val="{00000A8F-7BE2-49F1-B47F-64DDA7BF3F9D}"/>
              </c:ext>
            </c:extLst>
          </c:dPt>
          <c:dPt>
            <c:idx val="1351"/>
            <c:invertIfNegative val="1"/>
            <c:bubble3D val="0"/>
            <c:spPr>
              <a:solidFill>
                <a:srgbClr val="AEABAB"/>
              </a:solidFill>
            </c:spPr>
            <c:extLst>
              <c:ext xmlns:c16="http://schemas.microsoft.com/office/drawing/2014/chart" uri="{C3380CC4-5D6E-409C-BE32-E72D297353CC}">
                <c16:uniqueId val="{00000A91-7BE2-49F1-B47F-64DDA7BF3F9D}"/>
              </c:ext>
            </c:extLst>
          </c:dPt>
          <c:dPt>
            <c:idx val="1352"/>
            <c:invertIfNegative val="1"/>
            <c:bubble3D val="0"/>
            <c:spPr>
              <a:solidFill>
                <a:srgbClr val="AEABAB"/>
              </a:solidFill>
            </c:spPr>
            <c:extLst>
              <c:ext xmlns:c16="http://schemas.microsoft.com/office/drawing/2014/chart" uri="{C3380CC4-5D6E-409C-BE32-E72D297353CC}">
                <c16:uniqueId val="{00000A93-7BE2-49F1-B47F-64DDA7BF3F9D}"/>
              </c:ext>
            </c:extLst>
          </c:dPt>
          <c:dPt>
            <c:idx val="1353"/>
            <c:invertIfNegative val="1"/>
            <c:bubble3D val="0"/>
            <c:spPr>
              <a:solidFill>
                <a:srgbClr val="AEABAB"/>
              </a:solidFill>
            </c:spPr>
            <c:extLst>
              <c:ext xmlns:c16="http://schemas.microsoft.com/office/drawing/2014/chart" uri="{C3380CC4-5D6E-409C-BE32-E72D297353CC}">
                <c16:uniqueId val="{00000A95-7BE2-49F1-B47F-64DDA7BF3F9D}"/>
              </c:ext>
            </c:extLst>
          </c:dPt>
          <c:dPt>
            <c:idx val="1354"/>
            <c:invertIfNegative val="1"/>
            <c:bubble3D val="0"/>
            <c:spPr>
              <a:solidFill>
                <a:srgbClr val="AEABAB"/>
              </a:solidFill>
            </c:spPr>
            <c:extLst>
              <c:ext xmlns:c16="http://schemas.microsoft.com/office/drawing/2014/chart" uri="{C3380CC4-5D6E-409C-BE32-E72D297353CC}">
                <c16:uniqueId val="{00000A97-7BE2-49F1-B47F-64DDA7BF3F9D}"/>
              </c:ext>
            </c:extLst>
          </c:dPt>
          <c:dPt>
            <c:idx val="1355"/>
            <c:invertIfNegative val="1"/>
            <c:bubble3D val="0"/>
            <c:spPr>
              <a:solidFill>
                <a:srgbClr val="AEABAB"/>
              </a:solidFill>
            </c:spPr>
            <c:extLst>
              <c:ext xmlns:c16="http://schemas.microsoft.com/office/drawing/2014/chart" uri="{C3380CC4-5D6E-409C-BE32-E72D297353CC}">
                <c16:uniqueId val="{00000A99-7BE2-49F1-B47F-64DDA7BF3F9D}"/>
              </c:ext>
            </c:extLst>
          </c:dPt>
          <c:dPt>
            <c:idx val="1356"/>
            <c:invertIfNegative val="1"/>
            <c:bubble3D val="0"/>
            <c:spPr>
              <a:solidFill>
                <a:srgbClr val="AEABAB"/>
              </a:solidFill>
            </c:spPr>
            <c:extLst>
              <c:ext xmlns:c16="http://schemas.microsoft.com/office/drawing/2014/chart" uri="{C3380CC4-5D6E-409C-BE32-E72D297353CC}">
                <c16:uniqueId val="{00000A9B-7BE2-49F1-B47F-64DDA7BF3F9D}"/>
              </c:ext>
            </c:extLst>
          </c:dPt>
          <c:dPt>
            <c:idx val="1357"/>
            <c:invertIfNegative val="1"/>
            <c:bubble3D val="0"/>
            <c:spPr>
              <a:solidFill>
                <a:srgbClr val="AEABAB"/>
              </a:solidFill>
            </c:spPr>
            <c:extLst>
              <c:ext xmlns:c16="http://schemas.microsoft.com/office/drawing/2014/chart" uri="{C3380CC4-5D6E-409C-BE32-E72D297353CC}">
                <c16:uniqueId val="{00000A9D-7BE2-49F1-B47F-64DDA7BF3F9D}"/>
              </c:ext>
            </c:extLst>
          </c:dPt>
          <c:dPt>
            <c:idx val="1358"/>
            <c:invertIfNegative val="1"/>
            <c:bubble3D val="0"/>
            <c:spPr>
              <a:solidFill>
                <a:srgbClr val="AEABAB"/>
              </a:solidFill>
            </c:spPr>
            <c:extLst>
              <c:ext xmlns:c16="http://schemas.microsoft.com/office/drawing/2014/chart" uri="{C3380CC4-5D6E-409C-BE32-E72D297353CC}">
                <c16:uniqueId val="{00000A9F-7BE2-49F1-B47F-64DDA7BF3F9D}"/>
              </c:ext>
            </c:extLst>
          </c:dPt>
          <c:dPt>
            <c:idx val="1359"/>
            <c:invertIfNegative val="1"/>
            <c:bubble3D val="0"/>
            <c:spPr>
              <a:solidFill>
                <a:srgbClr val="AEABAB"/>
              </a:solidFill>
            </c:spPr>
            <c:extLst>
              <c:ext xmlns:c16="http://schemas.microsoft.com/office/drawing/2014/chart" uri="{C3380CC4-5D6E-409C-BE32-E72D297353CC}">
                <c16:uniqueId val="{00000AA1-7BE2-49F1-B47F-64DDA7BF3F9D}"/>
              </c:ext>
            </c:extLst>
          </c:dPt>
          <c:dPt>
            <c:idx val="1360"/>
            <c:invertIfNegative val="1"/>
            <c:bubble3D val="0"/>
            <c:spPr>
              <a:solidFill>
                <a:srgbClr val="AEABAB"/>
              </a:solidFill>
            </c:spPr>
            <c:extLst>
              <c:ext xmlns:c16="http://schemas.microsoft.com/office/drawing/2014/chart" uri="{C3380CC4-5D6E-409C-BE32-E72D297353CC}">
                <c16:uniqueId val="{00000AA3-7BE2-49F1-B47F-64DDA7BF3F9D}"/>
              </c:ext>
            </c:extLst>
          </c:dPt>
          <c:dPt>
            <c:idx val="1361"/>
            <c:invertIfNegative val="1"/>
            <c:bubble3D val="0"/>
            <c:spPr>
              <a:solidFill>
                <a:srgbClr val="AEABAB"/>
              </a:solidFill>
            </c:spPr>
            <c:extLst>
              <c:ext xmlns:c16="http://schemas.microsoft.com/office/drawing/2014/chart" uri="{C3380CC4-5D6E-409C-BE32-E72D297353CC}">
                <c16:uniqueId val="{00000AA5-7BE2-49F1-B47F-64DDA7BF3F9D}"/>
              </c:ext>
            </c:extLst>
          </c:dPt>
          <c:dPt>
            <c:idx val="1362"/>
            <c:invertIfNegative val="1"/>
            <c:bubble3D val="0"/>
            <c:spPr>
              <a:solidFill>
                <a:srgbClr val="AEABAB"/>
              </a:solidFill>
            </c:spPr>
            <c:extLst>
              <c:ext xmlns:c16="http://schemas.microsoft.com/office/drawing/2014/chart" uri="{C3380CC4-5D6E-409C-BE32-E72D297353CC}">
                <c16:uniqueId val="{00000AA7-7BE2-49F1-B47F-64DDA7BF3F9D}"/>
              </c:ext>
            </c:extLst>
          </c:dPt>
          <c:dPt>
            <c:idx val="1363"/>
            <c:invertIfNegative val="1"/>
            <c:bubble3D val="0"/>
            <c:spPr>
              <a:solidFill>
                <a:srgbClr val="AEABAB"/>
              </a:solidFill>
            </c:spPr>
            <c:extLst>
              <c:ext xmlns:c16="http://schemas.microsoft.com/office/drawing/2014/chart" uri="{C3380CC4-5D6E-409C-BE32-E72D297353CC}">
                <c16:uniqueId val="{00000AA9-7BE2-49F1-B47F-64DDA7BF3F9D}"/>
              </c:ext>
            </c:extLst>
          </c:dPt>
          <c:dPt>
            <c:idx val="1364"/>
            <c:invertIfNegative val="1"/>
            <c:bubble3D val="0"/>
            <c:spPr>
              <a:solidFill>
                <a:srgbClr val="AEABAB"/>
              </a:solidFill>
            </c:spPr>
            <c:extLst>
              <c:ext xmlns:c16="http://schemas.microsoft.com/office/drawing/2014/chart" uri="{C3380CC4-5D6E-409C-BE32-E72D297353CC}">
                <c16:uniqueId val="{00000AAB-7BE2-49F1-B47F-64DDA7BF3F9D}"/>
              </c:ext>
            </c:extLst>
          </c:dPt>
          <c:dPt>
            <c:idx val="1365"/>
            <c:invertIfNegative val="1"/>
            <c:bubble3D val="0"/>
            <c:spPr>
              <a:solidFill>
                <a:srgbClr val="AEABAB"/>
              </a:solidFill>
            </c:spPr>
            <c:extLst>
              <c:ext xmlns:c16="http://schemas.microsoft.com/office/drawing/2014/chart" uri="{C3380CC4-5D6E-409C-BE32-E72D297353CC}">
                <c16:uniqueId val="{00000AAD-7BE2-49F1-B47F-64DDA7BF3F9D}"/>
              </c:ext>
            </c:extLst>
          </c:dPt>
          <c:dPt>
            <c:idx val="1366"/>
            <c:invertIfNegative val="1"/>
            <c:bubble3D val="0"/>
            <c:spPr>
              <a:solidFill>
                <a:srgbClr val="AEABAB"/>
              </a:solidFill>
            </c:spPr>
            <c:extLst>
              <c:ext xmlns:c16="http://schemas.microsoft.com/office/drawing/2014/chart" uri="{C3380CC4-5D6E-409C-BE32-E72D297353CC}">
                <c16:uniqueId val="{00000AAF-7BE2-49F1-B47F-64DDA7BF3F9D}"/>
              </c:ext>
            </c:extLst>
          </c:dPt>
          <c:dPt>
            <c:idx val="1367"/>
            <c:invertIfNegative val="1"/>
            <c:bubble3D val="0"/>
            <c:spPr>
              <a:solidFill>
                <a:srgbClr val="AEABAB"/>
              </a:solidFill>
            </c:spPr>
            <c:extLst>
              <c:ext xmlns:c16="http://schemas.microsoft.com/office/drawing/2014/chart" uri="{C3380CC4-5D6E-409C-BE32-E72D297353CC}">
                <c16:uniqueId val="{00000AB1-7BE2-49F1-B47F-64DDA7BF3F9D}"/>
              </c:ext>
            </c:extLst>
          </c:dPt>
          <c:dPt>
            <c:idx val="1368"/>
            <c:invertIfNegative val="1"/>
            <c:bubble3D val="0"/>
            <c:spPr>
              <a:solidFill>
                <a:srgbClr val="AEABAB"/>
              </a:solidFill>
            </c:spPr>
            <c:extLst>
              <c:ext xmlns:c16="http://schemas.microsoft.com/office/drawing/2014/chart" uri="{C3380CC4-5D6E-409C-BE32-E72D297353CC}">
                <c16:uniqueId val="{00000AB3-7BE2-49F1-B47F-64DDA7BF3F9D}"/>
              </c:ext>
            </c:extLst>
          </c:dPt>
          <c:dPt>
            <c:idx val="1369"/>
            <c:invertIfNegative val="1"/>
            <c:bubble3D val="0"/>
            <c:spPr>
              <a:solidFill>
                <a:srgbClr val="AEABAB"/>
              </a:solidFill>
            </c:spPr>
            <c:extLst>
              <c:ext xmlns:c16="http://schemas.microsoft.com/office/drawing/2014/chart" uri="{C3380CC4-5D6E-409C-BE32-E72D297353CC}">
                <c16:uniqueId val="{00000AB5-7BE2-49F1-B47F-64DDA7BF3F9D}"/>
              </c:ext>
            </c:extLst>
          </c:dPt>
          <c:dPt>
            <c:idx val="1370"/>
            <c:invertIfNegative val="1"/>
            <c:bubble3D val="0"/>
            <c:spPr>
              <a:solidFill>
                <a:srgbClr val="AEABAB"/>
              </a:solidFill>
            </c:spPr>
            <c:extLst>
              <c:ext xmlns:c16="http://schemas.microsoft.com/office/drawing/2014/chart" uri="{C3380CC4-5D6E-409C-BE32-E72D297353CC}">
                <c16:uniqueId val="{00000AB7-7BE2-49F1-B47F-64DDA7BF3F9D}"/>
              </c:ext>
            </c:extLst>
          </c:dPt>
          <c:dPt>
            <c:idx val="1371"/>
            <c:invertIfNegative val="1"/>
            <c:bubble3D val="0"/>
            <c:spPr>
              <a:solidFill>
                <a:srgbClr val="AEABAB"/>
              </a:solidFill>
            </c:spPr>
            <c:extLst>
              <c:ext xmlns:c16="http://schemas.microsoft.com/office/drawing/2014/chart" uri="{C3380CC4-5D6E-409C-BE32-E72D297353CC}">
                <c16:uniqueId val="{00000AB9-7BE2-49F1-B47F-64DDA7BF3F9D}"/>
              </c:ext>
            </c:extLst>
          </c:dPt>
          <c:dPt>
            <c:idx val="1372"/>
            <c:invertIfNegative val="1"/>
            <c:bubble3D val="0"/>
            <c:spPr>
              <a:solidFill>
                <a:srgbClr val="AEABAB"/>
              </a:solidFill>
            </c:spPr>
            <c:extLst>
              <c:ext xmlns:c16="http://schemas.microsoft.com/office/drawing/2014/chart" uri="{C3380CC4-5D6E-409C-BE32-E72D297353CC}">
                <c16:uniqueId val="{00000ABB-7BE2-49F1-B47F-64DDA7BF3F9D}"/>
              </c:ext>
            </c:extLst>
          </c:dPt>
          <c:dPt>
            <c:idx val="1373"/>
            <c:invertIfNegative val="1"/>
            <c:bubble3D val="0"/>
            <c:spPr>
              <a:solidFill>
                <a:srgbClr val="AEABAB"/>
              </a:solidFill>
            </c:spPr>
            <c:extLst>
              <c:ext xmlns:c16="http://schemas.microsoft.com/office/drawing/2014/chart" uri="{C3380CC4-5D6E-409C-BE32-E72D297353CC}">
                <c16:uniqueId val="{00000ABD-7BE2-49F1-B47F-64DDA7BF3F9D}"/>
              </c:ext>
            </c:extLst>
          </c:dPt>
          <c:dPt>
            <c:idx val="1374"/>
            <c:invertIfNegative val="1"/>
            <c:bubble3D val="0"/>
            <c:spPr>
              <a:solidFill>
                <a:srgbClr val="AEABAB"/>
              </a:solidFill>
            </c:spPr>
            <c:extLst>
              <c:ext xmlns:c16="http://schemas.microsoft.com/office/drawing/2014/chart" uri="{C3380CC4-5D6E-409C-BE32-E72D297353CC}">
                <c16:uniqueId val="{00000ABF-7BE2-49F1-B47F-64DDA7BF3F9D}"/>
              </c:ext>
            </c:extLst>
          </c:dPt>
          <c:dPt>
            <c:idx val="1375"/>
            <c:invertIfNegative val="1"/>
            <c:bubble3D val="0"/>
            <c:spPr>
              <a:solidFill>
                <a:srgbClr val="AEABAB"/>
              </a:solidFill>
            </c:spPr>
            <c:extLst>
              <c:ext xmlns:c16="http://schemas.microsoft.com/office/drawing/2014/chart" uri="{C3380CC4-5D6E-409C-BE32-E72D297353CC}">
                <c16:uniqueId val="{00000AC1-7BE2-49F1-B47F-64DDA7BF3F9D}"/>
              </c:ext>
            </c:extLst>
          </c:dPt>
          <c:dPt>
            <c:idx val="1376"/>
            <c:invertIfNegative val="1"/>
            <c:bubble3D val="0"/>
            <c:spPr>
              <a:solidFill>
                <a:srgbClr val="AEABAB"/>
              </a:solidFill>
            </c:spPr>
            <c:extLst>
              <c:ext xmlns:c16="http://schemas.microsoft.com/office/drawing/2014/chart" uri="{C3380CC4-5D6E-409C-BE32-E72D297353CC}">
                <c16:uniqueId val="{00000AC3-7BE2-49F1-B47F-64DDA7BF3F9D}"/>
              </c:ext>
            </c:extLst>
          </c:dPt>
          <c:dPt>
            <c:idx val="1377"/>
            <c:invertIfNegative val="1"/>
            <c:bubble3D val="0"/>
            <c:spPr>
              <a:solidFill>
                <a:srgbClr val="AEABAB"/>
              </a:solidFill>
            </c:spPr>
            <c:extLst>
              <c:ext xmlns:c16="http://schemas.microsoft.com/office/drawing/2014/chart" uri="{C3380CC4-5D6E-409C-BE32-E72D297353CC}">
                <c16:uniqueId val="{00000AC5-7BE2-49F1-B47F-64DDA7BF3F9D}"/>
              </c:ext>
            </c:extLst>
          </c:dPt>
          <c:dPt>
            <c:idx val="1378"/>
            <c:invertIfNegative val="1"/>
            <c:bubble3D val="0"/>
            <c:spPr>
              <a:solidFill>
                <a:srgbClr val="AEABAB"/>
              </a:solidFill>
            </c:spPr>
            <c:extLst>
              <c:ext xmlns:c16="http://schemas.microsoft.com/office/drawing/2014/chart" uri="{C3380CC4-5D6E-409C-BE32-E72D297353CC}">
                <c16:uniqueId val="{00000AC7-7BE2-49F1-B47F-64DDA7BF3F9D}"/>
              </c:ext>
            </c:extLst>
          </c:dPt>
          <c:dPt>
            <c:idx val="1379"/>
            <c:invertIfNegative val="1"/>
            <c:bubble3D val="0"/>
            <c:spPr>
              <a:solidFill>
                <a:srgbClr val="AEABAB"/>
              </a:solidFill>
            </c:spPr>
            <c:extLst>
              <c:ext xmlns:c16="http://schemas.microsoft.com/office/drawing/2014/chart" uri="{C3380CC4-5D6E-409C-BE32-E72D297353CC}">
                <c16:uniqueId val="{00000AC9-7BE2-49F1-B47F-64DDA7BF3F9D}"/>
              </c:ext>
            </c:extLst>
          </c:dPt>
          <c:dPt>
            <c:idx val="1380"/>
            <c:invertIfNegative val="1"/>
            <c:bubble3D val="0"/>
            <c:spPr>
              <a:solidFill>
                <a:srgbClr val="AEABAB"/>
              </a:solidFill>
            </c:spPr>
            <c:extLst>
              <c:ext xmlns:c16="http://schemas.microsoft.com/office/drawing/2014/chart" uri="{C3380CC4-5D6E-409C-BE32-E72D297353CC}">
                <c16:uniqueId val="{00000ACB-7BE2-49F1-B47F-64DDA7BF3F9D}"/>
              </c:ext>
            </c:extLst>
          </c:dPt>
          <c:dPt>
            <c:idx val="1381"/>
            <c:invertIfNegative val="1"/>
            <c:bubble3D val="0"/>
            <c:spPr>
              <a:solidFill>
                <a:srgbClr val="AEABAB"/>
              </a:solidFill>
            </c:spPr>
            <c:extLst>
              <c:ext xmlns:c16="http://schemas.microsoft.com/office/drawing/2014/chart" uri="{C3380CC4-5D6E-409C-BE32-E72D297353CC}">
                <c16:uniqueId val="{00000ACD-7BE2-49F1-B47F-64DDA7BF3F9D}"/>
              </c:ext>
            </c:extLst>
          </c:dPt>
          <c:dPt>
            <c:idx val="1382"/>
            <c:invertIfNegative val="1"/>
            <c:bubble3D val="0"/>
            <c:spPr>
              <a:solidFill>
                <a:srgbClr val="AEABAB"/>
              </a:solidFill>
            </c:spPr>
            <c:extLst>
              <c:ext xmlns:c16="http://schemas.microsoft.com/office/drawing/2014/chart" uri="{C3380CC4-5D6E-409C-BE32-E72D297353CC}">
                <c16:uniqueId val="{00000ACF-7BE2-49F1-B47F-64DDA7BF3F9D}"/>
              </c:ext>
            </c:extLst>
          </c:dPt>
          <c:dPt>
            <c:idx val="1383"/>
            <c:invertIfNegative val="1"/>
            <c:bubble3D val="0"/>
            <c:spPr>
              <a:solidFill>
                <a:srgbClr val="AEABAB"/>
              </a:solidFill>
            </c:spPr>
            <c:extLst>
              <c:ext xmlns:c16="http://schemas.microsoft.com/office/drawing/2014/chart" uri="{C3380CC4-5D6E-409C-BE32-E72D297353CC}">
                <c16:uniqueId val="{00000AD1-7BE2-49F1-B47F-64DDA7BF3F9D}"/>
              </c:ext>
            </c:extLst>
          </c:dPt>
          <c:dPt>
            <c:idx val="1384"/>
            <c:invertIfNegative val="1"/>
            <c:bubble3D val="0"/>
            <c:spPr>
              <a:solidFill>
                <a:srgbClr val="AEABAB"/>
              </a:solidFill>
            </c:spPr>
            <c:extLst>
              <c:ext xmlns:c16="http://schemas.microsoft.com/office/drawing/2014/chart" uri="{C3380CC4-5D6E-409C-BE32-E72D297353CC}">
                <c16:uniqueId val="{00000AD3-7BE2-49F1-B47F-64DDA7BF3F9D}"/>
              </c:ext>
            </c:extLst>
          </c:dPt>
          <c:dPt>
            <c:idx val="1385"/>
            <c:invertIfNegative val="1"/>
            <c:bubble3D val="0"/>
            <c:spPr>
              <a:solidFill>
                <a:srgbClr val="AEABAB"/>
              </a:solidFill>
            </c:spPr>
            <c:extLst>
              <c:ext xmlns:c16="http://schemas.microsoft.com/office/drawing/2014/chart" uri="{C3380CC4-5D6E-409C-BE32-E72D297353CC}">
                <c16:uniqueId val="{00000AD5-7BE2-49F1-B47F-64DDA7BF3F9D}"/>
              </c:ext>
            </c:extLst>
          </c:dPt>
          <c:dPt>
            <c:idx val="1386"/>
            <c:invertIfNegative val="1"/>
            <c:bubble3D val="0"/>
            <c:spPr>
              <a:solidFill>
                <a:srgbClr val="AEABAB"/>
              </a:solidFill>
            </c:spPr>
            <c:extLst>
              <c:ext xmlns:c16="http://schemas.microsoft.com/office/drawing/2014/chart" uri="{C3380CC4-5D6E-409C-BE32-E72D297353CC}">
                <c16:uniqueId val="{00000AD7-7BE2-49F1-B47F-64DDA7BF3F9D}"/>
              </c:ext>
            </c:extLst>
          </c:dPt>
          <c:dPt>
            <c:idx val="1387"/>
            <c:invertIfNegative val="1"/>
            <c:bubble3D val="0"/>
            <c:spPr>
              <a:solidFill>
                <a:srgbClr val="AEABAB"/>
              </a:solidFill>
            </c:spPr>
            <c:extLst>
              <c:ext xmlns:c16="http://schemas.microsoft.com/office/drawing/2014/chart" uri="{C3380CC4-5D6E-409C-BE32-E72D297353CC}">
                <c16:uniqueId val="{00000AD9-7BE2-49F1-B47F-64DDA7BF3F9D}"/>
              </c:ext>
            </c:extLst>
          </c:dPt>
          <c:dPt>
            <c:idx val="1388"/>
            <c:invertIfNegative val="1"/>
            <c:bubble3D val="0"/>
            <c:spPr>
              <a:solidFill>
                <a:srgbClr val="AEABAB"/>
              </a:solidFill>
            </c:spPr>
            <c:extLst>
              <c:ext xmlns:c16="http://schemas.microsoft.com/office/drawing/2014/chart" uri="{C3380CC4-5D6E-409C-BE32-E72D297353CC}">
                <c16:uniqueId val="{00000ADB-7BE2-49F1-B47F-64DDA7BF3F9D}"/>
              </c:ext>
            </c:extLst>
          </c:dPt>
          <c:dPt>
            <c:idx val="1389"/>
            <c:invertIfNegative val="1"/>
            <c:bubble3D val="0"/>
            <c:spPr>
              <a:solidFill>
                <a:srgbClr val="AEABAB"/>
              </a:solidFill>
            </c:spPr>
            <c:extLst>
              <c:ext xmlns:c16="http://schemas.microsoft.com/office/drawing/2014/chart" uri="{C3380CC4-5D6E-409C-BE32-E72D297353CC}">
                <c16:uniqueId val="{00000ADD-7BE2-49F1-B47F-64DDA7BF3F9D}"/>
              </c:ext>
            </c:extLst>
          </c:dPt>
          <c:dPt>
            <c:idx val="1390"/>
            <c:invertIfNegative val="1"/>
            <c:bubble3D val="0"/>
            <c:spPr>
              <a:solidFill>
                <a:srgbClr val="AEABAB"/>
              </a:solidFill>
            </c:spPr>
            <c:extLst>
              <c:ext xmlns:c16="http://schemas.microsoft.com/office/drawing/2014/chart" uri="{C3380CC4-5D6E-409C-BE32-E72D297353CC}">
                <c16:uniqueId val="{00000ADF-7BE2-49F1-B47F-64DDA7BF3F9D}"/>
              </c:ext>
            </c:extLst>
          </c:dPt>
          <c:dPt>
            <c:idx val="1391"/>
            <c:invertIfNegative val="1"/>
            <c:bubble3D val="0"/>
            <c:spPr>
              <a:solidFill>
                <a:srgbClr val="AEABAB"/>
              </a:solidFill>
            </c:spPr>
            <c:extLst>
              <c:ext xmlns:c16="http://schemas.microsoft.com/office/drawing/2014/chart" uri="{C3380CC4-5D6E-409C-BE32-E72D297353CC}">
                <c16:uniqueId val="{00000AE1-7BE2-49F1-B47F-64DDA7BF3F9D}"/>
              </c:ext>
            </c:extLst>
          </c:dPt>
          <c:dPt>
            <c:idx val="1392"/>
            <c:invertIfNegative val="1"/>
            <c:bubble3D val="0"/>
            <c:spPr>
              <a:solidFill>
                <a:srgbClr val="AEABAB"/>
              </a:solidFill>
            </c:spPr>
            <c:extLst>
              <c:ext xmlns:c16="http://schemas.microsoft.com/office/drawing/2014/chart" uri="{C3380CC4-5D6E-409C-BE32-E72D297353CC}">
                <c16:uniqueId val="{00000AE3-7BE2-49F1-B47F-64DDA7BF3F9D}"/>
              </c:ext>
            </c:extLst>
          </c:dPt>
          <c:dPt>
            <c:idx val="1393"/>
            <c:invertIfNegative val="1"/>
            <c:bubble3D val="0"/>
            <c:spPr>
              <a:solidFill>
                <a:srgbClr val="AEABAB"/>
              </a:solidFill>
            </c:spPr>
            <c:extLst>
              <c:ext xmlns:c16="http://schemas.microsoft.com/office/drawing/2014/chart" uri="{C3380CC4-5D6E-409C-BE32-E72D297353CC}">
                <c16:uniqueId val="{00000AE5-7BE2-49F1-B47F-64DDA7BF3F9D}"/>
              </c:ext>
            </c:extLst>
          </c:dPt>
          <c:dPt>
            <c:idx val="1394"/>
            <c:invertIfNegative val="1"/>
            <c:bubble3D val="0"/>
            <c:spPr>
              <a:solidFill>
                <a:srgbClr val="AEABAB"/>
              </a:solidFill>
            </c:spPr>
            <c:extLst>
              <c:ext xmlns:c16="http://schemas.microsoft.com/office/drawing/2014/chart" uri="{C3380CC4-5D6E-409C-BE32-E72D297353CC}">
                <c16:uniqueId val="{00000AE7-7BE2-49F1-B47F-64DDA7BF3F9D}"/>
              </c:ext>
            </c:extLst>
          </c:dPt>
          <c:dPt>
            <c:idx val="1395"/>
            <c:invertIfNegative val="1"/>
            <c:bubble3D val="0"/>
            <c:spPr>
              <a:solidFill>
                <a:srgbClr val="AEABAB"/>
              </a:solidFill>
            </c:spPr>
            <c:extLst>
              <c:ext xmlns:c16="http://schemas.microsoft.com/office/drawing/2014/chart" uri="{C3380CC4-5D6E-409C-BE32-E72D297353CC}">
                <c16:uniqueId val="{00000AE9-7BE2-49F1-B47F-64DDA7BF3F9D}"/>
              </c:ext>
            </c:extLst>
          </c:dPt>
          <c:dPt>
            <c:idx val="1396"/>
            <c:invertIfNegative val="1"/>
            <c:bubble3D val="0"/>
            <c:spPr>
              <a:solidFill>
                <a:srgbClr val="AEABAB"/>
              </a:solidFill>
            </c:spPr>
            <c:extLst>
              <c:ext xmlns:c16="http://schemas.microsoft.com/office/drawing/2014/chart" uri="{C3380CC4-5D6E-409C-BE32-E72D297353CC}">
                <c16:uniqueId val="{00000AEB-7BE2-49F1-B47F-64DDA7BF3F9D}"/>
              </c:ext>
            </c:extLst>
          </c:dPt>
          <c:dPt>
            <c:idx val="1397"/>
            <c:invertIfNegative val="1"/>
            <c:bubble3D val="0"/>
            <c:spPr>
              <a:solidFill>
                <a:srgbClr val="AEABAB"/>
              </a:solidFill>
            </c:spPr>
            <c:extLst>
              <c:ext xmlns:c16="http://schemas.microsoft.com/office/drawing/2014/chart" uri="{C3380CC4-5D6E-409C-BE32-E72D297353CC}">
                <c16:uniqueId val="{00000AED-7BE2-49F1-B47F-64DDA7BF3F9D}"/>
              </c:ext>
            </c:extLst>
          </c:dPt>
          <c:dPt>
            <c:idx val="1398"/>
            <c:invertIfNegative val="1"/>
            <c:bubble3D val="0"/>
            <c:spPr>
              <a:solidFill>
                <a:srgbClr val="AEABAB"/>
              </a:solidFill>
            </c:spPr>
            <c:extLst>
              <c:ext xmlns:c16="http://schemas.microsoft.com/office/drawing/2014/chart" uri="{C3380CC4-5D6E-409C-BE32-E72D297353CC}">
                <c16:uniqueId val="{00000AEF-7BE2-49F1-B47F-64DDA7BF3F9D}"/>
              </c:ext>
            </c:extLst>
          </c:dPt>
          <c:dPt>
            <c:idx val="1399"/>
            <c:invertIfNegative val="1"/>
            <c:bubble3D val="0"/>
            <c:spPr>
              <a:solidFill>
                <a:srgbClr val="AEABAB"/>
              </a:solidFill>
            </c:spPr>
            <c:extLst>
              <c:ext xmlns:c16="http://schemas.microsoft.com/office/drawing/2014/chart" uri="{C3380CC4-5D6E-409C-BE32-E72D297353CC}">
                <c16:uniqueId val="{00000AF1-7BE2-49F1-B47F-64DDA7BF3F9D}"/>
              </c:ext>
            </c:extLst>
          </c:dPt>
          <c:dPt>
            <c:idx val="1400"/>
            <c:invertIfNegative val="1"/>
            <c:bubble3D val="0"/>
            <c:spPr>
              <a:solidFill>
                <a:srgbClr val="AEABAB"/>
              </a:solidFill>
            </c:spPr>
            <c:extLst>
              <c:ext xmlns:c16="http://schemas.microsoft.com/office/drawing/2014/chart" uri="{C3380CC4-5D6E-409C-BE32-E72D297353CC}">
                <c16:uniqueId val="{00000AF3-7BE2-49F1-B47F-64DDA7BF3F9D}"/>
              </c:ext>
            </c:extLst>
          </c:dPt>
          <c:dPt>
            <c:idx val="1401"/>
            <c:invertIfNegative val="1"/>
            <c:bubble3D val="0"/>
            <c:spPr>
              <a:solidFill>
                <a:srgbClr val="AEABAB"/>
              </a:solidFill>
            </c:spPr>
            <c:extLst>
              <c:ext xmlns:c16="http://schemas.microsoft.com/office/drawing/2014/chart" uri="{C3380CC4-5D6E-409C-BE32-E72D297353CC}">
                <c16:uniqueId val="{00000AF5-7BE2-49F1-B47F-64DDA7BF3F9D}"/>
              </c:ext>
            </c:extLst>
          </c:dPt>
          <c:dPt>
            <c:idx val="1402"/>
            <c:invertIfNegative val="1"/>
            <c:bubble3D val="0"/>
            <c:spPr>
              <a:solidFill>
                <a:srgbClr val="AEABAB"/>
              </a:solidFill>
            </c:spPr>
            <c:extLst>
              <c:ext xmlns:c16="http://schemas.microsoft.com/office/drawing/2014/chart" uri="{C3380CC4-5D6E-409C-BE32-E72D297353CC}">
                <c16:uniqueId val="{00000AF7-7BE2-49F1-B47F-64DDA7BF3F9D}"/>
              </c:ext>
            </c:extLst>
          </c:dPt>
          <c:dPt>
            <c:idx val="1403"/>
            <c:invertIfNegative val="1"/>
            <c:bubble3D val="0"/>
            <c:spPr>
              <a:solidFill>
                <a:srgbClr val="AEABAB"/>
              </a:solidFill>
            </c:spPr>
            <c:extLst>
              <c:ext xmlns:c16="http://schemas.microsoft.com/office/drawing/2014/chart" uri="{C3380CC4-5D6E-409C-BE32-E72D297353CC}">
                <c16:uniqueId val="{00000AF9-7BE2-49F1-B47F-64DDA7BF3F9D}"/>
              </c:ext>
            </c:extLst>
          </c:dPt>
          <c:dPt>
            <c:idx val="1404"/>
            <c:invertIfNegative val="1"/>
            <c:bubble3D val="0"/>
            <c:spPr>
              <a:solidFill>
                <a:srgbClr val="AEABAB"/>
              </a:solidFill>
            </c:spPr>
            <c:extLst>
              <c:ext xmlns:c16="http://schemas.microsoft.com/office/drawing/2014/chart" uri="{C3380CC4-5D6E-409C-BE32-E72D297353CC}">
                <c16:uniqueId val="{00000AFB-7BE2-49F1-B47F-64DDA7BF3F9D}"/>
              </c:ext>
            </c:extLst>
          </c:dPt>
          <c:dPt>
            <c:idx val="1405"/>
            <c:invertIfNegative val="1"/>
            <c:bubble3D val="0"/>
            <c:spPr>
              <a:solidFill>
                <a:srgbClr val="AEABAB"/>
              </a:solidFill>
            </c:spPr>
            <c:extLst>
              <c:ext xmlns:c16="http://schemas.microsoft.com/office/drawing/2014/chart" uri="{C3380CC4-5D6E-409C-BE32-E72D297353CC}">
                <c16:uniqueId val="{00000AFD-7BE2-49F1-B47F-64DDA7BF3F9D}"/>
              </c:ext>
            </c:extLst>
          </c:dPt>
          <c:dPt>
            <c:idx val="1406"/>
            <c:invertIfNegative val="1"/>
            <c:bubble3D val="0"/>
            <c:spPr>
              <a:solidFill>
                <a:srgbClr val="AEABAB"/>
              </a:solidFill>
            </c:spPr>
            <c:extLst>
              <c:ext xmlns:c16="http://schemas.microsoft.com/office/drawing/2014/chart" uri="{C3380CC4-5D6E-409C-BE32-E72D297353CC}">
                <c16:uniqueId val="{00000AFF-7BE2-49F1-B47F-64DDA7BF3F9D}"/>
              </c:ext>
            </c:extLst>
          </c:dPt>
          <c:dPt>
            <c:idx val="1407"/>
            <c:invertIfNegative val="1"/>
            <c:bubble3D val="0"/>
            <c:spPr>
              <a:solidFill>
                <a:srgbClr val="AEABAB"/>
              </a:solidFill>
            </c:spPr>
            <c:extLst>
              <c:ext xmlns:c16="http://schemas.microsoft.com/office/drawing/2014/chart" uri="{C3380CC4-5D6E-409C-BE32-E72D297353CC}">
                <c16:uniqueId val="{00000B01-7BE2-49F1-B47F-64DDA7BF3F9D}"/>
              </c:ext>
            </c:extLst>
          </c:dPt>
          <c:dPt>
            <c:idx val="1408"/>
            <c:invertIfNegative val="1"/>
            <c:bubble3D val="0"/>
            <c:spPr>
              <a:solidFill>
                <a:srgbClr val="AEABAB"/>
              </a:solidFill>
            </c:spPr>
            <c:extLst>
              <c:ext xmlns:c16="http://schemas.microsoft.com/office/drawing/2014/chart" uri="{C3380CC4-5D6E-409C-BE32-E72D297353CC}">
                <c16:uniqueId val="{00000B03-7BE2-49F1-B47F-64DDA7BF3F9D}"/>
              </c:ext>
            </c:extLst>
          </c:dPt>
          <c:dPt>
            <c:idx val="1409"/>
            <c:invertIfNegative val="1"/>
            <c:bubble3D val="0"/>
            <c:spPr>
              <a:solidFill>
                <a:srgbClr val="AEABAB"/>
              </a:solidFill>
            </c:spPr>
            <c:extLst>
              <c:ext xmlns:c16="http://schemas.microsoft.com/office/drawing/2014/chart" uri="{C3380CC4-5D6E-409C-BE32-E72D297353CC}">
                <c16:uniqueId val="{00000B05-7BE2-49F1-B47F-64DDA7BF3F9D}"/>
              </c:ext>
            </c:extLst>
          </c:dPt>
          <c:dPt>
            <c:idx val="1410"/>
            <c:invertIfNegative val="1"/>
            <c:bubble3D val="0"/>
            <c:spPr>
              <a:solidFill>
                <a:srgbClr val="AEABAB"/>
              </a:solidFill>
            </c:spPr>
            <c:extLst>
              <c:ext xmlns:c16="http://schemas.microsoft.com/office/drawing/2014/chart" uri="{C3380CC4-5D6E-409C-BE32-E72D297353CC}">
                <c16:uniqueId val="{00000B07-7BE2-49F1-B47F-64DDA7BF3F9D}"/>
              </c:ext>
            </c:extLst>
          </c:dPt>
          <c:dPt>
            <c:idx val="1411"/>
            <c:invertIfNegative val="1"/>
            <c:bubble3D val="0"/>
            <c:spPr>
              <a:solidFill>
                <a:srgbClr val="AEABAB"/>
              </a:solidFill>
            </c:spPr>
            <c:extLst>
              <c:ext xmlns:c16="http://schemas.microsoft.com/office/drawing/2014/chart" uri="{C3380CC4-5D6E-409C-BE32-E72D297353CC}">
                <c16:uniqueId val="{00000B09-7BE2-49F1-B47F-64DDA7BF3F9D}"/>
              </c:ext>
            </c:extLst>
          </c:dPt>
          <c:dPt>
            <c:idx val="1412"/>
            <c:invertIfNegative val="1"/>
            <c:bubble3D val="0"/>
            <c:spPr>
              <a:solidFill>
                <a:srgbClr val="AEABAB"/>
              </a:solidFill>
            </c:spPr>
            <c:extLst>
              <c:ext xmlns:c16="http://schemas.microsoft.com/office/drawing/2014/chart" uri="{C3380CC4-5D6E-409C-BE32-E72D297353CC}">
                <c16:uniqueId val="{00000B0B-7BE2-49F1-B47F-64DDA7BF3F9D}"/>
              </c:ext>
            </c:extLst>
          </c:dPt>
          <c:dPt>
            <c:idx val="1413"/>
            <c:invertIfNegative val="1"/>
            <c:bubble3D val="0"/>
            <c:spPr>
              <a:solidFill>
                <a:srgbClr val="AEABAB"/>
              </a:solidFill>
            </c:spPr>
            <c:extLst>
              <c:ext xmlns:c16="http://schemas.microsoft.com/office/drawing/2014/chart" uri="{C3380CC4-5D6E-409C-BE32-E72D297353CC}">
                <c16:uniqueId val="{00000B0D-7BE2-49F1-B47F-64DDA7BF3F9D}"/>
              </c:ext>
            </c:extLst>
          </c:dPt>
          <c:dPt>
            <c:idx val="1414"/>
            <c:invertIfNegative val="1"/>
            <c:bubble3D val="0"/>
            <c:spPr>
              <a:solidFill>
                <a:srgbClr val="AEABAB"/>
              </a:solidFill>
            </c:spPr>
            <c:extLst>
              <c:ext xmlns:c16="http://schemas.microsoft.com/office/drawing/2014/chart" uri="{C3380CC4-5D6E-409C-BE32-E72D297353CC}">
                <c16:uniqueId val="{00000B0F-7BE2-49F1-B47F-64DDA7BF3F9D}"/>
              </c:ext>
            </c:extLst>
          </c:dPt>
          <c:dPt>
            <c:idx val="1415"/>
            <c:invertIfNegative val="1"/>
            <c:bubble3D val="0"/>
            <c:spPr>
              <a:solidFill>
                <a:srgbClr val="AEABAB"/>
              </a:solidFill>
            </c:spPr>
            <c:extLst>
              <c:ext xmlns:c16="http://schemas.microsoft.com/office/drawing/2014/chart" uri="{C3380CC4-5D6E-409C-BE32-E72D297353CC}">
                <c16:uniqueId val="{00000B11-7BE2-49F1-B47F-64DDA7BF3F9D}"/>
              </c:ext>
            </c:extLst>
          </c:dPt>
          <c:dPt>
            <c:idx val="1416"/>
            <c:invertIfNegative val="1"/>
            <c:bubble3D val="0"/>
            <c:spPr>
              <a:solidFill>
                <a:srgbClr val="AEABAB"/>
              </a:solidFill>
            </c:spPr>
            <c:extLst>
              <c:ext xmlns:c16="http://schemas.microsoft.com/office/drawing/2014/chart" uri="{C3380CC4-5D6E-409C-BE32-E72D297353CC}">
                <c16:uniqueId val="{00000B13-7BE2-49F1-B47F-64DDA7BF3F9D}"/>
              </c:ext>
            </c:extLst>
          </c:dPt>
          <c:dPt>
            <c:idx val="1417"/>
            <c:invertIfNegative val="1"/>
            <c:bubble3D val="0"/>
            <c:spPr>
              <a:solidFill>
                <a:srgbClr val="AEABAB"/>
              </a:solidFill>
            </c:spPr>
            <c:extLst>
              <c:ext xmlns:c16="http://schemas.microsoft.com/office/drawing/2014/chart" uri="{C3380CC4-5D6E-409C-BE32-E72D297353CC}">
                <c16:uniqueId val="{00000B15-7BE2-49F1-B47F-64DDA7BF3F9D}"/>
              </c:ext>
            </c:extLst>
          </c:dPt>
          <c:dPt>
            <c:idx val="1418"/>
            <c:invertIfNegative val="1"/>
            <c:bubble3D val="0"/>
            <c:spPr>
              <a:solidFill>
                <a:srgbClr val="AEABAB"/>
              </a:solidFill>
            </c:spPr>
            <c:extLst>
              <c:ext xmlns:c16="http://schemas.microsoft.com/office/drawing/2014/chart" uri="{C3380CC4-5D6E-409C-BE32-E72D297353CC}">
                <c16:uniqueId val="{00000B17-7BE2-49F1-B47F-64DDA7BF3F9D}"/>
              </c:ext>
            </c:extLst>
          </c:dPt>
          <c:dPt>
            <c:idx val="1419"/>
            <c:invertIfNegative val="1"/>
            <c:bubble3D val="0"/>
            <c:spPr>
              <a:solidFill>
                <a:srgbClr val="AEABAB"/>
              </a:solidFill>
            </c:spPr>
            <c:extLst>
              <c:ext xmlns:c16="http://schemas.microsoft.com/office/drawing/2014/chart" uri="{C3380CC4-5D6E-409C-BE32-E72D297353CC}">
                <c16:uniqueId val="{00000B19-7BE2-49F1-B47F-64DDA7BF3F9D}"/>
              </c:ext>
            </c:extLst>
          </c:dPt>
          <c:dPt>
            <c:idx val="1420"/>
            <c:invertIfNegative val="1"/>
            <c:bubble3D val="0"/>
            <c:spPr>
              <a:solidFill>
                <a:srgbClr val="AEABAB"/>
              </a:solidFill>
            </c:spPr>
            <c:extLst>
              <c:ext xmlns:c16="http://schemas.microsoft.com/office/drawing/2014/chart" uri="{C3380CC4-5D6E-409C-BE32-E72D297353CC}">
                <c16:uniqueId val="{00000B1B-7BE2-49F1-B47F-64DDA7BF3F9D}"/>
              </c:ext>
            </c:extLst>
          </c:dPt>
          <c:dPt>
            <c:idx val="1421"/>
            <c:invertIfNegative val="1"/>
            <c:bubble3D val="0"/>
            <c:spPr>
              <a:solidFill>
                <a:srgbClr val="AEABAB"/>
              </a:solidFill>
            </c:spPr>
            <c:extLst>
              <c:ext xmlns:c16="http://schemas.microsoft.com/office/drawing/2014/chart" uri="{C3380CC4-5D6E-409C-BE32-E72D297353CC}">
                <c16:uniqueId val="{00000B1D-7BE2-49F1-B47F-64DDA7BF3F9D}"/>
              </c:ext>
            </c:extLst>
          </c:dPt>
          <c:dPt>
            <c:idx val="1422"/>
            <c:invertIfNegative val="1"/>
            <c:bubble3D val="0"/>
            <c:spPr>
              <a:solidFill>
                <a:srgbClr val="AEABAB"/>
              </a:solidFill>
            </c:spPr>
            <c:extLst>
              <c:ext xmlns:c16="http://schemas.microsoft.com/office/drawing/2014/chart" uri="{C3380CC4-5D6E-409C-BE32-E72D297353CC}">
                <c16:uniqueId val="{00000B1F-7BE2-49F1-B47F-64DDA7BF3F9D}"/>
              </c:ext>
            </c:extLst>
          </c:dPt>
          <c:dPt>
            <c:idx val="1423"/>
            <c:invertIfNegative val="1"/>
            <c:bubble3D val="0"/>
            <c:spPr>
              <a:solidFill>
                <a:srgbClr val="AEABAB"/>
              </a:solidFill>
            </c:spPr>
            <c:extLst>
              <c:ext xmlns:c16="http://schemas.microsoft.com/office/drawing/2014/chart" uri="{C3380CC4-5D6E-409C-BE32-E72D297353CC}">
                <c16:uniqueId val="{00000B21-7BE2-49F1-B47F-64DDA7BF3F9D}"/>
              </c:ext>
            </c:extLst>
          </c:dPt>
          <c:dPt>
            <c:idx val="1424"/>
            <c:invertIfNegative val="1"/>
            <c:bubble3D val="0"/>
            <c:spPr>
              <a:solidFill>
                <a:srgbClr val="AEABAB"/>
              </a:solidFill>
            </c:spPr>
            <c:extLst>
              <c:ext xmlns:c16="http://schemas.microsoft.com/office/drawing/2014/chart" uri="{C3380CC4-5D6E-409C-BE32-E72D297353CC}">
                <c16:uniqueId val="{00000B23-7BE2-49F1-B47F-64DDA7BF3F9D}"/>
              </c:ext>
            </c:extLst>
          </c:dPt>
          <c:dPt>
            <c:idx val="1425"/>
            <c:invertIfNegative val="1"/>
            <c:bubble3D val="0"/>
            <c:spPr>
              <a:solidFill>
                <a:srgbClr val="AEABAB"/>
              </a:solidFill>
            </c:spPr>
            <c:extLst>
              <c:ext xmlns:c16="http://schemas.microsoft.com/office/drawing/2014/chart" uri="{C3380CC4-5D6E-409C-BE32-E72D297353CC}">
                <c16:uniqueId val="{00000B25-7BE2-49F1-B47F-64DDA7BF3F9D}"/>
              </c:ext>
            </c:extLst>
          </c:dPt>
          <c:dPt>
            <c:idx val="1426"/>
            <c:invertIfNegative val="1"/>
            <c:bubble3D val="0"/>
            <c:spPr>
              <a:solidFill>
                <a:srgbClr val="AEABAB"/>
              </a:solidFill>
            </c:spPr>
            <c:extLst>
              <c:ext xmlns:c16="http://schemas.microsoft.com/office/drawing/2014/chart" uri="{C3380CC4-5D6E-409C-BE32-E72D297353CC}">
                <c16:uniqueId val="{00000B27-7BE2-49F1-B47F-64DDA7BF3F9D}"/>
              </c:ext>
            </c:extLst>
          </c:dPt>
          <c:dPt>
            <c:idx val="1427"/>
            <c:invertIfNegative val="1"/>
            <c:bubble3D val="0"/>
            <c:spPr>
              <a:solidFill>
                <a:srgbClr val="AEABAB"/>
              </a:solidFill>
            </c:spPr>
            <c:extLst>
              <c:ext xmlns:c16="http://schemas.microsoft.com/office/drawing/2014/chart" uri="{C3380CC4-5D6E-409C-BE32-E72D297353CC}">
                <c16:uniqueId val="{00000B29-7BE2-49F1-B47F-64DDA7BF3F9D}"/>
              </c:ext>
            </c:extLst>
          </c:dPt>
          <c:dPt>
            <c:idx val="1428"/>
            <c:invertIfNegative val="1"/>
            <c:bubble3D val="0"/>
            <c:spPr>
              <a:solidFill>
                <a:srgbClr val="AEABAB"/>
              </a:solidFill>
            </c:spPr>
            <c:extLst>
              <c:ext xmlns:c16="http://schemas.microsoft.com/office/drawing/2014/chart" uri="{C3380CC4-5D6E-409C-BE32-E72D297353CC}">
                <c16:uniqueId val="{00000B2B-7BE2-49F1-B47F-64DDA7BF3F9D}"/>
              </c:ext>
            </c:extLst>
          </c:dPt>
          <c:dPt>
            <c:idx val="1429"/>
            <c:invertIfNegative val="1"/>
            <c:bubble3D val="0"/>
            <c:spPr>
              <a:solidFill>
                <a:srgbClr val="AEABAB"/>
              </a:solidFill>
            </c:spPr>
            <c:extLst>
              <c:ext xmlns:c16="http://schemas.microsoft.com/office/drawing/2014/chart" uri="{C3380CC4-5D6E-409C-BE32-E72D297353CC}">
                <c16:uniqueId val="{00000B2D-7BE2-49F1-B47F-64DDA7BF3F9D}"/>
              </c:ext>
            </c:extLst>
          </c:dPt>
          <c:dPt>
            <c:idx val="1430"/>
            <c:invertIfNegative val="1"/>
            <c:bubble3D val="0"/>
            <c:spPr>
              <a:solidFill>
                <a:srgbClr val="AEABAB"/>
              </a:solidFill>
            </c:spPr>
            <c:extLst>
              <c:ext xmlns:c16="http://schemas.microsoft.com/office/drawing/2014/chart" uri="{C3380CC4-5D6E-409C-BE32-E72D297353CC}">
                <c16:uniqueId val="{00000B2F-7BE2-49F1-B47F-64DDA7BF3F9D}"/>
              </c:ext>
            </c:extLst>
          </c:dPt>
          <c:dPt>
            <c:idx val="1431"/>
            <c:invertIfNegative val="1"/>
            <c:bubble3D val="0"/>
            <c:spPr>
              <a:solidFill>
                <a:srgbClr val="AEABAB"/>
              </a:solidFill>
            </c:spPr>
            <c:extLst>
              <c:ext xmlns:c16="http://schemas.microsoft.com/office/drawing/2014/chart" uri="{C3380CC4-5D6E-409C-BE32-E72D297353CC}">
                <c16:uniqueId val="{00000B31-7BE2-49F1-B47F-64DDA7BF3F9D}"/>
              </c:ext>
            </c:extLst>
          </c:dPt>
          <c:dPt>
            <c:idx val="1432"/>
            <c:invertIfNegative val="1"/>
            <c:bubble3D val="0"/>
            <c:spPr>
              <a:solidFill>
                <a:srgbClr val="AEABAB"/>
              </a:solidFill>
            </c:spPr>
            <c:extLst>
              <c:ext xmlns:c16="http://schemas.microsoft.com/office/drawing/2014/chart" uri="{C3380CC4-5D6E-409C-BE32-E72D297353CC}">
                <c16:uniqueId val="{00000B33-7BE2-49F1-B47F-64DDA7BF3F9D}"/>
              </c:ext>
            </c:extLst>
          </c:dPt>
          <c:dPt>
            <c:idx val="1433"/>
            <c:invertIfNegative val="1"/>
            <c:bubble3D val="0"/>
            <c:spPr>
              <a:solidFill>
                <a:srgbClr val="AEABAB"/>
              </a:solidFill>
            </c:spPr>
            <c:extLst>
              <c:ext xmlns:c16="http://schemas.microsoft.com/office/drawing/2014/chart" uri="{C3380CC4-5D6E-409C-BE32-E72D297353CC}">
                <c16:uniqueId val="{00000B35-7BE2-49F1-B47F-64DDA7BF3F9D}"/>
              </c:ext>
            </c:extLst>
          </c:dPt>
          <c:dPt>
            <c:idx val="1434"/>
            <c:invertIfNegative val="1"/>
            <c:bubble3D val="0"/>
            <c:spPr>
              <a:solidFill>
                <a:srgbClr val="AEABAB"/>
              </a:solidFill>
            </c:spPr>
            <c:extLst>
              <c:ext xmlns:c16="http://schemas.microsoft.com/office/drawing/2014/chart" uri="{C3380CC4-5D6E-409C-BE32-E72D297353CC}">
                <c16:uniqueId val="{00000B37-7BE2-49F1-B47F-64DDA7BF3F9D}"/>
              </c:ext>
            </c:extLst>
          </c:dPt>
          <c:dPt>
            <c:idx val="1435"/>
            <c:invertIfNegative val="1"/>
            <c:bubble3D val="0"/>
            <c:spPr>
              <a:solidFill>
                <a:srgbClr val="AEABAB"/>
              </a:solidFill>
            </c:spPr>
            <c:extLst>
              <c:ext xmlns:c16="http://schemas.microsoft.com/office/drawing/2014/chart" uri="{C3380CC4-5D6E-409C-BE32-E72D297353CC}">
                <c16:uniqueId val="{00000B39-7BE2-49F1-B47F-64DDA7BF3F9D}"/>
              </c:ext>
            </c:extLst>
          </c:dPt>
          <c:dPt>
            <c:idx val="1436"/>
            <c:invertIfNegative val="1"/>
            <c:bubble3D val="0"/>
            <c:spPr>
              <a:solidFill>
                <a:srgbClr val="AEABAB"/>
              </a:solidFill>
            </c:spPr>
            <c:extLst>
              <c:ext xmlns:c16="http://schemas.microsoft.com/office/drawing/2014/chart" uri="{C3380CC4-5D6E-409C-BE32-E72D297353CC}">
                <c16:uniqueId val="{00000B3B-7BE2-49F1-B47F-64DDA7BF3F9D}"/>
              </c:ext>
            </c:extLst>
          </c:dPt>
          <c:dPt>
            <c:idx val="1437"/>
            <c:invertIfNegative val="1"/>
            <c:bubble3D val="0"/>
            <c:spPr>
              <a:solidFill>
                <a:srgbClr val="AEABAB"/>
              </a:solidFill>
            </c:spPr>
            <c:extLst>
              <c:ext xmlns:c16="http://schemas.microsoft.com/office/drawing/2014/chart" uri="{C3380CC4-5D6E-409C-BE32-E72D297353CC}">
                <c16:uniqueId val="{00000B3D-7BE2-49F1-B47F-64DDA7BF3F9D}"/>
              </c:ext>
            </c:extLst>
          </c:dPt>
          <c:dPt>
            <c:idx val="1438"/>
            <c:invertIfNegative val="1"/>
            <c:bubble3D val="0"/>
            <c:spPr>
              <a:solidFill>
                <a:srgbClr val="AEABAB"/>
              </a:solidFill>
            </c:spPr>
            <c:extLst>
              <c:ext xmlns:c16="http://schemas.microsoft.com/office/drawing/2014/chart" uri="{C3380CC4-5D6E-409C-BE32-E72D297353CC}">
                <c16:uniqueId val="{00000B3F-7BE2-49F1-B47F-64DDA7BF3F9D}"/>
              </c:ext>
            </c:extLst>
          </c:dPt>
          <c:dPt>
            <c:idx val="1439"/>
            <c:invertIfNegative val="1"/>
            <c:bubble3D val="0"/>
            <c:spPr>
              <a:solidFill>
                <a:srgbClr val="AEABAB"/>
              </a:solidFill>
            </c:spPr>
            <c:extLst>
              <c:ext xmlns:c16="http://schemas.microsoft.com/office/drawing/2014/chart" uri="{C3380CC4-5D6E-409C-BE32-E72D297353CC}">
                <c16:uniqueId val="{00000B41-7BE2-49F1-B47F-64DDA7BF3F9D}"/>
              </c:ext>
            </c:extLst>
          </c:dPt>
          <c:dPt>
            <c:idx val="1440"/>
            <c:invertIfNegative val="1"/>
            <c:bubble3D val="0"/>
            <c:spPr>
              <a:solidFill>
                <a:srgbClr val="AEABAB"/>
              </a:solidFill>
            </c:spPr>
            <c:extLst>
              <c:ext xmlns:c16="http://schemas.microsoft.com/office/drawing/2014/chart" uri="{C3380CC4-5D6E-409C-BE32-E72D297353CC}">
                <c16:uniqueId val="{00000B43-7BE2-49F1-B47F-64DDA7BF3F9D}"/>
              </c:ext>
            </c:extLst>
          </c:dPt>
          <c:dPt>
            <c:idx val="1441"/>
            <c:invertIfNegative val="1"/>
            <c:bubble3D val="0"/>
            <c:spPr>
              <a:solidFill>
                <a:srgbClr val="AEABAB"/>
              </a:solidFill>
            </c:spPr>
            <c:extLst>
              <c:ext xmlns:c16="http://schemas.microsoft.com/office/drawing/2014/chart" uri="{C3380CC4-5D6E-409C-BE32-E72D297353CC}">
                <c16:uniqueId val="{00000B45-7BE2-49F1-B47F-64DDA7BF3F9D}"/>
              </c:ext>
            </c:extLst>
          </c:dPt>
          <c:dPt>
            <c:idx val="1442"/>
            <c:invertIfNegative val="1"/>
            <c:bubble3D val="0"/>
            <c:spPr>
              <a:solidFill>
                <a:srgbClr val="AEABAB"/>
              </a:solidFill>
            </c:spPr>
            <c:extLst>
              <c:ext xmlns:c16="http://schemas.microsoft.com/office/drawing/2014/chart" uri="{C3380CC4-5D6E-409C-BE32-E72D297353CC}">
                <c16:uniqueId val="{00000B47-7BE2-49F1-B47F-64DDA7BF3F9D}"/>
              </c:ext>
            </c:extLst>
          </c:dPt>
          <c:dPt>
            <c:idx val="1443"/>
            <c:invertIfNegative val="1"/>
            <c:bubble3D val="0"/>
            <c:spPr>
              <a:solidFill>
                <a:srgbClr val="AEABAB"/>
              </a:solidFill>
            </c:spPr>
            <c:extLst>
              <c:ext xmlns:c16="http://schemas.microsoft.com/office/drawing/2014/chart" uri="{C3380CC4-5D6E-409C-BE32-E72D297353CC}">
                <c16:uniqueId val="{00000B49-7BE2-49F1-B47F-64DDA7BF3F9D}"/>
              </c:ext>
            </c:extLst>
          </c:dPt>
          <c:dPt>
            <c:idx val="1444"/>
            <c:invertIfNegative val="1"/>
            <c:bubble3D val="0"/>
            <c:spPr>
              <a:solidFill>
                <a:srgbClr val="AEABAB"/>
              </a:solidFill>
            </c:spPr>
            <c:extLst>
              <c:ext xmlns:c16="http://schemas.microsoft.com/office/drawing/2014/chart" uri="{C3380CC4-5D6E-409C-BE32-E72D297353CC}">
                <c16:uniqueId val="{00000B4B-7BE2-49F1-B47F-64DDA7BF3F9D}"/>
              </c:ext>
            </c:extLst>
          </c:dPt>
          <c:dPt>
            <c:idx val="1445"/>
            <c:invertIfNegative val="1"/>
            <c:bubble3D val="0"/>
            <c:spPr>
              <a:solidFill>
                <a:srgbClr val="AEABAB"/>
              </a:solidFill>
            </c:spPr>
            <c:extLst>
              <c:ext xmlns:c16="http://schemas.microsoft.com/office/drawing/2014/chart" uri="{C3380CC4-5D6E-409C-BE32-E72D297353CC}">
                <c16:uniqueId val="{00000B4D-7BE2-49F1-B47F-64DDA7BF3F9D}"/>
              </c:ext>
            </c:extLst>
          </c:dPt>
          <c:dPt>
            <c:idx val="1446"/>
            <c:invertIfNegative val="1"/>
            <c:bubble3D val="0"/>
            <c:spPr>
              <a:solidFill>
                <a:srgbClr val="AEABAB"/>
              </a:solidFill>
            </c:spPr>
            <c:extLst>
              <c:ext xmlns:c16="http://schemas.microsoft.com/office/drawing/2014/chart" uri="{C3380CC4-5D6E-409C-BE32-E72D297353CC}">
                <c16:uniqueId val="{00000B4F-7BE2-49F1-B47F-64DDA7BF3F9D}"/>
              </c:ext>
            </c:extLst>
          </c:dPt>
          <c:dPt>
            <c:idx val="1447"/>
            <c:invertIfNegative val="1"/>
            <c:bubble3D val="0"/>
            <c:spPr>
              <a:solidFill>
                <a:srgbClr val="AEABAB"/>
              </a:solidFill>
            </c:spPr>
            <c:extLst>
              <c:ext xmlns:c16="http://schemas.microsoft.com/office/drawing/2014/chart" uri="{C3380CC4-5D6E-409C-BE32-E72D297353CC}">
                <c16:uniqueId val="{00000B51-7BE2-49F1-B47F-64DDA7BF3F9D}"/>
              </c:ext>
            </c:extLst>
          </c:dPt>
          <c:dPt>
            <c:idx val="1448"/>
            <c:invertIfNegative val="1"/>
            <c:bubble3D val="0"/>
            <c:spPr>
              <a:solidFill>
                <a:srgbClr val="AEABAB"/>
              </a:solidFill>
            </c:spPr>
            <c:extLst>
              <c:ext xmlns:c16="http://schemas.microsoft.com/office/drawing/2014/chart" uri="{C3380CC4-5D6E-409C-BE32-E72D297353CC}">
                <c16:uniqueId val="{00000B53-7BE2-49F1-B47F-64DDA7BF3F9D}"/>
              </c:ext>
            </c:extLst>
          </c:dPt>
          <c:dPt>
            <c:idx val="1449"/>
            <c:invertIfNegative val="1"/>
            <c:bubble3D val="0"/>
            <c:spPr>
              <a:solidFill>
                <a:srgbClr val="AEABAB"/>
              </a:solidFill>
            </c:spPr>
            <c:extLst>
              <c:ext xmlns:c16="http://schemas.microsoft.com/office/drawing/2014/chart" uri="{C3380CC4-5D6E-409C-BE32-E72D297353CC}">
                <c16:uniqueId val="{00000B55-7BE2-49F1-B47F-64DDA7BF3F9D}"/>
              </c:ext>
            </c:extLst>
          </c:dPt>
          <c:dPt>
            <c:idx val="1450"/>
            <c:invertIfNegative val="1"/>
            <c:bubble3D val="0"/>
            <c:spPr>
              <a:solidFill>
                <a:srgbClr val="AEABAB"/>
              </a:solidFill>
            </c:spPr>
            <c:extLst>
              <c:ext xmlns:c16="http://schemas.microsoft.com/office/drawing/2014/chart" uri="{C3380CC4-5D6E-409C-BE32-E72D297353CC}">
                <c16:uniqueId val="{00000B57-7BE2-49F1-B47F-64DDA7BF3F9D}"/>
              </c:ext>
            </c:extLst>
          </c:dPt>
          <c:dPt>
            <c:idx val="1451"/>
            <c:invertIfNegative val="1"/>
            <c:bubble3D val="0"/>
            <c:spPr>
              <a:solidFill>
                <a:srgbClr val="AEABAB"/>
              </a:solidFill>
            </c:spPr>
            <c:extLst>
              <c:ext xmlns:c16="http://schemas.microsoft.com/office/drawing/2014/chart" uri="{C3380CC4-5D6E-409C-BE32-E72D297353CC}">
                <c16:uniqueId val="{00000B59-7BE2-49F1-B47F-64DDA7BF3F9D}"/>
              </c:ext>
            </c:extLst>
          </c:dPt>
          <c:dPt>
            <c:idx val="1452"/>
            <c:invertIfNegative val="1"/>
            <c:bubble3D val="0"/>
            <c:spPr>
              <a:solidFill>
                <a:srgbClr val="AEABAB"/>
              </a:solidFill>
            </c:spPr>
            <c:extLst>
              <c:ext xmlns:c16="http://schemas.microsoft.com/office/drawing/2014/chart" uri="{C3380CC4-5D6E-409C-BE32-E72D297353CC}">
                <c16:uniqueId val="{00000B5B-7BE2-49F1-B47F-64DDA7BF3F9D}"/>
              </c:ext>
            </c:extLst>
          </c:dPt>
          <c:dPt>
            <c:idx val="1453"/>
            <c:invertIfNegative val="1"/>
            <c:bubble3D val="0"/>
            <c:spPr>
              <a:solidFill>
                <a:srgbClr val="AEABAB"/>
              </a:solidFill>
            </c:spPr>
            <c:extLst>
              <c:ext xmlns:c16="http://schemas.microsoft.com/office/drawing/2014/chart" uri="{C3380CC4-5D6E-409C-BE32-E72D297353CC}">
                <c16:uniqueId val="{00000B5D-7BE2-49F1-B47F-64DDA7BF3F9D}"/>
              </c:ext>
            </c:extLst>
          </c:dPt>
          <c:dPt>
            <c:idx val="1454"/>
            <c:invertIfNegative val="1"/>
            <c:bubble3D val="0"/>
            <c:spPr>
              <a:solidFill>
                <a:srgbClr val="AEABAB"/>
              </a:solidFill>
            </c:spPr>
            <c:extLst>
              <c:ext xmlns:c16="http://schemas.microsoft.com/office/drawing/2014/chart" uri="{C3380CC4-5D6E-409C-BE32-E72D297353CC}">
                <c16:uniqueId val="{00000B5F-7BE2-49F1-B47F-64DDA7BF3F9D}"/>
              </c:ext>
            </c:extLst>
          </c:dPt>
          <c:dPt>
            <c:idx val="1455"/>
            <c:invertIfNegative val="1"/>
            <c:bubble3D val="0"/>
            <c:spPr>
              <a:solidFill>
                <a:srgbClr val="AEABAB"/>
              </a:solidFill>
            </c:spPr>
            <c:extLst>
              <c:ext xmlns:c16="http://schemas.microsoft.com/office/drawing/2014/chart" uri="{C3380CC4-5D6E-409C-BE32-E72D297353CC}">
                <c16:uniqueId val="{00000B61-7BE2-49F1-B47F-64DDA7BF3F9D}"/>
              </c:ext>
            </c:extLst>
          </c:dPt>
          <c:dPt>
            <c:idx val="1456"/>
            <c:invertIfNegative val="1"/>
            <c:bubble3D val="0"/>
            <c:spPr>
              <a:solidFill>
                <a:srgbClr val="AEABAB"/>
              </a:solidFill>
            </c:spPr>
            <c:extLst>
              <c:ext xmlns:c16="http://schemas.microsoft.com/office/drawing/2014/chart" uri="{C3380CC4-5D6E-409C-BE32-E72D297353CC}">
                <c16:uniqueId val="{00000B63-7BE2-49F1-B47F-64DDA7BF3F9D}"/>
              </c:ext>
            </c:extLst>
          </c:dPt>
          <c:dPt>
            <c:idx val="1457"/>
            <c:invertIfNegative val="1"/>
            <c:bubble3D val="0"/>
            <c:spPr>
              <a:solidFill>
                <a:srgbClr val="AEABAB"/>
              </a:solidFill>
            </c:spPr>
            <c:extLst>
              <c:ext xmlns:c16="http://schemas.microsoft.com/office/drawing/2014/chart" uri="{C3380CC4-5D6E-409C-BE32-E72D297353CC}">
                <c16:uniqueId val="{00000B65-7BE2-49F1-B47F-64DDA7BF3F9D}"/>
              </c:ext>
            </c:extLst>
          </c:dPt>
          <c:dPt>
            <c:idx val="1458"/>
            <c:invertIfNegative val="1"/>
            <c:bubble3D val="0"/>
            <c:spPr>
              <a:solidFill>
                <a:srgbClr val="AEABAB"/>
              </a:solidFill>
            </c:spPr>
            <c:extLst>
              <c:ext xmlns:c16="http://schemas.microsoft.com/office/drawing/2014/chart" uri="{C3380CC4-5D6E-409C-BE32-E72D297353CC}">
                <c16:uniqueId val="{00000B67-7BE2-49F1-B47F-64DDA7BF3F9D}"/>
              </c:ext>
            </c:extLst>
          </c:dPt>
          <c:dPt>
            <c:idx val="1459"/>
            <c:invertIfNegative val="1"/>
            <c:bubble3D val="0"/>
            <c:spPr>
              <a:solidFill>
                <a:srgbClr val="AEABAB"/>
              </a:solidFill>
            </c:spPr>
            <c:extLst>
              <c:ext xmlns:c16="http://schemas.microsoft.com/office/drawing/2014/chart" uri="{C3380CC4-5D6E-409C-BE32-E72D297353CC}">
                <c16:uniqueId val="{00000B69-7BE2-49F1-B47F-64DDA7BF3F9D}"/>
              </c:ext>
            </c:extLst>
          </c:dPt>
          <c:dPt>
            <c:idx val="1460"/>
            <c:invertIfNegative val="1"/>
            <c:bubble3D val="0"/>
            <c:spPr>
              <a:solidFill>
                <a:srgbClr val="AEABAB"/>
              </a:solidFill>
            </c:spPr>
            <c:extLst>
              <c:ext xmlns:c16="http://schemas.microsoft.com/office/drawing/2014/chart" uri="{C3380CC4-5D6E-409C-BE32-E72D297353CC}">
                <c16:uniqueId val="{00000B6B-7BE2-49F1-B47F-64DDA7BF3F9D}"/>
              </c:ext>
            </c:extLst>
          </c:dPt>
          <c:dPt>
            <c:idx val="1461"/>
            <c:invertIfNegative val="1"/>
            <c:bubble3D val="0"/>
            <c:spPr>
              <a:solidFill>
                <a:srgbClr val="AEABAB"/>
              </a:solidFill>
            </c:spPr>
            <c:extLst>
              <c:ext xmlns:c16="http://schemas.microsoft.com/office/drawing/2014/chart" uri="{C3380CC4-5D6E-409C-BE32-E72D297353CC}">
                <c16:uniqueId val="{00000B6D-7BE2-49F1-B47F-64DDA7BF3F9D}"/>
              </c:ext>
            </c:extLst>
          </c:dPt>
          <c:dPt>
            <c:idx val="1462"/>
            <c:invertIfNegative val="1"/>
            <c:bubble3D val="0"/>
            <c:spPr>
              <a:solidFill>
                <a:srgbClr val="AEABAB"/>
              </a:solidFill>
            </c:spPr>
            <c:extLst>
              <c:ext xmlns:c16="http://schemas.microsoft.com/office/drawing/2014/chart" uri="{C3380CC4-5D6E-409C-BE32-E72D297353CC}">
                <c16:uniqueId val="{00000B6F-7BE2-49F1-B47F-64DDA7BF3F9D}"/>
              </c:ext>
            </c:extLst>
          </c:dPt>
          <c:dPt>
            <c:idx val="1463"/>
            <c:invertIfNegative val="1"/>
            <c:bubble3D val="0"/>
            <c:spPr>
              <a:solidFill>
                <a:srgbClr val="AEABAB"/>
              </a:solidFill>
            </c:spPr>
            <c:extLst>
              <c:ext xmlns:c16="http://schemas.microsoft.com/office/drawing/2014/chart" uri="{C3380CC4-5D6E-409C-BE32-E72D297353CC}">
                <c16:uniqueId val="{00000B71-7BE2-49F1-B47F-64DDA7BF3F9D}"/>
              </c:ext>
            </c:extLst>
          </c:dPt>
          <c:dPt>
            <c:idx val="1464"/>
            <c:invertIfNegative val="1"/>
            <c:bubble3D val="0"/>
            <c:spPr>
              <a:solidFill>
                <a:srgbClr val="AEABAB"/>
              </a:solidFill>
            </c:spPr>
            <c:extLst>
              <c:ext xmlns:c16="http://schemas.microsoft.com/office/drawing/2014/chart" uri="{C3380CC4-5D6E-409C-BE32-E72D297353CC}">
                <c16:uniqueId val="{00000B73-7BE2-49F1-B47F-64DDA7BF3F9D}"/>
              </c:ext>
            </c:extLst>
          </c:dPt>
          <c:dPt>
            <c:idx val="1465"/>
            <c:invertIfNegative val="1"/>
            <c:bubble3D val="0"/>
            <c:spPr>
              <a:solidFill>
                <a:srgbClr val="AEABAB"/>
              </a:solidFill>
            </c:spPr>
            <c:extLst>
              <c:ext xmlns:c16="http://schemas.microsoft.com/office/drawing/2014/chart" uri="{C3380CC4-5D6E-409C-BE32-E72D297353CC}">
                <c16:uniqueId val="{00000B75-7BE2-49F1-B47F-64DDA7BF3F9D}"/>
              </c:ext>
            </c:extLst>
          </c:dPt>
          <c:dPt>
            <c:idx val="1466"/>
            <c:invertIfNegative val="1"/>
            <c:bubble3D val="0"/>
            <c:spPr>
              <a:solidFill>
                <a:srgbClr val="AEABAB"/>
              </a:solidFill>
            </c:spPr>
            <c:extLst>
              <c:ext xmlns:c16="http://schemas.microsoft.com/office/drawing/2014/chart" uri="{C3380CC4-5D6E-409C-BE32-E72D297353CC}">
                <c16:uniqueId val="{00000B77-7BE2-49F1-B47F-64DDA7BF3F9D}"/>
              </c:ext>
            </c:extLst>
          </c:dPt>
          <c:dPt>
            <c:idx val="1467"/>
            <c:invertIfNegative val="1"/>
            <c:bubble3D val="0"/>
            <c:spPr>
              <a:solidFill>
                <a:srgbClr val="AEABAB"/>
              </a:solidFill>
            </c:spPr>
            <c:extLst>
              <c:ext xmlns:c16="http://schemas.microsoft.com/office/drawing/2014/chart" uri="{C3380CC4-5D6E-409C-BE32-E72D297353CC}">
                <c16:uniqueId val="{00000B79-7BE2-49F1-B47F-64DDA7BF3F9D}"/>
              </c:ext>
            </c:extLst>
          </c:dPt>
          <c:dPt>
            <c:idx val="1468"/>
            <c:invertIfNegative val="1"/>
            <c:bubble3D val="0"/>
            <c:spPr>
              <a:solidFill>
                <a:srgbClr val="AEABAB"/>
              </a:solidFill>
            </c:spPr>
            <c:extLst>
              <c:ext xmlns:c16="http://schemas.microsoft.com/office/drawing/2014/chart" uri="{C3380CC4-5D6E-409C-BE32-E72D297353CC}">
                <c16:uniqueId val="{00000B7B-7BE2-49F1-B47F-64DDA7BF3F9D}"/>
              </c:ext>
            </c:extLst>
          </c:dPt>
          <c:dPt>
            <c:idx val="1469"/>
            <c:invertIfNegative val="1"/>
            <c:bubble3D val="0"/>
            <c:spPr>
              <a:solidFill>
                <a:srgbClr val="AEABAB"/>
              </a:solidFill>
            </c:spPr>
            <c:extLst>
              <c:ext xmlns:c16="http://schemas.microsoft.com/office/drawing/2014/chart" uri="{C3380CC4-5D6E-409C-BE32-E72D297353CC}">
                <c16:uniqueId val="{00000B7D-7BE2-49F1-B47F-64DDA7BF3F9D}"/>
              </c:ext>
            </c:extLst>
          </c:dPt>
          <c:dPt>
            <c:idx val="1470"/>
            <c:invertIfNegative val="1"/>
            <c:bubble3D val="0"/>
            <c:spPr>
              <a:solidFill>
                <a:srgbClr val="AEABAB"/>
              </a:solidFill>
            </c:spPr>
            <c:extLst>
              <c:ext xmlns:c16="http://schemas.microsoft.com/office/drawing/2014/chart" uri="{C3380CC4-5D6E-409C-BE32-E72D297353CC}">
                <c16:uniqueId val="{00000B7F-7BE2-49F1-B47F-64DDA7BF3F9D}"/>
              </c:ext>
            </c:extLst>
          </c:dPt>
          <c:dPt>
            <c:idx val="1471"/>
            <c:invertIfNegative val="1"/>
            <c:bubble3D val="0"/>
            <c:spPr>
              <a:solidFill>
                <a:srgbClr val="AEABAB"/>
              </a:solidFill>
            </c:spPr>
            <c:extLst>
              <c:ext xmlns:c16="http://schemas.microsoft.com/office/drawing/2014/chart" uri="{C3380CC4-5D6E-409C-BE32-E72D297353CC}">
                <c16:uniqueId val="{00000B81-7BE2-49F1-B47F-64DDA7BF3F9D}"/>
              </c:ext>
            </c:extLst>
          </c:dPt>
          <c:dPt>
            <c:idx val="1472"/>
            <c:invertIfNegative val="1"/>
            <c:bubble3D val="0"/>
            <c:spPr>
              <a:solidFill>
                <a:srgbClr val="AEABAB"/>
              </a:solidFill>
            </c:spPr>
            <c:extLst>
              <c:ext xmlns:c16="http://schemas.microsoft.com/office/drawing/2014/chart" uri="{C3380CC4-5D6E-409C-BE32-E72D297353CC}">
                <c16:uniqueId val="{00000B83-7BE2-49F1-B47F-64DDA7BF3F9D}"/>
              </c:ext>
            </c:extLst>
          </c:dPt>
          <c:dPt>
            <c:idx val="1473"/>
            <c:invertIfNegative val="1"/>
            <c:bubble3D val="0"/>
            <c:spPr>
              <a:solidFill>
                <a:srgbClr val="AEABAB"/>
              </a:solidFill>
            </c:spPr>
            <c:extLst>
              <c:ext xmlns:c16="http://schemas.microsoft.com/office/drawing/2014/chart" uri="{C3380CC4-5D6E-409C-BE32-E72D297353CC}">
                <c16:uniqueId val="{00000B85-7BE2-49F1-B47F-64DDA7BF3F9D}"/>
              </c:ext>
            </c:extLst>
          </c:dPt>
          <c:dPt>
            <c:idx val="1474"/>
            <c:invertIfNegative val="1"/>
            <c:bubble3D val="0"/>
            <c:spPr>
              <a:solidFill>
                <a:srgbClr val="AEABAB"/>
              </a:solidFill>
            </c:spPr>
            <c:extLst>
              <c:ext xmlns:c16="http://schemas.microsoft.com/office/drawing/2014/chart" uri="{C3380CC4-5D6E-409C-BE32-E72D297353CC}">
                <c16:uniqueId val="{00000B87-7BE2-49F1-B47F-64DDA7BF3F9D}"/>
              </c:ext>
            </c:extLst>
          </c:dPt>
          <c:dPt>
            <c:idx val="1475"/>
            <c:invertIfNegative val="1"/>
            <c:bubble3D val="0"/>
            <c:spPr>
              <a:solidFill>
                <a:srgbClr val="AEABAB"/>
              </a:solidFill>
            </c:spPr>
            <c:extLst>
              <c:ext xmlns:c16="http://schemas.microsoft.com/office/drawing/2014/chart" uri="{C3380CC4-5D6E-409C-BE32-E72D297353CC}">
                <c16:uniqueId val="{00000B89-7BE2-49F1-B47F-64DDA7BF3F9D}"/>
              </c:ext>
            </c:extLst>
          </c:dPt>
          <c:dPt>
            <c:idx val="1476"/>
            <c:invertIfNegative val="1"/>
            <c:bubble3D val="0"/>
            <c:spPr>
              <a:solidFill>
                <a:srgbClr val="AEABAB"/>
              </a:solidFill>
            </c:spPr>
            <c:extLst>
              <c:ext xmlns:c16="http://schemas.microsoft.com/office/drawing/2014/chart" uri="{C3380CC4-5D6E-409C-BE32-E72D297353CC}">
                <c16:uniqueId val="{00000B8B-7BE2-49F1-B47F-64DDA7BF3F9D}"/>
              </c:ext>
            </c:extLst>
          </c:dPt>
          <c:dPt>
            <c:idx val="1477"/>
            <c:invertIfNegative val="1"/>
            <c:bubble3D val="0"/>
            <c:spPr>
              <a:solidFill>
                <a:srgbClr val="AEABAB"/>
              </a:solidFill>
            </c:spPr>
            <c:extLst>
              <c:ext xmlns:c16="http://schemas.microsoft.com/office/drawing/2014/chart" uri="{C3380CC4-5D6E-409C-BE32-E72D297353CC}">
                <c16:uniqueId val="{00000B8D-7BE2-49F1-B47F-64DDA7BF3F9D}"/>
              </c:ext>
            </c:extLst>
          </c:dPt>
          <c:dPt>
            <c:idx val="1478"/>
            <c:invertIfNegative val="1"/>
            <c:bubble3D val="0"/>
            <c:spPr>
              <a:solidFill>
                <a:srgbClr val="AEABAB"/>
              </a:solidFill>
            </c:spPr>
            <c:extLst>
              <c:ext xmlns:c16="http://schemas.microsoft.com/office/drawing/2014/chart" uri="{C3380CC4-5D6E-409C-BE32-E72D297353CC}">
                <c16:uniqueId val="{00000B8F-7BE2-49F1-B47F-64DDA7BF3F9D}"/>
              </c:ext>
            </c:extLst>
          </c:dPt>
          <c:dPt>
            <c:idx val="1479"/>
            <c:invertIfNegative val="1"/>
            <c:bubble3D val="0"/>
            <c:spPr>
              <a:solidFill>
                <a:srgbClr val="AEABAB"/>
              </a:solidFill>
            </c:spPr>
            <c:extLst>
              <c:ext xmlns:c16="http://schemas.microsoft.com/office/drawing/2014/chart" uri="{C3380CC4-5D6E-409C-BE32-E72D297353CC}">
                <c16:uniqueId val="{00000B91-7BE2-49F1-B47F-64DDA7BF3F9D}"/>
              </c:ext>
            </c:extLst>
          </c:dPt>
          <c:dPt>
            <c:idx val="1480"/>
            <c:invertIfNegative val="1"/>
            <c:bubble3D val="0"/>
            <c:spPr>
              <a:solidFill>
                <a:srgbClr val="AEABAB"/>
              </a:solidFill>
            </c:spPr>
            <c:extLst>
              <c:ext xmlns:c16="http://schemas.microsoft.com/office/drawing/2014/chart" uri="{C3380CC4-5D6E-409C-BE32-E72D297353CC}">
                <c16:uniqueId val="{00000B93-7BE2-49F1-B47F-64DDA7BF3F9D}"/>
              </c:ext>
            </c:extLst>
          </c:dPt>
          <c:dPt>
            <c:idx val="1481"/>
            <c:invertIfNegative val="1"/>
            <c:bubble3D val="0"/>
            <c:spPr>
              <a:solidFill>
                <a:srgbClr val="AEABAB"/>
              </a:solidFill>
            </c:spPr>
            <c:extLst>
              <c:ext xmlns:c16="http://schemas.microsoft.com/office/drawing/2014/chart" uri="{C3380CC4-5D6E-409C-BE32-E72D297353CC}">
                <c16:uniqueId val="{00000B95-7BE2-49F1-B47F-64DDA7BF3F9D}"/>
              </c:ext>
            </c:extLst>
          </c:dPt>
          <c:dPt>
            <c:idx val="1482"/>
            <c:invertIfNegative val="1"/>
            <c:bubble3D val="0"/>
            <c:spPr>
              <a:solidFill>
                <a:srgbClr val="AEABAB"/>
              </a:solidFill>
            </c:spPr>
            <c:extLst>
              <c:ext xmlns:c16="http://schemas.microsoft.com/office/drawing/2014/chart" uri="{C3380CC4-5D6E-409C-BE32-E72D297353CC}">
                <c16:uniqueId val="{00000B97-7BE2-49F1-B47F-64DDA7BF3F9D}"/>
              </c:ext>
            </c:extLst>
          </c:dPt>
          <c:dPt>
            <c:idx val="1483"/>
            <c:invertIfNegative val="1"/>
            <c:bubble3D val="0"/>
            <c:spPr>
              <a:solidFill>
                <a:srgbClr val="AEABAB"/>
              </a:solidFill>
            </c:spPr>
            <c:extLst>
              <c:ext xmlns:c16="http://schemas.microsoft.com/office/drawing/2014/chart" uri="{C3380CC4-5D6E-409C-BE32-E72D297353CC}">
                <c16:uniqueId val="{00000B99-7BE2-49F1-B47F-64DDA7BF3F9D}"/>
              </c:ext>
            </c:extLst>
          </c:dPt>
          <c:dPt>
            <c:idx val="1484"/>
            <c:invertIfNegative val="1"/>
            <c:bubble3D val="0"/>
            <c:spPr>
              <a:solidFill>
                <a:srgbClr val="AEABAB"/>
              </a:solidFill>
            </c:spPr>
            <c:extLst>
              <c:ext xmlns:c16="http://schemas.microsoft.com/office/drawing/2014/chart" uri="{C3380CC4-5D6E-409C-BE32-E72D297353CC}">
                <c16:uniqueId val="{00000B9B-7BE2-49F1-B47F-64DDA7BF3F9D}"/>
              </c:ext>
            </c:extLst>
          </c:dPt>
          <c:dPt>
            <c:idx val="1485"/>
            <c:invertIfNegative val="1"/>
            <c:bubble3D val="0"/>
            <c:spPr>
              <a:solidFill>
                <a:srgbClr val="AEABAB"/>
              </a:solidFill>
            </c:spPr>
            <c:extLst>
              <c:ext xmlns:c16="http://schemas.microsoft.com/office/drawing/2014/chart" uri="{C3380CC4-5D6E-409C-BE32-E72D297353CC}">
                <c16:uniqueId val="{00000B9D-7BE2-49F1-B47F-64DDA7BF3F9D}"/>
              </c:ext>
            </c:extLst>
          </c:dPt>
          <c:dPt>
            <c:idx val="1486"/>
            <c:invertIfNegative val="1"/>
            <c:bubble3D val="0"/>
            <c:spPr>
              <a:solidFill>
                <a:srgbClr val="AEABAB"/>
              </a:solidFill>
            </c:spPr>
            <c:extLst>
              <c:ext xmlns:c16="http://schemas.microsoft.com/office/drawing/2014/chart" uri="{C3380CC4-5D6E-409C-BE32-E72D297353CC}">
                <c16:uniqueId val="{00000B9F-7BE2-49F1-B47F-64DDA7BF3F9D}"/>
              </c:ext>
            </c:extLst>
          </c:dPt>
          <c:dPt>
            <c:idx val="1487"/>
            <c:invertIfNegative val="1"/>
            <c:bubble3D val="0"/>
            <c:spPr>
              <a:solidFill>
                <a:srgbClr val="AEABAB"/>
              </a:solidFill>
            </c:spPr>
            <c:extLst>
              <c:ext xmlns:c16="http://schemas.microsoft.com/office/drawing/2014/chart" uri="{C3380CC4-5D6E-409C-BE32-E72D297353CC}">
                <c16:uniqueId val="{00000BA1-7BE2-49F1-B47F-64DDA7BF3F9D}"/>
              </c:ext>
            </c:extLst>
          </c:dPt>
          <c:dPt>
            <c:idx val="1488"/>
            <c:invertIfNegative val="1"/>
            <c:bubble3D val="0"/>
            <c:spPr>
              <a:solidFill>
                <a:srgbClr val="AEABAB"/>
              </a:solidFill>
            </c:spPr>
            <c:extLst>
              <c:ext xmlns:c16="http://schemas.microsoft.com/office/drawing/2014/chart" uri="{C3380CC4-5D6E-409C-BE32-E72D297353CC}">
                <c16:uniqueId val="{00000BA3-7BE2-49F1-B47F-64DDA7BF3F9D}"/>
              </c:ext>
            </c:extLst>
          </c:dPt>
          <c:dPt>
            <c:idx val="1489"/>
            <c:invertIfNegative val="1"/>
            <c:bubble3D val="0"/>
            <c:spPr>
              <a:solidFill>
                <a:srgbClr val="AEABAB"/>
              </a:solidFill>
            </c:spPr>
            <c:extLst>
              <c:ext xmlns:c16="http://schemas.microsoft.com/office/drawing/2014/chart" uri="{C3380CC4-5D6E-409C-BE32-E72D297353CC}">
                <c16:uniqueId val="{00000BA5-7BE2-49F1-B47F-64DDA7BF3F9D}"/>
              </c:ext>
            </c:extLst>
          </c:dPt>
          <c:dPt>
            <c:idx val="1490"/>
            <c:invertIfNegative val="1"/>
            <c:bubble3D val="0"/>
            <c:spPr>
              <a:solidFill>
                <a:srgbClr val="AEABAB"/>
              </a:solidFill>
            </c:spPr>
            <c:extLst>
              <c:ext xmlns:c16="http://schemas.microsoft.com/office/drawing/2014/chart" uri="{C3380CC4-5D6E-409C-BE32-E72D297353CC}">
                <c16:uniqueId val="{00000BA7-7BE2-49F1-B47F-64DDA7BF3F9D}"/>
              </c:ext>
            </c:extLst>
          </c:dPt>
          <c:dPt>
            <c:idx val="1491"/>
            <c:invertIfNegative val="1"/>
            <c:bubble3D val="0"/>
            <c:spPr>
              <a:solidFill>
                <a:srgbClr val="AEABAB"/>
              </a:solidFill>
            </c:spPr>
            <c:extLst>
              <c:ext xmlns:c16="http://schemas.microsoft.com/office/drawing/2014/chart" uri="{C3380CC4-5D6E-409C-BE32-E72D297353CC}">
                <c16:uniqueId val="{00000BA9-7BE2-49F1-B47F-64DDA7BF3F9D}"/>
              </c:ext>
            </c:extLst>
          </c:dPt>
          <c:dPt>
            <c:idx val="1492"/>
            <c:invertIfNegative val="1"/>
            <c:bubble3D val="0"/>
            <c:spPr>
              <a:solidFill>
                <a:srgbClr val="AEABAB"/>
              </a:solidFill>
            </c:spPr>
            <c:extLst>
              <c:ext xmlns:c16="http://schemas.microsoft.com/office/drawing/2014/chart" uri="{C3380CC4-5D6E-409C-BE32-E72D297353CC}">
                <c16:uniqueId val="{00000BAB-7BE2-49F1-B47F-64DDA7BF3F9D}"/>
              </c:ext>
            </c:extLst>
          </c:dPt>
          <c:dPt>
            <c:idx val="1493"/>
            <c:invertIfNegative val="1"/>
            <c:bubble3D val="0"/>
            <c:spPr>
              <a:solidFill>
                <a:srgbClr val="AEABAB"/>
              </a:solidFill>
            </c:spPr>
            <c:extLst>
              <c:ext xmlns:c16="http://schemas.microsoft.com/office/drawing/2014/chart" uri="{C3380CC4-5D6E-409C-BE32-E72D297353CC}">
                <c16:uniqueId val="{00000BAD-7BE2-49F1-B47F-64DDA7BF3F9D}"/>
              </c:ext>
            </c:extLst>
          </c:dPt>
          <c:dPt>
            <c:idx val="1494"/>
            <c:invertIfNegative val="1"/>
            <c:bubble3D val="0"/>
            <c:spPr>
              <a:solidFill>
                <a:srgbClr val="AEABAB"/>
              </a:solidFill>
            </c:spPr>
            <c:extLst>
              <c:ext xmlns:c16="http://schemas.microsoft.com/office/drawing/2014/chart" uri="{C3380CC4-5D6E-409C-BE32-E72D297353CC}">
                <c16:uniqueId val="{00000BAF-7BE2-49F1-B47F-64DDA7BF3F9D}"/>
              </c:ext>
            </c:extLst>
          </c:dPt>
          <c:dPt>
            <c:idx val="1495"/>
            <c:invertIfNegative val="1"/>
            <c:bubble3D val="0"/>
            <c:spPr>
              <a:solidFill>
                <a:srgbClr val="AEABAB"/>
              </a:solidFill>
            </c:spPr>
            <c:extLst>
              <c:ext xmlns:c16="http://schemas.microsoft.com/office/drawing/2014/chart" uri="{C3380CC4-5D6E-409C-BE32-E72D297353CC}">
                <c16:uniqueId val="{00000BB1-7BE2-49F1-B47F-64DDA7BF3F9D}"/>
              </c:ext>
            </c:extLst>
          </c:dPt>
          <c:dPt>
            <c:idx val="1496"/>
            <c:invertIfNegative val="1"/>
            <c:bubble3D val="0"/>
            <c:spPr>
              <a:solidFill>
                <a:srgbClr val="AEABAB"/>
              </a:solidFill>
            </c:spPr>
            <c:extLst>
              <c:ext xmlns:c16="http://schemas.microsoft.com/office/drawing/2014/chart" uri="{C3380CC4-5D6E-409C-BE32-E72D297353CC}">
                <c16:uniqueId val="{00000BB3-7BE2-49F1-B47F-64DDA7BF3F9D}"/>
              </c:ext>
            </c:extLst>
          </c:dPt>
          <c:dPt>
            <c:idx val="1497"/>
            <c:invertIfNegative val="1"/>
            <c:bubble3D val="0"/>
            <c:spPr>
              <a:solidFill>
                <a:srgbClr val="AEABAB"/>
              </a:solidFill>
            </c:spPr>
            <c:extLst>
              <c:ext xmlns:c16="http://schemas.microsoft.com/office/drawing/2014/chart" uri="{C3380CC4-5D6E-409C-BE32-E72D297353CC}">
                <c16:uniqueId val="{00000BB5-7BE2-49F1-B47F-64DDA7BF3F9D}"/>
              </c:ext>
            </c:extLst>
          </c:dPt>
          <c:dPt>
            <c:idx val="1498"/>
            <c:invertIfNegative val="1"/>
            <c:bubble3D val="0"/>
            <c:spPr>
              <a:solidFill>
                <a:srgbClr val="AEABAB"/>
              </a:solidFill>
            </c:spPr>
            <c:extLst>
              <c:ext xmlns:c16="http://schemas.microsoft.com/office/drawing/2014/chart" uri="{C3380CC4-5D6E-409C-BE32-E72D297353CC}">
                <c16:uniqueId val="{00000BB7-7BE2-49F1-B47F-64DDA7BF3F9D}"/>
              </c:ext>
            </c:extLst>
          </c:dPt>
          <c:dPt>
            <c:idx val="1499"/>
            <c:invertIfNegative val="1"/>
            <c:bubble3D val="0"/>
            <c:spPr>
              <a:solidFill>
                <a:srgbClr val="AEABAB"/>
              </a:solidFill>
            </c:spPr>
            <c:extLst>
              <c:ext xmlns:c16="http://schemas.microsoft.com/office/drawing/2014/chart" uri="{C3380CC4-5D6E-409C-BE32-E72D297353CC}">
                <c16:uniqueId val="{00000BB9-7BE2-49F1-B47F-64DDA7BF3F9D}"/>
              </c:ext>
            </c:extLst>
          </c:dPt>
          <c:dPt>
            <c:idx val="1500"/>
            <c:invertIfNegative val="1"/>
            <c:bubble3D val="0"/>
            <c:spPr>
              <a:solidFill>
                <a:srgbClr val="AEABAB"/>
              </a:solidFill>
            </c:spPr>
            <c:extLst>
              <c:ext xmlns:c16="http://schemas.microsoft.com/office/drawing/2014/chart" uri="{C3380CC4-5D6E-409C-BE32-E72D297353CC}">
                <c16:uniqueId val="{00000BBB-7BE2-49F1-B47F-64DDA7BF3F9D}"/>
              </c:ext>
            </c:extLst>
          </c:dPt>
          <c:dPt>
            <c:idx val="1501"/>
            <c:invertIfNegative val="1"/>
            <c:bubble3D val="0"/>
            <c:spPr>
              <a:solidFill>
                <a:srgbClr val="AEABAB"/>
              </a:solidFill>
            </c:spPr>
            <c:extLst>
              <c:ext xmlns:c16="http://schemas.microsoft.com/office/drawing/2014/chart" uri="{C3380CC4-5D6E-409C-BE32-E72D297353CC}">
                <c16:uniqueId val="{00000BBD-7BE2-49F1-B47F-64DDA7BF3F9D}"/>
              </c:ext>
            </c:extLst>
          </c:dPt>
          <c:dPt>
            <c:idx val="1502"/>
            <c:invertIfNegative val="1"/>
            <c:bubble3D val="0"/>
            <c:spPr>
              <a:solidFill>
                <a:srgbClr val="AEABAB"/>
              </a:solidFill>
            </c:spPr>
            <c:extLst>
              <c:ext xmlns:c16="http://schemas.microsoft.com/office/drawing/2014/chart" uri="{C3380CC4-5D6E-409C-BE32-E72D297353CC}">
                <c16:uniqueId val="{00000BBF-7BE2-49F1-B47F-64DDA7BF3F9D}"/>
              </c:ext>
            </c:extLst>
          </c:dPt>
          <c:dPt>
            <c:idx val="1503"/>
            <c:invertIfNegative val="1"/>
            <c:bubble3D val="0"/>
            <c:spPr>
              <a:solidFill>
                <a:srgbClr val="AEABAB"/>
              </a:solidFill>
            </c:spPr>
            <c:extLst>
              <c:ext xmlns:c16="http://schemas.microsoft.com/office/drawing/2014/chart" uri="{C3380CC4-5D6E-409C-BE32-E72D297353CC}">
                <c16:uniqueId val="{00000BC1-7BE2-49F1-B47F-64DDA7BF3F9D}"/>
              </c:ext>
            </c:extLst>
          </c:dPt>
          <c:dPt>
            <c:idx val="1504"/>
            <c:invertIfNegative val="1"/>
            <c:bubble3D val="0"/>
            <c:spPr>
              <a:solidFill>
                <a:srgbClr val="AEABAB"/>
              </a:solidFill>
            </c:spPr>
            <c:extLst>
              <c:ext xmlns:c16="http://schemas.microsoft.com/office/drawing/2014/chart" uri="{C3380CC4-5D6E-409C-BE32-E72D297353CC}">
                <c16:uniqueId val="{00000BC3-7BE2-49F1-B47F-64DDA7BF3F9D}"/>
              </c:ext>
            </c:extLst>
          </c:dPt>
          <c:dPt>
            <c:idx val="1505"/>
            <c:invertIfNegative val="1"/>
            <c:bubble3D val="0"/>
            <c:spPr>
              <a:solidFill>
                <a:srgbClr val="AEABAB"/>
              </a:solidFill>
            </c:spPr>
            <c:extLst>
              <c:ext xmlns:c16="http://schemas.microsoft.com/office/drawing/2014/chart" uri="{C3380CC4-5D6E-409C-BE32-E72D297353CC}">
                <c16:uniqueId val="{00000BC5-7BE2-49F1-B47F-64DDA7BF3F9D}"/>
              </c:ext>
            </c:extLst>
          </c:dPt>
          <c:dPt>
            <c:idx val="1506"/>
            <c:invertIfNegative val="1"/>
            <c:bubble3D val="0"/>
            <c:spPr>
              <a:solidFill>
                <a:srgbClr val="AEABAB"/>
              </a:solidFill>
            </c:spPr>
            <c:extLst>
              <c:ext xmlns:c16="http://schemas.microsoft.com/office/drawing/2014/chart" uri="{C3380CC4-5D6E-409C-BE32-E72D297353CC}">
                <c16:uniqueId val="{00000BC7-7BE2-49F1-B47F-64DDA7BF3F9D}"/>
              </c:ext>
            </c:extLst>
          </c:dPt>
          <c:dPt>
            <c:idx val="1507"/>
            <c:invertIfNegative val="1"/>
            <c:bubble3D val="0"/>
            <c:spPr>
              <a:solidFill>
                <a:srgbClr val="AEABAB"/>
              </a:solidFill>
            </c:spPr>
            <c:extLst>
              <c:ext xmlns:c16="http://schemas.microsoft.com/office/drawing/2014/chart" uri="{C3380CC4-5D6E-409C-BE32-E72D297353CC}">
                <c16:uniqueId val="{00000BC9-7BE2-49F1-B47F-64DDA7BF3F9D}"/>
              </c:ext>
            </c:extLst>
          </c:dPt>
          <c:dPt>
            <c:idx val="1508"/>
            <c:invertIfNegative val="1"/>
            <c:bubble3D val="0"/>
            <c:spPr>
              <a:solidFill>
                <a:srgbClr val="AEABAB"/>
              </a:solidFill>
            </c:spPr>
            <c:extLst>
              <c:ext xmlns:c16="http://schemas.microsoft.com/office/drawing/2014/chart" uri="{C3380CC4-5D6E-409C-BE32-E72D297353CC}">
                <c16:uniqueId val="{00000BCB-7BE2-49F1-B47F-64DDA7BF3F9D}"/>
              </c:ext>
            </c:extLst>
          </c:dPt>
          <c:dPt>
            <c:idx val="1509"/>
            <c:invertIfNegative val="1"/>
            <c:bubble3D val="0"/>
            <c:spPr>
              <a:solidFill>
                <a:srgbClr val="AEABAB"/>
              </a:solidFill>
            </c:spPr>
            <c:extLst>
              <c:ext xmlns:c16="http://schemas.microsoft.com/office/drawing/2014/chart" uri="{C3380CC4-5D6E-409C-BE32-E72D297353CC}">
                <c16:uniqueId val="{00000BCD-7BE2-49F1-B47F-64DDA7BF3F9D}"/>
              </c:ext>
            </c:extLst>
          </c:dPt>
          <c:dPt>
            <c:idx val="1510"/>
            <c:invertIfNegative val="1"/>
            <c:bubble3D val="0"/>
            <c:spPr>
              <a:solidFill>
                <a:srgbClr val="AEABAB"/>
              </a:solidFill>
            </c:spPr>
            <c:extLst>
              <c:ext xmlns:c16="http://schemas.microsoft.com/office/drawing/2014/chart" uri="{C3380CC4-5D6E-409C-BE32-E72D297353CC}">
                <c16:uniqueId val="{00000BCF-7BE2-49F1-B47F-64DDA7BF3F9D}"/>
              </c:ext>
            </c:extLst>
          </c:dPt>
          <c:dPt>
            <c:idx val="1511"/>
            <c:invertIfNegative val="1"/>
            <c:bubble3D val="0"/>
            <c:spPr>
              <a:solidFill>
                <a:srgbClr val="AEABAB"/>
              </a:solidFill>
            </c:spPr>
            <c:extLst>
              <c:ext xmlns:c16="http://schemas.microsoft.com/office/drawing/2014/chart" uri="{C3380CC4-5D6E-409C-BE32-E72D297353CC}">
                <c16:uniqueId val="{00000BD1-7BE2-49F1-B47F-64DDA7BF3F9D}"/>
              </c:ext>
            </c:extLst>
          </c:dPt>
          <c:dPt>
            <c:idx val="1512"/>
            <c:invertIfNegative val="1"/>
            <c:bubble3D val="0"/>
            <c:spPr>
              <a:solidFill>
                <a:srgbClr val="AEABAB"/>
              </a:solidFill>
            </c:spPr>
            <c:extLst>
              <c:ext xmlns:c16="http://schemas.microsoft.com/office/drawing/2014/chart" uri="{C3380CC4-5D6E-409C-BE32-E72D297353CC}">
                <c16:uniqueId val="{00000BD3-7BE2-49F1-B47F-64DDA7BF3F9D}"/>
              </c:ext>
            </c:extLst>
          </c:dPt>
          <c:dPt>
            <c:idx val="1513"/>
            <c:invertIfNegative val="1"/>
            <c:bubble3D val="0"/>
            <c:spPr>
              <a:solidFill>
                <a:srgbClr val="AEABAB"/>
              </a:solidFill>
            </c:spPr>
            <c:extLst>
              <c:ext xmlns:c16="http://schemas.microsoft.com/office/drawing/2014/chart" uri="{C3380CC4-5D6E-409C-BE32-E72D297353CC}">
                <c16:uniqueId val="{00000BD5-7BE2-49F1-B47F-64DDA7BF3F9D}"/>
              </c:ext>
            </c:extLst>
          </c:dPt>
          <c:dPt>
            <c:idx val="1514"/>
            <c:invertIfNegative val="1"/>
            <c:bubble3D val="0"/>
            <c:spPr>
              <a:solidFill>
                <a:srgbClr val="AEABAB"/>
              </a:solidFill>
            </c:spPr>
            <c:extLst>
              <c:ext xmlns:c16="http://schemas.microsoft.com/office/drawing/2014/chart" uri="{C3380CC4-5D6E-409C-BE32-E72D297353CC}">
                <c16:uniqueId val="{00000BD7-7BE2-49F1-B47F-64DDA7BF3F9D}"/>
              </c:ext>
            </c:extLst>
          </c:dPt>
          <c:dPt>
            <c:idx val="1515"/>
            <c:invertIfNegative val="1"/>
            <c:bubble3D val="0"/>
            <c:spPr>
              <a:solidFill>
                <a:srgbClr val="AEABAB"/>
              </a:solidFill>
            </c:spPr>
            <c:extLst>
              <c:ext xmlns:c16="http://schemas.microsoft.com/office/drawing/2014/chart" uri="{C3380CC4-5D6E-409C-BE32-E72D297353CC}">
                <c16:uniqueId val="{00000BD9-7BE2-49F1-B47F-64DDA7BF3F9D}"/>
              </c:ext>
            </c:extLst>
          </c:dPt>
          <c:dPt>
            <c:idx val="1516"/>
            <c:invertIfNegative val="1"/>
            <c:bubble3D val="0"/>
            <c:spPr>
              <a:solidFill>
                <a:srgbClr val="AEABAB"/>
              </a:solidFill>
            </c:spPr>
            <c:extLst>
              <c:ext xmlns:c16="http://schemas.microsoft.com/office/drawing/2014/chart" uri="{C3380CC4-5D6E-409C-BE32-E72D297353CC}">
                <c16:uniqueId val="{00000BDB-7BE2-49F1-B47F-64DDA7BF3F9D}"/>
              </c:ext>
            </c:extLst>
          </c:dPt>
          <c:dPt>
            <c:idx val="1517"/>
            <c:invertIfNegative val="1"/>
            <c:bubble3D val="0"/>
            <c:spPr>
              <a:solidFill>
                <a:srgbClr val="AEABAB"/>
              </a:solidFill>
            </c:spPr>
            <c:extLst>
              <c:ext xmlns:c16="http://schemas.microsoft.com/office/drawing/2014/chart" uri="{C3380CC4-5D6E-409C-BE32-E72D297353CC}">
                <c16:uniqueId val="{00000BDD-7BE2-49F1-B47F-64DDA7BF3F9D}"/>
              </c:ext>
            </c:extLst>
          </c:dPt>
          <c:dPt>
            <c:idx val="1518"/>
            <c:invertIfNegative val="1"/>
            <c:bubble3D val="0"/>
            <c:spPr>
              <a:solidFill>
                <a:srgbClr val="AEABAB"/>
              </a:solidFill>
            </c:spPr>
            <c:extLst>
              <c:ext xmlns:c16="http://schemas.microsoft.com/office/drawing/2014/chart" uri="{C3380CC4-5D6E-409C-BE32-E72D297353CC}">
                <c16:uniqueId val="{00000BDF-7BE2-49F1-B47F-64DDA7BF3F9D}"/>
              </c:ext>
            </c:extLst>
          </c:dPt>
          <c:dPt>
            <c:idx val="1519"/>
            <c:invertIfNegative val="1"/>
            <c:bubble3D val="0"/>
            <c:spPr>
              <a:solidFill>
                <a:srgbClr val="AEABAB"/>
              </a:solidFill>
            </c:spPr>
            <c:extLst>
              <c:ext xmlns:c16="http://schemas.microsoft.com/office/drawing/2014/chart" uri="{C3380CC4-5D6E-409C-BE32-E72D297353CC}">
                <c16:uniqueId val="{00000BE1-7BE2-49F1-B47F-64DDA7BF3F9D}"/>
              </c:ext>
            </c:extLst>
          </c:dPt>
          <c:dPt>
            <c:idx val="1520"/>
            <c:invertIfNegative val="1"/>
            <c:bubble3D val="0"/>
            <c:spPr>
              <a:solidFill>
                <a:srgbClr val="AEABAB"/>
              </a:solidFill>
            </c:spPr>
            <c:extLst>
              <c:ext xmlns:c16="http://schemas.microsoft.com/office/drawing/2014/chart" uri="{C3380CC4-5D6E-409C-BE32-E72D297353CC}">
                <c16:uniqueId val="{00000BE3-7BE2-49F1-B47F-64DDA7BF3F9D}"/>
              </c:ext>
            </c:extLst>
          </c:dPt>
          <c:dPt>
            <c:idx val="1521"/>
            <c:invertIfNegative val="1"/>
            <c:bubble3D val="0"/>
            <c:spPr>
              <a:solidFill>
                <a:srgbClr val="AEABAB"/>
              </a:solidFill>
            </c:spPr>
            <c:extLst>
              <c:ext xmlns:c16="http://schemas.microsoft.com/office/drawing/2014/chart" uri="{C3380CC4-5D6E-409C-BE32-E72D297353CC}">
                <c16:uniqueId val="{00000BE5-7BE2-49F1-B47F-64DDA7BF3F9D}"/>
              </c:ext>
            </c:extLst>
          </c:dPt>
          <c:dPt>
            <c:idx val="1522"/>
            <c:invertIfNegative val="1"/>
            <c:bubble3D val="0"/>
            <c:spPr>
              <a:solidFill>
                <a:srgbClr val="AEABAB"/>
              </a:solidFill>
            </c:spPr>
            <c:extLst>
              <c:ext xmlns:c16="http://schemas.microsoft.com/office/drawing/2014/chart" uri="{C3380CC4-5D6E-409C-BE32-E72D297353CC}">
                <c16:uniqueId val="{00000BE7-7BE2-49F1-B47F-64DDA7BF3F9D}"/>
              </c:ext>
            </c:extLst>
          </c:dPt>
          <c:dPt>
            <c:idx val="1523"/>
            <c:invertIfNegative val="1"/>
            <c:bubble3D val="0"/>
            <c:spPr>
              <a:solidFill>
                <a:srgbClr val="AEABAB"/>
              </a:solidFill>
            </c:spPr>
            <c:extLst>
              <c:ext xmlns:c16="http://schemas.microsoft.com/office/drawing/2014/chart" uri="{C3380CC4-5D6E-409C-BE32-E72D297353CC}">
                <c16:uniqueId val="{00000BE9-7BE2-49F1-B47F-64DDA7BF3F9D}"/>
              </c:ext>
            </c:extLst>
          </c:dPt>
          <c:dPt>
            <c:idx val="1524"/>
            <c:invertIfNegative val="1"/>
            <c:bubble3D val="0"/>
            <c:spPr>
              <a:solidFill>
                <a:srgbClr val="AEABAB"/>
              </a:solidFill>
            </c:spPr>
            <c:extLst>
              <c:ext xmlns:c16="http://schemas.microsoft.com/office/drawing/2014/chart" uri="{C3380CC4-5D6E-409C-BE32-E72D297353CC}">
                <c16:uniqueId val="{00000BEB-7BE2-49F1-B47F-64DDA7BF3F9D}"/>
              </c:ext>
            </c:extLst>
          </c:dPt>
          <c:dPt>
            <c:idx val="1525"/>
            <c:invertIfNegative val="1"/>
            <c:bubble3D val="0"/>
            <c:spPr>
              <a:solidFill>
                <a:srgbClr val="AEABAB"/>
              </a:solidFill>
            </c:spPr>
            <c:extLst>
              <c:ext xmlns:c16="http://schemas.microsoft.com/office/drawing/2014/chart" uri="{C3380CC4-5D6E-409C-BE32-E72D297353CC}">
                <c16:uniqueId val="{00000BED-7BE2-49F1-B47F-64DDA7BF3F9D}"/>
              </c:ext>
            </c:extLst>
          </c:dPt>
          <c:dPt>
            <c:idx val="1526"/>
            <c:invertIfNegative val="1"/>
            <c:bubble3D val="0"/>
            <c:spPr>
              <a:solidFill>
                <a:srgbClr val="AEABAB"/>
              </a:solidFill>
            </c:spPr>
            <c:extLst>
              <c:ext xmlns:c16="http://schemas.microsoft.com/office/drawing/2014/chart" uri="{C3380CC4-5D6E-409C-BE32-E72D297353CC}">
                <c16:uniqueId val="{00000BEF-7BE2-49F1-B47F-64DDA7BF3F9D}"/>
              </c:ext>
            </c:extLst>
          </c:dPt>
          <c:dPt>
            <c:idx val="1527"/>
            <c:invertIfNegative val="1"/>
            <c:bubble3D val="0"/>
            <c:spPr>
              <a:solidFill>
                <a:srgbClr val="AEABAB"/>
              </a:solidFill>
            </c:spPr>
            <c:extLst>
              <c:ext xmlns:c16="http://schemas.microsoft.com/office/drawing/2014/chart" uri="{C3380CC4-5D6E-409C-BE32-E72D297353CC}">
                <c16:uniqueId val="{00000BF1-7BE2-49F1-B47F-64DDA7BF3F9D}"/>
              </c:ext>
            </c:extLst>
          </c:dPt>
          <c:dPt>
            <c:idx val="1528"/>
            <c:invertIfNegative val="1"/>
            <c:bubble3D val="0"/>
            <c:spPr>
              <a:solidFill>
                <a:srgbClr val="AEABAB"/>
              </a:solidFill>
            </c:spPr>
            <c:extLst>
              <c:ext xmlns:c16="http://schemas.microsoft.com/office/drawing/2014/chart" uri="{C3380CC4-5D6E-409C-BE32-E72D297353CC}">
                <c16:uniqueId val="{00000BF3-7BE2-49F1-B47F-64DDA7BF3F9D}"/>
              </c:ext>
            </c:extLst>
          </c:dPt>
          <c:dPt>
            <c:idx val="1529"/>
            <c:invertIfNegative val="1"/>
            <c:bubble3D val="0"/>
            <c:spPr>
              <a:solidFill>
                <a:srgbClr val="AEABAB"/>
              </a:solidFill>
            </c:spPr>
            <c:extLst>
              <c:ext xmlns:c16="http://schemas.microsoft.com/office/drawing/2014/chart" uri="{C3380CC4-5D6E-409C-BE32-E72D297353CC}">
                <c16:uniqueId val="{00000BF5-7BE2-49F1-B47F-64DDA7BF3F9D}"/>
              </c:ext>
            </c:extLst>
          </c:dPt>
          <c:dPt>
            <c:idx val="1530"/>
            <c:invertIfNegative val="1"/>
            <c:bubble3D val="0"/>
            <c:spPr>
              <a:solidFill>
                <a:srgbClr val="AEABAB"/>
              </a:solidFill>
            </c:spPr>
            <c:extLst>
              <c:ext xmlns:c16="http://schemas.microsoft.com/office/drawing/2014/chart" uri="{C3380CC4-5D6E-409C-BE32-E72D297353CC}">
                <c16:uniqueId val="{00000BF7-7BE2-49F1-B47F-64DDA7BF3F9D}"/>
              </c:ext>
            </c:extLst>
          </c:dPt>
          <c:dPt>
            <c:idx val="1531"/>
            <c:invertIfNegative val="1"/>
            <c:bubble3D val="0"/>
            <c:spPr>
              <a:solidFill>
                <a:srgbClr val="AEABAB"/>
              </a:solidFill>
            </c:spPr>
            <c:extLst>
              <c:ext xmlns:c16="http://schemas.microsoft.com/office/drawing/2014/chart" uri="{C3380CC4-5D6E-409C-BE32-E72D297353CC}">
                <c16:uniqueId val="{00000BF9-7BE2-49F1-B47F-64DDA7BF3F9D}"/>
              </c:ext>
            </c:extLst>
          </c:dPt>
          <c:dPt>
            <c:idx val="1532"/>
            <c:invertIfNegative val="1"/>
            <c:bubble3D val="0"/>
            <c:spPr>
              <a:solidFill>
                <a:srgbClr val="AEABAB"/>
              </a:solidFill>
            </c:spPr>
            <c:extLst>
              <c:ext xmlns:c16="http://schemas.microsoft.com/office/drawing/2014/chart" uri="{C3380CC4-5D6E-409C-BE32-E72D297353CC}">
                <c16:uniqueId val="{00000BFB-7BE2-49F1-B47F-64DDA7BF3F9D}"/>
              </c:ext>
            </c:extLst>
          </c:dPt>
          <c:dPt>
            <c:idx val="1533"/>
            <c:invertIfNegative val="1"/>
            <c:bubble3D val="0"/>
            <c:spPr>
              <a:solidFill>
                <a:srgbClr val="AEABAB"/>
              </a:solidFill>
            </c:spPr>
            <c:extLst>
              <c:ext xmlns:c16="http://schemas.microsoft.com/office/drawing/2014/chart" uri="{C3380CC4-5D6E-409C-BE32-E72D297353CC}">
                <c16:uniqueId val="{00000BFD-7BE2-49F1-B47F-64DDA7BF3F9D}"/>
              </c:ext>
            </c:extLst>
          </c:dPt>
          <c:dPt>
            <c:idx val="1534"/>
            <c:invertIfNegative val="1"/>
            <c:bubble3D val="0"/>
            <c:spPr>
              <a:solidFill>
                <a:srgbClr val="AEABAB"/>
              </a:solidFill>
            </c:spPr>
            <c:extLst>
              <c:ext xmlns:c16="http://schemas.microsoft.com/office/drawing/2014/chart" uri="{C3380CC4-5D6E-409C-BE32-E72D297353CC}">
                <c16:uniqueId val="{00000BFF-7BE2-49F1-B47F-64DDA7BF3F9D}"/>
              </c:ext>
            </c:extLst>
          </c:dPt>
          <c:dPt>
            <c:idx val="1535"/>
            <c:invertIfNegative val="1"/>
            <c:bubble3D val="0"/>
            <c:spPr>
              <a:solidFill>
                <a:srgbClr val="AEABAB"/>
              </a:solidFill>
            </c:spPr>
            <c:extLst>
              <c:ext xmlns:c16="http://schemas.microsoft.com/office/drawing/2014/chart" uri="{C3380CC4-5D6E-409C-BE32-E72D297353CC}">
                <c16:uniqueId val="{00000C01-7BE2-49F1-B47F-64DDA7BF3F9D}"/>
              </c:ext>
            </c:extLst>
          </c:dPt>
          <c:dPt>
            <c:idx val="1536"/>
            <c:invertIfNegative val="1"/>
            <c:bubble3D val="0"/>
            <c:spPr>
              <a:solidFill>
                <a:srgbClr val="AEABAB"/>
              </a:solidFill>
            </c:spPr>
            <c:extLst>
              <c:ext xmlns:c16="http://schemas.microsoft.com/office/drawing/2014/chart" uri="{C3380CC4-5D6E-409C-BE32-E72D297353CC}">
                <c16:uniqueId val="{00000C03-7BE2-49F1-B47F-64DDA7BF3F9D}"/>
              </c:ext>
            </c:extLst>
          </c:dPt>
          <c:dPt>
            <c:idx val="1537"/>
            <c:invertIfNegative val="1"/>
            <c:bubble3D val="0"/>
            <c:spPr>
              <a:solidFill>
                <a:srgbClr val="AEABAB"/>
              </a:solidFill>
            </c:spPr>
            <c:extLst>
              <c:ext xmlns:c16="http://schemas.microsoft.com/office/drawing/2014/chart" uri="{C3380CC4-5D6E-409C-BE32-E72D297353CC}">
                <c16:uniqueId val="{00000C05-7BE2-49F1-B47F-64DDA7BF3F9D}"/>
              </c:ext>
            </c:extLst>
          </c:dPt>
          <c:dPt>
            <c:idx val="1538"/>
            <c:invertIfNegative val="1"/>
            <c:bubble3D val="0"/>
            <c:spPr>
              <a:solidFill>
                <a:srgbClr val="AEABAB"/>
              </a:solidFill>
            </c:spPr>
            <c:extLst>
              <c:ext xmlns:c16="http://schemas.microsoft.com/office/drawing/2014/chart" uri="{C3380CC4-5D6E-409C-BE32-E72D297353CC}">
                <c16:uniqueId val="{00000C07-7BE2-49F1-B47F-64DDA7BF3F9D}"/>
              </c:ext>
            </c:extLst>
          </c:dPt>
          <c:dPt>
            <c:idx val="1539"/>
            <c:invertIfNegative val="1"/>
            <c:bubble3D val="0"/>
            <c:spPr>
              <a:solidFill>
                <a:srgbClr val="AEABAB"/>
              </a:solidFill>
            </c:spPr>
            <c:extLst>
              <c:ext xmlns:c16="http://schemas.microsoft.com/office/drawing/2014/chart" uri="{C3380CC4-5D6E-409C-BE32-E72D297353CC}">
                <c16:uniqueId val="{00000C09-7BE2-49F1-B47F-64DDA7BF3F9D}"/>
              </c:ext>
            </c:extLst>
          </c:dPt>
          <c:dPt>
            <c:idx val="1540"/>
            <c:invertIfNegative val="1"/>
            <c:bubble3D val="0"/>
            <c:spPr>
              <a:solidFill>
                <a:srgbClr val="AEABAB"/>
              </a:solidFill>
            </c:spPr>
            <c:extLst>
              <c:ext xmlns:c16="http://schemas.microsoft.com/office/drawing/2014/chart" uri="{C3380CC4-5D6E-409C-BE32-E72D297353CC}">
                <c16:uniqueId val="{00000C0B-7BE2-49F1-B47F-64DDA7BF3F9D}"/>
              </c:ext>
            </c:extLst>
          </c:dPt>
          <c:dPt>
            <c:idx val="1541"/>
            <c:invertIfNegative val="1"/>
            <c:bubble3D val="0"/>
            <c:spPr>
              <a:solidFill>
                <a:srgbClr val="AEABAB"/>
              </a:solidFill>
            </c:spPr>
            <c:extLst>
              <c:ext xmlns:c16="http://schemas.microsoft.com/office/drawing/2014/chart" uri="{C3380CC4-5D6E-409C-BE32-E72D297353CC}">
                <c16:uniqueId val="{00000C0D-7BE2-49F1-B47F-64DDA7BF3F9D}"/>
              </c:ext>
            </c:extLst>
          </c:dPt>
          <c:dPt>
            <c:idx val="1542"/>
            <c:invertIfNegative val="1"/>
            <c:bubble3D val="0"/>
            <c:spPr>
              <a:solidFill>
                <a:srgbClr val="AEABAB"/>
              </a:solidFill>
            </c:spPr>
            <c:extLst>
              <c:ext xmlns:c16="http://schemas.microsoft.com/office/drawing/2014/chart" uri="{C3380CC4-5D6E-409C-BE32-E72D297353CC}">
                <c16:uniqueId val="{00000C0F-7BE2-49F1-B47F-64DDA7BF3F9D}"/>
              </c:ext>
            </c:extLst>
          </c:dPt>
          <c:dPt>
            <c:idx val="1543"/>
            <c:invertIfNegative val="1"/>
            <c:bubble3D val="0"/>
            <c:spPr>
              <a:solidFill>
                <a:srgbClr val="AEABAB"/>
              </a:solidFill>
            </c:spPr>
            <c:extLst>
              <c:ext xmlns:c16="http://schemas.microsoft.com/office/drawing/2014/chart" uri="{C3380CC4-5D6E-409C-BE32-E72D297353CC}">
                <c16:uniqueId val="{00000C11-7BE2-49F1-B47F-64DDA7BF3F9D}"/>
              </c:ext>
            </c:extLst>
          </c:dPt>
          <c:dPt>
            <c:idx val="1544"/>
            <c:invertIfNegative val="1"/>
            <c:bubble3D val="0"/>
            <c:spPr>
              <a:solidFill>
                <a:srgbClr val="AEABAB"/>
              </a:solidFill>
            </c:spPr>
            <c:extLst>
              <c:ext xmlns:c16="http://schemas.microsoft.com/office/drawing/2014/chart" uri="{C3380CC4-5D6E-409C-BE32-E72D297353CC}">
                <c16:uniqueId val="{00000C13-7BE2-49F1-B47F-64DDA7BF3F9D}"/>
              </c:ext>
            </c:extLst>
          </c:dPt>
          <c:dPt>
            <c:idx val="1545"/>
            <c:invertIfNegative val="1"/>
            <c:bubble3D val="0"/>
            <c:spPr>
              <a:solidFill>
                <a:srgbClr val="AEABAB"/>
              </a:solidFill>
            </c:spPr>
            <c:extLst>
              <c:ext xmlns:c16="http://schemas.microsoft.com/office/drawing/2014/chart" uri="{C3380CC4-5D6E-409C-BE32-E72D297353CC}">
                <c16:uniqueId val="{00000C15-7BE2-49F1-B47F-64DDA7BF3F9D}"/>
              </c:ext>
            </c:extLst>
          </c:dPt>
          <c:dPt>
            <c:idx val="1546"/>
            <c:invertIfNegative val="1"/>
            <c:bubble3D val="0"/>
            <c:spPr>
              <a:solidFill>
                <a:srgbClr val="AEABAB"/>
              </a:solidFill>
            </c:spPr>
            <c:extLst>
              <c:ext xmlns:c16="http://schemas.microsoft.com/office/drawing/2014/chart" uri="{C3380CC4-5D6E-409C-BE32-E72D297353CC}">
                <c16:uniqueId val="{00000C17-7BE2-49F1-B47F-64DDA7BF3F9D}"/>
              </c:ext>
            </c:extLst>
          </c:dPt>
          <c:dPt>
            <c:idx val="1547"/>
            <c:invertIfNegative val="1"/>
            <c:bubble3D val="0"/>
            <c:spPr>
              <a:solidFill>
                <a:srgbClr val="AEABAB"/>
              </a:solidFill>
            </c:spPr>
            <c:extLst>
              <c:ext xmlns:c16="http://schemas.microsoft.com/office/drawing/2014/chart" uri="{C3380CC4-5D6E-409C-BE32-E72D297353CC}">
                <c16:uniqueId val="{00000C19-7BE2-49F1-B47F-64DDA7BF3F9D}"/>
              </c:ext>
            </c:extLst>
          </c:dPt>
          <c:dPt>
            <c:idx val="1548"/>
            <c:invertIfNegative val="1"/>
            <c:bubble3D val="0"/>
            <c:spPr>
              <a:solidFill>
                <a:srgbClr val="AEABAB"/>
              </a:solidFill>
            </c:spPr>
            <c:extLst>
              <c:ext xmlns:c16="http://schemas.microsoft.com/office/drawing/2014/chart" uri="{C3380CC4-5D6E-409C-BE32-E72D297353CC}">
                <c16:uniqueId val="{00000C1B-7BE2-49F1-B47F-64DDA7BF3F9D}"/>
              </c:ext>
            </c:extLst>
          </c:dPt>
          <c:dPt>
            <c:idx val="1549"/>
            <c:invertIfNegative val="1"/>
            <c:bubble3D val="0"/>
            <c:spPr>
              <a:solidFill>
                <a:srgbClr val="AEABAB"/>
              </a:solidFill>
            </c:spPr>
            <c:extLst>
              <c:ext xmlns:c16="http://schemas.microsoft.com/office/drawing/2014/chart" uri="{C3380CC4-5D6E-409C-BE32-E72D297353CC}">
                <c16:uniqueId val="{00000C1D-7BE2-49F1-B47F-64DDA7BF3F9D}"/>
              </c:ext>
            </c:extLst>
          </c:dPt>
          <c:dPt>
            <c:idx val="1550"/>
            <c:invertIfNegative val="1"/>
            <c:bubble3D val="0"/>
            <c:spPr>
              <a:solidFill>
                <a:srgbClr val="AEABAB"/>
              </a:solidFill>
            </c:spPr>
            <c:extLst>
              <c:ext xmlns:c16="http://schemas.microsoft.com/office/drawing/2014/chart" uri="{C3380CC4-5D6E-409C-BE32-E72D297353CC}">
                <c16:uniqueId val="{00000C1F-7BE2-49F1-B47F-64DDA7BF3F9D}"/>
              </c:ext>
            </c:extLst>
          </c:dPt>
          <c:dPt>
            <c:idx val="1551"/>
            <c:invertIfNegative val="1"/>
            <c:bubble3D val="0"/>
            <c:spPr>
              <a:solidFill>
                <a:srgbClr val="AEABAB"/>
              </a:solidFill>
            </c:spPr>
            <c:extLst>
              <c:ext xmlns:c16="http://schemas.microsoft.com/office/drawing/2014/chart" uri="{C3380CC4-5D6E-409C-BE32-E72D297353CC}">
                <c16:uniqueId val="{00000C21-7BE2-49F1-B47F-64DDA7BF3F9D}"/>
              </c:ext>
            </c:extLst>
          </c:dPt>
          <c:dPt>
            <c:idx val="1552"/>
            <c:invertIfNegative val="1"/>
            <c:bubble3D val="0"/>
            <c:spPr>
              <a:solidFill>
                <a:srgbClr val="AEABAB"/>
              </a:solidFill>
            </c:spPr>
            <c:extLst>
              <c:ext xmlns:c16="http://schemas.microsoft.com/office/drawing/2014/chart" uri="{C3380CC4-5D6E-409C-BE32-E72D297353CC}">
                <c16:uniqueId val="{00000C23-7BE2-49F1-B47F-64DDA7BF3F9D}"/>
              </c:ext>
            </c:extLst>
          </c:dPt>
          <c:dPt>
            <c:idx val="1553"/>
            <c:invertIfNegative val="1"/>
            <c:bubble3D val="0"/>
            <c:spPr>
              <a:solidFill>
                <a:srgbClr val="AEABAB"/>
              </a:solidFill>
            </c:spPr>
            <c:extLst>
              <c:ext xmlns:c16="http://schemas.microsoft.com/office/drawing/2014/chart" uri="{C3380CC4-5D6E-409C-BE32-E72D297353CC}">
                <c16:uniqueId val="{00000C25-7BE2-49F1-B47F-64DDA7BF3F9D}"/>
              </c:ext>
            </c:extLst>
          </c:dPt>
          <c:dPt>
            <c:idx val="1554"/>
            <c:invertIfNegative val="1"/>
            <c:bubble3D val="0"/>
            <c:spPr>
              <a:solidFill>
                <a:srgbClr val="AEABAB"/>
              </a:solidFill>
            </c:spPr>
            <c:extLst>
              <c:ext xmlns:c16="http://schemas.microsoft.com/office/drawing/2014/chart" uri="{C3380CC4-5D6E-409C-BE32-E72D297353CC}">
                <c16:uniqueId val="{00000C27-7BE2-49F1-B47F-64DDA7BF3F9D}"/>
              </c:ext>
            </c:extLst>
          </c:dPt>
          <c:dPt>
            <c:idx val="1555"/>
            <c:invertIfNegative val="1"/>
            <c:bubble3D val="0"/>
            <c:spPr>
              <a:solidFill>
                <a:srgbClr val="AEABAB"/>
              </a:solidFill>
            </c:spPr>
            <c:extLst>
              <c:ext xmlns:c16="http://schemas.microsoft.com/office/drawing/2014/chart" uri="{C3380CC4-5D6E-409C-BE32-E72D297353CC}">
                <c16:uniqueId val="{00000C29-7BE2-49F1-B47F-64DDA7BF3F9D}"/>
              </c:ext>
            </c:extLst>
          </c:dPt>
          <c:dPt>
            <c:idx val="1556"/>
            <c:invertIfNegative val="1"/>
            <c:bubble3D val="0"/>
            <c:spPr>
              <a:solidFill>
                <a:srgbClr val="AEABAB"/>
              </a:solidFill>
            </c:spPr>
            <c:extLst>
              <c:ext xmlns:c16="http://schemas.microsoft.com/office/drawing/2014/chart" uri="{C3380CC4-5D6E-409C-BE32-E72D297353CC}">
                <c16:uniqueId val="{00000C2B-7BE2-49F1-B47F-64DDA7BF3F9D}"/>
              </c:ext>
            </c:extLst>
          </c:dPt>
          <c:dPt>
            <c:idx val="1557"/>
            <c:invertIfNegative val="1"/>
            <c:bubble3D val="0"/>
            <c:spPr>
              <a:solidFill>
                <a:srgbClr val="AEABAB"/>
              </a:solidFill>
            </c:spPr>
            <c:extLst>
              <c:ext xmlns:c16="http://schemas.microsoft.com/office/drawing/2014/chart" uri="{C3380CC4-5D6E-409C-BE32-E72D297353CC}">
                <c16:uniqueId val="{00000C2D-7BE2-49F1-B47F-64DDA7BF3F9D}"/>
              </c:ext>
            </c:extLst>
          </c:dPt>
          <c:dPt>
            <c:idx val="1558"/>
            <c:invertIfNegative val="1"/>
            <c:bubble3D val="0"/>
            <c:spPr>
              <a:solidFill>
                <a:srgbClr val="AEABAB"/>
              </a:solidFill>
            </c:spPr>
            <c:extLst>
              <c:ext xmlns:c16="http://schemas.microsoft.com/office/drawing/2014/chart" uri="{C3380CC4-5D6E-409C-BE32-E72D297353CC}">
                <c16:uniqueId val="{00000C2F-7BE2-49F1-B47F-64DDA7BF3F9D}"/>
              </c:ext>
            </c:extLst>
          </c:dPt>
          <c:dPt>
            <c:idx val="1559"/>
            <c:invertIfNegative val="1"/>
            <c:bubble3D val="0"/>
            <c:spPr>
              <a:solidFill>
                <a:srgbClr val="AEABAB"/>
              </a:solidFill>
            </c:spPr>
            <c:extLst>
              <c:ext xmlns:c16="http://schemas.microsoft.com/office/drawing/2014/chart" uri="{C3380CC4-5D6E-409C-BE32-E72D297353CC}">
                <c16:uniqueId val="{00000C31-7BE2-49F1-B47F-64DDA7BF3F9D}"/>
              </c:ext>
            </c:extLst>
          </c:dPt>
          <c:dPt>
            <c:idx val="1560"/>
            <c:invertIfNegative val="1"/>
            <c:bubble3D val="0"/>
            <c:spPr>
              <a:solidFill>
                <a:srgbClr val="AEABAB"/>
              </a:solidFill>
            </c:spPr>
            <c:extLst>
              <c:ext xmlns:c16="http://schemas.microsoft.com/office/drawing/2014/chart" uri="{C3380CC4-5D6E-409C-BE32-E72D297353CC}">
                <c16:uniqueId val="{00000C33-7BE2-49F1-B47F-64DDA7BF3F9D}"/>
              </c:ext>
            </c:extLst>
          </c:dPt>
          <c:dPt>
            <c:idx val="1561"/>
            <c:invertIfNegative val="1"/>
            <c:bubble3D val="0"/>
            <c:spPr>
              <a:solidFill>
                <a:srgbClr val="AEABAB"/>
              </a:solidFill>
            </c:spPr>
            <c:extLst>
              <c:ext xmlns:c16="http://schemas.microsoft.com/office/drawing/2014/chart" uri="{C3380CC4-5D6E-409C-BE32-E72D297353CC}">
                <c16:uniqueId val="{00000C35-7BE2-49F1-B47F-64DDA7BF3F9D}"/>
              </c:ext>
            </c:extLst>
          </c:dPt>
          <c:dPt>
            <c:idx val="1562"/>
            <c:invertIfNegative val="1"/>
            <c:bubble3D val="0"/>
            <c:spPr>
              <a:solidFill>
                <a:srgbClr val="AEABAB"/>
              </a:solidFill>
            </c:spPr>
            <c:extLst>
              <c:ext xmlns:c16="http://schemas.microsoft.com/office/drawing/2014/chart" uri="{C3380CC4-5D6E-409C-BE32-E72D297353CC}">
                <c16:uniqueId val="{00000C37-7BE2-49F1-B47F-64DDA7BF3F9D}"/>
              </c:ext>
            </c:extLst>
          </c:dPt>
          <c:dPt>
            <c:idx val="1563"/>
            <c:invertIfNegative val="1"/>
            <c:bubble3D val="0"/>
            <c:spPr>
              <a:solidFill>
                <a:srgbClr val="AEABAB"/>
              </a:solidFill>
            </c:spPr>
            <c:extLst>
              <c:ext xmlns:c16="http://schemas.microsoft.com/office/drawing/2014/chart" uri="{C3380CC4-5D6E-409C-BE32-E72D297353CC}">
                <c16:uniqueId val="{00000C39-7BE2-49F1-B47F-64DDA7BF3F9D}"/>
              </c:ext>
            </c:extLst>
          </c:dPt>
          <c:dPt>
            <c:idx val="1564"/>
            <c:invertIfNegative val="1"/>
            <c:bubble3D val="0"/>
            <c:spPr>
              <a:solidFill>
                <a:srgbClr val="AEABAB"/>
              </a:solidFill>
            </c:spPr>
            <c:extLst>
              <c:ext xmlns:c16="http://schemas.microsoft.com/office/drawing/2014/chart" uri="{C3380CC4-5D6E-409C-BE32-E72D297353CC}">
                <c16:uniqueId val="{00000C3B-7BE2-49F1-B47F-64DDA7BF3F9D}"/>
              </c:ext>
            </c:extLst>
          </c:dPt>
          <c:dPt>
            <c:idx val="1565"/>
            <c:invertIfNegative val="1"/>
            <c:bubble3D val="0"/>
            <c:spPr>
              <a:solidFill>
                <a:srgbClr val="AEABAB"/>
              </a:solidFill>
            </c:spPr>
            <c:extLst>
              <c:ext xmlns:c16="http://schemas.microsoft.com/office/drawing/2014/chart" uri="{C3380CC4-5D6E-409C-BE32-E72D297353CC}">
                <c16:uniqueId val="{00000C3D-7BE2-49F1-B47F-64DDA7BF3F9D}"/>
              </c:ext>
            </c:extLst>
          </c:dPt>
          <c:dPt>
            <c:idx val="1566"/>
            <c:invertIfNegative val="1"/>
            <c:bubble3D val="0"/>
            <c:spPr>
              <a:solidFill>
                <a:srgbClr val="AEABAB"/>
              </a:solidFill>
            </c:spPr>
            <c:extLst>
              <c:ext xmlns:c16="http://schemas.microsoft.com/office/drawing/2014/chart" uri="{C3380CC4-5D6E-409C-BE32-E72D297353CC}">
                <c16:uniqueId val="{00000C3F-7BE2-49F1-B47F-64DDA7BF3F9D}"/>
              </c:ext>
            </c:extLst>
          </c:dPt>
          <c:dPt>
            <c:idx val="1567"/>
            <c:invertIfNegative val="1"/>
            <c:bubble3D val="0"/>
            <c:spPr>
              <a:solidFill>
                <a:srgbClr val="AEABAB"/>
              </a:solidFill>
            </c:spPr>
            <c:extLst>
              <c:ext xmlns:c16="http://schemas.microsoft.com/office/drawing/2014/chart" uri="{C3380CC4-5D6E-409C-BE32-E72D297353CC}">
                <c16:uniqueId val="{00000C41-7BE2-49F1-B47F-64DDA7BF3F9D}"/>
              </c:ext>
            </c:extLst>
          </c:dPt>
          <c:dPt>
            <c:idx val="1568"/>
            <c:invertIfNegative val="1"/>
            <c:bubble3D val="0"/>
            <c:spPr>
              <a:solidFill>
                <a:srgbClr val="AEABAB"/>
              </a:solidFill>
            </c:spPr>
            <c:extLst>
              <c:ext xmlns:c16="http://schemas.microsoft.com/office/drawing/2014/chart" uri="{C3380CC4-5D6E-409C-BE32-E72D297353CC}">
                <c16:uniqueId val="{00000C43-7BE2-49F1-B47F-64DDA7BF3F9D}"/>
              </c:ext>
            </c:extLst>
          </c:dPt>
          <c:dPt>
            <c:idx val="1569"/>
            <c:invertIfNegative val="1"/>
            <c:bubble3D val="0"/>
            <c:spPr>
              <a:solidFill>
                <a:srgbClr val="AEABAB"/>
              </a:solidFill>
            </c:spPr>
            <c:extLst>
              <c:ext xmlns:c16="http://schemas.microsoft.com/office/drawing/2014/chart" uri="{C3380CC4-5D6E-409C-BE32-E72D297353CC}">
                <c16:uniqueId val="{00000C45-7BE2-49F1-B47F-64DDA7BF3F9D}"/>
              </c:ext>
            </c:extLst>
          </c:dPt>
          <c:dPt>
            <c:idx val="1570"/>
            <c:invertIfNegative val="1"/>
            <c:bubble3D val="0"/>
            <c:spPr>
              <a:solidFill>
                <a:srgbClr val="AEABAB"/>
              </a:solidFill>
            </c:spPr>
            <c:extLst>
              <c:ext xmlns:c16="http://schemas.microsoft.com/office/drawing/2014/chart" uri="{C3380CC4-5D6E-409C-BE32-E72D297353CC}">
                <c16:uniqueId val="{00000C47-7BE2-49F1-B47F-64DDA7BF3F9D}"/>
              </c:ext>
            </c:extLst>
          </c:dPt>
          <c:dPt>
            <c:idx val="1571"/>
            <c:invertIfNegative val="1"/>
            <c:bubble3D val="0"/>
            <c:spPr>
              <a:solidFill>
                <a:srgbClr val="AEABAB"/>
              </a:solidFill>
            </c:spPr>
            <c:extLst>
              <c:ext xmlns:c16="http://schemas.microsoft.com/office/drawing/2014/chart" uri="{C3380CC4-5D6E-409C-BE32-E72D297353CC}">
                <c16:uniqueId val="{00000C49-7BE2-49F1-B47F-64DDA7BF3F9D}"/>
              </c:ext>
            </c:extLst>
          </c:dPt>
          <c:dPt>
            <c:idx val="1572"/>
            <c:invertIfNegative val="1"/>
            <c:bubble3D val="0"/>
            <c:spPr>
              <a:solidFill>
                <a:srgbClr val="AEABAB"/>
              </a:solidFill>
            </c:spPr>
            <c:extLst>
              <c:ext xmlns:c16="http://schemas.microsoft.com/office/drawing/2014/chart" uri="{C3380CC4-5D6E-409C-BE32-E72D297353CC}">
                <c16:uniqueId val="{00000C4B-7BE2-49F1-B47F-64DDA7BF3F9D}"/>
              </c:ext>
            </c:extLst>
          </c:dPt>
          <c:dPt>
            <c:idx val="1573"/>
            <c:invertIfNegative val="1"/>
            <c:bubble3D val="0"/>
            <c:spPr>
              <a:solidFill>
                <a:srgbClr val="AEABAB"/>
              </a:solidFill>
            </c:spPr>
            <c:extLst>
              <c:ext xmlns:c16="http://schemas.microsoft.com/office/drawing/2014/chart" uri="{C3380CC4-5D6E-409C-BE32-E72D297353CC}">
                <c16:uniqueId val="{00000C4D-7BE2-49F1-B47F-64DDA7BF3F9D}"/>
              </c:ext>
            </c:extLst>
          </c:dPt>
          <c:dPt>
            <c:idx val="1574"/>
            <c:invertIfNegative val="1"/>
            <c:bubble3D val="0"/>
            <c:spPr>
              <a:solidFill>
                <a:srgbClr val="AEABAB"/>
              </a:solidFill>
            </c:spPr>
            <c:extLst>
              <c:ext xmlns:c16="http://schemas.microsoft.com/office/drawing/2014/chart" uri="{C3380CC4-5D6E-409C-BE32-E72D297353CC}">
                <c16:uniqueId val="{00000C4F-7BE2-49F1-B47F-64DDA7BF3F9D}"/>
              </c:ext>
            </c:extLst>
          </c:dPt>
          <c:dPt>
            <c:idx val="1575"/>
            <c:invertIfNegative val="1"/>
            <c:bubble3D val="0"/>
            <c:spPr>
              <a:solidFill>
                <a:srgbClr val="AEABAB"/>
              </a:solidFill>
            </c:spPr>
            <c:extLst>
              <c:ext xmlns:c16="http://schemas.microsoft.com/office/drawing/2014/chart" uri="{C3380CC4-5D6E-409C-BE32-E72D297353CC}">
                <c16:uniqueId val="{00000C51-7BE2-49F1-B47F-64DDA7BF3F9D}"/>
              </c:ext>
            </c:extLst>
          </c:dPt>
          <c:dPt>
            <c:idx val="1576"/>
            <c:invertIfNegative val="1"/>
            <c:bubble3D val="0"/>
            <c:spPr>
              <a:solidFill>
                <a:srgbClr val="AEABAB"/>
              </a:solidFill>
            </c:spPr>
            <c:extLst>
              <c:ext xmlns:c16="http://schemas.microsoft.com/office/drawing/2014/chart" uri="{C3380CC4-5D6E-409C-BE32-E72D297353CC}">
                <c16:uniqueId val="{00000C53-7BE2-49F1-B47F-64DDA7BF3F9D}"/>
              </c:ext>
            </c:extLst>
          </c:dPt>
          <c:dPt>
            <c:idx val="1577"/>
            <c:invertIfNegative val="1"/>
            <c:bubble3D val="0"/>
            <c:spPr>
              <a:solidFill>
                <a:srgbClr val="AEABAB"/>
              </a:solidFill>
            </c:spPr>
            <c:extLst>
              <c:ext xmlns:c16="http://schemas.microsoft.com/office/drawing/2014/chart" uri="{C3380CC4-5D6E-409C-BE32-E72D297353CC}">
                <c16:uniqueId val="{00000C55-7BE2-49F1-B47F-64DDA7BF3F9D}"/>
              </c:ext>
            </c:extLst>
          </c:dPt>
          <c:dPt>
            <c:idx val="1578"/>
            <c:invertIfNegative val="1"/>
            <c:bubble3D val="0"/>
            <c:spPr>
              <a:solidFill>
                <a:srgbClr val="AEABAB"/>
              </a:solidFill>
            </c:spPr>
            <c:extLst>
              <c:ext xmlns:c16="http://schemas.microsoft.com/office/drawing/2014/chart" uri="{C3380CC4-5D6E-409C-BE32-E72D297353CC}">
                <c16:uniqueId val="{00000C57-7BE2-49F1-B47F-64DDA7BF3F9D}"/>
              </c:ext>
            </c:extLst>
          </c:dPt>
          <c:dPt>
            <c:idx val="1579"/>
            <c:invertIfNegative val="1"/>
            <c:bubble3D val="0"/>
            <c:spPr>
              <a:solidFill>
                <a:srgbClr val="AEABAB"/>
              </a:solidFill>
            </c:spPr>
            <c:extLst>
              <c:ext xmlns:c16="http://schemas.microsoft.com/office/drawing/2014/chart" uri="{C3380CC4-5D6E-409C-BE32-E72D297353CC}">
                <c16:uniqueId val="{00000C59-7BE2-49F1-B47F-64DDA7BF3F9D}"/>
              </c:ext>
            </c:extLst>
          </c:dPt>
          <c:dPt>
            <c:idx val="1580"/>
            <c:invertIfNegative val="1"/>
            <c:bubble3D val="0"/>
            <c:spPr>
              <a:solidFill>
                <a:srgbClr val="AEABAB"/>
              </a:solidFill>
            </c:spPr>
            <c:extLst>
              <c:ext xmlns:c16="http://schemas.microsoft.com/office/drawing/2014/chart" uri="{C3380CC4-5D6E-409C-BE32-E72D297353CC}">
                <c16:uniqueId val="{00000C5B-7BE2-49F1-B47F-64DDA7BF3F9D}"/>
              </c:ext>
            </c:extLst>
          </c:dPt>
          <c:dPt>
            <c:idx val="1581"/>
            <c:invertIfNegative val="1"/>
            <c:bubble3D val="0"/>
            <c:spPr>
              <a:solidFill>
                <a:srgbClr val="AEABAB"/>
              </a:solidFill>
            </c:spPr>
            <c:extLst>
              <c:ext xmlns:c16="http://schemas.microsoft.com/office/drawing/2014/chart" uri="{C3380CC4-5D6E-409C-BE32-E72D297353CC}">
                <c16:uniqueId val="{00000C5D-7BE2-49F1-B47F-64DDA7BF3F9D}"/>
              </c:ext>
            </c:extLst>
          </c:dPt>
          <c:dPt>
            <c:idx val="1582"/>
            <c:invertIfNegative val="1"/>
            <c:bubble3D val="0"/>
            <c:spPr>
              <a:solidFill>
                <a:srgbClr val="AEABAB"/>
              </a:solidFill>
            </c:spPr>
            <c:extLst>
              <c:ext xmlns:c16="http://schemas.microsoft.com/office/drawing/2014/chart" uri="{C3380CC4-5D6E-409C-BE32-E72D297353CC}">
                <c16:uniqueId val="{00000C5F-7BE2-49F1-B47F-64DDA7BF3F9D}"/>
              </c:ext>
            </c:extLst>
          </c:dPt>
          <c:dPt>
            <c:idx val="1583"/>
            <c:invertIfNegative val="1"/>
            <c:bubble3D val="0"/>
            <c:spPr>
              <a:solidFill>
                <a:srgbClr val="AEABAB"/>
              </a:solidFill>
            </c:spPr>
            <c:extLst>
              <c:ext xmlns:c16="http://schemas.microsoft.com/office/drawing/2014/chart" uri="{C3380CC4-5D6E-409C-BE32-E72D297353CC}">
                <c16:uniqueId val="{00000C61-7BE2-49F1-B47F-64DDA7BF3F9D}"/>
              </c:ext>
            </c:extLst>
          </c:dPt>
          <c:dPt>
            <c:idx val="1584"/>
            <c:invertIfNegative val="1"/>
            <c:bubble3D val="0"/>
            <c:spPr>
              <a:solidFill>
                <a:srgbClr val="AEABAB"/>
              </a:solidFill>
            </c:spPr>
            <c:extLst>
              <c:ext xmlns:c16="http://schemas.microsoft.com/office/drawing/2014/chart" uri="{C3380CC4-5D6E-409C-BE32-E72D297353CC}">
                <c16:uniqueId val="{00000C63-7BE2-49F1-B47F-64DDA7BF3F9D}"/>
              </c:ext>
            </c:extLst>
          </c:dPt>
          <c:dPt>
            <c:idx val="1585"/>
            <c:invertIfNegative val="1"/>
            <c:bubble3D val="0"/>
            <c:spPr>
              <a:solidFill>
                <a:srgbClr val="AEABAB"/>
              </a:solidFill>
            </c:spPr>
            <c:extLst>
              <c:ext xmlns:c16="http://schemas.microsoft.com/office/drawing/2014/chart" uri="{C3380CC4-5D6E-409C-BE32-E72D297353CC}">
                <c16:uniqueId val="{00000C65-7BE2-49F1-B47F-64DDA7BF3F9D}"/>
              </c:ext>
            </c:extLst>
          </c:dPt>
          <c:dPt>
            <c:idx val="1586"/>
            <c:invertIfNegative val="1"/>
            <c:bubble3D val="0"/>
            <c:spPr>
              <a:solidFill>
                <a:srgbClr val="AEABAB"/>
              </a:solidFill>
            </c:spPr>
            <c:extLst>
              <c:ext xmlns:c16="http://schemas.microsoft.com/office/drawing/2014/chart" uri="{C3380CC4-5D6E-409C-BE32-E72D297353CC}">
                <c16:uniqueId val="{00000C67-7BE2-49F1-B47F-64DDA7BF3F9D}"/>
              </c:ext>
            </c:extLst>
          </c:dPt>
          <c:dPt>
            <c:idx val="1587"/>
            <c:invertIfNegative val="1"/>
            <c:bubble3D val="0"/>
            <c:spPr>
              <a:solidFill>
                <a:srgbClr val="AEABAB"/>
              </a:solidFill>
            </c:spPr>
            <c:extLst>
              <c:ext xmlns:c16="http://schemas.microsoft.com/office/drawing/2014/chart" uri="{C3380CC4-5D6E-409C-BE32-E72D297353CC}">
                <c16:uniqueId val="{00000C69-7BE2-49F1-B47F-64DDA7BF3F9D}"/>
              </c:ext>
            </c:extLst>
          </c:dPt>
          <c:dPt>
            <c:idx val="1588"/>
            <c:invertIfNegative val="1"/>
            <c:bubble3D val="0"/>
            <c:spPr>
              <a:solidFill>
                <a:srgbClr val="AEABAB"/>
              </a:solidFill>
            </c:spPr>
            <c:extLst>
              <c:ext xmlns:c16="http://schemas.microsoft.com/office/drawing/2014/chart" uri="{C3380CC4-5D6E-409C-BE32-E72D297353CC}">
                <c16:uniqueId val="{00000C6B-7BE2-49F1-B47F-64DDA7BF3F9D}"/>
              </c:ext>
            </c:extLst>
          </c:dPt>
          <c:dPt>
            <c:idx val="1589"/>
            <c:invertIfNegative val="1"/>
            <c:bubble3D val="0"/>
            <c:spPr>
              <a:solidFill>
                <a:srgbClr val="AEABAB"/>
              </a:solidFill>
            </c:spPr>
            <c:extLst>
              <c:ext xmlns:c16="http://schemas.microsoft.com/office/drawing/2014/chart" uri="{C3380CC4-5D6E-409C-BE32-E72D297353CC}">
                <c16:uniqueId val="{00000C6D-7BE2-49F1-B47F-64DDA7BF3F9D}"/>
              </c:ext>
            </c:extLst>
          </c:dPt>
          <c:dPt>
            <c:idx val="1590"/>
            <c:invertIfNegative val="1"/>
            <c:bubble3D val="0"/>
            <c:spPr>
              <a:solidFill>
                <a:srgbClr val="AEABAB"/>
              </a:solidFill>
            </c:spPr>
            <c:extLst>
              <c:ext xmlns:c16="http://schemas.microsoft.com/office/drawing/2014/chart" uri="{C3380CC4-5D6E-409C-BE32-E72D297353CC}">
                <c16:uniqueId val="{00000C6F-7BE2-49F1-B47F-64DDA7BF3F9D}"/>
              </c:ext>
            </c:extLst>
          </c:dPt>
          <c:dPt>
            <c:idx val="1591"/>
            <c:invertIfNegative val="1"/>
            <c:bubble3D val="0"/>
            <c:spPr>
              <a:solidFill>
                <a:srgbClr val="AEABAB"/>
              </a:solidFill>
            </c:spPr>
            <c:extLst>
              <c:ext xmlns:c16="http://schemas.microsoft.com/office/drawing/2014/chart" uri="{C3380CC4-5D6E-409C-BE32-E72D297353CC}">
                <c16:uniqueId val="{00000C71-7BE2-49F1-B47F-64DDA7BF3F9D}"/>
              </c:ext>
            </c:extLst>
          </c:dPt>
          <c:dPt>
            <c:idx val="1592"/>
            <c:invertIfNegative val="1"/>
            <c:bubble3D val="0"/>
            <c:spPr>
              <a:solidFill>
                <a:srgbClr val="AEABAB"/>
              </a:solidFill>
            </c:spPr>
            <c:extLst>
              <c:ext xmlns:c16="http://schemas.microsoft.com/office/drawing/2014/chart" uri="{C3380CC4-5D6E-409C-BE32-E72D297353CC}">
                <c16:uniqueId val="{00000C73-7BE2-49F1-B47F-64DDA7BF3F9D}"/>
              </c:ext>
            </c:extLst>
          </c:dPt>
          <c:dPt>
            <c:idx val="1593"/>
            <c:invertIfNegative val="1"/>
            <c:bubble3D val="0"/>
            <c:spPr>
              <a:solidFill>
                <a:srgbClr val="AEABAB"/>
              </a:solidFill>
            </c:spPr>
            <c:extLst>
              <c:ext xmlns:c16="http://schemas.microsoft.com/office/drawing/2014/chart" uri="{C3380CC4-5D6E-409C-BE32-E72D297353CC}">
                <c16:uniqueId val="{00000C75-7BE2-49F1-B47F-64DDA7BF3F9D}"/>
              </c:ext>
            </c:extLst>
          </c:dPt>
          <c:dPt>
            <c:idx val="1594"/>
            <c:invertIfNegative val="1"/>
            <c:bubble3D val="0"/>
            <c:spPr>
              <a:solidFill>
                <a:srgbClr val="AEABAB"/>
              </a:solidFill>
            </c:spPr>
            <c:extLst>
              <c:ext xmlns:c16="http://schemas.microsoft.com/office/drawing/2014/chart" uri="{C3380CC4-5D6E-409C-BE32-E72D297353CC}">
                <c16:uniqueId val="{00000C77-7BE2-49F1-B47F-64DDA7BF3F9D}"/>
              </c:ext>
            </c:extLst>
          </c:dPt>
          <c:dPt>
            <c:idx val="1595"/>
            <c:invertIfNegative val="1"/>
            <c:bubble3D val="0"/>
            <c:spPr>
              <a:solidFill>
                <a:srgbClr val="AEABAB"/>
              </a:solidFill>
            </c:spPr>
            <c:extLst>
              <c:ext xmlns:c16="http://schemas.microsoft.com/office/drawing/2014/chart" uri="{C3380CC4-5D6E-409C-BE32-E72D297353CC}">
                <c16:uniqueId val="{00000C79-7BE2-49F1-B47F-64DDA7BF3F9D}"/>
              </c:ext>
            </c:extLst>
          </c:dPt>
          <c:dPt>
            <c:idx val="1596"/>
            <c:invertIfNegative val="1"/>
            <c:bubble3D val="0"/>
            <c:spPr>
              <a:solidFill>
                <a:srgbClr val="AEABAB"/>
              </a:solidFill>
            </c:spPr>
            <c:extLst>
              <c:ext xmlns:c16="http://schemas.microsoft.com/office/drawing/2014/chart" uri="{C3380CC4-5D6E-409C-BE32-E72D297353CC}">
                <c16:uniqueId val="{00000C7B-7BE2-49F1-B47F-64DDA7BF3F9D}"/>
              </c:ext>
            </c:extLst>
          </c:dPt>
          <c:dPt>
            <c:idx val="1597"/>
            <c:invertIfNegative val="1"/>
            <c:bubble3D val="0"/>
            <c:spPr>
              <a:solidFill>
                <a:srgbClr val="AEABAB"/>
              </a:solidFill>
            </c:spPr>
            <c:extLst>
              <c:ext xmlns:c16="http://schemas.microsoft.com/office/drawing/2014/chart" uri="{C3380CC4-5D6E-409C-BE32-E72D297353CC}">
                <c16:uniqueId val="{00000C7D-7BE2-49F1-B47F-64DDA7BF3F9D}"/>
              </c:ext>
            </c:extLst>
          </c:dPt>
          <c:dPt>
            <c:idx val="1598"/>
            <c:invertIfNegative val="1"/>
            <c:bubble3D val="0"/>
            <c:spPr>
              <a:solidFill>
                <a:srgbClr val="AEABAB"/>
              </a:solidFill>
            </c:spPr>
            <c:extLst>
              <c:ext xmlns:c16="http://schemas.microsoft.com/office/drawing/2014/chart" uri="{C3380CC4-5D6E-409C-BE32-E72D297353CC}">
                <c16:uniqueId val="{00000C7F-7BE2-49F1-B47F-64DDA7BF3F9D}"/>
              </c:ext>
            </c:extLst>
          </c:dPt>
          <c:dPt>
            <c:idx val="1599"/>
            <c:invertIfNegative val="1"/>
            <c:bubble3D val="0"/>
            <c:spPr>
              <a:solidFill>
                <a:srgbClr val="AEABAB"/>
              </a:solidFill>
            </c:spPr>
            <c:extLst>
              <c:ext xmlns:c16="http://schemas.microsoft.com/office/drawing/2014/chart" uri="{C3380CC4-5D6E-409C-BE32-E72D297353CC}">
                <c16:uniqueId val="{00000C81-7BE2-49F1-B47F-64DDA7BF3F9D}"/>
              </c:ext>
            </c:extLst>
          </c:dPt>
          <c:dPt>
            <c:idx val="1600"/>
            <c:invertIfNegative val="1"/>
            <c:bubble3D val="0"/>
            <c:spPr>
              <a:solidFill>
                <a:srgbClr val="AEABAB"/>
              </a:solidFill>
            </c:spPr>
            <c:extLst>
              <c:ext xmlns:c16="http://schemas.microsoft.com/office/drawing/2014/chart" uri="{C3380CC4-5D6E-409C-BE32-E72D297353CC}">
                <c16:uniqueId val="{00000C83-7BE2-49F1-B47F-64DDA7BF3F9D}"/>
              </c:ext>
            </c:extLst>
          </c:dPt>
          <c:dPt>
            <c:idx val="1601"/>
            <c:invertIfNegative val="1"/>
            <c:bubble3D val="0"/>
            <c:spPr>
              <a:solidFill>
                <a:srgbClr val="AEABAB"/>
              </a:solidFill>
            </c:spPr>
            <c:extLst>
              <c:ext xmlns:c16="http://schemas.microsoft.com/office/drawing/2014/chart" uri="{C3380CC4-5D6E-409C-BE32-E72D297353CC}">
                <c16:uniqueId val="{00000C85-7BE2-49F1-B47F-64DDA7BF3F9D}"/>
              </c:ext>
            </c:extLst>
          </c:dPt>
          <c:dPt>
            <c:idx val="1602"/>
            <c:invertIfNegative val="1"/>
            <c:bubble3D val="0"/>
            <c:spPr>
              <a:solidFill>
                <a:srgbClr val="AEABAB"/>
              </a:solidFill>
            </c:spPr>
            <c:extLst>
              <c:ext xmlns:c16="http://schemas.microsoft.com/office/drawing/2014/chart" uri="{C3380CC4-5D6E-409C-BE32-E72D297353CC}">
                <c16:uniqueId val="{00000C87-7BE2-49F1-B47F-64DDA7BF3F9D}"/>
              </c:ext>
            </c:extLst>
          </c:dPt>
          <c:dPt>
            <c:idx val="1603"/>
            <c:invertIfNegative val="1"/>
            <c:bubble3D val="0"/>
            <c:spPr>
              <a:solidFill>
                <a:srgbClr val="AEABAB"/>
              </a:solidFill>
            </c:spPr>
            <c:extLst>
              <c:ext xmlns:c16="http://schemas.microsoft.com/office/drawing/2014/chart" uri="{C3380CC4-5D6E-409C-BE32-E72D297353CC}">
                <c16:uniqueId val="{00000C89-7BE2-49F1-B47F-64DDA7BF3F9D}"/>
              </c:ext>
            </c:extLst>
          </c:dPt>
          <c:dPt>
            <c:idx val="1604"/>
            <c:invertIfNegative val="1"/>
            <c:bubble3D val="0"/>
            <c:spPr>
              <a:solidFill>
                <a:srgbClr val="AEABAB"/>
              </a:solidFill>
            </c:spPr>
            <c:extLst>
              <c:ext xmlns:c16="http://schemas.microsoft.com/office/drawing/2014/chart" uri="{C3380CC4-5D6E-409C-BE32-E72D297353CC}">
                <c16:uniqueId val="{00000C8B-7BE2-49F1-B47F-64DDA7BF3F9D}"/>
              </c:ext>
            </c:extLst>
          </c:dPt>
          <c:dPt>
            <c:idx val="1605"/>
            <c:invertIfNegative val="1"/>
            <c:bubble3D val="0"/>
            <c:spPr>
              <a:solidFill>
                <a:srgbClr val="AEABAB"/>
              </a:solidFill>
            </c:spPr>
            <c:extLst>
              <c:ext xmlns:c16="http://schemas.microsoft.com/office/drawing/2014/chart" uri="{C3380CC4-5D6E-409C-BE32-E72D297353CC}">
                <c16:uniqueId val="{00000C8D-7BE2-49F1-B47F-64DDA7BF3F9D}"/>
              </c:ext>
            </c:extLst>
          </c:dPt>
          <c:dPt>
            <c:idx val="1606"/>
            <c:invertIfNegative val="1"/>
            <c:bubble3D val="0"/>
            <c:spPr>
              <a:solidFill>
                <a:srgbClr val="AEABAB"/>
              </a:solidFill>
            </c:spPr>
            <c:extLst>
              <c:ext xmlns:c16="http://schemas.microsoft.com/office/drawing/2014/chart" uri="{C3380CC4-5D6E-409C-BE32-E72D297353CC}">
                <c16:uniqueId val="{00000C8F-7BE2-49F1-B47F-64DDA7BF3F9D}"/>
              </c:ext>
            </c:extLst>
          </c:dPt>
          <c:dPt>
            <c:idx val="1607"/>
            <c:invertIfNegative val="1"/>
            <c:bubble3D val="0"/>
            <c:spPr>
              <a:solidFill>
                <a:srgbClr val="AEABAB"/>
              </a:solidFill>
            </c:spPr>
            <c:extLst>
              <c:ext xmlns:c16="http://schemas.microsoft.com/office/drawing/2014/chart" uri="{C3380CC4-5D6E-409C-BE32-E72D297353CC}">
                <c16:uniqueId val="{00000C91-7BE2-49F1-B47F-64DDA7BF3F9D}"/>
              </c:ext>
            </c:extLst>
          </c:dPt>
          <c:dPt>
            <c:idx val="1608"/>
            <c:invertIfNegative val="1"/>
            <c:bubble3D val="0"/>
            <c:spPr>
              <a:solidFill>
                <a:srgbClr val="AEABAB"/>
              </a:solidFill>
            </c:spPr>
            <c:extLst>
              <c:ext xmlns:c16="http://schemas.microsoft.com/office/drawing/2014/chart" uri="{C3380CC4-5D6E-409C-BE32-E72D297353CC}">
                <c16:uniqueId val="{00000C93-7BE2-49F1-B47F-64DDA7BF3F9D}"/>
              </c:ext>
            </c:extLst>
          </c:dPt>
          <c:dPt>
            <c:idx val="1609"/>
            <c:invertIfNegative val="1"/>
            <c:bubble3D val="0"/>
            <c:spPr>
              <a:solidFill>
                <a:srgbClr val="AEABAB"/>
              </a:solidFill>
            </c:spPr>
            <c:extLst>
              <c:ext xmlns:c16="http://schemas.microsoft.com/office/drawing/2014/chart" uri="{C3380CC4-5D6E-409C-BE32-E72D297353CC}">
                <c16:uniqueId val="{00000C95-7BE2-49F1-B47F-64DDA7BF3F9D}"/>
              </c:ext>
            </c:extLst>
          </c:dPt>
          <c:dPt>
            <c:idx val="1610"/>
            <c:invertIfNegative val="1"/>
            <c:bubble3D val="0"/>
            <c:spPr>
              <a:solidFill>
                <a:srgbClr val="AEABAB"/>
              </a:solidFill>
            </c:spPr>
            <c:extLst>
              <c:ext xmlns:c16="http://schemas.microsoft.com/office/drawing/2014/chart" uri="{C3380CC4-5D6E-409C-BE32-E72D297353CC}">
                <c16:uniqueId val="{00000C97-7BE2-49F1-B47F-64DDA7BF3F9D}"/>
              </c:ext>
            </c:extLst>
          </c:dPt>
          <c:dPt>
            <c:idx val="1611"/>
            <c:invertIfNegative val="1"/>
            <c:bubble3D val="0"/>
            <c:spPr>
              <a:solidFill>
                <a:srgbClr val="AEABAB"/>
              </a:solidFill>
            </c:spPr>
            <c:extLst>
              <c:ext xmlns:c16="http://schemas.microsoft.com/office/drawing/2014/chart" uri="{C3380CC4-5D6E-409C-BE32-E72D297353CC}">
                <c16:uniqueId val="{00000C99-7BE2-49F1-B47F-64DDA7BF3F9D}"/>
              </c:ext>
            </c:extLst>
          </c:dPt>
          <c:dPt>
            <c:idx val="1612"/>
            <c:invertIfNegative val="1"/>
            <c:bubble3D val="0"/>
            <c:spPr>
              <a:solidFill>
                <a:srgbClr val="AEABAB"/>
              </a:solidFill>
            </c:spPr>
            <c:extLst>
              <c:ext xmlns:c16="http://schemas.microsoft.com/office/drawing/2014/chart" uri="{C3380CC4-5D6E-409C-BE32-E72D297353CC}">
                <c16:uniqueId val="{00000C9B-7BE2-49F1-B47F-64DDA7BF3F9D}"/>
              </c:ext>
            </c:extLst>
          </c:dPt>
          <c:dPt>
            <c:idx val="1613"/>
            <c:invertIfNegative val="1"/>
            <c:bubble3D val="0"/>
            <c:spPr>
              <a:solidFill>
                <a:srgbClr val="AEABAB"/>
              </a:solidFill>
            </c:spPr>
            <c:extLst>
              <c:ext xmlns:c16="http://schemas.microsoft.com/office/drawing/2014/chart" uri="{C3380CC4-5D6E-409C-BE32-E72D297353CC}">
                <c16:uniqueId val="{00000C9D-7BE2-49F1-B47F-64DDA7BF3F9D}"/>
              </c:ext>
            </c:extLst>
          </c:dPt>
          <c:dPt>
            <c:idx val="1614"/>
            <c:invertIfNegative val="1"/>
            <c:bubble3D val="0"/>
            <c:spPr>
              <a:solidFill>
                <a:srgbClr val="AEABAB"/>
              </a:solidFill>
            </c:spPr>
            <c:extLst>
              <c:ext xmlns:c16="http://schemas.microsoft.com/office/drawing/2014/chart" uri="{C3380CC4-5D6E-409C-BE32-E72D297353CC}">
                <c16:uniqueId val="{00000C9F-7BE2-49F1-B47F-64DDA7BF3F9D}"/>
              </c:ext>
            </c:extLst>
          </c:dPt>
          <c:dPt>
            <c:idx val="1615"/>
            <c:invertIfNegative val="1"/>
            <c:bubble3D val="0"/>
            <c:spPr>
              <a:solidFill>
                <a:srgbClr val="AEABAB"/>
              </a:solidFill>
            </c:spPr>
            <c:extLst>
              <c:ext xmlns:c16="http://schemas.microsoft.com/office/drawing/2014/chart" uri="{C3380CC4-5D6E-409C-BE32-E72D297353CC}">
                <c16:uniqueId val="{00000CA1-7BE2-49F1-B47F-64DDA7BF3F9D}"/>
              </c:ext>
            </c:extLst>
          </c:dPt>
          <c:dPt>
            <c:idx val="1616"/>
            <c:invertIfNegative val="1"/>
            <c:bubble3D val="0"/>
            <c:spPr>
              <a:solidFill>
                <a:srgbClr val="AEABAB"/>
              </a:solidFill>
            </c:spPr>
            <c:extLst>
              <c:ext xmlns:c16="http://schemas.microsoft.com/office/drawing/2014/chart" uri="{C3380CC4-5D6E-409C-BE32-E72D297353CC}">
                <c16:uniqueId val="{00000CA3-7BE2-49F1-B47F-64DDA7BF3F9D}"/>
              </c:ext>
            </c:extLst>
          </c:dPt>
          <c:dPt>
            <c:idx val="1617"/>
            <c:invertIfNegative val="1"/>
            <c:bubble3D val="0"/>
            <c:spPr>
              <a:solidFill>
                <a:srgbClr val="AEABAB"/>
              </a:solidFill>
            </c:spPr>
            <c:extLst>
              <c:ext xmlns:c16="http://schemas.microsoft.com/office/drawing/2014/chart" uri="{C3380CC4-5D6E-409C-BE32-E72D297353CC}">
                <c16:uniqueId val="{00000CA5-7BE2-49F1-B47F-64DDA7BF3F9D}"/>
              </c:ext>
            </c:extLst>
          </c:dPt>
          <c:dPt>
            <c:idx val="1618"/>
            <c:invertIfNegative val="1"/>
            <c:bubble3D val="0"/>
            <c:spPr>
              <a:solidFill>
                <a:srgbClr val="AEABAB"/>
              </a:solidFill>
            </c:spPr>
            <c:extLst>
              <c:ext xmlns:c16="http://schemas.microsoft.com/office/drawing/2014/chart" uri="{C3380CC4-5D6E-409C-BE32-E72D297353CC}">
                <c16:uniqueId val="{00000CA7-7BE2-49F1-B47F-64DDA7BF3F9D}"/>
              </c:ext>
            </c:extLst>
          </c:dPt>
          <c:dPt>
            <c:idx val="1619"/>
            <c:invertIfNegative val="1"/>
            <c:bubble3D val="0"/>
            <c:spPr>
              <a:solidFill>
                <a:srgbClr val="AEABAB"/>
              </a:solidFill>
            </c:spPr>
            <c:extLst>
              <c:ext xmlns:c16="http://schemas.microsoft.com/office/drawing/2014/chart" uri="{C3380CC4-5D6E-409C-BE32-E72D297353CC}">
                <c16:uniqueId val="{00000CA9-7BE2-49F1-B47F-64DDA7BF3F9D}"/>
              </c:ext>
            </c:extLst>
          </c:dPt>
          <c:dPt>
            <c:idx val="1620"/>
            <c:invertIfNegative val="1"/>
            <c:bubble3D val="0"/>
            <c:spPr>
              <a:solidFill>
                <a:srgbClr val="AEABAB"/>
              </a:solidFill>
            </c:spPr>
            <c:extLst>
              <c:ext xmlns:c16="http://schemas.microsoft.com/office/drawing/2014/chart" uri="{C3380CC4-5D6E-409C-BE32-E72D297353CC}">
                <c16:uniqueId val="{00000CAB-7BE2-49F1-B47F-64DDA7BF3F9D}"/>
              </c:ext>
            </c:extLst>
          </c:dPt>
          <c:dPt>
            <c:idx val="1621"/>
            <c:invertIfNegative val="1"/>
            <c:bubble3D val="0"/>
            <c:spPr>
              <a:solidFill>
                <a:srgbClr val="AEABAB"/>
              </a:solidFill>
            </c:spPr>
            <c:extLst>
              <c:ext xmlns:c16="http://schemas.microsoft.com/office/drawing/2014/chart" uri="{C3380CC4-5D6E-409C-BE32-E72D297353CC}">
                <c16:uniqueId val="{00000CAD-7BE2-49F1-B47F-64DDA7BF3F9D}"/>
              </c:ext>
            </c:extLst>
          </c:dPt>
          <c:dPt>
            <c:idx val="1622"/>
            <c:invertIfNegative val="1"/>
            <c:bubble3D val="0"/>
            <c:spPr>
              <a:solidFill>
                <a:srgbClr val="AEABAB"/>
              </a:solidFill>
            </c:spPr>
            <c:extLst>
              <c:ext xmlns:c16="http://schemas.microsoft.com/office/drawing/2014/chart" uri="{C3380CC4-5D6E-409C-BE32-E72D297353CC}">
                <c16:uniqueId val="{00000CAF-7BE2-49F1-B47F-64DDA7BF3F9D}"/>
              </c:ext>
            </c:extLst>
          </c:dPt>
          <c:dPt>
            <c:idx val="1623"/>
            <c:invertIfNegative val="1"/>
            <c:bubble3D val="0"/>
            <c:spPr>
              <a:solidFill>
                <a:srgbClr val="AEABAB"/>
              </a:solidFill>
            </c:spPr>
            <c:extLst>
              <c:ext xmlns:c16="http://schemas.microsoft.com/office/drawing/2014/chart" uri="{C3380CC4-5D6E-409C-BE32-E72D297353CC}">
                <c16:uniqueId val="{00000CB1-7BE2-49F1-B47F-64DDA7BF3F9D}"/>
              </c:ext>
            </c:extLst>
          </c:dPt>
          <c:dPt>
            <c:idx val="1624"/>
            <c:invertIfNegative val="1"/>
            <c:bubble3D val="0"/>
            <c:spPr>
              <a:solidFill>
                <a:srgbClr val="AEABAB"/>
              </a:solidFill>
            </c:spPr>
            <c:extLst>
              <c:ext xmlns:c16="http://schemas.microsoft.com/office/drawing/2014/chart" uri="{C3380CC4-5D6E-409C-BE32-E72D297353CC}">
                <c16:uniqueId val="{00000CB3-7BE2-49F1-B47F-64DDA7BF3F9D}"/>
              </c:ext>
            </c:extLst>
          </c:dPt>
          <c:dPt>
            <c:idx val="1625"/>
            <c:invertIfNegative val="1"/>
            <c:bubble3D val="0"/>
            <c:spPr>
              <a:solidFill>
                <a:srgbClr val="AEABAB"/>
              </a:solidFill>
            </c:spPr>
            <c:extLst>
              <c:ext xmlns:c16="http://schemas.microsoft.com/office/drawing/2014/chart" uri="{C3380CC4-5D6E-409C-BE32-E72D297353CC}">
                <c16:uniqueId val="{00000CB5-7BE2-49F1-B47F-64DDA7BF3F9D}"/>
              </c:ext>
            </c:extLst>
          </c:dPt>
          <c:dPt>
            <c:idx val="1626"/>
            <c:invertIfNegative val="1"/>
            <c:bubble3D val="0"/>
            <c:spPr>
              <a:solidFill>
                <a:srgbClr val="AEABAB"/>
              </a:solidFill>
            </c:spPr>
            <c:extLst>
              <c:ext xmlns:c16="http://schemas.microsoft.com/office/drawing/2014/chart" uri="{C3380CC4-5D6E-409C-BE32-E72D297353CC}">
                <c16:uniqueId val="{00000CB7-7BE2-49F1-B47F-64DDA7BF3F9D}"/>
              </c:ext>
            </c:extLst>
          </c:dPt>
          <c:dPt>
            <c:idx val="1627"/>
            <c:invertIfNegative val="1"/>
            <c:bubble3D val="0"/>
            <c:spPr>
              <a:solidFill>
                <a:srgbClr val="AEABAB"/>
              </a:solidFill>
            </c:spPr>
            <c:extLst>
              <c:ext xmlns:c16="http://schemas.microsoft.com/office/drawing/2014/chart" uri="{C3380CC4-5D6E-409C-BE32-E72D297353CC}">
                <c16:uniqueId val="{00000CB9-7BE2-49F1-B47F-64DDA7BF3F9D}"/>
              </c:ext>
            </c:extLst>
          </c:dPt>
          <c:dPt>
            <c:idx val="1628"/>
            <c:invertIfNegative val="1"/>
            <c:bubble3D val="0"/>
            <c:spPr>
              <a:solidFill>
                <a:srgbClr val="AEABAB"/>
              </a:solidFill>
            </c:spPr>
            <c:extLst>
              <c:ext xmlns:c16="http://schemas.microsoft.com/office/drawing/2014/chart" uri="{C3380CC4-5D6E-409C-BE32-E72D297353CC}">
                <c16:uniqueId val="{00000CBB-7BE2-49F1-B47F-64DDA7BF3F9D}"/>
              </c:ext>
            </c:extLst>
          </c:dPt>
          <c:dPt>
            <c:idx val="1629"/>
            <c:invertIfNegative val="1"/>
            <c:bubble3D val="0"/>
            <c:spPr>
              <a:solidFill>
                <a:srgbClr val="AEABAB"/>
              </a:solidFill>
            </c:spPr>
            <c:extLst>
              <c:ext xmlns:c16="http://schemas.microsoft.com/office/drawing/2014/chart" uri="{C3380CC4-5D6E-409C-BE32-E72D297353CC}">
                <c16:uniqueId val="{00000CBD-7BE2-49F1-B47F-64DDA7BF3F9D}"/>
              </c:ext>
            </c:extLst>
          </c:dPt>
          <c:dPt>
            <c:idx val="1630"/>
            <c:invertIfNegative val="1"/>
            <c:bubble3D val="0"/>
            <c:spPr>
              <a:solidFill>
                <a:srgbClr val="AEABAB"/>
              </a:solidFill>
            </c:spPr>
            <c:extLst>
              <c:ext xmlns:c16="http://schemas.microsoft.com/office/drawing/2014/chart" uri="{C3380CC4-5D6E-409C-BE32-E72D297353CC}">
                <c16:uniqueId val="{00000CBF-7BE2-49F1-B47F-64DDA7BF3F9D}"/>
              </c:ext>
            </c:extLst>
          </c:dPt>
          <c:dPt>
            <c:idx val="1631"/>
            <c:invertIfNegative val="1"/>
            <c:bubble3D val="0"/>
            <c:spPr>
              <a:solidFill>
                <a:srgbClr val="AEABAB"/>
              </a:solidFill>
            </c:spPr>
            <c:extLst>
              <c:ext xmlns:c16="http://schemas.microsoft.com/office/drawing/2014/chart" uri="{C3380CC4-5D6E-409C-BE32-E72D297353CC}">
                <c16:uniqueId val="{00000CC1-7BE2-49F1-B47F-64DDA7BF3F9D}"/>
              </c:ext>
            </c:extLst>
          </c:dPt>
          <c:dPt>
            <c:idx val="1632"/>
            <c:invertIfNegative val="1"/>
            <c:bubble3D val="0"/>
            <c:spPr>
              <a:solidFill>
                <a:srgbClr val="AEABAB"/>
              </a:solidFill>
            </c:spPr>
            <c:extLst>
              <c:ext xmlns:c16="http://schemas.microsoft.com/office/drawing/2014/chart" uri="{C3380CC4-5D6E-409C-BE32-E72D297353CC}">
                <c16:uniqueId val="{00000CC3-7BE2-49F1-B47F-64DDA7BF3F9D}"/>
              </c:ext>
            </c:extLst>
          </c:dPt>
          <c:dPt>
            <c:idx val="1633"/>
            <c:invertIfNegative val="1"/>
            <c:bubble3D val="0"/>
            <c:spPr>
              <a:solidFill>
                <a:srgbClr val="AEABAB"/>
              </a:solidFill>
            </c:spPr>
            <c:extLst>
              <c:ext xmlns:c16="http://schemas.microsoft.com/office/drawing/2014/chart" uri="{C3380CC4-5D6E-409C-BE32-E72D297353CC}">
                <c16:uniqueId val="{00000CC5-7BE2-49F1-B47F-64DDA7BF3F9D}"/>
              </c:ext>
            </c:extLst>
          </c:dPt>
          <c:dPt>
            <c:idx val="1634"/>
            <c:invertIfNegative val="1"/>
            <c:bubble3D val="0"/>
            <c:spPr>
              <a:solidFill>
                <a:srgbClr val="AEABAB"/>
              </a:solidFill>
            </c:spPr>
            <c:extLst>
              <c:ext xmlns:c16="http://schemas.microsoft.com/office/drawing/2014/chart" uri="{C3380CC4-5D6E-409C-BE32-E72D297353CC}">
                <c16:uniqueId val="{00000CC7-7BE2-49F1-B47F-64DDA7BF3F9D}"/>
              </c:ext>
            </c:extLst>
          </c:dPt>
          <c:dPt>
            <c:idx val="1635"/>
            <c:invertIfNegative val="1"/>
            <c:bubble3D val="0"/>
            <c:spPr>
              <a:solidFill>
                <a:srgbClr val="AEABAB"/>
              </a:solidFill>
            </c:spPr>
            <c:extLst>
              <c:ext xmlns:c16="http://schemas.microsoft.com/office/drawing/2014/chart" uri="{C3380CC4-5D6E-409C-BE32-E72D297353CC}">
                <c16:uniqueId val="{00000CC9-7BE2-49F1-B47F-64DDA7BF3F9D}"/>
              </c:ext>
            </c:extLst>
          </c:dPt>
          <c:dPt>
            <c:idx val="1636"/>
            <c:invertIfNegative val="1"/>
            <c:bubble3D val="0"/>
            <c:spPr>
              <a:solidFill>
                <a:srgbClr val="AEABAB"/>
              </a:solidFill>
            </c:spPr>
            <c:extLst>
              <c:ext xmlns:c16="http://schemas.microsoft.com/office/drawing/2014/chart" uri="{C3380CC4-5D6E-409C-BE32-E72D297353CC}">
                <c16:uniqueId val="{00000CCB-7BE2-49F1-B47F-64DDA7BF3F9D}"/>
              </c:ext>
            </c:extLst>
          </c:dPt>
          <c:dPt>
            <c:idx val="1637"/>
            <c:invertIfNegative val="1"/>
            <c:bubble3D val="0"/>
            <c:spPr>
              <a:solidFill>
                <a:srgbClr val="AEABAB"/>
              </a:solidFill>
            </c:spPr>
            <c:extLst>
              <c:ext xmlns:c16="http://schemas.microsoft.com/office/drawing/2014/chart" uri="{C3380CC4-5D6E-409C-BE32-E72D297353CC}">
                <c16:uniqueId val="{00000CCD-7BE2-49F1-B47F-64DDA7BF3F9D}"/>
              </c:ext>
            </c:extLst>
          </c:dPt>
          <c:dPt>
            <c:idx val="1638"/>
            <c:invertIfNegative val="1"/>
            <c:bubble3D val="0"/>
            <c:spPr>
              <a:solidFill>
                <a:srgbClr val="AEABAB"/>
              </a:solidFill>
            </c:spPr>
            <c:extLst>
              <c:ext xmlns:c16="http://schemas.microsoft.com/office/drawing/2014/chart" uri="{C3380CC4-5D6E-409C-BE32-E72D297353CC}">
                <c16:uniqueId val="{00000CCF-7BE2-49F1-B47F-64DDA7BF3F9D}"/>
              </c:ext>
            </c:extLst>
          </c:dPt>
          <c:dPt>
            <c:idx val="1639"/>
            <c:invertIfNegative val="1"/>
            <c:bubble3D val="0"/>
            <c:spPr>
              <a:solidFill>
                <a:srgbClr val="AEABAB"/>
              </a:solidFill>
            </c:spPr>
            <c:extLst>
              <c:ext xmlns:c16="http://schemas.microsoft.com/office/drawing/2014/chart" uri="{C3380CC4-5D6E-409C-BE32-E72D297353CC}">
                <c16:uniqueId val="{00000CD1-7BE2-49F1-B47F-64DDA7BF3F9D}"/>
              </c:ext>
            </c:extLst>
          </c:dPt>
          <c:dPt>
            <c:idx val="1640"/>
            <c:invertIfNegative val="1"/>
            <c:bubble3D val="0"/>
            <c:spPr>
              <a:solidFill>
                <a:srgbClr val="AEABAB"/>
              </a:solidFill>
            </c:spPr>
            <c:extLst>
              <c:ext xmlns:c16="http://schemas.microsoft.com/office/drawing/2014/chart" uri="{C3380CC4-5D6E-409C-BE32-E72D297353CC}">
                <c16:uniqueId val="{00000CD3-7BE2-49F1-B47F-64DDA7BF3F9D}"/>
              </c:ext>
            </c:extLst>
          </c:dPt>
          <c:dPt>
            <c:idx val="1641"/>
            <c:invertIfNegative val="1"/>
            <c:bubble3D val="0"/>
            <c:spPr>
              <a:solidFill>
                <a:srgbClr val="AEABAB"/>
              </a:solidFill>
            </c:spPr>
            <c:extLst>
              <c:ext xmlns:c16="http://schemas.microsoft.com/office/drawing/2014/chart" uri="{C3380CC4-5D6E-409C-BE32-E72D297353CC}">
                <c16:uniqueId val="{00000CD5-7BE2-49F1-B47F-64DDA7BF3F9D}"/>
              </c:ext>
            </c:extLst>
          </c:dPt>
          <c:dPt>
            <c:idx val="1642"/>
            <c:invertIfNegative val="1"/>
            <c:bubble3D val="0"/>
            <c:spPr>
              <a:solidFill>
                <a:srgbClr val="AEABAB"/>
              </a:solidFill>
            </c:spPr>
            <c:extLst>
              <c:ext xmlns:c16="http://schemas.microsoft.com/office/drawing/2014/chart" uri="{C3380CC4-5D6E-409C-BE32-E72D297353CC}">
                <c16:uniqueId val="{00000CD7-7BE2-49F1-B47F-64DDA7BF3F9D}"/>
              </c:ext>
            </c:extLst>
          </c:dPt>
          <c:dPt>
            <c:idx val="1643"/>
            <c:invertIfNegative val="1"/>
            <c:bubble3D val="0"/>
            <c:spPr>
              <a:solidFill>
                <a:srgbClr val="AEABAB"/>
              </a:solidFill>
            </c:spPr>
            <c:extLst>
              <c:ext xmlns:c16="http://schemas.microsoft.com/office/drawing/2014/chart" uri="{C3380CC4-5D6E-409C-BE32-E72D297353CC}">
                <c16:uniqueId val="{00000CD9-7BE2-49F1-B47F-64DDA7BF3F9D}"/>
              </c:ext>
            </c:extLst>
          </c:dPt>
          <c:dPt>
            <c:idx val="1644"/>
            <c:invertIfNegative val="1"/>
            <c:bubble3D val="0"/>
            <c:spPr>
              <a:solidFill>
                <a:srgbClr val="AEABAB"/>
              </a:solidFill>
            </c:spPr>
            <c:extLst>
              <c:ext xmlns:c16="http://schemas.microsoft.com/office/drawing/2014/chart" uri="{C3380CC4-5D6E-409C-BE32-E72D297353CC}">
                <c16:uniqueId val="{00000CDB-7BE2-49F1-B47F-64DDA7BF3F9D}"/>
              </c:ext>
            </c:extLst>
          </c:dPt>
          <c:dPt>
            <c:idx val="1645"/>
            <c:invertIfNegative val="1"/>
            <c:bubble3D val="0"/>
            <c:spPr>
              <a:solidFill>
                <a:srgbClr val="AEABAB"/>
              </a:solidFill>
            </c:spPr>
            <c:extLst>
              <c:ext xmlns:c16="http://schemas.microsoft.com/office/drawing/2014/chart" uri="{C3380CC4-5D6E-409C-BE32-E72D297353CC}">
                <c16:uniqueId val="{00000CDD-7BE2-49F1-B47F-64DDA7BF3F9D}"/>
              </c:ext>
            </c:extLst>
          </c:dPt>
          <c:dPt>
            <c:idx val="1646"/>
            <c:invertIfNegative val="1"/>
            <c:bubble3D val="0"/>
            <c:spPr>
              <a:solidFill>
                <a:srgbClr val="AEABAB"/>
              </a:solidFill>
            </c:spPr>
            <c:extLst>
              <c:ext xmlns:c16="http://schemas.microsoft.com/office/drawing/2014/chart" uri="{C3380CC4-5D6E-409C-BE32-E72D297353CC}">
                <c16:uniqueId val="{00000CDF-7BE2-49F1-B47F-64DDA7BF3F9D}"/>
              </c:ext>
            </c:extLst>
          </c:dPt>
          <c:dPt>
            <c:idx val="1647"/>
            <c:invertIfNegative val="1"/>
            <c:bubble3D val="0"/>
            <c:spPr>
              <a:solidFill>
                <a:srgbClr val="AEABAB"/>
              </a:solidFill>
            </c:spPr>
            <c:extLst>
              <c:ext xmlns:c16="http://schemas.microsoft.com/office/drawing/2014/chart" uri="{C3380CC4-5D6E-409C-BE32-E72D297353CC}">
                <c16:uniqueId val="{00000CE1-7BE2-49F1-B47F-64DDA7BF3F9D}"/>
              </c:ext>
            </c:extLst>
          </c:dPt>
          <c:dPt>
            <c:idx val="1648"/>
            <c:invertIfNegative val="1"/>
            <c:bubble3D val="0"/>
            <c:spPr>
              <a:solidFill>
                <a:srgbClr val="AEABAB"/>
              </a:solidFill>
            </c:spPr>
            <c:extLst>
              <c:ext xmlns:c16="http://schemas.microsoft.com/office/drawing/2014/chart" uri="{C3380CC4-5D6E-409C-BE32-E72D297353CC}">
                <c16:uniqueId val="{00000CE3-7BE2-49F1-B47F-64DDA7BF3F9D}"/>
              </c:ext>
            </c:extLst>
          </c:dPt>
          <c:dPt>
            <c:idx val="1649"/>
            <c:invertIfNegative val="1"/>
            <c:bubble3D val="0"/>
            <c:spPr>
              <a:solidFill>
                <a:srgbClr val="AEABAB"/>
              </a:solidFill>
            </c:spPr>
            <c:extLst>
              <c:ext xmlns:c16="http://schemas.microsoft.com/office/drawing/2014/chart" uri="{C3380CC4-5D6E-409C-BE32-E72D297353CC}">
                <c16:uniqueId val="{00000CE5-7BE2-49F1-B47F-64DDA7BF3F9D}"/>
              </c:ext>
            </c:extLst>
          </c:dPt>
          <c:dPt>
            <c:idx val="1650"/>
            <c:invertIfNegative val="1"/>
            <c:bubble3D val="0"/>
            <c:spPr>
              <a:solidFill>
                <a:srgbClr val="AEABAB"/>
              </a:solidFill>
            </c:spPr>
            <c:extLst>
              <c:ext xmlns:c16="http://schemas.microsoft.com/office/drawing/2014/chart" uri="{C3380CC4-5D6E-409C-BE32-E72D297353CC}">
                <c16:uniqueId val="{00000CE7-7BE2-49F1-B47F-64DDA7BF3F9D}"/>
              </c:ext>
            </c:extLst>
          </c:dPt>
          <c:dPt>
            <c:idx val="1651"/>
            <c:invertIfNegative val="1"/>
            <c:bubble3D val="0"/>
            <c:spPr>
              <a:solidFill>
                <a:srgbClr val="AEABAB"/>
              </a:solidFill>
            </c:spPr>
            <c:extLst>
              <c:ext xmlns:c16="http://schemas.microsoft.com/office/drawing/2014/chart" uri="{C3380CC4-5D6E-409C-BE32-E72D297353CC}">
                <c16:uniqueId val="{00000CE9-7BE2-49F1-B47F-64DDA7BF3F9D}"/>
              </c:ext>
            </c:extLst>
          </c:dPt>
          <c:dPt>
            <c:idx val="1652"/>
            <c:invertIfNegative val="1"/>
            <c:bubble3D val="0"/>
            <c:spPr>
              <a:solidFill>
                <a:srgbClr val="AEABAB"/>
              </a:solidFill>
            </c:spPr>
            <c:extLst>
              <c:ext xmlns:c16="http://schemas.microsoft.com/office/drawing/2014/chart" uri="{C3380CC4-5D6E-409C-BE32-E72D297353CC}">
                <c16:uniqueId val="{00000CEB-7BE2-49F1-B47F-64DDA7BF3F9D}"/>
              </c:ext>
            </c:extLst>
          </c:dPt>
          <c:dPt>
            <c:idx val="1653"/>
            <c:invertIfNegative val="1"/>
            <c:bubble3D val="0"/>
            <c:spPr>
              <a:solidFill>
                <a:srgbClr val="AEABAB"/>
              </a:solidFill>
            </c:spPr>
            <c:extLst>
              <c:ext xmlns:c16="http://schemas.microsoft.com/office/drawing/2014/chart" uri="{C3380CC4-5D6E-409C-BE32-E72D297353CC}">
                <c16:uniqueId val="{00000CED-7BE2-49F1-B47F-64DDA7BF3F9D}"/>
              </c:ext>
            </c:extLst>
          </c:dPt>
          <c:dPt>
            <c:idx val="1654"/>
            <c:invertIfNegative val="1"/>
            <c:bubble3D val="0"/>
            <c:spPr>
              <a:solidFill>
                <a:srgbClr val="AEABAB"/>
              </a:solidFill>
            </c:spPr>
            <c:extLst>
              <c:ext xmlns:c16="http://schemas.microsoft.com/office/drawing/2014/chart" uri="{C3380CC4-5D6E-409C-BE32-E72D297353CC}">
                <c16:uniqueId val="{00000CEF-7BE2-49F1-B47F-64DDA7BF3F9D}"/>
              </c:ext>
            </c:extLst>
          </c:dPt>
          <c:dPt>
            <c:idx val="1655"/>
            <c:invertIfNegative val="1"/>
            <c:bubble3D val="0"/>
            <c:spPr>
              <a:solidFill>
                <a:srgbClr val="AEABAB"/>
              </a:solidFill>
            </c:spPr>
            <c:extLst>
              <c:ext xmlns:c16="http://schemas.microsoft.com/office/drawing/2014/chart" uri="{C3380CC4-5D6E-409C-BE32-E72D297353CC}">
                <c16:uniqueId val="{00000CF1-7BE2-49F1-B47F-64DDA7BF3F9D}"/>
              </c:ext>
            </c:extLst>
          </c:dPt>
          <c:dPt>
            <c:idx val="1656"/>
            <c:invertIfNegative val="1"/>
            <c:bubble3D val="0"/>
            <c:spPr>
              <a:solidFill>
                <a:srgbClr val="AEABAB"/>
              </a:solidFill>
            </c:spPr>
            <c:extLst>
              <c:ext xmlns:c16="http://schemas.microsoft.com/office/drawing/2014/chart" uri="{C3380CC4-5D6E-409C-BE32-E72D297353CC}">
                <c16:uniqueId val="{00000CF3-7BE2-49F1-B47F-64DDA7BF3F9D}"/>
              </c:ext>
            </c:extLst>
          </c:dPt>
          <c:dPt>
            <c:idx val="1657"/>
            <c:invertIfNegative val="1"/>
            <c:bubble3D val="0"/>
            <c:spPr>
              <a:solidFill>
                <a:srgbClr val="AEABAB"/>
              </a:solidFill>
            </c:spPr>
            <c:extLst>
              <c:ext xmlns:c16="http://schemas.microsoft.com/office/drawing/2014/chart" uri="{C3380CC4-5D6E-409C-BE32-E72D297353CC}">
                <c16:uniqueId val="{00000CF5-7BE2-49F1-B47F-64DDA7BF3F9D}"/>
              </c:ext>
            </c:extLst>
          </c:dPt>
          <c:dPt>
            <c:idx val="1658"/>
            <c:invertIfNegative val="1"/>
            <c:bubble3D val="0"/>
            <c:spPr>
              <a:solidFill>
                <a:srgbClr val="AEABAB"/>
              </a:solidFill>
            </c:spPr>
            <c:extLst>
              <c:ext xmlns:c16="http://schemas.microsoft.com/office/drawing/2014/chart" uri="{C3380CC4-5D6E-409C-BE32-E72D297353CC}">
                <c16:uniqueId val="{00000CF7-7BE2-49F1-B47F-64DDA7BF3F9D}"/>
              </c:ext>
            </c:extLst>
          </c:dPt>
          <c:dPt>
            <c:idx val="1659"/>
            <c:invertIfNegative val="1"/>
            <c:bubble3D val="0"/>
            <c:spPr>
              <a:solidFill>
                <a:srgbClr val="AEABAB"/>
              </a:solidFill>
            </c:spPr>
            <c:extLst>
              <c:ext xmlns:c16="http://schemas.microsoft.com/office/drawing/2014/chart" uri="{C3380CC4-5D6E-409C-BE32-E72D297353CC}">
                <c16:uniqueId val="{00000CF9-7BE2-49F1-B47F-64DDA7BF3F9D}"/>
              </c:ext>
            </c:extLst>
          </c:dPt>
          <c:dPt>
            <c:idx val="1660"/>
            <c:invertIfNegative val="1"/>
            <c:bubble3D val="0"/>
            <c:spPr>
              <a:solidFill>
                <a:srgbClr val="AEABAB"/>
              </a:solidFill>
            </c:spPr>
            <c:extLst>
              <c:ext xmlns:c16="http://schemas.microsoft.com/office/drawing/2014/chart" uri="{C3380CC4-5D6E-409C-BE32-E72D297353CC}">
                <c16:uniqueId val="{00000CFB-7BE2-49F1-B47F-64DDA7BF3F9D}"/>
              </c:ext>
            </c:extLst>
          </c:dPt>
          <c:dPt>
            <c:idx val="1661"/>
            <c:invertIfNegative val="1"/>
            <c:bubble3D val="0"/>
            <c:spPr>
              <a:solidFill>
                <a:srgbClr val="AEABAB"/>
              </a:solidFill>
            </c:spPr>
            <c:extLst>
              <c:ext xmlns:c16="http://schemas.microsoft.com/office/drawing/2014/chart" uri="{C3380CC4-5D6E-409C-BE32-E72D297353CC}">
                <c16:uniqueId val="{00000CFD-7BE2-49F1-B47F-64DDA7BF3F9D}"/>
              </c:ext>
            </c:extLst>
          </c:dPt>
          <c:dPt>
            <c:idx val="1662"/>
            <c:invertIfNegative val="1"/>
            <c:bubble3D val="0"/>
            <c:spPr>
              <a:solidFill>
                <a:srgbClr val="AEABAB"/>
              </a:solidFill>
            </c:spPr>
            <c:extLst>
              <c:ext xmlns:c16="http://schemas.microsoft.com/office/drawing/2014/chart" uri="{C3380CC4-5D6E-409C-BE32-E72D297353CC}">
                <c16:uniqueId val="{00000CFF-7BE2-49F1-B47F-64DDA7BF3F9D}"/>
              </c:ext>
            </c:extLst>
          </c:dPt>
          <c:dPt>
            <c:idx val="1663"/>
            <c:invertIfNegative val="1"/>
            <c:bubble3D val="0"/>
            <c:spPr>
              <a:solidFill>
                <a:srgbClr val="AEABAB"/>
              </a:solidFill>
            </c:spPr>
            <c:extLst>
              <c:ext xmlns:c16="http://schemas.microsoft.com/office/drawing/2014/chart" uri="{C3380CC4-5D6E-409C-BE32-E72D297353CC}">
                <c16:uniqueId val="{00000D01-7BE2-49F1-B47F-64DDA7BF3F9D}"/>
              </c:ext>
            </c:extLst>
          </c:dPt>
          <c:dPt>
            <c:idx val="1664"/>
            <c:invertIfNegative val="1"/>
            <c:bubble3D val="0"/>
            <c:spPr>
              <a:solidFill>
                <a:srgbClr val="AEABAB"/>
              </a:solidFill>
            </c:spPr>
            <c:extLst>
              <c:ext xmlns:c16="http://schemas.microsoft.com/office/drawing/2014/chart" uri="{C3380CC4-5D6E-409C-BE32-E72D297353CC}">
                <c16:uniqueId val="{00000D03-7BE2-49F1-B47F-64DDA7BF3F9D}"/>
              </c:ext>
            </c:extLst>
          </c:dPt>
          <c:dPt>
            <c:idx val="1665"/>
            <c:invertIfNegative val="1"/>
            <c:bubble3D val="0"/>
            <c:spPr>
              <a:solidFill>
                <a:srgbClr val="AEABAB"/>
              </a:solidFill>
            </c:spPr>
            <c:extLst>
              <c:ext xmlns:c16="http://schemas.microsoft.com/office/drawing/2014/chart" uri="{C3380CC4-5D6E-409C-BE32-E72D297353CC}">
                <c16:uniqueId val="{00000D05-7BE2-49F1-B47F-64DDA7BF3F9D}"/>
              </c:ext>
            </c:extLst>
          </c:dPt>
          <c:dPt>
            <c:idx val="1666"/>
            <c:invertIfNegative val="1"/>
            <c:bubble3D val="0"/>
            <c:spPr>
              <a:solidFill>
                <a:srgbClr val="AEABAB"/>
              </a:solidFill>
            </c:spPr>
            <c:extLst>
              <c:ext xmlns:c16="http://schemas.microsoft.com/office/drawing/2014/chart" uri="{C3380CC4-5D6E-409C-BE32-E72D297353CC}">
                <c16:uniqueId val="{00000D07-7BE2-49F1-B47F-64DDA7BF3F9D}"/>
              </c:ext>
            </c:extLst>
          </c:dPt>
          <c:dPt>
            <c:idx val="1667"/>
            <c:invertIfNegative val="1"/>
            <c:bubble3D val="0"/>
            <c:spPr>
              <a:solidFill>
                <a:srgbClr val="AEABAB"/>
              </a:solidFill>
            </c:spPr>
            <c:extLst>
              <c:ext xmlns:c16="http://schemas.microsoft.com/office/drawing/2014/chart" uri="{C3380CC4-5D6E-409C-BE32-E72D297353CC}">
                <c16:uniqueId val="{00000D09-7BE2-49F1-B47F-64DDA7BF3F9D}"/>
              </c:ext>
            </c:extLst>
          </c:dPt>
          <c:dPt>
            <c:idx val="1668"/>
            <c:invertIfNegative val="1"/>
            <c:bubble3D val="0"/>
            <c:spPr>
              <a:solidFill>
                <a:srgbClr val="AEABAB"/>
              </a:solidFill>
            </c:spPr>
            <c:extLst>
              <c:ext xmlns:c16="http://schemas.microsoft.com/office/drawing/2014/chart" uri="{C3380CC4-5D6E-409C-BE32-E72D297353CC}">
                <c16:uniqueId val="{00000D0B-7BE2-49F1-B47F-64DDA7BF3F9D}"/>
              </c:ext>
            </c:extLst>
          </c:dPt>
          <c:dPt>
            <c:idx val="1669"/>
            <c:invertIfNegative val="1"/>
            <c:bubble3D val="0"/>
            <c:spPr>
              <a:solidFill>
                <a:srgbClr val="AEABAB"/>
              </a:solidFill>
            </c:spPr>
            <c:extLst>
              <c:ext xmlns:c16="http://schemas.microsoft.com/office/drawing/2014/chart" uri="{C3380CC4-5D6E-409C-BE32-E72D297353CC}">
                <c16:uniqueId val="{00000D0D-7BE2-49F1-B47F-64DDA7BF3F9D}"/>
              </c:ext>
            </c:extLst>
          </c:dPt>
          <c:dPt>
            <c:idx val="1670"/>
            <c:invertIfNegative val="1"/>
            <c:bubble3D val="0"/>
            <c:spPr>
              <a:solidFill>
                <a:srgbClr val="AEABAB"/>
              </a:solidFill>
            </c:spPr>
            <c:extLst>
              <c:ext xmlns:c16="http://schemas.microsoft.com/office/drawing/2014/chart" uri="{C3380CC4-5D6E-409C-BE32-E72D297353CC}">
                <c16:uniqueId val="{00000D0F-7BE2-49F1-B47F-64DDA7BF3F9D}"/>
              </c:ext>
            </c:extLst>
          </c:dPt>
          <c:dPt>
            <c:idx val="1671"/>
            <c:invertIfNegative val="1"/>
            <c:bubble3D val="0"/>
            <c:spPr>
              <a:solidFill>
                <a:srgbClr val="AEABAB"/>
              </a:solidFill>
            </c:spPr>
            <c:extLst>
              <c:ext xmlns:c16="http://schemas.microsoft.com/office/drawing/2014/chart" uri="{C3380CC4-5D6E-409C-BE32-E72D297353CC}">
                <c16:uniqueId val="{00000D11-7BE2-49F1-B47F-64DDA7BF3F9D}"/>
              </c:ext>
            </c:extLst>
          </c:dPt>
          <c:dPt>
            <c:idx val="1672"/>
            <c:invertIfNegative val="1"/>
            <c:bubble3D val="0"/>
            <c:spPr>
              <a:solidFill>
                <a:srgbClr val="AEABAB"/>
              </a:solidFill>
            </c:spPr>
            <c:extLst>
              <c:ext xmlns:c16="http://schemas.microsoft.com/office/drawing/2014/chart" uri="{C3380CC4-5D6E-409C-BE32-E72D297353CC}">
                <c16:uniqueId val="{00000D13-7BE2-49F1-B47F-64DDA7BF3F9D}"/>
              </c:ext>
            </c:extLst>
          </c:dPt>
          <c:dPt>
            <c:idx val="1673"/>
            <c:invertIfNegative val="1"/>
            <c:bubble3D val="0"/>
            <c:spPr>
              <a:solidFill>
                <a:srgbClr val="AEABAB"/>
              </a:solidFill>
            </c:spPr>
            <c:extLst>
              <c:ext xmlns:c16="http://schemas.microsoft.com/office/drawing/2014/chart" uri="{C3380CC4-5D6E-409C-BE32-E72D297353CC}">
                <c16:uniqueId val="{00000D15-7BE2-49F1-B47F-64DDA7BF3F9D}"/>
              </c:ext>
            </c:extLst>
          </c:dPt>
          <c:dPt>
            <c:idx val="1674"/>
            <c:invertIfNegative val="1"/>
            <c:bubble3D val="0"/>
            <c:spPr>
              <a:solidFill>
                <a:srgbClr val="AEABAB"/>
              </a:solidFill>
            </c:spPr>
            <c:extLst>
              <c:ext xmlns:c16="http://schemas.microsoft.com/office/drawing/2014/chart" uri="{C3380CC4-5D6E-409C-BE32-E72D297353CC}">
                <c16:uniqueId val="{00000D17-7BE2-49F1-B47F-64DDA7BF3F9D}"/>
              </c:ext>
            </c:extLst>
          </c:dPt>
          <c:dPt>
            <c:idx val="1675"/>
            <c:invertIfNegative val="1"/>
            <c:bubble3D val="0"/>
            <c:spPr>
              <a:solidFill>
                <a:srgbClr val="AEABAB"/>
              </a:solidFill>
            </c:spPr>
            <c:extLst>
              <c:ext xmlns:c16="http://schemas.microsoft.com/office/drawing/2014/chart" uri="{C3380CC4-5D6E-409C-BE32-E72D297353CC}">
                <c16:uniqueId val="{00000D19-7BE2-49F1-B47F-64DDA7BF3F9D}"/>
              </c:ext>
            </c:extLst>
          </c:dPt>
          <c:dPt>
            <c:idx val="1676"/>
            <c:invertIfNegative val="1"/>
            <c:bubble3D val="0"/>
            <c:spPr>
              <a:solidFill>
                <a:srgbClr val="AEABAB"/>
              </a:solidFill>
            </c:spPr>
            <c:extLst>
              <c:ext xmlns:c16="http://schemas.microsoft.com/office/drawing/2014/chart" uri="{C3380CC4-5D6E-409C-BE32-E72D297353CC}">
                <c16:uniqueId val="{00000D1B-7BE2-49F1-B47F-64DDA7BF3F9D}"/>
              </c:ext>
            </c:extLst>
          </c:dPt>
          <c:dPt>
            <c:idx val="1677"/>
            <c:invertIfNegative val="1"/>
            <c:bubble3D val="0"/>
            <c:spPr>
              <a:solidFill>
                <a:srgbClr val="AEABAB"/>
              </a:solidFill>
            </c:spPr>
            <c:extLst>
              <c:ext xmlns:c16="http://schemas.microsoft.com/office/drawing/2014/chart" uri="{C3380CC4-5D6E-409C-BE32-E72D297353CC}">
                <c16:uniqueId val="{00000D1D-7BE2-49F1-B47F-64DDA7BF3F9D}"/>
              </c:ext>
            </c:extLst>
          </c:dPt>
          <c:dPt>
            <c:idx val="1678"/>
            <c:invertIfNegative val="1"/>
            <c:bubble3D val="0"/>
            <c:spPr>
              <a:solidFill>
                <a:srgbClr val="AEABAB"/>
              </a:solidFill>
            </c:spPr>
            <c:extLst>
              <c:ext xmlns:c16="http://schemas.microsoft.com/office/drawing/2014/chart" uri="{C3380CC4-5D6E-409C-BE32-E72D297353CC}">
                <c16:uniqueId val="{00000D1F-7BE2-49F1-B47F-64DDA7BF3F9D}"/>
              </c:ext>
            </c:extLst>
          </c:dPt>
          <c:dPt>
            <c:idx val="1679"/>
            <c:invertIfNegative val="1"/>
            <c:bubble3D val="0"/>
            <c:spPr>
              <a:solidFill>
                <a:srgbClr val="AEABAB"/>
              </a:solidFill>
            </c:spPr>
            <c:extLst>
              <c:ext xmlns:c16="http://schemas.microsoft.com/office/drawing/2014/chart" uri="{C3380CC4-5D6E-409C-BE32-E72D297353CC}">
                <c16:uniqueId val="{00000D21-7BE2-49F1-B47F-64DDA7BF3F9D}"/>
              </c:ext>
            </c:extLst>
          </c:dPt>
          <c:dPt>
            <c:idx val="1680"/>
            <c:invertIfNegative val="1"/>
            <c:bubble3D val="0"/>
            <c:spPr>
              <a:solidFill>
                <a:srgbClr val="AEABAB"/>
              </a:solidFill>
            </c:spPr>
            <c:extLst>
              <c:ext xmlns:c16="http://schemas.microsoft.com/office/drawing/2014/chart" uri="{C3380CC4-5D6E-409C-BE32-E72D297353CC}">
                <c16:uniqueId val="{00000D23-7BE2-49F1-B47F-64DDA7BF3F9D}"/>
              </c:ext>
            </c:extLst>
          </c:dPt>
          <c:dPt>
            <c:idx val="1681"/>
            <c:invertIfNegative val="1"/>
            <c:bubble3D val="0"/>
            <c:spPr>
              <a:solidFill>
                <a:srgbClr val="AEABAB"/>
              </a:solidFill>
            </c:spPr>
            <c:extLst>
              <c:ext xmlns:c16="http://schemas.microsoft.com/office/drawing/2014/chart" uri="{C3380CC4-5D6E-409C-BE32-E72D297353CC}">
                <c16:uniqueId val="{00000D25-7BE2-49F1-B47F-64DDA7BF3F9D}"/>
              </c:ext>
            </c:extLst>
          </c:dPt>
          <c:dPt>
            <c:idx val="1682"/>
            <c:invertIfNegative val="1"/>
            <c:bubble3D val="0"/>
            <c:spPr>
              <a:solidFill>
                <a:srgbClr val="AEABAB"/>
              </a:solidFill>
            </c:spPr>
            <c:extLst>
              <c:ext xmlns:c16="http://schemas.microsoft.com/office/drawing/2014/chart" uri="{C3380CC4-5D6E-409C-BE32-E72D297353CC}">
                <c16:uniqueId val="{00000D27-7BE2-49F1-B47F-64DDA7BF3F9D}"/>
              </c:ext>
            </c:extLst>
          </c:dPt>
          <c:dPt>
            <c:idx val="1683"/>
            <c:invertIfNegative val="1"/>
            <c:bubble3D val="0"/>
            <c:spPr>
              <a:solidFill>
                <a:srgbClr val="AEABAB"/>
              </a:solidFill>
            </c:spPr>
            <c:extLst>
              <c:ext xmlns:c16="http://schemas.microsoft.com/office/drawing/2014/chart" uri="{C3380CC4-5D6E-409C-BE32-E72D297353CC}">
                <c16:uniqueId val="{00000D29-7BE2-49F1-B47F-64DDA7BF3F9D}"/>
              </c:ext>
            </c:extLst>
          </c:dPt>
          <c:dPt>
            <c:idx val="1684"/>
            <c:invertIfNegative val="1"/>
            <c:bubble3D val="0"/>
            <c:spPr>
              <a:solidFill>
                <a:srgbClr val="AEABAB"/>
              </a:solidFill>
            </c:spPr>
            <c:extLst>
              <c:ext xmlns:c16="http://schemas.microsoft.com/office/drawing/2014/chart" uri="{C3380CC4-5D6E-409C-BE32-E72D297353CC}">
                <c16:uniqueId val="{00000D2B-7BE2-49F1-B47F-64DDA7BF3F9D}"/>
              </c:ext>
            </c:extLst>
          </c:dPt>
          <c:dPt>
            <c:idx val="1685"/>
            <c:invertIfNegative val="1"/>
            <c:bubble3D val="0"/>
            <c:spPr>
              <a:solidFill>
                <a:srgbClr val="AEABAB"/>
              </a:solidFill>
            </c:spPr>
            <c:extLst>
              <c:ext xmlns:c16="http://schemas.microsoft.com/office/drawing/2014/chart" uri="{C3380CC4-5D6E-409C-BE32-E72D297353CC}">
                <c16:uniqueId val="{00000D2D-7BE2-49F1-B47F-64DDA7BF3F9D}"/>
              </c:ext>
            </c:extLst>
          </c:dPt>
          <c:dPt>
            <c:idx val="1686"/>
            <c:invertIfNegative val="1"/>
            <c:bubble3D val="0"/>
            <c:spPr>
              <a:solidFill>
                <a:srgbClr val="AEABAB"/>
              </a:solidFill>
            </c:spPr>
            <c:extLst>
              <c:ext xmlns:c16="http://schemas.microsoft.com/office/drawing/2014/chart" uri="{C3380CC4-5D6E-409C-BE32-E72D297353CC}">
                <c16:uniqueId val="{00000D2F-7BE2-49F1-B47F-64DDA7BF3F9D}"/>
              </c:ext>
            </c:extLst>
          </c:dPt>
          <c:dPt>
            <c:idx val="1687"/>
            <c:invertIfNegative val="1"/>
            <c:bubble3D val="0"/>
            <c:spPr>
              <a:solidFill>
                <a:srgbClr val="AEABAB"/>
              </a:solidFill>
            </c:spPr>
            <c:extLst>
              <c:ext xmlns:c16="http://schemas.microsoft.com/office/drawing/2014/chart" uri="{C3380CC4-5D6E-409C-BE32-E72D297353CC}">
                <c16:uniqueId val="{00000D31-7BE2-49F1-B47F-64DDA7BF3F9D}"/>
              </c:ext>
            </c:extLst>
          </c:dPt>
          <c:dPt>
            <c:idx val="1688"/>
            <c:invertIfNegative val="1"/>
            <c:bubble3D val="0"/>
            <c:spPr>
              <a:solidFill>
                <a:srgbClr val="AEABAB"/>
              </a:solidFill>
            </c:spPr>
            <c:extLst>
              <c:ext xmlns:c16="http://schemas.microsoft.com/office/drawing/2014/chart" uri="{C3380CC4-5D6E-409C-BE32-E72D297353CC}">
                <c16:uniqueId val="{00000D33-7BE2-49F1-B47F-64DDA7BF3F9D}"/>
              </c:ext>
            </c:extLst>
          </c:dPt>
          <c:dPt>
            <c:idx val="1689"/>
            <c:invertIfNegative val="1"/>
            <c:bubble3D val="0"/>
            <c:spPr>
              <a:solidFill>
                <a:srgbClr val="AEABAB"/>
              </a:solidFill>
            </c:spPr>
            <c:extLst>
              <c:ext xmlns:c16="http://schemas.microsoft.com/office/drawing/2014/chart" uri="{C3380CC4-5D6E-409C-BE32-E72D297353CC}">
                <c16:uniqueId val="{00000D35-7BE2-49F1-B47F-64DDA7BF3F9D}"/>
              </c:ext>
            </c:extLst>
          </c:dPt>
          <c:dPt>
            <c:idx val="1690"/>
            <c:invertIfNegative val="1"/>
            <c:bubble3D val="0"/>
            <c:spPr>
              <a:solidFill>
                <a:srgbClr val="AEABAB"/>
              </a:solidFill>
            </c:spPr>
            <c:extLst>
              <c:ext xmlns:c16="http://schemas.microsoft.com/office/drawing/2014/chart" uri="{C3380CC4-5D6E-409C-BE32-E72D297353CC}">
                <c16:uniqueId val="{00000D37-7BE2-49F1-B47F-64DDA7BF3F9D}"/>
              </c:ext>
            </c:extLst>
          </c:dPt>
          <c:dPt>
            <c:idx val="1691"/>
            <c:invertIfNegative val="1"/>
            <c:bubble3D val="0"/>
            <c:spPr>
              <a:solidFill>
                <a:srgbClr val="AEABAB"/>
              </a:solidFill>
            </c:spPr>
            <c:extLst>
              <c:ext xmlns:c16="http://schemas.microsoft.com/office/drawing/2014/chart" uri="{C3380CC4-5D6E-409C-BE32-E72D297353CC}">
                <c16:uniqueId val="{00000D39-7BE2-49F1-B47F-64DDA7BF3F9D}"/>
              </c:ext>
            </c:extLst>
          </c:dPt>
          <c:dPt>
            <c:idx val="1692"/>
            <c:invertIfNegative val="1"/>
            <c:bubble3D val="0"/>
            <c:spPr>
              <a:solidFill>
                <a:srgbClr val="AEABAB"/>
              </a:solidFill>
            </c:spPr>
            <c:extLst>
              <c:ext xmlns:c16="http://schemas.microsoft.com/office/drawing/2014/chart" uri="{C3380CC4-5D6E-409C-BE32-E72D297353CC}">
                <c16:uniqueId val="{00000D3B-7BE2-49F1-B47F-64DDA7BF3F9D}"/>
              </c:ext>
            </c:extLst>
          </c:dPt>
          <c:dPt>
            <c:idx val="1693"/>
            <c:invertIfNegative val="1"/>
            <c:bubble3D val="0"/>
            <c:spPr>
              <a:solidFill>
                <a:srgbClr val="AEABAB"/>
              </a:solidFill>
            </c:spPr>
            <c:extLst>
              <c:ext xmlns:c16="http://schemas.microsoft.com/office/drawing/2014/chart" uri="{C3380CC4-5D6E-409C-BE32-E72D297353CC}">
                <c16:uniqueId val="{00000D3D-7BE2-49F1-B47F-64DDA7BF3F9D}"/>
              </c:ext>
            </c:extLst>
          </c:dPt>
          <c:dPt>
            <c:idx val="1694"/>
            <c:invertIfNegative val="1"/>
            <c:bubble3D val="0"/>
            <c:spPr>
              <a:solidFill>
                <a:srgbClr val="AEABAB"/>
              </a:solidFill>
            </c:spPr>
            <c:extLst>
              <c:ext xmlns:c16="http://schemas.microsoft.com/office/drawing/2014/chart" uri="{C3380CC4-5D6E-409C-BE32-E72D297353CC}">
                <c16:uniqueId val="{00000D3F-7BE2-49F1-B47F-64DDA7BF3F9D}"/>
              </c:ext>
            </c:extLst>
          </c:dPt>
          <c:dPt>
            <c:idx val="1695"/>
            <c:invertIfNegative val="1"/>
            <c:bubble3D val="0"/>
            <c:spPr>
              <a:solidFill>
                <a:srgbClr val="AEABAB"/>
              </a:solidFill>
            </c:spPr>
            <c:extLst>
              <c:ext xmlns:c16="http://schemas.microsoft.com/office/drawing/2014/chart" uri="{C3380CC4-5D6E-409C-BE32-E72D297353CC}">
                <c16:uniqueId val="{00000D41-7BE2-49F1-B47F-64DDA7BF3F9D}"/>
              </c:ext>
            </c:extLst>
          </c:dPt>
          <c:dPt>
            <c:idx val="1696"/>
            <c:invertIfNegative val="1"/>
            <c:bubble3D val="0"/>
            <c:spPr>
              <a:solidFill>
                <a:srgbClr val="AEABAB"/>
              </a:solidFill>
            </c:spPr>
            <c:extLst>
              <c:ext xmlns:c16="http://schemas.microsoft.com/office/drawing/2014/chart" uri="{C3380CC4-5D6E-409C-BE32-E72D297353CC}">
                <c16:uniqueId val="{00000D43-7BE2-49F1-B47F-64DDA7BF3F9D}"/>
              </c:ext>
            </c:extLst>
          </c:dPt>
          <c:dPt>
            <c:idx val="1697"/>
            <c:invertIfNegative val="1"/>
            <c:bubble3D val="0"/>
            <c:spPr>
              <a:solidFill>
                <a:srgbClr val="AEABAB"/>
              </a:solidFill>
            </c:spPr>
            <c:extLst>
              <c:ext xmlns:c16="http://schemas.microsoft.com/office/drawing/2014/chart" uri="{C3380CC4-5D6E-409C-BE32-E72D297353CC}">
                <c16:uniqueId val="{00000D45-7BE2-49F1-B47F-64DDA7BF3F9D}"/>
              </c:ext>
            </c:extLst>
          </c:dPt>
          <c:dPt>
            <c:idx val="1698"/>
            <c:invertIfNegative val="1"/>
            <c:bubble3D val="0"/>
            <c:spPr>
              <a:solidFill>
                <a:srgbClr val="AEABAB"/>
              </a:solidFill>
            </c:spPr>
            <c:extLst>
              <c:ext xmlns:c16="http://schemas.microsoft.com/office/drawing/2014/chart" uri="{C3380CC4-5D6E-409C-BE32-E72D297353CC}">
                <c16:uniqueId val="{00000D47-7BE2-49F1-B47F-64DDA7BF3F9D}"/>
              </c:ext>
            </c:extLst>
          </c:dPt>
          <c:dPt>
            <c:idx val="1699"/>
            <c:invertIfNegative val="1"/>
            <c:bubble3D val="0"/>
            <c:spPr>
              <a:solidFill>
                <a:srgbClr val="AEABAB"/>
              </a:solidFill>
            </c:spPr>
            <c:extLst>
              <c:ext xmlns:c16="http://schemas.microsoft.com/office/drawing/2014/chart" uri="{C3380CC4-5D6E-409C-BE32-E72D297353CC}">
                <c16:uniqueId val="{00000D49-7BE2-49F1-B47F-64DDA7BF3F9D}"/>
              </c:ext>
            </c:extLst>
          </c:dPt>
          <c:dPt>
            <c:idx val="1700"/>
            <c:invertIfNegative val="1"/>
            <c:bubble3D val="0"/>
            <c:spPr>
              <a:solidFill>
                <a:srgbClr val="AEABAB"/>
              </a:solidFill>
            </c:spPr>
            <c:extLst>
              <c:ext xmlns:c16="http://schemas.microsoft.com/office/drawing/2014/chart" uri="{C3380CC4-5D6E-409C-BE32-E72D297353CC}">
                <c16:uniqueId val="{00000D4B-7BE2-49F1-B47F-64DDA7BF3F9D}"/>
              </c:ext>
            </c:extLst>
          </c:dPt>
          <c:dPt>
            <c:idx val="1701"/>
            <c:invertIfNegative val="1"/>
            <c:bubble3D val="0"/>
            <c:spPr>
              <a:solidFill>
                <a:srgbClr val="AEABAB"/>
              </a:solidFill>
            </c:spPr>
            <c:extLst>
              <c:ext xmlns:c16="http://schemas.microsoft.com/office/drawing/2014/chart" uri="{C3380CC4-5D6E-409C-BE32-E72D297353CC}">
                <c16:uniqueId val="{00000D4D-7BE2-49F1-B47F-64DDA7BF3F9D}"/>
              </c:ext>
            </c:extLst>
          </c:dPt>
          <c:dPt>
            <c:idx val="1702"/>
            <c:invertIfNegative val="1"/>
            <c:bubble3D val="0"/>
            <c:spPr>
              <a:solidFill>
                <a:srgbClr val="AEABAB"/>
              </a:solidFill>
            </c:spPr>
            <c:extLst>
              <c:ext xmlns:c16="http://schemas.microsoft.com/office/drawing/2014/chart" uri="{C3380CC4-5D6E-409C-BE32-E72D297353CC}">
                <c16:uniqueId val="{00000D4F-7BE2-49F1-B47F-64DDA7BF3F9D}"/>
              </c:ext>
            </c:extLst>
          </c:dPt>
          <c:dPt>
            <c:idx val="1703"/>
            <c:invertIfNegative val="1"/>
            <c:bubble3D val="0"/>
            <c:spPr>
              <a:solidFill>
                <a:srgbClr val="AEABAB"/>
              </a:solidFill>
            </c:spPr>
            <c:extLst>
              <c:ext xmlns:c16="http://schemas.microsoft.com/office/drawing/2014/chart" uri="{C3380CC4-5D6E-409C-BE32-E72D297353CC}">
                <c16:uniqueId val="{00000D51-7BE2-49F1-B47F-64DDA7BF3F9D}"/>
              </c:ext>
            </c:extLst>
          </c:dPt>
          <c:dPt>
            <c:idx val="1704"/>
            <c:invertIfNegative val="1"/>
            <c:bubble3D val="0"/>
            <c:spPr>
              <a:solidFill>
                <a:srgbClr val="AEABAB"/>
              </a:solidFill>
            </c:spPr>
            <c:extLst>
              <c:ext xmlns:c16="http://schemas.microsoft.com/office/drawing/2014/chart" uri="{C3380CC4-5D6E-409C-BE32-E72D297353CC}">
                <c16:uniqueId val="{00000D53-7BE2-49F1-B47F-64DDA7BF3F9D}"/>
              </c:ext>
            </c:extLst>
          </c:dPt>
          <c:dPt>
            <c:idx val="1705"/>
            <c:invertIfNegative val="1"/>
            <c:bubble3D val="0"/>
            <c:spPr>
              <a:solidFill>
                <a:srgbClr val="AEABAB"/>
              </a:solidFill>
            </c:spPr>
            <c:extLst>
              <c:ext xmlns:c16="http://schemas.microsoft.com/office/drawing/2014/chart" uri="{C3380CC4-5D6E-409C-BE32-E72D297353CC}">
                <c16:uniqueId val="{00000D55-7BE2-49F1-B47F-64DDA7BF3F9D}"/>
              </c:ext>
            </c:extLst>
          </c:dPt>
          <c:dPt>
            <c:idx val="1706"/>
            <c:invertIfNegative val="1"/>
            <c:bubble3D val="0"/>
            <c:spPr>
              <a:solidFill>
                <a:srgbClr val="AEABAB"/>
              </a:solidFill>
            </c:spPr>
            <c:extLst>
              <c:ext xmlns:c16="http://schemas.microsoft.com/office/drawing/2014/chart" uri="{C3380CC4-5D6E-409C-BE32-E72D297353CC}">
                <c16:uniqueId val="{00000D57-7BE2-49F1-B47F-64DDA7BF3F9D}"/>
              </c:ext>
            </c:extLst>
          </c:dPt>
          <c:dPt>
            <c:idx val="1707"/>
            <c:invertIfNegative val="1"/>
            <c:bubble3D val="0"/>
            <c:spPr>
              <a:solidFill>
                <a:srgbClr val="AEABAB"/>
              </a:solidFill>
            </c:spPr>
            <c:extLst>
              <c:ext xmlns:c16="http://schemas.microsoft.com/office/drawing/2014/chart" uri="{C3380CC4-5D6E-409C-BE32-E72D297353CC}">
                <c16:uniqueId val="{00000D59-7BE2-49F1-B47F-64DDA7BF3F9D}"/>
              </c:ext>
            </c:extLst>
          </c:dPt>
          <c:dPt>
            <c:idx val="1708"/>
            <c:invertIfNegative val="1"/>
            <c:bubble3D val="0"/>
            <c:spPr>
              <a:solidFill>
                <a:srgbClr val="AEABAB"/>
              </a:solidFill>
            </c:spPr>
            <c:extLst>
              <c:ext xmlns:c16="http://schemas.microsoft.com/office/drawing/2014/chart" uri="{C3380CC4-5D6E-409C-BE32-E72D297353CC}">
                <c16:uniqueId val="{00000D5B-7BE2-49F1-B47F-64DDA7BF3F9D}"/>
              </c:ext>
            </c:extLst>
          </c:dPt>
          <c:dPt>
            <c:idx val="1709"/>
            <c:invertIfNegative val="1"/>
            <c:bubble3D val="0"/>
            <c:spPr>
              <a:solidFill>
                <a:srgbClr val="AEABAB"/>
              </a:solidFill>
            </c:spPr>
            <c:extLst>
              <c:ext xmlns:c16="http://schemas.microsoft.com/office/drawing/2014/chart" uri="{C3380CC4-5D6E-409C-BE32-E72D297353CC}">
                <c16:uniqueId val="{00000D5D-7BE2-49F1-B47F-64DDA7BF3F9D}"/>
              </c:ext>
            </c:extLst>
          </c:dPt>
          <c:dPt>
            <c:idx val="1710"/>
            <c:invertIfNegative val="1"/>
            <c:bubble3D val="0"/>
            <c:spPr>
              <a:solidFill>
                <a:srgbClr val="AEABAB"/>
              </a:solidFill>
            </c:spPr>
            <c:extLst>
              <c:ext xmlns:c16="http://schemas.microsoft.com/office/drawing/2014/chart" uri="{C3380CC4-5D6E-409C-BE32-E72D297353CC}">
                <c16:uniqueId val="{00000D5F-7BE2-49F1-B47F-64DDA7BF3F9D}"/>
              </c:ext>
            </c:extLst>
          </c:dPt>
          <c:dPt>
            <c:idx val="1711"/>
            <c:invertIfNegative val="1"/>
            <c:bubble3D val="0"/>
            <c:spPr>
              <a:solidFill>
                <a:srgbClr val="AEABAB"/>
              </a:solidFill>
            </c:spPr>
            <c:extLst>
              <c:ext xmlns:c16="http://schemas.microsoft.com/office/drawing/2014/chart" uri="{C3380CC4-5D6E-409C-BE32-E72D297353CC}">
                <c16:uniqueId val="{00000D61-7BE2-49F1-B47F-64DDA7BF3F9D}"/>
              </c:ext>
            </c:extLst>
          </c:dPt>
          <c:dPt>
            <c:idx val="1712"/>
            <c:invertIfNegative val="1"/>
            <c:bubble3D val="0"/>
            <c:spPr>
              <a:solidFill>
                <a:srgbClr val="AEABAB"/>
              </a:solidFill>
            </c:spPr>
            <c:extLst>
              <c:ext xmlns:c16="http://schemas.microsoft.com/office/drawing/2014/chart" uri="{C3380CC4-5D6E-409C-BE32-E72D297353CC}">
                <c16:uniqueId val="{00000D63-7BE2-49F1-B47F-64DDA7BF3F9D}"/>
              </c:ext>
            </c:extLst>
          </c:dPt>
          <c:dPt>
            <c:idx val="1713"/>
            <c:invertIfNegative val="1"/>
            <c:bubble3D val="0"/>
            <c:spPr>
              <a:solidFill>
                <a:srgbClr val="AEABAB"/>
              </a:solidFill>
            </c:spPr>
            <c:extLst>
              <c:ext xmlns:c16="http://schemas.microsoft.com/office/drawing/2014/chart" uri="{C3380CC4-5D6E-409C-BE32-E72D297353CC}">
                <c16:uniqueId val="{00000D65-7BE2-49F1-B47F-64DDA7BF3F9D}"/>
              </c:ext>
            </c:extLst>
          </c:dPt>
          <c:dPt>
            <c:idx val="1714"/>
            <c:invertIfNegative val="1"/>
            <c:bubble3D val="0"/>
            <c:spPr>
              <a:solidFill>
                <a:srgbClr val="AEABAB"/>
              </a:solidFill>
            </c:spPr>
            <c:extLst>
              <c:ext xmlns:c16="http://schemas.microsoft.com/office/drawing/2014/chart" uri="{C3380CC4-5D6E-409C-BE32-E72D297353CC}">
                <c16:uniqueId val="{00000D67-7BE2-49F1-B47F-64DDA7BF3F9D}"/>
              </c:ext>
            </c:extLst>
          </c:dPt>
          <c:dPt>
            <c:idx val="1715"/>
            <c:invertIfNegative val="1"/>
            <c:bubble3D val="0"/>
            <c:spPr>
              <a:solidFill>
                <a:srgbClr val="AEABAB"/>
              </a:solidFill>
            </c:spPr>
            <c:extLst>
              <c:ext xmlns:c16="http://schemas.microsoft.com/office/drawing/2014/chart" uri="{C3380CC4-5D6E-409C-BE32-E72D297353CC}">
                <c16:uniqueId val="{00000D69-7BE2-49F1-B47F-64DDA7BF3F9D}"/>
              </c:ext>
            </c:extLst>
          </c:dPt>
          <c:dPt>
            <c:idx val="1716"/>
            <c:invertIfNegative val="1"/>
            <c:bubble3D val="0"/>
            <c:spPr>
              <a:solidFill>
                <a:srgbClr val="AEABAB"/>
              </a:solidFill>
            </c:spPr>
            <c:extLst>
              <c:ext xmlns:c16="http://schemas.microsoft.com/office/drawing/2014/chart" uri="{C3380CC4-5D6E-409C-BE32-E72D297353CC}">
                <c16:uniqueId val="{00000D6B-7BE2-49F1-B47F-64DDA7BF3F9D}"/>
              </c:ext>
            </c:extLst>
          </c:dPt>
          <c:dPt>
            <c:idx val="1717"/>
            <c:invertIfNegative val="1"/>
            <c:bubble3D val="0"/>
            <c:spPr>
              <a:solidFill>
                <a:srgbClr val="AEABAB"/>
              </a:solidFill>
            </c:spPr>
            <c:extLst>
              <c:ext xmlns:c16="http://schemas.microsoft.com/office/drawing/2014/chart" uri="{C3380CC4-5D6E-409C-BE32-E72D297353CC}">
                <c16:uniqueId val="{00000D6D-7BE2-49F1-B47F-64DDA7BF3F9D}"/>
              </c:ext>
            </c:extLst>
          </c:dPt>
          <c:dPt>
            <c:idx val="1718"/>
            <c:invertIfNegative val="1"/>
            <c:bubble3D val="0"/>
            <c:spPr>
              <a:solidFill>
                <a:srgbClr val="AEABAB"/>
              </a:solidFill>
            </c:spPr>
            <c:extLst>
              <c:ext xmlns:c16="http://schemas.microsoft.com/office/drawing/2014/chart" uri="{C3380CC4-5D6E-409C-BE32-E72D297353CC}">
                <c16:uniqueId val="{00000D6F-7BE2-49F1-B47F-64DDA7BF3F9D}"/>
              </c:ext>
            </c:extLst>
          </c:dPt>
          <c:dPt>
            <c:idx val="1719"/>
            <c:invertIfNegative val="1"/>
            <c:bubble3D val="0"/>
            <c:spPr>
              <a:solidFill>
                <a:srgbClr val="AEABAB"/>
              </a:solidFill>
            </c:spPr>
            <c:extLst>
              <c:ext xmlns:c16="http://schemas.microsoft.com/office/drawing/2014/chart" uri="{C3380CC4-5D6E-409C-BE32-E72D297353CC}">
                <c16:uniqueId val="{00000D71-7BE2-49F1-B47F-64DDA7BF3F9D}"/>
              </c:ext>
            </c:extLst>
          </c:dPt>
          <c:dPt>
            <c:idx val="1720"/>
            <c:invertIfNegative val="1"/>
            <c:bubble3D val="0"/>
            <c:spPr>
              <a:solidFill>
                <a:srgbClr val="AEABAB"/>
              </a:solidFill>
            </c:spPr>
            <c:extLst>
              <c:ext xmlns:c16="http://schemas.microsoft.com/office/drawing/2014/chart" uri="{C3380CC4-5D6E-409C-BE32-E72D297353CC}">
                <c16:uniqueId val="{00000D73-7BE2-49F1-B47F-64DDA7BF3F9D}"/>
              </c:ext>
            </c:extLst>
          </c:dPt>
          <c:dPt>
            <c:idx val="1721"/>
            <c:invertIfNegative val="1"/>
            <c:bubble3D val="0"/>
            <c:spPr>
              <a:solidFill>
                <a:srgbClr val="AEABAB"/>
              </a:solidFill>
            </c:spPr>
            <c:extLst>
              <c:ext xmlns:c16="http://schemas.microsoft.com/office/drawing/2014/chart" uri="{C3380CC4-5D6E-409C-BE32-E72D297353CC}">
                <c16:uniqueId val="{00000D75-7BE2-49F1-B47F-64DDA7BF3F9D}"/>
              </c:ext>
            </c:extLst>
          </c:dPt>
          <c:dPt>
            <c:idx val="1722"/>
            <c:invertIfNegative val="1"/>
            <c:bubble3D val="0"/>
            <c:spPr>
              <a:solidFill>
                <a:srgbClr val="AEABAB"/>
              </a:solidFill>
            </c:spPr>
            <c:extLst>
              <c:ext xmlns:c16="http://schemas.microsoft.com/office/drawing/2014/chart" uri="{C3380CC4-5D6E-409C-BE32-E72D297353CC}">
                <c16:uniqueId val="{00000D77-7BE2-49F1-B47F-64DDA7BF3F9D}"/>
              </c:ext>
            </c:extLst>
          </c:dPt>
          <c:dPt>
            <c:idx val="1723"/>
            <c:invertIfNegative val="1"/>
            <c:bubble3D val="0"/>
            <c:spPr>
              <a:solidFill>
                <a:srgbClr val="AEABAB"/>
              </a:solidFill>
            </c:spPr>
            <c:extLst>
              <c:ext xmlns:c16="http://schemas.microsoft.com/office/drawing/2014/chart" uri="{C3380CC4-5D6E-409C-BE32-E72D297353CC}">
                <c16:uniqueId val="{00000D79-7BE2-49F1-B47F-64DDA7BF3F9D}"/>
              </c:ext>
            </c:extLst>
          </c:dPt>
          <c:dPt>
            <c:idx val="1724"/>
            <c:invertIfNegative val="1"/>
            <c:bubble3D val="0"/>
            <c:spPr>
              <a:solidFill>
                <a:srgbClr val="AEABAB"/>
              </a:solidFill>
            </c:spPr>
            <c:extLst>
              <c:ext xmlns:c16="http://schemas.microsoft.com/office/drawing/2014/chart" uri="{C3380CC4-5D6E-409C-BE32-E72D297353CC}">
                <c16:uniqueId val="{00000D7B-7BE2-49F1-B47F-64DDA7BF3F9D}"/>
              </c:ext>
            </c:extLst>
          </c:dPt>
          <c:dPt>
            <c:idx val="1725"/>
            <c:invertIfNegative val="1"/>
            <c:bubble3D val="0"/>
            <c:spPr>
              <a:solidFill>
                <a:srgbClr val="AEABAB"/>
              </a:solidFill>
            </c:spPr>
            <c:extLst>
              <c:ext xmlns:c16="http://schemas.microsoft.com/office/drawing/2014/chart" uri="{C3380CC4-5D6E-409C-BE32-E72D297353CC}">
                <c16:uniqueId val="{00000D7D-7BE2-49F1-B47F-64DDA7BF3F9D}"/>
              </c:ext>
            </c:extLst>
          </c:dPt>
          <c:dPt>
            <c:idx val="1726"/>
            <c:invertIfNegative val="1"/>
            <c:bubble3D val="0"/>
            <c:spPr>
              <a:solidFill>
                <a:srgbClr val="AEABAB"/>
              </a:solidFill>
            </c:spPr>
            <c:extLst>
              <c:ext xmlns:c16="http://schemas.microsoft.com/office/drawing/2014/chart" uri="{C3380CC4-5D6E-409C-BE32-E72D297353CC}">
                <c16:uniqueId val="{00000D7F-7BE2-49F1-B47F-64DDA7BF3F9D}"/>
              </c:ext>
            </c:extLst>
          </c:dPt>
          <c:dPt>
            <c:idx val="1727"/>
            <c:invertIfNegative val="1"/>
            <c:bubble3D val="0"/>
            <c:spPr>
              <a:solidFill>
                <a:srgbClr val="AEABAB"/>
              </a:solidFill>
            </c:spPr>
            <c:extLst>
              <c:ext xmlns:c16="http://schemas.microsoft.com/office/drawing/2014/chart" uri="{C3380CC4-5D6E-409C-BE32-E72D297353CC}">
                <c16:uniqueId val="{00000D81-7BE2-49F1-B47F-64DDA7BF3F9D}"/>
              </c:ext>
            </c:extLst>
          </c:dPt>
          <c:dPt>
            <c:idx val="1728"/>
            <c:invertIfNegative val="1"/>
            <c:bubble3D val="0"/>
            <c:spPr>
              <a:solidFill>
                <a:srgbClr val="AEABAB"/>
              </a:solidFill>
            </c:spPr>
            <c:extLst>
              <c:ext xmlns:c16="http://schemas.microsoft.com/office/drawing/2014/chart" uri="{C3380CC4-5D6E-409C-BE32-E72D297353CC}">
                <c16:uniqueId val="{00000D83-7BE2-49F1-B47F-64DDA7BF3F9D}"/>
              </c:ext>
            </c:extLst>
          </c:dPt>
          <c:dPt>
            <c:idx val="1729"/>
            <c:invertIfNegative val="1"/>
            <c:bubble3D val="0"/>
            <c:spPr>
              <a:solidFill>
                <a:srgbClr val="AEABAB"/>
              </a:solidFill>
            </c:spPr>
            <c:extLst>
              <c:ext xmlns:c16="http://schemas.microsoft.com/office/drawing/2014/chart" uri="{C3380CC4-5D6E-409C-BE32-E72D297353CC}">
                <c16:uniqueId val="{00000D85-7BE2-49F1-B47F-64DDA7BF3F9D}"/>
              </c:ext>
            </c:extLst>
          </c:dPt>
          <c:dPt>
            <c:idx val="1730"/>
            <c:invertIfNegative val="1"/>
            <c:bubble3D val="0"/>
            <c:spPr>
              <a:solidFill>
                <a:srgbClr val="AEABAB"/>
              </a:solidFill>
            </c:spPr>
            <c:extLst>
              <c:ext xmlns:c16="http://schemas.microsoft.com/office/drawing/2014/chart" uri="{C3380CC4-5D6E-409C-BE32-E72D297353CC}">
                <c16:uniqueId val="{00000D87-7BE2-49F1-B47F-64DDA7BF3F9D}"/>
              </c:ext>
            </c:extLst>
          </c:dPt>
          <c:dPt>
            <c:idx val="1731"/>
            <c:invertIfNegative val="1"/>
            <c:bubble3D val="0"/>
            <c:spPr>
              <a:solidFill>
                <a:srgbClr val="AEABAB"/>
              </a:solidFill>
            </c:spPr>
            <c:extLst>
              <c:ext xmlns:c16="http://schemas.microsoft.com/office/drawing/2014/chart" uri="{C3380CC4-5D6E-409C-BE32-E72D297353CC}">
                <c16:uniqueId val="{00000D89-7BE2-49F1-B47F-64DDA7BF3F9D}"/>
              </c:ext>
            </c:extLst>
          </c:dPt>
          <c:dPt>
            <c:idx val="1732"/>
            <c:invertIfNegative val="1"/>
            <c:bubble3D val="0"/>
            <c:spPr>
              <a:solidFill>
                <a:srgbClr val="AEABAB"/>
              </a:solidFill>
            </c:spPr>
            <c:extLst>
              <c:ext xmlns:c16="http://schemas.microsoft.com/office/drawing/2014/chart" uri="{C3380CC4-5D6E-409C-BE32-E72D297353CC}">
                <c16:uniqueId val="{00000D8B-7BE2-49F1-B47F-64DDA7BF3F9D}"/>
              </c:ext>
            </c:extLst>
          </c:dPt>
          <c:dPt>
            <c:idx val="1733"/>
            <c:invertIfNegative val="1"/>
            <c:bubble3D val="0"/>
            <c:spPr>
              <a:solidFill>
                <a:srgbClr val="AEABAB"/>
              </a:solidFill>
            </c:spPr>
            <c:extLst>
              <c:ext xmlns:c16="http://schemas.microsoft.com/office/drawing/2014/chart" uri="{C3380CC4-5D6E-409C-BE32-E72D297353CC}">
                <c16:uniqueId val="{00000D8D-7BE2-49F1-B47F-64DDA7BF3F9D}"/>
              </c:ext>
            </c:extLst>
          </c:dPt>
          <c:dPt>
            <c:idx val="1734"/>
            <c:invertIfNegative val="1"/>
            <c:bubble3D val="0"/>
            <c:spPr>
              <a:solidFill>
                <a:srgbClr val="AEABAB"/>
              </a:solidFill>
            </c:spPr>
            <c:extLst>
              <c:ext xmlns:c16="http://schemas.microsoft.com/office/drawing/2014/chart" uri="{C3380CC4-5D6E-409C-BE32-E72D297353CC}">
                <c16:uniqueId val="{00000D8F-7BE2-49F1-B47F-64DDA7BF3F9D}"/>
              </c:ext>
            </c:extLst>
          </c:dPt>
          <c:dPt>
            <c:idx val="1735"/>
            <c:invertIfNegative val="1"/>
            <c:bubble3D val="0"/>
            <c:spPr>
              <a:solidFill>
                <a:srgbClr val="AEABAB"/>
              </a:solidFill>
            </c:spPr>
            <c:extLst>
              <c:ext xmlns:c16="http://schemas.microsoft.com/office/drawing/2014/chart" uri="{C3380CC4-5D6E-409C-BE32-E72D297353CC}">
                <c16:uniqueId val="{00000D91-7BE2-49F1-B47F-64DDA7BF3F9D}"/>
              </c:ext>
            </c:extLst>
          </c:dPt>
          <c:dPt>
            <c:idx val="1736"/>
            <c:invertIfNegative val="1"/>
            <c:bubble3D val="0"/>
            <c:spPr>
              <a:solidFill>
                <a:srgbClr val="AEABAB"/>
              </a:solidFill>
            </c:spPr>
            <c:extLst>
              <c:ext xmlns:c16="http://schemas.microsoft.com/office/drawing/2014/chart" uri="{C3380CC4-5D6E-409C-BE32-E72D297353CC}">
                <c16:uniqueId val="{00000D93-7BE2-49F1-B47F-64DDA7BF3F9D}"/>
              </c:ext>
            </c:extLst>
          </c:dPt>
          <c:dPt>
            <c:idx val="1737"/>
            <c:invertIfNegative val="1"/>
            <c:bubble3D val="0"/>
            <c:spPr>
              <a:solidFill>
                <a:srgbClr val="AEABAB"/>
              </a:solidFill>
            </c:spPr>
            <c:extLst>
              <c:ext xmlns:c16="http://schemas.microsoft.com/office/drawing/2014/chart" uri="{C3380CC4-5D6E-409C-BE32-E72D297353CC}">
                <c16:uniqueId val="{00000D95-7BE2-49F1-B47F-64DDA7BF3F9D}"/>
              </c:ext>
            </c:extLst>
          </c:dPt>
          <c:dPt>
            <c:idx val="1738"/>
            <c:invertIfNegative val="1"/>
            <c:bubble3D val="0"/>
            <c:spPr>
              <a:solidFill>
                <a:srgbClr val="AEABAB"/>
              </a:solidFill>
            </c:spPr>
            <c:extLst>
              <c:ext xmlns:c16="http://schemas.microsoft.com/office/drawing/2014/chart" uri="{C3380CC4-5D6E-409C-BE32-E72D297353CC}">
                <c16:uniqueId val="{00000D97-7BE2-49F1-B47F-64DDA7BF3F9D}"/>
              </c:ext>
            </c:extLst>
          </c:dPt>
          <c:dPt>
            <c:idx val="1739"/>
            <c:invertIfNegative val="1"/>
            <c:bubble3D val="0"/>
            <c:spPr>
              <a:solidFill>
                <a:srgbClr val="AEABAB"/>
              </a:solidFill>
            </c:spPr>
            <c:extLst>
              <c:ext xmlns:c16="http://schemas.microsoft.com/office/drawing/2014/chart" uri="{C3380CC4-5D6E-409C-BE32-E72D297353CC}">
                <c16:uniqueId val="{00000D99-7BE2-49F1-B47F-64DDA7BF3F9D}"/>
              </c:ext>
            </c:extLst>
          </c:dPt>
          <c:dPt>
            <c:idx val="1740"/>
            <c:invertIfNegative val="1"/>
            <c:bubble3D val="0"/>
            <c:spPr>
              <a:solidFill>
                <a:srgbClr val="AEABAB"/>
              </a:solidFill>
            </c:spPr>
            <c:extLst>
              <c:ext xmlns:c16="http://schemas.microsoft.com/office/drawing/2014/chart" uri="{C3380CC4-5D6E-409C-BE32-E72D297353CC}">
                <c16:uniqueId val="{00000D9B-7BE2-49F1-B47F-64DDA7BF3F9D}"/>
              </c:ext>
            </c:extLst>
          </c:dPt>
          <c:dPt>
            <c:idx val="1741"/>
            <c:invertIfNegative val="1"/>
            <c:bubble3D val="0"/>
            <c:spPr>
              <a:solidFill>
                <a:srgbClr val="AEABAB"/>
              </a:solidFill>
            </c:spPr>
            <c:extLst>
              <c:ext xmlns:c16="http://schemas.microsoft.com/office/drawing/2014/chart" uri="{C3380CC4-5D6E-409C-BE32-E72D297353CC}">
                <c16:uniqueId val="{00000D9D-7BE2-49F1-B47F-64DDA7BF3F9D}"/>
              </c:ext>
            </c:extLst>
          </c:dPt>
          <c:dPt>
            <c:idx val="1742"/>
            <c:invertIfNegative val="1"/>
            <c:bubble3D val="0"/>
            <c:spPr>
              <a:solidFill>
                <a:srgbClr val="AEABAB"/>
              </a:solidFill>
            </c:spPr>
            <c:extLst>
              <c:ext xmlns:c16="http://schemas.microsoft.com/office/drawing/2014/chart" uri="{C3380CC4-5D6E-409C-BE32-E72D297353CC}">
                <c16:uniqueId val="{00000D9F-7BE2-49F1-B47F-64DDA7BF3F9D}"/>
              </c:ext>
            </c:extLst>
          </c:dPt>
          <c:dPt>
            <c:idx val="1743"/>
            <c:invertIfNegative val="1"/>
            <c:bubble3D val="0"/>
            <c:spPr>
              <a:solidFill>
                <a:srgbClr val="AEABAB"/>
              </a:solidFill>
            </c:spPr>
            <c:extLst>
              <c:ext xmlns:c16="http://schemas.microsoft.com/office/drawing/2014/chart" uri="{C3380CC4-5D6E-409C-BE32-E72D297353CC}">
                <c16:uniqueId val="{00000DA1-7BE2-49F1-B47F-64DDA7BF3F9D}"/>
              </c:ext>
            </c:extLst>
          </c:dPt>
          <c:dPt>
            <c:idx val="1744"/>
            <c:invertIfNegative val="1"/>
            <c:bubble3D val="0"/>
            <c:spPr>
              <a:solidFill>
                <a:srgbClr val="AEABAB"/>
              </a:solidFill>
            </c:spPr>
            <c:extLst>
              <c:ext xmlns:c16="http://schemas.microsoft.com/office/drawing/2014/chart" uri="{C3380CC4-5D6E-409C-BE32-E72D297353CC}">
                <c16:uniqueId val="{00000DA3-7BE2-49F1-B47F-64DDA7BF3F9D}"/>
              </c:ext>
            </c:extLst>
          </c:dPt>
          <c:dPt>
            <c:idx val="1745"/>
            <c:invertIfNegative val="1"/>
            <c:bubble3D val="0"/>
            <c:spPr>
              <a:solidFill>
                <a:srgbClr val="AEABAB"/>
              </a:solidFill>
            </c:spPr>
            <c:extLst>
              <c:ext xmlns:c16="http://schemas.microsoft.com/office/drawing/2014/chart" uri="{C3380CC4-5D6E-409C-BE32-E72D297353CC}">
                <c16:uniqueId val="{00000DA5-7BE2-49F1-B47F-64DDA7BF3F9D}"/>
              </c:ext>
            </c:extLst>
          </c:dPt>
          <c:dPt>
            <c:idx val="1746"/>
            <c:invertIfNegative val="1"/>
            <c:bubble3D val="0"/>
            <c:spPr>
              <a:solidFill>
                <a:srgbClr val="AEABAB"/>
              </a:solidFill>
            </c:spPr>
            <c:extLst>
              <c:ext xmlns:c16="http://schemas.microsoft.com/office/drawing/2014/chart" uri="{C3380CC4-5D6E-409C-BE32-E72D297353CC}">
                <c16:uniqueId val="{00000DA7-7BE2-49F1-B47F-64DDA7BF3F9D}"/>
              </c:ext>
            </c:extLst>
          </c:dPt>
          <c:dPt>
            <c:idx val="1747"/>
            <c:invertIfNegative val="1"/>
            <c:bubble3D val="0"/>
            <c:spPr>
              <a:solidFill>
                <a:srgbClr val="AEABAB"/>
              </a:solidFill>
            </c:spPr>
            <c:extLst>
              <c:ext xmlns:c16="http://schemas.microsoft.com/office/drawing/2014/chart" uri="{C3380CC4-5D6E-409C-BE32-E72D297353CC}">
                <c16:uniqueId val="{00000DA9-7BE2-49F1-B47F-64DDA7BF3F9D}"/>
              </c:ext>
            </c:extLst>
          </c:dPt>
          <c:dPt>
            <c:idx val="1748"/>
            <c:invertIfNegative val="1"/>
            <c:bubble3D val="0"/>
            <c:spPr>
              <a:solidFill>
                <a:srgbClr val="AEABAB"/>
              </a:solidFill>
            </c:spPr>
            <c:extLst>
              <c:ext xmlns:c16="http://schemas.microsoft.com/office/drawing/2014/chart" uri="{C3380CC4-5D6E-409C-BE32-E72D297353CC}">
                <c16:uniqueId val="{00000DAB-7BE2-49F1-B47F-64DDA7BF3F9D}"/>
              </c:ext>
            </c:extLst>
          </c:dPt>
          <c:dPt>
            <c:idx val="1749"/>
            <c:invertIfNegative val="1"/>
            <c:bubble3D val="0"/>
            <c:spPr>
              <a:solidFill>
                <a:srgbClr val="AEABAB"/>
              </a:solidFill>
            </c:spPr>
            <c:extLst>
              <c:ext xmlns:c16="http://schemas.microsoft.com/office/drawing/2014/chart" uri="{C3380CC4-5D6E-409C-BE32-E72D297353CC}">
                <c16:uniqueId val="{00000DAD-7BE2-49F1-B47F-64DDA7BF3F9D}"/>
              </c:ext>
            </c:extLst>
          </c:dPt>
          <c:dPt>
            <c:idx val="1750"/>
            <c:invertIfNegative val="1"/>
            <c:bubble3D val="0"/>
            <c:spPr>
              <a:solidFill>
                <a:srgbClr val="AEABAB"/>
              </a:solidFill>
            </c:spPr>
            <c:extLst>
              <c:ext xmlns:c16="http://schemas.microsoft.com/office/drawing/2014/chart" uri="{C3380CC4-5D6E-409C-BE32-E72D297353CC}">
                <c16:uniqueId val="{00000DAF-7BE2-49F1-B47F-64DDA7BF3F9D}"/>
              </c:ext>
            </c:extLst>
          </c:dPt>
          <c:dPt>
            <c:idx val="1751"/>
            <c:invertIfNegative val="1"/>
            <c:bubble3D val="0"/>
            <c:spPr>
              <a:solidFill>
                <a:srgbClr val="AEABAB"/>
              </a:solidFill>
            </c:spPr>
            <c:extLst>
              <c:ext xmlns:c16="http://schemas.microsoft.com/office/drawing/2014/chart" uri="{C3380CC4-5D6E-409C-BE32-E72D297353CC}">
                <c16:uniqueId val="{00000DB1-7BE2-49F1-B47F-64DDA7BF3F9D}"/>
              </c:ext>
            </c:extLst>
          </c:dPt>
          <c:dPt>
            <c:idx val="1752"/>
            <c:invertIfNegative val="1"/>
            <c:bubble3D val="0"/>
            <c:spPr>
              <a:solidFill>
                <a:srgbClr val="AEABAB"/>
              </a:solidFill>
            </c:spPr>
            <c:extLst>
              <c:ext xmlns:c16="http://schemas.microsoft.com/office/drawing/2014/chart" uri="{C3380CC4-5D6E-409C-BE32-E72D297353CC}">
                <c16:uniqueId val="{00000DB3-7BE2-49F1-B47F-64DDA7BF3F9D}"/>
              </c:ext>
            </c:extLst>
          </c:dPt>
          <c:dPt>
            <c:idx val="1753"/>
            <c:invertIfNegative val="1"/>
            <c:bubble3D val="0"/>
            <c:spPr>
              <a:solidFill>
                <a:srgbClr val="AEABAB"/>
              </a:solidFill>
            </c:spPr>
            <c:extLst>
              <c:ext xmlns:c16="http://schemas.microsoft.com/office/drawing/2014/chart" uri="{C3380CC4-5D6E-409C-BE32-E72D297353CC}">
                <c16:uniqueId val="{00000DB5-7BE2-49F1-B47F-64DDA7BF3F9D}"/>
              </c:ext>
            </c:extLst>
          </c:dPt>
          <c:dPt>
            <c:idx val="1754"/>
            <c:invertIfNegative val="1"/>
            <c:bubble3D val="0"/>
            <c:spPr>
              <a:solidFill>
                <a:srgbClr val="AEABAB"/>
              </a:solidFill>
            </c:spPr>
            <c:extLst>
              <c:ext xmlns:c16="http://schemas.microsoft.com/office/drawing/2014/chart" uri="{C3380CC4-5D6E-409C-BE32-E72D297353CC}">
                <c16:uniqueId val="{00000DB7-7BE2-49F1-B47F-64DDA7BF3F9D}"/>
              </c:ext>
            </c:extLst>
          </c:dPt>
          <c:dPt>
            <c:idx val="1755"/>
            <c:invertIfNegative val="1"/>
            <c:bubble3D val="0"/>
            <c:spPr>
              <a:solidFill>
                <a:srgbClr val="AEABAB"/>
              </a:solidFill>
            </c:spPr>
            <c:extLst>
              <c:ext xmlns:c16="http://schemas.microsoft.com/office/drawing/2014/chart" uri="{C3380CC4-5D6E-409C-BE32-E72D297353CC}">
                <c16:uniqueId val="{00000DB9-7BE2-49F1-B47F-64DDA7BF3F9D}"/>
              </c:ext>
            </c:extLst>
          </c:dPt>
          <c:dPt>
            <c:idx val="1756"/>
            <c:invertIfNegative val="1"/>
            <c:bubble3D val="0"/>
            <c:spPr>
              <a:solidFill>
                <a:srgbClr val="AEABAB"/>
              </a:solidFill>
            </c:spPr>
            <c:extLst>
              <c:ext xmlns:c16="http://schemas.microsoft.com/office/drawing/2014/chart" uri="{C3380CC4-5D6E-409C-BE32-E72D297353CC}">
                <c16:uniqueId val="{00000DBB-7BE2-49F1-B47F-64DDA7BF3F9D}"/>
              </c:ext>
            </c:extLst>
          </c:dPt>
          <c:dPt>
            <c:idx val="1757"/>
            <c:invertIfNegative val="1"/>
            <c:bubble3D val="0"/>
            <c:spPr>
              <a:solidFill>
                <a:srgbClr val="AEABAB"/>
              </a:solidFill>
            </c:spPr>
            <c:extLst>
              <c:ext xmlns:c16="http://schemas.microsoft.com/office/drawing/2014/chart" uri="{C3380CC4-5D6E-409C-BE32-E72D297353CC}">
                <c16:uniqueId val="{00000DBD-7BE2-49F1-B47F-64DDA7BF3F9D}"/>
              </c:ext>
            </c:extLst>
          </c:dPt>
          <c:dPt>
            <c:idx val="1758"/>
            <c:invertIfNegative val="1"/>
            <c:bubble3D val="0"/>
            <c:spPr>
              <a:solidFill>
                <a:srgbClr val="AEABAB"/>
              </a:solidFill>
            </c:spPr>
            <c:extLst>
              <c:ext xmlns:c16="http://schemas.microsoft.com/office/drawing/2014/chart" uri="{C3380CC4-5D6E-409C-BE32-E72D297353CC}">
                <c16:uniqueId val="{00000DBF-7BE2-49F1-B47F-64DDA7BF3F9D}"/>
              </c:ext>
            </c:extLst>
          </c:dPt>
          <c:dPt>
            <c:idx val="1759"/>
            <c:invertIfNegative val="1"/>
            <c:bubble3D val="0"/>
            <c:spPr>
              <a:solidFill>
                <a:srgbClr val="AEABAB"/>
              </a:solidFill>
            </c:spPr>
            <c:extLst>
              <c:ext xmlns:c16="http://schemas.microsoft.com/office/drawing/2014/chart" uri="{C3380CC4-5D6E-409C-BE32-E72D297353CC}">
                <c16:uniqueId val="{00000DC1-7BE2-49F1-B47F-64DDA7BF3F9D}"/>
              </c:ext>
            </c:extLst>
          </c:dPt>
          <c:dPt>
            <c:idx val="1760"/>
            <c:invertIfNegative val="1"/>
            <c:bubble3D val="0"/>
            <c:spPr>
              <a:solidFill>
                <a:srgbClr val="AEABAB"/>
              </a:solidFill>
            </c:spPr>
            <c:extLst>
              <c:ext xmlns:c16="http://schemas.microsoft.com/office/drawing/2014/chart" uri="{C3380CC4-5D6E-409C-BE32-E72D297353CC}">
                <c16:uniqueId val="{00000DC3-7BE2-49F1-B47F-64DDA7BF3F9D}"/>
              </c:ext>
            </c:extLst>
          </c:dPt>
          <c:dPt>
            <c:idx val="1761"/>
            <c:invertIfNegative val="1"/>
            <c:bubble3D val="0"/>
            <c:spPr>
              <a:solidFill>
                <a:srgbClr val="AEABAB"/>
              </a:solidFill>
            </c:spPr>
            <c:extLst>
              <c:ext xmlns:c16="http://schemas.microsoft.com/office/drawing/2014/chart" uri="{C3380CC4-5D6E-409C-BE32-E72D297353CC}">
                <c16:uniqueId val="{00000DC5-7BE2-49F1-B47F-64DDA7BF3F9D}"/>
              </c:ext>
            </c:extLst>
          </c:dPt>
          <c:dPt>
            <c:idx val="1762"/>
            <c:invertIfNegative val="1"/>
            <c:bubble3D val="0"/>
            <c:spPr>
              <a:solidFill>
                <a:srgbClr val="AEABAB"/>
              </a:solidFill>
            </c:spPr>
            <c:extLst>
              <c:ext xmlns:c16="http://schemas.microsoft.com/office/drawing/2014/chart" uri="{C3380CC4-5D6E-409C-BE32-E72D297353CC}">
                <c16:uniqueId val="{00000DC7-7BE2-49F1-B47F-64DDA7BF3F9D}"/>
              </c:ext>
            </c:extLst>
          </c:dPt>
          <c:dPt>
            <c:idx val="1763"/>
            <c:invertIfNegative val="1"/>
            <c:bubble3D val="0"/>
            <c:spPr>
              <a:solidFill>
                <a:srgbClr val="AEABAB"/>
              </a:solidFill>
            </c:spPr>
            <c:extLst>
              <c:ext xmlns:c16="http://schemas.microsoft.com/office/drawing/2014/chart" uri="{C3380CC4-5D6E-409C-BE32-E72D297353CC}">
                <c16:uniqueId val="{00000DC9-7BE2-49F1-B47F-64DDA7BF3F9D}"/>
              </c:ext>
            </c:extLst>
          </c:dPt>
          <c:dPt>
            <c:idx val="1764"/>
            <c:invertIfNegative val="1"/>
            <c:bubble3D val="0"/>
            <c:spPr>
              <a:solidFill>
                <a:srgbClr val="AEABAB"/>
              </a:solidFill>
            </c:spPr>
            <c:extLst>
              <c:ext xmlns:c16="http://schemas.microsoft.com/office/drawing/2014/chart" uri="{C3380CC4-5D6E-409C-BE32-E72D297353CC}">
                <c16:uniqueId val="{00000DCB-7BE2-49F1-B47F-64DDA7BF3F9D}"/>
              </c:ext>
            </c:extLst>
          </c:dPt>
          <c:dPt>
            <c:idx val="1765"/>
            <c:invertIfNegative val="1"/>
            <c:bubble3D val="0"/>
            <c:spPr>
              <a:solidFill>
                <a:srgbClr val="AEABAB"/>
              </a:solidFill>
            </c:spPr>
            <c:extLst>
              <c:ext xmlns:c16="http://schemas.microsoft.com/office/drawing/2014/chart" uri="{C3380CC4-5D6E-409C-BE32-E72D297353CC}">
                <c16:uniqueId val="{00000DCD-7BE2-49F1-B47F-64DDA7BF3F9D}"/>
              </c:ext>
            </c:extLst>
          </c:dPt>
          <c:dPt>
            <c:idx val="1766"/>
            <c:invertIfNegative val="1"/>
            <c:bubble3D val="0"/>
            <c:spPr>
              <a:solidFill>
                <a:srgbClr val="AEABAB"/>
              </a:solidFill>
            </c:spPr>
            <c:extLst>
              <c:ext xmlns:c16="http://schemas.microsoft.com/office/drawing/2014/chart" uri="{C3380CC4-5D6E-409C-BE32-E72D297353CC}">
                <c16:uniqueId val="{00000DCF-7BE2-49F1-B47F-64DDA7BF3F9D}"/>
              </c:ext>
            </c:extLst>
          </c:dPt>
          <c:dPt>
            <c:idx val="1767"/>
            <c:invertIfNegative val="1"/>
            <c:bubble3D val="0"/>
            <c:spPr>
              <a:solidFill>
                <a:srgbClr val="AEABAB"/>
              </a:solidFill>
            </c:spPr>
            <c:extLst>
              <c:ext xmlns:c16="http://schemas.microsoft.com/office/drawing/2014/chart" uri="{C3380CC4-5D6E-409C-BE32-E72D297353CC}">
                <c16:uniqueId val="{00000DD1-7BE2-49F1-B47F-64DDA7BF3F9D}"/>
              </c:ext>
            </c:extLst>
          </c:dPt>
          <c:dPt>
            <c:idx val="1768"/>
            <c:invertIfNegative val="1"/>
            <c:bubble3D val="0"/>
            <c:spPr>
              <a:solidFill>
                <a:srgbClr val="AEABAB"/>
              </a:solidFill>
            </c:spPr>
            <c:extLst>
              <c:ext xmlns:c16="http://schemas.microsoft.com/office/drawing/2014/chart" uri="{C3380CC4-5D6E-409C-BE32-E72D297353CC}">
                <c16:uniqueId val="{00000DD3-7BE2-49F1-B47F-64DDA7BF3F9D}"/>
              </c:ext>
            </c:extLst>
          </c:dPt>
          <c:dPt>
            <c:idx val="1769"/>
            <c:invertIfNegative val="1"/>
            <c:bubble3D val="0"/>
            <c:spPr>
              <a:solidFill>
                <a:srgbClr val="AEABAB"/>
              </a:solidFill>
            </c:spPr>
            <c:extLst>
              <c:ext xmlns:c16="http://schemas.microsoft.com/office/drawing/2014/chart" uri="{C3380CC4-5D6E-409C-BE32-E72D297353CC}">
                <c16:uniqueId val="{00000DD5-7BE2-49F1-B47F-64DDA7BF3F9D}"/>
              </c:ext>
            </c:extLst>
          </c:dPt>
          <c:dPt>
            <c:idx val="1770"/>
            <c:invertIfNegative val="1"/>
            <c:bubble3D val="0"/>
            <c:spPr>
              <a:solidFill>
                <a:srgbClr val="AEABAB"/>
              </a:solidFill>
            </c:spPr>
            <c:extLst>
              <c:ext xmlns:c16="http://schemas.microsoft.com/office/drawing/2014/chart" uri="{C3380CC4-5D6E-409C-BE32-E72D297353CC}">
                <c16:uniqueId val="{00000DD7-7BE2-49F1-B47F-64DDA7BF3F9D}"/>
              </c:ext>
            </c:extLst>
          </c:dPt>
          <c:dPt>
            <c:idx val="1771"/>
            <c:invertIfNegative val="1"/>
            <c:bubble3D val="0"/>
            <c:spPr>
              <a:solidFill>
                <a:srgbClr val="AEABAB"/>
              </a:solidFill>
            </c:spPr>
            <c:extLst>
              <c:ext xmlns:c16="http://schemas.microsoft.com/office/drawing/2014/chart" uri="{C3380CC4-5D6E-409C-BE32-E72D297353CC}">
                <c16:uniqueId val="{00000DD9-7BE2-49F1-B47F-64DDA7BF3F9D}"/>
              </c:ext>
            </c:extLst>
          </c:dPt>
          <c:dPt>
            <c:idx val="1772"/>
            <c:invertIfNegative val="1"/>
            <c:bubble3D val="0"/>
            <c:spPr>
              <a:solidFill>
                <a:srgbClr val="AEABAB"/>
              </a:solidFill>
            </c:spPr>
            <c:extLst>
              <c:ext xmlns:c16="http://schemas.microsoft.com/office/drawing/2014/chart" uri="{C3380CC4-5D6E-409C-BE32-E72D297353CC}">
                <c16:uniqueId val="{00000DDB-7BE2-49F1-B47F-64DDA7BF3F9D}"/>
              </c:ext>
            </c:extLst>
          </c:dPt>
          <c:dPt>
            <c:idx val="1773"/>
            <c:invertIfNegative val="1"/>
            <c:bubble3D val="0"/>
            <c:spPr>
              <a:solidFill>
                <a:srgbClr val="AEABAB"/>
              </a:solidFill>
            </c:spPr>
            <c:extLst>
              <c:ext xmlns:c16="http://schemas.microsoft.com/office/drawing/2014/chart" uri="{C3380CC4-5D6E-409C-BE32-E72D297353CC}">
                <c16:uniqueId val="{00000DDD-7BE2-49F1-B47F-64DDA7BF3F9D}"/>
              </c:ext>
            </c:extLst>
          </c:dPt>
          <c:dPt>
            <c:idx val="1774"/>
            <c:invertIfNegative val="1"/>
            <c:bubble3D val="0"/>
            <c:spPr>
              <a:solidFill>
                <a:srgbClr val="AEABAB"/>
              </a:solidFill>
            </c:spPr>
            <c:extLst>
              <c:ext xmlns:c16="http://schemas.microsoft.com/office/drawing/2014/chart" uri="{C3380CC4-5D6E-409C-BE32-E72D297353CC}">
                <c16:uniqueId val="{00000DDF-7BE2-49F1-B47F-64DDA7BF3F9D}"/>
              </c:ext>
            </c:extLst>
          </c:dPt>
          <c:dPt>
            <c:idx val="1775"/>
            <c:invertIfNegative val="1"/>
            <c:bubble3D val="0"/>
            <c:spPr>
              <a:solidFill>
                <a:srgbClr val="AEABAB"/>
              </a:solidFill>
            </c:spPr>
            <c:extLst>
              <c:ext xmlns:c16="http://schemas.microsoft.com/office/drawing/2014/chart" uri="{C3380CC4-5D6E-409C-BE32-E72D297353CC}">
                <c16:uniqueId val="{00000DE1-7BE2-49F1-B47F-64DDA7BF3F9D}"/>
              </c:ext>
            </c:extLst>
          </c:dPt>
          <c:dPt>
            <c:idx val="1776"/>
            <c:invertIfNegative val="1"/>
            <c:bubble3D val="0"/>
            <c:spPr>
              <a:solidFill>
                <a:srgbClr val="AEABAB"/>
              </a:solidFill>
            </c:spPr>
            <c:extLst>
              <c:ext xmlns:c16="http://schemas.microsoft.com/office/drawing/2014/chart" uri="{C3380CC4-5D6E-409C-BE32-E72D297353CC}">
                <c16:uniqueId val="{00000DE3-7BE2-49F1-B47F-64DDA7BF3F9D}"/>
              </c:ext>
            </c:extLst>
          </c:dPt>
          <c:dPt>
            <c:idx val="1777"/>
            <c:invertIfNegative val="1"/>
            <c:bubble3D val="0"/>
            <c:spPr>
              <a:solidFill>
                <a:srgbClr val="AEABAB"/>
              </a:solidFill>
            </c:spPr>
            <c:extLst>
              <c:ext xmlns:c16="http://schemas.microsoft.com/office/drawing/2014/chart" uri="{C3380CC4-5D6E-409C-BE32-E72D297353CC}">
                <c16:uniqueId val="{00000DE5-7BE2-49F1-B47F-64DDA7BF3F9D}"/>
              </c:ext>
            </c:extLst>
          </c:dPt>
          <c:dPt>
            <c:idx val="1778"/>
            <c:invertIfNegative val="1"/>
            <c:bubble3D val="0"/>
            <c:spPr>
              <a:solidFill>
                <a:srgbClr val="AEABAB"/>
              </a:solidFill>
            </c:spPr>
            <c:extLst>
              <c:ext xmlns:c16="http://schemas.microsoft.com/office/drawing/2014/chart" uri="{C3380CC4-5D6E-409C-BE32-E72D297353CC}">
                <c16:uniqueId val="{00000DE7-7BE2-49F1-B47F-64DDA7BF3F9D}"/>
              </c:ext>
            </c:extLst>
          </c:dPt>
          <c:dPt>
            <c:idx val="1779"/>
            <c:invertIfNegative val="1"/>
            <c:bubble3D val="0"/>
            <c:spPr>
              <a:solidFill>
                <a:srgbClr val="AEABAB"/>
              </a:solidFill>
            </c:spPr>
            <c:extLst>
              <c:ext xmlns:c16="http://schemas.microsoft.com/office/drawing/2014/chart" uri="{C3380CC4-5D6E-409C-BE32-E72D297353CC}">
                <c16:uniqueId val="{00000DE9-7BE2-49F1-B47F-64DDA7BF3F9D}"/>
              </c:ext>
            </c:extLst>
          </c:dPt>
          <c:dPt>
            <c:idx val="1780"/>
            <c:invertIfNegative val="1"/>
            <c:bubble3D val="0"/>
            <c:spPr>
              <a:solidFill>
                <a:srgbClr val="AEABAB"/>
              </a:solidFill>
            </c:spPr>
            <c:extLst>
              <c:ext xmlns:c16="http://schemas.microsoft.com/office/drawing/2014/chart" uri="{C3380CC4-5D6E-409C-BE32-E72D297353CC}">
                <c16:uniqueId val="{00000DEB-7BE2-49F1-B47F-64DDA7BF3F9D}"/>
              </c:ext>
            </c:extLst>
          </c:dPt>
          <c:dPt>
            <c:idx val="1781"/>
            <c:invertIfNegative val="1"/>
            <c:bubble3D val="0"/>
            <c:spPr>
              <a:solidFill>
                <a:srgbClr val="AEABAB"/>
              </a:solidFill>
            </c:spPr>
            <c:extLst>
              <c:ext xmlns:c16="http://schemas.microsoft.com/office/drawing/2014/chart" uri="{C3380CC4-5D6E-409C-BE32-E72D297353CC}">
                <c16:uniqueId val="{00000DED-7BE2-49F1-B47F-64DDA7BF3F9D}"/>
              </c:ext>
            </c:extLst>
          </c:dPt>
          <c:dPt>
            <c:idx val="1782"/>
            <c:invertIfNegative val="1"/>
            <c:bubble3D val="0"/>
            <c:spPr>
              <a:solidFill>
                <a:srgbClr val="AEABAB"/>
              </a:solidFill>
            </c:spPr>
            <c:extLst>
              <c:ext xmlns:c16="http://schemas.microsoft.com/office/drawing/2014/chart" uri="{C3380CC4-5D6E-409C-BE32-E72D297353CC}">
                <c16:uniqueId val="{00000DEF-7BE2-49F1-B47F-64DDA7BF3F9D}"/>
              </c:ext>
            </c:extLst>
          </c:dPt>
          <c:dPt>
            <c:idx val="1783"/>
            <c:invertIfNegative val="1"/>
            <c:bubble3D val="0"/>
            <c:spPr>
              <a:solidFill>
                <a:srgbClr val="AEABAB"/>
              </a:solidFill>
            </c:spPr>
            <c:extLst>
              <c:ext xmlns:c16="http://schemas.microsoft.com/office/drawing/2014/chart" uri="{C3380CC4-5D6E-409C-BE32-E72D297353CC}">
                <c16:uniqueId val="{00000DF1-7BE2-49F1-B47F-64DDA7BF3F9D}"/>
              </c:ext>
            </c:extLst>
          </c:dPt>
          <c:dPt>
            <c:idx val="1784"/>
            <c:invertIfNegative val="1"/>
            <c:bubble3D val="0"/>
            <c:spPr>
              <a:solidFill>
                <a:srgbClr val="AEABAB"/>
              </a:solidFill>
            </c:spPr>
            <c:extLst>
              <c:ext xmlns:c16="http://schemas.microsoft.com/office/drawing/2014/chart" uri="{C3380CC4-5D6E-409C-BE32-E72D297353CC}">
                <c16:uniqueId val="{00000DF3-7BE2-49F1-B47F-64DDA7BF3F9D}"/>
              </c:ext>
            </c:extLst>
          </c:dPt>
          <c:dPt>
            <c:idx val="1785"/>
            <c:invertIfNegative val="1"/>
            <c:bubble3D val="0"/>
            <c:spPr>
              <a:solidFill>
                <a:srgbClr val="AEABAB"/>
              </a:solidFill>
            </c:spPr>
            <c:extLst>
              <c:ext xmlns:c16="http://schemas.microsoft.com/office/drawing/2014/chart" uri="{C3380CC4-5D6E-409C-BE32-E72D297353CC}">
                <c16:uniqueId val="{00000DF5-7BE2-49F1-B47F-64DDA7BF3F9D}"/>
              </c:ext>
            </c:extLst>
          </c:dPt>
          <c:dPt>
            <c:idx val="1786"/>
            <c:invertIfNegative val="1"/>
            <c:bubble3D val="0"/>
            <c:spPr>
              <a:solidFill>
                <a:srgbClr val="AEABAB"/>
              </a:solidFill>
            </c:spPr>
            <c:extLst>
              <c:ext xmlns:c16="http://schemas.microsoft.com/office/drawing/2014/chart" uri="{C3380CC4-5D6E-409C-BE32-E72D297353CC}">
                <c16:uniqueId val="{00000DF7-7BE2-49F1-B47F-64DDA7BF3F9D}"/>
              </c:ext>
            </c:extLst>
          </c:dPt>
          <c:dPt>
            <c:idx val="1787"/>
            <c:invertIfNegative val="1"/>
            <c:bubble3D val="0"/>
            <c:spPr>
              <a:solidFill>
                <a:srgbClr val="AEABAB"/>
              </a:solidFill>
            </c:spPr>
            <c:extLst>
              <c:ext xmlns:c16="http://schemas.microsoft.com/office/drawing/2014/chart" uri="{C3380CC4-5D6E-409C-BE32-E72D297353CC}">
                <c16:uniqueId val="{00000DF9-7BE2-49F1-B47F-64DDA7BF3F9D}"/>
              </c:ext>
            </c:extLst>
          </c:dPt>
          <c:dPt>
            <c:idx val="1788"/>
            <c:invertIfNegative val="1"/>
            <c:bubble3D val="0"/>
            <c:spPr>
              <a:solidFill>
                <a:srgbClr val="AEABAB"/>
              </a:solidFill>
            </c:spPr>
            <c:extLst>
              <c:ext xmlns:c16="http://schemas.microsoft.com/office/drawing/2014/chart" uri="{C3380CC4-5D6E-409C-BE32-E72D297353CC}">
                <c16:uniqueId val="{00000DFB-7BE2-49F1-B47F-64DDA7BF3F9D}"/>
              </c:ext>
            </c:extLst>
          </c:dPt>
          <c:dPt>
            <c:idx val="1789"/>
            <c:invertIfNegative val="1"/>
            <c:bubble3D val="0"/>
            <c:spPr>
              <a:solidFill>
                <a:srgbClr val="AEABAB"/>
              </a:solidFill>
            </c:spPr>
            <c:extLst>
              <c:ext xmlns:c16="http://schemas.microsoft.com/office/drawing/2014/chart" uri="{C3380CC4-5D6E-409C-BE32-E72D297353CC}">
                <c16:uniqueId val="{00000DFD-7BE2-49F1-B47F-64DDA7BF3F9D}"/>
              </c:ext>
            </c:extLst>
          </c:dPt>
          <c:dPt>
            <c:idx val="1790"/>
            <c:invertIfNegative val="1"/>
            <c:bubble3D val="0"/>
            <c:spPr>
              <a:solidFill>
                <a:srgbClr val="AEABAB"/>
              </a:solidFill>
            </c:spPr>
            <c:extLst>
              <c:ext xmlns:c16="http://schemas.microsoft.com/office/drawing/2014/chart" uri="{C3380CC4-5D6E-409C-BE32-E72D297353CC}">
                <c16:uniqueId val="{00000DFF-7BE2-49F1-B47F-64DDA7BF3F9D}"/>
              </c:ext>
            </c:extLst>
          </c:dPt>
          <c:dPt>
            <c:idx val="1791"/>
            <c:invertIfNegative val="1"/>
            <c:bubble3D val="0"/>
            <c:spPr>
              <a:solidFill>
                <a:srgbClr val="AEABAB"/>
              </a:solidFill>
            </c:spPr>
            <c:extLst>
              <c:ext xmlns:c16="http://schemas.microsoft.com/office/drawing/2014/chart" uri="{C3380CC4-5D6E-409C-BE32-E72D297353CC}">
                <c16:uniqueId val="{00000E01-7BE2-49F1-B47F-64DDA7BF3F9D}"/>
              </c:ext>
            </c:extLst>
          </c:dPt>
          <c:dPt>
            <c:idx val="1792"/>
            <c:invertIfNegative val="1"/>
            <c:bubble3D val="0"/>
            <c:spPr>
              <a:solidFill>
                <a:srgbClr val="AEABAB"/>
              </a:solidFill>
            </c:spPr>
            <c:extLst>
              <c:ext xmlns:c16="http://schemas.microsoft.com/office/drawing/2014/chart" uri="{C3380CC4-5D6E-409C-BE32-E72D297353CC}">
                <c16:uniqueId val="{00000E03-7BE2-49F1-B47F-64DDA7BF3F9D}"/>
              </c:ext>
            </c:extLst>
          </c:dPt>
          <c:dPt>
            <c:idx val="1793"/>
            <c:invertIfNegative val="1"/>
            <c:bubble3D val="0"/>
            <c:spPr>
              <a:solidFill>
                <a:srgbClr val="AEABAB"/>
              </a:solidFill>
            </c:spPr>
            <c:extLst>
              <c:ext xmlns:c16="http://schemas.microsoft.com/office/drawing/2014/chart" uri="{C3380CC4-5D6E-409C-BE32-E72D297353CC}">
                <c16:uniqueId val="{00000E05-7BE2-49F1-B47F-64DDA7BF3F9D}"/>
              </c:ext>
            </c:extLst>
          </c:dPt>
          <c:dPt>
            <c:idx val="1794"/>
            <c:invertIfNegative val="1"/>
            <c:bubble3D val="0"/>
            <c:spPr>
              <a:solidFill>
                <a:srgbClr val="AEABAB"/>
              </a:solidFill>
            </c:spPr>
            <c:extLst>
              <c:ext xmlns:c16="http://schemas.microsoft.com/office/drawing/2014/chart" uri="{C3380CC4-5D6E-409C-BE32-E72D297353CC}">
                <c16:uniqueId val="{00000E07-7BE2-49F1-B47F-64DDA7BF3F9D}"/>
              </c:ext>
            </c:extLst>
          </c:dPt>
          <c:dPt>
            <c:idx val="1795"/>
            <c:invertIfNegative val="1"/>
            <c:bubble3D val="0"/>
            <c:spPr>
              <a:solidFill>
                <a:srgbClr val="AEABAB"/>
              </a:solidFill>
            </c:spPr>
            <c:extLst>
              <c:ext xmlns:c16="http://schemas.microsoft.com/office/drawing/2014/chart" uri="{C3380CC4-5D6E-409C-BE32-E72D297353CC}">
                <c16:uniqueId val="{00000E09-7BE2-49F1-B47F-64DDA7BF3F9D}"/>
              </c:ext>
            </c:extLst>
          </c:dPt>
          <c:dPt>
            <c:idx val="1796"/>
            <c:invertIfNegative val="1"/>
            <c:bubble3D val="0"/>
            <c:spPr>
              <a:solidFill>
                <a:srgbClr val="AEABAB"/>
              </a:solidFill>
            </c:spPr>
            <c:extLst>
              <c:ext xmlns:c16="http://schemas.microsoft.com/office/drawing/2014/chart" uri="{C3380CC4-5D6E-409C-BE32-E72D297353CC}">
                <c16:uniqueId val="{00000E0B-7BE2-49F1-B47F-64DDA7BF3F9D}"/>
              </c:ext>
            </c:extLst>
          </c:dPt>
          <c:dPt>
            <c:idx val="1797"/>
            <c:invertIfNegative val="1"/>
            <c:bubble3D val="0"/>
            <c:spPr>
              <a:solidFill>
                <a:srgbClr val="AEABAB"/>
              </a:solidFill>
            </c:spPr>
            <c:extLst>
              <c:ext xmlns:c16="http://schemas.microsoft.com/office/drawing/2014/chart" uri="{C3380CC4-5D6E-409C-BE32-E72D297353CC}">
                <c16:uniqueId val="{00000E0D-7BE2-49F1-B47F-64DDA7BF3F9D}"/>
              </c:ext>
            </c:extLst>
          </c:dPt>
          <c:dPt>
            <c:idx val="1798"/>
            <c:invertIfNegative val="1"/>
            <c:bubble3D val="0"/>
            <c:spPr>
              <a:solidFill>
                <a:srgbClr val="AEABAB"/>
              </a:solidFill>
            </c:spPr>
            <c:extLst>
              <c:ext xmlns:c16="http://schemas.microsoft.com/office/drawing/2014/chart" uri="{C3380CC4-5D6E-409C-BE32-E72D297353CC}">
                <c16:uniqueId val="{00000E0F-7BE2-49F1-B47F-64DDA7BF3F9D}"/>
              </c:ext>
            </c:extLst>
          </c:dPt>
          <c:dPt>
            <c:idx val="1799"/>
            <c:invertIfNegative val="1"/>
            <c:bubble3D val="0"/>
            <c:spPr>
              <a:solidFill>
                <a:srgbClr val="AEABAB"/>
              </a:solidFill>
            </c:spPr>
            <c:extLst>
              <c:ext xmlns:c16="http://schemas.microsoft.com/office/drawing/2014/chart" uri="{C3380CC4-5D6E-409C-BE32-E72D297353CC}">
                <c16:uniqueId val="{00000E11-7BE2-49F1-B47F-64DDA7BF3F9D}"/>
              </c:ext>
            </c:extLst>
          </c:dPt>
          <c:dPt>
            <c:idx val="1800"/>
            <c:invertIfNegative val="1"/>
            <c:bubble3D val="0"/>
            <c:spPr>
              <a:solidFill>
                <a:srgbClr val="AEABAB"/>
              </a:solidFill>
            </c:spPr>
            <c:extLst>
              <c:ext xmlns:c16="http://schemas.microsoft.com/office/drawing/2014/chart" uri="{C3380CC4-5D6E-409C-BE32-E72D297353CC}">
                <c16:uniqueId val="{00000E13-7BE2-49F1-B47F-64DDA7BF3F9D}"/>
              </c:ext>
            </c:extLst>
          </c:dPt>
          <c:dPt>
            <c:idx val="1801"/>
            <c:invertIfNegative val="1"/>
            <c:bubble3D val="0"/>
            <c:spPr>
              <a:solidFill>
                <a:srgbClr val="AEABAB"/>
              </a:solidFill>
            </c:spPr>
            <c:extLst>
              <c:ext xmlns:c16="http://schemas.microsoft.com/office/drawing/2014/chart" uri="{C3380CC4-5D6E-409C-BE32-E72D297353CC}">
                <c16:uniqueId val="{00000E15-7BE2-49F1-B47F-64DDA7BF3F9D}"/>
              </c:ext>
            </c:extLst>
          </c:dPt>
          <c:dPt>
            <c:idx val="1802"/>
            <c:invertIfNegative val="1"/>
            <c:bubble3D val="0"/>
            <c:spPr>
              <a:solidFill>
                <a:srgbClr val="AEABAB"/>
              </a:solidFill>
            </c:spPr>
            <c:extLst>
              <c:ext xmlns:c16="http://schemas.microsoft.com/office/drawing/2014/chart" uri="{C3380CC4-5D6E-409C-BE32-E72D297353CC}">
                <c16:uniqueId val="{00000E17-7BE2-49F1-B47F-64DDA7BF3F9D}"/>
              </c:ext>
            </c:extLst>
          </c:dPt>
          <c:dPt>
            <c:idx val="1803"/>
            <c:invertIfNegative val="1"/>
            <c:bubble3D val="0"/>
            <c:spPr>
              <a:solidFill>
                <a:srgbClr val="AEABAB"/>
              </a:solidFill>
            </c:spPr>
            <c:extLst>
              <c:ext xmlns:c16="http://schemas.microsoft.com/office/drawing/2014/chart" uri="{C3380CC4-5D6E-409C-BE32-E72D297353CC}">
                <c16:uniqueId val="{00000E19-7BE2-49F1-B47F-64DDA7BF3F9D}"/>
              </c:ext>
            </c:extLst>
          </c:dPt>
          <c:dPt>
            <c:idx val="1804"/>
            <c:invertIfNegative val="1"/>
            <c:bubble3D val="0"/>
            <c:spPr>
              <a:solidFill>
                <a:srgbClr val="AEABAB"/>
              </a:solidFill>
            </c:spPr>
            <c:extLst>
              <c:ext xmlns:c16="http://schemas.microsoft.com/office/drawing/2014/chart" uri="{C3380CC4-5D6E-409C-BE32-E72D297353CC}">
                <c16:uniqueId val="{00000E1B-7BE2-49F1-B47F-64DDA7BF3F9D}"/>
              </c:ext>
            </c:extLst>
          </c:dPt>
          <c:dPt>
            <c:idx val="1805"/>
            <c:invertIfNegative val="1"/>
            <c:bubble3D val="0"/>
            <c:spPr>
              <a:solidFill>
                <a:srgbClr val="AEABAB"/>
              </a:solidFill>
            </c:spPr>
            <c:extLst>
              <c:ext xmlns:c16="http://schemas.microsoft.com/office/drawing/2014/chart" uri="{C3380CC4-5D6E-409C-BE32-E72D297353CC}">
                <c16:uniqueId val="{00000E1D-7BE2-49F1-B47F-64DDA7BF3F9D}"/>
              </c:ext>
            </c:extLst>
          </c:dPt>
          <c:dPt>
            <c:idx val="1806"/>
            <c:invertIfNegative val="1"/>
            <c:bubble3D val="0"/>
            <c:spPr>
              <a:solidFill>
                <a:srgbClr val="AEABAB"/>
              </a:solidFill>
            </c:spPr>
            <c:extLst>
              <c:ext xmlns:c16="http://schemas.microsoft.com/office/drawing/2014/chart" uri="{C3380CC4-5D6E-409C-BE32-E72D297353CC}">
                <c16:uniqueId val="{00000E1F-7BE2-49F1-B47F-64DDA7BF3F9D}"/>
              </c:ext>
            </c:extLst>
          </c:dPt>
          <c:dPt>
            <c:idx val="1807"/>
            <c:invertIfNegative val="1"/>
            <c:bubble3D val="0"/>
            <c:spPr>
              <a:solidFill>
                <a:srgbClr val="AEABAB"/>
              </a:solidFill>
            </c:spPr>
            <c:extLst>
              <c:ext xmlns:c16="http://schemas.microsoft.com/office/drawing/2014/chart" uri="{C3380CC4-5D6E-409C-BE32-E72D297353CC}">
                <c16:uniqueId val="{00000E21-7BE2-49F1-B47F-64DDA7BF3F9D}"/>
              </c:ext>
            </c:extLst>
          </c:dPt>
          <c:dPt>
            <c:idx val="1808"/>
            <c:invertIfNegative val="1"/>
            <c:bubble3D val="0"/>
            <c:spPr>
              <a:solidFill>
                <a:srgbClr val="AEABAB"/>
              </a:solidFill>
            </c:spPr>
            <c:extLst>
              <c:ext xmlns:c16="http://schemas.microsoft.com/office/drawing/2014/chart" uri="{C3380CC4-5D6E-409C-BE32-E72D297353CC}">
                <c16:uniqueId val="{00000E23-7BE2-49F1-B47F-64DDA7BF3F9D}"/>
              </c:ext>
            </c:extLst>
          </c:dPt>
          <c:dPt>
            <c:idx val="1809"/>
            <c:invertIfNegative val="1"/>
            <c:bubble3D val="0"/>
            <c:spPr>
              <a:solidFill>
                <a:srgbClr val="AEABAB"/>
              </a:solidFill>
            </c:spPr>
            <c:extLst>
              <c:ext xmlns:c16="http://schemas.microsoft.com/office/drawing/2014/chart" uri="{C3380CC4-5D6E-409C-BE32-E72D297353CC}">
                <c16:uniqueId val="{00000E25-7BE2-49F1-B47F-64DDA7BF3F9D}"/>
              </c:ext>
            </c:extLst>
          </c:dPt>
          <c:dPt>
            <c:idx val="1810"/>
            <c:invertIfNegative val="1"/>
            <c:bubble3D val="0"/>
            <c:spPr>
              <a:solidFill>
                <a:srgbClr val="AEABAB"/>
              </a:solidFill>
            </c:spPr>
            <c:extLst>
              <c:ext xmlns:c16="http://schemas.microsoft.com/office/drawing/2014/chart" uri="{C3380CC4-5D6E-409C-BE32-E72D297353CC}">
                <c16:uniqueId val="{00000E27-7BE2-49F1-B47F-64DDA7BF3F9D}"/>
              </c:ext>
            </c:extLst>
          </c:dPt>
          <c:dPt>
            <c:idx val="1811"/>
            <c:invertIfNegative val="1"/>
            <c:bubble3D val="0"/>
            <c:spPr>
              <a:solidFill>
                <a:srgbClr val="AEABAB"/>
              </a:solidFill>
            </c:spPr>
            <c:extLst>
              <c:ext xmlns:c16="http://schemas.microsoft.com/office/drawing/2014/chart" uri="{C3380CC4-5D6E-409C-BE32-E72D297353CC}">
                <c16:uniqueId val="{00000E29-7BE2-49F1-B47F-64DDA7BF3F9D}"/>
              </c:ext>
            </c:extLst>
          </c:dPt>
          <c:dPt>
            <c:idx val="1812"/>
            <c:invertIfNegative val="1"/>
            <c:bubble3D val="0"/>
            <c:spPr>
              <a:solidFill>
                <a:srgbClr val="AEABAB"/>
              </a:solidFill>
            </c:spPr>
            <c:extLst>
              <c:ext xmlns:c16="http://schemas.microsoft.com/office/drawing/2014/chart" uri="{C3380CC4-5D6E-409C-BE32-E72D297353CC}">
                <c16:uniqueId val="{00000E2B-7BE2-49F1-B47F-64DDA7BF3F9D}"/>
              </c:ext>
            </c:extLst>
          </c:dPt>
          <c:dPt>
            <c:idx val="1813"/>
            <c:invertIfNegative val="1"/>
            <c:bubble3D val="0"/>
            <c:spPr>
              <a:solidFill>
                <a:srgbClr val="AEABAB"/>
              </a:solidFill>
            </c:spPr>
            <c:extLst>
              <c:ext xmlns:c16="http://schemas.microsoft.com/office/drawing/2014/chart" uri="{C3380CC4-5D6E-409C-BE32-E72D297353CC}">
                <c16:uniqueId val="{00000E2D-7BE2-49F1-B47F-64DDA7BF3F9D}"/>
              </c:ext>
            </c:extLst>
          </c:dPt>
          <c:dPt>
            <c:idx val="1814"/>
            <c:invertIfNegative val="1"/>
            <c:bubble3D val="0"/>
            <c:spPr>
              <a:solidFill>
                <a:srgbClr val="AEABAB"/>
              </a:solidFill>
            </c:spPr>
            <c:extLst>
              <c:ext xmlns:c16="http://schemas.microsoft.com/office/drawing/2014/chart" uri="{C3380CC4-5D6E-409C-BE32-E72D297353CC}">
                <c16:uniqueId val="{00000E2F-7BE2-49F1-B47F-64DDA7BF3F9D}"/>
              </c:ext>
            </c:extLst>
          </c:dPt>
          <c:dPt>
            <c:idx val="1815"/>
            <c:invertIfNegative val="1"/>
            <c:bubble3D val="0"/>
            <c:spPr>
              <a:solidFill>
                <a:srgbClr val="AEABAB"/>
              </a:solidFill>
            </c:spPr>
            <c:extLst>
              <c:ext xmlns:c16="http://schemas.microsoft.com/office/drawing/2014/chart" uri="{C3380CC4-5D6E-409C-BE32-E72D297353CC}">
                <c16:uniqueId val="{00000E31-7BE2-49F1-B47F-64DDA7BF3F9D}"/>
              </c:ext>
            </c:extLst>
          </c:dPt>
          <c:dPt>
            <c:idx val="1816"/>
            <c:invertIfNegative val="1"/>
            <c:bubble3D val="0"/>
            <c:spPr>
              <a:solidFill>
                <a:srgbClr val="AEABAB"/>
              </a:solidFill>
            </c:spPr>
            <c:extLst>
              <c:ext xmlns:c16="http://schemas.microsoft.com/office/drawing/2014/chart" uri="{C3380CC4-5D6E-409C-BE32-E72D297353CC}">
                <c16:uniqueId val="{00000E33-7BE2-49F1-B47F-64DDA7BF3F9D}"/>
              </c:ext>
            </c:extLst>
          </c:dPt>
          <c:dPt>
            <c:idx val="1817"/>
            <c:invertIfNegative val="1"/>
            <c:bubble3D val="0"/>
            <c:spPr>
              <a:solidFill>
                <a:srgbClr val="AEABAB"/>
              </a:solidFill>
            </c:spPr>
            <c:extLst>
              <c:ext xmlns:c16="http://schemas.microsoft.com/office/drawing/2014/chart" uri="{C3380CC4-5D6E-409C-BE32-E72D297353CC}">
                <c16:uniqueId val="{00000E35-7BE2-49F1-B47F-64DDA7BF3F9D}"/>
              </c:ext>
            </c:extLst>
          </c:dPt>
          <c:dPt>
            <c:idx val="1818"/>
            <c:invertIfNegative val="1"/>
            <c:bubble3D val="0"/>
            <c:spPr>
              <a:solidFill>
                <a:srgbClr val="AEABAB"/>
              </a:solidFill>
            </c:spPr>
            <c:extLst>
              <c:ext xmlns:c16="http://schemas.microsoft.com/office/drawing/2014/chart" uri="{C3380CC4-5D6E-409C-BE32-E72D297353CC}">
                <c16:uniqueId val="{00000E37-7BE2-49F1-B47F-64DDA7BF3F9D}"/>
              </c:ext>
            </c:extLst>
          </c:dPt>
          <c:dPt>
            <c:idx val="1819"/>
            <c:invertIfNegative val="1"/>
            <c:bubble3D val="0"/>
            <c:spPr>
              <a:solidFill>
                <a:srgbClr val="AEABAB"/>
              </a:solidFill>
            </c:spPr>
            <c:extLst>
              <c:ext xmlns:c16="http://schemas.microsoft.com/office/drawing/2014/chart" uri="{C3380CC4-5D6E-409C-BE32-E72D297353CC}">
                <c16:uniqueId val="{00000E39-7BE2-49F1-B47F-64DDA7BF3F9D}"/>
              </c:ext>
            </c:extLst>
          </c:dPt>
          <c:dPt>
            <c:idx val="1820"/>
            <c:invertIfNegative val="1"/>
            <c:bubble3D val="0"/>
            <c:spPr>
              <a:solidFill>
                <a:srgbClr val="AEABAB"/>
              </a:solidFill>
            </c:spPr>
            <c:extLst>
              <c:ext xmlns:c16="http://schemas.microsoft.com/office/drawing/2014/chart" uri="{C3380CC4-5D6E-409C-BE32-E72D297353CC}">
                <c16:uniqueId val="{00000E3B-7BE2-49F1-B47F-64DDA7BF3F9D}"/>
              </c:ext>
            </c:extLst>
          </c:dPt>
          <c:dPt>
            <c:idx val="1821"/>
            <c:invertIfNegative val="1"/>
            <c:bubble3D val="0"/>
            <c:spPr>
              <a:solidFill>
                <a:srgbClr val="AEABAB"/>
              </a:solidFill>
            </c:spPr>
            <c:extLst>
              <c:ext xmlns:c16="http://schemas.microsoft.com/office/drawing/2014/chart" uri="{C3380CC4-5D6E-409C-BE32-E72D297353CC}">
                <c16:uniqueId val="{00000E3D-7BE2-49F1-B47F-64DDA7BF3F9D}"/>
              </c:ext>
            </c:extLst>
          </c:dPt>
          <c:dPt>
            <c:idx val="1822"/>
            <c:invertIfNegative val="1"/>
            <c:bubble3D val="0"/>
            <c:spPr>
              <a:solidFill>
                <a:srgbClr val="AEABAB"/>
              </a:solidFill>
            </c:spPr>
            <c:extLst>
              <c:ext xmlns:c16="http://schemas.microsoft.com/office/drawing/2014/chart" uri="{C3380CC4-5D6E-409C-BE32-E72D297353CC}">
                <c16:uniqueId val="{00000E3F-7BE2-49F1-B47F-64DDA7BF3F9D}"/>
              </c:ext>
            </c:extLst>
          </c:dPt>
          <c:dPt>
            <c:idx val="1823"/>
            <c:invertIfNegative val="1"/>
            <c:bubble3D val="0"/>
            <c:spPr>
              <a:solidFill>
                <a:srgbClr val="AEABAB"/>
              </a:solidFill>
            </c:spPr>
            <c:extLst>
              <c:ext xmlns:c16="http://schemas.microsoft.com/office/drawing/2014/chart" uri="{C3380CC4-5D6E-409C-BE32-E72D297353CC}">
                <c16:uniqueId val="{00000E41-7BE2-49F1-B47F-64DDA7BF3F9D}"/>
              </c:ext>
            </c:extLst>
          </c:dPt>
          <c:dPt>
            <c:idx val="1824"/>
            <c:invertIfNegative val="1"/>
            <c:bubble3D val="0"/>
            <c:spPr>
              <a:solidFill>
                <a:srgbClr val="AEABAB"/>
              </a:solidFill>
            </c:spPr>
            <c:extLst>
              <c:ext xmlns:c16="http://schemas.microsoft.com/office/drawing/2014/chart" uri="{C3380CC4-5D6E-409C-BE32-E72D297353CC}">
                <c16:uniqueId val="{00000E43-7BE2-49F1-B47F-64DDA7BF3F9D}"/>
              </c:ext>
            </c:extLst>
          </c:dPt>
          <c:dPt>
            <c:idx val="1825"/>
            <c:invertIfNegative val="1"/>
            <c:bubble3D val="0"/>
            <c:spPr>
              <a:solidFill>
                <a:srgbClr val="AEABAB"/>
              </a:solidFill>
            </c:spPr>
            <c:extLst>
              <c:ext xmlns:c16="http://schemas.microsoft.com/office/drawing/2014/chart" uri="{C3380CC4-5D6E-409C-BE32-E72D297353CC}">
                <c16:uniqueId val="{00000E45-7BE2-49F1-B47F-64DDA7BF3F9D}"/>
              </c:ext>
            </c:extLst>
          </c:dPt>
          <c:dPt>
            <c:idx val="1826"/>
            <c:invertIfNegative val="1"/>
            <c:bubble3D val="0"/>
            <c:spPr>
              <a:solidFill>
                <a:srgbClr val="AEABAB"/>
              </a:solidFill>
            </c:spPr>
            <c:extLst>
              <c:ext xmlns:c16="http://schemas.microsoft.com/office/drawing/2014/chart" uri="{C3380CC4-5D6E-409C-BE32-E72D297353CC}">
                <c16:uniqueId val="{00000E47-7BE2-49F1-B47F-64DDA7BF3F9D}"/>
              </c:ext>
            </c:extLst>
          </c:dPt>
          <c:dPt>
            <c:idx val="1827"/>
            <c:invertIfNegative val="1"/>
            <c:bubble3D val="0"/>
            <c:spPr>
              <a:solidFill>
                <a:srgbClr val="AEABAB"/>
              </a:solidFill>
            </c:spPr>
            <c:extLst>
              <c:ext xmlns:c16="http://schemas.microsoft.com/office/drawing/2014/chart" uri="{C3380CC4-5D6E-409C-BE32-E72D297353CC}">
                <c16:uniqueId val="{00000E49-7BE2-49F1-B47F-64DDA7BF3F9D}"/>
              </c:ext>
            </c:extLst>
          </c:dPt>
          <c:dPt>
            <c:idx val="1828"/>
            <c:invertIfNegative val="1"/>
            <c:bubble3D val="0"/>
            <c:spPr>
              <a:solidFill>
                <a:srgbClr val="AEABAB"/>
              </a:solidFill>
            </c:spPr>
            <c:extLst>
              <c:ext xmlns:c16="http://schemas.microsoft.com/office/drawing/2014/chart" uri="{C3380CC4-5D6E-409C-BE32-E72D297353CC}">
                <c16:uniqueId val="{00000E4B-7BE2-49F1-B47F-64DDA7BF3F9D}"/>
              </c:ext>
            </c:extLst>
          </c:dPt>
          <c:dPt>
            <c:idx val="1829"/>
            <c:invertIfNegative val="1"/>
            <c:bubble3D val="0"/>
            <c:spPr>
              <a:solidFill>
                <a:srgbClr val="AEABAB"/>
              </a:solidFill>
            </c:spPr>
            <c:extLst>
              <c:ext xmlns:c16="http://schemas.microsoft.com/office/drawing/2014/chart" uri="{C3380CC4-5D6E-409C-BE32-E72D297353CC}">
                <c16:uniqueId val="{00000E4D-7BE2-49F1-B47F-64DDA7BF3F9D}"/>
              </c:ext>
            </c:extLst>
          </c:dPt>
          <c:dPt>
            <c:idx val="1830"/>
            <c:invertIfNegative val="1"/>
            <c:bubble3D val="0"/>
            <c:spPr>
              <a:solidFill>
                <a:srgbClr val="AEABAB"/>
              </a:solidFill>
            </c:spPr>
            <c:extLst>
              <c:ext xmlns:c16="http://schemas.microsoft.com/office/drawing/2014/chart" uri="{C3380CC4-5D6E-409C-BE32-E72D297353CC}">
                <c16:uniqueId val="{00000E4F-7BE2-49F1-B47F-64DDA7BF3F9D}"/>
              </c:ext>
            </c:extLst>
          </c:dPt>
          <c:dPt>
            <c:idx val="1831"/>
            <c:invertIfNegative val="1"/>
            <c:bubble3D val="0"/>
            <c:spPr>
              <a:solidFill>
                <a:srgbClr val="AEABAB"/>
              </a:solidFill>
            </c:spPr>
            <c:extLst>
              <c:ext xmlns:c16="http://schemas.microsoft.com/office/drawing/2014/chart" uri="{C3380CC4-5D6E-409C-BE32-E72D297353CC}">
                <c16:uniqueId val="{00000E51-7BE2-49F1-B47F-64DDA7BF3F9D}"/>
              </c:ext>
            </c:extLst>
          </c:dPt>
          <c:dPt>
            <c:idx val="1832"/>
            <c:invertIfNegative val="1"/>
            <c:bubble3D val="0"/>
            <c:spPr>
              <a:solidFill>
                <a:srgbClr val="AEABAB"/>
              </a:solidFill>
            </c:spPr>
            <c:extLst>
              <c:ext xmlns:c16="http://schemas.microsoft.com/office/drawing/2014/chart" uri="{C3380CC4-5D6E-409C-BE32-E72D297353CC}">
                <c16:uniqueId val="{00000E53-7BE2-49F1-B47F-64DDA7BF3F9D}"/>
              </c:ext>
            </c:extLst>
          </c:dPt>
          <c:dPt>
            <c:idx val="1833"/>
            <c:invertIfNegative val="1"/>
            <c:bubble3D val="0"/>
            <c:spPr>
              <a:solidFill>
                <a:srgbClr val="AEABAB"/>
              </a:solidFill>
            </c:spPr>
            <c:extLst>
              <c:ext xmlns:c16="http://schemas.microsoft.com/office/drawing/2014/chart" uri="{C3380CC4-5D6E-409C-BE32-E72D297353CC}">
                <c16:uniqueId val="{00000E55-7BE2-49F1-B47F-64DDA7BF3F9D}"/>
              </c:ext>
            </c:extLst>
          </c:dPt>
          <c:dPt>
            <c:idx val="1834"/>
            <c:invertIfNegative val="1"/>
            <c:bubble3D val="0"/>
            <c:spPr>
              <a:solidFill>
                <a:srgbClr val="AEABAB"/>
              </a:solidFill>
            </c:spPr>
            <c:extLst>
              <c:ext xmlns:c16="http://schemas.microsoft.com/office/drawing/2014/chart" uri="{C3380CC4-5D6E-409C-BE32-E72D297353CC}">
                <c16:uniqueId val="{00000E57-7BE2-49F1-B47F-64DDA7BF3F9D}"/>
              </c:ext>
            </c:extLst>
          </c:dPt>
          <c:dPt>
            <c:idx val="1835"/>
            <c:invertIfNegative val="1"/>
            <c:bubble3D val="0"/>
            <c:spPr>
              <a:solidFill>
                <a:srgbClr val="AEABAB"/>
              </a:solidFill>
            </c:spPr>
            <c:extLst>
              <c:ext xmlns:c16="http://schemas.microsoft.com/office/drawing/2014/chart" uri="{C3380CC4-5D6E-409C-BE32-E72D297353CC}">
                <c16:uniqueId val="{00000E59-7BE2-49F1-B47F-64DDA7BF3F9D}"/>
              </c:ext>
            </c:extLst>
          </c:dPt>
          <c:dPt>
            <c:idx val="1836"/>
            <c:invertIfNegative val="1"/>
            <c:bubble3D val="0"/>
            <c:spPr>
              <a:solidFill>
                <a:srgbClr val="AEABAB"/>
              </a:solidFill>
            </c:spPr>
            <c:extLst>
              <c:ext xmlns:c16="http://schemas.microsoft.com/office/drawing/2014/chart" uri="{C3380CC4-5D6E-409C-BE32-E72D297353CC}">
                <c16:uniqueId val="{00000E5B-7BE2-49F1-B47F-64DDA7BF3F9D}"/>
              </c:ext>
            </c:extLst>
          </c:dPt>
          <c:dPt>
            <c:idx val="1837"/>
            <c:invertIfNegative val="1"/>
            <c:bubble3D val="0"/>
            <c:spPr>
              <a:solidFill>
                <a:srgbClr val="AEABAB"/>
              </a:solidFill>
            </c:spPr>
            <c:extLst>
              <c:ext xmlns:c16="http://schemas.microsoft.com/office/drawing/2014/chart" uri="{C3380CC4-5D6E-409C-BE32-E72D297353CC}">
                <c16:uniqueId val="{00000E5D-7BE2-49F1-B47F-64DDA7BF3F9D}"/>
              </c:ext>
            </c:extLst>
          </c:dPt>
          <c:dPt>
            <c:idx val="1838"/>
            <c:invertIfNegative val="1"/>
            <c:bubble3D val="0"/>
            <c:spPr>
              <a:solidFill>
                <a:srgbClr val="AEABAB"/>
              </a:solidFill>
            </c:spPr>
            <c:extLst>
              <c:ext xmlns:c16="http://schemas.microsoft.com/office/drawing/2014/chart" uri="{C3380CC4-5D6E-409C-BE32-E72D297353CC}">
                <c16:uniqueId val="{00000E5F-7BE2-49F1-B47F-64DDA7BF3F9D}"/>
              </c:ext>
            </c:extLst>
          </c:dPt>
          <c:dPt>
            <c:idx val="1839"/>
            <c:invertIfNegative val="1"/>
            <c:bubble3D val="0"/>
            <c:spPr>
              <a:solidFill>
                <a:srgbClr val="AEABAB"/>
              </a:solidFill>
            </c:spPr>
            <c:extLst>
              <c:ext xmlns:c16="http://schemas.microsoft.com/office/drawing/2014/chart" uri="{C3380CC4-5D6E-409C-BE32-E72D297353CC}">
                <c16:uniqueId val="{00000E61-7BE2-49F1-B47F-64DDA7BF3F9D}"/>
              </c:ext>
            </c:extLst>
          </c:dPt>
          <c:dPt>
            <c:idx val="1840"/>
            <c:invertIfNegative val="1"/>
            <c:bubble3D val="0"/>
            <c:spPr>
              <a:solidFill>
                <a:srgbClr val="AEABAB"/>
              </a:solidFill>
            </c:spPr>
            <c:extLst>
              <c:ext xmlns:c16="http://schemas.microsoft.com/office/drawing/2014/chart" uri="{C3380CC4-5D6E-409C-BE32-E72D297353CC}">
                <c16:uniqueId val="{00000E63-7BE2-49F1-B47F-64DDA7BF3F9D}"/>
              </c:ext>
            </c:extLst>
          </c:dPt>
          <c:dPt>
            <c:idx val="1841"/>
            <c:invertIfNegative val="1"/>
            <c:bubble3D val="0"/>
            <c:spPr>
              <a:solidFill>
                <a:srgbClr val="AEABAB"/>
              </a:solidFill>
            </c:spPr>
            <c:extLst>
              <c:ext xmlns:c16="http://schemas.microsoft.com/office/drawing/2014/chart" uri="{C3380CC4-5D6E-409C-BE32-E72D297353CC}">
                <c16:uniqueId val="{00000E65-7BE2-49F1-B47F-64DDA7BF3F9D}"/>
              </c:ext>
            </c:extLst>
          </c:dPt>
          <c:dPt>
            <c:idx val="1842"/>
            <c:invertIfNegative val="1"/>
            <c:bubble3D val="0"/>
            <c:spPr>
              <a:solidFill>
                <a:srgbClr val="AEABAB"/>
              </a:solidFill>
            </c:spPr>
            <c:extLst>
              <c:ext xmlns:c16="http://schemas.microsoft.com/office/drawing/2014/chart" uri="{C3380CC4-5D6E-409C-BE32-E72D297353CC}">
                <c16:uniqueId val="{00000E67-7BE2-49F1-B47F-64DDA7BF3F9D}"/>
              </c:ext>
            </c:extLst>
          </c:dPt>
          <c:dPt>
            <c:idx val="1843"/>
            <c:invertIfNegative val="1"/>
            <c:bubble3D val="0"/>
            <c:spPr>
              <a:solidFill>
                <a:srgbClr val="AEABAB"/>
              </a:solidFill>
            </c:spPr>
            <c:extLst>
              <c:ext xmlns:c16="http://schemas.microsoft.com/office/drawing/2014/chart" uri="{C3380CC4-5D6E-409C-BE32-E72D297353CC}">
                <c16:uniqueId val="{00000E69-7BE2-49F1-B47F-64DDA7BF3F9D}"/>
              </c:ext>
            </c:extLst>
          </c:dPt>
          <c:dPt>
            <c:idx val="1844"/>
            <c:invertIfNegative val="1"/>
            <c:bubble3D val="0"/>
            <c:spPr>
              <a:solidFill>
                <a:srgbClr val="AEABAB"/>
              </a:solidFill>
            </c:spPr>
            <c:extLst>
              <c:ext xmlns:c16="http://schemas.microsoft.com/office/drawing/2014/chart" uri="{C3380CC4-5D6E-409C-BE32-E72D297353CC}">
                <c16:uniqueId val="{00000E6B-7BE2-49F1-B47F-64DDA7BF3F9D}"/>
              </c:ext>
            </c:extLst>
          </c:dPt>
          <c:dPt>
            <c:idx val="1845"/>
            <c:invertIfNegative val="1"/>
            <c:bubble3D val="0"/>
            <c:spPr>
              <a:solidFill>
                <a:srgbClr val="AEABAB"/>
              </a:solidFill>
            </c:spPr>
            <c:extLst>
              <c:ext xmlns:c16="http://schemas.microsoft.com/office/drawing/2014/chart" uri="{C3380CC4-5D6E-409C-BE32-E72D297353CC}">
                <c16:uniqueId val="{00000E6D-7BE2-49F1-B47F-64DDA7BF3F9D}"/>
              </c:ext>
            </c:extLst>
          </c:dPt>
          <c:dPt>
            <c:idx val="1846"/>
            <c:invertIfNegative val="1"/>
            <c:bubble3D val="0"/>
            <c:spPr>
              <a:solidFill>
                <a:srgbClr val="AEABAB"/>
              </a:solidFill>
            </c:spPr>
            <c:extLst>
              <c:ext xmlns:c16="http://schemas.microsoft.com/office/drawing/2014/chart" uri="{C3380CC4-5D6E-409C-BE32-E72D297353CC}">
                <c16:uniqueId val="{00000E6F-7BE2-49F1-B47F-64DDA7BF3F9D}"/>
              </c:ext>
            </c:extLst>
          </c:dPt>
          <c:dPt>
            <c:idx val="1847"/>
            <c:invertIfNegative val="1"/>
            <c:bubble3D val="0"/>
            <c:spPr>
              <a:solidFill>
                <a:srgbClr val="AEABAB"/>
              </a:solidFill>
            </c:spPr>
            <c:extLst>
              <c:ext xmlns:c16="http://schemas.microsoft.com/office/drawing/2014/chart" uri="{C3380CC4-5D6E-409C-BE32-E72D297353CC}">
                <c16:uniqueId val="{00000E71-7BE2-49F1-B47F-64DDA7BF3F9D}"/>
              </c:ext>
            </c:extLst>
          </c:dPt>
          <c:dPt>
            <c:idx val="1848"/>
            <c:invertIfNegative val="1"/>
            <c:bubble3D val="0"/>
            <c:spPr>
              <a:solidFill>
                <a:srgbClr val="AEABAB"/>
              </a:solidFill>
            </c:spPr>
            <c:extLst>
              <c:ext xmlns:c16="http://schemas.microsoft.com/office/drawing/2014/chart" uri="{C3380CC4-5D6E-409C-BE32-E72D297353CC}">
                <c16:uniqueId val="{00000E73-7BE2-49F1-B47F-64DDA7BF3F9D}"/>
              </c:ext>
            </c:extLst>
          </c:dPt>
          <c:dPt>
            <c:idx val="1849"/>
            <c:invertIfNegative val="1"/>
            <c:bubble3D val="0"/>
            <c:spPr>
              <a:solidFill>
                <a:srgbClr val="AEABAB"/>
              </a:solidFill>
            </c:spPr>
            <c:extLst>
              <c:ext xmlns:c16="http://schemas.microsoft.com/office/drawing/2014/chart" uri="{C3380CC4-5D6E-409C-BE32-E72D297353CC}">
                <c16:uniqueId val="{00000E75-7BE2-49F1-B47F-64DDA7BF3F9D}"/>
              </c:ext>
            </c:extLst>
          </c:dPt>
          <c:dPt>
            <c:idx val="1850"/>
            <c:invertIfNegative val="1"/>
            <c:bubble3D val="0"/>
            <c:spPr>
              <a:solidFill>
                <a:srgbClr val="AEABAB"/>
              </a:solidFill>
            </c:spPr>
            <c:extLst>
              <c:ext xmlns:c16="http://schemas.microsoft.com/office/drawing/2014/chart" uri="{C3380CC4-5D6E-409C-BE32-E72D297353CC}">
                <c16:uniqueId val="{00000E77-7BE2-49F1-B47F-64DDA7BF3F9D}"/>
              </c:ext>
            </c:extLst>
          </c:dPt>
          <c:dPt>
            <c:idx val="1851"/>
            <c:invertIfNegative val="1"/>
            <c:bubble3D val="0"/>
            <c:spPr>
              <a:solidFill>
                <a:srgbClr val="AEABAB"/>
              </a:solidFill>
            </c:spPr>
            <c:extLst>
              <c:ext xmlns:c16="http://schemas.microsoft.com/office/drawing/2014/chart" uri="{C3380CC4-5D6E-409C-BE32-E72D297353CC}">
                <c16:uniqueId val="{00000E79-7BE2-49F1-B47F-64DDA7BF3F9D}"/>
              </c:ext>
            </c:extLst>
          </c:dPt>
          <c:dPt>
            <c:idx val="1852"/>
            <c:invertIfNegative val="1"/>
            <c:bubble3D val="0"/>
            <c:spPr>
              <a:solidFill>
                <a:srgbClr val="AEABAB"/>
              </a:solidFill>
            </c:spPr>
            <c:extLst>
              <c:ext xmlns:c16="http://schemas.microsoft.com/office/drawing/2014/chart" uri="{C3380CC4-5D6E-409C-BE32-E72D297353CC}">
                <c16:uniqueId val="{00000E7B-7BE2-49F1-B47F-64DDA7BF3F9D}"/>
              </c:ext>
            </c:extLst>
          </c:dPt>
          <c:dPt>
            <c:idx val="1853"/>
            <c:invertIfNegative val="1"/>
            <c:bubble3D val="0"/>
            <c:spPr>
              <a:solidFill>
                <a:srgbClr val="AEABAB"/>
              </a:solidFill>
            </c:spPr>
            <c:extLst>
              <c:ext xmlns:c16="http://schemas.microsoft.com/office/drawing/2014/chart" uri="{C3380CC4-5D6E-409C-BE32-E72D297353CC}">
                <c16:uniqueId val="{00000E7D-7BE2-49F1-B47F-64DDA7BF3F9D}"/>
              </c:ext>
            </c:extLst>
          </c:dPt>
          <c:dPt>
            <c:idx val="1854"/>
            <c:invertIfNegative val="1"/>
            <c:bubble3D val="0"/>
            <c:spPr>
              <a:solidFill>
                <a:srgbClr val="AEABAB"/>
              </a:solidFill>
            </c:spPr>
            <c:extLst>
              <c:ext xmlns:c16="http://schemas.microsoft.com/office/drawing/2014/chart" uri="{C3380CC4-5D6E-409C-BE32-E72D297353CC}">
                <c16:uniqueId val="{00000E7F-7BE2-49F1-B47F-64DDA7BF3F9D}"/>
              </c:ext>
            </c:extLst>
          </c:dPt>
          <c:dPt>
            <c:idx val="1855"/>
            <c:invertIfNegative val="1"/>
            <c:bubble3D val="0"/>
            <c:spPr>
              <a:solidFill>
                <a:srgbClr val="AEABAB"/>
              </a:solidFill>
            </c:spPr>
            <c:extLst>
              <c:ext xmlns:c16="http://schemas.microsoft.com/office/drawing/2014/chart" uri="{C3380CC4-5D6E-409C-BE32-E72D297353CC}">
                <c16:uniqueId val="{00000E81-7BE2-49F1-B47F-64DDA7BF3F9D}"/>
              </c:ext>
            </c:extLst>
          </c:dPt>
          <c:dPt>
            <c:idx val="1856"/>
            <c:invertIfNegative val="1"/>
            <c:bubble3D val="0"/>
            <c:spPr>
              <a:solidFill>
                <a:srgbClr val="AEABAB"/>
              </a:solidFill>
            </c:spPr>
            <c:extLst>
              <c:ext xmlns:c16="http://schemas.microsoft.com/office/drawing/2014/chart" uri="{C3380CC4-5D6E-409C-BE32-E72D297353CC}">
                <c16:uniqueId val="{00000E83-7BE2-49F1-B47F-64DDA7BF3F9D}"/>
              </c:ext>
            </c:extLst>
          </c:dPt>
          <c:dPt>
            <c:idx val="1857"/>
            <c:invertIfNegative val="1"/>
            <c:bubble3D val="0"/>
            <c:spPr>
              <a:solidFill>
                <a:srgbClr val="AEABAB"/>
              </a:solidFill>
            </c:spPr>
            <c:extLst>
              <c:ext xmlns:c16="http://schemas.microsoft.com/office/drawing/2014/chart" uri="{C3380CC4-5D6E-409C-BE32-E72D297353CC}">
                <c16:uniqueId val="{00000E85-7BE2-49F1-B47F-64DDA7BF3F9D}"/>
              </c:ext>
            </c:extLst>
          </c:dPt>
          <c:dPt>
            <c:idx val="1858"/>
            <c:invertIfNegative val="1"/>
            <c:bubble3D val="0"/>
            <c:spPr>
              <a:solidFill>
                <a:srgbClr val="AEABAB"/>
              </a:solidFill>
            </c:spPr>
            <c:extLst>
              <c:ext xmlns:c16="http://schemas.microsoft.com/office/drawing/2014/chart" uri="{C3380CC4-5D6E-409C-BE32-E72D297353CC}">
                <c16:uniqueId val="{00000E87-7BE2-49F1-B47F-64DDA7BF3F9D}"/>
              </c:ext>
            </c:extLst>
          </c:dPt>
          <c:dPt>
            <c:idx val="1859"/>
            <c:invertIfNegative val="1"/>
            <c:bubble3D val="0"/>
            <c:spPr>
              <a:solidFill>
                <a:srgbClr val="AEABAB"/>
              </a:solidFill>
            </c:spPr>
            <c:extLst>
              <c:ext xmlns:c16="http://schemas.microsoft.com/office/drawing/2014/chart" uri="{C3380CC4-5D6E-409C-BE32-E72D297353CC}">
                <c16:uniqueId val="{00000E89-7BE2-49F1-B47F-64DDA7BF3F9D}"/>
              </c:ext>
            </c:extLst>
          </c:dPt>
          <c:dPt>
            <c:idx val="1860"/>
            <c:invertIfNegative val="1"/>
            <c:bubble3D val="0"/>
            <c:spPr>
              <a:solidFill>
                <a:srgbClr val="AEABAB"/>
              </a:solidFill>
            </c:spPr>
            <c:extLst>
              <c:ext xmlns:c16="http://schemas.microsoft.com/office/drawing/2014/chart" uri="{C3380CC4-5D6E-409C-BE32-E72D297353CC}">
                <c16:uniqueId val="{00000E8B-7BE2-49F1-B47F-64DDA7BF3F9D}"/>
              </c:ext>
            </c:extLst>
          </c:dPt>
          <c:dPt>
            <c:idx val="1861"/>
            <c:invertIfNegative val="1"/>
            <c:bubble3D val="0"/>
            <c:spPr>
              <a:solidFill>
                <a:srgbClr val="AEABAB"/>
              </a:solidFill>
            </c:spPr>
            <c:extLst>
              <c:ext xmlns:c16="http://schemas.microsoft.com/office/drawing/2014/chart" uri="{C3380CC4-5D6E-409C-BE32-E72D297353CC}">
                <c16:uniqueId val="{00000E8D-7BE2-49F1-B47F-64DDA7BF3F9D}"/>
              </c:ext>
            </c:extLst>
          </c:dPt>
          <c:dPt>
            <c:idx val="1862"/>
            <c:invertIfNegative val="1"/>
            <c:bubble3D val="0"/>
            <c:spPr>
              <a:solidFill>
                <a:srgbClr val="AEABAB"/>
              </a:solidFill>
            </c:spPr>
            <c:extLst>
              <c:ext xmlns:c16="http://schemas.microsoft.com/office/drawing/2014/chart" uri="{C3380CC4-5D6E-409C-BE32-E72D297353CC}">
                <c16:uniqueId val="{00000E8F-7BE2-49F1-B47F-64DDA7BF3F9D}"/>
              </c:ext>
            </c:extLst>
          </c:dPt>
          <c:dPt>
            <c:idx val="1863"/>
            <c:invertIfNegative val="1"/>
            <c:bubble3D val="0"/>
            <c:spPr>
              <a:solidFill>
                <a:srgbClr val="AEABAB"/>
              </a:solidFill>
            </c:spPr>
            <c:extLst>
              <c:ext xmlns:c16="http://schemas.microsoft.com/office/drawing/2014/chart" uri="{C3380CC4-5D6E-409C-BE32-E72D297353CC}">
                <c16:uniqueId val="{00000E91-7BE2-49F1-B47F-64DDA7BF3F9D}"/>
              </c:ext>
            </c:extLst>
          </c:dPt>
          <c:dPt>
            <c:idx val="1864"/>
            <c:invertIfNegative val="1"/>
            <c:bubble3D val="0"/>
            <c:spPr>
              <a:solidFill>
                <a:srgbClr val="AEABAB"/>
              </a:solidFill>
            </c:spPr>
            <c:extLst>
              <c:ext xmlns:c16="http://schemas.microsoft.com/office/drawing/2014/chart" uri="{C3380CC4-5D6E-409C-BE32-E72D297353CC}">
                <c16:uniqueId val="{00000E93-7BE2-49F1-B47F-64DDA7BF3F9D}"/>
              </c:ext>
            </c:extLst>
          </c:dPt>
          <c:dPt>
            <c:idx val="1865"/>
            <c:invertIfNegative val="1"/>
            <c:bubble3D val="0"/>
            <c:spPr>
              <a:solidFill>
                <a:srgbClr val="AEABAB"/>
              </a:solidFill>
            </c:spPr>
            <c:extLst>
              <c:ext xmlns:c16="http://schemas.microsoft.com/office/drawing/2014/chart" uri="{C3380CC4-5D6E-409C-BE32-E72D297353CC}">
                <c16:uniqueId val="{00000E95-7BE2-49F1-B47F-64DDA7BF3F9D}"/>
              </c:ext>
            </c:extLst>
          </c:dPt>
          <c:dPt>
            <c:idx val="1866"/>
            <c:invertIfNegative val="1"/>
            <c:bubble3D val="0"/>
            <c:spPr>
              <a:solidFill>
                <a:srgbClr val="AEABAB"/>
              </a:solidFill>
            </c:spPr>
            <c:extLst>
              <c:ext xmlns:c16="http://schemas.microsoft.com/office/drawing/2014/chart" uri="{C3380CC4-5D6E-409C-BE32-E72D297353CC}">
                <c16:uniqueId val="{00000E97-7BE2-49F1-B47F-64DDA7BF3F9D}"/>
              </c:ext>
            </c:extLst>
          </c:dPt>
          <c:dPt>
            <c:idx val="1867"/>
            <c:invertIfNegative val="1"/>
            <c:bubble3D val="0"/>
            <c:spPr>
              <a:solidFill>
                <a:srgbClr val="AEABAB"/>
              </a:solidFill>
            </c:spPr>
            <c:extLst>
              <c:ext xmlns:c16="http://schemas.microsoft.com/office/drawing/2014/chart" uri="{C3380CC4-5D6E-409C-BE32-E72D297353CC}">
                <c16:uniqueId val="{00000E99-7BE2-49F1-B47F-64DDA7BF3F9D}"/>
              </c:ext>
            </c:extLst>
          </c:dPt>
          <c:dPt>
            <c:idx val="1868"/>
            <c:invertIfNegative val="1"/>
            <c:bubble3D val="0"/>
            <c:spPr>
              <a:solidFill>
                <a:srgbClr val="AEABAB"/>
              </a:solidFill>
            </c:spPr>
            <c:extLst>
              <c:ext xmlns:c16="http://schemas.microsoft.com/office/drawing/2014/chart" uri="{C3380CC4-5D6E-409C-BE32-E72D297353CC}">
                <c16:uniqueId val="{00000E9B-7BE2-49F1-B47F-64DDA7BF3F9D}"/>
              </c:ext>
            </c:extLst>
          </c:dPt>
          <c:dPt>
            <c:idx val="1869"/>
            <c:invertIfNegative val="1"/>
            <c:bubble3D val="0"/>
            <c:spPr>
              <a:solidFill>
                <a:srgbClr val="AEABAB"/>
              </a:solidFill>
            </c:spPr>
            <c:extLst>
              <c:ext xmlns:c16="http://schemas.microsoft.com/office/drawing/2014/chart" uri="{C3380CC4-5D6E-409C-BE32-E72D297353CC}">
                <c16:uniqueId val="{00000E9D-7BE2-49F1-B47F-64DDA7BF3F9D}"/>
              </c:ext>
            </c:extLst>
          </c:dPt>
          <c:dPt>
            <c:idx val="1870"/>
            <c:invertIfNegative val="1"/>
            <c:bubble3D val="0"/>
            <c:spPr>
              <a:solidFill>
                <a:srgbClr val="AEABAB"/>
              </a:solidFill>
            </c:spPr>
            <c:extLst>
              <c:ext xmlns:c16="http://schemas.microsoft.com/office/drawing/2014/chart" uri="{C3380CC4-5D6E-409C-BE32-E72D297353CC}">
                <c16:uniqueId val="{00000E9F-7BE2-49F1-B47F-64DDA7BF3F9D}"/>
              </c:ext>
            </c:extLst>
          </c:dPt>
          <c:dPt>
            <c:idx val="1871"/>
            <c:invertIfNegative val="1"/>
            <c:bubble3D val="0"/>
            <c:spPr>
              <a:solidFill>
                <a:srgbClr val="AEABAB"/>
              </a:solidFill>
            </c:spPr>
            <c:extLst>
              <c:ext xmlns:c16="http://schemas.microsoft.com/office/drawing/2014/chart" uri="{C3380CC4-5D6E-409C-BE32-E72D297353CC}">
                <c16:uniqueId val="{00000EA1-7BE2-49F1-B47F-64DDA7BF3F9D}"/>
              </c:ext>
            </c:extLst>
          </c:dPt>
          <c:dPt>
            <c:idx val="1872"/>
            <c:invertIfNegative val="1"/>
            <c:bubble3D val="0"/>
            <c:spPr>
              <a:solidFill>
                <a:srgbClr val="AEABAB"/>
              </a:solidFill>
            </c:spPr>
            <c:extLst>
              <c:ext xmlns:c16="http://schemas.microsoft.com/office/drawing/2014/chart" uri="{C3380CC4-5D6E-409C-BE32-E72D297353CC}">
                <c16:uniqueId val="{00000EA3-7BE2-49F1-B47F-64DDA7BF3F9D}"/>
              </c:ext>
            </c:extLst>
          </c:dPt>
          <c:dPt>
            <c:idx val="1873"/>
            <c:invertIfNegative val="1"/>
            <c:bubble3D val="0"/>
            <c:spPr>
              <a:solidFill>
                <a:srgbClr val="AEABAB"/>
              </a:solidFill>
            </c:spPr>
            <c:extLst>
              <c:ext xmlns:c16="http://schemas.microsoft.com/office/drawing/2014/chart" uri="{C3380CC4-5D6E-409C-BE32-E72D297353CC}">
                <c16:uniqueId val="{00000EA5-7BE2-49F1-B47F-64DDA7BF3F9D}"/>
              </c:ext>
            </c:extLst>
          </c:dPt>
          <c:dPt>
            <c:idx val="1874"/>
            <c:invertIfNegative val="1"/>
            <c:bubble3D val="0"/>
            <c:spPr>
              <a:solidFill>
                <a:srgbClr val="AEABAB"/>
              </a:solidFill>
            </c:spPr>
            <c:extLst>
              <c:ext xmlns:c16="http://schemas.microsoft.com/office/drawing/2014/chart" uri="{C3380CC4-5D6E-409C-BE32-E72D297353CC}">
                <c16:uniqueId val="{00000EA7-7BE2-49F1-B47F-64DDA7BF3F9D}"/>
              </c:ext>
            </c:extLst>
          </c:dPt>
          <c:dPt>
            <c:idx val="1875"/>
            <c:invertIfNegative val="1"/>
            <c:bubble3D val="0"/>
            <c:spPr>
              <a:solidFill>
                <a:srgbClr val="AEABAB"/>
              </a:solidFill>
            </c:spPr>
            <c:extLst>
              <c:ext xmlns:c16="http://schemas.microsoft.com/office/drawing/2014/chart" uri="{C3380CC4-5D6E-409C-BE32-E72D297353CC}">
                <c16:uniqueId val="{00000EA9-7BE2-49F1-B47F-64DDA7BF3F9D}"/>
              </c:ext>
            </c:extLst>
          </c:dPt>
          <c:dPt>
            <c:idx val="1876"/>
            <c:invertIfNegative val="1"/>
            <c:bubble3D val="0"/>
            <c:spPr>
              <a:solidFill>
                <a:srgbClr val="AEABAB"/>
              </a:solidFill>
            </c:spPr>
            <c:extLst>
              <c:ext xmlns:c16="http://schemas.microsoft.com/office/drawing/2014/chart" uri="{C3380CC4-5D6E-409C-BE32-E72D297353CC}">
                <c16:uniqueId val="{00000EAB-7BE2-49F1-B47F-64DDA7BF3F9D}"/>
              </c:ext>
            </c:extLst>
          </c:dPt>
          <c:dPt>
            <c:idx val="1877"/>
            <c:invertIfNegative val="1"/>
            <c:bubble3D val="0"/>
            <c:spPr>
              <a:solidFill>
                <a:srgbClr val="AEABAB"/>
              </a:solidFill>
            </c:spPr>
            <c:extLst>
              <c:ext xmlns:c16="http://schemas.microsoft.com/office/drawing/2014/chart" uri="{C3380CC4-5D6E-409C-BE32-E72D297353CC}">
                <c16:uniqueId val="{00000EAD-7BE2-49F1-B47F-64DDA7BF3F9D}"/>
              </c:ext>
            </c:extLst>
          </c:dPt>
          <c:dPt>
            <c:idx val="1878"/>
            <c:invertIfNegative val="1"/>
            <c:bubble3D val="0"/>
            <c:spPr>
              <a:solidFill>
                <a:srgbClr val="AEABAB"/>
              </a:solidFill>
            </c:spPr>
            <c:extLst>
              <c:ext xmlns:c16="http://schemas.microsoft.com/office/drawing/2014/chart" uri="{C3380CC4-5D6E-409C-BE32-E72D297353CC}">
                <c16:uniqueId val="{00000EAF-7BE2-49F1-B47F-64DDA7BF3F9D}"/>
              </c:ext>
            </c:extLst>
          </c:dPt>
          <c:dPt>
            <c:idx val="1879"/>
            <c:invertIfNegative val="1"/>
            <c:bubble3D val="0"/>
            <c:spPr>
              <a:solidFill>
                <a:srgbClr val="AEABAB"/>
              </a:solidFill>
            </c:spPr>
            <c:extLst>
              <c:ext xmlns:c16="http://schemas.microsoft.com/office/drawing/2014/chart" uri="{C3380CC4-5D6E-409C-BE32-E72D297353CC}">
                <c16:uniqueId val="{00000EB1-7BE2-49F1-B47F-64DDA7BF3F9D}"/>
              </c:ext>
            </c:extLst>
          </c:dPt>
          <c:dPt>
            <c:idx val="1880"/>
            <c:invertIfNegative val="1"/>
            <c:bubble3D val="0"/>
            <c:spPr>
              <a:solidFill>
                <a:srgbClr val="AEABAB"/>
              </a:solidFill>
            </c:spPr>
            <c:extLst>
              <c:ext xmlns:c16="http://schemas.microsoft.com/office/drawing/2014/chart" uri="{C3380CC4-5D6E-409C-BE32-E72D297353CC}">
                <c16:uniqueId val="{00000EB3-7BE2-49F1-B47F-64DDA7BF3F9D}"/>
              </c:ext>
            </c:extLst>
          </c:dPt>
          <c:dPt>
            <c:idx val="1881"/>
            <c:invertIfNegative val="1"/>
            <c:bubble3D val="0"/>
            <c:spPr>
              <a:solidFill>
                <a:srgbClr val="AEABAB"/>
              </a:solidFill>
            </c:spPr>
            <c:extLst>
              <c:ext xmlns:c16="http://schemas.microsoft.com/office/drawing/2014/chart" uri="{C3380CC4-5D6E-409C-BE32-E72D297353CC}">
                <c16:uniqueId val="{00000EB5-7BE2-49F1-B47F-64DDA7BF3F9D}"/>
              </c:ext>
            </c:extLst>
          </c:dPt>
          <c:dPt>
            <c:idx val="1882"/>
            <c:invertIfNegative val="1"/>
            <c:bubble3D val="0"/>
            <c:spPr>
              <a:solidFill>
                <a:srgbClr val="AEABAB"/>
              </a:solidFill>
            </c:spPr>
            <c:extLst>
              <c:ext xmlns:c16="http://schemas.microsoft.com/office/drawing/2014/chart" uri="{C3380CC4-5D6E-409C-BE32-E72D297353CC}">
                <c16:uniqueId val="{00000EB7-7BE2-49F1-B47F-64DDA7BF3F9D}"/>
              </c:ext>
            </c:extLst>
          </c:dPt>
          <c:dPt>
            <c:idx val="1883"/>
            <c:invertIfNegative val="1"/>
            <c:bubble3D val="0"/>
            <c:spPr>
              <a:solidFill>
                <a:srgbClr val="AEABAB"/>
              </a:solidFill>
            </c:spPr>
            <c:extLst>
              <c:ext xmlns:c16="http://schemas.microsoft.com/office/drawing/2014/chart" uri="{C3380CC4-5D6E-409C-BE32-E72D297353CC}">
                <c16:uniqueId val="{00000EB9-7BE2-49F1-B47F-64DDA7BF3F9D}"/>
              </c:ext>
            </c:extLst>
          </c:dPt>
          <c:dPt>
            <c:idx val="1884"/>
            <c:invertIfNegative val="1"/>
            <c:bubble3D val="0"/>
            <c:spPr>
              <a:solidFill>
                <a:srgbClr val="AEABAB"/>
              </a:solidFill>
            </c:spPr>
            <c:extLst>
              <c:ext xmlns:c16="http://schemas.microsoft.com/office/drawing/2014/chart" uri="{C3380CC4-5D6E-409C-BE32-E72D297353CC}">
                <c16:uniqueId val="{00000EBB-7BE2-49F1-B47F-64DDA7BF3F9D}"/>
              </c:ext>
            </c:extLst>
          </c:dPt>
          <c:dPt>
            <c:idx val="1885"/>
            <c:invertIfNegative val="1"/>
            <c:bubble3D val="0"/>
            <c:spPr>
              <a:solidFill>
                <a:srgbClr val="AEABAB"/>
              </a:solidFill>
            </c:spPr>
            <c:extLst>
              <c:ext xmlns:c16="http://schemas.microsoft.com/office/drawing/2014/chart" uri="{C3380CC4-5D6E-409C-BE32-E72D297353CC}">
                <c16:uniqueId val="{00000EBD-7BE2-49F1-B47F-64DDA7BF3F9D}"/>
              </c:ext>
            </c:extLst>
          </c:dPt>
          <c:dPt>
            <c:idx val="1886"/>
            <c:invertIfNegative val="1"/>
            <c:bubble3D val="0"/>
            <c:spPr>
              <a:solidFill>
                <a:srgbClr val="AEABAB"/>
              </a:solidFill>
            </c:spPr>
            <c:extLst>
              <c:ext xmlns:c16="http://schemas.microsoft.com/office/drawing/2014/chart" uri="{C3380CC4-5D6E-409C-BE32-E72D297353CC}">
                <c16:uniqueId val="{00000EBF-7BE2-49F1-B47F-64DDA7BF3F9D}"/>
              </c:ext>
            </c:extLst>
          </c:dPt>
          <c:dPt>
            <c:idx val="1887"/>
            <c:invertIfNegative val="1"/>
            <c:bubble3D val="0"/>
            <c:spPr>
              <a:solidFill>
                <a:srgbClr val="AEABAB"/>
              </a:solidFill>
            </c:spPr>
            <c:extLst>
              <c:ext xmlns:c16="http://schemas.microsoft.com/office/drawing/2014/chart" uri="{C3380CC4-5D6E-409C-BE32-E72D297353CC}">
                <c16:uniqueId val="{00000EC1-7BE2-49F1-B47F-64DDA7BF3F9D}"/>
              </c:ext>
            </c:extLst>
          </c:dPt>
          <c:dPt>
            <c:idx val="1888"/>
            <c:invertIfNegative val="1"/>
            <c:bubble3D val="0"/>
            <c:spPr>
              <a:solidFill>
                <a:srgbClr val="AEABAB"/>
              </a:solidFill>
            </c:spPr>
            <c:extLst>
              <c:ext xmlns:c16="http://schemas.microsoft.com/office/drawing/2014/chart" uri="{C3380CC4-5D6E-409C-BE32-E72D297353CC}">
                <c16:uniqueId val="{00000EC3-7BE2-49F1-B47F-64DDA7BF3F9D}"/>
              </c:ext>
            </c:extLst>
          </c:dPt>
          <c:dPt>
            <c:idx val="1889"/>
            <c:invertIfNegative val="1"/>
            <c:bubble3D val="0"/>
            <c:spPr>
              <a:solidFill>
                <a:srgbClr val="AEABAB"/>
              </a:solidFill>
            </c:spPr>
            <c:extLst>
              <c:ext xmlns:c16="http://schemas.microsoft.com/office/drawing/2014/chart" uri="{C3380CC4-5D6E-409C-BE32-E72D297353CC}">
                <c16:uniqueId val="{00000EC5-7BE2-49F1-B47F-64DDA7BF3F9D}"/>
              </c:ext>
            </c:extLst>
          </c:dPt>
          <c:dPt>
            <c:idx val="1890"/>
            <c:invertIfNegative val="1"/>
            <c:bubble3D val="0"/>
            <c:spPr>
              <a:solidFill>
                <a:srgbClr val="AEABAB"/>
              </a:solidFill>
            </c:spPr>
            <c:extLst>
              <c:ext xmlns:c16="http://schemas.microsoft.com/office/drawing/2014/chart" uri="{C3380CC4-5D6E-409C-BE32-E72D297353CC}">
                <c16:uniqueId val="{00000EC7-7BE2-49F1-B47F-64DDA7BF3F9D}"/>
              </c:ext>
            </c:extLst>
          </c:dPt>
          <c:dPt>
            <c:idx val="1891"/>
            <c:invertIfNegative val="1"/>
            <c:bubble3D val="0"/>
            <c:spPr>
              <a:solidFill>
                <a:srgbClr val="AEABAB"/>
              </a:solidFill>
            </c:spPr>
            <c:extLst>
              <c:ext xmlns:c16="http://schemas.microsoft.com/office/drawing/2014/chart" uri="{C3380CC4-5D6E-409C-BE32-E72D297353CC}">
                <c16:uniqueId val="{00000EC9-7BE2-49F1-B47F-64DDA7BF3F9D}"/>
              </c:ext>
            </c:extLst>
          </c:dPt>
          <c:dPt>
            <c:idx val="1892"/>
            <c:invertIfNegative val="1"/>
            <c:bubble3D val="0"/>
            <c:spPr>
              <a:solidFill>
                <a:srgbClr val="AEABAB"/>
              </a:solidFill>
            </c:spPr>
            <c:extLst>
              <c:ext xmlns:c16="http://schemas.microsoft.com/office/drawing/2014/chart" uri="{C3380CC4-5D6E-409C-BE32-E72D297353CC}">
                <c16:uniqueId val="{00000ECB-7BE2-49F1-B47F-64DDA7BF3F9D}"/>
              </c:ext>
            </c:extLst>
          </c:dPt>
          <c:dPt>
            <c:idx val="1893"/>
            <c:invertIfNegative val="1"/>
            <c:bubble3D val="0"/>
            <c:spPr>
              <a:solidFill>
                <a:srgbClr val="AEABAB"/>
              </a:solidFill>
            </c:spPr>
            <c:extLst>
              <c:ext xmlns:c16="http://schemas.microsoft.com/office/drawing/2014/chart" uri="{C3380CC4-5D6E-409C-BE32-E72D297353CC}">
                <c16:uniqueId val="{00000ECD-7BE2-49F1-B47F-64DDA7BF3F9D}"/>
              </c:ext>
            </c:extLst>
          </c:dPt>
          <c:dPt>
            <c:idx val="1894"/>
            <c:invertIfNegative val="1"/>
            <c:bubble3D val="0"/>
            <c:spPr>
              <a:solidFill>
                <a:srgbClr val="AEABAB"/>
              </a:solidFill>
            </c:spPr>
            <c:extLst>
              <c:ext xmlns:c16="http://schemas.microsoft.com/office/drawing/2014/chart" uri="{C3380CC4-5D6E-409C-BE32-E72D297353CC}">
                <c16:uniqueId val="{00000ECF-7BE2-49F1-B47F-64DDA7BF3F9D}"/>
              </c:ext>
            </c:extLst>
          </c:dPt>
          <c:dPt>
            <c:idx val="1895"/>
            <c:invertIfNegative val="1"/>
            <c:bubble3D val="0"/>
            <c:spPr>
              <a:solidFill>
                <a:srgbClr val="AEABAB"/>
              </a:solidFill>
            </c:spPr>
            <c:extLst>
              <c:ext xmlns:c16="http://schemas.microsoft.com/office/drawing/2014/chart" uri="{C3380CC4-5D6E-409C-BE32-E72D297353CC}">
                <c16:uniqueId val="{00000ED1-7BE2-49F1-B47F-64DDA7BF3F9D}"/>
              </c:ext>
            </c:extLst>
          </c:dPt>
          <c:dPt>
            <c:idx val="1896"/>
            <c:invertIfNegative val="1"/>
            <c:bubble3D val="0"/>
            <c:spPr>
              <a:solidFill>
                <a:srgbClr val="AEABAB"/>
              </a:solidFill>
            </c:spPr>
            <c:extLst>
              <c:ext xmlns:c16="http://schemas.microsoft.com/office/drawing/2014/chart" uri="{C3380CC4-5D6E-409C-BE32-E72D297353CC}">
                <c16:uniqueId val="{00000ED3-7BE2-49F1-B47F-64DDA7BF3F9D}"/>
              </c:ext>
            </c:extLst>
          </c:dPt>
          <c:dPt>
            <c:idx val="1897"/>
            <c:invertIfNegative val="1"/>
            <c:bubble3D val="0"/>
            <c:spPr>
              <a:solidFill>
                <a:srgbClr val="AEABAB"/>
              </a:solidFill>
            </c:spPr>
            <c:extLst>
              <c:ext xmlns:c16="http://schemas.microsoft.com/office/drawing/2014/chart" uri="{C3380CC4-5D6E-409C-BE32-E72D297353CC}">
                <c16:uniqueId val="{00000ED5-7BE2-49F1-B47F-64DDA7BF3F9D}"/>
              </c:ext>
            </c:extLst>
          </c:dPt>
          <c:dPt>
            <c:idx val="1898"/>
            <c:invertIfNegative val="1"/>
            <c:bubble3D val="0"/>
            <c:spPr>
              <a:solidFill>
                <a:srgbClr val="AEABAB"/>
              </a:solidFill>
            </c:spPr>
            <c:extLst>
              <c:ext xmlns:c16="http://schemas.microsoft.com/office/drawing/2014/chart" uri="{C3380CC4-5D6E-409C-BE32-E72D297353CC}">
                <c16:uniqueId val="{00000ED7-7BE2-49F1-B47F-64DDA7BF3F9D}"/>
              </c:ext>
            </c:extLst>
          </c:dPt>
          <c:dPt>
            <c:idx val="1899"/>
            <c:invertIfNegative val="1"/>
            <c:bubble3D val="0"/>
            <c:spPr>
              <a:solidFill>
                <a:srgbClr val="AEABAB"/>
              </a:solidFill>
            </c:spPr>
            <c:extLst>
              <c:ext xmlns:c16="http://schemas.microsoft.com/office/drawing/2014/chart" uri="{C3380CC4-5D6E-409C-BE32-E72D297353CC}">
                <c16:uniqueId val="{00000ED9-7BE2-49F1-B47F-64DDA7BF3F9D}"/>
              </c:ext>
            </c:extLst>
          </c:dPt>
          <c:dPt>
            <c:idx val="1900"/>
            <c:invertIfNegative val="1"/>
            <c:bubble3D val="0"/>
            <c:spPr>
              <a:solidFill>
                <a:srgbClr val="AEABAB"/>
              </a:solidFill>
            </c:spPr>
            <c:extLst>
              <c:ext xmlns:c16="http://schemas.microsoft.com/office/drawing/2014/chart" uri="{C3380CC4-5D6E-409C-BE32-E72D297353CC}">
                <c16:uniqueId val="{00000EDB-7BE2-49F1-B47F-64DDA7BF3F9D}"/>
              </c:ext>
            </c:extLst>
          </c:dPt>
          <c:dPt>
            <c:idx val="1901"/>
            <c:invertIfNegative val="1"/>
            <c:bubble3D val="0"/>
            <c:spPr>
              <a:solidFill>
                <a:srgbClr val="AEABAB"/>
              </a:solidFill>
            </c:spPr>
            <c:extLst>
              <c:ext xmlns:c16="http://schemas.microsoft.com/office/drawing/2014/chart" uri="{C3380CC4-5D6E-409C-BE32-E72D297353CC}">
                <c16:uniqueId val="{00000EDD-7BE2-49F1-B47F-64DDA7BF3F9D}"/>
              </c:ext>
            </c:extLst>
          </c:dPt>
          <c:dPt>
            <c:idx val="1902"/>
            <c:invertIfNegative val="1"/>
            <c:bubble3D val="0"/>
            <c:spPr>
              <a:solidFill>
                <a:srgbClr val="AEABAB"/>
              </a:solidFill>
            </c:spPr>
            <c:extLst>
              <c:ext xmlns:c16="http://schemas.microsoft.com/office/drawing/2014/chart" uri="{C3380CC4-5D6E-409C-BE32-E72D297353CC}">
                <c16:uniqueId val="{00000EDF-7BE2-49F1-B47F-64DDA7BF3F9D}"/>
              </c:ext>
            </c:extLst>
          </c:dPt>
          <c:dPt>
            <c:idx val="1903"/>
            <c:invertIfNegative val="1"/>
            <c:bubble3D val="0"/>
            <c:spPr>
              <a:solidFill>
                <a:srgbClr val="AEABAB"/>
              </a:solidFill>
            </c:spPr>
            <c:extLst>
              <c:ext xmlns:c16="http://schemas.microsoft.com/office/drawing/2014/chart" uri="{C3380CC4-5D6E-409C-BE32-E72D297353CC}">
                <c16:uniqueId val="{00000EE1-7BE2-49F1-B47F-64DDA7BF3F9D}"/>
              </c:ext>
            </c:extLst>
          </c:dPt>
          <c:dPt>
            <c:idx val="1904"/>
            <c:invertIfNegative val="1"/>
            <c:bubble3D val="0"/>
            <c:spPr>
              <a:solidFill>
                <a:srgbClr val="AEABAB"/>
              </a:solidFill>
            </c:spPr>
            <c:extLst>
              <c:ext xmlns:c16="http://schemas.microsoft.com/office/drawing/2014/chart" uri="{C3380CC4-5D6E-409C-BE32-E72D297353CC}">
                <c16:uniqueId val="{00000EE3-7BE2-49F1-B47F-64DDA7BF3F9D}"/>
              </c:ext>
            </c:extLst>
          </c:dPt>
          <c:dPt>
            <c:idx val="1905"/>
            <c:invertIfNegative val="1"/>
            <c:bubble3D val="0"/>
            <c:spPr>
              <a:solidFill>
                <a:srgbClr val="AEABAB"/>
              </a:solidFill>
            </c:spPr>
            <c:extLst>
              <c:ext xmlns:c16="http://schemas.microsoft.com/office/drawing/2014/chart" uri="{C3380CC4-5D6E-409C-BE32-E72D297353CC}">
                <c16:uniqueId val="{00000EE5-7BE2-49F1-B47F-64DDA7BF3F9D}"/>
              </c:ext>
            </c:extLst>
          </c:dPt>
          <c:dPt>
            <c:idx val="1906"/>
            <c:invertIfNegative val="1"/>
            <c:bubble3D val="0"/>
            <c:spPr>
              <a:solidFill>
                <a:srgbClr val="AEABAB"/>
              </a:solidFill>
            </c:spPr>
            <c:extLst>
              <c:ext xmlns:c16="http://schemas.microsoft.com/office/drawing/2014/chart" uri="{C3380CC4-5D6E-409C-BE32-E72D297353CC}">
                <c16:uniqueId val="{00000EE7-7BE2-49F1-B47F-64DDA7BF3F9D}"/>
              </c:ext>
            </c:extLst>
          </c:dPt>
          <c:dPt>
            <c:idx val="1907"/>
            <c:invertIfNegative val="1"/>
            <c:bubble3D val="0"/>
            <c:spPr>
              <a:solidFill>
                <a:srgbClr val="AEABAB"/>
              </a:solidFill>
            </c:spPr>
            <c:extLst>
              <c:ext xmlns:c16="http://schemas.microsoft.com/office/drawing/2014/chart" uri="{C3380CC4-5D6E-409C-BE32-E72D297353CC}">
                <c16:uniqueId val="{00000EE9-7BE2-49F1-B47F-64DDA7BF3F9D}"/>
              </c:ext>
            </c:extLst>
          </c:dPt>
          <c:dPt>
            <c:idx val="1908"/>
            <c:invertIfNegative val="1"/>
            <c:bubble3D val="0"/>
            <c:spPr>
              <a:solidFill>
                <a:srgbClr val="AEABAB"/>
              </a:solidFill>
            </c:spPr>
            <c:extLst>
              <c:ext xmlns:c16="http://schemas.microsoft.com/office/drawing/2014/chart" uri="{C3380CC4-5D6E-409C-BE32-E72D297353CC}">
                <c16:uniqueId val="{00000EEB-7BE2-49F1-B47F-64DDA7BF3F9D}"/>
              </c:ext>
            </c:extLst>
          </c:dPt>
          <c:dPt>
            <c:idx val="1909"/>
            <c:invertIfNegative val="1"/>
            <c:bubble3D val="0"/>
            <c:spPr>
              <a:solidFill>
                <a:srgbClr val="AEABAB"/>
              </a:solidFill>
            </c:spPr>
            <c:extLst>
              <c:ext xmlns:c16="http://schemas.microsoft.com/office/drawing/2014/chart" uri="{C3380CC4-5D6E-409C-BE32-E72D297353CC}">
                <c16:uniqueId val="{00000EED-7BE2-49F1-B47F-64DDA7BF3F9D}"/>
              </c:ext>
            </c:extLst>
          </c:dPt>
          <c:dPt>
            <c:idx val="1910"/>
            <c:invertIfNegative val="1"/>
            <c:bubble3D val="0"/>
            <c:spPr>
              <a:solidFill>
                <a:srgbClr val="AEABAB"/>
              </a:solidFill>
            </c:spPr>
            <c:extLst>
              <c:ext xmlns:c16="http://schemas.microsoft.com/office/drawing/2014/chart" uri="{C3380CC4-5D6E-409C-BE32-E72D297353CC}">
                <c16:uniqueId val="{00000EEF-7BE2-49F1-B47F-64DDA7BF3F9D}"/>
              </c:ext>
            </c:extLst>
          </c:dPt>
          <c:dPt>
            <c:idx val="1911"/>
            <c:invertIfNegative val="1"/>
            <c:bubble3D val="0"/>
            <c:spPr>
              <a:solidFill>
                <a:srgbClr val="AEABAB"/>
              </a:solidFill>
            </c:spPr>
            <c:extLst>
              <c:ext xmlns:c16="http://schemas.microsoft.com/office/drawing/2014/chart" uri="{C3380CC4-5D6E-409C-BE32-E72D297353CC}">
                <c16:uniqueId val="{00000EF1-7BE2-49F1-B47F-64DDA7BF3F9D}"/>
              </c:ext>
            </c:extLst>
          </c:dPt>
          <c:dPt>
            <c:idx val="1912"/>
            <c:invertIfNegative val="1"/>
            <c:bubble3D val="0"/>
            <c:spPr>
              <a:solidFill>
                <a:srgbClr val="AEABAB"/>
              </a:solidFill>
            </c:spPr>
            <c:extLst>
              <c:ext xmlns:c16="http://schemas.microsoft.com/office/drawing/2014/chart" uri="{C3380CC4-5D6E-409C-BE32-E72D297353CC}">
                <c16:uniqueId val="{00000EF3-7BE2-49F1-B47F-64DDA7BF3F9D}"/>
              </c:ext>
            </c:extLst>
          </c:dPt>
          <c:dPt>
            <c:idx val="1913"/>
            <c:invertIfNegative val="1"/>
            <c:bubble3D val="0"/>
            <c:spPr>
              <a:solidFill>
                <a:srgbClr val="AEABAB"/>
              </a:solidFill>
            </c:spPr>
            <c:extLst>
              <c:ext xmlns:c16="http://schemas.microsoft.com/office/drawing/2014/chart" uri="{C3380CC4-5D6E-409C-BE32-E72D297353CC}">
                <c16:uniqueId val="{00000EF5-7BE2-49F1-B47F-64DDA7BF3F9D}"/>
              </c:ext>
            </c:extLst>
          </c:dPt>
          <c:dPt>
            <c:idx val="1914"/>
            <c:invertIfNegative val="1"/>
            <c:bubble3D val="0"/>
            <c:spPr>
              <a:solidFill>
                <a:srgbClr val="AEABAB"/>
              </a:solidFill>
            </c:spPr>
            <c:extLst>
              <c:ext xmlns:c16="http://schemas.microsoft.com/office/drawing/2014/chart" uri="{C3380CC4-5D6E-409C-BE32-E72D297353CC}">
                <c16:uniqueId val="{00000EF7-7BE2-49F1-B47F-64DDA7BF3F9D}"/>
              </c:ext>
            </c:extLst>
          </c:dPt>
          <c:dPt>
            <c:idx val="1915"/>
            <c:invertIfNegative val="1"/>
            <c:bubble3D val="0"/>
            <c:spPr>
              <a:solidFill>
                <a:srgbClr val="AEABAB"/>
              </a:solidFill>
            </c:spPr>
            <c:extLst>
              <c:ext xmlns:c16="http://schemas.microsoft.com/office/drawing/2014/chart" uri="{C3380CC4-5D6E-409C-BE32-E72D297353CC}">
                <c16:uniqueId val="{00000EF9-7BE2-49F1-B47F-64DDA7BF3F9D}"/>
              </c:ext>
            </c:extLst>
          </c:dPt>
          <c:dPt>
            <c:idx val="1916"/>
            <c:invertIfNegative val="1"/>
            <c:bubble3D val="0"/>
            <c:spPr>
              <a:solidFill>
                <a:srgbClr val="AEABAB"/>
              </a:solidFill>
            </c:spPr>
            <c:extLst>
              <c:ext xmlns:c16="http://schemas.microsoft.com/office/drawing/2014/chart" uri="{C3380CC4-5D6E-409C-BE32-E72D297353CC}">
                <c16:uniqueId val="{00000EFB-7BE2-49F1-B47F-64DDA7BF3F9D}"/>
              </c:ext>
            </c:extLst>
          </c:dPt>
          <c:dPt>
            <c:idx val="1917"/>
            <c:invertIfNegative val="1"/>
            <c:bubble3D val="0"/>
            <c:spPr>
              <a:solidFill>
                <a:srgbClr val="AEABAB"/>
              </a:solidFill>
            </c:spPr>
            <c:extLst>
              <c:ext xmlns:c16="http://schemas.microsoft.com/office/drawing/2014/chart" uri="{C3380CC4-5D6E-409C-BE32-E72D297353CC}">
                <c16:uniqueId val="{00000EFD-7BE2-49F1-B47F-64DDA7BF3F9D}"/>
              </c:ext>
            </c:extLst>
          </c:dPt>
          <c:dPt>
            <c:idx val="1918"/>
            <c:invertIfNegative val="1"/>
            <c:bubble3D val="0"/>
            <c:spPr>
              <a:solidFill>
                <a:srgbClr val="AEABAB"/>
              </a:solidFill>
            </c:spPr>
            <c:extLst>
              <c:ext xmlns:c16="http://schemas.microsoft.com/office/drawing/2014/chart" uri="{C3380CC4-5D6E-409C-BE32-E72D297353CC}">
                <c16:uniqueId val="{00000EFF-7BE2-49F1-B47F-64DDA7BF3F9D}"/>
              </c:ext>
            </c:extLst>
          </c:dPt>
          <c:dPt>
            <c:idx val="1919"/>
            <c:invertIfNegative val="1"/>
            <c:bubble3D val="0"/>
            <c:spPr>
              <a:solidFill>
                <a:srgbClr val="AEABAB"/>
              </a:solidFill>
            </c:spPr>
            <c:extLst>
              <c:ext xmlns:c16="http://schemas.microsoft.com/office/drawing/2014/chart" uri="{C3380CC4-5D6E-409C-BE32-E72D297353CC}">
                <c16:uniqueId val="{00000F01-7BE2-49F1-B47F-64DDA7BF3F9D}"/>
              </c:ext>
            </c:extLst>
          </c:dPt>
          <c:dPt>
            <c:idx val="1920"/>
            <c:invertIfNegative val="1"/>
            <c:bubble3D val="0"/>
            <c:spPr>
              <a:solidFill>
                <a:srgbClr val="AEABAB"/>
              </a:solidFill>
            </c:spPr>
            <c:extLst>
              <c:ext xmlns:c16="http://schemas.microsoft.com/office/drawing/2014/chart" uri="{C3380CC4-5D6E-409C-BE32-E72D297353CC}">
                <c16:uniqueId val="{00000F03-7BE2-49F1-B47F-64DDA7BF3F9D}"/>
              </c:ext>
            </c:extLst>
          </c:dPt>
          <c:dPt>
            <c:idx val="1921"/>
            <c:invertIfNegative val="1"/>
            <c:bubble3D val="0"/>
            <c:spPr>
              <a:solidFill>
                <a:srgbClr val="AEABAB"/>
              </a:solidFill>
            </c:spPr>
            <c:extLst>
              <c:ext xmlns:c16="http://schemas.microsoft.com/office/drawing/2014/chart" uri="{C3380CC4-5D6E-409C-BE32-E72D297353CC}">
                <c16:uniqueId val="{00000F05-7BE2-49F1-B47F-64DDA7BF3F9D}"/>
              </c:ext>
            </c:extLst>
          </c:dPt>
          <c:dPt>
            <c:idx val="1922"/>
            <c:invertIfNegative val="1"/>
            <c:bubble3D val="0"/>
            <c:spPr>
              <a:solidFill>
                <a:srgbClr val="AEABAB"/>
              </a:solidFill>
            </c:spPr>
            <c:extLst>
              <c:ext xmlns:c16="http://schemas.microsoft.com/office/drawing/2014/chart" uri="{C3380CC4-5D6E-409C-BE32-E72D297353CC}">
                <c16:uniqueId val="{00000F07-7BE2-49F1-B47F-64DDA7BF3F9D}"/>
              </c:ext>
            </c:extLst>
          </c:dPt>
          <c:dPt>
            <c:idx val="1923"/>
            <c:invertIfNegative val="1"/>
            <c:bubble3D val="0"/>
            <c:spPr>
              <a:solidFill>
                <a:srgbClr val="AEABAB"/>
              </a:solidFill>
            </c:spPr>
            <c:extLst>
              <c:ext xmlns:c16="http://schemas.microsoft.com/office/drawing/2014/chart" uri="{C3380CC4-5D6E-409C-BE32-E72D297353CC}">
                <c16:uniqueId val="{00000F09-7BE2-49F1-B47F-64DDA7BF3F9D}"/>
              </c:ext>
            </c:extLst>
          </c:dPt>
          <c:dPt>
            <c:idx val="1924"/>
            <c:invertIfNegative val="1"/>
            <c:bubble3D val="0"/>
            <c:spPr>
              <a:solidFill>
                <a:srgbClr val="AEABAB"/>
              </a:solidFill>
            </c:spPr>
            <c:extLst>
              <c:ext xmlns:c16="http://schemas.microsoft.com/office/drawing/2014/chart" uri="{C3380CC4-5D6E-409C-BE32-E72D297353CC}">
                <c16:uniqueId val="{00000F0B-7BE2-49F1-B47F-64DDA7BF3F9D}"/>
              </c:ext>
            </c:extLst>
          </c:dPt>
          <c:dPt>
            <c:idx val="1925"/>
            <c:invertIfNegative val="1"/>
            <c:bubble3D val="0"/>
            <c:spPr>
              <a:solidFill>
                <a:srgbClr val="AEABAB"/>
              </a:solidFill>
            </c:spPr>
            <c:extLst>
              <c:ext xmlns:c16="http://schemas.microsoft.com/office/drawing/2014/chart" uri="{C3380CC4-5D6E-409C-BE32-E72D297353CC}">
                <c16:uniqueId val="{00000F0D-7BE2-49F1-B47F-64DDA7BF3F9D}"/>
              </c:ext>
            </c:extLst>
          </c:dPt>
          <c:dPt>
            <c:idx val="1926"/>
            <c:invertIfNegative val="1"/>
            <c:bubble3D val="0"/>
            <c:spPr>
              <a:solidFill>
                <a:srgbClr val="AEABAB"/>
              </a:solidFill>
            </c:spPr>
            <c:extLst>
              <c:ext xmlns:c16="http://schemas.microsoft.com/office/drawing/2014/chart" uri="{C3380CC4-5D6E-409C-BE32-E72D297353CC}">
                <c16:uniqueId val="{00000F0F-7BE2-49F1-B47F-64DDA7BF3F9D}"/>
              </c:ext>
            </c:extLst>
          </c:dPt>
          <c:dPt>
            <c:idx val="1927"/>
            <c:invertIfNegative val="1"/>
            <c:bubble3D val="0"/>
            <c:spPr>
              <a:solidFill>
                <a:srgbClr val="AEABAB"/>
              </a:solidFill>
            </c:spPr>
            <c:extLst>
              <c:ext xmlns:c16="http://schemas.microsoft.com/office/drawing/2014/chart" uri="{C3380CC4-5D6E-409C-BE32-E72D297353CC}">
                <c16:uniqueId val="{00000F11-7BE2-49F1-B47F-64DDA7BF3F9D}"/>
              </c:ext>
            </c:extLst>
          </c:dPt>
          <c:dPt>
            <c:idx val="1928"/>
            <c:invertIfNegative val="1"/>
            <c:bubble3D val="0"/>
            <c:spPr>
              <a:solidFill>
                <a:srgbClr val="AEABAB"/>
              </a:solidFill>
            </c:spPr>
            <c:extLst>
              <c:ext xmlns:c16="http://schemas.microsoft.com/office/drawing/2014/chart" uri="{C3380CC4-5D6E-409C-BE32-E72D297353CC}">
                <c16:uniqueId val="{00000F13-7BE2-49F1-B47F-64DDA7BF3F9D}"/>
              </c:ext>
            </c:extLst>
          </c:dPt>
          <c:dPt>
            <c:idx val="1929"/>
            <c:invertIfNegative val="1"/>
            <c:bubble3D val="0"/>
            <c:spPr>
              <a:solidFill>
                <a:srgbClr val="AEABAB"/>
              </a:solidFill>
            </c:spPr>
            <c:extLst>
              <c:ext xmlns:c16="http://schemas.microsoft.com/office/drawing/2014/chart" uri="{C3380CC4-5D6E-409C-BE32-E72D297353CC}">
                <c16:uniqueId val="{00000F15-7BE2-49F1-B47F-64DDA7BF3F9D}"/>
              </c:ext>
            </c:extLst>
          </c:dPt>
          <c:dPt>
            <c:idx val="1930"/>
            <c:invertIfNegative val="1"/>
            <c:bubble3D val="0"/>
            <c:spPr>
              <a:solidFill>
                <a:srgbClr val="AEABAB"/>
              </a:solidFill>
            </c:spPr>
            <c:extLst>
              <c:ext xmlns:c16="http://schemas.microsoft.com/office/drawing/2014/chart" uri="{C3380CC4-5D6E-409C-BE32-E72D297353CC}">
                <c16:uniqueId val="{00000F17-7BE2-49F1-B47F-64DDA7BF3F9D}"/>
              </c:ext>
            </c:extLst>
          </c:dPt>
          <c:dPt>
            <c:idx val="1931"/>
            <c:invertIfNegative val="1"/>
            <c:bubble3D val="0"/>
            <c:spPr>
              <a:solidFill>
                <a:srgbClr val="AEABAB"/>
              </a:solidFill>
            </c:spPr>
            <c:extLst>
              <c:ext xmlns:c16="http://schemas.microsoft.com/office/drawing/2014/chart" uri="{C3380CC4-5D6E-409C-BE32-E72D297353CC}">
                <c16:uniqueId val="{00000F19-7BE2-49F1-B47F-64DDA7BF3F9D}"/>
              </c:ext>
            </c:extLst>
          </c:dPt>
          <c:dPt>
            <c:idx val="1932"/>
            <c:invertIfNegative val="1"/>
            <c:bubble3D val="0"/>
            <c:spPr>
              <a:solidFill>
                <a:srgbClr val="AEABAB"/>
              </a:solidFill>
            </c:spPr>
            <c:extLst>
              <c:ext xmlns:c16="http://schemas.microsoft.com/office/drawing/2014/chart" uri="{C3380CC4-5D6E-409C-BE32-E72D297353CC}">
                <c16:uniqueId val="{00000F1B-7BE2-49F1-B47F-64DDA7BF3F9D}"/>
              </c:ext>
            </c:extLst>
          </c:dPt>
          <c:dPt>
            <c:idx val="1933"/>
            <c:invertIfNegative val="1"/>
            <c:bubble3D val="0"/>
            <c:spPr>
              <a:solidFill>
                <a:srgbClr val="AEABAB"/>
              </a:solidFill>
            </c:spPr>
            <c:extLst>
              <c:ext xmlns:c16="http://schemas.microsoft.com/office/drawing/2014/chart" uri="{C3380CC4-5D6E-409C-BE32-E72D297353CC}">
                <c16:uniqueId val="{00000F1D-7BE2-49F1-B47F-64DDA7BF3F9D}"/>
              </c:ext>
            </c:extLst>
          </c:dPt>
          <c:dPt>
            <c:idx val="1934"/>
            <c:invertIfNegative val="1"/>
            <c:bubble3D val="0"/>
            <c:spPr>
              <a:solidFill>
                <a:srgbClr val="AEABAB"/>
              </a:solidFill>
            </c:spPr>
            <c:extLst>
              <c:ext xmlns:c16="http://schemas.microsoft.com/office/drawing/2014/chart" uri="{C3380CC4-5D6E-409C-BE32-E72D297353CC}">
                <c16:uniqueId val="{00000F1F-7BE2-49F1-B47F-64DDA7BF3F9D}"/>
              </c:ext>
            </c:extLst>
          </c:dPt>
          <c:dPt>
            <c:idx val="1935"/>
            <c:invertIfNegative val="1"/>
            <c:bubble3D val="0"/>
            <c:spPr>
              <a:solidFill>
                <a:srgbClr val="AEABAB"/>
              </a:solidFill>
            </c:spPr>
            <c:extLst>
              <c:ext xmlns:c16="http://schemas.microsoft.com/office/drawing/2014/chart" uri="{C3380CC4-5D6E-409C-BE32-E72D297353CC}">
                <c16:uniqueId val="{00000F21-7BE2-49F1-B47F-64DDA7BF3F9D}"/>
              </c:ext>
            </c:extLst>
          </c:dPt>
          <c:dPt>
            <c:idx val="1936"/>
            <c:invertIfNegative val="1"/>
            <c:bubble3D val="0"/>
            <c:spPr>
              <a:solidFill>
                <a:srgbClr val="AEABAB"/>
              </a:solidFill>
            </c:spPr>
            <c:extLst>
              <c:ext xmlns:c16="http://schemas.microsoft.com/office/drawing/2014/chart" uri="{C3380CC4-5D6E-409C-BE32-E72D297353CC}">
                <c16:uniqueId val="{00000F23-7BE2-49F1-B47F-64DDA7BF3F9D}"/>
              </c:ext>
            </c:extLst>
          </c:dPt>
          <c:dPt>
            <c:idx val="1937"/>
            <c:invertIfNegative val="1"/>
            <c:bubble3D val="0"/>
            <c:spPr>
              <a:solidFill>
                <a:srgbClr val="AEABAB"/>
              </a:solidFill>
            </c:spPr>
            <c:extLst>
              <c:ext xmlns:c16="http://schemas.microsoft.com/office/drawing/2014/chart" uri="{C3380CC4-5D6E-409C-BE32-E72D297353CC}">
                <c16:uniqueId val="{00000F25-7BE2-49F1-B47F-64DDA7BF3F9D}"/>
              </c:ext>
            </c:extLst>
          </c:dPt>
          <c:dPt>
            <c:idx val="1938"/>
            <c:invertIfNegative val="1"/>
            <c:bubble3D val="0"/>
            <c:spPr>
              <a:solidFill>
                <a:srgbClr val="AEABAB"/>
              </a:solidFill>
            </c:spPr>
            <c:extLst>
              <c:ext xmlns:c16="http://schemas.microsoft.com/office/drawing/2014/chart" uri="{C3380CC4-5D6E-409C-BE32-E72D297353CC}">
                <c16:uniqueId val="{00000F27-7BE2-49F1-B47F-64DDA7BF3F9D}"/>
              </c:ext>
            </c:extLst>
          </c:dPt>
          <c:dPt>
            <c:idx val="1939"/>
            <c:invertIfNegative val="1"/>
            <c:bubble3D val="0"/>
            <c:spPr>
              <a:solidFill>
                <a:srgbClr val="AEABAB"/>
              </a:solidFill>
            </c:spPr>
            <c:extLst>
              <c:ext xmlns:c16="http://schemas.microsoft.com/office/drawing/2014/chart" uri="{C3380CC4-5D6E-409C-BE32-E72D297353CC}">
                <c16:uniqueId val="{00000F29-7BE2-49F1-B47F-64DDA7BF3F9D}"/>
              </c:ext>
            </c:extLst>
          </c:dPt>
          <c:dPt>
            <c:idx val="1940"/>
            <c:invertIfNegative val="1"/>
            <c:bubble3D val="0"/>
            <c:spPr>
              <a:solidFill>
                <a:srgbClr val="AEABAB"/>
              </a:solidFill>
            </c:spPr>
            <c:extLst>
              <c:ext xmlns:c16="http://schemas.microsoft.com/office/drawing/2014/chart" uri="{C3380CC4-5D6E-409C-BE32-E72D297353CC}">
                <c16:uniqueId val="{00000F2B-7BE2-49F1-B47F-64DDA7BF3F9D}"/>
              </c:ext>
            </c:extLst>
          </c:dPt>
          <c:dPt>
            <c:idx val="1941"/>
            <c:invertIfNegative val="1"/>
            <c:bubble3D val="0"/>
            <c:spPr>
              <a:solidFill>
                <a:srgbClr val="AEABAB"/>
              </a:solidFill>
            </c:spPr>
            <c:extLst>
              <c:ext xmlns:c16="http://schemas.microsoft.com/office/drawing/2014/chart" uri="{C3380CC4-5D6E-409C-BE32-E72D297353CC}">
                <c16:uniqueId val="{00000F2D-7BE2-49F1-B47F-64DDA7BF3F9D}"/>
              </c:ext>
            </c:extLst>
          </c:dPt>
          <c:dPt>
            <c:idx val="1942"/>
            <c:invertIfNegative val="1"/>
            <c:bubble3D val="0"/>
            <c:spPr>
              <a:solidFill>
                <a:srgbClr val="AEABAB"/>
              </a:solidFill>
            </c:spPr>
            <c:extLst>
              <c:ext xmlns:c16="http://schemas.microsoft.com/office/drawing/2014/chart" uri="{C3380CC4-5D6E-409C-BE32-E72D297353CC}">
                <c16:uniqueId val="{00000F2F-7BE2-49F1-B47F-64DDA7BF3F9D}"/>
              </c:ext>
            </c:extLst>
          </c:dPt>
          <c:dPt>
            <c:idx val="1943"/>
            <c:invertIfNegative val="1"/>
            <c:bubble3D val="0"/>
            <c:spPr>
              <a:solidFill>
                <a:srgbClr val="AEABAB"/>
              </a:solidFill>
            </c:spPr>
            <c:extLst>
              <c:ext xmlns:c16="http://schemas.microsoft.com/office/drawing/2014/chart" uri="{C3380CC4-5D6E-409C-BE32-E72D297353CC}">
                <c16:uniqueId val="{00000F31-7BE2-49F1-B47F-64DDA7BF3F9D}"/>
              </c:ext>
            </c:extLst>
          </c:dPt>
          <c:dPt>
            <c:idx val="1944"/>
            <c:invertIfNegative val="1"/>
            <c:bubble3D val="0"/>
            <c:spPr>
              <a:solidFill>
                <a:srgbClr val="AEABAB"/>
              </a:solidFill>
            </c:spPr>
            <c:extLst>
              <c:ext xmlns:c16="http://schemas.microsoft.com/office/drawing/2014/chart" uri="{C3380CC4-5D6E-409C-BE32-E72D297353CC}">
                <c16:uniqueId val="{00000F33-7BE2-49F1-B47F-64DDA7BF3F9D}"/>
              </c:ext>
            </c:extLst>
          </c:dPt>
          <c:dPt>
            <c:idx val="1945"/>
            <c:invertIfNegative val="1"/>
            <c:bubble3D val="0"/>
            <c:spPr>
              <a:solidFill>
                <a:srgbClr val="AEABAB"/>
              </a:solidFill>
            </c:spPr>
            <c:extLst>
              <c:ext xmlns:c16="http://schemas.microsoft.com/office/drawing/2014/chart" uri="{C3380CC4-5D6E-409C-BE32-E72D297353CC}">
                <c16:uniqueId val="{00000F35-7BE2-49F1-B47F-64DDA7BF3F9D}"/>
              </c:ext>
            </c:extLst>
          </c:dPt>
          <c:dPt>
            <c:idx val="1946"/>
            <c:invertIfNegative val="1"/>
            <c:bubble3D val="0"/>
            <c:spPr>
              <a:solidFill>
                <a:srgbClr val="AEABAB"/>
              </a:solidFill>
            </c:spPr>
            <c:extLst>
              <c:ext xmlns:c16="http://schemas.microsoft.com/office/drawing/2014/chart" uri="{C3380CC4-5D6E-409C-BE32-E72D297353CC}">
                <c16:uniqueId val="{00000F37-7BE2-49F1-B47F-64DDA7BF3F9D}"/>
              </c:ext>
            </c:extLst>
          </c:dPt>
          <c:dPt>
            <c:idx val="1947"/>
            <c:invertIfNegative val="1"/>
            <c:bubble3D val="0"/>
            <c:spPr>
              <a:solidFill>
                <a:srgbClr val="AEABAB"/>
              </a:solidFill>
            </c:spPr>
            <c:extLst>
              <c:ext xmlns:c16="http://schemas.microsoft.com/office/drawing/2014/chart" uri="{C3380CC4-5D6E-409C-BE32-E72D297353CC}">
                <c16:uniqueId val="{00000F39-7BE2-49F1-B47F-64DDA7BF3F9D}"/>
              </c:ext>
            </c:extLst>
          </c:dPt>
          <c:dPt>
            <c:idx val="1948"/>
            <c:invertIfNegative val="1"/>
            <c:bubble3D val="0"/>
            <c:spPr>
              <a:solidFill>
                <a:srgbClr val="AEABAB"/>
              </a:solidFill>
            </c:spPr>
            <c:extLst>
              <c:ext xmlns:c16="http://schemas.microsoft.com/office/drawing/2014/chart" uri="{C3380CC4-5D6E-409C-BE32-E72D297353CC}">
                <c16:uniqueId val="{00000F3B-7BE2-49F1-B47F-64DDA7BF3F9D}"/>
              </c:ext>
            </c:extLst>
          </c:dPt>
          <c:dPt>
            <c:idx val="1949"/>
            <c:invertIfNegative val="1"/>
            <c:bubble3D val="0"/>
            <c:spPr>
              <a:solidFill>
                <a:srgbClr val="AEABAB"/>
              </a:solidFill>
            </c:spPr>
            <c:extLst>
              <c:ext xmlns:c16="http://schemas.microsoft.com/office/drawing/2014/chart" uri="{C3380CC4-5D6E-409C-BE32-E72D297353CC}">
                <c16:uniqueId val="{00000F3D-7BE2-49F1-B47F-64DDA7BF3F9D}"/>
              </c:ext>
            </c:extLst>
          </c:dPt>
          <c:dPt>
            <c:idx val="1950"/>
            <c:invertIfNegative val="1"/>
            <c:bubble3D val="0"/>
            <c:spPr>
              <a:solidFill>
                <a:srgbClr val="AEABAB"/>
              </a:solidFill>
            </c:spPr>
            <c:extLst>
              <c:ext xmlns:c16="http://schemas.microsoft.com/office/drawing/2014/chart" uri="{C3380CC4-5D6E-409C-BE32-E72D297353CC}">
                <c16:uniqueId val="{00000F3F-7BE2-49F1-B47F-64DDA7BF3F9D}"/>
              </c:ext>
            </c:extLst>
          </c:dPt>
          <c:dPt>
            <c:idx val="1951"/>
            <c:invertIfNegative val="1"/>
            <c:bubble3D val="0"/>
            <c:spPr>
              <a:solidFill>
                <a:srgbClr val="AEABAB"/>
              </a:solidFill>
            </c:spPr>
            <c:extLst>
              <c:ext xmlns:c16="http://schemas.microsoft.com/office/drawing/2014/chart" uri="{C3380CC4-5D6E-409C-BE32-E72D297353CC}">
                <c16:uniqueId val="{00000F41-7BE2-49F1-B47F-64DDA7BF3F9D}"/>
              </c:ext>
            </c:extLst>
          </c:dPt>
          <c:dPt>
            <c:idx val="1952"/>
            <c:invertIfNegative val="1"/>
            <c:bubble3D val="0"/>
            <c:spPr>
              <a:solidFill>
                <a:srgbClr val="AEABAB"/>
              </a:solidFill>
            </c:spPr>
            <c:extLst>
              <c:ext xmlns:c16="http://schemas.microsoft.com/office/drawing/2014/chart" uri="{C3380CC4-5D6E-409C-BE32-E72D297353CC}">
                <c16:uniqueId val="{00000F43-7BE2-49F1-B47F-64DDA7BF3F9D}"/>
              </c:ext>
            </c:extLst>
          </c:dPt>
          <c:dPt>
            <c:idx val="1953"/>
            <c:invertIfNegative val="1"/>
            <c:bubble3D val="0"/>
            <c:spPr>
              <a:solidFill>
                <a:srgbClr val="AEABAB"/>
              </a:solidFill>
            </c:spPr>
            <c:extLst>
              <c:ext xmlns:c16="http://schemas.microsoft.com/office/drawing/2014/chart" uri="{C3380CC4-5D6E-409C-BE32-E72D297353CC}">
                <c16:uniqueId val="{00000F45-7BE2-49F1-B47F-64DDA7BF3F9D}"/>
              </c:ext>
            </c:extLst>
          </c:dPt>
          <c:dPt>
            <c:idx val="1954"/>
            <c:invertIfNegative val="1"/>
            <c:bubble3D val="0"/>
            <c:spPr>
              <a:solidFill>
                <a:srgbClr val="AEABAB"/>
              </a:solidFill>
            </c:spPr>
            <c:extLst>
              <c:ext xmlns:c16="http://schemas.microsoft.com/office/drawing/2014/chart" uri="{C3380CC4-5D6E-409C-BE32-E72D297353CC}">
                <c16:uniqueId val="{00000F47-7BE2-49F1-B47F-64DDA7BF3F9D}"/>
              </c:ext>
            </c:extLst>
          </c:dPt>
          <c:dPt>
            <c:idx val="1955"/>
            <c:invertIfNegative val="1"/>
            <c:bubble3D val="0"/>
            <c:spPr>
              <a:solidFill>
                <a:srgbClr val="AEABAB"/>
              </a:solidFill>
            </c:spPr>
            <c:extLst>
              <c:ext xmlns:c16="http://schemas.microsoft.com/office/drawing/2014/chart" uri="{C3380CC4-5D6E-409C-BE32-E72D297353CC}">
                <c16:uniqueId val="{00000F49-7BE2-49F1-B47F-64DDA7BF3F9D}"/>
              </c:ext>
            </c:extLst>
          </c:dPt>
          <c:dPt>
            <c:idx val="1956"/>
            <c:invertIfNegative val="1"/>
            <c:bubble3D val="0"/>
            <c:spPr>
              <a:solidFill>
                <a:srgbClr val="AEABAB"/>
              </a:solidFill>
            </c:spPr>
            <c:extLst>
              <c:ext xmlns:c16="http://schemas.microsoft.com/office/drawing/2014/chart" uri="{C3380CC4-5D6E-409C-BE32-E72D297353CC}">
                <c16:uniqueId val="{00000F4B-7BE2-49F1-B47F-64DDA7BF3F9D}"/>
              </c:ext>
            </c:extLst>
          </c:dPt>
          <c:dPt>
            <c:idx val="1957"/>
            <c:invertIfNegative val="1"/>
            <c:bubble3D val="0"/>
            <c:spPr>
              <a:solidFill>
                <a:srgbClr val="AEABAB"/>
              </a:solidFill>
            </c:spPr>
            <c:extLst>
              <c:ext xmlns:c16="http://schemas.microsoft.com/office/drawing/2014/chart" uri="{C3380CC4-5D6E-409C-BE32-E72D297353CC}">
                <c16:uniqueId val="{00000F4D-7BE2-49F1-B47F-64DDA7BF3F9D}"/>
              </c:ext>
            </c:extLst>
          </c:dPt>
          <c:dPt>
            <c:idx val="1958"/>
            <c:invertIfNegative val="1"/>
            <c:bubble3D val="0"/>
            <c:spPr>
              <a:solidFill>
                <a:srgbClr val="AEABAB"/>
              </a:solidFill>
            </c:spPr>
            <c:extLst>
              <c:ext xmlns:c16="http://schemas.microsoft.com/office/drawing/2014/chart" uri="{C3380CC4-5D6E-409C-BE32-E72D297353CC}">
                <c16:uniqueId val="{00000F4F-7BE2-49F1-B47F-64DDA7BF3F9D}"/>
              </c:ext>
            </c:extLst>
          </c:dPt>
          <c:dPt>
            <c:idx val="1959"/>
            <c:invertIfNegative val="1"/>
            <c:bubble3D val="0"/>
            <c:spPr>
              <a:solidFill>
                <a:srgbClr val="AEABAB"/>
              </a:solidFill>
            </c:spPr>
            <c:extLst>
              <c:ext xmlns:c16="http://schemas.microsoft.com/office/drawing/2014/chart" uri="{C3380CC4-5D6E-409C-BE32-E72D297353CC}">
                <c16:uniqueId val="{00000F51-7BE2-49F1-B47F-64DDA7BF3F9D}"/>
              </c:ext>
            </c:extLst>
          </c:dPt>
          <c:dPt>
            <c:idx val="1960"/>
            <c:invertIfNegative val="1"/>
            <c:bubble3D val="0"/>
            <c:spPr>
              <a:solidFill>
                <a:srgbClr val="AEABAB"/>
              </a:solidFill>
            </c:spPr>
            <c:extLst>
              <c:ext xmlns:c16="http://schemas.microsoft.com/office/drawing/2014/chart" uri="{C3380CC4-5D6E-409C-BE32-E72D297353CC}">
                <c16:uniqueId val="{00000F53-7BE2-49F1-B47F-64DDA7BF3F9D}"/>
              </c:ext>
            </c:extLst>
          </c:dPt>
          <c:dPt>
            <c:idx val="1961"/>
            <c:invertIfNegative val="1"/>
            <c:bubble3D val="0"/>
            <c:spPr>
              <a:solidFill>
                <a:srgbClr val="AEABAB"/>
              </a:solidFill>
            </c:spPr>
            <c:extLst>
              <c:ext xmlns:c16="http://schemas.microsoft.com/office/drawing/2014/chart" uri="{C3380CC4-5D6E-409C-BE32-E72D297353CC}">
                <c16:uniqueId val="{00000F55-7BE2-49F1-B47F-64DDA7BF3F9D}"/>
              </c:ext>
            </c:extLst>
          </c:dPt>
          <c:dPt>
            <c:idx val="1962"/>
            <c:invertIfNegative val="1"/>
            <c:bubble3D val="0"/>
            <c:spPr>
              <a:solidFill>
                <a:srgbClr val="AEABAB"/>
              </a:solidFill>
            </c:spPr>
            <c:extLst>
              <c:ext xmlns:c16="http://schemas.microsoft.com/office/drawing/2014/chart" uri="{C3380CC4-5D6E-409C-BE32-E72D297353CC}">
                <c16:uniqueId val="{00000F57-7BE2-49F1-B47F-64DDA7BF3F9D}"/>
              </c:ext>
            </c:extLst>
          </c:dPt>
          <c:dPt>
            <c:idx val="1963"/>
            <c:invertIfNegative val="1"/>
            <c:bubble3D val="0"/>
            <c:spPr>
              <a:solidFill>
                <a:srgbClr val="AEABAB"/>
              </a:solidFill>
            </c:spPr>
            <c:extLst>
              <c:ext xmlns:c16="http://schemas.microsoft.com/office/drawing/2014/chart" uri="{C3380CC4-5D6E-409C-BE32-E72D297353CC}">
                <c16:uniqueId val="{00000F59-7BE2-49F1-B47F-64DDA7BF3F9D}"/>
              </c:ext>
            </c:extLst>
          </c:dPt>
          <c:dPt>
            <c:idx val="1964"/>
            <c:invertIfNegative val="1"/>
            <c:bubble3D val="0"/>
            <c:spPr>
              <a:solidFill>
                <a:srgbClr val="AEABAB"/>
              </a:solidFill>
            </c:spPr>
            <c:extLst>
              <c:ext xmlns:c16="http://schemas.microsoft.com/office/drawing/2014/chart" uri="{C3380CC4-5D6E-409C-BE32-E72D297353CC}">
                <c16:uniqueId val="{00000F5B-7BE2-49F1-B47F-64DDA7BF3F9D}"/>
              </c:ext>
            </c:extLst>
          </c:dPt>
          <c:dPt>
            <c:idx val="1965"/>
            <c:invertIfNegative val="1"/>
            <c:bubble3D val="0"/>
            <c:spPr>
              <a:solidFill>
                <a:srgbClr val="AEABAB"/>
              </a:solidFill>
            </c:spPr>
            <c:extLst>
              <c:ext xmlns:c16="http://schemas.microsoft.com/office/drawing/2014/chart" uri="{C3380CC4-5D6E-409C-BE32-E72D297353CC}">
                <c16:uniqueId val="{00000F5D-7BE2-49F1-B47F-64DDA7BF3F9D}"/>
              </c:ext>
            </c:extLst>
          </c:dPt>
          <c:dPt>
            <c:idx val="1966"/>
            <c:invertIfNegative val="1"/>
            <c:bubble3D val="0"/>
            <c:spPr>
              <a:solidFill>
                <a:srgbClr val="AEABAB"/>
              </a:solidFill>
            </c:spPr>
            <c:extLst>
              <c:ext xmlns:c16="http://schemas.microsoft.com/office/drawing/2014/chart" uri="{C3380CC4-5D6E-409C-BE32-E72D297353CC}">
                <c16:uniqueId val="{00000F5F-7BE2-49F1-B47F-64DDA7BF3F9D}"/>
              </c:ext>
            </c:extLst>
          </c:dPt>
          <c:dPt>
            <c:idx val="1967"/>
            <c:invertIfNegative val="1"/>
            <c:bubble3D val="0"/>
            <c:spPr>
              <a:solidFill>
                <a:srgbClr val="AEABAB"/>
              </a:solidFill>
            </c:spPr>
            <c:extLst>
              <c:ext xmlns:c16="http://schemas.microsoft.com/office/drawing/2014/chart" uri="{C3380CC4-5D6E-409C-BE32-E72D297353CC}">
                <c16:uniqueId val="{00000F61-7BE2-49F1-B47F-64DDA7BF3F9D}"/>
              </c:ext>
            </c:extLst>
          </c:dPt>
          <c:dPt>
            <c:idx val="1968"/>
            <c:invertIfNegative val="1"/>
            <c:bubble3D val="0"/>
            <c:spPr>
              <a:solidFill>
                <a:srgbClr val="AEABAB"/>
              </a:solidFill>
            </c:spPr>
            <c:extLst>
              <c:ext xmlns:c16="http://schemas.microsoft.com/office/drawing/2014/chart" uri="{C3380CC4-5D6E-409C-BE32-E72D297353CC}">
                <c16:uniqueId val="{00000F63-7BE2-49F1-B47F-64DDA7BF3F9D}"/>
              </c:ext>
            </c:extLst>
          </c:dPt>
          <c:dPt>
            <c:idx val="1969"/>
            <c:invertIfNegative val="1"/>
            <c:bubble3D val="0"/>
            <c:spPr>
              <a:solidFill>
                <a:srgbClr val="AEABAB"/>
              </a:solidFill>
            </c:spPr>
            <c:extLst>
              <c:ext xmlns:c16="http://schemas.microsoft.com/office/drawing/2014/chart" uri="{C3380CC4-5D6E-409C-BE32-E72D297353CC}">
                <c16:uniqueId val="{00000F65-7BE2-49F1-B47F-64DDA7BF3F9D}"/>
              </c:ext>
            </c:extLst>
          </c:dPt>
          <c:dPt>
            <c:idx val="1970"/>
            <c:invertIfNegative val="1"/>
            <c:bubble3D val="0"/>
            <c:spPr>
              <a:solidFill>
                <a:srgbClr val="AEABAB"/>
              </a:solidFill>
            </c:spPr>
            <c:extLst>
              <c:ext xmlns:c16="http://schemas.microsoft.com/office/drawing/2014/chart" uri="{C3380CC4-5D6E-409C-BE32-E72D297353CC}">
                <c16:uniqueId val="{00000F67-7BE2-49F1-B47F-64DDA7BF3F9D}"/>
              </c:ext>
            </c:extLst>
          </c:dPt>
          <c:dPt>
            <c:idx val="1971"/>
            <c:invertIfNegative val="1"/>
            <c:bubble3D val="0"/>
            <c:spPr>
              <a:solidFill>
                <a:srgbClr val="AEABAB"/>
              </a:solidFill>
            </c:spPr>
            <c:extLst>
              <c:ext xmlns:c16="http://schemas.microsoft.com/office/drawing/2014/chart" uri="{C3380CC4-5D6E-409C-BE32-E72D297353CC}">
                <c16:uniqueId val="{00000F69-7BE2-49F1-B47F-64DDA7BF3F9D}"/>
              </c:ext>
            </c:extLst>
          </c:dPt>
          <c:dPt>
            <c:idx val="1972"/>
            <c:invertIfNegative val="1"/>
            <c:bubble3D val="0"/>
            <c:spPr>
              <a:solidFill>
                <a:srgbClr val="AEABAB"/>
              </a:solidFill>
            </c:spPr>
            <c:extLst>
              <c:ext xmlns:c16="http://schemas.microsoft.com/office/drawing/2014/chart" uri="{C3380CC4-5D6E-409C-BE32-E72D297353CC}">
                <c16:uniqueId val="{00000F6B-7BE2-49F1-B47F-64DDA7BF3F9D}"/>
              </c:ext>
            </c:extLst>
          </c:dPt>
          <c:dPt>
            <c:idx val="1973"/>
            <c:invertIfNegative val="1"/>
            <c:bubble3D val="0"/>
            <c:spPr>
              <a:solidFill>
                <a:srgbClr val="AEABAB"/>
              </a:solidFill>
            </c:spPr>
            <c:extLst>
              <c:ext xmlns:c16="http://schemas.microsoft.com/office/drawing/2014/chart" uri="{C3380CC4-5D6E-409C-BE32-E72D297353CC}">
                <c16:uniqueId val="{00000F6D-7BE2-49F1-B47F-64DDA7BF3F9D}"/>
              </c:ext>
            </c:extLst>
          </c:dPt>
          <c:dPt>
            <c:idx val="1974"/>
            <c:invertIfNegative val="1"/>
            <c:bubble3D val="0"/>
            <c:spPr>
              <a:solidFill>
                <a:srgbClr val="AEABAB"/>
              </a:solidFill>
            </c:spPr>
            <c:extLst>
              <c:ext xmlns:c16="http://schemas.microsoft.com/office/drawing/2014/chart" uri="{C3380CC4-5D6E-409C-BE32-E72D297353CC}">
                <c16:uniqueId val="{00000F6F-7BE2-49F1-B47F-64DDA7BF3F9D}"/>
              </c:ext>
            </c:extLst>
          </c:dPt>
          <c:dPt>
            <c:idx val="1975"/>
            <c:invertIfNegative val="1"/>
            <c:bubble3D val="0"/>
            <c:spPr>
              <a:solidFill>
                <a:srgbClr val="AEABAB"/>
              </a:solidFill>
            </c:spPr>
            <c:extLst>
              <c:ext xmlns:c16="http://schemas.microsoft.com/office/drawing/2014/chart" uri="{C3380CC4-5D6E-409C-BE32-E72D297353CC}">
                <c16:uniqueId val="{00000F71-7BE2-49F1-B47F-64DDA7BF3F9D}"/>
              </c:ext>
            </c:extLst>
          </c:dPt>
          <c:dPt>
            <c:idx val="1976"/>
            <c:invertIfNegative val="1"/>
            <c:bubble3D val="0"/>
            <c:spPr>
              <a:solidFill>
                <a:srgbClr val="AEABAB"/>
              </a:solidFill>
            </c:spPr>
            <c:extLst>
              <c:ext xmlns:c16="http://schemas.microsoft.com/office/drawing/2014/chart" uri="{C3380CC4-5D6E-409C-BE32-E72D297353CC}">
                <c16:uniqueId val="{00000F73-7BE2-49F1-B47F-64DDA7BF3F9D}"/>
              </c:ext>
            </c:extLst>
          </c:dPt>
          <c:dPt>
            <c:idx val="1977"/>
            <c:invertIfNegative val="1"/>
            <c:bubble3D val="0"/>
            <c:spPr>
              <a:solidFill>
                <a:srgbClr val="AEABAB"/>
              </a:solidFill>
            </c:spPr>
            <c:extLst>
              <c:ext xmlns:c16="http://schemas.microsoft.com/office/drawing/2014/chart" uri="{C3380CC4-5D6E-409C-BE32-E72D297353CC}">
                <c16:uniqueId val="{00000F75-7BE2-49F1-B47F-64DDA7BF3F9D}"/>
              </c:ext>
            </c:extLst>
          </c:dPt>
          <c:dPt>
            <c:idx val="1978"/>
            <c:invertIfNegative val="1"/>
            <c:bubble3D val="0"/>
            <c:spPr>
              <a:solidFill>
                <a:srgbClr val="AEABAB"/>
              </a:solidFill>
            </c:spPr>
            <c:extLst>
              <c:ext xmlns:c16="http://schemas.microsoft.com/office/drawing/2014/chart" uri="{C3380CC4-5D6E-409C-BE32-E72D297353CC}">
                <c16:uniqueId val="{00000F77-7BE2-49F1-B47F-64DDA7BF3F9D}"/>
              </c:ext>
            </c:extLst>
          </c:dPt>
          <c:dPt>
            <c:idx val="1979"/>
            <c:invertIfNegative val="1"/>
            <c:bubble3D val="0"/>
            <c:spPr>
              <a:solidFill>
                <a:srgbClr val="AEABAB"/>
              </a:solidFill>
            </c:spPr>
            <c:extLst>
              <c:ext xmlns:c16="http://schemas.microsoft.com/office/drawing/2014/chart" uri="{C3380CC4-5D6E-409C-BE32-E72D297353CC}">
                <c16:uniqueId val="{00000F79-7BE2-49F1-B47F-64DDA7BF3F9D}"/>
              </c:ext>
            </c:extLst>
          </c:dPt>
          <c:dPt>
            <c:idx val="1980"/>
            <c:invertIfNegative val="1"/>
            <c:bubble3D val="0"/>
            <c:spPr>
              <a:solidFill>
                <a:srgbClr val="AEABAB"/>
              </a:solidFill>
            </c:spPr>
            <c:extLst>
              <c:ext xmlns:c16="http://schemas.microsoft.com/office/drawing/2014/chart" uri="{C3380CC4-5D6E-409C-BE32-E72D297353CC}">
                <c16:uniqueId val="{00000F7B-7BE2-49F1-B47F-64DDA7BF3F9D}"/>
              </c:ext>
            </c:extLst>
          </c:dPt>
          <c:dPt>
            <c:idx val="1981"/>
            <c:invertIfNegative val="1"/>
            <c:bubble3D val="0"/>
            <c:spPr>
              <a:solidFill>
                <a:srgbClr val="AEABAB"/>
              </a:solidFill>
            </c:spPr>
            <c:extLst>
              <c:ext xmlns:c16="http://schemas.microsoft.com/office/drawing/2014/chart" uri="{C3380CC4-5D6E-409C-BE32-E72D297353CC}">
                <c16:uniqueId val="{00000F7D-7BE2-49F1-B47F-64DDA7BF3F9D}"/>
              </c:ext>
            </c:extLst>
          </c:dPt>
          <c:dPt>
            <c:idx val="1982"/>
            <c:invertIfNegative val="1"/>
            <c:bubble3D val="0"/>
            <c:spPr>
              <a:solidFill>
                <a:srgbClr val="AEABAB"/>
              </a:solidFill>
            </c:spPr>
            <c:extLst>
              <c:ext xmlns:c16="http://schemas.microsoft.com/office/drawing/2014/chart" uri="{C3380CC4-5D6E-409C-BE32-E72D297353CC}">
                <c16:uniqueId val="{00000F7F-7BE2-49F1-B47F-64DDA7BF3F9D}"/>
              </c:ext>
            </c:extLst>
          </c:dPt>
          <c:dPt>
            <c:idx val="1983"/>
            <c:invertIfNegative val="1"/>
            <c:bubble3D val="0"/>
            <c:spPr>
              <a:solidFill>
                <a:srgbClr val="AEABAB"/>
              </a:solidFill>
            </c:spPr>
            <c:extLst>
              <c:ext xmlns:c16="http://schemas.microsoft.com/office/drawing/2014/chart" uri="{C3380CC4-5D6E-409C-BE32-E72D297353CC}">
                <c16:uniqueId val="{00000F81-7BE2-49F1-B47F-64DDA7BF3F9D}"/>
              </c:ext>
            </c:extLst>
          </c:dPt>
          <c:dPt>
            <c:idx val="1984"/>
            <c:invertIfNegative val="1"/>
            <c:bubble3D val="0"/>
            <c:spPr>
              <a:solidFill>
                <a:srgbClr val="AEABAB"/>
              </a:solidFill>
            </c:spPr>
            <c:extLst>
              <c:ext xmlns:c16="http://schemas.microsoft.com/office/drawing/2014/chart" uri="{C3380CC4-5D6E-409C-BE32-E72D297353CC}">
                <c16:uniqueId val="{00000F83-7BE2-49F1-B47F-64DDA7BF3F9D}"/>
              </c:ext>
            </c:extLst>
          </c:dPt>
          <c:dPt>
            <c:idx val="1985"/>
            <c:invertIfNegative val="1"/>
            <c:bubble3D val="0"/>
            <c:spPr>
              <a:solidFill>
                <a:srgbClr val="AEABAB"/>
              </a:solidFill>
            </c:spPr>
            <c:extLst>
              <c:ext xmlns:c16="http://schemas.microsoft.com/office/drawing/2014/chart" uri="{C3380CC4-5D6E-409C-BE32-E72D297353CC}">
                <c16:uniqueId val="{00000F85-7BE2-49F1-B47F-64DDA7BF3F9D}"/>
              </c:ext>
            </c:extLst>
          </c:dPt>
          <c:dPt>
            <c:idx val="1986"/>
            <c:invertIfNegative val="1"/>
            <c:bubble3D val="0"/>
            <c:spPr>
              <a:solidFill>
                <a:srgbClr val="AEABAB"/>
              </a:solidFill>
            </c:spPr>
            <c:extLst>
              <c:ext xmlns:c16="http://schemas.microsoft.com/office/drawing/2014/chart" uri="{C3380CC4-5D6E-409C-BE32-E72D297353CC}">
                <c16:uniqueId val="{00000F87-7BE2-49F1-B47F-64DDA7BF3F9D}"/>
              </c:ext>
            </c:extLst>
          </c:dPt>
          <c:dPt>
            <c:idx val="1987"/>
            <c:invertIfNegative val="1"/>
            <c:bubble3D val="0"/>
            <c:spPr>
              <a:solidFill>
                <a:srgbClr val="AEABAB"/>
              </a:solidFill>
            </c:spPr>
            <c:extLst>
              <c:ext xmlns:c16="http://schemas.microsoft.com/office/drawing/2014/chart" uri="{C3380CC4-5D6E-409C-BE32-E72D297353CC}">
                <c16:uniqueId val="{00000F89-7BE2-49F1-B47F-64DDA7BF3F9D}"/>
              </c:ext>
            </c:extLst>
          </c:dPt>
          <c:dPt>
            <c:idx val="1988"/>
            <c:invertIfNegative val="1"/>
            <c:bubble3D val="0"/>
            <c:spPr>
              <a:solidFill>
                <a:srgbClr val="AEABAB"/>
              </a:solidFill>
            </c:spPr>
            <c:extLst>
              <c:ext xmlns:c16="http://schemas.microsoft.com/office/drawing/2014/chart" uri="{C3380CC4-5D6E-409C-BE32-E72D297353CC}">
                <c16:uniqueId val="{00000F8B-7BE2-49F1-B47F-64DDA7BF3F9D}"/>
              </c:ext>
            </c:extLst>
          </c:dPt>
          <c:dPt>
            <c:idx val="1989"/>
            <c:invertIfNegative val="1"/>
            <c:bubble3D val="0"/>
            <c:spPr>
              <a:solidFill>
                <a:srgbClr val="AEABAB"/>
              </a:solidFill>
            </c:spPr>
            <c:extLst>
              <c:ext xmlns:c16="http://schemas.microsoft.com/office/drawing/2014/chart" uri="{C3380CC4-5D6E-409C-BE32-E72D297353CC}">
                <c16:uniqueId val="{00000F8D-7BE2-49F1-B47F-64DDA7BF3F9D}"/>
              </c:ext>
            </c:extLst>
          </c:dPt>
          <c:dPt>
            <c:idx val="1990"/>
            <c:invertIfNegative val="1"/>
            <c:bubble3D val="0"/>
            <c:spPr>
              <a:solidFill>
                <a:srgbClr val="AEABAB"/>
              </a:solidFill>
            </c:spPr>
            <c:extLst>
              <c:ext xmlns:c16="http://schemas.microsoft.com/office/drawing/2014/chart" uri="{C3380CC4-5D6E-409C-BE32-E72D297353CC}">
                <c16:uniqueId val="{00000F8F-7BE2-49F1-B47F-64DDA7BF3F9D}"/>
              </c:ext>
            </c:extLst>
          </c:dPt>
          <c:dPt>
            <c:idx val="1991"/>
            <c:invertIfNegative val="1"/>
            <c:bubble3D val="0"/>
            <c:spPr>
              <a:solidFill>
                <a:srgbClr val="AEABAB"/>
              </a:solidFill>
            </c:spPr>
            <c:extLst>
              <c:ext xmlns:c16="http://schemas.microsoft.com/office/drawing/2014/chart" uri="{C3380CC4-5D6E-409C-BE32-E72D297353CC}">
                <c16:uniqueId val="{00000F91-7BE2-49F1-B47F-64DDA7BF3F9D}"/>
              </c:ext>
            </c:extLst>
          </c:dPt>
          <c:dPt>
            <c:idx val="1992"/>
            <c:invertIfNegative val="1"/>
            <c:bubble3D val="0"/>
            <c:spPr>
              <a:solidFill>
                <a:srgbClr val="AEABAB"/>
              </a:solidFill>
            </c:spPr>
            <c:extLst>
              <c:ext xmlns:c16="http://schemas.microsoft.com/office/drawing/2014/chart" uri="{C3380CC4-5D6E-409C-BE32-E72D297353CC}">
                <c16:uniqueId val="{00000F93-7BE2-49F1-B47F-64DDA7BF3F9D}"/>
              </c:ext>
            </c:extLst>
          </c:dPt>
          <c:dPt>
            <c:idx val="1993"/>
            <c:invertIfNegative val="1"/>
            <c:bubble3D val="0"/>
            <c:spPr>
              <a:solidFill>
                <a:srgbClr val="AEABAB"/>
              </a:solidFill>
            </c:spPr>
            <c:extLst>
              <c:ext xmlns:c16="http://schemas.microsoft.com/office/drawing/2014/chart" uri="{C3380CC4-5D6E-409C-BE32-E72D297353CC}">
                <c16:uniqueId val="{00000F95-7BE2-49F1-B47F-64DDA7BF3F9D}"/>
              </c:ext>
            </c:extLst>
          </c:dPt>
          <c:dPt>
            <c:idx val="1994"/>
            <c:invertIfNegative val="1"/>
            <c:bubble3D val="0"/>
            <c:spPr>
              <a:solidFill>
                <a:srgbClr val="AEABAB"/>
              </a:solidFill>
            </c:spPr>
            <c:extLst>
              <c:ext xmlns:c16="http://schemas.microsoft.com/office/drawing/2014/chart" uri="{C3380CC4-5D6E-409C-BE32-E72D297353CC}">
                <c16:uniqueId val="{00000F97-7BE2-49F1-B47F-64DDA7BF3F9D}"/>
              </c:ext>
            </c:extLst>
          </c:dPt>
          <c:dPt>
            <c:idx val="1995"/>
            <c:invertIfNegative val="1"/>
            <c:bubble3D val="0"/>
            <c:spPr>
              <a:solidFill>
                <a:srgbClr val="AEABAB"/>
              </a:solidFill>
            </c:spPr>
            <c:extLst>
              <c:ext xmlns:c16="http://schemas.microsoft.com/office/drawing/2014/chart" uri="{C3380CC4-5D6E-409C-BE32-E72D297353CC}">
                <c16:uniqueId val="{00000F99-7BE2-49F1-B47F-64DDA7BF3F9D}"/>
              </c:ext>
            </c:extLst>
          </c:dPt>
          <c:dPt>
            <c:idx val="1996"/>
            <c:invertIfNegative val="1"/>
            <c:bubble3D val="0"/>
            <c:spPr>
              <a:solidFill>
                <a:srgbClr val="AEABAB"/>
              </a:solidFill>
            </c:spPr>
            <c:extLst>
              <c:ext xmlns:c16="http://schemas.microsoft.com/office/drawing/2014/chart" uri="{C3380CC4-5D6E-409C-BE32-E72D297353CC}">
                <c16:uniqueId val="{00000F9B-7BE2-49F1-B47F-64DDA7BF3F9D}"/>
              </c:ext>
            </c:extLst>
          </c:dPt>
          <c:dPt>
            <c:idx val="1997"/>
            <c:invertIfNegative val="1"/>
            <c:bubble3D val="0"/>
            <c:spPr>
              <a:solidFill>
                <a:srgbClr val="AEABAB"/>
              </a:solidFill>
            </c:spPr>
            <c:extLst>
              <c:ext xmlns:c16="http://schemas.microsoft.com/office/drawing/2014/chart" uri="{C3380CC4-5D6E-409C-BE32-E72D297353CC}">
                <c16:uniqueId val="{00000F9D-7BE2-49F1-B47F-64DDA7BF3F9D}"/>
              </c:ext>
            </c:extLst>
          </c:dPt>
          <c:dPt>
            <c:idx val="1998"/>
            <c:invertIfNegative val="1"/>
            <c:bubble3D val="0"/>
            <c:spPr>
              <a:solidFill>
                <a:srgbClr val="AEABAB"/>
              </a:solidFill>
            </c:spPr>
            <c:extLst>
              <c:ext xmlns:c16="http://schemas.microsoft.com/office/drawing/2014/chart" uri="{C3380CC4-5D6E-409C-BE32-E72D297353CC}">
                <c16:uniqueId val="{00000F9F-7BE2-49F1-B47F-64DDA7BF3F9D}"/>
              </c:ext>
            </c:extLst>
          </c:dPt>
          <c:dPt>
            <c:idx val="1999"/>
            <c:invertIfNegative val="1"/>
            <c:bubble3D val="0"/>
            <c:spPr>
              <a:solidFill>
                <a:srgbClr val="AEABAB"/>
              </a:solidFill>
            </c:spPr>
            <c:extLst>
              <c:ext xmlns:c16="http://schemas.microsoft.com/office/drawing/2014/chart" uri="{C3380CC4-5D6E-409C-BE32-E72D297353CC}">
                <c16:uniqueId val="{00000FA1-7BE2-49F1-B47F-64DDA7BF3F9D}"/>
              </c:ext>
            </c:extLst>
          </c:dPt>
          <c:dPt>
            <c:idx val="2000"/>
            <c:invertIfNegative val="1"/>
            <c:bubble3D val="0"/>
            <c:spPr>
              <a:solidFill>
                <a:srgbClr val="AEABAB"/>
              </a:solidFill>
            </c:spPr>
            <c:extLst>
              <c:ext xmlns:c16="http://schemas.microsoft.com/office/drawing/2014/chart" uri="{C3380CC4-5D6E-409C-BE32-E72D297353CC}">
                <c16:uniqueId val="{00000FA3-7BE2-49F1-B47F-64DDA7BF3F9D}"/>
              </c:ext>
            </c:extLst>
          </c:dPt>
          <c:dPt>
            <c:idx val="2001"/>
            <c:invertIfNegative val="1"/>
            <c:bubble3D val="0"/>
            <c:spPr>
              <a:solidFill>
                <a:srgbClr val="AEABAB"/>
              </a:solidFill>
            </c:spPr>
            <c:extLst>
              <c:ext xmlns:c16="http://schemas.microsoft.com/office/drawing/2014/chart" uri="{C3380CC4-5D6E-409C-BE32-E72D297353CC}">
                <c16:uniqueId val="{00000FA5-7BE2-49F1-B47F-64DDA7BF3F9D}"/>
              </c:ext>
            </c:extLst>
          </c:dPt>
          <c:dPt>
            <c:idx val="2002"/>
            <c:invertIfNegative val="1"/>
            <c:bubble3D val="0"/>
            <c:spPr>
              <a:solidFill>
                <a:srgbClr val="AEABAB"/>
              </a:solidFill>
            </c:spPr>
            <c:extLst>
              <c:ext xmlns:c16="http://schemas.microsoft.com/office/drawing/2014/chart" uri="{C3380CC4-5D6E-409C-BE32-E72D297353CC}">
                <c16:uniqueId val="{00000FA7-7BE2-49F1-B47F-64DDA7BF3F9D}"/>
              </c:ext>
            </c:extLst>
          </c:dPt>
          <c:dPt>
            <c:idx val="2003"/>
            <c:invertIfNegative val="1"/>
            <c:bubble3D val="0"/>
            <c:spPr>
              <a:solidFill>
                <a:srgbClr val="AEABAB"/>
              </a:solidFill>
            </c:spPr>
            <c:extLst>
              <c:ext xmlns:c16="http://schemas.microsoft.com/office/drawing/2014/chart" uri="{C3380CC4-5D6E-409C-BE32-E72D297353CC}">
                <c16:uniqueId val="{00000FA9-7BE2-49F1-B47F-64DDA7BF3F9D}"/>
              </c:ext>
            </c:extLst>
          </c:dPt>
          <c:dPt>
            <c:idx val="2004"/>
            <c:invertIfNegative val="1"/>
            <c:bubble3D val="0"/>
            <c:spPr>
              <a:solidFill>
                <a:srgbClr val="AEABAB"/>
              </a:solidFill>
            </c:spPr>
            <c:extLst>
              <c:ext xmlns:c16="http://schemas.microsoft.com/office/drawing/2014/chart" uri="{C3380CC4-5D6E-409C-BE32-E72D297353CC}">
                <c16:uniqueId val="{00000FAB-7BE2-49F1-B47F-64DDA7BF3F9D}"/>
              </c:ext>
            </c:extLst>
          </c:dPt>
          <c:dPt>
            <c:idx val="2005"/>
            <c:invertIfNegative val="1"/>
            <c:bubble3D val="0"/>
            <c:spPr>
              <a:solidFill>
                <a:srgbClr val="AEABAB"/>
              </a:solidFill>
            </c:spPr>
            <c:extLst>
              <c:ext xmlns:c16="http://schemas.microsoft.com/office/drawing/2014/chart" uri="{C3380CC4-5D6E-409C-BE32-E72D297353CC}">
                <c16:uniqueId val="{00000FAD-7BE2-49F1-B47F-64DDA7BF3F9D}"/>
              </c:ext>
            </c:extLst>
          </c:dPt>
          <c:dPt>
            <c:idx val="2006"/>
            <c:invertIfNegative val="1"/>
            <c:bubble3D val="0"/>
            <c:spPr>
              <a:solidFill>
                <a:srgbClr val="AEABAB"/>
              </a:solidFill>
            </c:spPr>
            <c:extLst>
              <c:ext xmlns:c16="http://schemas.microsoft.com/office/drawing/2014/chart" uri="{C3380CC4-5D6E-409C-BE32-E72D297353CC}">
                <c16:uniqueId val="{00000FAF-7BE2-49F1-B47F-64DDA7BF3F9D}"/>
              </c:ext>
            </c:extLst>
          </c:dPt>
          <c:dPt>
            <c:idx val="2007"/>
            <c:invertIfNegative val="1"/>
            <c:bubble3D val="0"/>
            <c:spPr>
              <a:solidFill>
                <a:srgbClr val="AEABAB"/>
              </a:solidFill>
            </c:spPr>
            <c:extLst>
              <c:ext xmlns:c16="http://schemas.microsoft.com/office/drawing/2014/chart" uri="{C3380CC4-5D6E-409C-BE32-E72D297353CC}">
                <c16:uniqueId val="{00000FB1-7BE2-49F1-B47F-64DDA7BF3F9D}"/>
              </c:ext>
            </c:extLst>
          </c:dPt>
          <c:dPt>
            <c:idx val="2008"/>
            <c:invertIfNegative val="1"/>
            <c:bubble3D val="0"/>
            <c:spPr>
              <a:solidFill>
                <a:srgbClr val="AEABAB"/>
              </a:solidFill>
            </c:spPr>
            <c:extLst>
              <c:ext xmlns:c16="http://schemas.microsoft.com/office/drawing/2014/chart" uri="{C3380CC4-5D6E-409C-BE32-E72D297353CC}">
                <c16:uniqueId val="{00000FB3-7BE2-49F1-B47F-64DDA7BF3F9D}"/>
              </c:ext>
            </c:extLst>
          </c:dPt>
          <c:dPt>
            <c:idx val="2009"/>
            <c:invertIfNegative val="1"/>
            <c:bubble3D val="0"/>
            <c:spPr>
              <a:solidFill>
                <a:srgbClr val="AEABAB"/>
              </a:solidFill>
            </c:spPr>
            <c:extLst>
              <c:ext xmlns:c16="http://schemas.microsoft.com/office/drawing/2014/chart" uri="{C3380CC4-5D6E-409C-BE32-E72D297353CC}">
                <c16:uniqueId val="{00000FB5-7BE2-49F1-B47F-64DDA7BF3F9D}"/>
              </c:ext>
            </c:extLst>
          </c:dPt>
          <c:dPt>
            <c:idx val="2010"/>
            <c:invertIfNegative val="1"/>
            <c:bubble3D val="0"/>
            <c:spPr>
              <a:solidFill>
                <a:srgbClr val="AEABAB"/>
              </a:solidFill>
            </c:spPr>
            <c:extLst>
              <c:ext xmlns:c16="http://schemas.microsoft.com/office/drawing/2014/chart" uri="{C3380CC4-5D6E-409C-BE32-E72D297353CC}">
                <c16:uniqueId val="{00000FB7-7BE2-49F1-B47F-64DDA7BF3F9D}"/>
              </c:ext>
            </c:extLst>
          </c:dPt>
          <c:dPt>
            <c:idx val="2011"/>
            <c:invertIfNegative val="1"/>
            <c:bubble3D val="0"/>
            <c:spPr>
              <a:solidFill>
                <a:srgbClr val="AEABAB"/>
              </a:solidFill>
            </c:spPr>
            <c:extLst>
              <c:ext xmlns:c16="http://schemas.microsoft.com/office/drawing/2014/chart" uri="{C3380CC4-5D6E-409C-BE32-E72D297353CC}">
                <c16:uniqueId val="{00000FB9-7BE2-49F1-B47F-64DDA7BF3F9D}"/>
              </c:ext>
            </c:extLst>
          </c:dPt>
          <c:dPt>
            <c:idx val="2012"/>
            <c:invertIfNegative val="1"/>
            <c:bubble3D val="0"/>
            <c:spPr>
              <a:solidFill>
                <a:srgbClr val="AEABAB"/>
              </a:solidFill>
            </c:spPr>
            <c:extLst>
              <c:ext xmlns:c16="http://schemas.microsoft.com/office/drawing/2014/chart" uri="{C3380CC4-5D6E-409C-BE32-E72D297353CC}">
                <c16:uniqueId val="{00000FBB-7BE2-49F1-B47F-64DDA7BF3F9D}"/>
              </c:ext>
            </c:extLst>
          </c:dPt>
          <c:dPt>
            <c:idx val="2013"/>
            <c:invertIfNegative val="1"/>
            <c:bubble3D val="0"/>
            <c:spPr>
              <a:solidFill>
                <a:srgbClr val="AEABAB"/>
              </a:solidFill>
            </c:spPr>
            <c:extLst>
              <c:ext xmlns:c16="http://schemas.microsoft.com/office/drawing/2014/chart" uri="{C3380CC4-5D6E-409C-BE32-E72D297353CC}">
                <c16:uniqueId val="{00000FBD-7BE2-49F1-B47F-64DDA7BF3F9D}"/>
              </c:ext>
            </c:extLst>
          </c:dPt>
          <c:dPt>
            <c:idx val="2014"/>
            <c:invertIfNegative val="1"/>
            <c:bubble3D val="0"/>
            <c:spPr>
              <a:solidFill>
                <a:srgbClr val="AEABAB"/>
              </a:solidFill>
            </c:spPr>
            <c:extLst>
              <c:ext xmlns:c16="http://schemas.microsoft.com/office/drawing/2014/chart" uri="{C3380CC4-5D6E-409C-BE32-E72D297353CC}">
                <c16:uniqueId val="{00000FBF-7BE2-49F1-B47F-64DDA7BF3F9D}"/>
              </c:ext>
            </c:extLst>
          </c:dPt>
          <c:dPt>
            <c:idx val="2015"/>
            <c:invertIfNegative val="1"/>
            <c:bubble3D val="0"/>
            <c:spPr>
              <a:solidFill>
                <a:srgbClr val="AEABAB"/>
              </a:solidFill>
            </c:spPr>
            <c:extLst>
              <c:ext xmlns:c16="http://schemas.microsoft.com/office/drawing/2014/chart" uri="{C3380CC4-5D6E-409C-BE32-E72D297353CC}">
                <c16:uniqueId val="{00000FC1-7BE2-49F1-B47F-64DDA7BF3F9D}"/>
              </c:ext>
            </c:extLst>
          </c:dPt>
          <c:dPt>
            <c:idx val="2016"/>
            <c:invertIfNegative val="1"/>
            <c:bubble3D val="0"/>
            <c:spPr>
              <a:solidFill>
                <a:srgbClr val="AEABAB"/>
              </a:solidFill>
            </c:spPr>
            <c:extLst>
              <c:ext xmlns:c16="http://schemas.microsoft.com/office/drawing/2014/chart" uri="{C3380CC4-5D6E-409C-BE32-E72D297353CC}">
                <c16:uniqueId val="{00000FC3-7BE2-49F1-B47F-64DDA7BF3F9D}"/>
              </c:ext>
            </c:extLst>
          </c:dPt>
          <c:dPt>
            <c:idx val="2017"/>
            <c:invertIfNegative val="1"/>
            <c:bubble3D val="0"/>
            <c:spPr>
              <a:solidFill>
                <a:srgbClr val="AEABAB"/>
              </a:solidFill>
            </c:spPr>
            <c:extLst>
              <c:ext xmlns:c16="http://schemas.microsoft.com/office/drawing/2014/chart" uri="{C3380CC4-5D6E-409C-BE32-E72D297353CC}">
                <c16:uniqueId val="{00000FC5-7BE2-49F1-B47F-64DDA7BF3F9D}"/>
              </c:ext>
            </c:extLst>
          </c:dPt>
          <c:dPt>
            <c:idx val="2018"/>
            <c:invertIfNegative val="1"/>
            <c:bubble3D val="0"/>
            <c:spPr>
              <a:solidFill>
                <a:srgbClr val="AEABAB"/>
              </a:solidFill>
            </c:spPr>
            <c:extLst>
              <c:ext xmlns:c16="http://schemas.microsoft.com/office/drawing/2014/chart" uri="{C3380CC4-5D6E-409C-BE32-E72D297353CC}">
                <c16:uniqueId val="{00000FC7-7BE2-49F1-B47F-64DDA7BF3F9D}"/>
              </c:ext>
            </c:extLst>
          </c:dPt>
          <c:dPt>
            <c:idx val="2019"/>
            <c:invertIfNegative val="1"/>
            <c:bubble3D val="0"/>
            <c:spPr>
              <a:solidFill>
                <a:srgbClr val="AEABAB"/>
              </a:solidFill>
            </c:spPr>
            <c:extLst>
              <c:ext xmlns:c16="http://schemas.microsoft.com/office/drawing/2014/chart" uri="{C3380CC4-5D6E-409C-BE32-E72D297353CC}">
                <c16:uniqueId val="{00000FC9-7BE2-49F1-B47F-64DDA7BF3F9D}"/>
              </c:ext>
            </c:extLst>
          </c:dPt>
          <c:dPt>
            <c:idx val="2020"/>
            <c:invertIfNegative val="1"/>
            <c:bubble3D val="0"/>
            <c:spPr>
              <a:solidFill>
                <a:srgbClr val="AEABAB"/>
              </a:solidFill>
            </c:spPr>
            <c:extLst>
              <c:ext xmlns:c16="http://schemas.microsoft.com/office/drawing/2014/chart" uri="{C3380CC4-5D6E-409C-BE32-E72D297353CC}">
                <c16:uniqueId val="{00000FCB-7BE2-49F1-B47F-64DDA7BF3F9D}"/>
              </c:ext>
            </c:extLst>
          </c:dPt>
          <c:dPt>
            <c:idx val="2021"/>
            <c:invertIfNegative val="1"/>
            <c:bubble3D val="0"/>
            <c:spPr>
              <a:solidFill>
                <a:srgbClr val="AEABAB"/>
              </a:solidFill>
            </c:spPr>
            <c:extLst>
              <c:ext xmlns:c16="http://schemas.microsoft.com/office/drawing/2014/chart" uri="{C3380CC4-5D6E-409C-BE32-E72D297353CC}">
                <c16:uniqueId val="{00000FCD-7BE2-49F1-B47F-64DDA7BF3F9D}"/>
              </c:ext>
            </c:extLst>
          </c:dPt>
          <c:dPt>
            <c:idx val="2022"/>
            <c:invertIfNegative val="1"/>
            <c:bubble3D val="0"/>
            <c:spPr>
              <a:solidFill>
                <a:srgbClr val="AEABAB"/>
              </a:solidFill>
            </c:spPr>
            <c:extLst>
              <c:ext xmlns:c16="http://schemas.microsoft.com/office/drawing/2014/chart" uri="{C3380CC4-5D6E-409C-BE32-E72D297353CC}">
                <c16:uniqueId val="{00000FCF-7BE2-49F1-B47F-64DDA7BF3F9D}"/>
              </c:ext>
            </c:extLst>
          </c:dPt>
          <c:dPt>
            <c:idx val="2023"/>
            <c:invertIfNegative val="1"/>
            <c:bubble3D val="0"/>
            <c:spPr>
              <a:solidFill>
                <a:srgbClr val="AEABAB"/>
              </a:solidFill>
            </c:spPr>
            <c:extLst>
              <c:ext xmlns:c16="http://schemas.microsoft.com/office/drawing/2014/chart" uri="{C3380CC4-5D6E-409C-BE32-E72D297353CC}">
                <c16:uniqueId val="{00000FD1-7BE2-49F1-B47F-64DDA7BF3F9D}"/>
              </c:ext>
            </c:extLst>
          </c:dPt>
          <c:dPt>
            <c:idx val="2024"/>
            <c:invertIfNegative val="1"/>
            <c:bubble3D val="0"/>
            <c:spPr>
              <a:solidFill>
                <a:srgbClr val="AEABAB"/>
              </a:solidFill>
            </c:spPr>
            <c:extLst>
              <c:ext xmlns:c16="http://schemas.microsoft.com/office/drawing/2014/chart" uri="{C3380CC4-5D6E-409C-BE32-E72D297353CC}">
                <c16:uniqueId val="{00000FD3-7BE2-49F1-B47F-64DDA7BF3F9D}"/>
              </c:ext>
            </c:extLst>
          </c:dPt>
          <c:dPt>
            <c:idx val="2025"/>
            <c:invertIfNegative val="1"/>
            <c:bubble3D val="0"/>
            <c:spPr>
              <a:solidFill>
                <a:srgbClr val="AEABAB"/>
              </a:solidFill>
            </c:spPr>
            <c:extLst>
              <c:ext xmlns:c16="http://schemas.microsoft.com/office/drawing/2014/chart" uri="{C3380CC4-5D6E-409C-BE32-E72D297353CC}">
                <c16:uniqueId val="{00000FD5-7BE2-49F1-B47F-64DDA7BF3F9D}"/>
              </c:ext>
            </c:extLst>
          </c:dPt>
          <c:dPt>
            <c:idx val="2026"/>
            <c:invertIfNegative val="1"/>
            <c:bubble3D val="0"/>
            <c:spPr>
              <a:solidFill>
                <a:srgbClr val="AEABAB"/>
              </a:solidFill>
            </c:spPr>
            <c:extLst>
              <c:ext xmlns:c16="http://schemas.microsoft.com/office/drawing/2014/chart" uri="{C3380CC4-5D6E-409C-BE32-E72D297353CC}">
                <c16:uniqueId val="{00000FD7-7BE2-49F1-B47F-64DDA7BF3F9D}"/>
              </c:ext>
            </c:extLst>
          </c:dPt>
          <c:dPt>
            <c:idx val="2027"/>
            <c:invertIfNegative val="1"/>
            <c:bubble3D val="0"/>
            <c:spPr>
              <a:solidFill>
                <a:srgbClr val="AEABAB"/>
              </a:solidFill>
            </c:spPr>
            <c:extLst>
              <c:ext xmlns:c16="http://schemas.microsoft.com/office/drawing/2014/chart" uri="{C3380CC4-5D6E-409C-BE32-E72D297353CC}">
                <c16:uniqueId val="{00000FD9-7BE2-49F1-B47F-64DDA7BF3F9D}"/>
              </c:ext>
            </c:extLst>
          </c:dPt>
          <c:dPt>
            <c:idx val="2028"/>
            <c:invertIfNegative val="1"/>
            <c:bubble3D val="0"/>
            <c:spPr>
              <a:solidFill>
                <a:srgbClr val="AEABAB"/>
              </a:solidFill>
            </c:spPr>
            <c:extLst>
              <c:ext xmlns:c16="http://schemas.microsoft.com/office/drawing/2014/chart" uri="{C3380CC4-5D6E-409C-BE32-E72D297353CC}">
                <c16:uniqueId val="{00000FDB-7BE2-49F1-B47F-64DDA7BF3F9D}"/>
              </c:ext>
            </c:extLst>
          </c:dPt>
          <c:dPt>
            <c:idx val="2029"/>
            <c:invertIfNegative val="1"/>
            <c:bubble3D val="0"/>
            <c:spPr>
              <a:solidFill>
                <a:srgbClr val="AEABAB"/>
              </a:solidFill>
            </c:spPr>
            <c:extLst>
              <c:ext xmlns:c16="http://schemas.microsoft.com/office/drawing/2014/chart" uri="{C3380CC4-5D6E-409C-BE32-E72D297353CC}">
                <c16:uniqueId val="{00000FDD-7BE2-49F1-B47F-64DDA7BF3F9D}"/>
              </c:ext>
            </c:extLst>
          </c:dPt>
          <c:dPt>
            <c:idx val="2030"/>
            <c:invertIfNegative val="1"/>
            <c:bubble3D val="0"/>
            <c:spPr>
              <a:solidFill>
                <a:srgbClr val="AEABAB"/>
              </a:solidFill>
            </c:spPr>
            <c:extLst>
              <c:ext xmlns:c16="http://schemas.microsoft.com/office/drawing/2014/chart" uri="{C3380CC4-5D6E-409C-BE32-E72D297353CC}">
                <c16:uniqueId val="{00000FDF-7BE2-49F1-B47F-64DDA7BF3F9D}"/>
              </c:ext>
            </c:extLst>
          </c:dPt>
          <c:dPt>
            <c:idx val="2031"/>
            <c:invertIfNegative val="1"/>
            <c:bubble3D val="0"/>
            <c:spPr>
              <a:solidFill>
                <a:srgbClr val="AEABAB"/>
              </a:solidFill>
            </c:spPr>
            <c:extLst>
              <c:ext xmlns:c16="http://schemas.microsoft.com/office/drawing/2014/chart" uri="{C3380CC4-5D6E-409C-BE32-E72D297353CC}">
                <c16:uniqueId val="{00000FE1-7BE2-49F1-B47F-64DDA7BF3F9D}"/>
              </c:ext>
            </c:extLst>
          </c:dPt>
          <c:dPt>
            <c:idx val="2032"/>
            <c:invertIfNegative val="1"/>
            <c:bubble3D val="0"/>
            <c:spPr>
              <a:solidFill>
                <a:srgbClr val="AEABAB"/>
              </a:solidFill>
            </c:spPr>
            <c:extLst>
              <c:ext xmlns:c16="http://schemas.microsoft.com/office/drawing/2014/chart" uri="{C3380CC4-5D6E-409C-BE32-E72D297353CC}">
                <c16:uniqueId val="{00000FE3-7BE2-49F1-B47F-64DDA7BF3F9D}"/>
              </c:ext>
            </c:extLst>
          </c:dPt>
          <c:dPt>
            <c:idx val="2033"/>
            <c:invertIfNegative val="1"/>
            <c:bubble3D val="0"/>
            <c:spPr>
              <a:solidFill>
                <a:srgbClr val="AEABAB"/>
              </a:solidFill>
            </c:spPr>
            <c:extLst>
              <c:ext xmlns:c16="http://schemas.microsoft.com/office/drawing/2014/chart" uri="{C3380CC4-5D6E-409C-BE32-E72D297353CC}">
                <c16:uniqueId val="{00000FE5-7BE2-49F1-B47F-64DDA7BF3F9D}"/>
              </c:ext>
            </c:extLst>
          </c:dPt>
          <c:dPt>
            <c:idx val="2034"/>
            <c:invertIfNegative val="1"/>
            <c:bubble3D val="0"/>
            <c:spPr>
              <a:solidFill>
                <a:srgbClr val="AEABAB"/>
              </a:solidFill>
            </c:spPr>
            <c:extLst>
              <c:ext xmlns:c16="http://schemas.microsoft.com/office/drawing/2014/chart" uri="{C3380CC4-5D6E-409C-BE32-E72D297353CC}">
                <c16:uniqueId val="{00000FE7-7BE2-49F1-B47F-64DDA7BF3F9D}"/>
              </c:ext>
            </c:extLst>
          </c:dPt>
          <c:dPt>
            <c:idx val="2035"/>
            <c:invertIfNegative val="1"/>
            <c:bubble3D val="0"/>
            <c:spPr>
              <a:solidFill>
                <a:srgbClr val="AEABAB"/>
              </a:solidFill>
            </c:spPr>
            <c:extLst>
              <c:ext xmlns:c16="http://schemas.microsoft.com/office/drawing/2014/chart" uri="{C3380CC4-5D6E-409C-BE32-E72D297353CC}">
                <c16:uniqueId val="{00000FE9-7BE2-49F1-B47F-64DDA7BF3F9D}"/>
              </c:ext>
            </c:extLst>
          </c:dPt>
          <c:dPt>
            <c:idx val="2036"/>
            <c:invertIfNegative val="1"/>
            <c:bubble3D val="0"/>
            <c:spPr>
              <a:solidFill>
                <a:srgbClr val="AEABAB"/>
              </a:solidFill>
            </c:spPr>
            <c:extLst>
              <c:ext xmlns:c16="http://schemas.microsoft.com/office/drawing/2014/chart" uri="{C3380CC4-5D6E-409C-BE32-E72D297353CC}">
                <c16:uniqueId val="{00000FEB-7BE2-49F1-B47F-64DDA7BF3F9D}"/>
              </c:ext>
            </c:extLst>
          </c:dPt>
          <c:dPt>
            <c:idx val="2037"/>
            <c:invertIfNegative val="1"/>
            <c:bubble3D val="0"/>
            <c:spPr>
              <a:solidFill>
                <a:srgbClr val="AEABAB"/>
              </a:solidFill>
            </c:spPr>
            <c:extLst>
              <c:ext xmlns:c16="http://schemas.microsoft.com/office/drawing/2014/chart" uri="{C3380CC4-5D6E-409C-BE32-E72D297353CC}">
                <c16:uniqueId val="{00000FED-7BE2-49F1-B47F-64DDA7BF3F9D}"/>
              </c:ext>
            </c:extLst>
          </c:dPt>
          <c:dPt>
            <c:idx val="2038"/>
            <c:invertIfNegative val="1"/>
            <c:bubble3D val="0"/>
            <c:spPr>
              <a:solidFill>
                <a:srgbClr val="AEABAB"/>
              </a:solidFill>
            </c:spPr>
            <c:extLst>
              <c:ext xmlns:c16="http://schemas.microsoft.com/office/drawing/2014/chart" uri="{C3380CC4-5D6E-409C-BE32-E72D297353CC}">
                <c16:uniqueId val="{00000FEF-7BE2-49F1-B47F-64DDA7BF3F9D}"/>
              </c:ext>
            </c:extLst>
          </c:dPt>
          <c:dPt>
            <c:idx val="2039"/>
            <c:invertIfNegative val="1"/>
            <c:bubble3D val="0"/>
            <c:spPr>
              <a:solidFill>
                <a:srgbClr val="AEABAB"/>
              </a:solidFill>
            </c:spPr>
            <c:extLst>
              <c:ext xmlns:c16="http://schemas.microsoft.com/office/drawing/2014/chart" uri="{C3380CC4-5D6E-409C-BE32-E72D297353CC}">
                <c16:uniqueId val="{00000FF1-7BE2-49F1-B47F-64DDA7BF3F9D}"/>
              </c:ext>
            </c:extLst>
          </c:dPt>
          <c:dPt>
            <c:idx val="2040"/>
            <c:invertIfNegative val="1"/>
            <c:bubble3D val="0"/>
            <c:spPr>
              <a:solidFill>
                <a:srgbClr val="AEABAB"/>
              </a:solidFill>
            </c:spPr>
            <c:extLst>
              <c:ext xmlns:c16="http://schemas.microsoft.com/office/drawing/2014/chart" uri="{C3380CC4-5D6E-409C-BE32-E72D297353CC}">
                <c16:uniqueId val="{00000FF3-7BE2-49F1-B47F-64DDA7BF3F9D}"/>
              </c:ext>
            </c:extLst>
          </c:dPt>
          <c:dPt>
            <c:idx val="2041"/>
            <c:invertIfNegative val="1"/>
            <c:bubble3D val="0"/>
            <c:spPr>
              <a:solidFill>
                <a:srgbClr val="AEABAB"/>
              </a:solidFill>
            </c:spPr>
            <c:extLst>
              <c:ext xmlns:c16="http://schemas.microsoft.com/office/drawing/2014/chart" uri="{C3380CC4-5D6E-409C-BE32-E72D297353CC}">
                <c16:uniqueId val="{00000FF5-7BE2-49F1-B47F-64DDA7BF3F9D}"/>
              </c:ext>
            </c:extLst>
          </c:dPt>
          <c:dPt>
            <c:idx val="2042"/>
            <c:invertIfNegative val="1"/>
            <c:bubble3D val="0"/>
            <c:spPr>
              <a:solidFill>
                <a:srgbClr val="AEABAB"/>
              </a:solidFill>
            </c:spPr>
            <c:extLst>
              <c:ext xmlns:c16="http://schemas.microsoft.com/office/drawing/2014/chart" uri="{C3380CC4-5D6E-409C-BE32-E72D297353CC}">
                <c16:uniqueId val="{00000FF7-7BE2-49F1-B47F-64DDA7BF3F9D}"/>
              </c:ext>
            </c:extLst>
          </c:dPt>
          <c:dPt>
            <c:idx val="2043"/>
            <c:invertIfNegative val="1"/>
            <c:bubble3D val="0"/>
            <c:spPr>
              <a:solidFill>
                <a:srgbClr val="AEABAB"/>
              </a:solidFill>
            </c:spPr>
            <c:extLst>
              <c:ext xmlns:c16="http://schemas.microsoft.com/office/drawing/2014/chart" uri="{C3380CC4-5D6E-409C-BE32-E72D297353CC}">
                <c16:uniqueId val="{00000FF9-7BE2-49F1-B47F-64DDA7BF3F9D}"/>
              </c:ext>
            </c:extLst>
          </c:dPt>
          <c:dPt>
            <c:idx val="2044"/>
            <c:invertIfNegative val="1"/>
            <c:bubble3D val="0"/>
            <c:spPr>
              <a:solidFill>
                <a:srgbClr val="AEABAB"/>
              </a:solidFill>
            </c:spPr>
            <c:extLst>
              <c:ext xmlns:c16="http://schemas.microsoft.com/office/drawing/2014/chart" uri="{C3380CC4-5D6E-409C-BE32-E72D297353CC}">
                <c16:uniqueId val="{00000FFB-7BE2-49F1-B47F-64DDA7BF3F9D}"/>
              </c:ext>
            </c:extLst>
          </c:dPt>
          <c:dPt>
            <c:idx val="2045"/>
            <c:invertIfNegative val="1"/>
            <c:bubble3D val="0"/>
            <c:spPr>
              <a:solidFill>
                <a:srgbClr val="AEABAB"/>
              </a:solidFill>
            </c:spPr>
            <c:extLst>
              <c:ext xmlns:c16="http://schemas.microsoft.com/office/drawing/2014/chart" uri="{C3380CC4-5D6E-409C-BE32-E72D297353CC}">
                <c16:uniqueId val="{00000FFD-7BE2-49F1-B47F-64DDA7BF3F9D}"/>
              </c:ext>
            </c:extLst>
          </c:dPt>
          <c:dPt>
            <c:idx val="2046"/>
            <c:invertIfNegative val="1"/>
            <c:bubble3D val="0"/>
            <c:spPr>
              <a:solidFill>
                <a:srgbClr val="AEABAB"/>
              </a:solidFill>
            </c:spPr>
            <c:extLst>
              <c:ext xmlns:c16="http://schemas.microsoft.com/office/drawing/2014/chart" uri="{C3380CC4-5D6E-409C-BE32-E72D297353CC}">
                <c16:uniqueId val="{00000FFF-7BE2-49F1-B47F-64DDA7BF3F9D}"/>
              </c:ext>
            </c:extLst>
          </c:dPt>
          <c:dPt>
            <c:idx val="2047"/>
            <c:invertIfNegative val="1"/>
            <c:bubble3D val="0"/>
            <c:spPr>
              <a:solidFill>
                <a:srgbClr val="AEABAB"/>
              </a:solidFill>
            </c:spPr>
            <c:extLst>
              <c:ext xmlns:c16="http://schemas.microsoft.com/office/drawing/2014/chart" uri="{C3380CC4-5D6E-409C-BE32-E72D297353CC}">
                <c16:uniqueId val="{00001001-7BE2-49F1-B47F-64DDA7BF3F9D}"/>
              </c:ext>
            </c:extLst>
          </c:dPt>
          <c:dPt>
            <c:idx val="2048"/>
            <c:invertIfNegative val="1"/>
            <c:bubble3D val="0"/>
            <c:spPr>
              <a:solidFill>
                <a:srgbClr val="AEABAB"/>
              </a:solidFill>
            </c:spPr>
            <c:extLst>
              <c:ext xmlns:c16="http://schemas.microsoft.com/office/drawing/2014/chart" uri="{C3380CC4-5D6E-409C-BE32-E72D297353CC}">
                <c16:uniqueId val="{00001003-7BE2-49F1-B47F-64DDA7BF3F9D}"/>
              </c:ext>
            </c:extLst>
          </c:dPt>
          <c:dPt>
            <c:idx val="2049"/>
            <c:invertIfNegative val="1"/>
            <c:bubble3D val="0"/>
            <c:spPr>
              <a:solidFill>
                <a:srgbClr val="AEABAB"/>
              </a:solidFill>
            </c:spPr>
            <c:extLst>
              <c:ext xmlns:c16="http://schemas.microsoft.com/office/drawing/2014/chart" uri="{C3380CC4-5D6E-409C-BE32-E72D297353CC}">
                <c16:uniqueId val="{00001005-7BE2-49F1-B47F-64DDA7BF3F9D}"/>
              </c:ext>
            </c:extLst>
          </c:dPt>
          <c:dPt>
            <c:idx val="2050"/>
            <c:invertIfNegative val="1"/>
            <c:bubble3D val="0"/>
            <c:spPr>
              <a:solidFill>
                <a:srgbClr val="AEABAB"/>
              </a:solidFill>
            </c:spPr>
            <c:extLst>
              <c:ext xmlns:c16="http://schemas.microsoft.com/office/drawing/2014/chart" uri="{C3380CC4-5D6E-409C-BE32-E72D297353CC}">
                <c16:uniqueId val="{00001007-7BE2-49F1-B47F-64DDA7BF3F9D}"/>
              </c:ext>
            </c:extLst>
          </c:dPt>
          <c:dPt>
            <c:idx val="2051"/>
            <c:invertIfNegative val="1"/>
            <c:bubble3D val="0"/>
            <c:spPr>
              <a:solidFill>
                <a:srgbClr val="AEABAB"/>
              </a:solidFill>
            </c:spPr>
            <c:extLst>
              <c:ext xmlns:c16="http://schemas.microsoft.com/office/drawing/2014/chart" uri="{C3380CC4-5D6E-409C-BE32-E72D297353CC}">
                <c16:uniqueId val="{00001009-7BE2-49F1-B47F-64DDA7BF3F9D}"/>
              </c:ext>
            </c:extLst>
          </c:dPt>
          <c:dPt>
            <c:idx val="2052"/>
            <c:invertIfNegative val="1"/>
            <c:bubble3D val="0"/>
            <c:spPr>
              <a:solidFill>
                <a:srgbClr val="AEABAB"/>
              </a:solidFill>
            </c:spPr>
            <c:extLst>
              <c:ext xmlns:c16="http://schemas.microsoft.com/office/drawing/2014/chart" uri="{C3380CC4-5D6E-409C-BE32-E72D297353CC}">
                <c16:uniqueId val="{0000100B-7BE2-49F1-B47F-64DDA7BF3F9D}"/>
              </c:ext>
            </c:extLst>
          </c:dPt>
          <c:dPt>
            <c:idx val="2053"/>
            <c:invertIfNegative val="1"/>
            <c:bubble3D val="0"/>
            <c:spPr>
              <a:solidFill>
                <a:srgbClr val="AEABAB"/>
              </a:solidFill>
            </c:spPr>
            <c:extLst>
              <c:ext xmlns:c16="http://schemas.microsoft.com/office/drawing/2014/chart" uri="{C3380CC4-5D6E-409C-BE32-E72D297353CC}">
                <c16:uniqueId val="{0000100D-7BE2-49F1-B47F-64DDA7BF3F9D}"/>
              </c:ext>
            </c:extLst>
          </c:dPt>
          <c:dPt>
            <c:idx val="2054"/>
            <c:invertIfNegative val="1"/>
            <c:bubble3D val="0"/>
            <c:spPr>
              <a:solidFill>
                <a:srgbClr val="AEABAB"/>
              </a:solidFill>
            </c:spPr>
            <c:extLst>
              <c:ext xmlns:c16="http://schemas.microsoft.com/office/drawing/2014/chart" uri="{C3380CC4-5D6E-409C-BE32-E72D297353CC}">
                <c16:uniqueId val="{0000100F-7BE2-49F1-B47F-64DDA7BF3F9D}"/>
              </c:ext>
            </c:extLst>
          </c:dPt>
          <c:dPt>
            <c:idx val="2055"/>
            <c:invertIfNegative val="1"/>
            <c:bubble3D val="0"/>
            <c:spPr>
              <a:solidFill>
                <a:srgbClr val="AEABAB"/>
              </a:solidFill>
            </c:spPr>
            <c:extLst>
              <c:ext xmlns:c16="http://schemas.microsoft.com/office/drawing/2014/chart" uri="{C3380CC4-5D6E-409C-BE32-E72D297353CC}">
                <c16:uniqueId val="{00001011-7BE2-49F1-B47F-64DDA7BF3F9D}"/>
              </c:ext>
            </c:extLst>
          </c:dPt>
          <c:dPt>
            <c:idx val="2056"/>
            <c:invertIfNegative val="1"/>
            <c:bubble3D val="0"/>
            <c:spPr>
              <a:solidFill>
                <a:srgbClr val="AEABAB"/>
              </a:solidFill>
            </c:spPr>
            <c:extLst>
              <c:ext xmlns:c16="http://schemas.microsoft.com/office/drawing/2014/chart" uri="{C3380CC4-5D6E-409C-BE32-E72D297353CC}">
                <c16:uniqueId val="{00001013-7BE2-49F1-B47F-64DDA7BF3F9D}"/>
              </c:ext>
            </c:extLst>
          </c:dPt>
          <c:dPt>
            <c:idx val="2057"/>
            <c:invertIfNegative val="1"/>
            <c:bubble3D val="0"/>
            <c:spPr>
              <a:solidFill>
                <a:srgbClr val="AEABAB"/>
              </a:solidFill>
            </c:spPr>
            <c:extLst>
              <c:ext xmlns:c16="http://schemas.microsoft.com/office/drawing/2014/chart" uri="{C3380CC4-5D6E-409C-BE32-E72D297353CC}">
                <c16:uniqueId val="{00001015-7BE2-49F1-B47F-64DDA7BF3F9D}"/>
              </c:ext>
            </c:extLst>
          </c:dPt>
          <c:dPt>
            <c:idx val="2058"/>
            <c:invertIfNegative val="1"/>
            <c:bubble3D val="0"/>
            <c:spPr>
              <a:solidFill>
                <a:srgbClr val="AEABAB"/>
              </a:solidFill>
            </c:spPr>
            <c:extLst>
              <c:ext xmlns:c16="http://schemas.microsoft.com/office/drawing/2014/chart" uri="{C3380CC4-5D6E-409C-BE32-E72D297353CC}">
                <c16:uniqueId val="{00001017-7BE2-49F1-B47F-64DDA7BF3F9D}"/>
              </c:ext>
            </c:extLst>
          </c:dPt>
          <c:dPt>
            <c:idx val="2059"/>
            <c:invertIfNegative val="1"/>
            <c:bubble3D val="0"/>
            <c:spPr>
              <a:solidFill>
                <a:srgbClr val="AEABAB"/>
              </a:solidFill>
            </c:spPr>
            <c:extLst>
              <c:ext xmlns:c16="http://schemas.microsoft.com/office/drawing/2014/chart" uri="{C3380CC4-5D6E-409C-BE32-E72D297353CC}">
                <c16:uniqueId val="{00001019-7BE2-49F1-B47F-64DDA7BF3F9D}"/>
              </c:ext>
            </c:extLst>
          </c:dPt>
          <c:dPt>
            <c:idx val="2060"/>
            <c:invertIfNegative val="1"/>
            <c:bubble3D val="0"/>
            <c:spPr>
              <a:solidFill>
                <a:srgbClr val="AEABAB"/>
              </a:solidFill>
            </c:spPr>
            <c:extLst>
              <c:ext xmlns:c16="http://schemas.microsoft.com/office/drawing/2014/chart" uri="{C3380CC4-5D6E-409C-BE32-E72D297353CC}">
                <c16:uniqueId val="{0000101B-7BE2-49F1-B47F-64DDA7BF3F9D}"/>
              </c:ext>
            </c:extLst>
          </c:dPt>
          <c:dPt>
            <c:idx val="2061"/>
            <c:invertIfNegative val="1"/>
            <c:bubble3D val="0"/>
            <c:spPr>
              <a:solidFill>
                <a:srgbClr val="AEABAB"/>
              </a:solidFill>
            </c:spPr>
            <c:extLst>
              <c:ext xmlns:c16="http://schemas.microsoft.com/office/drawing/2014/chart" uri="{C3380CC4-5D6E-409C-BE32-E72D297353CC}">
                <c16:uniqueId val="{0000101D-7BE2-49F1-B47F-64DDA7BF3F9D}"/>
              </c:ext>
            </c:extLst>
          </c:dPt>
          <c:dPt>
            <c:idx val="2062"/>
            <c:invertIfNegative val="1"/>
            <c:bubble3D val="0"/>
            <c:spPr>
              <a:solidFill>
                <a:srgbClr val="AEABAB"/>
              </a:solidFill>
            </c:spPr>
            <c:extLst>
              <c:ext xmlns:c16="http://schemas.microsoft.com/office/drawing/2014/chart" uri="{C3380CC4-5D6E-409C-BE32-E72D297353CC}">
                <c16:uniqueId val="{0000101F-7BE2-49F1-B47F-64DDA7BF3F9D}"/>
              </c:ext>
            </c:extLst>
          </c:dPt>
          <c:dPt>
            <c:idx val="2063"/>
            <c:invertIfNegative val="1"/>
            <c:bubble3D val="0"/>
            <c:spPr>
              <a:solidFill>
                <a:srgbClr val="AEABAB"/>
              </a:solidFill>
            </c:spPr>
            <c:extLst>
              <c:ext xmlns:c16="http://schemas.microsoft.com/office/drawing/2014/chart" uri="{C3380CC4-5D6E-409C-BE32-E72D297353CC}">
                <c16:uniqueId val="{00001021-7BE2-49F1-B47F-64DDA7BF3F9D}"/>
              </c:ext>
            </c:extLst>
          </c:dPt>
          <c:dPt>
            <c:idx val="2064"/>
            <c:invertIfNegative val="1"/>
            <c:bubble3D val="0"/>
            <c:spPr>
              <a:solidFill>
                <a:srgbClr val="AEABAB"/>
              </a:solidFill>
            </c:spPr>
            <c:extLst>
              <c:ext xmlns:c16="http://schemas.microsoft.com/office/drawing/2014/chart" uri="{C3380CC4-5D6E-409C-BE32-E72D297353CC}">
                <c16:uniqueId val="{00001023-7BE2-49F1-B47F-64DDA7BF3F9D}"/>
              </c:ext>
            </c:extLst>
          </c:dPt>
          <c:dPt>
            <c:idx val="2065"/>
            <c:invertIfNegative val="1"/>
            <c:bubble3D val="0"/>
            <c:spPr>
              <a:solidFill>
                <a:srgbClr val="AEABAB"/>
              </a:solidFill>
            </c:spPr>
            <c:extLst>
              <c:ext xmlns:c16="http://schemas.microsoft.com/office/drawing/2014/chart" uri="{C3380CC4-5D6E-409C-BE32-E72D297353CC}">
                <c16:uniqueId val="{00001025-7BE2-49F1-B47F-64DDA7BF3F9D}"/>
              </c:ext>
            </c:extLst>
          </c:dPt>
          <c:dPt>
            <c:idx val="2066"/>
            <c:invertIfNegative val="1"/>
            <c:bubble3D val="0"/>
            <c:spPr>
              <a:solidFill>
                <a:srgbClr val="AEABAB"/>
              </a:solidFill>
            </c:spPr>
            <c:extLst>
              <c:ext xmlns:c16="http://schemas.microsoft.com/office/drawing/2014/chart" uri="{C3380CC4-5D6E-409C-BE32-E72D297353CC}">
                <c16:uniqueId val="{00001027-7BE2-49F1-B47F-64DDA7BF3F9D}"/>
              </c:ext>
            </c:extLst>
          </c:dPt>
          <c:dPt>
            <c:idx val="2067"/>
            <c:invertIfNegative val="1"/>
            <c:bubble3D val="0"/>
            <c:spPr>
              <a:solidFill>
                <a:srgbClr val="AEABAB"/>
              </a:solidFill>
            </c:spPr>
            <c:extLst>
              <c:ext xmlns:c16="http://schemas.microsoft.com/office/drawing/2014/chart" uri="{C3380CC4-5D6E-409C-BE32-E72D297353CC}">
                <c16:uniqueId val="{00001029-7BE2-49F1-B47F-64DDA7BF3F9D}"/>
              </c:ext>
            </c:extLst>
          </c:dPt>
          <c:dPt>
            <c:idx val="2068"/>
            <c:invertIfNegative val="1"/>
            <c:bubble3D val="0"/>
            <c:spPr>
              <a:solidFill>
                <a:srgbClr val="AEABAB"/>
              </a:solidFill>
            </c:spPr>
            <c:extLst>
              <c:ext xmlns:c16="http://schemas.microsoft.com/office/drawing/2014/chart" uri="{C3380CC4-5D6E-409C-BE32-E72D297353CC}">
                <c16:uniqueId val="{0000102B-7BE2-49F1-B47F-64DDA7BF3F9D}"/>
              </c:ext>
            </c:extLst>
          </c:dPt>
          <c:dPt>
            <c:idx val="2069"/>
            <c:invertIfNegative val="1"/>
            <c:bubble3D val="0"/>
            <c:spPr>
              <a:solidFill>
                <a:srgbClr val="AEABAB"/>
              </a:solidFill>
            </c:spPr>
            <c:extLst>
              <c:ext xmlns:c16="http://schemas.microsoft.com/office/drawing/2014/chart" uri="{C3380CC4-5D6E-409C-BE32-E72D297353CC}">
                <c16:uniqueId val="{0000102D-7BE2-49F1-B47F-64DDA7BF3F9D}"/>
              </c:ext>
            </c:extLst>
          </c:dPt>
          <c:dPt>
            <c:idx val="2070"/>
            <c:invertIfNegative val="1"/>
            <c:bubble3D val="0"/>
            <c:spPr>
              <a:solidFill>
                <a:srgbClr val="AEABAB"/>
              </a:solidFill>
            </c:spPr>
            <c:extLst>
              <c:ext xmlns:c16="http://schemas.microsoft.com/office/drawing/2014/chart" uri="{C3380CC4-5D6E-409C-BE32-E72D297353CC}">
                <c16:uniqueId val="{0000102F-7BE2-49F1-B47F-64DDA7BF3F9D}"/>
              </c:ext>
            </c:extLst>
          </c:dPt>
          <c:dPt>
            <c:idx val="2071"/>
            <c:invertIfNegative val="1"/>
            <c:bubble3D val="0"/>
            <c:spPr>
              <a:solidFill>
                <a:srgbClr val="AEABAB"/>
              </a:solidFill>
            </c:spPr>
            <c:extLst>
              <c:ext xmlns:c16="http://schemas.microsoft.com/office/drawing/2014/chart" uri="{C3380CC4-5D6E-409C-BE32-E72D297353CC}">
                <c16:uniqueId val="{00001031-7BE2-49F1-B47F-64DDA7BF3F9D}"/>
              </c:ext>
            </c:extLst>
          </c:dPt>
          <c:dPt>
            <c:idx val="2072"/>
            <c:invertIfNegative val="1"/>
            <c:bubble3D val="0"/>
            <c:spPr>
              <a:solidFill>
                <a:srgbClr val="AEABAB"/>
              </a:solidFill>
            </c:spPr>
            <c:extLst>
              <c:ext xmlns:c16="http://schemas.microsoft.com/office/drawing/2014/chart" uri="{C3380CC4-5D6E-409C-BE32-E72D297353CC}">
                <c16:uniqueId val="{00001033-7BE2-49F1-B47F-64DDA7BF3F9D}"/>
              </c:ext>
            </c:extLst>
          </c:dPt>
          <c:dPt>
            <c:idx val="2073"/>
            <c:invertIfNegative val="1"/>
            <c:bubble3D val="0"/>
            <c:spPr>
              <a:solidFill>
                <a:srgbClr val="AEABAB"/>
              </a:solidFill>
            </c:spPr>
            <c:extLst>
              <c:ext xmlns:c16="http://schemas.microsoft.com/office/drawing/2014/chart" uri="{C3380CC4-5D6E-409C-BE32-E72D297353CC}">
                <c16:uniqueId val="{00001035-7BE2-49F1-B47F-64DDA7BF3F9D}"/>
              </c:ext>
            </c:extLst>
          </c:dPt>
          <c:dPt>
            <c:idx val="2074"/>
            <c:invertIfNegative val="1"/>
            <c:bubble3D val="0"/>
            <c:spPr>
              <a:solidFill>
                <a:srgbClr val="AEABAB"/>
              </a:solidFill>
            </c:spPr>
            <c:extLst>
              <c:ext xmlns:c16="http://schemas.microsoft.com/office/drawing/2014/chart" uri="{C3380CC4-5D6E-409C-BE32-E72D297353CC}">
                <c16:uniqueId val="{00001037-7BE2-49F1-B47F-64DDA7BF3F9D}"/>
              </c:ext>
            </c:extLst>
          </c:dPt>
          <c:dPt>
            <c:idx val="2075"/>
            <c:invertIfNegative val="1"/>
            <c:bubble3D val="0"/>
            <c:spPr>
              <a:solidFill>
                <a:srgbClr val="AEABAB"/>
              </a:solidFill>
            </c:spPr>
            <c:extLst>
              <c:ext xmlns:c16="http://schemas.microsoft.com/office/drawing/2014/chart" uri="{C3380CC4-5D6E-409C-BE32-E72D297353CC}">
                <c16:uniqueId val="{00001039-7BE2-49F1-B47F-64DDA7BF3F9D}"/>
              </c:ext>
            </c:extLst>
          </c:dPt>
          <c:dPt>
            <c:idx val="2076"/>
            <c:invertIfNegative val="1"/>
            <c:bubble3D val="0"/>
            <c:spPr>
              <a:solidFill>
                <a:srgbClr val="AEABAB"/>
              </a:solidFill>
            </c:spPr>
            <c:extLst>
              <c:ext xmlns:c16="http://schemas.microsoft.com/office/drawing/2014/chart" uri="{C3380CC4-5D6E-409C-BE32-E72D297353CC}">
                <c16:uniqueId val="{0000103B-7BE2-49F1-B47F-64DDA7BF3F9D}"/>
              </c:ext>
            </c:extLst>
          </c:dPt>
          <c:dPt>
            <c:idx val="2077"/>
            <c:invertIfNegative val="1"/>
            <c:bubble3D val="0"/>
            <c:spPr>
              <a:solidFill>
                <a:srgbClr val="AEABAB"/>
              </a:solidFill>
            </c:spPr>
            <c:extLst>
              <c:ext xmlns:c16="http://schemas.microsoft.com/office/drawing/2014/chart" uri="{C3380CC4-5D6E-409C-BE32-E72D297353CC}">
                <c16:uniqueId val="{0000103D-7BE2-49F1-B47F-64DDA7BF3F9D}"/>
              </c:ext>
            </c:extLst>
          </c:dPt>
          <c:dPt>
            <c:idx val="2078"/>
            <c:invertIfNegative val="1"/>
            <c:bubble3D val="0"/>
            <c:spPr>
              <a:solidFill>
                <a:srgbClr val="AEABAB"/>
              </a:solidFill>
            </c:spPr>
            <c:extLst>
              <c:ext xmlns:c16="http://schemas.microsoft.com/office/drawing/2014/chart" uri="{C3380CC4-5D6E-409C-BE32-E72D297353CC}">
                <c16:uniqueId val="{0000103F-7BE2-49F1-B47F-64DDA7BF3F9D}"/>
              </c:ext>
            </c:extLst>
          </c:dPt>
          <c:dPt>
            <c:idx val="2079"/>
            <c:invertIfNegative val="1"/>
            <c:bubble3D val="0"/>
            <c:spPr>
              <a:solidFill>
                <a:srgbClr val="AEABAB"/>
              </a:solidFill>
            </c:spPr>
            <c:extLst>
              <c:ext xmlns:c16="http://schemas.microsoft.com/office/drawing/2014/chart" uri="{C3380CC4-5D6E-409C-BE32-E72D297353CC}">
                <c16:uniqueId val="{00001041-7BE2-49F1-B47F-64DDA7BF3F9D}"/>
              </c:ext>
            </c:extLst>
          </c:dPt>
          <c:dPt>
            <c:idx val="2080"/>
            <c:invertIfNegative val="1"/>
            <c:bubble3D val="0"/>
            <c:spPr>
              <a:solidFill>
                <a:srgbClr val="AEABAB"/>
              </a:solidFill>
            </c:spPr>
            <c:extLst>
              <c:ext xmlns:c16="http://schemas.microsoft.com/office/drawing/2014/chart" uri="{C3380CC4-5D6E-409C-BE32-E72D297353CC}">
                <c16:uniqueId val="{00001043-7BE2-49F1-B47F-64DDA7BF3F9D}"/>
              </c:ext>
            </c:extLst>
          </c:dPt>
          <c:dPt>
            <c:idx val="2081"/>
            <c:invertIfNegative val="1"/>
            <c:bubble3D val="0"/>
            <c:spPr>
              <a:solidFill>
                <a:srgbClr val="AEABAB"/>
              </a:solidFill>
            </c:spPr>
            <c:extLst>
              <c:ext xmlns:c16="http://schemas.microsoft.com/office/drawing/2014/chart" uri="{C3380CC4-5D6E-409C-BE32-E72D297353CC}">
                <c16:uniqueId val="{00001045-7BE2-49F1-B47F-64DDA7BF3F9D}"/>
              </c:ext>
            </c:extLst>
          </c:dPt>
          <c:dPt>
            <c:idx val="2082"/>
            <c:invertIfNegative val="1"/>
            <c:bubble3D val="0"/>
            <c:spPr>
              <a:solidFill>
                <a:srgbClr val="AEABAB"/>
              </a:solidFill>
            </c:spPr>
            <c:extLst>
              <c:ext xmlns:c16="http://schemas.microsoft.com/office/drawing/2014/chart" uri="{C3380CC4-5D6E-409C-BE32-E72D297353CC}">
                <c16:uniqueId val="{00001047-7BE2-49F1-B47F-64DDA7BF3F9D}"/>
              </c:ext>
            </c:extLst>
          </c:dPt>
          <c:dPt>
            <c:idx val="2083"/>
            <c:invertIfNegative val="1"/>
            <c:bubble3D val="0"/>
            <c:spPr>
              <a:solidFill>
                <a:srgbClr val="AEABAB"/>
              </a:solidFill>
            </c:spPr>
            <c:extLst>
              <c:ext xmlns:c16="http://schemas.microsoft.com/office/drawing/2014/chart" uri="{C3380CC4-5D6E-409C-BE32-E72D297353CC}">
                <c16:uniqueId val="{00001049-7BE2-49F1-B47F-64DDA7BF3F9D}"/>
              </c:ext>
            </c:extLst>
          </c:dPt>
          <c:dPt>
            <c:idx val="2084"/>
            <c:invertIfNegative val="1"/>
            <c:bubble3D val="0"/>
            <c:spPr>
              <a:solidFill>
                <a:srgbClr val="AEABAB"/>
              </a:solidFill>
            </c:spPr>
            <c:extLst>
              <c:ext xmlns:c16="http://schemas.microsoft.com/office/drawing/2014/chart" uri="{C3380CC4-5D6E-409C-BE32-E72D297353CC}">
                <c16:uniqueId val="{0000104B-7BE2-49F1-B47F-64DDA7BF3F9D}"/>
              </c:ext>
            </c:extLst>
          </c:dPt>
          <c:dPt>
            <c:idx val="2085"/>
            <c:invertIfNegative val="1"/>
            <c:bubble3D val="0"/>
            <c:spPr>
              <a:solidFill>
                <a:srgbClr val="AEABAB"/>
              </a:solidFill>
            </c:spPr>
            <c:extLst>
              <c:ext xmlns:c16="http://schemas.microsoft.com/office/drawing/2014/chart" uri="{C3380CC4-5D6E-409C-BE32-E72D297353CC}">
                <c16:uniqueId val="{0000104D-7BE2-49F1-B47F-64DDA7BF3F9D}"/>
              </c:ext>
            </c:extLst>
          </c:dPt>
          <c:dPt>
            <c:idx val="2086"/>
            <c:invertIfNegative val="1"/>
            <c:bubble3D val="0"/>
            <c:spPr>
              <a:solidFill>
                <a:srgbClr val="AEABAB"/>
              </a:solidFill>
            </c:spPr>
            <c:extLst>
              <c:ext xmlns:c16="http://schemas.microsoft.com/office/drawing/2014/chart" uri="{C3380CC4-5D6E-409C-BE32-E72D297353CC}">
                <c16:uniqueId val="{0000104F-7BE2-49F1-B47F-64DDA7BF3F9D}"/>
              </c:ext>
            </c:extLst>
          </c:dPt>
          <c:dPt>
            <c:idx val="2087"/>
            <c:invertIfNegative val="1"/>
            <c:bubble3D val="0"/>
            <c:spPr>
              <a:solidFill>
                <a:srgbClr val="AEABAB"/>
              </a:solidFill>
            </c:spPr>
            <c:extLst>
              <c:ext xmlns:c16="http://schemas.microsoft.com/office/drawing/2014/chart" uri="{C3380CC4-5D6E-409C-BE32-E72D297353CC}">
                <c16:uniqueId val="{00001051-7BE2-49F1-B47F-64DDA7BF3F9D}"/>
              </c:ext>
            </c:extLst>
          </c:dPt>
          <c:dPt>
            <c:idx val="2088"/>
            <c:invertIfNegative val="1"/>
            <c:bubble3D val="0"/>
            <c:spPr>
              <a:solidFill>
                <a:srgbClr val="AEABAB"/>
              </a:solidFill>
            </c:spPr>
            <c:extLst>
              <c:ext xmlns:c16="http://schemas.microsoft.com/office/drawing/2014/chart" uri="{C3380CC4-5D6E-409C-BE32-E72D297353CC}">
                <c16:uniqueId val="{00001053-7BE2-49F1-B47F-64DDA7BF3F9D}"/>
              </c:ext>
            </c:extLst>
          </c:dPt>
          <c:dPt>
            <c:idx val="2089"/>
            <c:invertIfNegative val="1"/>
            <c:bubble3D val="0"/>
            <c:spPr>
              <a:solidFill>
                <a:srgbClr val="AEABAB"/>
              </a:solidFill>
            </c:spPr>
            <c:extLst>
              <c:ext xmlns:c16="http://schemas.microsoft.com/office/drawing/2014/chart" uri="{C3380CC4-5D6E-409C-BE32-E72D297353CC}">
                <c16:uniqueId val="{00001055-7BE2-49F1-B47F-64DDA7BF3F9D}"/>
              </c:ext>
            </c:extLst>
          </c:dPt>
          <c:dPt>
            <c:idx val="2090"/>
            <c:invertIfNegative val="1"/>
            <c:bubble3D val="0"/>
            <c:spPr>
              <a:solidFill>
                <a:srgbClr val="AEABAB"/>
              </a:solidFill>
            </c:spPr>
            <c:extLst>
              <c:ext xmlns:c16="http://schemas.microsoft.com/office/drawing/2014/chart" uri="{C3380CC4-5D6E-409C-BE32-E72D297353CC}">
                <c16:uniqueId val="{00001057-7BE2-49F1-B47F-64DDA7BF3F9D}"/>
              </c:ext>
            </c:extLst>
          </c:dPt>
          <c:dPt>
            <c:idx val="2091"/>
            <c:invertIfNegative val="1"/>
            <c:bubble3D val="0"/>
            <c:spPr>
              <a:solidFill>
                <a:srgbClr val="AEABAB"/>
              </a:solidFill>
            </c:spPr>
            <c:extLst>
              <c:ext xmlns:c16="http://schemas.microsoft.com/office/drawing/2014/chart" uri="{C3380CC4-5D6E-409C-BE32-E72D297353CC}">
                <c16:uniqueId val="{00001059-7BE2-49F1-B47F-64DDA7BF3F9D}"/>
              </c:ext>
            </c:extLst>
          </c:dPt>
          <c:dPt>
            <c:idx val="2092"/>
            <c:invertIfNegative val="1"/>
            <c:bubble3D val="0"/>
            <c:spPr>
              <a:solidFill>
                <a:srgbClr val="AEABAB"/>
              </a:solidFill>
            </c:spPr>
            <c:extLst>
              <c:ext xmlns:c16="http://schemas.microsoft.com/office/drawing/2014/chart" uri="{C3380CC4-5D6E-409C-BE32-E72D297353CC}">
                <c16:uniqueId val="{0000105B-7BE2-49F1-B47F-64DDA7BF3F9D}"/>
              </c:ext>
            </c:extLst>
          </c:dPt>
          <c:dPt>
            <c:idx val="2093"/>
            <c:invertIfNegative val="1"/>
            <c:bubble3D val="0"/>
            <c:spPr>
              <a:solidFill>
                <a:srgbClr val="AEABAB"/>
              </a:solidFill>
            </c:spPr>
            <c:extLst>
              <c:ext xmlns:c16="http://schemas.microsoft.com/office/drawing/2014/chart" uri="{C3380CC4-5D6E-409C-BE32-E72D297353CC}">
                <c16:uniqueId val="{0000105D-7BE2-49F1-B47F-64DDA7BF3F9D}"/>
              </c:ext>
            </c:extLst>
          </c:dPt>
          <c:dPt>
            <c:idx val="2094"/>
            <c:invertIfNegative val="1"/>
            <c:bubble3D val="0"/>
            <c:spPr>
              <a:solidFill>
                <a:srgbClr val="AEABAB"/>
              </a:solidFill>
            </c:spPr>
            <c:extLst>
              <c:ext xmlns:c16="http://schemas.microsoft.com/office/drawing/2014/chart" uri="{C3380CC4-5D6E-409C-BE32-E72D297353CC}">
                <c16:uniqueId val="{0000105F-7BE2-49F1-B47F-64DDA7BF3F9D}"/>
              </c:ext>
            </c:extLst>
          </c:dPt>
          <c:dPt>
            <c:idx val="2095"/>
            <c:invertIfNegative val="1"/>
            <c:bubble3D val="0"/>
            <c:spPr>
              <a:solidFill>
                <a:srgbClr val="AEABAB"/>
              </a:solidFill>
            </c:spPr>
            <c:extLst>
              <c:ext xmlns:c16="http://schemas.microsoft.com/office/drawing/2014/chart" uri="{C3380CC4-5D6E-409C-BE32-E72D297353CC}">
                <c16:uniqueId val="{00001061-7BE2-49F1-B47F-64DDA7BF3F9D}"/>
              </c:ext>
            </c:extLst>
          </c:dPt>
          <c:dPt>
            <c:idx val="2096"/>
            <c:invertIfNegative val="1"/>
            <c:bubble3D val="0"/>
            <c:spPr>
              <a:solidFill>
                <a:srgbClr val="AEABAB"/>
              </a:solidFill>
            </c:spPr>
            <c:extLst>
              <c:ext xmlns:c16="http://schemas.microsoft.com/office/drawing/2014/chart" uri="{C3380CC4-5D6E-409C-BE32-E72D297353CC}">
                <c16:uniqueId val="{00001063-7BE2-49F1-B47F-64DDA7BF3F9D}"/>
              </c:ext>
            </c:extLst>
          </c:dPt>
          <c:dPt>
            <c:idx val="2097"/>
            <c:invertIfNegative val="1"/>
            <c:bubble3D val="0"/>
            <c:spPr>
              <a:solidFill>
                <a:srgbClr val="AEABAB"/>
              </a:solidFill>
            </c:spPr>
            <c:extLst>
              <c:ext xmlns:c16="http://schemas.microsoft.com/office/drawing/2014/chart" uri="{C3380CC4-5D6E-409C-BE32-E72D297353CC}">
                <c16:uniqueId val="{00001065-7BE2-49F1-B47F-64DDA7BF3F9D}"/>
              </c:ext>
            </c:extLst>
          </c:dPt>
          <c:dPt>
            <c:idx val="2098"/>
            <c:invertIfNegative val="1"/>
            <c:bubble3D val="0"/>
            <c:spPr>
              <a:solidFill>
                <a:srgbClr val="AEABAB"/>
              </a:solidFill>
            </c:spPr>
            <c:extLst>
              <c:ext xmlns:c16="http://schemas.microsoft.com/office/drawing/2014/chart" uri="{C3380CC4-5D6E-409C-BE32-E72D297353CC}">
                <c16:uniqueId val="{00001067-7BE2-49F1-B47F-64DDA7BF3F9D}"/>
              </c:ext>
            </c:extLst>
          </c:dPt>
          <c:dPt>
            <c:idx val="2099"/>
            <c:invertIfNegative val="1"/>
            <c:bubble3D val="0"/>
            <c:spPr>
              <a:solidFill>
                <a:srgbClr val="AEABAB"/>
              </a:solidFill>
            </c:spPr>
            <c:extLst>
              <c:ext xmlns:c16="http://schemas.microsoft.com/office/drawing/2014/chart" uri="{C3380CC4-5D6E-409C-BE32-E72D297353CC}">
                <c16:uniqueId val="{00001069-7BE2-49F1-B47F-64DDA7BF3F9D}"/>
              </c:ext>
            </c:extLst>
          </c:dPt>
          <c:dPt>
            <c:idx val="2100"/>
            <c:invertIfNegative val="1"/>
            <c:bubble3D val="0"/>
            <c:spPr>
              <a:solidFill>
                <a:srgbClr val="AEABAB"/>
              </a:solidFill>
            </c:spPr>
            <c:extLst>
              <c:ext xmlns:c16="http://schemas.microsoft.com/office/drawing/2014/chart" uri="{C3380CC4-5D6E-409C-BE32-E72D297353CC}">
                <c16:uniqueId val="{0000106B-7BE2-49F1-B47F-64DDA7BF3F9D}"/>
              </c:ext>
            </c:extLst>
          </c:dPt>
          <c:dPt>
            <c:idx val="2101"/>
            <c:invertIfNegative val="1"/>
            <c:bubble3D val="0"/>
            <c:spPr>
              <a:solidFill>
                <a:srgbClr val="AEABAB"/>
              </a:solidFill>
            </c:spPr>
            <c:extLst>
              <c:ext xmlns:c16="http://schemas.microsoft.com/office/drawing/2014/chart" uri="{C3380CC4-5D6E-409C-BE32-E72D297353CC}">
                <c16:uniqueId val="{0000106D-7BE2-49F1-B47F-64DDA7BF3F9D}"/>
              </c:ext>
            </c:extLst>
          </c:dPt>
          <c:dPt>
            <c:idx val="2102"/>
            <c:invertIfNegative val="1"/>
            <c:bubble3D val="0"/>
            <c:spPr>
              <a:solidFill>
                <a:srgbClr val="AEABAB"/>
              </a:solidFill>
            </c:spPr>
            <c:extLst>
              <c:ext xmlns:c16="http://schemas.microsoft.com/office/drawing/2014/chart" uri="{C3380CC4-5D6E-409C-BE32-E72D297353CC}">
                <c16:uniqueId val="{0000106F-7BE2-49F1-B47F-64DDA7BF3F9D}"/>
              </c:ext>
            </c:extLst>
          </c:dPt>
          <c:dPt>
            <c:idx val="2103"/>
            <c:invertIfNegative val="1"/>
            <c:bubble3D val="0"/>
            <c:spPr>
              <a:solidFill>
                <a:srgbClr val="AEABAB"/>
              </a:solidFill>
            </c:spPr>
            <c:extLst>
              <c:ext xmlns:c16="http://schemas.microsoft.com/office/drawing/2014/chart" uri="{C3380CC4-5D6E-409C-BE32-E72D297353CC}">
                <c16:uniqueId val="{00001071-7BE2-49F1-B47F-64DDA7BF3F9D}"/>
              </c:ext>
            </c:extLst>
          </c:dPt>
          <c:dPt>
            <c:idx val="2104"/>
            <c:invertIfNegative val="1"/>
            <c:bubble3D val="0"/>
            <c:spPr>
              <a:solidFill>
                <a:srgbClr val="AEABAB"/>
              </a:solidFill>
            </c:spPr>
            <c:extLst>
              <c:ext xmlns:c16="http://schemas.microsoft.com/office/drawing/2014/chart" uri="{C3380CC4-5D6E-409C-BE32-E72D297353CC}">
                <c16:uniqueId val="{00001073-7BE2-49F1-B47F-64DDA7BF3F9D}"/>
              </c:ext>
            </c:extLst>
          </c:dPt>
          <c:dPt>
            <c:idx val="2105"/>
            <c:invertIfNegative val="1"/>
            <c:bubble3D val="0"/>
            <c:spPr>
              <a:solidFill>
                <a:srgbClr val="AEABAB"/>
              </a:solidFill>
            </c:spPr>
            <c:extLst>
              <c:ext xmlns:c16="http://schemas.microsoft.com/office/drawing/2014/chart" uri="{C3380CC4-5D6E-409C-BE32-E72D297353CC}">
                <c16:uniqueId val="{00001075-7BE2-49F1-B47F-64DDA7BF3F9D}"/>
              </c:ext>
            </c:extLst>
          </c:dPt>
          <c:dPt>
            <c:idx val="2106"/>
            <c:invertIfNegative val="1"/>
            <c:bubble3D val="0"/>
            <c:spPr>
              <a:solidFill>
                <a:srgbClr val="AEABAB"/>
              </a:solidFill>
            </c:spPr>
            <c:extLst>
              <c:ext xmlns:c16="http://schemas.microsoft.com/office/drawing/2014/chart" uri="{C3380CC4-5D6E-409C-BE32-E72D297353CC}">
                <c16:uniqueId val="{00001077-7BE2-49F1-B47F-64DDA7BF3F9D}"/>
              </c:ext>
            </c:extLst>
          </c:dPt>
          <c:dPt>
            <c:idx val="2107"/>
            <c:invertIfNegative val="1"/>
            <c:bubble3D val="0"/>
            <c:spPr>
              <a:solidFill>
                <a:srgbClr val="AEABAB"/>
              </a:solidFill>
            </c:spPr>
            <c:extLst>
              <c:ext xmlns:c16="http://schemas.microsoft.com/office/drawing/2014/chart" uri="{C3380CC4-5D6E-409C-BE32-E72D297353CC}">
                <c16:uniqueId val="{00001079-7BE2-49F1-B47F-64DDA7BF3F9D}"/>
              </c:ext>
            </c:extLst>
          </c:dPt>
          <c:dPt>
            <c:idx val="2108"/>
            <c:invertIfNegative val="1"/>
            <c:bubble3D val="0"/>
            <c:spPr>
              <a:solidFill>
                <a:srgbClr val="AEABAB"/>
              </a:solidFill>
            </c:spPr>
            <c:extLst>
              <c:ext xmlns:c16="http://schemas.microsoft.com/office/drawing/2014/chart" uri="{C3380CC4-5D6E-409C-BE32-E72D297353CC}">
                <c16:uniqueId val="{0000107B-7BE2-49F1-B47F-64DDA7BF3F9D}"/>
              </c:ext>
            </c:extLst>
          </c:dPt>
          <c:dPt>
            <c:idx val="2109"/>
            <c:invertIfNegative val="1"/>
            <c:bubble3D val="0"/>
            <c:spPr>
              <a:solidFill>
                <a:srgbClr val="AEABAB"/>
              </a:solidFill>
            </c:spPr>
            <c:extLst>
              <c:ext xmlns:c16="http://schemas.microsoft.com/office/drawing/2014/chart" uri="{C3380CC4-5D6E-409C-BE32-E72D297353CC}">
                <c16:uniqueId val="{0000107D-7BE2-49F1-B47F-64DDA7BF3F9D}"/>
              </c:ext>
            </c:extLst>
          </c:dPt>
          <c:dPt>
            <c:idx val="2110"/>
            <c:invertIfNegative val="1"/>
            <c:bubble3D val="0"/>
            <c:spPr>
              <a:solidFill>
                <a:srgbClr val="AEABAB"/>
              </a:solidFill>
            </c:spPr>
            <c:extLst>
              <c:ext xmlns:c16="http://schemas.microsoft.com/office/drawing/2014/chart" uri="{C3380CC4-5D6E-409C-BE32-E72D297353CC}">
                <c16:uniqueId val="{0000107F-7BE2-49F1-B47F-64DDA7BF3F9D}"/>
              </c:ext>
            </c:extLst>
          </c:dPt>
          <c:dPt>
            <c:idx val="2111"/>
            <c:invertIfNegative val="1"/>
            <c:bubble3D val="0"/>
            <c:spPr>
              <a:solidFill>
                <a:srgbClr val="AEABAB"/>
              </a:solidFill>
            </c:spPr>
            <c:extLst>
              <c:ext xmlns:c16="http://schemas.microsoft.com/office/drawing/2014/chart" uri="{C3380CC4-5D6E-409C-BE32-E72D297353CC}">
                <c16:uniqueId val="{00001081-7BE2-49F1-B47F-64DDA7BF3F9D}"/>
              </c:ext>
            </c:extLst>
          </c:dPt>
          <c:dPt>
            <c:idx val="2112"/>
            <c:invertIfNegative val="1"/>
            <c:bubble3D val="0"/>
            <c:spPr>
              <a:solidFill>
                <a:srgbClr val="AEABAB"/>
              </a:solidFill>
            </c:spPr>
            <c:extLst>
              <c:ext xmlns:c16="http://schemas.microsoft.com/office/drawing/2014/chart" uri="{C3380CC4-5D6E-409C-BE32-E72D297353CC}">
                <c16:uniqueId val="{00001083-7BE2-49F1-B47F-64DDA7BF3F9D}"/>
              </c:ext>
            </c:extLst>
          </c:dPt>
          <c:dPt>
            <c:idx val="2113"/>
            <c:invertIfNegative val="1"/>
            <c:bubble3D val="0"/>
            <c:spPr>
              <a:solidFill>
                <a:srgbClr val="AEABAB"/>
              </a:solidFill>
            </c:spPr>
            <c:extLst>
              <c:ext xmlns:c16="http://schemas.microsoft.com/office/drawing/2014/chart" uri="{C3380CC4-5D6E-409C-BE32-E72D297353CC}">
                <c16:uniqueId val="{00001085-7BE2-49F1-B47F-64DDA7BF3F9D}"/>
              </c:ext>
            </c:extLst>
          </c:dPt>
          <c:dPt>
            <c:idx val="2114"/>
            <c:invertIfNegative val="1"/>
            <c:bubble3D val="0"/>
            <c:spPr>
              <a:solidFill>
                <a:srgbClr val="AEABAB"/>
              </a:solidFill>
            </c:spPr>
            <c:extLst>
              <c:ext xmlns:c16="http://schemas.microsoft.com/office/drawing/2014/chart" uri="{C3380CC4-5D6E-409C-BE32-E72D297353CC}">
                <c16:uniqueId val="{00001087-7BE2-49F1-B47F-64DDA7BF3F9D}"/>
              </c:ext>
            </c:extLst>
          </c:dPt>
          <c:dPt>
            <c:idx val="2115"/>
            <c:invertIfNegative val="1"/>
            <c:bubble3D val="0"/>
            <c:spPr>
              <a:solidFill>
                <a:srgbClr val="AEABAB"/>
              </a:solidFill>
            </c:spPr>
            <c:extLst>
              <c:ext xmlns:c16="http://schemas.microsoft.com/office/drawing/2014/chart" uri="{C3380CC4-5D6E-409C-BE32-E72D297353CC}">
                <c16:uniqueId val="{00001089-7BE2-49F1-B47F-64DDA7BF3F9D}"/>
              </c:ext>
            </c:extLst>
          </c:dPt>
          <c:dPt>
            <c:idx val="2116"/>
            <c:invertIfNegative val="1"/>
            <c:bubble3D val="0"/>
            <c:spPr>
              <a:solidFill>
                <a:srgbClr val="AEABAB"/>
              </a:solidFill>
            </c:spPr>
            <c:extLst>
              <c:ext xmlns:c16="http://schemas.microsoft.com/office/drawing/2014/chart" uri="{C3380CC4-5D6E-409C-BE32-E72D297353CC}">
                <c16:uniqueId val="{0000108B-7BE2-49F1-B47F-64DDA7BF3F9D}"/>
              </c:ext>
            </c:extLst>
          </c:dPt>
          <c:dPt>
            <c:idx val="2117"/>
            <c:invertIfNegative val="1"/>
            <c:bubble3D val="0"/>
            <c:spPr>
              <a:solidFill>
                <a:srgbClr val="AEABAB"/>
              </a:solidFill>
            </c:spPr>
            <c:extLst>
              <c:ext xmlns:c16="http://schemas.microsoft.com/office/drawing/2014/chart" uri="{C3380CC4-5D6E-409C-BE32-E72D297353CC}">
                <c16:uniqueId val="{0000108D-7BE2-49F1-B47F-64DDA7BF3F9D}"/>
              </c:ext>
            </c:extLst>
          </c:dPt>
          <c:dPt>
            <c:idx val="2118"/>
            <c:invertIfNegative val="1"/>
            <c:bubble3D val="0"/>
            <c:spPr>
              <a:solidFill>
                <a:srgbClr val="AEABAB"/>
              </a:solidFill>
            </c:spPr>
            <c:extLst>
              <c:ext xmlns:c16="http://schemas.microsoft.com/office/drawing/2014/chart" uri="{C3380CC4-5D6E-409C-BE32-E72D297353CC}">
                <c16:uniqueId val="{0000108F-7BE2-49F1-B47F-64DDA7BF3F9D}"/>
              </c:ext>
            </c:extLst>
          </c:dPt>
          <c:dPt>
            <c:idx val="2119"/>
            <c:invertIfNegative val="1"/>
            <c:bubble3D val="0"/>
            <c:spPr>
              <a:solidFill>
                <a:srgbClr val="AEABAB"/>
              </a:solidFill>
            </c:spPr>
            <c:extLst>
              <c:ext xmlns:c16="http://schemas.microsoft.com/office/drawing/2014/chart" uri="{C3380CC4-5D6E-409C-BE32-E72D297353CC}">
                <c16:uniqueId val="{00001091-7BE2-49F1-B47F-64DDA7BF3F9D}"/>
              </c:ext>
            </c:extLst>
          </c:dPt>
          <c:dPt>
            <c:idx val="2120"/>
            <c:invertIfNegative val="1"/>
            <c:bubble3D val="0"/>
            <c:spPr>
              <a:solidFill>
                <a:srgbClr val="AEABAB"/>
              </a:solidFill>
            </c:spPr>
            <c:extLst>
              <c:ext xmlns:c16="http://schemas.microsoft.com/office/drawing/2014/chart" uri="{C3380CC4-5D6E-409C-BE32-E72D297353CC}">
                <c16:uniqueId val="{00001093-7BE2-49F1-B47F-64DDA7BF3F9D}"/>
              </c:ext>
            </c:extLst>
          </c:dPt>
          <c:dPt>
            <c:idx val="2121"/>
            <c:invertIfNegative val="1"/>
            <c:bubble3D val="0"/>
            <c:spPr>
              <a:solidFill>
                <a:srgbClr val="AEABAB"/>
              </a:solidFill>
            </c:spPr>
            <c:extLst>
              <c:ext xmlns:c16="http://schemas.microsoft.com/office/drawing/2014/chart" uri="{C3380CC4-5D6E-409C-BE32-E72D297353CC}">
                <c16:uniqueId val="{00001095-7BE2-49F1-B47F-64DDA7BF3F9D}"/>
              </c:ext>
            </c:extLst>
          </c:dPt>
          <c:dPt>
            <c:idx val="2122"/>
            <c:invertIfNegative val="1"/>
            <c:bubble3D val="0"/>
            <c:spPr>
              <a:solidFill>
                <a:srgbClr val="AEABAB"/>
              </a:solidFill>
            </c:spPr>
            <c:extLst>
              <c:ext xmlns:c16="http://schemas.microsoft.com/office/drawing/2014/chart" uri="{C3380CC4-5D6E-409C-BE32-E72D297353CC}">
                <c16:uniqueId val="{00001097-7BE2-49F1-B47F-64DDA7BF3F9D}"/>
              </c:ext>
            </c:extLst>
          </c:dPt>
          <c:dPt>
            <c:idx val="2123"/>
            <c:invertIfNegative val="1"/>
            <c:bubble3D val="0"/>
            <c:spPr>
              <a:solidFill>
                <a:srgbClr val="AEABAB"/>
              </a:solidFill>
            </c:spPr>
            <c:extLst>
              <c:ext xmlns:c16="http://schemas.microsoft.com/office/drawing/2014/chart" uri="{C3380CC4-5D6E-409C-BE32-E72D297353CC}">
                <c16:uniqueId val="{00001099-7BE2-49F1-B47F-64DDA7BF3F9D}"/>
              </c:ext>
            </c:extLst>
          </c:dPt>
          <c:dPt>
            <c:idx val="2124"/>
            <c:invertIfNegative val="1"/>
            <c:bubble3D val="0"/>
            <c:spPr>
              <a:solidFill>
                <a:srgbClr val="AEABAB"/>
              </a:solidFill>
            </c:spPr>
            <c:extLst>
              <c:ext xmlns:c16="http://schemas.microsoft.com/office/drawing/2014/chart" uri="{C3380CC4-5D6E-409C-BE32-E72D297353CC}">
                <c16:uniqueId val="{0000109B-7BE2-49F1-B47F-64DDA7BF3F9D}"/>
              </c:ext>
            </c:extLst>
          </c:dPt>
          <c:dPt>
            <c:idx val="2125"/>
            <c:invertIfNegative val="1"/>
            <c:bubble3D val="0"/>
            <c:spPr>
              <a:solidFill>
                <a:srgbClr val="AEABAB"/>
              </a:solidFill>
            </c:spPr>
            <c:extLst>
              <c:ext xmlns:c16="http://schemas.microsoft.com/office/drawing/2014/chart" uri="{C3380CC4-5D6E-409C-BE32-E72D297353CC}">
                <c16:uniqueId val="{0000109D-7BE2-49F1-B47F-64DDA7BF3F9D}"/>
              </c:ext>
            </c:extLst>
          </c:dPt>
          <c:dPt>
            <c:idx val="2126"/>
            <c:invertIfNegative val="1"/>
            <c:bubble3D val="0"/>
            <c:spPr>
              <a:solidFill>
                <a:srgbClr val="AEABAB"/>
              </a:solidFill>
            </c:spPr>
            <c:extLst>
              <c:ext xmlns:c16="http://schemas.microsoft.com/office/drawing/2014/chart" uri="{C3380CC4-5D6E-409C-BE32-E72D297353CC}">
                <c16:uniqueId val="{0000109F-7BE2-49F1-B47F-64DDA7BF3F9D}"/>
              </c:ext>
            </c:extLst>
          </c:dPt>
          <c:dPt>
            <c:idx val="2127"/>
            <c:invertIfNegative val="1"/>
            <c:bubble3D val="0"/>
            <c:spPr>
              <a:solidFill>
                <a:srgbClr val="AEABAB"/>
              </a:solidFill>
            </c:spPr>
            <c:extLst>
              <c:ext xmlns:c16="http://schemas.microsoft.com/office/drawing/2014/chart" uri="{C3380CC4-5D6E-409C-BE32-E72D297353CC}">
                <c16:uniqueId val="{000010A1-7BE2-49F1-B47F-64DDA7BF3F9D}"/>
              </c:ext>
            </c:extLst>
          </c:dPt>
          <c:dPt>
            <c:idx val="2128"/>
            <c:invertIfNegative val="1"/>
            <c:bubble3D val="0"/>
            <c:spPr>
              <a:solidFill>
                <a:srgbClr val="AEABAB"/>
              </a:solidFill>
            </c:spPr>
            <c:extLst>
              <c:ext xmlns:c16="http://schemas.microsoft.com/office/drawing/2014/chart" uri="{C3380CC4-5D6E-409C-BE32-E72D297353CC}">
                <c16:uniqueId val="{000010A3-7BE2-49F1-B47F-64DDA7BF3F9D}"/>
              </c:ext>
            </c:extLst>
          </c:dPt>
          <c:dPt>
            <c:idx val="2129"/>
            <c:invertIfNegative val="1"/>
            <c:bubble3D val="0"/>
            <c:spPr>
              <a:solidFill>
                <a:srgbClr val="AEABAB"/>
              </a:solidFill>
            </c:spPr>
            <c:extLst>
              <c:ext xmlns:c16="http://schemas.microsoft.com/office/drawing/2014/chart" uri="{C3380CC4-5D6E-409C-BE32-E72D297353CC}">
                <c16:uniqueId val="{000010A5-7BE2-49F1-B47F-64DDA7BF3F9D}"/>
              </c:ext>
            </c:extLst>
          </c:dPt>
          <c:dPt>
            <c:idx val="2130"/>
            <c:invertIfNegative val="1"/>
            <c:bubble3D val="0"/>
            <c:spPr>
              <a:solidFill>
                <a:srgbClr val="AEABAB"/>
              </a:solidFill>
            </c:spPr>
            <c:extLst>
              <c:ext xmlns:c16="http://schemas.microsoft.com/office/drawing/2014/chart" uri="{C3380CC4-5D6E-409C-BE32-E72D297353CC}">
                <c16:uniqueId val="{000010A7-7BE2-49F1-B47F-64DDA7BF3F9D}"/>
              </c:ext>
            </c:extLst>
          </c:dPt>
          <c:dPt>
            <c:idx val="2131"/>
            <c:invertIfNegative val="1"/>
            <c:bubble3D val="0"/>
            <c:spPr>
              <a:solidFill>
                <a:srgbClr val="AEABAB"/>
              </a:solidFill>
            </c:spPr>
            <c:extLst>
              <c:ext xmlns:c16="http://schemas.microsoft.com/office/drawing/2014/chart" uri="{C3380CC4-5D6E-409C-BE32-E72D297353CC}">
                <c16:uniqueId val="{000010A9-7BE2-49F1-B47F-64DDA7BF3F9D}"/>
              </c:ext>
            </c:extLst>
          </c:dPt>
          <c:dPt>
            <c:idx val="2132"/>
            <c:invertIfNegative val="1"/>
            <c:bubble3D val="0"/>
            <c:spPr>
              <a:solidFill>
                <a:srgbClr val="AEABAB"/>
              </a:solidFill>
            </c:spPr>
            <c:extLst>
              <c:ext xmlns:c16="http://schemas.microsoft.com/office/drawing/2014/chart" uri="{C3380CC4-5D6E-409C-BE32-E72D297353CC}">
                <c16:uniqueId val="{000010AB-7BE2-49F1-B47F-64DDA7BF3F9D}"/>
              </c:ext>
            </c:extLst>
          </c:dPt>
          <c:dPt>
            <c:idx val="2133"/>
            <c:invertIfNegative val="1"/>
            <c:bubble3D val="0"/>
            <c:spPr>
              <a:solidFill>
                <a:srgbClr val="AEABAB"/>
              </a:solidFill>
            </c:spPr>
            <c:extLst>
              <c:ext xmlns:c16="http://schemas.microsoft.com/office/drawing/2014/chart" uri="{C3380CC4-5D6E-409C-BE32-E72D297353CC}">
                <c16:uniqueId val="{000010AD-7BE2-49F1-B47F-64DDA7BF3F9D}"/>
              </c:ext>
            </c:extLst>
          </c:dPt>
          <c:dPt>
            <c:idx val="2134"/>
            <c:invertIfNegative val="1"/>
            <c:bubble3D val="0"/>
            <c:spPr>
              <a:solidFill>
                <a:srgbClr val="AEABAB"/>
              </a:solidFill>
            </c:spPr>
            <c:extLst>
              <c:ext xmlns:c16="http://schemas.microsoft.com/office/drawing/2014/chart" uri="{C3380CC4-5D6E-409C-BE32-E72D297353CC}">
                <c16:uniqueId val="{000010AF-7BE2-49F1-B47F-64DDA7BF3F9D}"/>
              </c:ext>
            </c:extLst>
          </c:dPt>
          <c:dPt>
            <c:idx val="2135"/>
            <c:invertIfNegative val="1"/>
            <c:bubble3D val="0"/>
            <c:spPr>
              <a:solidFill>
                <a:srgbClr val="AEABAB"/>
              </a:solidFill>
            </c:spPr>
            <c:extLst>
              <c:ext xmlns:c16="http://schemas.microsoft.com/office/drawing/2014/chart" uri="{C3380CC4-5D6E-409C-BE32-E72D297353CC}">
                <c16:uniqueId val="{000010B1-7BE2-49F1-B47F-64DDA7BF3F9D}"/>
              </c:ext>
            </c:extLst>
          </c:dPt>
          <c:dPt>
            <c:idx val="2136"/>
            <c:invertIfNegative val="1"/>
            <c:bubble3D val="0"/>
            <c:spPr>
              <a:solidFill>
                <a:srgbClr val="AEABAB"/>
              </a:solidFill>
            </c:spPr>
            <c:extLst>
              <c:ext xmlns:c16="http://schemas.microsoft.com/office/drawing/2014/chart" uri="{C3380CC4-5D6E-409C-BE32-E72D297353CC}">
                <c16:uniqueId val="{000010B3-7BE2-49F1-B47F-64DDA7BF3F9D}"/>
              </c:ext>
            </c:extLst>
          </c:dPt>
          <c:dPt>
            <c:idx val="2137"/>
            <c:invertIfNegative val="1"/>
            <c:bubble3D val="0"/>
            <c:spPr>
              <a:solidFill>
                <a:srgbClr val="AEABAB"/>
              </a:solidFill>
            </c:spPr>
            <c:extLst>
              <c:ext xmlns:c16="http://schemas.microsoft.com/office/drawing/2014/chart" uri="{C3380CC4-5D6E-409C-BE32-E72D297353CC}">
                <c16:uniqueId val="{000010B5-7BE2-49F1-B47F-64DDA7BF3F9D}"/>
              </c:ext>
            </c:extLst>
          </c:dPt>
          <c:dPt>
            <c:idx val="2138"/>
            <c:invertIfNegative val="1"/>
            <c:bubble3D val="0"/>
            <c:spPr>
              <a:solidFill>
                <a:srgbClr val="AEABAB"/>
              </a:solidFill>
            </c:spPr>
            <c:extLst>
              <c:ext xmlns:c16="http://schemas.microsoft.com/office/drawing/2014/chart" uri="{C3380CC4-5D6E-409C-BE32-E72D297353CC}">
                <c16:uniqueId val="{000010B7-7BE2-49F1-B47F-64DDA7BF3F9D}"/>
              </c:ext>
            </c:extLst>
          </c:dPt>
          <c:dPt>
            <c:idx val="2139"/>
            <c:invertIfNegative val="1"/>
            <c:bubble3D val="0"/>
            <c:spPr>
              <a:solidFill>
                <a:srgbClr val="AEABAB"/>
              </a:solidFill>
            </c:spPr>
            <c:extLst>
              <c:ext xmlns:c16="http://schemas.microsoft.com/office/drawing/2014/chart" uri="{C3380CC4-5D6E-409C-BE32-E72D297353CC}">
                <c16:uniqueId val="{000010B9-7BE2-49F1-B47F-64DDA7BF3F9D}"/>
              </c:ext>
            </c:extLst>
          </c:dPt>
          <c:dPt>
            <c:idx val="2140"/>
            <c:invertIfNegative val="1"/>
            <c:bubble3D val="0"/>
            <c:spPr>
              <a:solidFill>
                <a:srgbClr val="AEABAB"/>
              </a:solidFill>
            </c:spPr>
            <c:extLst>
              <c:ext xmlns:c16="http://schemas.microsoft.com/office/drawing/2014/chart" uri="{C3380CC4-5D6E-409C-BE32-E72D297353CC}">
                <c16:uniqueId val="{000010BB-7BE2-49F1-B47F-64DDA7BF3F9D}"/>
              </c:ext>
            </c:extLst>
          </c:dPt>
          <c:dPt>
            <c:idx val="2141"/>
            <c:invertIfNegative val="1"/>
            <c:bubble3D val="0"/>
            <c:spPr>
              <a:solidFill>
                <a:srgbClr val="AEABAB"/>
              </a:solidFill>
            </c:spPr>
            <c:extLst>
              <c:ext xmlns:c16="http://schemas.microsoft.com/office/drawing/2014/chart" uri="{C3380CC4-5D6E-409C-BE32-E72D297353CC}">
                <c16:uniqueId val="{000010BD-7BE2-49F1-B47F-64DDA7BF3F9D}"/>
              </c:ext>
            </c:extLst>
          </c:dPt>
          <c:dPt>
            <c:idx val="2142"/>
            <c:invertIfNegative val="1"/>
            <c:bubble3D val="0"/>
            <c:spPr>
              <a:solidFill>
                <a:srgbClr val="AEABAB"/>
              </a:solidFill>
            </c:spPr>
            <c:extLst>
              <c:ext xmlns:c16="http://schemas.microsoft.com/office/drawing/2014/chart" uri="{C3380CC4-5D6E-409C-BE32-E72D297353CC}">
                <c16:uniqueId val="{000010BF-7BE2-49F1-B47F-64DDA7BF3F9D}"/>
              </c:ext>
            </c:extLst>
          </c:dPt>
          <c:dPt>
            <c:idx val="2143"/>
            <c:invertIfNegative val="1"/>
            <c:bubble3D val="0"/>
            <c:spPr>
              <a:solidFill>
                <a:srgbClr val="AEABAB"/>
              </a:solidFill>
            </c:spPr>
            <c:extLst>
              <c:ext xmlns:c16="http://schemas.microsoft.com/office/drawing/2014/chart" uri="{C3380CC4-5D6E-409C-BE32-E72D297353CC}">
                <c16:uniqueId val="{000010C1-7BE2-49F1-B47F-64DDA7BF3F9D}"/>
              </c:ext>
            </c:extLst>
          </c:dPt>
          <c:dPt>
            <c:idx val="2144"/>
            <c:invertIfNegative val="1"/>
            <c:bubble3D val="0"/>
            <c:spPr>
              <a:solidFill>
                <a:srgbClr val="AEABAB"/>
              </a:solidFill>
            </c:spPr>
            <c:extLst>
              <c:ext xmlns:c16="http://schemas.microsoft.com/office/drawing/2014/chart" uri="{C3380CC4-5D6E-409C-BE32-E72D297353CC}">
                <c16:uniqueId val="{000010C3-7BE2-49F1-B47F-64DDA7BF3F9D}"/>
              </c:ext>
            </c:extLst>
          </c:dPt>
          <c:dPt>
            <c:idx val="2145"/>
            <c:invertIfNegative val="1"/>
            <c:bubble3D val="0"/>
            <c:spPr>
              <a:solidFill>
                <a:srgbClr val="AEABAB"/>
              </a:solidFill>
            </c:spPr>
            <c:extLst>
              <c:ext xmlns:c16="http://schemas.microsoft.com/office/drawing/2014/chart" uri="{C3380CC4-5D6E-409C-BE32-E72D297353CC}">
                <c16:uniqueId val="{000010C5-7BE2-49F1-B47F-64DDA7BF3F9D}"/>
              </c:ext>
            </c:extLst>
          </c:dPt>
          <c:dPt>
            <c:idx val="2146"/>
            <c:invertIfNegative val="1"/>
            <c:bubble3D val="0"/>
            <c:spPr>
              <a:solidFill>
                <a:srgbClr val="AEABAB"/>
              </a:solidFill>
            </c:spPr>
            <c:extLst>
              <c:ext xmlns:c16="http://schemas.microsoft.com/office/drawing/2014/chart" uri="{C3380CC4-5D6E-409C-BE32-E72D297353CC}">
                <c16:uniqueId val="{000010C7-7BE2-49F1-B47F-64DDA7BF3F9D}"/>
              </c:ext>
            </c:extLst>
          </c:dPt>
          <c:dPt>
            <c:idx val="2147"/>
            <c:invertIfNegative val="1"/>
            <c:bubble3D val="0"/>
            <c:spPr>
              <a:solidFill>
                <a:srgbClr val="AEABAB"/>
              </a:solidFill>
            </c:spPr>
            <c:extLst>
              <c:ext xmlns:c16="http://schemas.microsoft.com/office/drawing/2014/chart" uri="{C3380CC4-5D6E-409C-BE32-E72D297353CC}">
                <c16:uniqueId val="{000010C9-7BE2-49F1-B47F-64DDA7BF3F9D}"/>
              </c:ext>
            </c:extLst>
          </c:dPt>
          <c:dPt>
            <c:idx val="2148"/>
            <c:invertIfNegative val="1"/>
            <c:bubble3D val="0"/>
            <c:spPr>
              <a:solidFill>
                <a:srgbClr val="AEABAB"/>
              </a:solidFill>
            </c:spPr>
            <c:extLst>
              <c:ext xmlns:c16="http://schemas.microsoft.com/office/drawing/2014/chart" uri="{C3380CC4-5D6E-409C-BE32-E72D297353CC}">
                <c16:uniqueId val="{000010CB-7BE2-49F1-B47F-64DDA7BF3F9D}"/>
              </c:ext>
            </c:extLst>
          </c:dPt>
          <c:dPt>
            <c:idx val="2149"/>
            <c:invertIfNegative val="1"/>
            <c:bubble3D val="0"/>
            <c:spPr>
              <a:solidFill>
                <a:srgbClr val="AEABAB"/>
              </a:solidFill>
            </c:spPr>
            <c:extLst>
              <c:ext xmlns:c16="http://schemas.microsoft.com/office/drawing/2014/chart" uri="{C3380CC4-5D6E-409C-BE32-E72D297353CC}">
                <c16:uniqueId val="{000010CD-7BE2-49F1-B47F-64DDA7BF3F9D}"/>
              </c:ext>
            </c:extLst>
          </c:dPt>
          <c:dPt>
            <c:idx val="2150"/>
            <c:invertIfNegative val="1"/>
            <c:bubble3D val="0"/>
            <c:spPr>
              <a:solidFill>
                <a:srgbClr val="AEABAB"/>
              </a:solidFill>
            </c:spPr>
            <c:extLst>
              <c:ext xmlns:c16="http://schemas.microsoft.com/office/drawing/2014/chart" uri="{C3380CC4-5D6E-409C-BE32-E72D297353CC}">
                <c16:uniqueId val="{000010CF-7BE2-49F1-B47F-64DDA7BF3F9D}"/>
              </c:ext>
            </c:extLst>
          </c:dPt>
          <c:dPt>
            <c:idx val="2151"/>
            <c:invertIfNegative val="1"/>
            <c:bubble3D val="0"/>
            <c:spPr>
              <a:solidFill>
                <a:srgbClr val="AEABAB"/>
              </a:solidFill>
            </c:spPr>
            <c:extLst>
              <c:ext xmlns:c16="http://schemas.microsoft.com/office/drawing/2014/chart" uri="{C3380CC4-5D6E-409C-BE32-E72D297353CC}">
                <c16:uniqueId val="{000010D1-7BE2-49F1-B47F-64DDA7BF3F9D}"/>
              </c:ext>
            </c:extLst>
          </c:dPt>
          <c:dPt>
            <c:idx val="2152"/>
            <c:invertIfNegative val="1"/>
            <c:bubble3D val="0"/>
            <c:spPr>
              <a:solidFill>
                <a:srgbClr val="AEABAB"/>
              </a:solidFill>
            </c:spPr>
            <c:extLst>
              <c:ext xmlns:c16="http://schemas.microsoft.com/office/drawing/2014/chart" uri="{C3380CC4-5D6E-409C-BE32-E72D297353CC}">
                <c16:uniqueId val="{000010D3-7BE2-49F1-B47F-64DDA7BF3F9D}"/>
              </c:ext>
            </c:extLst>
          </c:dPt>
          <c:dPt>
            <c:idx val="2153"/>
            <c:invertIfNegative val="1"/>
            <c:bubble3D val="0"/>
            <c:spPr>
              <a:solidFill>
                <a:srgbClr val="AEABAB"/>
              </a:solidFill>
            </c:spPr>
            <c:extLst>
              <c:ext xmlns:c16="http://schemas.microsoft.com/office/drawing/2014/chart" uri="{C3380CC4-5D6E-409C-BE32-E72D297353CC}">
                <c16:uniqueId val="{000010D5-7BE2-49F1-B47F-64DDA7BF3F9D}"/>
              </c:ext>
            </c:extLst>
          </c:dPt>
          <c:dPt>
            <c:idx val="2154"/>
            <c:invertIfNegative val="1"/>
            <c:bubble3D val="0"/>
            <c:spPr>
              <a:solidFill>
                <a:srgbClr val="AEABAB"/>
              </a:solidFill>
            </c:spPr>
            <c:extLst>
              <c:ext xmlns:c16="http://schemas.microsoft.com/office/drawing/2014/chart" uri="{C3380CC4-5D6E-409C-BE32-E72D297353CC}">
                <c16:uniqueId val="{000010D7-7BE2-49F1-B47F-64DDA7BF3F9D}"/>
              </c:ext>
            </c:extLst>
          </c:dPt>
          <c:dPt>
            <c:idx val="2155"/>
            <c:invertIfNegative val="1"/>
            <c:bubble3D val="0"/>
            <c:spPr>
              <a:solidFill>
                <a:srgbClr val="AEABAB"/>
              </a:solidFill>
            </c:spPr>
            <c:extLst>
              <c:ext xmlns:c16="http://schemas.microsoft.com/office/drawing/2014/chart" uri="{C3380CC4-5D6E-409C-BE32-E72D297353CC}">
                <c16:uniqueId val="{000010D9-7BE2-49F1-B47F-64DDA7BF3F9D}"/>
              </c:ext>
            </c:extLst>
          </c:dPt>
          <c:dPt>
            <c:idx val="2156"/>
            <c:invertIfNegative val="1"/>
            <c:bubble3D val="0"/>
            <c:spPr>
              <a:solidFill>
                <a:srgbClr val="AEABAB"/>
              </a:solidFill>
            </c:spPr>
            <c:extLst>
              <c:ext xmlns:c16="http://schemas.microsoft.com/office/drawing/2014/chart" uri="{C3380CC4-5D6E-409C-BE32-E72D297353CC}">
                <c16:uniqueId val="{000010DB-7BE2-49F1-B47F-64DDA7BF3F9D}"/>
              </c:ext>
            </c:extLst>
          </c:dPt>
          <c:dPt>
            <c:idx val="2157"/>
            <c:invertIfNegative val="1"/>
            <c:bubble3D val="0"/>
            <c:spPr>
              <a:solidFill>
                <a:srgbClr val="AEABAB"/>
              </a:solidFill>
            </c:spPr>
            <c:extLst>
              <c:ext xmlns:c16="http://schemas.microsoft.com/office/drawing/2014/chart" uri="{C3380CC4-5D6E-409C-BE32-E72D297353CC}">
                <c16:uniqueId val="{000010DD-7BE2-49F1-B47F-64DDA7BF3F9D}"/>
              </c:ext>
            </c:extLst>
          </c:dPt>
          <c:dPt>
            <c:idx val="2158"/>
            <c:invertIfNegative val="1"/>
            <c:bubble3D val="0"/>
            <c:spPr>
              <a:solidFill>
                <a:srgbClr val="AEABAB"/>
              </a:solidFill>
            </c:spPr>
            <c:extLst>
              <c:ext xmlns:c16="http://schemas.microsoft.com/office/drawing/2014/chart" uri="{C3380CC4-5D6E-409C-BE32-E72D297353CC}">
                <c16:uniqueId val="{000010DF-7BE2-49F1-B47F-64DDA7BF3F9D}"/>
              </c:ext>
            </c:extLst>
          </c:dPt>
          <c:dPt>
            <c:idx val="2159"/>
            <c:invertIfNegative val="1"/>
            <c:bubble3D val="0"/>
            <c:spPr>
              <a:solidFill>
                <a:srgbClr val="AEABAB"/>
              </a:solidFill>
            </c:spPr>
            <c:extLst>
              <c:ext xmlns:c16="http://schemas.microsoft.com/office/drawing/2014/chart" uri="{C3380CC4-5D6E-409C-BE32-E72D297353CC}">
                <c16:uniqueId val="{000010E1-7BE2-49F1-B47F-64DDA7BF3F9D}"/>
              </c:ext>
            </c:extLst>
          </c:dPt>
          <c:dPt>
            <c:idx val="2160"/>
            <c:invertIfNegative val="1"/>
            <c:bubble3D val="0"/>
            <c:spPr>
              <a:solidFill>
                <a:srgbClr val="AEABAB"/>
              </a:solidFill>
            </c:spPr>
            <c:extLst>
              <c:ext xmlns:c16="http://schemas.microsoft.com/office/drawing/2014/chart" uri="{C3380CC4-5D6E-409C-BE32-E72D297353CC}">
                <c16:uniqueId val="{000010E3-7BE2-49F1-B47F-64DDA7BF3F9D}"/>
              </c:ext>
            </c:extLst>
          </c:dPt>
          <c:dPt>
            <c:idx val="2161"/>
            <c:invertIfNegative val="1"/>
            <c:bubble3D val="0"/>
            <c:spPr>
              <a:solidFill>
                <a:srgbClr val="AEABAB"/>
              </a:solidFill>
            </c:spPr>
            <c:extLst>
              <c:ext xmlns:c16="http://schemas.microsoft.com/office/drawing/2014/chart" uri="{C3380CC4-5D6E-409C-BE32-E72D297353CC}">
                <c16:uniqueId val="{000010E5-7BE2-49F1-B47F-64DDA7BF3F9D}"/>
              </c:ext>
            </c:extLst>
          </c:dPt>
          <c:dPt>
            <c:idx val="2162"/>
            <c:invertIfNegative val="1"/>
            <c:bubble3D val="0"/>
            <c:spPr>
              <a:solidFill>
                <a:srgbClr val="AEABAB"/>
              </a:solidFill>
            </c:spPr>
            <c:extLst>
              <c:ext xmlns:c16="http://schemas.microsoft.com/office/drawing/2014/chart" uri="{C3380CC4-5D6E-409C-BE32-E72D297353CC}">
                <c16:uniqueId val="{000010E7-7BE2-49F1-B47F-64DDA7BF3F9D}"/>
              </c:ext>
            </c:extLst>
          </c:dPt>
          <c:dPt>
            <c:idx val="2163"/>
            <c:invertIfNegative val="1"/>
            <c:bubble3D val="0"/>
            <c:spPr>
              <a:solidFill>
                <a:srgbClr val="AEABAB"/>
              </a:solidFill>
            </c:spPr>
            <c:extLst>
              <c:ext xmlns:c16="http://schemas.microsoft.com/office/drawing/2014/chart" uri="{C3380CC4-5D6E-409C-BE32-E72D297353CC}">
                <c16:uniqueId val="{000010E9-7BE2-49F1-B47F-64DDA7BF3F9D}"/>
              </c:ext>
            </c:extLst>
          </c:dPt>
          <c:dPt>
            <c:idx val="2164"/>
            <c:invertIfNegative val="1"/>
            <c:bubble3D val="0"/>
            <c:spPr>
              <a:solidFill>
                <a:srgbClr val="AEABAB"/>
              </a:solidFill>
            </c:spPr>
            <c:extLst>
              <c:ext xmlns:c16="http://schemas.microsoft.com/office/drawing/2014/chart" uri="{C3380CC4-5D6E-409C-BE32-E72D297353CC}">
                <c16:uniqueId val="{000010EB-7BE2-49F1-B47F-64DDA7BF3F9D}"/>
              </c:ext>
            </c:extLst>
          </c:dPt>
          <c:dPt>
            <c:idx val="2165"/>
            <c:invertIfNegative val="1"/>
            <c:bubble3D val="0"/>
            <c:spPr>
              <a:solidFill>
                <a:srgbClr val="AEABAB"/>
              </a:solidFill>
            </c:spPr>
            <c:extLst>
              <c:ext xmlns:c16="http://schemas.microsoft.com/office/drawing/2014/chart" uri="{C3380CC4-5D6E-409C-BE32-E72D297353CC}">
                <c16:uniqueId val="{000010ED-7BE2-49F1-B47F-64DDA7BF3F9D}"/>
              </c:ext>
            </c:extLst>
          </c:dPt>
          <c:dPt>
            <c:idx val="2166"/>
            <c:invertIfNegative val="1"/>
            <c:bubble3D val="0"/>
            <c:spPr>
              <a:solidFill>
                <a:srgbClr val="AEABAB"/>
              </a:solidFill>
            </c:spPr>
            <c:extLst>
              <c:ext xmlns:c16="http://schemas.microsoft.com/office/drawing/2014/chart" uri="{C3380CC4-5D6E-409C-BE32-E72D297353CC}">
                <c16:uniqueId val="{000010EF-7BE2-49F1-B47F-64DDA7BF3F9D}"/>
              </c:ext>
            </c:extLst>
          </c:dPt>
          <c:dPt>
            <c:idx val="2167"/>
            <c:invertIfNegative val="1"/>
            <c:bubble3D val="0"/>
            <c:spPr>
              <a:solidFill>
                <a:srgbClr val="AEABAB"/>
              </a:solidFill>
            </c:spPr>
            <c:extLst>
              <c:ext xmlns:c16="http://schemas.microsoft.com/office/drawing/2014/chart" uri="{C3380CC4-5D6E-409C-BE32-E72D297353CC}">
                <c16:uniqueId val="{000010F1-7BE2-49F1-B47F-64DDA7BF3F9D}"/>
              </c:ext>
            </c:extLst>
          </c:dPt>
          <c:dPt>
            <c:idx val="2168"/>
            <c:invertIfNegative val="1"/>
            <c:bubble3D val="0"/>
            <c:spPr>
              <a:solidFill>
                <a:srgbClr val="AEABAB"/>
              </a:solidFill>
            </c:spPr>
            <c:extLst>
              <c:ext xmlns:c16="http://schemas.microsoft.com/office/drawing/2014/chart" uri="{C3380CC4-5D6E-409C-BE32-E72D297353CC}">
                <c16:uniqueId val="{000010F3-7BE2-49F1-B47F-64DDA7BF3F9D}"/>
              </c:ext>
            </c:extLst>
          </c:dPt>
          <c:dPt>
            <c:idx val="2169"/>
            <c:invertIfNegative val="1"/>
            <c:bubble3D val="0"/>
            <c:spPr>
              <a:solidFill>
                <a:srgbClr val="AEABAB"/>
              </a:solidFill>
            </c:spPr>
            <c:extLst>
              <c:ext xmlns:c16="http://schemas.microsoft.com/office/drawing/2014/chart" uri="{C3380CC4-5D6E-409C-BE32-E72D297353CC}">
                <c16:uniqueId val="{000010F5-7BE2-49F1-B47F-64DDA7BF3F9D}"/>
              </c:ext>
            </c:extLst>
          </c:dPt>
          <c:dPt>
            <c:idx val="2170"/>
            <c:invertIfNegative val="1"/>
            <c:bubble3D val="0"/>
            <c:spPr>
              <a:solidFill>
                <a:srgbClr val="AEABAB"/>
              </a:solidFill>
            </c:spPr>
            <c:extLst>
              <c:ext xmlns:c16="http://schemas.microsoft.com/office/drawing/2014/chart" uri="{C3380CC4-5D6E-409C-BE32-E72D297353CC}">
                <c16:uniqueId val="{000010F7-7BE2-49F1-B47F-64DDA7BF3F9D}"/>
              </c:ext>
            </c:extLst>
          </c:dPt>
          <c:dPt>
            <c:idx val="2171"/>
            <c:invertIfNegative val="1"/>
            <c:bubble3D val="0"/>
            <c:spPr>
              <a:solidFill>
                <a:srgbClr val="AEABAB"/>
              </a:solidFill>
            </c:spPr>
            <c:extLst>
              <c:ext xmlns:c16="http://schemas.microsoft.com/office/drawing/2014/chart" uri="{C3380CC4-5D6E-409C-BE32-E72D297353CC}">
                <c16:uniqueId val="{000010F9-7BE2-49F1-B47F-64DDA7BF3F9D}"/>
              </c:ext>
            </c:extLst>
          </c:dPt>
          <c:dPt>
            <c:idx val="2172"/>
            <c:invertIfNegative val="1"/>
            <c:bubble3D val="0"/>
            <c:spPr>
              <a:solidFill>
                <a:srgbClr val="AEABAB"/>
              </a:solidFill>
            </c:spPr>
            <c:extLst>
              <c:ext xmlns:c16="http://schemas.microsoft.com/office/drawing/2014/chart" uri="{C3380CC4-5D6E-409C-BE32-E72D297353CC}">
                <c16:uniqueId val="{000010FB-7BE2-49F1-B47F-64DDA7BF3F9D}"/>
              </c:ext>
            </c:extLst>
          </c:dPt>
          <c:dPt>
            <c:idx val="2173"/>
            <c:invertIfNegative val="1"/>
            <c:bubble3D val="0"/>
            <c:spPr>
              <a:solidFill>
                <a:srgbClr val="AEABAB"/>
              </a:solidFill>
            </c:spPr>
            <c:extLst>
              <c:ext xmlns:c16="http://schemas.microsoft.com/office/drawing/2014/chart" uri="{C3380CC4-5D6E-409C-BE32-E72D297353CC}">
                <c16:uniqueId val="{000010FD-7BE2-49F1-B47F-64DDA7BF3F9D}"/>
              </c:ext>
            </c:extLst>
          </c:dPt>
          <c:dPt>
            <c:idx val="2174"/>
            <c:invertIfNegative val="1"/>
            <c:bubble3D val="0"/>
            <c:spPr>
              <a:solidFill>
                <a:srgbClr val="AEABAB"/>
              </a:solidFill>
            </c:spPr>
            <c:extLst>
              <c:ext xmlns:c16="http://schemas.microsoft.com/office/drawing/2014/chart" uri="{C3380CC4-5D6E-409C-BE32-E72D297353CC}">
                <c16:uniqueId val="{000010FF-7BE2-49F1-B47F-64DDA7BF3F9D}"/>
              </c:ext>
            </c:extLst>
          </c:dPt>
          <c:dPt>
            <c:idx val="2175"/>
            <c:invertIfNegative val="1"/>
            <c:bubble3D val="0"/>
            <c:spPr>
              <a:solidFill>
                <a:srgbClr val="AEABAB"/>
              </a:solidFill>
            </c:spPr>
            <c:extLst>
              <c:ext xmlns:c16="http://schemas.microsoft.com/office/drawing/2014/chart" uri="{C3380CC4-5D6E-409C-BE32-E72D297353CC}">
                <c16:uniqueId val="{00001101-7BE2-49F1-B47F-64DDA7BF3F9D}"/>
              </c:ext>
            </c:extLst>
          </c:dPt>
          <c:dPt>
            <c:idx val="2176"/>
            <c:invertIfNegative val="1"/>
            <c:bubble3D val="0"/>
            <c:spPr>
              <a:solidFill>
                <a:srgbClr val="AEABAB"/>
              </a:solidFill>
            </c:spPr>
            <c:extLst>
              <c:ext xmlns:c16="http://schemas.microsoft.com/office/drawing/2014/chart" uri="{C3380CC4-5D6E-409C-BE32-E72D297353CC}">
                <c16:uniqueId val="{00001103-7BE2-49F1-B47F-64DDA7BF3F9D}"/>
              </c:ext>
            </c:extLst>
          </c:dPt>
          <c:dPt>
            <c:idx val="2177"/>
            <c:invertIfNegative val="1"/>
            <c:bubble3D val="0"/>
            <c:spPr>
              <a:solidFill>
                <a:srgbClr val="AEABAB"/>
              </a:solidFill>
            </c:spPr>
            <c:extLst>
              <c:ext xmlns:c16="http://schemas.microsoft.com/office/drawing/2014/chart" uri="{C3380CC4-5D6E-409C-BE32-E72D297353CC}">
                <c16:uniqueId val="{00001105-7BE2-49F1-B47F-64DDA7BF3F9D}"/>
              </c:ext>
            </c:extLst>
          </c:dPt>
          <c:dPt>
            <c:idx val="2178"/>
            <c:invertIfNegative val="1"/>
            <c:bubble3D val="0"/>
            <c:spPr>
              <a:solidFill>
                <a:srgbClr val="AEABAB"/>
              </a:solidFill>
            </c:spPr>
            <c:extLst>
              <c:ext xmlns:c16="http://schemas.microsoft.com/office/drawing/2014/chart" uri="{C3380CC4-5D6E-409C-BE32-E72D297353CC}">
                <c16:uniqueId val="{00001107-7BE2-49F1-B47F-64DDA7BF3F9D}"/>
              </c:ext>
            </c:extLst>
          </c:dPt>
          <c:dPt>
            <c:idx val="2179"/>
            <c:invertIfNegative val="1"/>
            <c:bubble3D val="0"/>
            <c:spPr>
              <a:solidFill>
                <a:srgbClr val="AEABAB"/>
              </a:solidFill>
            </c:spPr>
            <c:extLst>
              <c:ext xmlns:c16="http://schemas.microsoft.com/office/drawing/2014/chart" uri="{C3380CC4-5D6E-409C-BE32-E72D297353CC}">
                <c16:uniqueId val="{00001109-7BE2-49F1-B47F-64DDA7BF3F9D}"/>
              </c:ext>
            </c:extLst>
          </c:dPt>
          <c:dPt>
            <c:idx val="2180"/>
            <c:invertIfNegative val="1"/>
            <c:bubble3D val="0"/>
            <c:spPr>
              <a:solidFill>
                <a:srgbClr val="AEABAB"/>
              </a:solidFill>
            </c:spPr>
            <c:extLst>
              <c:ext xmlns:c16="http://schemas.microsoft.com/office/drawing/2014/chart" uri="{C3380CC4-5D6E-409C-BE32-E72D297353CC}">
                <c16:uniqueId val="{0000110B-7BE2-49F1-B47F-64DDA7BF3F9D}"/>
              </c:ext>
            </c:extLst>
          </c:dPt>
          <c:dPt>
            <c:idx val="2181"/>
            <c:invertIfNegative val="1"/>
            <c:bubble3D val="0"/>
            <c:spPr>
              <a:solidFill>
                <a:srgbClr val="AEABAB"/>
              </a:solidFill>
            </c:spPr>
            <c:extLst>
              <c:ext xmlns:c16="http://schemas.microsoft.com/office/drawing/2014/chart" uri="{C3380CC4-5D6E-409C-BE32-E72D297353CC}">
                <c16:uniqueId val="{0000110D-7BE2-49F1-B47F-64DDA7BF3F9D}"/>
              </c:ext>
            </c:extLst>
          </c:dPt>
          <c:dPt>
            <c:idx val="2182"/>
            <c:invertIfNegative val="1"/>
            <c:bubble3D val="0"/>
            <c:spPr>
              <a:solidFill>
                <a:srgbClr val="AEABAB"/>
              </a:solidFill>
            </c:spPr>
            <c:extLst>
              <c:ext xmlns:c16="http://schemas.microsoft.com/office/drawing/2014/chart" uri="{C3380CC4-5D6E-409C-BE32-E72D297353CC}">
                <c16:uniqueId val="{0000110F-7BE2-49F1-B47F-64DDA7BF3F9D}"/>
              </c:ext>
            </c:extLst>
          </c:dPt>
          <c:dPt>
            <c:idx val="2183"/>
            <c:invertIfNegative val="1"/>
            <c:bubble3D val="0"/>
            <c:spPr>
              <a:solidFill>
                <a:srgbClr val="AEABAB"/>
              </a:solidFill>
            </c:spPr>
            <c:extLst>
              <c:ext xmlns:c16="http://schemas.microsoft.com/office/drawing/2014/chart" uri="{C3380CC4-5D6E-409C-BE32-E72D297353CC}">
                <c16:uniqueId val="{00001111-7BE2-49F1-B47F-64DDA7BF3F9D}"/>
              </c:ext>
            </c:extLst>
          </c:dPt>
          <c:dPt>
            <c:idx val="2184"/>
            <c:invertIfNegative val="1"/>
            <c:bubble3D val="0"/>
            <c:spPr>
              <a:solidFill>
                <a:srgbClr val="AEABAB"/>
              </a:solidFill>
            </c:spPr>
            <c:extLst>
              <c:ext xmlns:c16="http://schemas.microsoft.com/office/drawing/2014/chart" uri="{C3380CC4-5D6E-409C-BE32-E72D297353CC}">
                <c16:uniqueId val="{00001113-7BE2-49F1-B47F-64DDA7BF3F9D}"/>
              </c:ext>
            </c:extLst>
          </c:dPt>
          <c:dPt>
            <c:idx val="2185"/>
            <c:invertIfNegative val="1"/>
            <c:bubble3D val="0"/>
            <c:spPr>
              <a:solidFill>
                <a:srgbClr val="AEABAB"/>
              </a:solidFill>
            </c:spPr>
            <c:extLst>
              <c:ext xmlns:c16="http://schemas.microsoft.com/office/drawing/2014/chart" uri="{C3380CC4-5D6E-409C-BE32-E72D297353CC}">
                <c16:uniqueId val="{00001115-7BE2-49F1-B47F-64DDA7BF3F9D}"/>
              </c:ext>
            </c:extLst>
          </c:dPt>
          <c:dPt>
            <c:idx val="2186"/>
            <c:invertIfNegative val="1"/>
            <c:bubble3D val="0"/>
            <c:spPr>
              <a:solidFill>
                <a:srgbClr val="AEABAB"/>
              </a:solidFill>
            </c:spPr>
            <c:extLst>
              <c:ext xmlns:c16="http://schemas.microsoft.com/office/drawing/2014/chart" uri="{C3380CC4-5D6E-409C-BE32-E72D297353CC}">
                <c16:uniqueId val="{00001117-7BE2-49F1-B47F-64DDA7BF3F9D}"/>
              </c:ext>
            </c:extLst>
          </c:dPt>
          <c:dPt>
            <c:idx val="2187"/>
            <c:invertIfNegative val="1"/>
            <c:bubble3D val="0"/>
            <c:spPr>
              <a:solidFill>
                <a:srgbClr val="AEABAB"/>
              </a:solidFill>
            </c:spPr>
            <c:extLst>
              <c:ext xmlns:c16="http://schemas.microsoft.com/office/drawing/2014/chart" uri="{C3380CC4-5D6E-409C-BE32-E72D297353CC}">
                <c16:uniqueId val="{00001119-7BE2-49F1-B47F-64DDA7BF3F9D}"/>
              </c:ext>
            </c:extLst>
          </c:dPt>
          <c:dPt>
            <c:idx val="2188"/>
            <c:invertIfNegative val="1"/>
            <c:bubble3D val="0"/>
            <c:spPr>
              <a:solidFill>
                <a:srgbClr val="AEABAB"/>
              </a:solidFill>
            </c:spPr>
            <c:extLst>
              <c:ext xmlns:c16="http://schemas.microsoft.com/office/drawing/2014/chart" uri="{C3380CC4-5D6E-409C-BE32-E72D297353CC}">
                <c16:uniqueId val="{0000111B-7BE2-49F1-B47F-64DDA7BF3F9D}"/>
              </c:ext>
            </c:extLst>
          </c:dPt>
          <c:dPt>
            <c:idx val="2189"/>
            <c:invertIfNegative val="1"/>
            <c:bubble3D val="0"/>
            <c:spPr>
              <a:solidFill>
                <a:srgbClr val="AEABAB"/>
              </a:solidFill>
            </c:spPr>
            <c:extLst>
              <c:ext xmlns:c16="http://schemas.microsoft.com/office/drawing/2014/chart" uri="{C3380CC4-5D6E-409C-BE32-E72D297353CC}">
                <c16:uniqueId val="{0000111D-7BE2-49F1-B47F-64DDA7BF3F9D}"/>
              </c:ext>
            </c:extLst>
          </c:dPt>
          <c:dPt>
            <c:idx val="2190"/>
            <c:invertIfNegative val="1"/>
            <c:bubble3D val="0"/>
            <c:spPr>
              <a:solidFill>
                <a:srgbClr val="AEABAB"/>
              </a:solidFill>
            </c:spPr>
            <c:extLst>
              <c:ext xmlns:c16="http://schemas.microsoft.com/office/drawing/2014/chart" uri="{C3380CC4-5D6E-409C-BE32-E72D297353CC}">
                <c16:uniqueId val="{0000111F-7BE2-49F1-B47F-64DDA7BF3F9D}"/>
              </c:ext>
            </c:extLst>
          </c:dPt>
          <c:dPt>
            <c:idx val="2191"/>
            <c:invertIfNegative val="1"/>
            <c:bubble3D val="0"/>
            <c:spPr>
              <a:solidFill>
                <a:srgbClr val="AEABAB"/>
              </a:solidFill>
            </c:spPr>
            <c:extLst>
              <c:ext xmlns:c16="http://schemas.microsoft.com/office/drawing/2014/chart" uri="{C3380CC4-5D6E-409C-BE32-E72D297353CC}">
                <c16:uniqueId val="{00001121-7BE2-49F1-B47F-64DDA7BF3F9D}"/>
              </c:ext>
            </c:extLst>
          </c:dPt>
          <c:dPt>
            <c:idx val="2192"/>
            <c:invertIfNegative val="1"/>
            <c:bubble3D val="0"/>
            <c:spPr>
              <a:solidFill>
                <a:srgbClr val="AEABAB"/>
              </a:solidFill>
            </c:spPr>
            <c:extLst>
              <c:ext xmlns:c16="http://schemas.microsoft.com/office/drawing/2014/chart" uri="{C3380CC4-5D6E-409C-BE32-E72D297353CC}">
                <c16:uniqueId val="{00001123-7BE2-49F1-B47F-64DDA7BF3F9D}"/>
              </c:ext>
            </c:extLst>
          </c:dPt>
          <c:dPt>
            <c:idx val="2193"/>
            <c:invertIfNegative val="1"/>
            <c:bubble3D val="0"/>
            <c:spPr>
              <a:solidFill>
                <a:srgbClr val="AEABAB"/>
              </a:solidFill>
            </c:spPr>
            <c:extLst>
              <c:ext xmlns:c16="http://schemas.microsoft.com/office/drawing/2014/chart" uri="{C3380CC4-5D6E-409C-BE32-E72D297353CC}">
                <c16:uniqueId val="{00001125-7BE2-49F1-B47F-64DDA7BF3F9D}"/>
              </c:ext>
            </c:extLst>
          </c:dPt>
          <c:dPt>
            <c:idx val="2194"/>
            <c:invertIfNegative val="1"/>
            <c:bubble3D val="0"/>
            <c:spPr>
              <a:solidFill>
                <a:srgbClr val="AEABAB"/>
              </a:solidFill>
            </c:spPr>
            <c:extLst>
              <c:ext xmlns:c16="http://schemas.microsoft.com/office/drawing/2014/chart" uri="{C3380CC4-5D6E-409C-BE32-E72D297353CC}">
                <c16:uniqueId val="{00001127-7BE2-49F1-B47F-64DDA7BF3F9D}"/>
              </c:ext>
            </c:extLst>
          </c:dPt>
          <c:dPt>
            <c:idx val="2195"/>
            <c:invertIfNegative val="1"/>
            <c:bubble3D val="0"/>
            <c:spPr>
              <a:solidFill>
                <a:srgbClr val="AEABAB"/>
              </a:solidFill>
            </c:spPr>
            <c:extLst>
              <c:ext xmlns:c16="http://schemas.microsoft.com/office/drawing/2014/chart" uri="{C3380CC4-5D6E-409C-BE32-E72D297353CC}">
                <c16:uniqueId val="{00001129-7BE2-49F1-B47F-64DDA7BF3F9D}"/>
              </c:ext>
            </c:extLst>
          </c:dPt>
          <c:dPt>
            <c:idx val="2196"/>
            <c:invertIfNegative val="1"/>
            <c:bubble3D val="0"/>
            <c:spPr>
              <a:solidFill>
                <a:srgbClr val="AEABAB"/>
              </a:solidFill>
            </c:spPr>
            <c:extLst>
              <c:ext xmlns:c16="http://schemas.microsoft.com/office/drawing/2014/chart" uri="{C3380CC4-5D6E-409C-BE32-E72D297353CC}">
                <c16:uniqueId val="{0000112B-7BE2-49F1-B47F-64DDA7BF3F9D}"/>
              </c:ext>
            </c:extLst>
          </c:dPt>
          <c:dPt>
            <c:idx val="2197"/>
            <c:invertIfNegative val="1"/>
            <c:bubble3D val="0"/>
            <c:spPr>
              <a:solidFill>
                <a:srgbClr val="AEABAB"/>
              </a:solidFill>
            </c:spPr>
            <c:extLst>
              <c:ext xmlns:c16="http://schemas.microsoft.com/office/drawing/2014/chart" uri="{C3380CC4-5D6E-409C-BE32-E72D297353CC}">
                <c16:uniqueId val="{0000112D-7BE2-49F1-B47F-64DDA7BF3F9D}"/>
              </c:ext>
            </c:extLst>
          </c:dPt>
          <c:dPt>
            <c:idx val="2198"/>
            <c:invertIfNegative val="1"/>
            <c:bubble3D val="0"/>
            <c:spPr>
              <a:solidFill>
                <a:srgbClr val="AEABAB"/>
              </a:solidFill>
            </c:spPr>
            <c:extLst>
              <c:ext xmlns:c16="http://schemas.microsoft.com/office/drawing/2014/chart" uri="{C3380CC4-5D6E-409C-BE32-E72D297353CC}">
                <c16:uniqueId val="{0000112F-7BE2-49F1-B47F-64DDA7BF3F9D}"/>
              </c:ext>
            </c:extLst>
          </c:dPt>
          <c:dPt>
            <c:idx val="2199"/>
            <c:invertIfNegative val="1"/>
            <c:bubble3D val="0"/>
            <c:spPr>
              <a:solidFill>
                <a:srgbClr val="AEABAB"/>
              </a:solidFill>
            </c:spPr>
            <c:extLst>
              <c:ext xmlns:c16="http://schemas.microsoft.com/office/drawing/2014/chart" uri="{C3380CC4-5D6E-409C-BE32-E72D297353CC}">
                <c16:uniqueId val="{00001131-7BE2-49F1-B47F-64DDA7BF3F9D}"/>
              </c:ext>
            </c:extLst>
          </c:dPt>
          <c:dPt>
            <c:idx val="2200"/>
            <c:invertIfNegative val="1"/>
            <c:bubble3D val="0"/>
            <c:spPr>
              <a:solidFill>
                <a:srgbClr val="AEABAB"/>
              </a:solidFill>
            </c:spPr>
            <c:extLst>
              <c:ext xmlns:c16="http://schemas.microsoft.com/office/drawing/2014/chart" uri="{C3380CC4-5D6E-409C-BE32-E72D297353CC}">
                <c16:uniqueId val="{00001133-7BE2-49F1-B47F-64DDA7BF3F9D}"/>
              </c:ext>
            </c:extLst>
          </c:dPt>
          <c:dPt>
            <c:idx val="2201"/>
            <c:invertIfNegative val="1"/>
            <c:bubble3D val="0"/>
            <c:spPr>
              <a:solidFill>
                <a:srgbClr val="AEABAB"/>
              </a:solidFill>
            </c:spPr>
            <c:extLst>
              <c:ext xmlns:c16="http://schemas.microsoft.com/office/drawing/2014/chart" uri="{C3380CC4-5D6E-409C-BE32-E72D297353CC}">
                <c16:uniqueId val="{00001135-7BE2-49F1-B47F-64DDA7BF3F9D}"/>
              </c:ext>
            </c:extLst>
          </c:dPt>
          <c:dPt>
            <c:idx val="2202"/>
            <c:invertIfNegative val="1"/>
            <c:bubble3D val="0"/>
            <c:spPr>
              <a:solidFill>
                <a:srgbClr val="AEABAB"/>
              </a:solidFill>
            </c:spPr>
            <c:extLst>
              <c:ext xmlns:c16="http://schemas.microsoft.com/office/drawing/2014/chart" uri="{C3380CC4-5D6E-409C-BE32-E72D297353CC}">
                <c16:uniqueId val="{00001137-7BE2-49F1-B47F-64DDA7BF3F9D}"/>
              </c:ext>
            </c:extLst>
          </c:dPt>
          <c:dPt>
            <c:idx val="2203"/>
            <c:invertIfNegative val="1"/>
            <c:bubble3D val="0"/>
            <c:spPr>
              <a:solidFill>
                <a:srgbClr val="AEABAB"/>
              </a:solidFill>
            </c:spPr>
            <c:extLst>
              <c:ext xmlns:c16="http://schemas.microsoft.com/office/drawing/2014/chart" uri="{C3380CC4-5D6E-409C-BE32-E72D297353CC}">
                <c16:uniqueId val="{00001139-7BE2-49F1-B47F-64DDA7BF3F9D}"/>
              </c:ext>
            </c:extLst>
          </c:dPt>
          <c:dPt>
            <c:idx val="2204"/>
            <c:invertIfNegative val="1"/>
            <c:bubble3D val="0"/>
            <c:spPr>
              <a:solidFill>
                <a:srgbClr val="AEABAB"/>
              </a:solidFill>
            </c:spPr>
            <c:extLst>
              <c:ext xmlns:c16="http://schemas.microsoft.com/office/drawing/2014/chart" uri="{C3380CC4-5D6E-409C-BE32-E72D297353CC}">
                <c16:uniqueId val="{0000113B-7BE2-49F1-B47F-64DDA7BF3F9D}"/>
              </c:ext>
            </c:extLst>
          </c:dPt>
          <c:dPt>
            <c:idx val="2205"/>
            <c:invertIfNegative val="1"/>
            <c:bubble3D val="0"/>
            <c:spPr>
              <a:solidFill>
                <a:srgbClr val="AEABAB"/>
              </a:solidFill>
            </c:spPr>
            <c:extLst>
              <c:ext xmlns:c16="http://schemas.microsoft.com/office/drawing/2014/chart" uri="{C3380CC4-5D6E-409C-BE32-E72D297353CC}">
                <c16:uniqueId val="{0000113D-7BE2-49F1-B47F-64DDA7BF3F9D}"/>
              </c:ext>
            </c:extLst>
          </c:dPt>
          <c:dPt>
            <c:idx val="2206"/>
            <c:invertIfNegative val="1"/>
            <c:bubble3D val="0"/>
            <c:spPr>
              <a:solidFill>
                <a:srgbClr val="AEABAB"/>
              </a:solidFill>
            </c:spPr>
            <c:extLst>
              <c:ext xmlns:c16="http://schemas.microsoft.com/office/drawing/2014/chart" uri="{C3380CC4-5D6E-409C-BE32-E72D297353CC}">
                <c16:uniqueId val="{0000113F-7BE2-49F1-B47F-64DDA7BF3F9D}"/>
              </c:ext>
            </c:extLst>
          </c:dPt>
          <c:dPt>
            <c:idx val="2207"/>
            <c:invertIfNegative val="1"/>
            <c:bubble3D val="0"/>
            <c:spPr>
              <a:solidFill>
                <a:srgbClr val="AEABAB"/>
              </a:solidFill>
            </c:spPr>
            <c:extLst>
              <c:ext xmlns:c16="http://schemas.microsoft.com/office/drawing/2014/chart" uri="{C3380CC4-5D6E-409C-BE32-E72D297353CC}">
                <c16:uniqueId val="{00001141-7BE2-49F1-B47F-64DDA7BF3F9D}"/>
              </c:ext>
            </c:extLst>
          </c:dPt>
          <c:dPt>
            <c:idx val="2208"/>
            <c:invertIfNegative val="1"/>
            <c:bubble3D val="0"/>
            <c:spPr>
              <a:solidFill>
                <a:srgbClr val="AEABAB"/>
              </a:solidFill>
            </c:spPr>
            <c:extLst>
              <c:ext xmlns:c16="http://schemas.microsoft.com/office/drawing/2014/chart" uri="{C3380CC4-5D6E-409C-BE32-E72D297353CC}">
                <c16:uniqueId val="{00001143-7BE2-49F1-B47F-64DDA7BF3F9D}"/>
              </c:ext>
            </c:extLst>
          </c:dPt>
          <c:dPt>
            <c:idx val="2209"/>
            <c:invertIfNegative val="1"/>
            <c:bubble3D val="0"/>
            <c:spPr>
              <a:solidFill>
                <a:srgbClr val="AEABAB"/>
              </a:solidFill>
            </c:spPr>
            <c:extLst>
              <c:ext xmlns:c16="http://schemas.microsoft.com/office/drawing/2014/chart" uri="{C3380CC4-5D6E-409C-BE32-E72D297353CC}">
                <c16:uniqueId val="{00001145-7BE2-49F1-B47F-64DDA7BF3F9D}"/>
              </c:ext>
            </c:extLst>
          </c:dPt>
          <c:dPt>
            <c:idx val="2210"/>
            <c:invertIfNegative val="1"/>
            <c:bubble3D val="0"/>
            <c:spPr>
              <a:solidFill>
                <a:srgbClr val="AEABAB"/>
              </a:solidFill>
            </c:spPr>
            <c:extLst>
              <c:ext xmlns:c16="http://schemas.microsoft.com/office/drawing/2014/chart" uri="{C3380CC4-5D6E-409C-BE32-E72D297353CC}">
                <c16:uniqueId val="{00001147-7BE2-49F1-B47F-64DDA7BF3F9D}"/>
              </c:ext>
            </c:extLst>
          </c:dPt>
          <c:dPt>
            <c:idx val="2211"/>
            <c:invertIfNegative val="1"/>
            <c:bubble3D val="0"/>
            <c:spPr>
              <a:solidFill>
                <a:srgbClr val="AEABAB"/>
              </a:solidFill>
            </c:spPr>
            <c:extLst>
              <c:ext xmlns:c16="http://schemas.microsoft.com/office/drawing/2014/chart" uri="{C3380CC4-5D6E-409C-BE32-E72D297353CC}">
                <c16:uniqueId val="{00001149-7BE2-49F1-B47F-64DDA7BF3F9D}"/>
              </c:ext>
            </c:extLst>
          </c:dPt>
          <c:dPt>
            <c:idx val="2212"/>
            <c:invertIfNegative val="1"/>
            <c:bubble3D val="0"/>
            <c:spPr>
              <a:solidFill>
                <a:srgbClr val="AEABAB"/>
              </a:solidFill>
            </c:spPr>
            <c:extLst>
              <c:ext xmlns:c16="http://schemas.microsoft.com/office/drawing/2014/chart" uri="{C3380CC4-5D6E-409C-BE32-E72D297353CC}">
                <c16:uniqueId val="{0000114B-7BE2-49F1-B47F-64DDA7BF3F9D}"/>
              </c:ext>
            </c:extLst>
          </c:dPt>
          <c:dPt>
            <c:idx val="2213"/>
            <c:invertIfNegative val="1"/>
            <c:bubble3D val="0"/>
            <c:spPr>
              <a:solidFill>
                <a:srgbClr val="AEABAB"/>
              </a:solidFill>
            </c:spPr>
            <c:extLst>
              <c:ext xmlns:c16="http://schemas.microsoft.com/office/drawing/2014/chart" uri="{C3380CC4-5D6E-409C-BE32-E72D297353CC}">
                <c16:uniqueId val="{0000114D-7BE2-49F1-B47F-64DDA7BF3F9D}"/>
              </c:ext>
            </c:extLst>
          </c:dPt>
          <c:dPt>
            <c:idx val="2214"/>
            <c:invertIfNegative val="1"/>
            <c:bubble3D val="0"/>
            <c:spPr>
              <a:solidFill>
                <a:srgbClr val="AEABAB"/>
              </a:solidFill>
            </c:spPr>
            <c:extLst>
              <c:ext xmlns:c16="http://schemas.microsoft.com/office/drawing/2014/chart" uri="{C3380CC4-5D6E-409C-BE32-E72D297353CC}">
                <c16:uniqueId val="{0000114F-7BE2-49F1-B47F-64DDA7BF3F9D}"/>
              </c:ext>
            </c:extLst>
          </c:dPt>
          <c:dPt>
            <c:idx val="2215"/>
            <c:invertIfNegative val="1"/>
            <c:bubble3D val="0"/>
            <c:spPr>
              <a:solidFill>
                <a:srgbClr val="AEABAB"/>
              </a:solidFill>
            </c:spPr>
            <c:extLst>
              <c:ext xmlns:c16="http://schemas.microsoft.com/office/drawing/2014/chart" uri="{C3380CC4-5D6E-409C-BE32-E72D297353CC}">
                <c16:uniqueId val="{00001151-7BE2-49F1-B47F-64DDA7BF3F9D}"/>
              </c:ext>
            </c:extLst>
          </c:dPt>
          <c:dPt>
            <c:idx val="2216"/>
            <c:invertIfNegative val="1"/>
            <c:bubble3D val="0"/>
            <c:spPr>
              <a:solidFill>
                <a:srgbClr val="AEABAB"/>
              </a:solidFill>
            </c:spPr>
            <c:extLst>
              <c:ext xmlns:c16="http://schemas.microsoft.com/office/drawing/2014/chart" uri="{C3380CC4-5D6E-409C-BE32-E72D297353CC}">
                <c16:uniqueId val="{00001153-7BE2-49F1-B47F-64DDA7BF3F9D}"/>
              </c:ext>
            </c:extLst>
          </c:dPt>
          <c:dPt>
            <c:idx val="2217"/>
            <c:invertIfNegative val="1"/>
            <c:bubble3D val="0"/>
            <c:spPr>
              <a:solidFill>
                <a:srgbClr val="AEABAB"/>
              </a:solidFill>
            </c:spPr>
            <c:extLst>
              <c:ext xmlns:c16="http://schemas.microsoft.com/office/drawing/2014/chart" uri="{C3380CC4-5D6E-409C-BE32-E72D297353CC}">
                <c16:uniqueId val="{00001155-7BE2-49F1-B47F-64DDA7BF3F9D}"/>
              </c:ext>
            </c:extLst>
          </c:dPt>
          <c:dPt>
            <c:idx val="2218"/>
            <c:invertIfNegative val="1"/>
            <c:bubble3D val="0"/>
            <c:spPr>
              <a:solidFill>
                <a:srgbClr val="AEABAB"/>
              </a:solidFill>
            </c:spPr>
            <c:extLst>
              <c:ext xmlns:c16="http://schemas.microsoft.com/office/drawing/2014/chart" uri="{C3380CC4-5D6E-409C-BE32-E72D297353CC}">
                <c16:uniqueId val="{00001157-7BE2-49F1-B47F-64DDA7BF3F9D}"/>
              </c:ext>
            </c:extLst>
          </c:dPt>
          <c:dPt>
            <c:idx val="2219"/>
            <c:invertIfNegative val="1"/>
            <c:bubble3D val="0"/>
            <c:spPr>
              <a:solidFill>
                <a:srgbClr val="AEABAB"/>
              </a:solidFill>
            </c:spPr>
            <c:extLst>
              <c:ext xmlns:c16="http://schemas.microsoft.com/office/drawing/2014/chart" uri="{C3380CC4-5D6E-409C-BE32-E72D297353CC}">
                <c16:uniqueId val="{00001159-7BE2-49F1-B47F-64DDA7BF3F9D}"/>
              </c:ext>
            </c:extLst>
          </c:dPt>
          <c:dPt>
            <c:idx val="2220"/>
            <c:invertIfNegative val="1"/>
            <c:bubble3D val="0"/>
            <c:spPr>
              <a:solidFill>
                <a:srgbClr val="AEABAB"/>
              </a:solidFill>
            </c:spPr>
            <c:extLst>
              <c:ext xmlns:c16="http://schemas.microsoft.com/office/drawing/2014/chart" uri="{C3380CC4-5D6E-409C-BE32-E72D297353CC}">
                <c16:uniqueId val="{0000115B-7BE2-49F1-B47F-64DDA7BF3F9D}"/>
              </c:ext>
            </c:extLst>
          </c:dPt>
          <c:dPt>
            <c:idx val="2221"/>
            <c:invertIfNegative val="1"/>
            <c:bubble3D val="0"/>
            <c:spPr>
              <a:solidFill>
                <a:srgbClr val="AEABAB"/>
              </a:solidFill>
            </c:spPr>
            <c:extLst>
              <c:ext xmlns:c16="http://schemas.microsoft.com/office/drawing/2014/chart" uri="{C3380CC4-5D6E-409C-BE32-E72D297353CC}">
                <c16:uniqueId val="{0000115D-7BE2-49F1-B47F-64DDA7BF3F9D}"/>
              </c:ext>
            </c:extLst>
          </c:dPt>
          <c:dPt>
            <c:idx val="2222"/>
            <c:invertIfNegative val="1"/>
            <c:bubble3D val="0"/>
            <c:spPr>
              <a:solidFill>
                <a:srgbClr val="AEABAB"/>
              </a:solidFill>
            </c:spPr>
            <c:extLst>
              <c:ext xmlns:c16="http://schemas.microsoft.com/office/drawing/2014/chart" uri="{C3380CC4-5D6E-409C-BE32-E72D297353CC}">
                <c16:uniqueId val="{0000115F-7BE2-49F1-B47F-64DDA7BF3F9D}"/>
              </c:ext>
            </c:extLst>
          </c:dPt>
          <c:dPt>
            <c:idx val="2223"/>
            <c:invertIfNegative val="1"/>
            <c:bubble3D val="0"/>
            <c:spPr>
              <a:solidFill>
                <a:srgbClr val="AEABAB"/>
              </a:solidFill>
            </c:spPr>
            <c:extLst>
              <c:ext xmlns:c16="http://schemas.microsoft.com/office/drawing/2014/chart" uri="{C3380CC4-5D6E-409C-BE32-E72D297353CC}">
                <c16:uniqueId val="{00001161-7BE2-49F1-B47F-64DDA7BF3F9D}"/>
              </c:ext>
            </c:extLst>
          </c:dPt>
          <c:dPt>
            <c:idx val="2224"/>
            <c:invertIfNegative val="1"/>
            <c:bubble3D val="0"/>
            <c:spPr>
              <a:solidFill>
                <a:srgbClr val="AEABAB"/>
              </a:solidFill>
            </c:spPr>
            <c:extLst>
              <c:ext xmlns:c16="http://schemas.microsoft.com/office/drawing/2014/chart" uri="{C3380CC4-5D6E-409C-BE32-E72D297353CC}">
                <c16:uniqueId val="{00001163-7BE2-49F1-B47F-64DDA7BF3F9D}"/>
              </c:ext>
            </c:extLst>
          </c:dPt>
          <c:dPt>
            <c:idx val="2225"/>
            <c:invertIfNegative val="1"/>
            <c:bubble3D val="0"/>
            <c:spPr>
              <a:solidFill>
                <a:srgbClr val="AEABAB"/>
              </a:solidFill>
            </c:spPr>
            <c:extLst>
              <c:ext xmlns:c16="http://schemas.microsoft.com/office/drawing/2014/chart" uri="{C3380CC4-5D6E-409C-BE32-E72D297353CC}">
                <c16:uniqueId val="{00001165-7BE2-49F1-B47F-64DDA7BF3F9D}"/>
              </c:ext>
            </c:extLst>
          </c:dPt>
          <c:dPt>
            <c:idx val="2226"/>
            <c:invertIfNegative val="1"/>
            <c:bubble3D val="0"/>
            <c:spPr>
              <a:solidFill>
                <a:srgbClr val="AEABAB"/>
              </a:solidFill>
            </c:spPr>
            <c:extLst>
              <c:ext xmlns:c16="http://schemas.microsoft.com/office/drawing/2014/chart" uri="{C3380CC4-5D6E-409C-BE32-E72D297353CC}">
                <c16:uniqueId val="{00001167-7BE2-49F1-B47F-64DDA7BF3F9D}"/>
              </c:ext>
            </c:extLst>
          </c:dPt>
          <c:dPt>
            <c:idx val="2227"/>
            <c:invertIfNegative val="1"/>
            <c:bubble3D val="0"/>
            <c:spPr>
              <a:solidFill>
                <a:srgbClr val="AEABAB"/>
              </a:solidFill>
            </c:spPr>
            <c:extLst>
              <c:ext xmlns:c16="http://schemas.microsoft.com/office/drawing/2014/chart" uri="{C3380CC4-5D6E-409C-BE32-E72D297353CC}">
                <c16:uniqueId val="{00001169-7BE2-49F1-B47F-64DDA7BF3F9D}"/>
              </c:ext>
            </c:extLst>
          </c:dPt>
          <c:dPt>
            <c:idx val="2228"/>
            <c:invertIfNegative val="1"/>
            <c:bubble3D val="0"/>
            <c:spPr>
              <a:solidFill>
                <a:srgbClr val="AEABAB"/>
              </a:solidFill>
            </c:spPr>
            <c:extLst>
              <c:ext xmlns:c16="http://schemas.microsoft.com/office/drawing/2014/chart" uri="{C3380CC4-5D6E-409C-BE32-E72D297353CC}">
                <c16:uniqueId val="{0000116B-7BE2-49F1-B47F-64DDA7BF3F9D}"/>
              </c:ext>
            </c:extLst>
          </c:dPt>
          <c:dPt>
            <c:idx val="2229"/>
            <c:invertIfNegative val="1"/>
            <c:bubble3D val="0"/>
            <c:spPr>
              <a:solidFill>
                <a:srgbClr val="AEABAB"/>
              </a:solidFill>
            </c:spPr>
            <c:extLst>
              <c:ext xmlns:c16="http://schemas.microsoft.com/office/drawing/2014/chart" uri="{C3380CC4-5D6E-409C-BE32-E72D297353CC}">
                <c16:uniqueId val="{0000116D-7BE2-49F1-B47F-64DDA7BF3F9D}"/>
              </c:ext>
            </c:extLst>
          </c:dPt>
          <c:dPt>
            <c:idx val="2230"/>
            <c:invertIfNegative val="1"/>
            <c:bubble3D val="0"/>
            <c:spPr>
              <a:solidFill>
                <a:srgbClr val="AEABAB"/>
              </a:solidFill>
            </c:spPr>
            <c:extLst>
              <c:ext xmlns:c16="http://schemas.microsoft.com/office/drawing/2014/chart" uri="{C3380CC4-5D6E-409C-BE32-E72D297353CC}">
                <c16:uniqueId val="{0000116F-7BE2-49F1-B47F-64DDA7BF3F9D}"/>
              </c:ext>
            </c:extLst>
          </c:dPt>
          <c:dPt>
            <c:idx val="2231"/>
            <c:invertIfNegative val="1"/>
            <c:bubble3D val="0"/>
            <c:spPr>
              <a:solidFill>
                <a:srgbClr val="AEABAB"/>
              </a:solidFill>
            </c:spPr>
            <c:extLst>
              <c:ext xmlns:c16="http://schemas.microsoft.com/office/drawing/2014/chart" uri="{C3380CC4-5D6E-409C-BE32-E72D297353CC}">
                <c16:uniqueId val="{00001171-7BE2-49F1-B47F-64DDA7BF3F9D}"/>
              </c:ext>
            </c:extLst>
          </c:dPt>
          <c:dPt>
            <c:idx val="2232"/>
            <c:invertIfNegative val="1"/>
            <c:bubble3D val="0"/>
            <c:spPr>
              <a:solidFill>
                <a:srgbClr val="AEABAB"/>
              </a:solidFill>
            </c:spPr>
            <c:extLst>
              <c:ext xmlns:c16="http://schemas.microsoft.com/office/drawing/2014/chart" uri="{C3380CC4-5D6E-409C-BE32-E72D297353CC}">
                <c16:uniqueId val="{00001173-7BE2-49F1-B47F-64DDA7BF3F9D}"/>
              </c:ext>
            </c:extLst>
          </c:dPt>
          <c:dPt>
            <c:idx val="2233"/>
            <c:invertIfNegative val="1"/>
            <c:bubble3D val="0"/>
            <c:spPr>
              <a:solidFill>
                <a:srgbClr val="AEABAB"/>
              </a:solidFill>
            </c:spPr>
            <c:extLst>
              <c:ext xmlns:c16="http://schemas.microsoft.com/office/drawing/2014/chart" uri="{C3380CC4-5D6E-409C-BE32-E72D297353CC}">
                <c16:uniqueId val="{00001175-7BE2-49F1-B47F-64DDA7BF3F9D}"/>
              </c:ext>
            </c:extLst>
          </c:dPt>
          <c:dPt>
            <c:idx val="2234"/>
            <c:invertIfNegative val="1"/>
            <c:bubble3D val="0"/>
            <c:spPr>
              <a:solidFill>
                <a:srgbClr val="AEABAB"/>
              </a:solidFill>
            </c:spPr>
            <c:extLst>
              <c:ext xmlns:c16="http://schemas.microsoft.com/office/drawing/2014/chart" uri="{C3380CC4-5D6E-409C-BE32-E72D297353CC}">
                <c16:uniqueId val="{00001177-7BE2-49F1-B47F-64DDA7BF3F9D}"/>
              </c:ext>
            </c:extLst>
          </c:dPt>
          <c:dPt>
            <c:idx val="2235"/>
            <c:invertIfNegative val="1"/>
            <c:bubble3D val="0"/>
            <c:spPr>
              <a:solidFill>
                <a:srgbClr val="AEABAB"/>
              </a:solidFill>
            </c:spPr>
            <c:extLst>
              <c:ext xmlns:c16="http://schemas.microsoft.com/office/drawing/2014/chart" uri="{C3380CC4-5D6E-409C-BE32-E72D297353CC}">
                <c16:uniqueId val="{00001179-7BE2-49F1-B47F-64DDA7BF3F9D}"/>
              </c:ext>
            </c:extLst>
          </c:dPt>
          <c:dPt>
            <c:idx val="2236"/>
            <c:invertIfNegative val="1"/>
            <c:bubble3D val="0"/>
            <c:spPr>
              <a:solidFill>
                <a:srgbClr val="AEABAB"/>
              </a:solidFill>
            </c:spPr>
            <c:extLst>
              <c:ext xmlns:c16="http://schemas.microsoft.com/office/drawing/2014/chart" uri="{C3380CC4-5D6E-409C-BE32-E72D297353CC}">
                <c16:uniqueId val="{0000117B-7BE2-49F1-B47F-64DDA7BF3F9D}"/>
              </c:ext>
            </c:extLst>
          </c:dPt>
          <c:dPt>
            <c:idx val="2237"/>
            <c:invertIfNegative val="1"/>
            <c:bubble3D val="0"/>
            <c:spPr>
              <a:solidFill>
                <a:srgbClr val="AEABAB"/>
              </a:solidFill>
            </c:spPr>
            <c:extLst>
              <c:ext xmlns:c16="http://schemas.microsoft.com/office/drawing/2014/chart" uri="{C3380CC4-5D6E-409C-BE32-E72D297353CC}">
                <c16:uniqueId val="{0000117D-7BE2-49F1-B47F-64DDA7BF3F9D}"/>
              </c:ext>
            </c:extLst>
          </c:dPt>
          <c:dPt>
            <c:idx val="2238"/>
            <c:invertIfNegative val="1"/>
            <c:bubble3D val="0"/>
            <c:spPr>
              <a:solidFill>
                <a:srgbClr val="AEABAB"/>
              </a:solidFill>
            </c:spPr>
            <c:extLst>
              <c:ext xmlns:c16="http://schemas.microsoft.com/office/drawing/2014/chart" uri="{C3380CC4-5D6E-409C-BE32-E72D297353CC}">
                <c16:uniqueId val="{0000117F-7BE2-49F1-B47F-64DDA7BF3F9D}"/>
              </c:ext>
            </c:extLst>
          </c:dPt>
          <c:dPt>
            <c:idx val="2239"/>
            <c:invertIfNegative val="1"/>
            <c:bubble3D val="0"/>
            <c:spPr>
              <a:solidFill>
                <a:srgbClr val="AEABAB"/>
              </a:solidFill>
            </c:spPr>
            <c:extLst>
              <c:ext xmlns:c16="http://schemas.microsoft.com/office/drawing/2014/chart" uri="{C3380CC4-5D6E-409C-BE32-E72D297353CC}">
                <c16:uniqueId val="{00001181-7BE2-49F1-B47F-64DDA7BF3F9D}"/>
              </c:ext>
            </c:extLst>
          </c:dPt>
          <c:dPt>
            <c:idx val="2240"/>
            <c:invertIfNegative val="1"/>
            <c:bubble3D val="0"/>
            <c:spPr>
              <a:solidFill>
                <a:srgbClr val="AEABAB"/>
              </a:solidFill>
            </c:spPr>
            <c:extLst>
              <c:ext xmlns:c16="http://schemas.microsoft.com/office/drawing/2014/chart" uri="{C3380CC4-5D6E-409C-BE32-E72D297353CC}">
                <c16:uniqueId val="{00001183-7BE2-49F1-B47F-64DDA7BF3F9D}"/>
              </c:ext>
            </c:extLst>
          </c:dPt>
          <c:dPt>
            <c:idx val="2241"/>
            <c:invertIfNegative val="1"/>
            <c:bubble3D val="0"/>
            <c:spPr>
              <a:solidFill>
                <a:srgbClr val="AEABAB"/>
              </a:solidFill>
            </c:spPr>
            <c:extLst>
              <c:ext xmlns:c16="http://schemas.microsoft.com/office/drawing/2014/chart" uri="{C3380CC4-5D6E-409C-BE32-E72D297353CC}">
                <c16:uniqueId val="{00001185-7BE2-49F1-B47F-64DDA7BF3F9D}"/>
              </c:ext>
            </c:extLst>
          </c:dPt>
          <c:dPt>
            <c:idx val="2242"/>
            <c:invertIfNegative val="1"/>
            <c:bubble3D val="0"/>
            <c:spPr>
              <a:solidFill>
                <a:srgbClr val="AEABAB"/>
              </a:solidFill>
            </c:spPr>
            <c:extLst>
              <c:ext xmlns:c16="http://schemas.microsoft.com/office/drawing/2014/chart" uri="{C3380CC4-5D6E-409C-BE32-E72D297353CC}">
                <c16:uniqueId val="{00001187-7BE2-49F1-B47F-64DDA7BF3F9D}"/>
              </c:ext>
            </c:extLst>
          </c:dPt>
          <c:dPt>
            <c:idx val="2243"/>
            <c:invertIfNegative val="1"/>
            <c:bubble3D val="0"/>
            <c:spPr>
              <a:solidFill>
                <a:srgbClr val="AEABAB"/>
              </a:solidFill>
            </c:spPr>
            <c:extLst>
              <c:ext xmlns:c16="http://schemas.microsoft.com/office/drawing/2014/chart" uri="{C3380CC4-5D6E-409C-BE32-E72D297353CC}">
                <c16:uniqueId val="{00001189-7BE2-49F1-B47F-64DDA7BF3F9D}"/>
              </c:ext>
            </c:extLst>
          </c:dPt>
          <c:dPt>
            <c:idx val="2244"/>
            <c:invertIfNegative val="1"/>
            <c:bubble3D val="0"/>
            <c:spPr>
              <a:solidFill>
                <a:srgbClr val="AEABAB"/>
              </a:solidFill>
            </c:spPr>
            <c:extLst>
              <c:ext xmlns:c16="http://schemas.microsoft.com/office/drawing/2014/chart" uri="{C3380CC4-5D6E-409C-BE32-E72D297353CC}">
                <c16:uniqueId val="{0000118B-7BE2-49F1-B47F-64DDA7BF3F9D}"/>
              </c:ext>
            </c:extLst>
          </c:dPt>
          <c:dPt>
            <c:idx val="2245"/>
            <c:invertIfNegative val="1"/>
            <c:bubble3D val="0"/>
            <c:spPr>
              <a:solidFill>
                <a:srgbClr val="AEABAB"/>
              </a:solidFill>
            </c:spPr>
            <c:extLst>
              <c:ext xmlns:c16="http://schemas.microsoft.com/office/drawing/2014/chart" uri="{C3380CC4-5D6E-409C-BE32-E72D297353CC}">
                <c16:uniqueId val="{0000118D-7BE2-49F1-B47F-64DDA7BF3F9D}"/>
              </c:ext>
            </c:extLst>
          </c:dPt>
          <c:dPt>
            <c:idx val="2246"/>
            <c:invertIfNegative val="1"/>
            <c:bubble3D val="0"/>
            <c:spPr>
              <a:solidFill>
                <a:srgbClr val="AEABAB"/>
              </a:solidFill>
            </c:spPr>
            <c:extLst>
              <c:ext xmlns:c16="http://schemas.microsoft.com/office/drawing/2014/chart" uri="{C3380CC4-5D6E-409C-BE32-E72D297353CC}">
                <c16:uniqueId val="{0000118F-7BE2-49F1-B47F-64DDA7BF3F9D}"/>
              </c:ext>
            </c:extLst>
          </c:dPt>
          <c:dPt>
            <c:idx val="2247"/>
            <c:invertIfNegative val="1"/>
            <c:bubble3D val="0"/>
            <c:spPr>
              <a:solidFill>
                <a:srgbClr val="AEABAB"/>
              </a:solidFill>
            </c:spPr>
            <c:extLst>
              <c:ext xmlns:c16="http://schemas.microsoft.com/office/drawing/2014/chart" uri="{C3380CC4-5D6E-409C-BE32-E72D297353CC}">
                <c16:uniqueId val="{00001191-7BE2-49F1-B47F-64DDA7BF3F9D}"/>
              </c:ext>
            </c:extLst>
          </c:dPt>
          <c:dPt>
            <c:idx val="2248"/>
            <c:invertIfNegative val="1"/>
            <c:bubble3D val="0"/>
            <c:spPr>
              <a:solidFill>
                <a:srgbClr val="AEABAB"/>
              </a:solidFill>
            </c:spPr>
            <c:extLst>
              <c:ext xmlns:c16="http://schemas.microsoft.com/office/drawing/2014/chart" uri="{C3380CC4-5D6E-409C-BE32-E72D297353CC}">
                <c16:uniqueId val="{00001193-7BE2-49F1-B47F-64DDA7BF3F9D}"/>
              </c:ext>
            </c:extLst>
          </c:dPt>
          <c:dPt>
            <c:idx val="2249"/>
            <c:invertIfNegative val="1"/>
            <c:bubble3D val="0"/>
            <c:spPr>
              <a:solidFill>
                <a:srgbClr val="AEABAB"/>
              </a:solidFill>
            </c:spPr>
            <c:extLst>
              <c:ext xmlns:c16="http://schemas.microsoft.com/office/drawing/2014/chart" uri="{C3380CC4-5D6E-409C-BE32-E72D297353CC}">
                <c16:uniqueId val="{00001195-7BE2-49F1-B47F-64DDA7BF3F9D}"/>
              </c:ext>
            </c:extLst>
          </c:dPt>
          <c:dPt>
            <c:idx val="2250"/>
            <c:invertIfNegative val="1"/>
            <c:bubble3D val="0"/>
            <c:spPr>
              <a:solidFill>
                <a:srgbClr val="AEABAB"/>
              </a:solidFill>
            </c:spPr>
            <c:extLst>
              <c:ext xmlns:c16="http://schemas.microsoft.com/office/drawing/2014/chart" uri="{C3380CC4-5D6E-409C-BE32-E72D297353CC}">
                <c16:uniqueId val="{00001197-7BE2-49F1-B47F-64DDA7BF3F9D}"/>
              </c:ext>
            </c:extLst>
          </c:dPt>
          <c:dPt>
            <c:idx val="2251"/>
            <c:invertIfNegative val="1"/>
            <c:bubble3D val="0"/>
            <c:spPr>
              <a:solidFill>
                <a:srgbClr val="AEABAB"/>
              </a:solidFill>
            </c:spPr>
            <c:extLst>
              <c:ext xmlns:c16="http://schemas.microsoft.com/office/drawing/2014/chart" uri="{C3380CC4-5D6E-409C-BE32-E72D297353CC}">
                <c16:uniqueId val="{00001199-7BE2-49F1-B47F-64DDA7BF3F9D}"/>
              </c:ext>
            </c:extLst>
          </c:dPt>
          <c:dPt>
            <c:idx val="2252"/>
            <c:invertIfNegative val="1"/>
            <c:bubble3D val="0"/>
            <c:spPr>
              <a:solidFill>
                <a:srgbClr val="AEABAB"/>
              </a:solidFill>
            </c:spPr>
            <c:extLst>
              <c:ext xmlns:c16="http://schemas.microsoft.com/office/drawing/2014/chart" uri="{C3380CC4-5D6E-409C-BE32-E72D297353CC}">
                <c16:uniqueId val="{0000119B-7BE2-49F1-B47F-64DDA7BF3F9D}"/>
              </c:ext>
            </c:extLst>
          </c:dPt>
          <c:dPt>
            <c:idx val="2253"/>
            <c:invertIfNegative val="1"/>
            <c:bubble3D val="0"/>
            <c:spPr>
              <a:solidFill>
                <a:srgbClr val="AEABAB"/>
              </a:solidFill>
            </c:spPr>
            <c:extLst>
              <c:ext xmlns:c16="http://schemas.microsoft.com/office/drawing/2014/chart" uri="{C3380CC4-5D6E-409C-BE32-E72D297353CC}">
                <c16:uniqueId val="{0000119D-7BE2-49F1-B47F-64DDA7BF3F9D}"/>
              </c:ext>
            </c:extLst>
          </c:dPt>
          <c:dPt>
            <c:idx val="2254"/>
            <c:invertIfNegative val="1"/>
            <c:bubble3D val="0"/>
            <c:spPr>
              <a:solidFill>
                <a:srgbClr val="AEABAB"/>
              </a:solidFill>
            </c:spPr>
            <c:extLst>
              <c:ext xmlns:c16="http://schemas.microsoft.com/office/drawing/2014/chart" uri="{C3380CC4-5D6E-409C-BE32-E72D297353CC}">
                <c16:uniqueId val="{0000119F-7BE2-49F1-B47F-64DDA7BF3F9D}"/>
              </c:ext>
            </c:extLst>
          </c:dPt>
          <c:dPt>
            <c:idx val="2255"/>
            <c:invertIfNegative val="1"/>
            <c:bubble3D val="0"/>
            <c:spPr>
              <a:solidFill>
                <a:srgbClr val="AEABAB"/>
              </a:solidFill>
            </c:spPr>
            <c:extLst>
              <c:ext xmlns:c16="http://schemas.microsoft.com/office/drawing/2014/chart" uri="{C3380CC4-5D6E-409C-BE32-E72D297353CC}">
                <c16:uniqueId val="{000011A1-7BE2-49F1-B47F-64DDA7BF3F9D}"/>
              </c:ext>
            </c:extLst>
          </c:dPt>
          <c:dPt>
            <c:idx val="2256"/>
            <c:invertIfNegative val="1"/>
            <c:bubble3D val="0"/>
            <c:spPr>
              <a:solidFill>
                <a:srgbClr val="AEABAB"/>
              </a:solidFill>
            </c:spPr>
            <c:extLst>
              <c:ext xmlns:c16="http://schemas.microsoft.com/office/drawing/2014/chart" uri="{C3380CC4-5D6E-409C-BE32-E72D297353CC}">
                <c16:uniqueId val="{000011A3-7BE2-49F1-B47F-64DDA7BF3F9D}"/>
              </c:ext>
            </c:extLst>
          </c:dPt>
          <c:dPt>
            <c:idx val="2257"/>
            <c:invertIfNegative val="1"/>
            <c:bubble3D val="0"/>
            <c:spPr>
              <a:solidFill>
                <a:srgbClr val="AEABAB"/>
              </a:solidFill>
            </c:spPr>
            <c:extLst>
              <c:ext xmlns:c16="http://schemas.microsoft.com/office/drawing/2014/chart" uri="{C3380CC4-5D6E-409C-BE32-E72D297353CC}">
                <c16:uniqueId val="{000011A5-7BE2-49F1-B47F-64DDA7BF3F9D}"/>
              </c:ext>
            </c:extLst>
          </c:dPt>
          <c:dPt>
            <c:idx val="2258"/>
            <c:invertIfNegative val="1"/>
            <c:bubble3D val="0"/>
            <c:spPr>
              <a:solidFill>
                <a:srgbClr val="AEABAB"/>
              </a:solidFill>
            </c:spPr>
            <c:extLst>
              <c:ext xmlns:c16="http://schemas.microsoft.com/office/drawing/2014/chart" uri="{C3380CC4-5D6E-409C-BE32-E72D297353CC}">
                <c16:uniqueId val="{000011A7-7BE2-49F1-B47F-64DDA7BF3F9D}"/>
              </c:ext>
            </c:extLst>
          </c:dPt>
          <c:dPt>
            <c:idx val="2259"/>
            <c:invertIfNegative val="1"/>
            <c:bubble3D val="0"/>
            <c:spPr>
              <a:solidFill>
                <a:srgbClr val="AEABAB"/>
              </a:solidFill>
            </c:spPr>
            <c:extLst>
              <c:ext xmlns:c16="http://schemas.microsoft.com/office/drawing/2014/chart" uri="{C3380CC4-5D6E-409C-BE32-E72D297353CC}">
                <c16:uniqueId val="{000011A9-7BE2-49F1-B47F-64DDA7BF3F9D}"/>
              </c:ext>
            </c:extLst>
          </c:dPt>
          <c:dPt>
            <c:idx val="2260"/>
            <c:invertIfNegative val="1"/>
            <c:bubble3D val="0"/>
            <c:spPr>
              <a:solidFill>
                <a:srgbClr val="AEABAB"/>
              </a:solidFill>
            </c:spPr>
            <c:extLst>
              <c:ext xmlns:c16="http://schemas.microsoft.com/office/drawing/2014/chart" uri="{C3380CC4-5D6E-409C-BE32-E72D297353CC}">
                <c16:uniqueId val="{000011AB-7BE2-49F1-B47F-64DDA7BF3F9D}"/>
              </c:ext>
            </c:extLst>
          </c:dPt>
          <c:dPt>
            <c:idx val="2261"/>
            <c:invertIfNegative val="1"/>
            <c:bubble3D val="0"/>
            <c:spPr>
              <a:solidFill>
                <a:srgbClr val="AEABAB"/>
              </a:solidFill>
            </c:spPr>
            <c:extLst>
              <c:ext xmlns:c16="http://schemas.microsoft.com/office/drawing/2014/chart" uri="{C3380CC4-5D6E-409C-BE32-E72D297353CC}">
                <c16:uniqueId val="{000011AD-7BE2-49F1-B47F-64DDA7BF3F9D}"/>
              </c:ext>
            </c:extLst>
          </c:dPt>
          <c:dPt>
            <c:idx val="2262"/>
            <c:invertIfNegative val="1"/>
            <c:bubble3D val="0"/>
            <c:spPr>
              <a:solidFill>
                <a:srgbClr val="AEABAB"/>
              </a:solidFill>
            </c:spPr>
            <c:extLst>
              <c:ext xmlns:c16="http://schemas.microsoft.com/office/drawing/2014/chart" uri="{C3380CC4-5D6E-409C-BE32-E72D297353CC}">
                <c16:uniqueId val="{000011AF-7BE2-49F1-B47F-64DDA7BF3F9D}"/>
              </c:ext>
            </c:extLst>
          </c:dPt>
          <c:dPt>
            <c:idx val="2263"/>
            <c:invertIfNegative val="1"/>
            <c:bubble3D val="0"/>
            <c:spPr>
              <a:solidFill>
                <a:srgbClr val="AEABAB"/>
              </a:solidFill>
            </c:spPr>
            <c:extLst>
              <c:ext xmlns:c16="http://schemas.microsoft.com/office/drawing/2014/chart" uri="{C3380CC4-5D6E-409C-BE32-E72D297353CC}">
                <c16:uniqueId val="{000011B1-7BE2-49F1-B47F-64DDA7BF3F9D}"/>
              </c:ext>
            </c:extLst>
          </c:dPt>
          <c:dPt>
            <c:idx val="2264"/>
            <c:invertIfNegative val="1"/>
            <c:bubble3D val="0"/>
            <c:spPr>
              <a:solidFill>
                <a:srgbClr val="AEABAB"/>
              </a:solidFill>
            </c:spPr>
            <c:extLst>
              <c:ext xmlns:c16="http://schemas.microsoft.com/office/drawing/2014/chart" uri="{C3380CC4-5D6E-409C-BE32-E72D297353CC}">
                <c16:uniqueId val="{000011B3-7BE2-49F1-B47F-64DDA7BF3F9D}"/>
              </c:ext>
            </c:extLst>
          </c:dPt>
          <c:dPt>
            <c:idx val="2265"/>
            <c:invertIfNegative val="1"/>
            <c:bubble3D val="0"/>
            <c:spPr>
              <a:solidFill>
                <a:srgbClr val="AEABAB"/>
              </a:solidFill>
            </c:spPr>
            <c:extLst>
              <c:ext xmlns:c16="http://schemas.microsoft.com/office/drawing/2014/chart" uri="{C3380CC4-5D6E-409C-BE32-E72D297353CC}">
                <c16:uniqueId val="{000011B5-7BE2-49F1-B47F-64DDA7BF3F9D}"/>
              </c:ext>
            </c:extLst>
          </c:dPt>
          <c:dPt>
            <c:idx val="2266"/>
            <c:invertIfNegative val="1"/>
            <c:bubble3D val="0"/>
            <c:spPr>
              <a:solidFill>
                <a:srgbClr val="AEABAB"/>
              </a:solidFill>
            </c:spPr>
            <c:extLst>
              <c:ext xmlns:c16="http://schemas.microsoft.com/office/drawing/2014/chart" uri="{C3380CC4-5D6E-409C-BE32-E72D297353CC}">
                <c16:uniqueId val="{000011B7-7BE2-49F1-B47F-64DDA7BF3F9D}"/>
              </c:ext>
            </c:extLst>
          </c:dPt>
          <c:dPt>
            <c:idx val="2267"/>
            <c:invertIfNegative val="1"/>
            <c:bubble3D val="0"/>
            <c:spPr>
              <a:solidFill>
                <a:srgbClr val="AEABAB"/>
              </a:solidFill>
            </c:spPr>
            <c:extLst>
              <c:ext xmlns:c16="http://schemas.microsoft.com/office/drawing/2014/chart" uri="{C3380CC4-5D6E-409C-BE32-E72D297353CC}">
                <c16:uniqueId val="{000011B9-7BE2-49F1-B47F-64DDA7BF3F9D}"/>
              </c:ext>
            </c:extLst>
          </c:dPt>
          <c:dPt>
            <c:idx val="2268"/>
            <c:invertIfNegative val="1"/>
            <c:bubble3D val="0"/>
            <c:spPr>
              <a:solidFill>
                <a:srgbClr val="AEABAB"/>
              </a:solidFill>
            </c:spPr>
            <c:extLst>
              <c:ext xmlns:c16="http://schemas.microsoft.com/office/drawing/2014/chart" uri="{C3380CC4-5D6E-409C-BE32-E72D297353CC}">
                <c16:uniqueId val="{000011BB-7BE2-49F1-B47F-64DDA7BF3F9D}"/>
              </c:ext>
            </c:extLst>
          </c:dPt>
          <c:dPt>
            <c:idx val="2269"/>
            <c:invertIfNegative val="1"/>
            <c:bubble3D val="0"/>
            <c:spPr>
              <a:solidFill>
                <a:srgbClr val="AEABAB"/>
              </a:solidFill>
            </c:spPr>
            <c:extLst>
              <c:ext xmlns:c16="http://schemas.microsoft.com/office/drawing/2014/chart" uri="{C3380CC4-5D6E-409C-BE32-E72D297353CC}">
                <c16:uniqueId val="{000011BD-7BE2-49F1-B47F-64DDA7BF3F9D}"/>
              </c:ext>
            </c:extLst>
          </c:dPt>
          <c:dPt>
            <c:idx val="2270"/>
            <c:invertIfNegative val="1"/>
            <c:bubble3D val="0"/>
            <c:spPr>
              <a:solidFill>
                <a:srgbClr val="AEABAB"/>
              </a:solidFill>
            </c:spPr>
            <c:extLst>
              <c:ext xmlns:c16="http://schemas.microsoft.com/office/drawing/2014/chart" uri="{C3380CC4-5D6E-409C-BE32-E72D297353CC}">
                <c16:uniqueId val="{000011BF-7BE2-49F1-B47F-64DDA7BF3F9D}"/>
              </c:ext>
            </c:extLst>
          </c:dPt>
          <c:dPt>
            <c:idx val="2271"/>
            <c:invertIfNegative val="1"/>
            <c:bubble3D val="0"/>
            <c:spPr>
              <a:solidFill>
                <a:srgbClr val="AEABAB"/>
              </a:solidFill>
            </c:spPr>
            <c:extLst>
              <c:ext xmlns:c16="http://schemas.microsoft.com/office/drawing/2014/chart" uri="{C3380CC4-5D6E-409C-BE32-E72D297353CC}">
                <c16:uniqueId val="{000011C1-7BE2-49F1-B47F-64DDA7BF3F9D}"/>
              </c:ext>
            </c:extLst>
          </c:dPt>
          <c:dPt>
            <c:idx val="2272"/>
            <c:invertIfNegative val="1"/>
            <c:bubble3D val="0"/>
            <c:spPr>
              <a:solidFill>
                <a:srgbClr val="AEABAB"/>
              </a:solidFill>
            </c:spPr>
            <c:extLst>
              <c:ext xmlns:c16="http://schemas.microsoft.com/office/drawing/2014/chart" uri="{C3380CC4-5D6E-409C-BE32-E72D297353CC}">
                <c16:uniqueId val="{000011C3-7BE2-49F1-B47F-64DDA7BF3F9D}"/>
              </c:ext>
            </c:extLst>
          </c:dPt>
          <c:dPt>
            <c:idx val="2273"/>
            <c:invertIfNegative val="1"/>
            <c:bubble3D val="0"/>
            <c:spPr>
              <a:solidFill>
                <a:srgbClr val="AEABAB"/>
              </a:solidFill>
            </c:spPr>
            <c:extLst>
              <c:ext xmlns:c16="http://schemas.microsoft.com/office/drawing/2014/chart" uri="{C3380CC4-5D6E-409C-BE32-E72D297353CC}">
                <c16:uniqueId val="{000011C5-7BE2-49F1-B47F-64DDA7BF3F9D}"/>
              </c:ext>
            </c:extLst>
          </c:dPt>
          <c:dPt>
            <c:idx val="2274"/>
            <c:invertIfNegative val="1"/>
            <c:bubble3D val="0"/>
            <c:spPr>
              <a:solidFill>
                <a:srgbClr val="AEABAB"/>
              </a:solidFill>
            </c:spPr>
            <c:extLst>
              <c:ext xmlns:c16="http://schemas.microsoft.com/office/drawing/2014/chart" uri="{C3380CC4-5D6E-409C-BE32-E72D297353CC}">
                <c16:uniqueId val="{000011C7-7BE2-49F1-B47F-64DDA7BF3F9D}"/>
              </c:ext>
            </c:extLst>
          </c:dPt>
          <c:dPt>
            <c:idx val="2275"/>
            <c:invertIfNegative val="1"/>
            <c:bubble3D val="0"/>
            <c:spPr>
              <a:solidFill>
                <a:srgbClr val="AEABAB"/>
              </a:solidFill>
            </c:spPr>
            <c:extLst>
              <c:ext xmlns:c16="http://schemas.microsoft.com/office/drawing/2014/chart" uri="{C3380CC4-5D6E-409C-BE32-E72D297353CC}">
                <c16:uniqueId val="{000011C9-7BE2-49F1-B47F-64DDA7BF3F9D}"/>
              </c:ext>
            </c:extLst>
          </c:dPt>
          <c:dPt>
            <c:idx val="2276"/>
            <c:invertIfNegative val="1"/>
            <c:bubble3D val="0"/>
            <c:spPr>
              <a:solidFill>
                <a:srgbClr val="AEABAB"/>
              </a:solidFill>
            </c:spPr>
            <c:extLst>
              <c:ext xmlns:c16="http://schemas.microsoft.com/office/drawing/2014/chart" uri="{C3380CC4-5D6E-409C-BE32-E72D297353CC}">
                <c16:uniqueId val="{000011CB-7BE2-49F1-B47F-64DDA7BF3F9D}"/>
              </c:ext>
            </c:extLst>
          </c:dPt>
          <c:dPt>
            <c:idx val="2277"/>
            <c:invertIfNegative val="1"/>
            <c:bubble3D val="0"/>
            <c:spPr>
              <a:solidFill>
                <a:srgbClr val="AEABAB"/>
              </a:solidFill>
            </c:spPr>
            <c:extLst>
              <c:ext xmlns:c16="http://schemas.microsoft.com/office/drawing/2014/chart" uri="{C3380CC4-5D6E-409C-BE32-E72D297353CC}">
                <c16:uniqueId val="{000011CD-7BE2-49F1-B47F-64DDA7BF3F9D}"/>
              </c:ext>
            </c:extLst>
          </c:dPt>
          <c:dPt>
            <c:idx val="2278"/>
            <c:invertIfNegative val="1"/>
            <c:bubble3D val="0"/>
            <c:spPr>
              <a:solidFill>
                <a:srgbClr val="AEABAB"/>
              </a:solidFill>
            </c:spPr>
            <c:extLst>
              <c:ext xmlns:c16="http://schemas.microsoft.com/office/drawing/2014/chart" uri="{C3380CC4-5D6E-409C-BE32-E72D297353CC}">
                <c16:uniqueId val="{000011CF-7BE2-49F1-B47F-64DDA7BF3F9D}"/>
              </c:ext>
            </c:extLst>
          </c:dPt>
          <c:dPt>
            <c:idx val="2279"/>
            <c:invertIfNegative val="1"/>
            <c:bubble3D val="0"/>
            <c:spPr>
              <a:solidFill>
                <a:srgbClr val="AEABAB"/>
              </a:solidFill>
            </c:spPr>
            <c:extLst>
              <c:ext xmlns:c16="http://schemas.microsoft.com/office/drawing/2014/chart" uri="{C3380CC4-5D6E-409C-BE32-E72D297353CC}">
                <c16:uniqueId val="{000011D1-7BE2-49F1-B47F-64DDA7BF3F9D}"/>
              </c:ext>
            </c:extLst>
          </c:dPt>
          <c:dPt>
            <c:idx val="2280"/>
            <c:invertIfNegative val="1"/>
            <c:bubble3D val="0"/>
            <c:spPr>
              <a:solidFill>
                <a:srgbClr val="AEABAB"/>
              </a:solidFill>
            </c:spPr>
            <c:extLst>
              <c:ext xmlns:c16="http://schemas.microsoft.com/office/drawing/2014/chart" uri="{C3380CC4-5D6E-409C-BE32-E72D297353CC}">
                <c16:uniqueId val="{000011D3-7BE2-49F1-B47F-64DDA7BF3F9D}"/>
              </c:ext>
            </c:extLst>
          </c:dPt>
          <c:dPt>
            <c:idx val="2281"/>
            <c:invertIfNegative val="1"/>
            <c:bubble3D val="0"/>
            <c:spPr>
              <a:solidFill>
                <a:srgbClr val="AEABAB"/>
              </a:solidFill>
            </c:spPr>
            <c:extLst>
              <c:ext xmlns:c16="http://schemas.microsoft.com/office/drawing/2014/chart" uri="{C3380CC4-5D6E-409C-BE32-E72D297353CC}">
                <c16:uniqueId val="{000011D5-7BE2-49F1-B47F-64DDA7BF3F9D}"/>
              </c:ext>
            </c:extLst>
          </c:dPt>
          <c:dPt>
            <c:idx val="2282"/>
            <c:invertIfNegative val="1"/>
            <c:bubble3D val="0"/>
            <c:spPr>
              <a:solidFill>
                <a:srgbClr val="AEABAB"/>
              </a:solidFill>
            </c:spPr>
            <c:extLst>
              <c:ext xmlns:c16="http://schemas.microsoft.com/office/drawing/2014/chart" uri="{C3380CC4-5D6E-409C-BE32-E72D297353CC}">
                <c16:uniqueId val="{000011D7-7BE2-49F1-B47F-64DDA7BF3F9D}"/>
              </c:ext>
            </c:extLst>
          </c:dPt>
          <c:dPt>
            <c:idx val="2283"/>
            <c:invertIfNegative val="1"/>
            <c:bubble3D val="0"/>
            <c:spPr>
              <a:solidFill>
                <a:srgbClr val="AEABAB"/>
              </a:solidFill>
            </c:spPr>
            <c:extLst>
              <c:ext xmlns:c16="http://schemas.microsoft.com/office/drawing/2014/chart" uri="{C3380CC4-5D6E-409C-BE32-E72D297353CC}">
                <c16:uniqueId val="{000011D9-7BE2-49F1-B47F-64DDA7BF3F9D}"/>
              </c:ext>
            </c:extLst>
          </c:dPt>
          <c:dPt>
            <c:idx val="2284"/>
            <c:invertIfNegative val="1"/>
            <c:bubble3D val="0"/>
            <c:spPr>
              <a:solidFill>
                <a:srgbClr val="AEABAB"/>
              </a:solidFill>
            </c:spPr>
            <c:extLst>
              <c:ext xmlns:c16="http://schemas.microsoft.com/office/drawing/2014/chart" uri="{C3380CC4-5D6E-409C-BE32-E72D297353CC}">
                <c16:uniqueId val="{000011DB-7BE2-49F1-B47F-64DDA7BF3F9D}"/>
              </c:ext>
            </c:extLst>
          </c:dPt>
          <c:dPt>
            <c:idx val="2285"/>
            <c:invertIfNegative val="1"/>
            <c:bubble3D val="0"/>
            <c:spPr>
              <a:solidFill>
                <a:srgbClr val="AEABAB"/>
              </a:solidFill>
            </c:spPr>
            <c:extLst>
              <c:ext xmlns:c16="http://schemas.microsoft.com/office/drawing/2014/chart" uri="{C3380CC4-5D6E-409C-BE32-E72D297353CC}">
                <c16:uniqueId val="{000011DD-7BE2-49F1-B47F-64DDA7BF3F9D}"/>
              </c:ext>
            </c:extLst>
          </c:dPt>
          <c:dPt>
            <c:idx val="2286"/>
            <c:invertIfNegative val="1"/>
            <c:bubble3D val="0"/>
            <c:spPr>
              <a:solidFill>
                <a:srgbClr val="AEABAB"/>
              </a:solidFill>
            </c:spPr>
            <c:extLst>
              <c:ext xmlns:c16="http://schemas.microsoft.com/office/drawing/2014/chart" uri="{C3380CC4-5D6E-409C-BE32-E72D297353CC}">
                <c16:uniqueId val="{000011DF-7BE2-49F1-B47F-64DDA7BF3F9D}"/>
              </c:ext>
            </c:extLst>
          </c:dPt>
          <c:dPt>
            <c:idx val="2287"/>
            <c:invertIfNegative val="1"/>
            <c:bubble3D val="0"/>
            <c:spPr>
              <a:solidFill>
                <a:srgbClr val="AEABAB"/>
              </a:solidFill>
            </c:spPr>
            <c:extLst>
              <c:ext xmlns:c16="http://schemas.microsoft.com/office/drawing/2014/chart" uri="{C3380CC4-5D6E-409C-BE32-E72D297353CC}">
                <c16:uniqueId val="{000011E1-7BE2-49F1-B47F-64DDA7BF3F9D}"/>
              </c:ext>
            </c:extLst>
          </c:dPt>
          <c:dPt>
            <c:idx val="2288"/>
            <c:invertIfNegative val="1"/>
            <c:bubble3D val="0"/>
            <c:spPr>
              <a:solidFill>
                <a:srgbClr val="AEABAB"/>
              </a:solidFill>
            </c:spPr>
            <c:extLst>
              <c:ext xmlns:c16="http://schemas.microsoft.com/office/drawing/2014/chart" uri="{C3380CC4-5D6E-409C-BE32-E72D297353CC}">
                <c16:uniqueId val="{000011E3-7BE2-49F1-B47F-64DDA7BF3F9D}"/>
              </c:ext>
            </c:extLst>
          </c:dPt>
          <c:dPt>
            <c:idx val="2289"/>
            <c:invertIfNegative val="1"/>
            <c:bubble3D val="0"/>
            <c:spPr>
              <a:solidFill>
                <a:srgbClr val="AEABAB"/>
              </a:solidFill>
            </c:spPr>
            <c:extLst>
              <c:ext xmlns:c16="http://schemas.microsoft.com/office/drawing/2014/chart" uri="{C3380CC4-5D6E-409C-BE32-E72D297353CC}">
                <c16:uniqueId val="{000011E5-7BE2-49F1-B47F-64DDA7BF3F9D}"/>
              </c:ext>
            </c:extLst>
          </c:dPt>
          <c:dPt>
            <c:idx val="2290"/>
            <c:invertIfNegative val="1"/>
            <c:bubble3D val="0"/>
            <c:spPr>
              <a:solidFill>
                <a:srgbClr val="AEABAB"/>
              </a:solidFill>
            </c:spPr>
            <c:extLst>
              <c:ext xmlns:c16="http://schemas.microsoft.com/office/drawing/2014/chart" uri="{C3380CC4-5D6E-409C-BE32-E72D297353CC}">
                <c16:uniqueId val="{000011E7-7BE2-49F1-B47F-64DDA7BF3F9D}"/>
              </c:ext>
            </c:extLst>
          </c:dPt>
          <c:dPt>
            <c:idx val="2291"/>
            <c:invertIfNegative val="1"/>
            <c:bubble3D val="0"/>
            <c:spPr>
              <a:solidFill>
                <a:srgbClr val="AEABAB"/>
              </a:solidFill>
            </c:spPr>
            <c:extLst>
              <c:ext xmlns:c16="http://schemas.microsoft.com/office/drawing/2014/chart" uri="{C3380CC4-5D6E-409C-BE32-E72D297353CC}">
                <c16:uniqueId val="{000011E9-7BE2-49F1-B47F-64DDA7BF3F9D}"/>
              </c:ext>
            </c:extLst>
          </c:dPt>
          <c:dPt>
            <c:idx val="2292"/>
            <c:invertIfNegative val="1"/>
            <c:bubble3D val="0"/>
            <c:spPr>
              <a:solidFill>
                <a:srgbClr val="AEABAB"/>
              </a:solidFill>
            </c:spPr>
            <c:extLst>
              <c:ext xmlns:c16="http://schemas.microsoft.com/office/drawing/2014/chart" uri="{C3380CC4-5D6E-409C-BE32-E72D297353CC}">
                <c16:uniqueId val="{000011EB-7BE2-49F1-B47F-64DDA7BF3F9D}"/>
              </c:ext>
            </c:extLst>
          </c:dPt>
          <c:dPt>
            <c:idx val="2293"/>
            <c:invertIfNegative val="1"/>
            <c:bubble3D val="0"/>
            <c:spPr>
              <a:solidFill>
                <a:srgbClr val="AEABAB"/>
              </a:solidFill>
            </c:spPr>
            <c:extLst>
              <c:ext xmlns:c16="http://schemas.microsoft.com/office/drawing/2014/chart" uri="{C3380CC4-5D6E-409C-BE32-E72D297353CC}">
                <c16:uniqueId val="{000011ED-7BE2-49F1-B47F-64DDA7BF3F9D}"/>
              </c:ext>
            </c:extLst>
          </c:dPt>
          <c:dPt>
            <c:idx val="2294"/>
            <c:invertIfNegative val="1"/>
            <c:bubble3D val="0"/>
            <c:spPr>
              <a:solidFill>
                <a:srgbClr val="AEABAB"/>
              </a:solidFill>
            </c:spPr>
            <c:extLst>
              <c:ext xmlns:c16="http://schemas.microsoft.com/office/drawing/2014/chart" uri="{C3380CC4-5D6E-409C-BE32-E72D297353CC}">
                <c16:uniqueId val="{000011EF-7BE2-49F1-B47F-64DDA7BF3F9D}"/>
              </c:ext>
            </c:extLst>
          </c:dPt>
          <c:dPt>
            <c:idx val="2295"/>
            <c:invertIfNegative val="1"/>
            <c:bubble3D val="0"/>
            <c:spPr>
              <a:solidFill>
                <a:srgbClr val="AEABAB"/>
              </a:solidFill>
            </c:spPr>
            <c:extLst>
              <c:ext xmlns:c16="http://schemas.microsoft.com/office/drawing/2014/chart" uri="{C3380CC4-5D6E-409C-BE32-E72D297353CC}">
                <c16:uniqueId val="{000011F1-7BE2-49F1-B47F-64DDA7BF3F9D}"/>
              </c:ext>
            </c:extLst>
          </c:dPt>
          <c:dPt>
            <c:idx val="2296"/>
            <c:invertIfNegative val="1"/>
            <c:bubble3D val="0"/>
            <c:spPr>
              <a:solidFill>
                <a:srgbClr val="AEABAB"/>
              </a:solidFill>
            </c:spPr>
            <c:extLst>
              <c:ext xmlns:c16="http://schemas.microsoft.com/office/drawing/2014/chart" uri="{C3380CC4-5D6E-409C-BE32-E72D297353CC}">
                <c16:uniqueId val="{000011F3-7BE2-49F1-B47F-64DDA7BF3F9D}"/>
              </c:ext>
            </c:extLst>
          </c:dPt>
          <c:dPt>
            <c:idx val="2297"/>
            <c:invertIfNegative val="1"/>
            <c:bubble3D val="0"/>
            <c:spPr>
              <a:solidFill>
                <a:srgbClr val="AEABAB"/>
              </a:solidFill>
            </c:spPr>
            <c:extLst>
              <c:ext xmlns:c16="http://schemas.microsoft.com/office/drawing/2014/chart" uri="{C3380CC4-5D6E-409C-BE32-E72D297353CC}">
                <c16:uniqueId val="{000011F5-7BE2-49F1-B47F-64DDA7BF3F9D}"/>
              </c:ext>
            </c:extLst>
          </c:dPt>
          <c:dPt>
            <c:idx val="2298"/>
            <c:invertIfNegative val="1"/>
            <c:bubble3D val="0"/>
            <c:spPr>
              <a:solidFill>
                <a:srgbClr val="AEABAB"/>
              </a:solidFill>
            </c:spPr>
            <c:extLst>
              <c:ext xmlns:c16="http://schemas.microsoft.com/office/drawing/2014/chart" uri="{C3380CC4-5D6E-409C-BE32-E72D297353CC}">
                <c16:uniqueId val="{000011F7-7BE2-49F1-B47F-64DDA7BF3F9D}"/>
              </c:ext>
            </c:extLst>
          </c:dPt>
          <c:dPt>
            <c:idx val="2299"/>
            <c:invertIfNegative val="1"/>
            <c:bubble3D val="0"/>
            <c:spPr>
              <a:solidFill>
                <a:srgbClr val="AEABAB"/>
              </a:solidFill>
            </c:spPr>
            <c:extLst>
              <c:ext xmlns:c16="http://schemas.microsoft.com/office/drawing/2014/chart" uri="{C3380CC4-5D6E-409C-BE32-E72D297353CC}">
                <c16:uniqueId val="{000011F9-7BE2-49F1-B47F-64DDA7BF3F9D}"/>
              </c:ext>
            </c:extLst>
          </c:dPt>
          <c:dPt>
            <c:idx val="2300"/>
            <c:invertIfNegative val="1"/>
            <c:bubble3D val="0"/>
            <c:spPr>
              <a:solidFill>
                <a:srgbClr val="AEABAB"/>
              </a:solidFill>
            </c:spPr>
            <c:extLst>
              <c:ext xmlns:c16="http://schemas.microsoft.com/office/drawing/2014/chart" uri="{C3380CC4-5D6E-409C-BE32-E72D297353CC}">
                <c16:uniqueId val="{000011FB-7BE2-49F1-B47F-64DDA7BF3F9D}"/>
              </c:ext>
            </c:extLst>
          </c:dPt>
          <c:dPt>
            <c:idx val="2301"/>
            <c:invertIfNegative val="1"/>
            <c:bubble3D val="0"/>
            <c:spPr>
              <a:solidFill>
                <a:srgbClr val="AEABAB"/>
              </a:solidFill>
            </c:spPr>
            <c:extLst>
              <c:ext xmlns:c16="http://schemas.microsoft.com/office/drawing/2014/chart" uri="{C3380CC4-5D6E-409C-BE32-E72D297353CC}">
                <c16:uniqueId val="{000011FD-7BE2-49F1-B47F-64DDA7BF3F9D}"/>
              </c:ext>
            </c:extLst>
          </c:dPt>
          <c:dPt>
            <c:idx val="2302"/>
            <c:invertIfNegative val="1"/>
            <c:bubble3D val="0"/>
            <c:spPr>
              <a:solidFill>
                <a:srgbClr val="AEABAB"/>
              </a:solidFill>
            </c:spPr>
            <c:extLst>
              <c:ext xmlns:c16="http://schemas.microsoft.com/office/drawing/2014/chart" uri="{C3380CC4-5D6E-409C-BE32-E72D297353CC}">
                <c16:uniqueId val="{000011FF-7BE2-49F1-B47F-64DDA7BF3F9D}"/>
              </c:ext>
            </c:extLst>
          </c:dPt>
          <c:dPt>
            <c:idx val="2303"/>
            <c:invertIfNegative val="1"/>
            <c:bubble3D val="0"/>
            <c:spPr>
              <a:solidFill>
                <a:srgbClr val="AEABAB"/>
              </a:solidFill>
            </c:spPr>
            <c:extLst>
              <c:ext xmlns:c16="http://schemas.microsoft.com/office/drawing/2014/chart" uri="{C3380CC4-5D6E-409C-BE32-E72D297353CC}">
                <c16:uniqueId val="{00001201-7BE2-49F1-B47F-64DDA7BF3F9D}"/>
              </c:ext>
            </c:extLst>
          </c:dPt>
          <c:dPt>
            <c:idx val="2304"/>
            <c:invertIfNegative val="1"/>
            <c:bubble3D val="0"/>
            <c:spPr>
              <a:solidFill>
                <a:srgbClr val="AEABAB"/>
              </a:solidFill>
            </c:spPr>
            <c:extLst>
              <c:ext xmlns:c16="http://schemas.microsoft.com/office/drawing/2014/chart" uri="{C3380CC4-5D6E-409C-BE32-E72D297353CC}">
                <c16:uniqueId val="{00001203-7BE2-49F1-B47F-64DDA7BF3F9D}"/>
              </c:ext>
            </c:extLst>
          </c:dPt>
          <c:dPt>
            <c:idx val="2305"/>
            <c:invertIfNegative val="1"/>
            <c:bubble3D val="0"/>
            <c:spPr>
              <a:solidFill>
                <a:srgbClr val="AEABAB"/>
              </a:solidFill>
            </c:spPr>
            <c:extLst>
              <c:ext xmlns:c16="http://schemas.microsoft.com/office/drawing/2014/chart" uri="{C3380CC4-5D6E-409C-BE32-E72D297353CC}">
                <c16:uniqueId val="{00001205-7BE2-49F1-B47F-64DDA7BF3F9D}"/>
              </c:ext>
            </c:extLst>
          </c:dPt>
          <c:dPt>
            <c:idx val="2306"/>
            <c:invertIfNegative val="1"/>
            <c:bubble3D val="0"/>
            <c:spPr>
              <a:solidFill>
                <a:srgbClr val="AEABAB"/>
              </a:solidFill>
            </c:spPr>
            <c:extLst>
              <c:ext xmlns:c16="http://schemas.microsoft.com/office/drawing/2014/chart" uri="{C3380CC4-5D6E-409C-BE32-E72D297353CC}">
                <c16:uniqueId val="{00001207-7BE2-49F1-B47F-64DDA7BF3F9D}"/>
              </c:ext>
            </c:extLst>
          </c:dPt>
          <c:dPt>
            <c:idx val="2307"/>
            <c:invertIfNegative val="1"/>
            <c:bubble3D val="0"/>
            <c:spPr>
              <a:solidFill>
                <a:srgbClr val="AEABAB"/>
              </a:solidFill>
            </c:spPr>
            <c:extLst>
              <c:ext xmlns:c16="http://schemas.microsoft.com/office/drawing/2014/chart" uri="{C3380CC4-5D6E-409C-BE32-E72D297353CC}">
                <c16:uniqueId val="{00001209-7BE2-49F1-B47F-64DDA7BF3F9D}"/>
              </c:ext>
            </c:extLst>
          </c:dPt>
          <c:dPt>
            <c:idx val="2308"/>
            <c:invertIfNegative val="1"/>
            <c:bubble3D val="0"/>
            <c:spPr>
              <a:solidFill>
                <a:srgbClr val="AEABAB"/>
              </a:solidFill>
            </c:spPr>
            <c:extLst>
              <c:ext xmlns:c16="http://schemas.microsoft.com/office/drawing/2014/chart" uri="{C3380CC4-5D6E-409C-BE32-E72D297353CC}">
                <c16:uniqueId val="{0000120B-7BE2-49F1-B47F-64DDA7BF3F9D}"/>
              </c:ext>
            </c:extLst>
          </c:dPt>
          <c:dPt>
            <c:idx val="2309"/>
            <c:invertIfNegative val="1"/>
            <c:bubble3D val="0"/>
            <c:spPr>
              <a:solidFill>
                <a:srgbClr val="AEABAB"/>
              </a:solidFill>
            </c:spPr>
            <c:extLst>
              <c:ext xmlns:c16="http://schemas.microsoft.com/office/drawing/2014/chart" uri="{C3380CC4-5D6E-409C-BE32-E72D297353CC}">
                <c16:uniqueId val="{0000120D-7BE2-49F1-B47F-64DDA7BF3F9D}"/>
              </c:ext>
            </c:extLst>
          </c:dPt>
          <c:dPt>
            <c:idx val="2310"/>
            <c:invertIfNegative val="1"/>
            <c:bubble3D val="0"/>
            <c:spPr>
              <a:solidFill>
                <a:srgbClr val="AEABAB"/>
              </a:solidFill>
            </c:spPr>
            <c:extLst>
              <c:ext xmlns:c16="http://schemas.microsoft.com/office/drawing/2014/chart" uri="{C3380CC4-5D6E-409C-BE32-E72D297353CC}">
                <c16:uniqueId val="{0000120F-7BE2-49F1-B47F-64DDA7BF3F9D}"/>
              </c:ext>
            </c:extLst>
          </c:dPt>
          <c:dPt>
            <c:idx val="2311"/>
            <c:invertIfNegative val="1"/>
            <c:bubble3D val="0"/>
            <c:spPr>
              <a:solidFill>
                <a:srgbClr val="AEABAB"/>
              </a:solidFill>
            </c:spPr>
            <c:extLst>
              <c:ext xmlns:c16="http://schemas.microsoft.com/office/drawing/2014/chart" uri="{C3380CC4-5D6E-409C-BE32-E72D297353CC}">
                <c16:uniqueId val="{00001211-7BE2-49F1-B47F-64DDA7BF3F9D}"/>
              </c:ext>
            </c:extLst>
          </c:dPt>
          <c:dPt>
            <c:idx val="2312"/>
            <c:invertIfNegative val="1"/>
            <c:bubble3D val="0"/>
            <c:spPr>
              <a:solidFill>
                <a:srgbClr val="AEABAB"/>
              </a:solidFill>
            </c:spPr>
            <c:extLst>
              <c:ext xmlns:c16="http://schemas.microsoft.com/office/drawing/2014/chart" uri="{C3380CC4-5D6E-409C-BE32-E72D297353CC}">
                <c16:uniqueId val="{00001213-7BE2-49F1-B47F-64DDA7BF3F9D}"/>
              </c:ext>
            </c:extLst>
          </c:dPt>
          <c:dPt>
            <c:idx val="2313"/>
            <c:invertIfNegative val="1"/>
            <c:bubble3D val="0"/>
            <c:spPr>
              <a:solidFill>
                <a:srgbClr val="AEABAB"/>
              </a:solidFill>
            </c:spPr>
            <c:extLst>
              <c:ext xmlns:c16="http://schemas.microsoft.com/office/drawing/2014/chart" uri="{C3380CC4-5D6E-409C-BE32-E72D297353CC}">
                <c16:uniqueId val="{00001215-7BE2-49F1-B47F-64DDA7BF3F9D}"/>
              </c:ext>
            </c:extLst>
          </c:dPt>
          <c:dPt>
            <c:idx val="2314"/>
            <c:invertIfNegative val="1"/>
            <c:bubble3D val="0"/>
            <c:spPr>
              <a:solidFill>
                <a:srgbClr val="AEABAB"/>
              </a:solidFill>
            </c:spPr>
            <c:extLst>
              <c:ext xmlns:c16="http://schemas.microsoft.com/office/drawing/2014/chart" uri="{C3380CC4-5D6E-409C-BE32-E72D297353CC}">
                <c16:uniqueId val="{00001217-7BE2-49F1-B47F-64DDA7BF3F9D}"/>
              </c:ext>
            </c:extLst>
          </c:dPt>
          <c:dPt>
            <c:idx val="2315"/>
            <c:invertIfNegative val="1"/>
            <c:bubble3D val="0"/>
            <c:spPr>
              <a:solidFill>
                <a:srgbClr val="AEABAB"/>
              </a:solidFill>
            </c:spPr>
            <c:extLst>
              <c:ext xmlns:c16="http://schemas.microsoft.com/office/drawing/2014/chart" uri="{C3380CC4-5D6E-409C-BE32-E72D297353CC}">
                <c16:uniqueId val="{00001219-7BE2-49F1-B47F-64DDA7BF3F9D}"/>
              </c:ext>
            </c:extLst>
          </c:dPt>
          <c:dPt>
            <c:idx val="2316"/>
            <c:invertIfNegative val="1"/>
            <c:bubble3D val="0"/>
            <c:spPr>
              <a:solidFill>
                <a:srgbClr val="AEABAB"/>
              </a:solidFill>
            </c:spPr>
            <c:extLst>
              <c:ext xmlns:c16="http://schemas.microsoft.com/office/drawing/2014/chart" uri="{C3380CC4-5D6E-409C-BE32-E72D297353CC}">
                <c16:uniqueId val="{0000121B-7BE2-49F1-B47F-64DDA7BF3F9D}"/>
              </c:ext>
            </c:extLst>
          </c:dPt>
          <c:dPt>
            <c:idx val="2317"/>
            <c:invertIfNegative val="1"/>
            <c:bubble3D val="0"/>
            <c:spPr>
              <a:solidFill>
                <a:srgbClr val="AEABAB"/>
              </a:solidFill>
            </c:spPr>
            <c:extLst>
              <c:ext xmlns:c16="http://schemas.microsoft.com/office/drawing/2014/chart" uri="{C3380CC4-5D6E-409C-BE32-E72D297353CC}">
                <c16:uniqueId val="{0000121D-7BE2-49F1-B47F-64DDA7BF3F9D}"/>
              </c:ext>
            </c:extLst>
          </c:dPt>
          <c:dPt>
            <c:idx val="2318"/>
            <c:invertIfNegative val="1"/>
            <c:bubble3D val="0"/>
            <c:spPr>
              <a:solidFill>
                <a:srgbClr val="AEABAB"/>
              </a:solidFill>
            </c:spPr>
            <c:extLst>
              <c:ext xmlns:c16="http://schemas.microsoft.com/office/drawing/2014/chart" uri="{C3380CC4-5D6E-409C-BE32-E72D297353CC}">
                <c16:uniqueId val="{0000121F-7BE2-49F1-B47F-64DDA7BF3F9D}"/>
              </c:ext>
            </c:extLst>
          </c:dPt>
          <c:dPt>
            <c:idx val="2319"/>
            <c:invertIfNegative val="1"/>
            <c:bubble3D val="0"/>
            <c:spPr>
              <a:solidFill>
                <a:srgbClr val="AEABAB"/>
              </a:solidFill>
            </c:spPr>
            <c:extLst>
              <c:ext xmlns:c16="http://schemas.microsoft.com/office/drawing/2014/chart" uri="{C3380CC4-5D6E-409C-BE32-E72D297353CC}">
                <c16:uniqueId val="{00001221-7BE2-49F1-B47F-64DDA7BF3F9D}"/>
              </c:ext>
            </c:extLst>
          </c:dPt>
          <c:dPt>
            <c:idx val="2320"/>
            <c:invertIfNegative val="1"/>
            <c:bubble3D val="0"/>
            <c:spPr>
              <a:solidFill>
                <a:srgbClr val="AEABAB"/>
              </a:solidFill>
            </c:spPr>
            <c:extLst>
              <c:ext xmlns:c16="http://schemas.microsoft.com/office/drawing/2014/chart" uri="{C3380CC4-5D6E-409C-BE32-E72D297353CC}">
                <c16:uniqueId val="{00001223-7BE2-49F1-B47F-64DDA7BF3F9D}"/>
              </c:ext>
            </c:extLst>
          </c:dPt>
          <c:dPt>
            <c:idx val="2321"/>
            <c:invertIfNegative val="1"/>
            <c:bubble3D val="0"/>
            <c:spPr>
              <a:solidFill>
                <a:srgbClr val="AEABAB"/>
              </a:solidFill>
            </c:spPr>
            <c:extLst>
              <c:ext xmlns:c16="http://schemas.microsoft.com/office/drawing/2014/chart" uri="{C3380CC4-5D6E-409C-BE32-E72D297353CC}">
                <c16:uniqueId val="{00001225-7BE2-49F1-B47F-64DDA7BF3F9D}"/>
              </c:ext>
            </c:extLst>
          </c:dPt>
          <c:dPt>
            <c:idx val="2322"/>
            <c:invertIfNegative val="1"/>
            <c:bubble3D val="0"/>
            <c:spPr>
              <a:solidFill>
                <a:srgbClr val="AEABAB"/>
              </a:solidFill>
            </c:spPr>
            <c:extLst>
              <c:ext xmlns:c16="http://schemas.microsoft.com/office/drawing/2014/chart" uri="{C3380CC4-5D6E-409C-BE32-E72D297353CC}">
                <c16:uniqueId val="{00001227-7BE2-49F1-B47F-64DDA7BF3F9D}"/>
              </c:ext>
            </c:extLst>
          </c:dPt>
          <c:dPt>
            <c:idx val="2323"/>
            <c:invertIfNegative val="1"/>
            <c:bubble3D val="0"/>
            <c:spPr>
              <a:solidFill>
                <a:srgbClr val="AEABAB"/>
              </a:solidFill>
            </c:spPr>
            <c:extLst>
              <c:ext xmlns:c16="http://schemas.microsoft.com/office/drawing/2014/chart" uri="{C3380CC4-5D6E-409C-BE32-E72D297353CC}">
                <c16:uniqueId val="{00001229-7BE2-49F1-B47F-64DDA7BF3F9D}"/>
              </c:ext>
            </c:extLst>
          </c:dPt>
          <c:dPt>
            <c:idx val="2324"/>
            <c:invertIfNegative val="1"/>
            <c:bubble3D val="0"/>
            <c:spPr>
              <a:solidFill>
                <a:srgbClr val="AEABAB"/>
              </a:solidFill>
            </c:spPr>
            <c:extLst>
              <c:ext xmlns:c16="http://schemas.microsoft.com/office/drawing/2014/chart" uri="{C3380CC4-5D6E-409C-BE32-E72D297353CC}">
                <c16:uniqueId val="{0000122B-7BE2-49F1-B47F-64DDA7BF3F9D}"/>
              </c:ext>
            </c:extLst>
          </c:dPt>
          <c:dPt>
            <c:idx val="2325"/>
            <c:invertIfNegative val="1"/>
            <c:bubble3D val="0"/>
            <c:spPr>
              <a:solidFill>
                <a:srgbClr val="AEABAB"/>
              </a:solidFill>
            </c:spPr>
            <c:extLst>
              <c:ext xmlns:c16="http://schemas.microsoft.com/office/drawing/2014/chart" uri="{C3380CC4-5D6E-409C-BE32-E72D297353CC}">
                <c16:uniqueId val="{0000122D-7BE2-49F1-B47F-64DDA7BF3F9D}"/>
              </c:ext>
            </c:extLst>
          </c:dPt>
          <c:dPt>
            <c:idx val="2326"/>
            <c:invertIfNegative val="1"/>
            <c:bubble3D val="0"/>
            <c:spPr>
              <a:solidFill>
                <a:srgbClr val="AEABAB"/>
              </a:solidFill>
            </c:spPr>
            <c:extLst>
              <c:ext xmlns:c16="http://schemas.microsoft.com/office/drawing/2014/chart" uri="{C3380CC4-5D6E-409C-BE32-E72D297353CC}">
                <c16:uniqueId val="{0000122F-7BE2-49F1-B47F-64DDA7BF3F9D}"/>
              </c:ext>
            </c:extLst>
          </c:dPt>
          <c:dPt>
            <c:idx val="2327"/>
            <c:invertIfNegative val="1"/>
            <c:bubble3D val="0"/>
            <c:spPr>
              <a:solidFill>
                <a:srgbClr val="AEABAB"/>
              </a:solidFill>
            </c:spPr>
            <c:extLst>
              <c:ext xmlns:c16="http://schemas.microsoft.com/office/drawing/2014/chart" uri="{C3380CC4-5D6E-409C-BE32-E72D297353CC}">
                <c16:uniqueId val="{00001231-7BE2-49F1-B47F-64DDA7BF3F9D}"/>
              </c:ext>
            </c:extLst>
          </c:dPt>
          <c:dPt>
            <c:idx val="2328"/>
            <c:invertIfNegative val="1"/>
            <c:bubble3D val="0"/>
            <c:spPr>
              <a:solidFill>
                <a:srgbClr val="AEABAB"/>
              </a:solidFill>
            </c:spPr>
            <c:extLst>
              <c:ext xmlns:c16="http://schemas.microsoft.com/office/drawing/2014/chart" uri="{C3380CC4-5D6E-409C-BE32-E72D297353CC}">
                <c16:uniqueId val="{00001233-7BE2-49F1-B47F-64DDA7BF3F9D}"/>
              </c:ext>
            </c:extLst>
          </c:dPt>
          <c:dPt>
            <c:idx val="2329"/>
            <c:invertIfNegative val="1"/>
            <c:bubble3D val="0"/>
            <c:spPr>
              <a:solidFill>
                <a:srgbClr val="AEABAB"/>
              </a:solidFill>
            </c:spPr>
            <c:extLst>
              <c:ext xmlns:c16="http://schemas.microsoft.com/office/drawing/2014/chart" uri="{C3380CC4-5D6E-409C-BE32-E72D297353CC}">
                <c16:uniqueId val="{00001235-7BE2-49F1-B47F-64DDA7BF3F9D}"/>
              </c:ext>
            </c:extLst>
          </c:dPt>
          <c:dPt>
            <c:idx val="2330"/>
            <c:invertIfNegative val="1"/>
            <c:bubble3D val="0"/>
            <c:spPr>
              <a:solidFill>
                <a:srgbClr val="AEABAB"/>
              </a:solidFill>
            </c:spPr>
            <c:extLst>
              <c:ext xmlns:c16="http://schemas.microsoft.com/office/drawing/2014/chart" uri="{C3380CC4-5D6E-409C-BE32-E72D297353CC}">
                <c16:uniqueId val="{00001237-7BE2-49F1-B47F-64DDA7BF3F9D}"/>
              </c:ext>
            </c:extLst>
          </c:dPt>
          <c:dPt>
            <c:idx val="2331"/>
            <c:invertIfNegative val="1"/>
            <c:bubble3D val="0"/>
            <c:spPr>
              <a:solidFill>
                <a:srgbClr val="AEABAB"/>
              </a:solidFill>
            </c:spPr>
            <c:extLst>
              <c:ext xmlns:c16="http://schemas.microsoft.com/office/drawing/2014/chart" uri="{C3380CC4-5D6E-409C-BE32-E72D297353CC}">
                <c16:uniqueId val="{00001239-7BE2-49F1-B47F-64DDA7BF3F9D}"/>
              </c:ext>
            </c:extLst>
          </c:dPt>
          <c:dPt>
            <c:idx val="2332"/>
            <c:invertIfNegative val="1"/>
            <c:bubble3D val="0"/>
            <c:spPr>
              <a:solidFill>
                <a:srgbClr val="AEABAB"/>
              </a:solidFill>
            </c:spPr>
            <c:extLst>
              <c:ext xmlns:c16="http://schemas.microsoft.com/office/drawing/2014/chart" uri="{C3380CC4-5D6E-409C-BE32-E72D297353CC}">
                <c16:uniqueId val="{0000123B-7BE2-49F1-B47F-64DDA7BF3F9D}"/>
              </c:ext>
            </c:extLst>
          </c:dPt>
          <c:dPt>
            <c:idx val="2333"/>
            <c:invertIfNegative val="1"/>
            <c:bubble3D val="0"/>
            <c:spPr>
              <a:solidFill>
                <a:srgbClr val="AEABAB"/>
              </a:solidFill>
            </c:spPr>
            <c:extLst>
              <c:ext xmlns:c16="http://schemas.microsoft.com/office/drawing/2014/chart" uri="{C3380CC4-5D6E-409C-BE32-E72D297353CC}">
                <c16:uniqueId val="{0000123D-7BE2-49F1-B47F-64DDA7BF3F9D}"/>
              </c:ext>
            </c:extLst>
          </c:dPt>
          <c:dPt>
            <c:idx val="2334"/>
            <c:invertIfNegative val="1"/>
            <c:bubble3D val="0"/>
            <c:spPr>
              <a:solidFill>
                <a:srgbClr val="AEABAB"/>
              </a:solidFill>
            </c:spPr>
            <c:extLst>
              <c:ext xmlns:c16="http://schemas.microsoft.com/office/drawing/2014/chart" uri="{C3380CC4-5D6E-409C-BE32-E72D297353CC}">
                <c16:uniqueId val="{0000123F-7BE2-49F1-B47F-64DDA7BF3F9D}"/>
              </c:ext>
            </c:extLst>
          </c:dPt>
          <c:dPt>
            <c:idx val="2335"/>
            <c:invertIfNegative val="1"/>
            <c:bubble3D val="0"/>
            <c:spPr>
              <a:solidFill>
                <a:srgbClr val="AEABAB"/>
              </a:solidFill>
            </c:spPr>
            <c:extLst>
              <c:ext xmlns:c16="http://schemas.microsoft.com/office/drawing/2014/chart" uri="{C3380CC4-5D6E-409C-BE32-E72D297353CC}">
                <c16:uniqueId val="{00001241-7BE2-49F1-B47F-64DDA7BF3F9D}"/>
              </c:ext>
            </c:extLst>
          </c:dPt>
          <c:dPt>
            <c:idx val="2336"/>
            <c:invertIfNegative val="1"/>
            <c:bubble3D val="0"/>
            <c:spPr>
              <a:solidFill>
                <a:srgbClr val="AEABAB"/>
              </a:solidFill>
            </c:spPr>
            <c:extLst>
              <c:ext xmlns:c16="http://schemas.microsoft.com/office/drawing/2014/chart" uri="{C3380CC4-5D6E-409C-BE32-E72D297353CC}">
                <c16:uniqueId val="{00001243-7BE2-49F1-B47F-64DDA7BF3F9D}"/>
              </c:ext>
            </c:extLst>
          </c:dPt>
          <c:dPt>
            <c:idx val="2337"/>
            <c:invertIfNegative val="1"/>
            <c:bubble3D val="0"/>
            <c:spPr>
              <a:solidFill>
                <a:srgbClr val="AEABAB"/>
              </a:solidFill>
            </c:spPr>
            <c:extLst>
              <c:ext xmlns:c16="http://schemas.microsoft.com/office/drawing/2014/chart" uri="{C3380CC4-5D6E-409C-BE32-E72D297353CC}">
                <c16:uniqueId val="{00001245-7BE2-49F1-B47F-64DDA7BF3F9D}"/>
              </c:ext>
            </c:extLst>
          </c:dPt>
          <c:dPt>
            <c:idx val="2338"/>
            <c:invertIfNegative val="1"/>
            <c:bubble3D val="0"/>
            <c:spPr>
              <a:solidFill>
                <a:srgbClr val="AEABAB"/>
              </a:solidFill>
            </c:spPr>
            <c:extLst>
              <c:ext xmlns:c16="http://schemas.microsoft.com/office/drawing/2014/chart" uri="{C3380CC4-5D6E-409C-BE32-E72D297353CC}">
                <c16:uniqueId val="{00001247-7BE2-49F1-B47F-64DDA7BF3F9D}"/>
              </c:ext>
            </c:extLst>
          </c:dPt>
          <c:dPt>
            <c:idx val="2339"/>
            <c:invertIfNegative val="1"/>
            <c:bubble3D val="0"/>
            <c:spPr>
              <a:solidFill>
                <a:srgbClr val="AEABAB"/>
              </a:solidFill>
            </c:spPr>
            <c:extLst>
              <c:ext xmlns:c16="http://schemas.microsoft.com/office/drawing/2014/chart" uri="{C3380CC4-5D6E-409C-BE32-E72D297353CC}">
                <c16:uniqueId val="{00001249-7BE2-49F1-B47F-64DDA7BF3F9D}"/>
              </c:ext>
            </c:extLst>
          </c:dPt>
          <c:dPt>
            <c:idx val="2340"/>
            <c:invertIfNegative val="1"/>
            <c:bubble3D val="0"/>
            <c:spPr>
              <a:solidFill>
                <a:srgbClr val="AEABAB"/>
              </a:solidFill>
            </c:spPr>
            <c:extLst>
              <c:ext xmlns:c16="http://schemas.microsoft.com/office/drawing/2014/chart" uri="{C3380CC4-5D6E-409C-BE32-E72D297353CC}">
                <c16:uniqueId val="{0000124B-7BE2-49F1-B47F-64DDA7BF3F9D}"/>
              </c:ext>
            </c:extLst>
          </c:dPt>
          <c:dPt>
            <c:idx val="2341"/>
            <c:invertIfNegative val="1"/>
            <c:bubble3D val="0"/>
            <c:spPr>
              <a:solidFill>
                <a:srgbClr val="AEABAB"/>
              </a:solidFill>
            </c:spPr>
            <c:extLst>
              <c:ext xmlns:c16="http://schemas.microsoft.com/office/drawing/2014/chart" uri="{C3380CC4-5D6E-409C-BE32-E72D297353CC}">
                <c16:uniqueId val="{0000124D-7BE2-49F1-B47F-64DDA7BF3F9D}"/>
              </c:ext>
            </c:extLst>
          </c:dPt>
          <c:dPt>
            <c:idx val="2342"/>
            <c:invertIfNegative val="1"/>
            <c:bubble3D val="0"/>
            <c:spPr>
              <a:solidFill>
                <a:srgbClr val="AEABAB"/>
              </a:solidFill>
            </c:spPr>
            <c:extLst>
              <c:ext xmlns:c16="http://schemas.microsoft.com/office/drawing/2014/chart" uri="{C3380CC4-5D6E-409C-BE32-E72D297353CC}">
                <c16:uniqueId val="{0000124F-7BE2-49F1-B47F-64DDA7BF3F9D}"/>
              </c:ext>
            </c:extLst>
          </c:dPt>
          <c:dPt>
            <c:idx val="2343"/>
            <c:invertIfNegative val="1"/>
            <c:bubble3D val="0"/>
            <c:spPr>
              <a:solidFill>
                <a:srgbClr val="AEABAB"/>
              </a:solidFill>
            </c:spPr>
            <c:extLst>
              <c:ext xmlns:c16="http://schemas.microsoft.com/office/drawing/2014/chart" uri="{C3380CC4-5D6E-409C-BE32-E72D297353CC}">
                <c16:uniqueId val="{00001251-7BE2-49F1-B47F-64DDA7BF3F9D}"/>
              </c:ext>
            </c:extLst>
          </c:dPt>
          <c:dPt>
            <c:idx val="2344"/>
            <c:invertIfNegative val="1"/>
            <c:bubble3D val="0"/>
            <c:spPr>
              <a:solidFill>
                <a:srgbClr val="AEABAB"/>
              </a:solidFill>
            </c:spPr>
            <c:extLst>
              <c:ext xmlns:c16="http://schemas.microsoft.com/office/drawing/2014/chart" uri="{C3380CC4-5D6E-409C-BE32-E72D297353CC}">
                <c16:uniqueId val="{00001253-7BE2-49F1-B47F-64DDA7BF3F9D}"/>
              </c:ext>
            </c:extLst>
          </c:dPt>
          <c:dPt>
            <c:idx val="2345"/>
            <c:invertIfNegative val="1"/>
            <c:bubble3D val="0"/>
            <c:spPr>
              <a:solidFill>
                <a:srgbClr val="AEABAB"/>
              </a:solidFill>
            </c:spPr>
            <c:extLst>
              <c:ext xmlns:c16="http://schemas.microsoft.com/office/drawing/2014/chart" uri="{C3380CC4-5D6E-409C-BE32-E72D297353CC}">
                <c16:uniqueId val="{00001255-7BE2-49F1-B47F-64DDA7BF3F9D}"/>
              </c:ext>
            </c:extLst>
          </c:dPt>
          <c:dPt>
            <c:idx val="2346"/>
            <c:invertIfNegative val="1"/>
            <c:bubble3D val="0"/>
            <c:spPr>
              <a:solidFill>
                <a:srgbClr val="AEABAB"/>
              </a:solidFill>
            </c:spPr>
            <c:extLst>
              <c:ext xmlns:c16="http://schemas.microsoft.com/office/drawing/2014/chart" uri="{C3380CC4-5D6E-409C-BE32-E72D297353CC}">
                <c16:uniqueId val="{00001257-7BE2-49F1-B47F-64DDA7BF3F9D}"/>
              </c:ext>
            </c:extLst>
          </c:dPt>
          <c:dPt>
            <c:idx val="2347"/>
            <c:invertIfNegative val="1"/>
            <c:bubble3D val="0"/>
            <c:spPr>
              <a:solidFill>
                <a:srgbClr val="AEABAB"/>
              </a:solidFill>
            </c:spPr>
            <c:extLst>
              <c:ext xmlns:c16="http://schemas.microsoft.com/office/drawing/2014/chart" uri="{C3380CC4-5D6E-409C-BE32-E72D297353CC}">
                <c16:uniqueId val="{00001259-7BE2-49F1-B47F-64DDA7BF3F9D}"/>
              </c:ext>
            </c:extLst>
          </c:dPt>
          <c:dPt>
            <c:idx val="2348"/>
            <c:invertIfNegative val="1"/>
            <c:bubble3D val="0"/>
            <c:spPr>
              <a:solidFill>
                <a:srgbClr val="AEABAB"/>
              </a:solidFill>
            </c:spPr>
            <c:extLst>
              <c:ext xmlns:c16="http://schemas.microsoft.com/office/drawing/2014/chart" uri="{C3380CC4-5D6E-409C-BE32-E72D297353CC}">
                <c16:uniqueId val="{0000125B-7BE2-49F1-B47F-64DDA7BF3F9D}"/>
              </c:ext>
            </c:extLst>
          </c:dPt>
          <c:dPt>
            <c:idx val="2349"/>
            <c:invertIfNegative val="1"/>
            <c:bubble3D val="0"/>
            <c:spPr>
              <a:solidFill>
                <a:srgbClr val="AEABAB"/>
              </a:solidFill>
            </c:spPr>
            <c:extLst>
              <c:ext xmlns:c16="http://schemas.microsoft.com/office/drawing/2014/chart" uri="{C3380CC4-5D6E-409C-BE32-E72D297353CC}">
                <c16:uniqueId val="{0000125D-7BE2-49F1-B47F-64DDA7BF3F9D}"/>
              </c:ext>
            </c:extLst>
          </c:dPt>
          <c:dPt>
            <c:idx val="2350"/>
            <c:invertIfNegative val="1"/>
            <c:bubble3D val="0"/>
            <c:spPr>
              <a:solidFill>
                <a:srgbClr val="AEABAB"/>
              </a:solidFill>
            </c:spPr>
            <c:extLst>
              <c:ext xmlns:c16="http://schemas.microsoft.com/office/drawing/2014/chart" uri="{C3380CC4-5D6E-409C-BE32-E72D297353CC}">
                <c16:uniqueId val="{0000125F-7BE2-49F1-B47F-64DDA7BF3F9D}"/>
              </c:ext>
            </c:extLst>
          </c:dPt>
          <c:dPt>
            <c:idx val="2351"/>
            <c:invertIfNegative val="1"/>
            <c:bubble3D val="0"/>
            <c:spPr>
              <a:solidFill>
                <a:srgbClr val="AEABAB"/>
              </a:solidFill>
            </c:spPr>
            <c:extLst>
              <c:ext xmlns:c16="http://schemas.microsoft.com/office/drawing/2014/chart" uri="{C3380CC4-5D6E-409C-BE32-E72D297353CC}">
                <c16:uniqueId val="{00001261-7BE2-49F1-B47F-64DDA7BF3F9D}"/>
              </c:ext>
            </c:extLst>
          </c:dPt>
          <c:dPt>
            <c:idx val="2352"/>
            <c:invertIfNegative val="1"/>
            <c:bubble3D val="0"/>
            <c:spPr>
              <a:solidFill>
                <a:srgbClr val="AEABAB"/>
              </a:solidFill>
            </c:spPr>
            <c:extLst>
              <c:ext xmlns:c16="http://schemas.microsoft.com/office/drawing/2014/chart" uri="{C3380CC4-5D6E-409C-BE32-E72D297353CC}">
                <c16:uniqueId val="{00001263-7BE2-49F1-B47F-64DDA7BF3F9D}"/>
              </c:ext>
            </c:extLst>
          </c:dPt>
          <c:dPt>
            <c:idx val="2353"/>
            <c:invertIfNegative val="1"/>
            <c:bubble3D val="0"/>
            <c:spPr>
              <a:solidFill>
                <a:srgbClr val="AEABAB"/>
              </a:solidFill>
            </c:spPr>
            <c:extLst>
              <c:ext xmlns:c16="http://schemas.microsoft.com/office/drawing/2014/chart" uri="{C3380CC4-5D6E-409C-BE32-E72D297353CC}">
                <c16:uniqueId val="{00001265-7BE2-49F1-B47F-64DDA7BF3F9D}"/>
              </c:ext>
            </c:extLst>
          </c:dPt>
          <c:dPt>
            <c:idx val="2354"/>
            <c:invertIfNegative val="1"/>
            <c:bubble3D val="0"/>
            <c:spPr>
              <a:solidFill>
                <a:srgbClr val="AEABAB"/>
              </a:solidFill>
            </c:spPr>
            <c:extLst>
              <c:ext xmlns:c16="http://schemas.microsoft.com/office/drawing/2014/chart" uri="{C3380CC4-5D6E-409C-BE32-E72D297353CC}">
                <c16:uniqueId val="{00001267-7BE2-49F1-B47F-64DDA7BF3F9D}"/>
              </c:ext>
            </c:extLst>
          </c:dPt>
          <c:dPt>
            <c:idx val="2355"/>
            <c:invertIfNegative val="1"/>
            <c:bubble3D val="0"/>
            <c:spPr>
              <a:solidFill>
                <a:srgbClr val="AEABAB"/>
              </a:solidFill>
            </c:spPr>
            <c:extLst>
              <c:ext xmlns:c16="http://schemas.microsoft.com/office/drawing/2014/chart" uri="{C3380CC4-5D6E-409C-BE32-E72D297353CC}">
                <c16:uniqueId val="{00001269-7BE2-49F1-B47F-64DDA7BF3F9D}"/>
              </c:ext>
            </c:extLst>
          </c:dPt>
          <c:dPt>
            <c:idx val="2356"/>
            <c:invertIfNegative val="1"/>
            <c:bubble3D val="0"/>
            <c:spPr>
              <a:solidFill>
                <a:srgbClr val="AEABAB"/>
              </a:solidFill>
            </c:spPr>
            <c:extLst>
              <c:ext xmlns:c16="http://schemas.microsoft.com/office/drawing/2014/chart" uri="{C3380CC4-5D6E-409C-BE32-E72D297353CC}">
                <c16:uniqueId val="{0000126B-7BE2-49F1-B47F-64DDA7BF3F9D}"/>
              </c:ext>
            </c:extLst>
          </c:dPt>
          <c:dPt>
            <c:idx val="2357"/>
            <c:invertIfNegative val="1"/>
            <c:bubble3D val="0"/>
            <c:spPr>
              <a:solidFill>
                <a:srgbClr val="AEABAB"/>
              </a:solidFill>
            </c:spPr>
            <c:extLst>
              <c:ext xmlns:c16="http://schemas.microsoft.com/office/drawing/2014/chart" uri="{C3380CC4-5D6E-409C-BE32-E72D297353CC}">
                <c16:uniqueId val="{0000126D-7BE2-49F1-B47F-64DDA7BF3F9D}"/>
              </c:ext>
            </c:extLst>
          </c:dPt>
          <c:dPt>
            <c:idx val="2358"/>
            <c:invertIfNegative val="1"/>
            <c:bubble3D val="0"/>
            <c:spPr>
              <a:solidFill>
                <a:srgbClr val="AEABAB"/>
              </a:solidFill>
            </c:spPr>
            <c:extLst>
              <c:ext xmlns:c16="http://schemas.microsoft.com/office/drawing/2014/chart" uri="{C3380CC4-5D6E-409C-BE32-E72D297353CC}">
                <c16:uniqueId val="{0000126F-7BE2-49F1-B47F-64DDA7BF3F9D}"/>
              </c:ext>
            </c:extLst>
          </c:dPt>
          <c:dPt>
            <c:idx val="2359"/>
            <c:invertIfNegative val="1"/>
            <c:bubble3D val="0"/>
            <c:spPr>
              <a:solidFill>
                <a:srgbClr val="AEABAB"/>
              </a:solidFill>
            </c:spPr>
            <c:extLst>
              <c:ext xmlns:c16="http://schemas.microsoft.com/office/drawing/2014/chart" uri="{C3380CC4-5D6E-409C-BE32-E72D297353CC}">
                <c16:uniqueId val="{00001271-7BE2-49F1-B47F-64DDA7BF3F9D}"/>
              </c:ext>
            </c:extLst>
          </c:dPt>
          <c:dPt>
            <c:idx val="2360"/>
            <c:invertIfNegative val="1"/>
            <c:bubble3D val="0"/>
            <c:spPr>
              <a:solidFill>
                <a:srgbClr val="AEABAB"/>
              </a:solidFill>
            </c:spPr>
            <c:extLst>
              <c:ext xmlns:c16="http://schemas.microsoft.com/office/drawing/2014/chart" uri="{C3380CC4-5D6E-409C-BE32-E72D297353CC}">
                <c16:uniqueId val="{00001273-7BE2-49F1-B47F-64DDA7BF3F9D}"/>
              </c:ext>
            </c:extLst>
          </c:dPt>
          <c:dPt>
            <c:idx val="2361"/>
            <c:invertIfNegative val="1"/>
            <c:bubble3D val="0"/>
            <c:spPr>
              <a:solidFill>
                <a:srgbClr val="AEABAB"/>
              </a:solidFill>
            </c:spPr>
            <c:extLst>
              <c:ext xmlns:c16="http://schemas.microsoft.com/office/drawing/2014/chart" uri="{C3380CC4-5D6E-409C-BE32-E72D297353CC}">
                <c16:uniqueId val="{00001275-7BE2-49F1-B47F-64DDA7BF3F9D}"/>
              </c:ext>
            </c:extLst>
          </c:dPt>
          <c:dPt>
            <c:idx val="2362"/>
            <c:invertIfNegative val="1"/>
            <c:bubble3D val="0"/>
            <c:spPr>
              <a:solidFill>
                <a:srgbClr val="AEABAB"/>
              </a:solidFill>
            </c:spPr>
            <c:extLst>
              <c:ext xmlns:c16="http://schemas.microsoft.com/office/drawing/2014/chart" uri="{C3380CC4-5D6E-409C-BE32-E72D297353CC}">
                <c16:uniqueId val="{00001277-7BE2-49F1-B47F-64DDA7BF3F9D}"/>
              </c:ext>
            </c:extLst>
          </c:dPt>
          <c:dPt>
            <c:idx val="2363"/>
            <c:invertIfNegative val="1"/>
            <c:bubble3D val="0"/>
            <c:spPr>
              <a:solidFill>
                <a:srgbClr val="AEABAB"/>
              </a:solidFill>
            </c:spPr>
            <c:extLst>
              <c:ext xmlns:c16="http://schemas.microsoft.com/office/drawing/2014/chart" uri="{C3380CC4-5D6E-409C-BE32-E72D297353CC}">
                <c16:uniqueId val="{00001279-7BE2-49F1-B47F-64DDA7BF3F9D}"/>
              </c:ext>
            </c:extLst>
          </c:dPt>
          <c:dPt>
            <c:idx val="2364"/>
            <c:invertIfNegative val="1"/>
            <c:bubble3D val="0"/>
            <c:spPr>
              <a:solidFill>
                <a:srgbClr val="AEABAB"/>
              </a:solidFill>
            </c:spPr>
            <c:extLst>
              <c:ext xmlns:c16="http://schemas.microsoft.com/office/drawing/2014/chart" uri="{C3380CC4-5D6E-409C-BE32-E72D297353CC}">
                <c16:uniqueId val="{0000127B-7BE2-49F1-B47F-64DDA7BF3F9D}"/>
              </c:ext>
            </c:extLst>
          </c:dPt>
          <c:dPt>
            <c:idx val="2365"/>
            <c:invertIfNegative val="1"/>
            <c:bubble3D val="0"/>
            <c:spPr>
              <a:solidFill>
                <a:srgbClr val="AEABAB"/>
              </a:solidFill>
            </c:spPr>
            <c:extLst>
              <c:ext xmlns:c16="http://schemas.microsoft.com/office/drawing/2014/chart" uri="{C3380CC4-5D6E-409C-BE32-E72D297353CC}">
                <c16:uniqueId val="{0000127D-7BE2-49F1-B47F-64DDA7BF3F9D}"/>
              </c:ext>
            </c:extLst>
          </c:dPt>
          <c:dPt>
            <c:idx val="2366"/>
            <c:invertIfNegative val="1"/>
            <c:bubble3D val="0"/>
            <c:spPr>
              <a:solidFill>
                <a:srgbClr val="AEABAB"/>
              </a:solidFill>
            </c:spPr>
            <c:extLst>
              <c:ext xmlns:c16="http://schemas.microsoft.com/office/drawing/2014/chart" uri="{C3380CC4-5D6E-409C-BE32-E72D297353CC}">
                <c16:uniqueId val="{0000127F-7BE2-49F1-B47F-64DDA7BF3F9D}"/>
              </c:ext>
            </c:extLst>
          </c:dPt>
          <c:dPt>
            <c:idx val="2367"/>
            <c:invertIfNegative val="1"/>
            <c:bubble3D val="0"/>
            <c:spPr>
              <a:solidFill>
                <a:srgbClr val="AEABAB"/>
              </a:solidFill>
            </c:spPr>
            <c:extLst>
              <c:ext xmlns:c16="http://schemas.microsoft.com/office/drawing/2014/chart" uri="{C3380CC4-5D6E-409C-BE32-E72D297353CC}">
                <c16:uniqueId val="{00001281-7BE2-49F1-B47F-64DDA7BF3F9D}"/>
              </c:ext>
            </c:extLst>
          </c:dPt>
          <c:dPt>
            <c:idx val="2368"/>
            <c:invertIfNegative val="1"/>
            <c:bubble3D val="0"/>
            <c:spPr>
              <a:solidFill>
                <a:srgbClr val="AEABAB"/>
              </a:solidFill>
            </c:spPr>
            <c:extLst>
              <c:ext xmlns:c16="http://schemas.microsoft.com/office/drawing/2014/chart" uri="{C3380CC4-5D6E-409C-BE32-E72D297353CC}">
                <c16:uniqueId val="{00001283-7BE2-49F1-B47F-64DDA7BF3F9D}"/>
              </c:ext>
            </c:extLst>
          </c:dPt>
          <c:dPt>
            <c:idx val="2369"/>
            <c:invertIfNegative val="1"/>
            <c:bubble3D val="0"/>
            <c:spPr>
              <a:solidFill>
                <a:srgbClr val="AEABAB"/>
              </a:solidFill>
            </c:spPr>
            <c:extLst>
              <c:ext xmlns:c16="http://schemas.microsoft.com/office/drawing/2014/chart" uri="{C3380CC4-5D6E-409C-BE32-E72D297353CC}">
                <c16:uniqueId val="{00001285-7BE2-49F1-B47F-64DDA7BF3F9D}"/>
              </c:ext>
            </c:extLst>
          </c:dPt>
          <c:dPt>
            <c:idx val="2370"/>
            <c:invertIfNegative val="1"/>
            <c:bubble3D val="0"/>
            <c:spPr>
              <a:solidFill>
                <a:srgbClr val="AEABAB"/>
              </a:solidFill>
            </c:spPr>
            <c:extLst>
              <c:ext xmlns:c16="http://schemas.microsoft.com/office/drawing/2014/chart" uri="{C3380CC4-5D6E-409C-BE32-E72D297353CC}">
                <c16:uniqueId val="{00001287-7BE2-49F1-B47F-64DDA7BF3F9D}"/>
              </c:ext>
            </c:extLst>
          </c:dPt>
          <c:dPt>
            <c:idx val="2371"/>
            <c:invertIfNegative val="1"/>
            <c:bubble3D val="0"/>
            <c:spPr>
              <a:solidFill>
                <a:srgbClr val="AEABAB"/>
              </a:solidFill>
            </c:spPr>
            <c:extLst>
              <c:ext xmlns:c16="http://schemas.microsoft.com/office/drawing/2014/chart" uri="{C3380CC4-5D6E-409C-BE32-E72D297353CC}">
                <c16:uniqueId val="{00001289-7BE2-49F1-B47F-64DDA7BF3F9D}"/>
              </c:ext>
            </c:extLst>
          </c:dPt>
          <c:dPt>
            <c:idx val="2372"/>
            <c:invertIfNegative val="1"/>
            <c:bubble3D val="0"/>
            <c:spPr>
              <a:solidFill>
                <a:srgbClr val="AEABAB"/>
              </a:solidFill>
            </c:spPr>
            <c:extLst>
              <c:ext xmlns:c16="http://schemas.microsoft.com/office/drawing/2014/chart" uri="{C3380CC4-5D6E-409C-BE32-E72D297353CC}">
                <c16:uniqueId val="{0000128B-7BE2-49F1-B47F-64DDA7BF3F9D}"/>
              </c:ext>
            </c:extLst>
          </c:dPt>
          <c:dPt>
            <c:idx val="2373"/>
            <c:invertIfNegative val="1"/>
            <c:bubble3D val="0"/>
            <c:spPr>
              <a:solidFill>
                <a:srgbClr val="AEABAB"/>
              </a:solidFill>
            </c:spPr>
            <c:extLst>
              <c:ext xmlns:c16="http://schemas.microsoft.com/office/drawing/2014/chart" uri="{C3380CC4-5D6E-409C-BE32-E72D297353CC}">
                <c16:uniqueId val="{0000128D-7BE2-49F1-B47F-64DDA7BF3F9D}"/>
              </c:ext>
            </c:extLst>
          </c:dPt>
          <c:dPt>
            <c:idx val="2374"/>
            <c:invertIfNegative val="1"/>
            <c:bubble3D val="0"/>
            <c:spPr>
              <a:solidFill>
                <a:srgbClr val="AEABAB"/>
              </a:solidFill>
            </c:spPr>
            <c:extLst>
              <c:ext xmlns:c16="http://schemas.microsoft.com/office/drawing/2014/chart" uri="{C3380CC4-5D6E-409C-BE32-E72D297353CC}">
                <c16:uniqueId val="{0000128F-7BE2-49F1-B47F-64DDA7BF3F9D}"/>
              </c:ext>
            </c:extLst>
          </c:dPt>
          <c:dPt>
            <c:idx val="2375"/>
            <c:invertIfNegative val="1"/>
            <c:bubble3D val="0"/>
            <c:spPr>
              <a:solidFill>
                <a:srgbClr val="AEABAB"/>
              </a:solidFill>
            </c:spPr>
            <c:extLst>
              <c:ext xmlns:c16="http://schemas.microsoft.com/office/drawing/2014/chart" uri="{C3380CC4-5D6E-409C-BE32-E72D297353CC}">
                <c16:uniqueId val="{00001291-7BE2-49F1-B47F-64DDA7BF3F9D}"/>
              </c:ext>
            </c:extLst>
          </c:dPt>
          <c:dPt>
            <c:idx val="2376"/>
            <c:invertIfNegative val="1"/>
            <c:bubble3D val="0"/>
            <c:spPr>
              <a:solidFill>
                <a:srgbClr val="AEABAB"/>
              </a:solidFill>
            </c:spPr>
            <c:extLst>
              <c:ext xmlns:c16="http://schemas.microsoft.com/office/drawing/2014/chart" uri="{C3380CC4-5D6E-409C-BE32-E72D297353CC}">
                <c16:uniqueId val="{00001293-7BE2-49F1-B47F-64DDA7BF3F9D}"/>
              </c:ext>
            </c:extLst>
          </c:dPt>
          <c:dPt>
            <c:idx val="2377"/>
            <c:invertIfNegative val="1"/>
            <c:bubble3D val="0"/>
            <c:spPr>
              <a:solidFill>
                <a:srgbClr val="AEABAB"/>
              </a:solidFill>
            </c:spPr>
            <c:extLst>
              <c:ext xmlns:c16="http://schemas.microsoft.com/office/drawing/2014/chart" uri="{C3380CC4-5D6E-409C-BE32-E72D297353CC}">
                <c16:uniqueId val="{00001295-7BE2-49F1-B47F-64DDA7BF3F9D}"/>
              </c:ext>
            </c:extLst>
          </c:dPt>
          <c:dPt>
            <c:idx val="2378"/>
            <c:invertIfNegative val="1"/>
            <c:bubble3D val="0"/>
            <c:spPr>
              <a:solidFill>
                <a:srgbClr val="AEABAB"/>
              </a:solidFill>
            </c:spPr>
            <c:extLst>
              <c:ext xmlns:c16="http://schemas.microsoft.com/office/drawing/2014/chart" uri="{C3380CC4-5D6E-409C-BE32-E72D297353CC}">
                <c16:uniqueId val="{00001297-7BE2-49F1-B47F-64DDA7BF3F9D}"/>
              </c:ext>
            </c:extLst>
          </c:dPt>
          <c:dPt>
            <c:idx val="2379"/>
            <c:invertIfNegative val="1"/>
            <c:bubble3D val="0"/>
            <c:spPr>
              <a:solidFill>
                <a:srgbClr val="AEABAB"/>
              </a:solidFill>
            </c:spPr>
            <c:extLst>
              <c:ext xmlns:c16="http://schemas.microsoft.com/office/drawing/2014/chart" uri="{C3380CC4-5D6E-409C-BE32-E72D297353CC}">
                <c16:uniqueId val="{00001299-7BE2-49F1-B47F-64DDA7BF3F9D}"/>
              </c:ext>
            </c:extLst>
          </c:dPt>
          <c:dPt>
            <c:idx val="2380"/>
            <c:invertIfNegative val="1"/>
            <c:bubble3D val="0"/>
            <c:spPr>
              <a:solidFill>
                <a:srgbClr val="AEABAB"/>
              </a:solidFill>
            </c:spPr>
            <c:extLst>
              <c:ext xmlns:c16="http://schemas.microsoft.com/office/drawing/2014/chart" uri="{C3380CC4-5D6E-409C-BE32-E72D297353CC}">
                <c16:uniqueId val="{0000129B-7BE2-49F1-B47F-64DDA7BF3F9D}"/>
              </c:ext>
            </c:extLst>
          </c:dPt>
          <c:dPt>
            <c:idx val="2381"/>
            <c:invertIfNegative val="1"/>
            <c:bubble3D val="0"/>
            <c:spPr>
              <a:solidFill>
                <a:srgbClr val="AEABAB"/>
              </a:solidFill>
            </c:spPr>
            <c:extLst>
              <c:ext xmlns:c16="http://schemas.microsoft.com/office/drawing/2014/chart" uri="{C3380CC4-5D6E-409C-BE32-E72D297353CC}">
                <c16:uniqueId val="{0000129D-7BE2-49F1-B47F-64DDA7BF3F9D}"/>
              </c:ext>
            </c:extLst>
          </c:dPt>
          <c:dPt>
            <c:idx val="2382"/>
            <c:invertIfNegative val="1"/>
            <c:bubble3D val="0"/>
            <c:spPr>
              <a:solidFill>
                <a:srgbClr val="AEABAB"/>
              </a:solidFill>
            </c:spPr>
            <c:extLst>
              <c:ext xmlns:c16="http://schemas.microsoft.com/office/drawing/2014/chart" uri="{C3380CC4-5D6E-409C-BE32-E72D297353CC}">
                <c16:uniqueId val="{0000129F-7BE2-49F1-B47F-64DDA7BF3F9D}"/>
              </c:ext>
            </c:extLst>
          </c:dPt>
          <c:dPt>
            <c:idx val="2383"/>
            <c:invertIfNegative val="1"/>
            <c:bubble3D val="0"/>
            <c:spPr>
              <a:solidFill>
                <a:srgbClr val="AEABAB"/>
              </a:solidFill>
            </c:spPr>
            <c:extLst>
              <c:ext xmlns:c16="http://schemas.microsoft.com/office/drawing/2014/chart" uri="{C3380CC4-5D6E-409C-BE32-E72D297353CC}">
                <c16:uniqueId val="{000012A1-7BE2-49F1-B47F-64DDA7BF3F9D}"/>
              </c:ext>
            </c:extLst>
          </c:dPt>
          <c:dPt>
            <c:idx val="2384"/>
            <c:invertIfNegative val="1"/>
            <c:bubble3D val="0"/>
            <c:spPr>
              <a:solidFill>
                <a:srgbClr val="AEABAB"/>
              </a:solidFill>
            </c:spPr>
            <c:extLst>
              <c:ext xmlns:c16="http://schemas.microsoft.com/office/drawing/2014/chart" uri="{C3380CC4-5D6E-409C-BE32-E72D297353CC}">
                <c16:uniqueId val="{000012A3-7BE2-49F1-B47F-64DDA7BF3F9D}"/>
              </c:ext>
            </c:extLst>
          </c:dPt>
          <c:dPt>
            <c:idx val="2385"/>
            <c:invertIfNegative val="1"/>
            <c:bubble3D val="0"/>
            <c:spPr>
              <a:solidFill>
                <a:srgbClr val="AEABAB"/>
              </a:solidFill>
            </c:spPr>
            <c:extLst>
              <c:ext xmlns:c16="http://schemas.microsoft.com/office/drawing/2014/chart" uri="{C3380CC4-5D6E-409C-BE32-E72D297353CC}">
                <c16:uniqueId val="{000012A5-7BE2-49F1-B47F-64DDA7BF3F9D}"/>
              </c:ext>
            </c:extLst>
          </c:dPt>
          <c:dPt>
            <c:idx val="2386"/>
            <c:invertIfNegative val="1"/>
            <c:bubble3D val="0"/>
            <c:spPr>
              <a:solidFill>
                <a:srgbClr val="AEABAB"/>
              </a:solidFill>
            </c:spPr>
            <c:extLst>
              <c:ext xmlns:c16="http://schemas.microsoft.com/office/drawing/2014/chart" uri="{C3380CC4-5D6E-409C-BE32-E72D297353CC}">
                <c16:uniqueId val="{000012A7-7BE2-49F1-B47F-64DDA7BF3F9D}"/>
              </c:ext>
            </c:extLst>
          </c:dPt>
          <c:dPt>
            <c:idx val="2387"/>
            <c:invertIfNegative val="1"/>
            <c:bubble3D val="0"/>
            <c:spPr>
              <a:solidFill>
                <a:srgbClr val="AEABAB"/>
              </a:solidFill>
            </c:spPr>
            <c:extLst>
              <c:ext xmlns:c16="http://schemas.microsoft.com/office/drawing/2014/chart" uri="{C3380CC4-5D6E-409C-BE32-E72D297353CC}">
                <c16:uniqueId val="{000012A9-7BE2-49F1-B47F-64DDA7BF3F9D}"/>
              </c:ext>
            </c:extLst>
          </c:dPt>
          <c:dPt>
            <c:idx val="2388"/>
            <c:invertIfNegative val="1"/>
            <c:bubble3D val="0"/>
            <c:spPr>
              <a:solidFill>
                <a:srgbClr val="AEABAB"/>
              </a:solidFill>
            </c:spPr>
            <c:extLst>
              <c:ext xmlns:c16="http://schemas.microsoft.com/office/drawing/2014/chart" uri="{C3380CC4-5D6E-409C-BE32-E72D297353CC}">
                <c16:uniqueId val="{000012AB-7BE2-49F1-B47F-64DDA7BF3F9D}"/>
              </c:ext>
            </c:extLst>
          </c:dPt>
          <c:dPt>
            <c:idx val="2389"/>
            <c:invertIfNegative val="1"/>
            <c:bubble3D val="0"/>
            <c:spPr>
              <a:solidFill>
                <a:srgbClr val="AEABAB"/>
              </a:solidFill>
            </c:spPr>
            <c:extLst>
              <c:ext xmlns:c16="http://schemas.microsoft.com/office/drawing/2014/chart" uri="{C3380CC4-5D6E-409C-BE32-E72D297353CC}">
                <c16:uniqueId val="{000012AD-7BE2-49F1-B47F-64DDA7BF3F9D}"/>
              </c:ext>
            </c:extLst>
          </c:dPt>
          <c:dPt>
            <c:idx val="2390"/>
            <c:invertIfNegative val="1"/>
            <c:bubble3D val="0"/>
            <c:spPr>
              <a:solidFill>
                <a:srgbClr val="AEABAB"/>
              </a:solidFill>
            </c:spPr>
            <c:extLst>
              <c:ext xmlns:c16="http://schemas.microsoft.com/office/drawing/2014/chart" uri="{C3380CC4-5D6E-409C-BE32-E72D297353CC}">
                <c16:uniqueId val="{000012AF-7BE2-49F1-B47F-64DDA7BF3F9D}"/>
              </c:ext>
            </c:extLst>
          </c:dPt>
          <c:dPt>
            <c:idx val="2391"/>
            <c:invertIfNegative val="1"/>
            <c:bubble3D val="0"/>
            <c:spPr>
              <a:solidFill>
                <a:srgbClr val="AEABAB"/>
              </a:solidFill>
            </c:spPr>
            <c:extLst>
              <c:ext xmlns:c16="http://schemas.microsoft.com/office/drawing/2014/chart" uri="{C3380CC4-5D6E-409C-BE32-E72D297353CC}">
                <c16:uniqueId val="{000012B1-7BE2-49F1-B47F-64DDA7BF3F9D}"/>
              </c:ext>
            </c:extLst>
          </c:dPt>
          <c:dPt>
            <c:idx val="2392"/>
            <c:invertIfNegative val="1"/>
            <c:bubble3D val="0"/>
            <c:spPr>
              <a:solidFill>
                <a:srgbClr val="AEABAB"/>
              </a:solidFill>
            </c:spPr>
            <c:extLst>
              <c:ext xmlns:c16="http://schemas.microsoft.com/office/drawing/2014/chart" uri="{C3380CC4-5D6E-409C-BE32-E72D297353CC}">
                <c16:uniqueId val="{000012B3-7BE2-49F1-B47F-64DDA7BF3F9D}"/>
              </c:ext>
            </c:extLst>
          </c:dPt>
          <c:dPt>
            <c:idx val="2393"/>
            <c:invertIfNegative val="1"/>
            <c:bubble3D val="0"/>
            <c:spPr>
              <a:solidFill>
                <a:srgbClr val="AEABAB"/>
              </a:solidFill>
            </c:spPr>
            <c:extLst>
              <c:ext xmlns:c16="http://schemas.microsoft.com/office/drawing/2014/chart" uri="{C3380CC4-5D6E-409C-BE32-E72D297353CC}">
                <c16:uniqueId val="{000012B5-7BE2-49F1-B47F-64DDA7BF3F9D}"/>
              </c:ext>
            </c:extLst>
          </c:dPt>
          <c:dPt>
            <c:idx val="2394"/>
            <c:invertIfNegative val="1"/>
            <c:bubble3D val="0"/>
            <c:spPr>
              <a:solidFill>
                <a:srgbClr val="AEABAB"/>
              </a:solidFill>
            </c:spPr>
            <c:extLst>
              <c:ext xmlns:c16="http://schemas.microsoft.com/office/drawing/2014/chart" uri="{C3380CC4-5D6E-409C-BE32-E72D297353CC}">
                <c16:uniqueId val="{000012B7-7BE2-49F1-B47F-64DDA7BF3F9D}"/>
              </c:ext>
            </c:extLst>
          </c:dPt>
          <c:dPt>
            <c:idx val="2395"/>
            <c:invertIfNegative val="1"/>
            <c:bubble3D val="0"/>
            <c:spPr>
              <a:solidFill>
                <a:srgbClr val="AEABAB"/>
              </a:solidFill>
            </c:spPr>
            <c:extLst>
              <c:ext xmlns:c16="http://schemas.microsoft.com/office/drawing/2014/chart" uri="{C3380CC4-5D6E-409C-BE32-E72D297353CC}">
                <c16:uniqueId val="{000012B9-7BE2-49F1-B47F-64DDA7BF3F9D}"/>
              </c:ext>
            </c:extLst>
          </c:dPt>
          <c:dPt>
            <c:idx val="2396"/>
            <c:invertIfNegative val="1"/>
            <c:bubble3D val="0"/>
            <c:spPr>
              <a:solidFill>
                <a:srgbClr val="AEABAB"/>
              </a:solidFill>
            </c:spPr>
            <c:extLst>
              <c:ext xmlns:c16="http://schemas.microsoft.com/office/drawing/2014/chart" uri="{C3380CC4-5D6E-409C-BE32-E72D297353CC}">
                <c16:uniqueId val="{000012BB-7BE2-49F1-B47F-64DDA7BF3F9D}"/>
              </c:ext>
            </c:extLst>
          </c:dPt>
          <c:dPt>
            <c:idx val="2397"/>
            <c:invertIfNegative val="1"/>
            <c:bubble3D val="0"/>
            <c:spPr>
              <a:solidFill>
                <a:srgbClr val="AEABAB"/>
              </a:solidFill>
            </c:spPr>
            <c:extLst>
              <c:ext xmlns:c16="http://schemas.microsoft.com/office/drawing/2014/chart" uri="{C3380CC4-5D6E-409C-BE32-E72D297353CC}">
                <c16:uniqueId val="{000012BD-7BE2-49F1-B47F-64DDA7BF3F9D}"/>
              </c:ext>
            </c:extLst>
          </c:dPt>
          <c:dPt>
            <c:idx val="2398"/>
            <c:invertIfNegative val="1"/>
            <c:bubble3D val="0"/>
            <c:spPr>
              <a:solidFill>
                <a:srgbClr val="AEABAB"/>
              </a:solidFill>
            </c:spPr>
            <c:extLst>
              <c:ext xmlns:c16="http://schemas.microsoft.com/office/drawing/2014/chart" uri="{C3380CC4-5D6E-409C-BE32-E72D297353CC}">
                <c16:uniqueId val="{000012BF-7BE2-49F1-B47F-64DDA7BF3F9D}"/>
              </c:ext>
            </c:extLst>
          </c:dPt>
          <c:dPt>
            <c:idx val="2399"/>
            <c:invertIfNegative val="1"/>
            <c:bubble3D val="0"/>
            <c:spPr>
              <a:solidFill>
                <a:srgbClr val="AEABAB"/>
              </a:solidFill>
            </c:spPr>
            <c:extLst>
              <c:ext xmlns:c16="http://schemas.microsoft.com/office/drawing/2014/chart" uri="{C3380CC4-5D6E-409C-BE32-E72D297353CC}">
                <c16:uniqueId val="{000012C1-7BE2-49F1-B47F-64DDA7BF3F9D}"/>
              </c:ext>
            </c:extLst>
          </c:dPt>
          <c:dPt>
            <c:idx val="2400"/>
            <c:invertIfNegative val="1"/>
            <c:bubble3D val="0"/>
            <c:spPr>
              <a:solidFill>
                <a:srgbClr val="AEABAB"/>
              </a:solidFill>
            </c:spPr>
            <c:extLst>
              <c:ext xmlns:c16="http://schemas.microsoft.com/office/drawing/2014/chart" uri="{C3380CC4-5D6E-409C-BE32-E72D297353CC}">
                <c16:uniqueId val="{000012C3-7BE2-49F1-B47F-64DDA7BF3F9D}"/>
              </c:ext>
            </c:extLst>
          </c:dPt>
          <c:dPt>
            <c:idx val="2401"/>
            <c:invertIfNegative val="1"/>
            <c:bubble3D val="0"/>
            <c:spPr>
              <a:solidFill>
                <a:srgbClr val="AEABAB"/>
              </a:solidFill>
            </c:spPr>
            <c:extLst>
              <c:ext xmlns:c16="http://schemas.microsoft.com/office/drawing/2014/chart" uri="{C3380CC4-5D6E-409C-BE32-E72D297353CC}">
                <c16:uniqueId val="{000012C5-7BE2-49F1-B47F-64DDA7BF3F9D}"/>
              </c:ext>
            </c:extLst>
          </c:dPt>
          <c:dPt>
            <c:idx val="2402"/>
            <c:invertIfNegative val="1"/>
            <c:bubble3D val="0"/>
            <c:spPr>
              <a:solidFill>
                <a:srgbClr val="AEABAB"/>
              </a:solidFill>
            </c:spPr>
            <c:extLst>
              <c:ext xmlns:c16="http://schemas.microsoft.com/office/drawing/2014/chart" uri="{C3380CC4-5D6E-409C-BE32-E72D297353CC}">
                <c16:uniqueId val="{000012C7-7BE2-49F1-B47F-64DDA7BF3F9D}"/>
              </c:ext>
            </c:extLst>
          </c:dPt>
          <c:dPt>
            <c:idx val="2403"/>
            <c:invertIfNegative val="1"/>
            <c:bubble3D val="0"/>
            <c:spPr>
              <a:solidFill>
                <a:srgbClr val="AEABAB"/>
              </a:solidFill>
            </c:spPr>
            <c:extLst>
              <c:ext xmlns:c16="http://schemas.microsoft.com/office/drawing/2014/chart" uri="{C3380CC4-5D6E-409C-BE32-E72D297353CC}">
                <c16:uniqueId val="{000012C9-7BE2-49F1-B47F-64DDA7BF3F9D}"/>
              </c:ext>
            </c:extLst>
          </c:dPt>
          <c:dPt>
            <c:idx val="2404"/>
            <c:invertIfNegative val="1"/>
            <c:bubble3D val="0"/>
            <c:spPr>
              <a:solidFill>
                <a:srgbClr val="AEABAB"/>
              </a:solidFill>
            </c:spPr>
            <c:extLst>
              <c:ext xmlns:c16="http://schemas.microsoft.com/office/drawing/2014/chart" uri="{C3380CC4-5D6E-409C-BE32-E72D297353CC}">
                <c16:uniqueId val="{000012CB-7BE2-49F1-B47F-64DDA7BF3F9D}"/>
              </c:ext>
            </c:extLst>
          </c:dPt>
          <c:dPt>
            <c:idx val="2405"/>
            <c:invertIfNegative val="1"/>
            <c:bubble3D val="0"/>
            <c:spPr>
              <a:solidFill>
                <a:srgbClr val="AEABAB"/>
              </a:solidFill>
            </c:spPr>
            <c:extLst>
              <c:ext xmlns:c16="http://schemas.microsoft.com/office/drawing/2014/chart" uri="{C3380CC4-5D6E-409C-BE32-E72D297353CC}">
                <c16:uniqueId val="{000012CD-7BE2-49F1-B47F-64DDA7BF3F9D}"/>
              </c:ext>
            </c:extLst>
          </c:dPt>
          <c:dPt>
            <c:idx val="2406"/>
            <c:invertIfNegative val="1"/>
            <c:bubble3D val="0"/>
            <c:spPr>
              <a:solidFill>
                <a:srgbClr val="AEABAB"/>
              </a:solidFill>
            </c:spPr>
            <c:extLst>
              <c:ext xmlns:c16="http://schemas.microsoft.com/office/drawing/2014/chart" uri="{C3380CC4-5D6E-409C-BE32-E72D297353CC}">
                <c16:uniqueId val="{000012CF-7BE2-49F1-B47F-64DDA7BF3F9D}"/>
              </c:ext>
            </c:extLst>
          </c:dPt>
          <c:dPt>
            <c:idx val="2407"/>
            <c:invertIfNegative val="1"/>
            <c:bubble3D val="0"/>
            <c:spPr>
              <a:solidFill>
                <a:srgbClr val="AEABAB"/>
              </a:solidFill>
            </c:spPr>
            <c:extLst>
              <c:ext xmlns:c16="http://schemas.microsoft.com/office/drawing/2014/chart" uri="{C3380CC4-5D6E-409C-BE32-E72D297353CC}">
                <c16:uniqueId val="{000012D1-7BE2-49F1-B47F-64DDA7BF3F9D}"/>
              </c:ext>
            </c:extLst>
          </c:dPt>
          <c:dPt>
            <c:idx val="2408"/>
            <c:invertIfNegative val="1"/>
            <c:bubble3D val="0"/>
            <c:spPr>
              <a:solidFill>
                <a:srgbClr val="AEABAB"/>
              </a:solidFill>
            </c:spPr>
            <c:extLst>
              <c:ext xmlns:c16="http://schemas.microsoft.com/office/drawing/2014/chart" uri="{C3380CC4-5D6E-409C-BE32-E72D297353CC}">
                <c16:uniqueId val="{000012D3-7BE2-49F1-B47F-64DDA7BF3F9D}"/>
              </c:ext>
            </c:extLst>
          </c:dPt>
          <c:dPt>
            <c:idx val="2409"/>
            <c:invertIfNegative val="1"/>
            <c:bubble3D val="0"/>
            <c:spPr>
              <a:solidFill>
                <a:srgbClr val="AEABAB"/>
              </a:solidFill>
            </c:spPr>
            <c:extLst>
              <c:ext xmlns:c16="http://schemas.microsoft.com/office/drawing/2014/chart" uri="{C3380CC4-5D6E-409C-BE32-E72D297353CC}">
                <c16:uniqueId val="{000012D5-7BE2-49F1-B47F-64DDA7BF3F9D}"/>
              </c:ext>
            </c:extLst>
          </c:dPt>
          <c:dPt>
            <c:idx val="2410"/>
            <c:invertIfNegative val="1"/>
            <c:bubble3D val="0"/>
            <c:spPr>
              <a:solidFill>
                <a:srgbClr val="AEABAB"/>
              </a:solidFill>
            </c:spPr>
            <c:extLst>
              <c:ext xmlns:c16="http://schemas.microsoft.com/office/drawing/2014/chart" uri="{C3380CC4-5D6E-409C-BE32-E72D297353CC}">
                <c16:uniqueId val="{000012D7-7BE2-49F1-B47F-64DDA7BF3F9D}"/>
              </c:ext>
            </c:extLst>
          </c:dPt>
          <c:dPt>
            <c:idx val="2411"/>
            <c:invertIfNegative val="1"/>
            <c:bubble3D val="0"/>
            <c:spPr>
              <a:solidFill>
                <a:srgbClr val="AEABAB"/>
              </a:solidFill>
            </c:spPr>
            <c:extLst>
              <c:ext xmlns:c16="http://schemas.microsoft.com/office/drawing/2014/chart" uri="{C3380CC4-5D6E-409C-BE32-E72D297353CC}">
                <c16:uniqueId val="{000012D9-7BE2-49F1-B47F-64DDA7BF3F9D}"/>
              </c:ext>
            </c:extLst>
          </c:dPt>
          <c:dPt>
            <c:idx val="2412"/>
            <c:invertIfNegative val="1"/>
            <c:bubble3D val="0"/>
            <c:spPr>
              <a:solidFill>
                <a:srgbClr val="AEABAB"/>
              </a:solidFill>
            </c:spPr>
            <c:extLst>
              <c:ext xmlns:c16="http://schemas.microsoft.com/office/drawing/2014/chart" uri="{C3380CC4-5D6E-409C-BE32-E72D297353CC}">
                <c16:uniqueId val="{000012DB-7BE2-49F1-B47F-64DDA7BF3F9D}"/>
              </c:ext>
            </c:extLst>
          </c:dPt>
          <c:dPt>
            <c:idx val="2413"/>
            <c:invertIfNegative val="1"/>
            <c:bubble3D val="0"/>
            <c:spPr>
              <a:solidFill>
                <a:srgbClr val="AEABAB"/>
              </a:solidFill>
            </c:spPr>
            <c:extLst>
              <c:ext xmlns:c16="http://schemas.microsoft.com/office/drawing/2014/chart" uri="{C3380CC4-5D6E-409C-BE32-E72D297353CC}">
                <c16:uniqueId val="{000012DD-7BE2-49F1-B47F-64DDA7BF3F9D}"/>
              </c:ext>
            </c:extLst>
          </c:dPt>
          <c:dPt>
            <c:idx val="2414"/>
            <c:invertIfNegative val="1"/>
            <c:bubble3D val="0"/>
            <c:spPr>
              <a:solidFill>
                <a:srgbClr val="AEABAB"/>
              </a:solidFill>
            </c:spPr>
            <c:extLst>
              <c:ext xmlns:c16="http://schemas.microsoft.com/office/drawing/2014/chart" uri="{C3380CC4-5D6E-409C-BE32-E72D297353CC}">
                <c16:uniqueId val="{000012DF-7BE2-49F1-B47F-64DDA7BF3F9D}"/>
              </c:ext>
            </c:extLst>
          </c:dPt>
          <c:dPt>
            <c:idx val="2415"/>
            <c:invertIfNegative val="1"/>
            <c:bubble3D val="0"/>
            <c:spPr>
              <a:solidFill>
                <a:srgbClr val="AEABAB"/>
              </a:solidFill>
            </c:spPr>
            <c:extLst>
              <c:ext xmlns:c16="http://schemas.microsoft.com/office/drawing/2014/chart" uri="{C3380CC4-5D6E-409C-BE32-E72D297353CC}">
                <c16:uniqueId val="{000012E1-7BE2-49F1-B47F-64DDA7BF3F9D}"/>
              </c:ext>
            </c:extLst>
          </c:dPt>
          <c:dPt>
            <c:idx val="2416"/>
            <c:invertIfNegative val="1"/>
            <c:bubble3D val="0"/>
            <c:spPr>
              <a:solidFill>
                <a:srgbClr val="AEABAB"/>
              </a:solidFill>
            </c:spPr>
            <c:extLst>
              <c:ext xmlns:c16="http://schemas.microsoft.com/office/drawing/2014/chart" uri="{C3380CC4-5D6E-409C-BE32-E72D297353CC}">
                <c16:uniqueId val="{000012E3-7BE2-49F1-B47F-64DDA7BF3F9D}"/>
              </c:ext>
            </c:extLst>
          </c:dPt>
          <c:dPt>
            <c:idx val="2417"/>
            <c:invertIfNegative val="1"/>
            <c:bubble3D val="0"/>
            <c:spPr>
              <a:solidFill>
                <a:srgbClr val="AEABAB"/>
              </a:solidFill>
            </c:spPr>
            <c:extLst>
              <c:ext xmlns:c16="http://schemas.microsoft.com/office/drawing/2014/chart" uri="{C3380CC4-5D6E-409C-BE32-E72D297353CC}">
                <c16:uniqueId val="{000012E5-7BE2-49F1-B47F-64DDA7BF3F9D}"/>
              </c:ext>
            </c:extLst>
          </c:dPt>
          <c:dPt>
            <c:idx val="2418"/>
            <c:invertIfNegative val="1"/>
            <c:bubble3D val="0"/>
            <c:spPr>
              <a:solidFill>
                <a:srgbClr val="AEABAB"/>
              </a:solidFill>
            </c:spPr>
            <c:extLst>
              <c:ext xmlns:c16="http://schemas.microsoft.com/office/drawing/2014/chart" uri="{C3380CC4-5D6E-409C-BE32-E72D297353CC}">
                <c16:uniqueId val="{000012E7-7BE2-49F1-B47F-64DDA7BF3F9D}"/>
              </c:ext>
            </c:extLst>
          </c:dPt>
          <c:dPt>
            <c:idx val="2419"/>
            <c:invertIfNegative val="1"/>
            <c:bubble3D val="0"/>
            <c:spPr>
              <a:solidFill>
                <a:srgbClr val="AEABAB"/>
              </a:solidFill>
            </c:spPr>
            <c:extLst>
              <c:ext xmlns:c16="http://schemas.microsoft.com/office/drawing/2014/chart" uri="{C3380CC4-5D6E-409C-BE32-E72D297353CC}">
                <c16:uniqueId val="{000012E9-7BE2-49F1-B47F-64DDA7BF3F9D}"/>
              </c:ext>
            </c:extLst>
          </c:dPt>
          <c:dPt>
            <c:idx val="2420"/>
            <c:invertIfNegative val="1"/>
            <c:bubble3D val="0"/>
            <c:spPr>
              <a:solidFill>
                <a:srgbClr val="AEABAB"/>
              </a:solidFill>
            </c:spPr>
            <c:extLst>
              <c:ext xmlns:c16="http://schemas.microsoft.com/office/drawing/2014/chart" uri="{C3380CC4-5D6E-409C-BE32-E72D297353CC}">
                <c16:uniqueId val="{000012EB-7BE2-49F1-B47F-64DDA7BF3F9D}"/>
              </c:ext>
            </c:extLst>
          </c:dPt>
          <c:dPt>
            <c:idx val="2421"/>
            <c:invertIfNegative val="1"/>
            <c:bubble3D val="0"/>
            <c:spPr>
              <a:solidFill>
                <a:srgbClr val="AEABAB"/>
              </a:solidFill>
            </c:spPr>
            <c:extLst>
              <c:ext xmlns:c16="http://schemas.microsoft.com/office/drawing/2014/chart" uri="{C3380CC4-5D6E-409C-BE32-E72D297353CC}">
                <c16:uniqueId val="{000012ED-7BE2-49F1-B47F-64DDA7BF3F9D}"/>
              </c:ext>
            </c:extLst>
          </c:dPt>
          <c:dPt>
            <c:idx val="2422"/>
            <c:invertIfNegative val="1"/>
            <c:bubble3D val="0"/>
            <c:spPr>
              <a:solidFill>
                <a:srgbClr val="AEABAB"/>
              </a:solidFill>
            </c:spPr>
            <c:extLst>
              <c:ext xmlns:c16="http://schemas.microsoft.com/office/drawing/2014/chart" uri="{C3380CC4-5D6E-409C-BE32-E72D297353CC}">
                <c16:uniqueId val="{000012EF-7BE2-49F1-B47F-64DDA7BF3F9D}"/>
              </c:ext>
            </c:extLst>
          </c:dPt>
          <c:dPt>
            <c:idx val="2423"/>
            <c:invertIfNegative val="1"/>
            <c:bubble3D val="0"/>
            <c:spPr>
              <a:solidFill>
                <a:srgbClr val="AEABAB"/>
              </a:solidFill>
            </c:spPr>
            <c:extLst>
              <c:ext xmlns:c16="http://schemas.microsoft.com/office/drawing/2014/chart" uri="{C3380CC4-5D6E-409C-BE32-E72D297353CC}">
                <c16:uniqueId val="{000012F1-7BE2-49F1-B47F-64DDA7BF3F9D}"/>
              </c:ext>
            </c:extLst>
          </c:dPt>
          <c:dPt>
            <c:idx val="2424"/>
            <c:invertIfNegative val="1"/>
            <c:bubble3D val="0"/>
            <c:spPr>
              <a:solidFill>
                <a:srgbClr val="AEABAB"/>
              </a:solidFill>
            </c:spPr>
            <c:extLst>
              <c:ext xmlns:c16="http://schemas.microsoft.com/office/drawing/2014/chart" uri="{C3380CC4-5D6E-409C-BE32-E72D297353CC}">
                <c16:uniqueId val="{000012F3-7BE2-49F1-B47F-64DDA7BF3F9D}"/>
              </c:ext>
            </c:extLst>
          </c:dPt>
          <c:dPt>
            <c:idx val="2425"/>
            <c:invertIfNegative val="1"/>
            <c:bubble3D val="0"/>
            <c:spPr>
              <a:solidFill>
                <a:srgbClr val="AEABAB"/>
              </a:solidFill>
            </c:spPr>
            <c:extLst>
              <c:ext xmlns:c16="http://schemas.microsoft.com/office/drawing/2014/chart" uri="{C3380CC4-5D6E-409C-BE32-E72D297353CC}">
                <c16:uniqueId val="{000012F5-7BE2-49F1-B47F-64DDA7BF3F9D}"/>
              </c:ext>
            </c:extLst>
          </c:dPt>
          <c:dPt>
            <c:idx val="2426"/>
            <c:invertIfNegative val="1"/>
            <c:bubble3D val="0"/>
            <c:spPr>
              <a:solidFill>
                <a:srgbClr val="AEABAB"/>
              </a:solidFill>
            </c:spPr>
            <c:extLst>
              <c:ext xmlns:c16="http://schemas.microsoft.com/office/drawing/2014/chart" uri="{C3380CC4-5D6E-409C-BE32-E72D297353CC}">
                <c16:uniqueId val="{000012F7-7BE2-49F1-B47F-64DDA7BF3F9D}"/>
              </c:ext>
            </c:extLst>
          </c:dPt>
          <c:dPt>
            <c:idx val="2427"/>
            <c:invertIfNegative val="1"/>
            <c:bubble3D val="0"/>
            <c:spPr>
              <a:solidFill>
                <a:srgbClr val="AEABAB"/>
              </a:solidFill>
            </c:spPr>
            <c:extLst>
              <c:ext xmlns:c16="http://schemas.microsoft.com/office/drawing/2014/chart" uri="{C3380CC4-5D6E-409C-BE32-E72D297353CC}">
                <c16:uniqueId val="{000012F9-7BE2-49F1-B47F-64DDA7BF3F9D}"/>
              </c:ext>
            </c:extLst>
          </c:dPt>
          <c:dPt>
            <c:idx val="2428"/>
            <c:invertIfNegative val="1"/>
            <c:bubble3D val="0"/>
            <c:spPr>
              <a:solidFill>
                <a:srgbClr val="AEABAB"/>
              </a:solidFill>
            </c:spPr>
            <c:extLst>
              <c:ext xmlns:c16="http://schemas.microsoft.com/office/drawing/2014/chart" uri="{C3380CC4-5D6E-409C-BE32-E72D297353CC}">
                <c16:uniqueId val="{000012FB-7BE2-49F1-B47F-64DDA7BF3F9D}"/>
              </c:ext>
            </c:extLst>
          </c:dPt>
          <c:dPt>
            <c:idx val="2429"/>
            <c:invertIfNegative val="1"/>
            <c:bubble3D val="0"/>
            <c:spPr>
              <a:solidFill>
                <a:srgbClr val="AEABAB"/>
              </a:solidFill>
            </c:spPr>
            <c:extLst>
              <c:ext xmlns:c16="http://schemas.microsoft.com/office/drawing/2014/chart" uri="{C3380CC4-5D6E-409C-BE32-E72D297353CC}">
                <c16:uniqueId val="{000012FD-7BE2-49F1-B47F-64DDA7BF3F9D}"/>
              </c:ext>
            </c:extLst>
          </c:dPt>
          <c:dPt>
            <c:idx val="2430"/>
            <c:invertIfNegative val="1"/>
            <c:bubble3D val="0"/>
            <c:spPr>
              <a:solidFill>
                <a:srgbClr val="AEABAB"/>
              </a:solidFill>
            </c:spPr>
            <c:extLst>
              <c:ext xmlns:c16="http://schemas.microsoft.com/office/drawing/2014/chart" uri="{C3380CC4-5D6E-409C-BE32-E72D297353CC}">
                <c16:uniqueId val="{000012FF-7BE2-49F1-B47F-64DDA7BF3F9D}"/>
              </c:ext>
            </c:extLst>
          </c:dPt>
          <c:dPt>
            <c:idx val="2431"/>
            <c:invertIfNegative val="1"/>
            <c:bubble3D val="0"/>
            <c:spPr>
              <a:solidFill>
                <a:srgbClr val="AEABAB"/>
              </a:solidFill>
            </c:spPr>
            <c:extLst>
              <c:ext xmlns:c16="http://schemas.microsoft.com/office/drawing/2014/chart" uri="{C3380CC4-5D6E-409C-BE32-E72D297353CC}">
                <c16:uniqueId val="{00001301-7BE2-49F1-B47F-64DDA7BF3F9D}"/>
              </c:ext>
            </c:extLst>
          </c:dPt>
          <c:dPt>
            <c:idx val="2432"/>
            <c:invertIfNegative val="1"/>
            <c:bubble3D val="0"/>
            <c:spPr>
              <a:solidFill>
                <a:srgbClr val="AEABAB"/>
              </a:solidFill>
            </c:spPr>
            <c:extLst>
              <c:ext xmlns:c16="http://schemas.microsoft.com/office/drawing/2014/chart" uri="{C3380CC4-5D6E-409C-BE32-E72D297353CC}">
                <c16:uniqueId val="{00001303-7BE2-49F1-B47F-64DDA7BF3F9D}"/>
              </c:ext>
            </c:extLst>
          </c:dPt>
          <c:dPt>
            <c:idx val="2433"/>
            <c:invertIfNegative val="1"/>
            <c:bubble3D val="0"/>
            <c:spPr>
              <a:solidFill>
                <a:srgbClr val="AEABAB"/>
              </a:solidFill>
            </c:spPr>
            <c:extLst>
              <c:ext xmlns:c16="http://schemas.microsoft.com/office/drawing/2014/chart" uri="{C3380CC4-5D6E-409C-BE32-E72D297353CC}">
                <c16:uniqueId val="{00001305-7BE2-49F1-B47F-64DDA7BF3F9D}"/>
              </c:ext>
            </c:extLst>
          </c:dPt>
          <c:dPt>
            <c:idx val="2434"/>
            <c:invertIfNegative val="1"/>
            <c:bubble3D val="0"/>
            <c:spPr>
              <a:solidFill>
                <a:srgbClr val="AEABAB"/>
              </a:solidFill>
            </c:spPr>
            <c:extLst>
              <c:ext xmlns:c16="http://schemas.microsoft.com/office/drawing/2014/chart" uri="{C3380CC4-5D6E-409C-BE32-E72D297353CC}">
                <c16:uniqueId val="{00001307-7BE2-49F1-B47F-64DDA7BF3F9D}"/>
              </c:ext>
            </c:extLst>
          </c:dPt>
          <c:dPt>
            <c:idx val="2435"/>
            <c:invertIfNegative val="1"/>
            <c:bubble3D val="0"/>
            <c:spPr>
              <a:solidFill>
                <a:srgbClr val="AEABAB"/>
              </a:solidFill>
            </c:spPr>
            <c:extLst>
              <c:ext xmlns:c16="http://schemas.microsoft.com/office/drawing/2014/chart" uri="{C3380CC4-5D6E-409C-BE32-E72D297353CC}">
                <c16:uniqueId val="{00001309-7BE2-49F1-B47F-64DDA7BF3F9D}"/>
              </c:ext>
            </c:extLst>
          </c:dPt>
          <c:dPt>
            <c:idx val="2436"/>
            <c:invertIfNegative val="1"/>
            <c:bubble3D val="0"/>
            <c:spPr>
              <a:solidFill>
                <a:srgbClr val="AEABAB"/>
              </a:solidFill>
            </c:spPr>
            <c:extLst>
              <c:ext xmlns:c16="http://schemas.microsoft.com/office/drawing/2014/chart" uri="{C3380CC4-5D6E-409C-BE32-E72D297353CC}">
                <c16:uniqueId val="{0000130B-7BE2-49F1-B47F-64DDA7BF3F9D}"/>
              </c:ext>
            </c:extLst>
          </c:dPt>
          <c:dPt>
            <c:idx val="2437"/>
            <c:invertIfNegative val="1"/>
            <c:bubble3D val="0"/>
            <c:spPr>
              <a:solidFill>
                <a:srgbClr val="AEABAB"/>
              </a:solidFill>
            </c:spPr>
            <c:extLst>
              <c:ext xmlns:c16="http://schemas.microsoft.com/office/drawing/2014/chart" uri="{C3380CC4-5D6E-409C-BE32-E72D297353CC}">
                <c16:uniqueId val="{0000130D-7BE2-49F1-B47F-64DDA7BF3F9D}"/>
              </c:ext>
            </c:extLst>
          </c:dPt>
          <c:dPt>
            <c:idx val="2438"/>
            <c:invertIfNegative val="1"/>
            <c:bubble3D val="0"/>
            <c:spPr>
              <a:solidFill>
                <a:srgbClr val="AEABAB"/>
              </a:solidFill>
            </c:spPr>
            <c:extLst>
              <c:ext xmlns:c16="http://schemas.microsoft.com/office/drawing/2014/chart" uri="{C3380CC4-5D6E-409C-BE32-E72D297353CC}">
                <c16:uniqueId val="{0000130F-7BE2-49F1-B47F-64DDA7BF3F9D}"/>
              </c:ext>
            </c:extLst>
          </c:dPt>
          <c:dPt>
            <c:idx val="2439"/>
            <c:invertIfNegative val="1"/>
            <c:bubble3D val="0"/>
            <c:spPr>
              <a:solidFill>
                <a:srgbClr val="AEABAB"/>
              </a:solidFill>
            </c:spPr>
            <c:extLst>
              <c:ext xmlns:c16="http://schemas.microsoft.com/office/drawing/2014/chart" uri="{C3380CC4-5D6E-409C-BE32-E72D297353CC}">
                <c16:uniqueId val="{00001311-7BE2-49F1-B47F-64DDA7BF3F9D}"/>
              </c:ext>
            </c:extLst>
          </c:dPt>
          <c:dPt>
            <c:idx val="2440"/>
            <c:invertIfNegative val="1"/>
            <c:bubble3D val="0"/>
            <c:spPr>
              <a:solidFill>
                <a:srgbClr val="AEABAB"/>
              </a:solidFill>
            </c:spPr>
            <c:extLst>
              <c:ext xmlns:c16="http://schemas.microsoft.com/office/drawing/2014/chart" uri="{C3380CC4-5D6E-409C-BE32-E72D297353CC}">
                <c16:uniqueId val="{00001313-7BE2-49F1-B47F-64DDA7BF3F9D}"/>
              </c:ext>
            </c:extLst>
          </c:dPt>
          <c:dPt>
            <c:idx val="2441"/>
            <c:invertIfNegative val="1"/>
            <c:bubble3D val="0"/>
            <c:spPr>
              <a:solidFill>
                <a:srgbClr val="AEABAB"/>
              </a:solidFill>
            </c:spPr>
            <c:extLst>
              <c:ext xmlns:c16="http://schemas.microsoft.com/office/drawing/2014/chart" uri="{C3380CC4-5D6E-409C-BE32-E72D297353CC}">
                <c16:uniqueId val="{00001315-7BE2-49F1-B47F-64DDA7BF3F9D}"/>
              </c:ext>
            </c:extLst>
          </c:dPt>
          <c:dPt>
            <c:idx val="2442"/>
            <c:invertIfNegative val="1"/>
            <c:bubble3D val="0"/>
            <c:spPr>
              <a:solidFill>
                <a:srgbClr val="AEABAB"/>
              </a:solidFill>
            </c:spPr>
            <c:extLst>
              <c:ext xmlns:c16="http://schemas.microsoft.com/office/drawing/2014/chart" uri="{C3380CC4-5D6E-409C-BE32-E72D297353CC}">
                <c16:uniqueId val="{00001317-7BE2-49F1-B47F-64DDA7BF3F9D}"/>
              </c:ext>
            </c:extLst>
          </c:dPt>
          <c:dPt>
            <c:idx val="2443"/>
            <c:invertIfNegative val="1"/>
            <c:bubble3D val="0"/>
            <c:spPr>
              <a:solidFill>
                <a:srgbClr val="AEABAB"/>
              </a:solidFill>
            </c:spPr>
            <c:extLst>
              <c:ext xmlns:c16="http://schemas.microsoft.com/office/drawing/2014/chart" uri="{C3380CC4-5D6E-409C-BE32-E72D297353CC}">
                <c16:uniqueId val="{00001319-7BE2-49F1-B47F-64DDA7BF3F9D}"/>
              </c:ext>
            </c:extLst>
          </c:dPt>
          <c:dPt>
            <c:idx val="2444"/>
            <c:invertIfNegative val="1"/>
            <c:bubble3D val="0"/>
            <c:spPr>
              <a:solidFill>
                <a:srgbClr val="AEABAB"/>
              </a:solidFill>
            </c:spPr>
            <c:extLst>
              <c:ext xmlns:c16="http://schemas.microsoft.com/office/drawing/2014/chart" uri="{C3380CC4-5D6E-409C-BE32-E72D297353CC}">
                <c16:uniqueId val="{0000131B-7BE2-49F1-B47F-64DDA7BF3F9D}"/>
              </c:ext>
            </c:extLst>
          </c:dPt>
          <c:dPt>
            <c:idx val="2445"/>
            <c:invertIfNegative val="1"/>
            <c:bubble3D val="0"/>
            <c:spPr>
              <a:solidFill>
                <a:srgbClr val="AEABAB"/>
              </a:solidFill>
            </c:spPr>
            <c:extLst>
              <c:ext xmlns:c16="http://schemas.microsoft.com/office/drawing/2014/chart" uri="{C3380CC4-5D6E-409C-BE32-E72D297353CC}">
                <c16:uniqueId val="{0000131D-7BE2-49F1-B47F-64DDA7BF3F9D}"/>
              </c:ext>
            </c:extLst>
          </c:dPt>
          <c:dPt>
            <c:idx val="2446"/>
            <c:invertIfNegative val="1"/>
            <c:bubble3D val="0"/>
            <c:spPr>
              <a:solidFill>
                <a:srgbClr val="AEABAB"/>
              </a:solidFill>
            </c:spPr>
            <c:extLst>
              <c:ext xmlns:c16="http://schemas.microsoft.com/office/drawing/2014/chart" uri="{C3380CC4-5D6E-409C-BE32-E72D297353CC}">
                <c16:uniqueId val="{0000131F-7BE2-49F1-B47F-64DDA7BF3F9D}"/>
              </c:ext>
            </c:extLst>
          </c:dPt>
          <c:dPt>
            <c:idx val="2447"/>
            <c:invertIfNegative val="1"/>
            <c:bubble3D val="0"/>
            <c:spPr>
              <a:solidFill>
                <a:srgbClr val="AEABAB"/>
              </a:solidFill>
            </c:spPr>
            <c:extLst>
              <c:ext xmlns:c16="http://schemas.microsoft.com/office/drawing/2014/chart" uri="{C3380CC4-5D6E-409C-BE32-E72D297353CC}">
                <c16:uniqueId val="{00001321-7BE2-49F1-B47F-64DDA7BF3F9D}"/>
              </c:ext>
            </c:extLst>
          </c:dPt>
          <c:dPt>
            <c:idx val="2448"/>
            <c:invertIfNegative val="1"/>
            <c:bubble3D val="0"/>
            <c:spPr>
              <a:solidFill>
                <a:srgbClr val="AEABAB"/>
              </a:solidFill>
            </c:spPr>
            <c:extLst>
              <c:ext xmlns:c16="http://schemas.microsoft.com/office/drawing/2014/chart" uri="{C3380CC4-5D6E-409C-BE32-E72D297353CC}">
                <c16:uniqueId val="{00001323-7BE2-49F1-B47F-64DDA7BF3F9D}"/>
              </c:ext>
            </c:extLst>
          </c:dPt>
          <c:dPt>
            <c:idx val="2449"/>
            <c:invertIfNegative val="1"/>
            <c:bubble3D val="0"/>
            <c:spPr>
              <a:solidFill>
                <a:srgbClr val="AEABAB"/>
              </a:solidFill>
            </c:spPr>
            <c:extLst>
              <c:ext xmlns:c16="http://schemas.microsoft.com/office/drawing/2014/chart" uri="{C3380CC4-5D6E-409C-BE32-E72D297353CC}">
                <c16:uniqueId val="{00001325-7BE2-49F1-B47F-64DDA7BF3F9D}"/>
              </c:ext>
            </c:extLst>
          </c:dPt>
          <c:dPt>
            <c:idx val="2450"/>
            <c:invertIfNegative val="1"/>
            <c:bubble3D val="0"/>
            <c:spPr>
              <a:solidFill>
                <a:srgbClr val="AEABAB"/>
              </a:solidFill>
            </c:spPr>
            <c:extLst>
              <c:ext xmlns:c16="http://schemas.microsoft.com/office/drawing/2014/chart" uri="{C3380CC4-5D6E-409C-BE32-E72D297353CC}">
                <c16:uniqueId val="{00001327-7BE2-49F1-B47F-64DDA7BF3F9D}"/>
              </c:ext>
            </c:extLst>
          </c:dPt>
          <c:dPt>
            <c:idx val="2451"/>
            <c:invertIfNegative val="1"/>
            <c:bubble3D val="0"/>
            <c:spPr>
              <a:solidFill>
                <a:srgbClr val="AEABAB"/>
              </a:solidFill>
            </c:spPr>
            <c:extLst>
              <c:ext xmlns:c16="http://schemas.microsoft.com/office/drawing/2014/chart" uri="{C3380CC4-5D6E-409C-BE32-E72D297353CC}">
                <c16:uniqueId val="{00001329-7BE2-49F1-B47F-64DDA7BF3F9D}"/>
              </c:ext>
            </c:extLst>
          </c:dPt>
          <c:dPt>
            <c:idx val="2452"/>
            <c:invertIfNegative val="1"/>
            <c:bubble3D val="0"/>
            <c:spPr>
              <a:solidFill>
                <a:srgbClr val="AEABAB"/>
              </a:solidFill>
            </c:spPr>
            <c:extLst>
              <c:ext xmlns:c16="http://schemas.microsoft.com/office/drawing/2014/chart" uri="{C3380CC4-5D6E-409C-BE32-E72D297353CC}">
                <c16:uniqueId val="{0000132B-7BE2-49F1-B47F-64DDA7BF3F9D}"/>
              </c:ext>
            </c:extLst>
          </c:dPt>
          <c:dPt>
            <c:idx val="2453"/>
            <c:invertIfNegative val="1"/>
            <c:bubble3D val="0"/>
            <c:spPr>
              <a:solidFill>
                <a:srgbClr val="AEABAB"/>
              </a:solidFill>
            </c:spPr>
            <c:extLst>
              <c:ext xmlns:c16="http://schemas.microsoft.com/office/drawing/2014/chart" uri="{C3380CC4-5D6E-409C-BE32-E72D297353CC}">
                <c16:uniqueId val="{0000132D-7BE2-49F1-B47F-64DDA7BF3F9D}"/>
              </c:ext>
            </c:extLst>
          </c:dPt>
          <c:dPt>
            <c:idx val="2454"/>
            <c:invertIfNegative val="1"/>
            <c:bubble3D val="0"/>
            <c:spPr>
              <a:solidFill>
                <a:srgbClr val="AEABAB"/>
              </a:solidFill>
            </c:spPr>
            <c:extLst>
              <c:ext xmlns:c16="http://schemas.microsoft.com/office/drawing/2014/chart" uri="{C3380CC4-5D6E-409C-BE32-E72D297353CC}">
                <c16:uniqueId val="{0000132F-7BE2-49F1-B47F-64DDA7BF3F9D}"/>
              </c:ext>
            </c:extLst>
          </c:dPt>
          <c:dPt>
            <c:idx val="2455"/>
            <c:invertIfNegative val="1"/>
            <c:bubble3D val="0"/>
            <c:spPr>
              <a:solidFill>
                <a:srgbClr val="AEABAB"/>
              </a:solidFill>
            </c:spPr>
            <c:extLst>
              <c:ext xmlns:c16="http://schemas.microsoft.com/office/drawing/2014/chart" uri="{C3380CC4-5D6E-409C-BE32-E72D297353CC}">
                <c16:uniqueId val="{00001331-7BE2-49F1-B47F-64DDA7BF3F9D}"/>
              </c:ext>
            </c:extLst>
          </c:dPt>
          <c:dPt>
            <c:idx val="2456"/>
            <c:invertIfNegative val="1"/>
            <c:bubble3D val="0"/>
            <c:spPr>
              <a:solidFill>
                <a:srgbClr val="AEABAB"/>
              </a:solidFill>
            </c:spPr>
            <c:extLst>
              <c:ext xmlns:c16="http://schemas.microsoft.com/office/drawing/2014/chart" uri="{C3380CC4-5D6E-409C-BE32-E72D297353CC}">
                <c16:uniqueId val="{00001333-7BE2-49F1-B47F-64DDA7BF3F9D}"/>
              </c:ext>
            </c:extLst>
          </c:dPt>
          <c:dPt>
            <c:idx val="2457"/>
            <c:invertIfNegative val="1"/>
            <c:bubble3D val="0"/>
            <c:spPr>
              <a:solidFill>
                <a:srgbClr val="AEABAB"/>
              </a:solidFill>
            </c:spPr>
            <c:extLst>
              <c:ext xmlns:c16="http://schemas.microsoft.com/office/drawing/2014/chart" uri="{C3380CC4-5D6E-409C-BE32-E72D297353CC}">
                <c16:uniqueId val="{00001335-7BE2-49F1-B47F-64DDA7BF3F9D}"/>
              </c:ext>
            </c:extLst>
          </c:dPt>
          <c:dPt>
            <c:idx val="2458"/>
            <c:invertIfNegative val="1"/>
            <c:bubble3D val="0"/>
            <c:spPr>
              <a:solidFill>
                <a:srgbClr val="AEABAB"/>
              </a:solidFill>
            </c:spPr>
            <c:extLst>
              <c:ext xmlns:c16="http://schemas.microsoft.com/office/drawing/2014/chart" uri="{C3380CC4-5D6E-409C-BE32-E72D297353CC}">
                <c16:uniqueId val="{00001337-7BE2-49F1-B47F-64DDA7BF3F9D}"/>
              </c:ext>
            </c:extLst>
          </c:dPt>
          <c:dPt>
            <c:idx val="2459"/>
            <c:invertIfNegative val="1"/>
            <c:bubble3D val="0"/>
            <c:spPr>
              <a:solidFill>
                <a:srgbClr val="AEABAB"/>
              </a:solidFill>
            </c:spPr>
            <c:extLst>
              <c:ext xmlns:c16="http://schemas.microsoft.com/office/drawing/2014/chart" uri="{C3380CC4-5D6E-409C-BE32-E72D297353CC}">
                <c16:uniqueId val="{00001339-7BE2-49F1-B47F-64DDA7BF3F9D}"/>
              </c:ext>
            </c:extLst>
          </c:dPt>
          <c:dPt>
            <c:idx val="2460"/>
            <c:invertIfNegative val="1"/>
            <c:bubble3D val="0"/>
            <c:spPr>
              <a:solidFill>
                <a:srgbClr val="AEABAB"/>
              </a:solidFill>
            </c:spPr>
            <c:extLst>
              <c:ext xmlns:c16="http://schemas.microsoft.com/office/drawing/2014/chart" uri="{C3380CC4-5D6E-409C-BE32-E72D297353CC}">
                <c16:uniqueId val="{0000133B-7BE2-49F1-B47F-64DDA7BF3F9D}"/>
              </c:ext>
            </c:extLst>
          </c:dPt>
          <c:dPt>
            <c:idx val="2461"/>
            <c:invertIfNegative val="1"/>
            <c:bubble3D val="0"/>
            <c:spPr>
              <a:solidFill>
                <a:srgbClr val="AEABAB"/>
              </a:solidFill>
            </c:spPr>
            <c:extLst>
              <c:ext xmlns:c16="http://schemas.microsoft.com/office/drawing/2014/chart" uri="{C3380CC4-5D6E-409C-BE32-E72D297353CC}">
                <c16:uniqueId val="{0000133D-7BE2-49F1-B47F-64DDA7BF3F9D}"/>
              </c:ext>
            </c:extLst>
          </c:dPt>
          <c:dPt>
            <c:idx val="2462"/>
            <c:invertIfNegative val="1"/>
            <c:bubble3D val="0"/>
            <c:spPr>
              <a:solidFill>
                <a:srgbClr val="AEABAB"/>
              </a:solidFill>
            </c:spPr>
            <c:extLst>
              <c:ext xmlns:c16="http://schemas.microsoft.com/office/drawing/2014/chart" uri="{C3380CC4-5D6E-409C-BE32-E72D297353CC}">
                <c16:uniqueId val="{0000133F-7BE2-49F1-B47F-64DDA7BF3F9D}"/>
              </c:ext>
            </c:extLst>
          </c:dPt>
          <c:dPt>
            <c:idx val="2463"/>
            <c:invertIfNegative val="1"/>
            <c:bubble3D val="0"/>
            <c:spPr>
              <a:solidFill>
                <a:srgbClr val="AEABAB"/>
              </a:solidFill>
            </c:spPr>
            <c:extLst>
              <c:ext xmlns:c16="http://schemas.microsoft.com/office/drawing/2014/chart" uri="{C3380CC4-5D6E-409C-BE32-E72D297353CC}">
                <c16:uniqueId val="{00001341-7BE2-49F1-B47F-64DDA7BF3F9D}"/>
              </c:ext>
            </c:extLst>
          </c:dPt>
          <c:dPt>
            <c:idx val="2464"/>
            <c:invertIfNegative val="1"/>
            <c:bubble3D val="0"/>
            <c:spPr>
              <a:solidFill>
                <a:srgbClr val="AEABAB"/>
              </a:solidFill>
            </c:spPr>
            <c:extLst>
              <c:ext xmlns:c16="http://schemas.microsoft.com/office/drawing/2014/chart" uri="{C3380CC4-5D6E-409C-BE32-E72D297353CC}">
                <c16:uniqueId val="{00001343-7BE2-49F1-B47F-64DDA7BF3F9D}"/>
              </c:ext>
            </c:extLst>
          </c:dPt>
          <c:dPt>
            <c:idx val="2465"/>
            <c:invertIfNegative val="1"/>
            <c:bubble3D val="0"/>
            <c:spPr>
              <a:solidFill>
                <a:srgbClr val="AEABAB"/>
              </a:solidFill>
            </c:spPr>
            <c:extLst>
              <c:ext xmlns:c16="http://schemas.microsoft.com/office/drawing/2014/chart" uri="{C3380CC4-5D6E-409C-BE32-E72D297353CC}">
                <c16:uniqueId val="{00001345-7BE2-49F1-B47F-64DDA7BF3F9D}"/>
              </c:ext>
            </c:extLst>
          </c:dPt>
          <c:dPt>
            <c:idx val="2466"/>
            <c:invertIfNegative val="1"/>
            <c:bubble3D val="0"/>
            <c:spPr>
              <a:solidFill>
                <a:srgbClr val="AEABAB"/>
              </a:solidFill>
            </c:spPr>
            <c:extLst>
              <c:ext xmlns:c16="http://schemas.microsoft.com/office/drawing/2014/chart" uri="{C3380CC4-5D6E-409C-BE32-E72D297353CC}">
                <c16:uniqueId val="{00001347-7BE2-49F1-B47F-64DDA7BF3F9D}"/>
              </c:ext>
            </c:extLst>
          </c:dPt>
          <c:dPt>
            <c:idx val="2467"/>
            <c:invertIfNegative val="1"/>
            <c:bubble3D val="0"/>
            <c:spPr>
              <a:solidFill>
                <a:srgbClr val="AEABAB"/>
              </a:solidFill>
            </c:spPr>
            <c:extLst>
              <c:ext xmlns:c16="http://schemas.microsoft.com/office/drawing/2014/chart" uri="{C3380CC4-5D6E-409C-BE32-E72D297353CC}">
                <c16:uniqueId val="{00001349-7BE2-49F1-B47F-64DDA7BF3F9D}"/>
              </c:ext>
            </c:extLst>
          </c:dPt>
          <c:dPt>
            <c:idx val="2468"/>
            <c:invertIfNegative val="1"/>
            <c:bubble3D val="0"/>
            <c:spPr>
              <a:solidFill>
                <a:srgbClr val="AEABAB"/>
              </a:solidFill>
            </c:spPr>
            <c:extLst>
              <c:ext xmlns:c16="http://schemas.microsoft.com/office/drawing/2014/chart" uri="{C3380CC4-5D6E-409C-BE32-E72D297353CC}">
                <c16:uniqueId val="{0000134B-7BE2-49F1-B47F-64DDA7BF3F9D}"/>
              </c:ext>
            </c:extLst>
          </c:dPt>
          <c:dPt>
            <c:idx val="2469"/>
            <c:invertIfNegative val="1"/>
            <c:bubble3D val="0"/>
            <c:spPr>
              <a:solidFill>
                <a:srgbClr val="AEABAB"/>
              </a:solidFill>
            </c:spPr>
            <c:extLst>
              <c:ext xmlns:c16="http://schemas.microsoft.com/office/drawing/2014/chart" uri="{C3380CC4-5D6E-409C-BE32-E72D297353CC}">
                <c16:uniqueId val="{0000134D-7BE2-49F1-B47F-64DDA7BF3F9D}"/>
              </c:ext>
            </c:extLst>
          </c:dPt>
          <c:dPt>
            <c:idx val="2470"/>
            <c:invertIfNegative val="1"/>
            <c:bubble3D val="0"/>
            <c:spPr>
              <a:solidFill>
                <a:srgbClr val="AEABAB"/>
              </a:solidFill>
            </c:spPr>
            <c:extLst>
              <c:ext xmlns:c16="http://schemas.microsoft.com/office/drawing/2014/chart" uri="{C3380CC4-5D6E-409C-BE32-E72D297353CC}">
                <c16:uniqueId val="{0000134F-7BE2-49F1-B47F-64DDA7BF3F9D}"/>
              </c:ext>
            </c:extLst>
          </c:dPt>
          <c:dPt>
            <c:idx val="2471"/>
            <c:invertIfNegative val="1"/>
            <c:bubble3D val="0"/>
            <c:spPr>
              <a:solidFill>
                <a:srgbClr val="AEABAB"/>
              </a:solidFill>
            </c:spPr>
            <c:extLst>
              <c:ext xmlns:c16="http://schemas.microsoft.com/office/drawing/2014/chart" uri="{C3380CC4-5D6E-409C-BE32-E72D297353CC}">
                <c16:uniqueId val="{00001351-7BE2-49F1-B47F-64DDA7BF3F9D}"/>
              </c:ext>
            </c:extLst>
          </c:dPt>
          <c:dPt>
            <c:idx val="2472"/>
            <c:invertIfNegative val="1"/>
            <c:bubble3D val="0"/>
            <c:spPr>
              <a:solidFill>
                <a:srgbClr val="AEABAB"/>
              </a:solidFill>
            </c:spPr>
            <c:extLst>
              <c:ext xmlns:c16="http://schemas.microsoft.com/office/drawing/2014/chart" uri="{C3380CC4-5D6E-409C-BE32-E72D297353CC}">
                <c16:uniqueId val="{00001353-7BE2-49F1-B47F-64DDA7BF3F9D}"/>
              </c:ext>
            </c:extLst>
          </c:dPt>
          <c:dPt>
            <c:idx val="2473"/>
            <c:invertIfNegative val="1"/>
            <c:bubble3D val="0"/>
            <c:spPr>
              <a:solidFill>
                <a:srgbClr val="AEABAB"/>
              </a:solidFill>
            </c:spPr>
            <c:extLst>
              <c:ext xmlns:c16="http://schemas.microsoft.com/office/drawing/2014/chart" uri="{C3380CC4-5D6E-409C-BE32-E72D297353CC}">
                <c16:uniqueId val="{00001355-7BE2-49F1-B47F-64DDA7BF3F9D}"/>
              </c:ext>
            </c:extLst>
          </c:dPt>
          <c:dPt>
            <c:idx val="2474"/>
            <c:invertIfNegative val="1"/>
            <c:bubble3D val="0"/>
            <c:spPr>
              <a:solidFill>
                <a:srgbClr val="AEABAB"/>
              </a:solidFill>
            </c:spPr>
            <c:extLst>
              <c:ext xmlns:c16="http://schemas.microsoft.com/office/drawing/2014/chart" uri="{C3380CC4-5D6E-409C-BE32-E72D297353CC}">
                <c16:uniqueId val="{00001357-7BE2-49F1-B47F-64DDA7BF3F9D}"/>
              </c:ext>
            </c:extLst>
          </c:dPt>
          <c:dPt>
            <c:idx val="2475"/>
            <c:invertIfNegative val="1"/>
            <c:bubble3D val="0"/>
            <c:spPr>
              <a:solidFill>
                <a:srgbClr val="AEABAB"/>
              </a:solidFill>
            </c:spPr>
            <c:extLst>
              <c:ext xmlns:c16="http://schemas.microsoft.com/office/drawing/2014/chart" uri="{C3380CC4-5D6E-409C-BE32-E72D297353CC}">
                <c16:uniqueId val="{00001359-7BE2-49F1-B47F-64DDA7BF3F9D}"/>
              </c:ext>
            </c:extLst>
          </c:dPt>
          <c:dPt>
            <c:idx val="2476"/>
            <c:invertIfNegative val="1"/>
            <c:bubble3D val="0"/>
            <c:spPr>
              <a:solidFill>
                <a:srgbClr val="AEABAB"/>
              </a:solidFill>
            </c:spPr>
            <c:extLst>
              <c:ext xmlns:c16="http://schemas.microsoft.com/office/drawing/2014/chart" uri="{C3380CC4-5D6E-409C-BE32-E72D297353CC}">
                <c16:uniqueId val="{0000135B-7BE2-49F1-B47F-64DDA7BF3F9D}"/>
              </c:ext>
            </c:extLst>
          </c:dPt>
          <c:dPt>
            <c:idx val="2477"/>
            <c:invertIfNegative val="1"/>
            <c:bubble3D val="0"/>
            <c:spPr>
              <a:solidFill>
                <a:srgbClr val="AEABAB"/>
              </a:solidFill>
            </c:spPr>
            <c:extLst>
              <c:ext xmlns:c16="http://schemas.microsoft.com/office/drawing/2014/chart" uri="{C3380CC4-5D6E-409C-BE32-E72D297353CC}">
                <c16:uniqueId val="{0000135D-7BE2-49F1-B47F-64DDA7BF3F9D}"/>
              </c:ext>
            </c:extLst>
          </c:dPt>
          <c:dPt>
            <c:idx val="2478"/>
            <c:invertIfNegative val="1"/>
            <c:bubble3D val="0"/>
            <c:spPr>
              <a:solidFill>
                <a:srgbClr val="AEABAB"/>
              </a:solidFill>
            </c:spPr>
            <c:extLst>
              <c:ext xmlns:c16="http://schemas.microsoft.com/office/drawing/2014/chart" uri="{C3380CC4-5D6E-409C-BE32-E72D297353CC}">
                <c16:uniqueId val="{0000135F-7BE2-49F1-B47F-64DDA7BF3F9D}"/>
              </c:ext>
            </c:extLst>
          </c:dPt>
          <c:dPt>
            <c:idx val="2479"/>
            <c:invertIfNegative val="1"/>
            <c:bubble3D val="0"/>
            <c:spPr>
              <a:solidFill>
                <a:srgbClr val="AEABAB"/>
              </a:solidFill>
            </c:spPr>
            <c:extLst>
              <c:ext xmlns:c16="http://schemas.microsoft.com/office/drawing/2014/chart" uri="{C3380CC4-5D6E-409C-BE32-E72D297353CC}">
                <c16:uniqueId val="{00001361-7BE2-49F1-B47F-64DDA7BF3F9D}"/>
              </c:ext>
            </c:extLst>
          </c:dPt>
          <c:dPt>
            <c:idx val="2480"/>
            <c:invertIfNegative val="1"/>
            <c:bubble3D val="0"/>
            <c:spPr>
              <a:solidFill>
                <a:srgbClr val="AEABAB"/>
              </a:solidFill>
            </c:spPr>
            <c:extLst>
              <c:ext xmlns:c16="http://schemas.microsoft.com/office/drawing/2014/chart" uri="{C3380CC4-5D6E-409C-BE32-E72D297353CC}">
                <c16:uniqueId val="{00001363-7BE2-49F1-B47F-64DDA7BF3F9D}"/>
              </c:ext>
            </c:extLst>
          </c:dPt>
          <c:dPt>
            <c:idx val="2481"/>
            <c:invertIfNegative val="1"/>
            <c:bubble3D val="0"/>
            <c:spPr>
              <a:solidFill>
                <a:srgbClr val="AEABAB"/>
              </a:solidFill>
            </c:spPr>
            <c:extLst>
              <c:ext xmlns:c16="http://schemas.microsoft.com/office/drawing/2014/chart" uri="{C3380CC4-5D6E-409C-BE32-E72D297353CC}">
                <c16:uniqueId val="{00001365-7BE2-49F1-B47F-64DDA7BF3F9D}"/>
              </c:ext>
            </c:extLst>
          </c:dPt>
          <c:dPt>
            <c:idx val="2482"/>
            <c:invertIfNegative val="1"/>
            <c:bubble3D val="0"/>
            <c:spPr>
              <a:solidFill>
                <a:srgbClr val="AEABAB"/>
              </a:solidFill>
            </c:spPr>
            <c:extLst>
              <c:ext xmlns:c16="http://schemas.microsoft.com/office/drawing/2014/chart" uri="{C3380CC4-5D6E-409C-BE32-E72D297353CC}">
                <c16:uniqueId val="{00001367-7BE2-49F1-B47F-64DDA7BF3F9D}"/>
              </c:ext>
            </c:extLst>
          </c:dPt>
          <c:dPt>
            <c:idx val="2483"/>
            <c:invertIfNegative val="1"/>
            <c:bubble3D val="0"/>
            <c:spPr>
              <a:solidFill>
                <a:srgbClr val="AEABAB"/>
              </a:solidFill>
            </c:spPr>
            <c:extLst>
              <c:ext xmlns:c16="http://schemas.microsoft.com/office/drawing/2014/chart" uri="{C3380CC4-5D6E-409C-BE32-E72D297353CC}">
                <c16:uniqueId val="{00001369-7BE2-49F1-B47F-64DDA7BF3F9D}"/>
              </c:ext>
            </c:extLst>
          </c:dPt>
          <c:dPt>
            <c:idx val="2484"/>
            <c:invertIfNegative val="1"/>
            <c:bubble3D val="0"/>
            <c:spPr>
              <a:solidFill>
                <a:srgbClr val="AEABAB"/>
              </a:solidFill>
            </c:spPr>
            <c:extLst>
              <c:ext xmlns:c16="http://schemas.microsoft.com/office/drawing/2014/chart" uri="{C3380CC4-5D6E-409C-BE32-E72D297353CC}">
                <c16:uniqueId val="{0000136B-7BE2-49F1-B47F-64DDA7BF3F9D}"/>
              </c:ext>
            </c:extLst>
          </c:dPt>
          <c:dPt>
            <c:idx val="2485"/>
            <c:invertIfNegative val="1"/>
            <c:bubble3D val="0"/>
            <c:spPr>
              <a:solidFill>
                <a:srgbClr val="AEABAB"/>
              </a:solidFill>
            </c:spPr>
            <c:extLst>
              <c:ext xmlns:c16="http://schemas.microsoft.com/office/drawing/2014/chart" uri="{C3380CC4-5D6E-409C-BE32-E72D297353CC}">
                <c16:uniqueId val="{0000136D-7BE2-49F1-B47F-64DDA7BF3F9D}"/>
              </c:ext>
            </c:extLst>
          </c:dPt>
          <c:dPt>
            <c:idx val="2486"/>
            <c:invertIfNegative val="1"/>
            <c:bubble3D val="0"/>
            <c:spPr>
              <a:solidFill>
                <a:srgbClr val="AEABAB"/>
              </a:solidFill>
            </c:spPr>
            <c:extLst>
              <c:ext xmlns:c16="http://schemas.microsoft.com/office/drawing/2014/chart" uri="{C3380CC4-5D6E-409C-BE32-E72D297353CC}">
                <c16:uniqueId val="{0000136F-7BE2-49F1-B47F-64DDA7BF3F9D}"/>
              </c:ext>
            </c:extLst>
          </c:dPt>
          <c:dPt>
            <c:idx val="2487"/>
            <c:invertIfNegative val="1"/>
            <c:bubble3D val="0"/>
            <c:spPr>
              <a:solidFill>
                <a:srgbClr val="AEABAB"/>
              </a:solidFill>
            </c:spPr>
            <c:extLst>
              <c:ext xmlns:c16="http://schemas.microsoft.com/office/drawing/2014/chart" uri="{C3380CC4-5D6E-409C-BE32-E72D297353CC}">
                <c16:uniqueId val="{00001371-7BE2-49F1-B47F-64DDA7BF3F9D}"/>
              </c:ext>
            </c:extLst>
          </c:dPt>
          <c:dPt>
            <c:idx val="2488"/>
            <c:invertIfNegative val="1"/>
            <c:bubble3D val="0"/>
            <c:spPr>
              <a:solidFill>
                <a:srgbClr val="AEABAB"/>
              </a:solidFill>
            </c:spPr>
            <c:extLst>
              <c:ext xmlns:c16="http://schemas.microsoft.com/office/drawing/2014/chart" uri="{C3380CC4-5D6E-409C-BE32-E72D297353CC}">
                <c16:uniqueId val="{00001373-7BE2-49F1-B47F-64DDA7BF3F9D}"/>
              </c:ext>
            </c:extLst>
          </c:dPt>
          <c:dPt>
            <c:idx val="2489"/>
            <c:invertIfNegative val="1"/>
            <c:bubble3D val="0"/>
            <c:spPr>
              <a:solidFill>
                <a:srgbClr val="AEABAB"/>
              </a:solidFill>
            </c:spPr>
            <c:extLst>
              <c:ext xmlns:c16="http://schemas.microsoft.com/office/drawing/2014/chart" uri="{C3380CC4-5D6E-409C-BE32-E72D297353CC}">
                <c16:uniqueId val="{00001375-7BE2-49F1-B47F-64DDA7BF3F9D}"/>
              </c:ext>
            </c:extLst>
          </c:dPt>
          <c:dPt>
            <c:idx val="2490"/>
            <c:invertIfNegative val="1"/>
            <c:bubble3D val="0"/>
            <c:spPr>
              <a:solidFill>
                <a:srgbClr val="AEABAB"/>
              </a:solidFill>
            </c:spPr>
            <c:extLst>
              <c:ext xmlns:c16="http://schemas.microsoft.com/office/drawing/2014/chart" uri="{C3380CC4-5D6E-409C-BE32-E72D297353CC}">
                <c16:uniqueId val="{00001377-7BE2-49F1-B47F-64DDA7BF3F9D}"/>
              </c:ext>
            </c:extLst>
          </c:dPt>
          <c:dPt>
            <c:idx val="2491"/>
            <c:invertIfNegative val="1"/>
            <c:bubble3D val="0"/>
            <c:spPr>
              <a:solidFill>
                <a:srgbClr val="AEABAB"/>
              </a:solidFill>
            </c:spPr>
            <c:extLst>
              <c:ext xmlns:c16="http://schemas.microsoft.com/office/drawing/2014/chart" uri="{C3380CC4-5D6E-409C-BE32-E72D297353CC}">
                <c16:uniqueId val="{00001379-7BE2-49F1-B47F-64DDA7BF3F9D}"/>
              </c:ext>
            </c:extLst>
          </c:dPt>
          <c:dPt>
            <c:idx val="2492"/>
            <c:invertIfNegative val="1"/>
            <c:bubble3D val="0"/>
            <c:spPr>
              <a:solidFill>
                <a:srgbClr val="AEABAB"/>
              </a:solidFill>
            </c:spPr>
            <c:extLst>
              <c:ext xmlns:c16="http://schemas.microsoft.com/office/drawing/2014/chart" uri="{C3380CC4-5D6E-409C-BE32-E72D297353CC}">
                <c16:uniqueId val="{0000137B-7BE2-49F1-B47F-64DDA7BF3F9D}"/>
              </c:ext>
            </c:extLst>
          </c:dPt>
          <c:dPt>
            <c:idx val="2493"/>
            <c:invertIfNegative val="1"/>
            <c:bubble3D val="0"/>
            <c:spPr>
              <a:solidFill>
                <a:srgbClr val="AEABAB"/>
              </a:solidFill>
            </c:spPr>
            <c:extLst>
              <c:ext xmlns:c16="http://schemas.microsoft.com/office/drawing/2014/chart" uri="{C3380CC4-5D6E-409C-BE32-E72D297353CC}">
                <c16:uniqueId val="{0000137D-7BE2-49F1-B47F-64DDA7BF3F9D}"/>
              </c:ext>
            </c:extLst>
          </c:dPt>
          <c:dPt>
            <c:idx val="2494"/>
            <c:invertIfNegative val="1"/>
            <c:bubble3D val="0"/>
            <c:spPr>
              <a:solidFill>
                <a:srgbClr val="AEABAB"/>
              </a:solidFill>
            </c:spPr>
            <c:extLst>
              <c:ext xmlns:c16="http://schemas.microsoft.com/office/drawing/2014/chart" uri="{C3380CC4-5D6E-409C-BE32-E72D297353CC}">
                <c16:uniqueId val="{0000137F-7BE2-49F1-B47F-64DDA7BF3F9D}"/>
              </c:ext>
            </c:extLst>
          </c:dPt>
          <c:dPt>
            <c:idx val="2495"/>
            <c:invertIfNegative val="1"/>
            <c:bubble3D val="0"/>
            <c:spPr>
              <a:solidFill>
                <a:srgbClr val="AEABAB"/>
              </a:solidFill>
            </c:spPr>
            <c:extLst>
              <c:ext xmlns:c16="http://schemas.microsoft.com/office/drawing/2014/chart" uri="{C3380CC4-5D6E-409C-BE32-E72D297353CC}">
                <c16:uniqueId val="{00001381-7BE2-49F1-B47F-64DDA7BF3F9D}"/>
              </c:ext>
            </c:extLst>
          </c:dPt>
          <c:dPt>
            <c:idx val="2496"/>
            <c:invertIfNegative val="1"/>
            <c:bubble3D val="0"/>
            <c:spPr>
              <a:solidFill>
                <a:srgbClr val="AEABAB"/>
              </a:solidFill>
            </c:spPr>
            <c:extLst>
              <c:ext xmlns:c16="http://schemas.microsoft.com/office/drawing/2014/chart" uri="{C3380CC4-5D6E-409C-BE32-E72D297353CC}">
                <c16:uniqueId val="{00001383-7BE2-49F1-B47F-64DDA7BF3F9D}"/>
              </c:ext>
            </c:extLst>
          </c:dPt>
          <c:dPt>
            <c:idx val="2497"/>
            <c:invertIfNegative val="1"/>
            <c:bubble3D val="0"/>
            <c:spPr>
              <a:solidFill>
                <a:srgbClr val="AEABAB"/>
              </a:solidFill>
            </c:spPr>
            <c:extLst>
              <c:ext xmlns:c16="http://schemas.microsoft.com/office/drawing/2014/chart" uri="{C3380CC4-5D6E-409C-BE32-E72D297353CC}">
                <c16:uniqueId val="{00001385-7BE2-49F1-B47F-64DDA7BF3F9D}"/>
              </c:ext>
            </c:extLst>
          </c:dPt>
          <c:dPt>
            <c:idx val="2498"/>
            <c:invertIfNegative val="1"/>
            <c:bubble3D val="0"/>
            <c:spPr>
              <a:solidFill>
                <a:srgbClr val="AEABAB"/>
              </a:solidFill>
            </c:spPr>
            <c:extLst>
              <c:ext xmlns:c16="http://schemas.microsoft.com/office/drawing/2014/chart" uri="{C3380CC4-5D6E-409C-BE32-E72D297353CC}">
                <c16:uniqueId val="{00001387-7BE2-49F1-B47F-64DDA7BF3F9D}"/>
              </c:ext>
            </c:extLst>
          </c:dPt>
          <c:dPt>
            <c:idx val="2499"/>
            <c:invertIfNegative val="1"/>
            <c:bubble3D val="0"/>
            <c:spPr>
              <a:solidFill>
                <a:srgbClr val="AEABAB"/>
              </a:solidFill>
            </c:spPr>
            <c:extLst>
              <c:ext xmlns:c16="http://schemas.microsoft.com/office/drawing/2014/chart" uri="{C3380CC4-5D6E-409C-BE32-E72D297353CC}">
                <c16:uniqueId val="{00001389-7BE2-49F1-B47F-64DDA7BF3F9D}"/>
              </c:ext>
            </c:extLst>
          </c:dPt>
          <c:dPt>
            <c:idx val="2500"/>
            <c:invertIfNegative val="1"/>
            <c:bubble3D val="0"/>
            <c:spPr>
              <a:solidFill>
                <a:srgbClr val="AEABAB"/>
              </a:solidFill>
            </c:spPr>
            <c:extLst>
              <c:ext xmlns:c16="http://schemas.microsoft.com/office/drawing/2014/chart" uri="{C3380CC4-5D6E-409C-BE32-E72D297353CC}">
                <c16:uniqueId val="{0000138B-7BE2-49F1-B47F-64DDA7BF3F9D}"/>
              </c:ext>
            </c:extLst>
          </c:dPt>
          <c:dPt>
            <c:idx val="2501"/>
            <c:invertIfNegative val="1"/>
            <c:bubble3D val="0"/>
            <c:spPr>
              <a:solidFill>
                <a:srgbClr val="AEABAB"/>
              </a:solidFill>
            </c:spPr>
            <c:extLst>
              <c:ext xmlns:c16="http://schemas.microsoft.com/office/drawing/2014/chart" uri="{C3380CC4-5D6E-409C-BE32-E72D297353CC}">
                <c16:uniqueId val="{0000138D-7BE2-49F1-B47F-64DDA7BF3F9D}"/>
              </c:ext>
            </c:extLst>
          </c:dPt>
          <c:dPt>
            <c:idx val="2502"/>
            <c:invertIfNegative val="1"/>
            <c:bubble3D val="0"/>
            <c:spPr>
              <a:solidFill>
                <a:srgbClr val="AEABAB"/>
              </a:solidFill>
            </c:spPr>
            <c:extLst>
              <c:ext xmlns:c16="http://schemas.microsoft.com/office/drawing/2014/chart" uri="{C3380CC4-5D6E-409C-BE32-E72D297353CC}">
                <c16:uniqueId val="{0000138F-7BE2-49F1-B47F-64DDA7BF3F9D}"/>
              </c:ext>
            </c:extLst>
          </c:dPt>
          <c:dPt>
            <c:idx val="2503"/>
            <c:invertIfNegative val="1"/>
            <c:bubble3D val="0"/>
            <c:spPr>
              <a:solidFill>
                <a:srgbClr val="AEABAB"/>
              </a:solidFill>
            </c:spPr>
            <c:extLst>
              <c:ext xmlns:c16="http://schemas.microsoft.com/office/drawing/2014/chart" uri="{C3380CC4-5D6E-409C-BE32-E72D297353CC}">
                <c16:uniqueId val="{00001391-7BE2-49F1-B47F-64DDA7BF3F9D}"/>
              </c:ext>
            </c:extLst>
          </c:dPt>
          <c:dPt>
            <c:idx val="2504"/>
            <c:invertIfNegative val="1"/>
            <c:bubble3D val="0"/>
            <c:spPr>
              <a:solidFill>
                <a:srgbClr val="AEABAB"/>
              </a:solidFill>
            </c:spPr>
            <c:extLst>
              <c:ext xmlns:c16="http://schemas.microsoft.com/office/drawing/2014/chart" uri="{C3380CC4-5D6E-409C-BE32-E72D297353CC}">
                <c16:uniqueId val="{00001393-7BE2-49F1-B47F-64DDA7BF3F9D}"/>
              </c:ext>
            </c:extLst>
          </c:dPt>
          <c:dPt>
            <c:idx val="2505"/>
            <c:invertIfNegative val="1"/>
            <c:bubble3D val="0"/>
            <c:spPr>
              <a:solidFill>
                <a:srgbClr val="AEABAB"/>
              </a:solidFill>
            </c:spPr>
            <c:extLst>
              <c:ext xmlns:c16="http://schemas.microsoft.com/office/drawing/2014/chart" uri="{C3380CC4-5D6E-409C-BE32-E72D297353CC}">
                <c16:uniqueId val="{00001395-7BE2-49F1-B47F-64DDA7BF3F9D}"/>
              </c:ext>
            </c:extLst>
          </c:dPt>
          <c:dPt>
            <c:idx val="2506"/>
            <c:invertIfNegative val="1"/>
            <c:bubble3D val="0"/>
            <c:spPr>
              <a:solidFill>
                <a:srgbClr val="AEABAB"/>
              </a:solidFill>
            </c:spPr>
            <c:extLst>
              <c:ext xmlns:c16="http://schemas.microsoft.com/office/drawing/2014/chart" uri="{C3380CC4-5D6E-409C-BE32-E72D297353CC}">
                <c16:uniqueId val="{00001397-7BE2-49F1-B47F-64DDA7BF3F9D}"/>
              </c:ext>
            </c:extLst>
          </c:dPt>
          <c:dPt>
            <c:idx val="2507"/>
            <c:invertIfNegative val="1"/>
            <c:bubble3D val="0"/>
            <c:spPr>
              <a:solidFill>
                <a:srgbClr val="AEABAB"/>
              </a:solidFill>
            </c:spPr>
            <c:extLst>
              <c:ext xmlns:c16="http://schemas.microsoft.com/office/drawing/2014/chart" uri="{C3380CC4-5D6E-409C-BE32-E72D297353CC}">
                <c16:uniqueId val="{00001399-7BE2-49F1-B47F-64DDA7BF3F9D}"/>
              </c:ext>
            </c:extLst>
          </c:dPt>
          <c:dPt>
            <c:idx val="2508"/>
            <c:invertIfNegative val="1"/>
            <c:bubble3D val="0"/>
            <c:spPr>
              <a:solidFill>
                <a:srgbClr val="AEABAB"/>
              </a:solidFill>
            </c:spPr>
            <c:extLst>
              <c:ext xmlns:c16="http://schemas.microsoft.com/office/drawing/2014/chart" uri="{C3380CC4-5D6E-409C-BE32-E72D297353CC}">
                <c16:uniqueId val="{0000139B-7BE2-49F1-B47F-64DDA7BF3F9D}"/>
              </c:ext>
            </c:extLst>
          </c:dPt>
          <c:dPt>
            <c:idx val="2509"/>
            <c:invertIfNegative val="1"/>
            <c:bubble3D val="0"/>
            <c:spPr>
              <a:solidFill>
                <a:srgbClr val="AEABAB"/>
              </a:solidFill>
            </c:spPr>
            <c:extLst>
              <c:ext xmlns:c16="http://schemas.microsoft.com/office/drawing/2014/chart" uri="{C3380CC4-5D6E-409C-BE32-E72D297353CC}">
                <c16:uniqueId val="{0000139D-7BE2-49F1-B47F-64DDA7BF3F9D}"/>
              </c:ext>
            </c:extLst>
          </c:dPt>
          <c:dPt>
            <c:idx val="2510"/>
            <c:invertIfNegative val="1"/>
            <c:bubble3D val="0"/>
            <c:spPr>
              <a:solidFill>
                <a:srgbClr val="AEABAB"/>
              </a:solidFill>
            </c:spPr>
            <c:extLst>
              <c:ext xmlns:c16="http://schemas.microsoft.com/office/drawing/2014/chart" uri="{C3380CC4-5D6E-409C-BE32-E72D297353CC}">
                <c16:uniqueId val="{0000139F-7BE2-49F1-B47F-64DDA7BF3F9D}"/>
              </c:ext>
            </c:extLst>
          </c:dPt>
          <c:dPt>
            <c:idx val="2511"/>
            <c:invertIfNegative val="1"/>
            <c:bubble3D val="0"/>
            <c:spPr>
              <a:solidFill>
                <a:srgbClr val="AEABAB"/>
              </a:solidFill>
            </c:spPr>
            <c:extLst>
              <c:ext xmlns:c16="http://schemas.microsoft.com/office/drawing/2014/chart" uri="{C3380CC4-5D6E-409C-BE32-E72D297353CC}">
                <c16:uniqueId val="{000013A1-7BE2-49F1-B47F-64DDA7BF3F9D}"/>
              </c:ext>
            </c:extLst>
          </c:dPt>
          <c:dPt>
            <c:idx val="2512"/>
            <c:invertIfNegative val="1"/>
            <c:bubble3D val="0"/>
            <c:spPr>
              <a:solidFill>
                <a:srgbClr val="AEABAB"/>
              </a:solidFill>
            </c:spPr>
            <c:extLst>
              <c:ext xmlns:c16="http://schemas.microsoft.com/office/drawing/2014/chart" uri="{C3380CC4-5D6E-409C-BE32-E72D297353CC}">
                <c16:uniqueId val="{000013A3-7BE2-49F1-B47F-64DDA7BF3F9D}"/>
              </c:ext>
            </c:extLst>
          </c:dPt>
          <c:dPt>
            <c:idx val="2513"/>
            <c:invertIfNegative val="1"/>
            <c:bubble3D val="0"/>
            <c:spPr>
              <a:solidFill>
                <a:srgbClr val="AEABAB"/>
              </a:solidFill>
            </c:spPr>
            <c:extLst>
              <c:ext xmlns:c16="http://schemas.microsoft.com/office/drawing/2014/chart" uri="{C3380CC4-5D6E-409C-BE32-E72D297353CC}">
                <c16:uniqueId val="{000013A5-7BE2-49F1-B47F-64DDA7BF3F9D}"/>
              </c:ext>
            </c:extLst>
          </c:dPt>
          <c:dPt>
            <c:idx val="2514"/>
            <c:invertIfNegative val="1"/>
            <c:bubble3D val="0"/>
            <c:spPr>
              <a:solidFill>
                <a:srgbClr val="AEABAB"/>
              </a:solidFill>
            </c:spPr>
            <c:extLst>
              <c:ext xmlns:c16="http://schemas.microsoft.com/office/drawing/2014/chart" uri="{C3380CC4-5D6E-409C-BE32-E72D297353CC}">
                <c16:uniqueId val="{000013A7-7BE2-49F1-B47F-64DDA7BF3F9D}"/>
              </c:ext>
            </c:extLst>
          </c:dPt>
          <c:dPt>
            <c:idx val="2515"/>
            <c:invertIfNegative val="1"/>
            <c:bubble3D val="0"/>
            <c:spPr>
              <a:solidFill>
                <a:srgbClr val="AEABAB"/>
              </a:solidFill>
            </c:spPr>
            <c:extLst>
              <c:ext xmlns:c16="http://schemas.microsoft.com/office/drawing/2014/chart" uri="{C3380CC4-5D6E-409C-BE32-E72D297353CC}">
                <c16:uniqueId val="{000013A9-7BE2-49F1-B47F-64DDA7BF3F9D}"/>
              </c:ext>
            </c:extLst>
          </c:dPt>
          <c:dPt>
            <c:idx val="2516"/>
            <c:invertIfNegative val="1"/>
            <c:bubble3D val="0"/>
            <c:spPr>
              <a:solidFill>
                <a:srgbClr val="AEABAB"/>
              </a:solidFill>
            </c:spPr>
            <c:extLst>
              <c:ext xmlns:c16="http://schemas.microsoft.com/office/drawing/2014/chart" uri="{C3380CC4-5D6E-409C-BE32-E72D297353CC}">
                <c16:uniqueId val="{000013AB-7BE2-49F1-B47F-64DDA7BF3F9D}"/>
              </c:ext>
            </c:extLst>
          </c:dPt>
          <c:dPt>
            <c:idx val="2517"/>
            <c:invertIfNegative val="1"/>
            <c:bubble3D val="0"/>
            <c:spPr>
              <a:solidFill>
                <a:srgbClr val="AEABAB"/>
              </a:solidFill>
            </c:spPr>
            <c:extLst>
              <c:ext xmlns:c16="http://schemas.microsoft.com/office/drawing/2014/chart" uri="{C3380CC4-5D6E-409C-BE32-E72D297353CC}">
                <c16:uniqueId val="{000013AD-7BE2-49F1-B47F-64DDA7BF3F9D}"/>
              </c:ext>
            </c:extLst>
          </c:dPt>
          <c:dPt>
            <c:idx val="2518"/>
            <c:invertIfNegative val="1"/>
            <c:bubble3D val="0"/>
            <c:spPr>
              <a:solidFill>
                <a:srgbClr val="AEABAB"/>
              </a:solidFill>
            </c:spPr>
            <c:extLst>
              <c:ext xmlns:c16="http://schemas.microsoft.com/office/drawing/2014/chart" uri="{C3380CC4-5D6E-409C-BE32-E72D297353CC}">
                <c16:uniqueId val="{000013AF-7BE2-49F1-B47F-64DDA7BF3F9D}"/>
              </c:ext>
            </c:extLst>
          </c:dPt>
          <c:dPt>
            <c:idx val="2519"/>
            <c:invertIfNegative val="1"/>
            <c:bubble3D val="0"/>
            <c:spPr>
              <a:solidFill>
                <a:srgbClr val="AEABAB"/>
              </a:solidFill>
            </c:spPr>
            <c:extLst>
              <c:ext xmlns:c16="http://schemas.microsoft.com/office/drawing/2014/chart" uri="{C3380CC4-5D6E-409C-BE32-E72D297353CC}">
                <c16:uniqueId val="{000013B1-7BE2-49F1-B47F-64DDA7BF3F9D}"/>
              </c:ext>
            </c:extLst>
          </c:dPt>
          <c:dPt>
            <c:idx val="2520"/>
            <c:invertIfNegative val="1"/>
            <c:bubble3D val="0"/>
            <c:spPr>
              <a:solidFill>
                <a:srgbClr val="AEABAB"/>
              </a:solidFill>
            </c:spPr>
            <c:extLst>
              <c:ext xmlns:c16="http://schemas.microsoft.com/office/drawing/2014/chart" uri="{C3380CC4-5D6E-409C-BE32-E72D297353CC}">
                <c16:uniqueId val="{000013B3-7BE2-49F1-B47F-64DDA7BF3F9D}"/>
              </c:ext>
            </c:extLst>
          </c:dPt>
          <c:dPt>
            <c:idx val="2521"/>
            <c:invertIfNegative val="1"/>
            <c:bubble3D val="0"/>
            <c:spPr>
              <a:solidFill>
                <a:srgbClr val="AEABAB"/>
              </a:solidFill>
            </c:spPr>
            <c:extLst>
              <c:ext xmlns:c16="http://schemas.microsoft.com/office/drawing/2014/chart" uri="{C3380CC4-5D6E-409C-BE32-E72D297353CC}">
                <c16:uniqueId val="{000013B5-7BE2-49F1-B47F-64DDA7BF3F9D}"/>
              </c:ext>
            </c:extLst>
          </c:dPt>
          <c:dPt>
            <c:idx val="2522"/>
            <c:invertIfNegative val="1"/>
            <c:bubble3D val="0"/>
            <c:spPr>
              <a:solidFill>
                <a:srgbClr val="AEABAB"/>
              </a:solidFill>
            </c:spPr>
            <c:extLst>
              <c:ext xmlns:c16="http://schemas.microsoft.com/office/drawing/2014/chart" uri="{C3380CC4-5D6E-409C-BE32-E72D297353CC}">
                <c16:uniqueId val="{000013B7-7BE2-49F1-B47F-64DDA7BF3F9D}"/>
              </c:ext>
            </c:extLst>
          </c:dPt>
          <c:dPt>
            <c:idx val="2523"/>
            <c:invertIfNegative val="1"/>
            <c:bubble3D val="0"/>
            <c:spPr>
              <a:solidFill>
                <a:srgbClr val="AEABAB"/>
              </a:solidFill>
            </c:spPr>
            <c:extLst>
              <c:ext xmlns:c16="http://schemas.microsoft.com/office/drawing/2014/chart" uri="{C3380CC4-5D6E-409C-BE32-E72D297353CC}">
                <c16:uniqueId val="{000013B9-7BE2-49F1-B47F-64DDA7BF3F9D}"/>
              </c:ext>
            </c:extLst>
          </c:dPt>
          <c:dPt>
            <c:idx val="2524"/>
            <c:invertIfNegative val="1"/>
            <c:bubble3D val="0"/>
            <c:spPr>
              <a:solidFill>
                <a:srgbClr val="AEABAB"/>
              </a:solidFill>
            </c:spPr>
            <c:extLst>
              <c:ext xmlns:c16="http://schemas.microsoft.com/office/drawing/2014/chart" uri="{C3380CC4-5D6E-409C-BE32-E72D297353CC}">
                <c16:uniqueId val="{000013BB-7BE2-49F1-B47F-64DDA7BF3F9D}"/>
              </c:ext>
            </c:extLst>
          </c:dPt>
          <c:dPt>
            <c:idx val="2525"/>
            <c:invertIfNegative val="1"/>
            <c:bubble3D val="0"/>
            <c:spPr>
              <a:solidFill>
                <a:srgbClr val="AEABAB"/>
              </a:solidFill>
            </c:spPr>
            <c:extLst>
              <c:ext xmlns:c16="http://schemas.microsoft.com/office/drawing/2014/chart" uri="{C3380CC4-5D6E-409C-BE32-E72D297353CC}">
                <c16:uniqueId val="{000013BD-7BE2-49F1-B47F-64DDA7BF3F9D}"/>
              </c:ext>
            </c:extLst>
          </c:dPt>
          <c:dPt>
            <c:idx val="2526"/>
            <c:invertIfNegative val="1"/>
            <c:bubble3D val="0"/>
            <c:spPr>
              <a:solidFill>
                <a:srgbClr val="AEABAB"/>
              </a:solidFill>
            </c:spPr>
            <c:extLst>
              <c:ext xmlns:c16="http://schemas.microsoft.com/office/drawing/2014/chart" uri="{C3380CC4-5D6E-409C-BE32-E72D297353CC}">
                <c16:uniqueId val="{000013BF-7BE2-49F1-B47F-64DDA7BF3F9D}"/>
              </c:ext>
            </c:extLst>
          </c:dPt>
          <c:dPt>
            <c:idx val="2527"/>
            <c:invertIfNegative val="1"/>
            <c:bubble3D val="0"/>
            <c:spPr>
              <a:solidFill>
                <a:srgbClr val="AEABAB"/>
              </a:solidFill>
            </c:spPr>
            <c:extLst>
              <c:ext xmlns:c16="http://schemas.microsoft.com/office/drawing/2014/chart" uri="{C3380CC4-5D6E-409C-BE32-E72D297353CC}">
                <c16:uniqueId val="{000013C1-7BE2-49F1-B47F-64DDA7BF3F9D}"/>
              </c:ext>
            </c:extLst>
          </c:dPt>
          <c:dPt>
            <c:idx val="2528"/>
            <c:invertIfNegative val="1"/>
            <c:bubble3D val="0"/>
            <c:spPr>
              <a:solidFill>
                <a:srgbClr val="AEABAB"/>
              </a:solidFill>
            </c:spPr>
            <c:extLst>
              <c:ext xmlns:c16="http://schemas.microsoft.com/office/drawing/2014/chart" uri="{C3380CC4-5D6E-409C-BE32-E72D297353CC}">
                <c16:uniqueId val="{000013C3-7BE2-49F1-B47F-64DDA7BF3F9D}"/>
              </c:ext>
            </c:extLst>
          </c:dPt>
          <c:dPt>
            <c:idx val="2529"/>
            <c:invertIfNegative val="1"/>
            <c:bubble3D val="0"/>
            <c:spPr>
              <a:solidFill>
                <a:srgbClr val="AEABAB"/>
              </a:solidFill>
            </c:spPr>
            <c:extLst>
              <c:ext xmlns:c16="http://schemas.microsoft.com/office/drawing/2014/chart" uri="{C3380CC4-5D6E-409C-BE32-E72D297353CC}">
                <c16:uniqueId val="{000013C5-7BE2-49F1-B47F-64DDA7BF3F9D}"/>
              </c:ext>
            </c:extLst>
          </c:dPt>
          <c:dPt>
            <c:idx val="2530"/>
            <c:invertIfNegative val="1"/>
            <c:bubble3D val="0"/>
            <c:spPr>
              <a:solidFill>
                <a:srgbClr val="AEABAB"/>
              </a:solidFill>
            </c:spPr>
            <c:extLst>
              <c:ext xmlns:c16="http://schemas.microsoft.com/office/drawing/2014/chart" uri="{C3380CC4-5D6E-409C-BE32-E72D297353CC}">
                <c16:uniqueId val="{000013C7-7BE2-49F1-B47F-64DDA7BF3F9D}"/>
              </c:ext>
            </c:extLst>
          </c:dPt>
          <c:dPt>
            <c:idx val="2531"/>
            <c:invertIfNegative val="1"/>
            <c:bubble3D val="0"/>
            <c:spPr>
              <a:solidFill>
                <a:srgbClr val="AEABAB"/>
              </a:solidFill>
            </c:spPr>
            <c:extLst>
              <c:ext xmlns:c16="http://schemas.microsoft.com/office/drawing/2014/chart" uri="{C3380CC4-5D6E-409C-BE32-E72D297353CC}">
                <c16:uniqueId val="{000013C9-7BE2-49F1-B47F-64DDA7BF3F9D}"/>
              </c:ext>
            </c:extLst>
          </c:dPt>
          <c:dPt>
            <c:idx val="2532"/>
            <c:invertIfNegative val="1"/>
            <c:bubble3D val="0"/>
            <c:spPr>
              <a:solidFill>
                <a:srgbClr val="AEABAB"/>
              </a:solidFill>
            </c:spPr>
            <c:extLst>
              <c:ext xmlns:c16="http://schemas.microsoft.com/office/drawing/2014/chart" uri="{C3380CC4-5D6E-409C-BE32-E72D297353CC}">
                <c16:uniqueId val="{000013CB-7BE2-49F1-B47F-64DDA7BF3F9D}"/>
              </c:ext>
            </c:extLst>
          </c:dPt>
          <c:dPt>
            <c:idx val="2533"/>
            <c:invertIfNegative val="1"/>
            <c:bubble3D val="0"/>
            <c:spPr>
              <a:solidFill>
                <a:srgbClr val="AEABAB"/>
              </a:solidFill>
            </c:spPr>
            <c:extLst>
              <c:ext xmlns:c16="http://schemas.microsoft.com/office/drawing/2014/chart" uri="{C3380CC4-5D6E-409C-BE32-E72D297353CC}">
                <c16:uniqueId val="{000013CD-7BE2-49F1-B47F-64DDA7BF3F9D}"/>
              </c:ext>
            </c:extLst>
          </c:dPt>
          <c:dPt>
            <c:idx val="2534"/>
            <c:invertIfNegative val="1"/>
            <c:bubble3D val="0"/>
            <c:spPr>
              <a:solidFill>
                <a:srgbClr val="AEABAB"/>
              </a:solidFill>
            </c:spPr>
            <c:extLst>
              <c:ext xmlns:c16="http://schemas.microsoft.com/office/drawing/2014/chart" uri="{C3380CC4-5D6E-409C-BE32-E72D297353CC}">
                <c16:uniqueId val="{000013CF-7BE2-49F1-B47F-64DDA7BF3F9D}"/>
              </c:ext>
            </c:extLst>
          </c:dPt>
          <c:dPt>
            <c:idx val="2535"/>
            <c:invertIfNegative val="1"/>
            <c:bubble3D val="0"/>
            <c:spPr>
              <a:solidFill>
                <a:srgbClr val="AEABAB"/>
              </a:solidFill>
            </c:spPr>
            <c:extLst>
              <c:ext xmlns:c16="http://schemas.microsoft.com/office/drawing/2014/chart" uri="{C3380CC4-5D6E-409C-BE32-E72D297353CC}">
                <c16:uniqueId val="{000013D1-7BE2-49F1-B47F-64DDA7BF3F9D}"/>
              </c:ext>
            </c:extLst>
          </c:dPt>
          <c:dPt>
            <c:idx val="2536"/>
            <c:invertIfNegative val="1"/>
            <c:bubble3D val="0"/>
            <c:spPr>
              <a:solidFill>
                <a:srgbClr val="AEABAB"/>
              </a:solidFill>
            </c:spPr>
            <c:extLst>
              <c:ext xmlns:c16="http://schemas.microsoft.com/office/drawing/2014/chart" uri="{C3380CC4-5D6E-409C-BE32-E72D297353CC}">
                <c16:uniqueId val="{000013D3-7BE2-49F1-B47F-64DDA7BF3F9D}"/>
              </c:ext>
            </c:extLst>
          </c:dPt>
          <c:dPt>
            <c:idx val="2537"/>
            <c:invertIfNegative val="1"/>
            <c:bubble3D val="0"/>
            <c:spPr>
              <a:solidFill>
                <a:srgbClr val="AEABAB"/>
              </a:solidFill>
            </c:spPr>
            <c:extLst>
              <c:ext xmlns:c16="http://schemas.microsoft.com/office/drawing/2014/chart" uri="{C3380CC4-5D6E-409C-BE32-E72D297353CC}">
                <c16:uniqueId val="{000013D5-7BE2-49F1-B47F-64DDA7BF3F9D}"/>
              </c:ext>
            </c:extLst>
          </c:dPt>
          <c:dPt>
            <c:idx val="2538"/>
            <c:invertIfNegative val="1"/>
            <c:bubble3D val="0"/>
            <c:spPr>
              <a:solidFill>
                <a:srgbClr val="AEABAB"/>
              </a:solidFill>
            </c:spPr>
            <c:extLst>
              <c:ext xmlns:c16="http://schemas.microsoft.com/office/drawing/2014/chart" uri="{C3380CC4-5D6E-409C-BE32-E72D297353CC}">
                <c16:uniqueId val="{000013D7-7BE2-49F1-B47F-64DDA7BF3F9D}"/>
              </c:ext>
            </c:extLst>
          </c:dPt>
          <c:dPt>
            <c:idx val="2539"/>
            <c:invertIfNegative val="1"/>
            <c:bubble3D val="0"/>
            <c:spPr>
              <a:solidFill>
                <a:srgbClr val="AEABAB"/>
              </a:solidFill>
            </c:spPr>
            <c:extLst>
              <c:ext xmlns:c16="http://schemas.microsoft.com/office/drawing/2014/chart" uri="{C3380CC4-5D6E-409C-BE32-E72D297353CC}">
                <c16:uniqueId val="{000013D9-7BE2-49F1-B47F-64DDA7BF3F9D}"/>
              </c:ext>
            </c:extLst>
          </c:dPt>
          <c:dPt>
            <c:idx val="2540"/>
            <c:invertIfNegative val="1"/>
            <c:bubble3D val="0"/>
            <c:spPr>
              <a:solidFill>
                <a:srgbClr val="AEABAB"/>
              </a:solidFill>
            </c:spPr>
            <c:extLst>
              <c:ext xmlns:c16="http://schemas.microsoft.com/office/drawing/2014/chart" uri="{C3380CC4-5D6E-409C-BE32-E72D297353CC}">
                <c16:uniqueId val="{000013DB-7BE2-49F1-B47F-64DDA7BF3F9D}"/>
              </c:ext>
            </c:extLst>
          </c:dPt>
          <c:dPt>
            <c:idx val="2541"/>
            <c:invertIfNegative val="1"/>
            <c:bubble3D val="0"/>
            <c:spPr>
              <a:solidFill>
                <a:srgbClr val="AEABAB"/>
              </a:solidFill>
            </c:spPr>
            <c:extLst>
              <c:ext xmlns:c16="http://schemas.microsoft.com/office/drawing/2014/chart" uri="{C3380CC4-5D6E-409C-BE32-E72D297353CC}">
                <c16:uniqueId val="{000013DD-7BE2-49F1-B47F-64DDA7BF3F9D}"/>
              </c:ext>
            </c:extLst>
          </c:dPt>
          <c:dPt>
            <c:idx val="2542"/>
            <c:invertIfNegative val="1"/>
            <c:bubble3D val="0"/>
            <c:spPr>
              <a:solidFill>
                <a:srgbClr val="AEABAB"/>
              </a:solidFill>
            </c:spPr>
            <c:extLst>
              <c:ext xmlns:c16="http://schemas.microsoft.com/office/drawing/2014/chart" uri="{C3380CC4-5D6E-409C-BE32-E72D297353CC}">
                <c16:uniqueId val="{000013DF-7BE2-49F1-B47F-64DDA7BF3F9D}"/>
              </c:ext>
            </c:extLst>
          </c:dPt>
          <c:dPt>
            <c:idx val="2543"/>
            <c:invertIfNegative val="1"/>
            <c:bubble3D val="0"/>
            <c:spPr>
              <a:solidFill>
                <a:srgbClr val="AEABAB"/>
              </a:solidFill>
            </c:spPr>
            <c:extLst>
              <c:ext xmlns:c16="http://schemas.microsoft.com/office/drawing/2014/chart" uri="{C3380CC4-5D6E-409C-BE32-E72D297353CC}">
                <c16:uniqueId val="{000013E1-7BE2-49F1-B47F-64DDA7BF3F9D}"/>
              </c:ext>
            </c:extLst>
          </c:dPt>
          <c:dPt>
            <c:idx val="2544"/>
            <c:invertIfNegative val="1"/>
            <c:bubble3D val="0"/>
            <c:spPr>
              <a:solidFill>
                <a:srgbClr val="AEABAB"/>
              </a:solidFill>
            </c:spPr>
            <c:extLst>
              <c:ext xmlns:c16="http://schemas.microsoft.com/office/drawing/2014/chart" uri="{C3380CC4-5D6E-409C-BE32-E72D297353CC}">
                <c16:uniqueId val="{000013E3-7BE2-49F1-B47F-64DDA7BF3F9D}"/>
              </c:ext>
            </c:extLst>
          </c:dPt>
          <c:dPt>
            <c:idx val="2545"/>
            <c:invertIfNegative val="1"/>
            <c:bubble3D val="0"/>
            <c:spPr>
              <a:solidFill>
                <a:srgbClr val="AEABAB"/>
              </a:solidFill>
            </c:spPr>
            <c:extLst>
              <c:ext xmlns:c16="http://schemas.microsoft.com/office/drawing/2014/chart" uri="{C3380CC4-5D6E-409C-BE32-E72D297353CC}">
                <c16:uniqueId val="{000013E5-7BE2-49F1-B47F-64DDA7BF3F9D}"/>
              </c:ext>
            </c:extLst>
          </c:dPt>
          <c:dPt>
            <c:idx val="2546"/>
            <c:invertIfNegative val="1"/>
            <c:bubble3D val="0"/>
            <c:spPr>
              <a:solidFill>
                <a:srgbClr val="AEABAB"/>
              </a:solidFill>
            </c:spPr>
            <c:extLst>
              <c:ext xmlns:c16="http://schemas.microsoft.com/office/drawing/2014/chart" uri="{C3380CC4-5D6E-409C-BE32-E72D297353CC}">
                <c16:uniqueId val="{000013E7-7BE2-49F1-B47F-64DDA7BF3F9D}"/>
              </c:ext>
            </c:extLst>
          </c:dPt>
          <c:dPt>
            <c:idx val="2547"/>
            <c:invertIfNegative val="1"/>
            <c:bubble3D val="0"/>
            <c:spPr>
              <a:solidFill>
                <a:srgbClr val="AEABAB"/>
              </a:solidFill>
            </c:spPr>
            <c:extLst>
              <c:ext xmlns:c16="http://schemas.microsoft.com/office/drawing/2014/chart" uri="{C3380CC4-5D6E-409C-BE32-E72D297353CC}">
                <c16:uniqueId val="{000013E9-7BE2-49F1-B47F-64DDA7BF3F9D}"/>
              </c:ext>
            </c:extLst>
          </c:dPt>
          <c:dPt>
            <c:idx val="2548"/>
            <c:invertIfNegative val="1"/>
            <c:bubble3D val="0"/>
            <c:spPr>
              <a:solidFill>
                <a:srgbClr val="AEABAB"/>
              </a:solidFill>
            </c:spPr>
            <c:extLst>
              <c:ext xmlns:c16="http://schemas.microsoft.com/office/drawing/2014/chart" uri="{C3380CC4-5D6E-409C-BE32-E72D297353CC}">
                <c16:uniqueId val="{000013EB-7BE2-49F1-B47F-64DDA7BF3F9D}"/>
              </c:ext>
            </c:extLst>
          </c:dPt>
          <c:dPt>
            <c:idx val="2549"/>
            <c:invertIfNegative val="1"/>
            <c:bubble3D val="0"/>
            <c:spPr>
              <a:solidFill>
                <a:srgbClr val="AEABAB"/>
              </a:solidFill>
            </c:spPr>
            <c:extLst>
              <c:ext xmlns:c16="http://schemas.microsoft.com/office/drawing/2014/chart" uri="{C3380CC4-5D6E-409C-BE32-E72D297353CC}">
                <c16:uniqueId val="{000013ED-7BE2-49F1-B47F-64DDA7BF3F9D}"/>
              </c:ext>
            </c:extLst>
          </c:dPt>
          <c:dPt>
            <c:idx val="2550"/>
            <c:invertIfNegative val="1"/>
            <c:bubble3D val="0"/>
            <c:spPr>
              <a:solidFill>
                <a:srgbClr val="AEABAB"/>
              </a:solidFill>
            </c:spPr>
            <c:extLst>
              <c:ext xmlns:c16="http://schemas.microsoft.com/office/drawing/2014/chart" uri="{C3380CC4-5D6E-409C-BE32-E72D297353CC}">
                <c16:uniqueId val="{000013EF-7BE2-49F1-B47F-64DDA7BF3F9D}"/>
              </c:ext>
            </c:extLst>
          </c:dPt>
          <c:dPt>
            <c:idx val="2551"/>
            <c:invertIfNegative val="1"/>
            <c:bubble3D val="0"/>
            <c:spPr>
              <a:solidFill>
                <a:srgbClr val="AEABAB"/>
              </a:solidFill>
            </c:spPr>
            <c:extLst>
              <c:ext xmlns:c16="http://schemas.microsoft.com/office/drawing/2014/chart" uri="{C3380CC4-5D6E-409C-BE32-E72D297353CC}">
                <c16:uniqueId val="{000013F1-7BE2-49F1-B47F-64DDA7BF3F9D}"/>
              </c:ext>
            </c:extLst>
          </c:dPt>
          <c:dPt>
            <c:idx val="2552"/>
            <c:invertIfNegative val="1"/>
            <c:bubble3D val="0"/>
            <c:spPr>
              <a:solidFill>
                <a:srgbClr val="AEABAB"/>
              </a:solidFill>
            </c:spPr>
            <c:extLst>
              <c:ext xmlns:c16="http://schemas.microsoft.com/office/drawing/2014/chart" uri="{C3380CC4-5D6E-409C-BE32-E72D297353CC}">
                <c16:uniqueId val="{000013F3-7BE2-49F1-B47F-64DDA7BF3F9D}"/>
              </c:ext>
            </c:extLst>
          </c:dPt>
          <c:dPt>
            <c:idx val="2553"/>
            <c:invertIfNegative val="1"/>
            <c:bubble3D val="0"/>
            <c:spPr>
              <a:solidFill>
                <a:srgbClr val="AEABAB"/>
              </a:solidFill>
            </c:spPr>
            <c:extLst>
              <c:ext xmlns:c16="http://schemas.microsoft.com/office/drawing/2014/chart" uri="{C3380CC4-5D6E-409C-BE32-E72D297353CC}">
                <c16:uniqueId val="{000013F5-7BE2-49F1-B47F-64DDA7BF3F9D}"/>
              </c:ext>
            </c:extLst>
          </c:dPt>
          <c:dPt>
            <c:idx val="2554"/>
            <c:invertIfNegative val="1"/>
            <c:bubble3D val="0"/>
            <c:spPr>
              <a:solidFill>
                <a:srgbClr val="AEABAB"/>
              </a:solidFill>
            </c:spPr>
            <c:extLst>
              <c:ext xmlns:c16="http://schemas.microsoft.com/office/drawing/2014/chart" uri="{C3380CC4-5D6E-409C-BE32-E72D297353CC}">
                <c16:uniqueId val="{000013F7-7BE2-49F1-B47F-64DDA7BF3F9D}"/>
              </c:ext>
            </c:extLst>
          </c:dPt>
          <c:dPt>
            <c:idx val="2555"/>
            <c:invertIfNegative val="1"/>
            <c:bubble3D val="0"/>
            <c:spPr>
              <a:solidFill>
                <a:srgbClr val="AEABAB"/>
              </a:solidFill>
            </c:spPr>
            <c:extLst>
              <c:ext xmlns:c16="http://schemas.microsoft.com/office/drawing/2014/chart" uri="{C3380CC4-5D6E-409C-BE32-E72D297353CC}">
                <c16:uniqueId val="{000013F9-7BE2-49F1-B47F-64DDA7BF3F9D}"/>
              </c:ext>
            </c:extLst>
          </c:dPt>
          <c:dPt>
            <c:idx val="2556"/>
            <c:invertIfNegative val="1"/>
            <c:bubble3D val="0"/>
            <c:spPr>
              <a:solidFill>
                <a:srgbClr val="AEABAB"/>
              </a:solidFill>
            </c:spPr>
            <c:extLst>
              <c:ext xmlns:c16="http://schemas.microsoft.com/office/drawing/2014/chart" uri="{C3380CC4-5D6E-409C-BE32-E72D297353CC}">
                <c16:uniqueId val="{000013FB-7BE2-49F1-B47F-64DDA7BF3F9D}"/>
              </c:ext>
            </c:extLst>
          </c:dPt>
          <c:dPt>
            <c:idx val="2557"/>
            <c:invertIfNegative val="1"/>
            <c:bubble3D val="0"/>
            <c:spPr>
              <a:solidFill>
                <a:srgbClr val="AEABAB"/>
              </a:solidFill>
            </c:spPr>
            <c:extLst>
              <c:ext xmlns:c16="http://schemas.microsoft.com/office/drawing/2014/chart" uri="{C3380CC4-5D6E-409C-BE32-E72D297353CC}">
                <c16:uniqueId val="{000013FD-7BE2-49F1-B47F-64DDA7BF3F9D}"/>
              </c:ext>
            </c:extLst>
          </c:dPt>
          <c:dPt>
            <c:idx val="2558"/>
            <c:invertIfNegative val="1"/>
            <c:bubble3D val="0"/>
            <c:spPr>
              <a:solidFill>
                <a:srgbClr val="AEABAB"/>
              </a:solidFill>
            </c:spPr>
            <c:extLst>
              <c:ext xmlns:c16="http://schemas.microsoft.com/office/drawing/2014/chart" uri="{C3380CC4-5D6E-409C-BE32-E72D297353CC}">
                <c16:uniqueId val="{000013FF-7BE2-49F1-B47F-64DDA7BF3F9D}"/>
              </c:ext>
            </c:extLst>
          </c:dPt>
          <c:dPt>
            <c:idx val="2559"/>
            <c:invertIfNegative val="1"/>
            <c:bubble3D val="0"/>
            <c:spPr>
              <a:solidFill>
                <a:srgbClr val="AEABAB"/>
              </a:solidFill>
            </c:spPr>
            <c:extLst>
              <c:ext xmlns:c16="http://schemas.microsoft.com/office/drawing/2014/chart" uri="{C3380CC4-5D6E-409C-BE32-E72D297353CC}">
                <c16:uniqueId val="{00001401-7BE2-49F1-B47F-64DDA7BF3F9D}"/>
              </c:ext>
            </c:extLst>
          </c:dPt>
          <c:dPt>
            <c:idx val="2560"/>
            <c:invertIfNegative val="1"/>
            <c:bubble3D val="0"/>
            <c:spPr>
              <a:solidFill>
                <a:srgbClr val="AEABAB"/>
              </a:solidFill>
            </c:spPr>
            <c:extLst>
              <c:ext xmlns:c16="http://schemas.microsoft.com/office/drawing/2014/chart" uri="{C3380CC4-5D6E-409C-BE32-E72D297353CC}">
                <c16:uniqueId val="{00001403-7BE2-49F1-B47F-64DDA7BF3F9D}"/>
              </c:ext>
            </c:extLst>
          </c:dPt>
          <c:dPt>
            <c:idx val="2561"/>
            <c:invertIfNegative val="1"/>
            <c:bubble3D val="0"/>
            <c:spPr>
              <a:solidFill>
                <a:srgbClr val="AEABAB"/>
              </a:solidFill>
            </c:spPr>
            <c:extLst>
              <c:ext xmlns:c16="http://schemas.microsoft.com/office/drawing/2014/chart" uri="{C3380CC4-5D6E-409C-BE32-E72D297353CC}">
                <c16:uniqueId val="{00001405-7BE2-49F1-B47F-64DDA7BF3F9D}"/>
              </c:ext>
            </c:extLst>
          </c:dPt>
          <c:dPt>
            <c:idx val="2562"/>
            <c:invertIfNegative val="1"/>
            <c:bubble3D val="0"/>
            <c:spPr>
              <a:solidFill>
                <a:srgbClr val="AEABAB"/>
              </a:solidFill>
            </c:spPr>
            <c:extLst>
              <c:ext xmlns:c16="http://schemas.microsoft.com/office/drawing/2014/chart" uri="{C3380CC4-5D6E-409C-BE32-E72D297353CC}">
                <c16:uniqueId val="{00001407-7BE2-49F1-B47F-64DDA7BF3F9D}"/>
              </c:ext>
            </c:extLst>
          </c:dPt>
          <c:dPt>
            <c:idx val="2563"/>
            <c:invertIfNegative val="1"/>
            <c:bubble3D val="0"/>
            <c:spPr>
              <a:solidFill>
                <a:srgbClr val="AEABAB"/>
              </a:solidFill>
            </c:spPr>
            <c:extLst>
              <c:ext xmlns:c16="http://schemas.microsoft.com/office/drawing/2014/chart" uri="{C3380CC4-5D6E-409C-BE32-E72D297353CC}">
                <c16:uniqueId val="{00001409-7BE2-49F1-B47F-64DDA7BF3F9D}"/>
              </c:ext>
            </c:extLst>
          </c:dPt>
          <c:dPt>
            <c:idx val="2564"/>
            <c:invertIfNegative val="1"/>
            <c:bubble3D val="0"/>
            <c:spPr>
              <a:solidFill>
                <a:srgbClr val="AEABAB"/>
              </a:solidFill>
            </c:spPr>
            <c:extLst>
              <c:ext xmlns:c16="http://schemas.microsoft.com/office/drawing/2014/chart" uri="{C3380CC4-5D6E-409C-BE32-E72D297353CC}">
                <c16:uniqueId val="{0000140B-7BE2-49F1-B47F-64DDA7BF3F9D}"/>
              </c:ext>
            </c:extLst>
          </c:dPt>
          <c:dPt>
            <c:idx val="2565"/>
            <c:invertIfNegative val="1"/>
            <c:bubble3D val="0"/>
            <c:spPr>
              <a:solidFill>
                <a:srgbClr val="AEABAB"/>
              </a:solidFill>
            </c:spPr>
            <c:extLst>
              <c:ext xmlns:c16="http://schemas.microsoft.com/office/drawing/2014/chart" uri="{C3380CC4-5D6E-409C-BE32-E72D297353CC}">
                <c16:uniqueId val="{0000140D-7BE2-49F1-B47F-64DDA7BF3F9D}"/>
              </c:ext>
            </c:extLst>
          </c:dPt>
          <c:dPt>
            <c:idx val="2566"/>
            <c:invertIfNegative val="1"/>
            <c:bubble3D val="0"/>
            <c:spPr>
              <a:solidFill>
                <a:srgbClr val="AEABAB"/>
              </a:solidFill>
            </c:spPr>
            <c:extLst>
              <c:ext xmlns:c16="http://schemas.microsoft.com/office/drawing/2014/chart" uri="{C3380CC4-5D6E-409C-BE32-E72D297353CC}">
                <c16:uniqueId val="{0000140F-7BE2-49F1-B47F-64DDA7BF3F9D}"/>
              </c:ext>
            </c:extLst>
          </c:dPt>
          <c:dPt>
            <c:idx val="2567"/>
            <c:invertIfNegative val="1"/>
            <c:bubble3D val="0"/>
            <c:spPr>
              <a:solidFill>
                <a:srgbClr val="AEABAB"/>
              </a:solidFill>
            </c:spPr>
            <c:extLst>
              <c:ext xmlns:c16="http://schemas.microsoft.com/office/drawing/2014/chart" uri="{C3380CC4-5D6E-409C-BE32-E72D297353CC}">
                <c16:uniqueId val="{00001411-7BE2-49F1-B47F-64DDA7BF3F9D}"/>
              </c:ext>
            </c:extLst>
          </c:dPt>
          <c:dPt>
            <c:idx val="2568"/>
            <c:invertIfNegative val="1"/>
            <c:bubble3D val="0"/>
            <c:spPr>
              <a:solidFill>
                <a:srgbClr val="AEABAB"/>
              </a:solidFill>
            </c:spPr>
            <c:extLst>
              <c:ext xmlns:c16="http://schemas.microsoft.com/office/drawing/2014/chart" uri="{C3380CC4-5D6E-409C-BE32-E72D297353CC}">
                <c16:uniqueId val="{00001413-7BE2-49F1-B47F-64DDA7BF3F9D}"/>
              </c:ext>
            </c:extLst>
          </c:dPt>
          <c:dPt>
            <c:idx val="2569"/>
            <c:invertIfNegative val="1"/>
            <c:bubble3D val="0"/>
            <c:spPr>
              <a:solidFill>
                <a:srgbClr val="AEABAB"/>
              </a:solidFill>
            </c:spPr>
            <c:extLst>
              <c:ext xmlns:c16="http://schemas.microsoft.com/office/drawing/2014/chart" uri="{C3380CC4-5D6E-409C-BE32-E72D297353CC}">
                <c16:uniqueId val="{00001415-7BE2-49F1-B47F-64DDA7BF3F9D}"/>
              </c:ext>
            </c:extLst>
          </c:dPt>
          <c:dPt>
            <c:idx val="2570"/>
            <c:invertIfNegative val="1"/>
            <c:bubble3D val="0"/>
            <c:spPr>
              <a:solidFill>
                <a:srgbClr val="AEABAB"/>
              </a:solidFill>
            </c:spPr>
            <c:extLst>
              <c:ext xmlns:c16="http://schemas.microsoft.com/office/drawing/2014/chart" uri="{C3380CC4-5D6E-409C-BE32-E72D297353CC}">
                <c16:uniqueId val="{00001417-7BE2-49F1-B47F-64DDA7BF3F9D}"/>
              </c:ext>
            </c:extLst>
          </c:dPt>
          <c:dPt>
            <c:idx val="2571"/>
            <c:invertIfNegative val="1"/>
            <c:bubble3D val="0"/>
            <c:spPr>
              <a:solidFill>
                <a:srgbClr val="AEABAB"/>
              </a:solidFill>
            </c:spPr>
            <c:extLst>
              <c:ext xmlns:c16="http://schemas.microsoft.com/office/drawing/2014/chart" uri="{C3380CC4-5D6E-409C-BE32-E72D297353CC}">
                <c16:uniqueId val="{00001419-7BE2-49F1-B47F-64DDA7BF3F9D}"/>
              </c:ext>
            </c:extLst>
          </c:dPt>
          <c:dPt>
            <c:idx val="2572"/>
            <c:invertIfNegative val="1"/>
            <c:bubble3D val="0"/>
            <c:spPr>
              <a:solidFill>
                <a:srgbClr val="AEABAB"/>
              </a:solidFill>
            </c:spPr>
            <c:extLst>
              <c:ext xmlns:c16="http://schemas.microsoft.com/office/drawing/2014/chart" uri="{C3380CC4-5D6E-409C-BE32-E72D297353CC}">
                <c16:uniqueId val="{0000141B-7BE2-49F1-B47F-64DDA7BF3F9D}"/>
              </c:ext>
            </c:extLst>
          </c:dPt>
          <c:dPt>
            <c:idx val="2573"/>
            <c:invertIfNegative val="1"/>
            <c:bubble3D val="0"/>
            <c:spPr>
              <a:solidFill>
                <a:srgbClr val="AEABAB"/>
              </a:solidFill>
            </c:spPr>
            <c:extLst>
              <c:ext xmlns:c16="http://schemas.microsoft.com/office/drawing/2014/chart" uri="{C3380CC4-5D6E-409C-BE32-E72D297353CC}">
                <c16:uniqueId val="{0000141D-7BE2-49F1-B47F-64DDA7BF3F9D}"/>
              </c:ext>
            </c:extLst>
          </c:dPt>
          <c:dPt>
            <c:idx val="2574"/>
            <c:invertIfNegative val="1"/>
            <c:bubble3D val="0"/>
            <c:spPr>
              <a:solidFill>
                <a:srgbClr val="AEABAB"/>
              </a:solidFill>
            </c:spPr>
            <c:extLst>
              <c:ext xmlns:c16="http://schemas.microsoft.com/office/drawing/2014/chart" uri="{C3380CC4-5D6E-409C-BE32-E72D297353CC}">
                <c16:uniqueId val="{0000141F-7BE2-49F1-B47F-64DDA7BF3F9D}"/>
              </c:ext>
            </c:extLst>
          </c:dPt>
          <c:dPt>
            <c:idx val="2575"/>
            <c:invertIfNegative val="1"/>
            <c:bubble3D val="0"/>
            <c:spPr>
              <a:solidFill>
                <a:srgbClr val="AEABAB"/>
              </a:solidFill>
            </c:spPr>
            <c:extLst>
              <c:ext xmlns:c16="http://schemas.microsoft.com/office/drawing/2014/chart" uri="{C3380CC4-5D6E-409C-BE32-E72D297353CC}">
                <c16:uniqueId val="{00001421-7BE2-49F1-B47F-64DDA7BF3F9D}"/>
              </c:ext>
            </c:extLst>
          </c:dPt>
          <c:dPt>
            <c:idx val="2576"/>
            <c:invertIfNegative val="1"/>
            <c:bubble3D val="0"/>
            <c:spPr>
              <a:solidFill>
                <a:srgbClr val="AEABAB"/>
              </a:solidFill>
            </c:spPr>
            <c:extLst>
              <c:ext xmlns:c16="http://schemas.microsoft.com/office/drawing/2014/chart" uri="{C3380CC4-5D6E-409C-BE32-E72D297353CC}">
                <c16:uniqueId val="{00001423-7BE2-49F1-B47F-64DDA7BF3F9D}"/>
              </c:ext>
            </c:extLst>
          </c:dPt>
          <c:dPt>
            <c:idx val="2577"/>
            <c:invertIfNegative val="1"/>
            <c:bubble3D val="0"/>
            <c:spPr>
              <a:solidFill>
                <a:srgbClr val="AEABAB"/>
              </a:solidFill>
            </c:spPr>
            <c:extLst>
              <c:ext xmlns:c16="http://schemas.microsoft.com/office/drawing/2014/chart" uri="{C3380CC4-5D6E-409C-BE32-E72D297353CC}">
                <c16:uniqueId val="{00001425-7BE2-49F1-B47F-64DDA7BF3F9D}"/>
              </c:ext>
            </c:extLst>
          </c:dPt>
          <c:dPt>
            <c:idx val="2578"/>
            <c:invertIfNegative val="1"/>
            <c:bubble3D val="0"/>
            <c:spPr>
              <a:solidFill>
                <a:srgbClr val="AEABAB"/>
              </a:solidFill>
            </c:spPr>
            <c:extLst>
              <c:ext xmlns:c16="http://schemas.microsoft.com/office/drawing/2014/chart" uri="{C3380CC4-5D6E-409C-BE32-E72D297353CC}">
                <c16:uniqueId val="{00001427-7BE2-49F1-B47F-64DDA7BF3F9D}"/>
              </c:ext>
            </c:extLst>
          </c:dPt>
          <c:dPt>
            <c:idx val="2579"/>
            <c:invertIfNegative val="1"/>
            <c:bubble3D val="0"/>
            <c:spPr>
              <a:solidFill>
                <a:srgbClr val="AEABAB"/>
              </a:solidFill>
            </c:spPr>
            <c:extLst>
              <c:ext xmlns:c16="http://schemas.microsoft.com/office/drawing/2014/chart" uri="{C3380CC4-5D6E-409C-BE32-E72D297353CC}">
                <c16:uniqueId val="{00001429-7BE2-49F1-B47F-64DDA7BF3F9D}"/>
              </c:ext>
            </c:extLst>
          </c:dPt>
          <c:dPt>
            <c:idx val="2580"/>
            <c:invertIfNegative val="1"/>
            <c:bubble3D val="0"/>
            <c:spPr>
              <a:solidFill>
                <a:srgbClr val="AEABAB"/>
              </a:solidFill>
            </c:spPr>
            <c:extLst>
              <c:ext xmlns:c16="http://schemas.microsoft.com/office/drawing/2014/chart" uri="{C3380CC4-5D6E-409C-BE32-E72D297353CC}">
                <c16:uniqueId val="{0000142B-7BE2-49F1-B47F-64DDA7BF3F9D}"/>
              </c:ext>
            </c:extLst>
          </c:dPt>
          <c:dPt>
            <c:idx val="2581"/>
            <c:invertIfNegative val="1"/>
            <c:bubble3D val="0"/>
            <c:spPr>
              <a:solidFill>
                <a:srgbClr val="AEABAB"/>
              </a:solidFill>
            </c:spPr>
            <c:extLst>
              <c:ext xmlns:c16="http://schemas.microsoft.com/office/drawing/2014/chart" uri="{C3380CC4-5D6E-409C-BE32-E72D297353CC}">
                <c16:uniqueId val="{0000142D-7BE2-49F1-B47F-64DDA7BF3F9D}"/>
              </c:ext>
            </c:extLst>
          </c:dPt>
          <c:dPt>
            <c:idx val="2582"/>
            <c:invertIfNegative val="1"/>
            <c:bubble3D val="0"/>
            <c:spPr>
              <a:solidFill>
                <a:srgbClr val="AEABAB"/>
              </a:solidFill>
            </c:spPr>
            <c:extLst>
              <c:ext xmlns:c16="http://schemas.microsoft.com/office/drawing/2014/chart" uri="{C3380CC4-5D6E-409C-BE32-E72D297353CC}">
                <c16:uniqueId val="{0000142F-7BE2-49F1-B47F-64DDA7BF3F9D}"/>
              </c:ext>
            </c:extLst>
          </c:dPt>
          <c:dPt>
            <c:idx val="2583"/>
            <c:invertIfNegative val="1"/>
            <c:bubble3D val="0"/>
            <c:spPr>
              <a:solidFill>
                <a:srgbClr val="AEABAB"/>
              </a:solidFill>
            </c:spPr>
            <c:extLst>
              <c:ext xmlns:c16="http://schemas.microsoft.com/office/drawing/2014/chart" uri="{C3380CC4-5D6E-409C-BE32-E72D297353CC}">
                <c16:uniqueId val="{00001431-7BE2-49F1-B47F-64DDA7BF3F9D}"/>
              </c:ext>
            </c:extLst>
          </c:dPt>
          <c:dPt>
            <c:idx val="2584"/>
            <c:invertIfNegative val="1"/>
            <c:bubble3D val="0"/>
            <c:spPr>
              <a:solidFill>
                <a:srgbClr val="AEABAB"/>
              </a:solidFill>
            </c:spPr>
            <c:extLst>
              <c:ext xmlns:c16="http://schemas.microsoft.com/office/drawing/2014/chart" uri="{C3380CC4-5D6E-409C-BE32-E72D297353CC}">
                <c16:uniqueId val="{00001433-7BE2-49F1-B47F-64DDA7BF3F9D}"/>
              </c:ext>
            </c:extLst>
          </c:dPt>
          <c:dPt>
            <c:idx val="2585"/>
            <c:invertIfNegative val="1"/>
            <c:bubble3D val="0"/>
            <c:spPr>
              <a:solidFill>
                <a:srgbClr val="AEABAB"/>
              </a:solidFill>
            </c:spPr>
            <c:extLst>
              <c:ext xmlns:c16="http://schemas.microsoft.com/office/drawing/2014/chart" uri="{C3380CC4-5D6E-409C-BE32-E72D297353CC}">
                <c16:uniqueId val="{00001435-7BE2-49F1-B47F-64DDA7BF3F9D}"/>
              </c:ext>
            </c:extLst>
          </c:dPt>
          <c:dPt>
            <c:idx val="2586"/>
            <c:invertIfNegative val="1"/>
            <c:bubble3D val="0"/>
            <c:spPr>
              <a:solidFill>
                <a:srgbClr val="AEABAB"/>
              </a:solidFill>
            </c:spPr>
            <c:extLst>
              <c:ext xmlns:c16="http://schemas.microsoft.com/office/drawing/2014/chart" uri="{C3380CC4-5D6E-409C-BE32-E72D297353CC}">
                <c16:uniqueId val="{00001437-7BE2-49F1-B47F-64DDA7BF3F9D}"/>
              </c:ext>
            </c:extLst>
          </c:dPt>
          <c:dPt>
            <c:idx val="2587"/>
            <c:invertIfNegative val="1"/>
            <c:bubble3D val="0"/>
            <c:spPr>
              <a:solidFill>
                <a:srgbClr val="AEABAB"/>
              </a:solidFill>
            </c:spPr>
            <c:extLst>
              <c:ext xmlns:c16="http://schemas.microsoft.com/office/drawing/2014/chart" uri="{C3380CC4-5D6E-409C-BE32-E72D297353CC}">
                <c16:uniqueId val="{00001439-7BE2-49F1-B47F-64DDA7BF3F9D}"/>
              </c:ext>
            </c:extLst>
          </c:dPt>
          <c:dPt>
            <c:idx val="2588"/>
            <c:invertIfNegative val="1"/>
            <c:bubble3D val="0"/>
            <c:spPr>
              <a:solidFill>
                <a:srgbClr val="AEABAB"/>
              </a:solidFill>
            </c:spPr>
            <c:extLst>
              <c:ext xmlns:c16="http://schemas.microsoft.com/office/drawing/2014/chart" uri="{C3380CC4-5D6E-409C-BE32-E72D297353CC}">
                <c16:uniqueId val="{0000143B-7BE2-49F1-B47F-64DDA7BF3F9D}"/>
              </c:ext>
            </c:extLst>
          </c:dPt>
          <c:dPt>
            <c:idx val="2589"/>
            <c:invertIfNegative val="1"/>
            <c:bubble3D val="0"/>
            <c:spPr>
              <a:solidFill>
                <a:srgbClr val="AEABAB"/>
              </a:solidFill>
            </c:spPr>
            <c:extLst>
              <c:ext xmlns:c16="http://schemas.microsoft.com/office/drawing/2014/chart" uri="{C3380CC4-5D6E-409C-BE32-E72D297353CC}">
                <c16:uniqueId val="{0000143D-7BE2-49F1-B47F-64DDA7BF3F9D}"/>
              </c:ext>
            </c:extLst>
          </c:dPt>
          <c:dPt>
            <c:idx val="2590"/>
            <c:invertIfNegative val="1"/>
            <c:bubble3D val="0"/>
            <c:spPr>
              <a:solidFill>
                <a:srgbClr val="AEABAB"/>
              </a:solidFill>
            </c:spPr>
            <c:extLst>
              <c:ext xmlns:c16="http://schemas.microsoft.com/office/drawing/2014/chart" uri="{C3380CC4-5D6E-409C-BE32-E72D297353CC}">
                <c16:uniqueId val="{0000143F-7BE2-49F1-B47F-64DDA7BF3F9D}"/>
              </c:ext>
            </c:extLst>
          </c:dPt>
          <c:dPt>
            <c:idx val="2591"/>
            <c:invertIfNegative val="1"/>
            <c:bubble3D val="0"/>
            <c:spPr>
              <a:solidFill>
                <a:srgbClr val="AEABAB"/>
              </a:solidFill>
            </c:spPr>
            <c:extLst>
              <c:ext xmlns:c16="http://schemas.microsoft.com/office/drawing/2014/chart" uri="{C3380CC4-5D6E-409C-BE32-E72D297353CC}">
                <c16:uniqueId val="{00001441-7BE2-49F1-B47F-64DDA7BF3F9D}"/>
              </c:ext>
            </c:extLst>
          </c:dPt>
          <c:dPt>
            <c:idx val="2592"/>
            <c:invertIfNegative val="1"/>
            <c:bubble3D val="0"/>
            <c:spPr>
              <a:solidFill>
                <a:srgbClr val="AEABAB"/>
              </a:solidFill>
            </c:spPr>
            <c:extLst>
              <c:ext xmlns:c16="http://schemas.microsoft.com/office/drawing/2014/chart" uri="{C3380CC4-5D6E-409C-BE32-E72D297353CC}">
                <c16:uniqueId val="{00001443-7BE2-49F1-B47F-64DDA7BF3F9D}"/>
              </c:ext>
            </c:extLst>
          </c:dPt>
          <c:dPt>
            <c:idx val="2593"/>
            <c:invertIfNegative val="1"/>
            <c:bubble3D val="0"/>
            <c:spPr>
              <a:solidFill>
                <a:srgbClr val="AEABAB"/>
              </a:solidFill>
            </c:spPr>
            <c:extLst>
              <c:ext xmlns:c16="http://schemas.microsoft.com/office/drawing/2014/chart" uri="{C3380CC4-5D6E-409C-BE32-E72D297353CC}">
                <c16:uniqueId val="{00001445-7BE2-49F1-B47F-64DDA7BF3F9D}"/>
              </c:ext>
            </c:extLst>
          </c:dPt>
          <c:dPt>
            <c:idx val="2594"/>
            <c:invertIfNegative val="1"/>
            <c:bubble3D val="0"/>
            <c:spPr>
              <a:solidFill>
                <a:srgbClr val="AEABAB"/>
              </a:solidFill>
            </c:spPr>
            <c:extLst>
              <c:ext xmlns:c16="http://schemas.microsoft.com/office/drawing/2014/chart" uri="{C3380CC4-5D6E-409C-BE32-E72D297353CC}">
                <c16:uniqueId val="{00001447-7BE2-49F1-B47F-64DDA7BF3F9D}"/>
              </c:ext>
            </c:extLst>
          </c:dPt>
          <c:dPt>
            <c:idx val="2595"/>
            <c:invertIfNegative val="1"/>
            <c:bubble3D val="0"/>
            <c:spPr>
              <a:solidFill>
                <a:srgbClr val="AEABAB"/>
              </a:solidFill>
            </c:spPr>
            <c:extLst>
              <c:ext xmlns:c16="http://schemas.microsoft.com/office/drawing/2014/chart" uri="{C3380CC4-5D6E-409C-BE32-E72D297353CC}">
                <c16:uniqueId val="{00001449-7BE2-49F1-B47F-64DDA7BF3F9D}"/>
              </c:ext>
            </c:extLst>
          </c:dPt>
          <c:dPt>
            <c:idx val="2596"/>
            <c:invertIfNegative val="1"/>
            <c:bubble3D val="0"/>
            <c:spPr>
              <a:solidFill>
                <a:srgbClr val="AEABAB"/>
              </a:solidFill>
            </c:spPr>
            <c:extLst>
              <c:ext xmlns:c16="http://schemas.microsoft.com/office/drawing/2014/chart" uri="{C3380CC4-5D6E-409C-BE32-E72D297353CC}">
                <c16:uniqueId val="{0000144B-7BE2-49F1-B47F-64DDA7BF3F9D}"/>
              </c:ext>
            </c:extLst>
          </c:dPt>
          <c:dPt>
            <c:idx val="2597"/>
            <c:invertIfNegative val="1"/>
            <c:bubble3D val="0"/>
            <c:spPr>
              <a:solidFill>
                <a:srgbClr val="AEABAB"/>
              </a:solidFill>
            </c:spPr>
            <c:extLst>
              <c:ext xmlns:c16="http://schemas.microsoft.com/office/drawing/2014/chart" uri="{C3380CC4-5D6E-409C-BE32-E72D297353CC}">
                <c16:uniqueId val="{0000144D-7BE2-49F1-B47F-64DDA7BF3F9D}"/>
              </c:ext>
            </c:extLst>
          </c:dPt>
          <c:dPt>
            <c:idx val="2598"/>
            <c:invertIfNegative val="1"/>
            <c:bubble3D val="0"/>
            <c:spPr>
              <a:solidFill>
                <a:srgbClr val="AEABAB"/>
              </a:solidFill>
            </c:spPr>
            <c:extLst>
              <c:ext xmlns:c16="http://schemas.microsoft.com/office/drawing/2014/chart" uri="{C3380CC4-5D6E-409C-BE32-E72D297353CC}">
                <c16:uniqueId val="{0000144F-7BE2-49F1-B47F-64DDA7BF3F9D}"/>
              </c:ext>
            </c:extLst>
          </c:dPt>
          <c:dPt>
            <c:idx val="2599"/>
            <c:invertIfNegative val="1"/>
            <c:bubble3D val="0"/>
            <c:spPr>
              <a:solidFill>
                <a:srgbClr val="AEABAB"/>
              </a:solidFill>
            </c:spPr>
            <c:extLst>
              <c:ext xmlns:c16="http://schemas.microsoft.com/office/drawing/2014/chart" uri="{C3380CC4-5D6E-409C-BE32-E72D297353CC}">
                <c16:uniqueId val="{00001451-7BE2-49F1-B47F-64DDA7BF3F9D}"/>
              </c:ext>
            </c:extLst>
          </c:dPt>
          <c:dPt>
            <c:idx val="2600"/>
            <c:invertIfNegative val="1"/>
            <c:bubble3D val="0"/>
            <c:spPr>
              <a:solidFill>
                <a:srgbClr val="AEABAB"/>
              </a:solidFill>
            </c:spPr>
            <c:extLst>
              <c:ext xmlns:c16="http://schemas.microsoft.com/office/drawing/2014/chart" uri="{C3380CC4-5D6E-409C-BE32-E72D297353CC}">
                <c16:uniqueId val="{00001453-7BE2-49F1-B47F-64DDA7BF3F9D}"/>
              </c:ext>
            </c:extLst>
          </c:dPt>
          <c:dPt>
            <c:idx val="2601"/>
            <c:invertIfNegative val="1"/>
            <c:bubble3D val="0"/>
            <c:spPr>
              <a:solidFill>
                <a:srgbClr val="AEABAB"/>
              </a:solidFill>
            </c:spPr>
            <c:extLst>
              <c:ext xmlns:c16="http://schemas.microsoft.com/office/drawing/2014/chart" uri="{C3380CC4-5D6E-409C-BE32-E72D297353CC}">
                <c16:uniqueId val="{00001455-7BE2-49F1-B47F-64DDA7BF3F9D}"/>
              </c:ext>
            </c:extLst>
          </c:dPt>
          <c:dPt>
            <c:idx val="2602"/>
            <c:invertIfNegative val="1"/>
            <c:bubble3D val="0"/>
            <c:spPr>
              <a:solidFill>
                <a:srgbClr val="AEABAB"/>
              </a:solidFill>
            </c:spPr>
            <c:extLst>
              <c:ext xmlns:c16="http://schemas.microsoft.com/office/drawing/2014/chart" uri="{C3380CC4-5D6E-409C-BE32-E72D297353CC}">
                <c16:uniqueId val="{00001457-7BE2-49F1-B47F-64DDA7BF3F9D}"/>
              </c:ext>
            </c:extLst>
          </c:dPt>
          <c:dPt>
            <c:idx val="2603"/>
            <c:invertIfNegative val="1"/>
            <c:bubble3D val="0"/>
            <c:spPr>
              <a:solidFill>
                <a:srgbClr val="AEABAB"/>
              </a:solidFill>
            </c:spPr>
            <c:extLst>
              <c:ext xmlns:c16="http://schemas.microsoft.com/office/drawing/2014/chart" uri="{C3380CC4-5D6E-409C-BE32-E72D297353CC}">
                <c16:uniqueId val="{00001459-7BE2-49F1-B47F-64DDA7BF3F9D}"/>
              </c:ext>
            </c:extLst>
          </c:dPt>
          <c:dPt>
            <c:idx val="2604"/>
            <c:invertIfNegative val="1"/>
            <c:bubble3D val="0"/>
            <c:spPr>
              <a:solidFill>
                <a:srgbClr val="AEABAB"/>
              </a:solidFill>
            </c:spPr>
            <c:extLst>
              <c:ext xmlns:c16="http://schemas.microsoft.com/office/drawing/2014/chart" uri="{C3380CC4-5D6E-409C-BE32-E72D297353CC}">
                <c16:uniqueId val="{0000145B-7BE2-49F1-B47F-64DDA7BF3F9D}"/>
              </c:ext>
            </c:extLst>
          </c:dPt>
          <c:dPt>
            <c:idx val="2605"/>
            <c:invertIfNegative val="1"/>
            <c:bubble3D val="0"/>
            <c:spPr>
              <a:solidFill>
                <a:srgbClr val="AEABAB"/>
              </a:solidFill>
            </c:spPr>
            <c:extLst>
              <c:ext xmlns:c16="http://schemas.microsoft.com/office/drawing/2014/chart" uri="{C3380CC4-5D6E-409C-BE32-E72D297353CC}">
                <c16:uniqueId val="{0000145D-7BE2-49F1-B47F-64DDA7BF3F9D}"/>
              </c:ext>
            </c:extLst>
          </c:dPt>
          <c:dPt>
            <c:idx val="2606"/>
            <c:invertIfNegative val="1"/>
            <c:bubble3D val="0"/>
            <c:spPr>
              <a:solidFill>
                <a:srgbClr val="AEABAB"/>
              </a:solidFill>
            </c:spPr>
            <c:extLst>
              <c:ext xmlns:c16="http://schemas.microsoft.com/office/drawing/2014/chart" uri="{C3380CC4-5D6E-409C-BE32-E72D297353CC}">
                <c16:uniqueId val="{0000145F-7BE2-49F1-B47F-64DDA7BF3F9D}"/>
              </c:ext>
            </c:extLst>
          </c:dPt>
          <c:dPt>
            <c:idx val="2607"/>
            <c:invertIfNegative val="1"/>
            <c:bubble3D val="0"/>
            <c:spPr>
              <a:solidFill>
                <a:srgbClr val="AEABAB"/>
              </a:solidFill>
            </c:spPr>
            <c:extLst>
              <c:ext xmlns:c16="http://schemas.microsoft.com/office/drawing/2014/chart" uri="{C3380CC4-5D6E-409C-BE32-E72D297353CC}">
                <c16:uniqueId val="{00001461-7BE2-49F1-B47F-64DDA7BF3F9D}"/>
              </c:ext>
            </c:extLst>
          </c:dPt>
          <c:dPt>
            <c:idx val="2608"/>
            <c:invertIfNegative val="1"/>
            <c:bubble3D val="0"/>
            <c:spPr>
              <a:solidFill>
                <a:srgbClr val="AEABAB"/>
              </a:solidFill>
            </c:spPr>
            <c:extLst>
              <c:ext xmlns:c16="http://schemas.microsoft.com/office/drawing/2014/chart" uri="{C3380CC4-5D6E-409C-BE32-E72D297353CC}">
                <c16:uniqueId val="{00001463-7BE2-49F1-B47F-64DDA7BF3F9D}"/>
              </c:ext>
            </c:extLst>
          </c:dPt>
          <c:dPt>
            <c:idx val="2609"/>
            <c:invertIfNegative val="1"/>
            <c:bubble3D val="0"/>
            <c:spPr>
              <a:solidFill>
                <a:srgbClr val="AEABAB"/>
              </a:solidFill>
            </c:spPr>
            <c:extLst>
              <c:ext xmlns:c16="http://schemas.microsoft.com/office/drawing/2014/chart" uri="{C3380CC4-5D6E-409C-BE32-E72D297353CC}">
                <c16:uniqueId val="{00001465-7BE2-49F1-B47F-64DDA7BF3F9D}"/>
              </c:ext>
            </c:extLst>
          </c:dPt>
          <c:dPt>
            <c:idx val="2610"/>
            <c:invertIfNegative val="1"/>
            <c:bubble3D val="0"/>
            <c:spPr>
              <a:solidFill>
                <a:srgbClr val="AEABAB"/>
              </a:solidFill>
            </c:spPr>
            <c:extLst>
              <c:ext xmlns:c16="http://schemas.microsoft.com/office/drawing/2014/chart" uri="{C3380CC4-5D6E-409C-BE32-E72D297353CC}">
                <c16:uniqueId val="{00001467-7BE2-49F1-B47F-64DDA7BF3F9D}"/>
              </c:ext>
            </c:extLst>
          </c:dPt>
          <c:dPt>
            <c:idx val="2611"/>
            <c:invertIfNegative val="1"/>
            <c:bubble3D val="0"/>
            <c:spPr>
              <a:solidFill>
                <a:srgbClr val="AEABAB"/>
              </a:solidFill>
            </c:spPr>
            <c:extLst>
              <c:ext xmlns:c16="http://schemas.microsoft.com/office/drawing/2014/chart" uri="{C3380CC4-5D6E-409C-BE32-E72D297353CC}">
                <c16:uniqueId val="{00001469-7BE2-49F1-B47F-64DDA7BF3F9D}"/>
              </c:ext>
            </c:extLst>
          </c:dPt>
          <c:dPt>
            <c:idx val="2612"/>
            <c:invertIfNegative val="1"/>
            <c:bubble3D val="0"/>
            <c:spPr>
              <a:solidFill>
                <a:srgbClr val="AEABAB"/>
              </a:solidFill>
            </c:spPr>
            <c:extLst>
              <c:ext xmlns:c16="http://schemas.microsoft.com/office/drawing/2014/chart" uri="{C3380CC4-5D6E-409C-BE32-E72D297353CC}">
                <c16:uniqueId val="{0000146B-7BE2-49F1-B47F-64DDA7BF3F9D}"/>
              </c:ext>
            </c:extLst>
          </c:dPt>
          <c:dPt>
            <c:idx val="2613"/>
            <c:invertIfNegative val="1"/>
            <c:bubble3D val="0"/>
            <c:spPr>
              <a:solidFill>
                <a:srgbClr val="AEABAB"/>
              </a:solidFill>
            </c:spPr>
            <c:extLst>
              <c:ext xmlns:c16="http://schemas.microsoft.com/office/drawing/2014/chart" uri="{C3380CC4-5D6E-409C-BE32-E72D297353CC}">
                <c16:uniqueId val="{0000146D-7BE2-49F1-B47F-64DDA7BF3F9D}"/>
              </c:ext>
            </c:extLst>
          </c:dPt>
          <c:dPt>
            <c:idx val="2614"/>
            <c:invertIfNegative val="1"/>
            <c:bubble3D val="0"/>
            <c:spPr>
              <a:solidFill>
                <a:srgbClr val="AEABAB"/>
              </a:solidFill>
            </c:spPr>
            <c:extLst>
              <c:ext xmlns:c16="http://schemas.microsoft.com/office/drawing/2014/chart" uri="{C3380CC4-5D6E-409C-BE32-E72D297353CC}">
                <c16:uniqueId val="{0000146F-7BE2-49F1-B47F-64DDA7BF3F9D}"/>
              </c:ext>
            </c:extLst>
          </c:dPt>
          <c:dPt>
            <c:idx val="2615"/>
            <c:invertIfNegative val="1"/>
            <c:bubble3D val="0"/>
            <c:spPr>
              <a:solidFill>
                <a:srgbClr val="AEABAB"/>
              </a:solidFill>
            </c:spPr>
            <c:extLst>
              <c:ext xmlns:c16="http://schemas.microsoft.com/office/drawing/2014/chart" uri="{C3380CC4-5D6E-409C-BE32-E72D297353CC}">
                <c16:uniqueId val="{00001471-7BE2-49F1-B47F-64DDA7BF3F9D}"/>
              </c:ext>
            </c:extLst>
          </c:dPt>
          <c:dPt>
            <c:idx val="2616"/>
            <c:invertIfNegative val="1"/>
            <c:bubble3D val="0"/>
            <c:spPr>
              <a:solidFill>
                <a:srgbClr val="AEABAB"/>
              </a:solidFill>
            </c:spPr>
            <c:extLst>
              <c:ext xmlns:c16="http://schemas.microsoft.com/office/drawing/2014/chart" uri="{C3380CC4-5D6E-409C-BE32-E72D297353CC}">
                <c16:uniqueId val="{00001473-7BE2-49F1-B47F-64DDA7BF3F9D}"/>
              </c:ext>
            </c:extLst>
          </c:dPt>
          <c:dPt>
            <c:idx val="2617"/>
            <c:invertIfNegative val="1"/>
            <c:bubble3D val="0"/>
            <c:spPr>
              <a:solidFill>
                <a:srgbClr val="AEABAB"/>
              </a:solidFill>
            </c:spPr>
            <c:extLst>
              <c:ext xmlns:c16="http://schemas.microsoft.com/office/drawing/2014/chart" uri="{C3380CC4-5D6E-409C-BE32-E72D297353CC}">
                <c16:uniqueId val="{00001475-7BE2-49F1-B47F-64DDA7BF3F9D}"/>
              </c:ext>
            </c:extLst>
          </c:dPt>
          <c:dPt>
            <c:idx val="2618"/>
            <c:invertIfNegative val="1"/>
            <c:bubble3D val="0"/>
            <c:spPr>
              <a:solidFill>
                <a:srgbClr val="AEABAB"/>
              </a:solidFill>
            </c:spPr>
            <c:extLst>
              <c:ext xmlns:c16="http://schemas.microsoft.com/office/drawing/2014/chart" uri="{C3380CC4-5D6E-409C-BE32-E72D297353CC}">
                <c16:uniqueId val="{00001477-7BE2-49F1-B47F-64DDA7BF3F9D}"/>
              </c:ext>
            </c:extLst>
          </c:dPt>
          <c:dPt>
            <c:idx val="2619"/>
            <c:invertIfNegative val="1"/>
            <c:bubble3D val="0"/>
            <c:spPr>
              <a:solidFill>
                <a:srgbClr val="AEABAB"/>
              </a:solidFill>
            </c:spPr>
            <c:extLst>
              <c:ext xmlns:c16="http://schemas.microsoft.com/office/drawing/2014/chart" uri="{C3380CC4-5D6E-409C-BE32-E72D297353CC}">
                <c16:uniqueId val="{00001479-7BE2-49F1-B47F-64DDA7BF3F9D}"/>
              </c:ext>
            </c:extLst>
          </c:dPt>
          <c:dPt>
            <c:idx val="2620"/>
            <c:invertIfNegative val="1"/>
            <c:bubble3D val="0"/>
            <c:spPr>
              <a:solidFill>
                <a:srgbClr val="AEABAB"/>
              </a:solidFill>
            </c:spPr>
            <c:extLst>
              <c:ext xmlns:c16="http://schemas.microsoft.com/office/drawing/2014/chart" uri="{C3380CC4-5D6E-409C-BE32-E72D297353CC}">
                <c16:uniqueId val="{0000147B-7BE2-49F1-B47F-64DDA7BF3F9D}"/>
              </c:ext>
            </c:extLst>
          </c:dPt>
          <c:dPt>
            <c:idx val="2621"/>
            <c:invertIfNegative val="1"/>
            <c:bubble3D val="0"/>
            <c:spPr>
              <a:solidFill>
                <a:srgbClr val="AEABAB"/>
              </a:solidFill>
            </c:spPr>
            <c:extLst>
              <c:ext xmlns:c16="http://schemas.microsoft.com/office/drawing/2014/chart" uri="{C3380CC4-5D6E-409C-BE32-E72D297353CC}">
                <c16:uniqueId val="{0000147D-7BE2-49F1-B47F-64DDA7BF3F9D}"/>
              </c:ext>
            </c:extLst>
          </c:dPt>
          <c:dPt>
            <c:idx val="2622"/>
            <c:invertIfNegative val="1"/>
            <c:bubble3D val="0"/>
            <c:spPr>
              <a:solidFill>
                <a:srgbClr val="AEABAB"/>
              </a:solidFill>
            </c:spPr>
            <c:extLst>
              <c:ext xmlns:c16="http://schemas.microsoft.com/office/drawing/2014/chart" uri="{C3380CC4-5D6E-409C-BE32-E72D297353CC}">
                <c16:uniqueId val="{0000147F-7BE2-49F1-B47F-64DDA7BF3F9D}"/>
              </c:ext>
            </c:extLst>
          </c:dPt>
          <c:dPt>
            <c:idx val="2623"/>
            <c:invertIfNegative val="1"/>
            <c:bubble3D val="0"/>
            <c:spPr>
              <a:solidFill>
                <a:srgbClr val="AEABAB"/>
              </a:solidFill>
            </c:spPr>
            <c:extLst>
              <c:ext xmlns:c16="http://schemas.microsoft.com/office/drawing/2014/chart" uri="{C3380CC4-5D6E-409C-BE32-E72D297353CC}">
                <c16:uniqueId val="{00001481-7BE2-49F1-B47F-64DDA7BF3F9D}"/>
              </c:ext>
            </c:extLst>
          </c:dPt>
          <c:dPt>
            <c:idx val="2624"/>
            <c:invertIfNegative val="1"/>
            <c:bubble3D val="0"/>
            <c:spPr>
              <a:solidFill>
                <a:srgbClr val="AEABAB"/>
              </a:solidFill>
            </c:spPr>
            <c:extLst>
              <c:ext xmlns:c16="http://schemas.microsoft.com/office/drawing/2014/chart" uri="{C3380CC4-5D6E-409C-BE32-E72D297353CC}">
                <c16:uniqueId val="{00001483-7BE2-49F1-B47F-64DDA7BF3F9D}"/>
              </c:ext>
            </c:extLst>
          </c:dPt>
          <c:dPt>
            <c:idx val="2625"/>
            <c:invertIfNegative val="1"/>
            <c:bubble3D val="0"/>
            <c:spPr>
              <a:solidFill>
                <a:srgbClr val="AEABAB"/>
              </a:solidFill>
            </c:spPr>
            <c:extLst>
              <c:ext xmlns:c16="http://schemas.microsoft.com/office/drawing/2014/chart" uri="{C3380CC4-5D6E-409C-BE32-E72D297353CC}">
                <c16:uniqueId val="{00001485-7BE2-49F1-B47F-64DDA7BF3F9D}"/>
              </c:ext>
            </c:extLst>
          </c:dPt>
          <c:dPt>
            <c:idx val="2626"/>
            <c:invertIfNegative val="1"/>
            <c:bubble3D val="0"/>
            <c:spPr>
              <a:solidFill>
                <a:srgbClr val="AEABAB"/>
              </a:solidFill>
            </c:spPr>
            <c:extLst>
              <c:ext xmlns:c16="http://schemas.microsoft.com/office/drawing/2014/chart" uri="{C3380CC4-5D6E-409C-BE32-E72D297353CC}">
                <c16:uniqueId val="{00001487-7BE2-49F1-B47F-64DDA7BF3F9D}"/>
              </c:ext>
            </c:extLst>
          </c:dPt>
          <c:dPt>
            <c:idx val="2627"/>
            <c:invertIfNegative val="1"/>
            <c:bubble3D val="0"/>
            <c:spPr>
              <a:solidFill>
                <a:srgbClr val="AEABAB"/>
              </a:solidFill>
            </c:spPr>
            <c:extLst>
              <c:ext xmlns:c16="http://schemas.microsoft.com/office/drawing/2014/chart" uri="{C3380CC4-5D6E-409C-BE32-E72D297353CC}">
                <c16:uniqueId val="{00001489-7BE2-49F1-B47F-64DDA7BF3F9D}"/>
              </c:ext>
            </c:extLst>
          </c:dPt>
          <c:dPt>
            <c:idx val="2628"/>
            <c:invertIfNegative val="1"/>
            <c:bubble3D val="0"/>
            <c:spPr>
              <a:solidFill>
                <a:srgbClr val="AEABAB"/>
              </a:solidFill>
            </c:spPr>
            <c:extLst>
              <c:ext xmlns:c16="http://schemas.microsoft.com/office/drawing/2014/chart" uri="{C3380CC4-5D6E-409C-BE32-E72D297353CC}">
                <c16:uniqueId val="{0000148B-7BE2-49F1-B47F-64DDA7BF3F9D}"/>
              </c:ext>
            </c:extLst>
          </c:dPt>
          <c:dPt>
            <c:idx val="2629"/>
            <c:invertIfNegative val="1"/>
            <c:bubble3D val="0"/>
            <c:spPr>
              <a:solidFill>
                <a:srgbClr val="AEABAB"/>
              </a:solidFill>
            </c:spPr>
            <c:extLst>
              <c:ext xmlns:c16="http://schemas.microsoft.com/office/drawing/2014/chart" uri="{C3380CC4-5D6E-409C-BE32-E72D297353CC}">
                <c16:uniqueId val="{0000148D-7BE2-49F1-B47F-64DDA7BF3F9D}"/>
              </c:ext>
            </c:extLst>
          </c:dPt>
          <c:dPt>
            <c:idx val="2630"/>
            <c:invertIfNegative val="1"/>
            <c:bubble3D val="0"/>
            <c:spPr>
              <a:solidFill>
                <a:srgbClr val="AEABAB"/>
              </a:solidFill>
            </c:spPr>
            <c:extLst>
              <c:ext xmlns:c16="http://schemas.microsoft.com/office/drawing/2014/chart" uri="{C3380CC4-5D6E-409C-BE32-E72D297353CC}">
                <c16:uniqueId val="{0000148F-7BE2-49F1-B47F-64DDA7BF3F9D}"/>
              </c:ext>
            </c:extLst>
          </c:dPt>
          <c:dPt>
            <c:idx val="2631"/>
            <c:invertIfNegative val="1"/>
            <c:bubble3D val="0"/>
            <c:spPr>
              <a:solidFill>
                <a:srgbClr val="AEABAB"/>
              </a:solidFill>
            </c:spPr>
            <c:extLst>
              <c:ext xmlns:c16="http://schemas.microsoft.com/office/drawing/2014/chart" uri="{C3380CC4-5D6E-409C-BE32-E72D297353CC}">
                <c16:uniqueId val="{00001491-7BE2-49F1-B47F-64DDA7BF3F9D}"/>
              </c:ext>
            </c:extLst>
          </c:dPt>
          <c:dPt>
            <c:idx val="2632"/>
            <c:invertIfNegative val="1"/>
            <c:bubble3D val="0"/>
            <c:spPr>
              <a:solidFill>
                <a:srgbClr val="AEABAB"/>
              </a:solidFill>
            </c:spPr>
            <c:extLst>
              <c:ext xmlns:c16="http://schemas.microsoft.com/office/drawing/2014/chart" uri="{C3380CC4-5D6E-409C-BE32-E72D297353CC}">
                <c16:uniqueId val="{00001493-7BE2-49F1-B47F-64DDA7BF3F9D}"/>
              </c:ext>
            </c:extLst>
          </c:dPt>
          <c:dPt>
            <c:idx val="2633"/>
            <c:invertIfNegative val="1"/>
            <c:bubble3D val="0"/>
            <c:spPr>
              <a:solidFill>
                <a:srgbClr val="AEABAB"/>
              </a:solidFill>
            </c:spPr>
            <c:extLst>
              <c:ext xmlns:c16="http://schemas.microsoft.com/office/drawing/2014/chart" uri="{C3380CC4-5D6E-409C-BE32-E72D297353CC}">
                <c16:uniqueId val="{00001495-7BE2-49F1-B47F-64DDA7BF3F9D}"/>
              </c:ext>
            </c:extLst>
          </c:dPt>
          <c:dPt>
            <c:idx val="2634"/>
            <c:invertIfNegative val="1"/>
            <c:bubble3D val="0"/>
            <c:spPr>
              <a:solidFill>
                <a:srgbClr val="AEABAB"/>
              </a:solidFill>
            </c:spPr>
            <c:extLst>
              <c:ext xmlns:c16="http://schemas.microsoft.com/office/drawing/2014/chart" uri="{C3380CC4-5D6E-409C-BE32-E72D297353CC}">
                <c16:uniqueId val="{00001497-7BE2-49F1-B47F-64DDA7BF3F9D}"/>
              </c:ext>
            </c:extLst>
          </c:dPt>
          <c:dPt>
            <c:idx val="2635"/>
            <c:invertIfNegative val="1"/>
            <c:bubble3D val="0"/>
            <c:spPr>
              <a:solidFill>
                <a:srgbClr val="AEABAB"/>
              </a:solidFill>
            </c:spPr>
            <c:extLst>
              <c:ext xmlns:c16="http://schemas.microsoft.com/office/drawing/2014/chart" uri="{C3380CC4-5D6E-409C-BE32-E72D297353CC}">
                <c16:uniqueId val="{00001499-7BE2-49F1-B47F-64DDA7BF3F9D}"/>
              </c:ext>
            </c:extLst>
          </c:dPt>
          <c:dPt>
            <c:idx val="2636"/>
            <c:invertIfNegative val="1"/>
            <c:bubble3D val="0"/>
            <c:spPr>
              <a:solidFill>
                <a:srgbClr val="AEABAB"/>
              </a:solidFill>
            </c:spPr>
            <c:extLst>
              <c:ext xmlns:c16="http://schemas.microsoft.com/office/drawing/2014/chart" uri="{C3380CC4-5D6E-409C-BE32-E72D297353CC}">
                <c16:uniqueId val="{0000149B-7BE2-49F1-B47F-64DDA7BF3F9D}"/>
              </c:ext>
            </c:extLst>
          </c:dPt>
          <c:dPt>
            <c:idx val="2637"/>
            <c:invertIfNegative val="1"/>
            <c:bubble3D val="0"/>
            <c:spPr>
              <a:solidFill>
                <a:srgbClr val="AEABAB"/>
              </a:solidFill>
            </c:spPr>
            <c:extLst>
              <c:ext xmlns:c16="http://schemas.microsoft.com/office/drawing/2014/chart" uri="{C3380CC4-5D6E-409C-BE32-E72D297353CC}">
                <c16:uniqueId val="{0000149D-7BE2-49F1-B47F-64DDA7BF3F9D}"/>
              </c:ext>
            </c:extLst>
          </c:dPt>
          <c:dPt>
            <c:idx val="2638"/>
            <c:invertIfNegative val="1"/>
            <c:bubble3D val="0"/>
            <c:spPr>
              <a:solidFill>
                <a:srgbClr val="AEABAB"/>
              </a:solidFill>
            </c:spPr>
            <c:extLst>
              <c:ext xmlns:c16="http://schemas.microsoft.com/office/drawing/2014/chart" uri="{C3380CC4-5D6E-409C-BE32-E72D297353CC}">
                <c16:uniqueId val="{0000149F-7BE2-49F1-B47F-64DDA7BF3F9D}"/>
              </c:ext>
            </c:extLst>
          </c:dPt>
          <c:dPt>
            <c:idx val="2639"/>
            <c:invertIfNegative val="1"/>
            <c:bubble3D val="0"/>
            <c:spPr>
              <a:solidFill>
                <a:srgbClr val="AEABAB"/>
              </a:solidFill>
            </c:spPr>
            <c:extLst>
              <c:ext xmlns:c16="http://schemas.microsoft.com/office/drawing/2014/chart" uri="{C3380CC4-5D6E-409C-BE32-E72D297353CC}">
                <c16:uniqueId val="{000014A1-7BE2-49F1-B47F-64DDA7BF3F9D}"/>
              </c:ext>
            </c:extLst>
          </c:dPt>
          <c:dPt>
            <c:idx val="2640"/>
            <c:invertIfNegative val="1"/>
            <c:bubble3D val="0"/>
            <c:spPr>
              <a:solidFill>
                <a:srgbClr val="AEABAB"/>
              </a:solidFill>
            </c:spPr>
            <c:extLst>
              <c:ext xmlns:c16="http://schemas.microsoft.com/office/drawing/2014/chart" uri="{C3380CC4-5D6E-409C-BE32-E72D297353CC}">
                <c16:uniqueId val="{000014A3-7BE2-49F1-B47F-64DDA7BF3F9D}"/>
              </c:ext>
            </c:extLst>
          </c:dPt>
          <c:dPt>
            <c:idx val="2641"/>
            <c:invertIfNegative val="1"/>
            <c:bubble3D val="0"/>
            <c:spPr>
              <a:solidFill>
                <a:srgbClr val="AEABAB"/>
              </a:solidFill>
            </c:spPr>
            <c:extLst>
              <c:ext xmlns:c16="http://schemas.microsoft.com/office/drawing/2014/chart" uri="{C3380CC4-5D6E-409C-BE32-E72D297353CC}">
                <c16:uniqueId val="{000014A5-7BE2-49F1-B47F-64DDA7BF3F9D}"/>
              </c:ext>
            </c:extLst>
          </c:dPt>
          <c:dPt>
            <c:idx val="2642"/>
            <c:invertIfNegative val="1"/>
            <c:bubble3D val="0"/>
            <c:spPr>
              <a:solidFill>
                <a:srgbClr val="AEABAB"/>
              </a:solidFill>
            </c:spPr>
            <c:extLst>
              <c:ext xmlns:c16="http://schemas.microsoft.com/office/drawing/2014/chart" uri="{C3380CC4-5D6E-409C-BE32-E72D297353CC}">
                <c16:uniqueId val="{000014A7-7BE2-49F1-B47F-64DDA7BF3F9D}"/>
              </c:ext>
            </c:extLst>
          </c:dPt>
          <c:dPt>
            <c:idx val="2643"/>
            <c:invertIfNegative val="1"/>
            <c:bubble3D val="0"/>
            <c:spPr>
              <a:solidFill>
                <a:srgbClr val="AEABAB"/>
              </a:solidFill>
            </c:spPr>
            <c:extLst>
              <c:ext xmlns:c16="http://schemas.microsoft.com/office/drawing/2014/chart" uri="{C3380CC4-5D6E-409C-BE32-E72D297353CC}">
                <c16:uniqueId val="{000014A9-7BE2-49F1-B47F-64DDA7BF3F9D}"/>
              </c:ext>
            </c:extLst>
          </c:dPt>
          <c:dPt>
            <c:idx val="2644"/>
            <c:invertIfNegative val="1"/>
            <c:bubble3D val="0"/>
            <c:spPr>
              <a:solidFill>
                <a:srgbClr val="AEABAB"/>
              </a:solidFill>
            </c:spPr>
            <c:extLst>
              <c:ext xmlns:c16="http://schemas.microsoft.com/office/drawing/2014/chart" uri="{C3380CC4-5D6E-409C-BE32-E72D297353CC}">
                <c16:uniqueId val="{000014AB-7BE2-49F1-B47F-64DDA7BF3F9D}"/>
              </c:ext>
            </c:extLst>
          </c:dPt>
          <c:dPt>
            <c:idx val="2645"/>
            <c:invertIfNegative val="1"/>
            <c:bubble3D val="0"/>
            <c:spPr>
              <a:solidFill>
                <a:srgbClr val="AEABAB"/>
              </a:solidFill>
            </c:spPr>
            <c:extLst>
              <c:ext xmlns:c16="http://schemas.microsoft.com/office/drawing/2014/chart" uri="{C3380CC4-5D6E-409C-BE32-E72D297353CC}">
                <c16:uniqueId val="{000014AD-7BE2-49F1-B47F-64DDA7BF3F9D}"/>
              </c:ext>
            </c:extLst>
          </c:dPt>
          <c:dPt>
            <c:idx val="2646"/>
            <c:invertIfNegative val="1"/>
            <c:bubble3D val="0"/>
            <c:spPr>
              <a:solidFill>
                <a:srgbClr val="AEABAB"/>
              </a:solidFill>
            </c:spPr>
            <c:extLst>
              <c:ext xmlns:c16="http://schemas.microsoft.com/office/drawing/2014/chart" uri="{C3380CC4-5D6E-409C-BE32-E72D297353CC}">
                <c16:uniqueId val="{000014AF-7BE2-49F1-B47F-64DDA7BF3F9D}"/>
              </c:ext>
            </c:extLst>
          </c:dPt>
          <c:dPt>
            <c:idx val="2647"/>
            <c:invertIfNegative val="1"/>
            <c:bubble3D val="0"/>
            <c:spPr>
              <a:solidFill>
                <a:srgbClr val="AEABAB"/>
              </a:solidFill>
            </c:spPr>
            <c:extLst>
              <c:ext xmlns:c16="http://schemas.microsoft.com/office/drawing/2014/chart" uri="{C3380CC4-5D6E-409C-BE32-E72D297353CC}">
                <c16:uniqueId val="{000014B1-7BE2-49F1-B47F-64DDA7BF3F9D}"/>
              </c:ext>
            </c:extLst>
          </c:dPt>
          <c:dPt>
            <c:idx val="2648"/>
            <c:invertIfNegative val="1"/>
            <c:bubble3D val="0"/>
            <c:spPr>
              <a:solidFill>
                <a:srgbClr val="AEABAB"/>
              </a:solidFill>
            </c:spPr>
            <c:extLst>
              <c:ext xmlns:c16="http://schemas.microsoft.com/office/drawing/2014/chart" uri="{C3380CC4-5D6E-409C-BE32-E72D297353CC}">
                <c16:uniqueId val="{000014B3-7BE2-49F1-B47F-64DDA7BF3F9D}"/>
              </c:ext>
            </c:extLst>
          </c:dPt>
          <c:dPt>
            <c:idx val="2649"/>
            <c:invertIfNegative val="1"/>
            <c:bubble3D val="0"/>
            <c:spPr>
              <a:solidFill>
                <a:srgbClr val="AEABAB"/>
              </a:solidFill>
            </c:spPr>
            <c:extLst>
              <c:ext xmlns:c16="http://schemas.microsoft.com/office/drawing/2014/chart" uri="{C3380CC4-5D6E-409C-BE32-E72D297353CC}">
                <c16:uniqueId val="{000014B5-7BE2-49F1-B47F-64DDA7BF3F9D}"/>
              </c:ext>
            </c:extLst>
          </c:dPt>
          <c:dPt>
            <c:idx val="2650"/>
            <c:invertIfNegative val="1"/>
            <c:bubble3D val="0"/>
            <c:spPr>
              <a:solidFill>
                <a:srgbClr val="AEABAB"/>
              </a:solidFill>
            </c:spPr>
            <c:extLst>
              <c:ext xmlns:c16="http://schemas.microsoft.com/office/drawing/2014/chart" uri="{C3380CC4-5D6E-409C-BE32-E72D297353CC}">
                <c16:uniqueId val="{000014B7-7BE2-49F1-B47F-64DDA7BF3F9D}"/>
              </c:ext>
            </c:extLst>
          </c:dPt>
          <c:dPt>
            <c:idx val="2651"/>
            <c:invertIfNegative val="1"/>
            <c:bubble3D val="0"/>
            <c:spPr>
              <a:solidFill>
                <a:srgbClr val="AEABAB"/>
              </a:solidFill>
            </c:spPr>
            <c:extLst>
              <c:ext xmlns:c16="http://schemas.microsoft.com/office/drawing/2014/chart" uri="{C3380CC4-5D6E-409C-BE32-E72D297353CC}">
                <c16:uniqueId val="{000014B9-7BE2-49F1-B47F-64DDA7BF3F9D}"/>
              </c:ext>
            </c:extLst>
          </c:dPt>
          <c:dPt>
            <c:idx val="2652"/>
            <c:invertIfNegative val="1"/>
            <c:bubble3D val="0"/>
            <c:spPr>
              <a:solidFill>
                <a:srgbClr val="AEABAB"/>
              </a:solidFill>
            </c:spPr>
            <c:extLst>
              <c:ext xmlns:c16="http://schemas.microsoft.com/office/drawing/2014/chart" uri="{C3380CC4-5D6E-409C-BE32-E72D297353CC}">
                <c16:uniqueId val="{000014BB-7BE2-49F1-B47F-64DDA7BF3F9D}"/>
              </c:ext>
            </c:extLst>
          </c:dPt>
          <c:dPt>
            <c:idx val="2653"/>
            <c:invertIfNegative val="1"/>
            <c:bubble3D val="0"/>
            <c:spPr>
              <a:solidFill>
                <a:srgbClr val="AEABAB"/>
              </a:solidFill>
            </c:spPr>
            <c:extLst>
              <c:ext xmlns:c16="http://schemas.microsoft.com/office/drawing/2014/chart" uri="{C3380CC4-5D6E-409C-BE32-E72D297353CC}">
                <c16:uniqueId val="{000014BD-7BE2-49F1-B47F-64DDA7BF3F9D}"/>
              </c:ext>
            </c:extLst>
          </c:dPt>
          <c:dPt>
            <c:idx val="2654"/>
            <c:invertIfNegative val="1"/>
            <c:bubble3D val="0"/>
            <c:spPr>
              <a:solidFill>
                <a:srgbClr val="AEABAB"/>
              </a:solidFill>
            </c:spPr>
            <c:extLst>
              <c:ext xmlns:c16="http://schemas.microsoft.com/office/drawing/2014/chart" uri="{C3380CC4-5D6E-409C-BE32-E72D297353CC}">
                <c16:uniqueId val="{000014BF-7BE2-49F1-B47F-64DDA7BF3F9D}"/>
              </c:ext>
            </c:extLst>
          </c:dPt>
          <c:dPt>
            <c:idx val="2655"/>
            <c:invertIfNegative val="1"/>
            <c:bubble3D val="0"/>
            <c:spPr>
              <a:solidFill>
                <a:srgbClr val="AEABAB"/>
              </a:solidFill>
            </c:spPr>
            <c:extLst>
              <c:ext xmlns:c16="http://schemas.microsoft.com/office/drawing/2014/chart" uri="{C3380CC4-5D6E-409C-BE32-E72D297353CC}">
                <c16:uniqueId val="{000014C1-7BE2-49F1-B47F-64DDA7BF3F9D}"/>
              </c:ext>
            </c:extLst>
          </c:dPt>
          <c:dPt>
            <c:idx val="2656"/>
            <c:invertIfNegative val="1"/>
            <c:bubble3D val="0"/>
            <c:spPr>
              <a:solidFill>
                <a:srgbClr val="AEABAB"/>
              </a:solidFill>
            </c:spPr>
            <c:extLst>
              <c:ext xmlns:c16="http://schemas.microsoft.com/office/drawing/2014/chart" uri="{C3380CC4-5D6E-409C-BE32-E72D297353CC}">
                <c16:uniqueId val="{000014C3-7BE2-49F1-B47F-64DDA7BF3F9D}"/>
              </c:ext>
            </c:extLst>
          </c:dPt>
          <c:dPt>
            <c:idx val="2657"/>
            <c:invertIfNegative val="1"/>
            <c:bubble3D val="0"/>
            <c:spPr>
              <a:solidFill>
                <a:srgbClr val="AEABAB"/>
              </a:solidFill>
            </c:spPr>
            <c:extLst>
              <c:ext xmlns:c16="http://schemas.microsoft.com/office/drawing/2014/chart" uri="{C3380CC4-5D6E-409C-BE32-E72D297353CC}">
                <c16:uniqueId val="{000014C5-7BE2-49F1-B47F-64DDA7BF3F9D}"/>
              </c:ext>
            </c:extLst>
          </c:dPt>
          <c:dPt>
            <c:idx val="2658"/>
            <c:invertIfNegative val="1"/>
            <c:bubble3D val="0"/>
            <c:spPr>
              <a:solidFill>
                <a:srgbClr val="AEABAB"/>
              </a:solidFill>
            </c:spPr>
            <c:extLst>
              <c:ext xmlns:c16="http://schemas.microsoft.com/office/drawing/2014/chart" uri="{C3380CC4-5D6E-409C-BE32-E72D297353CC}">
                <c16:uniqueId val="{000014C7-7BE2-49F1-B47F-64DDA7BF3F9D}"/>
              </c:ext>
            </c:extLst>
          </c:dPt>
          <c:dPt>
            <c:idx val="2659"/>
            <c:invertIfNegative val="1"/>
            <c:bubble3D val="0"/>
            <c:spPr>
              <a:solidFill>
                <a:srgbClr val="AEABAB"/>
              </a:solidFill>
            </c:spPr>
            <c:extLst>
              <c:ext xmlns:c16="http://schemas.microsoft.com/office/drawing/2014/chart" uri="{C3380CC4-5D6E-409C-BE32-E72D297353CC}">
                <c16:uniqueId val="{000014C9-7BE2-49F1-B47F-64DDA7BF3F9D}"/>
              </c:ext>
            </c:extLst>
          </c:dPt>
          <c:dPt>
            <c:idx val="2660"/>
            <c:invertIfNegative val="1"/>
            <c:bubble3D val="0"/>
            <c:spPr>
              <a:solidFill>
                <a:srgbClr val="AEABAB"/>
              </a:solidFill>
            </c:spPr>
            <c:extLst>
              <c:ext xmlns:c16="http://schemas.microsoft.com/office/drawing/2014/chart" uri="{C3380CC4-5D6E-409C-BE32-E72D297353CC}">
                <c16:uniqueId val="{000014CB-7BE2-49F1-B47F-64DDA7BF3F9D}"/>
              </c:ext>
            </c:extLst>
          </c:dPt>
          <c:dPt>
            <c:idx val="2661"/>
            <c:invertIfNegative val="1"/>
            <c:bubble3D val="0"/>
            <c:spPr>
              <a:solidFill>
                <a:srgbClr val="AEABAB"/>
              </a:solidFill>
            </c:spPr>
            <c:extLst>
              <c:ext xmlns:c16="http://schemas.microsoft.com/office/drawing/2014/chart" uri="{C3380CC4-5D6E-409C-BE32-E72D297353CC}">
                <c16:uniqueId val="{000014CD-7BE2-49F1-B47F-64DDA7BF3F9D}"/>
              </c:ext>
            </c:extLst>
          </c:dPt>
          <c:dPt>
            <c:idx val="2662"/>
            <c:invertIfNegative val="1"/>
            <c:bubble3D val="0"/>
            <c:spPr>
              <a:solidFill>
                <a:srgbClr val="AEABAB"/>
              </a:solidFill>
            </c:spPr>
            <c:extLst>
              <c:ext xmlns:c16="http://schemas.microsoft.com/office/drawing/2014/chart" uri="{C3380CC4-5D6E-409C-BE32-E72D297353CC}">
                <c16:uniqueId val="{000014CF-7BE2-49F1-B47F-64DDA7BF3F9D}"/>
              </c:ext>
            </c:extLst>
          </c:dPt>
          <c:dPt>
            <c:idx val="2663"/>
            <c:invertIfNegative val="1"/>
            <c:bubble3D val="0"/>
            <c:spPr>
              <a:solidFill>
                <a:srgbClr val="AEABAB"/>
              </a:solidFill>
            </c:spPr>
            <c:extLst>
              <c:ext xmlns:c16="http://schemas.microsoft.com/office/drawing/2014/chart" uri="{C3380CC4-5D6E-409C-BE32-E72D297353CC}">
                <c16:uniqueId val="{000014D1-7BE2-49F1-B47F-64DDA7BF3F9D}"/>
              </c:ext>
            </c:extLst>
          </c:dPt>
          <c:dPt>
            <c:idx val="2664"/>
            <c:invertIfNegative val="1"/>
            <c:bubble3D val="0"/>
            <c:spPr>
              <a:solidFill>
                <a:srgbClr val="AEABAB"/>
              </a:solidFill>
            </c:spPr>
            <c:extLst>
              <c:ext xmlns:c16="http://schemas.microsoft.com/office/drawing/2014/chart" uri="{C3380CC4-5D6E-409C-BE32-E72D297353CC}">
                <c16:uniqueId val="{000014D3-7BE2-49F1-B47F-64DDA7BF3F9D}"/>
              </c:ext>
            </c:extLst>
          </c:dPt>
          <c:dPt>
            <c:idx val="2665"/>
            <c:invertIfNegative val="1"/>
            <c:bubble3D val="0"/>
            <c:spPr>
              <a:solidFill>
                <a:srgbClr val="AEABAB"/>
              </a:solidFill>
            </c:spPr>
            <c:extLst>
              <c:ext xmlns:c16="http://schemas.microsoft.com/office/drawing/2014/chart" uri="{C3380CC4-5D6E-409C-BE32-E72D297353CC}">
                <c16:uniqueId val="{000014D5-7BE2-49F1-B47F-64DDA7BF3F9D}"/>
              </c:ext>
            </c:extLst>
          </c:dPt>
          <c:dPt>
            <c:idx val="2666"/>
            <c:invertIfNegative val="1"/>
            <c:bubble3D val="0"/>
            <c:spPr>
              <a:solidFill>
                <a:srgbClr val="AEABAB"/>
              </a:solidFill>
            </c:spPr>
            <c:extLst>
              <c:ext xmlns:c16="http://schemas.microsoft.com/office/drawing/2014/chart" uri="{C3380CC4-5D6E-409C-BE32-E72D297353CC}">
                <c16:uniqueId val="{000014D7-7BE2-49F1-B47F-64DDA7BF3F9D}"/>
              </c:ext>
            </c:extLst>
          </c:dPt>
          <c:dPt>
            <c:idx val="2667"/>
            <c:invertIfNegative val="1"/>
            <c:bubble3D val="0"/>
            <c:spPr>
              <a:solidFill>
                <a:srgbClr val="AEABAB"/>
              </a:solidFill>
            </c:spPr>
            <c:extLst>
              <c:ext xmlns:c16="http://schemas.microsoft.com/office/drawing/2014/chart" uri="{C3380CC4-5D6E-409C-BE32-E72D297353CC}">
                <c16:uniqueId val="{000014D9-7BE2-49F1-B47F-64DDA7BF3F9D}"/>
              </c:ext>
            </c:extLst>
          </c:dPt>
          <c:dPt>
            <c:idx val="2668"/>
            <c:invertIfNegative val="1"/>
            <c:bubble3D val="0"/>
            <c:spPr>
              <a:solidFill>
                <a:srgbClr val="AEABAB"/>
              </a:solidFill>
            </c:spPr>
            <c:extLst>
              <c:ext xmlns:c16="http://schemas.microsoft.com/office/drawing/2014/chart" uri="{C3380CC4-5D6E-409C-BE32-E72D297353CC}">
                <c16:uniqueId val="{000014DB-7BE2-49F1-B47F-64DDA7BF3F9D}"/>
              </c:ext>
            </c:extLst>
          </c:dPt>
          <c:dPt>
            <c:idx val="2669"/>
            <c:invertIfNegative val="1"/>
            <c:bubble3D val="0"/>
            <c:spPr>
              <a:solidFill>
                <a:srgbClr val="AEABAB"/>
              </a:solidFill>
            </c:spPr>
            <c:extLst>
              <c:ext xmlns:c16="http://schemas.microsoft.com/office/drawing/2014/chart" uri="{C3380CC4-5D6E-409C-BE32-E72D297353CC}">
                <c16:uniqueId val="{000014DD-7BE2-49F1-B47F-64DDA7BF3F9D}"/>
              </c:ext>
            </c:extLst>
          </c:dPt>
          <c:dPt>
            <c:idx val="2670"/>
            <c:invertIfNegative val="1"/>
            <c:bubble3D val="0"/>
            <c:spPr>
              <a:solidFill>
                <a:srgbClr val="AEABAB"/>
              </a:solidFill>
            </c:spPr>
            <c:extLst>
              <c:ext xmlns:c16="http://schemas.microsoft.com/office/drawing/2014/chart" uri="{C3380CC4-5D6E-409C-BE32-E72D297353CC}">
                <c16:uniqueId val="{000014DF-7BE2-49F1-B47F-64DDA7BF3F9D}"/>
              </c:ext>
            </c:extLst>
          </c:dPt>
          <c:dPt>
            <c:idx val="2671"/>
            <c:invertIfNegative val="1"/>
            <c:bubble3D val="0"/>
            <c:spPr>
              <a:solidFill>
                <a:srgbClr val="AEABAB"/>
              </a:solidFill>
            </c:spPr>
            <c:extLst>
              <c:ext xmlns:c16="http://schemas.microsoft.com/office/drawing/2014/chart" uri="{C3380CC4-5D6E-409C-BE32-E72D297353CC}">
                <c16:uniqueId val="{000014E1-7BE2-49F1-B47F-64DDA7BF3F9D}"/>
              </c:ext>
            </c:extLst>
          </c:dPt>
          <c:dPt>
            <c:idx val="2672"/>
            <c:invertIfNegative val="1"/>
            <c:bubble3D val="0"/>
            <c:spPr>
              <a:solidFill>
                <a:srgbClr val="AEABAB"/>
              </a:solidFill>
            </c:spPr>
            <c:extLst>
              <c:ext xmlns:c16="http://schemas.microsoft.com/office/drawing/2014/chart" uri="{C3380CC4-5D6E-409C-BE32-E72D297353CC}">
                <c16:uniqueId val="{000014E3-7BE2-49F1-B47F-64DDA7BF3F9D}"/>
              </c:ext>
            </c:extLst>
          </c:dPt>
          <c:dPt>
            <c:idx val="2673"/>
            <c:invertIfNegative val="1"/>
            <c:bubble3D val="0"/>
            <c:spPr>
              <a:solidFill>
                <a:srgbClr val="AEABAB"/>
              </a:solidFill>
            </c:spPr>
            <c:extLst>
              <c:ext xmlns:c16="http://schemas.microsoft.com/office/drawing/2014/chart" uri="{C3380CC4-5D6E-409C-BE32-E72D297353CC}">
                <c16:uniqueId val="{000014E5-7BE2-49F1-B47F-64DDA7BF3F9D}"/>
              </c:ext>
            </c:extLst>
          </c:dPt>
          <c:dPt>
            <c:idx val="2674"/>
            <c:invertIfNegative val="1"/>
            <c:bubble3D val="0"/>
            <c:spPr>
              <a:solidFill>
                <a:srgbClr val="AEABAB"/>
              </a:solidFill>
            </c:spPr>
            <c:extLst>
              <c:ext xmlns:c16="http://schemas.microsoft.com/office/drawing/2014/chart" uri="{C3380CC4-5D6E-409C-BE32-E72D297353CC}">
                <c16:uniqueId val="{000014E7-7BE2-49F1-B47F-64DDA7BF3F9D}"/>
              </c:ext>
            </c:extLst>
          </c:dPt>
          <c:dPt>
            <c:idx val="2675"/>
            <c:invertIfNegative val="1"/>
            <c:bubble3D val="0"/>
            <c:spPr>
              <a:solidFill>
                <a:srgbClr val="AEABAB"/>
              </a:solidFill>
            </c:spPr>
            <c:extLst>
              <c:ext xmlns:c16="http://schemas.microsoft.com/office/drawing/2014/chart" uri="{C3380CC4-5D6E-409C-BE32-E72D297353CC}">
                <c16:uniqueId val="{000014E9-7BE2-49F1-B47F-64DDA7BF3F9D}"/>
              </c:ext>
            </c:extLst>
          </c:dPt>
          <c:dPt>
            <c:idx val="2676"/>
            <c:invertIfNegative val="1"/>
            <c:bubble3D val="0"/>
            <c:spPr>
              <a:solidFill>
                <a:srgbClr val="AEABAB"/>
              </a:solidFill>
            </c:spPr>
            <c:extLst>
              <c:ext xmlns:c16="http://schemas.microsoft.com/office/drawing/2014/chart" uri="{C3380CC4-5D6E-409C-BE32-E72D297353CC}">
                <c16:uniqueId val="{000014EB-7BE2-49F1-B47F-64DDA7BF3F9D}"/>
              </c:ext>
            </c:extLst>
          </c:dPt>
          <c:dPt>
            <c:idx val="2677"/>
            <c:invertIfNegative val="1"/>
            <c:bubble3D val="0"/>
            <c:spPr>
              <a:solidFill>
                <a:srgbClr val="AEABAB"/>
              </a:solidFill>
            </c:spPr>
            <c:extLst>
              <c:ext xmlns:c16="http://schemas.microsoft.com/office/drawing/2014/chart" uri="{C3380CC4-5D6E-409C-BE32-E72D297353CC}">
                <c16:uniqueId val="{000014ED-7BE2-49F1-B47F-64DDA7BF3F9D}"/>
              </c:ext>
            </c:extLst>
          </c:dPt>
          <c:dPt>
            <c:idx val="2678"/>
            <c:invertIfNegative val="1"/>
            <c:bubble3D val="0"/>
            <c:spPr>
              <a:solidFill>
                <a:srgbClr val="AEABAB"/>
              </a:solidFill>
            </c:spPr>
            <c:extLst>
              <c:ext xmlns:c16="http://schemas.microsoft.com/office/drawing/2014/chart" uri="{C3380CC4-5D6E-409C-BE32-E72D297353CC}">
                <c16:uniqueId val="{000014EF-7BE2-49F1-B47F-64DDA7BF3F9D}"/>
              </c:ext>
            </c:extLst>
          </c:dPt>
          <c:dPt>
            <c:idx val="2679"/>
            <c:invertIfNegative val="1"/>
            <c:bubble3D val="0"/>
            <c:spPr>
              <a:solidFill>
                <a:srgbClr val="AEABAB"/>
              </a:solidFill>
            </c:spPr>
            <c:extLst>
              <c:ext xmlns:c16="http://schemas.microsoft.com/office/drawing/2014/chart" uri="{C3380CC4-5D6E-409C-BE32-E72D297353CC}">
                <c16:uniqueId val="{000014F1-7BE2-49F1-B47F-64DDA7BF3F9D}"/>
              </c:ext>
            </c:extLst>
          </c:dPt>
          <c:dPt>
            <c:idx val="2680"/>
            <c:invertIfNegative val="1"/>
            <c:bubble3D val="0"/>
            <c:spPr>
              <a:solidFill>
                <a:srgbClr val="AEABAB"/>
              </a:solidFill>
            </c:spPr>
            <c:extLst>
              <c:ext xmlns:c16="http://schemas.microsoft.com/office/drawing/2014/chart" uri="{C3380CC4-5D6E-409C-BE32-E72D297353CC}">
                <c16:uniqueId val="{000014F3-7BE2-49F1-B47F-64DDA7BF3F9D}"/>
              </c:ext>
            </c:extLst>
          </c:dPt>
          <c:dPt>
            <c:idx val="2681"/>
            <c:invertIfNegative val="1"/>
            <c:bubble3D val="0"/>
            <c:spPr>
              <a:solidFill>
                <a:srgbClr val="AEABAB"/>
              </a:solidFill>
            </c:spPr>
            <c:extLst>
              <c:ext xmlns:c16="http://schemas.microsoft.com/office/drawing/2014/chart" uri="{C3380CC4-5D6E-409C-BE32-E72D297353CC}">
                <c16:uniqueId val="{000014F5-7BE2-49F1-B47F-64DDA7BF3F9D}"/>
              </c:ext>
            </c:extLst>
          </c:dPt>
          <c:dPt>
            <c:idx val="2682"/>
            <c:invertIfNegative val="1"/>
            <c:bubble3D val="0"/>
            <c:spPr>
              <a:solidFill>
                <a:srgbClr val="AEABAB"/>
              </a:solidFill>
            </c:spPr>
            <c:extLst>
              <c:ext xmlns:c16="http://schemas.microsoft.com/office/drawing/2014/chart" uri="{C3380CC4-5D6E-409C-BE32-E72D297353CC}">
                <c16:uniqueId val="{000014F7-7BE2-49F1-B47F-64DDA7BF3F9D}"/>
              </c:ext>
            </c:extLst>
          </c:dPt>
          <c:dPt>
            <c:idx val="2683"/>
            <c:invertIfNegative val="1"/>
            <c:bubble3D val="0"/>
            <c:spPr>
              <a:solidFill>
                <a:srgbClr val="AEABAB"/>
              </a:solidFill>
            </c:spPr>
            <c:extLst>
              <c:ext xmlns:c16="http://schemas.microsoft.com/office/drawing/2014/chart" uri="{C3380CC4-5D6E-409C-BE32-E72D297353CC}">
                <c16:uniqueId val="{000014F9-7BE2-49F1-B47F-64DDA7BF3F9D}"/>
              </c:ext>
            </c:extLst>
          </c:dPt>
          <c:dPt>
            <c:idx val="2684"/>
            <c:invertIfNegative val="1"/>
            <c:bubble3D val="0"/>
            <c:spPr>
              <a:solidFill>
                <a:srgbClr val="AEABAB"/>
              </a:solidFill>
            </c:spPr>
            <c:extLst>
              <c:ext xmlns:c16="http://schemas.microsoft.com/office/drawing/2014/chart" uri="{C3380CC4-5D6E-409C-BE32-E72D297353CC}">
                <c16:uniqueId val="{000014FB-7BE2-49F1-B47F-64DDA7BF3F9D}"/>
              </c:ext>
            </c:extLst>
          </c:dPt>
          <c:dPt>
            <c:idx val="2685"/>
            <c:invertIfNegative val="1"/>
            <c:bubble3D val="0"/>
            <c:spPr>
              <a:solidFill>
                <a:srgbClr val="AEABAB"/>
              </a:solidFill>
            </c:spPr>
            <c:extLst>
              <c:ext xmlns:c16="http://schemas.microsoft.com/office/drawing/2014/chart" uri="{C3380CC4-5D6E-409C-BE32-E72D297353CC}">
                <c16:uniqueId val="{000014FD-7BE2-49F1-B47F-64DDA7BF3F9D}"/>
              </c:ext>
            </c:extLst>
          </c:dPt>
          <c:dPt>
            <c:idx val="2686"/>
            <c:invertIfNegative val="1"/>
            <c:bubble3D val="0"/>
            <c:spPr>
              <a:solidFill>
                <a:srgbClr val="AEABAB"/>
              </a:solidFill>
            </c:spPr>
            <c:extLst>
              <c:ext xmlns:c16="http://schemas.microsoft.com/office/drawing/2014/chart" uri="{C3380CC4-5D6E-409C-BE32-E72D297353CC}">
                <c16:uniqueId val="{000014FF-7BE2-49F1-B47F-64DDA7BF3F9D}"/>
              </c:ext>
            </c:extLst>
          </c:dPt>
          <c:dPt>
            <c:idx val="2687"/>
            <c:invertIfNegative val="1"/>
            <c:bubble3D val="0"/>
            <c:spPr>
              <a:solidFill>
                <a:srgbClr val="AEABAB"/>
              </a:solidFill>
            </c:spPr>
            <c:extLst>
              <c:ext xmlns:c16="http://schemas.microsoft.com/office/drawing/2014/chart" uri="{C3380CC4-5D6E-409C-BE32-E72D297353CC}">
                <c16:uniqueId val="{00001501-7BE2-49F1-B47F-64DDA7BF3F9D}"/>
              </c:ext>
            </c:extLst>
          </c:dPt>
          <c:dPt>
            <c:idx val="2688"/>
            <c:invertIfNegative val="1"/>
            <c:bubble3D val="0"/>
            <c:spPr>
              <a:solidFill>
                <a:srgbClr val="AEABAB"/>
              </a:solidFill>
            </c:spPr>
            <c:extLst>
              <c:ext xmlns:c16="http://schemas.microsoft.com/office/drawing/2014/chart" uri="{C3380CC4-5D6E-409C-BE32-E72D297353CC}">
                <c16:uniqueId val="{00001503-7BE2-49F1-B47F-64DDA7BF3F9D}"/>
              </c:ext>
            </c:extLst>
          </c:dPt>
          <c:dPt>
            <c:idx val="2689"/>
            <c:invertIfNegative val="1"/>
            <c:bubble3D val="0"/>
            <c:spPr>
              <a:solidFill>
                <a:srgbClr val="AEABAB"/>
              </a:solidFill>
            </c:spPr>
            <c:extLst>
              <c:ext xmlns:c16="http://schemas.microsoft.com/office/drawing/2014/chart" uri="{C3380CC4-5D6E-409C-BE32-E72D297353CC}">
                <c16:uniqueId val="{00001505-7BE2-49F1-B47F-64DDA7BF3F9D}"/>
              </c:ext>
            </c:extLst>
          </c:dPt>
          <c:dPt>
            <c:idx val="2690"/>
            <c:invertIfNegative val="1"/>
            <c:bubble3D val="0"/>
            <c:spPr>
              <a:solidFill>
                <a:srgbClr val="AEABAB"/>
              </a:solidFill>
            </c:spPr>
            <c:extLst>
              <c:ext xmlns:c16="http://schemas.microsoft.com/office/drawing/2014/chart" uri="{C3380CC4-5D6E-409C-BE32-E72D297353CC}">
                <c16:uniqueId val="{00001507-7BE2-49F1-B47F-64DDA7BF3F9D}"/>
              </c:ext>
            </c:extLst>
          </c:dPt>
          <c:dPt>
            <c:idx val="2691"/>
            <c:invertIfNegative val="1"/>
            <c:bubble3D val="0"/>
            <c:spPr>
              <a:solidFill>
                <a:srgbClr val="AEABAB"/>
              </a:solidFill>
            </c:spPr>
            <c:extLst>
              <c:ext xmlns:c16="http://schemas.microsoft.com/office/drawing/2014/chart" uri="{C3380CC4-5D6E-409C-BE32-E72D297353CC}">
                <c16:uniqueId val="{00001509-7BE2-49F1-B47F-64DDA7BF3F9D}"/>
              </c:ext>
            </c:extLst>
          </c:dPt>
          <c:dPt>
            <c:idx val="2692"/>
            <c:invertIfNegative val="1"/>
            <c:bubble3D val="0"/>
            <c:spPr>
              <a:solidFill>
                <a:srgbClr val="AEABAB"/>
              </a:solidFill>
            </c:spPr>
            <c:extLst>
              <c:ext xmlns:c16="http://schemas.microsoft.com/office/drawing/2014/chart" uri="{C3380CC4-5D6E-409C-BE32-E72D297353CC}">
                <c16:uniqueId val="{0000150B-7BE2-49F1-B47F-64DDA7BF3F9D}"/>
              </c:ext>
            </c:extLst>
          </c:dPt>
          <c:dPt>
            <c:idx val="2693"/>
            <c:invertIfNegative val="1"/>
            <c:bubble3D val="0"/>
            <c:spPr>
              <a:solidFill>
                <a:srgbClr val="AEABAB"/>
              </a:solidFill>
            </c:spPr>
            <c:extLst>
              <c:ext xmlns:c16="http://schemas.microsoft.com/office/drawing/2014/chart" uri="{C3380CC4-5D6E-409C-BE32-E72D297353CC}">
                <c16:uniqueId val="{0000150D-7BE2-49F1-B47F-64DDA7BF3F9D}"/>
              </c:ext>
            </c:extLst>
          </c:dPt>
          <c:dPt>
            <c:idx val="2694"/>
            <c:invertIfNegative val="1"/>
            <c:bubble3D val="0"/>
            <c:spPr>
              <a:solidFill>
                <a:srgbClr val="AEABAB"/>
              </a:solidFill>
            </c:spPr>
            <c:extLst>
              <c:ext xmlns:c16="http://schemas.microsoft.com/office/drawing/2014/chart" uri="{C3380CC4-5D6E-409C-BE32-E72D297353CC}">
                <c16:uniqueId val="{0000150F-7BE2-49F1-B47F-64DDA7BF3F9D}"/>
              </c:ext>
            </c:extLst>
          </c:dPt>
          <c:dPt>
            <c:idx val="2695"/>
            <c:invertIfNegative val="1"/>
            <c:bubble3D val="0"/>
            <c:spPr>
              <a:solidFill>
                <a:srgbClr val="AEABAB"/>
              </a:solidFill>
            </c:spPr>
            <c:extLst>
              <c:ext xmlns:c16="http://schemas.microsoft.com/office/drawing/2014/chart" uri="{C3380CC4-5D6E-409C-BE32-E72D297353CC}">
                <c16:uniqueId val="{00001511-7BE2-49F1-B47F-64DDA7BF3F9D}"/>
              </c:ext>
            </c:extLst>
          </c:dPt>
          <c:dPt>
            <c:idx val="2696"/>
            <c:invertIfNegative val="1"/>
            <c:bubble3D val="0"/>
            <c:spPr>
              <a:solidFill>
                <a:srgbClr val="AEABAB"/>
              </a:solidFill>
            </c:spPr>
            <c:extLst>
              <c:ext xmlns:c16="http://schemas.microsoft.com/office/drawing/2014/chart" uri="{C3380CC4-5D6E-409C-BE32-E72D297353CC}">
                <c16:uniqueId val="{00001513-7BE2-49F1-B47F-64DDA7BF3F9D}"/>
              </c:ext>
            </c:extLst>
          </c:dPt>
          <c:dPt>
            <c:idx val="2697"/>
            <c:invertIfNegative val="1"/>
            <c:bubble3D val="0"/>
            <c:spPr>
              <a:solidFill>
                <a:srgbClr val="AEABAB"/>
              </a:solidFill>
            </c:spPr>
            <c:extLst>
              <c:ext xmlns:c16="http://schemas.microsoft.com/office/drawing/2014/chart" uri="{C3380CC4-5D6E-409C-BE32-E72D297353CC}">
                <c16:uniqueId val="{00001515-7BE2-49F1-B47F-64DDA7BF3F9D}"/>
              </c:ext>
            </c:extLst>
          </c:dPt>
          <c:dPt>
            <c:idx val="2698"/>
            <c:invertIfNegative val="1"/>
            <c:bubble3D val="0"/>
            <c:spPr>
              <a:solidFill>
                <a:srgbClr val="AEABAB"/>
              </a:solidFill>
            </c:spPr>
            <c:extLst>
              <c:ext xmlns:c16="http://schemas.microsoft.com/office/drawing/2014/chart" uri="{C3380CC4-5D6E-409C-BE32-E72D297353CC}">
                <c16:uniqueId val="{00001517-7BE2-49F1-B47F-64DDA7BF3F9D}"/>
              </c:ext>
            </c:extLst>
          </c:dPt>
          <c:dPt>
            <c:idx val="2699"/>
            <c:invertIfNegative val="1"/>
            <c:bubble3D val="0"/>
            <c:spPr>
              <a:solidFill>
                <a:srgbClr val="AEABAB"/>
              </a:solidFill>
            </c:spPr>
            <c:extLst>
              <c:ext xmlns:c16="http://schemas.microsoft.com/office/drawing/2014/chart" uri="{C3380CC4-5D6E-409C-BE32-E72D297353CC}">
                <c16:uniqueId val="{00001519-7BE2-49F1-B47F-64DDA7BF3F9D}"/>
              </c:ext>
            </c:extLst>
          </c:dPt>
          <c:dPt>
            <c:idx val="2700"/>
            <c:invertIfNegative val="1"/>
            <c:bubble3D val="0"/>
            <c:spPr>
              <a:solidFill>
                <a:srgbClr val="AEABAB"/>
              </a:solidFill>
            </c:spPr>
            <c:extLst>
              <c:ext xmlns:c16="http://schemas.microsoft.com/office/drawing/2014/chart" uri="{C3380CC4-5D6E-409C-BE32-E72D297353CC}">
                <c16:uniqueId val="{0000151B-7BE2-49F1-B47F-64DDA7BF3F9D}"/>
              </c:ext>
            </c:extLst>
          </c:dPt>
          <c:dPt>
            <c:idx val="2701"/>
            <c:invertIfNegative val="1"/>
            <c:bubble3D val="0"/>
            <c:spPr>
              <a:solidFill>
                <a:srgbClr val="AEABAB"/>
              </a:solidFill>
            </c:spPr>
            <c:extLst>
              <c:ext xmlns:c16="http://schemas.microsoft.com/office/drawing/2014/chart" uri="{C3380CC4-5D6E-409C-BE32-E72D297353CC}">
                <c16:uniqueId val="{0000151D-7BE2-49F1-B47F-64DDA7BF3F9D}"/>
              </c:ext>
            </c:extLst>
          </c:dPt>
          <c:dPt>
            <c:idx val="2702"/>
            <c:invertIfNegative val="1"/>
            <c:bubble3D val="0"/>
            <c:spPr>
              <a:solidFill>
                <a:srgbClr val="AEABAB"/>
              </a:solidFill>
            </c:spPr>
            <c:extLst>
              <c:ext xmlns:c16="http://schemas.microsoft.com/office/drawing/2014/chart" uri="{C3380CC4-5D6E-409C-BE32-E72D297353CC}">
                <c16:uniqueId val="{0000151F-7BE2-49F1-B47F-64DDA7BF3F9D}"/>
              </c:ext>
            </c:extLst>
          </c:dPt>
          <c:dPt>
            <c:idx val="2703"/>
            <c:invertIfNegative val="1"/>
            <c:bubble3D val="0"/>
            <c:spPr>
              <a:solidFill>
                <a:srgbClr val="AEABAB"/>
              </a:solidFill>
            </c:spPr>
            <c:extLst>
              <c:ext xmlns:c16="http://schemas.microsoft.com/office/drawing/2014/chart" uri="{C3380CC4-5D6E-409C-BE32-E72D297353CC}">
                <c16:uniqueId val="{00001521-7BE2-49F1-B47F-64DDA7BF3F9D}"/>
              </c:ext>
            </c:extLst>
          </c:dPt>
          <c:dPt>
            <c:idx val="2704"/>
            <c:invertIfNegative val="1"/>
            <c:bubble3D val="0"/>
            <c:spPr>
              <a:solidFill>
                <a:srgbClr val="AEABAB"/>
              </a:solidFill>
            </c:spPr>
            <c:extLst>
              <c:ext xmlns:c16="http://schemas.microsoft.com/office/drawing/2014/chart" uri="{C3380CC4-5D6E-409C-BE32-E72D297353CC}">
                <c16:uniqueId val="{00001523-7BE2-49F1-B47F-64DDA7BF3F9D}"/>
              </c:ext>
            </c:extLst>
          </c:dPt>
          <c:dPt>
            <c:idx val="2705"/>
            <c:invertIfNegative val="1"/>
            <c:bubble3D val="0"/>
            <c:spPr>
              <a:solidFill>
                <a:srgbClr val="AEABAB"/>
              </a:solidFill>
            </c:spPr>
            <c:extLst>
              <c:ext xmlns:c16="http://schemas.microsoft.com/office/drawing/2014/chart" uri="{C3380CC4-5D6E-409C-BE32-E72D297353CC}">
                <c16:uniqueId val="{00001525-7BE2-49F1-B47F-64DDA7BF3F9D}"/>
              </c:ext>
            </c:extLst>
          </c:dPt>
          <c:dPt>
            <c:idx val="2706"/>
            <c:invertIfNegative val="1"/>
            <c:bubble3D val="0"/>
            <c:spPr>
              <a:solidFill>
                <a:srgbClr val="AEABAB"/>
              </a:solidFill>
            </c:spPr>
            <c:extLst>
              <c:ext xmlns:c16="http://schemas.microsoft.com/office/drawing/2014/chart" uri="{C3380CC4-5D6E-409C-BE32-E72D297353CC}">
                <c16:uniqueId val="{00001527-7BE2-49F1-B47F-64DDA7BF3F9D}"/>
              </c:ext>
            </c:extLst>
          </c:dPt>
          <c:dPt>
            <c:idx val="2707"/>
            <c:invertIfNegative val="1"/>
            <c:bubble3D val="0"/>
            <c:spPr>
              <a:solidFill>
                <a:srgbClr val="AEABAB"/>
              </a:solidFill>
            </c:spPr>
            <c:extLst>
              <c:ext xmlns:c16="http://schemas.microsoft.com/office/drawing/2014/chart" uri="{C3380CC4-5D6E-409C-BE32-E72D297353CC}">
                <c16:uniqueId val="{00001529-7BE2-49F1-B47F-64DDA7BF3F9D}"/>
              </c:ext>
            </c:extLst>
          </c:dPt>
          <c:dPt>
            <c:idx val="2708"/>
            <c:invertIfNegative val="1"/>
            <c:bubble3D val="0"/>
            <c:spPr>
              <a:solidFill>
                <a:srgbClr val="AEABAB"/>
              </a:solidFill>
            </c:spPr>
            <c:extLst>
              <c:ext xmlns:c16="http://schemas.microsoft.com/office/drawing/2014/chart" uri="{C3380CC4-5D6E-409C-BE32-E72D297353CC}">
                <c16:uniqueId val="{0000152B-7BE2-49F1-B47F-64DDA7BF3F9D}"/>
              </c:ext>
            </c:extLst>
          </c:dPt>
          <c:dPt>
            <c:idx val="2709"/>
            <c:invertIfNegative val="1"/>
            <c:bubble3D val="0"/>
            <c:spPr>
              <a:solidFill>
                <a:srgbClr val="AEABAB"/>
              </a:solidFill>
            </c:spPr>
            <c:extLst>
              <c:ext xmlns:c16="http://schemas.microsoft.com/office/drawing/2014/chart" uri="{C3380CC4-5D6E-409C-BE32-E72D297353CC}">
                <c16:uniqueId val="{0000152D-7BE2-49F1-B47F-64DDA7BF3F9D}"/>
              </c:ext>
            </c:extLst>
          </c:dPt>
          <c:dPt>
            <c:idx val="2710"/>
            <c:invertIfNegative val="1"/>
            <c:bubble3D val="0"/>
            <c:spPr>
              <a:solidFill>
                <a:srgbClr val="AEABAB"/>
              </a:solidFill>
            </c:spPr>
            <c:extLst>
              <c:ext xmlns:c16="http://schemas.microsoft.com/office/drawing/2014/chart" uri="{C3380CC4-5D6E-409C-BE32-E72D297353CC}">
                <c16:uniqueId val="{0000152F-7BE2-49F1-B47F-64DDA7BF3F9D}"/>
              </c:ext>
            </c:extLst>
          </c:dPt>
          <c:dPt>
            <c:idx val="2711"/>
            <c:invertIfNegative val="1"/>
            <c:bubble3D val="0"/>
            <c:spPr>
              <a:solidFill>
                <a:srgbClr val="AEABAB"/>
              </a:solidFill>
            </c:spPr>
            <c:extLst>
              <c:ext xmlns:c16="http://schemas.microsoft.com/office/drawing/2014/chart" uri="{C3380CC4-5D6E-409C-BE32-E72D297353CC}">
                <c16:uniqueId val="{00001531-7BE2-49F1-B47F-64DDA7BF3F9D}"/>
              </c:ext>
            </c:extLst>
          </c:dPt>
          <c:dPt>
            <c:idx val="2712"/>
            <c:invertIfNegative val="1"/>
            <c:bubble3D val="0"/>
            <c:spPr>
              <a:solidFill>
                <a:srgbClr val="AEABAB"/>
              </a:solidFill>
            </c:spPr>
            <c:extLst>
              <c:ext xmlns:c16="http://schemas.microsoft.com/office/drawing/2014/chart" uri="{C3380CC4-5D6E-409C-BE32-E72D297353CC}">
                <c16:uniqueId val="{00001533-7BE2-49F1-B47F-64DDA7BF3F9D}"/>
              </c:ext>
            </c:extLst>
          </c:dPt>
          <c:dPt>
            <c:idx val="2713"/>
            <c:invertIfNegative val="1"/>
            <c:bubble3D val="0"/>
            <c:spPr>
              <a:solidFill>
                <a:srgbClr val="AEABAB"/>
              </a:solidFill>
            </c:spPr>
            <c:extLst>
              <c:ext xmlns:c16="http://schemas.microsoft.com/office/drawing/2014/chart" uri="{C3380CC4-5D6E-409C-BE32-E72D297353CC}">
                <c16:uniqueId val="{00001535-7BE2-49F1-B47F-64DDA7BF3F9D}"/>
              </c:ext>
            </c:extLst>
          </c:dPt>
          <c:dPt>
            <c:idx val="2714"/>
            <c:invertIfNegative val="1"/>
            <c:bubble3D val="0"/>
            <c:spPr>
              <a:solidFill>
                <a:srgbClr val="AEABAB"/>
              </a:solidFill>
            </c:spPr>
            <c:extLst>
              <c:ext xmlns:c16="http://schemas.microsoft.com/office/drawing/2014/chart" uri="{C3380CC4-5D6E-409C-BE32-E72D297353CC}">
                <c16:uniqueId val="{00001537-7BE2-49F1-B47F-64DDA7BF3F9D}"/>
              </c:ext>
            </c:extLst>
          </c:dPt>
          <c:dPt>
            <c:idx val="2715"/>
            <c:invertIfNegative val="1"/>
            <c:bubble3D val="0"/>
            <c:spPr>
              <a:solidFill>
                <a:srgbClr val="AEABAB"/>
              </a:solidFill>
            </c:spPr>
            <c:extLst>
              <c:ext xmlns:c16="http://schemas.microsoft.com/office/drawing/2014/chart" uri="{C3380CC4-5D6E-409C-BE32-E72D297353CC}">
                <c16:uniqueId val="{00001539-7BE2-49F1-B47F-64DDA7BF3F9D}"/>
              </c:ext>
            </c:extLst>
          </c:dPt>
          <c:dPt>
            <c:idx val="2716"/>
            <c:invertIfNegative val="1"/>
            <c:bubble3D val="0"/>
            <c:spPr>
              <a:solidFill>
                <a:srgbClr val="AEABAB"/>
              </a:solidFill>
            </c:spPr>
            <c:extLst>
              <c:ext xmlns:c16="http://schemas.microsoft.com/office/drawing/2014/chart" uri="{C3380CC4-5D6E-409C-BE32-E72D297353CC}">
                <c16:uniqueId val="{0000153B-7BE2-49F1-B47F-64DDA7BF3F9D}"/>
              </c:ext>
            </c:extLst>
          </c:dPt>
          <c:dPt>
            <c:idx val="2717"/>
            <c:invertIfNegative val="1"/>
            <c:bubble3D val="0"/>
            <c:spPr>
              <a:solidFill>
                <a:srgbClr val="AEABAB"/>
              </a:solidFill>
            </c:spPr>
            <c:extLst>
              <c:ext xmlns:c16="http://schemas.microsoft.com/office/drawing/2014/chart" uri="{C3380CC4-5D6E-409C-BE32-E72D297353CC}">
                <c16:uniqueId val="{0000153D-7BE2-49F1-B47F-64DDA7BF3F9D}"/>
              </c:ext>
            </c:extLst>
          </c:dPt>
          <c:dPt>
            <c:idx val="2718"/>
            <c:invertIfNegative val="1"/>
            <c:bubble3D val="0"/>
            <c:spPr>
              <a:solidFill>
                <a:srgbClr val="AEABAB"/>
              </a:solidFill>
            </c:spPr>
            <c:extLst>
              <c:ext xmlns:c16="http://schemas.microsoft.com/office/drawing/2014/chart" uri="{C3380CC4-5D6E-409C-BE32-E72D297353CC}">
                <c16:uniqueId val="{0000153F-7BE2-49F1-B47F-64DDA7BF3F9D}"/>
              </c:ext>
            </c:extLst>
          </c:dPt>
          <c:dPt>
            <c:idx val="2719"/>
            <c:invertIfNegative val="1"/>
            <c:bubble3D val="0"/>
            <c:spPr>
              <a:solidFill>
                <a:srgbClr val="AEABAB"/>
              </a:solidFill>
            </c:spPr>
            <c:extLst>
              <c:ext xmlns:c16="http://schemas.microsoft.com/office/drawing/2014/chart" uri="{C3380CC4-5D6E-409C-BE32-E72D297353CC}">
                <c16:uniqueId val="{00001541-7BE2-49F1-B47F-64DDA7BF3F9D}"/>
              </c:ext>
            </c:extLst>
          </c:dPt>
          <c:dPt>
            <c:idx val="2720"/>
            <c:invertIfNegative val="1"/>
            <c:bubble3D val="0"/>
            <c:spPr>
              <a:solidFill>
                <a:srgbClr val="AEABAB"/>
              </a:solidFill>
            </c:spPr>
            <c:extLst>
              <c:ext xmlns:c16="http://schemas.microsoft.com/office/drawing/2014/chart" uri="{C3380CC4-5D6E-409C-BE32-E72D297353CC}">
                <c16:uniqueId val="{00001543-7BE2-49F1-B47F-64DDA7BF3F9D}"/>
              </c:ext>
            </c:extLst>
          </c:dPt>
          <c:dPt>
            <c:idx val="2721"/>
            <c:invertIfNegative val="1"/>
            <c:bubble3D val="0"/>
            <c:spPr>
              <a:solidFill>
                <a:srgbClr val="AEABAB"/>
              </a:solidFill>
            </c:spPr>
            <c:extLst>
              <c:ext xmlns:c16="http://schemas.microsoft.com/office/drawing/2014/chart" uri="{C3380CC4-5D6E-409C-BE32-E72D297353CC}">
                <c16:uniqueId val="{00001545-7BE2-49F1-B47F-64DDA7BF3F9D}"/>
              </c:ext>
            </c:extLst>
          </c:dPt>
          <c:dPt>
            <c:idx val="2722"/>
            <c:invertIfNegative val="1"/>
            <c:bubble3D val="0"/>
            <c:spPr>
              <a:solidFill>
                <a:srgbClr val="AEABAB"/>
              </a:solidFill>
            </c:spPr>
            <c:extLst>
              <c:ext xmlns:c16="http://schemas.microsoft.com/office/drawing/2014/chart" uri="{C3380CC4-5D6E-409C-BE32-E72D297353CC}">
                <c16:uniqueId val="{00001547-7BE2-49F1-B47F-64DDA7BF3F9D}"/>
              </c:ext>
            </c:extLst>
          </c:dPt>
          <c:dPt>
            <c:idx val="2723"/>
            <c:invertIfNegative val="1"/>
            <c:bubble3D val="0"/>
            <c:spPr>
              <a:solidFill>
                <a:srgbClr val="AEABAB"/>
              </a:solidFill>
            </c:spPr>
            <c:extLst>
              <c:ext xmlns:c16="http://schemas.microsoft.com/office/drawing/2014/chart" uri="{C3380CC4-5D6E-409C-BE32-E72D297353CC}">
                <c16:uniqueId val="{00001549-7BE2-49F1-B47F-64DDA7BF3F9D}"/>
              </c:ext>
            </c:extLst>
          </c:dPt>
          <c:dPt>
            <c:idx val="2724"/>
            <c:invertIfNegative val="1"/>
            <c:bubble3D val="0"/>
            <c:spPr>
              <a:solidFill>
                <a:srgbClr val="AEABAB"/>
              </a:solidFill>
            </c:spPr>
            <c:extLst>
              <c:ext xmlns:c16="http://schemas.microsoft.com/office/drawing/2014/chart" uri="{C3380CC4-5D6E-409C-BE32-E72D297353CC}">
                <c16:uniqueId val="{0000154B-7BE2-49F1-B47F-64DDA7BF3F9D}"/>
              </c:ext>
            </c:extLst>
          </c:dPt>
          <c:dPt>
            <c:idx val="2725"/>
            <c:invertIfNegative val="1"/>
            <c:bubble3D val="0"/>
            <c:spPr>
              <a:solidFill>
                <a:srgbClr val="AEABAB"/>
              </a:solidFill>
            </c:spPr>
            <c:extLst>
              <c:ext xmlns:c16="http://schemas.microsoft.com/office/drawing/2014/chart" uri="{C3380CC4-5D6E-409C-BE32-E72D297353CC}">
                <c16:uniqueId val="{0000154D-7BE2-49F1-B47F-64DDA7BF3F9D}"/>
              </c:ext>
            </c:extLst>
          </c:dPt>
          <c:dPt>
            <c:idx val="2726"/>
            <c:invertIfNegative val="1"/>
            <c:bubble3D val="0"/>
            <c:spPr>
              <a:solidFill>
                <a:srgbClr val="AEABAB"/>
              </a:solidFill>
            </c:spPr>
            <c:extLst>
              <c:ext xmlns:c16="http://schemas.microsoft.com/office/drawing/2014/chart" uri="{C3380CC4-5D6E-409C-BE32-E72D297353CC}">
                <c16:uniqueId val="{0000154F-7BE2-49F1-B47F-64DDA7BF3F9D}"/>
              </c:ext>
            </c:extLst>
          </c:dPt>
          <c:dPt>
            <c:idx val="2727"/>
            <c:invertIfNegative val="1"/>
            <c:bubble3D val="0"/>
            <c:spPr>
              <a:solidFill>
                <a:srgbClr val="AEABAB"/>
              </a:solidFill>
            </c:spPr>
            <c:extLst>
              <c:ext xmlns:c16="http://schemas.microsoft.com/office/drawing/2014/chart" uri="{C3380CC4-5D6E-409C-BE32-E72D297353CC}">
                <c16:uniqueId val="{00001551-7BE2-49F1-B47F-64DDA7BF3F9D}"/>
              </c:ext>
            </c:extLst>
          </c:dPt>
          <c:dPt>
            <c:idx val="2728"/>
            <c:invertIfNegative val="1"/>
            <c:bubble3D val="0"/>
            <c:spPr>
              <a:solidFill>
                <a:srgbClr val="AEABAB"/>
              </a:solidFill>
            </c:spPr>
            <c:extLst>
              <c:ext xmlns:c16="http://schemas.microsoft.com/office/drawing/2014/chart" uri="{C3380CC4-5D6E-409C-BE32-E72D297353CC}">
                <c16:uniqueId val="{00001553-7BE2-49F1-B47F-64DDA7BF3F9D}"/>
              </c:ext>
            </c:extLst>
          </c:dPt>
          <c:dPt>
            <c:idx val="2729"/>
            <c:invertIfNegative val="1"/>
            <c:bubble3D val="0"/>
            <c:spPr>
              <a:solidFill>
                <a:srgbClr val="AEABAB"/>
              </a:solidFill>
            </c:spPr>
            <c:extLst>
              <c:ext xmlns:c16="http://schemas.microsoft.com/office/drawing/2014/chart" uri="{C3380CC4-5D6E-409C-BE32-E72D297353CC}">
                <c16:uniqueId val="{00001555-7BE2-49F1-B47F-64DDA7BF3F9D}"/>
              </c:ext>
            </c:extLst>
          </c:dPt>
          <c:dPt>
            <c:idx val="2730"/>
            <c:invertIfNegative val="1"/>
            <c:bubble3D val="0"/>
            <c:spPr>
              <a:solidFill>
                <a:srgbClr val="AEABAB"/>
              </a:solidFill>
            </c:spPr>
            <c:extLst>
              <c:ext xmlns:c16="http://schemas.microsoft.com/office/drawing/2014/chart" uri="{C3380CC4-5D6E-409C-BE32-E72D297353CC}">
                <c16:uniqueId val="{00001557-7BE2-49F1-B47F-64DDA7BF3F9D}"/>
              </c:ext>
            </c:extLst>
          </c:dPt>
          <c:dPt>
            <c:idx val="2731"/>
            <c:invertIfNegative val="1"/>
            <c:bubble3D val="0"/>
            <c:spPr>
              <a:solidFill>
                <a:srgbClr val="AEABAB"/>
              </a:solidFill>
            </c:spPr>
            <c:extLst>
              <c:ext xmlns:c16="http://schemas.microsoft.com/office/drawing/2014/chart" uri="{C3380CC4-5D6E-409C-BE32-E72D297353CC}">
                <c16:uniqueId val="{00001559-7BE2-49F1-B47F-64DDA7BF3F9D}"/>
              </c:ext>
            </c:extLst>
          </c:dPt>
          <c:dPt>
            <c:idx val="2732"/>
            <c:invertIfNegative val="1"/>
            <c:bubble3D val="0"/>
            <c:spPr>
              <a:solidFill>
                <a:srgbClr val="AEABAB"/>
              </a:solidFill>
            </c:spPr>
            <c:extLst>
              <c:ext xmlns:c16="http://schemas.microsoft.com/office/drawing/2014/chart" uri="{C3380CC4-5D6E-409C-BE32-E72D297353CC}">
                <c16:uniqueId val="{0000155B-7BE2-49F1-B47F-64DDA7BF3F9D}"/>
              </c:ext>
            </c:extLst>
          </c:dPt>
          <c:dPt>
            <c:idx val="2733"/>
            <c:invertIfNegative val="1"/>
            <c:bubble3D val="0"/>
            <c:spPr>
              <a:solidFill>
                <a:srgbClr val="AEABAB"/>
              </a:solidFill>
            </c:spPr>
            <c:extLst>
              <c:ext xmlns:c16="http://schemas.microsoft.com/office/drawing/2014/chart" uri="{C3380CC4-5D6E-409C-BE32-E72D297353CC}">
                <c16:uniqueId val="{0000155D-7BE2-49F1-B47F-64DDA7BF3F9D}"/>
              </c:ext>
            </c:extLst>
          </c:dPt>
          <c:dPt>
            <c:idx val="2734"/>
            <c:invertIfNegative val="1"/>
            <c:bubble3D val="0"/>
            <c:spPr>
              <a:solidFill>
                <a:srgbClr val="AEABAB"/>
              </a:solidFill>
            </c:spPr>
            <c:extLst>
              <c:ext xmlns:c16="http://schemas.microsoft.com/office/drawing/2014/chart" uri="{C3380CC4-5D6E-409C-BE32-E72D297353CC}">
                <c16:uniqueId val="{0000155F-7BE2-49F1-B47F-64DDA7BF3F9D}"/>
              </c:ext>
            </c:extLst>
          </c:dPt>
          <c:dPt>
            <c:idx val="2735"/>
            <c:invertIfNegative val="1"/>
            <c:bubble3D val="0"/>
            <c:spPr>
              <a:solidFill>
                <a:srgbClr val="AEABAB"/>
              </a:solidFill>
            </c:spPr>
            <c:extLst>
              <c:ext xmlns:c16="http://schemas.microsoft.com/office/drawing/2014/chart" uri="{C3380CC4-5D6E-409C-BE32-E72D297353CC}">
                <c16:uniqueId val="{00001561-7BE2-49F1-B47F-64DDA7BF3F9D}"/>
              </c:ext>
            </c:extLst>
          </c:dPt>
          <c:dPt>
            <c:idx val="2736"/>
            <c:invertIfNegative val="1"/>
            <c:bubble3D val="0"/>
            <c:spPr>
              <a:solidFill>
                <a:srgbClr val="AEABAB"/>
              </a:solidFill>
            </c:spPr>
            <c:extLst>
              <c:ext xmlns:c16="http://schemas.microsoft.com/office/drawing/2014/chart" uri="{C3380CC4-5D6E-409C-BE32-E72D297353CC}">
                <c16:uniqueId val="{00001563-7BE2-49F1-B47F-64DDA7BF3F9D}"/>
              </c:ext>
            </c:extLst>
          </c:dPt>
          <c:dPt>
            <c:idx val="2737"/>
            <c:invertIfNegative val="1"/>
            <c:bubble3D val="0"/>
            <c:spPr>
              <a:solidFill>
                <a:srgbClr val="AEABAB"/>
              </a:solidFill>
            </c:spPr>
            <c:extLst>
              <c:ext xmlns:c16="http://schemas.microsoft.com/office/drawing/2014/chart" uri="{C3380CC4-5D6E-409C-BE32-E72D297353CC}">
                <c16:uniqueId val="{00001565-7BE2-49F1-B47F-64DDA7BF3F9D}"/>
              </c:ext>
            </c:extLst>
          </c:dPt>
          <c:dPt>
            <c:idx val="2738"/>
            <c:invertIfNegative val="1"/>
            <c:bubble3D val="0"/>
            <c:spPr>
              <a:solidFill>
                <a:srgbClr val="AEABAB"/>
              </a:solidFill>
            </c:spPr>
            <c:extLst>
              <c:ext xmlns:c16="http://schemas.microsoft.com/office/drawing/2014/chart" uri="{C3380CC4-5D6E-409C-BE32-E72D297353CC}">
                <c16:uniqueId val="{00001567-7BE2-49F1-B47F-64DDA7BF3F9D}"/>
              </c:ext>
            </c:extLst>
          </c:dPt>
          <c:dPt>
            <c:idx val="2739"/>
            <c:invertIfNegative val="1"/>
            <c:bubble3D val="0"/>
            <c:spPr>
              <a:solidFill>
                <a:srgbClr val="AEABAB"/>
              </a:solidFill>
            </c:spPr>
            <c:extLst>
              <c:ext xmlns:c16="http://schemas.microsoft.com/office/drawing/2014/chart" uri="{C3380CC4-5D6E-409C-BE32-E72D297353CC}">
                <c16:uniqueId val="{00001569-7BE2-49F1-B47F-64DDA7BF3F9D}"/>
              </c:ext>
            </c:extLst>
          </c:dPt>
          <c:dPt>
            <c:idx val="2740"/>
            <c:invertIfNegative val="1"/>
            <c:bubble3D val="0"/>
            <c:spPr>
              <a:solidFill>
                <a:srgbClr val="AEABAB"/>
              </a:solidFill>
            </c:spPr>
            <c:extLst>
              <c:ext xmlns:c16="http://schemas.microsoft.com/office/drawing/2014/chart" uri="{C3380CC4-5D6E-409C-BE32-E72D297353CC}">
                <c16:uniqueId val="{0000156B-7BE2-49F1-B47F-64DDA7BF3F9D}"/>
              </c:ext>
            </c:extLst>
          </c:dPt>
          <c:dPt>
            <c:idx val="2741"/>
            <c:invertIfNegative val="1"/>
            <c:bubble3D val="0"/>
            <c:spPr>
              <a:solidFill>
                <a:srgbClr val="AEABAB"/>
              </a:solidFill>
            </c:spPr>
            <c:extLst>
              <c:ext xmlns:c16="http://schemas.microsoft.com/office/drawing/2014/chart" uri="{C3380CC4-5D6E-409C-BE32-E72D297353CC}">
                <c16:uniqueId val="{0000156D-7BE2-49F1-B47F-64DDA7BF3F9D}"/>
              </c:ext>
            </c:extLst>
          </c:dPt>
          <c:dPt>
            <c:idx val="2742"/>
            <c:invertIfNegative val="1"/>
            <c:bubble3D val="0"/>
            <c:spPr>
              <a:solidFill>
                <a:srgbClr val="AEABAB"/>
              </a:solidFill>
            </c:spPr>
            <c:extLst>
              <c:ext xmlns:c16="http://schemas.microsoft.com/office/drawing/2014/chart" uri="{C3380CC4-5D6E-409C-BE32-E72D297353CC}">
                <c16:uniqueId val="{0000156F-7BE2-49F1-B47F-64DDA7BF3F9D}"/>
              </c:ext>
            </c:extLst>
          </c:dPt>
          <c:dPt>
            <c:idx val="2743"/>
            <c:invertIfNegative val="1"/>
            <c:bubble3D val="0"/>
            <c:spPr>
              <a:solidFill>
                <a:srgbClr val="AEABAB"/>
              </a:solidFill>
            </c:spPr>
            <c:extLst>
              <c:ext xmlns:c16="http://schemas.microsoft.com/office/drawing/2014/chart" uri="{C3380CC4-5D6E-409C-BE32-E72D297353CC}">
                <c16:uniqueId val="{00001571-7BE2-49F1-B47F-64DDA7BF3F9D}"/>
              </c:ext>
            </c:extLst>
          </c:dPt>
          <c:dPt>
            <c:idx val="2744"/>
            <c:invertIfNegative val="1"/>
            <c:bubble3D val="0"/>
            <c:spPr>
              <a:solidFill>
                <a:srgbClr val="AEABAB"/>
              </a:solidFill>
            </c:spPr>
            <c:extLst>
              <c:ext xmlns:c16="http://schemas.microsoft.com/office/drawing/2014/chart" uri="{C3380CC4-5D6E-409C-BE32-E72D297353CC}">
                <c16:uniqueId val="{00001573-7BE2-49F1-B47F-64DDA7BF3F9D}"/>
              </c:ext>
            </c:extLst>
          </c:dPt>
          <c:dPt>
            <c:idx val="2745"/>
            <c:invertIfNegative val="1"/>
            <c:bubble3D val="0"/>
            <c:spPr>
              <a:solidFill>
                <a:srgbClr val="AEABAB"/>
              </a:solidFill>
            </c:spPr>
            <c:extLst>
              <c:ext xmlns:c16="http://schemas.microsoft.com/office/drawing/2014/chart" uri="{C3380CC4-5D6E-409C-BE32-E72D297353CC}">
                <c16:uniqueId val="{00001575-7BE2-49F1-B47F-64DDA7BF3F9D}"/>
              </c:ext>
            </c:extLst>
          </c:dPt>
          <c:dPt>
            <c:idx val="2746"/>
            <c:invertIfNegative val="1"/>
            <c:bubble3D val="0"/>
            <c:spPr>
              <a:solidFill>
                <a:srgbClr val="AEABAB"/>
              </a:solidFill>
            </c:spPr>
            <c:extLst>
              <c:ext xmlns:c16="http://schemas.microsoft.com/office/drawing/2014/chart" uri="{C3380CC4-5D6E-409C-BE32-E72D297353CC}">
                <c16:uniqueId val="{00001577-7BE2-49F1-B47F-64DDA7BF3F9D}"/>
              </c:ext>
            </c:extLst>
          </c:dPt>
          <c:dPt>
            <c:idx val="2747"/>
            <c:invertIfNegative val="1"/>
            <c:bubble3D val="0"/>
            <c:spPr>
              <a:solidFill>
                <a:srgbClr val="AEABAB"/>
              </a:solidFill>
            </c:spPr>
            <c:extLst>
              <c:ext xmlns:c16="http://schemas.microsoft.com/office/drawing/2014/chart" uri="{C3380CC4-5D6E-409C-BE32-E72D297353CC}">
                <c16:uniqueId val="{00001579-7BE2-49F1-B47F-64DDA7BF3F9D}"/>
              </c:ext>
            </c:extLst>
          </c:dPt>
          <c:dPt>
            <c:idx val="2748"/>
            <c:invertIfNegative val="1"/>
            <c:bubble3D val="0"/>
            <c:spPr>
              <a:solidFill>
                <a:srgbClr val="AEABAB"/>
              </a:solidFill>
            </c:spPr>
            <c:extLst>
              <c:ext xmlns:c16="http://schemas.microsoft.com/office/drawing/2014/chart" uri="{C3380CC4-5D6E-409C-BE32-E72D297353CC}">
                <c16:uniqueId val="{0000157B-7BE2-49F1-B47F-64DDA7BF3F9D}"/>
              </c:ext>
            </c:extLst>
          </c:dPt>
          <c:dPt>
            <c:idx val="2749"/>
            <c:invertIfNegative val="1"/>
            <c:bubble3D val="0"/>
            <c:spPr>
              <a:solidFill>
                <a:srgbClr val="AEABAB"/>
              </a:solidFill>
            </c:spPr>
            <c:extLst>
              <c:ext xmlns:c16="http://schemas.microsoft.com/office/drawing/2014/chart" uri="{C3380CC4-5D6E-409C-BE32-E72D297353CC}">
                <c16:uniqueId val="{0000157D-7BE2-49F1-B47F-64DDA7BF3F9D}"/>
              </c:ext>
            </c:extLst>
          </c:dPt>
          <c:dPt>
            <c:idx val="2750"/>
            <c:invertIfNegative val="1"/>
            <c:bubble3D val="0"/>
            <c:spPr>
              <a:solidFill>
                <a:srgbClr val="AEABAB"/>
              </a:solidFill>
            </c:spPr>
            <c:extLst>
              <c:ext xmlns:c16="http://schemas.microsoft.com/office/drawing/2014/chart" uri="{C3380CC4-5D6E-409C-BE32-E72D297353CC}">
                <c16:uniqueId val="{0000157F-7BE2-49F1-B47F-64DDA7BF3F9D}"/>
              </c:ext>
            </c:extLst>
          </c:dPt>
          <c:dPt>
            <c:idx val="2751"/>
            <c:invertIfNegative val="1"/>
            <c:bubble3D val="0"/>
            <c:spPr>
              <a:solidFill>
                <a:srgbClr val="AEABAB"/>
              </a:solidFill>
            </c:spPr>
            <c:extLst>
              <c:ext xmlns:c16="http://schemas.microsoft.com/office/drawing/2014/chart" uri="{C3380CC4-5D6E-409C-BE32-E72D297353CC}">
                <c16:uniqueId val="{00001581-7BE2-49F1-B47F-64DDA7BF3F9D}"/>
              </c:ext>
            </c:extLst>
          </c:dPt>
          <c:dPt>
            <c:idx val="2752"/>
            <c:invertIfNegative val="1"/>
            <c:bubble3D val="0"/>
            <c:spPr>
              <a:solidFill>
                <a:srgbClr val="AEABAB"/>
              </a:solidFill>
            </c:spPr>
            <c:extLst>
              <c:ext xmlns:c16="http://schemas.microsoft.com/office/drawing/2014/chart" uri="{C3380CC4-5D6E-409C-BE32-E72D297353CC}">
                <c16:uniqueId val="{00001583-7BE2-49F1-B47F-64DDA7BF3F9D}"/>
              </c:ext>
            </c:extLst>
          </c:dPt>
          <c:dPt>
            <c:idx val="2753"/>
            <c:invertIfNegative val="1"/>
            <c:bubble3D val="0"/>
            <c:spPr>
              <a:solidFill>
                <a:srgbClr val="AEABAB"/>
              </a:solidFill>
            </c:spPr>
            <c:extLst>
              <c:ext xmlns:c16="http://schemas.microsoft.com/office/drawing/2014/chart" uri="{C3380CC4-5D6E-409C-BE32-E72D297353CC}">
                <c16:uniqueId val="{00001585-7BE2-49F1-B47F-64DDA7BF3F9D}"/>
              </c:ext>
            </c:extLst>
          </c:dPt>
          <c:dPt>
            <c:idx val="2754"/>
            <c:invertIfNegative val="1"/>
            <c:bubble3D val="0"/>
            <c:spPr>
              <a:solidFill>
                <a:srgbClr val="AEABAB"/>
              </a:solidFill>
            </c:spPr>
            <c:extLst>
              <c:ext xmlns:c16="http://schemas.microsoft.com/office/drawing/2014/chart" uri="{C3380CC4-5D6E-409C-BE32-E72D297353CC}">
                <c16:uniqueId val="{00001587-7BE2-49F1-B47F-64DDA7BF3F9D}"/>
              </c:ext>
            </c:extLst>
          </c:dPt>
          <c:dPt>
            <c:idx val="2755"/>
            <c:invertIfNegative val="1"/>
            <c:bubble3D val="0"/>
            <c:spPr>
              <a:solidFill>
                <a:srgbClr val="AEABAB"/>
              </a:solidFill>
            </c:spPr>
            <c:extLst>
              <c:ext xmlns:c16="http://schemas.microsoft.com/office/drawing/2014/chart" uri="{C3380CC4-5D6E-409C-BE32-E72D297353CC}">
                <c16:uniqueId val="{00001589-7BE2-49F1-B47F-64DDA7BF3F9D}"/>
              </c:ext>
            </c:extLst>
          </c:dPt>
          <c:dPt>
            <c:idx val="2756"/>
            <c:invertIfNegative val="1"/>
            <c:bubble3D val="0"/>
            <c:spPr>
              <a:solidFill>
                <a:srgbClr val="AEABAB"/>
              </a:solidFill>
            </c:spPr>
            <c:extLst>
              <c:ext xmlns:c16="http://schemas.microsoft.com/office/drawing/2014/chart" uri="{C3380CC4-5D6E-409C-BE32-E72D297353CC}">
                <c16:uniqueId val="{0000158B-7BE2-49F1-B47F-64DDA7BF3F9D}"/>
              </c:ext>
            </c:extLst>
          </c:dPt>
          <c:dPt>
            <c:idx val="2757"/>
            <c:invertIfNegative val="1"/>
            <c:bubble3D val="0"/>
            <c:spPr>
              <a:solidFill>
                <a:srgbClr val="AEABAB"/>
              </a:solidFill>
            </c:spPr>
            <c:extLst>
              <c:ext xmlns:c16="http://schemas.microsoft.com/office/drawing/2014/chart" uri="{C3380CC4-5D6E-409C-BE32-E72D297353CC}">
                <c16:uniqueId val="{0000158D-7BE2-49F1-B47F-64DDA7BF3F9D}"/>
              </c:ext>
            </c:extLst>
          </c:dPt>
          <c:dPt>
            <c:idx val="2758"/>
            <c:invertIfNegative val="1"/>
            <c:bubble3D val="0"/>
            <c:spPr>
              <a:solidFill>
                <a:srgbClr val="AEABAB"/>
              </a:solidFill>
            </c:spPr>
            <c:extLst>
              <c:ext xmlns:c16="http://schemas.microsoft.com/office/drawing/2014/chart" uri="{C3380CC4-5D6E-409C-BE32-E72D297353CC}">
                <c16:uniqueId val="{0000158F-7BE2-49F1-B47F-64DDA7BF3F9D}"/>
              </c:ext>
            </c:extLst>
          </c:dPt>
          <c:dPt>
            <c:idx val="2759"/>
            <c:invertIfNegative val="1"/>
            <c:bubble3D val="0"/>
            <c:spPr>
              <a:solidFill>
                <a:srgbClr val="AEABAB"/>
              </a:solidFill>
            </c:spPr>
            <c:extLst>
              <c:ext xmlns:c16="http://schemas.microsoft.com/office/drawing/2014/chart" uri="{C3380CC4-5D6E-409C-BE32-E72D297353CC}">
                <c16:uniqueId val="{00001591-7BE2-49F1-B47F-64DDA7BF3F9D}"/>
              </c:ext>
            </c:extLst>
          </c:dPt>
          <c:dPt>
            <c:idx val="2760"/>
            <c:invertIfNegative val="1"/>
            <c:bubble3D val="0"/>
            <c:spPr>
              <a:solidFill>
                <a:srgbClr val="AEABAB"/>
              </a:solidFill>
            </c:spPr>
            <c:extLst>
              <c:ext xmlns:c16="http://schemas.microsoft.com/office/drawing/2014/chart" uri="{C3380CC4-5D6E-409C-BE32-E72D297353CC}">
                <c16:uniqueId val="{00001593-7BE2-49F1-B47F-64DDA7BF3F9D}"/>
              </c:ext>
            </c:extLst>
          </c:dPt>
          <c:dPt>
            <c:idx val="2761"/>
            <c:invertIfNegative val="1"/>
            <c:bubble3D val="0"/>
            <c:spPr>
              <a:solidFill>
                <a:srgbClr val="AEABAB"/>
              </a:solidFill>
            </c:spPr>
            <c:extLst>
              <c:ext xmlns:c16="http://schemas.microsoft.com/office/drawing/2014/chart" uri="{C3380CC4-5D6E-409C-BE32-E72D297353CC}">
                <c16:uniqueId val="{00001595-7BE2-49F1-B47F-64DDA7BF3F9D}"/>
              </c:ext>
            </c:extLst>
          </c:dPt>
          <c:dPt>
            <c:idx val="2762"/>
            <c:invertIfNegative val="1"/>
            <c:bubble3D val="0"/>
            <c:spPr>
              <a:solidFill>
                <a:srgbClr val="AEABAB"/>
              </a:solidFill>
            </c:spPr>
            <c:extLst>
              <c:ext xmlns:c16="http://schemas.microsoft.com/office/drawing/2014/chart" uri="{C3380CC4-5D6E-409C-BE32-E72D297353CC}">
                <c16:uniqueId val="{00001597-7BE2-49F1-B47F-64DDA7BF3F9D}"/>
              </c:ext>
            </c:extLst>
          </c:dPt>
          <c:dPt>
            <c:idx val="2763"/>
            <c:invertIfNegative val="1"/>
            <c:bubble3D val="0"/>
            <c:spPr>
              <a:solidFill>
                <a:srgbClr val="AEABAB"/>
              </a:solidFill>
            </c:spPr>
            <c:extLst>
              <c:ext xmlns:c16="http://schemas.microsoft.com/office/drawing/2014/chart" uri="{C3380CC4-5D6E-409C-BE32-E72D297353CC}">
                <c16:uniqueId val="{00001599-7BE2-49F1-B47F-64DDA7BF3F9D}"/>
              </c:ext>
            </c:extLst>
          </c:dPt>
          <c:dPt>
            <c:idx val="2764"/>
            <c:invertIfNegative val="1"/>
            <c:bubble3D val="0"/>
            <c:spPr>
              <a:solidFill>
                <a:srgbClr val="AEABAB"/>
              </a:solidFill>
            </c:spPr>
            <c:extLst>
              <c:ext xmlns:c16="http://schemas.microsoft.com/office/drawing/2014/chart" uri="{C3380CC4-5D6E-409C-BE32-E72D297353CC}">
                <c16:uniqueId val="{0000159B-7BE2-49F1-B47F-64DDA7BF3F9D}"/>
              </c:ext>
            </c:extLst>
          </c:dPt>
          <c:dPt>
            <c:idx val="2765"/>
            <c:invertIfNegative val="1"/>
            <c:bubble3D val="0"/>
            <c:spPr>
              <a:solidFill>
                <a:srgbClr val="AEABAB"/>
              </a:solidFill>
            </c:spPr>
            <c:extLst>
              <c:ext xmlns:c16="http://schemas.microsoft.com/office/drawing/2014/chart" uri="{C3380CC4-5D6E-409C-BE32-E72D297353CC}">
                <c16:uniqueId val="{0000159D-7BE2-49F1-B47F-64DDA7BF3F9D}"/>
              </c:ext>
            </c:extLst>
          </c:dPt>
          <c:dPt>
            <c:idx val="2766"/>
            <c:invertIfNegative val="1"/>
            <c:bubble3D val="0"/>
            <c:spPr>
              <a:solidFill>
                <a:srgbClr val="AEABAB"/>
              </a:solidFill>
            </c:spPr>
            <c:extLst>
              <c:ext xmlns:c16="http://schemas.microsoft.com/office/drawing/2014/chart" uri="{C3380CC4-5D6E-409C-BE32-E72D297353CC}">
                <c16:uniqueId val="{0000159F-7BE2-49F1-B47F-64DDA7BF3F9D}"/>
              </c:ext>
            </c:extLst>
          </c:dPt>
          <c:dPt>
            <c:idx val="2767"/>
            <c:invertIfNegative val="1"/>
            <c:bubble3D val="0"/>
            <c:spPr>
              <a:solidFill>
                <a:srgbClr val="AEABAB"/>
              </a:solidFill>
            </c:spPr>
            <c:extLst>
              <c:ext xmlns:c16="http://schemas.microsoft.com/office/drawing/2014/chart" uri="{C3380CC4-5D6E-409C-BE32-E72D297353CC}">
                <c16:uniqueId val="{000015A1-7BE2-49F1-B47F-64DDA7BF3F9D}"/>
              </c:ext>
            </c:extLst>
          </c:dPt>
          <c:dPt>
            <c:idx val="2768"/>
            <c:invertIfNegative val="1"/>
            <c:bubble3D val="0"/>
            <c:spPr>
              <a:solidFill>
                <a:srgbClr val="AEABAB"/>
              </a:solidFill>
            </c:spPr>
            <c:extLst>
              <c:ext xmlns:c16="http://schemas.microsoft.com/office/drawing/2014/chart" uri="{C3380CC4-5D6E-409C-BE32-E72D297353CC}">
                <c16:uniqueId val="{000015A3-7BE2-49F1-B47F-64DDA7BF3F9D}"/>
              </c:ext>
            </c:extLst>
          </c:dPt>
          <c:dPt>
            <c:idx val="2769"/>
            <c:invertIfNegative val="1"/>
            <c:bubble3D val="0"/>
            <c:spPr>
              <a:solidFill>
                <a:srgbClr val="AEABAB"/>
              </a:solidFill>
            </c:spPr>
            <c:extLst>
              <c:ext xmlns:c16="http://schemas.microsoft.com/office/drawing/2014/chart" uri="{C3380CC4-5D6E-409C-BE32-E72D297353CC}">
                <c16:uniqueId val="{000015A5-7BE2-49F1-B47F-64DDA7BF3F9D}"/>
              </c:ext>
            </c:extLst>
          </c:dPt>
          <c:dPt>
            <c:idx val="2770"/>
            <c:invertIfNegative val="1"/>
            <c:bubble3D val="0"/>
            <c:spPr>
              <a:solidFill>
                <a:srgbClr val="AEABAB"/>
              </a:solidFill>
            </c:spPr>
            <c:extLst>
              <c:ext xmlns:c16="http://schemas.microsoft.com/office/drawing/2014/chart" uri="{C3380CC4-5D6E-409C-BE32-E72D297353CC}">
                <c16:uniqueId val="{000015A7-7BE2-49F1-B47F-64DDA7BF3F9D}"/>
              </c:ext>
            </c:extLst>
          </c:dPt>
          <c:dPt>
            <c:idx val="2771"/>
            <c:invertIfNegative val="1"/>
            <c:bubble3D val="0"/>
            <c:spPr>
              <a:solidFill>
                <a:srgbClr val="AEABAB"/>
              </a:solidFill>
            </c:spPr>
            <c:extLst>
              <c:ext xmlns:c16="http://schemas.microsoft.com/office/drawing/2014/chart" uri="{C3380CC4-5D6E-409C-BE32-E72D297353CC}">
                <c16:uniqueId val="{000015A9-7BE2-49F1-B47F-64DDA7BF3F9D}"/>
              </c:ext>
            </c:extLst>
          </c:dPt>
          <c:dPt>
            <c:idx val="2772"/>
            <c:invertIfNegative val="1"/>
            <c:bubble3D val="0"/>
            <c:spPr>
              <a:solidFill>
                <a:srgbClr val="AEABAB"/>
              </a:solidFill>
            </c:spPr>
            <c:extLst>
              <c:ext xmlns:c16="http://schemas.microsoft.com/office/drawing/2014/chart" uri="{C3380CC4-5D6E-409C-BE32-E72D297353CC}">
                <c16:uniqueId val="{000015AB-7BE2-49F1-B47F-64DDA7BF3F9D}"/>
              </c:ext>
            </c:extLst>
          </c:dPt>
          <c:dPt>
            <c:idx val="2773"/>
            <c:invertIfNegative val="1"/>
            <c:bubble3D val="0"/>
            <c:spPr>
              <a:solidFill>
                <a:srgbClr val="AEABAB"/>
              </a:solidFill>
            </c:spPr>
            <c:extLst>
              <c:ext xmlns:c16="http://schemas.microsoft.com/office/drawing/2014/chart" uri="{C3380CC4-5D6E-409C-BE32-E72D297353CC}">
                <c16:uniqueId val="{000015AD-7BE2-49F1-B47F-64DDA7BF3F9D}"/>
              </c:ext>
            </c:extLst>
          </c:dPt>
          <c:dPt>
            <c:idx val="2774"/>
            <c:invertIfNegative val="1"/>
            <c:bubble3D val="0"/>
            <c:spPr>
              <a:solidFill>
                <a:srgbClr val="AEABAB"/>
              </a:solidFill>
            </c:spPr>
            <c:extLst>
              <c:ext xmlns:c16="http://schemas.microsoft.com/office/drawing/2014/chart" uri="{C3380CC4-5D6E-409C-BE32-E72D297353CC}">
                <c16:uniqueId val="{000015AF-7BE2-49F1-B47F-64DDA7BF3F9D}"/>
              </c:ext>
            </c:extLst>
          </c:dPt>
          <c:dPt>
            <c:idx val="2775"/>
            <c:invertIfNegative val="1"/>
            <c:bubble3D val="0"/>
            <c:spPr>
              <a:solidFill>
                <a:srgbClr val="AEABAB"/>
              </a:solidFill>
            </c:spPr>
            <c:extLst>
              <c:ext xmlns:c16="http://schemas.microsoft.com/office/drawing/2014/chart" uri="{C3380CC4-5D6E-409C-BE32-E72D297353CC}">
                <c16:uniqueId val="{000015B1-7BE2-49F1-B47F-64DDA7BF3F9D}"/>
              </c:ext>
            </c:extLst>
          </c:dPt>
          <c:dPt>
            <c:idx val="2776"/>
            <c:invertIfNegative val="1"/>
            <c:bubble3D val="0"/>
            <c:spPr>
              <a:solidFill>
                <a:srgbClr val="AEABAB"/>
              </a:solidFill>
            </c:spPr>
            <c:extLst>
              <c:ext xmlns:c16="http://schemas.microsoft.com/office/drawing/2014/chart" uri="{C3380CC4-5D6E-409C-BE32-E72D297353CC}">
                <c16:uniqueId val="{000015B3-7BE2-49F1-B47F-64DDA7BF3F9D}"/>
              </c:ext>
            </c:extLst>
          </c:dPt>
          <c:dPt>
            <c:idx val="2777"/>
            <c:invertIfNegative val="1"/>
            <c:bubble3D val="0"/>
            <c:spPr>
              <a:solidFill>
                <a:srgbClr val="AEABAB"/>
              </a:solidFill>
            </c:spPr>
            <c:extLst>
              <c:ext xmlns:c16="http://schemas.microsoft.com/office/drawing/2014/chart" uri="{C3380CC4-5D6E-409C-BE32-E72D297353CC}">
                <c16:uniqueId val="{000015B5-7BE2-49F1-B47F-64DDA7BF3F9D}"/>
              </c:ext>
            </c:extLst>
          </c:dPt>
          <c:dPt>
            <c:idx val="2778"/>
            <c:invertIfNegative val="1"/>
            <c:bubble3D val="0"/>
            <c:spPr>
              <a:solidFill>
                <a:srgbClr val="AEABAB"/>
              </a:solidFill>
            </c:spPr>
            <c:extLst>
              <c:ext xmlns:c16="http://schemas.microsoft.com/office/drawing/2014/chart" uri="{C3380CC4-5D6E-409C-BE32-E72D297353CC}">
                <c16:uniqueId val="{000015B7-7BE2-49F1-B47F-64DDA7BF3F9D}"/>
              </c:ext>
            </c:extLst>
          </c:dPt>
          <c:dPt>
            <c:idx val="2779"/>
            <c:invertIfNegative val="1"/>
            <c:bubble3D val="0"/>
            <c:spPr>
              <a:solidFill>
                <a:srgbClr val="AEABAB"/>
              </a:solidFill>
            </c:spPr>
            <c:extLst>
              <c:ext xmlns:c16="http://schemas.microsoft.com/office/drawing/2014/chart" uri="{C3380CC4-5D6E-409C-BE32-E72D297353CC}">
                <c16:uniqueId val="{000015B9-7BE2-49F1-B47F-64DDA7BF3F9D}"/>
              </c:ext>
            </c:extLst>
          </c:dPt>
          <c:dPt>
            <c:idx val="2780"/>
            <c:invertIfNegative val="1"/>
            <c:bubble3D val="0"/>
            <c:spPr>
              <a:solidFill>
                <a:srgbClr val="AEABAB"/>
              </a:solidFill>
            </c:spPr>
            <c:extLst>
              <c:ext xmlns:c16="http://schemas.microsoft.com/office/drawing/2014/chart" uri="{C3380CC4-5D6E-409C-BE32-E72D297353CC}">
                <c16:uniqueId val="{000015BB-7BE2-49F1-B47F-64DDA7BF3F9D}"/>
              </c:ext>
            </c:extLst>
          </c:dPt>
          <c:dPt>
            <c:idx val="2781"/>
            <c:invertIfNegative val="1"/>
            <c:bubble3D val="0"/>
            <c:spPr>
              <a:solidFill>
                <a:srgbClr val="AEABAB"/>
              </a:solidFill>
            </c:spPr>
            <c:extLst>
              <c:ext xmlns:c16="http://schemas.microsoft.com/office/drawing/2014/chart" uri="{C3380CC4-5D6E-409C-BE32-E72D297353CC}">
                <c16:uniqueId val="{000015BD-7BE2-49F1-B47F-64DDA7BF3F9D}"/>
              </c:ext>
            </c:extLst>
          </c:dPt>
          <c:dPt>
            <c:idx val="2782"/>
            <c:invertIfNegative val="1"/>
            <c:bubble3D val="0"/>
            <c:spPr>
              <a:solidFill>
                <a:srgbClr val="AEABAB"/>
              </a:solidFill>
            </c:spPr>
            <c:extLst>
              <c:ext xmlns:c16="http://schemas.microsoft.com/office/drawing/2014/chart" uri="{C3380CC4-5D6E-409C-BE32-E72D297353CC}">
                <c16:uniqueId val="{000015BF-7BE2-49F1-B47F-64DDA7BF3F9D}"/>
              </c:ext>
            </c:extLst>
          </c:dPt>
          <c:dPt>
            <c:idx val="2783"/>
            <c:invertIfNegative val="1"/>
            <c:bubble3D val="0"/>
            <c:spPr>
              <a:solidFill>
                <a:srgbClr val="AEABAB"/>
              </a:solidFill>
            </c:spPr>
            <c:extLst>
              <c:ext xmlns:c16="http://schemas.microsoft.com/office/drawing/2014/chart" uri="{C3380CC4-5D6E-409C-BE32-E72D297353CC}">
                <c16:uniqueId val="{000015C1-7BE2-49F1-B47F-64DDA7BF3F9D}"/>
              </c:ext>
            </c:extLst>
          </c:dPt>
          <c:dPt>
            <c:idx val="2784"/>
            <c:invertIfNegative val="1"/>
            <c:bubble3D val="0"/>
            <c:spPr>
              <a:solidFill>
                <a:srgbClr val="AEABAB"/>
              </a:solidFill>
            </c:spPr>
            <c:extLst>
              <c:ext xmlns:c16="http://schemas.microsoft.com/office/drawing/2014/chart" uri="{C3380CC4-5D6E-409C-BE32-E72D297353CC}">
                <c16:uniqueId val="{000015C3-7BE2-49F1-B47F-64DDA7BF3F9D}"/>
              </c:ext>
            </c:extLst>
          </c:dPt>
          <c:dPt>
            <c:idx val="2785"/>
            <c:invertIfNegative val="1"/>
            <c:bubble3D val="0"/>
            <c:spPr>
              <a:solidFill>
                <a:srgbClr val="AEABAB"/>
              </a:solidFill>
            </c:spPr>
            <c:extLst>
              <c:ext xmlns:c16="http://schemas.microsoft.com/office/drawing/2014/chart" uri="{C3380CC4-5D6E-409C-BE32-E72D297353CC}">
                <c16:uniqueId val="{000015C5-7BE2-49F1-B47F-64DDA7BF3F9D}"/>
              </c:ext>
            </c:extLst>
          </c:dPt>
          <c:dPt>
            <c:idx val="2786"/>
            <c:invertIfNegative val="1"/>
            <c:bubble3D val="0"/>
            <c:spPr>
              <a:solidFill>
                <a:srgbClr val="AEABAB"/>
              </a:solidFill>
            </c:spPr>
            <c:extLst>
              <c:ext xmlns:c16="http://schemas.microsoft.com/office/drawing/2014/chart" uri="{C3380CC4-5D6E-409C-BE32-E72D297353CC}">
                <c16:uniqueId val="{000015C7-7BE2-49F1-B47F-64DDA7BF3F9D}"/>
              </c:ext>
            </c:extLst>
          </c:dPt>
          <c:dPt>
            <c:idx val="2787"/>
            <c:invertIfNegative val="1"/>
            <c:bubble3D val="0"/>
            <c:spPr>
              <a:solidFill>
                <a:srgbClr val="AEABAB"/>
              </a:solidFill>
            </c:spPr>
            <c:extLst>
              <c:ext xmlns:c16="http://schemas.microsoft.com/office/drawing/2014/chart" uri="{C3380CC4-5D6E-409C-BE32-E72D297353CC}">
                <c16:uniqueId val="{000015C9-7BE2-49F1-B47F-64DDA7BF3F9D}"/>
              </c:ext>
            </c:extLst>
          </c:dPt>
          <c:dPt>
            <c:idx val="2788"/>
            <c:invertIfNegative val="1"/>
            <c:bubble3D val="0"/>
            <c:spPr>
              <a:solidFill>
                <a:srgbClr val="AEABAB"/>
              </a:solidFill>
            </c:spPr>
            <c:extLst>
              <c:ext xmlns:c16="http://schemas.microsoft.com/office/drawing/2014/chart" uri="{C3380CC4-5D6E-409C-BE32-E72D297353CC}">
                <c16:uniqueId val="{000015CB-7BE2-49F1-B47F-64DDA7BF3F9D}"/>
              </c:ext>
            </c:extLst>
          </c:dPt>
          <c:dPt>
            <c:idx val="2789"/>
            <c:invertIfNegative val="1"/>
            <c:bubble3D val="0"/>
            <c:spPr>
              <a:solidFill>
                <a:srgbClr val="AEABAB"/>
              </a:solidFill>
            </c:spPr>
            <c:extLst>
              <c:ext xmlns:c16="http://schemas.microsoft.com/office/drawing/2014/chart" uri="{C3380CC4-5D6E-409C-BE32-E72D297353CC}">
                <c16:uniqueId val="{000015CD-7BE2-49F1-B47F-64DDA7BF3F9D}"/>
              </c:ext>
            </c:extLst>
          </c:dPt>
          <c:dPt>
            <c:idx val="2790"/>
            <c:invertIfNegative val="1"/>
            <c:bubble3D val="0"/>
            <c:spPr>
              <a:solidFill>
                <a:srgbClr val="AEABAB"/>
              </a:solidFill>
            </c:spPr>
            <c:extLst>
              <c:ext xmlns:c16="http://schemas.microsoft.com/office/drawing/2014/chart" uri="{C3380CC4-5D6E-409C-BE32-E72D297353CC}">
                <c16:uniqueId val="{000015CF-7BE2-49F1-B47F-64DDA7BF3F9D}"/>
              </c:ext>
            </c:extLst>
          </c:dPt>
          <c:dPt>
            <c:idx val="2791"/>
            <c:invertIfNegative val="1"/>
            <c:bubble3D val="0"/>
            <c:spPr>
              <a:solidFill>
                <a:srgbClr val="AEABAB"/>
              </a:solidFill>
            </c:spPr>
            <c:extLst>
              <c:ext xmlns:c16="http://schemas.microsoft.com/office/drawing/2014/chart" uri="{C3380CC4-5D6E-409C-BE32-E72D297353CC}">
                <c16:uniqueId val="{000015D1-7BE2-49F1-B47F-64DDA7BF3F9D}"/>
              </c:ext>
            </c:extLst>
          </c:dPt>
          <c:dPt>
            <c:idx val="2792"/>
            <c:invertIfNegative val="1"/>
            <c:bubble3D val="0"/>
            <c:spPr>
              <a:solidFill>
                <a:srgbClr val="AEABAB"/>
              </a:solidFill>
            </c:spPr>
            <c:extLst>
              <c:ext xmlns:c16="http://schemas.microsoft.com/office/drawing/2014/chart" uri="{C3380CC4-5D6E-409C-BE32-E72D297353CC}">
                <c16:uniqueId val="{000015D3-7BE2-49F1-B47F-64DDA7BF3F9D}"/>
              </c:ext>
            </c:extLst>
          </c:dPt>
          <c:dPt>
            <c:idx val="2793"/>
            <c:invertIfNegative val="1"/>
            <c:bubble3D val="0"/>
            <c:spPr>
              <a:solidFill>
                <a:srgbClr val="AEABAB"/>
              </a:solidFill>
            </c:spPr>
            <c:extLst>
              <c:ext xmlns:c16="http://schemas.microsoft.com/office/drawing/2014/chart" uri="{C3380CC4-5D6E-409C-BE32-E72D297353CC}">
                <c16:uniqueId val="{000015D5-7BE2-49F1-B47F-64DDA7BF3F9D}"/>
              </c:ext>
            </c:extLst>
          </c:dPt>
          <c:dPt>
            <c:idx val="2794"/>
            <c:invertIfNegative val="1"/>
            <c:bubble3D val="0"/>
            <c:spPr>
              <a:solidFill>
                <a:srgbClr val="AEABAB"/>
              </a:solidFill>
            </c:spPr>
            <c:extLst>
              <c:ext xmlns:c16="http://schemas.microsoft.com/office/drawing/2014/chart" uri="{C3380CC4-5D6E-409C-BE32-E72D297353CC}">
                <c16:uniqueId val="{000015D7-7BE2-49F1-B47F-64DDA7BF3F9D}"/>
              </c:ext>
            </c:extLst>
          </c:dPt>
          <c:dPt>
            <c:idx val="2795"/>
            <c:invertIfNegative val="1"/>
            <c:bubble3D val="0"/>
            <c:spPr>
              <a:solidFill>
                <a:srgbClr val="AEABAB"/>
              </a:solidFill>
            </c:spPr>
            <c:extLst>
              <c:ext xmlns:c16="http://schemas.microsoft.com/office/drawing/2014/chart" uri="{C3380CC4-5D6E-409C-BE32-E72D297353CC}">
                <c16:uniqueId val="{000015D9-7BE2-49F1-B47F-64DDA7BF3F9D}"/>
              </c:ext>
            </c:extLst>
          </c:dPt>
          <c:dPt>
            <c:idx val="2796"/>
            <c:invertIfNegative val="1"/>
            <c:bubble3D val="0"/>
            <c:spPr>
              <a:solidFill>
                <a:srgbClr val="AEABAB"/>
              </a:solidFill>
            </c:spPr>
            <c:extLst>
              <c:ext xmlns:c16="http://schemas.microsoft.com/office/drawing/2014/chart" uri="{C3380CC4-5D6E-409C-BE32-E72D297353CC}">
                <c16:uniqueId val="{000015DB-7BE2-49F1-B47F-64DDA7BF3F9D}"/>
              </c:ext>
            </c:extLst>
          </c:dPt>
          <c:dPt>
            <c:idx val="2797"/>
            <c:invertIfNegative val="1"/>
            <c:bubble3D val="0"/>
            <c:spPr>
              <a:solidFill>
                <a:srgbClr val="AEABAB"/>
              </a:solidFill>
            </c:spPr>
            <c:extLst>
              <c:ext xmlns:c16="http://schemas.microsoft.com/office/drawing/2014/chart" uri="{C3380CC4-5D6E-409C-BE32-E72D297353CC}">
                <c16:uniqueId val="{000015DD-7BE2-49F1-B47F-64DDA7BF3F9D}"/>
              </c:ext>
            </c:extLst>
          </c:dPt>
          <c:dPt>
            <c:idx val="2798"/>
            <c:invertIfNegative val="1"/>
            <c:bubble3D val="0"/>
            <c:spPr>
              <a:solidFill>
                <a:srgbClr val="AEABAB"/>
              </a:solidFill>
            </c:spPr>
            <c:extLst>
              <c:ext xmlns:c16="http://schemas.microsoft.com/office/drawing/2014/chart" uri="{C3380CC4-5D6E-409C-BE32-E72D297353CC}">
                <c16:uniqueId val="{000015DF-7BE2-49F1-B47F-64DDA7BF3F9D}"/>
              </c:ext>
            </c:extLst>
          </c:dPt>
          <c:dPt>
            <c:idx val="2799"/>
            <c:invertIfNegative val="1"/>
            <c:bubble3D val="0"/>
            <c:spPr>
              <a:solidFill>
                <a:srgbClr val="AEABAB"/>
              </a:solidFill>
            </c:spPr>
            <c:extLst>
              <c:ext xmlns:c16="http://schemas.microsoft.com/office/drawing/2014/chart" uri="{C3380CC4-5D6E-409C-BE32-E72D297353CC}">
                <c16:uniqueId val="{000015E1-7BE2-49F1-B47F-64DDA7BF3F9D}"/>
              </c:ext>
            </c:extLst>
          </c:dPt>
          <c:dPt>
            <c:idx val="2800"/>
            <c:invertIfNegative val="1"/>
            <c:bubble3D val="0"/>
            <c:spPr>
              <a:solidFill>
                <a:srgbClr val="AEABAB"/>
              </a:solidFill>
            </c:spPr>
            <c:extLst>
              <c:ext xmlns:c16="http://schemas.microsoft.com/office/drawing/2014/chart" uri="{C3380CC4-5D6E-409C-BE32-E72D297353CC}">
                <c16:uniqueId val="{000015E3-7BE2-49F1-B47F-64DDA7BF3F9D}"/>
              </c:ext>
            </c:extLst>
          </c:dPt>
          <c:dPt>
            <c:idx val="2801"/>
            <c:invertIfNegative val="1"/>
            <c:bubble3D val="0"/>
            <c:spPr>
              <a:solidFill>
                <a:srgbClr val="AEABAB"/>
              </a:solidFill>
            </c:spPr>
            <c:extLst>
              <c:ext xmlns:c16="http://schemas.microsoft.com/office/drawing/2014/chart" uri="{C3380CC4-5D6E-409C-BE32-E72D297353CC}">
                <c16:uniqueId val="{000015E5-7BE2-49F1-B47F-64DDA7BF3F9D}"/>
              </c:ext>
            </c:extLst>
          </c:dPt>
          <c:dPt>
            <c:idx val="2802"/>
            <c:invertIfNegative val="1"/>
            <c:bubble3D val="0"/>
            <c:spPr>
              <a:solidFill>
                <a:srgbClr val="AEABAB"/>
              </a:solidFill>
            </c:spPr>
            <c:extLst>
              <c:ext xmlns:c16="http://schemas.microsoft.com/office/drawing/2014/chart" uri="{C3380CC4-5D6E-409C-BE32-E72D297353CC}">
                <c16:uniqueId val="{000015E7-7BE2-49F1-B47F-64DDA7BF3F9D}"/>
              </c:ext>
            </c:extLst>
          </c:dPt>
          <c:dPt>
            <c:idx val="2803"/>
            <c:invertIfNegative val="1"/>
            <c:bubble3D val="0"/>
            <c:spPr>
              <a:solidFill>
                <a:srgbClr val="AEABAB"/>
              </a:solidFill>
            </c:spPr>
            <c:extLst>
              <c:ext xmlns:c16="http://schemas.microsoft.com/office/drawing/2014/chart" uri="{C3380CC4-5D6E-409C-BE32-E72D297353CC}">
                <c16:uniqueId val="{000015E9-7BE2-49F1-B47F-64DDA7BF3F9D}"/>
              </c:ext>
            </c:extLst>
          </c:dPt>
          <c:dPt>
            <c:idx val="2804"/>
            <c:invertIfNegative val="1"/>
            <c:bubble3D val="0"/>
            <c:spPr>
              <a:solidFill>
                <a:srgbClr val="AEABAB"/>
              </a:solidFill>
            </c:spPr>
            <c:extLst>
              <c:ext xmlns:c16="http://schemas.microsoft.com/office/drawing/2014/chart" uri="{C3380CC4-5D6E-409C-BE32-E72D297353CC}">
                <c16:uniqueId val="{000015EB-7BE2-49F1-B47F-64DDA7BF3F9D}"/>
              </c:ext>
            </c:extLst>
          </c:dPt>
          <c:dPt>
            <c:idx val="2805"/>
            <c:invertIfNegative val="1"/>
            <c:bubble3D val="0"/>
            <c:spPr>
              <a:solidFill>
                <a:srgbClr val="AEABAB"/>
              </a:solidFill>
            </c:spPr>
            <c:extLst>
              <c:ext xmlns:c16="http://schemas.microsoft.com/office/drawing/2014/chart" uri="{C3380CC4-5D6E-409C-BE32-E72D297353CC}">
                <c16:uniqueId val="{000015ED-7BE2-49F1-B47F-64DDA7BF3F9D}"/>
              </c:ext>
            </c:extLst>
          </c:dPt>
          <c:dPt>
            <c:idx val="2806"/>
            <c:invertIfNegative val="1"/>
            <c:bubble3D val="0"/>
            <c:spPr>
              <a:solidFill>
                <a:srgbClr val="AEABAB"/>
              </a:solidFill>
            </c:spPr>
            <c:extLst>
              <c:ext xmlns:c16="http://schemas.microsoft.com/office/drawing/2014/chart" uri="{C3380CC4-5D6E-409C-BE32-E72D297353CC}">
                <c16:uniqueId val="{000015EF-7BE2-49F1-B47F-64DDA7BF3F9D}"/>
              </c:ext>
            </c:extLst>
          </c:dPt>
          <c:dPt>
            <c:idx val="2807"/>
            <c:invertIfNegative val="1"/>
            <c:bubble3D val="0"/>
            <c:spPr>
              <a:solidFill>
                <a:srgbClr val="AEABAB"/>
              </a:solidFill>
            </c:spPr>
            <c:extLst>
              <c:ext xmlns:c16="http://schemas.microsoft.com/office/drawing/2014/chart" uri="{C3380CC4-5D6E-409C-BE32-E72D297353CC}">
                <c16:uniqueId val="{000015F1-7BE2-49F1-B47F-64DDA7BF3F9D}"/>
              </c:ext>
            </c:extLst>
          </c:dPt>
          <c:dPt>
            <c:idx val="2808"/>
            <c:invertIfNegative val="1"/>
            <c:bubble3D val="0"/>
            <c:spPr>
              <a:solidFill>
                <a:srgbClr val="AEABAB"/>
              </a:solidFill>
            </c:spPr>
            <c:extLst>
              <c:ext xmlns:c16="http://schemas.microsoft.com/office/drawing/2014/chart" uri="{C3380CC4-5D6E-409C-BE32-E72D297353CC}">
                <c16:uniqueId val="{000015F3-7BE2-49F1-B47F-64DDA7BF3F9D}"/>
              </c:ext>
            </c:extLst>
          </c:dPt>
          <c:dPt>
            <c:idx val="2809"/>
            <c:invertIfNegative val="1"/>
            <c:bubble3D val="0"/>
            <c:spPr>
              <a:solidFill>
                <a:srgbClr val="AEABAB"/>
              </a:solidFill>
            </c:spPr>
            <c:extLst>
              <c:ext xmlns:c16="http://schemas.microsoft.com/office/drawing/2014/chart" uri="{C3380CC4-5D6E-409C-BE32-E72D297353CC}">
                <c16:uniqueId val="{000015F5-7BE2-49F1-B47F-64DDA7BF3F9D}"/>
              </c:ext>
            </c:extLst>
          </c:dPt>
          <c:dPt>
            <c:idx val="2810"/>
            <c:invertIfNegative val="1"/>
            <c:bubble3D val="0"/>
            <c:spPr>
              <a:solidFill>
                <a:srgbClr val="AEABAB"/>
              </a:solidFill>
            </c:spPr>
            <c:extLst>
              <c:ext xmlns:c16="http://schemas.microsoft.com/office/drawing/2014/chart" uri="{C3380CC4-5D6E-409C-BE32-E72D297353CC}">
                <c16:uniqueId val="{000015F7-7BE2-49F1-B47F-64DDA7BF3F9D}"/>
              </c:ext>
            </c:extLst>
          </c:dPt>
          <c:dPt>
            <c:idx val="2811"/>
            <c:invertIfNegative val="1"/>
            <c:bubble3D val="0"/>
            <c:spPr>
              <a:solidFill>
                <a:srgbClr val="AEABAB"/>
              </a:solidFill>
            </c:spPr>
            <c:extLst>
              <c:ext xmlns:c16="http://schemas.microsoft.com/office/drawing/2014/chart" uri="{C3380CC4-5D6E-409C-BE32-E72D297353CC}">
                <c16:uniqueId val="{000015F9-7BE2-49F1-B47F-64DDA7BF3F9D}"/>
              </c:ext>
            </c:extLst>
          </c:dPt>
          <c:dPt>
            <c:idx val="2812"/>
            <c:invertIfNegative val="1"/>
            <c:bubble3D val="0"/>
            <c:spPr>
              <a:solidFill>
                <a:srgbClr val="AEABAB"/>
              </a:solidFill>
            </c:spPr>
            <c:extLst>
              <c:ext xmlns:c16="http://schemas.microsoft.com/office/drawing/2014/chart" uri="{C3380CC4-5D6E-409C-BE32-E72D297353CC}">
                <c16:uniqueId val="{000015FB-7BE2-49F1-B47F-64DDA7BF3F9D}"/>
              </c:ext>
            </c:extLst>
          </c:dPt>
          <c:dPt>
            <c:idx val="2813"/>
            <c:invertIfNegative val="1"/>
            <c:bubble3D val="0"/>
            <c:spPr>
              <a:solidFill>
                <a:srgbClr val="AEABAB"/>
              </a:solidFill>
            </c:spPr>
            <c:extLst>
              <c:ext xmlns:c16="http://schemas.microsoft.com/office/drawing/2014/chart" uri="{C3380CC4-5D6E-409C-BE32-E72D297353CC}">
                <c16:uniqueId val="{000015FD-7BE2-49F1-B47F-64DDA7BF3F9D}"/>
              </c:ext>
            </c:extLst>
          </c:dPt>
          <c:dPt>
            <c:idx val="2814"/>
            <c:invertIfNegative val="1"/>
            <c:bubble3D val="0"/>
            <c:spPr>
              <a:solidFill>
                <a:srgbClr val="AEABAB"/>
              </a:solidFill>
            </c:spPr>
            <c:extLst>
              <c:ext xmlns:c16="http://schemas.microsoft.com/office/drawing/2014/chart" uri="{C3380CC4-5D6E-409C-BE32-E72D297353CC}">
                <c16:uniqueId val="{000015FF-7BE2-49F1-B47F-64DDA7BF3F9D}"/>
              </c:ext>
            </c:extLst>
          </c:dPt>
          <c:dPt>
            <c:idx val="2815"/>
            <c:invertIfNegative val="1"/>
            <c:bubble3D val="0"/>
            <c:spPr>
              <a:solidFill>
                <a:srgbClr val="AEABAB"/>
              </a:solidFill>
            </c:spPr>
            <c:extLst>
              <c:ext xmlns:c16="http://schemas.microsoft.com/office/drawing/2014/chart" uri="{C3380CC4-5D6E-409C-BE32-E72D297353CC}">
                <c16:uniqueId val="{00001601-7BE2-49F1-B47F-64DDA7BF3F9D}"/>
              </c:ext>
            </c:extLst>
          </c:dPt>
          <c:dPt>
            <c:idx val="2816"/>
            <c:invertIfNegative val="1"/>
            <c:bubble3D val="0"/>
            <c:spPr>
              <a:solidFill>
                <a:srgbClr val="AEABAB"/>
              </a:solidFill>
            </c:spPr>
            <c:extLst>
              <c:ext xmlns:c16="http://schemas.microsoft.com/office/drawing/2014/chart" uri="{C3380CC4-5D6E-409C-BE32-E72D297353CC}">
                <c16:uniqueId val="{00001603-7BE2-49F1-B47F-64DDA7BF3F9D}"/>
              </c:ext>
            </c:extLst>
          </c:dPt>
          <c:dPt>
            <c:idx val="2817"/>
            <c:invertIfNegative val="1"/>
            <c:bubble3D val="0"/>
            <c:spPr>
              <a:solidFill>
                <a:srgbClr val="AEABAB"/>
              </a:solidFill>
            </c:spPr>
            <c:extLst>
              <c:ext xmlns:c16="http://schemas.microsoft.com/office/drawing/2014/chart" uri="{C3380CC4-5D6E-409C-BE32-E72D297353CC}">
                <c16:uniqueId val="{00001605-7BE2-49F1-B47F-64DDA7BF3F9D}"/>
              </c:ext>
            </c:extLst>
          </c:dPt>
          <c:dPt>
            <c:idx val="2818"/>
            <c:invertIfNegative val="1"/>
            <c:bubble3D val="0"/>
            <c:spPr>
              <a:solidFill>
                <a:srgbClr val="AEABAB"/>
              </a:solidFill>
            </c:spPr>
            <c:extLst>
              <c:ext xmlns:c16="http://schemas.microsoft.com/office/drawing/2014/chart" uri="{C3380CC4-5D6E-409C-BE32-E72D297353CC}">
                <c16:uniqueId val="{00001607-7BE2-49F1-B47F-64DDA7BF3F9D}"/>
              </c:ext>
            </c:extLst>
          </c:dPt>
          <c:dPt>
            <c:idx val="2819"/>
            <c:invertIfNegative val="1"/>
            <c:bubble3D val="0"/>
            <c:spPr>
              <a:solidFill>
                <a:srgbClr val="AEABAB"/>
              </a:solidFill>
            </c:spPr>
            <c:extLst>
              <c:ext xmlns:c16="http://schemas.microsoft.com/office/drawing/2014/chart" uri="{C3380CC4-5D6E-409C-BE32-E72D297353CC}">
                <c16:uniqueId val="{00001609-7BE2-49F1-B47F-64DDA7BF3F9D}"/>
              </c:ext>
            </c:extLst>
          </c:dPt>
          <c:dPt>
            <c:idx val="2820"/>
            <c:invertIfNegative val="1"/>
            <c:bubble3D val="0"/>
            <c:spPr>
              <a:solidFill>
                <a:srgbClr val="AEABAB"/>
              </a:solidFill>
            </c:spPr>
            <c:extLst>
              <c:ext xmlns:c16="http://schemas.microsoft.com/office/drawing/2014/chart" uri="{C3380CC4-5D6E-409C-BE32-E72D297353CC}">
                <c16:uniqueId val="{0000160B-7BE2-49F1-B47F-64DDA7BF3F9D}"/>
              </c:ext>
            </c:extLst>
          </c:dPt>
          <c:dPt>
            <c:idx val="2821"/>
            <c:invertIfNegative val="1"/>
            <c:bubble3D val="0"/>
            <c:spPr>
              <a:solidFill>
                <a:srgbClr val="AEABAB"/>
              </a:solidFill>
            </c:spPr>
            <c:extLst>
              <c:ext xmlns:c16="http://schemas.microsoft.com/office/drawing/2014/chart" uri="{C3380CC4-5D6E-409C-BE32-E72D297353CC}">
                <c16:uniqueId val="{0000160D-7BE2-49F1-B47F-64DDA7BF3F9D}"/>
              </c:ext>
            </c:extLst>
          </c:dPt>
          <c:dPt>
            <c:idx val="2822"/>
            <c:invertIfNegative val="1"/>
            <c:bubble3D val="0"/>
            <c:spPr>
              <a:solidFill>
                <a:srgbClr val="AEABAB"/>
              </a:solidFill>
            </c:spPr>
            <c:extLst>
              <c:ext xmlns:c16="http://schemas.microsoft.com/office/drawing/2014/chart" uri="{C3380CC4-5D6E-409C-BE32-E72D297353CC}">
                <c16:uniqueId val="{0000160F-7BE2-49F1-B47F-64DDA7BF3F9D}"/>
              </c:ext>
            </c:extLst>
          </c:dPt>
          <c:dPt>
            <c:idx val="2823"/>
            <c:invertIfNegative val="1"/>
            <c:bubble3D val="0"/>
            <c:spPr>
              <a:solidFill>
                <a:srgbClr val="AEABAB"/>
              </a:solidFill>
            </c:spPr>
            <c:extLst>
              <c:ext xmlns:c16="http://schemas.microsoft.com/office/drawing/2014/chart" uri="{C3380CC4-5D6E-409C-BE32-E72D297353CC}">
                <c16:uniqueId val="{00001611-7BE2-49F1-B47F-64DDA7BF3F9D}"/>
              </c:ext>
            </c:extLst>
          </c:dPt>
          <c:dPt>
            <c:idx val="2824"/>
            <c:invertIfNegative val="1"/>
            <c:bubble3D val="0"/>
            <c:spPr>
              <a:solidFill>
                <a:srgbClr val="AEABAB"/>
              </a:solidFill>
            </c:spPr>
            <c:extLst>
              <c:ext xmlns:c16="http://schemas.microsoft.com/office/drawing/2014/chart" uri="{C3380CC4-5D6E-409C-BE32-E72D297353CC}">
                <c16:uniqueId val="{00001613-7BE2-49F1-B47F-64DDA7BF3F9D}"/>
              </c:ext>
            </c:extLst>
          </c:dPt>
          <c:dPt>
            <c:idx val="2825"/>
            <c:invertIfNegative val="1"/>
            <c:bubble3D val="0"/>
            <c:spPr>
              <a:solidFill>
                <a:srgbClr val="AEABAB"/>
              </a:solidFill>
            </c:spPr>
            <c:extLst>
              <c:ext xmlns:c16="http://schemas.microsoft.com/office/drawing/2014/chart" uri="{C3380CC4-5D6E-409C-BE32-E72D297353CC}">
                <c16:uniqueId val="{00001615-7BE2-49F1-B47F-64DDA7BF3F9D}"/>
              </c:ext>
            </c:extLst>
          </c:dPt>
          <c:dPt>
            <c:idx val="2826"/>
            <c:invertIfNegative val="1"/>
            <c:bubble3D val="0"/>
            <c:spPr>
              <a:solidFill>
                <a:srgbClr val="AEABAB"/>
              </a:solidFill>
            </c:spPr>
            <c:extLst>
              <c:ext xmlns:c16="http://schemas.microsoft.com/office/drawing/2014/chart" uri="{C3380CC4-5D6E-409C-BE32-E72D297353CC}">
                <c16:uniqueId val="{00001617-7BE2-49F1-B47F-64DDA7BF3F9D}"/>
              </c:ext>
            </c:extLst>
          </c:dPt>
          <c:dPt>
            <c:idx val="2827"/>
            <c:invertIfNegative val="1"/>
            <c:bubble3D val="0"/>
            <c:spPr>
              <a:solidFill>
                <a:srgbClr val="AEABAB"/>
              </a:solidFill>
            </c:spPr>
            <c:extLst>
              <c:ext xmlns:c16="http://schemas.microsoft.com/office/drawing/2014/chart" uri="{C3380CC4-5D6E-409C-BE32-E72D297353CC}">
                <c16:uniqueId val="{00001619-7BE2-49F1-B47F-64DDA7BF3F9D}"/>
              </c:ext>
            </c:extLst>
          </c:dPt>
          <c:dPt>
            <c:idx val="2828"/>
            <c:invertIfNegative val="1"/>
            <c:bubble3D val="0"/>
            <c:spPr>
              <a:solidFill>
                <a:srgbClr val="AEABAB"/>
              </a:solidFill>
            </c:spPr>
            <c:extLst>
              <c:ext xmlns:c16="http://schemas.microsoft.com/office/drawing/2014/chart" uri="{C3380CC4-5D6E-409C-BE32-E72D297353CC}">
                <c16:uniqueId val="{0000161B-7BE2-49F1-B47F-64DDA7BF3F9D}"/>
              </c:ext>
            </c:extLst>
          </c:dPt>
          <c:dPt>
            <c:idx val="2829"/>
            <c:invertIfNegative val="1"/>
            <c:bubble3D val="0"/>
            <c:spPr>
              <a:solidFill>
                <a:srgbClr val="AEABAB"/>
              </a:solidFill>
            </c:spPr>
            <c:extLst>
              <c:ext xmlns:c16="http://schemas.microsoft.com/office/drawing/2014/chart" uri="{C3380CC4-5D6E-409C-BE32-E72D297353CC}">
                <c16:uniqueId val="{0000161D-7BE2-49F1-B47F-64DDA7BF3F9D}"/>
              </c:ext>
            </c:extLst>
          </c:dPt>
          <c:dPt>
            <c:idx val="2830"/>
            <c:invertIfNegative val="1"/>
            <c:bubble3D val="0"/>
            <c:spPr>
              <a:solidFill>
                <a:srgbClr val="AEABAB"/>
              </a:solidFill>
            </c:spPr>
            <c:extLst>
              <c:ext xmlns:c16="http://schemas.microsoft.com/office/drawing/2014/chart" uri="{C3380CC4-5D6E-409C-BE32-E72D297353CC}">
                <c16:uniqueId val="{0000161F-7BE2-49F1-B47F-64DDA7BF3F9D}"/>
              </c:ext>
            </c:extLst>
          </c:dPt>
          <c:dPt>
            <c:idx val="2831"/>
            <c:invertIfNegative val="1"/>
            <c:bubble3D val="0"/>
            <c:spPr>
              <a:solidFill>
                <a:srgbClr val="AEABAB"/>
              </a:solidFill>
            </c:spPr>
            <c:extLst>
              <c:ext xmlns:c16="http://schemas.microsoft.com/office/drawing/2014/chart" uri="{C3380CC4-5D6E-409C-BE32-E72D297353CC}">
                <c16:uniqueId val="{00001621-7BE2-49F1-B47F-64DDA7BF3F9D}"/>
              </c:ext>
            </c:extLst>
          </c:dPt>
          <c:dPt>
            <c:idx val="2832"/>
            <c:invertIfNegative val="1"/>
            <c:bubble3D val="0"/>
            <c:spPr>
              <a:solidFill>
                <a:srgbClr val="AEABAB"/>
              </a:solidFill>
            </c:spPr>
            <c:extLst>
              <c:ext xmlns:c16="http://schemas.microsoft.com/office/drawing/2014/chart" uri="{C3380CC4-5D6E-409C-BE32-E72D297353CC}">
                <c16:uniqueId val="{00001623-7BE2-49F1-B47F-64DDA7BF3F9D}"/>
              </c:ext>
            </c:extLst>
          </c:dPt>
          <c:dPt>
            <c:idx val="2833"/>
            <c:invertIfNegative val="1"/>
            <c:bubble3D val="0"/>
            <c:spPr>
              <a:solidFill>
                <a:srgbClr val="AEABAB"/>
              </a:solidFill>
            </c:spPr>
            <c:extLst>
              <c:ext xmlns:c16="http://schemas.microsoft.com/office/drawing/2014/chart" uri="{C3380CC4-5D6E-409C-BE32-E72D297353CC}">
                <c16:uniqueId val="{00001625-7BE2-49F1-B47F-64DDA7BF3F9D}"/>
              </c:ext>
            </c:extLst>
          </c:dPt>
          <c:dPt>
            <c:idx val="2834"/>
            <c:invertIfNegative val="1"/>
            <c:bubble3D val="0"/>
            <c:spPr>
              <a:solidFill>
                <a:srgbClr val="AEABAB"/>
              </a:solidFill>
            </c:spPr>
            <c:extLst>
              <c:ext xmlns:c16="http://schemas.microsoft.com/office/drawing/2014/chart" uri="{C3380CC4-5D6E-409C-BE32-E72D297353CC}">
                <c16:uniqueId val="{00001627-7BE2-49F1-B47F-64DDA7BF3F9D}"/>
              </c:ext>
            </c:extLst>
          </c:dPt>
          <c:dPt>
            <c:idx val="2835"/>
            <c:invertIfNegative val="1"/>
            <c:bubble3D val="0"/>
            <c:spPr>
              <a:solidFill>
                <a:srgbClr val="AEABAB"/>
              </a:solidFill>
            </c:spPr>
            <c:extLst>
              <c:ext xmlns:c16="http://schemas.microsoft.com/office/drawing/2014/chart" uri="{C3380CC4-5D6E-409C-BE32-E72D297353CC}">
                <c16:uniqueId val="{00001629-7BE2-49F1-B47F-64DDA7BF3F9D}"/>
              </c:ext>
            </c:extLst>
          </c:dPt>
          <c:dPt>
            <c:idx val="2836"/>
            <c:invertIfNegative val="1"/>
            <c:bubble3D val="0"/>
            <c:spPr>
              <a:solidFill>
                <a:srgbClr val="AEABAB"/>
              </a:solidFill>
            </c:spPr>
            <c:extLst>
              <c:ext xmlns:c16="http://schemas.microsoft.com/office/drawing/2014/chart" uri="{C3380CC4-5D6E-409C-BE32-E72D297353CC}">
                <c16:uniqueId val="{0000162B-7BE2-49F1-B47F-64DDA7BF3F9D}"/>
              </c:ext>
            </c:extLst>
          </c:dPt>
          <c:dPt>
            <c:idx val="2837"/>
            <c:invertIfNegative val="1"/>
            <c:bubble3D val="0"/>
            <c:spPr>
              <a:solidFill>
                <a:srgbClr val="AEABAB"/>
              </a:solidFill>
            </c:spPr>
            <c:extLst>
              <c:ext xmlns:c16="http://schemas.microsoft.com/office/drawing/2014/chart" uri="{C3380CC4-5D6E-409C-BE32-E72D297353CC}">
                <c16:uniqueId val="{0000162D-7BE2-49F1-B47F-64DDA7BF3F9D}"/>
              </c:ext>
            </c:extLst>
          </c:dPt>
          <c:dPt>
            <c:idx val="2838"/>
            <c:invertIfNegative val="1"/>
            <c:bubble3D val="0"/>
            <c:spPr>
              <a:solidFill>
                <a:srgbClr val="AEABAB"/>
              </a:solidFill>
            </c:spPr>
            <c:extLst>
              <c:ext xmlns:c16="http://schemas.microsoft.com/office/drawing/2014/chart" uri="{C3380CC4-5D6E-409C-BE32-E72D297353CC}">
                <c16:uniqueId val="{0000162F-7BE2-49F1-B47F-64DDA7BF3F9D}"/>
              </c:ext>
            </c:extLst>
          </c:dPt>
          <c:dPt>
            <c:idx val="2839"/>
            <c:invertIfNegative val="1"/>
            <c:bubble3D val="0"/>
            <c:spPr>
              <a:solidFill>
                <a:srgbClr val="AEABAB"/>
              </a:solidFill>
            </c:spPr>
            <c:extLst>
              <c:ext xmlns:c16="http://schemas.microsoft.com/office/drawing/2014/chart" uri="{C3380CC4-5D6E-409C-BE32-E72D297353CC}">
                <c16:uniqueId val="{00001631-7BE2-49F1-B47F-64DDA7BF3F9D}"/>
              </c:ext>
            </c:extLst>
          </c:dPt>
          <c:dPt>
            <c:idx val="2840"/>
            <c:invertIfNegative val="1"/>
            <c:bubble3D val="0"/>
            <c:spPr>
              <a:solidFill>
                <a:srgbClr val="AEABAB"/>
              </a:solidFill>
            </c:spPr>
            <c:extLst>
              <c:ext xmlns:c16="http://schemas.microsoft.com/office/drawing/2014/chart" uri="{C3380CC4-5D6E-409C-BE32-E72D297353CC}">
                <c16:uniqueId val="{00001633-7BE2-49F1-B47F-64DDA7BF3F9D}"/>
              </c:ext>
            </c:extLst>
          </c:dPt>
          <c:dPt>
            <c:idx val="2841"/>
            <c:invertIfNegative val="1"/>
            <c:bubble3D val="0"/>
            <c:spPr>
              <a:solidFill>
                <a:srgbClr val="AEABAB"/>
              </a:solidFill>
            </c:spPr>
            <c:extLst>
              <c:ext xmlns:c16="http://schemas.microsoft.com/office/drawing/2014/chart" uri="{C3380CC4-5D6E-409C-BE32-E72D297353CC}">
                <c16:uniqueId val="{00001635-7BE2-49F1-B47F-64DDA7BF3F9D}"/>
              </c:ext>
            </c:extLst>
          </c:dPt>
          <c:dPt>
            <c:idx val="2842"/>
            <c:invertIfNegative val="1"/>
            <c:bubble3D val="0"/>
            <c:spPr>
              <a:solidFill>
                <a:srgbClr val="AEABAB"/>
              </a:solidFill>
            </c:spPr>
            <c:extLst>
              <c:ext xmlns:c16="http://schemas.microsoft.com/office/drawing/2014/chart" uri="{C3380CC4-5D6E-409C-BE32-E72D297353CC}">
                <c16:uniqueId val="{00001637-7BE2-49F1-B47F-64DDA7BF3F9D}"/>
              </c:ext>
            </c:extLst>
          </c:dPt>
          <c:dPt>
            <c:idx val="2843"/>
            <c:invertIfNegative val="1"/>
            <c:bubble3D val="0"/>
            <c:spPr>
              <a:solidFill>
                <a:srgbClr val="AEABAB"/>
              </a:solidFill>
            </c:spPr>
            <c:extLst>
              <c:ext xmlns:c16="http://schemas.microsoft.com/office/drawing/2014/chart" uri="{C3380CC4-5D6E-409C-BE32-E72D297353CC}">
                <c16:uniqueId val="{00001639-7BE2-49F1-B47F-64DDA7BF3F9D}"/>
              </c:ext>
            </c:extLst>
          </c:dPt>
          <c:dPt>
            <c:idx val="2844"/>
            <c:invertIfNegative val="1"/>
            <c:bubble3D val="0"/>
            <c:spPr>
              <a:solidFill>
                <a:srgbClr val="AEABAB"/>
              </a:solidFill>
            </c:spPr>
            <c:extLst>
              <c:ext xmlns:c16="http://schemas.microsoft.com/office/drawing/2014/chart" uri="{C3380CC4-5D6E-409C-BE32-E72D297353CC}">
                <c16:uniqueId val="{0000163B-7BE2-49F1-B47F-64DDA7BF3F9D}"/>
              </c:ext>
            </c:extLst>
          </c:dPt>
          <c:dPt>
            <c:idx val="2845"/>
            <c:invertIfNegative val="1"/>
            <c:bubble3D val="0"/>
            <c:spPr>
              <a:solidFill>
                <a:srgbClr val="AEABAB"/>
              </a:solidFill>
            </c:spPr>
            <c:extLst>
              <c:ext xmlns:c16="http://schemas.microsoft.com/office/drawing/2014/chart" uri="{C3380CC4-5D6E-409C-BE32-E72D297353CC}">
                <c16:uniqueId val="{0000163D-7BE2-49F1-B47F-64DDA7BF3F9D}"/>
              </c:ext>
            </c:extLst>
          </c:dPt>
          <c:dPt>
            <c:idx val="2846"/>
            <c:invertIfNegative val="1"/>
            <c:bubble3D val="0"/>
            <c:spPr>
              <a:solidFill>
                <a:srgbClr val="AEABAB"/>
              </a:solidFill>
            </c:spPr>
            <c:extLst>
              <c:ext xmlns:c16="http://schemas.microsoft.com/office/drawing/2014/chart" uri="{C3380CC4-5D6E-409C-BE32-E72D297353CC}">
                <c16:uniqueId val="{0000163F-7BE2-49F1-B47F-64DDA7BF3F9D}"/>
              </c:ext>
            </c:extLst>
          </c:dPt>
          <c:dPt>
            <c:idx val="2847"/>
            <c:invertIfNegative val="1"/>
            <c:bubble3D val="0"/>
            <c:spPr>
              <a:solidFill>
                <a:srgbClr val="AEABAB"/>
              </a:solidFill>
            </c:spPr>
            <c:extLst>
              <c:ext xmlns:c16="http://schemas.microsoft.com/office/drawing/2014/chart" uri="{C3380CC4-5D6E-409C-BE32-E72D297353CC}">
                <c16:uniqueId val="{00001641-7BE2-49F1-B47F-64DDA7BF3F9D}"/>
              </c:ext>
            </c:extLst>
          </c:dPt>
          <c:dPt>
            <c:idx val="2848"/>
            <c:invertIfNegative val="1"/>
            <c:bubble3D val="0"/>
            <c:spPr>
              <a:solidFill>
                <a:srgbClr val="AEABAB"/>
              </a:solidFill>
            </c:spPr>
            <c:extLst>
              <c:ext xmlns:c16="http://schemas.microsoft.com/office/drawing/2014/chart" uri="{C3380CC4-5D6E-409C-BE32-E72D297353CC}">
                <c16:uniqueId val="{00001643-7BE2-49F1-B47F-64DDA7BF3F9D}"/>
              </c:ext>
            </c:extLst>
          </c:dPt>
          <c:dPt>
            <c:idx val="2849"/>
            <c:invertIfNegative val="1"/>
            <c:bubble3D val="0"/>
            <c:spPr>
              <a:solidFill>
                <a:srgbClr val="AEABAB"/>
              </a:solidFill>
            </c:spPr>
            <c:extLst>
              <c:ext xmlns:c16="http://schemas.microsoft.com/office/drawing/2014/chart" uri="{C3380CC4-5D6E-409C-BE32-E72D297353CC}">
                <c16:uniqueId val="{00001645-7BE2-49F1-B47F-64DDA7BF3F9D}"/>
              </c:ext>
            </c:extLst>
          </c:dPt>
          <c:dPt>
            <c:idx val="2850"/>
            <c:invertIfNegative val="1"/>
            <c:bubble3D val="0"/>
            <c:spPr>
              <a:solidFill>
                <a:srgbClr val="AEABAB"/>
              </a:solidFill>
            </c:spPr>
            <c:extLst>
              <c:ext xmlns:c16="http://schemas.microsoft.com/office/drawing/2014/chart" uri="{C3380CC4-5D6E-409C-BE32-E72D297353CC}">
                <c16:uniqueId val="{00001647-7BE2-49F1-B47F-64DDA7BF3F9D}"/>
              </c:ext>
            </c:extLst>
          </c:dPt>
          <c:dPt>
            <c:idx val="2851"/>
            <c:invertIfNegative val="1"/>
            <c:bubble3D val="0"/>
            <c:spPr>
              <a:solidFill>
                <a:srgbClr val="AEABAB"/>
              </a:solidFill>
            </c:spPr>
            <c:extLst>
              <c:ext xmlns:c16="http://schemas.microsoft.com/office/drawing/2014/chart" uri="{C3380CC4-5D6E-409C-BE32-E72D297353CC}">
                <c16:uniqueId val="{00001649-7BE2-49F1-B47F-64DDA7BF3F9D}"/>
              </c:ext>
            </c:extLst>
          </c:dPt>
          <c:dPt>
            <c:idx val="2852"/>
            <c:invertIfNegative val="1"/>
            <c:bubble3D val="0"/>
            <c:spPr>
              <a:solidFill>
                <a:srgbClr val="AEABAB"/>
              </a:solidFill>
            </c:spPr>
            <c:extLst>
              <c:ext xmlns:c16="http://schemas.microsoft.com/office/drawing/2014/chart" uri="{C3380CC4-5D6E-409C-BE32-E72D297353CC}">
                <c16:uniqueId val="{0000164B-7BE2-49F1-B47F-64DDA7BF3F9D}"/>
              </c:ext>
            </c:extLst>
          </c:dPt>
          <c:dPt>
            <c:idx val="2853"/>
            <c:invertIfNegative val="1"/>
            <c:bubble3D val="0"/>
            <c:spPr>
              <a:solidFill>
                <a:srgbClr val="AEABAB"/>
              </a:solidFill>
            </c:spPr>
            <c:extLst>
              <c:ext xmlns:c16="http://schemas.microsoft.com/office/drawing/2014/chart" uri="{C3380CC4-5D6E-409C-BE32-E72D297353CC}">
                <c16:uniqueId val="{0000164D-7BE2-49F1-B47F-64DDA7BF3F9D}"/>
              </c:ext>
            </c:extLst>
          </c:dPt>
          <c:dPt>
            <c:idx val="2854"/>
            <c:invertIfNegative val="1"/>
            <c:bubble3D val="0"/>
            <c:spPr>
              <a:solidFill>
                <a:srgbClr val="AEABAB"/>
              </a:solidFill>
            </c:spPr>
            <c:extLst>
              <c:ext xmlns:c16="http://schemas.microsoft.com/office/drawing/2014/chart" uri="{C3380CC4-5D6E-409C-BE32-E72D297353CC}">
                <c16:uniqueId val="{0000164F-7BE2-49F1-B47F-64DDA7BF3F9D}"/>
              </c:ext>
            </c:extLst>
          </c:dPt>
          <c:dPt>
            <c:idx val="2855"/>
            <c:invertIfNegative val="1"/>
            <c:bubble3D val="0"/>
            <c:spPr>
              <a:solidFill>
                <a:srgbClr val="AEABAB"/>
              </a:solidFill>
            </c:spPr>
            <c:extLst>
              <c:ext xmlns:c16="http://schemas.microsoft.com/office/drawing/2014/chart" uri="{C3380CC4-5D6E-409C-BE32-E72D297353CC}">
                <c16:uniqueId val="{00001651-7BE2-49F1-B47F-64DDA7BF3F9D}"/>
              </c:ext>
            </c:extLst>
          </c:dPt>
          <c:dPt>
            <c:idx val="2856"/>
            <c:invertIfNegative val="1"/>
            <c:bubble3D val="0"/>
            <c:spPr>
              <a:solidFill>
                <a:srgbClr val="AEABAB"/>
              </a:solidFill>
            </c:spPr>
            <c:extLst>
              <c:ext xmlns:c16="http://schemas.microsoft.com/office/drawing/2014/chart" uri="{C3380CC4-5D6E-409C-BE32-E72D297353CC}">
                <c16:uniqueId val="{00001653-7BE2-49F1-B47F-64DDA7BF3F9D}"/>
              </c:ext>
            </c:extLst>
          </c:dPt>
          <c:dPt>
            <c:idx val="2857"/>
            <c:invertIfNegative val="1"/>
            <c:bubble3D val="0"/>
            <c:spPr>
              <a:solidFill>
                <a:srgbClr val="AEABAB"/>
              </a:solidFill>
            </c:spPr>
            <c:extLst>
              <c:ext xmlns:c16="http://schemas.microsoft.com/office/drawing/2014/chart" uri="{C3380CC4-5D6E-409C-BE32-E72D297353CC}">
                <c16:uniqueId val="{00001655-7BE2-49F1-B47F-64DDA7BF3F9D}"/>
              </c:ext>
            </c:extLst>
          </c:dPt>
          <c:dPt>
            <c:idx val="2858"/>
            <c:invertIfNegative val="1"/>
            <c:bubble3D val="0"/>
            <c:spPr>
              <a:solidFill>
                <a:srgbClr val="AEABAB"/>
              </a:solidFill>
            </c:spPr>
            <c:extLst>
              <c:ext xmlns:c16="http://schemas.microsoft.com/office/drawing/2014/chart" uri="{C3380CC4-5D6E-409C-BE32-E72D297353CC}">
                <c16:uniqueId val="{00001657-7BE2-49F1-B47F-64DDA7BF3F9D}"/>
              </c:ext>
            </c:extLst>
          </c:dPt>
          <c:dPt>
            <c:idx val="2859"/>
            <c:invertIfNegative val="1"/>
            <c:bubble3D val="0"/>
            <c:spPr>
              <a:solidFill>
                <a:srgbClr val="AEABAB"/>
              </a:solidFill>
            </c:spPr>
            <c:extLst>
              <c:ext xmlns:c16="http://schemas.microsoft.com/office/drawing/2014/chart" uri="{C3380CC4-5D6E-409C-BE32-E72D297353CC}">
                <c16:uniqueId val="{00001659-7BE2-49F1-B47F-64DDA7BF3F9D}"/>
              </c:ext>
            </c:extLst>
          </c:dPt>
          <c:dPt>
            <c:idx val="2860"/>
            <c:invertIfNegative val="1"/>
            <c:bubble3D val="0"/>
            <c:spPr>
              <a:solidFill>
                <a:srgbClr val="AEABAB"/>
              </a:solidFill>
            </c:spPr>
            <c:extLst>
              <c:ext xmlns:c16="http://schemas.microsoft.com/office/drawing/2014/chart" uri="{C3380CC4-5D6E-409C-BE32-E72D297353CC}">
                <c16:uniqueId val="{0000165B-7BE2-49F1-B47F-64DDA7BF3F9D}"/>
              </c:ext>
            </c:extLst>
          </c:dPt>
          <c:dPt>
            <c:idx val="2861"/>
            <c:invertIfNegative val="1"/>
            <c:bubble3D val="0"/>
            <c:spPr>
              <a:solidFill>
                <a:srgbClr val="AEABAB"/>
              </a:solidFill>
            </c:spPr>
            <c:extLst>
              <c:ext xmlns:c16="http://schemas.microsoft.com/office/drawing/2014/chart" uri="{C3380CC4-5D6E-409C-BE32-E72D297353CC}">
                <c16:uniqueId val="{0000165D-7BE2-49F1-B47F-64DDA7BF3F9D}"/>
              </c:ext>
            </c:extLst>
          </c:dPt>
          <c:dPt>
            <c:idx val="2862"/>
            <c:invertIfNegative val="1"/>
            <c:bubble3D val="0"/>
            <c:spPr>
              <a:solidFill>
                <a:srgbClr val="AEABAB"/>
              </a:solidFill>
            </c:spPr>
            <c:extLst>
              <c:ext xmlns:c16="http://schemas.microsoft.com/office/drawing/2014/chart" uri="{C3380CC4-5D6E-409C-BE32-E72D297353CC}">
                <c16:uniqueId val="{0000165F-7BE2-49F1-B47F-64DDA7BF3F9D}"/>
              </c:ext>
            </c:extLst>
          </c:dPt>
          <c:dPt>
            <c:idx val="2863"/>
            <c:invertIfNegative val="1"/>
            <c:bubble3D val="0"/>
            <c:spPr>
              <a:solidFill>
                <a:srgbClr val="AEABAB"/>
              </a:solidFill>
            </c:spPr>
            <c:extLst>
              <c:ext xmlns:c16="http://schemas.microsoft.com/office/drawing/2014/chart" uri="{C3380CC4-5D6E-409C-BE32-E72D297353CC}">
                <c16:uniqueId val="{00001661-7BE2-49F1-B47F-64DDA7BF3F9D}"/>
              </c:ext>
            </c:extLst>
          </c:dPt>
          <c:dPt>
            <c:idx val="2864"/>
            <c:invertIfNegative val="1"/>
            <c:bubble3D val="0"/>
            <c:spPr>
              <a:solidFill>
                <a:srgbClr val="AEABAB"/>
              </a:solidFill>
            </c:spPr>
            <c:extLst>
              <c:ext xmlns:c16="http://schemas.microsoft.com/office/drawing/2014/chart" uri="{C3380CC4-5D6E-409C-BE32-E72D297353CC}">
                <c16:uniqueId val="{00001663-7BE2-49F1-B47F-64DDA7BF3F9D}"/>
              </c:ext>
            </c:extLst>
          </c:dPt>
          <c:dPt>
            <c:idx val="2865"/>
            <c:invertIfNegative val="1"/>
            <c:bubble3D val="0"/>
            <c:spPr>
              <a:solidFill>
                <a:srgbClr val="AEABAB"/>
              </a:solidFill>
            </c:spPr>
            <c:extLst>
              <c:ext xmlns:c16="http://schemas.microsoft.com/office/drawing/2014/chart" uri="{C3380CC4-5D6E-409C-BE32-E72D297353CC}">
                <c16:uniqueId val="{00001665-7BE2-49F1-B47F-64DDA7BF3F9D}"/>
              </c:ext>
            </c:extLst>
          </c:dPt>
          <c:dPt>
            <c:idx val="2866"/>
            <c:invertIfNegative val="1"/>
            <c:bubble3D val="0"/>
            <c:spPr>
              <a:solidFill>
                <a:srgbClr val="AEABAB"/>
              </a:solidFill>
            </c:spPr>
            <c:extLst>
              <c:ext xmlns:c16="http://schemas.microsoft.com/office/drawing/2014/chart" uri="{C3380CC4-5D6E-409C-BE32-E72D297353CC}">
                <c16:uniqueId val="{00001667-7BE2-49F1-B47F-64DDA7BF3F9D}"/>
              </c:ext>
            </c:extLst>
          </c:dPt>
          <c:dPt>
            <c:idx val="2867"/>
            <c:invertIfNegative val="1"/>
            <c:bubble3D val="0"/>
            <c:spPr>
              <a:solidFill>
                <a:srgbClr val="AEABAB"/>
              </a:solidFill>
            </c:spPr>
            <c:extLst>
              <c:ext xmlns:c16="http://schemas.microsoft.com/office/drawing/2014/chart" uri="{C3380CC4-5D6E-409C-BE32-E72D297353CC}">
                <c16:uniqueId val="{00001669-7BE2-49F1-B47F-64DDA7BF3F9D}"/>
              </c:ext>
            </c:extLst>
          </c:dPt>
          <c:dPt>
            <c:idx val="2868"/>
            <c:invertIfNegative val="1"/>
            <c:bubble3D val="0"/>
            <c:spPr>
              <a:solidFill>
                <a:srgbClr val="AEABAB"/>
              </a:solidFill>
            </c:spPr>
            <c:extLst>
              <c:ext xmlns:c16="http://schemas.microsoft.com/office/drawing/2014/chart" uri="{C3380CC4-5D6E-409C-BE32-E72D297353CC}">
                <c16:uniqueId val="{0000166B-7BE2-49F1-B47F-64DDA7BF3F9D}"/>
              </c:ext>
            </c:extLst>
          </c:dPt>
          <c:dPt>
            <c:idx val="2869"/>
            <c:invertIfNegative val="1"/>
            <c:bubble3D val="0"/>
            <c:spPr>
              <a:solidFill>
                <a:srgbClr val="AEABAB"/>
              </a:solidFill>
            </c:spPr>
            <c:extLst>
              <c:ext xmlns:c16="http://schemas.microsoft.com/office/drawing/2014/chart" uri="{C3380CC4-5D6E-409C-BE32-E72D297353CC}">
                <c16:uniqueId val="{0000166D-7BE2-49F1-B47F-64DDA7BF3F9D}"/>
              </c:ext>
            </c:extLst>
          </c:dPt>
          <c:dPt>
            <c:idx val="2870"/>
            <c:invertIfNegative val="1"/>
            <c:bubble3D val="0"/>
            <c:spPr>
              <a:solidFill>
                <a:srgbClr val="AEABAB"/>
              </a:solidFill>
            </c:spPr>
            <c:extLst>
              <c:ext xmlns:c16="http://schemas.microsoft.com/office/drawing/2014/chart" uri="{C3380CC4-5D6E-409C-BE32-E72D297353CC}">
                <c16:uniqueId val="{0000166F-7BE2-49F1-B47F-64DDA7BF3F9D}"/>
              </c:ext>
            </c:extLst>
          </c:dPt>
          <c:dPt>
            <c:idx val="2871"/>
            <c:invertIfNegative val="1"/>
            <c:bubble3D val="0"/>
            <c:spPr>
              <a:solidFill>
                <a:srgbClr val="AEABAB"/>
              </a:solidFill>
            </c:spPr>
            <c:extLst>
              <c:ext xmlns:c16="http://schemas.microsoft.com/office/drawing/2014/chart" uri="{C3380CC4-5D6E-409C-BE32-E72D297353CC}">
                <c16:uniqueId val="{00001671-7BE2-49F1-B47F-64DDA7BF3F9D}"/>
              </c:ext>
            </c:extLst>
          </c:dPt>
          <c:dPt>
            <c:idx val="2872"/>
            <c:invertIfNegative val="1"/>
            <c:bubble3D val="0"/>
            <c:spPr>
              <a:solidFill>
                <a:srgbClr val="AEABAB"/>
              </a:solidFill>
            </c:spPr>
            <c:extLst>
              <c:ext xmlns:c16="http://schemas.microsoft.com/office/drawing/2014/chart" uri="{C3380CC4-5D6E-409C-BE32-E72D297353CC}">
                <c16:uniqueId val="{00001673-7BE2-49F1-B47F-64DDA7BF3F9D}"/>
              </c:ext>
            </c:extLst>
          </c:dPt>
          <c:dPt>
            <c:idx val="2873"/>
            <c:invertIfNegative val="1"/>
            <c:bubble3D val="0"/>
            <c:spPr>
              <a:solidFill>
                <a:srgbClr val="AEABAB"/>
              </a:solidFill>
            </c:spPr>
            <c:extLst>
              <c:ext xmlns:c16="http://schemas.microsoft.com/office/drawing/2014/chart" uri="{C3380CC4-5D6E-409C-BE32-E72D297353CC}">
                <c16:uniqueId val="{00001675-7BE2-49F1-B47F-64DDA7BF3F9D}"/>
              </c:ext>
            </c:extLst>
          </c:dPt>
          <c:dPt>
            <c:idx val="2874"/>
            <c:invertIfNegative val="1"/>
            <c:bubble3D val="0"/>
            <c:spPr>
              <a:solidFill>
                <a:srgbClr val="AEABAB"/>
              </a:solidFill>
            </c:spPr>
            <c:extLst>
              <c:ext xmlns:c16="http://schemas.microsoft.com/office/drawing/2014/chart" uri="{C3380CC4-5D6E-409C-BE32-E72D297353CC}">
                <c16:uniqueId val="{00001677-7BE2-49F1-B47F-64DDA7BF3F9D}"/>
              </c:ext>
            </c:extLst>
          </c:dPt>
          <c:dPt>
            <c:idx val="2875"/>
            <c:invertIfNegative val="1"/>
            <c:bubble3D val="0"/>
            <c:spPr>
              <a:solidFill>
                <a:srgbClr val="AEABAB"/>
              </a:solidFill>
            </c:spPr>
            <c:extLst>
              <c:ext xmlns:c16="http://schemas.microsoft.com/office/drawing/2014/chart" uri="{C3380CC4-5D6E-409C-BE32-E72D297353CC}">
                <c16:uniqueId val="{00001679-7BE2-49F1-B47F-64DDA7BF3F9D}"/>
              </c:ext>
            </c:extLst>
          </c:dPt>
          <c:dPt>
            <c:idx val="2876"/>
            <c:invertIfNegative val="1"/>
            <c:bubble3D val="0"/>
            <c:spPr>
              <a:solidFill>
                <a:srgbClr val="AEABAB"/>
              </a:solidFill>
            </c:spPr>
            <c:extLst>
              <c:ext xmlns:c16="http://schemas.microsoft.com/office/drawing/2014/chart" uri="{C3380CC4-5D6E-409C-BE32-E72D297353CC}">
                <c16:uniqueId val="{0000167B-7BE2-49F1-B47F-64DDA7BF3F9D}"/>
              </c:ext>
            </c:extLst>
          </c:dPt>
          <c:dPt>
            <c:idx val="2877"/>
            <c:invertIfNegative val="1"/>
            <c:bubble3D val="0"/>
            <c:spPr>
              <a:solidFill>
                <a:srgbClr val="AEABAB"/>
              </a:solidFill>
            </c:spPr>
            <c:extLst>
              <c:ext xmlns:c16="http://schemas.microsoft.com/office/drawing/2014/chart" uri="{C3380CC4-5D6E-409C-BE32-E72D297353CC}">
                <c16:uniqueId val="{0000167D-7BE2-49F1-B47F-64DDA7BF3F9D}"/>
              </c:ext>
            </c:extLst>
          </c:dPt>
          <c:dPt>
            <c:idx val="2878"/>
            <c:invertIfNegative val="1"/>
            <c:bubble3D val="0"/>
            <c:spPr>
              <a:solidFill>
                <a:srgbClr val="AEABAB"/>
              </a:solidFill>
            </c:spPr>
            <c:extLst>
              <c:ext xmlns:c16="http://schemas.microsoft.com/office/drawing/2014/chart" uri="{C3380CC4-5D6E-409C-BE32-E72D297353CC}">
                <c16:uniqueId val="{0000167F-7BE2-49F1-B47F-64DDA7BF3F9D}"/>
              </c:ext>
            </c:extLst>
          </c:dPt>
          <c:dPt>
            <c:idx val="2879"/>
            <c:invertIfNegative val="1"/>
            <c:bubble3D val="0"/>
            <c:spPr>
              <a:solidFill>
                <a:srgbClr val="AEABAB"/>
              </a:solidFill>
            </c:spPr>
            <c:extLst>
              <c:ext xmlns:c16="http://schemas.microsoft.com/office/drawing/2014/chart" uri="{C3380CC4-5D6E-409C-BE32-E72D297353CC}">
                <c16:uniqueId val="{00001681-7BE2-49F1-B47F-64DDA7BF3F9D}"/>
              </c:ext>
            </c:extLst>
          </c:dPt>
          <c:dPt>
            <c:idx val="2880"/>
            <c:invertIfNegative val="1"/>
            <c:bubble3D val="0"/>
            <c:spPr>
              <a:solidFill>
                <a:srgbClr val="AEABAB"/>
              </a:solidFill>
            </c:spPr>
            <c:extLst>
              <c:ext xmlns:c16="http://schemas.microsoft.com/office/drawing/2014/chart" uri="{C3380CC4-5D6E-409C-BE32-E72D297353CC}">
                <c16:uniqueId val="{00001683-7BE2-49F1-B47F-64DDA7BF3F9D}"/>
              </c:ext>
            </c:extLst>
          </c:dPt>
          <c:dPt>
            <c:idx val="2881"/>
            <c:invertIfNegative val="1"/>
            <c:bubble3D val="0"/>
            <c:spPr>
              <a:solidFill>
                <a:srgbClr val="AEABAB"/>
              </a:solidFill>
            </c:spPr>
            <c:extLst>
              <c:ext xmlns:c16="http://schemas.microsoft.com/office/drawing/2014/chart" uri="{C3380CC4-5D6E-409C-BE32-E72D297353CC}">
                <c16:uniqueId val="{00001685-7BE2-49F1-B47F-64DDA7BF3F9D}"/>
              </c:ext>
            </c:extLst>
          </c:dPt>
          <c:dPt>
            <c:idx val="2882"/>
            <c:invertIfNegative val="1"/>
            <c:bubble3D val="0"/>
            <c:spPr>
              <a:solidFill>
                <a:srgbClr val="AEABAB"/>
              </a:solidFill>
            </c:spPr>
            <c:extLst>
              <c:ext xmlns:c16="http://schemas.microsoft.com/office/drawing/2014/chart" uri="{C3380CC4-5D6E-409C-BE32-E72D297353CC}">
                <c16:uniqueId val="{00001687-7BE2-49F1-B47F-64DDA7BF3F9D}"/>
              </c:ext>
            </c:extLst>
          </c:dPt>
          <c:dPt>
            <c:idx val="2883"/>
            <c:invertIfNegative val="1"/>
            <c:bubble3D val="0"/>
            <c:spPr>
              <a:solidFill>
                <a:srgbClr val="AEABAB"/>
              </a:solidFill>
            </c:spPr>
            <c:extLst>
              <c:ext xmlns:c16="http://schemas.microsoft.com/office/drawing/2014/chart" uri="{C3380CC4-5D6E-409C-BE32-E72D297353CC}">
                <c16:uniqueId val="{00001689-7BE2-49F1-B47F-64DDA7BF3F9D}"/>
              </c:ext>
            </c:extLst>
          </c:dPt>
          <c:dPt>
            <c:idx val="2884"/>
            <c:invertIfNegative val="1"/>
            <c:bubble3D val="0"/>
            <c:spPr>
              <a:solidFill>
                <a:srgbClr val="AEABAB"/>
              </a:solidFill>
            </c:spPr>
            <c:extLst>
              <c:ext xmlns:c16="http://schemas.microsoft.com/office/drawing/2014/chart" uri="{C3380CC4-5D6E-409C-BE32-E72D297353CC}">
                <c16:uniqueId val="{0000168B-7BE2-49F1-B47F-64DDA7BF3F9D}"/>
              </c:ext>
            </c:extLst>
          </c:dPt>
          <c:dPt>
            <c:idx val="2885"/>
            <c:invertIfNegative val="1"/>
            <c:bubble3D val="0"/>
            <c:spPr>
              <a:solidFill>
                <a:srgbClr val="AEABAB"/>
              </a:solidFill>
            </c:spPr>
            <c:extLst>
              <c:ext xmlns:c16="http://schemas.microsoft.com/office/drawing/2014/chart" uri="{C3380CC4-5D6E-409C-BE32-E72D297353CC}">
                <c16:uniqueId val="{0000168D-7BE2-49F1-B47F-64DDA7BF3F9D}"/>
              </c:ext>
            </c:extLst>
          </c:dPt>
          <c:dPt>
            <c:idx val="2886"/>
            <c:invertIfNegative val="1"/>
            <c:bubble3D val="0"/>
            <c:spPr>
              <a:solidFill>
                <a:srgbClr val="AEABAB"/>
              </a:solidFill>
            </c:spPr>
            <c:extLst>
              <c:ext xmlns:c16="http://schemas.microsoft.com/office/drawing/2014/chart" uri="{C3380CC4-5D6E-409C-BE32-E72D297353CC}">
                <c16:uniqueId val="{0000168F-7BE2-49F1-B47F-64DDA7BF3F9D}"/>
              </c:ext>
            </c:extLst>
          </c:dPt>
          <c:dPt>
            <c:idx val="2887"/>
            <c:invertIfNegative val="1"/>
            <c:bubble3D val="0"/>
            <c:spPr>
              <a:solidFill>
                <a:srgbClr val="AEABAB"/>
              </a:solidFill>
            </c:spPr>
            <c:extLst>
              <c:ext xmlns:c16="http://schemas.microsoft.com/office/drawing/2014/chart" uri="{C3380CC4-5D6E-409C-BE32-E72D297353CC}">
                <c16:uniqueId val="{00001691-7BE2-49F1-B47F-64DDA7BF3F9D}"/>
              </c:ext>
            </c:extLst>
          </c:dPt>
          <c:dPt>
            <c:idx val="2888"/>
            <c:invertIfNegative val="1"/>
            <c:bubble3D val="0"/>
            <c:spPr>
              <a:solidFill>
                <a:srgbClr val="AEABAB"/>
              </a:solidFill>
            </c:spPr>
            <c:extLst>
              <c:ext xmlns:c16="http://schemas.microsoft.com/office/drawing/2014/chart" uri="{C3380CC4-5D6E-409C-BE32-E72D297353CC}">
                <c16:uniqueId val="{00001693-7BE2-49F1-B47F-64DDA7BF3F9D}"/>
              </c:ext>
            </c:extLst>
          </c:dPt>
          <c:dPt>
            <c:idx val="2889"/>
            <c:invertIfNegative val="1"/>
            <c:bubble3D val="0"/>
            <c:spPr>
              <a:solidFill>
                <a:srgbClr val="AEABAB"/>
              </a:solidFill>
            </c:spPr>
            <c:extLst>
              <c:ext xmlns:c16="http://schemas.microsoft.com/office/drawing/2014/chart" uri="{C3380CC4-5D6E-409C-BE32-E72D297353CC}">
                <c16:uniqueId val="{00001695-7BE2-49F1-B47F-64DDA7BF3F9D}"/>
              </c:ext>
            </c:extLst>
          </c:dPt>
          <c:dPt>
            <c:idx val="2890"/>
            <c:invertIfNegative val="1"/>
            <c:bubble3D val="0"/>
            <c:spPr>
              <a:solidFill>
                <a:srgbClr val="AEABAB"/>
              </a:solidFill>
            </c:spPr>
            <c:extLst>
              <c:ext xmlns:c16="http://schemas.microsoft.com/office/drawing/2014/chart" uri="{C3380CC4-5D6E-409C-BE32-E72D297353CC}">
                <c16:uniqueId val="{00001697-7BE2-49F1-B47F-64DDA7BF3F9D}"/>
              </c:ext>
            </c:extLst>
          </c:dPt>
          <c:dPt>
            <c:idx val="2891"/>
            <c:invertIfNegative val="1"/>
            <c:bubble3D val="0"/>
            <c:spPr>
              <a:solidFill>
                <a:srgbClr val="AEABAB"/>
              </a:solidFill>
            </c:spPr>
            <c:extLst>
              <c:ext xmlns:c16="http://schemas.microsoft.com/office/drawing/2014/chart" uri="{C3380CC4-5D6E-409C-BE32-E72D297353CC}">
                <c16:uniqueId val="{00001699-7BE2-49F1-B47F-64DDA7BF3F9D}"/>
              </c:ext>
            </c:extLst>
          </c:dPt>
          <c:dPt>
            <c:idx val="2892"/>
            <c:invertIfNegative val="1"/>
            <c:bubble3D val="0"/>
            <c:spPr>
              <a:solidFill>
                <a:srgbClr val="AEABAB"/>
              </a:solidFill>
            </c:spPr>
            <c:extLst>
              <c:ext xmlns:c16="http://schemas.microsoft.com/office/drawing/2014/chart" uri="{C3380CC4-5D6E-409C-BE32-E72D297353CC}">
                <c16:uniqueId val="{0000169B-7BE2-49F1-B47F-64DDA7BF3F9D}"/>
              </c:ext>
            </c:extLst>
          </c:dPt>
          <c:dPt>
            <c:idx val="2893"/>
            <c:invertIfNegative val="1"/>
            <c:bubble3D val="0"/>
            <c:spPr>
              <a:solidFill>
                <a:srgbClr val="AEABAB"/>
              </a:solidFill>
            </c:spPr>
            <c:extLst>
              <c:ext xmlns:c16="http://schemas.microsoft.com/office/drawing/2014/chart" uri="{C3380CC4-5D6E-409C-BE32-E72D297353CC}">
                <c16:uniqueId val="{0000169D-7BE2-49F1-B47F-64DDA7BF3F9D}"/>
              </c:ext>
            </c:extLst>
          </c:dPt>
          <c:dPt>
            <c:idx val="2894"/>
            <c:invertIfNegative val="1"/>
            <c:bubble3D val="0"/>
            <c:spPr>
              <a:solidFill>
                <a:srgbClr val="AEABAB"/>
              </a:solidFill>
            </c:spPr>
            <c:extLst>
              <c:ext xmlns:c16="http://schemas.microsoft.com/office/drawing/2014/chart" uri="{C3380CC4-5D6E-409C-BE32-E72D297353CC}">
                <c16:uniqueId val="{0000169F-7BE2-49F1-B47F-64DDA7BF3F9D}"/>
              </c:ext>
            </c:extLst>
          </c:dPt>
          <c:dPt>
            <c:idx val="2895"/>
            <c:invertIfNegative val="1"/>
            <c:bubble3D val="0"/>
            <c:spPr>
              <a:solidFill>
                <a:srgbClr val="AEABAB"/>
              </a:solidFill>
            </c:spPr>
            <c:extLst>
              <c:ext xmlns:c16="http://schemas.microsoft.com/office/drawing/2014/chart" uri="{C3380CC4-5D6E-409C-BE32-E72D297353CC}">
                <c16:uniqueId val="{000016A1-7BE2-49F1-B47F-64DDA7BF3F9D}"/>
              </c:ext>
            </c:extLst>
          </c:dPt>
          <c:dPt>
            <c:idx val="2896"/>
            <c:invertIfNegative val="1"/>
            <c:bubble3D val="0"/>
            <c:spPr>
              <a:solidFill>
                <a:srgbClr val="AEABAB"/>
              </a:solidFill>
            </c:spPr>
            <c:extLst>
              <c:ext xmlns:c16="http://schemas.microsoft.com/office/drawing/2014/chart" uri="{C3380CC4-5D6E-409C-BE32-E72D297353CC}">
                <c16:uniqueId val="{000016A3-7BE2-49F1-B47F-64DDA7BF3F9D}"/>
              </c:ext>
            </c:extLst>
          </c:dPt>
          <c:dPt>
            <c:idx val="2897"/>
            <c:invertIfNegative val="1"/>
            <c:bubble3D val="0"/>
            <c:spPr>
              <a:solidFill>
                <a:srgbClr val="AEABAB"/>
              </a:solidFill>
            </c:spPr>
            <c:extLst>
              <c:ext xmlns:c16="http://schemas.microsoft.com/office/drawing/2014/chart" uri="{C3380CC4-5D6E-409C-BE32-E72D297353CC}">
                <c16:uniqueId val="{000016A5-7BE2-49F1-B47F-64DDA7BF3F9D}"/>
              </c:ext>
            </c:extLst>
          </c:dPt>
          <c:dPt>
            <c:idx val="2898"/>
            <c:invertIfNegative val="1"/>
            <c:bubble3D val="0"/>
            <c:spPr>
              <a:solidFill>
                <a:srgbClr val="AEABAB"/>
              </a:solidFill>
            </c:spPr>
            <c:extLst>
              <c:ext xmlns:c16="http://schemas.microsoft.com/office/drawing/2014/chart" uri="{C3380CC4-5D6E-409C-BE32-E72D297353CC}">
                <c16:uniqueId val="{000016A7-7BE2-49F1-B47F-64DDA7BF3F9D}"/>
              </c:ext>
            </c:extLst>
          </c:dPt>
          <c:dPt>
            <c:idx val="2899"/>
            <c:invertIfNegative val="1"/>
            <c:bubble3D val="0"/>
            <c:spPr>
              <a:solidFill>
                <a:srgbClr val="AEABAB"/>
              </a:solidFill>
            </c:spPr>
            <c:extLst>
              <c:ext xmlns:c16="http://schemas.microsoft.com/office/drawing/2014/chart" uri="{C3380CC4-5D6E-409C-BE32-E72D297353CC}">
                <c16:uniqueId val="{000016A9-7BE2-49F1-B47F-64DDA7BF3F9D}"/>
              </c:ext>
            </c:extLst>
          </c:dPt>
          <c:dPt>
            <c:idx val="2900"/>
            <c:invertIfNegative val="1"/>
            <c:bubble3D val="0"/>
            <c:spPr>
              <a:solidFill>
                <a:srgbClr val="AEABAB"/>
              </a:solidFill>
            </c:spPr>
            <c:extLst>
              <c:ext xmlns:c16="http://schemas.microsoft.com/office/drawing/2014/chart" uri="{C3380CC4-5D6E-409C-BE32-E72D297353CC}">
                <c16:uniqueId val="{000016AB-7BE2-49F1-B47F-64DDA7BF3F9D}"/>
              </c:ext>
            </c:extLst>
          </c:dPt>
          <c:dPt>
            <c:idx val="2901"/>
            <c:invertIfNegative val="1"/>
            <c:bubble3D val="0"/>
            <c:spPr>
              <a:solidFill>
                <a:srgbClr val="AEABAB"/>
              </a:solidFill>
            </c:spPr>
            <c:extLst>
              <c:ext xmlns:c16="http://schemas.microsoft.com/office/drawing/2014/chart" uri="{C3380CC4-5D6E-409C-BE32-E72D297353CC}">
                <c16:uniqueId val="{000016AD-7BE2-49F1-B47F-64DDA7BF3F9D}"/>
              </c:ext>
            </c:extLst>
          </c:dPt>
          <c:dPt>
            <c:idx val="2902"/>
            <c:invertIfNegative val="1"/>
            <c:bubble3D val="0"/>
            <c:spPr>
              <a:solidFill>
                <a:srgbClr val="AEABAB"/>
              </a:solidFill>
            </c:spPr>
            <c:extLst>
              <c:ext xmlns:c16="http://schemas.microsoft.com/office/drawing/2014/chart" uri="{C3380CC4-5D6E-409C-BE32-E72D297353CC}">
                <c16:uniqueId val="{000016AF-7BE2-49F1-B47F-64DDA7BF3F9D}"/>
              </c:ext>
            </c:extLst>
          </c:dPt>
          <c:dPt>
            <c:idx val="2903"/>
            <c:invertIfNegative val="1"/>
            <c:bubble3D val="0"/>
            <c:spPr>
              <a:solidFill>
                <a:srgbClr val="AEABAB"/>
              </a:solidFill>
            </c:spPr>
            <c:extLst>
              <c:ext xmlns:c16="http://schemas.microsoft.com/office/drawing/2014/chart" uri="{C3380CC4-5D6E-409C-BE32-E72D297353CC}">
                <c16:uniqueId val="{000016B1-7BE2-49F1-B47F-64DDA7BF3F9D}"/>
              </c:ext>
            </c:extLst>
          </c:dPt>
          <c:dPt>
            <c:idx val="2904"/>
            <c:invertIfNegative val="1"/>
            <c:bubble3D val="0"/>
            <c:spPr>
              <a:solidFill>
                <a:srgbClr val="AEABAB"/>
              </a:solidFill>
            </c:spPr>
            <c:extLst>
              <c:ext xmlns:c16="http://schemas.microsoft.com/office/drawing/2014/chart" uri="{C3380CC4-5D6E-409C-BE32-E72D297353CC}">
                <c16:uniqueId val="{000016B3-7BE2-49F1-B47F-64DDA7BF3F9D}"/>
              </c:ext>
            </c:extLst>
          </c:dPt>
          <c:dPt>
            <c:idx val="2905"/>
            <c:invertIfNegative val="1"/>
            <c:bubble3D val="0"/>
            <c:spPr>
              <a:solidFill>
                <a:srgbClr val="AEABAB"/>
              </a:solidFill>
            </c:spPr>
            <c:extLst>
              <c:ext xmlns:c16="http://schemas.microsoft.com/office/drawing/2014/chart" uri="{C3380CC4-5D6E-409C-BE32-E72D297353CC}">
                <c16:uniqueId val="{000016B5-7BE2-49F1-B47F-64DDA7BF3F9D}"/>
              </c:ext>
            </c:extLst>
          </c:dPt>
          <c:dPt>
            <c:idx val="2906"/>
            <c:invertIfNegative val="1"/>
            <c:bubble3D val="0"/>
            <c:spPr>
              <a:solidFill>
                <a:srgbClr val="AEABAB"/>
              </a:solidFill>
            </c:spPr>
            <c:extLst>
              <c:ext xmlns:c16="http://schemas.microsoft.com/office/drawing/2014/chart" uri="{C3380CC4-5D6E-409C-BE32-E72D297353CC}">
                <c16:uniqueId val="{000016B7-7BE2-49F1-B47F-64DDA7BF3F9D}"/>
              </c:ext>
            </c:extLst>
          </c:dPt>
          <c:dPt>
            <c:idx val="2907"/>
            <c:invertIfNegative val="1"/>
            <c:bubble3D val="0"/>
            <c:spPr>
              <a:solidFill>
                <a:srgbClr val="AEABAB"/>
              </a:solidFill>
            </c:spPr>
            <c:extLst>
              <c:ext xmlns:c16="http://schemas.microsoft.com/office/drawing/2014/chart" uri="{C3380CC4-5D6E-409C-BE32-E72D297353CC}">
                <c16:uniqueId val="{000016B9-7BE2-49F1-B47F-64DDA7BF3F9D}"/>
              </c:ext>
            </c:extLst>
          </c:dPt>
          <c:dPt>
            <c:idx val="2908"/>
            <c:invertIfNegative val="1"/>
            <c:bubble3D val="0"/>
            <c:spPr>
              <a:solidFill>
                <a:srgbClr val="AEABAB"/>
              </a:solidFill>
            </c:spPr>
            <c:extLst>
              <c:ext xmlns:c16="http://schemas.microsoft.com/office/drawing/2014/chart" uri="{C3380CC4-5D6E-409C-BE32-E72D297353CC}">
                <c16:uniqueId val="{000016BB-7BE2-49F1-B47F-64DDA7BF3F9D}"/>
              </c:ext>
            </c:extLst>
          </c:dPt>
          <c:dPt>
            <c:idx val="2909"/>
            <c:invertIfNegative val="1"/>
            <c:bubble3D val="0"/>
            <c:spPr>
              <a:solidFill>
                <a:srgbClr val="AEABAB"/>
              </a:solidFill>
            </c:spPr>
            <c:extLst>
              <c:ext xmlns:c16="http://schemas.microsoft.com/office/drawing/2014/chart" uri="{C3380CC4-5D6E-409C-BE32-E72D297353CC}">
                <c16:uniqueId val="{000016BD-7BE2-49F1-B47F-64DDA7BF3F9D}"/>
              </c:ext>
            </c:extLst>
          </c:dPt>
          <c:dPt>
            <c:idx val="2910"/>
            <c:invertIfNegative val="1"/>
            <c:bubble3D val="0"/>
            <c:spPr>
              <a:solidFill>
                <a:srgbClr val="AEABAB"/>
              </a:solidFill>
            </c:spPr>
            <c:extLst>
              <c:ext xmlns:c16="http://schemas.microsoft.com/office/drawing/2014/chart" uri="{C3380CC4-5D6E-409C-BE32-E72D297353CC}">
                <c16:uniqueId val="{000016BF-7BE2-49F1-B47F-64DDA7BF3F9D}"/>
              </c:ext>
            </c:extLst>
          </c:dPt>
          <c:dPt>
            <c:idx val="2911"/>
            <c:invertIfNegative val="1"/>
            <c:bubble3D val="0"/>
            <c:spPr>
              <a:solidFill>
                <a:srgbClr val="AEABAB"/>
              </a:solidFill>
            </c:spPr>
            <c:extLst>
              <c:ext xmlns:c16="http://schemas.microsoft.com/office/drawing/2014/chart" uri="{C3380CC4-5D6E-409C-BE32-E72D297353CC}">
                <c16:uniqueId val="{000016C1-7BE2-49F1-B47F-64DDA7BF3F9D}"/>
              </c:ext>
            </c:extLst>
          </c:dPt>
          <c:dPt>
            <c:idx val="2912"/>
            <c:invertIfNegative val="1"/>
            <c:bubble3D val="0"/>
            <c:spPr>
              <a:solidFill>
                <a:srgbClr val="AEABAB"/>
              </a:solidFill>
            </c:spPr>
            <c:extLst>
              <c:ext xmlns:c16="http://schemas.microsoft.com/office/drawing/2014/chart" uri="{C3380CC4-5D6E-409C-BE32-E72D297353CC}">
                <c16:uniqueId val="{000016C3-7BE2-49F1-B47F-64DDA7BF3F9D}"/>
              </c:ext>
            </c:extLst>
          </c:dPt>
          <c:dPt>
            <c:idx val="2913"/>
            <c:invertIfNegative val="1"/>
            <c:bubble3D val="0"/>
            <c:spPr>
              <a:solidFill>
                <a:srgbClr val="AEABAB"/>
              </a:solidFill>
            </c:spPr>
            <c:extLst>
              <c:ext xmlns:c16="http://schemas.microsoft.com/office/drawing/2014/chart" uri="{C3380CC4-5D6E-409C-BE32-E72D297353CC}">
                <c16:uniqueId val="{000016C5-7BE2-49F1-B47F-64DDA7BF3F9D}"/>
              </c:ext>
            </c:extLst>
          </c:dPt>
          <c:dPt>
            <c:idx val="2914"/>
            <c:invertIfNegative val="1"/>
            <c:bubble3D val="0"/>
            <c:spPr>
              <a:solidFill>
                <a:srgbClr val="AEABAB"/>
              </a:solidFill>
            </c:spPr>
            <c:extLst>
              <c:ext xmlns:c16="http://schemas.microsoft.com/office/drawing/2014/chart" uri="{C3380CC4-5D6E-409C-BE32-E72D297353CC}">
                <c16:uniqueId val="{000016C7-7BE2-49F1-B47F-64DDA7BF3F9D}"/>
              </c:ext>
            </c:extLst>
          </c:dPt>
          <c:dPt>
            <c:idx val="2915"/>
            <c:invertIfNegative val="1"/>
            <c:bubble3D val="0"/>
            <c:spPr>
              <a:solidFill>
                <a:srgbClr val="AEABAB"/>
              </a:solidFill>
            </c:spPr>
            <c:extLst>
              <c:ext xmlns:c16="http://schemas.microsoft.com/office/drawing/2014/chart" uri="{C3380CC4-5D6E-409C-BE32-E72D297353CC}">
                <c16:uniqueId val="{000016C9-7BE2-49F1-B47F-64DDA7BF3F9D}"/>
              </c:ext>
            </c:extLst>
          </c:dPt>
          <c:dPt>
            <c:idx val="2916"/>
            <c:invertIfNegative val="1"/>
            <c:bubble3D val="0"/>
            <c:spPr>
              <a:solidFill>
                <a:srgbClr val="AEABAB"/>
              </a:solidFill>
            </c:spPr>
            <c:extLst>
              <c:ext xmlns:c16="http://schemas.microsoft.com/office/drawing/2014/chart" uri="{C3380CC4-5D6E-409C-BE32-E72D297353CC}">
                <c16:uniqueId val="{000016CB-7BE2-49F1-B47F-64DDA7BF3F9D}"/>
              </c:ext>
            </c:extLst>
          </c:dPt>
          <c:dPt>
            <c:idx val="2917"/>
            <c:invertIfNegative val="1"/>
            <c:bubble3D val="0"/>
            <c:spPr>
              <a:solidFill>
                <a:srgbClr val="AEABAB"/>
              </a:solidFill>
            </c:spPr>
            <c:extLst>
              <c:ext xmlns:c16="http://schemas.microsoft.com/office/drawing/2014/chart" uri="{C3380CC4-5D6E-409C-BE32-E72D297353CC}">
                <c16:uniqueId val="{000016CD-7BE2-49F1-B47F-64DDA7BF3F9D}"/>
              </c:ext>
            </c:extLst>
          </c:dPt>
          <c:dPt>
            <c:idx val="2918"/>
            <c:invertIfNegative val="1"/>
            <c:bubble3D val="0"/>
            <c:spPr>
              <a:solidFill>
                <a:srgbClr val="AEABAB"/>
              </a:solidFill>
            </c:spPr>
            <c:extLst>
              <c:ext xmlns:c16="http://schemas.microsoft.com/office/drawing/2014/chart" uri="{C3380CC4-5D6E-409C-BE32-E72D297353CC}">
                <c16:uniqueId val="{000016CF-7BE2-49F1-B47F-64DDA7BF3F9D}"/>
              </c:ext>
            </c:extLst>
          </c:dPt>
          <c:dPt>
            <c:idx val="2919"/>
            <c:invertIfNegative val="1"/>
            <c:bubble3D val="0"/>
            <c:spPr>
              <a:solidFill>
                <a:srgbClr val="AEABAB"/>
              </a:solidFill>
            </c:spPr>
            <c:extLst>
              <c:ext xmlns:c16="http://schemas.microsoft.com/office/drawing/2014/chart" uri="{C3380CC4-5D6E-409C-BE32-E72D297353CC}">
                <c16:uniqueId val="{000016D1-7BE2-49F1-B47F-64DDA7BF3F9D}"/>
              </c:ext>
            </c:extLst>
          </c:dPt>
          <c:dPt>
            <c:idx val="2920"/>
            <c:invertIfNegative val="1"/>
            <c:bubble3D val="0"/>
            <c:spPr>
              <a:solidFill>
                <a:srgbClr val="AEABAB"/>
              </a:solidFill>
            </c:spPr>
            <c:extLst>
              <c:ext xmlns:c16="http://schemas.microsoft.com/office/drawing/2014/chart" uri="{C3380CC4-5D6E-409C-BE32-E72D297353CC}">
                <c16:uniqueId val="{000016D3-7BE2-49F1-B47F-64DDA7BF3F9D}"/>
              </c:ext>
            </c:extLst>
          </c:dPt>
          <c:dPt>
            <c:idx val="2921"/>
            <c:invertIfNegative val="1"/>
            <c:bubble3D val="0"/>
            <c:spPr>
              <a:solidFill>
                <a:srgbClr val="AEABAB"/>
              </a:solidFill>
            </c:spPr>
            <c:extLst>
              <c:ext xmlns:c16="http://schemas.microsoft.com/office/drawing/2014/chart" uri="{C3380CC4-5D6E-409C-BE32-E72D297353CC}">
                <c16:uniqueId val="{000016D5-7BE2-49F1-B47F-64DDA7BF3F9D}"/>
              </c:ext>
            </c:extLst>
          </c:dPt>
          <c:dPt>
            <c:idx val="2922"/>
            <c:invertIfNegative val="1"/>
            <c:bubble3D val="0"/>
            <c:spPr>
              <a:solidFill>
                <a:srgbClr val="AEABAB"/>
              </a:solidFill>
            </c:spPr>
            <c:extLst>
              <c:ext xmlns:c16="http://schemas.microsoft.com/office/drawing/2014/chart" uri="{C3380CC4-5D6E-409C-BE32-E72D297353CC}">
                <c16:uniqueId val="{000016D7-7BE2-49F1-B47F-64DDA7BF3F9D}"/>
              </c:ext>
            </c:extLst>
          </c:dPt>
          <c:dPt>
            <c:idx val="2923"/>
            <c:invertIfNegative val="1"/>
            <c:bubble3D val="0"/>
            <c:spPr>
              <a:solidFill>
                <a:srgbClr val="AEABAB"/>
              </a:solidFill>
            </c:spPr>
            <c:extLst>
              <c:ext xmlns:c16="http://schemas.microsoft.com/office/drawing/2014/chart" uri="{C3380CC4-5D6E-409C-BE32-E72D297353CC}">
                <c16:uniqueId val="{000016D9-7BE2-49F1-B47F-64DDA7BF3F9D}"/>
              </c:ext>
            </c:extLst>
          </c:dPt>
          <c:dPt>
            <c:idx val="2924"/>
            <c:invertIfNegative val="1"/>
            <c:bubble3D val="0"/>
            <c:spPr>
              <a:solidFill>
                <a:srgbClr val="AEABAB"/>
              </a:solidFill>
            </c:spPr>
            <c:extLst>
              <c:ext xmlns:c16="http://schemas.microsoft.com/office/drawing/2014/chart" uri="{C3380CC4-5D6E-409C-BE32-E72D297353CC}">
                <c16:uniqueId val="{000016DB-7BE2-49F1-B47F-64DDA7BF3F9D}"/>
              </c:ext>
            </c:extLst>
          </c:dPt>
          <c:dPt>
            <c:idx val="2925"/>
            <c:invertIfNegative val="1"/>
            <c:bubble3D val="0"/>
            <c:spPr>
              <a:solidFill>
                <a:srgbClr val="AEABAB"/>
              </a:solidFill>
            </c:spPr>
            <c:extLst>
              <c:ext xmlns:c16="http://schemas.microsoft.com/office/drawing/2014/chart" uri="{C3380CC4-5D6E-409C-BE32-E72D297353CC}">
                <c16:uniqueId val="{000016DD-7BE2-49F1-B47F-64DDA7BF3F9D}"/>
              </c:ext>
            </c:extLst>
          </c:dPt>
          <c:dPt>
            <c:idx val="2926"/>
            <c:invertIfNegative val="1"/>
            <c:bubble3D val="0"/>
            <c:spPr>
              <a:solidFill>
                <a:srgbClr val="AEABAB"/>
              </a:solidFill>
            </c:spPr>
            <c:extLst>
              <c:ext xmlns:c16="http://schemas.microsoft.com/office/drawing/2014/chart" uri="{C3380CC4-5D6E-409C-BE32-E72D297353CC}">
                <c16:uniqueId val="{000016DF-7BE2-49F1-B47F-64DDA7BF3F9D}"/>
              </c:ext>
            </c:extLst>
          </c:dPt>
          <c:dPt>
            <c:idx val="2927"/>
            <c:invertIfNegative val="1"/>
            <c:bubble3D val="0"/>
            <c:spPr>
              <a:solidFill>
                <a:srgbClr val="AEABAB"/>
              </a:solidFill>
            </c:spPr>
            <c:extLst>
              <c:ext xmlns:c16="http://schemas.microsoft.com/office/drawing/2014/chart" uri="{C3380CC4-5D6E-409C-BE32-E72D297353CC}">
                <c16:uniqueId val="{000016E1-7BE2-49F1-B47F-64DDA7BF3F9D}"/>
              </c:ext>
            </c:extLst>
          </c:dPt>
          <c:dPt>
            <c:idx val="2928"/>
            <c:invertIfNegative val="1"/>
            <c:bubble3D val="0"/>
            <c:spPr>
              <a:solidFill>
                <a:srgbClr val="AEABAB"/>
              </a:solidFill>
            </c:spPr>
            <c:extLst>
              <c:ext xmlns:c16="http://schemas.microsoft.com/office/drawing/2014/chart" uri="{C3380CC4-5D6E-409C-BE32-E72D297353CC}">
                <c16:uniqueId val="{000016E3-7BE2-49F1-B47F-64DDA7BF3F9D}"/>
              </c:ext>
            </c:extLst>
          </c:dPt>
          <c:dPt>
            <c:idx val="2929"/>
            <c:invertIfNegative val="1"/>
            <c:bubble3D val="0"/>
            <c:spPr>
              <a:solidFill>
                <a:srgbClr val="AEABAB"/>
              </a:solidFill>
            </c:spPr>
            <c:extLst>
              <c:ext xmlns:c16="http://schemas.microsoft.com/office/drawing/2014/chart" uri="{C3380CC4-5D6E-409C-BE32-E72D297353CC}">
                <c16:uniqueId val="{000016E5-7BE2-49F1-B47F-64DDA7BF3F9D}"/>
              </c:ext>
            </c:extLst>
          </c:dPt>
          <c:dPt>
            <c:idx val="2930"/>
            <c:invertIfNegative val="1"/>
            <c:bubble3D val="0"/>
            <c:spPr>
              <a:solidFill>
                <a:srgbClr val="AEABAB"/>
              </a:solidFill>
            </c:spPr>
            <c:extLst>
              <c:ext xmlns:c16="http://schemas.microsoft.com/office/drawing/2014/chart" uri="{C3380CC4-5D6E-409C-BE32-E72D297353CC}">
                <c16:uniqueId val="{000016E7-7BE2-49F1-B47F-64DDA7BF3F9D}"/>
              </c:ext>
            </c:extLst>
          </c:dPt>
          <c:dPt>
            <c:idx val="2931"/>
            <c:invertIfNegative val="1"/>
            <c:bubble3D val="0"/>
            <c:spPr>
              <a:solidFill>
                <a:srgbClr val="AEABAB"/>
              </a:solidFill>
            </c:spPr>
            <c:extLst>
              <c:ext xmlns:c16="http://schemas.microsoft.com/office/drawing/2014/chart" uri="{C3380CC4-5D6E-409C-BE32-E72D297353CC}">
                <c16:uniqueId val="{000016E9-7BE2-49F1-B47F-64DDA7BF3F9D}"/>
              </c:ext>
            </c:extLst>
          </c:dPt>
          <c:dPt>
            <c:idx val="2932"/>
            <c:invertIfNegative val="1"/>
            <c:bubble3D val="0"/>
            <c:spPr>
              <a:solidFill>
                <a:srgbClr val="AEABAB"/>
              </a:solidFill>
            </c:spPr>
            <c:extLst>
              <c:ext xmlns:c16="http://schemas.microsoft.com/office/drawing/2014/chart" uri="{C3380CC4-5D6E-409C-BE32-E72D297353CC}">
                <c16:uniqueId val="{000016EB-7BE2-49F1-B47F-64DDA7BF3F9D}"/>
              </c:ext>
            </c:extLst>
          </c:dPt>
          <c:dPt>
            <c:idx val="2933"/>
            <c:invertIfNegative val="1"/>
            <c:bubble3D val="0"/>
            <c:spPr>
              <a:solidFill>
                <a:srgbClr val="AEABAB"/>
              </a:solidFill>
            </c:spPr>
            <c:extLst>
              <c:ext xmlns:c16="http://schemas.microsoft.com/office/drawing/2014/chart" uri="{C3380CC4-5D6E-409C-BE32-E72D297353CC}">
                <c16:uniqueId val="{000016ED-7BE2-49F1-B47F-64DDA7BF3F9D}"/>
              </c:ext>
            </c:extLst>
          </c:dPt>
          <c:dPt>
            <c:idx val="2934"/>
            <c:invertIfNegative val="1"/>
            <c:bubble3D val="0"/>
            <c:spPr>
              <a:solidFill>
                <a:srgbClr val="AEABAB"/>
              </a:solidFill>
            </c:spPr>
            <c:extLst>
              <c:ext xmlns:c16="http://schemas.microsoft.com/office/drawing/2014/chart" uri="{C3380CC4-5D6E-409C-BE32-E72D297353CC}">
                <c16:uniqueId val="{000016EF-7BE2-49F1-B47F-64DDA7BF3F9D}"/>
              </c:ext>
            </c:extLst>
          </c:dPt>
          <c:dPt>
            <c:idx val="2935"/>
            <c:invertIfNegative val="1"/>
            <c:bubble3D val="0"/>
            <c:spPr>
              <a:solidFill>
                <a:srgbClr val="AEABAB"/>
              </a:solidFill>
            </c:spPr>
            <c:extLst>
              <c:ext xmlns:c16="http://schemas.microsoft.com/office/drawing/2014/chart" uri="{C3380CC4-5D6E-409C-BE32-E72D297353CC}">
                <c16:uniqueId val="{000016F1-7BE2-49F1-B47F-64DDA7BF3F9D}"/>
              </c:ext>
            </c:extLst>
          </c:dPt>
          <c:dPt>
            <c:idx val="2936"/>
            <c:invertIfNegative val="1"/>
            <c:bubble3D val="0"/>
            <c:spPr>
              <a:solidFill>
                <a:srgbClr val="AEABAB"/>
              </a:solidFill>
            </c:spPr>
            <c:extLst>
              <c:ext xmlns:c16="http://schemas.microsoft.com/office/drawing/2014/chart" uri="{C3380CC4-5D6E-409C-BE32-E72D297353CC}">
                <c16:uniqueId val="{000016F3-7BE2-49F1-B47F-64DDA7BF3F9D}"/>
              </c:ext>
            </c:extLst>
          </c:dPt>
          <c:dPt>
            <c:idx val="2937"/>
            <c:invertIfNegative val="1"/>
            <c:bubble3D val="0"/>
            <c:spPr>
              <a:solidFill>
                <a:srgbClr val="AEABAB"/>
              </a:solidFill>
            </c:spPr>
            <c:extLst>
              <c:ext xmlns:c16="http://schemas.microsoft.com/office/drawing/2014/chart" uri="{C3380CC4-5D6E-409C-BE32-E72D297353CC}">
                <c16:uniqueId val="{000016F5-7BE2-49F1-B47F-64DDA7BF3F9D}"/>
              </c:ext>
            </c:extLst>
          </c:dPt>
          <c:dPt>
            <c:idx val="2938"/>
            <c:invertIfNegative val="1"/>
            <c:bubble3D val="0"/>
            <c:spPr>
              <a:solidFill>
                <a:srgbClr val="AEABAB"/>
              </a:solidFill>
            </c:spPr>
            <c:extLst>
              <c:ext xmlns:c16="http://schemas.microsoft.com/office/drawing/2014/chart" uri="{C3380CC4-5D6E-409C-BE32-E72D297353CC}">
                <c16:uniqueId val="{000016F7-7BE2-49F1-B47F-64DDA7BF3F9D}"/>
              </c:ext>
            </c:extLst>
          </c:dPt>
          <c:dPt>
            <c:idx val="2939"/>
            <c:invertIfNegative val="1"/>
            <c:bubble3D val="0"/>
            <c:spPr>
              <a:solidFill>
                <a:srgbClr val="AEABAB"/>
              </a:solidFill>
            </c:spPr>
            <c:extLst>
              <c:ext xmlns:c16="http://schemas.microsoft.com/office/drawing/2014/chart" uri="{C3380CC4-5D6E-409C-BE32-E72D297353CC}">
                <c16:uniqueId val="{000016F9-7BE2-49F1-B47F-64DDA7BF3F9D}"/>
              </c:ext>
            </c:extLst>
          </c:dPt>
          <c:dPt>
            <c:idx val="2940"/>
            <c:invertIfNegative val="1"/>
            <c:bubble3D val="0"/>
            <c:spPr>
              <a:solidFill>
                <a:srgbClr val="AEABAB"/>
              </a:solidFill>
            </c:spPr>
            <c:extLst>
              <c:ext xmlns:c16="http://schemas.microsoft.com/office/drawing/2014/chart" uri="{C3380CC4-5D6E-409C-BE32-E72D297353CC}">
                <c16:uniqueId val="{000016FB-7BE2-49F1-B47F-64DDA7BF3F9D}"/>
              </c:ext>
            </c:extLst>
          </c:dPt>
          <c:dPt>
            <c:idx val="2941"/>
            <c:invertIfNegative val="1"/>
            <c:bubble3D val="0"/>
            <c:spPr>
              <a:solidFill>
                <a:srgbClr val="AEABAB"/>
              </a:solidFill>
            </c:spPr>
            <c:extLst>
              <c:ext xmlns:c16="http://schemas.microsoft.com/office/drawing/2014/chart" uri="{C3380CC4-5D6E-409C-BE32-E72D297353CC}">
                <c16:uniqueId val="{000016FD-7BE2-49F1-B47F-64DDA7BF3F9D}"/>
              </c:ext>
            </c:extLst>
          </c:dPt>
          <c:dPt>
            <c:idx val="2942"/>
            <c:invertIfNegative val="1"/>
            <c:bubble3D val="0"/>
            <c:spPr>
              <a:solidFill>
                <a:srgbClr val="AEABAB"/>
              </a:solidFill>
            </c:spPr>
            <c:extLst>
              <c:ext xmlns:c16="http://schemas.microsoft.com/office/drawing/2014/chart" uri="{C3380CC4-5D6E-409C-BE32-E72D297353CC}">
                <c16:uniqueId val="{000016FF-7BE2-49F1-B47F-64DDA7BF3F9D}"/>
              </c:ext>
            </c:extLst>
          </c:dPt>
          <c:dPt>
            <c:idx val="2943"/>
            <c:invertIfNegative val="1"/>
            <c:bubble3D val="0"/>
            <c:spPr>
              <a:solidFill>
                <a:srgbClr val="AEABAB"/>
              </a:solidFill>
            </c:spPr>
            <c:extLst>
              <c:ext xmlns:c16="http://schemas.microsoft.com/office/drawing/2014/chart" uri="{C3380CC4-5D6E-409C-BE32-E72D297353CC}">
                <c16:uniqueId val="{00001701-7BE2-49F1-B47F-64DDA7BF3F9D}"/>
              </c:ext>
            </c:extLst>
          </c:dPt>
          <c:dPt>
            <c:idx val="2944"/>
            <c:invertIfNegative val="1"/>
            <c:bubble3D val="0"/>
            <c:spPr>
              <a:solidFill>
                <a:srgbClr val="AEABAB"/>
              </a:solidFill>
            </c:spPr>
            <c:extLst>
              <c:ext xmlns:c16="http://schemas.microsoft.com/office/drawing/2014/chart" uri="{C3380CC4-5D6E-409C-BE32-E72D297353CC}">
                <c16:uniqueId val="{00001703-7BE2-49F1-B47F-64DDA7BF3F9D}"/>
              </c:ext>
            </c:extLst>
          </c:dPt>
          <c:dPt>
            <c:idx val="2945"/>
            <c:invertIfNegative val="1"/>
            <c:bubble3D val="0"/>
            <c:spPr>
              <a:solidFill>
                <a:srgbClr val="AEABAB"/>
              </a:solidFill>
            </c:spPr>
            <c:extLst>
              <c:ext xmlns:c16="http://schemas.microsoft.com/office/drawing/2014/chart" uri="{C3380CC4-5D6E-409C-BE32-E72D297353CC}">
                <c16:uniqueId val="{00001705-7BE2-49F1-B47F-64DDA7BF3F9D}"/>
              </c:ext>
            </c:extLst>
          </c:dPt>
          <c:dPt>
            <c:idx val="2946"/>
            <c:invertIfNegative val="1"/>
            <c:bubble3D val="0"/>
            <c:spPr>
              <a:solidFill>
                <a:srgbClr val="AEABAB"/>
              </a:solidFill>
            </c:spPr>
            <c:extLst>
              <c:ext xmlns:c16="http://schemas.microsoft.com/office/drawing/2014/chart" uri="{C3380CC4-5D6E-409C-BE32-E72D297353CC}">
                <c16:uniqueId val="{00001707-7BE2-49F1-B47F-64DDA7BF3F9D}"/>
              </c:ext>
            </c:extLst>
          </c:dPt>
          <c:dPt>
            <c:idx val="2947"/>
            <c:invertIfNegative val="1"/>
            <c:bubble3D val="0"/>
            <c:spPr>
              <a:solidFill>
                <a:srgbClr val="AEABAB"/>
              </a:solidFill>
            </c:spPr>
            <c:extLst>
              <c:ext xmlns:c16="http://schemas.microsoft.com/office/drawing/2014/chart" uri="{C3380CC4-5D6E-409C-BE32-E72D297353CC}">
                <c16:uniqueId val="{00001709-7BE2-49F1-B47F-64DDA7BF3F9D}"/>
              </c:ext>
            </c:extLst>
          </c:dPt>
          <c:dPt>
            <c:idx val="2948"/>
            <c:invertIfNegative val="1"/>
            <c:bubble3D val="0"/>
            <c:spPr>
              <a:solidFill>
                <a:srgbClr val="AEABAB"/>
              </a:solidFill>
            </c:spPr>
            <c:extLst>
              <c:ext xmlns:c16="http://schemas.microsoft.com/office/drawing/2014/chart" uri="{C3380CC4-5D6E-409C-BE32-E72D297353CC}">
                <c16:uniqueId val="{0000170B-7BE2-49F1-B47F-64DDA7BF3F9D}"/>
              </c:ext>
            </c:extLst>
          </c:dPt>
          <c:dPt>
            <c:idx val="2949"/>
            <c:invertIfNegative val="1"/>
            <c:bubble3D val="0"/>
            <c:spPr>
              <a:solidFill>
                <a:srgbClr val="AEABAB"/>
              </a:solidFill>
            </c:spPr>
            <c:extLst>
              <c:ext xmlns:c16="http://schemas.microsoft.com/office/drawing/2014/chart" uri="{C3380CC4-5D6E-409C-BE32-E72D297353CC}">
                <c16:uniqueId val="{0000170D-7BE2-49F1-B47F-64DDA7BF3F9D}"/>
              </c:ext>
            </c:extLst>
          </c:dPt>
          <c:dPt>
            <c:idx val="2950"/>
            <c:invertIfNegative val="1"/>
            <c:bubble3D val="0"/>
            <c:spPr>
              <a:solidFill>
                <a:srgbClr val="AEABAB"/>
              </a:solidFill>
            </c:spPr>
            <c:extLst>
              <c:ext xmlns:c16="http://schemas.microsoft.com/office/drawing/2014/chart" uri="{C3380CC4-5D6E-409C-BE32-E72D297353CC}">
                <c16:uniqueId val="{0000170F-7BE2-49F1-B47F-64DDA7BF3F9D}"/>
              </c:ext>
            </c:extLst>
          </c:dPt>
          <c:dPt>
            <c:idx val="2951"/>
            <c:invertIfNegative val="1"/>
            <c:bubble3D val="0"/>
            <c:spPr>
              <a:solidFill>
                <a:srgbClr val="AEABAB"/>
              </a:solidFill>
            </c:spPr>
            <c:extLst>
              <c:ext xmlns:c16="http://schemas.microsoft.com/office/drawing/2014/chart" uri="{C3380CC4-5D6E-409C-BE32-E72D297353CC}">
                <c16:uniqueId val="{00001711-7BE2-49F1-B47F-64DDA7BF3F9D}"/>
              </c:ext>
            </c:extLst>
          </c:dPt>
          <c:dPt>
            <c:idx val="2952"/>
            <c:invertIfNegative val="1"/>
            <c:bubble3D val="0"/>
            <c:spPr>
              <a:solidFill>
                <a:srgbClr val="AEABAB"/>
              </a:solidFill>
            </c:spPr>
            <c:extLst>
              <c:ext xmlns:c16="http://schemas.microsoft.com/office/drawing/2014/chart" uri="{C3380CC4-5D6E-409C-BE32-E72D297353CC}">
                <c16:uniqueId val="{00001713-7BE2-49F1-B47F-64DDA7BF3F9D}"/>
              </c:ext>
            </c:extLst>
          </c:dPt>
          <c:dPt>
            <c:idx val="2953"/>
            <c:invertIfNegative val="1"/>
            <c:bubble3D val="0"/>
            <c:spPr>
              <a:solidFill>
                <a:srgbClr val="AEABAB"/>
              </a:solidFill>
            </c:spPr>
            <c:extLst>
              <c:ext xmlns:c16="http://schemas.microsoft.com/office/drawing/2014/chart" uri="{C3380CC4-5D6E-409C-BE32-E72D297353CC}">
                <c16:uniqueId val="{00001715-7BE2-49F1-B47F-64DDA7BF3F9D}"/>
              </c:ext>
            </c:extLst>
          </c:dPt>
          <c:dPt>
            <c:idx val="2954"/>
            <c:invertIfNegative val="1"/>
            <c:bubble3D val="0"/>
            <c:spPr>
              <a:solidFill>
                <a:srgbClr val="AEABAB"/>
              </a:solidFill>
            </c:spPr>
            <c:extLst>
              <c:ext xmlns:c16="http://schemas.microsoft.com/office/drawing/2014/chart" uri="{C3380CC4-5D6E-409C-BE32-E72D297353CC}">
                <c16:uniqueId val="{00001717-7BE2-49F1-B47F-64DDA7BF3F9D}"/>
              </c:ext>
            </c:extLst>
          </c:dPt>
          <c:dPt>
            <c:idx val="2955"/>
            <c:invertIfNegative val="1"/>
            <c:bubble3D val="0"/>
            <c:spPr>
              <a:solidFill>
                <a:srgbClr val="AEABAB"/>
              </a:solidFill>
            </c:spPr>
            <c:extLst>
              <c:ext xmlns:c16="http://schemas.microsoft.com/office/drawing/2014/chart" uri="{C3380CC4-5D6E-409C-BE32-E72D297353CC}">
                <c16:uniqueId val="{00001719-7BE2-49F1-B47F-64DDA7BF3F9D}"/>
              </c:ext>
            </c:extLst>
          </c:dPt>
          <c:dPt>
            <c:idx val="2956"/>
            <c:invertIfNegative val="1"/>
            <c:bubble3D val="0"/>
            <c:spPr>
              <a:solidFill>
                <a:srgbClr val="AEABAB"/>
              </a:solidFill>
            </c:spPr>
            <c:extLst>
              <c:ext xmlns:c16="http://schemas.microsoft.com/office/drawing/2014/chart" uri="{C3380CC4-5D6E-409C-BE32-E72D297353CC}">
                <c16:uniqueId val="{0000171B-7BE2-49F1-B47F-64DDA7BF3F9D}"/>
              </c:ext>
            </c:extLst>
          </c:dPt>
          <c:dPt>
            <c:idx val="2957"/>
            <c:invertIfNegative val="1"/>
            <c:bubble3D val="0"/>
            <c:spPr>
              <a:solidFill>
                <a:srgbClr val="AEABAB"/>
              </a:solidFill>
            </c:spPr>
            <c:extLst>
              <c:ext xmlns:c16="http://schemas.microsoft.com/office/drawing/2014/chart" uri="{C3380CC4-5D6E-409C-BE32-E72D297353CC}">
                <c16:uniqueId val="{0000171D-7BE2-49F1-B47F-64DDA7BF3F9D}"/>
              </c:ext>
            </c:extLst>
          </c:dPt>
          <c:dPt>
            <c:idx val="2958"/>
            <c:invertIfNegative val="1"/>
            <c:bubble3D val="0"/>
            <c:spPr>
              <a:solidFill>
                <a:srgbClr val="AEABAB"/>
              </a:solidFill>
            </c:spPr>
            <c:extLst>
              <c:ext xmlns:c16="http://schemas.microsoft.com/office/drawing/2014/chart" uri="{C3380CC4-5D6E-409C-BE32-E72D297353CC}">
                <c16:uniqueId val="{0000171F-7BE2-49F1-B47F-64DDA7BF3F9D}"/>
              </c:ext>
            </c:extLst>
          </c:dPt>
          <c:dPt>
            <c:idx val="2959"/>
            <c:invertIfNegative val="1"/>
            <c:bubble3D val="0"/>
            <c:spPr>
              <a:solidFill>
                <a:srgbClr val="AEABAB"/>
              </a:solidFill>
            </c:spPr>
            <c:extLst>
              <c:ext xmlns:c16="http://schemas.microsoft.com/office/drawing/2014/chart" uri="{C3380CC4-5D6E-409C-BE32-E72D297353CC}">
                <c16:uniqueId val="{00001721-7BE2-49F1-B47F-64DDA7BF3F9D}"/>
              </c:ext>
            </c:extLst>
          </c:dPt>
          <c:dPt>
            <c:idx val="2960"/>
            <c:invertIfNegative val="1"/>
            <c:bubble3D val="0"/>
            <c:spPr>
              <a:solidFill>
                <a:srgbClr val="AEABAB"/>
              </a:solidFill>
            </c:spPr>
            <c:extLst>
              <c:ext xmlns:c16="http://schemas.microsoft.com/office/drawing/2014/chart" uri="{C3380CC4-5D6E-409C-BE32-E72D297353CC}">
                <c16:uniqueId val="{00001723-7BE2-49F1-B47F-64DDA7BF3F9D}"/>
              </c:ext>
            </c:extLst>
          </c:dPt>
          <c:dPt>
            <c:idx val="2961"/>
            <c:invertIfNegative val="1"/>
            <c:bubble3D val="0"/>
            <c:spPr>
              <a:solidFill>
                <a:srgbClr val="AEABAB"/>
              </a:solidFill>
            </c:spPr>
            <c:extLst>
              <c:ext xmlns:c16="http://schemas.microsoft.com/office/drawing/2014/chart" uri="{C3380CC4-5D6E-409C-BE32-E72D297353CC}">
                <c16:uniqueId val="{00001725-7BE2-49F1-B47F-64DDA7BF3F9D}"/>
              </c:ext>
            </c:extLst>
          </c:dPt>
          <c:dPt>
            <c:idx val="2962"/>
            <c:invertIfNegative val="1"/>
            <c:bubble3D val="0"/>
            <c:spPr>
              <a:solidFill>
                <a:srgbClr val="AEABAB"/>
              </a:solidFill>
            </c:spPr>
            <c:extLst>
              <c:ext xmlns:c16="http://schemas.microsoft.com/office/drawing/2014/chart" uri="{C3380CC4-5D6E-409C-BE32-E72D297353CC}">
                <c16:uniqueId val="{00001727-7BE2-49F1-B47F-64DDA7BF3F9D}"/>
              </c:ext>
            </c:extLst>
          </c:dPt>
          <c:dPt>
            <c:idx val="2963"/>
            <c:invertIfNegative val="1"/>
            <c:bubble3D val="0"/>
            <c:spPr>
              <a:solidFill>
                <a:srgbClr val="AEABAB"/>
              </a:solidFill>
            </c:spPr>
            <c:extLst>
              <c:ext xmlns:c16="http://schemas.microsoft.com/office/drawing/2014/chart" uri="{C3380CC4-5D6E-409C-BE32-E72D297353CC}">
                <c16:uniqueId val="{00001729-7BE2-49F1-B47F-64DDA7BF3F9D}"/>
              </c:ext>
            </c:extLst>
          </c:dPt>
          <c:dPt>
            <c:idx val="2964"/>
            <c:invertIfNegative val="1"/>
            <c:bubble3D val="0"/>
            <c:spPr>
              <a:solidFill>
                <a:srgbClr val="AEABAB"/>
              </a:solidFill>
            </c:spPr>
            <c:extLst>
              <c:ext xmlns:c16="http://schemas.microsoft.com/office/drawing/2014/chart" uri="{C3380CC4-5D6E-409C-BE32-E72D297353CC}">
                <c16:uniqueId val="{0000172B-7BE2-49F1-B47F-64DDA7BF3F9D}"/>
              </c:ext>
            </c:extLst>
          </c:dPt>
          <c:dPt>
            <c:idx val="2965"/>
            <c:invertIfNegative val="1"/>
            <c:bubble3D val="0"/>
            <c:spPr>
              <a:solidFill>
                <a:srgbClr val="AEABAB"/>
              </a:solidFill>
            </c:spPr>
            <c:extLst>
              <c:ext xmlns:c16="http://schemas.microsoft.com/office/drawing/2014/chart" uri="{C3380CC4-5D6E-409C-BE32-E72D297353CC}">
                <c16:uniqueId val="{0000172D-7BE2-49F1-B47F-64DDA7BF3F9D}"/>
              </c:ext>
            </c:extLst>
          </c:dPt>
          <c:dPt>
            <c:idx val="2966"/>
            <c:invertIfNegative val="1"/>
            <c:bubble3D val="0"/>
            <c:spPr>
              <a:solidFill>
                <a:srgbClr val="AEABAB"/>
              </a:solidFill>
            </c:spPr>
            <c:extLst>
              <c:ext xmlns:c16="http://schemas.microsoft.com/office/drawing/2014/chart" uri="{C3380CC4-5D6E-409C-BE32-E72D297353CC}">
                <c16:uniqueId val="{0000172F-7BE2-49F1-B47F-64DDA7BF3F9D}"/>
              </c:ext>
            </c:extLst>
          </c:dPt>
          <c:dPt>
            <c:idx val="2967"/>
            <c:invertIfNegative val="1"/>
            <c:bubble3D val="0"/>
            <c:spPr>
              <a:solidFill>
                <a:srgbClr val="AEABAB"/>
              </a:solidFill>
            </c:spPr>
            <c:extLst>
              <c:ext xmlns:c16="http://schemas.microsoft.com/office/drawing/2014/chart" uri="{C3380CC4-5D6E-409C-BE32-E72D297353CC}">
                <c16:uniqueId val="{00001731-7BE2-49F1-B47F-64DDA7BF3F9D}"/>
              </c:ext>
            </c:extLst>
          </c:dPt>
          <c:dPt>
            <c:idx val="2968"/>
            <c:invertIfNegative val="1"/>
            <c:bubble3D val="0"/>
            <c:spPr>
              <a:solidFill>
                <a:srgbClr val="AEABAB"/>
              </a:solidFill>
            </c:spPr>
            <c:extLst>
              <c:ext xmlns:c16="http://schemas.microsoft.com/office/drawing/2014/chart" uri="{C3380CC4-5D6E-409C-BE32-E72D297353CC}">
                <c16:uniqueId val="{00001733-7BE2-49F1-B47F-64DDA7BF3F9D}"/>
              </c:ext>
            </c:extLst>
          </c:dPt>
          <c:dPt>
            <c:idx val="2969"/>
            <c:invertIfNegative val="1"/>
            <c:bubble3D val="0"/>
            <c:spPr>
              <a:solidFill>
                <a:srgbClr val="AEABAB"/>
              </a:solidFill>
            </c:spPr>
            <c:extLst>
              <c:ext xmlns:c16="http://schemas.microsoft.com/office/drawing/2014/chart" uri="{C3380CC4-5D6E-409C-BE32-E72D297353CC}">
                <c16:uniqueId val="{00001735-7BE2-49F1-B47F-64DDA7BF3F9D}"/>
              </c:ext>
            </c:extLst>
          </c:dPt>
          <c:dPt>
            <c:idx val="2970"/>
            <c:invertIfNegative val="1"/>
            <c:bubble3D val="0"/>
            <c:spPr>
              <a:solidFill>
                <a:srgbClr val="AEABAB"/>
              </a:solidFill>
            </c:spPr>
            <c:extLst>
              <c:ext xmlns:c16="http://schemas.microsoft.com/office/drawing/2014/chart" uri="{C3380CC4-5D6E-409C-BE32-E72D297353CC}">
                <c16:uniqueId val="{00001737-7BE2-49F1-B47F-64DDA7BF3F9D}"/>
              </c:ext>
            </c:extLst>
          </c:dPt>
          <c:dPt>
            <c:idx val="2971"/>
            <c:invertIfNegative val="1"/>
            <c:bubble3D val="0"/>
            <c:spPr>
              <a:solidFill>
                <a:srgbClr val="AEABAB"/>
              </a:solidFill>
            </c:spPr>
            <c:extLst>
              <c:ext xmlns:c16="http://schemas.microsoft.com/office/drawing/2014/chart" uri="{C3380CC4-5D6E-409C-BE32-E72D297353CC}">
                <c16:uniqueId val="{00001739-7BE2-49F1-B47F-64DDA7BF3F9D}"/>
              </c:ext>
            </c:extLst>
          </c:dPt>
          <c:dPt>
            <c:idx val="2972"/>
            <c:invertIfNegative val="1"/>
            <c:bubble3D val="0"/>
            <c:spPr>
              <a:solidFill>
                <a:srgbClr val="AEABAB"/>
              </a:solidFill>
            </c:spPr>
            <c:extLst>
              <c:ext xmlns:c16="http://schemas.microsoft.com/office/drawing/2014/chart" uri="{C3380CC4-5D6E-409C-BE32-E72D297353CC}">
                <c16:uniqueId val="{0000173B-7BE2-49F1-B47F-64DDA7BF3F9D}"/>
              </c:ext>
            </c:extLst>
          </c:dPt>
          <c:dPt>
            <c:idx val="2973"/>
            <c:invertIfNegative val="1"/>
            <c:bubble3D val="0"/>
            <c:spPr>
              <a:solidFill>
                <a:srgbClr val="AEABAB"/>
              </a:solidFill>
            </c:spPr>
            <c:extLst>
              <c:ext xmlns:c16="http://schemas.microsoft.com/office/drawing/2014/chart" uri="{C3380CC4-5D6E-409C-BE32-E72D297353CC}">
                <c16:uniqueId val="{0000173D-7BE2-49F1-B47F-64DDA7BF3F9D}"/>
              </c:ext>
            </c:extLst>
          </c:dPt>
          <c:dPt>
            <c:idx val="2974"/>
            <c:invertIfNegative val="1"/>
            <c:bubble3D val="0"/>
            <c:spPr>
              <a:solidFill>
                <a:srgbClr val="AEABAB"/>
              </a:solidFill>
            </c:spPr>
            <c:extLst>
              <c:ext xmlns:c16="http://schemas.microsoft.com/office/drawing/2014/chart" uri="{C3380CC4-5D6E-409C-BE32-E72D297353CC}">
                <c16:uniqueId val="{0000173F-7BE2-49F1-B47F-64DDA7BF3F9D}"/>
              </c:ext>
            </c:extLst>
          </c:dPt>
          <c:dPt>
            <c:idx val="2975"/>
            <c:invertIfNegative val="1"/>
            <c:bubble3D val="0"/>
            <c:spPr>
              <a:solidFill>
                <a:srgbClr val="AEABAB"/>
              </a:solidFill>
            </c:spPr>
            <c:extLst>
              <c:ext xmlns:c16="http://schemas.microsoft.com/office/drawing/2014/chart" uri="{C3380CC4-5D6E-409C-BE32-E72D297353CC}">
                <c16:uniqueId val="{00001741-7BE2-49F1-B47F-64DDA7BF3F9D}"/>
              </c:ext>
            </c:extLst>
          </c:dPt>
          <c:dPt>
            <c:idx val="2976"/>
            <c:invertIfNegative val="1"/>
            <c:bubble3D val="0"/>
            <c:spPr>
              <a:solidFill>
                <a:srgbClr val="AEABAB"/>
              </a:solidFill>
            </c:spPr>
            <c:extLst>
              <c:ext xmlns:c16="http://schemas.microsoft.com/office/drawing/2014/chart" uri="{C3380CC4-5D6E-409C-BE32-E72D297353CC}">
                <c16:uniqueId val="{00001743-7BE2-49F1-B47F-64DDA7BF3F9D}"/>
              </c:ext>
            </c:extLst>
          </c:dPt>
          <c:dPt>
            <c:idx val="2977"/>
            <c:invertIfNegative val="1"/>
            <c:bubble3D val="0"/>
            <c:spPr>
              <a:solidFill>
                <a:srgbClr val="AEABAB"/>
              </a:solidFill>
            </c:spPr>
            <c:extLst>
              <c:ext xmlns:c16="http://schemas.microsoft.com/office/drawing/2014/chart" uri="{C3380CC4-5D6E-409C-BE32-E72D297353CC}">
                <c16:uniqueId val="{00001745-7BE2-49F1-B47F-64DDA7BF3F9D}"/>
              </c:ext>
            </c:extLst>
          </c:dPt>
          <c:dPt>
            <c:idx val="2978"/>
            <c:invertIfNegative val="1"/>
            <c:bubble3D val="0"/>
            <c:spPr>
              <a:solidFill>
                <a:srgbClr val="AEABAB"/>
              </a:solidFill>
            </c:spPr>
            <c:extLst>
              <c:ext xmlns:c16="http://schemas.microsoft.com/office/drawing/2014/chart" uri="{C3380CC4-5D6E-409C-BE32-E72D297353CC}">
                <c16:uniqueId val="{00001747-7BE2-49F1-B47F-64DDA7BF3F9D}"/>
              </c:ext>
            </c:extLst>
          </c:dPt>
          <c:dPt>
            <c:idx val="2979"/>
            <c:invertIfNegative val="1"/>
            <c:bubble3D val="0"/>
            <c:spPr>
              <a:solidFill>
                <a:srgbClr val="AEABAB"/>
              </a:solidFill>
            </c:spPr>
            <c:extLst>
              <c:ext xmlns:c16="http://schemas.microsoft.com/office/drawing/2014/chart" uri="{C3380CC4-5D6E-409C-BE32-E72D297353CC}">
                <c16:uniqueId val="{00001749-7BE2-49F1-B47F-64DDA7BF3F9D}"/>
              </c:ext>
            </c:extLst>
          </c:dPt>
          <c:dPt>
            <c:idx val="2980"/>
            <c:invertIfNegative val="1"/>
            <c:bubble3D val="0"/>
            <c:spPr>
              <a:solidFill>
                <a:srgbClr val="AEABAB"/>
              </a:solidFill>
            </c:spPr>
            <c:extLst>
              <c:ext xmlns:c16="http://schemas.microsoft.com/office/drawing/2014/chart" uri="{C3380CC4-5D6E-409C-BE32-E72D297353CC}">
                <c16:uniqueId val="{0000174B-7BE2-49F1-B47F-64DDA7BF3F9D}"/>
              </c:ext>
            </c:extLst>
          </c:dPt>
          <c:dPt>
            <c:idx val="2981"/>
            <c:invertIfNegative val="1"/>
            <c:bubble3D val="0"/>
            <c:spPr>
              <a:solidFill>
                <a:srgbClr val="AEABAB"/>
              </a:solidFill>
            </c:spPr>
            <c:extLst>
              <c:ext xmlns:c16="http://schemas.microsoft.com/office/drawing/2014/chart" uri="{C3380CC4-5D6E-409C-BE32-E72D297353CC}">
                <c16:uniqueId val="{0000174D-7BE2-49F1-B47F-64DDA7BF3F9D}"/>
              </c:ext>
            </c:extLst>
          </c:dPt>
          <c:dPt>
            <c:idx val="2982"/>
            <c:invertIfNegative val="1"/>
            <c:bubble3D val="0"/>
            <c:spPr>
              <a:solidFill>
                <a:srgbClr val="AEABAB"/>
              </a:solidFill>
            </c:spPr>
            <c:extLst>
              <c:ext xmlns:c16="http://schemas.microsoft.com/office/drawing/2014/chart" uri="{C3380CC4-5D6E-409C-BE32-E72D297353CC}">
                <c16:uniqueId val="{0000174F-7BE2-49F1-B47F-64DDA7BF3F9D}"/>
              </c:ext>
            </c:extLst>
          </c:dPt>
          <c:dPt>
            <c:idx val="2983"/>
            <c:invertIfNegative val="1"/>
            <c:bubble3D val="0"/>
            <c:spPr>
              <a:solidFill>
                <a:srgbClr val="AEABAB"/>
              </a:solidFill>
            </c:spPr>
            <c:extLst>
              <c:ext xmlns:c16="http://schemas.microsoft.com/office/drawing/2014/chart" uri="{C3380CC4-5D6E-409C-BE32-E72D297353CC}">
                <c16:uniqueId val="{00001751-7BE2-49F1-B47F-64DDA7BF3F9D}"/>
              </c:ext>
            </c:extLst>
          </c:dPt>
          <c:dPt>
            <c:idx val="2984"/>
            <c:invertIfNegative val="1"/>
            <c:bubble3D val="0"/>
            <c:spPr>
              <a:solidFill>
                <a:srgbClr val="AEABAB"/>
              </a:solidFill>
            </c:spPr>
            <c:extLst>
              <c:ext xmlns:c16="http://schemas.microsoft.com/office/drawing/2014/chart" uri="{C3380CC4-5D6E-409C-BE32-E72D297353CC}">
                <c16:uniqueId val="{00001753-7BE2-49F1-B47F-64DDA7BF3F9D}"/>
              </c:ext>
            </c:extLst>
          </c:dPt>
          <c:dPt>
            <c:idx val="2985"/>
            <c:invertIfNegative val="1"/>
            <c:bubble3D val="0"/>
            <c:spPr>
              <a:solidFill>
                <a:srgbClr val="AEABAB"/>
              </a:solidFill>
            </c:spPr>
            <c:extLst>
              <c:ext xmlns:c16="http://schemas.microsoft.com/office/drawing/2014/chart" uri="{C3380CC4-5D6E-409C-BE32-E72D297353CC}">
                <c16:uniqueId val="{00001755-7BE2-49F1-B47F-64DDA7BF3F9D}"/>
              </c:ext>
            </c:extLst>
          </c:dPt>
          <c:dPt>
            <c:idx val="2986"/>
            <c:invertIfNegative val="1"/>
            <c:bubble3D val="0"/>
            <c:spPr>
              <a:solidFill>
                <a:srgbClr val="AEABAB"/>
              </a:solidFill>
            </c:spPr>
            <c:extLst>
              <c:ext xmlns:c16="http://schemas.microsoft.com/office/drawing/2014/chart" uri="{C3380CC4-5D6E-409C-BE32-E72D297353CC}">
                <c16:uniqueId val="{00001757-7BE2-49F1-B47F-64DDA7BF3F9D}"/>
              </c:ext>
            </c:extLst>
          </c:dPt>
          <c:dPt>
            <c:idx val="2987"/>
            <c:invertIfNegative val="1"/>
            <c:bubble3D val="0"/>
            <c:spPr>
              <a:solidFill>
                <a:srgbClr val="AEABAB"/>
              </a:solidFill>
            </c:spPr>
            <c:extLst>
              <c:ext xmlns:c16="http://schemas.microsoft.com/office/drawing/2014/chart" uri="{C3380CC4-5D6E-409C-BE32-E72D297353CC}">
                <c16:uniqueId val="{00001759-7BE2-49F1-B47F-64DDA7BF3F9D}"/>
              </c:ext>
            </c:extLst>
          </c:dPt>
          <c:dPt>
            <c:idx val="2988"/>
            <c:invertIfNegative val="1"/>
            <c:bubble3D val="0"/>
            <c:spPr>
              <a:solidFill>
                <a:srgbClr val="AEABAB"/>
              </a:solidFill>
            </c:spPr>
            <c:extLst>
              <c:ext xmlns:c16="http://schemas.microsoft.com/office/drawing/2014/chart" uri="{C3380CC4-5D6E-409C-BE32-E72D297353CC}">
                <c16:uniqueId val="{0000175B-7BE2-49F1-B47F-64DDA7BF3F9D}"/>
              </c:ext>
            </c:extLst>
          </c:dPt>
          <c:dPt>
            <c:idx val="2989"/>
            <c:invertIfNegative val="1"/>
            <c:bubble3D val="0"/>
            <c:spPr>
              <a:solidFill>
                <a:srgbClr val="AEABAB"/>
              </a:solidFill>
            </c:spPr>
            <c:extLst>
              <c:ext xmlns:c16="http://schemas.microsoft.com/office/drawing/2014/chart" uri="{C3380CC4-5D6E-409C-BE32-E72D297353CC}">
                <c16:uniqueId val="{0000175D-7BE2-49F1-B47F-64DDA7BF3F9D}"/>
              </c:ext>
            </c:extLst>
          </c:dPt>
          <c:dPt>
            <c:idx val="2990"/>
            <c:invertIfNegative val="1"/>
            <c:bubble3D val="0"/>
            <c:spPr>
              <a:solidFill>
                <a:srgbClr val="AEABAB"/>
              </a:solidFill>
            </c:spPr>
            <c:extLst>
              <c:ext xmlns:c16="http://schemas.microsoft.com/office/drawing/2014/chart" uri="{C3380CC4-5D6E-409C-BE32-E72D297353CC}">
                <c16:uniqueId val="{0000175F-7BE2-49F1-B47F-64DDA7BF3F9D}"/>
              </c:ext>
            </c:extLst>
          </c:dPt>
          <c:dPt>
            <c:idx val="2991"/>
            <c:invertIfNegative val="1"/>
            <c:bubble3D val="0"/>
            <c:spPr>
              <a:solidFill>
                <a:srgbClr val="AEABAB"/>
              </a:solidFill>
            </c:spPr>
            <c:extLst>
              <c:ext xmlns:c16="http://schemas.microsoft.com/office/drawing/2014/chart" uri="{C3380CC4-5D6E-409C-BE32-E72D297353CC}">
                <c16:uniqueId val="{00001761-7BE2-49F1-B47F-64DDA7BF3F9D}"/>
              </c:ext>
            </c:extLst>
          </c:dPt>
          <c:dPt>
            <c:idx val="2992"/>
            <c:invertIfNegative val="1"/>
            <c:bubble3D val="0"/>
            <c:spPr>
              <a:solidFill>
                <a:srgbClr val="AEABAB"/>
              </a:solidFill>
            </c:spPr>
            <c:extLst>
              <c:ext xmlns:c16="http://schemas.microsoft.com/office/drawing/2014/chart" uri="{C3380CC4-5D6E-409C-BE32-E72D297353CC}">
                <c16:uniqueId val="{00001763-7BE2-49F1-B47F-64DDA7BF3F9D}"/>
              </c:ext>
            </c:extLst>
          </c:dPt>
          <c:dPt>
            <c:idx val="2993"/>
            <c:invertIfNegative val="1"/>
            <c:bubble3D val="0"/>
            <c:spPr>
              <a:solidFill>
                <a:srgbClr val="AEABAB"/>
              </a:solidFill>
            </c:spPr>
            <c:extLst>
              <c:ext xmlns:c16="http://schemas.microsoft.com/office/drawing/2014/chart" uri="{C3380CC4-5D6E-409C-BE32-E72D297353CC}">
                <c16:uniqueId val="{00001765-7BE2-49F1-B47F-64DDA7BF3F9D}"/>
              </c:ext>
            </c:extLst>
          </c:dPt>
          <c:dPt>
            <c:idx val="2994"/>
            <c:invertIfNegative val="1"/>
            <c:bubble3D val="0"/>
            <c:spPr>
              <a:solidFill>
                <a:srgbClr val="AEABAB"/>
              </a:solidFill>
            </c:spPr>
            <c:extLst>
              <c:ext xmlns:c16="http://schemas.microsoft.com/office/drawing/2014/chart" uri="{C3380CC4-5D6E-409C-BE32-E72D297353CC}">
                <c16:uniqueId val="{00001767-7BE2-49F1-B47F-64DDA7BF3F9D}"/>
              </c:ext>
            </c:extLst>
          </c:dPt>
          <c:dPt>
            <c:idx val="2995"/>
            <c:invertIfNegative val="1"/>
            <c:bubble3D val="0"/>
            <c:spPr>
              <a:solidFill>
                <a:srgbClr val="AEABAB"/>
              </a:solidFill>
            </c:spPr>
            <c:extLst>
              <c:ext xmlns:c16="http://schemas.microsoft.com/office/drawing/2014/chart" uri="{C3380CC4-5D6E-409C-BE32-E72D297353CC}">
                <c16:uniqueId val="{00001769-7BE2-49F1-B47F-64DDA7BF3F9D}"/>
              </c:ext>
            </c:extLst>
          </c:dPt>
          <c:dPt>
            <c:idx val="2996"/>
            <c:invertIfNegative val="1"/>
            <c:bubble3D val="0"/>
            <c:spPr>
              <a:solidFill>
                <a:srgbClr val="AEABAB"/>
              </a:solidFill>
            </c:spPr>
            <c:extLst>
              <c:ext xmlns:c16="http://schemas.microsoft.com/office/drawing/2014/chart" uri="{C3380CC4-5D6E-409C-BE32-E72D297353CC}">
                <c16:uniqueId val="{0000176B-7BE2-49F1-B47F-64DDA7BF3F9D}"/>
              </c:ext>
            </c:extLst>
          </c:dPt>
          <c:dPt>
            <c:idx val="2997"/>
            <c:invertIfNegative val="1"/>
            <c:bubble3D val="0"/>
            <c:spPr>
              <a:solidFill>
                <a:srgbClr val="AEABAB"/>
              </a:solidFill>
            </c:spPr>
            <c:extLst>
              <c:ext xmlns:c16="http://schemas.microsoft.com/office/drawing/2014/chart" uri="{C3380CC4-5D6E-409C-BE32-E72D297353CC}">
                <c16:uniqueId val="{0000176D-7BE2-49F1-B47F-64DDA7BF3F9D}"/>
              </c:ext>
            </c:extLst>
          </c:dPt>
          <c:dPt>
            <c:idx val="2998"/>
            <c:invertIfNegative val="1"/>
            <c:bubble3D val="0"/>
            <c:spPr>
              <a:solidFill>
                <a:srgbClr val="AEABAB"/>
              </a:solidFill>
            </c:spPr>
            <c:extLst>
              <c:ext xmlns:c16="http://schemas.microsoft.com/office/drawing/2014/chart" uri="{C3380CC4-5D6E-409C-BE32-E72D297353CC}">
                <c16:uniqueId val="{0000176F-7BE2-49F1-B47F-64DDA7BF3F9D}"/>
              </c:ext>
            </c:extLst>
          </c:dPt>
          <c:dPt>
            <c:idx val="2999"/>
            <c:invertIfNegative val="1"/>
            <c:bubble3D val="0"/>
            <c:spPr>
              <a:solidFill>
                <a:srgbClr val="AEABAB"/>
              </a:solidFill>
            </c:spPr>
            <c:extLst>
              <c:ext xmlns:c16="http://schemas.microsoft.com/office/drawing/2014/chart" uri="{C3380CC4-5D6E-409C-BE32-E72D297353CC}">
                <c16:uniqueId val="{00001771-7BE2-49F1-B47F-64DDA7BF3F9D}"/>
              </c:ext>
            </c:extLst>
          </c:dPt>
          <c:dPt>
            <c:idx val="3000"/>
            <c:invertIfNegative val="1"/>
            <c:bubble3D val="0"/>
            <c:spPr>
              <a:solidFill>
                <a:srgbClr val="AEABAB"/>
              </a:solidFill>
            </c:spPr>
            <c:extLst>
              <c:ext xmlns:c16="http://schemas.microsoft.com/office/drawing/2014/chart" uri="{C3380CC4-5D6E-409C-BE32-E72D297353CC}">
                <c16:uniqueId val="{00001773-7BE2-49F1-B47F-64DDA7BF3F9D}"/>
              </c:ext>
            </c:extLst>
          </c:dPt>
          <c:dPt>
            <c:idx val="3001"/>
            <c:invertIfNegative val="1"/>
            <c:bubble3D val="0"/>
            <c:spPr>
              <a:solidFill>
                <a:srgbClr val="AEABAB"/>
              </a:solidFill>
            </c:spPr>
            <c:extLst>
              <c:ext xmlns:c16="http://schemas.microsoft.com/office/drawing/2014/chart" uri="{C3380CC4-5D6E-409C-BE32-E72D297353CC}">
                <c16:uniqueId val="{00001775-7BE2-49F1-B47F-64DDA7BF3F9D}"/>
              </c:ext>
            </c:extLst>
          </c:dPt>
          <c:dPt>
            <c:idx val="3002"/>
            <c:invertIfNegative val="1"/>
            <c:bubble3D val="0"/>
            <c:spPr>
              <a:solidFill>
                <a:srgbClr val="AEABAB"/>
              </a:solidFill>
            </c:spPr>
            <c:extLst>
              <c:ext xmlns:c16="http://schemas.microsoft.com/office/drawing/2014/chart" uri="{C3380CC4-5D6E-409C-BE32-E72D297353CC}">
                <c16:uniqueId val="{00001777-7BE2-49F1-B47F-64DDA7BF3F9D}"/>
              </c:ext>
            </c:extLst>
          </c:dPt>
          <c:dPt>
            <c:idx val="3003"/>
            <c:invertIfNegative val="1"/>
            <c:bubble3D val="0"/>
            <c:spPr>
              <a:solidFill>
                <a:srgbClr val="AEABAB"/>
              </a:solidFill>
            </c:spPr>
            <c:extLst>
              <c:ext xmlns:c16="http://schemas.microsoft.com/office/drawing/2014/chart" uri="{C3380CC4-5D6E-409C-BE32-E72D297353CC}">
                <c16:uniqueId val="{00001779-7BE2-49F1-B47F-64DDA7BF3F9D}"/>
              </c:ext>
            </c:extLst>
          </c:dPt>
          <c:dPt>
            <c:idx val="3004"/>
            <c:invertIfNegative val="1"/>
            <c:bubble3D val="0"/>
            <c:spPr>
              <a:solidFill>
                <a:srgbClr val="AEABAB"/>
              </a:solidFill>
            </c:spPr>
            <c:extLst>
              <c:ext xmlns:c16="http://schemas.microsoft.com/office/drawing/2014/chart" uri="{C3380CC4-5D6E-409C-BE32-E72D297353CC}">
                <c16:uniqueId val="{0000177B-7BE2-49F1-B47F-64DDA7BF3F9D}"/>
              </c:ext>
            </c:extLst>
          </c:dPt>
          <c:dPt>
            <c:idx val="3005"/>
            <c:invertIfNegative val="1"/>
            <c:bubble3D val="0"/>
            <c:spPr>
              <a:solidFill>
                <a:srgbClr val="AEABAB"/>
              </a:solidFill>
            </c:spPr>
            <c:extLst>
              <c:ext xmlns:c16="http://schemas.microsoft.com/office/drawing/2014/chart" uri="{C3380CC4-5D6E-409C-BE32-E72D297353CC}">
                <c16:uniqueId val="{0000177D-7BE2-49F1-B47F-64DDA7BF3F9D}"/>
              </c:ext>
            </c:extLst>
          </c:dPt>
          <c:dPt>
            <c:idx val="3006"/>
            <c:invertIfNegative val="1"/>
            <c:bubble3D val="0"/>
            <c:spPr>
              <a:solidFill>
                <a:srgbClr val="AEABAB"/>
              </a:solidFill>
            </c:spPr>
            <c:extLst>
              <c:ext xmlns:c16="http://schemas.microsoft.com/office/drawing/2014/chart" uri="{C3380CC4-5D6E-409C-BE32-E72D297353CC}">
                <c16:uniqueId val="{0000177F-7BE2-49F1-B47F-64DDA7BF3F9D}"/>
              </c:ext>
            </c:extLst>
          </c:dPt>
          <c:dPt>
            <c:idx val="3007"/>
            <c:invertIfNegative val="1"/>
            <c:bubble3D val="0"/>
            <c:spPr>
              <a:solidFill>
                <a:srgbClr val="AEABAB"/>
              </a:solidFill>
            </c:spPr>
            <c:extLst>
              <c:ext xmlns:c16="http://schemas.microsoft.com/office/drawing/2014/chart" uri="{C3380CC4-5D6E-409C-BE32-E72D297353CC}">
                <c16:uniqueId val="{00001781-7BE2-49F1-B47F-64DDA7BF3F9D}"/>
              </c:ext>
            </c:extLst>
          </c:dPt>
          <c:dPt>
            <c:idx val="3008"/>
            <c:invertIfNegative val="1"/>
            <c:bubble3D val="0"/>
            <c:spPr>
              <a:solidFill>
                <a:srgbClr val="AEABAB"/>
              </a:solidFill>
            </c:spPr>
            <c:extLst>
              <c:ext xmlns:c16="http://schemas.microsoft.com/office/drawing/2014/chart" uri="{C3380CC4-5D6E-409C-BE32-E72D297353CC}">
                <c16:uniqueId val="{00001783-7BE2-49F1-B47F-64DDA7BF3F9D}"/>
              </c:ext>
            </c:extLst>
          </c:dPt>
          <c:dPt>
            <c:idx val="3009"/>
            <c:invertIfNegative val="1"/>
            <c:bubble3D val="0"/>
            <c:spPr>
              <a:solidFill>
                <a:srgbClr val="AEABAB"/>
              </a:solidFill>
            </c:spPr>
            <c:extLst>
              <c:ext xmlns:c16="http://schemas.microsoft.com/office/drawing/2014/chart" uri="{C3380CC4-5D6E-409C-BE32-E72D297353CC}">
                <c16:uniqueId val="{00001785-7BE2-49F1-B47F-64DDA7BF3F9D}"/>
              </c:ext>
            </c:extLst>
          </c:dPt>
          <c:dPt>
            <c:idx val="3010"/>
            <c:invertIfNegative val="1"/>
            <c:bubble3D val="0"/>
            <c:spPr>
              <a:solidFill>
                <a:srgbClr val="AEABAB"/>
              </a:solidFill>
            </c:spPr>
            <c:extLst>
              <c:ext xmlns:c16="http://schemas.microsoft.com/office/drawing/2014/chart" uri="{C3380CC4-5D6E-409C-BE32-E72D297353CC}">
                <c16:uniqueId val="{00001787-7BE2-49F1-B47F-64DDA7BF3F9D}"/>
              </c:ext>
            </c:extLst>
          </c:dPt>
          <c:dPt>
            <c:idx val="3011"/>
            <c:invertIfNegative val="1"/>
            <c:bubble3D val="0"/>
            <c:spPr>
              <a:solidFill>
                <a:srgbClr val="AEABAB"/>
              </a:solidFill>
            </c:spPr>
            <c:extLst>
              <c:ext xmlns:c16="http://schemas.microsoft.com/office/drawing/2014/chart" uri="{C3380CC4-5D6E-409C-BE32-E72D297353CC}">
                <c16:uniqueId val="{00001789-7BE2-49F1-B47F-64DDA7BF3F9D}"/>
              </c:ext>
            </c:extLst>
          </c:dPt>
          <c:dPt>
            <c:idx val="3012"/>
            <c:invertIfNegative val="1"/>
            <c:bubble3D val="0"/>
            <c:spPr>
              <a:solidFill>
                <a:srgbClr val="AEABAB"/>
              </a:solidFill>
            </c:spPr>
            <c:extLst>
              <c:ext xmlns:c16="http://schemas.microsoft.com/office/drawing/2014/chart" uri="{C3380CC4-5D6E-409C-BE32-E72D297353CC}">
                <c16:uniqueId val="{0000178B-7BE2-49F1-B47F-64DDA7BF3F9D}"/>
              </c:ext>
            </c:extLst>
          </c:dPt>
          <c:dPt>
            <c:idx val="3013"/>
            <c:invertIfNegative val="1"/>
            <c:bubble3D val="0"/>
            <c:spPr>
              <a:solidFill>
                <a:srgbClr val="AEABAB"/>
              </a:solidFill>
            </c:spPr>
            <c:extLst>
              <c:ext xmlns:c16="http://schemas.microsoft.com/office/drawing/2014/chart" uri="{C3380CC4-5D6E-409C-BE32-E72D297353CC}">
                <c16:uniqueId val="{0000178D-7BE2-49F1-B47F-64DDA7BF3F9D}"/>
              </c:ext>
            </c:extLst>
          </c:dPt>
          <c:dPt>
            <c:idx val="3014"/>
            <c:invertIfNegative val="1"/>
            <c:bubble3D val="0"/>
            <c:spPr>
              <a:solidFill>
                <a:srgbClr val="AEABAB"/>
              </a:solidFill>
            </c:spPr>
            <c:extLst>
              <c:ext xmlns:c16="http://schemas.microsoft.com/office/drawing/2014/chart" uri="{C3380CC4-5D6E-409C-BE32-E72D297353CC}">
                <c16:uniqueId val="{0000178F-7BE2-49F1-B47F-64DDA7BF3F9D}"/>
              </c:ext>
            </c:extLst>
          </c:dPt>
          <c:dPt>
            <c:idx val="3015"/>
            <c:invertIfNegative val="1"/>
            <c:bubble3D val="0"/>
            <c:spPr>
              <a:solidFill>
                <a:srgbClr val="AEABAB"/>
              </a:solidFill>
            </c:spPr>
            <c:extLst>
              <c:ext xmlns:c16="http://schemas.microsoft.com/office/drawing/2014/chart" uri="{C3380CC4-5D6E-409C-BE32-E72D297353CC}">
                <c16:uniqueId val="{00001791-7BE2-49F1-B47F-64DDA7BF3F9D}"/>
              </c:ext>
            </c:extLst>
          </c:dPt>
          <c:dPt>
            <c:idx val="3016"/>
            <c:invertIfNegative val="1"/>
            <c:bubble3D val="0"/>
            <c:spPr>
              <a:solidFill>
                <a:srgbClr val="AEABAB"/>
              </a:solidFill>
            </c:spPr>
            <c:extLst>
              <c:ext xmlns:c16="http://schemas.microsoft.com/office/drawing/2014/chart" uri="{C3380CC4-5D6E-409C-BE32-E72D297353CC}">
                <c16:uniqueId val="{00001793-7BE2-49F1-B47F-64DDA7BF3F9D}"/>
              </c:ext>
            </c:extLst>
          </c:dPt>
          <c:dPt>
            <c:idx val="3017"/>
            <c:invertIfNegative val="1"/>
            <c:bubble3D val="0"/>
            <c:spPr>
              <a:solidFill>
                <a:srgbClr val="AEABAB"/>
              </a:solidFill>
            </c:spPr>
            <c:extLst>
              <c:ext xmlns:c16="http://schemas.microsoft.com/office/drawing/2014/chart" uri="{C3380CC4-5D6E-409C-BE32-E72D297353CC}">
                <c16:uniqueId val="{00001795-7BE2-49F1-B47F-64DDA7BF3F9D}"/>
              </c:ext>
            </c:extLst>
          </c:dPt>
          <c:dPt>
            <c:idx val="3018"/>
            <c:invertIfNegative val="1"/>
            <c:bubble3D val="0"/>
            <c:spPr>
              <a:solidFill>
                <a:srgbClr val="AEABAB"/>
              </a:solidFill>
            </c:spPr>
            <c:extLst>
              <c:ext xmlns:c16="http://schemas.microsoft.com/office/drawing/2014/chart" uri="{C3380CC4-5D6E-409C-BE32-E72D297353CC}">
                <c16:uniqueId val="{00001797-7BE2-49F1-B47F-64DDA7BF3F9D}"/>
              </c:ext>
            </c:extLst>
          </c:dPt>
          <c:dPt>
            <c:idx val="3019"/>
            <c:invertIfNegative val="1"/>
            <c:bubble3D val="0"/>
            <c:spPr>
              <a:solidFill>
                <a:srgbClr val="AEABAB"/>
              </a:solidFill>
            </c:spPr>
            <c:extLst>
              <c:ext xmlns:c16="http://schemas.microsoft.com/office/drawing/2014/chart" uri="{C3380CC4-5D6E-409C-BE32-E72D297353CC}">
                <c16:uniqueId val="{00001799-7BE2-49F1-B47F-64DDA7BF3F9D}"/>
              </c:ext>
            </c:extLst>
          </c:dPt>
          <c:dPt>
            <c:idx val="3020"/>
            <c:invertIfNegative val="1"/>
            <c:bubble3D val="0"/>
            <c:spPr>
              <a:solidFill>
                <a:srgbClr val="AEABAB"/>
              </a:solidFill>
            </c:spPr>
            <c:extLst>
              <c:ext xmlns:c16="http://schemas.microsoft.com/office/drawing/2014/chart" uri="{C3380CC4-5D6E-409C-BE32-E72D297353CC}">
                <c16:uniqueId val="{0000179B-7BE2-49F1-B47F-64DDA7BF3F9D}"/>
              </c:ext>
            </c:extLst>
          </c:dPt>
          <c:dPt>
            <c:idx val="3021"/>
            <c:invertIfNegative val="1"/>
            <c:bubble3D val="0"/>
            <c:spPr>
              <a:solidFill>
                <a:srgbClr val="AEABAB"/>
              </a:solidFill>
            </c:spPr>
            <c:extLst>
              <c:ext xmlns:c16="http://schemas.microsoft.com/office/drawing/2014/chart" uri="{C3380CC4-5D6E-409C-BE32-E72D297353CC}">
                <c16:uniqueId val="{0000179D-7BE2-49F1-B47F-64DDA7BF3F9D}"/>
              </c:ext>
            </c:extLst>
          </c:dPt>
          <c:dPt>
            <c:idx val="3022"/>
            <c:invertIfNegative val="1"/>
            <c:bubble3D val="0"/>
            <c:spPr>
              <a:solidFill>
                <a:srgbClr val="AEABAB"/>
              </a:solidFill>
            </c:spPr>
            <c:extLst>
              <c:ext xmlns:c16="http://schemas.microsoft.com/office/drawing/2014/chart" uri="{C3380CC4-5D6E-409C-BE32-E72D297353CC}">
                <c16:uniqueId val="{0000179F-7BE2-49F1-B47F-64DDA7BF3F9D}"/>
              </c:ext>
            </c:extLst>
          </c:dPt>
          <c:dPt>
            <c:idx val="3023"/>
            <c:invertIfNegative val="1"/>
            <c:bubble3D val="0"/>
            <c:spPr>
              <a:solidFill>
                <a:srgbClr val="AEABAB"/>
              </a:solidFill>
            </c:spPr>
            <c:extLst>
              <c:ext xmlns:c16="http://schemas.microsoft.com/office/drawing/2014/chart" uri="{C3380CC4-5D6E-409C-BE32-E72D297353CC}">
                <c16:uniqueId val="{000017A1-7BE2-49F1-B47F-64DDA7BF3F9D}"/>
              </c:ext>
            </c:extLst>
          </c:dPt>
          <c:dPt>
            <c:idx val="3024"/>
            <c:invertIfNegative val="1"/>
            <c:bubble3D val="0"/>
            <c:spPr>
              <a:solidFill>
                <a:srgbClr val="AEABAB"/>
              </a:solidFill>
            </c:spPr>
            <c:extLst>
              <c:ext xmlns:c16="http://schemas.microsoft.com/office/drawing/2014/chart" uri="{C3380CC4-5D6E-409C-BE32-E72D297353CC}">
                <c16:uniqueId val="{000017A3-7BE2-49F1-B47F-64DDA7BF3F9D}"/>
              </c:ext>
            </c:extLst>
          </c:dPt>
          <c:dPt>
            <c:idx val="3025"/>
            <c:invertIfNegative val="1"/>
            <c:bubble3D val="0"/>
            <c:spPr>
              <a:solidFill>
                <a:srgbClr val="AEABAB"/>
              </a:solidFill>
            </c:spPr>
            <c:extLst>
              <c:ext xmlns:c16="http://schemas.microsoft.com/office/drawing/2014/chart" uri="{C3380CC4-5D6E-409C-BE32-E72D297353CC}">
                <c16:uniqueId val="{000017A5-7BE2-49F1-B47F-64DDA7BF3F9D}"/>
              </c:ext>
            </c:extLst>
          </c:dPt>
          <c:dPt>
            <c:idx val="3026"/>
            <c:invertIfNegative val="1"/>
            <c:bubble3D val="0"/>
            <c:spPr>
              <a:solidFill>
                <a:srgbClr val="AEABAB"/>
              </a:solidFill>
            </c:spPr>
            <c:extLst>
              <c:ext xmlns:c16="http://schemas.microsoft.com/office/drawing/2014/chart" uri="{C3380CC4-5D6E-409C-BE32-E72D297353CC}">
                <c16:uniqueId val="{000017A7-7BE2-49F1-B47F-64DDA7BF3F9D}"/>
              </c:ext>
            </c:extLst>
          </c:dPt>
          <c:dPt>
            <c:idx val="3027"/>
            <c:invertIfNegative val="1"/>
            <c:bubble3D val="0"/>
            <c:spPr>
              <a:solidFill>
                <a:srgbClr val="AEABAB"/>
              </a:solidFill>
            </c:spPr>
            <c:extLst>
              <c:ext xmlns:c16="http://schemas.microsoft.com/office/drawing/2014/chart" uri="{C3380CC4-5D6E-409C-BE32-E72D297353CC}">
                <c16:uniqueId val="{000017A9-7BE2-49F1-B47F-64DDA7BF3F9D}"/>
              </c:ext>
            </c:extLst>
          </c:dPt>
          <c:dPt>
            <c:idx val="3028"/>
            <c:invertIfNegative val="1"/>
            <c:bubble3D val="0"/>
            <c:spPr>
              <a:solidFill>
                <a:srgbClr val="AEABAB"/>
              </a:solidFill>
            </c:spPr>
            <c:extLst>
              <c:ext xmlns:c16="http://schemas.microsoft.com/office/drawing/2014/chart" uri="{C3380CC4-5D6E-409C-BE32-E72D297353CC}">
                <c16:uniqueId val="{000017AB-7BE2-49F1-B47F-64DDA7BF3F9D}"/>
              </c:ext>
            </c:extLst>
          </c:dPt>
          <c:dPt>
            <c:idx val="3029"/>
            <c:invertIfNegative val="1"/>
            <c:bubble3D val="0"/>
            <c:spPr>
              <a:solidFill>
                <a:srgbClr val="AEABAB"/>
              </a:solidFill>
            </c:spPr>
            <c:extLst>
              <c:ext xmlns:c16="http://schemas.microsoft.com/office/drawing/2014/chart" uri="{C3380CC4-5D6E-409C-BE32-E72D297353CC}">
                <c16:uniqueId val="{000017AD-7BE2-49F1-B47F-64DDA7BF3F9D}"/>
              </c:ext>
            </c:extLst>
          </c:dPt>
          <c:dPt>
            <c:idx val="3030"/>
            <c:invertIfNegative val="1"/>
            <c:bubble3D val="0"/>
            <c:spPr>
              <a:solidFill>
                <a:srgbClr val="AEABAB"/>
              </a:solidFill>
            </c:spPr>
            <c:extLst>
              <c:ext xmlns:c16="http://schemas.microsoft.com/office/drawing/2014/chart" uri="{C3380CC4-5D6E-409C-BE32-E72D297353CC}">
                <c16:uniqueId val="{000017AF-7BE2-49F1-B47F-64DDA7BF3F9D}"/>
              </c:ext>
            </c:extLst>
          </c:dPt>
          <c:dPt>
            <c:idx val="3031"/>
            <c:invertIfNegative val="1"/>
            <c:bubble3D val="0"/>
            <c:spPr>
              <a:solidFill>
                <a:srgbClr val="AEABAB"/>
              </a:solidFill>
            </c:spPr>
            <c:extLst>
              <c:ext xmlns:c16="http://schemas.microsoft.com/office/drawing/2014/chart" uri="{C3380CC4-5D6E-409C-BE32-E72D297353CC}">
                <c16:uniqueId val="{000017B1-7BE2-49F1-B47F-64DDA7BF3F9D}"/>
              </c:ext>
            </c:extLst>
          </c:dPt>
          <c:dPt>
            <c:idx val="3032"/>
            <c:invertIfNegative val="1"/>
            <c:bubble3D val="0"/>
            <c:spPr>
              <a:solidFill>
                <a:srgbClr val="AEABAB"/>
              </a:solidFill>
            </c:spPr>
            <c:extLst>
              <c:ext xmlns:c16="http://schemas.microsoft.com/office/drawing/2014/chart" uri="{C3380CC4-5D6E-409C-BE32-E72D297353CC}">
                <c16:uniqueId val="{000017B3-7BE2-49F1-B47F-64DDA7BF3F9D}"/>
              </c:ext>
            </c:extLst>
          </c:dPt>
          <c:dPt>
            <c:idx val="3033"/>
            <c:invertIfNegative val="1"/>
            <c:bubble3D val="0"/>
            <c:spPr>
              <a:solidFill>
                <a:srgbClr val="AEABAB"/>
              </a:solidFill>
            </c:spPr>
            <c:extLst>
              <c:ext xmlns:c16="http://schemas.microsoft.com/office/drawing/2014/chart" uri="{C3380CC4-5D6E-409C-BE32-E72D297353CC}">
                <c16:uniqueId val="{000017B5-7BE2-49F1-B47F-64DDA7BF3F9D}"/>
              </c:ext>
            </c:extLst>
          </c:dPt>
          <c:dPt>
            <c:idx val="3034"/>
            <c:invertIfNegative val="1"/>
            <c:bubble3D val="0"/>
            <c:spPr>
              <a:solidFill>
                <a:srgbClr val="AEABAB"/>
              </a:solidFill>
            </c:spPr>
            <c:extLst>
              <c:ext xmlns:c16="http://schemas.microsoft.com/office/drawing/2014/chart" uri="{C3380CC4-5D6E-409C-BE32-E72D297353CC}">
                <c16:uniqueId val="{000017B7-7BE2-49F1-B47F-64DDA7BF3F9D}"/>
              </c:ext>
            </c:extLst>
          </c:dPt>
          <c:dPt>
            <c:idx val="3035"/>
            <c:invertIfNegative val="1"/>
            <c:bubble3D val="0"/>
            <c:spPr>
              <a:solidFill>
                <a:srgbClr val="AEABAB"/>
              </a:solidFill>
            </c:spPr>
            <c:extLst>
              <c:ext xmlns:c16="http://schemas.microsoft.com/office/drawing/2014/chart" uri="{C3380CC4-5D6E-409C-BE32-E72D297353CC}">
                <c16:uniqueId val="{000017B9-7BE2-49F1-B47F-64DDA7BF3F9D}"/>
              </c:ext>
            </c:extLst>
          </c:dPt>
          <c:dPt>
            <c:idx val="3036"/>
            <c:invertIfNegative val="1"/>
            <c:bubble3D val="0"/>
            <c:spPr>
              <a:solidFill>
                <a:srgbClr val="AEABAB"/>
              </a:solidFill>
            </c:spPr>
            <c:extLst>
              <c:ext xmlns:c16="http://schemas.microsoft.com/office/drawing/2014/chart" uri="{C3380CC4-5D6E-409C-BE32-E72D297353CC}">
                <c16:uniqueId val="{000017BB-7BE2-49F1-B47F-64DDA7BF3F9D}"/>
              </c:ext>
            </c:extLst>
          </c:dPt>
          <c:dPt>
            <c:idx val="3037"/>
            <c:invertIfNegative val="1"/>
            <c:bubble3D val="0"/>
            <c:spPr>
              <a:solidFill>
                <a:srgbClr val="AEABAB"/>
              </a:solidFill>
            </c:spPr>
            <c:extLst>
              <c:ext xmlns:c16="http://schemas.microsoft.com/office/drawing/2014/chart" uri="{C3380CC4-5D6E-409C-BE32-E72D297353CC}">
                <c16:uniqueId val="{000017BD-7BE2-49F1-B47F-64DDA7BF3F9D}"/>
              </c:ext>
            </c:extLst>
          </c:dPt>
          <c:dPt>
            <c:idx val="3038"/>
            <c:invertIfNegative val="1"/>
            <c:bubble3D val="0"/>
            <c:spPr>
              <a:solidFill>
                <a:srgbClr val="AEABAB"/>
              </a:solidFill>
            </c:spPr>
            <c:extLst>
              <c:ext xmlns:c16="http://schemas.microsoft.com/office/drawing/2014/chart" uri="{C3380CC4-5D6E-409C-BE32-E72D297353CC}">
                <c16:uniqueId val="{000017BF-7BE2-49F1-B47F-64DDA7BF3F9D}"/>
              </c:ext>
            </c:extLst>
          </c:dPt>
          <c:dPt>
            <c:idx val="3039"/>
            <c:invertIfNegative val="1"/>
            <c:bubble3D val="0"/>
            <c:spPr>
              <a:solidFill>
                <a:srgbClr val="AEABAB"/>
              </a:solidFill>
            </c:spPr>
            <c:extLst>
              <c:ext xmlns:c16="http://schemas.microsoft.com/office/drawing/2014/chart" uri="{C3380CC4-5D6E-409C-BE32-E72D297353CC}">
                <c16:uniqueId val="{000017C1-7BE2-49F1-B47F-64DDA7BF3F9D}"/>
              </c:ext>
            </c:extLst>
          </c:dPt>
          <c:dPt>
            <c:idx val="3040"/>
            <c:invertIfNegative val="1"/>
            <c:bubble3D val="0"/>
            <c:spPr>
              <a:solidFill>
                <a:srgbClr val="AEABAB"/>
              </a:solidFill>
            </c:spPr>
            <c:extLst>
              <c:ext xmlns:c16="http://schemas.microsoft.com/office/drawing/2014/chart" uri="{C3380CC4-5D6E-409C-BE32-E72D297353CC}">
                <c16:uniqueId val="{000017C3-7BE2-49F1-B47F-64DDA7BF3F9D}"/>
              </c:ext>
            </c:extLst>
          </c:dPt>
          <c:dPt>
            <c:idx val="3041"/>
            <c:invertIfNegative val="1"/>
            <c:bubble3D val="0"/>
            <c:spPr>
              <a:solidFill>
                <a:srgbClr val="AEABAB"/>
              </a:solidFill>
            </c:spPr>
            <c:extLst>
              <c:ext xmlns:c16="http://schemas.microsoft.com/office/drawing/2014/chart" uri="{C3380CC4-5D6E-409C-BE32-E72D297353CC}">
                <c16:uniqueId val="{000017C5-7BE2-49F1-B47F-64DDA7BF3F9D}"/>
              </c:ext>
            </c:extLst>
          </c:dPt>
          <c:dPt>
            <c:idx val="3042"/>
            <c:invertIfNegative val="1"/>
            <c:bubble3D val="0"/>
            <c:spPr>
              <a:solidFill>
                <a:srgbClr val="AEABAB"/>
              </a:solidFill>
            </c:spPr>
            <c:extLst>
              <c:ext xmlns:c16="http://schemas.microsoft.com/office/drawing/2014/chart" uri="{C3380CC4-5D6E-409C-BE32-E72D297353CC}">
                <c16:uniqueId val="{000017C7-7BE2-49F1-B47F-64DDA7BF3F9D}"/>
              </c:ext>
            </c:extLst>
          </c:dPt>
          <c:dPt>
            <c:idx val="3043"/>
            <c:invertIfNegative val="1"/>
            <c:bubble3D val="0"/>
            <c:spPr>
              <a:solidFill>
                <a:srgbClr val="AEABAB"/>
              </a:solidFill>
            </c:spPr>
            <c:extLst>
              <c:ext xmlns:c16="http://schemas.microsoft.com/office/drawing/2014/chart" uri="{C3380CC4-5D6E-409C-BE32-E72D297353CC}">
                <c16:uniqueId val="{000017C9-7BE2-49F1-B47F-64DDA7BF3F9D}"/>
              </c:ext>
            </c:extLst>
          </c:dPt>
          <c:dPt>
            <c:idx val="3044"/>
            <c:invertIfNegative val="1"/>
            <c:bubble3D val="0"/>
            <c:spPr>
              <a:solidFill>
                <a:srgbClr val="AEABAB"/>
              </a:solidFill>
            </c:spPr>
            <c:extLst>
              <c:ext xmlns:c16="http://schemas.microsoft.com/office/drawing/2014/chart" uri="{C3380CC4-5D6E-409C-BE32-E72D297353CC}">
                <c16:uniqueId val="{000017CB-7BE2-49F1-B47F-64DDA7BF3F9D}"/>
              </c:ext>
            </c:extLst>
          </c:dPt>
          <c:dPt>
            <c:idx val="3045"/>
            <c:invertIfNegative val="1"/>
            <c:bubble3D val="0"/>
            <c:spPr>
              <a:solidFill>
                <a:srgbClr val="AEABAB"/>
              </a:solidFill>
            </c:spPr>
            <c:extLst>
              <c:ext xmlns:c16="http://schemas.microsoft.com/office/drawing/2014/chart" uri="{C3380CC4-5D6E-409C-BE32-E72D297353CC}">
                <c16:uniqueId val="{000017CD-7BE2-49F1-B47F-64DDA7BF3F9D}"/>
              </c:ext>
            </c:extLst>
          </c:dPt>
          <c:dPt>
            <c:idx val="3046"/>
            <c:invertIfNegative val="1"/>
            <c:bubble3D val="0"/>
            <c:spPr>
              <a:solidFill>
                <a:srgbClr val="AEABAB"/>
              </a:solidFill>
            </c:spPr>
            <c:extLst>
              <c:ext xmlns:c16="http://schemas.microsoft.com/office/drawing/2014/chart" uri="{C3380CC4-5D6E-409C-BE32-E72D297353CC}">
                <c16:uniqueId val="{000017CF-7BE2-49F1-B47F-64DDA7BF3F9D}"/>
              </c:ext>
            </c:extLst>
          </c:dPt>
          <c:dPt>
            <c:idx val="3047"/>
            <c:invertIfNegative val="1"/>
            <c:bubble3D val="0"/>
            <c:spPr>
              <a:solidFill>
                <a:srgbClr val="AEABAB"/>
              </a:solidFill>
            </c:spPr>
            <c:extLst>
              <c:ext xmlns:c16="http://schemas.microsoft.com/office/drawing/2014/chart" uri="{C3380CC4-5D6E-409C-BE32-E72D297353CC}">
                <c16:uniqueId val="{000017D1-7BE2-49F1-B47F-64DDA7BF3F9D}"/>
              </c:ext>
            </c:extLst>
          </c:dPt>
          <c:dPt>
            <c:idx val="3048"/>
            <c:invertIfNegative val="1"/>
            <c:bubble3D val="0"/>
            <c:spPr>
              <a:solidFill>
                <a:srgbClr val="AEABAB"/>
              </a:solidFill>
            </c:spPr>
            <c:extLst>
              <c:ext xmlns:c16="http://schemas.microsoft.com/office/drawing/2014/chart" uri="{C3380CC4-5D6E-409C-BE32-E72D297353CC}">
                <c16:uniqueId val="{000017D3-7BE2-49F1-B47F-64DDA7BF3F9D}"/>
              </c:ext>
            </c:extLst>
          </c:dPt>
          <c:dPt>
            <c:idx val="3049"/>
            <c:invertIfNegative val="1"/>
            <c:bubble3D val="0"/>
            <c:spPr>
              <a:solidFill>
                <a:srgbClr val="AEABAB"/>
              </a:solidFill>
            </c:spPr>
            <c:extLst>
              <c:ext xmlns:c16="http://schemas.microsoft.com/office/drawing/2014/chart" uri="{C3380CC4-5D6E-409C-BE32-E72D297353CC}">
                <c16:uniqueId val="{000017D5-7BE2-49F1-B47F-64DDA7BF3F9D}"/>
              </c:ext>
            </c:extLst>
          </c:dPt>
          <c:dPt>
            <c:idx val="3050"/>
            <c:invertIfNegative val="1"/>
            <c:bubble3D val="0"/>
            <c:spPr>
              <a:solidFill>
                <a:srgbClr val="AEABAB"/>
              </a:solidFill>
            </c:spPr>
            <c:extLst>
              <c:ext xmlns:c16="http://schemas.microsoft.com/office/drawing/2014/chart" uri="{C3380CC4-5D6E-409C-BE32-E72D297353CC}">
                <c16:uniqueId val="{000017D7-7BE2-49F1-B47F-64DDA7BF3F9D}"/>
              </c:ext>
            </c:extLst>
          </c:dPt>
          <c:dPt>
            <c:idx val="3051"/>
            <c:invertIfNegative val="1"/>
            <c:bubble3D val="0"/>
            <c:spPr>
              <a:solidFill>
                <a:srgbClr val="AEABAB"/>
              </a:solidFill>
            </c:spPr>
            <c:extLst>
              <c:ext xmlns:c16="http://schemas.microsoft.com/office/drawing/2014/chart" uri="{C3380CC4-5D6E-409C-BE32-E72D297353CC}">
                <c16:uniqueId val="{000017D9-7BE2-49F1-B47F-64DDA7BF3F9D}"/>
              </c:ext>
            </c:extLst>
          </c:dPt>
          <c:dPt>
            <c:idx val="3052"/>
            <c:invertIfNegative val="1"/>
            <c:bubble3D val="0"/>
            <c:spPr>
              <a:solidFill>
                <a:srgbClr val="AEABAB"/>
              </a:solidFill>
            </c:spPr>
            <c:extLst>
              <c:ext xmlns:c16="http://schemas.microsoft.com/office/drawing/2014/chart" uri="{C3380CC4-5D6E-409C-BE32-E72D297353CC}">
                <c16:uniqueId val="{000017DB-7BE2-49F1-B47F-64DDA7BF3F9D}"/>
              </c:ext>
            </c:extLst>
          </c:dPt>
          <c:dPt>
            <c:idx val="3053"/>
            <c:invertIfNegative val="1"/>
            <c:bubble3D val="0"/>
            <c:spPr>
              <a:solidFill>
                <a:srgbClr val="AEABAB"/>
              </a:solidFill>
            </c:spPr>
            <c:extLst>
              <c:ext xmlns:c16="http://schemas.microsoft.com/office/drawing/2014/chart" uri="{C3380CC4-5D6E-409C-BE32-E72D297353CC}">
                <c16:uniqueId val="{000017DD-7BE2-49F1-B47F-64DDA7BF3F9D}"/>
              </c:ext>
            </c:extLst>
          </c:dPt>
          <c:dPt>
            <c:idx val="3054"/>
            <c:invertIfNegative val="1"/>
            <c:bubble3D val="0"/>
            <c:spPr>
              <a:solidFill>
                <a:srgbClr val="AEABAB"/>
              </a:solidFill>
            </c:spPr>
            <c:extLst>
              <c:ext xmlns:c16="http://schemas.microsoft.com/office/drawing/2014/chart" uri="{C3380CC4-5D6E-409C-BE32-E72D297353CC}">
                <c16:uniqueId val="{000017DF-7BE2-49F1-B47F-64DDA7BF3F9D}"/>
              </c:ext>
            </c:extLst>
          </c:dPt>
          <c:dPt>
            <c:idx val="3055"/>
            <c:invertIfNegative val="1"/>
            <c:bubble3D val="0"/>
            <c:spPr>
              <a:solidFill>
                <a:srgbClr val="AEABAB"/>
              </a:solidFill>
            </c:spPr>
            <c:extLst>
              <c:ext xmlns:c16="http://schemas.microsoft.com/office/drawing/2014/chart" uri="{C3380CC4-5D6E-409C-BE32-E72D297353CC}">
                <c16:uniqueId val="{000017E1-7BE2-49F1-B47F-64DDA7BF3F9D}"/>
              </c:ext>
            </c:extLst>
          </c:dPt>
          <c:dPt>
            <c:idx val="3056"/>
            <c:invertIfNegative val="1"/>
            <c:bubble3D val="0"/>
            <c:spPr>
              <a:solidFill>
                <a:srgbClr val="AEABAB"/>
              </a:solidFill>
            </c:spPr>
            <c:extLst>
              <c:ext xmlns:c16="http://schemas.microsoft.com/office/drawing/2014/chart" uri="{C3380CC4-5D6E-409C-BE32-E72D297353CC}">
                <c16:uniqueId val="{000017E3-7BE2-49F1-B47F-64DDA7BF3F9D}"/>
              </c:ext>
            </c:extLst>
          </c:dPt>
          <c:dPt>
            <c:idx val="3057"/>
            <c:invertIfNegative val="1"/>
            <c:bubble3D val="0"/>
            <c:spPr>
              <a:solidFill>
                <a:srgbClr val="AEABAB"/>
              </a:solidFill>
            </c:spPr>
            <c:extLst>
              <c:ext xmlns:c16="http://schemas.microsoft.com/office/drawing/2014/chart" uri="{C3380CC4-5D6E-409C-BE32-E72D297353CC}">
                <c16:uniqueId val="{000017E5-7BE2-49F1-B47F-64DDA7BF3F9D}"/>
              </c:ext>
            </c:extLst>
          </c:dPt>
          <c:dPt>
            <c:idx val="3058"/>
            <c:invertIfNegative val="1"/>
            <c:bubble3D val="0"/>
            <c:spPr>
              <a:solidFill>
                <a:srgbClr val="AEABAB"/>
              </a:solidFill>
            </c:spPr>
            <c:extLst>
              <c:ext xmlns:c16="http://schemas.microsoft.com/office/drawing/2014/chart" uri="{C3380CC4-5D6E-409C-BE32-E72D297353CC}">
                <c16:uniqueId val="{000017E7-7BE2-49F1-B47F-64DDA7BF3F9D}"/>
              </c:ext>
            </c:extLst>
          </c:dPt>
          <c:dPt>
            <c:idx val="3059"/>
            <c:invertIfNegative val="1"/>
            <c:bubble3D val="0"/>
            <c:spPr>
              <a:solidFill>
                <a:srgbClr val="AEABAB"/>
              </a:solidFill>
            </c:spPr>
            <c:extLst>
              <c:ext xmlns:c16="http://schemas.microsoft.com/office/drawing/2014/chart" uri="{C3380CC4-5D6E-409C-BE32-E72D297353CC}">
                <c16:uniqueId val="{000017E9-7BE2-49F1-B47F-64DDA7BF3F9D}"/>
              </c:ext>
            </c:extLst>
          </c:dPt>
          <c:dPt>
            <c:idx val="3060"/>
            <c:invertIfNegative val="1"/>
            <c:bubble3D val="0"/>
            <c:spPr>
              <a:solidFill>
                <a:srgbClr val="AEABAB"/>
              </a:solidFill>
            </c:spPr>
            <c:extLst>
              <c:ext xmlns:c16="http://schemas.microsoft.com/office/drawing/2014/chart" uri="{C3380CC4-5D6E-409C-BE32-E72D297353CC}">
                <c16:uniqueId val="{000017EB-7BE2-49F1-B47F-64DDA7BF3F9D}"/>
              </c:ext>
            </c:extLst>
          </c:dPt>
          <c:dPt>
            <c:idx val="3061"/>
            <c:invertIfNegative val="1"/>
            <c:bubble3D val="0"/>
            <c:spPr>
              <a:solidFill>
                <a:srgbClr val="AEABAB"/>
              </a:solidFill>
            </c:spPr>
            <c:extLst>
              <c:ext xmlns:c16="http://schemas.microsoft.com/office/drawing/2014/chart" uri="{C3380CC4-5D6E-409C-BE32-E72D297353CC}">
                <c16:uniqueId val="{000017ED-7BE2-49F1-B47F-64DDA7BF3F9D}"/>
              </c:ext>
            </c:extLst>
          </c:dPt>
          <c:dPt>
            <c:idx val="3062"/>
            <c:invertIfNegative val="1"/>
            <c:bubble3D val="0"/>
            <c:spPr>
              <a:solidFill>
                <a:srgbClr val="AEABAB"/>
              </a:solidFill>
            </c:spPr>
            <c:extLst>
              <c:ext xmlns:c16="http://schemas.microsoft.com/office/drawing/2014/chart" uri="{C3380CC4-5D6E-409C-BE32-E72D297353CC}">
                <c16:uniqueId val="{000017EF-7BE2-49F1-B47F-64DDA7BF3F9D}"/>
              </c:ext>
            </c:extLst>
          </c:dPt>
          <c:dPt>
            <c:idx val="3063"/>
            <c:invertIfNegative val="1"/>
            <c:bubble3D val="0"/>
            <c:spPr>
              <a:solidFill>
                <a:srgbClr val="AEABAB"/>
              </a:solidFill>
            </c:spPr>
            <c:extLst>
              <c:ext xmlns:c16="http://schemas.microsoft.com/office/drawing/2014/chart" uri="{C3380CC4-5D6E-409C-BE32-E72D297353CC}">
                <c16:uniqueId val="{000017F1-7BE2-49F1-B47F-64DDA7BF3F9D}"/>
              </c:ext>
            </c:extLst>
          </c:dPt>
          <c:dPt>
            <c:idx val="3064"/>
            <c:invertIfNegative val="1"/>
            <c:bubble3D val="0"/>
            <c:spPr>
              <a:solidFill>
                <a:srgbClr val="AEABAB"/>
              </a:solidFill>
            </c:spPr>
            <c:extLst>
              <c:ext xmlns:c16="http://schemas.microsoft.com/office/drawing/2014/chart" uri="{C3380CC4-5D6E-409C-BE32-E72D297353CC}">
                <c16:uniqueId val="{000017F3-7BE2-49F1-B47F-64DDA7BF3F9D}"/>
              </c:ext>
            </c:extLst>
          </c:dPt>
          <c:dPt>
            <c:idx val="3065"/>
            <c:invertIfNegative val="1"/>
            <c:bubble3D val="0"/>
            <c:spPr>
              <a:solidFill>
                <a:srgbClr val="AEABAB"/>
              </a:solidFill>
            </c:spPr>
            <c:extLst>
              <c:ext xmlns:c16="http://schemas.microsoft.com/office/drawing/2014/chart" uri="{C3380CC4-5D6E-409C-BE32-E72D297353CC}">
                <c16:uniqueId val="{000017F5-7BE2-49F1-B47F-64DDA7BF3F9D}"/>
              </c:ext>
            </c:extLst>
          </c:dPt>
          <c:dPt>
            <c:idx val="3066"/>
            <c:invertIfNegative val="1"/>
            <c:bubble3D val="0"/>
            <c:spPr>
              <a:solidFill>
                <a:srgbClr val="AEABAB"/>
              </a:solidFill>
            </c:spPr>
            <c:extLst>
              <c:ext xmlns:c16="http://schemas.microsoft.com/office/drawing/2014/chart" uri="{C3380CC4-5D6E-409C-BE32-E72D297353CC}">
                <c16:uniqueId val="{000017F7-7BE2-49F1-B47F-64DDA7BF3F9D}"/>
              </c:ext>
            </c:extLst>
          </c:dPt>
          <c:dPt>
            <c:idx val="3067"/>
            <c:invertIfNegative val="1"/>
            <c:bubble3D val="0"/>
            <c:spPr>
              <a:solidFill>
                <a:srgbClr val="AEABAB"/>
              </a:solidFill>
            </c:spPr>
            <c:extLst>
              <c:ext xmlns:c16="http://schemas.microsoft.com/office/drawing/2014/chart" uri="{C3380CC4-5D6E-409C-BE32-E72D297353CC}">
                <c16:uniqueId val="{000017F9-7BE2-49F1-B47F-64DDA7BF3F9D}"/>
              </c:ext>
            </c:extLst>
          </c:dPt>
          <c:dPt>
            <c:idx val="3068"/>
            <c:invertIfNegative val="1"/>
            <c:bubble3D val="0"/>
            <c:spPr>
              <a:solidFill>
                <a:srgbClr val="AEABAB"/>
              </a:solidFill>
            </c:spPr>
            <c:extLst>
              <c:ext xmlns:c16="http://schemas.microsoft.com/office/drawing/2014/chart" uri="{C3380CC4-5D6E-409C-BE32-E72D297353CC}">
                <c16:uniqueId val="{000017FB-7BE2-49F1-B47F-64DDA7BF3F9D}"/>
              </c:ext>
            </c:extLst>
          </c:dPt>
          <c:dPt>
            <c:idx val="3069"/>
            <c:invertIfNegative val="1"/>
            <c:bubble3D val="0"/>
            <c:spPr>
              <a:solidFill>
                <a:srgbClr val="AEABAB"/>
              </a:solidFill>
            </c:spPr>
            <c:extLst>
              <c:ext xmlns:c16="http://schemas.microsoft.com/office/drawing/2014/chart" uri="{C3380CC4-5D6E-409C-BE32-E72D297353CC}">
                <c16:uniqueId val="{000017FD-7BE2-49F1-B47F-64DDA7BF3F9D}"/>
              </c:ext>
            </c:extLst>
          </c:dPt>
          <c:dPt>
            <c:idx val="3070"/>
            <c:invertIfNegative val="1"/>
            <c:bubble3D val="0"/>
            <c:spPr>
              <a:solidFill>
                <a:srgbClr val="AEABAB"/>
              </a:solidFill>
            </c:spPr>
            <c:extLst>
              <c:ext xmlns:c16="http://schemas.microsoft.com/office/drawing/2014/chart" uri="{C3380CC4-5D6E-409C-BE32-E72D297353CC}">
                <c16:uniqueId val="{000017FF-7BE2-49F1-B47F-64DDA7BF3F9D}"/>
              </c:ext>
            </c:extLst>
          </c:dPt>
          <c:dPt>
            <c:idx val="3071"/>
            <c:invertIfNegative val="1"/>
            <c:bubble3D val="0"/>
            <c:spPr>
              <a:solidFill>
                <a:srgbClr val="AEABAB"/>
              </a:solidFill>
            </c:spPr>
            <c:extLst>
              <c:ext xmlns:c16="http://schemas.microsoft.com/office/drawing/2014/chart" uri="{C3380CC4-5D6E-409C-BE32-E72D297353CC}">
                <c16:uniqueId val="{00001801-7BE2-49F1-B47F-64DDA7BF3F9D}"/>
              </c:ext>
            </c:extLst>
          </c:dPt>
          <c:dPt>
            <c:idx val="3072"/>
            <c:invertIfNegative val="1"/>
            <c:bubble3D val="0"/>
            <c:spPr>
              <a:solidFill>
                <a:srgbClr val="AEABAB"/>
              </a:solidFill>
            </c:spPr>
            <c:extLst>
              <c:ext xmlns:c16="http://schemas.microsoft.com/office/drawing/2014/chart" uri="{C3380CC4-5D6E-409C-BE32-E72D297353CC}">
                <c16:uniqueId val="{00001803-7BE2-49F1-B47F-64DDA7BF3F9D}"/>
              </c:ext>
            </c:extLst>
          </c:dPt>
          <c:dPt>
            <c:idx val="3073"/>
            <c:invertIfNegative val="1"/>
            <c:bubble3D val="0"/>
            <c:spPr>
              <a:solidFill>
                <a:srgbClr val="AEABAB"/>
              </a:solidFill>
            </c:spPr>
            <c:extLst>
              <c:ext xmlns:c16="http://schemas.microsoft.com/office/drawing/2014/chart" uri="{C3380CC4-5D6E-409C-BE32-E72D297353CC}">
                <c16:uniqueId val="{00001805-7BE2-49F1-B47F-64DDA7BF3F9D}"/>
              </c:ext>
            </c:extLst>
          </c:dPt>
          <c:dPt>
            <c:idx val="3074"/>
            <c:invertIfNegative val="1"/>
            <c:bubble3D val="0"/>
            <c:spPr>
              <a:solidFill>
                <a:srgbClr val="AEABAB"/>
              </a:solidFill>
            </c:spPr>
            <c:extLst>
              <c:ext xmlns:c16="http://schemas.microsoft.com/office/drawing/2014/chart" uri="{C3380CC4-5D6E-409C-BE32-E72D297353CC}">
                <c16:uniqueId val="{00001807-7BE2-49F1-B47F-64DDA7BF3F9D}"/>
              </c:ext>
            </c:extLst>
          </c:dPt>
          <c:dPt>
            <c:idx val="3075"/>
            <c:invertIfNegative val="1"/>
            <c:bubble3D val="0"/>
            <c:spPr>
              <a:solidFill>
                <a:srgbClr val="AEABAB"/>
              </a:solidFill>
            </c:spPr>
            <c:extLst>
              <c:ext xmlns:c16="http://schemas.microsoft.com/office/drawing/2014/chart" uri="{C3380CC4-5D6E-409C-BE32-E72D297353CC}">
                <c16:uniqueId val="{00001809-7BE2-49F1-B47F-64DDA7BF3F9D}"/>
              </c:ext>
            </c:extLst>
          </c:dPt>
          <c:dPt>
            <c:idx val="3076"/>
            <c:invertIfNegative val="1"/>
            <c:bubble3D val="0"/>
            <c:spPr>
              <a:solidFill>
                <a:srgbClr val="AEABAB"/>
              </a:solidFill>
            </c:spPr>
            <c:extLst>
              <c:ext xmlns:c16="http://schemas.microsoft.com/office/drawing/2014/chart" uri="{C3380CC4-5D6E-409C-BE32-E72D297353CC}">
                <c16:uniqueId val="{0000180B-7BE2-49F1-B47F-64DDA7BF3F9D}"/>
              </c:ext>
            </c:extLst>
          </c:dPt>
          <c:dPt>
            <c:idx val="3077"/>
            <c:invertIfNegative val="1"/>
            <c:bubble3D val="0"/>
            <c:spPr>
              <a:solidFill>
                <a:srgbClr val="AEABAB"/>
              </a:solidFill>
            </c:spPr>
            <c:extLst>
              <c:ext xmlns:c16="http://schemas.microsoft.com/office/drawing/2014/chart" uri="{C3380CC4-5D6E-409C-BE32-E72D297353CC}">
                <c16:uniqueId val="{0000180D-7BE2-49F1-B47F-64DDA7BF3F9D}"/>
              </c:ext>
            </c:extLst>
          </c:dPt>
          <c:dPt>
            <c:idx val="3078"/>
            <c:invertIfNegative val="1"/>
            <c:bubble3D val="0"/>
            <c:spPr>
              <a:solidFill>
                <a:srgbClr val="AEABAB"/>
              </a:solidFill>
            </c:spPr>
            <c:extLst>
              <c:ext xmlns:c16="http://schemas.microsoft.com/office/drawing/2014/chart" uri="{C3380CC4-5D6E-409C-BE32-E72D297353CC}">
                <c16:uniqueId val="{0000180F-7BE2-49F1-B47F-64DDA7BF3F9D}"/>
              </c:ext>
            </c:extLst>
          </c:dPt>
          <c:dPt>
            <c:idx val="3079"/>
            <c:invertIfNegative val="1"/>
            <c:bubble3D val="0"/>
            <c:spPr>
              <a:solidFill>
                <a:srgbClr val="AEABAB"/>
              </a:solidFill>
            </c:spPr>
            <c:extLst>
              <c:ext xmlns:c16="http://schemas.microsoft.com/office/drawing/2014/chart" uri="{C3380CC4-5D6E-409C-BE32-E72D297353CC}">
                <c16:uniqueId val="{00001811-7BE2-49F1-B47F-64DDA7BF3F9D}"/>
              </c:ext>
            </c:extLst>
          </c:dPt>
          <c:dPt>
            <c:idx val="3080"/>
            <c:invertIfNegative val="1"/>
            <c:bubble3D val="0"/>
            <c:spPr>
              <a:solidFill>
                <a:srgbClr val="AEABAB"/>
              </a:solidFill>
            </c:spPr>
            <c:extLst>
              <c:ext xmlns:c16="http://schemas.microsoft.com/office/drawing/2014/chart" uri="{C3380CC4-5D6E-409C-BE32-E72D297353CC}">
                <c16:uniqueId val="{00001813-7BE2-49F1-B47F-64DDA7BF3F9D}"/>
              </c:ext>
            </c:extLst>
          </c:dPt>
          <c:dPt>
            <c:idx val="3081"/>
            <c:invertIfNegative val="1"/>
            <c:bubble3D val="0"/>
            <c:spPr>
              <a:solidFill>
                <a:srgbClr val="AEABAB"/>
              </a:solidFill>
            </c:spPr>
            <c:extLst>
              <c:ext xmlns:c16="http://schemas.microsoft.com/office/drawing/2014/chart" uri="{C3380CC4-5D6E-409C-BE32-E72D297353CC}">
                <c16:uniqueId val="{00001815-7BE2-49F1-B47F-64DDA7BF3F9D}"/>
              </c:ext>
            </c:extLst>
          </c:dPt>
          <c:dPt>
            <c:idx val="3082"/>
            <c:invertIfNegative val="1"/>
            <c:bubble3D val="0"/>
            <c:spPr>
              <a:solidFill>
                <a:srgbClr val="AEABAB"/>
              </a:solidFill>
            </c:spPr>
            <c:extLst>
              <c:ext xmlns:c16="http://schemas.microsoft.com/office/drawing/2014/chart" uri="{C3380CC4-5D6E-409C-BE32-E72D297353CC}">
                <c16:uniqueId val="{00001817-7BE2-49F1-B47F-64DDA7BF3F9D}"/>
              </c:ext>
            </c:extLst>
          </c:dPt>
          <c:dPt>
            <c:idx val="3083"/>
            <c:invertIfNegative val="1"/>
            <c:bubble3D val="0"/>
            <c:spPr>
              <a:solidFill>
                <a:srgbClr val="AEABAB"/>
              </a:solidFill>
            </c:spPr>
            <c:extLst>
              <c:ext xmlns:c16="http://schemas.microsoft.com/office/drawing/2014/chart" uri="{C3380CC4-5D6E-409C-BE32-E72D297353CC}">
                <c16:uniqueId val="{00001819-7BE2-49F1-B47F-64DDA7BF3F9D}"/>
              </c:ext>
            </c:extLst>
          </c:dPt>
          <c:dPt>
            <c:idx val="3084"/>
            <c:invertIfNegative val="1"/>
            <c:bubble3D val="0"/>
            <c:spPr>
              <a:solidFill>
                <a:srgbClr val="AEABAB"/>
              </a:solidFill>
            </c:spPr>
            <c:extLst>
              <c:ext xmlns:c16="http://schemas.microsoft.com/office/drawing/2014/chart" uri="{C3380CC4-5D6E-409C-BE32-E72D297353CC}">
                <c16:uniqueId val="{0000181B-7BE2-49F1-B47F-64DDA7BF3F9D}"/>
              </c:ext>
            </c:extLst>
          </c:dPt>
          <c:dPt>
            <c:idx val="3085"/>
            <c:invertIfNegative val="1"/>
            <c:bubble3D val="0"/>
            <c:spPr>
              <a:solidFill>
                <a:srgbClr val="AEABAB"/>
              </a:solidFill>
            </c:spPr>
            <c:extLst>
              <c:ext xmlns:c16="http://schemas.microsoft.com/office/drawing/2014/chart" uri="{C3380CC4-5D6E-409C-BE32-E72D297353CC}">
                <c16:uniqueId val="{0000181D-7BE2-49F1-B47F-64DDA7BF3F9D}"/>
              </c:ext>
            </c:extLst>
          </c:dPt>
          <c:dPt>
            <c:idx val="3086"/>
            <c:invertIfNegative val="1"/>
            <c:bubble3D val="0"/>
            <c:spPr>
              <a:solidFill>
                <a:srgbClr val="AEABAB"/>
              </a:solidFill>
            </c:spPr>
            <c:extLst>
              <c:ext xmlns:c16="http://schemas.microsoft.com/office/drawing/2014/chart" uri="{C3380CC4-5D6E-409C-BE32-E72D297353CC}">
                <c16:uniqueId val="{0000181F-7BE2-49F1-B47F-64DDA7BF3F9D}"/>
              </c:ext>
            </c:extLst>
          </c:dPt>
          <c:dPt>
            <c:idx val="3087"/>
            <c:invertIfNegative val="1"/>
            <c:bubble3D val="0"/>
            <c:spPr>
              <a:solidFill>
                <a:srgbClr val="AEABAB"/>
              </a:solidFill>
            </c:spPr>
            <c:extLst>
              <c:ext xmlns:c16="http://schemas.microsoft.com/office/drawing/2014/chart" uri="{C3380CC4-5D6E-409C-BE32-E72D297353CC}">
                <c16:uniqueId val="{00001821-7BE2-49F1-B47F-64DDA7BF3F9D}"/>
              </c:ext>
            </c:extLst>
          </c:dPt>
          <c:dPt>
            <c:idx val="3088"/>
            <c:invertIfNegative val="1"/>
            <c:bubble3D val="0"/>
            <c:spPr>
              <a:solidFill>
                <a:srgbClr val="AEABAB"/>
              </a:solidFill>
            </c:spPr>
            <c:extLst>
              <c:ext xmlns:c16="http://schemas.microsoft.com/office/drawing/2014/chart" uri="{C3380CC4-5D6E-409C-BE32-E72D297353CC}">
                <c16:uniqueId val="{00001823-7BE2-49F1-B47F-64DDA7BF3F9D}"/>
              </c:ext>
            </c:extLst>
          </c:dPt>
          <c:dPt>
            <c:idx val="3089"/>
            <c:invertIfNegative val="1"/>
            <c:bubble3D val="0"/>
            <c:spPr>
              <a:solidFill>
                <a:srgbClr val="AEABAB"/>
              </a:solidFill>
            </c:spPr>
            <c:extLst>
              <c:ext xmlns:c16="http://schemas.microsoft.com/office/drawing/2014/chart" uri="{C3380CC4-5D6E-409C-BE32-E72D297353CC}">
                <c16:uniqueId val="{00001825-7BE2-49F1-B47F-64DDA7BF3F9D}"/>
              </c:ext>
            </c:extLst>
          </c:dPt>
          <c:dPt>
            <c:idx val="3090"/>
            <c:invertIfNegative val="1"/>
            <c:bubble3D val="0"/>
            <c:spPr>
              <a:solidFill>
                <a:srgbClr val="AEABAB"/>
              </a:solidFill>
            </c:spPr>
            <c:extLst>
              <c:ext xmlns:c16="http://schemas.microsoft.com/office/drawing/2014/chart" uri="{C3380CC4-5D6E-409C-BE32-E72D297353CC}">
                <c16:uniqueId val="{00001827-7BE2-49F1-B47F-64DDA7BF3F9D}"/>
              </c:ext>
            </c:extLst>
          </c:dPt>
          <c:dPt>
            <c:idx val="3091"/>
            <c:invertIfNegative val="1"/>
            <c:bubble3D val="0"/>
            <c:spPr>
              <a:solidFill>
                <a:srgbClr val="AEABAB"/>
              </a:solidFill>
            </c:spPr>
            <c:extLst>
              <c:ext xmlns:c16="http://schemas.microsoft.com/office/drawing/2014/chart" uri="{C3380CC4-5D6E-409C-BE32-E72D297353CC}">
                <c16:uniqueId val="{00001829-7BE2-49F1-B47F-64DDA7BF3F9D}"/>
              </c:ext>
            </c:extLst>
          </c:dPt>
          <c:dPt>
            <c:idx val="3092"/>
            <c:invertIfNegative val="1"/>
            <c:bubble3D val="0"/>
            <c:spPr>
              <a:solidFill>
                <a:srgbClr val="AEABAB"/>
              </a:solidFill>
            </c:spPr>
            <c:extLst>
              <c:ext xmlns:c16="http://schemas.microsoft.com/office/drawing/2014/chart" uri="{C3380CC4-5D6E-409C-BE32-E72D297353CC}">
                <c16:uniqueId val="{0000182B-7BE2-49F1-B47F-64DDA7BF3F9D}"/>
              </c:ext>
            </c:extLst>
          </c:dPt>
          <c:dPt>
            <c:idx val="3093"/>
            <c:invertIfNegative val="1"/>
            <c:bubble3D val="0"/>
            <c:spPr>
              <a:solidFill>
                <a:srgbClr val="AEABAB"/>
              </a:solidFill>
            </c:spPr>
            <c:extLst>
              <c:ext xmlns:c16="http://schemas.microsoft.com/office/drawing/2014/chart" uri="{C3380CC4-5D6E-409C-BE32-E72D297353CC}">
                <c16:uniqueId val="{0000182D-7BE2-49F1-B47F-64DDA7BF3F9D}"/>
              </c:ext>
            </c:extLst>
          </c:dPt>
          <c:dPt>
            <c:idx val="3094"/>
            <c:invertIfNegative val="1"/>
            <c:bubble3D val="0"/>
            <c:spPr>
              <a:solidFill>
                <a:srgbClr val="AEABAB"/>
              </a:solidFill>
            </c:spPr>
            <c:extLst>
              <c:ext xmlns:c16="http://schemas.microsoft.com/office/drawing/2014/chart" uri="{C3380CC4-5D6E-409C-BE32-E72D297353CC}">
                <c16:uniqueId val="{0000182F-7BE2-49F1-B47F-64DDA7BF3F9D}"/>
              </c:ext>
            </c:extLst>
          </c:dPt>
          <c:dPt>
            <c:idx val="3095"/>
            <c:invertIfNegative val="1"/>
            <c:bubble3D val="0"/>
            <c:spPr>
              <a:solidFill>
                <a:srgbClr val="AEABAB"/>
              </a:solidFill>
            </c:spPr>
            <c:extLst>
              <c:ext xmlns:c16="http://schemas.microsoft.com/office/drawing/2014/chart" uri="{C3380CC4-5D6E-409C-BE32-E72D297353CC}">
                <c16:uniqueId val="{00001831-7BE2-49F1-B47F-64DDA7BF3F9D}"/>
              </c:ext>
            </c:extLst>
          </c:dPt>
          <c:dPt>
            <c:idx val="3096"/>
            <c:invertIfNegative val="1"/>
            <c:bubble3D val="0"/>
            <c:spPr>
              <a:solidFill>
                <a:srgbClr val="AEABAB"/>
              </a:solidFill>
            </c:spPr>
            <c:extLst>
              <c:ext xmlns:c16="http://schemas.microsoft.com/office/drawing/2014/chart" uri="{C3380CC4-5D6E-409C-BE32-E72D297353CC}">
                <c16:uniqueId val="{00001833-7BE2-49F1-B47F-64DDA7BF3F9D}"/>
              </c:ext>
            </c:extLst>
          </c:dPt>
          <c:dPt>
            <c:idx val="3097"/>
            <c:invertIfNegative val="1"/>
            <c:bubble3D val="0"/>
            <c:spPr>
              <a:solidFill>
                <a:srgbClr val="AEABAB"/>
              </a:solidFill>
            </c:spPr>
            <c:extLst>
              <c:ext xmlns:c16="http://schemas.microsoft.com/office/drawing/2014/chart" uri="{C3380CC4-5D6E-409C-BE32-E72D297353CC}">
                <c16:uniqueId val="{00001835-7BE2-49F1-B47F-64DDA7BF3F9D}"/>
              </c:ext>
            </c:extLst>
          </c:dPt>
          <c:dPt>
            <c:idx val="3098"/>
            <c:invertIfNegative val="1"/>
            <c:bubble3D val="0"/>
            <c:spPr>
              <a:solidFill>
                <a:srgbClr val="AEABAB"/>
              </a:solidFill>
            </c:spPr>
            <c:extLst>
              <c:ext xmlns:c16="http://schemas.microsoft.com/office/drawing/2014/chart" uri="{C3380CC4-5D6E-409C-BE32-E72D297353CC}">
                <c16:uniqueId val="{00001837-7BE2-49F1-B47F-64DDA7BF3F9D}"/>
              </c:ext>
            </c:extLst>
          </c:dPt>
          <c:dPt>
            <c:idx val="3099"/>
            <c:invertIfNegative val="1"/>
            <c:bubble3D val="0"/>
            <c:spPr>
              <a:solidFill>
                <a:srgbClr val="AEABAB"/>
              </a:solidFill>
            </c:spPr>
            <c:extLst>
              <c:ext xmlns:c16="http://schemas.microsoft.com/office/drawing/2014/chart" uri="{C3380CC4-5D6E-409C-BE32-E72D297353CC}">
                <c16:uniqueId val="{00001839-7BE2-49F1-B47F-64DDA7BF3F9D}"/>
              </c:ext>
            </c:extLst>
          </c:dPt>
          <c:dPt>
            <c:idx val="3100"/>
            <c:invertIfNegative val="1"/>
            <c:bubble3D val="0"/>
            <c:spPr>
              <a:solidFill>
                <a:srgbClr val="AEABAB"/>
              </a:solidFill>
            </c:spPr>
            <c:extLst>
              <c:ext xmlns:c16="http://schemas.microsoft.com/office/drawing/2014/chart" uri="{C3380CC4-5D6E-409C-BE32-E72D297353CC}">
                <c16:uniqueId val="{0000183B-7BE2-49F1-B47F-64DDA7BF3F9D}"/>
              </c:ext>
            </c:extLst>
          </c:dPt>
          <c:dPt>
            <c:idx val="3101"/>
            <c:invertIfNegative val="1"/>
            <c:bubble3D val="0"/>
            <c:spPr>
              <a:solidFill>
                <a:srgbClr val="AEABAB"/>
              </a:solidFill>
            </c:spPr>
            <c:extLst>
              <c:ext xmlns:c16="http://schemas.microsoft.com/office/drawing/2014/chart" uri="{C3380CC4-5D6E-409C-BE32-E72D297353CC}">
                <c16:uniqueId val="{0000183D-7BE2-49F1-B47F-64DDA7BF3F9D}"/>
              </c:ext>
            </c:extLst>
          </c:dPt>
          <c:dPt>
            <c:idx val="3102"/>
            <c:invertIfNegative val="1"/>
            <c:bubble3D val="0"/>
            <c:spPr>
              <a:solidFill>
                <a:srgbClr val="AEABAB"/>
              </a:solidFill>
            </c:spPr>
            <c:extLst>
              <c:ext xmlns:c16="http://schemas.microsoft.com/office/drawing/2014/chart" uri="{C3380CC4-5D6E-409C-BE32-E72D297353CC}">
                <c16:uniqueId val="{0000183F-7BE2-49F1-B47F-64DDA7BF3F9D}"/>
              </c:ext>
            </c:extLst>
          </c:dPt>
          <c:dPt>
            <c:idx val="3103"/>
            <c:invertIfNegative val="1"/>
            <c:bubble3D val="0"/>
            <c:spPr>
              <a:solidFill>
                <a:srgbClr val="AEABAB"/>
              </a:solidFill>
            </c:spPr>
            <c:extLst>
              <c:ext xmlns:c16="http://schemas.microsoft.com/office/drawing/2014/chart" uri="{C3380CC4-5D6E-409C-BE32-E72D297353CC}">
                <c16:uniqueId val="{00001841-7BE2-49F1-B47F-64DDA7BF3F9D}"/>
              </c:ext>
            </c:extLst>
          </c:dPt>
          <c:dPt>
            <c:idx val="3104"/>
            <c:invertIfNegative val="1"/>
            <c:bubble3D val="0"/>
            <c:spPr>
              <a:solidFill>
                <a:srgbClr val="AEABAB"/>
              </a:solidFill>
            </c:spPr>
            <c:extLst>
              <c:ext xmlns:c16="http://schemas.microsoft.com/office/drawing/2014/chart" uri="{C3380CC4-5D6E-409C-BE32-E72D297353CC}">
                <c16:uniqueId val="{00001843-7BE2-49F1-B47F-64DDA7BF3F9D}"/>
              </c:ext>
            </c:extLst>
          </c:dPt>
          <c:dPt>
            <c:idx val="3105"/>
            <c:invertIfNegative val="1"/>
            <c:bubble3D val="0"/>
            <c:spPr>
              <a:solidFill>
                <a:srgbClr val="AEABAB"/>
              </a:solidFill>
            </c:spPr>
            <c:extLst>
              <c:ext xmlns:c16="http://schemas.microsoft.com/office/drawing/2014/chart" uri="{C3380CC4-5D6E-409C-BE32-E72D297353CC}">
                <c16:uniqueId val="{00001845-7BE2-49F1-B47F-64DDA7BF3F9D}"/>
              </c:ext>
            </c:extLst>
          </c:dPt>
          <c:dPt>
            <c:idx val="3106"/>
            <c:invertIfNegative val="1"/>
            <c:bubble3D val="0"/>
            <c:spPr>
              <a:solidFill>
                <a:srgbClr val="AEABAB"/>
              </a:solidFill>
            </c:spPr>
            <c:extLst>
              <c:ext xmlns:c16="http://schemas.microsoft.com/office/drawing/2014/chart" uri="{C3380CC4-5D6E-409C-BE32-E72D297353CC}">
                <c16:uniqueId val="{00001847-7BE2-49F1-B47F-64DDA7BF3F9D}"/>
              </c:ext>
            </c:extLst>
          </c:dPt>
          <c:dPt>
            <c:idx val="3107"/>
            <c:invertIfNegative val="1"/>
            <c:bubble3D val="0"/>
            <c:spPr>
              <a:solidFill>
                <a:srgbClr val="AEABAB"/>
              </a:solidFill>
            </c:spPr>
            <c:extLst>
              <c:ext xmlns:c16="http://schemas.microsoft.com/office/drawing/2014/chart" uri="{C3380CC4-5D6E-409C-BE32-E72D297353CC}">
                <c16:uniqueId val="{00001849-7BE2-49F1-B47F-64DDA7BF3F9D}"/>
              </c:ext>
            </c:extLst>
          </c:dPt>
          <c:dPt>
            <c:idx val="3108"/>
            <c:invertIfNegative val="1"/>
            <c:bubble3D val="0"/>
            <c:spPr>
              <a:solidFill>
                <a:srgbClr val="AEABAB"/>
              </a:solidFill>
            </c:spPr>
            <c:extLst>
              <c:ext xmlns:c16="http://schemas.microsoft.com/office/drawing/2014/chart" uri="{C3380CC4-5D6E-409C-BE32-E72D297353CC}">
                <c16:uniqueId val="{0000184B-7BE2-49F1-B47F-64DDA7BF3F9D}"/>
              </c:ext>
            </c:extLst>
          </c:dPt>
          <c:dPt>
            <c:idx val="3109"/>
            <c:invertIfNegative val="1"/>
            <c:bubble3D val="0"/>
            <c:spPr>
              <a:solidFill>
                <a:srgbClr val="AEABAB"/>
              </a:solidFill>
            </c:spPr>
            <c:extLst>
              <c:ext xmlns:c16="http://schemas.microsoft.com/office/drawing/2014/chart" uri="{C3380CC4-5D6E-409C-BE32-E72D297353CC}">
                <c16:uniqueId val="{0000184D-7BE2-49F1-B47F-64DDA7BF3F9D}"/>
              </c:ext>
            </c:extLst>
          </c:dPt>
          <c:dPt>
            <c:idx val="3110"/>
            <c:invertIfNegative val="1"/>
            <c:bubble3D val="0"/>
            <c:spPr>
              <a:solidFill>
                <a:srgbClr val="AEABAB"/>
              </a:solidFill>
            </c:spPr>
            <c:extLst>
              <c:ext xmlns:c16="http://schemas.microsoft.com/office/drawing/2014/chart" uri="{C3380CC4-5D6E-409C-BE32-E72D297353CC}">
                <c16:uniqueId val="{0000184F-7BE2-49F1-B47F-64DDA7BF3F9D}"/>
              </c:ext>
            </c:extLst>
          </c:dPt>
          <c:dPt>
            <c:idx val="3111"/>
            <c:invertIfNegative val="1"/>
            <c:bubble3D val="0"/>
            <c:spPr>
              <a:solidFill>
                <a:srgbClr val="AEABAB"/>
              </a:solidFill>
            </c:spPr>
            <c:extLst>
              <c:ext xmlns:c16="http://schemas.microsoft.com/office/drawing/2014/chart" uri="{C3380CC4-5D6E-409C-BE32-E72D297353CC}">
                <c16:uniqueId val="{00001851-7BE2-49F1-B47F-64DDA7BF3F9D}"/>
              </c:ext>
            </c:extLst>
          </c:dPt>
          <c:dPt>
            <c:idx val="3112"/>
            <c:invertIfNegative val="1"/>
            <c:bubble3D val="0"/>
            <c:spPr>
              <a:solidFill>
                <a:srgbClr val="AEABAB"/>
              </a:solidFill>
            </c:spPr>
            <c:extLst>
              <c:ext xmlns:c16="http://schemas.microsoft.com/office/drawing/2014/chart" uri="{C3380CC4-5D6E-409C-BE32-E72D297353CC}">
                <c16:uniqueId val="{00001853-7BE2-49F1-B47F-64DDA7BF3F9D}"/>
              </c:ext>
            </c:extLst>
          </c:dPt>
          <c:dPt>
            <c:idx val="3113"/>
            <c:invertIfNegative val="1"/>
            <c:bubble3D val="0"/>
            <c:spPr>
              <a:solidFill>
                <a:srgbClr val="AEABAB"/>
              </a:solidFill>
            </c:spPr>
            <c:extLst>
              <c:ext xmlns:c16="http://schemas.microsoft.com/office/drawing/2014/chart" uri="{C3380CC4-5D6E-409C-BE32-E72D297353CC}">
                <c16:uniqueId val="{00001855-7BE2-49F1-B47F-64DDA7BF3F9D}"/>
              </c:ext>
            </c:extLst>
          </c:dPt>
          <c:dPt>
            <c:idx val="3114"/>
            <c:invertIfNegative val="1"/>
            <c:bubble3D val="0"/>
            <c:spPr>
              <a:solidFill>
                <a:srgbClr val="AEABAB"/>
              </a:solidFill>
            </c:spPr>
            <c:extLst>
              <c:ext xmlns:c16="http://schemas.microsoft.com/office/drawing/2014/chart" uri="{C3380CC4-5D6E-409C-BE32-E72D297353CC}">
                <c16:uniqueId val="{00001857-7BE2-49F1-B47F-64DDA7BF3F9D}"/>
              </c:ext>
            </c:extLst>
          </c:dPt>
          <c:dPt>
            <c:idx val="3115"/>
            <c:invertIfNegative val="1"/>
            <c:bubble3D val="0"/>
            <c:spPr>
              <a:solidFill>
                <a:srgbClr val="AEABAB"/>
              </a:solidFill>
            </c:spPr>
            <c:extLst>
              <c:ext xmlns:c16="http://schemas.microsoft.com/office/drawing/2014/chart" uri="{C3380CC4-5D6E-409C-BE32-E72D297353CC}">
                <c16:uniqueId val="{00001859-7BE2-49F1-B47F-64DDA7BF3F9D}"/>
              </c:ext>
            </c:extLst>
          </c:dPt>
          <c:dPt>
            <c:idx val="3116"/>
            <c:invertIfNegative val="1"/>
            <c:bubble3D val="0"/>
            <c:spPr>
              <a:solidFill>
                <a:srgbClr val="AEABAB"/>
              </a:solidFill>
            </c:spPr>
            <c:extLst>
              <c:ext xmlns:c16="http://schemas.microsoft.com/office/drawing/2014/chart" uri="{C3380CC4-5D6E-409C-BE32-E72D297353CC}">
                <c16:uniqueId val="{0000185B-7BE2-49F1-B47F-64DDA7BF3F9D}"/>
              </c:ext>
            </c:extLst>
          </c:dPt>
          <c:dPt>
            <c:idx val="3117"/>
            <c:invertIfNegative val="1"/>
            <c:bubble3D val="0"/>
            <c:spPr>
              <a:solidFill>
                <a:srgbClr val="AEABAB"/>
              </a:solidFill>
            </c:spPr>
            <c:extLst>
              <c:ext xmlns:c16="http://schemas.microsoft.com/office/drawing/2014/chart" uri="{C3380CC4-5D6E-409C-BE32-E72D297353CC}">
                <c16:uniqueId val="{0000185D-7BE2-49F1-B47F-64DDA7BF3F9D}"/>
              </c:ext>
            </c:extLst>
          </c:dPt>
          <c:dPt>
            <c:idx val="3118"/>
            <c:invertIfNegative val="1"/>
            <c:bubble3D val="0"/>
            <c:spPr>
              <a:solidFill>
                <a:srgbClr val="AEABAB"/>
              </a:solidFill>
            </c:spPr>
            <c:extLst>
              <c:ext xmlns:c16="http://schemas.microsoft.com/office/drawing/2014/chart" uri="{C3380CC4-5D6E-409C-BE32-E72D297353CC}">
                <c16:uniqueId val="{0000185F-7BE2-49F1-B47F-64DDA7BF3F9D}"/>
              </c:ext>
            </c:extLst>
          </c:dPt>
          <c:dPt>
            <c:idx val="3119"/>
            <c:invertIfNegative val="1"/>
            <c:bubble3D val="0"/>
            <c:spPr>
              <a:solidFill>
                <a:srgbClr val="AEABAB"/>
              </a:solidFill>
            </c:spPr>
            <c:extLst>
              <c:ext xmlns:c16="http://schemas.microsoft.com/office/drawing/2014/chart" uri="{C3380CC4-5D6E-409C-BE32-E72D297353CC}">
                <c16:uniqueId val="{00001861-7BE2-49F1-B47F-64DDA7BF3F9D}"/>
              </c:ext>
            </c:extLst>
          </c:dPt>
          <c:dPt>
            <c:idx val="3120"/>
            <c:invertIfNegative val="1"/>
            <c:bubble3D val="0"/>
            <c:spPr>
              <a:solidFill>
                <a:srgbClr val="AEABAB"/>
              </a:solidFill>
            </c:spPr>
            <c:extLst>
              <c:ext xmlns:c16="http://schemas.microsoft.com/office/drawing/2014/chart" uri="{C3380CC4-5D6E-409C-BE32-E72D297353CC}">
                <c16:uniqueId val="{00001863-7BE2-49F1-B47F-64DDA7BF3F9D}"/>
              </c:ext>
            </c:extLst>
          </c:dPt>
          <c:dPt>
            <c:idx val="3121"/>
            <c:invertIfNegative val="1"/>
            <c:bubble3D val="0"/>
            <c:spPr>
              <a:solidFill>
                <a:srgbClr val="AEABAB"/>
              </a:solidFill>
            </c:spPr>
            <c:extLst>
              <c:ext xmlns:c16="http://schemas.microsoft.com/office/drawing/2014/chart" uri="{C3380CC4-5D6E-409C-BE32-E72D297353CC}">
                <c16:uniqueId val="{00001865-7BE2-49F1-B47F-64DDA7BF3F9D}"/>
              </c:ext>
            </c:extLst>
          </c:dPt>
          <c:dPt>
            <c:idx val="3122"/>
            <c:invertIfNegative val="1"/>
            <c:bubble3D val="0"/>
            <c:spPr>
              <a:solidFill>
                <a:srgbClr val="AEABAB"/>
              </a:solidFill>
            </c:spPr>
            <c:extLst>
              <c:ext xmlns:c16="http://schemas.microsoft.com/office/drawing/2014/chart" uri="{C3380CC4-5D6E-409C-BE32-E72D297353CC}">
                <c16:uniqueId val="{00001867-7BE2-49F1-B47F-64DDA7BF3F9D}"/>
              </c:ext>
            </c:extLst>
          </c:dPt>
          <c:dPt>
            <c:idx val="3123"/>
            <c:invertIfNegative val="1"/>
            <c:bubble3D val="0"/>
            <c:spPr>
              <a:solidFill>
                <a:srgbClr val="AEABAB"/>
              </a:solidFill>
            </c:spPr>
            <c:extLst>
              <c:ext xmlns:c16="http://schemas.microsoft.com/office/drawing/2014/chart" uri="{C3380CC4-5D6E-409C-BE32-E72D297353CC}">
                <c16:uniqueId val="{00001869-7BE2-49F1-B47F-64DDA7BF3F9D}"/>
              </c:ext>
            </c:extLst>
          </c:dPt>
          <c:dPt>
            <c:idx val="3124"/>
            <c:invertIfNegative val="1"/>
            <c:bubble3D val="0"/>
            <c:spPr>
              <a:solidFill>
                <a:srgbClr val="AEABAB"/>
              </a:solidFill>
            </c:spPr>
            <c:extLst>
              <c:ext xmlns:c16="http://schemas.microsoft.com/office/drawing/2014/chart" uri="{C3380CC4-5D6E-409C-BE32-E72D297353CC}">
                <c16:uniqueId val="{0000186B-7BE2-49F1-B47F-64DDA7BF3F9D}"/>
              </c:ext>
            </c:extLst>
          </c:dPt>
          <c:dPt>
            <c:idx val="3125"/>
            <c:invertIfNegative val="1"/>
            <c:bubble3D val="0"/>
            <c:spPr>
              <a:solidFill>
                <a:srgbClr val="AEABAB"/>
              </a:solidFill>
            </c:spPr>
            <c:extLst>
              <c:ext xmlns:c16="http://schemas.microsoft.com/office/drawing/2014/chart" uri="{C3380CC4-5D6E-409C-BE32-E72D297353CC}">
                <c16:uniqueId val="{0000186D-7BE2-49F1-B47F-64DDA7BF3F9D}"/>
              </c:ext>
            </c:extLst>
          </c:dPt>
          <c:dPt>
            <c:idx val="3126"/>
            <c:invertIfNegative val="1"/>
            <c:bubble3D val="0"/>
            <c:spPr>
              <a:solidFill>
                <a:srgbClr val="AEABAB"/>
              </a:solidFill>
            </c:spPr>
            <c:extLst>
              <c:ext xmlns:c16="http://schemas.microsoft.com/office/drawing/2014/chart" uri="{C3380CC4-5D6E-409C-BE32-E72D297353CC}">
                <c16:uniqueId val="{0000186F-7BE2-49F1-B47F-64DDA7BF3F9D}"/>
              </c:ext>
            </c:extLst>
          </c:dPt>
          <c:dPt>
            <c:idx val="3127"/>
            <c:invertIfNegative val="1"/>
            <c:bubble3D val="0"/>
            <c:spPr>
              <a:solidFill>
                <a:srgbClr val="AEABAB"/>
              </a:solidFill>
            </c:spPr>
            <c:extLst>
              <c:ext xmlns:c16="http://schemas.microsoft.com/office/drawing/2014/chart" uri="{C3380CC4-5D6E-409C-BE32-E72D297353CC}">
                <c16:uniqueId val="{00001871-7BE2-49F1-B47F-64DDA7BF3F9D}"/>
              </c:ext>
            </c:extLst>
          </c:dPt>
          <c:dPt>
            <c:idx val="3128"/>
            <c:invertIfNegative val="1"/>
            <c:bubble3D val="0"/>
            <c:spPr>
              <a:solidFill>
                <a:srgbClr val="AEABAB"/>
              </a:solidFill>
            </c:spPr>
            <c:extLst>
              <c:ext xmlns:c16="http://schemas.microsoft.com/office/drawing/2014/chart" uri="{C3380CC4-5D6E-409C-BE32-E72D297353CC}">
                <c16:uniqueId val="{00001873-7BE2-49F1-B47F-64DDA7BF3F9D}"/>
              </c:ext>
            </c:extLst>
          </c:dPt>
          <c:dPt>
            <c:idx val="3129"/>
            <c:invertIfNegative val="1"/>
            <c:bubble3D val="0"/>
            <c:spPr>
              <a:solidFill>
                <a:srgbClr val="AEABAB"/>
              </a:solidFill>
            </c:spPr>
            <c:extLst>
              <c:ext xmlns:c16="http://schemas.microsoft.com/office/drawing/2014/chart" uri="{C3380CC4-5D6E-409C-BE32-E72D297353CC}">
                <c16:uniqueId val="{00001875-7BE2-49F1-B47F-64DDA7BF3F9D}"/>
              </c:ext>
            </c:extLst>
          </c:dPt>
          <c:dPt>
            <c:idx val="3130"/>
            <c:invertIfNegative val="1"/>
            <c:bubble3D val="0"/>
            <c:spPr>
              <a:solidFill>
                <a:srgbClr val="AEABAB"/>
              </a:solidFill>
            </c:spPr>
            <c:extLst>
              <c:ext xmlns:c16="http://schemas.microsoft.com/office/drawing/2014/chart" uri="{C3380CC4-5D6E-409C-BE32-E72D297353CC}">
                <c16:uniqueId val="{00001877-7BE2-49F1-B47F-64DDA7BF3F9D}"/>
              </c:ext>
            </c:extLst>
          </c:dPt>
          <c:dPt>
            <c:idx val="3131"/>
            <c:invertIfNegative val="1"/>
            <c:bubble3D val="0"/>
            <c:spPr>
              <a:solidFill>
                <a:srgbClr val="AEABAB"/>
              </a:solidFill>
            </c:spPr>
            <c:extLst>
              <c:ext xmlns:c16="http://schemas.microsoft.com/office/drawing/2014/chart" uri="{C3380CC4-5D6E-409C-BE32-E72D297353CC}">
                <c16:uniqueId val="{00001879-7BE2-49F1-B47F-64DDA7BF3F9D}"/>
              </c:ext>
            </c:extLst>
          </c:dPt>
          <c:dPt>
            <c:idx val="3132"/>
            <c:invertIfNegative val="1"/>
            <c:bubble3D val="0"/>
            <c:spPr>
              <a:solidFill>
                <a:srgbClr val="AEABAB"/>
              </a:solidFill>
            </c:spPr>
            <c:extLst>
              <c:ext xmlns:c16="http://schemas.microsoft.com/office/drawing/2014/chart" uri="{C3380CC4-5D6E-409C-BE32-E72D297353CC}">
                <c16:uniqueId val="{0000187B-7BE2-49F1-B47F-64DDA7BF3F9D}"/>
              </c:ext>
            </c:extLst>
          </c:dPt>
          <c:dPt>
            <c:idx val="3133"/>
            <c:invertIfNegative val="1"/>
            <c:bubble3D val="0"/>
            <c:spPr>
              <a:solidFill>
                <a:srgbClr val="AEABAB"/>
              </a:solidFill>
            </c:spPr>
            <c:extLst>
              <c:ext xmlns:c16="http://schemas.microsoft.com/office/drawing/2014/chart" uri="{C3380CC4-5D6E-409C-BE32-E72D297353CC}">
                <c16:uniqueId val="{0000187D-7BE2-49F1-B47F-64DDA7BF3F9D}"/>
              </c:ext>
            </c:extLst>
          </c:dPt>
          <c:dPt>
            <c:idx val="3134"/>
            <c:invertIfNegative val="1"/>
            <c:bubble3D val="0"/>
            <c:spPr>
              <a:solidFill>
                <a:srgbClr val="AEABAB"/>
              </a:solidFill>
            </c:spPr>
            <c:extLst>
              <c:ext xmlns:c16="http://schemas.microsoft.com/office/drawing/2014/chart" uri="{C3380CC4-5D6E-409C-BE32-E72D297353CC}">
                <c16:uniqueId val="{0000187F-7BE2-49F1-B47F-64DDA7BF3F9D}"/>
              </c:ext>
            </c:extLst>
          </c:dPt>
          <c:dPt>
            <c:idx val="3135"/>
            <c:invertIfNegative val="1"/>
            <c:bubble3D val="0"/>
            <c:spPr>
              <a:solidFill>
                <a:srgbClr val="AEABAB"/>
              </a:solidFill>
            </c:spPr>
            <c:extLst>
              <c:ext xmlns:c16="http://schemas.microsoft.com/office/drawing/2014/chart" uri="{C3380CC4-5D6E-409C-BE32-E72D297353CC}">
                <c16:uniqueId val="{00001881-7BE2-49F1-B47F-64DDA7BF3F9D}"/>
              </c:ext>
            </c:extLst>
          </c:dPt>
          <c:dPt>
            <c:idx val="3136"/>
            <c:invertIfNegative val="1"/>
            <c:bubble3D val="0"/>
            <c:spPr>
              <a:solidFill>
                <a:srgbClr val="AEABAB"/>
              </a:solidFill>
            </c:spPr>
            <c:extLst>
              <c:ext xmlns:c16="http://schemas.microsoft.com/office/drawing/2014/chart" uri="{C3380CC4-5D6E-409C-BE32-E72D297353CC}">
                <c16:uniqueId val="{00001883-7BE2-49F1-B47F-64DDA7BF3F9D}"/>
              </c:ext>
            </c:extLst>
          </c:dPt>
          <c:dPt>
            <c:idx val="3137"/>
            <c:invertIfNegative val="1"/>
            <c:bubble3D val="0"/>
            <c:spPr>
              <a:solidFill>
                <a:srgbClr val="AEABAB"/>
              </a:solidFill>
            </c:spPr>
            <c:extLst>
              <c:ext xmlns:c16="http://schemas.microsoft.com/office/drawing/2014/chart" uri="{C3380CC4-5D6E-409C-BE32-E72D297353CC}">
                <c16:uniqueId val="{00001885-7BE2-49F1-B47F-64DDA7BF3F9D}"/>
              </c:ext>
            </c:extLst>
          </c:dPt>
          <c:dPt>
            <c:idx val="3138"/>
            <c:invertIfNegative val="1"/>
            <c:bubble3D val="0"/>
            <c:spPr>
              <a:solidFill>
                <a:srgbClr val="AEABAB"/>
              </a:solidFill>
            </c:spPr>
            <c:extLst>
              <c:ext xmlns:c16="http://schemas.microsoft.com/office/drawing/2014/chart" uri="{C3380CC4-5D6E-409C-BE32-E72D297353CC}">
                <c16:uniqueId val="{00001887-7BE2-49F1-B47F-64DDA7BF3F9D}"/>
              </c:ext>
            </c:extLst>
          </c:dPt>
          <c:dPt>
            <c:idx val="3139"/>
            <c:invertIfNegative val="1"/>
            <c:bubble3D val="0"/>
            <c:spPr>
              <a:solidFill>
                <a:srgbClr val="AEABAB"/>
              </a:solidFill>
            </c:spPr>
            <c:extLst>
              <c:ext xmlns:c16="http://schemas.microsoft.com/office/drawing/2014/chart" uri="{C3380CC4-5D6E-409C-BE32-E72D297353CC}">
                <c16:uniqueId val="{00001889-7BE2-49F1-B47F-64DDA7BF3F9D}"/>
              </c:ext>
            </c:extLst>
          </c:dPt>
          <c:dPt>
            <c:idx val="3140"/>
            <c:invertIfNegative val="1"/>
            <c:bubble3D val="0"/>
            <c:spPr>
              <a:solidFill>
                <a:srgbClr val="AEABAB"/>
              </a:solidFill>
            </c:spPr>
            <c:extLst>
              <c:ext xmlns:c16="http://schemas.microsoft.com/office/drawing/2014/chart" uri="{C3380CC4-5D6E-409C-BE32-E72D297353CC}">
                <c16:uniqueId val="{0000188B-7BE2-49F1-B47F-64DDA7BF3F9D}"/>
              </c:ext>
            </c:extLst>
          </c:dPt>
          <c:dPt>
            <c:idx val="3141"/>
            <c:invertIfNegative val="1"/>
            <c:bubble3D val="0"/>
            <c:spPr>
              <a:solidFill>
                <a:srgbClr val="AEABAB"/>
              </a:solidFill>
            </c:spPr>
            <c:extLst>
              <c:ext xmlns:c16="http://schemas.microsoft.com/office/drawing/2014/chart" uri="{C3380CC4-5D6E-409C-BE32-E72D297353CC}">
                <c16:uniqueId val="{0000188D-7BE2-49F1-B47F-64DDA7BF3F9D}"/>
              </c:ext>
            </c:extLst>
          </c:dPt>
          <c:dPt>
            <c:idx val="3142"/>
            <c:invertIfNegative val="1"/>
            <c:bubble3D val="0"/>
            <c:spPr>
              <a:solidFill>
                <a:srgbClr val="AEABAB"/>
              </a:solidFill>
            </c:spPr>
            <c:extLst>
              <c:ext xmlns:c16="http://schemas.microsoft.com/office/drawing/2014/chart" uri="{C3380CC4-5D6E-409C-BE32-E72D297353CC}">
                <c16:uniqueId val="{0000188F-7BE2-49F1-B47F-64DDA7BF3F9D}"/>
              </c:ext>
            </c:extLst>
          </c:dPt>
          <c:dPt>
            <c:idx val="3143"/>
            <c:invertIfNegative val="1"/>
            <c:bubble3D val="0"/>
            <c:spPr>
              <a:solidFill>
                <a:srgbClr val="AEABAB"/>
              </a:solidFill>
            </c:spPr>
            <c:extLst>
              <c:ext xmlns:c16="http://schemas.microsoft.com/office/drawing/2014/chart" uri="{C3380CC4-5D6E-409C-BE32-E72D297353CC}">
                <c16:uniqueId val="{00001891-7BE2-49F1-B47F-64DDA7BF3F9D}"/>
              </c:ext>
            </c:extLst>
          </c:dPt>
          <c:dPt>
            <c:idx val="3144"/>
            <c:invertIfNegative val="1"/>
            <c:bubble3D val="0"/>
            <c:spPr>
              <a:solidFill>
                <a:srgbClr val="AEABAB"/>
              </a:solidFill>
            </c:spPr>
            <c:extLst>
              <c:ext xmlns:c16="http://schemas.microsoft.com/office/drawing/2014/chart" uri="{C3380CC4-5D6E-409C-BE32-E72D297353CC}">
                <c16:uniqueId val="{00001893-7BE2-49F1-B47F-64DDA7BF3F9D}"/>
              </c:ext>
            </c:extLst>
          </c:dPt>
          <c:dPt>
            <c:idx val="3145"/>
            <c:invertIfNegative val="1"/>
            <c:bubble3D val="0"/>
            <c:spPr>
              <a:solidFill>
                <a:srgbClr val="AEABAB"/>
              </a:solidFill>
            </c:spPr>
            <c:extLst>
              <c:ext xmlns:c16="http://schemas.microsoft.com/office/drawing/2014/chart" uri="{C3380CC4-5D6E-409C-BE32-E72D297353CC}">
                <c16:uniqueId val="{00001895-7BE2-49F1-B47F-64DDA7BF3F9D}"/>
              </c:ext>
            </c:extLst>
          </c:dPt>
          <c:dPt>
            <c:idx val="3146"/>
            <c:invertIfNegative val="1"/>
            <c:bubble3D val="0"/>
            <c:spPr>
              <a:solidFill>
                <a:srgbClr val="AEABAB"/>
              </a:solidFill>
            </c:spPr>
            <c:extLst>
              <c:ext xmlns:c16="http://schemas.microsoft.com/office/drawing/2014/chart" uri="{C3380CC4-5D6E-409C-BE32-E72D297353CC}">
                <c16:uniqueId val="{00001897-7BE2-49F1-B47F-64DDA7BF3F9D}"/>
              </c:ext>
            </c:extLst>
          </c:dPt>
          <c:dPt>
            <c:idx val="3147"/>
            <c:invertIfNegative val="1"/>
            <c:bubble3D val="0"/>
            <c:spPr>
              <a:solidFill>
                <a:srgbClr val="AEABAB"/>
              </a:solidFill>
            </c:spPr>
            <c:extLst>
              <c:ext xmlns:c16="http://schemas.microsoft.com/office/drawing/2014/chart" uri="{C3380CC4-5D6E-409C-BE32-E72D297353CC}">
                <c16:uniqueId val="{00001899-7BE2-49F1-B47F-64DDA7BF3F9D}"/>
              </c:ext>
            </c:extLst>
          </c:dPt>
          <c:dPt>
            <c:idx val="3148"/>
            <c:invertIfNegative val="1"/>
            <c:bubble3D val="0"/>
            <c:spPr>
              <a:solidFill>
                <a:srgbClr val="AEABAB"/>
              </a:solidFill>
            </c:spPr>
            <c:extLst>
              <c:ext xmlns:c16="http://schemas.microsoft.com/office/drawing/2014/chart" uri="{C3380CC4-5D6E-409C-BE32-E72D297353CC}">
                <c16:uniqueId val="{0000189B-7BE2-49F1-B47F-64DDA7BF3F9D}"/>
              </c:ext>
            </c:extLst>
          </c:dPt>
          <c:dPt>
            <c:idx val="3149"/>
            <c:invertIfNegative val="1"/>
            <c:bubble3D val="0"/>
            <c:spPr>
              <a:solidFill>
                <a:srgbClr val="AEABAB"/>
              </a:solidFill>
            </c:spPr>
            <c:extLst>
              <c:ext xmlns:c16="http://schemas.microsoft.com/office/drawing/2014/chart" uri="{C3380CC4-5D6E-409C-BE32-E72D297353CC}">
                <c16:uniqueId val="{0000189D-7BE2-49F1-B47F-64DDA7BF3F9D}"/>
              </c:ext>
            </c:extLst>
          </c:dPt>
          <c:dPt>
            <c:idx val="3150"/>
            <c:invertIfNegative val="1"/>
            <c:bubble3D val="0"/>
            <c:spPr>
              <a:solidFill>
                <a:srgbClr val="AEABAB"/>
              </a:solidFill>
            </c:spPr>
            <c:extLst>
              <c:ext xmlns:c16="http://schemas.microsoft.com/office/drawing/2014/chart" uri="{C3380CC4-5D6E-409C-BE32-E72D297353CC}">
                <c16:uniqueId val="{0000189F-7BE2-49F1-B47F-64DDA7BF3F9D}"/>
              </c:ext>
            </c:extLst>
          </c:dPt>
          <c:dPt>
            <c:idx val="3151"/>
            <c:invertIfNegative val="1"/>
            <c:bubble3D val="0"/>
            <c:spPr>
              <a:solidFill>
                <a:srgbClr val="AEABAB"/>
              </a:solidFill>
            </c:spPr>
            <c:extLst>
              <c:ext xmlns:c16="http://schemas.microsoft.com/office/drawing/2014/chart" uri="{C3380CC4-5D6E-409C-BE32-E72D297353CC}">
                <c16:uniqueId val="{000018A1-7BE2-49F1-B47F-64DDA7BF3F9D}"/>
              </c:ext>
            </c:extLst>
          </c:dPt>
          <c:dPt>
            <c:idx val="3152"/>
            <c:invertIfNegative val="1"/>
            <c:bubble3D val="0"/>
            <c:spPr>
              <a:solidFill>
                <a:srgbClr val="AEABAB"/>
              </a:solidFill>
            </c:spPr>
            <c:extLst>
              <c:ext xmlns:c16="http://schemas.microsoft.com/office/drawing/2014/chart" uri="{C3380CC4-5D6E-409C-BE32-E72D297353CC}">
                <c16:uniqueId val="{000018A3-7BE2-49F1-B47F-64DDA7BF3F9D}"/>
              </c:ext>
            </c:extLst>
          </c:dPt>
          <c:dPt>
            <c:idx val="3153"/>
            <c:invertIfNegative val="1"/>
            <c:bubble3D val="0"/>
            <c:spPr>
              <a:solidFill>
                <a:srgbClr val="AEABAB"/>
              </a:solidFill>
            </c:spPr>
            <c:extLst>
              <c:ext xmlns:c16="http://schemas.microsoft.com/office/drawing/2014/chart" uri="{C3380CC4-5D6E-409C-BE32-E72D297353CC}">
                <c16:uniqueId val="{000018A5-7BE2-49F1-B47F-64DDA7BF3F9D}"/>
              </c:ext>
            </c:extLst>
          </c:dPt>
          <c:dPt>
            <c:idx val="3154"/>
            <c:invertIfNegative val="1"/>
            <c:bubble3D val="0"/>
            <c:spPr>
              <a:solidFill>
                <a:srgbClr val="AEABAB"/>
              </a:solidFill>
            </c:spPr>
            <c:extLst>
              <c:ext xmlns:c16="http://schemas.microsoft.com/office/drawing/2014/chart" uri="{C3380CC4-5D6E-409C-BE32-E72D297353CC}">
                <c16:uniqueId val="{000018A7-7BE2-49F1-B47F-64DDA7BF3F9D}"/>
              </c:ext>
            </c:extLst>
          </c:dPt>
          <c:dPt>
            <c:idx val="3155"/>
            <c:invertIfNegative val="1"/>
            <c:bubble3D val="0"/>
            <c:spPr>
              <a:solidFill>
                <a:srgbClr val="AEABAB"/>
              </a:solidFill>
            </c:spPr>
            <c:extLst>
              <c:ext xmlns:c16="http://schemas.microsoft.com/office/drawing/2014/chart" uri="{C3380CC4-5D6E-409C-BE32-E72D297353CC}">
                <c16:uniqueId val="{000018A9-7BE2-49F1-B47F-64DDA7BF3F9D}"/>
              </c:ext>
            </c:extLst>
          </c:dPt>
          <c:dPt>
            <c:idx val="3156"/>
            <c:invertIfNegative val="1"/>
            <c:bubble3D val="0"/>
            <c:spPr>
              <a:solidFill>
                <a:srgbClr val="AEABAB"/>
              </a:solidFill>
            </c:spPr>
            <c:extLst>
              <c:ext xmlns:c16="http://schemas.microsoft.com/office/drawing/2014/chart" uri="{C3380CC4-5D6E-409C-BE32-E72D297353CC}">
                <c16:uniqueId val="{000018AB-7BE2-49F1-B47F-64DDA7BF3F9D}"/>
              </c:ext>
            </c:extLst>
          </c:dPt>
          <c:dPt>
            <c:idx val="3157"/>
            <c:invertIfNegative val="1"/>
            <c:bubble3D val="0"/>
            <c:spPr>
              <a:solidFill>
                <a:srgbClr val="AEABAB"/>
              </a:solidFill>
            </c:spPr>
            <c:extLst>
              <c:ext xmlns:c16="http://schemas.microsoft.com/office/drawing/2014/chart" uri="{C3380CC4-5D6E-409C-BE32-E72D297353CC}">
                <c16:uniqueId val="{000018AD-7BE2-49F1-B47F-64DDA7BF3F9D}"/>
              </c:ext>
            </c:extLst>
          </c:dPt>
          <c:dPt>
            <c:idx val="3158"/>
            <c:invertIfNegative val="1"/>
            <c:bubble3D val="0"/>
            <c:spPr>
              <a:solidFill>
                <a:srgbClr val="AEABAB"/>
              </a:solidFill>
            </c:spPr>
            <c:extLst>
              <c:ext xmlns:c16="http://schemas.microsoft.com/office/drawing/2014/chart" uri="{C3380CC4-5D6E-409C-BE32-E72D297353CC}">
                <c16:uniqueId val="{000018AF-7BE2-49F1-B47F-64DDA7BF3F9D}"/>
              </c:ext>
            </c:extLst>
          </c:dPt>
          <c:dPt>
            <c:idx val="3159"/>
            <c:invertIfNegative val="1"/>
            <c:bubble3D val="0"/>
            <c:spPr>
              <a:solidFill>
                <a:srgbClr val="AEABAB"/>
              </a:solidFill>
            </c:spPr>
            <c:extLst>
              <c:ext xmlns:c16="http://schemas.microsoft.com/office/drawing/2014/chart" uri="{C3380CC4-5D6E-409C-BE32-E72D297353CC}">
                <c16:uniqueId val="{000018B1-7BE2-49F1-B47F-64DDA7BF3F9D}"/>
              </c:ext>
            </c:extLst>
          </c:dPt>
          <c:dPt>
            <c:idx val="3160"/>
            <c:invertIfNegative val="1"/>
            <c:bubble3D val="0"/>
            <c:spPr>
              <a:solidFill>
                <a:srgbClr val="AEABAB"/>
              </a:solidFill>
            </c:spPr>
            <c:extLst>
              <c:ext xmlns:c16="http://schemas.microsoft.com/office/drawing/2014/chart" uri="{C3380CC4-5D6E-409C-BE32-E72D297353CC}">
                <c16:uniqueId val="{000018B3-7BE2-49F1-B47F-64DDA7BF3F9D}"/>
              </c:ext>
            </c:extLst>
          </c:dPt>
          <c:dPt>
            <c:idx val="3161"/>
            <c:invertIfNegative val="1"/>
            <c:bubble3D val="0"/>
            <c:spPr>
              <a:solidFill>
                <a:srgbClr val="AEABAB"/>
              </a:solidFill>
            </c:spPr>
            <c:extLst>
              <c:ext xmlns:c16="http://schemas.microsoft.com/office/drawing/2014/chart" uri="{C3380CC4-5D6E-409C-BE32-E72D297353CC}">
                <c16:uniqueId val="{000018B5-7BE2-49F1-B47F-64DDA7BF3F9D}"/>
              </c:ext>
            </c:extLst>
          </c:dPt>
          <c:dPt>
            <c:idx val="3162"/>
            <c:invertIfNegative val="1"/>
            <c:bubble3D val="0"/>
            <c:spPr>
              <a:solidFill>
                <a:srgbClr val="AEABAB"/>
              </a:solidFill>
            </c:spPr>
            <c:extLst>
              <c:ext xmlns:c16="http://schemas.microsoft.com/office/drawing/2014/chart" uri="{C3380CC4-5D6E-409C-BE32-E72D297353CC}">
                <c16:uniqueId val="{000018B7-7BE2-49F1-B47F-64DDA7BF3F9D}"/>
              </c:ext>
            </c:extLst>
          </c:dPt>
          <c:dPt>
            <c:idx val="3163"/>
            <c:invertIfNegative val="1"/>
            <c:bubble3D val="0"/>
            <c:spPr>
              <a:solidFill>
                <a:srgbClr val="AEABAB"/>
              </a:solidFill>
            </c:spPr>
            <c:extLst>
              <c:ext xmlns:c16="http://schemas.microsoft.com/office/drawing/2014/chart" uri="{C3380CC4-5D6E-409C-BE32-E72D297353CC}">
                <c16:uniqueId val="{000018B9-7BE2-49F1-B47F-64DDA7BF3F9D}"/>
              </c:ext>
            </c:extLst>
          </c:dPt>
          <c:dPt>
            <c:idx val="3164"/>
            <c:invertIfNegative val="1"/>
            <c:bubble3D val="0"/>
            <c:spPr>
              <a:solidFill>
                <a:srgbClr val="AEABAB"/>
              </a:solidFill>
            </c:spPr>
            <c:extLst>
              <c:ext xmlns:c16="http://schemas.microsoft.com/office/drawing/2014/chart" uri="{C3380CC4-5D6E-409C-BE32-E72D297353CC}">
                <c16:uniqueId val="{000018BB-7BE2-49F1-B47F-64DDA7BF3F9D}"/>
              </c:ext>
            </c:extLst>
          </c:dPt>
          <c:dPt>
            <c:idx val="3165"/>
            <c:invertIfNegative val="1"/>
            <c:bubble3D val="0"/>
            <c:spPr>
              <a:solidFill>
                <a:srgbClr val="AEABAB"/>
              </a:solidFill>
            </c:spPr>
            <c:extLst>
              <c:ext xmlns:c16="http://schemas.microsoft.com/office/drawing/2014/chart" uri="{C3380CC4-5D6E-409C-BE32-E72D297353CC}">
                <c16:uniqueId val="{000018BD-7BE2-49F1-B47F-64DDA7BF3F9D}"/>
              </c:ext>
            </c:extLst>
          </c:dPt>
          <c:dPt>
            <c:idx val="3166"/>
            <c:invertIfNegative val="1"/>
            <c:bubble3D val="0"/>
            <c:spPr>
              <a:solidFill>
                <a:srgbClr val="AEABAB"/>
              </a:solidFill>
            </c:spPr>
            <c:extLst>
              <c:ext xmlns:c16="http://schemas.microsoft.com/office/drawing/2014/chart" uri="{C3380CC4-5D6E-409C-BE32-E72D297353CC}">
                <c16:uniqueId val="{000018BF-7BE2-49F1-B47F-64DDA7BF3F9D}"/>
              </c:ext>
            </c:extLst>
          </c:dPt>
          <c:dPt>
            <c:idx val="3167"/>
            <c:invertIfNegative val="1"/>
            <c:bubble3D val="0"/>
            <c:spPr>
              <a:solidFill>
                <a:srgbClr val="AEABAB"/>
              </a:solidFill>
            </c:spPr>
            <c:extLst>
              <c:ext xmlns:c16="http://schemas.microsoft.com/office/drawing/2014/chart" uri="{C3380CC4-5D6E-409C-BE32-E72D297353CC}">
                <c16:uniqueId val="{000018C1-7BE2-49F1-B47F-64DDA7BF3F9D}"/>
              </c:ext>
            </c:extLst>
          </c:dPt>
          <c:dPt>
            <c:idx val="3168"/>
            <c:invertIfNegative val="1"/>
            <c:bubble3D val="0"/>
            <c:spPr>
              <a:solidFill>
                <a:srgbClr val="AEABAB"/>
              </a:solidFill>
            </c:spPr>
            <c:extLst>
              <c:ext xmlns:c16="http://schemas.microsoft.com/office/drawing/2014/chart" uri="{C3380CC4-5D6E-409C-BE32-E72D297353CC}">
                <c16:uniqueId val="{000018C3-7BE2-49F1-B47F-64DDA7BF3F9D}"/>
              </c:ext>
            </c:extLst>
          </c:dPt>
          <c:dPt>
            <c:idx val="3169"/>
            <c:invertIfNegative val="1"/>
            <c:bubble3D val="0"/>
            <c:spPr>
              <a:solidFill>
                <a:srgbClr val="AEABAB"/>
              </a:solidFill>
            </c:spPr>
            <c:extLst>
              <c:ext xmlns:c16="http://schemas.microsoft.com/office/drawing/2014/chart" uri="{C3380CC4-5D6E-409C-BE32-E72D297353CC}">
                <c16:uniqueId val="{000018C5-7BE2-49F1-B47F-64DDA7BF3F9D}"/>
              </c:ext>
            </c:extLst>
          </c:dPt>
          <c:cat>
            <c:strRef>
              <c:f>Sheet1!$A$2:$A$3171</c:f>
              <c:strCache>
                <c:ptCount val="3170"/>
                <c:pt idx="0">
                  <c:v>Caprice Des</c:v>
                </c:pt>
                <c:pt idx="1">
                  <c:v>La Vache Qu</c:v>
                </c:pt>
                <c:pt idx="2">
                  <c:v>Private Lab</c:v>
                </c:pt>
                <c:pt idx="3">
                  <c:v>Private Lab</c:v>
                </c:pt>
                <c:pt idx="4">
                  <c:v>Private Lab</c:v>
                </c:pt>
                <c:pt idx="5">
                  <c:v>Private Lab</c:v>
                </c:pt>
                <c:pt idx="6">
                  <c:v>Private Lab</c:v>
                </c:pt>
                <c:pt idx="7">
                  <c:v>Mini Babybe</c:v>
                </c:pt>
                <c:pt idx="8">
                  <c:v>Kiri</c:v>
                </c:pt>
                <c:pt idx="9">
                  <c:v>Coeur De Li</c:v>
                </c:pt>
                <c:pt idx="10">
                  <c:v>Caprice Des</c:v>
                </c:pt>
                <c:pt idx="11">
                  <c:v>President</c:v>
                </c:pt>
                <c:pt idx="12">
                  <c:v>Private Lab</c:v>
                </c:pt>
                <c:pt idx="13">
                  <c:v>Private Lab</c:v>
                </c:pt>
                <c:pt idx="14">
                  <c:v>Soignon</c:v>
                </c:pt>
                <c:pt idx="15">
                  <c:v>Private Lab</c:v>
                </c:pt>
                <c:pt idx="16">
                  <c:v>Soignon</c:v>
                </c:pt>
                <c:pt idx="17">
                  <c:v>Private Lab</c:v>
                </c:pt>
                <c:pt idx="18">
                  <c:v>La Vache Qu</c:v>
                </c:pt>
                <c:pt idx="19">
                  <c:v>Private Lab</c:v>
                </c:pt>
                <c:pt idx="20">
                  <c:v>Tartare</c:v>
                </c:pt>
                <c:pt idx="21">
                  <c:v>Coeur De Li</c:v>
                </c:pt>
                <c:pt idx="22">
                  <c:v>Private Lab</c:v>
                </c:pt>
                <c:pt idx="23">
                  <c:v>President</c:v>
                </c:pt>
                <c:pt idx="24">
                  <c:v>President</c:v>
                </c:pt>
                <c:pt idx="25">
                  <c:v>Private Lab</c:v>
                </c:pt>
                <c:pt idx="26">
                  <c:v>Le Rustique</c:v>
                </c:pt>
                <c:pt idx="27">
                  <c:v>Galbani</c:v>
                </c:pt>
                <c:pt idx="28">
                  <c:v>Ficello</c:v>
                </c:pt>
                <c:pt idx="29">
                  <c:v>Soignon</c:v>
                </c:pt>
                <c:pt idx="30">
                  <c:v>St Moret</c:v>
                </c:pt>
                <c:pt idx="31">
                  <c:v>Private Lab</c:v>
                </c:pt>
                <c:pt idx="32">
                  <c:v>St Moret</c:v>
                </c:pt>
                <c:pt idx="33">
                  <c:v>President</c:v>
                </c:pt>
                <c:pt idx="34">
                  <c:v>Mini Babybe</c:v>
                </c:pt>
                <c:pt idx="35">
                  <c:v>Private Lab</c:v>
                </c:pt>
                <c:pt idx="36">
                  <c:v>Kiri</c:v>
                </c:pt>
                <c:pt idx="37">
                  <c:v>St Moret</c:v>
                </c:pt>
                <c:pt idx="38">
                  <c:v>Private Lab</c:v>
                </c:pt>
                <c:pt idx="39">
                  <c:v>Private Lab</c:v>
                </c:pt>
                <c:pt idx="40">
                  <c:v>Richesmonts</c:v>
                </c:pt>
                <c:pt idx="41">
                  <c:v>Private Lab</c:v>
                </c:pt>
                <c:pt idx="42">
                  <c:v>Private Lab</c:v>
                </c:pt>
                <c:pt idx="43">
                  <c:v>La Vache Qu</c:v>
                </c:pt>
                <c:pt idx="44">
                  <c:v>Private Lab</c:v>
                </c:pt>
                <c:pt idx="45">
                  <c:v>All Others</c:v>
                </c:pt>
                <c:pt idx="46">
                  <c:v>St Moret</c:v>
                </c:pt>
                <c:pt idx="47">
                  <c:v>Salakis</c:v>
                </c:pt>
                <c:pt idx="48">
                  <c:v>Carre Frais</c:v>
                </c:pt>
                <c:pt idx="49">
                  <c:v>Coeur De Li</c:v>
                </c:pt>
                <c:pt idx="50">
                  <c:v>St Moret</c:v>
                </c:pt>
                <c:pt idx="51">
                  <c:v>Paysan Bret</c:v>
                </c:pt>
                <c:pt idx="52">
                  <c:v>President</c:v>
                </c:pt>
                <c:pt idx="53">
                  <c:v>Galbani</c:v>
                </c:pt>
                <c:pt idx="54">
                  <c:v>Philadelphi</c:v>
                </c:pt>
                <c:pt idx="55">
                  <c:v>Kiri</c:v>
                </c:pt>
                <c:pt idx="56">
                  <c:v>Societe</c:v>
                </c:pt>
                <c:pt idx="57">
                  <c:v>Private Lab</c:v>
                </c:pt>
                <c:pt idx="58">
                  <c:v>Private Lab</c:v>
                </c:pt>
                <c:pt idx="59">
                  <c:v>Apericube</c:v>
                </c:pt>
                <c:pt idx="60">
                  <c:v>Boursin</c:v>
                </c:pt>
                <c:pt idx="61">
                  <c:v>Entremont</c:v>
                </c:pt>
                <c:pt idx="62">
                  <c:v>Carre Frais</c:v>
                </c:pt>
                <c:pt idx="63">
                  <c:v>Private Lab</c:v>
                </c:pt>
                <c:pt idx="64">
                  <c:v>Private Lab</c:v>
                </c:pt>
                <c:pt idx="65">
                  <c:v>Chaussee Au</c:v>
                </c:pt>
                <c:pt idx="66">
                  <c:v>Apericube</c:v>
                </c:pt>
                <c:pt idx="67">
                  <c:v>Paysan Bret</c:v>
                </c:pt>
                <c:pt idx="68">
                  <c:v>Islos</c:v>
                </c:pt>
                <c:pt idx="69">
                  <c:v>St Moret</c:v>
                </c:pt>
                <c:pt idx="70">
                  <c:v>Apericube</c:v>
                </c:pt>
                <c:pt idx="71">
                  <c:v>President</c:v>
                </c:pt>
                <c:pt idx="72">
                  <c:v>President</c:v>
                </c:pt>
                <c:pt idx="73">
                  <c:v>Private Lab</c:v>
                </c:pt>
                <c:pt idx="74">
                  <c:v>Paysan Bret</c:v>
                </c:pt>
                <c:pt idx="75">
                  <c:v>Galbani</c:v>
                </c:pt>
                <c:pt idx="76">
                  <c:v>Salakis</c:v>
                </c:pt>
                <c:pt idx="77">
                  <c:v>Tartare</c:v>
                </c:pt>
                <c:pt idx="78">
                  <c:v>President</c:v>
                </c:pt>
                <c:pt idx="79">
                  <c:v>President</c:v>
                </c:pt>
                <c:pt idx="80">
                  <c:v>Private Lab</c:v>
                </c:pt>
                <c:pt idx="81">
                  <c:v>Kiri</c:v>
                </c:pt>
                <c:pt idx="82">
                  <c:v>Lepetit</c:v>
                </c:pt>
                <c:pt idx="83">
                  <c:v>Istara</c:v>
                </c:pt>
                <c:pt idx="84">
                  <c:v>Coeur De Li</c:v>
                </c:pt>
                <c:pt idx="85">
                  <c:v>Casa Azzurr</c:v>
                </c:pt>
                <c:pt idx="86">
                  <c:v>Boursin</c:v>
                </c:pt>
                <c:pt idx="87">
                  <c:v>Richesmonts</c:v>
                </c:pt>
                <c:pt idx="88">
                  <c:v>Richesmonts</c:v>
                </c:pt>
                <c:pt idx="89">
                  <c:v>Private Lab</c:v>
                </c:pt>
                <c:pt idx="90">
                  <c:v>Entremont</c:v>
                </c:pt>
                <c:pt idx="91">
                  <c:v>Private Lab</c:v>
                </c:pt>
                <c:pt idx="92">
                  <c:v>All Others</c:v>
                </c:pt>
                <c:pt idx="93">
                  <c:v>Kiri</c:v>
                </c:pt>
                <c:pt idx="94">
                  <c:v>Private Lab</c:v>
                </c:pt>
                <c:pt idx="95">
                  <c:v>Private Lab</c:v>
                </c:pt>
                <c:pt idx="96">
                  <c:v>Private Lab</c:v>
                </c:pt>
                <c:pt idx="97">
                  <c:v>Private Lab</c:v>
                </c:pt>
                <c:pt idx="98">
                  <c:v>All Others</c:v>
                </c:pt>
                <c:pt idx="99">
                  <c:v>Private Lab</c:v>
                </c:pt>
                <c:pt idx="100">
                  <c:v>Petit Billy</c:v>
                </c:pt>
                <c:pt idx="101">
                  <c:v>Lou Perac</c:v>
                </c:pt>
                <c:pt idx="102">
                  <c:v>Mini Babybe</c:v>
                </c:pt>
                <c:pt idx="103">
                  <c:v>Private Lab</c:v>
                </c:pt>
                <c:pt idx="104">
                  <c:v>Carre Frais</c:v>
                </c:pt>
                <c:pt idx="105">
                  <c:v>Mini Babybe</c:v>
                </c:pt>
                <c:pt idx="106">
                  <c:v>Apericube</c:v>
                </c:pt>
                <c:pt idx="107">
                  <c:v>Boursin</c:v>
                </c:pt>
                <c:pt idx="108">
                  <c:v>Chaussee Au</c:v>
                </c:pt>
                <c:pt idx="109">
                  <c:v>All Others</c:v>
                </c:pt>
                <c:pt idx="110">
                  <c:v>Private Lab</c:v>
                </c:pt>
                <c:pt idx="111">
                  <c:v>Leerdammer</c:v>
                </c:pt>
                <c:pt idx="112">
                  <c:v>Richesmonts</c:v>
                </c:pt>
                <c:pt idx="113">
                  <c:v>Galbani</c:v>
                </c:pt>
                <c:pt idx="114">
                  <c:v>La Vache Qu</c:v>
                </c:pt>
                <c:pt idx="115">
                  <c:v>Entremont</c:v>
                </c:pt>
                <c:pt idx="116">
                  <c:v>All Others</c:v>
                </c:pt>
                <c:pt idx="117">
                  <c:v>Saint Agur</c:v>
                </c:pt>
                <c:pt idx="118">
                  <c:v>Apericube</c:v>
                </c:pt>
                <c:pt idx="119">
                  <c:v>Private Lab</c:v>
                </c:pt>
                <c:pt idx="120">
                  <c:v>Private Lab</c:v>
                </c:pt>
                <c:pt idx="121">
                  <c:v>St Moret</c:v>
                </c:pt>
                <c:pt idx="122">
                  <c:v>Private Lab</c:v>
                </c:pt>
                <c:pt idx="123">
                  <c:v>President</c:v>
                </c:pt>
                <c:pt idx="124">
                  <c:v>St Moret</c:v>
                </c:pt>
                <c:pt idx="125">
                  <c:v>Private Lab</c:v>
                </c:pt>
                <c:pt idx="126">
                  <c:v>Private Lab</c:v>
                </c:pt>
                <c:pt idx="127">
                  <c:v>Caprice Des</c:v>
                </c:pt>
                <c:pt idx="128">
                  <c:v>All Others</c:v>
                </c:pt>
                <c:pt idx="129">
                  <c:v>Private Lab</c:v>
                </c:pt>
                <c:pt idx="130">
                  <c:v>President</c:v>
                </c:pt>
                <c:pt idx="131">
                  <c:v>Philadelphi</c:v>
                </c:pt>
                <c:pt idx="132">
                  <c:v>President</c:v>
                </c:pt>
                <c:pt idx="133">
                  <c:v>Private Lab</c:v>
                </c:pt>
                <c:pt idx="134">
                  <c:v>Pochat</c:v>
                </c:pt>
                <c:pt idx="135">
                  <c:v>Philadelphi</c:v>
                </c:pt>
                <c:pt idx="136">
                  <c:v>President</c:v>
                </c:pt>
                <c:pt idx="137">
                  <c:v>Private Lab</c:v>
                </c:pt>
                <c:pt idx="138">
                  <c:v>Casa Azzurr</c:v>
                </c:pt>
                <c:pt idx="139">
                  <c:v>Salakis</c:v>
                </c:pt>
                <c:pt idx="140">
                  <c:v>Kiri</c:v>
                </c:pt>
                <c:pt idx="141">
                  <c:v>Private Lab</c:v>
                </c:pt>
                <c:pt idx="142">
                  <c:v>Leerdammer</c:v>
                </c:pt>
                <c:pt idx="143">
                  <c:v>Apericube</c:v>
                </c:pt>
                <c:pt idx="144">
                  <c:v>Istara</c:v>
                </c:pt>
                <c:pt idx="145">
                  <c:v>Private Lab</c:v>
                </c:pt>
                <c:pt idx="146">
                  <c:v>Boursin</c:v>
                </c:pt>
                <c:pt idx="147">
                  <c:v>Juraflore</c:v>
                </c:pt>
                <c:pt idx="148">
                  <c:v>Casa Azzurr</c:v>
                </c:pt>
                <c:pt idx="149">
                  <c:v>All Others</c:v>
                </c:pt>
                <c:pt idx="150">
                  <c:v>La Vache Qu</c:v>
                </c:pt>
                <c:pt idx="151">
                  <c:v>President</c:v>
                </c:pt>
                <c:pt idx="152">
                  <c:v>Apericube</c:v>
                </c:pt>
                <c:pt idx="153">
                  <c:v>Ficello</c:v>
                </c:pt>
                <c:pt idx="154">
                  <c:v>President</c:v>
                </c:pt>
                <c:pt idx="155">
                  <c:v>Entremont</c:v>
                </c:pt>
                <c:pt idx="156">
                  <c:v>Private Lab</c:v>
                </c:pt>
                <c:pt idx="157">
                  <c:v>Entremont</c:v>
                </c:pt>
                <c:pt idx="158">
                  <c:v>Private Lab</c:v>
                </c:pt>
                <c:pt idx="159">
                  <c:v>Mini Babybe</c:v>
                </c:pt>
                <c:pt idx="160">
                  <c:v>Laita: All </c:v>
                </c:pt>
                <c:pt idx="161">
                  <c:v>La Vache Qu</c:v>
                </c:pt>
                <c:pt idx="162">
                  <c:v>Apericube</c:v>
                </c:pt>
                <c:pt idx="163">
                  <c:v>All Others</c:v>
                </c:pt>
                <c:pt idx="164">
                  <c:v>Private Lab</c:v>
                </c:pt>
                <c:pt idx="165">
                  <c:v>Le Rustique</c:v>
                </c:pt>
                <c:pt idx="166">
                  <c:v>Private Lab</c:v>
                </c:pt>
                <c:pt idx="167">
                  <c:v>Private Lab</c:v>
                </c:pt>
                <c:pt idx="168">
                  <c:v>All Others</c:v>
                </c:pt>
                <c:pt idx="169">
                  <c:v>Etorki</c:v>
                </c:pt>
                <c:pt idx="170">
                  <c:v>Leerdammer</c:v>
                </c:pt>
                <c:pt idx="171">
                  <c:v>L'Ortolan</c:v>
                </c:pt>
                <c:pt idx="172">
                  <c:v>Private Lab</c:v>
                </c:pt>
                <c:pt idx="173">
                  <c:v>Private Lab</c:v>
                </c:pt>
                <c:pt idx="174">
                  <c:v>Lactalis: A</c:v>
                </c:pt>
                <c:pt idx="175">
                  <c:v>Soignon</c:v>
                </c:pt>
                <c:pt idx="176">
                  <c:v>Private Lab</c:v>
                </c:pt>
                <c:pt idx="177">
                  <c:v>Private Lab</c:v>
                </c:pt>
                <c:pt idx="178">
                  <c:v>Leerdammer</c:v>
                </c:pt>
                <c:pt idx="179">
                  <c:v>All Others</c:v>
                </c:pt>
                <c:pt idx="180">
                  <c:v>Private Lab</c:v>
                </c:pt>
                <c:pt idx="181">
                  <c:v>Coeur De Li</c:v>
                </c:pt>
                <c:pt idx="182">
                  <c:v>Caprice Des</c:v>
                </c:pt>
                <c:pt idx="183">
                  <c:v>Tartare</c:v>
                </c:pt>
                <c:pt idx="184">
                  <c:v>All Others</c:v>
                </c:pt>
                <c:pt idx="185">
                  <c:v>Salakis</c:v>
                </c:pt>
                <c:pt idx="186">
                  <c:v>Boursin</c:v>
                </c:pt>
                <c:pt idx="187">
                  <c:v>St Moret</c:v>
                </c:pt>
                <c:pt idx="188">
                  <c:v>Soignon</c:v>
                </c:pt>
                <c:pt idx="189">
                  <c:v>Bresse Bleu</c:v>
                </c:pt>
                <c:pt idx="190">
                  <c:v>Private Lab</c:v>
                </c:pt>
                <c:pt idx="191">
                  <c:v>Private Lab</c:v>
                </c:pt>
                <c:pt idx="192">
                  <c:v>L'Ortolan</c:v>
                </c:pt>
                <c:pt idx="193">
                  <c:v>President</c:v>
                </c:pt>
                <c:pt idx="194">
                  <c:v>All Others</c:v>
                </c:pt>
                <c:pt idx="195">
                  <c:v>Private Lab</c:v>
                </c:pt>
                <c:pt idx="196">
                  <c:v>Richesmonts</c:v>
                </c:pt>
                <c:pt idx="197">
                  <c:v>Private Lab</c:v>
                </c:pt>
                <c:pt idx="198">
                  <c:v>Private Lab</c:v>
                </c:pt>
                <c:pt idx="199">
                  <c:v>Private Lab</c:v>
                </c:pt>
                <c:pt idx="200">
                  <c:v>President</c:v>
                </c:pt>
                <c:pt idx="201">
                  <c:v>Entremont</c:v>
                </c:pt>
                <c:pt idx="202">
                  <c:v>Private Lab</c:v>
                </c:pt>
                <c:pt idx="203">
                  <c:v>Soignon</c:v>
                </c:pt>
                <c:pt idx="204">
                  <c:v>Mini Babybe</c:v>
                </c:pt>
                <c:pt idx="205">
                  <c:v>Le Rustique</c:v>
                </c:pt>
                <c:pt idx="206">
                  <c:v>President</c:v>
                </c:pt>
                <c:pt idx="207">
                  <c:v>Entremont</c:v>
                </c:pt>
                <c:pt idx="208">
                  <c:v>Soignon</c:v>
                </c:pt>
                <c:pt idx="209">
                  <c:v>Galbani</c:v>
                </c:pt>
                <c:pt idx="210">
                  <c:v>Private Lab</c:v>
                </c:pt>
                <c:pt idx="211">
                  <c:v>President</c:v>
                </c:pt>
                <c:pt idx="212">
                  <c:v>Lactalis: A</c:v>
                </c:pt>
                <c:pt idx="213">
                  <c:v>Apericube</c:v>
                </c:pt>
                <c:pt idx="214">
                  <c:v>Caprice Des</c:v>
                </c:pt>
                <c:pt idx="215">
                  <c:v>Casa Azzurr</c:v>
                </c:pt>
                <c:pt idx="216">
                  <c:v>Private Lab</c:v>
                </c:pt>
                <c:pt idx="217">
                  <c:v>All Others</c:v>
                </c:pt>
                <c:pt idx="218">
                  <c:v>Casa Azzurr</c:v>
                </c:pt>
                <c:pt idx="219">
                  <c:v>Paysan Bret</c:v>
                </c:pt>
                <c:pt idx="220">
                  <c:v>Private Lab</c:v>
                </c:pt>
                <c:pt idx="221">
                  <c:v>Aperivrais</c:v>
                </c:pt>
                <c:pt idx="222">
                  <c:v>Casa Azzurr</c:v>
                </c:pt>
                <c:pt idx="223">
                  <c:v>All Others</c:v>
                </c:pt>
                <c:pt idx="224">
                  <c:v>Saint Albra</c:v>
                </c:pt>
                <c:pt idx="225">
                  <c:v>Paysan Bret</c:v>
                </c:pt>
                <c:pt idx="226">
                  <c:v>Salakis</c:v>
                </c:pt>
                <c:pt idx="227">
                  <c:v>Le Brebiou</c:v>
                </c:pt>
                <c:pt idx="228">
                  <c:v>Lactalis: A</c:v>
                </c:pt>
                <c:pt idx="229">
                  <c:v>President</c:v>
                </c:pt>
                <c:pt idx="230">
                  <c:v>All Others</c:v>
                </c:pt>
                <c:pt idx="231">
                  <c:v>Aperivrais</c:v>
                </c:pt>
                <c:pt idx="232">
                  <c:v>Private Lab</c:v>
                </c:pt>
                <c:pt idx="233">
                  <c:v>Coeur De Li</c:v>
                </c:pt>
                <c:pt idx="234">
                  <c:v>Galbani</c:v>
                </c:pt>
                <c:pt idx="235">
                  <c:v>President</c:v>
                </c:pt>
                <c:pt idx="236">
                  <c:v>Richesmonts</c:v>
                </c:pt>
                <c:pt idx="237">
                  <c:v>Savencia: A</c:v>
                </c:pt>
                <c:pt idx="238">
                  <c:v>Private Lab</c:v>
                </c:pt>
                <c:pt idx="239">
                  <c:v>Casa Azzurr</c:v>
                </c:pt>
                <c:pt idx="240">
                  <c:v>Saint Agur</c:v>
                </c:pt>
                <c:pt idx="241">
                  <c:v>Chavroux</c:v>
                </c:pt>
                <c:pt idx="242">
                  <c:v>Chavroux</c:v>
                </c:pt>
                <c:pt idx="243">
                  <c:v>Paysan Bret</c:v>
                </c:pt>
                <c:pt idx="244">
                  <c:v>Savencia: A</c:v>
                </c:pt>
                <c:pt idx="245">
                  <c:v>All Others</c:v>
                </c:pt>
                <c:pt idx="246">
                  <c:v>Private Lab</c:v>
                </c:pt>
                <c:pt idx="247">
                  <c:v>Casa Azzurr</c:v>
                </c:pt>
                <c:pt idx="248">
                  <c:v>Private Lab</c:v>
                </c:pt>
                <c:pt idx="249">
                  <c:v>Entremont</c:v>
                </c:pt>
                <c:pt idx="250">
                  <c:v>All Others</c:v>
                </c:pt>
                <c:pt idx="251">
                  <c:v>All Others</c:v>
                </c:pt>
                <c:pt idx="252">
                  <c:v>Private Lab</c:v>
                </c:pt>
                <c:pt idx="253">
                  <c:v>Richesmonts</c:v>
                </c:pt>
                <c:pt idx="254">
                  <c:v>All Others</c:v>
                </c:pt>
                <c:pt idx="255">
                  <c:v>President</c:v>
                </c:pt>
                <c:pt idx="256">
                  <c:v>All Others</c:v>
                </c:pt>
                <c:pt idx="257">
                  <c:v>Casa Azzurr</c:v>
                </c:pt>
                <c:pt idx="258">
                  <c:v>Paysan Bret</c:v>
                </c:pt>
                <c:pt idx="259">
                  <c:v>Salakis</c:v>
                </c:pt>
                <c:pt idx="260">
                  <c:v>All Others</c:v>
                </c:pt>
                <c:pt idx="261">
                  <c:v>Leerdammer</c:v>
                </c:pt>
                <c:pt idx="262">
                  <c:v>Private Lab</c:v>
                </c:pt>
                <c:pt idx="263">
                  <c:v>Private Lab</c:v>
                </c:pt>
                <c:pt idx="264">
                  <c:v>Lactalis: A</c:v>
                </c:pt>
                <c:pt idx="265">
                  <c:v>Richesmonts</c:v>
                </c:pt>
                <c:pt idx="266">
                  <c:v>President</c:v>
                </c:pt>
                <c:pt idx="267">
                  <c:v>All Others</c:v>
                </c:pt>
                <c:pt idx="268">
                  <c:v>Saint Agur</c:v>
                </c:pt>
                <c:pt idx="269">
                  <c:v>La Vache Qu</c:v>
                </c:pt>
                <c:pt idx="270">
                  <c:v>La Vache Qu</c:v>
                </c:pt>
                <c:pt idx="271">
                  <c:v>Parmareggio</c:v>
                </c:pt>
                <c:pt idx="272">
                  <c:v>Apericube</c:v>
                </c:pt>
                <c:pt idx="273">
                  <c:v>President</c:v>
                </c:pt>
                <c:pt idx="274">
                  <c:v>La Vache Qu</c:v>
                </c:pt>
                <c:pt idx="275">
                  <c:v>Juraflore</c:v>
                </c:pt>
                <c:pt idx="276">
                  <c:v>Le Rustique</c:v>
                </c:pt>
                <c:pt idx="277">
                  <c:v>Port Salut</c:v>
                </c:pt>
                <c:pt idx="278">
                  <c:v>Richesmonts</c:v>
                </c:pt>
                <c:pt idx="279">
                  <c:v>Private Lab</c:v>
                </c:pt>
                <c:pt idx="280">
                  <c:v>Saint Agur</c:v>
                </c:pt>
                <c:pt idx="281">
                  <c:v>Private Lab</c:v>
                </c:pt>
                <c:pt idx="282">
                  <c:v>Boursin</c:v>
                </c:pt>
                <c:pt idx="283">
                  <c:v>Private Lab</c:v>
                </c:pt>
                <c:pt idx="284">
                  <c:v>Private Lab</c:v>
                </c:pt>
                <c:pt idx="285">
                  <c:v>Private Lab</c:v>
                </c:pt>
                <c:pt idx="286">
                  <c:v>Private Lab</c:v>
                </c:pt>
                <c:pt idx="287">
                  <c:v>Lou Perac</c:v>
                </c:pt>
                <c:pt idx="288">
                  <c:v>Saint Albra</c:v>
                </c:pt>
                <c:pt idx="289">
                  <c:v>Entremont</c:v>
                </c:pt>
                <c:pt idx="290">
                  <c:v>Private Lab</c:v>
                </c:pt>
                <c:pt idx="291">
                  <c:v>Casa Azzurr</c:v>
                </c:pt>
                <c:pt idx="292">
                  <c:v>Leerdammer</c:v>
                </c:pt>
                <c:pt idx="293">
                  <c:v>Soignon</c:v>
                </c:pt>
                <c:pt idx="294">
                  <c:v>Chavroux</c:v>
                </c:pt>
                <c:pt idx="295">
                  <c:v>All Others</c:v>
                </c:pt>
                <c:pt idx="296">
                  <c:v>Entremont</c:v>
                </c:pt>
                <c:pt idx="297">
                  <c:v>Soignon</c:v>
                </c:pt>
                <c:pt idx="298">
                  <c:v>Etorki</c:v>
                </c:pt>
                <c:pt idx="299">
                  <c:v>All Others</c:v>
                </c:pt>
                <c:pt idx="300">
                  <c:v>Private Lab</c:v>
                </c:pt>
                <c:pt idx="301">
                  <c:v>Entremont</c:v>
                </c:pt>
                <c:pt idx="302">
                  <c:v>President</c:v>
                </c:pt>
                <c:pt idx="303">
                  <c:v>Private Lab</c:v>
                </c:pt>
                <c:pt idx="304">
                  <c:v>Rondele</c:v>
                </c:pt>
                <c:pt idx="305">
                  <c:v>Leerdammer</c:v>
                </c:pt>
                <c:pt idx="306">
                  <c:v>Private Lab</c:v>
                </c:pt>
                <c:pt idx="307">
                  <c:v>Boursin</c:v>
                </c:pt>
                <c:pt idx="308">
                  <c:v>Soignon</c:v>
                </c:pt>
                <c:pt idx="309">
                  <c:v>P'Tit Louis</c:v>
                </c:pt>
                <c:pt idx="310">
                  <c:v>President</c:v>
                </c:pt>
                <c:pt idx="311">
                  <c:v>Galbani</c:v>
                </c:pt>
                <c:pt idx="312">
                  <c:v>Private Lab</c:v>
                </c:pt>
                <c:pt idx="313">
                  <c:v>All Others</c:v>
                </c:pt>
                <c:pt idx="314">
                  <c:v>Boursin</c:v>
                </c:pt>
                <c:pt idx="315">
                  <c:v>Private Lab</c:v>
                </c:pt>
                <c:pt idx="316">
                  <c:v>President</c:v>
                </c:pt>
                <c:pt idx="317">
                  <c:v>Caprice Des</c:v>
                </c:pt>
                <c:pt idx="318">
                  <c:v>All Others</c:v>
                </c:pt>
                <c:pt idx="319">
                  <c:v>All Others</c:v>
                </c:pt>
                <c:pt idx="320">
                  <c:v>Entremont</c:v>
                </c:pt>
                <c:pt idx="321">
                  <c:v>Private Lab</c:v>
                </c:pt>
                <c:pt idx="322">
                  <c:v>Private Lab</c:v>
                </c:pt>
                <c:pt idx="323">
                  <c:v>Private Lab</c:v>
                </c:pt>
                <c:pt idx="324">
                  <c:v>Private Lab</c:v>
                </c:pt>
                <c:pt idx="325">
                  <c:v>All Others</c:v>
                </c:pt>
                <c:pt idx="326">
                  <c:v>All Others</c:v>
                </c:pt>
                <c:pt idx="327">
                  <c:v>Private Lab</c:v>
                </c:pt>
                <c:pt idx="328">
                  <c:v>Ficello</c:v>
                </c:pt>
                <c:pt idx="329">
                  <c:v>Societe</c:v>
                </c:pt>
                <c:pt idx="330">
                  <c:v>Private Lab</c:v>
                </c:pt>
                <c:pt idx="331">
                  <c:v>La Pointe P</c:v>
                </c:pt>
                <c:pt idx="332">
                  <c:v>Casa Azzurr</c:v>
                </c:pt>
                <c:pt idx="333">
                  <c:v>All Others</c:v>
                </c:pt>
                <c:pt idx="334">
                  <c:v>Soignon</c:v>
                </c:pt>
                <c:pt idx="335">
                  <c:v>Galbani</c:v>
                </c:pt>
                <c:pt idx="336">
                  <c:v>Private Lab</c:v>
                </c:pt>
                <c:pt idx="337">
                  <c:v>Private Lab</c:v>
                </c:pt>
                <c:pt idx="338">
                  <c:v>Soignon</c:v>
                </c:pt>
                <c:pt idx="339">
                  <c:v>P'Tit Louis</c:v>
                </c:pt>
                <c:pt idx="340">
                  <c:v>Tartare</c:v>
                </c:pt>
                <c:pt idx="341">
                  <c:v>Lactalis: A</c:v>
                </c:pt>
                <c:pt idx="342">
                  <c:v>All Others</c:v>
                </c:pt>
                <c:pt idx="343">
                  <c:v>Private Lab</c:v>
                </c:pt>
                <c:pt idx="344">
                  <c:v>All Others</c:v>
                </c:pt>
                <c:pt idx="345">
                  <c:v>Soignon</c:v>
                </c:pt>
                <c:pt idx="346">
                  <c:v>Galbani</c:v>
                </c:pt>
                <c:pt idx="347">
                  <c:v>President</c:v>
                </c:pt>
                <c:pt idx="348">
                  <c:v>Caprice Des</c:v>
                </c:pt>
                <c:pt idx="349">
                  <c:v>Entremont</c:v>
                </c:pt>
                <c:pt idx="350">
                  <c:v>Private Lab</c:v>
                </c:pt>
                <c:pt idx="351">
                  <c:v>Private Lab</c:v>
                </c:pt>
                <c:pt idx="352">
                  <c:v>Kiri</c:v>
                </c:pt>
                <c:pt idx="353">
                  <c:v>Galbani</c:v>
                </c:pt>
                <c:pt idx="354">
                  <c:v>President</c:v>
                </c:pt>
                <c:pt idx="355">
                  <c:v>Galbani</c:v>
                </c:pt>
                <c:pt idx="356">
                  <c:v>Boursin</c:v>
                </c:pt>
                <c:pt idx="357">
                  <c:v>All Others</c:v>
                </c:pt>
                <c:pt idx="358">
                  <c:v>Etoile Du V</c:v>
                </c:pt>
                <c:pt idx="359">
                  <c:v>Aperivrais</c:v>
                </c:pt>
                <c:pt idx="360">
                  <c:v>All Others</c:v>
                </c:pt>
                <c:pt idx="361">
                  <c:v>All Others</c:v>
                </c:pt>
                <c:pt idx="362">
                  <c:v>Private Lab</c:v>
                </c:pt>
                <c:pt idx="363">
                  <c:v>Private Lab</c:v>
                </c:pt>
                <c:pt idx="364">
                  <c:v>Private Lab</c:v>
                </c:pt>
                <c:pt idx="365">
                  <c:v>St Moret</c:v>
                </c:pt>
                <c:pt idx="366">
                  <c:v>Entremont</c:v>
                </c:pt>
                <c:pt idx="367">
                  <c:v>Salakis</c:v>
                </c:pt>
                <c:pt idx="368">
                  <c:v>All Others</c:v>
                </c:pt>
                <c:pt idx="369">
                  <c:v>Apericube</c:v>
                </c:pt>
                <c:pt idx="370">
                  <c:v>La Pointe P</c:v>
                </c:pt>
                <c:pt idx="371">
                  <c:v>All Others</c:v>
                </c:pt>
                <c:pt idx="372">
                  <c:v>Casa Azzurr</c:v>
                </c:pt>
                <c:pt idx="373">
                  <c:v>Private Lab</c:v>
                </c:pt>
                <c:pt idx="374">
                  <c:v>All Others</c:v>
                </c:pt>
                <c:pt idx="375">
                  <c:v>All Others</c:v>
                </c:pt>
                <c:pt idx="376">
                  <c:v>Private Lab</c:v>
                </c:pt>
                <c:pt idx="377">
                  <c:v>Private Lab</c:v>
                </c:pt>
                <c:pt idx="378">
                  <c:v>All Others</c:v>
                </c:pt>
                <c:pt idx="379">
                  <c:v>Private Lab</c:v>
                </c:pt>
                <c:pt idx="380">
                  <c:v>Leerdammer</c:v>
                </c:pt>
                <c:pt idx="381">
                  <c:v>Cousteron</c:v>
                </c:pt>
                <c:pt idx="382">
                  <c:v>Caprice Des</c:v>
                </c:pt>
                <c:pt idx="383">
                  <c:v>Leerdammer</c:v>
                </c:pt>
                <c:pt idx="384">
                  <c:v>Pochat</c:v>
                </c:pt>
                <c:pt idx="385">
                  <c:v>Mini Babybe</c:v>
                </c:pt>
                <c:pt idx="386">
                  <c:v>Private Lab</c:v>
                </c:pt>
                <c:pt idx="387">
                  <c:v>Casa Azzurr</c:v>
                </c:pt>
                <c:pt idx="388">
                  <c:v>Private Lab</c:v>
                </c:pt>
                <c:pt idx="389">
                  <c:v>Bresse Bleu</c:v>
                </c:pt>
                <c:pt idx="390">
                  <c:v>Private Lab</c:v>
                </c:pt>
                <c:pt idx="391">
                  <c:v>Paysan Bret</c:v>
                </c:pt>
                <c:pt idx="392">
                  <c:v>Tartare</c:v>
                </c:pt>
                <c:pt idx="393">
                  <c:v>All Others</c:v>
                </c:pt>
                <c:pt idx="394">
                  <c:v>Private Lab</c:v>
                </c:pt>
                <c:pt idx="395">
                  <c:v>Chaussee Au</c:v>
                </c:pt>
                <c:pt idx="396">
                  <c:v>Pave D'Affi</c:v>
                </c:pt>
                <c:pt idx="397">
                  <c:v>All Others</c:v>
                </c:pt>
                <c:pt idx="398">
                  <c:v>Societe</c:v>
                </c:pt>
                <c:pt idx="399">
                  <c:v>P'Tit Louis</c:v>
                </c:pt>
                <c:pt idx="400">
                  <c:v>All Others</c:v>
                </c:pt>
                <c:pt idx="401">
                  <c:v>Galbani</c:v>
                </c:pt>
                <c:pt idx="402">
                  <c:v>Private Lab</c:v>
                </c:pt>
                <c:pt idx="403">
                  <c:v>Saint Agur</c:v>
                </c:pt>
                <c:pt idx="404">
                  <c:v>All Others</c:v>
                </c:pt>
                <c:pt idx="405">
                  <c:v>Casa Azzurr</c:v>
                </c:pt>
                <c:pt idx="406">
                  <c:v>Casa Azzurr</c:v>
                </c:pt>
                <c:pt idx="407">
                  <c:v>Boursin</c:v>
                </c:pt>
                <c:pt idx="408">
                  <c:v>Private Lab</c:v>
                </c:pt>
                <c:pt idx="409">
                  <c:v>All Others</c:v>
                </c:pt>
                <c:pt idx="410">
                  <c:v>Aperivrais</c:v>
                </c:pt>
                <c:pt idx="411">
                  <c:v>Societe</c:v>
                </c:pt>
                <c:pt idx="412">
                  <c:v>Private Lab</c:v>
                </c:pt>
                <c:pt idx="413">
                  <c:v>Apericube</c:v>
                </c:pt>
                <c:pt idx="414">
                  <c:v>Pave D'Affi</c:v>
                </c:pt>
                <c:pt idx="415">
                  <c:v>Mini Babybe</c:v>
                </c:pt>
                <c:pt idx="416">
                  <c:v>Private Lab</c:v>
                </c:pt>
                <c:pt idx="417">
                  <c:v>La Vache Qu</c:v>
                </c:pt>
                <c:pt idx="418">
                  <c:v>Private Lab</c:v>
                </c:pt>
                <c:pt idx="419">
                  <c:v>Babybel</c:v>
                </c:pt>
                <c:pt idx="420">
                  <c:v>Boursin</c:v>
                </c:pt>
                <c:pt idx="421">
                  <c:v>Tartare</c:v>
                </c:pt>
                <c:pt idx="422">
                  <c:v>Fauquet</c:v>
                </c:pt>
                <c:pt idx="423">
                  <c:v>All Others</c:v>
                </c:pt>
                <c:pt idx="424">
                  <c:v>All Others</c:v>
                </c:pt>
                <c:pt idx="425">
                  <c:v>Private Lab</c:v>
                </c:pt>
                <c:pt idx="426">
                  <c:v>All Others</c:v>
                </c:pt>
                <c:pt idx="427">
                  <c:v>Private Lab</c:v>
                </c:pt>
                <c:pt idx="428">
                  <c:v>All Others</c:v>
                </c:pt>
                <c:pt idx="429">
                  <c:v>All Others</c:v>
                </c:pt>
                <c:pt idx="430">
                  <c:v>Richesmonts</c:v>
                </c:pt>
                <c:pt idx="431">
                  <c:v>All Others</c:v>
                </c:pt>
                <c:pt idx="432">
                  <c:v>Private Lab</c:v>
                </c:pt>
                <c:pt idx="433">
                  <c:v>La Pointe P</c:v>
                </c:pt>
                <c:pt idx="434">
                  <c:v>Private Lab</c:v>
                </c:pt>
                <c:pt idx="435">
                  <c:v>Private Lab</c:v>
                </c:pt>
                <c:pt idx="436">
                  <c:v>Fol Epi</c:v>
                </c:pt>
                <c:pt idx="437">
                  <c:v>Private Lab</c:v>
                </c:pt>
                <c:pt idx="438">
                  <c:v>President</c:v>
                </c:pt>
                <c:pt idx="439">
                  <c:v>Private Lab</c:v>
                </c:pt>
                <c:pt idx="440">
                  <c:v>All Others</c:v>
                </c:pt>
                <c:pt idx="441">
                  <c:v>Vieux Pane</c:v>
                </c:pt>
                <c:pt idx="442">
                  <c:v>President</c:v>
                </c:pt>
                <c:pt idx="443">
                  <c:v>Lactalis: A</c:v>
                </c:pt>
                <c:pt idx="444">
                  <c:v>Private Lab</c:v>
                </c:pt>
                <c:pt idx="445">
                  <c:v>Lou Perac</c:v>
                </c:pt>
                <c:pt idx="446">
                  <c:v>Richesmonts</c:v>
                </c:pt>
                <c:pt idx="447">
                  <c:v>All Others</c:v>
                </c:pt>
                <c:pt idx="448">
                  <c:v>All Others</c:v>
                </c:pt>
                <c:pt idx="449">
                  <c:v>All Others</c:v>
                </c:pt>
                <c:pt idx="450">
                  <c:v>Private Lab</c:v>
                </c:pt>
                <c:pt idx="451">
                  <c:v>All Others</c:v>
                </c:pt>
                <c:pt idx="452">
                  <c:v>Private Lab</c:v>
                </c:pt>
                <c:pt idx="453">
                  <c:v>All Others</c:v>
                </c:pt>
                <c:pt idx="454">
                  <c:v>Lactalis: A</c:v>
                </c:pt>
                <c:pt idx="455">
                  <c:v>St Moret</c:v>
                </c:pt>
                <c:pt idx="456">
                  <c:v>Private Lab</c:v>
                </c:pt>
                <c:pt idx="457">
                  <c:v>All Others</c:v>
                </c:pt>
                <c:pt idx="458">
                  <c:v>Apericube</c:v>
                </c:pt>
                <c:pt idx="459">
                  <c:v>All Others</c:v>
                </c:pt>
                <c:pt idx="460">
                  <c:v>Philadelphi</c:v>
                </c:pt>
                <c:pt idx="461">
                  <c:v>Casa Azzurr</c:v>
                </c:pt>
                <c:pt idx="462">
                  <c:v>La Pointe P</c:v>
                </c:pt>
                <c:pt idx="463">
                  <c:v>Societe</c:v>
                </c:pt>
                <c:pt idx="464">
                  <c:v>St Moret</c:v>
                </c:pt>
                <c:pt idx="465">
                  <c:v>Entremont</c:v>
                </c:pt>
                <c:pt idx="466">
                  <c:v>Private Lab</c:v>
                </c:pt>
                <c:pt idx="467">
                  <c:v>Savencia: A</c:v>
                </c:pt>
                <c:pt idx="468">
                  <c:v>Private Lab</c:v>
                </c:pt>
                <c:pt idx="469">
                  <c:v>All Others</c:v>
                </c:pt>
                <c:pt idx="470">
                  <c:v>Apericube</c:v>
                </c:pt>
                <c:pt idx="471">
                  <c:v>All Others</c:v>
                </c:pt>
                <c:pt idx="472">
                  <c:v>All Others</c:v>
                </c:pt>
                <c:pt idx="473">
                  <c:v>Private Lab</c:v>
                </c:pt>
                <c:pt idx="474">
                  <c:v>Private Lab</c:v>
                </c:pt>
                <c:pt idx="475">
                  <c:v>All Others</c:v>
                </c:pt>
                <c:pt idx="476">
                  <c:v>Private Lab</c:v>
                </c:pt>
                <c:pt idx="477">
                  <c:v>Tartare</c:v>
                </c:pt>
                <c:pt idx="478">
                  <c:v>Private Lab</c:v>
                </c:pt>
                <c:pt idx="479">
                  <c:v>All Others</c:v>
                </c:pt>
                <c:pt idx="480">
                  <c:v>Casa Azzurr</c:v>
                </c:pt>
                <c:pt idx="481">
                  <c:v>Richesmonts</c:v>
                </c:pt>
                <c:pt idx="482">
                  <c:v>President</c:v>
                </c:pt>
                <c:pt idx="483">
                  <c:v>Private Lab</c:v>
                </c:pt>
                <c:pt idx="484">
                  <c:v>All Others</c:v>
                </c:pt>
                <c:pt idx="485">
                  <c:v>Private Lab</c:v>
                </c:pt>
                <c:pt idx="486">
                  <c:v>Corsica</c:v>
                </c:pt>
                <c:pt idx="487">
                  <c:v>Kiri</c:v>
                </c:pt>
                <c:pt idx="488">
                  <c:v>Ficello</c:v>
                </c:pt>
                <c:pt idx="489">
                  <c:v>All Others</c:v>
                </c:pt>
                <c:pt idx="490">
                  <c:v>Private Lab</c:v>
                </c:pt>
                <c:pt idx="491">
                  <c:v>Lou Perac</c:v>
                </c:pt>
                <c:pt idx="492">
                  <c:v>Private Lab</c:v>
                </c:pt>
                <c:pt idx="493">
                  <c:v>L'Ortolan</c:v>
                </c:pt>
                <c:pt idx="494">
                  <c:v>Private Lab</c:v>
                </c:pt>
                <c:pt idx="495">
                  <c:v>Private Lab</c:v>
                </c:pt>
                <c:pt idx="496">
                  <c:v>Istara</c:v>
                </c:pt>
                <c:pt idx="497">
                  <c:v>Babybel</c:v>
                </c:pt>
                <c:pt idx="498">
                  <c:v>All Others</c:v>
                </c:pt>
                <c:pt idx="499">
                  <c:v>Private Lab</c:v>
                </c:pt>
                <c:pt idx="500">
                  <c:v>Soignon</c:v>
                </c:pt>
                <c:pt idx="501">
                  <c:v>All Others</c:v>
                </c:pt>
                <c:pt idx="502">
                  <c:v>Private Lab</c:v>
                </c:pt>
                <c:pt idx="503">
                  <c:v>Private Lab</c:v>
                </c:pt>
                <c:pt idx="504">
                  <c:v>Galbani</c:v>
                </c:pt>
                <c:pt idx="505">
                  <c:v>All Others</c:v>
                </c:pt>
                <c:pt idx="506">
                  <c:v>Entremont</c:v>
                </c:pt>
                <c:pt idx="507">
                  <c:v>Paysan Bret</c:v>
                </c:pt>
                <c:pt idx="508">
                  <c:v>All Others</c:v>
                </c:pt>
                <c:pt idx="509">
                  <c:v>All Others</c:v>
                </c:pt>
                <c:pt idx="510">
                  <c:v>Soignon</c:v>
                </c:pt>
                <c:pt idx="511">
                  <c:v>All Others</c:v>
                </c:pt>
                <c:pt idx="512">
                  <c:v>All Others</c:v>
                </c:pt>
                <c:pt idx="513">
                  <c:v>Savencia: A</c:v>
                </c:pt>
                <c:pt idx="514">
                  <c:v>Le Rustique</c:v>
                </c:pt>
                <c:pt idx="515">
                  <c:v>All Others</c:v>
                </c:pt>
                <c:pt idx="516">
                  <c:v>All Others</c:v>
                </c:pt>
                <c:pt idx="517">
                  <c:v>Galbani</c:v>
                </c:pt>
                <c:pt idx="518">
                  <c:v>Boursin</c:v>
                </c:pt>
                <c:pt idx="519">
                  <c:v>Pave D'Affi</c:v>
                </c:pt>
                <c:pt idx="520">
                  <c:v>Private Lab</c:v>
                </c:pt>
                <c:pt idx="521">
                  <c:v>All Others</c:v>
                </c:pt>
                <c:pt idx="522">
                  <c:v>Richesmonts</c:v>
                </c:pt>
                <c:pt idx="523">
                  <c:v>Private Lab</c:v>
                </c:pt>
                <c:pt idx="524">
                  <c:v>Private Lab</c:v>
                </c:pt>
                <c:pt idx="525">
                  <c:v>All Others</c:v>
                </c:pt>
                <c:pt idx="526">
                  <c:v>Private Lab</c:v>
                </c:pt>
                <c:pt idx="527">
                  <c:v>All Others</c:v>
                </c:pt>
                <c:pt idx="528">
                  <c:v>Galbani</c:v>
                </c:pt>
                <c:pt idx="529">
                  <c:v>Apericube</c:v>
                </c:pt>
                <c:pt idx="530">
                  <c:v>La Pointe P</c:v>
                </c:pt>
                <c:pt idx="531">
                  <c:v>President</c:v>
                </c:pt>
                <c:pt idx="532">
                  <c:v>Private Lab</c:v>
                </c:pt>
                <c:pt idx="533">
                  <c:v>All Others</c:v>
                </c:pt>
                <c:pt idx="534">
                  <c:v>President</c:v>
                </c:pt>
                <c:pt idx="535">
                  <c:v>Private Lab</c:v>
                </c:pt>
                <c:pt idx="536">
                  <c:v>Private Lab</c:v>
                </c:pt>
                <c:pt idx="537">
                  <c:v>All Others</c:v>
                </c:pt>
                <c:pt idx="538">
                  <c:v>Fauquet</c:v>
                </c:pt>
                <c:pt idx="539">
                  <c:v>Private Lab</c:v>
                </c:pt>
                <c:pt idx="540">
                  <c:v>Corsica</c:v>
                </c:pt>
                <c:pt idx="541">
                  <c:v>All Others</c:v>
                </c:pt>
                <c:pt idx="542">
                  <c:v>Entremont</c:v>
                </c:pt>
                <c:pt idx="543">
                  <c:v>Casa Azzurr</c:v>
                </c:pt>
                <c:pt idx="544">
                  <c:v>President</c:v>
                </c:pt>
                <c:pt idx="545">
                  <c:v>Soignon</c:v>
                </c:pt>
                <c:pt idx="546">
                  <c:v>Lactalis: A</c:v>
                </c:pt>
                <c:pt idx="547">
                  <c:v>Triballat N</c:v>
                </c:pt>
                <c:pt idx="548">
                  <c:v>Entremont</c:v>
                </c:pt>
                <c:pt idx="549">
                  <c:v>Private Lab</c:v>
                </c:pt>
                <c:pt idx="550">
                  <c:v>Private Lab</c:v>
                </c:pt>
                <c:pt idx="551">
                  <c:v>Private Lab</c:v>
                </c:pt>
                <c:pt idx="552">
                  <c:v>Private Lab</c:v>
                </c:pt>
                <c:pt idx="553">
                  <c:v>Private Lab</c:v>
                </c:pt>
                <c:pt idx="554">
                  <c:v>All Others</c:v>
                </c:pt>
                <c:pt idx="555">
                  <c:v>Private Lab</c:v>
                </c:pt>
                <c:pt idx="556">
                  <c:v>All Others</c:v>
                </c:pt>
                <c:pt idx="557">
                  <c:v>All Others</c:v>
                </c:pt>
                <c:pt idx="558">
                  <c:v>Savencia: A</c:v>
                </c:pt>
                <c:pt idx="559">
                  <c:v>Private Lab</c:v>
                </c:pt>
                <c:pt idx="560">
                  <c:v>Private Lab</c:v>
                </c:pt>
                <c:pt idx="561">
                  <c:v>Savencia: A</c:v>
                </c:pt>
                <c:pt idx="562">
                  <c:v>All Others</c:v>
                </c:pt>
                <c:pt idx="563">
                  <c:v>Casa Azzurr</c:v>
                </c:pt>
                <c:pt idx="564">
                  <c:v>Private Lab</c:v>
                </c:pt>
                <c:pt idx="565">
                  <c:v>Apericube</c:v>
                </c:pt>
                <c:pt idx="566">
                  <c:v>Private Lab</c:v>
                </c:pt>
                <c:pt idx="567">
                  <c:v>Private Lab</c:v>
                </c:pt>
                <c:pt idx="568">
                  <c:v>Le Coq Crem</c:v>
                </c:pt>
                <c:pt idx="569">
                  <c:v>All Others</c:v>
                </c:pt>
                <c:pt idx="570">
                  <c:v>Private Lab</c:v>
                </c:pt>
                <c:pt idx="571">
                  <c:v>All Others</c:v>
                </c:pt>
                <c:pt idx="572">
                  <c:v>Private Lab</c:v>
                </c:pt>
                <c:pt idx="573">
                  <c:v>All Others</c:v>
                </c:pt>
                <c:pt idx="574">
                  <c:v>All Others</c:v>
                </c:pt>
                <c:pt idx="575">
                  <c:v>Private Lab</c:v>
                </c:pt>
                <c:pt idx="576">
                  <c:v>All Others</c:v>
                </c:pt>
                <c:pt idx="577">
                  <c:v>Private Lab</c:v>
                </c:pt>
                <c:pt idx="578">
                  <c:v>Private Lab</c:v>
                </c:pt>
                <c:pt idx="579">
                  <c:v>All Others</c:v>
                </c:pt>
                <c:pt idx="580">
                  <c:v>Private Lab</c:v>
                </c:pt>
                <c:pt idx="581">
                  <c:v>All Others</c:v>
                </c:pt>
                <c:pt idx="582">
                  <c:v>All Others</c:v>
                </c:pt>
                <c:pt idx="583">
                  <c:v>Entremont</c:v>
                </c:pt>
                <c:pt idx="584">
                  <c:v>Boursin</c:v>
                </c:pt>
                <c:pt idx="585">
                  <c:v>All Others</c:v>
                </c:pt>
                <c:pt idx="586">
                  <c:v>Islos</c:v>
                </c:pt>
                <c:pt idx="587">
                  <c:v>Private Lab</c:v>
                </c:pt>
                <c:pt idx="588">
                  <c:v>Violife</c:v>
                </c:pt>
                <c:pt idx="589">
                  <c:v>Leerdammer</c:v>
                </c:pt>
                <c:pt idx="590">
                  <c:v>President</c:v>
                </c:pt>
                <c:pt idx="591">
                  <c:v>Private Lab</c:v>
                </c:pt>
                <c:pt idx="592">
                  <c:v>All Others</c:v>
                </c:pt>
                <c:pt idx="593">
                  <c:v>Mini Babybe</c:v>
                </c:pt>
                <c:pt idx="594">
                  <c:v>Pochat</c:v>
                </c:pt>
                <c:pt idx="595">
                  <c:v>All Others</c:v>
                </c:pt>
                <c:pt idx="596">
                  <c:v>All Others</c:v>
                </c:pt>
                <c:pt idx="597">
                  <c:v>La Pointe P</c:v>
                </c:pt>
                <c:pt idx="598">
                  <c:v>Private Lab</c:v>
                </c:pt>
                <c:pt idx="599">
                  <c:v>Private Lab</c:v>
                </c:pt>
                <c:pt idx="600">
                  <c:v>Pave D'Affi</c:v>
                </c:pt>
                <c:pt idx="601">
                  <c:v>All Others</c:v>
                </c:pt>
                <c:pt idx="602">
                  <c:v>Private Lab</c:v>
                </c:pt>
                <c:pt idx="603">
                  <c:v>Casa Azzurr</c:v>
                </c:pt>
                <c:pt idx="604">
                  <c:v>Galbani</c:v>
                </c:pt>
                <c:pt idx="605">
                  <c:v>Private Lab</c:v>
                </c:pt>
                <c:pt idx="606">
                  <c:v>Etoile Du V</c:v>
                </c:pt>
                <c:pt idx="607">
                  <c:v>Casa Azzurr</c:v>
                </c:pt>
                <c:pt idx="608">
                  <c:v>Private Lab</c:v>
                </c:pt>
                <c:pt idx="609">
                  <c:v>Societe</c:v>
                </c:pt>
                <c:pt idx="610">
                  <c:v>Galbani</c:v>
                </c:pt>
                <c:pt idx="611">
                  <c:v>All Others</c:v>
                </c:pt>
                <c:pt idx="612">
                  <c:v>Private Lab</c:v>
                </c:pt>
                <c:pt idx="613">
                  <c:v>All Others</c:v>
                </c:pt>
                <c:pt idx="614">
                  <c:v>All Others</c:v>
                </c:pt>
                <c:pt idx="615">
                  <c:v>Kiri</c:v>
                </c:pt>
                <c:pt idx="616">
                  <c:v>Rondele</c:v>
                </c:pt>
                <c:pt idx="617">
                  <c:v>Private Lab</c:v>
                </c:pt>
                <c:pt idx="618">
                  <c:v>President</c:v>
                </c:pt>
                <c:pt idx="619">
                  <c:v>Ficello</c:v>
                </c:pt>
                <c:pt idx="620">
                  <c:v>All Others</c:v>
                </c:pt>
                <c:pt idx="621">
                  <c:v>Private Lab</c:v>
                </c:pt>
                <c:pt idx="622">
                  <c:v>All Others</c:v>
                </c:pt>
                <c:pt idx="623">
                  <c:v>Casa Azzurr</c:v>
                </c:pt>
                <c:pt idx="624">
                  <c:v>Private Lab</c:v>
                </c:pt>
                <c:pt idx="625">
                  <c:v>Private Lab</c:v>
                </c:pt>
                <c:pt idx="626">
                  <c:v>Private Lab</c:v>
                </c:pt>
                <c:pt idx="627">
                  <c:v>All Others</c:v>
                </c:pt>
                <c:pt idx="628">
                  <c:v>All Others</c:v>
                </c:pt>
                <c:pt idx="629">
                  <c:v>All Others</c:v>
                </c:pt>
                <c:pt idx="630">
                  <c:v>Casa Azzurr</c:v>
                </c:pt>
                <c:pt idx="631">
                  <c:v>All Others</c:v>
                </c:pt>
                <c:pt idx="632">
                  <c:v>President</c:v>
                </c:pt>
                <c:pt idx="633">
                  <c:v>Societe</c:v>
                </c:pt>
                <c:pt idx="634">
                  <c:v>Leerdammer</c:v>
                </c:pt>
                <c:pt idx="635">
                  <c:v>Private Lab</c:v>
                </c:pt>
                <c:pt idx="636">
                  <c:v>All Others</c:v>
                </c:pt>
                <c:pt idx="637">
                  <c:v>All Others</c:v>
                </c:pt>
                <c:pt idx="638">
                  <c:v>Apericube</c:v>
                </c:pt>
                <c:pt idx="639">
                  <c:v>All Others</c:v>
                </c:pt>
                <c:pt idx="640">
                  <c:v>All Others</c:v>
                </c:pt>
                <c:pt idx="641">
                  <c:v>All Others</c:v>
                </c:pt>
                <c:pt idx="642">
                  <c:v>Entremont</c:v>
                </c:pt>
                <c:pt idx="643">
                  <c:v>Leerdammer</c:v>
                </c:pt>
                <c:pt idx="644">
                  <c:v>Milleret: A</c:v>
                </c:pt>
                <c:pt idx="645">
                  <c:v>Private Lab</c:v>
                </c:pt>
                <c:pt idx="646">
                  <c:v>Casa Azzurr</c:v>
                </c:pt>
                <c:pt idx="647">
                  <c:v>Private Lab</c:v>
                </c:pt>
                <c:pt idx="648">
                  <c:v>All Others</c:v>
                </c:pt>
                <c:pt idx="649">
                  <c:v>Galbani</c:v>
                </c:pt>
                <c:pt idx="650">
                  <c:v>All Others</c:v>
                </c:pt>
                <c:pt idx="651">
                  <c:v>Etoile Du Q</c:v>
                </c:pt>
                <c:pt idx="652">
                  <c:v>Eurial Autr</c:v>
                </c:pt>
                <c:pt idx="653">
                  <c:v>Apericube</c:v>
                </c:pt>
                <c:pt idx="654">
                  <c:v>All Others</c:v>
                </c:pt>
                <c:pt idx="655">
                  <c:v>All Others</c:v>
                </c:pt>
                <c:pt idx="656">
                  <c:v>All Others</c:v>
                </c:pt>
                <c:pt idx="657">
                  <c:v>Private Lab</c:v>
                </c:pt>
                <c:pt idx="658">
                  <c:v>Pave D'Affi</c:v>
                </c:pt>
                <c:pt idx="659">
                  <c:v>All Others</c:v>
                </c:pt>
                <c:pt idx="660">
                  <c:v>All Others</c:v>
                </c:pt>
                <c:pt idx="661">
                  <c:v>All Others</c:v>
                </c:pt>
                <c:pt idx="662">
                  <c:v>Boursin</c:v>
                </c:pt>
                <c:pt idx="663">
                  <c:v>L'Ortolan</c:v>
                </c:pt>
                <c:pt idx="664">
                  <c:v>Private Lab</c:v>
                </c:pt>
                <c:pt idx="665">
                  <c:v>Private Lab</c:v>
                </c:pt>
                <c:pt idx="666">
                  <c:v>Kiri</c:v>
                </c:pt>
                <c:pt idx="667">
                  <c:v>Private Lab</c:v>
                </c:pt>
                <c:pt idx="668">
                  <c:v>Lou Perac</c:v>
                </c:pt>
                <c:pt idx="669">
                  <c:v>Saint Agur</c:v>
                </c:pt>
                <c:pt idx="670">
                  <c:v>All Others</c:v>
                </c:pt>
                <c:pt idx="671">
                  <c:v>Violife</c:v>
                </c:pt>
                <c:pt idx="672">
                  <c:v>All Others</c:v>
                </c:pt>
                <c:pt idx="673">
                  <c:v>All Others</c:v>
                </c:pt>
                <c:pt idx="674">
                  <c:v>Chaussee Au</c:v>
                </c:pt>
                <c:pt idx="675">
                  <c:v>Violife</c:v>
                </c:pt>
                <c:pt idx="676">
                  <c:v>L'Ortolan</c:v>
                </c:pt>
                <c:pt idx="677">
                  <c:v>All Others</c:v>
                </c:pt>
                <c:pt idx="678">
                  <c:v>All Others</c:v>
                </c:pt>
                <c:pt idx="679">
                  <c:v>Richesmonts</c:v>
                </c:pt>
                <c:pt idx="680">
                  <c:v>O'Tapas Ape</c:v>
                </c:pt>
                <c:pt idx="681">
                  <c:v>All Others</c:v>
                </c:pt>
                <c:pt idx="682">
                  <c:v>Boursin</c:v>
                </c:pt>
                <c:pt idx="683">
                  <c:v>Salakis</c:v>
                </c:pt>
                <c:pt idx="684">
                  <c:v>All Others</c:v>
                </c:pt>
                <c:pt idx="685">
                  <c:v>All Others</c:v>
                </c:pt>
                <c:pt idx="686">
                  <c:v>President</c:v>
                </c:pt>
                <c:pt idx="687">
                  <c:v>All Others</c:v>
                </c:pt>
                <c:pt idx="688">
                  <c:v>President</c:v>
                </c:pt>
                <c:pt idx="689">
                  <c:v>Soignon</c:v>
                </c:pt>
                <c:pt idx="690">
                  <c:v>Coeur De Li</c:v>
                </c:pt>
                <c:pt idx="691">
                  <c:v>Le Coq Crem</c:v>
                </c:pt>
                <c:pt idx="692">
                  <c:v>All Others</c:v>
                </c:pt>
                <c:pt idx="693">
                  <c:v>Soignon</c:v>
                </c:pt>
                <c:pt idx="694">
                  <c:v>All Others</c:v>
                </c:pt>
                <c:pt idx="695">
                  <c:v>Mini Babybe</c:v>
                </c:pt>
                <c:pt idx="696">
                  <c:v>Private Lab</c:v>
                </c:pt>
                <c:pt idx="697">
                  <c:v>Etoile Du V</c:v>
                </c:pt>
                <c:pt idx="698">
                  <c:v>All Others</c:v>
                </c:pt>
                <c:pt idx="699">
                  <c:v>President</c:v>
                </c:pt>
                <c:pt idx="700">
                  <c:v>Societe</c:v>
                </c:pt>
                <c:pt idx="701">
                  <c:v>All Others</c:v>
                </c:pt>
                <c:pt idx="702">
                  <c:v>All Others</c:v>
                </c:pt>
                <c:pt idx="703">
                  <c:v>All Others</c:v>
                </c:pt>
                <c:pt idx="704">
                  <c:v>Galbani</c:v>
                </c:pt>
                <c:pt idx="705">
                  <c:v>Private Lab</c:v>
                </c:pt>
                <c:pt idx="706">
                  <c:v>La Pointe P</c:v>
                </c:pt>
                <c:pt idx="707">
                  <c:v>Savencia: A</c:v>
                </c:pt>
                <c:pt idx="708">
                  <c:v>Private Lab</c:v>
                </c:pt>
                <c:pt idx="709">
                  <c:v>All Others</c:v>
                </c:pt>
                <c:pt idx="710">
                  <c:v>All Others</c:v>
                </c:pt>
                <c:pt idx="711">
                  <c:v>Rondele</c:v>
                </c:pt>
                <c:pt idx="712">
                  <c:v>Casa Azzurr</c:v>
                </c:pt>
                <c:pt idx="713">
                  <c:v>Richesmonts</c:v>
                </c:pt>
                <c:pt idx="714">
                  <c:v>Violife</c:v>
                </c:pt>
                <c:pt idx="715">
                  <c:v>Richesmonts</c:v>
                </c:pt>
                <c:pt idx="716">
                  <c:v>All Others</c:v>
                </c:pt>
                <c:pt idx="717">
                  <c:v>All Others</c:v>
                </c:pt>
                <c:pt idx="718">
                  <c:v>Juraflore</c:v>
                </c:pt>
                <c:pt idx="719">
                  <c:v>Savencia: A</c:v>
                </c:pt>
                <c:pt idx="720">
                  <c:v>All Others</c:v>
                </c:pt>
                <c:pt idx="721">
                  <c:v>All Others</c:v>
                </c:pt>
                <c:pt idx="722">
                  <c:v>All Others</c:v>
                </c:pt>
                <c:pt idx="723">
                  <c:v>Private Lab</c:v>
                </c:pt>
                <c:pt idx="724">
                  <c:v>All Others</c:v>
                </c:pt>
                <c:pt idx="725">
                  <c:v>All Others</c:v>
                </c:pt>
                <c:pt idx="726">
                  <c:v>Richesmonts</c:v>
                </c:pt>
                <c:pt idx="727">
                  <c:v>President</c:v>
                </c:pt>
                <c:pt idx="728">
                  <c:v>Entremont</c:v>
                </c:pt>
                <c:pt idx="729">
                  <c:v>Galbani</c:v>
                </c:pt>
                <c:pt idx="730">
                  <c:v>Galbani</c:v>
                </c:pt>
                <c:pt idx="731">
                  <c:v>Fauquet</c:v>
                </c:pt>
                <c:pt idx="732">
                  <c:v>Savencia: A</c:v>
                </c:pt>
                <c:pt idx="733">
                  <c:v>Private Lab</c:v>
                </c:pt>
                <c:pt idx="734">
                  <c:v>Galbani</c:v>
                </c:pt>
                <c:pt idx="735">
                  <c:v>Juraflore</c:v>
                </c:pt>
                <c:pt idx="736">
                  <c:v>All Others</c:v>
                </c:pt>
                <c:pt idx="737">
                  <c:v>All Others</c:v>
                </c:pt>
                <c:pt idx="738">
                  <c:v>All Others</c:v>
                </c:pt>
                <c:pt idx="739">
                  <c:v>Tartare</c:v>
                </c:pt>
                <c:pt idx="740">
                  <c:v>All Others</c:v>
                </c:pt>
                <c:pt idx="741">
                  <c:v>All Others</c:v>
                </c:pt>
                <c:pt idx="742">
                  <c:v>All Others</c:v>
                </c:pt>
                <c:pt idx="743">
                  <c:v>Private Lab</c:v>
                </c:pt>
                <c:pt idx="744">
                  <c:v>All Others</c:v>
                </c:pt>
                <c:pt idx="745">
                  <c:v>Entremont</c:v>
                </c:pt>
                <c:pt idx="746">
                  <c:v>La Belle Et</c:v>
                </c:pt>
                <c:pt idx="747">
                  <c:v>Leerdammer</c:v>
                </c:pt>
                <c:pt idx="748">
                  <c:v>All Others</c:v>
                </c:pt>
                <c:pt idx="749">
                  <c:v>Soignon</c:v>
                </c:pt>
                <c:pt idx="750">
                  <c:v>All Others</c:v>
                </c:pt>
                <c:pt idx="751">
                  <c:v>Eurial Autr</c:v>
                </c:pt>
                <c:pt idx="752">
                  <c:v>Milleret: A</c:v>
                </c:pt>
                <c:pt idx="753">
                  <c:v>Violife</c:v>
                </c:pt>
                <c:pt idx="754">
                  <c:v>All Others</c:v>
                </c:pt>
                <c:pt idx="755">
                  <c:v>Triballat R</c:v>
                </c:pt>
                <c:pt idx="756">
                  <c:v>Casa Azzurr</c:v>
                </c:pt>
                <c:pt idx="757">
                  <c:v>Mini Babybe</c:v>
                </c:pt>
                <c:pt idx="758">
                  <c:v>Private Lab</c:v>
                </c:pt>
                <c:pt idx="759">
                  <c:v>Pave D'Affi</c:v>
                </c:pt>
                <c:pt idx="760">
                  <c:v>All Others</c:v>
                </c:pt>
                <c:pt idx="761">
                  <c:v>All Others</c:v>
                </c:pt>
                <c:pt idx="762">
                  <c:v>Aperivrais</c:v>
                </c:pt>
                <c:pt idx="763">
                  <c:v>All Others</c:v>
                </c:pt>
                <c:pt idx="764">
                  <c:v>Salakis</c:v>
                </c:pt>
                <c:pt idx="765">
                  <c:v>President</c:v>
                </c:pt>
                <c:pt idx="766">
                  <c:v>Private Lab</c:v>
                </c:pt>
                <c:pt idx="767">
                  <c:v>Private Lab</c:v>
                </c:pt>
                <c:pt idx="768">
                  <c:v>Private Lab</c:v>
                </c:pt>
                <c:pt idx="769">
                  <c:v>All Others</c:v>
                </c:pt>
                <c:pt idx="770">
                  <c:v>La Belle Et</c:v>
                </c:pt>
                <c:pt idx="771">
                  <c:v>All Others</c:v>
                </c:pt>
                <c:pt idx="772">
                  <c:v>All Others</c:v>
                </c:pt>
                <c:pt idx="773">
                  <c:v>Saint Agur</c:v>
                </c:pt>
                <c:pt idx="774">
                  <c:v>Private Lab</c:v>
                </c:pt>
                <c:pt idx="775">
                  <c:v>Leerdammer</c:v>
                </c:pt>
                <c:pt idx="776">
                  <c:v>All Others</c:v>
                </c:pt>
                <c:pt idx="777">
                  <c:v>Private Lab</c:v>
                </c:pt>
                <c:pt idx="778">
                  <c:v>All Others</c:v>
                </c:pt>
                <c:pt idx="779">
                  <c:v>All Others</c:v>
                </c:pt>
                <c:pt idx="780">
                  <c:v>Boursin</c:v>
                </c:pt>
                <c:pt idx="781">
                  <c:v>Private Lab</c:v>
                </c:pt>
                <c:pt idx="782">
                  <c:v>Savencia: A</c:v>
                </c:pt>
                <c:pt idx="783">
                  <c:v>Richesmonts</c:v>
                </c:pt>
                <c:pt idx="784">
                  <c:v>All Others</c:v>
                </c:pt>
                <c:pt idx="785">
                  <c:v>Leerdammer</c:v>
                </c:pt>
                <c:pt idx="786">
                  <c:v>All Others</c:v>
                </c:pt>
                <c:pt idx="787">
                  <c:v>Private Lab</c:v>
                </c:pt>
                <c:pt idx="788">
                  <c:v>Bresse Bleu</c:v>
                </c:pt>
                <c:pt idx="789">
                  <c:v>Mini Babybe</c:v>
                </c:pt>
                <c:pt idx="790">
                  <c:v>All Others</c:v>
                </c:pt>
                <c:pt idx="791">
                  <c:v>St Moret</c:v>
                </c:pt>
                <c:pt idx="792">
                  <c:v>All Others</c:v>
                </c:pt>
                <c:pt idx="793">
                  <c:v>President</c:v>
                </c:pt>
                <c:pt idx="794">
                  <c:v>All Others</c:v>
                </c:pt>
                <c:pt idx="795">
                  <c:v>Saint Agur</c:v>
                </c:pt>
                <c:pt idx="796">
                  <c:v>President</c:v>
                </c:pt>
                <c:pt idx="797">
                  <c:v>Lou Perac</c:v>
                </c:pt>
                <c:pt idx="798">
                  <c:v>Fol Epi</c:v>
                </c:pt>
                <c:pt idx="799">
                  <c:v>Etoile Du V</c:v>
                </c:pt>
                <c:pt idx="800">
                  <c:v>All Others</c:v>
                </c:pt>
                <c:pt idx="801">
                  <c:v>All Others</c:v>
                </c:pt>
                <c:pt idx="802">
                  <c:v>Nurishh</c:v>
                </c:pt>
                <c:pt idx="803">
                  <c:v>President</c:v>
                </c:pt>
                <c:pt idx="804">
                  <c:v>Apericube</c:v>
                </c:pt>
                <c:pt idx="805">
                  <c:v>All Others</c:v>
                </c:pt>
                <c:pt idx="806">
                  <c:v>Private Lab</c:v>
                </c:pt>
                <c:pt idx="807">
                  <c:v>La Vache Qu</c:v>
                </c:pt>
                <c:pt idx="808">
                  <c:v>Richesmonts</c:v>
                </c:pt>
                <c:pt idx="809">
                  <c:v>All Others</c:v>
                </c:pt>
                <c:pt idx="810">
                  <c:v>Private Lab</c:v>
                </c:pt>
                <c:pt idx="811">
                  <c:v>Apericube</c:v>
                </c:pt>
                <c:pt idx="812">
                  <c:v>All Others</c:v>
                </c:pt>
                <c:pt idx="813">
                  <c:v>All Others</c:v>
                </c:pt>
                <c:pt idx="814">
                  <c:v>Boursin</c:v>
                </c:pt>
                <c:pt idx="815">
                  <c:v>Triballat R</c:v>
                </c:pt>
                <c:pt idx="816">
                  <c:v>All Others</c:v>
                </c:pt>
                <c:pt idx="817">
                  <c:v>Savencia: A</c:v>
                </c:pt>
                <c:pt idx="818">
                  <c:v>All Others</c:v>
                </c:pt>
                <c:pt idx="819">
                  <c:v>All Others</c:v>
                </c:pt>
                <c:pt idx="820">
                  <c:v>President</c:v>
                </c:pt>
                <c:pt idx="821">
                  <c:v>All Others</c:v>
                </c:pt>
                <c:pt idx="822">
                  <c:v>O'Tapas Ape</c:v>
                </c:pt>
                <c:pt idx="823">
                  <c:v>Eurial Autr</c:v>
                </c:pt>
                <c:pt idx="824">
                  <c:v>St Moret</c:v>
                </c:pt>
                <c:pt idx="825">
                  <c:v>All Others</c:v>
                </c:pt>
                <c:pt idx="826">
                  <c:v>Aperivrais</c:v>
                </c:pt>
                <c:pt idx="827">
                  <c:v>All Others</c:v>
                </c:pt>
                <c:pt idx="828">
                  <c:v>Bresse Bleu</c:v>
                </c:pt>
                <c:pt idx="829">
                  <c:v>Leerdammer</c:v>
                </c:pt>
                <c:pt idx="830">
                  <c:v>All Others</c:v>
                </c:pt>
                <c:pt idx="831">
                  <c:v>Entremont</c:v>
                </c:pt>
                <c:pt idx="832">
                  <c:v>Savencia: A</c:v>
                </c:pt>
                <c:pt idx="833">
                  <c:v>All Others</c:v>
                </c:pt>
                <c:pt idx="834">
                  <c:v>All Others</c:v>
                </c:pt>
                <c:pt idx="835">
                  <c:v>Private Lab</c:v>
                </c:pt>
                <c:pt idx="836">
                  <c:v>All Others</c:v>
                </c:pt>
                <c:pt idx="837">
                  <c:v>All Others</c:v>
                </c:pt>
                <c:pt idx="838">
                  <c:v>Nurishh</c:v>
                </c:pt>
                <c:pt idx="839">
                  <c:v>St Moret</c:v>
                </c:pt>
                <c:pt idx="840">
                  <c:v>Islos</c:v>
                </c:pt>
                <c:pt idx="841">
                  <c:v>All Others</c:v>
                </c:pt>
                <c:pt idx="842">
                  <c:v>All Others</c:v>
                </c:pt>
                <c:pt idx="843">
                  <c:v>Richesmonts</c:v>
                </c:pt>
                <c:pt idx="844">
                  <c:v>Eurial Autr</c:v>
                </c:pt>
                <c:pt idx="845">
                  <c:v>Triballat N</c:v>
                </c:pt>
                <c:pt idx="846">
                  <c:v>Private Lab</c:v>
                </c:pt>
                <c:pt idx="847">
                  <c:v>President</c:v>
                </c:pt>
                <c:pt idx="848">
                  <c:v>All Others</c:v>
                </c:pt>
                <c:pt idx="849">
                  <c:v>All Others</c:v>
                </c:pt>
                <c:pt idx="850">
                  <c:v>Aperivrais</c:v>
                </c:pt>
                <c:pt idx="851">
                  <c:v>La Belle Et</c:v>
                </c:pt>
                <c:pt idx="852">
                  <c:v>All Others</c:v>
                </c:pt>
                <c:pt idx="853">
                  <c:v>All Others</c:v>
                </c:pt>
                <c:pt idx="854">
                  <c:v>All Others</c:v>
                </c:pt>
                <c:pt idx="855">
                  <c:v>Private Lab</c:v>
                </c:pt>
                <c:pt idx="856">
                  <c:v>Private Lab</c:v>
                </c:pt>
                <c:pt idx="857">
                  <c:v>Etorki</c:v>
                </c:pt>
                <c:pt idx="858">
                  <c:v>Private Lab</c:v>
                </c:pt>
                <c:pt idx="859">
                  <c:v>Boursin</c:v>
                </c:pt>
                <c:pt idx="860">
                  <c:v>Apericube</c:v>
                </c:pt>
                <c:pt idx="861">
                  <c:v>Entremont</c:v>
                </c:pt>
                <c:pt idx="862">
                  <c:v>L'Ortolan</c:v>
                </c:pt>
                <c:pt idx="863">
                  <c:v>Violife</c:v>
                </c:pt>
                <c:pt idx="864">
                  <c:v>Etoile Du Q</c:v>
                </c:pt>
                <c:pt idx="865">
                  <c:v>Lactalis: A</c:v>
                </c:pt>
                <c:pt idx="866">
                  <c:v>Tartare</c:v>
                </c:pt>
                <c:pt idx="867">
                  <c:v>Lactalis: A</c:v>
                </c:pt>
                <c:pt idx="868">
                  <c:v>Violife</c:v>
                </c:pt>
                <c:pt idx="869">
                  <c:v>All Others</c:v>
                </c:pt>
                <c:pt idx="870">
                  <c:v>All Others</c:v>
                </c:pt>
                <c:pt idx="871">
                  <c:v>All Others</c:v>
                </c:pt>
                <c:pt idx="872">
                  <c:v>Nurishh</c:v>
                </c:pt>
                <c:pt idx="873">
                  <c:v>Eurial Autr</c:v>
                </c:pt>
                <c:pt idx="874">
                  <c:v>All Others</c:v>
                </c:pt>
                <c:pt idx="875">
                  <c:v>All Others</c:v>
                </c:pt>
                <c:pt idx="876">
                  <c:v>Lactalis: A</c:v>
                </c:pt>
                <c:pt idx="877">
                  <c:v>Private Lab</c:v>
                </c:pt>
                <c:pt idx="878">
                  <c:v>Etoile Du V</c:v>
                </c:pt>
                <c:pt idx="879">
                  <c:v>All Others</c:v>
                </c:pt>
                <c:pt idx="880">
                  <c:v>All Others</c:v>
                </c:pt>
                <c:pt idx="881">
                  <c:v>All Others</c:v>
                </c:pt>
                <c:pt idx="882">
                  <c:v>All Others</c:v>
                </c:pt>
                <c:pt idx="883">
                  <c:v>Nurishh</c:v>
                </c:pt>
                <c:pt idx="884">
                  <c:v>All Others</c:v>
                </c:pt>
                <c:pt idx="885">
                  <c:v>All Others</c:v>
                </c:pt>
                <c:pt idx="886">
                  <c:v>Private Lab</c:v>
                </c:pt>
                <c:pt idx="887">
                  <c:v>Nurishh</c:v>
                </c:pt>
                <c:pt idx="888">
                  <c:v>All Others</c:v>
                </c:pt>
                <c:pt idx="889">
                  <c:v>All Others</c:v>
                </c:pt>
                <c:pt idx="890">
                  <c:v>All Others</c:v>
                </c:pt>
                <c:pt idx="891">
                  <c:v>Nurishh</c:v>
                </c:pt>
                <c:pt idx="892">
                  <c:v>Violife</c:v>
                </c:pt>
                <c:pt idx="893">
                  <c:v>All Others</c:v>
                </c:pt>
                <c:pt idx="894">
                  <c:v>Casa Azzurr</c:v>
                </c:pt>
                <c:pt idx="895">
                  <c:v>Boursin</c:v>
                </c:pt>
                <c:pt idx="896">
                  <c:v>All Others</c:v>
                </c:pt>
                <c:pt idx="897">
                  <c:v>All Others</c:v>
                </c:pt>
                <c:pt idx="898">
                  <c:v>Private Lab</c:v>
                </c:pt>
                <c:pt idx="899">
                  <c:v>All Others</c:v>
                </c:pt>
                <c:pt idx="900">
                  <c:v>Leerdammer</c:v>
                </c:pt>
                <c:pt idx="901">
                  <c:v>All Others</c:v>
                </c:pt>
                <c:pt idx="902">
                  <c:v>All Others</c:v>
                </c:pt>
                <c:pt idx="903">
                  <c:v>Aperivrais</c:v>
                </c:pt>
                <c:pt idx="904">
                  <c:v>Etoile Du Q</c:v>
                </c:pt>
                <c:pt idx="905">
                  <c:v>Boursin</c:v>
                </c:pt>
                <c:pt idx="906">
                  <c:v>All Others</c:v>
                </c:pt>
                <c:pt idx="907">
                  <c:v>All Others</c:v>
                </c:pt>
                <c:pt idx="908">
                  <c:v>Entremont</c:v>
                </c:pt>
                <c:pt idx="909">
                  <c:v>All Others</c:v>
                </c:pt>
                <c:pt idx="910">
                  <c:v>Nurishh</c:v>
                </c:pt>
                <c:pt idx="911">
                  <c:v>Private Lab</c:v>
                </c:pt>
                <c:pt idx="912">
                  <c:v>All Others</c:v>
                </c:pt>
                <c:pt idx="913">
                  <c:v>Private Lab</c:v>
                </c:pt>
                <c:pt idx="914">
                  <c:v>Soignon</c:v>
                </c:pt>
                <c:pt idx="915">
                  <c:v>All Others</c:v>
                </c:pt>
                <c:pt idx="916">
                  <c:v>All Others</c:v>
                </c:pt>
                <c:pt idx="917">
                  <c:v>All Others</c:v>
                </c:pt>
                <c:pt idx="918">
                  <c:v>Lactalis: A</c:v>
                </c:pt>
                <c:pt idx="919">
                  <c:v>All Others</c:v>
                </c:pt>
                <c:pt idx="920">
                  <c:v>La Belle Et</c:v>
                </c:pt>
                <c:pt idx="921">
                  <c:v>All Others</c:v>
                </c:pt>
                <c:pt idx="922">
                  <c:v>Soignon</c:v>
                </c:pt>
                <c:pt idx="923">
                  <c:v>All Others</c:v>
                </c:pt>
                <c:pt idx="924">
                  <c:v>All Others</c:v>
                </c:pt>
                <c:pt idx="925">
                  <c:v>Savencia: A</c:v>
                </c:pt>
                <c:pt idx="926">
                  <c:v>All Others</c:v>
                </c:pt>
                <c:pt idx="927">
                  <c:v>Savencia: A</c:v>
                </c:pt>
                <c:pt idx="928">
                  <c:v>President</c:v>
                </c:pt>
                <c:pt idx="929">
                  <c:v>Triballat N</c:v>
                </c:pt>
                <c:pt idx="930">
                  <c:v>Boursin</c:v>
                </c:pt>
                <c:pt idx="931">
                  <c:v>Eurial Autr</c:v>
                </c:pt>
                <c:pt idx="932">
                  <c:v>All Others</c:v>
                </c:pt>
                <c:pt idx="933">
                  <c:v>Le Brebiou</c:v>
                </c:pt>
                <c:pt idx="934">
                  <c:v>All Others</c:v>
                </c:pt>
                <c:pt idx="935">
                  <c:v>All Others</c:v>
                </c:pt>
                <c:pt idx="936">
                  <c:v>Savencia: A</c:v>
                </c:pt>
                <c:pt idx="937">
                  <c:v>All Others</c:v>
                </c:pt>
                <c:pt idx="938">
                  <c:v>Lactalis: A</c:v>
                </c:pt>
                <c:pt idx="939">
                  <c:v>All Others</c:v>
                </c:pt>
                <c:pt idx="940">
                  <c:v>All Others</c:v>
                </c:pt>
                <c:pt idx="941">
                  <c:v>Private Lab</c:v>
                </c:pt>
                <c:pt idx="942">
                  <c:v>All Others</c:v>
                </c:pt>
                <c:pt idx="943">
                  <c:v>O'Tapas Ape</c:v>
                </c:pt>
                <c:pt idx="944">
                  <c:v>All Others</c:v>
                </c:pt>
                <c:pt idx="945">
                  <c:v>Lactalis: A</c:v>
                </c:pt>
                <c:pt idx="946">
                  <c:v>All Others</c:v>
                </c:pt>
                <c:pt idx="947">
                  <c:v>Private Lab</c:v>
                </c:pt>
                <c:pt idx="948">
                  <c:v>All Others</c:v>
                </c:pt>
                <c:pt idx="949">
                  <c:v>All Others</c:v>
                </c:pt>
                <c:pt idx="950">
                  <c:v>Richesmonts</c:v>
                </c:pt>
                <c:pt idx="951">
                  <c:v>Entremont</c:v>
                </c:pt>
                <c:pt idx="952">
                  <c:v>Bresse Bleu</c:v>
                </c:pt>
                <c:pt idx="953">
                  <c:v>All Others</c:v>
                </c:pt>
                <c:pt idx="954">
                  <c:v>All Others</c:v>
                </c:pt>
                <c:pt idx="955">
                  <c:v>All Others</c:v>
                </c:pt>
                <c:pt idx="956">
                  <c:v>All Others</c:v>
                </c:pt>
                <c:pt idx="957">
                  <c:v>Chavroux</c:v>
                </c:pt>
                <c:pt idx="958">
                  <c:v>Private Lab</c:v>
                </c:pt>
                <c:pt idx="959">
                  <c:v>Coeur De Li</c:v>
                </c:pt>
                <c:pt idx="960">
                  <c:v>Salakis</c:v>
                </c:pt>
                <c:pt idx="961">
                  <c:v>All Others</c:v>
                </c:pt>
                <c:pt idx="962">
                  <c:v>Private Lab</c:v>
                </c:pt>
                <c:pt idx="963">
                  <c:v>All Others</c:v>
                </c:pt>
                <c:pt idx="964">
                  <c:v>All Others</c:v>
                </c:pt>
                <c:pt idx="965">
                  <c:v>Pave D'Affi</c:v>
                </c:pt>
                <c:pt idx="966">
                  <c:v>All Others</c:v>
                </c:pt>
                <c:pt idx="967">
                  <c:v>All Others</c:v>
                </c:pt>
                <c:pt idx="968">
                  <c:v>Milleret: A</c:v>
                </c:pt>
                <c:pt idx="969">
                  <c:v>Violife</c:v>
                </c:pt>
                <c:pt idx="970">
                  <c:v>Etoile Du V</c:v>
                </c:pt>
                <c:pt idx="971">
                  <c:v>Fauquet</c:v>
                </c:pt>
                <c:pt idx="972">
                  <c:v>All Others</c:v>
                </c:pt>
                <c:pt idx="973">
                  <c:v>All Others</c:v>
                </c:pt>
                <c:pt idx="974">
                  <c:v>Etoile Du V</c:v>
                </c:pt>
                <c:pt idx="975">
                  <c:v>Milleret: A</c:v>
                </c:pt>
                <c:pt idx="976">
                  <c:v>Paysan Bret</c:v>
                </c:pt>
                <c:pt idx="977">
                  <c:v>Port Salut</c:v>
                </c:pt>
                <c:pt idx="978">
                  <c:v>Etoile Du V</c:v>
                </c:pt>
                <c:pt idx="979">
                  <c:v>Private Lab</c:v>
                </c:pt>
                <c:pt idx="980">
                  <c:v>Apericube</c:v>
                </c:pt>
                <c:pt idx="981">
                  <c:v>All Others</c:v>
                </c:pt>
                <c:pt idx="982">
                  <c:v>All Others</c:v>
                </c:pt>
                <c:pt idx="983">
                  <c:v>Lactalis: A</c:v>
                </c:pt>
                <c:pt idx="984">
                  <c:v>All Others</c:v>
                </c:pt>
                <c:pt idx="985">
                  <c:v>Casa Azzurr</c:v>
                </c:pt>
                <c:pt idx="986">
                  <c:v>All Others</c:v>
                </c:pt>
                <c:pt idx="987">
                  <c:v>All Others</c:v>
                </c:pt>
                <c:pt idx="988">
                  <c:v>All Others</c:v>
                </c:pt>
                <c:pt idx="989">
                  <c:v>All Others</c:v>
                </c:pt>
                <c:pt idx="990">
                  <c:v>Juraflore</c:v>
                </c:pt>
                <c:pt idx="991">
                  <c:v>All Others</c:v>
                </c:pt>
                <c:pt idx="992">
                  <c:v>All Others</c:v>
                </c:pt>
                <c:pt idx="993">
                  <c:v>Carre Frais</c:v>
                </c:pt>
                <c:pt idx="994">
                  <c:v>All Others</c:v>
                </c:pt>
                <c:pt idx="995">
                  <c:v>President</c:v>
                </c:pt>
                <c:pt idx="996">
                  <c:v>Nurishh</c:v>
                </c:pt>
                <c:pt idx="997">
                  <c:v>Violife</c:v>
                </c:pt>
                <c:pt idx="998">
                  <c:v>Triballat R</c:v>
                </c:pt>
                <c:pt idx="999">
                  <c:v>All Others</c:v>
                </c:pt>
                <c:pt idx="1000">
                  <c:v>All Others</c:v>
                </c:pt>
                <c:pt idx="1001">
                  <c:v>All Others</c:v>
                </c:pt>
                <c:pt idx="1002">
                  <c:v>Tartare</c:v>
                </c:pt>
                <c:pt idx="1003">
                  <c:v>Apericube</c:v>
                </c:pt>
                <c:pt idx="1004">
                  <c:v>All Others</c:v>
                </c:pt>
                <c:pt idx="1005">
                  <c:v>All Others</c:v>
                </c:pt>
                <c:pt idx="1006">
                  <c:v>Eurial Autr</c:v>
                </c:pt>
                <c:pt idx="1007">
                  <c:v>All Others</c:v>
                </c:pt>
                <c:pt idx="1008">
                  <c:v>All Others</c:v>
                </c:pt>
                <c:pt idx="1009">
                  <c:v>Casa Azzurr</c:v>
                </c:pt>
                <c:pt idx="1010">
                  <c:v>Paysan Bret</c:v>
                </c:pt>
                <c:pt idx="1011">
                  <c:v>All Others</c:v>
                </c:pt>
                <c:pt idx="1012">
                  <c:v>All Others</c:v>
                </c:pt>
                <c:pt idx="1013">
                  <c:v>Private Lab</c:v>
                </c:pt>
                <c:pt idx="1014">
                  <c:v>All Others</c:v>
                </c:pt>
                <c:pt idx="1015">
                  <c:v>All Others</c:v>
                </c:pt>
                <c:pt idx="1016">
                  <c:v>All Others</c:v>
                </c:pt>
                <c:pt idx="1017">
                  <c:v>All Others</c:v>
                </c:pt>
                <c:pt idx="1018">
                  <c:v>All Others</c:v>
                </c:pt>
                <c:pt idx="1019">
                  <c:v>Private Lab</c:v>
                </c:pt>
                <c:pt idx="1020">
                  <c:v>All Others</c:v>
                </c:pt>
                <c:pt idx="1021">
                  <c:v>Boursin</c:v>
                </c:pt>
                <c:pt idx="1022">
                  <c:v>Societe</c:v>
                </c:pt>
                <c:pt idx="1023">
                  <c:v>Etoile Du V</c:v>
                </c:pt>
                <c:pt idx="1024">
                  <c:v>Etoile Du Q</c:v>
                </c:pt>
                <c:pt idx="1025">
                  <c:v>Private Lab</c:v>
                </c:pt>
                <c:pt idx="1026">
                  <c:v>All Others</c:v>
                </c:pt>
                <c:pt idx="1027">
                  <c:v>All Others</c:v>
                </c:pt>
                <c:pt idx="1028">
                  <c:v>Saint Albra</c:v>
                </c:pt>
                <c:pt idx="1029">
                  <c:v>La Vache Qu</c:v>
                </c:pt>
                <c:pt idx="1030">
                  <c:v>All Others</c:v>
                </c:pt>
                <c:pt idx="1031">
                  <c:v>Lactalis: A</c:v>
                </c:pt>
                <c:pt idx="1032">
                  <c:v>All Others</c:v>
                </c:pt>
                <c:pt idx="1033">
                  <c:v>Pochat</c:v>
                </c:pt>
                <c:pt idx="1034">
                  <c:v>Private Lab</c:v>
                </c:pt>
                <c:pt idx="1035">
                  <c:v>All Others</c:v>
                </c:pt>
                <c:pt idx="1036">
                  <c:v>All Others</c:v>
                </c:pt>
                <c:pt idx="1037">
                  <c:v>All Others</c:v>
                </c:pt>
                <c:pt idx="1038">
                  <c:v>All Others</c:v>
                </c:pt>
                <c:pt idx="1039">
                  <c:v>Private Lab</c:v>
                </c:pt>
                <c:pt idx="1040">
                  <c:v>All Others</c:v>
                </c:pt>
                <c:pt idx="1041">
                  <c:v>All Others</c:v>
                </c:pt>
                <c:pt idx="1042">
                  <c:v>Private Lab</c:v>
                </c:pt>
                <c:pt idx="1043">
                  <c:v>All Others</c:v>
                </c:pt>
                <c:pt idx="1044">
                  <c:v>Galbani</c:v>
                </c:pt>
                <c:pt idx="1045">
                  <c:v>All Others</c:v>
                </c:pt>
                <c:pt idx="1046">
                  <c:v>All Others</c:v>
                </c:pt>
                <c:pt idx="1047">
                  <c:v>Milleret: A</c:v>
                </c:pt>
                <c:pt idx="1048">
                  <c:v>Etoile Du V</c:v>
                </c:pt>
                <c:pt idx="1049">
                  <c:v>All Others</c:v>
                </c:pt>
                <c:pt idx="1050">
                  <c:v>Corsica</c:v>
                </c:pt>
                <c:pt idx="1051">
                  <c:v>Lactalis: A</c:v>
                </c:pt>
                <c:pt idx="1052">
                  <c:v>Eurial Autr</c:v>
                </c:pt>
                <c:pt idx="1053">
                  <c:v>All Others</c:v>
                </c:pt>
                <c:pt idx="1054">
                  <c:v>All Others</c:v>
                </c:pt>
                <c:pt idx="1055">
                  <c:v>All Others</c:v>
                </c:pt>
                <c:pt idx="1056">
                  <c:v>All Others</c:v>
                </c:pt>
                <c:pt idx="1057">
                  <c:v>Private Lab</c:v>
                </c:pt>
                <c:pt idx="1058">
                  <c:v>All Others</c:v>
                </c:pt>
                <c:pt idx="1059">
                  <c:v>All Others</c:v>
                </c:pt>
                <c:pt idx="1060">
                  <c:v>All Others</c:v>
                </c:pt>
                <c:pt idx="1061">
                  <c:v>All Others</c:v>
                </c:pt>
                <c:pt idx="1062">
                  <c:v>Private Lab</c:v>
                </c:pt>
                <c:pt idx="1063">
                  <c:v>All Others</c:v>
                </c:pt>
                <c:pt idx="1064">
                  <c:v>All Others</c:v>
                </c:pt>
                <c:pt idx="1065">
                  <c:v>O'Tapas Ape</c:v>
                </c:pt>
                <c:pt idx="1066">
                  <c:v>Lactalis: A</c:v>
                </c:pt>
                <c:pt idx="1067">
                  <c:v>Private Lab</c:v>
                </c:pt>
                <c:pt idx="1068">
                  <c:v>Eurial Autr</c:v>
                </c:pt>
                <c:pt idx="1069">
                  <c:v>All Others</c:v>
                </c:pt>
                <c:pt idx="1070">
                  <c:v>All Others</c:v>
                </c:pt>
                <c:pt idx="1071">
                  <c:v>All Others</c:v>
                </c:pt>
                <c:pt idx="1072">
                  <c:v>Private Lab</c:v>
                </c:pt>
                <c:pt idx="1073">
                  <c:v>All Others</c:v>
                </c:pt>
                <c:pt idx="1074">
                  <c:v>All Others</c:v>
                </c:pt>
                <c:pt idx="1075">
                  <c:v>All Others</c:v>
                </c:pt>
                <c:pt idx="1076">
                  <c:v>Private Lab</c:v>
                </c:pt>
                <c:pt idx="1077">
                  <c:v>All Others</c:v>
                </c:pt>
                <c:pt idx="1078">
                  <c:v>Private Lab</c:v>
                </c:pt>
                <c:pt idx="1079">
                  <c:v>Mini Babybe</c:v>
                </c:pt>
                <c:pt idx="1080">
                  <c:v>Pochat</c:v>
                </c:pt>
                <c:pt idx="1081">
                  <c:v>All Others</c:v>
                </c:pt>
                <c:pt idx="1082">
                  <c:v>All Others</c:v>
                </c:pt>
                <c:pt idx="1083">
                  <c:v>Richesmonts</c:v>
                </c:pt>
                <c:pt idx="1084">
                  <c:v>All Others</c:v>
                </c:pt>
                <c:pt idx="1085">
                  <c:v>All Others</c:v>
                </c:pt>
                <c:pt idx="1086">
                  <c:v>All Others</c:v>
                </c:pt>
                <c:pt idx="1087">
                  <c:v>All Others</c:v>
                </c:pt>
                <c:pt idx="1088">
                  <c:v>All Others</c:v>
                </c:pt>
                <c:pt idx="1089">
                  <c:v>All Others</c:v>
                </c:pt>
                <c:pt idx="1090">
                  <c:v>All Others</c:v>
                </c:pt>
                <c:pt idx="1091">
                  <c:v>Galbani</c:v>
                </c:pt>
                <c:pt idx="1092">
                  <c:v>All Others</c:v>
                </c:pt>
                <c:pt idx="1093">
                  <c:v>P'Tit Louis</c:v>
                </c:pt>
                <c:pt idx="1094">
                  <c:v>All Others</c:v>
                </c:pt>
                <c:pt idx="1095">
                  <c:v>All Others</c:v>
                </c:pt>
                <c:pt idx="1096">
                  <c:v>All Others</c:v>
                </c:pt>
                <c:pt idx="1097">
                  <c:v>All Others</c:v>
                </c:pt>
                <c:pt idx="1098">
                  <c:v>All Others</c:v>
                </c:pt>
                <c:pt idx="1099">
                  <c:v>Boursin</c:v>
                </c:pt>
                <c:pt idx="1100">
                  <c:v>All Others</c:v>
                </c:pt>
                <c:pt idx="1101">
                  <c:v>All Others</c:v>
                </c:pt>
                <c:pt idx="1102">
                  <c:v>Private Lab</c:v>
                </c:pt>
                <c:pt idx="1103">
                  <c:v>Boursin</c:v>
                </c:pt>
                <c:pt idx="1104">
                  <c:v>Boursin</c:v>
                </c:pt>
                <c:pt idx="1105">
                  <c:v>All Others</c:v>
                </c:pt>
                <c:pt idx="1106">
                  <c:v>All Others</c:v>
                </c:pt>
                <c:pt idx="1107">
                  <c:v>Private Lab</c:v>
                </c:pt>
                <c:pt idx="1108">
                  <c:v>All Others</c:v>
                </c:pt>
                <c:pt idx="1109">
                  <c:v>All Others</c:v>
                </c:pt>
                <c:pt idx="1110">
                  <c:v>All Others</c:v>
                </c:pt>
                <c:pt idx="1111">
                  <c:v>Private Lab</c:v>
                </c:pt>
                <c:pt idx="1112">
                  <c:v>All Others</c:v>
                </c:pt>
                <c:pt idx="1113">
                  <c:v>All Others</c:v>
                </c:pt>
                <c:pt idx="1114">
                  <c:v>All Others</c:v>
                </c:pt>
                <c:pt idx="1115">
                  <c:v>Triballat N</c:v>
                </c:pt>
                <c:pt idx="1116">
                  <c:v>Lactalis: A</c:v>
                </c:pt>
                <c:pt idx="1117">
                  <c:v>All Others</c:v>
                </c:pt>
                <c:pt idx="1118">
                  <c:v>All Others</c:v>
                </c:pt>
                <c:pt idx="1119">
                  <c:v>Petit Billy</c:v>
                </c:pt>
                <c:pt idx="1120">
                  <c:v>La Vache Qu</c:v>
                </c:pt>
                <c:pt idx="1121">
                  <c:v>Private Lab</c:v>
                </c:pt>
                <c:pt idx="1122">
                  <c:v>All Others</c:v>
                </c:pt>
                <c:pt idx="1123">
                  <c:v>Entremont</c:v>
                </c:pt>
                <c:pt idx="1124">
                  <c:v>All Others</c:v>
                </c:pt>
                <c:pt idx="1125">
                  <c:v>Private Lab</c:v>
                </c:pt>
                <c:pt idx="1126">
                  <c:v>Private Lab</c:v>
                </c:pt>
                <c:pt idx="1127">
                  <c:v>Galbani</c:v>
                </c:pt>
                <c:pt idx="1128">
                  <c:v>All Others</c:v>
                </c:pt>
                <c:pt idx="1129">
                  <c:v>All Others</c:v>
                </c:pt>
                <c:pt idx="1130">
                  <c:v>Lactalis: A</c:v>
                </c:pt>
                <c:pt idx="1131">
                  <c:v>All Others</c:v>
                </c:pt>
                <c:pt idx="1132">
                  <c:v>All Others</c:v>
                </c:pt>
                <c:pt idx="1133">
                  <c:v>All Others</c:v>
                </c:pt>
                <c:pt idx="1134">
                  <c:v>Savencia: A</c:v>
                </c:pt>
                <c:pt idx="1135">
                  <c:v>Pave D'Affi</c:v>
                </c:pt>
                <c:pt idx="1136">
                  <c:v>All Others</c:v>
                </c:pt>
                <c:pt idx="1137">
                  <c:v>Le Saint Am</c:v>
                </c:pt>
                <c:pt idx="1138">
                  <c:v>Societe</c:v>
                </c:pt>
                <c:pt idx="1139">
                  <c:v>St Moret</c:v>
                </c:pt>
                <c:pt idx="1140">
                  <c:v>All Others</c:v>
                </c:pt>
                <c:pt idx="1141">
                  <c:v>All Others</c:v>
                </c:pt>
                <c:pt idx="1142">
                  <c:v>Boursin</c:v>
                </c:pt>
                <c:pt idx="1143">
                  <c:v>All Others</c:v>
                </c:pt>
                <c:pt idx="1144">
                  <c:v>All Others</c:v>
                </c:pt>
                <c:pt idx="1145">
                  <c:v>All Others</c:v>
                </c:pt>
                <c:pt idx="1146">
                  <c:v>Pave D'Affi</c:v>
                </c:pt>
                <c:pt idx="1147">
                  <c:v>L'Ortolan</c:v>
                </c:pt>
                <c:pt idx="1148">
                  <c:v>All Others</c:v>
                </c:pt>
                <c:pt idx="1149">
                  <c:v>Le Saint Am</c:v>
                </c:pt>
                <c:pt idx="1150">
                  <c:v>All Others</c:v>
                </c:pt>
                <c:pt idx="1151">
                  <c:v>All Others</c:v>
                </c:pt>
                <c:pt idx="1152">
                  <c:v>All Others</c:v>
                </c:pt>
                <c:pt idx="1153">
                  <c:v>All Others</c:v>
                </c:pt>
                <c:pt idx="1154">
                  <c:v>Nurishh</c:v>
                </c:pt>
                <c:pt idx="1155">
                  <c:v>Savencia: A</c:v>
                </c:pt>
                <c:pt idx="1156">
                  <c:v>La Vache Qu</c:v>
                </c:pt>
                <c:pt idx="1157">
                  <c:v>All Others</c:v>
                </c:pt>
                <c:pt idx="1158">
                  <c:v>All Others</c:v>
                </c:pt>
                <c:pt idx="1159">
                  <c:v>All Others</c:v>
                </c:pt>
                <c:pt idx="1160">
                  <c:v>All Others</c:v>
                </c:pt>
                <c:pt idx="1161">
                  <c:v>All Others</c:v>
                </c:pt>
                <c:pt idx="1162">
                  <c:v>All Others</c:v>
                </c:pt>
                <c:pt idx="1163">
                  <c:v>Triballat N</c:v>
                </c:pt>
                <c:pt idx="1164">
                  <c:v>All Others</c:v>
                </c:pt>
                <c:pt idx="1165">
                  <c:v>Entremont</c:v>
                </c:pt>
                <c:pt idx="1166">
                  <c:v>All Others</c:v>
                </c:pt>
                <c:pt idx="1167">
                  <c:v>All Others</c:v>
                </c:pt>
                <c:pt idx="1168">
                  <c:v>All Others</c:v>
                </c:pt>
                <c:pt idx="1169">
                  <c:v>All Others</c:v>
                </c:pt>
                <c:pt idx="1170">
                  <c:v>Etoile Du V</c:v>
                </c:pt>
                <c:pt idx="1171">
                  <c:v>All Others</c:v>
                </c:pt>
                <c:pt idx="1172">
                  <c:v>All Others</c:v>
                </c:pt>
                <c:pt idx="1173">
                  <c:v>Boursin</c:v>
                </c:pt>
                <c:pt idx="1174">
                  <c:v>All Others</c:v>
                </c:pt>
                <c:pt idx="1175">
                  <c:v>All Others</c:v>
                </c:pt>
                <c:pt idx="1176">
                  <c:v>Boursin</c:v>
                </c:pt>
                <c:pt idx="1177">
                  <c:v>Leerdammer</c:v>
                </c:pt>
                <c:pt idx="1178">
                  <c:v>All Others</c:v>
                </c:pt>
                <c:pt idx="1179">
                  <c:v>All Others</c:v>
                </c:pt>
                <c:pt idx="1180">
                  <c:v>All Others</c:v>
                </c:pt>
                <c:pt idx="1181">
                  <c:v>Savencia: A</c:v>
                </c:pt>
                <c:pt idx="1182">
                  <c:v>Etoile Du V</c:v>
                </c:pt>
                <c:pt idx="1183">
                  <c:v>Lactalis: A</c:v>
                </c:pt>
                <c:pt idx="1184">
                  <c:v>All Others</c:v>
                </c:pt>
                <c:pt idx="1185">
                  <c:v>La Vache Qu</c:v>
                </c:pt>
                <c:pt idx="1186">
                  <c:v>Etoile Du V</c:v>
                </c:pt>
                <c:pt idx="1187">
                  <c:v>All Others</c:v>
                </c:pt>
                <c:pt idx="1188">
                  <c:v>Paysan Bret</c:v>
                </c:pt>
                <c:pt idx="1189">
                  <c:v>All Others</c:v>
                </c:pt>
                <c:pt idx="1190">
                  <c:v>Private Lab</c:v>
                </c:pt>
                <c:pt idx="1191">
                  <c:v>Etoile Du Q</c:v>
                </c:pt>
                <c:pt idx="1192">
                  <c:v>All Others</c:v>
                </c:pt>
                <c:pt idx="1193">
                  <c:v>Paysan Bret</c:v>
                </c:pt>
                <c:pt idx="1194">
                  <c:v>Private Lab</c:v>
                </c:pt>
                <c:pt idx="1195">
                  <c:v>All Others</c:v>
                </c:pt>
                <c:pt idx="1196">
                  <c:v>Private Lab</c:v>
                </c:pt>
                <c:pt idx="1197">
                  <c:v>Private Lab</c:v>
                </c:pt>
                <c:pt idx="1198">
                  <c:v>All Others</c:v>
                </c:pt>
                <c:pt idx="1199">
                  <c:v>All Others</c:v>
                </c:pt>
                <c:pt idx="1200">
                  <c:v>Savencia: A</c:v>
                </c:pt>
                <c:pt idx="1201">
                  <c:v>All Others</c:v>
                </c:pt>
                <c:pt idx="1202">
                  <c:v>All Others</c:v>
                </c:pt>
                <c:pt idx="1203">
                  <c:v>Salakis</c:v>
                </c:pt>
                <c:pt idx="1204">
                  <c:v>All Others</c:v>
                </c:pt>
                <c:pt idx="1205">
                  <c:v>All Others</c:v>
                </c:pt>
                <c:pt idx="1206">
                  <c:v>Triballat N</c:v>
                </c:pt>
                <c:pt idx="1207">
                  <c:v>Private Lab</c:v>
                </c:pt>
                <c:pt idx="1208">
                  <c:v>All Others</c:v>
                </c:pt>
                <c:pt idx="1209">
                  <c:v>All Others</c:v>
                </c:pt>
                <c:pt idx="1210">
                  <c:v>Raguin</c:v>
                </c:pt>
                <c:pt idx="1211">
                  <c:v>All Others</c:v>
                </c:pt>
                <c:pt idx="1212">
                  <c:v>Private Lab</c:v>
                </c:pt>
                <c:pt idx="1213">
                  <c:v>Raguin</c:v>
                </c:pt>
                <c:pt idx="1214">
                  <c:v>All Others</c:v>
                </c:pt>
                <c:pt idx="1215">
                  <c:v>All Others</c:v>
                </c:pt>
                <c:pt idx="1216">
                  <c:v>All Others</c:v>
                </c:pt>
                <c:pt idx="1217">
                  <c:v>Etoile Du V</c:v>
                </c:pt>
                <c:pt idx="1218">
                  <c:v>All Others</c:v>
                </c:pt>
                <c:pt idx="1219">
                  <c:v>All Others</c:v>
                </c:pt>
                <c:pt idx="1220">
                  <c:v>All Others</c:v>
                </c:pt>
                <c:pt idx="1221">
                  <c:v>Private Lab</c:v>
                </c:pt>
                <c:pt idx="1222">
                  <c:v>All Others</c:v>
                </c:pt>
                <c:pt idx="1223">
                  <c:v>Savencia: A</c:v>
                </c:pt>
                <c:pt idx="1224">
                  <c:v>All Others</c:v>
                </c:pt>
                <c:pt idx="1225">
                  <c:v>Lactalis: A</c:v>
                </c:pt>
                <c:pt idx="1226">
                  <c:v>Private Lab</c:v>
                </c:pt>
                <c:pt idx="1227">
                  <c:v>Raguin</c:v>
                </c:pt>
                <c:pt idx="1228">
                  <c:v>All Others</c:v>
                </c:pt>
                <c:pt idx="1229">
                  <c:v>All Others</c:v>
                </c:pt>
                <c:pt idx="1230">
                  <c:v>Pochat</c:v>
                </c:pt>
                <c:pt idx="1231">
                  <c:v>Savencia: A</c:v>
                </c:pt>
                <c:pt idx="1232">
                  <c:v>All Others</c:v>
                </c:pt>
                <c:pt idx="1233">
                  <c:v>La Pointe P</c:v>
                </c:pt>
                <c:pt idx="1234">
                  <c:v>Petit Billy</c:v>
                </c:pt>
                <c:pt idx="1235">
                  <c:v>Salakis</c:v>
                </c:pt>
                <c:pt idx="1236">
                  <c:v>Lactalis: A</c:v>
                </c:pt>
                <c:pt idx="1237">
                  <c:v>All Others</c:v>
                </c:pt>
                <c:pt idx="1238">
                  <c:v>La Belle Et</c:v>
                </c:pt>
                <c:pt idx="1239">
                  <c:v>Nurishh</c:v>
                </c:pt>
                <c:pt idx="1240">
                  <c:v>All Others</c:v>
                </c:pt>
                <c:pt idx="1241">
                  <c:v>President</c:v>
                </c:pt>
                <c:pt idx="1242">
                  <c:v>All Others</c:v>
                </c:pt>
                <c:pt idx="1243">
                  <c:v>All Others</c:v>
                </c:pt>
                <c:pt idx="1244">
                  <c:v>O'Tapas Ape</c:v>
                </c:pt>
                <c:pt idx="1245">
                  <c:v>All Others</c:v>
                </c:pt>
                <c:pt idx="1246">
                  <c:v>All Others</c:v>
                </c:pt>
                <c:pt idx="1247">
                  <c:v>All Others</c:v>
                </c:pt>
                <c:pt idx="1248">
                  <c:v>All Others</c:v>
                </c:pt>
                <c:pt idx="1249">
                  <c:v>All Others</c:v>
                </c:pt>
                <c:pt idx="1250">
                  <c:v>Private Lab</c:v>
                </c:pt>
                <c:pt idx="1251">
                  <c:v>All Others</c:v>
                </c:pt>
                <c:pt idx="1252">
                  <c:v>Private Lab</c:v>
                </c:pt>
                <c:pt idx="1253">
                  <c:v>Tartare</c:v>
                </c:pt>
                <c:pt idx="1254">
                  <c:v>All Others</c:v>
                </c:pt>
                <c:pt idx="1255">
                  <c:v>All Others</c:v>
                </c:pt>
                <c:pt idx="1256">
                  <c:v>All Others</c:v>
                </c:pt>
                <c:pt idx="1257">
                  <c:v>Lactalis: A</c:v>
                </c:pt>
                <c:pt idx="1258">
                  <c:v>All Others</c:v>
                </c:pt>
                <c:pt idx="1259">
                  <c:v>All Others</c:v>
                </c:pt>
                <c:pt idx="1260">
                  <c:v>All Others</c:v>
                </c:pt>
                <c:pt idx="1261">
                  <c:v>All Others</c:v>
                </c:pt>
                <c:pt idx="1262">
                  <c:v>All Others</c:v>
                </c:pt>
                <c:pt idx="1263">
                  <c:v>All Others</c:v>
                </c:pt>
                <c:pt idx="1264">
                  <c:v>Casa Azzurr</c:v>
                </c:pt>
                <c:pt idx="1265">
                  <c:v>Private Lab</c:v>
                </c:pt>
                <c:pt idx="1266">
                  <c:v>All Others</c:v>
                </c:pt>
                <c:pt idx="1267">
                  <c:v>All Others</c:v>
                </c:pt>
                <c:pt idx="1268">
                  <c:v>Milleret: A</c:v>
                </c:pt>
                <c:pt idx="1269">
                  <c:v>All Others</c:v>
                </c:pt>
                <c:pt idx="1270">
                  <c:v>Islos</c:v>
                </c:pt>
                <c:pt idx="1271">
                  <c:v>All Others</c:v>
                </c:pt>
                <c:pt idx="1272">
                  <c:v>All Others</c:v>
                </c:pt>
                <c:pt idx="1273">
                  <c:v>Etoile Du V</c:v>
                </c:pt>
                <c:pt idx="1274">
                  <c:v>All Others</c:v>
                </c:pt>
                <c:pt idx="1275">
                  <c:v>Philadelphi</c:v>
                </c:pt>
                <c:pt idx="1276">
                  <c:v>All Others</c:v>
                </c:pt>
                <c:pt idx="1277">
                  <c:v>Lactalis: A</c:v>
                </c:pt>
                <c:pt idx="1278">
                  <c:v>All Others</c:v>
                </c:pt>
                <c:pt idx="1279">
                  <c:v>All Others</c:v>
                </c:pt>
                <c:pt idx="1280">
                  <c:v>Milleret: A</c:v>
                </c:pt>
                <c:pt idx="1281">
                  <c:v>All Others</c:v>
                </c:pt>
                <c:pt idx="1282">
                  <c:v>All Others</c:v>
                </c:pt>
                <c:pt idx="1283">
                  <c:v>All Others</c:v>
                </c:pt>
                <c:pt idx="1284">
                  <c:v>All Others</c:v>
                </c:pt>
                <c:pt idx="1285">
                  <c:v>All Others</c:v>
                </c:pt>
                <c:pt idx="1286">
                  <c:v>Pave D'Affi</c:v>
                </c:pt>
                <c:pt idx="1287">
                  <c:v>All Others</c:v>
                </c:pt>
                <c:pt idx="1288">
                  <c:v>All Others</c:v>
                </c:pt>
                <c:pt idx="1289">
                  <c:v>All Others</c:v>
                </c:pt>
                <c:pt idx="1290">
                  <c:v>Private Lab</c:v>
                </c:pt>
                <c:pt idx="1291">
                  <c:v>All Others</c:v>
                </c:pt>
                <c:pt idx="1292">
                  <c:v>All Others</c:v>
                </c:pt>
                <c:pt idx="1293">
                  <c:v>Etoile Du V</c:v>
                </c:pt>
                <c:pt idx="1294">
                  <c:v>All Others</c:v>
                </c:pt>
                <c:pt idx="1295">
                  <c:v>Private Lab</c:v>
                </c:pt>
                <c:pt idx="1296">
                  <c:v>All Others</c:v>
                </c:pt>
                <c:pt idx="1297">
                  <c:v>All Others</c:v>
                </c:pt>
                <c:pt idx="1298">
                  <c:v>Casa Azzurr</c:v>
                </c:pt>
                <c:pt idx="1299">
                  <c:v>All Others</c:v>
                </c:pt>
                <c:pt idx="1300">
                  <c:v>Private Lab</c:v>
                </c:pt>
                <c:pt idx="1301">
                  <c:v>All Others</c:v>
                </c:pt>
                <c:pt idx="1302">
                  <c:v>Pave D'Affi</c:v>
                </c:pt>
                <c:pt idx="1303">
                  <c:v>All Others</c:v>
                </c:pt>
                <c:pt idx="1304">
                  <c:v>All Others</c:v>
                </c:pt>
                <c:pt idx="1305">
                  <c:v>All Others</c:v>
                </c:pt>
                <c:pt idx="1306">
                  <c:v>All Others</c:v>
                </c:pt>
                <c:pt idx="1307">
                  <c:v>Corsica</c:v>
                </c:pt>
                <c:pt idx="1308">
                  <c:v>All Others</c:v>
                </c:pt>
                <c:pt idx="1309">
                  <c:v>All Others</c:v>
                </c:pt>
                <c:pt idx="1310">
                  <c:v>Private Lab</c:v>
                </c:pt>
                <c:pt idx="1311">
                  <c:v>Private Lab</c:v>
                </c:pt>
                <c:pt idx="1312">
                  <c:v>All Others</c:v>
                </c:pt>
                <c:pt idx="1313">
                  <c:v>All Others</c:v>
                </c:pt>
                <c:pt idx="1314">
                  <c:v>All Others</c:v>
                </c:pt>
                <c:pt idx="1315">
                  <c:v>Parmareggio</c:v>
                </c:pt>
                <c:pt idx="1316">
                  <c:v>All Others</c:v>
                </c:pt>
                <c:pt idx="1317">
                  <c:v>All Others</c:v>
                </c:pt>
                <c:pt idx="1318">
                  <c:v>All Others</c:v>
                </c:pt>
                <c:pt idx="1319">
                  <c:v>Raguin</c:v>
                </c:pt>
                <c:pt idx="1320">
                  <c:v>All Others</c:v>
                </c:pt>
                <c:pt idx="1321">
                  <c:v>All Others</c:v>
                </c:pt>
                <c:pt idx="1322">
                  <c:v>Private Lab</c:v>
                </c:pt>
                <c:pt idx="1323">
                  <c:v>All Others</c:v>
                </c:pt>
                <c:pt idx="1324">
                  <c:v>All Others</c:v>
                </c:pt>
                <c:pt idx="1325">
                  <c:v>Private Lab</c:v>
                </c:pt>
                <c:pt idx="1326">
                  <c:v>Eurial Autr</c:v>
                </c:pt>
                <c:pt idx="1327">
                  <c:v>All Others</c:v>
                </c:pt>
                <c:pt idx="1328">
                  <c:v>All Others</c:v>
                </c:pt>
                <c:pt idx="1329">
                  <c:v>All Others</c:v>
                </c:pt>
                <c:pt idx="1330">
                  <c:v>All Others</c:v>
                </c:pt>
                <c:pt idx="1331">
                  <c:v>All Others</c:v>
                </c:pt>
                <c:pt idx="1332">
                  <c:v>All Others</c:v>
                </c:pt>
                <c:pt idx="1333">
                  <c:v>All Others</c:v>
                </c:pt>
                <c:pt idx="1334">
                  <c:v>All Others</c:v>
                </c:pt>
                <c:pt idx="1335">
                  <c:v>All Others</c:v>
                </c:pt>
                <c:pt idx="1336">
                  <c:v>Private Lab</c:v>
                </c:pt>
                <c:pt idx="1337">
                  <c:v>All Others</c:v>
                </c:pt>
                <c:pt idx="1338">
                  <c:v>All Others</c:v>
                </c:pt>
                <c:pt idx="1339">
                  <c:v>All Others</c:v>
                </c:pt>
                <c:pt idx="1340">
                  <c:v>All Others</c:v>
                </c:pt>
                <c:pt idx="1341">
                  <c:v>All Others</c:v>
                </c:pt>
                <c:pt idx="1342">
                  <c:v>All Others</c:v>
                </c:pt>
                <c:pt idx="1343">
                  <c:v>All Others</c:v>
                </c:pt>
                <c:pt idx="1344">
                  <c:v>Pave D'Affi</c:v>
                </c:pt>
                <c:pt idx="1345">
                  <c:v>Lactalis: A</c:v>
                </c:pt>
                <c:pt idx="1346">
                  <c:v>All Others</c:v>
                </c:pt>
                <c:pt idx="1347">
                  <c:v>Soignon</c:v>
                </c:pt>
                <c:pt idx="1348">
                  <c:v>All Others</c:v>
                </c:pt>
                <c:pt idx="1349">
                  <c:v>All Others</c:v>
                </c:pt>
                <c:pt idx="1350">
                  <c:v>Savencia: A</c:v>
                </c:pt>
                <c:pt idx="1351">
                  <c:v>All Others</c:v>
                </c:pt>
                <c:pt idx="1352">
                  <c:v>All Others</c:v>
                </c:pt>
                <c:pt idx="1353">
                  <c:v>All Others</c:v>
                </c:pt>
                <c:pt idx="1354">
                  <c:v>All Others</c:v>
                </c:pt>
                <c:pt idx="1355">
                  <c:v>All Others</c:v>
                </c:pt>
                <c:pt idx="1356">
                  <c:v>Etoile Du V</c:v>
                </c:pt>
                <c:pt idx="1357">
                  <c:v>All Others</c:v>
                </c:pt>
                <c:pt idx="1358">
                  <c:v>All Others</c:v>
                </c:pt>
                <c:pt idx="1359">
                  <c:v>All Others</c:v>
                </c:pt>
                <c:pt idx="1360">
                  <c:v>Pochat</c:v>
                </c:pt>
                <c:pt idx="1361">
                  <c:v>All Others</c:v>
                </c:pt>
                <c:pt idx="1362">
                  <c:v>Private Lab</c:v>
                </c:pt>
                <c:pt idx="1363">
                  <c:v>La Belle Et</c:v>
                </c:pt>
                <c:pt idx="1364">
                  <c:v>Boursin</c:v>
                </c:pt>
                <c:pt idx="1365">
                  <c:v>All Others</c:v>
                </c:pt>
                <c:pt idx="1366">
                  <c:v>Private Lab</c:v>
                </c:pt>
                <c:pt idx="1367">
                  <c:v>All Others</c:v>
                </c:pt>
                <c:pt idx="1368">
                  <c:v>All Others</c:v>
                </c:pt>
                <c:pt idx="1369">
                  <c:v>All Others</c:v>
                </c:pt>
                <c:pt idx="1370">
                  <c:v>All Others</c:v>
                </c:pt>
                <c:pt idx="1371">
                  <c:v>All Others</c:v>
                </c:pt>
                <c:pt idx="1372">
                  <c:v>All Others</c:v>
                </c:pt>
                <c:pt idx="1373">
                  <c:v>All Others</c:v>
                </c:pt>
                <c:pt idx="1374">
                  <c:v>All Others</c:v>
                </c:pt>
                <c:pt idx="1375">
                  <c:v>Milleret: A</c:v>
                </c:pt>
                <c:pt idx="1376">
                  <c:v>All Others</c:v>
                </c:pt>
                <c:pt idx="1377">
                  <c:v>Private Lab</c:v>
                </c:pt>
                <c:pt idx="1378">
                  <c:v>Etoile Du V</c:v>
                </c:pt>
                <c:pt idx="1379">
                  <c:v>All Others</c:v>
                </c:pt>
                <c:pt idx="1380">
                  <c:v>All Others</c:v>
                </c:pt>
                <c:pt idx="1381">
                  <c:v>All Others</c:v>
                </c:pt>
                <c:pt idx="1382">
                  <c:v>All Others</c:v>
                </c:pt>
                <c:pt idx="1383">
                  <c:v>Triballat R</c:v>
                </c:pt>
                <c:pt idx="1384">
                  <c:v>Entremont</c:v>
                </c:pt>
                <c:pt idx="1385">
                  <c:v>All Others</c:v>
                </c:pt>
                <c:pt idx="1386">
                  <c:v>All Others</c:v>
                </c:pt>
                <c:pt idx="1387">
                  <c:v>All Others</c:v>
                </c:pt>
                <c:pt idx="1388">
                  <c:v>Eurial Autr</c:v>
                </c:pt>
                <c:pt idx="1389">
                  <c:v>Lactalis: A</c:v>
                </c:pt>
                <c:pt idx="1390">
                  <c:v>All Others</c:v>
                </c:pt>
                <c:pt idx="1391">
                  <c:v>Port Salut</c:v>
                </c:pt>
                <c:pt idx="1392">
                  <c:v>Kiri</c:v>
                </c:pt>
                <c:pt idx="1393">
                  <c:v>Triballat R</c:v>
                </c:pt>
                <c:pt idx="1394">
                  <c:v>Entremont</c:v>
                </c:pt>
                <c:pt idx="1395">
                  <c:v>All Others</c:v>
                </c:pt>
                <c:pt idx="1396">
                  <c:v>All Others</c:v>
                </c:pt>
                <c:pt idx="1397">
                  <c:v>La Belle Et</c:v>
                </c:pt>
                <c:pt idx="1398">
                  <c:v>Etoile Du V</c:v>
                </c:pt>
                <c:pt idx="1399">
                  <c:v>All Others</c:v>
                </c:pt>
                <c:pt idx="1400">
                  <c:v>All Others</c:v>
                </c:pt>
                <c:pt idx="1401">
                  <c:v>All Others</c:v>
                </c:pt>
                <c:pt idx="1402">
                  <c:v>All Others</c:v>
                </c:pt>
                <c:pt idx="1403">
                  <c:v>All Others</c:v>
                </c:pt>
                <c:pt idx="1404">
                  <c:v>All Others</c:v>
                </c:pt>
                <c:pt idx="1405">
                  <c:v>All Others</c:v>
                </c:pt>
                <c:pt idx="1406">
                  <c:v>All Others</c:v>
                </c:pt>
                <c:pt idx="1407">
                  <c:v>La Belle Et</c:v>
                </c:pt>
                <c:pt idx="1408">
                  <c:v>All Others</c:v>
                </c:pt>
                <c:pt idx="1409">
                  <c:v>All Others</c:v>
                </c:pt>
                <c:pt idx="1410">
                  <c:v>All Others</c:v>
                </c:pt>
                <c:pt idx="1411">
                  <c:v>All Others</c:v>
                </c:pt>
                <c:pt idx="1412">
                  <c:v>All Others</c:v>
                </c:pt>
                <c:pt idx="1413">
                  <c:v>All Others</c:v>
                </c:pt>
                <c:pt idx="1414">
                  <c:v>All Others</c:v>
                </c:pt>
                <c:pt idx="1415">
                  <c:v>All Others</c:v>
                </c:pt>
                <c:pt idx="1416">
                  <c:v>All Others</c:v>
                </c:pt>
                <c:pt idx="1417">
                  <c:v>All Others</c:v>
                </c:pt>
                <c:pt idx="1418">
                  <c:v>Private Lab</c:v>
                </c:pt>
                <c:pt idx="1419">
                  <c:v>Nurishh</c:v>
                </c:pt>
                <c:pt idx="1420">
                  <c:v>All Others</c:v>
                </c:pt>
                <c:pt idx="1421">
                  <c:v>All Others</c:v>
                </c:pt>
                <c:pt idx="1422">
                  <c:v>All Others</c:v>
                </c:pt>
                <c:pt idx="1423">
                  <c:v>La Belle Et</c:v>
                </c:pt>
                <c:pt idx="1424">
                  <c:v>All Others</c:v>
                </c:pt>
                <c:pt idx="1425">
                  <c:v>Nurishh</c:v>
                </c:pt>
                <c:pt idx="1426">
                  <c:v>All Others</c:v>
                </c:pt>
                <c:pt idx="1427">
                  <c:v>All Others</c:v>
                </c:pt>
                <c:pt idx="1428">
                  <c:v>La Belle Et</c:v>
                </c:pt>
                <c:pt idx="1429">
                  <c:v>All Others</c:v>
                </c:pt>
                <c:pt idx="1430">
                  <c:v>Eurial Autr</c:v>
                </c:pt>
                <c:pt idx="1431">
                  <c:v>All Others</c:v>
                </c:pt>
                <c:pt idx="1432">
                  <c:v>Juraflore</c:v>
                </c:pt>
                <c:pt idx="1433">
                  <c:v>All Others</c:v>
                </c:pt>
                <c:pt idx="1434">
                  <c:v>All Others</c:v>
                </c:pt>
                <c:pt idx="1435">
                  <c:v>All Others</c:v>
                </c:pt>
                <c:pt idx="1436">
                  <c:v>All Others</c:v>
                </c:pt>
                <c:pt idx="1437">
                  <c:v>Boursin</c:v>
                </c:pt>
                <c:pt idx="1438">
                  <c:v>All Others</c:v>
                </c:pt>
                <c:pt idx="1439">
                  <c:v>All Others</c:v>
                </c:pt>
                <c:pt idx="1440">
                  <c:v>Milleret: A</c:v>
                </c:pt>
                <c:pt idx="1441">
                  <c:v>Lactalis: A</c:v>
                </c:pt>
                <c:pt idx="1442">
                  <c:v>All Others</c:v>
                </c:pt>
                <c:pt idx="1443">
                  <c:v>All Others</c:v>
                </c:pt>
                <c:pt idx="1444">
                  <c:v>Eurial Autr</c:v>
                </c:pt>
                <c:pt idx="1445">
                  <c:v>All Others</c:v>
                </c:pt>
                <c:pt idx="1446">
                  <c:v>All Others</c:v>
                </c:pt>
                <c:pt idx="1447">
                  <c:v>All Others</c:v>
                </c:pt>
                <c:pt idx="1448">
                  <c:v>Entremont</c:v>
                </c:pt>
                <c:pt idx="1449">
                  <c:v>All Others</c:v>
                </c:pt>
                <c:pt idx="1450">
                  <c:v>All Others</c:v>
                </c:pt>
                <c:pt idx="1451">
                  <c:v>All Others</c:v>
                </c:pt>
                <c:pt idx="1452">
                  <c:v>All Others</c:v>
                </c:pt>
                <c:pt idx="1453">
                  <c:v>All Others</c:v>
                </c:pt>
                <c:pt idx="1454">
                  <c:v>All Others</c:v>
                </c:pt>
                <c:pt idx="1455">
                  <c:v>All Others</c:v>
                </c:pt>
                <c:pt idx="1456">
                  <c:v>All Others</c:v>
                </c:pt>
                <c:pt idx="1457">
                  <c:v>Pave D'Affi</c:v>
                </c:pt>
                <c:pt idx="1458">
                  <c:v>All Others</c:v>
                </c:pt>
                <c:pt idx="1459">
                  <c:v>All Others</c:v>
                </c:pt>
                <c:pt idx="1460">
                  <c:v>Fauquet</c:v>
                </c:pt>
                <c:pt idx="1461">
                  <c:v>All Others</c:v>
                </c:pt>
                <c:pt idx="1462">
                  <c:v>All Others</c:v>
                </c:pt>
                <c:pt idx="1463">
                  <c:v>Paysan Bret</c:v>
                </c:pt>
                <c:pt idx="1464">
                  <c:v>All Others</c:v>
                </c:pt>
                <c:pt idx="1465">
                  <c:v>Lactalis: A</c:v>
                </c:pt>
                <c:pt idx="1466">
                  <c:v>All Others</c:v>
                </c:pt>
                <c:pt idx="1467">
                  <c:v>Etoile Du V</c:v>
                </c:pt>
                <c:pt idx="1468">
                  <c:v>All Others</c:v>
                </c:pt>
                <c:pt idx="1469">
                  <c:v>All Others</c:v>
                </c:pt>
                <c:pt idx="1470">
                  <c:v>President</c:v>
                </c:pt>
                <c:pt idx="1471">
                  <c:v>All Others</c:v>
                </c:pt>
                <c:pt idx="1472">
                  <c:v>Lactalis: A</c:v>
                </c:pt>
                <c:pt idx="1473">
                  <c:v>All Others</c:v>
                </c:pt>
                <c:pt idx="1474">
                  <c:v>All Others</c:v>
                </c:pt>
                <c:pt idx="1475">
                  <c:v>All Others</c:v>
                </c:pt>
                <c:pt idx="1476">
                  <c:v>All Others</c:v>
                </c:pt>
                <c:pt idx="1477">
                  <c:v>All Others</c:v>
                </c:pt>
                <c:pt idx="1478">
                  <c:v>All Others</c:v>
                </c:pt>
                <c:pt idx="1479">
                  <c:v>All Others</c:v>
                </c:pt>
                <c:pt idx="1480">
                  <c:v>All Others</c:v>
                </c:pt>
                <c:pt idx="1481">
                  <c:v>All Others</c:v>
                </c:pt>
                <c:pt idx="1482">
                  <c:v>All Others</c:v>
                </c:pt>
                <c:pt idx="1483">
                  <c:v>All Others</c:v>
                </c:pt>
                <c:pt idx="1484">
                  <c:v>All Others</c:v>
                </c:pt>
                <c:pt idx="1485">
                  <c:v>All Others</c:v>
                </c:pt>
                <c:pt idx="1486">
                  <c:v>Tartare</c:v>
                </c:pt>
                <c:pt idx="1487">
                  <c:v>All Others</c:v>
                </c:pt>
                <c:pt idx="1488">
                  <c:v>All Others</c:v>
                </c:pt>
                <c:pt idx="1489">
                  <c:v>All Others</c:v>
                </c:pt>
                <c:pt idx="1490">
                  <c:v>All Others</c:v>
                </c:pt>
                <c:pt idx="1491">
                  <c:v>President</c:v>
                </c:pt>
                <c:pt idx="1492">
                  <c:v>Juraflore</c:v>
                </c:pt>
                <c:pt idx="1493">
                  <c:v>All Others</c:v>
                </c:pt>
                <c:pt idx="1494">
                  <c:v>La Belle Et</c:v>
                </c:pt>
                <c:pt idx="1495">
                  <c:v>All Others</c:v>
                </c:pt>
                <c:pt idx="1496">
                  <c:v>All Others</c:v>
                </c:pt>
                <c:pt idx="1497">
                  <c:v>Private Lab</c:v>
                </c:pt>
                <c:pt idx="1498">
                  <c:v>Entremont</c:v>
                </c:pt>
                <c:pt idx="1499">
                  <c:v>All Others</c:v>
                </c:pt>
                <c:pt idx="1500">
                  <c:v>All Others</c:v>
                </c:pt>
                <c:pt idx="1501">
                  <c:v>All Others</c:v>
                </c:pt>
                <c:pt idx="1502">
                  <c:v>All Others</c:v>
                </c:pt>
                <c:pt idx="1503">
                  <c:v>All Others</c:v>
                </c:pt>
                <c:pt idx="1504">
                  <c:v>All Others</c:v>
                </c:pt>
                <c:pt idx="1505">
                  <c:v>Private Lab</c:v>
                </c:pt>
                <c:pt idx="1506">
                  <c:v>All Others</c:v>
                </c:pt>
                <c:pt idx="1507">
                  <c:v>Private Lab</c:v>
                </c:pt>
                <c:pt idx="1508">
                  <c:v>All Others</c:v>
                </c:pt>
                <c:pt idx="1509">
                  <c:v>All Others</c:v>
                </c:pt>
                <c:pt idx="1510">
                  <c:v>All Others</c:v>
                </c:pt>
                <c:pt idx="1511">
                  <c:v>Private Lab</c:v>
                </c:pt>
                <c:pt idx="1512">
                  <c:v>All Others</c:v>
                </c:pt>
                <c:pt idx="1513">
                  <c:v>All Others</c:v>
                </c:pt>
                <c:pt idx="1514">
                  <c:v>Etoile Du V</c:v>
                </c:pt>
                <c:pt idx="1515">
                  <c:v>St Moret</c:v>
                </c:pt>
                <c:pt idx="1516">
                  <c:v>All Others</c:v>
                </c:pt>
                <c:pt idx="1517">
                  <c:v>All Others</c:v>
                </c:pt>
                <c:pt idx="1518">
                  <c:v>All Others</c:v>
                </c:pt>
                <c:pt idx="1519">
                  <c:v>All Others</c:v>
                </c:pt>
                <c:pt idx="1520">
                  <c:v>All Others</c:v>
                </c:pt>
                <c:pt idx="1521">
                  <c:v>All Others</c:v>
                </c:pt>
                <c:pt idx="1522">
                  <c:v>All Others</c:v>
                </c:pt>
                <c:pt idx="1523">
                  <c:v>Mini Babybe</c:v>
                </c:pt>
                <c:pt idx="1524">
                  <c:v>All Others</c:v>
                </c:pt>
                <c:pt idx="1525">
                  <c:v>Casa Azzurr</c:v>
                </c:pt>
                <c:pt idx="1526">
                  <c:v>All Others</c:v>
                </c:pt>
                <c:pt idx="1527">
                  <c:v>All Others</c:v>
                </c:pt>
                <c:pt idx="1528">
                  <c:v>All Others</c:v>
                </c:pt>
                <c:pt idx="1529">
                  <c:v>All Others</c:v>
                </c:pt>
                <c:pt idx="1530">
                  <c:v>President</c:v>
                </c:pt>
                <c:pt idx="1531">
                  <c:v>All Others</c:v>
                </c:pt>
                <c:pt idx="1532">
                  <c:v>Soignon</c:v>
                </c:pt>
                <c:pt idx="1533">
                  <c:v>Lactalis: A</c:v>
                </c:pt>
                <c:pt idx="1534">
                  <c:v>Corsica</c:v>
                </c:pt>
                <c:pt idx="1535">
                  <c:v>All Others</c:v>
                </c:pt>
                <c:pt idx="1536">
                  <c:v>Richesmonts</c:v>
                </c:pt>
                <c:pt idx="1537">
                  <c:v>All Others</c:v>
                </c:pt>
                <c:pt idx="1538">
                  <c:v>All Others</c:v>
                </c:pt>
                <c:pt idx="1539">
                  <c:v>All Others</c:v>
                </c:pt>
                <c:pt idx="1540">
                  <c:v>All Others</c:v>
                </c:pt>
                <c:pt idx="1541">
                  <c:v>Lactalis: A</c:v>
                </c:pt>
                <c:pt idx="1542">
                  <c:v>All Others</c:v>
                </c:pt>
                <c:pt idx="1543">
                  <c:v>All Others</c:v>
                </c:pt>
                <c:pt idx="1544">
                  <c:v>Pave D'Affi</c:v>
                </c:pt>
                <c:pt idx="1545">
                  <c:v>All Others</c:v>
                </c:pt>
                <c:pt idx="1546">
                  <c:v>La Belle Et</c:v>
                </c:pt>
                <c:pt idx="1547">
                  <c:v>All Others</c:v>
                </c:pt>
                <c:pt idx="1548">
                  <c:v>All Others</c:v>
                </c:pt>
                <c:pt idx="1549">
                  <c:v>All Others</c:v>
                </c:pt>
                <c:pt idx="1550">
                  <c:v>All Others</c:v>
                </c:pt>
                <c:pt idx="1551">
                  <c:v>Private Lab</c:v>
                </c:pt>
                <c:pt idx="1552">
                  <c:v>All Others</c:v>
                </c:pt>
                <c:pt idx="1553">
                  <c:v>All Others</c:v>
                </c:pt>
                <c:pt idx="1554">
                  <c:v>Mini Babybe</c:v>
                </c:pt>
                <c:pt idx="1555">
                  <c:v>All Others</c:v>
                </c:pt>
                <c:pt idx="1556">
                  <c:v>All Others</c:v>
                </c:pt>
                <c:pt idx="1557">
                  <c:v>Cousteron</c:v>
                </c:pt>
                <c:pt idx="1558">
                  <c:v>All Others</c:v>
                </c:pt>
                <c:pt idx="1559">
                  <c:v>All Others</c:v>
                </c:pt>
                <c:pt idx="1560">
                  <c:v>All Others</c:v>
                </c:pt>
                <c:pt idx="1561">
                  <c:v>Eurial Autr</c:v>
                </c:pt>
                <c:pt idx="1562">
                  <c:v>All Others</c:v>
                </c:pt>
                <c:pt idx="1563">
                  <c:v>All Others</c:v>
                </c:pt>
                <c:pt idx="1564">
                  <c:v>All Others</c:v>
                </c:pt>
                <c:pt idx="1565">
                  <c:v>Entremont</c:v>
                </c:pt>
                <c:pt idx="1566">
                  <c:v>All Others</c:v>
                </c:pt>
                <c:pt idx="1567">
                  <c:v>Lou Perac</c:v>
                </c:pt>
                <c:pt idx="1568">
                  <c:v>All Others</c:v>
                </c:pt>
                <c:pt idx="1569">
                  <c:v>Societe</c:v>
                </c:pt>
                <c:pt idx="1570">
                  <c:v>All Others</c:v>
                </c:pt>
                <c:pt idx="1571">
                  <c:v>All Others</c:v>
                </c:pt>
                <c:pt idx="1572">
                  <c:v>St Moret</c:v>
                </c:pt>
                <c:pt idx="1573">
                  <c:v>Carre Frais</c:v>
                </c:pt>
                <c:pt idx="1574">
                  <c:v>All Others</c:v>
                </c:pt>
                <c:pt idx="1575">
                  <c:v>All Others</c:v>
                </c:pt>
                <c:pt idx="1576">
                  <c:v>All Others</c:v>
                </c:pt>
                <c:pt idx="1577">
                  <c:v>Private Lab</c:v>
                </c:pt>
                <c:pt idx="1578">
                  <c:v>La Pointe P</c:v>
                </c:pt>
                <c:pt idx="1579">
                  <c:v>All Others</c:v>
                </c:pt>
                <c:pt idx="1580">
                  <c:v>Private Lab</c:v>
                </c:pt>
                <c:pt idx="1581">
                  <c:v>Etoile Du V</c:v>
                </c:pt>
                <c:pt idx="1582">
                  <c:v>All Others</c:v>
                </c:pt>
                <c:pt idx="1583">
                  <c:v>All Others</c:v>
                </c:pt>
                <c:pt idx="1584">
                  <c:v>Fauquet</c:v>
                </c:pt>
                <c:pt idx="1585">
                  <c:v>All Others</c:v>
                </c:pt>
                <c:pt idx="1586">
                  <c:v>All Others</c:v>
                </c:pt>
                <c:pt idx="1587">
                  <c:v>All Others</c:v>
                </c:pt>
                <c:pt idx="1588">
                  <c:v>All Others</c:v>
                </c:pt>
                <c:pt idx="1589">
                  <c:v>All Others</c:v>
                </c:pt>
                <c:pt idx="1590">
                  <c:v>All Others</c:v>
                </c:pt>
                <c:pt idx="1591">
                  <c:v>La Belle Et</c:v>
                </c:pt>
                <c:pt idx="1592">
                  <c:v>All Others</c:v>
                </c:pt>
                <c:pt idx="1593">
                  <c:v>All Others</c:v>
                </c:pt>
                <c:pt idx="1594">
                  <c:v>Entremont</c:v>
                </c:pt>
                <c:pt idx="1595">
                  <c:v>All Others</c:v>
                </c:pt>
                <c:pt idx="1596">
                  <c:v>All Others</c:v>
                </c:pt>
                <c:pt idx="1597">
                  <c:v>All Others</c:v>
                </c:pt>
                <c:pt idx="1598">
                  <c:v>All Others</c:v>
                </c:pt>
                <c:pt idx="1599">
                  <c:v>All Others</c:v>
                </c:pt>
                <c:pt idx="1600">
                  <c:v>Milleret: A</c:v>
                </c:pt>
                <c:pt idx="1601">
                  <c:v>All Others</c:v>
                </c:pt>
                <c:pt idx="1602">
                  <c:v>All Others</c:v>
                </c:pt>
                <c:pt idx="1603">
                  <c:v>Savencia: A</c:v>
                </c:pt>
                <c:pt idx="1604">
                  <c:v>All Others</c:v>
                </c:pt>
                <c:pt idx="1605">
                  <c:v>Etoile Du V</c:v>
                </c:pt>
                <c:pt idx="1606">
                  <c:v>All Others</c:v>
                </c:pt>
                <c:pt idx="1607">
                  <c:v>All Others</c:v>
                </c:pt>
                <c:pt idx="1608">
                  <c:v>All Others</c:v>
                </c:pt>
                <c:pt idx="1609">
                  <c:v>All Others</c:v>
                </c:pt>
                <c:pt idx="1610">
                  <c:v>All Others</c:v>
                </c:pt>
                <c:pt idx="1611">
                  <c:v>Lactalis: A</c:v>
                </c:pt>
                <c:pt idx="1612">
                  <c:v>All Others</c:v>
                </c:pt>
                <c:pt idx="1613">
                  <c:v>All Others</c:v>
                </c:pt>
                <c:pt idx="1614">
                  <c:v>All Others</c:v>
                </c:pt>
                <c:pt idx="1615">
                  <c:v>All Others</c:v>
                </c:pt>
                <c:pt idx="1616">
                  <c:v>All Others</c:v>
                </c:pt>
                <c:pt idx="1617">
                  <c:v>All Others</c:v>
                </c:pt>
                <c:pt idx="1618">
                  <c:v>All Others</c:v>
                </c:pt>
                <c:pt idx="1619">
                  <c:v>All Others</c:v>
                </c:pt>
                <c:pt idx="1620">
                  <c:v>Lactalis: A</c:v>
                </c:pt>
                <c:pt idx="1621">
                  <c:v>All Others</c:v>
                </c:pt>
                <c:pt idx="1622">
                  <c:v>All Others</c:v>
                </c:pt>
                <c:pt idx="1623">
                  <c:v>All Others</c:v>
                </c:pt>
                <c:pt idx="1624">
                  <c:v>Savencia: A</c:v>
                </c:pt>
                <c:pt idx="1625">
                  <c:v>All Others</c:v>
                </c:pt>
                <c:pt idx="1626">
                  <c:v>All Others</c:v>
                </c:pt>
                <c:pt idx="1627">
                  <c:v>All Others</c:v>
                </c:pt>
                <c:pt idx="1628">
                  <c:v>Eurial Autr</c:v>
                </c:pt>
                <c:pt idx="1629">
                  <c:v>Etoile Du Q</c:v>
                </c:pt>
                <c:pt idx="1630">
                  <c:v>All Others</c:v>
                </c:pt>
                <c:pt idx="1631">
                  <c:v>All Others</c:v>
                </c:pt>
                <c:pt idx="1632">
                  <c:v>All Others</c:v>
                </c:pt>
                <c:pt idx="1633">
                  <c:v>Milleret: A</c:v>
                </c:pt>
                <c:pt idx="1634">
                  <c:v>All Others</c:v>
                </c:pt>
                <c:pt idx="1635">
                  <c:v>Private Lab</c:v>
                </c:pt>
                <c:pt idx="1636">
                  <c:v>All Others</c:v>
                </c:pt>
                <c:pt idx="1637">
                  <c:v>All Others</c:v>
                </c:pt>
                <c:pt idx="1638">
                  <c:v>All Others</c:v>
                </c:pt>
                <c:pt idx="1639">
                  <c:v>All Others</c:v>
                </c:pt>
                <c:pt idx="1640">
                  <c:v>L'Ortolan</c:v>
                </c:pt>
                <c:pt idx="1641">
                  <c:v>Savencia: A</c:v>
                </c:pt>
                <c:pt idx="1642">
                  <c:v>All Others</c:v>
                </c:pt>
                <c:pt idx="1643">
                  <c:v>All Others</c:v>
                </c:pt>
                <c:pt idx="1644">
                  <c:v>All Others</c:v>
                </c:pt>
                <c:pt idx="1645">
                  <c:v>All Others</c:v>
                </c:pt>
                <c:pt idx="1646">
                  <c:v>All Others</c:v>
                </c:pt>
                <c:pt idx="1647">
                  <c:v>Eurial Autr</c:v>
                </c:pt>
                <c:pt idx="1648">
                  <c:v>All Others</c:v>
                </c:pt>
                <c:pt idx="1649">
                  <c:v>Lou Perac</c:v>
                </c:pt>
                <c:pt idx="1650">
                  <c:v>All Others</c:v>
                </c:pt>
                <c:pt idx="1651">
                  <c:v>All Others</c:v>
                </c:pt>
                <c:pt idx="1652">
                  <c:v>All Others</c:v>
                </c:pt>
                <c:pt idx="1653">
                  <c:v>All Others</c:v>
                </c:pt>
                <c:pt idx="1654">
                  <c:v>President</c:v>
                </c:pt>
                <c:pt idx="1655">
                  <c:v>All Others</c:v>
                </c:pt>
                <c:pt idx="1656">
                  <c:v>All Others</c:v>
                </c:pt>
                <c:pt idx="1657">
                  <c:v>Raguin</c:v>
                </c:pt>
                <c:pt idx="1658">
                  <c:v>All Others</c:v>
                </c:pt>
                <c:pt idx="1659">
                  <c:v>All Others</c:v>
                </c:pt>
                <c:pt idx="1660">
                  <c:v>All Others</c:v>
                </c:pt>
                <c:pt idx="1661">
                  <c:v>All Others</c:v>
                </c:pt>
                <c:pt idx="1662">
                  <c:v>All Others</c:v>
                </c:pt>
                <c:pt idx="1663">
                  <c:v>All Others</c:v>
                </c:pt>
                <c:pt idx="1664">
                  <c:v>President</c:v>
                </c:pt>
                <c:pt idx="1665">
                  <c:v>Private Lab</c:v>
                </c:pt>
                <c:pt idx="1666">
                  <c:v>All Others</c:v>
                </c:pt>
                <c:pt idx="1667">
                  <c:v>All Others</c:v>
                </c:pt>
                <c:pt idx="1668">
                  <c:v>All Others</c:v>
                </c:pt>
                <c:pt idx="1669">
                  <c:v>All Others</c:v>
                </c:pt>
                <c:pt idx="1670">
                  <c:v>All Others</c:v>
                </c:pt>
                <c:pt idx="1671">
                  <c:v>All Others</c:v>
                </c:pt>
                <c:pt idx="1672">
                  <c:v>All Others</c:v>
                </c:pt>
                <c:pt idx="1673">
                  <c:v>All Others</c:v>
                </c:pt>
                <c:pt idx="1674">
                  <c:v>All Others</c:v>
                </c:pt>
                <c:pt idx="1675">
                  <c:v>All Others</c:v>
                </c:pt>
                <c:pt idx="1676">
                  <c:v>All Others</c:v>
                </c:pt>
                <c:pt idx="1677">
                  <c:v>All Others</c:v>
                </c:pt>
                <c:pt idx="1678">
                  <c:v>All Others</c:v>
                </c:pt>
                <c:pt idx="1679">
                  <c:v>All Others</c:v>
                </c:pt>
                <c:pt idx="1680">
                  <c:v>All Others</c:v>
                </c:pt>
                <c:pt idx="1681">
                  <c:v>La Belle Et</c:v>
                </c:pt>
                <c:pt idx="1682">
                  <c:v>All Others</c:v>
                </c:pt>
                <c:pt idx="1683">
                  <c:v>All Others</c:v>
                </c:pt>
                <c:pt idx="1684">
                  <c:v>All Others</c:v>
                </c:pt>
                <c:pt idx="1685">
                  <c:v>All Others</c:v>
                </c:pt>
                <c:pt idx="1686">
                  <c:v>All Others</c:v>
                </c:pt>
                <c:pt idx="1687">
                  <c:v>All Others</c:v>
                </c:pt>
                <c:pt idx="1688">
                  <c:v>All Others</c:v>
                </c:pt>
                <c:pt idx="1689">
                  <c:v>All Others</c:v>
                </c:pt>
                <c:pt idx="1690">
                  <c:v>All Others</c:v>
                </c:pt>
                <c:pt idx="1691">
                  <c:v>All Others</c:v>
                </c:pt>
                <c:pt idx="1692">
                  <c:v>La Belle Et</c:v>
                </c:pt>
                <c:pt idx="1693">
                  <c:v>All Others</c:v>
                </c:pt>
                <c:pt idx="1694">
                  <c:v>All Others</c:v>
                </c:pt>
                <c:pt idx="1695">
                  <c:v>All Others</c:v>
                </c:pt>
                <c:pt idx="1696">
                  <c:v>All Others</c:v>
                </c:pt>
                <c:pt idx="1697">
                  <c:v>All Others</c:v>
                </c:pt>
                <c:pt idx="1698">
                  <c:v>All Others</c:v>
                </c:pt>
                <c:pt idx="1699">
                  <c:v>All Others</c:v>
                </c:pt>
                <c:pt idx="1700">
                  <c:v>All Others</c:v>
                </c:pt>
                <c:pt idx="1701">
                  <c:v>All Others</c:v>
                </c:pt>
                <c:pt idx="1702">
                  <c:v>All Others</c:v>
                </c:pt>
                <c:pt idx="1703">
                  <c:v>Lactalis: A</c:v>
                </c:pt>
                <c:pt idx="1704">
                  <c:v>All Others</c:v>
                </c:pt>
                <c:pt idx="1705">
                  <c:v>All Others</c:v>
                </c:pt>
                <c:pt idx="1706">
                  <c:v>Lactalis: A</c:v>
                </c:pt>
                <c:pt idx="1707">
                  <c:v>All Others</c:v>
                </c:pt>
                <c:pt idx="1708">
                  <c:v>All Others</c:v>
                </c:pt>
                <c:pt idx="1709">
                  <c:v>All Others</c:v>
                </c:pt>
                <c:pt idx="1710">
                  <c:v>All Others</c:v>
                </c:pt>
                <c:pt idx="1711">
                  <c:v>All Others</c:v>
                </c:pt>
                <c:pt idx="1712">
                  <c:v>All Others</c:v>
                </c:pt>
                <c:pt idx="1713">
                  <c:v>All Others</c:v>
                </c:pt>
                <c:pt idx="1714">
                  <c:v>All Others</c:v>
                </c:pt>
                <c:pt idx="1715">
                  <c:v>All Others</c:v>
                </c:pt>
                <c:pt idx="1716">
                  <c:v>All Others</c:v>
                </c:pt>
                <c:pt idx="1717">
                  <c:v>All Others</c:v>
                </c:pt>
                <c:pt idx="1718">
                  <c:v>Savencia: A</c:v>
                </c:pt>
                <c:pt idx="1719">
                  <c:v>Tartare</c:v>
                </c:pt>
                <c:pt idx="1720">
                  <c:v>All Others</c:v>
                </c:pt>
                <c:pt idx="1721">
                  <c:v>All Others</c:v>
                </c:pt>
                <c:pt idx="1722">
                  <c:v>All Others</c:v>
                </c:pt>
                <c:pt idx="1723">
                  <c:v>Vieux Pane</c:v>
                </c:pt>
                <c:pt idx="1724">
                  <c:v>All Others</c:v>
                </c:pt>
                <c:pt idx="1725">
                  <c:v>All Others</c:v>
                </c:pt>
                <c:pt idx="1726">
                  <c:v>All Others</c:v>
                </c:pt>
                <c:pt idx="1727">
                  <c:v>Etoile Du V</c:v>
                </c:pt>
                <c:pt idx="1728">
                  <c:v>All Others</c:v>
                </c:pt>
                <c:pt idx="1729">
                  <c:v>All Others</c:v>
                </c:pt>
                <c:pt idx="1730">
                  <c:v>All Others</c:v>
                </c:pt>
                <c:pt idx="1731">
                  <c:v>Paysan Bret</c:v>
                </c:pt>
                <c:pt idx="1732">
                  <c:v>All Others</c:v>
                </c:pt>
                <c:pt idx="1733">
                  <c:v>All Others</c:v>
                </c:pt>
                <c:pt idx="1734">
                  <c:v>All Others</c:v>
                </c:pt>
                <c:pt idx="1735">
                  <c:v>President</c:v>
                </c:pt>
                <c:pt idx="1736">
                  <c:v>All Others</c:v>
                </c:pt>
                <c:pt idx="1737">
                  <c:v>Lactalis: A</c:v>
                </c:pt>
                <c:pt idx="1738">
                  <c:v>All Others</c:v>
                </c:pt>
                <c:pt idx="1739">
                  <c:v>Pochat</c:v>
                </c:pt>
                <c:pt idx="1740">
                  <c:v>All Others</c:v>
                </c:pt>
                <c:pt idx="1741">
                  <c:v>All Others</c:v>
                </c:pt>
                <c:pt idx="1742">
                  <c:v>All Others</c:v>
                </c:pt>
                <c:pt idx="1743">
                  <c:v>All Others</c:v>
                </c:pt>
                <c:pt idx="1744">
                  <c:v>All Others</c:v>
                </c:pt>
                <c:pt idx="1745">
                  <c:v>All Others</c:v>
                </c:pt>
                <c:pt idx="1746">
                  <c:v>All Others</c:v>
                </c:pt>
                <c:pt idx="1747">
                  <c:v>All Others</c:v>
                </c:pt>
                <c:pt idx="1748">
                  <c:v>All Others</c:v>
                </c:pt>
                <c:pt idx="1749">
                  <c:v>All Others</c:v>
                </c:pt>
                <c:pt idx="1750">
                  <c:v>All Others</c:v>
                </c:pt>
                <c:pt idx="1751">
                  <c:v>All Others</c:v>
                </c:pt>
                <c:pt idx="1752">
                  <c:v>All Others</c:v>
                </c:pt>
                <c:pt idx="1753">
                  <c:v>Eurial Autr</c:v>
                </c:pt>
                <c:pt idx="1754">
                  <c:v>All Others</c:v>
                </c:pt>
                <c:pt idx="1755">
                  <c:v>All Others</c:v>
                </c:pt>
                <c:pt idx="1756">
                  <c:v>All Others</c:v>
                </c:pt>
                <c:pt idx="1757">
                  <c:v>Triballat R</c:v>
                </c:pt>
                <c:pt idx="1758">
                  <c:v>La Belle Et</c:v>
                </c:pt>
                <c:pt idx="1759">
                  <c:v>Savencia: A</c:v>
                </c:pt>
                <c:pt idx="1760">
                  <c:v>Savencia: A</c:v>
                </c:pt>
                <c:pt idx="1761">
                  <c:v>All Others</c:v>
                </c:pt>
                <c:pt idx="1762">
                  <c:v>All Others</c:v>
                </c:pt>
                <c:pt idx="1763">
                  <c:v>Richesmonts</c:v>
                </c:pt>
                <c:pt idx="1764">
                  <c:v>All Others</c:v>
                </c:pt>
                <c:pt idx="1765">
                  <c:v>All Others</c:v>
                </c:pt>
                <c:pt idx="1766">
                  <c:v>Lactalis: A</c:v>
                </c:pt>
                <c:pt idx="1767">
                  <c:v>All Others</c:v>
                </c:pt>
                <c:pt idx="1768">
                  <c:v>Savencia: A</c:v>
                </c:pt>
                <c:pt idx="1769">
                  <c:v>All Others</c:v>
                </c:pt>
                <c:pt idx="1770">
                  <c:v>All Others</c:v>
                </c:pt>
                <c:pt idx="1771">
                  <c:v>All Others</c:v>
                </c:pt>
                <c:pt idx="1772">
                  <c:v>All Others</c:v>
                </c:pt>
                <c:pt idx="1773">
                  <c:v>All Others</c:v>
                </c:pt>
                <c:pt idx="1774">
                  <c:v>All Others</c:v>
                </c:pt>
                <c:pt idx="1775">
                  <c:v>All Others</c:v>
                </c:pt>
                <c:pt idx="1776">
                  <c:v>All Others</c:v>
                </c:pt>
                <c:pt idx="1777">
                  <c:v>All Others</c:v>
                </c:pt>
                <c:pt idx="1778">
                  <c:v>All Others</c:v>
                </c:pt>
                <c:pt idx="1779">
                  <c:v>Milleret: A</c:v>
                </c:pt>
                <c:pt idx="1780">
                  <c:v>All Others</c:v>
                </c:pt>
                <c:pt idx="1781">
                  <c:v>All Others</c:v>
                </c:pt>
                <c:pt idx="1782">
                  <c:v>All Others</c:v>
                </c:pt>
                <c:pt idx="1783">
                  <c:v>All Others</c:v>
                </c:pt>
                <c:pt idx="1784">
                  <c:v>All Others</c:v>
                </c:pt>
                <c:pt idx="1785">
                  <c:v>Eurial Autr</c:v>
                </c:pt>
                <c:pt idx="1786">
                  <c:v>Paysan Bret</c:v>
                </c:pt>
                <c:pt idx="1787">
                  <c:v>All Others</c:v>
                </c:pt>
                <c:pt idx="1788">
                  <c:v>All Others</c:v>
                </c:pt>
                <c:pt idx="1789">
                  <c:v>La Belle Et</c:v>
                </c:pt>
                <c:pt idx="1790">
                  <c:v>All Others</c:v>
                </c:pt>
                <c:pt idx="1791">
                  <c:v>All Others</c:v>
                </c:pt>
                <c:pt idx="1792">
                  <c:v>All Others</c:v>
                </c:pt>
                <c:pt idx="1793">
                  <c:v>Leerdammer</c:v>
                </c:pt>
                <c:pt idx="1794">
                  <c:v>Pave D'Affi</c:v>
                </c:pt>
                <c:pt idx="1795">
                  <c:v>All Others</c:v>
                </c:pt>
                <c:pt idx="1796">
                  <c:v>All Others</c:v>
                </c:pt>
                <c:pt idx="1797">
                  <c:v>Soignon</c:v>
                </c:pt>
                <c:pt idx="1798">
                  <c:v>All Others</c:v>
                </c:pt>
                <c:pt idx="1799">
                  <c:v>All Others</c:v>
                </c:pt>
                <c:pt idx="1800">
                  <c:v>All Others</c:v>
                </c:pt>
                <c:pt idx="1801">
                  <c:v>All Others</c:v>
                </c:pt>
                <c:pt idx="1802">
                  <c:v>All Others</c:v>
                </c:pt>
                <c:pt idx="1803">
                  <c:v>All Others</c:v>
                </c:pt>
                <c:pt idx="1804">
                  <c:v>All Others</c:v>
                </c:pt>
                <c:pt idx="1805">
                  <c:v>Raguin</c:v>
                </c:pt>
                <c:pt idx="1806">
                  <c:v>All Others</c:v>
                </c:pt>
                <c:pt idx="1807">
                  <c:v>Lactalis: A</c:v>
                </c:pt>
                <c:pt idx="1808">
                  <c:v>Private Lab</c:v>
                </c:pt>
                <c:pt idx="1809">
                  <c:v>All Others</c:v>
                </c:pt>
                <c:pt idx="1810">
                  <c:v>All Others</c:v>
                </c:pt>
                <c:pt idx="1811">
                  <c:v>Paysan Bret</c:v>
                </c:pt>
                <c:pt idx="1812">
                  <c:v>Lou Perac</c:v>
                </c:pt>
                <c:pt idx="1813">
                  <c:v>All Others</c:v>
                </c:pt>
                <c:pt idx="1814">
                  <c:v>Pave D'Affi</c:v>
                </c:pt>
                <c:pt idx="1815">
                  <c:v>All Others</c:v>
                </c:pt>
                <c:pt idx="1816">
                  <c:v>Etoile Du V</c:v>
                </c:pt>
                <c:pt idx="1817">
                  <c:v>All Others</c:v>
                </c:pt>
                <c:pt idx="1818">
                  <c:v>All Others</c:v>
                </c:pt>
                <c:pt idx="1819">
                  <c:v>All Others</c:v>
                </c:pt>
                <c:pt idx="1820">
                  <c:v>All Others</c:v>
                </c:pt>
                <c:pt idx="1821">
                  <c:v>All Others</c:v>
                </c:pt>
                <c:pt idx="1822">
                  <c:v>All Others</c:v>
                </c:pt>
                <c:pt idx="1823">
                  <c:v>All Others</c:v>
                </c:pt>
                <c:pt idx="1824">
                  <c:v>All Others</c:v>
                </c:pt>
                <c:pt idx="1825">
                  <c:v>All Others</c:v>
                </c:pt>
                <c:pt idx="1826">
                  <c:v>President</c:v>
                </c:pt>
                <c:pt idx="1827">
                  <c:v>Raguin</c:v>
                </c:pt>
                <c:pt idx="1828">
                  <c:v>All Others</c:v>
                </c:pt>
                <c:pt idx="1829">
                  <c:v>Private Lab</c:v>
                </c:pt>
                <c:pt idx="1830">
                  <c:v>All Others</c:v>
                </c:pt>
                <c:pt idx="1831">
                  <c:v>All Others</c:v>
                </c:pt>
                <c:pt idx="1832">
                  <c:v>All Others</c:v>
                </c:pt>
                <c:pt idx="1833">
                  <c:v>Lactalis: A</c:v>
                </c:pt>
                <c:pt idx="1834">
                  <c:v>All Others</c:v>
                </c:pt>
                <c:pt idx="1835">
                  <c:v>All Others</c:v>
                </c:pt>
                <c:pt idx="1836">
                  <c:v>All Others</c:v>
                </c:pt>
                <c:pt idx="1837">
                  <c:v>All Others</c:v>
                </c:pt>
                <c:pt idx="1838">
                  <c:v>All Others</c:v>
                </c:pt>
                <c:pt idx="1839">
                  <c:v>All Others</c:v>
                </c:pt>
                <c:pt idx="1840">
                  <c:v>All Others</c:v>
                </c:pt>
                <c:pt idx="1841">
                  <c:v>All Others</c:v>
                </c:pt>
                <c:pt idx="1842">
                  <c:v>All Others</c:v>
                </c:pt>
                <c:pt idx="1843">
                  <c:v>All Others</c:v>
                </c:pt>
                <c:pt idx="1844">
                  <c:v>All Others</c:v>
                </c:pt>
                <c:pt idx="1845">
                  <c:v>All Others</c:v>
                </c:pt>
                <c:pt idx="1846">
                  <c:v>All Others</c:v>
                </c:pt>
                <c:pt idx="1847">
                  <c:v>All Others</c:v>
                </c:pt>
                <c:pt idx="1848">
                  <c:v>All Others</c:v>
                </c:pt>
                <c:pt idx="1849">
                  <c:v>All Others</c:v>
                </c:pt>
                <c:pt idx="1850">
                  <c:v>Soignon</c:v>
                </c:pt>
                <c:pt idx="1851">
                  <c:v>All Others</c:v>
                </c:pt>
                <c:pt idx="1852">
                  <c:v>All Others</c:v>
                </c:pt>
                <c:pt idx="1853">
                  <c:v>All Others</c:v>
                </c:pt>
                <c:pt idx="1854">
                  <c:v>Leerdammer</c:v>
                </c:pt>
                <c:pt idx="1855">
                  <c:v>All Others</c:v>
                </c:pt>
                <c:pt idx="1856">
                  <c:v>All Others</c:v>
                </c:pt>
                <c:pt idx="1857">
                  <c:v>All Others</c:v>
                </c:pt>
                <c:pt idx="1858">
                  <c:v>All Others</c:v>
                </c:pt>
                <c:pt idx="1859">
                  <c:v>Milleret: A</c:v>
                </c:pt>
                <c:pt idx="1860">
                  <c:v>Leerdammer</c:v>
                </c:pt>
                <c:pt idx="1861">
                  <c:v>All Others</c:v>
                </c:pt>
                <c:pt idx="1862">
                  <c:v>All Others</c:v>
                </c:pt>
                <c:pt idx="1863">
                  <c:v>All Others</c:v>
                </c:pt>
                <c:pt idx="1864">
                  <c:v>All Others</c:v>
                </c:pt>
                <c:pt idx="1865">
                  <c:v>All Others</c:v>
                </c:pt>
                <c:pt idx="1866">
                  <c:v>Fol Epi</c:v>
                </c:pt>
                <c:pt idx="1867">
                  <c:v>All Others</c:v>
                </c:pt>
                <c:pt idx="1868">
                  <c:v>Fol Epi</c:v>
                </c:pt>
                <c:pt idx="1869">
                  <c:v>Paysan Bret</c:v>
                </c:pt>
                <c:pt idx="1870">
                  <c:v>All Others</c:v>
                </c:pt>
                <c:pt idx="1871">
                  <c:v>All Others</c:v>
                </c:pt>
                <c:pt idx="1872">
                  <c:v>All Others</c:v>
                </c:pt>
                <c:pt idx="1873">
                  <c:v>All Others</c:v>
                </c:pt>
                <c:pt idx="1874">
                  <c:v>All Others</c:v>
                </c:pt>
                <c:pt idx="1875">
                  <c:v>All Others</c:v>
                </c:pt>
                <c:pt idx="1876">
                  <c:v>All Others</c:v>
                </c:pt>
                <c:pt idx="1877">
                  <c:v>All Others</c:v>
                </c:pt>
                <c:pt idx="1878">
                  <c:v>All Others</c:v>
                </c:pt>
                <c:pt idx="1879">
                  <c:v>All Others</c:v>
                </c:pt>
                <c:pt idx="1880">
                  <c:v>All Others</c:v>
                </c:pt>
                <c:pt idx="1881">
                  <c:v>All Others</c:v>
                </c:pt>
                <c:pt idx="1882">
                  <c:v>All Others</c:v>
                </c:pt>
                <c:pt idx="1883">
                  <c:v>Pave D'Affi</c:v>
                </c:pt>
                <c:pt idx="1884">
                  <c:v>All Others</c:v>
                </c:pt>
                <c:pt idx="1885">
                  <c:v>Lactalis: A</c:v>
                </c:pt>
                <c:pt idx="1886">
                  <c:v>All Others</c:v>
                </c:pt>
                <c:pt idx="1887">
                  <c:v>All Others</c:v>
                </c:pt>
                <c:pt idx="1888">
                  <c:v>All Others</c:v>
                </c:pt>
                <c:pt idx="1889">
                  <c:v>All Others</c:v>
                </c:pt>
                <c:pt idx="1890">
                  <c:v>All Others</c:v>
                </c:pt>
                <c:pt idx="1891">
                  <c:v>All Others</c:v>
                </c:pt>
                <c:pt idx="1892">
                  <c:v>All Others</c:v>
                </c:pt>
                <c:pt idx="1893">
                  <c:v>All Others</c:v>
                </c:pt>
                <c:pt idx="1894">
                  <c:v>Richesmonts</c:v>
                </c:pt>
                <c:pt idx="1895">
                  <c:v>All Others</c:v>
                </c:pt>
                <c:pt idx="1896">
                  <c:v>All Others</c:v>
                </c:pt>
                <c:pt idx="1897">
                  <c:v>All Others</c:v>
                </c:pt>
                <c:pt idx="1898">
                  <c:v>La Belle Et</c:v>
                </c:pt>
                <c:pt idx="1899">
                  <c:v>Triballat R</c:v>
                </c:pt>
                <c:pt idx="1900">
                  <c:v>All Others</c:v>
                </c:pt>
                <c:pt idx="1901">
                  <c:v>All Others</c:v>
                </c:pt>
                <c:pt idx="1902">
                  <c:v>Private Lab</c:v>
                </c:pt>
                <c:pt idx="1903">
                  <c:v>Private Lab</c:v>
                </c:pt>
                <c:pt idx="1904">
                  <c:v>All Others</c:v>
                </c:pt>
                <c:pt idx="1905">
                  <c:v>Lactalis: A</c:v>
                </c:pt>
                <c:pt idx="1906">
                  <c:v>All Others</c:v>
                </c:pt>
                <c:pt idx="1907">
                  <c:v>All Others</c:v>
                </c:pt>
                <c:pt idx="1908">
                  <c:v>Triballat R</c:v>
                </c:pt>
                <c:pt idx="1909">
                  <c:v>All Others</c:v>
                </c:pt>
                <c:pt idx="1910">
                  <c:v>All Others</c:v>
                </c:pt>
                <c:pt idx="1911">
                  <c:v>All Others</c:v>
                </c:pt>
                <c:pt idx="1912">
                  <c:v>President</c:v>
                </c:pt>
                <c:pt idx="1913">
                  <c:v>All Others</c:v>
                </c:pt>
                <c:pt idx="1914">
                  <c:v>Entremont</c:v>
                </c:pt>
                <c:pt idx="1915">
                  <c:v>All Others</c:v>
                </c:pt>
                <c:pt idx="1916">
                  <c:v>All Others</c:v>
                </c:pt>
                <c:pt idx="1917">
                  <c:v>All Others</c:v>
                </c:pt>
                <c:pt idx="1918">
                  <c:v>Entremont</c:v>
                </c:pt>
                <c:pt idx="1919">
                  <c:v>All Others</c:v>
                </c:pt>
                <c:pt idx="1920">
                  <c:v>Saint Agur</c:v>
                </c:pt>
                <c:pt idx="1921">
                  <c:v>All Others</c:v>
                </c:pt>
                <c:pt idx="1922">
                  <c:v>Private Lab</c:v>
                </c:pt>
                <c:pt idx="1923">
                  <c:v>Lactalis: A</c:v>
                </c:pt>
                <c:pt idx="1924">
                  <c:v>All Others</c:v>
                </c:pt>
                <c:pt idx="1925">
                  <c:v>All Others</c:v>
                </c:pt>
                <c:pt idx="1926">
                  <c:v>All Others</c:v>
                </c:pt>
                <c:pt idx="1927">
                  <c:v>All Others</c:v>
                </c:pt>
                <c:pt idx="1928">
                  <c:v>All Others</c:v>
                </c:pt>
                <c:pt idx="1929">
                  <c:v>All Others</c:v>
                </c:pt>
                <c:pt idx="1930">
                  <c:v>All Others</c:v>
                </c:pt>
                <c:pt idx="1931">
                  <c:v>All Others</c:v>
                </c:pt>
                <c:pt idx="1932">
                  <c:v>All Others</c:v>
                </c:pt>
                <c:pt idx="1933">
                  <c:v>All Others</c:v>
                </c:pt>
                <c:pt idx="1934">
                  <c:v>All Others</c:v>
                </c:pt>
                <c:pt idx="1935">
                  <c:v>All Others</c:v>
                </c:pt>
                <c:pt idx="1936">
                  <c:v>All Others</c:v>
                </c:pt>
                <c:pt idx="1937">
                  <c:v>All Others</c:v>
                </c:pt>
                <c:pt idx="1938">
                  <c:v>Raguin</c:v>
                </c:pt>
                <c:pt idx="1939">
                  <c:v>All Others</c:v>
                </c:pt>
                <c:pt idx="1940">
                  <c:v>All Others</c:v>
                </c:pt>
                <c:pt idx="1941">
                  <c:v>All Others</c:v>
                </c:pt>
                <c:pt idx="1942">
                  <c:v>All Others</c:v>
                </c:pt>
                <c:pt idx="1943">
                  <c:v>All Others</c:v>
                </c:pt>
                <c:pt idx="1944">
                  <c:v>All Others</c:v>
                </c:pt>
                <c:pt idx="1945">
                  <c:v>All Others</c:v>
                </c:pt>
                <c:pt idx="1946">
                  <c:v>All Others</c:v>
                </c:pt>
                <c:pt idx="1947">
                  <c:v>All Others</c:v>
                </c:pt>
                <c:pt idx="1948">
                  <c:v>All Others</c:v>
                </c:pt>
                <c:pt idx="1949">
                  <c:v>All Others</c:v>
                </c:pt>
                <c:pt idx="1950">
                  <c:v>All Others</c:v>
                </c:pt>
                <c:pt idx="1951">
                  <c:v>All Others</c:v>
                </c:pt>
                <c:pt idx="1952">
                  <c:v>Milleret: A</c:v>
                </c:pt>
                <c:pt idx="1953">
                  <c:v>All Others</c:v>
                </c:pt>
                <c:pt idx="1954">
                  <c:v>All Others</c:v>
                </c:pt>
                <c:pt idx="1955">
                  <c:v>Caprice Des</c:v>
                </c:pt>
                <c:pt idx="1956">
                  <c:v>All Others</c:v>
                </c:pt>
                <c:pt idx="1957">
                  <c:v>All Others</c:v>
                </c:pt>
                <c:pt idx="1958">
                  <c:v>Lactalis: A</c:v>
                </c:pt>
                <c:pt idx="1959">
                  <c:v>All Others</c:v>
                </c:pt>
                <c:pt idx="1960">
                  <c:v>All Others</c:v>
                </c:pt>
                <c:pt idx="1961">
                  <c:v>All Others</c:v>
                </c:pt>
                <c:pt idx="1962">
                  <c:v>Private Lab</c:v>
                </c:pt>
                <c:pt idx="1963">
                  <c:v>All Others</c:v>
                </c:pt>
                <c:pt idx="1964">
                  <c:v>Pave D'Affi</c:v>
                </c:pt>
                <c:pt idx="1965">
                  <c:v>All Others</c:v>
                </c:pt>
                <c:pt idx="1966">
                  <c:v>All Others</c:v>
                </c:pt>
                <c:pt idx="1967">
                  <c:v>All Others</c:v>
                </c:pt>
                <c:pt idx="1968">
                  <c:v>All Others</c:v>
                </c:pt>
                <c:pt idx="1969">
                  <c:v>All Others</c:v>
                </c:pt>
                <c:pt idx="1970">
                  <c:v>All Others</c:v>
                </c:pt>
                <c:pt idx="1971">
                  <c:v>All Others</c:v>
                </c:pt>
                <c:pt idx="1972">
                  <c:v>All Others</c:v>
                </c:pt>
                <c:pt idx="1973">
                  <c:v>La Belle Et</c:v>
                </c:pt>
                <c:pt idx="1974">
                  <c:v>All Others</c:v>
                </c:pt>
                <c:pt idx="1975">
                  <c:v>All Others</c:v>
                </c:pt>
                <c:pt idx="1976">
                  <c:v>Raguin</c:v>
                </c:pt>
                <c:pt idx="1977">
                  <c:v>All Others</c:v>
                </c:pt>
                <c:pt idx="1978">
                  <c:v>All Others</c:v>
                </c:pt>
                <c:pt idx="1979">
                  <c:v>All Others</c:v>
                </c:pt>
                <c:pt idx="1980">
                  <c:v>Lactalis: A</c:v>
                </c:pt>
                <c:pt idx="1981">
                  <c:v>All Others</c:v>
                </c:pt>
                <c:pt idx="1982">
                  <c:v>La Belle Et</c:v>
                </c:pt>
                <c:pt idx="1983">
                  <c:v>All Others</c:v>
                </c:pt>
                <c:pt idx="1984">
                  <c:v>All Others</c:v>
                </c:pt>
                <c:pt idx="1985">
                  <c:v>All Others</c:v>
                </c:pt>
                <c:pt idx="1986">
                  <c:v>All Others</c:v>
                </c:pt>
                <c:pt idx="1987">
                  <c:v>Lou Perac</c:v>
                </c:pt>
                <c:pt idx="1988">
                  <c:v>All Others</c:v>
                </c:pt>
                <c:pt idx="1989">
                  <c:v>All Others</c:v>
                </c:pt>
                <c:pt idx="1990">
                  <c:v>Savencia: A</c:v>
                </c:pt>
                <c:pt idx="1991">
                  <c:v>All Others</c:v>
                </c:pt>
                <c:pt idx="1992">
                  <c:v>All Others</c:v>
                </c:pt>
                <c:pt idx="1993">
                  <c:v>All Others</c:v>
                </c:pt>
                <c:pt idx="1994">
                  <c:v>All Others</c:v>
                </c:pt>
                <c:pt idx="1995">
                  <c:v>Private Lab</c:v>
                </c:pt>
                <c:pt idx="1996">
                  <c:v>Pochat</c:v>
                </c:pt>
                <c:pt idx="1997">
                  <c:v>All Others</c:v>
                </c:pt>
                <c:pt idx="1998">
                  <c:v>All Others</c:v>
                </c:pt>
                <c:pt idx="1999">
                  <c:v>All Others</c:v>
                </c:pt>
                <c:pt idx="2000">
                  <c:v>All Others</c:v>
                </c:pt>
                <c:pt idx="2001">
                  <c:v>All Others</c:v>
                </c:pt>
                <c:pt idx="2002">
                  <c:v>Mini Babybe</c:v>
                </c:pt>
                <c:pt idx="2003">
                  <c:v>All Others</c:v>
                </c:pt>
                <c:pt idx="2004">
                  <c:v>All Others</c:v>
                </c:pt>
                <c:pt idx="2005">
                  <c:v>All Others</c:v>
                </c:pt>
                <c:pt idx="2006">
                  <c:v>All Others</c:v>
                </c:pt>
                <c:pt idx="2007">
                  <c:v>All Others</c:v>
                </c:pt>
                <c:pt idx="2008">
                  <c:v>All Others</c:v>
                </c:pt>
                <c:pt idx="2009">
                  <c:v>Lactalis: A</c:v>
                </c:pt>
                <c:pt idx="2010">
                  <c:v>All Others</c:v>
                </c:pt>
                <c:pt idx="2011">
                  <c:v>All Others</c:v>
                </c:pt>
                <c:pt idx="2012">
                  <c:v>All Others</c:v>
                </c:pt>
                <c:pt idx="2013">
                  <c:v>Port Salut</c:v>
                </c:pt>
                <c:pt idx="2014">
                  <c:v>All Others</c:v>
                </c:pt>
                <c:pt idx="2015">
                  <c:v>All Others</c:v>
                </c:pt>
                <c:pt idx="2016">
                  <c:v>All Others</c:v>
                </c:pt>
                <c:pt idx="2017">
                  <c:v>All Others</c:v>
                </c:pt>
                <c:pt idx="2018">
                  <c:v>All Others</c:v>
                </c:pt>
                <c:pt idx="2019">
                  <c:v>All Others</c:v>
                </c:pt>
                <c:pt idx="2020">
                  <c:v>All Others</c:v>
                </c:pt>
                <c:pt idx="2021">
                  <c:v>All Others</c:v>
                </c:pt>
                <c:pt idx="2022">
                  <c:v>All Others</c:v>
                </c:pt>
                <c:pt idx="2023">
                  <c:v>All Others</c:v>
                </c:pt>
                <c:pt idx="2024">
                  <c:v>Richesmonts</c:v>
                </c:pt>
                <c:pt idx="2025">
                  <c:v>Private Lab</c:v>
                </c:pt>
                <c:pt idx="2026">
                  <c:v>All Others</c:v>
                </c:pt>
                <c:pt idx="2027">
                  <c:v>All Others</c:v>
                </c:pt>
                <c:pt idx="2028">
                  <c:v>All Others</c:v>
                </c:pt>
                <c:pt idx="2029">
                  <c:v>All Others</c:v>
                </c:pt>
                <c:pt idx="2030">
                  <c:v>All Others</c:v>
                </c:pt>
                <c:pt idx="2031">
                  <c:v>All Others</c:v>
                </c:pt>
                <c:pt idx="2032">
                  <c:v>All Others</c:v>
                </c:pt>
                <c:pt idx="2033">
                  <c:v>All Others</c:v>
                </c:pt>
                <c:pt idx="2034">
                  <c:v>All Others</c:v>
                </c:pt>
                <c:pt idx="2035">
                  <c:v>All Others</c:v>
                </c:pt>
                <c:pt idx="2036">
                  <c:v>All Others</c:v>
                </c:pt>
                <c:pt idx="2037">
                  <c:v>All Others</c:v>
                </c:pt>
                <c:pt idx="2038">
                  <c:v>All Others</c:v>
                </c:pt>
                <c:pt idx="2039">
                  <c:v>All Others</c:v>
                </c:pt>
                <c:pt idx="2040">
                  <c:v>All Others</c:v>
                </c:pt>
                <c:pt idx="2041">
                  <c:v>All Others</c:v>
                </c:pt>
                <c:pt idx="2042">
                  <c:v>All Others</c:v>
                </c:pt>
                <c:pt idx="2043">
                  <c:v>All Others</c:v>
                </c:pt>
                <c:pt idx="2044">
                  <c:v>Eurial Autr</c:v>
                </c:pt>
                <c:pt idx="2045">
                  <c:v>All Others</c:v>
                </c:pt>
                <c:pt idx="2046">
                  <c:v>All Others</c:v>
                </c:pt>
                <c:pt idx="2047">
                  <c:v>All Others</c:v>
                </c:pt>
                <c:pt idx="2048">
                  <c:v>All Others</c:v>
                </c:pt>
                <c:pt idx="2049">
                  <c:v>All Others</c:v>
                </c:pt>
                <c:pt idx="2050">
                  <c:v>All Others</c:v>
                </c:pt>
                <c:pt idx="2051">
                  <c:v>All Others</c:v>
                </c:pt>
                <c:pt idx="2052">
                  <c:v>All Others</c:v>
                </c:pt>
                <c:pt idx="2053">
                  <c:v>All Others</c:v>
                </c:pt>
                <c:pt idx="2054">
                  <c:v>All Others</c:v>
                </c:pt>
                <c:pt idx="2055">
                  <c:v>All Others</c:v>
                </c:pt>
                <c:pt idx="2056">
                  <c:v>All Others</c:v>
                </c:pt>
                <c:pt idx="2057">
                  <c:v>All Others</c:v>
                </c:pt>
                <c:pt idx="2058">
                  <c:v>All Others</c:v>
                </c:pt>
                <c:pt idx="2059">
                  <c:v>All Others</c:v>
                </c:pt>
                <c:pt idx="2060">
                  <c:v>All Others</c:v>
                </c:pt>
                <c:pt idx="2061">
                  <c:v>All Others</c:v>
                </c:pt>
                <c:pt idx="2062">
                  <c:v>All Others</c:v>
                </c:pt>
                <c:pt idx="2063">
                  <c:v>All Others</c:v>
                </c:pt>
                <c:pt idx="2064">
                  <c:v>All Others</c:v>
                </c:pt>
                <c:pt idx="2065">
                  <c:v>Private Lab</c:v>
                </c:pt>
                <c:pt idx="2066">
                  <c:v>All Others</c:v>
                </c:pt>
                <c:pt idx="2067">
                  <c:v>All Others</c:v>
                </c:pt>
                <c:pt idx="2068">
                  <c:v>All Others</c:v>
                </c:pt>
                <c:pt idx="2069">
                  <c:v>Le Saint Am</c:v>
                </c:pt>
                <c:pt idx="2070">
                  <c:v>All Others</c:v>
                </c:pt>
                <c:pt idx="2071">
                  <c:v>All Others</c:v>
                </c:pt>
                <c:pt idx="2072">
                  <c:v>All Others</c:v>
                </c:pt>
                <c:pt idx="2073">
                  <c:v>All Others</c:v>
                </c:pt>
                <c:pt idx="2074">
                  <c:v>All Others</c:v>
                </c:pt>
                <c:pt idx="2075">
                  <c:v>All Others</c:v>
                </c:pt>
                <c:pt idx="2076">
                  <c:v>All Others</c:v>
                </c:pt>
                <c:pt idx="2077">
                  <c:v>All Others</c:v>
                </c:pt>
                <c:pt idx="2078">
                  <c:v>All Others</c:v>
                </c:pt>
                <c:pt idx="2079">
                  <c:v>All Others</c:v>
                </c:pt>
                <c:pt idx="2080">
                  <c:v>All Others</c:v>
                </c:pt>
                <c:pt idx="2081">
                  <c:v>All Others</c:v>
                </c:pt>
                <c:pt idx="2082">
                  <c:v>Eurial Autr</c:v>
                </c:pt>
                <c:pt idx="2083">
                  <c:v>All Others</c:v>
                </c:pt>
                <c:pt idx="2084">
                  <c:v>All Others</c:v>
                </c:pt>
                <c:pt idx="2085">
                  <c:v>All Others</c:v>
                </c:pt>
                <c:pt idx="2086">
                  <c:v>All Others</c:v>
                </c:pt>
                <c:pt idx="2087">
                  <c:v>All Others</c:v>
                </c:pt>
                <c:pt idx="2088">
                  <c:v>All Others</c:v>
                </c:pt>
                <c:pt idx="2089">
                  <c:v>All Others</c:v>
                </c:pt>
                <c:pt idx="2090">
                  <c:v>All Others</c:v>
                </c:pt>
                <c:pt idx="2091">
                  <c:v>All Others</c:v>
                </c:pt>
                <c:pt idx="2092">
                  <c:v>Pave D'Affi</c:v>
                </c:pt>
                <c:pt idx="2093">
                  <c:v>All Others</c:v>
                </c:pt>
                <c:pt idx="2094">
                  <c:v>All Others</c:v>
                </c:pt>
                <c:pt idx="2095">
                  <c:v>All Others</c:v>
                </c:pt>
                <c:pt idx="2096">
                  <c:v>All Others</c:v>
                </c:pt>
                <c:pt idx="2097">
                  <c:v>All Others</c:v>
                </c:pt>
                <c:pt idx="2098">
                  <c:v>All Others</c:v>
                </c:pt>
                <c:pt idx="2099">
                  <c:v>All Others</c:v>
                </c:pt>
                <c:pt idx="2100">
                  <c:v>All Others</c:v>
                </c:pt>
                <c:pt idx="2101">
                  <c:v>All Others</c:v>
                </c:pt>
                <c:pt idx="2102">
                  <c:v>All Others</c:v>
                </c:pt>
                <c:pt idx="2103">
                  <c:v>All Others</c:v>
                </c:pt>
                <c:pt idx="2104">
                  <c:v>All Others</c:v>
                </c:pt>
                <c:pt idx="2105">
                  <c:v>All Others</c:v>
                </c:pt>
                <c:pt idx="2106">
                  <c:v>All Others</c:v>
                </c:pt>
                <c:pt idx="2107">
                  <c:v>All Others</c:v>
                </c:pt>
                <c:pt idx="2108">
                  <c:v>All Others</c:v>
                </c:pt>
                <c:pt idx="2109">
                  <c:v>All Others</c:v>
                </c:pt>
                <c:pt idx="2110">
                  <c:v>All Others</c:v>
                </c:pt>
                <c:pt idx="2111">
                  <c:v>All Others</c:v>
                </c:pt>
                <c:pt idx="2112">
                  <c:v>All Others</c:v>
                </c:pt>
                <c:pt idx="2113">
                  <c:v>All Others</c:v>
                </c:pt>
                <c:pt idx="2114">
                  <c:v>All Others</c:v>
                </c:pt>
                <c:pt idx="2115">
                  <c:v>All Others</c:v>
                </c:pt>
                <c:pt idx="2116">
                  <c:v>All Others</c:v>
                </c:pt>
                <c:pt idx="2117">
                  <c:v>All Others</c:v>
                </c:pt>
                <c:pt idx="2118">
                  <c:v>All Others</c:v>
                </c:pt>
                <c:pt idx="2119">
                  <c:v>All Others</c:v>
                </c:pt>
                <c:pt idx="2120">
                  <c:v>Private Lab</c:v>
                </c:pt>
                <c:pt idx="2121">
                  <c:v>All Others</c:v>
                </c:pt>
                <c:pt idx="2122">
                  <c:v>All Others</c:v>
                </c:pt>
                <c:pt idx="2123">
                  <c:v>All Others</c:v>
                </c:pt>
                <c:pt idx="2124">
                  <c:v>All Others</c:v>
                </c:pt>
                <c:pt idx="2125">
                  <c:v>All Others</c:v>
                </c:pt>
                <c:pt idx="2126">
                  <c:v>All Others</c:v>
                </c:pt>
                <c:pt idx="2127">
                  <c:v>All Others</c:v>
                </c:pt>
                <c:pt idx="2128">
                  <c:v>All Others</c:v>
                </c:pt>
                <c:pt idx="2129">
                  <c:v>All Others</c:v>
                </c:pt>
                <c:pt idx="2130">
                  <c:v>All Others</c:v>
                </c:pt>
                <c:pt idx="2131">
                  <c:v>All Others</c:v>
                </c:pt>
                <c:pt idx="2132">
                  <c:v>Lactalis: A</c:v>
                </c:pt>
                <c:pt idx="2133">
                  <c:v>All Others</c:v>
                </c:pt>
                <c:pt idx="2134">
                  <c:v>Limiano</c:v>
                </c:pt>
                <c:pt idx="2135">
                  <c:v>All Others</c:v>
                </c:pt>
                <c:pt idx="2136">
                  <c:v>All Others</c:v>
                </c:pt>
                <c:pt idx="2137">
                  <c:v>All Others</c:v>
                </c:pt>
                <c:pt idx="2138">
                  <c:v>All Others</c:v>
                </c:pt>
                <c:pt idx="2139">
                  <c:v>All Others</c:v>
                </c:pt>
                <c:pt idx="2140">
                  <c:v>All Others</c:v>
                </c:pt>
                <c:pt idx="2141">
                  <c:v>All Others</c:v>
                </c:pt>
                <c:pt idx="2142">
                  <c:v>All Others</c:v>
                </c:pt>
                <c:pt idx="2143">
                  <c:v>All Others</c:v>
                </c:pt>
                <c:pt idx="2144">
                  <c:v>All Others</c:v>
                </c:pt>
                <c:pt idx="2145">
                  <c:v>All Others</c:v>
                </c:pt>
                <c:pt idx="2146">
                  <c:v>All Others</c:v>
                </c:pt>
                <c:pt idx="2147">
                  <c:v>President</c:v>
                </c:pt>
                <c:pt idx="2148">
                  <c:v>All Others</c:v>
                </c:pt>
                <c:pt idx="2149">
                  <c:v>All Others</c:v>
                </c:pt>
                <c:pt idx="2150">
                  <c:v>All Others</c:v>
                </c:pt>
                <c:pt idx="2151">
                  <c:v>Raguin</c:v>
                </c:pt>
                <c:pt idx="2152">
                  <c:v>All Others</c:v>
                </c:pt>
                <c:pt idx="2153">
                  <c:v>All Others</c:v>
                </c:pt>
                <c:pt idx="2154">
                  <c:v>All Others</c:v>
                </c:pt>
                <c:pt idx="2155">
                  <c:v>All Others</c:v>
                </c:pt>
                <c:pt idx="2156">
                  <c:v>Lactalis: A</c:v>
                </c:pt>
                <c:pt idx="2157">
                  <c:v>All Others</c:v>
                </c:pt>
                <c:pt idx="2158">
                  <c:v>All Others</c:v>
                </c:pt>
                <c:pt idx="2159">
                  <c:v>All Others</c:v>
                </c:pt>
                <c:pt idx="2160">
                  <c:v>Private Lab</c:v>
                </c:pt>
                <c:pt idx="2161">
                  <c:v>All Others</c:v>
                </c:pt>
                <c:pt idx="2162">
                  <c:v>All Others</c:v>
                </c:pt>
                <c:pt idx="2163">
                  <c:v>All Others</c:v>
                </c:pt>
                <c:pt idx="2164">
                  <c:v>All Others</c:v>
                </c:pt>
                <c:pt idx="2165">
                  <c:v>All Others</c:v>
                </c:pt>
                <c:pt idx="2166">
                  <c:v>All Others</c:v>
                </c:pt>
                <c:pt idx="2167">
                  <c:v>All Others</c:v>
                </c:pt>
                <c:pt idx="2168">
                  <c:v>Raguin</c:v>
                </c:pt>
                <c:pt idx="2169">
                  <c:v>Etorki</c:v>
                </c:pt>
                <c:pt idx="2170">
                  <c:v>Etoile Du V</c:v>
                </c:pt>
                <c:pt idx="2171">
                  <c:v>All Others</c:v>
                </c:pt>
                <c:pt idx="2172">
                  <c:v>All Others</c:v>
                </c:pt>
                <c:pt idx="2173">
                  <c:v>All Others</c:v>
                </c:pt>
                <c:pt idx="2174">
                  <c:v>All Others</c:v>
                </c:pt>
                <c:pt idx="2175">
                  <c:v>All Others</c:v>
                </c:pt>
                <c:pt idx="2176">
                  <c:v>All Others</c:v>
                </c:pt>
                <c:pt idx="2177">
                  <c:v>All Others</c:v>
                </c:pt>
                <c:pt idx="2178">
                  <c:v>All Others</c:v>
                </c:pt>
                <c:pt idx="2179">
                  <c:v>All Others</c:v>
                </c:pt>
                <c:pt idx="2180">
                  <c:v>All Others</c:v>
                </c:pt>
                <c:pt idx="2181">
                  <c:v>All Others</c:v>
                </c:pt>
                <c:pt idx="2182">
                  <c:v>All Others</c:v>
                </c:pt>
                <c:pt idx="2183">
                  <c:v>All Others</c:v>
                </c:pt>
                <c:pt idx="2184">
                  <c:v>All Others</c:v>
                </c:pt>
                <c:pt idx="2185">
                  <c:v>Raguin</c:v>
                </c:pt>
                <c:pt idx="2186">
                  <c:v>All Others</c:v>
                </c:pt>
                <c:pt idx="2187">
                  <c:v>All Others</c:v>
                </c:pt>
                <c:pt idx="2188">
                  <c:v>All Others</c:v>
                </c:pt>
                <c:pt idx="2189">
                  <c:v>All Others</c:v>
                </c:pt>
                <c:pt idx="2190">
                  <c:v>All Others</c:v>
                </c:pt>
                <c:pt idx="2191">
                  <c:v>All Others</c:v>
                </c:pt>
                <c:pt idx="2192">
                  <c:v>All Others</c:v>
                </c:pt>
                <c:pt idx="2193">
                  <c:v>All Others</c:v>
                </c:pt>
                <c:pt idx="2194">
                  <c:v>All Others</c:v>
                </c:pt>
                <c:pt idx="2195">
                  <c:v>All Others</c:v>
                </c:pt>
                <c:pt idx="2196">
                  <c:v>All Others</c:v>
                </c:pt>
                <c:pt idx="2197">
                  <c:v>All Others</c:v>
                </c:pt>
                <c:pt idx="2198">
                  <c:v>All Others</c:v>
                </c:pt>
                <c:pt idx="2199">
                  <c:v>All Others</c:v>
                </c:pt>
                <c:pt idx="2200">
                  <c:v>Raguin</c:v>
                </c:pt>
                <c:pt idx="2201">
                  <c:v>All Others</c:v>
                </c:pt>
                <c:pt idx="2202">
                  <c:v>All Others</c:v>
                </c:pt>
                <c:pt idx="2203">
                  <c:v>All Others</c:v>
                </c:pt>
                <c:pt idx="2204">
                  <c:v>All Others</c:v>
                </c:pt>
                <c:pt idx="2205">
                  <c:v>All Others</c:v>
                </c:pt>
                <c:pt idx="2206">
                  <c:v>President</c:v>
                </c:pt>
                <c:pt idx="2207">
                  <c:v>All Others</c:v>
                </c:pt>
                <c:pt idx="2208">
                  <c:v>All Others</c:v>
                </c:pt>
                <c:pt idx="2209">
                  <c:v>All Others</c:v>
                </c:pt>
                <c:pt idx="2210">
                  <c:v>All Others</c:v>
                </c:pt>
                <c:pt idx="2211">
                  <c:v>All Others</c:v>
                </c:pt>
                <c:pt idx="2212">
                  <c:v>All Others</c:v>
                </c:pt>
                <c:pt idx="2213">
                  <c:v>All Others</c:v>
                </c:pt>
                <c:pt idx="2214">
                  <c:v>All Others</c:v>
                </c:pt>
                <c:pt idx="2215">
                  <c:v>All Others</c:v>
                </c:pt>
                <c:pt idx="2216">
                  <c:v>All Others</c:v>
                </c:pt>
                <c:pt idx="2217">
                  <c:v>All Others</c:v>
                </c:pt>
                <c:pt idx="2218">
                  <c:v>All Others</c:v>
                </c:pt>
                <c:pt idx="2219">
                  <c:v>Rondele</c:v>
                </c:pt>
                <c:pt idx="2220">
                  <c:v>All Others</c:v>
                </c:pt>
                <c:pt idx="2221">
                  <c:v>Lactalis: A</c:v>
                </c:pt>
                <c:pt idx="2222">
                  <c:v>All Others</c:v>
                </c:pt>
                <c:pt idx="2223">
                  <c:v>All Others</c:v>
                </c:pt>
                <c:pt idx="2224">
                  <c:v>All Others</c:v>
                </c:pt>
                <c:pt idx="2225">
                  <c:v>All Others</c:v>
                </c:pt>
                <c:pt idx="2226">
                  <c:v>All Others</c:v>
                </c:pt>
                <c:pt idx="2227">
                  <c:v>All Others</c:v>
                </c:pt>
                <c:pt idx="2228">
                  <c:v>Limiano</c:v>
                </c:pt>
                <c:pt idx="2229">
                  <c:v>All Others</c:v>
                </c:pt>
                <c:pt idx="2230">
                  <c:v>All Others</c:v>
                </c:pt>
                <c:pt idx="2231">
                  <c:v>All Others</c:v>
                </c:pt>
                <c:pt idx="2232">
                  <c:v>All Others</c:v>
                </c:pt>
                <c:pt idx="2233">
                  <c:v>All Others</c:v>
                </c:pt>
                <c:pt idx="2234">
                  <c:v>All Others</c:v>
                </c:pt>
                <c:pt idx="2235">
                  <c:v>All Others</c:v>
                </c:pt>
                <c:pt idx="2236">
                  <c:v>All Others</c:v>
                </c:pt>
                <c:pt idx="2237">
                  <c:v>All Others</c:v>
                </c:pt>
                <c:pt idx="2238">
                  <c:v>All Others</c:v>
                </c:pt>
                <c:pt idx="2239">
                  <c:v>All Others</c:v>
                </c:pt>
                <c:pt idx="2240">
                  <c:v>All Others</c:v>
                </c:pt>
                <c:pt idx="2241">
                  <c:v>All Others</c:v>
                </c:pt>
                <c:pt idx="2242">
                  <c:v>All Others</c:v>
                </c:pt>
                <c:pt idx="2243">
                  <c:v>All Others</c:v>
                </c:pt>
                <c:pt idx="2244">
                  <c:v>All Others</c:v>
                </c:pt>
                <c:pt idx="2245">
                  <c:v>All Others</c:v>
                </c:pt>
                <c:pt idx="2246">
                  <c:v>All Others</c:v>
                </c:pt>
                <c:pt idx="2247">
                  <c:v>All Others</c:v>
                </c:pt>
                <c:pt idx="2248">
                  <c:v>All Others</c:v>
                </c:pt>
                <c:pt idx="2249">
                  <c:v>All Others</c:v>
                </c:pt>
                <c:pt idx="2250">
                  <c:v>All Others</c:v>
                </c:pt>
                <c:pt idx="2251">
                  <c:v>All Others</c:v>
                </c:pt>
                <c:pt idx="2252">
                  <c:v>All Others</c:v>
                </c:pt>
                <c:pt idx="2253">
                  <c:v>All Others</c:v>
                </c:pt>
                <c:pt idx="2254">
                  <c:v>All Others</c:v>
                </c:pt>
                <c:pt idx="2255">
                  <c:v>All Others</c:v>
                </c:pt>
                <c:pt idx="2256">
                  <c:v>All Others</c:v>
                </c:pt>
                <c:pt idx="2257">
                  <c:v>All Others</c:v>
                </c:pt>
                <c:pt idx="2258">
                  <c:v>Rondele</c:v>
                </c:pt>
                <c:pt idx="2259">
                  <c:v>All Others</c:v>
                </c:pt>
                <c:pt idx="2260">
                  <c:v>All Others</c:v>
                </c:pt>
                <c:pt idx="2261">
                  <c:v>All Others</c:v>
                </c:pt>
                <c:pt idx="2262">
                  <c:v>All Others</c:v>
                </c:pt>
                <c:pt idx="2263">
                  <c:v>All Others</c:v>
                </c:pt>
                <c:pt idx="2264">
                  <c:v>Private Lab</c:v>
                </c:pt>
                <c:pt idx="2265">
                  <c:v>All Others</c:v>
                </c:pt>
                <c:pt idx="2266">
                  <c:v>O'Tapas Ape</c:v>
                </c:pt>
                <c:pt idx="2267">
                  <c:v>All Others</c:v>
                </c:pt>
                <c:pt idx="2268">
                  <c:v>All Others</c:v>
                </c:pt>
                <c:pt idx="2269">
                  <c:v>All Others</c:v>
                </c:pt>
                <c:pt idx="2270">
                  <c:v>All Others</c:v>
                </c:pt>
                <c:pt idx="2271">
                  <c:v>All Others</c:v>
                </c:pt>
                <c:pt idx="2272">
                  <c:v>Raguin</c:v>
                </c:pt>
                <c:pt idx="2273">
                  <c:v>All Others</c:v>
                </c:pt>
                <c:pt idx="2274">
                  <c:v>All Others</c:v>
                </c:pt>
                <c:pt idx="2275">
                  <c:v>All Others</c:v>
                </c:pt>
                <c:pt idx="2276">
                  <c:v>All Others</c:v>
                </c:pt>
                <c:pt idx="2277">
                  <c:v>All Others</c:v>
                </c:pt>
                <c:pt idx="2278">
                  <c:v>All Others</c:v>
                </c:pt>
                <c:pt idx="2279">
                  <c:v>All Others</c:v>
                </c:pt>
                <c:pt idx="2280">
                  <c:v>All Others</c:v>
                </c:pt>
                <c:pt idx="2281">
                  <c:v>All Others</c:v>
                </c:pt>
                <c:pt idx="2282">
                  <c:v>All Others</c:v>
                </c:pt>
                <c:pt idx="2283">
                  <c:v>All Others</c:v>
                </c:pt>
                <c:pt idx="2284">
                  <c:v>Soignon</c:v>
                </c:pt>
                <c:pt idx="2285">
                  <c:v>All Others</c:v>
                </c:pt>
                <c:pt idx="2286">
                  <c:v>All Others</c:v>
                </c:pt>
                <c:pt idx="2287">
                  <c:v>All Others</c:v>
                </c:pt>
                <c:pt idx="2288">
                  <c:v>All Others</c:v>
                </c:pt>
                <c:pt idx="2289">
                  <c:v>All Others</c:v>
                </c:pt>
                <c:pt idx="2290">
                  <c:v>All Others</c:v>
                </c:pt>
                <c:pt idx="2291">
                  <c:v>All Others</c:v>
                </c:pt>
                <c:pt idx="2292">
                  <c:v>All Others</c:v>
                </c:pt>
                <c:pt idx="2293">
                  <c:v>All Others</c:v>
                </c:pt>
                <c:pt idx="2294">
                  <c:v>All Others</c:v>
                </c:pt>
                <c:pt idx="2295">
                  <c:v>All Others</c:v>
                </c:pt>
                <c:pt idx="2296">
                  <c:v>All Others</c:v>
                </c:pt>
                <c:pt idx="2297">
                  <c:v>Lactalis: A</c:v>
                </c:pt>
                <c:pt idx="2298">
                  <c:v>All Others</c:v>
                </c:pt>
                <c:pt idx="2299">
                  <c:v>All Others</c:v>
                </c:pt>
                <c:pt idx="2300">
                  <c:v>Raguin</c:v>
                </c:pt>
                <c:pt idx="2301">
                  <c:v>All Others</c:v>
                </c:pt>
                <c:pt idx="2302">
                  <c:v>All Others</c:v>
                </c:pt>
                <c:pt idx="2303">
                  <c:v>All Others</c:v>
                </c:pt>
                <c:pt idx="2304">
                  <c:v>All Others</c:v>
                </c:pt>
                <c:pt idx="2305">
                  <c:v>All Others</c:v>
                </c:pt>
                <c:pt idx="2306">
                  <c:v>All Others</c:v>
                </c:pt>
                <c:pt idx="2307">
                  <c:v>All Others</c:v>
                </c:pt>
                <c:pt idx="2308">
                  <c:v>All Others</c:v>
                </c:pt>
                <c:pt idx="2309">
                  <c:v>All Others</c:v>
                </c:pt>
                <c:pt idx="2310">
                  <c:v>All Others</c:v>
                </c:pt>
                <c:pt idx="2311">
                  <c:v>All Others</c:v>
                </c:pt>
                <c:pt idx="2312">
                  <c:v>All Others</c:v>
                </c:pt>
                <c:pt idx="2313">
                  <c:v>All Others</c:v>
                </c:pt>
                <c:pt idx="2314">
                  <c:v>Lactalis: A</c:v>
                </c:pt>
                <c:pt idx="2315">
                  <c:v>All Others</c:v>
                </c:pt>
                <c:pt idx="2316">
                  <c:v>Rondele</c:v>
                </c:pt>
                <c:pt idx="2317">
                  <c:v>Raguin</c:v>
                </c:pt>
                <c:pt idx="2318">
                  <c:v>All Others</c:v>
                </c:pt>
                <c:pt idx="2319">
                  <c:v>All Others</c:v>
                </c:pt>
                <c:pt idx="2320">
                  <c:v>All Others</c:v>
                </c:pt>
                <c:pt idx="2321">
                  <c:v>All Others</c:v>
                </c:pt>
                <c:pt idx="2322">
                  <c:v>All Others</c:v>
                </c:pt>
                <c:pt idx="2323">
                  <c:v>All Others</c:v>
                </c:pt>
                <c:pt idx="2324">
                  <c:v>All Others</c:v>
                </c:pt>
                <c:pt idx="2325">
                  <c:v>All Others</c:v>
                </c:pt>
                <c:pt idx="2326">
                  <c:v>All Others</c:v>
                </c:pt>
                <c:pt idx="2327">
                  <c:v>All Others</c:v>
                </c:pt>
                <c:pt idx="2328">
                  <c:v>All Others</c:v>
                </c:pt>
                <c:pt idx="2329">
                  <c:v>All Others</c:v>
                </c:pt>
                <c:pt idx="2330">
                  <c:v>All Others</c:v>
                </c:pt>
                <c:pt idx="2331">
                  <c:v>All Others</c:v>
                </c:pt>
                <c:pt idx="2332">
                  <c:v>All Others</c:v>
                </c:pt>
                <c:pt idx="2333">
                  <c:v>All Others</c:v>
                </c:pt>
                <c:pt idx="2334">
                  <c:v>All Others</c:v>
                </c:pt>
                <c:pt idx="2335">
                  <c:v>Petit Billy</c:v>
                </c:pt>
                <c:pt idx="2336">
                  <c:v>All Others</c:v>
                </c:pt>
                <c:pt idx="2337">
                  <c:v>All Others</c:v>
                </c:pt>
                <c:pt idx="2338">
                  <c:v>All Others</c:v>
                </c:pt>
                <c:pt idx="2339">
                  <c:v>All Others</c:v>
                </c:pt>
                <c:pt idx="2340">
                  <c:v>All Others</c:v>
                </c:pt>
                <c:pt idx="2341">
                  <c:v>All Others</c:v>
                </c:pt>
                <c:pt idx="2342">
                  <c:v>All Others</c:v>
                </c:pt>
                <c:pt idx="2343">
                  <c:v>All Others</c:v>
                </c:pt>
                <c:pt idx="2344">
                  <c:v>All Others</c:v>
                </c:pt>
                <c:pt idx="2345">
                  <c:v>All Others</c:v>
                </c:pt>
                <c:pt idx="2346">
                  <c:v>All Others</c:v>
                </c:pt>
                <c:pt idx="2347">
                  <c:v>All Others</c:v>
                </c:pt>
                <c:pt idx="2348">
                  <c:v>All Others</c:v>
                </c:pt>
                <c:pt idx="2349">
                  <c:v>All Others</c:v>
                </c:pt>
                <c:pt idx="2350">
                  <c:v>All Others</c:v>
                </c:pt>
                <c:pt idx="2351">
                  <c:v>Lactalis: A</c:v>
                </c:pt>
                <c:pt idx="2352">
                  <c:v>All Others</c:v>
                </c:pt>
                <c:pt idx="2353">
                  <c:v>All Others</c:v>
                </c:pt>
                <c:pt idx="2354">
                  <c:v>Private Lab</c:v>
                </c:pt>
                <c:pt idx="2355">
                  <c:v>All Others</c:v>
                </c:pt>
                <c:pt idx="2356">
                  <c:v>Violife</c:v>
                </c:pt>
                <c:pt idx="2357">
                  <c:v>All Others</c:v>
                </c:pt>
                <c:pt idx="2358">
                  <c:v>All Others</c:v>
                </c:pt>
                <c:pt idx="2359">
                  <c:v>All Others</c:v>
                </c:pt>
                <c:pt idx="2360">
                  <c:v>All Others</c:v>
                </c:pt>
                <c:pt idx="2361">
                  <c:v>All Others</c:v>
                </c:pt>
                <c:pt idx="2362">
                  <c:v>All Others</c:v>
                </c:pt>
                <c:pt idx="2363">
                  <c:v>All Others</c:v>
                </c:pt>
                <c:pt idx="2364">
                  <c:v>All Others</c:v>
                </c:pt>
                <c:pt idx="2365">
                  <c:v>All Others</c:v>
                </c:pt>
                <c:pt idx="2366">
                  <c:v>All Others</c:v>
                </c:pt>
                <c:pt idx="2367">
                  <c:v>All Others</c:v>
                </c:pt>
                <c:pt idx="2368">
                  <c:v>Savencia: A</c:v>
                </c:pt>
                <c:pt idx="2369">
                  <c:v>Pave D'Affi</c:v>
                </c:pt>
                <c:pt idx="2370">
                  <c:v>All Others</c:v>
                </c:pt>
                <c:pt idx="2371">
                  <c:v>All Others</c:v>
                </c:pt>
                <c:pt idx="2372">
                  <c:v>All Others</c:v>
                </c:pt>
                <c:pt idx="2373">
                  <c:v>All Others</c:v>
                </c:pt>
                <c:pt idx="2374">
                  <c:v>All Others</c:v>
                </c:pt>
                <c:pt idx="2375">
                  <c:v>All Others</c:v>
                </c:pt>
                <c:pt idx="2376">
                  <c:v>All Others</c:v>
                </c:pt>
                <c:pt idx="2377">
                  <c:v>All Others</c:v>
                </c:pt>
                <c:pt idx="2378">
                  <c:v>All Others</c:v>
                </c:pt>
                <c:pt idx="2379">
                  <c:v>Private Lab</c:v>
                </c:pt>
                <c:pt idx="2380">
                  <c:v>All Others</c:v>
                </c:pt>
                <c:pt idx="2381">
                  <c:v>All Others</c:v>
                </c:pt>
                <c:pt idx="2382">
                  <c:v>All Others</c:v>
                </c:pt>
                <c:pt idx="2383">
                  <c:v>All Others</c:v>
                </c:pt>
                <c:pt idx="2384">
                  <c:v>All Others</c:v>
                </c:pt>
                <c:pt idx="2385">
                  <c:v>All Others</c:v>
                </c:pt>
                <c:pt idx="2386">
                  <c:v>All Others</c:v>
                </c:pt>
                <c:pt idx="2387">
                  <c:v>All Others</c:v>
                </c:pt>
                <c:pt idx="2388">
                  <c:v>All Others</c:v>
                </c:pt>
                <c:pt idx="2389">
                  <c:v>Savencia: A</c:v>
                </c:pt>
                <c:pt idx="2390">
                  <c:v>All Others</c:v>
                </c:pt>
                <c:pt idx="2391">
                  <c:v>All Others</c:v>
                </c:pt>
                <c:pt idx="2392">
                  <c:v>All Others</c:v>
                </c:pt>
                <c:pt idx="2393">
                  <c:v>All Others</c:v>
                </c:pt>
                <c:pt idx="2394">
                  <c:v>All Others</c:v>
                </c:pt>
                <c:pt idx="2395">
                  <c:v>All Others</c:v>
                </c:pt>
                <c:pt idx="2396">
                  <c:v>All Others</c:v>
                </c:pt>
                <c:pt idx="2397">
                  <c:v>All Others</c:v>
                </c:pt>
                <c:pt idx="2398">
                  <c:v>All Others</c:v>
                </c:pt>
                <c:pt idx="2399">
                  <c:v>All Others</c:v>
                </c:pt>
                <c:pt idx="2400">
                  <c:v>All Others</c:v>
                </c:pt>
                <c:pt idx="2401">
                  <c:v>All Others</c:v>
                </c:pt>
                <c:pt idx="2402">
                  <c:v>All Others</c:v>
                </c:pt>
                <c:pt idx="2403">
                  <c:v>All Others</c:v>
                </c:pt>
                <c:pt idx="2404">
                  <c:v>All Others</c:v>
                </c:pt>
                <c:pt idx="2405">
                  <c:v>All Others</c:v>
                </c:pt>
                <c:pt idx="2406">
                  <c:v>All Others</c:v>
                </c:pt>
                <c:pt idx="2407">
                  <c:v>Casa Azzurr</c:v>
                </c:pt>
                <c:pt idx="2408">
                  <c:v>All Others</c:v>
                </c:pt>
                <c:pt idx="2409">
                  <c:v>All Others</c:v>
                </c:pt>
                <c:pt idx="2410">
                  <c:v>Raguin</c:v>
                </c:pt>
                <c:pt idx="2411">
                  <c:v>All Others</c:v>
                </c:pt>
                <c:pt idx="2412">
                  <c:v>All Others</c:v>
                </c:pt>
                <c:pt idx="2413">
                  <c:v>All Others</c:v>
                </c:pt>
                <c:pt idx="2414">
                  <c:v>All Others</c:v>
                </c:pt>
                <c:pt idx="2415">
                  <c:v>All Others</c:v>
                </c:pt>
                <c:pt idx="2416">
                  <c:v>Etoile Du V</c:v>
                </c:pt>
                <c:pt idx="2417">
                  <c:v>All Others</c:v>
                </c:pt>
                <c:pt idx="2418">
                  <c:v>All Others</c:v>
                </c:pt>
                <c:pt idx="2419">
                  <c:v>Raguin</c:v>
                </c:pt>
                <c:pt idx="2420">
                  <c:v>All Others</c:v>
                </c:pt>
                <c:pt idx="2421">
                  <c:v>All Others</c:v>
                </c:pt>
                <c:pt idx="2422">
                  <c:v>All Others</c:v>
                </c:pt>
                <c:pt idx="2423">
                  <c:v>Pochat</c:v>
                </c:pt>
                <c:pt idx="2424">
                  <c:v>Raguin</c:v>
                </c:pt>
                <c:pt idx="2425">
                  <c:v>All Others</c:v>
                </c:pt>
                <c:pt idx="2426">
                  <c:v>All Others</c:v>
                </c:pt>
                <c:pt idx="2427">
                  <c:v>All Others</c:v>
                </c:pt>
                <c:pt idx="2428">
                  <c:v>All Others</c:v>
                </c:pt>
                <c:pt idx="2429">
                  <c:v>Casa Azzurr</c:v>
                </c:pt>
                <c:pt idx="2430">
                  <c:v>All Others</c:v>
                </c:pt>
                <c:pt idx="2431">
                  <c:v>All Others</c:v>
                </c:pt>
                <c:pt idx="2432">
                  <c:v>All Others</c:v>
                </c:pt>
                <c:pt idx="2433">
                  <c:v>All Others</c:v>
                </c:pt>
                <c:pt idx="2434">
                  <c:v>Pochat</c:v>
                </c:pt>
                <c:pt idx="2435">
                  <c:v>All Others</c:v>
                </c:pt>
                <c:pt idx="2436">
                  <c:v>All Others</c:v>
                </c:pt>
                <c:pt idx="2437">
                  <c:v>All Others</c:v>
                </c:pt>
                <c:pt idx="2438">
                  <c:v>All Others</c:v>
                </c:pt>
                <c:pt idx="2439">
                  <c:v>Private Lab</c:v>
                </c:pt>
                <c:pt idx="2440">
                  <c:v>All Others</c:v>
                </c:pt>
                <c:pt idx="2441">
                  <c:v>All Others</c:v>
                </c:pt>
                <c:pt idx="2442">
                  <c:v>All Others</c:v>
                </c:pt>
                <c:pt idx="2443">
                  <c:v>All Others</c:v>
                </c:pt>
                <c:pt idx="2444">
                  <c:v>All Others</c:v>
                </c:pt>
                <c:pt idx="2445">
                  <c:v>All Others</c:v>
                </c:pt>
                <c:pt idx="2446">
                  <c:v>All Others</c:v>
                </c:pt>
                <c:pt idx="2447">
                  <c:v>All Others</c:v>
                </c:pt>
                <c:pt idx="2448">
                  <c:v>All Others</c:v>
                </c:pt>
                <c:pt idx="2449">
                  <c:v>All Others</c:v>
                </c:pt>
                <c:pt idx="2450">
                  <c:v>All Others</c:v>
                </c:pt>
                <c:pt idx="2451">
                  <c:v>All Others</c:v>
                </c:pt>
                <c:pt idx="2452">
                  <c:v>All Others</c:v>
                </c:pt>
                <c:pt idx="2453">
                  <c:v>All Others</c:v>
                </c:pt>
                <c:pt idx="2454">
                  <c:v>All Others</c:v>
                </c:pt>
                <c:pt idx="2455">
                  <c:v>Private Lab</c:v>
                </c:pt>
                <c:pt idx="2456">
                  <c:v>All Others</c:v>
                </c:pt>
                <c:pt idx="2457">
                  <c:v>All Others</c:v>
                </c:pt>
                <c:pt idx="2458">
                  <c:v>All Others</c:v>
                </c:pt>
                <c:pt idx="2459">
                  <c:v>All Others</c:v>
                </c:pt>
                <c:pt idx="2460">
                  <c:v>All Others</c:v>
                </c:pt>
                <c:pt idx="2461">
                  <c:v>Le Saint Am</c:v>
                </c:pt>
                <c:pt idx="2462">
                  <c:v>All Others</c:v>
                </c:pt>
                <c:pt idx="2463">
                  <c:v>All Others</c:v>
                </c:pt>
                <c:pt idx="2464">
                  <c:v>All Others</c:v>
                </c:pt>
                <c:pt idx="2465">
                  <c:v>All Others</c:v>
                </c:pt>
                <c:pt idx="2466">
                  <c:v>All Others</c:v>
                </c:pt>
                <c:pt idx="2467">
                  <c:v>All Others</c:v>
                </c:pt>
                <c:pt idx="2468">
                  <c:v>All Others</c:v>
                </c:pt>
                <c:pt idx="2469">
                  <c:v>All Others</c:v>
                </c:pt>
                <c:pt idx="2470">
                  <c:v>All Others</c:v>
                </c:pt>
                <c:pt idx="2471">
                  <c:v>Raguin</c:v>
                </c:pt>
                <c:pt idx="2472">
                  <c:v>All Others</c:v>
                </c:pt>
                <c:pt idx="2473">
                  <c:v>All Others</c:v>
                </c:pt>
                <c:pt idx="2474">
                  <c:v>All Others</c:v>
                </c:pt>
                <c:pt idx="2475">
                  <c:v>All Others</c:v>
                </c:pt>
                <c:pt idx="2476">
                  <c:v>All Others</c:v>
                </c:pt>
                <c:pt idx="2477">
                  <c:v>All Others</c:v>
                </c:pt>
                <c:pt idx="2478">
                  <c:v>All Others</c:v>
                </c:pt>
                <c:pt idx="2479">
                  <c:v>All Others</c:v>
                </c:pt>
                <c:pt idx="2480">
                  <c:v>All Others</c:v>
                </c:pt>
                <c:pt idx="2481">
                  <c:v>All Others</c:v>
                </c:pt>
                <c:pt idx="2482">
                  <c:v>All Others</c:v>
                </c:pt>
                <c:pt idx="2483">
                  <c:v>All Others</c:v>
                </c:pt>
                <c:pt idx="2484">
                  <c:v>All Others</c:v>
                </c:pt>
                <c:pt idx="2485">
                  <c:v>All Others</c:v>
                </c:pt>
                <c:pt idx="2486">
                  <c:v>All Others</c:v>
                </c:pt>
                <c:pt idx="2487">
                  <c:v>All Others</c:v>
                </c:pt>
                <c:pt idx="2488">
                  <c:v>All Others</c:v>
                </c:pt>
                <c:pt idx="2489">
                  <c:v>All Others</c:v>
                </c:pt>
                <c:pt idx="2490">
                  <c:v>All Others</c:v>
                </c:pt>
                <c:pt idx="2491">
                  <c:v>All Others</c:v>
                </c:pt>
                <c:pt idx="2492">
                  <c:v>All Others</c:v>
                </c:pt>
                <c:pt idx="2493">
                  <c:v>All Others</c:v>
                </c:pt>
                <c:pt idx="2494">
                  <c:v>All Others</c:v>
                </c:pt>
                <c:pt idx="2495">
                  <c:v>All Others</c:v>
                </c:pt>
                <c:pt idx="2496">
                  <c:v>All Others</c:v>
                </c:pt>
                <c:pt idx="2497">
                  <c:v>All Others</c:v>
                </c:pt>
                <c:pt idx="2498">
                  <c:v>All Others</c:v>
                </c:pt>
                <c:pt idx="2499">
                  <c:v>All Others</c:v>
                </c:pt>
                <c:pt idx="2500">
                  <c:v>All Others</c:v>
                </c:pt>
                <c:pt idx="2501">
                  <c:v>All Others</c:v>
                </c:pt>
                <c:pt idx="2502">
                  <c:v>All Others</c:v>
                </c:pt>
                <c:pt idx="2503">
                  <c:v>All Others</c:v>
                </c:pt>
                <c:pt idx="2504">
                  <c:v>All Others</c:v>
                </c:pt>
                <c:pt idx="2505">
                  <c:v>All Others</c:v>
                </c:pt>
                <c:pt idx="2506">
                  <c:v>All Others</c:v>
                </c:pt>
                <c:pt idx="2507">
                  <c:v>Eurial Autr</c:v>
                </c:pt>
                <c:pt idx="2508">
                  <c:v>All Others</c:v>
                </c:pt>
                <c:pt idx="2509">
                  <c:v>All Others</c:v>
                </c:pt>
                <c:pt idx="2510">
                  <c:v>Le Saint Am</c:v>
                </c:pt>
                <c:pt idx="2511">
                  <c:v>All Others</c:v>
                </c:pt>
                <c:pt idx="2512">
                  <c:v>All Others</c:v>
                </c:pt>
                <c:pt idx="2513">
                  <c:v>All Others</c:v>
                </c:pt>
                <c:pt idx="2514">
                  <c:v>All Others</c:v>
                </c:pt>
                <c:pt idx="2515">
                  <c:v>All Others</c:v>
                </c:pt>
                <c:pt idx="2516">
                  <c:v>All Others</c:v>
                </c:pt>
                <c:pt idx="2517">
                  <c:v>All Others</c:v>
                </c:pt>
                <c:pt idx="2518">
                  <c:v>All Others</c:v>
                </c:pt>
                <c:pt idx="2519">
                  <c:v>Private Lab</c:v>
                </c:pt>
                <c:pt idx="2520">
                  <c:v>All Others</c:v>
                </c:pt>
                <c:pt idx="2521">
                  <c:v>All Others</c:v>
                </c:pt>
                <c:pt idx="2522">
                  <c:v>All Others</c:v>
                </c:pt>
                <c:pt idx="2523">
                  <c:v>All Others</c:v>
                </c:pt>
                <c:pt idx="2524">
                  <c:v>Societe</c:v>
                </c:pt>
                <c:pt idx="2525">
                  <c:v>Savencia: A</c:v>
                </c:pt>
                <c:pt idx="2526">
                  <c:v>All Others</c:v>
                </c:pt>
                <c:pt idx="2527">
                  <c:v>All Others</c:v>
                </c:pt>
                <c:pt idx="2528">
                  <c:v>All Others</c:v>
                </c:pt>
                <c:pt idx="2529">
                  <c:v>All Others</c:v>
                </c:pt>
                <c:pt idx="2530">
                  <c:v>All Others</c:v>
                </c:pt>
                <c:pt idx="2531">
                  <c:v>All Others</c:v>
                </c:pt>
                <c:pt idx="2532">
                  <c:v>All Others</c:v>
                </c:pt>
                <c:pt idx="2533">
                  <c:v>All Others</c:v>
                </c:pt>
                <c:pt idx="2534">
                  <c:v>Casa Azzurr</c:v>
                </c:pt>
                <c:pt idx="2535">
                  <c:v>All Others</c:v>
                </c:pt>
                <c:pt idx="2536">
                  <c:v>All Others</c:v>
                </c:pt>
                <c:pt idx="2537">
                  <c:v>All Others</c:v>
                </c:pt>
                <c:pt idx="2538">
                  <c:v>All Others</c:v>
                </c:pt>
                <c:pt idx="2539">
                  <c:v>All Others</c:v>
                </c:pt>
                <c:pt idx="2540">
                  <c:v>All Others</c:v>
                </c:pt>
                <c:pt idx="2541">
                  <c:v>All Others</c:v>
                </c:pt>
                <c:pt idx="2542">
                  <c:v>All Others</c:v>
                </c:pt>
                <c:pt idx="2543">
                  <c:v>All Others</c:v>
                </c:pt>
                <c:pt idx="2544">
                  <c:v>All Others</c:v>
                </c:pt>
                <c:pt idx="2545">
                  <c:v>All Others</c:v>
                </c:pt>
                <c:pt idx="2546">
                  <c:v>All Others</c:v>
                </c:pt>
                <c:pt idx="2547">
                  <c:v>All Others</c:v>
                </c:pt>
                <c:pt idx="2548">
                  <c:v>All Others</c:v>
                </c:pt>
                <c:pt idx="2549">
                  <c:v>All Others</c:v>
                </c:pt>
                <c:pt idx="2550">
                  <c:v>All Others</c:v>
                </c:pt>
                <c:pt idx="2551">
                  <c:v>All Others</c:v>
                </c:pt>
                <c:pt idx="2552">
                  <c:v>All Others</c:v>
                </c:pt>
                <c:pt idx="2553">
                  <c:v>All Others</c:v>
                </c:pt>
                <c:pt idx="2554">
                  <c:v>All Others</c:v>
                </c:pt>
                <c:pt idx="2555">
                  <c:v>All Others</c:v>
                </c:pt>
                <c:pt idx="2556">
                  <c:v>All Others</c:v>
                </c:pt>
                <c:pt idx="2557">
                  <c:v>All Others</c:v>
                </c:pt>
                <c:pt idx="2558">
                  <c:v>All Others</c:v>
                </c:pt>
                <c:pt idx="2559">
                  <c:v>All Others</c:v>
                </c:pt>
                <c:pt idx="2560">
                  <c:v>All Others</c:v>
                </c:pt>
                <c:pt idx="2561">
                  <c:v>All Others</c:v>
                </c:pt>
                <c:pt idx="2562">
                  <c:v>All Others</c:v>
                </c:pt>
                <c:pt idx="2563">
                  <c:v>All Others</c:v>
                </c:pt>
                <c:pt idx="2564">
                  <c:v>All Others</c:v>
                </c:pt>
                <c:pt idx="2565">
                  <c:v>All Others</c:v>
                </c:pt>
                <c:pt idx="2566">
                  <c:v>All Others</c:v>
                </c:pt>
                <c:pt idx="2567">
                  <c:v>All Others</c:v>
                </c:pt>
                <c:pt idx="2568">
                  <c:v>All Others</c:v>
                </c:pt>
                <c:pt idx="2569">
                  <c:v>All Others</c:v>
                </c:pt>
                <c:pt idx="2570">
                  <c:v>All Others</c:v>
                </c:pt>
                <c:pt idx="2571">
                  <c:v>All Others</c:v>
                </c:pt>
                <c:pt idx="2572">
                  <c:v>All Others</c:v>
                </c:pt>
                <c:pt idx="2573">
                  <c:v>All Others</c:v>
                </c:pt>
                <c:pt idx="2574">
                  <c:v>All Others</c:v>
                </c:pt>
                <c:pt idx="2575">
                  <c:v>Entremont</c:v>
                </c:pt>
                <c:pt idx="2576">
                  <c:v>All Others</c:v>
                </c:pt>
                <c:pt idx="2577">
                  <c:v>Entremont</c:v>
                </c:pt>
                <c:pt idx="2578">
                  <c:v>All Others</c:v>
                </c:pt>
                <c:pt idx="2579">
                  <c:v>Private Lab</c:v>
                </c:pt>
                <c:pt idx="2580">
                  <c:v>All Others</c:v>
                </c:pt>
                <c:pt idx="2581">
                  <c:v>All Others</c:v>
                </c:pt>
                <c:pt idx="2582">
                  <c:v>Private Lab</c:v>
                </c:pt>
                <c:pt idx="2583">
                  <c:v>All Others</c:v>
                </c:pt>
                <c:pt idx="2584">
                  <c:v>All Others</c:v>
                </c:pt>
                <c:pt idx="2585">
                  <c:v>All Others</c:v>
                </c:pt>
                <c:pt idx="2586">
                  <c:v>All Others</c:v>
                </c:pt>
                <c:pt idx="2587">
                  <c:v>All Others</c:v>
                </c:pt>
                <c:pt idx="2588">
                  <c:v>All Others</c:v>
                </c:pt>
                <c:pt idx="2589">
                  <c:v>All Others</c:v>
                </c:pt>
                <c:pt idx="2590">
                  <c:v>All Others</c:v>
                </c:pt>
                <c:pt idx="2591">
                  <c:v>All Others</c:v>
                </c:pt>
                <c:pt idx="2592">
                  <c:v>All Others</c:v>
                </c:pt>
                <c:pt idx="2593">
                  <c:v>All Others</c:v>
                </c:pt>
                <c:pt idx="2594">
                  <c:v>All Others</c:v>
                </c:pt>
                <c:pt idx="2595">
                  <c:v>All Others</c:v>
                </c:pt>
                <c:pt idx="2596">
                  <c:v>All Others</c:v>
                </c:pt>
                <c:pt idx="2597">
                  <c:v>All Others</c:v>
                </c:pt>
                <c:pt idx="2598">
                  <c:v>All Others</c:v>
                </c:pt>
                <c:pt idx="2599">
                  <c:v>All Others</c:v>
                </c:pt>
                <c:pt idx="2600">
                  <c:v>All Others</c:v>
                </c:pt>
                <c:pt idx="2601">
                  <c:v>All Others</c:v>
                </c:pt>
                <c:pt idx="2602">
                  <c:v>All Others</c:v>
                </c:pt>
                <c:pt idx="2603">
                  <c:v>Private Lab</c:v>
                </c:pt>
                <c:pt idx="2604">
                  <c:v>All Others</c:v>
                </c:pt>
                <c:pt idx="2605">
                  <c:v>All Others</c:v>
                </c:pt>
                <c:pt idx="2606">
                  <c:v>All Others</c:v>
                </c:pt>
                <c:pt idx="2607">
                  <c:v>All Others</c:v>
                </c:pt>
                <c:pt idx="2608">
                  <c:v>All Others</c:v>
                </c:pt>
                <c:pt idx="2609">
                  <c:v>All Others</c:v>
                </c:pt>
                <c:pt idx="2610">
                  <c:v>All Others</c:v>
                </c:pt>
                <c:pt idx="2611">
                  <c:v>All Others</c:v>
                </c:pt>
                <c:pt idx="2612">
                  <c:v>All Others</c:v>
                </c:pt>
                <c:pt idx="2613">
                  <c:v>All Others</c:v>
                </c:pt>
                <c:pt idx="2614">
                  <c:v>All Others</c:v>
                </c:pt>
                <c:pt idx="2615">
                  <c:v>All Others</c:v>
                </c:pt>
                <c:pt idx="2616">
                  <c:v>All Others</c:v>
                </c:pt>
                <c:pt idx="2617">
                  <c:v>All Others</c:v>
                </c:pt>
                <c:pt idx="2618">
                  <c:v>All Others</c:v>
                </c:pt>
                <c:pt idx="2619">
                  <c:v>All Others</c:v>
                </c:pt>
                <c:pt idx="2620">
                  <c:v>All Others</c:v>
                </c:pt>
                <c:pt idx="2621">
                  <c:v>All Others</c:v>
                </c:pt>
                <c:pt idx="2622">
                  <c:v>All Others</c:v>
                </c:pt>
                <c:pt idx="2623">
                  <c:v>All Others</c:v>
                </c:pt>
                <c:pt idx="2624">
                  <c:v>All Others</c:v>
                </c:pt>
                <c:pt idx="2625">
                  <c:v>All Others</c:v>
                </c:pt>
                <c:pt idx="2626">
                  <c:v>All Others</c:v>
                </c:pt>
                <c:pt idx="2627">
                  <c:v>All Others</c:v>
                </c:pt>
                <c:pt idx="2628">
                  <c:v>All Others</c:v>
                </c:pt>
                <c:pt idx="2629">
                  <c:v>All Others</c:v>
                </c:pt>
                <c:pt idx="2630">
                  <c:v>All Others</c:v>
                </c:pt>
                <c:pt idx="2631">
                  <c:v>All Others</c:v>
                </c:pt>
                <c:pt idx="2632">
                  <c:v>Private Lab</c:v>
                </c:pt>
                <c:pt idx="2633">
                  <c:v>All Others</c:v>
                </c:pt>
                <c:pt idx="2634">
                  <c:v>All Others</c:v>
                </c:pt>
                <c:pt idx="2635">
                  <c:v>All Others</c:v>
                </c:pt>
                <c:pt idx="2636">
                  <c:v>All Others</c:v>
                </c:pt>
                <c:pt idx="2637">
                  <c:v>All Others</c:v>
                </c:pt>
                <c:pt idx="2638">
                  <c:v>All Others</c:v>
                </c:pt>
                <c:pt idx="2639">
                  <c:v>All Others</c:v>
                </c:pt>
                <c:pt idx="2640">
                  <c:v>All Others</c:v>
                </c:pt>
                <c:pt idx="2641">
                  <c:v>All Others</c:v>
                </c:pt>
                <c:pt idx="2642">
                  <c:v>All Others</c:v>
                </c:pt>
                <c:pt idx="2643">
                  <c:v>All Others</c:v>
                </c:pt>
                <c:pt idx="2644">
                  <c:v>All Others</c:v>
                </c:pt>
                <c:pt idx="2645">
                  <c:v>All Others</c:v>
                </c:pt>
                <c:pt idx="2646">
                  <c:v>All Others</c:v>
                </c:pt>
                <c:pt idx="2647">
                  <c:v>Private Lab</c:v>
                </c:pt>
                <c:pt idx="2648">
                  <c:v>All Others</c:v>
                </c:pt>
                <c:pt idx="2649">
                  <c:v>All Others</c:v>
                </c:pt>
                <c:pt idx="2650">
                  <c:v>President</c:v>
                </c:pt>
                <c:pt idx="2651">
                  <c:v>All Others</c:v>
                </c:pt>
                <c:pt idx="2652">
                  <c:v>All Others</c:v>
                </c:pt>
                <c:pt idx="2653">
                  <c:v>All Others</c:v>
                </c:pt>
                <c:pt idx="2654">
                  <c:v>Private Lab</c:v>
                </c:pt>
                <c:pt idx="2655">
                  <c:v>All Others</c:v>
                </c:pt>
                <c:pt idx="2656">
                  <c:v>All Others</c:v>
                </c:pt>
                <c:pt idx="2657">
                  <c:v>All Others</c:v>
                </c:pt>
                <c:pt idx="2658">
                  <c:v>All Others</c:v>
                </c:pt>
                <c:pt idx="2659">
                  <c:v>All Others</c:v>
                </c:pt>
                <c:pt idx="2660">
                  <c:v>All Others</c:v>
                </c:pt>
                <c:pt idx="2661">
                  <c:v>All Others</c:v>
                </c:pt>
                <c:pt idx="2662">
                  <c:v>All Others</c:v>
                </c:pt>
                <c:pt idx="2663">
                  <c:v>All Others</c:v>
                </c:pt>
                <c:pt idx="2664">
                  <c:v>All Others</c:v>
                </c:pt>
                <c:pt idx="2665">
                  <c:v>All Others</c:v>
                </c:pt>
                <c:pt idx="2666">
                  <c:v>All Others</c:v>
                </c:pt>
                <c:pt idx="2667">
                  <c:v>Savencia: A</c:v>
                </c:pt>
                <c:pt idx="2668">
                  <c:v>All Others</c:v>
                </c:pt>
                <c:pt idx="2669">
                  <c:v>All Others</c:v>
                </c:pt>
                <c:pt idx="2670">
                  <c:v>All Others</c:v>
                </c:pt>
                <c:pt idx="2671">
                  <c:v>Istara</c:v>
                </c:pt>
                <c:pt idx="2672">
                  <c:v>All Others</c:v>
                </c:pt>
                <c:pt idx="2673">
                  <c:v>All Others</c:v>
                </c:pt>
                <c:pt idx="2674">
                  <c:v>All Others</c:v>
                </c:pt>
                <c:pt idx="2675">
                  <c:v>All Others</c:v>
                </c:pt>
                <c:pt idx="2676">
                  <c:v>All Others</c:v>
                </c:pt>
                <c:pt idx="2677">
                  <c:v>All Others</c:v>
                </c:pt>
                <c:pt idx="2678">
                  <c:v>All Others</c:v>
                </c:pt>
                <c:pt idx="2679">
                  <c:v>All Others</c:v>
                </c:pt>
                <c:pt idx="2680">
                  <c:v>All Others</c:v>
                </c:pt>
                <c:pt idx="2681">
                  <c:v>Pochat</c:v>
                </c:pt>
                <c:pt idx="2682">
                  <c:v>All Others</c:v>
                </c:pt>
                <c:pt idx="2683">
                  <c:v>Private Lab</c:v>
                </c:pt>
                <c:pt idx="2684">
                  <c:v>All Others</c:v>
                </c:pt>
                <c:pt idx="2685">
                  <c:v>Pochat</c:v>
                </c:pt>
                <c:pt idx="2686">
                  <c:v>All Others</c:v>
                </c:pt>
                <c:pt idx="2687">
                  <c:v>All Others</c:v>
                </c:pt>
                <c:pt idx="2688">
                  <c:v>All Others</c:v>
                </c:pt>
                <c:pt idx="2689">
                  <c:v>All Others</c:v>
                </c:pt>
                <c:pt idx="2690">
                  <c:v>All Others</c:v>
                </c:pt>
                <c:pt idx="2691">
                  <c:v>All Others</c:v>
                </c:pt>
                <c:pt idx="2692">
                  <c:v>All Others</c:v>
                </c:pt>
                <c:pt idx="2693">
                  <c:v>All Others</c:v>
                </c:pt>
                <c:pt idx="2694">
                  <c:v>All Others</c:v>
                </c:pt>
                <c:pt idx="2695">
                  <c:v>Private Lab</c:v>
                </c:pt>
                <c:pt idx="2696">
                  <c:v>All Others</c:v>
                </c:pt>
                <c:pt idx="2697">
                  <c:v>All Others</c:v>
                </c:pt>
                <c:pt idx="2698">
                  <c:v>Entremont</c:v>
                </c:pt>
                <c:pt idx="2699">
                  <c:v>All Others</c:v>
                </c:pt>
                <c:pt idx="2700">
                  <c:v>All Others</c:v>
                </c:pt>
                <c:pt idx="2701">
                  <c:v>All Others</c:v>
                </c:pt>
                <c:pt idx="2702">
                  <c:v>All Others</c:v>
                </c:pt>
                <c:pt idx="2703">
                  <c:v>All Others</c:v>
                </c:pt>
                <c:pt idx="2704">
                  <c:v>All Others</c:v>
                </c:pt>
                <c:pt idx="2705">
                  <c:v>All Others</c:v>
                </c:pt>
                <c:pt idx="2706">
                  <c:v>All Others</c:v>
                </c:pt>
                <c:pt idx="2707">
                  <c:v>All Others</c:v>
                </c:pt>
                <c:pt idx="2708">
                  <c:v>All Others</c:v>
                </c:pt>
                <c:pt idx="2709">
                  <c:v>All Others</c:v>
                </c:pt>
                <c:pt idx="2710">
                  <c:v>All Others</c:v>
                </c:pt>
                <c:pt idx="2711">
                  <c:v>All Others</c:v>
                </c:pt>
                <c:pt idx="2712">
                  <c:v>All Others</c:v>
                </c:pt>
                <c:pt idx="2713">
                  <c:v>All Others</c:v>
                </c:pt>
                <c:pt idx="2714">
                  <c:v>All Others</c:v>
                </c:pt>
                <c:pt idx="2715">
                  <c:v>All Others</c:v>
                </c:pt>
                <c:pt idx="2716">
                  <c:v>All Others</c:v>
                </c:pt>
                <c:pt idx="2717">
                  <c:v>Salakis</c:v>
                </c:pt>
                <c:pt idx="2718">
                  <c:v>Societe</c:v>
                </c:pt>
                <c:pt idx="2719">
                  <c:v>All Others</c:v>
                </c:pt>
                <c:pt idx="2720">
                  <c:v>All Others</c:v>
                </c:pt>
                <c:pt idx="2721">
                  <c:v>All Others</c:v>
                </c:pt>
                <c:pt idx="2722">
                  <c:v>All Others</c:v>
                </c:pt>
                <c:pt idx="2723">
                  <c:v>All Others</c:v>
                </c:pt>
                <c:pt idx="2724">
                  <c:v>All Others</c:v>
                </c:pt>
                <c:pt idx="2725">
                  <c:v>Casa Azzurr</c:v>
                </c:pt>
                <c:pt idx="2726">
                  <c:v>Lactalis: A</c:v>
                </c:pt>
                <c:pt idx="2727">
                  <c:v>All Others</c:v>
                </c:pt>
                <c:pt idx="2728">
                  <c:v>All Others</c:v>
                </c:pt>
                <c:pt idx="2729">
                  <c:v>All Others</c:v>
                </c:pt>
                <c:pt idx="2730">
                  <c:v>All Others</c:v>
                </c:pt>
                <c:pt idx="2731">
                  <c:v>All Others</c:v>
                </c:pt>
                <c:pt idx="2732">
                  <c:v>All Others</c:v>
                </c:pt>
                <c:pt idx="2733">
                  <c:v>All Others</c:v>
                </c:pt>
                <c:pt idx="2734">
                  <c:v>All Others</c:v>
                </c:pt>
                <c:pt idx="2735">
                  <c:v>All Others</c:v>
                </c:pt>
                <c:pt idx="2736">
                  <c:v>All Others</c:v>
                </c:pt>
                <c:pt idx="2737">
                  <c:v>All Others</c:v>
                </c:pt>
                <c:pt idx="2738">
                  <c:v>All Others</c:v>
                </c:pt>
                <c:pt idx="2739">
                  <c:v>All Others</c:v>
                </c:pt>
                <c:pt idx="2740">
                  <c:v>All Others</c:v>
                </c:pt>
                <c:pt idx="2741">
                  <c:v>All Others</c:v>
                </c:pt>
                <c:pt idx="2742">
                  <c:v>Juraflore</c:v>
                </c:pt>
                <c:pt idx="2743">
                  <c:v>All Others</c:v>
                </c:pt>
                <c:pt idx="2744">
                  <c:v>All Others</c:v>
                </c:pt>
                <c:pt idx="2745">
                  <c:v>Limiano</c:v>
                </c:pt>
                <c:pt idx="2746">
                  <c:v>All Others</c:v>
                </c:pt>
                <c:pt idx="2747">
                  <c:v>All Others</c:v>
                </c:pt>
                <c:pt idx="2748">
                  <c:v>All Others</c:v>
                </c:pt>
                <c:pt idx="2749">
                  <c:v>All Others</c:v>
                </c:pt>
                <c:pt idx="2750">
                  <c:v>All Others</c:v>
                </c:pt>
                <c:pt idx="2751">
                  <c:v>All Others</c:v>
                </c:pt>
                <c:pt idx="2752">
                  <c:v>All Others</c:v>
                </c:pt>
                <c:pt idx="2753">
                  <c:v>All Others</c:v>
                </c:pt>
                <c:pt idx="2754">
                  <c:v>All Others</c:v>
                </c:pt>
                <c:pt idx="2755">
                  <c:v>All Others</c:v>
                </c:pt>
                <c:pt idx="2756">
                  <c:v>All Others</c:v>
                </c:pt>
                <c:pt idx="2757">
                  <c:v>All Others</c:v>
                </c:pt>
                <c:pt idx="2758">
                  <c:v>All Others</c:v>
                </c:pt>
                <c:pt idx="2759">
                  <c:v>Pave D'Affi</c:v>
                </c:pt>
                <c:pt idx="2760">
                  <c:v>All Others</c:v>
                </c:pt>
                <c:pt idx="2761">
                  <c:v>Lactalis: A</c:v>
                </c:pt>
                <c:pt idx="2762">
                  <c:v>All Others</c:v>
                </c:pt>
                <c:pt idx="2763">
                  <c:v>All Others</c:v>
                </c:pt>
                <c:pt idx="2764">
                  <c:v>All Others</c:v>
                </c:pt>
                <c:pt idx="2765">
                  <c:v>All Others</c:v>
                </c:pt>
                <c:pt idx="2766">
                  <c:v>All Others</c:v>
                </c:pt>
                <c:pt idx="2767">
                  <c:v>All Others</c:v>
                </c:pt>
                <c:pt idx="2768">
                  <c:v>All Others</c:v>
                </c:pt>
                <c:pt idx="2769">
                  <c:v>All Others</c:v>
                </c:pt>
                <c:pt idx="2770">
                  <c:v>Private Lab</c:v>
                </c:pt>
                <c:pt idx="2771">
                  <c:v>All Others</c:v>
                </c:pt>
                <c:pt idx="2772">
                  <c:v>All Others</c:v>
                </c:pt>
                <c:pt idx="2773">
                  <c:v>All Others</c:v>
                </c:pt>
                <c:pt idx="2774">
                  <c:v>All Others</c:v>
                </c:pt>
                <c:pt idx="2775">
                  <c:v>All Others</c:v>
                </c:pt>
                <c:pt idx="2776">
                  <c:v>All Others</c:v>
                </c:pt>
                <c:pt idx="2777">
                  <c:v>All Others</c:v>
                </c:pt>
                <c:pt idx="2778">
                  <c:v>All Others</c:v>
                </c:pt>
                <c:pt idx="2779">
                  <c:v>All Others</c:v>
                </c:pt>
                <c:pt idx="2780">
                  <c:v>All Others</c:v>
                </c:pt>
                <c:pt idx="2781">
                  <c:v>All Others</c:v>
                </c:pt>
                <c:pt idx="2782">
                  <c:v>All Others</c:v>
                </c:pt>
                <c:pt idx="2783">
                  <c:v>All Others</c:v>
                </c:pt>
                <c:pt idx="2784">
                  <c:v>All Others</c:v>
                </c:pt>
                <c:pt idx="2785">
                  <c:v>All Others</c:v>
                </c:pt>
                <c:pt idx="2786">
                  <c:v>All Others</c:v>
                </c:pt>
                <c:pt idx="2787">
                  <c:v>Lactalis: A</c:v>
                </c:pt>
                <c:pt idx="2788">
                  <c:v>All Others</c:v>
                </c:pt>
                <c:pt idx="2789">
                  <c:v>All Others</c:v>
                </c:pt>
                <c:pt idx="2790">
                  <c:v>All Others</c:v>
                </c:pt>
                <c:pt idx="2791">
                  <c:v>All Others</c:v>
                </c:pt>
                <c:pt idx="2792">
                  <c:v>Lactalis: A</c:v>
                </c:pt>
                <c:pt idx="2793">
                  <c:v>All Others</c:v>
                </c:pt>
                <c:pt idx="2794">
                  <c:v>Private Lab</c:v>
                </c:pt>
                <c:pt idx="2795">
                  <c:v>All Others</c:v>
                </c:pt>
                <c:pt idx="2796">
                  <c:v>All Others</c:v>
                </c:pt>
                <c:pt idx="2797">
                  <c:v>All Others</c:v>
                </c:pt>
                <c:pt idx="2798">
                  <c:v>All Others</c:v>
                </c:pt>
                <c:pt idx="2799">
                  <c:v>All Others</c:v>
                </c:pt>
                <c:pt idx="2800">
                  <c:v>All Others</c:v>
                </c:pt>
                <c:pt idx="2801">
                  <c:v>All Others</c:v>
                </c:pt>
                <c:pt idx="2802">
                  <c:v>All Others</c:v>
                </c:pt>
                <c:pt idx="2803">
                  <c:v>Private Lab</c:v>
                </c:pt>
                <c:pt idx="2804">
                  <c:v>All Others</c:v>
                </c:pt>
                <c:pt idx="2805">
                  <c:v>All Others</c:v>
                </c:pt>
                <c:pt idx="2806">
                  <c:v>All Others</c:v>
                </c:pt>
                <c:pt idx="2807">
                  <c:v>All Others</c:v>
                </c:pt>
                <c:pt idx="2808">
                  <c:v>All Others</c:v>
                </c:pt>
                <c:pt idx="2809">
                  <c:v>Fol Epi</c:v>
                </c:pt>
                <c:pt idx="2810">
                  <c:v>All Others</c:v>
                </c:pt>
                <c:pt idx="2811">
                  <c:v>All Others</c:v>
                </c:pt>
                <c:pt idx="2812">
                  <c:v>All Others</c:v>
                </c:pt>
                <c:pt idx="2813">
                  <c:v>All Others</c:v>
                </c:pt>
                <c:pt idx="2814">
                  <c:v>All Others</c:v>
                </c:pt>
                <c:pt idx="2815">
                  <c:v>All Others</c:v>
                </c:pt>
                <c:pt idx="2816">
                  <c:v>All Others</c:v>
                </c:pt>
                <c:pt idx="2817">
                  <c:v>All Others</c:v>
                </c:pt>
                <c:pt idx="2818">
                  <c:v>All Others</c:v>
                </c:pt>
                <c:pt idx="2819">
                  <c:v>All Others</c:v>
                </c:pt>
                <c:pt idx="2820">
                  <c:v>All Others</c:v>
                </c:pt>
                <c:pt idx="2821">
                  <c:v>All Others</c:v>
                </c:pt>
                <c:pt idx="2822">
                  <c:v>All Others</c:v>
                </c:pt>
                <c:pt idx="2823">
                  <c:v>All Others</c:v>
                </c:pt>
                <c:pt idx="2824">
                  <c:v>All Others</c:v>
                </c:pt>
                <c:pt idx="2825">
                  <c:v>All Others</c:v>
                </c:pt>
                <c:pt idx="2826">
                  <c:v>All Others</c:v>
                </c:pt>
                <c:pt idx="2827">
                  <c:v>All Others</c:v>
                </c:pt>
                <c:pt idx="2828">
                  <c:v>All Others</c:v>
                </c:pt>
                <c:pt idx="2829">
                  <c:v>All Others</c:v>
                </c:pt>
                <c:pt idx="2830">
                  <c:v>All Others</c:v>
                </c:pt>
                <c:pt idx="2831">
                  <c:v>All Others</c:v>
                </c:pt>
                <c:pt idx="2832">
                  <c:v>All Others</c:v>
                </c:pt>
                <c:pt idx="2833">
                  <c:v>All Others</c:v>
                </c:pt>
                <c:pt idx="2834">
                  <c:v>All Others</c:v>
                </c:pt>
                <c:pt idx="2835">
                  <c:v>All Others</c:v>
                </c:pt>
                <c:pt idx="2836">
                  <c:v>All Others</c:v>
                </c:pt>
                <c:pt idx="2837">
                  <c:v>All Others</c:v>
                </c:pt>
                <c:pt idx="2838">
                  <c:v>All Others</c:v>
                </c:pt>
                <c:pt idx="2839">
                  <c:v>All Others</c:v>
                </c:pt>
                <c:pt idx="2840">
                  <c:v>All Others</c:v>
                </c:pt>
                <c:pt idx="2841">
                  <c:v>All Others</c:v>
                </c:pt>
                <c:pt idx="2842">
                  <c:v>All Others</c:v>
                </c:pt>
                <c:pt idx="2843">
                  <c:v>All Others</c:v>
                </c:pt>
                <c:pt idx="2844">
                  <c:v>All Others</c:v>
                </c:pt>
                <c:pt idx="2845">
                  <c:v>All Others</c:v>
                </c:pt>
                <c:pt idx="2846">
                  <c:v>All Others</c:v>
                </c:pt>
                <c:pt idx="2847">
                  <c:v>All Others</c:v>
                </c:pt>
                <c:pt idx="2848">
                  <c:v>All Others</c:v>
                </c:pt>
                <c:pt idx="2849">
                  <c:v>All Others</c:v>
                </c:pt>
                <c:pt idx="2850">
                  <c:v>All Others</c:v>
                </c:pt>
                <c:pt idx="2851">
                  <c:v>Lactalis: A</c:v>
                </c:pt>
                <c:pt idx="2852">
                  <c:v>All Others</c:v>
                </c:pt>
                <c:pt idx="2853">
                  <c:v>All Others</c:v>
                </c:pt>
                <c:pt idx="2854">
                  <c:v>Savencia: A</c:v>
                </c:pt>
                <c:pt idx="2855">
                  <c:v>All Others</c:v>
                </c:pt>
                <c:pt idx="2856">
                  <c:v>All Others</c:v>
                </c:pt>
                <c:pt idx="2857">
                  <c:v>All Others</c:v>
                </c:pt>
                <c:pt idx="2858">
                  <c:v>All Others</c:v>
                </c:pt>
                <c:pt idx="2859">
                  <c:v>All Others</c:v>
                </c:pt>
                <c:pt idx="2860">
                  <c:v>All Others</c:v>
                </c:pt>
                <c:pt idx="2861">
                  <c:v>All Others</c:v>
                </c:pt>
                <c:pt idx="2862">
                  <c:v>All Others</c:v>
                </c:pt>
                <c:pt idx="2863">
                  <c:v>All Others</c:v>
                </c:pt>
                <c:pt idx="2864">
                  <c:v>All Others</c:v>
                </c:pt>
                <c:pt idx="2865">
                  <c:v>All Others</c:v>
                </c:pt>
                <c:pt idx="2866">
                  <c:v>All Others</c:v>
                </c:pt>
                <c:pt idx="2867">
                  <c:v>All Others</c:v>
                </c:pt>
                <c:pt idx="2868">
                  <c:v>All Others</c:v>
                </c:pt>
                <c:pt idx="2869">
                  <c:v>All Others</c:v>
                </c:pt>
                <c:pt idx="2870">
                  <c:v>All Others</c:v>
                </c:pt>
                <c:pt idx="2871">
                  <c:v>All Others</c:v>
                </c:pt>
                <c:pt idx="2872">
                  <c:v>Lactalis: A</c:v>
                </c:pt>
                <c:pt idx="2873">
                  <c:v>All Others</c:v>
                </c:pt>
                <c:pt idx="2874">
                  <c:v>All Others</c:v>
                </c:pt>
                <c:pt idx="2875">
                  <c:v>All Others</c:v>
                </c:pt>
                <c:pt idx="2876">
                  <c:v>All Others</c:v>
                </c:pt>
                <c:pt idx="2877">
                  <c:v>All Others</c:v>
                </c:pt>
                <c:pt idx="2878">
                  <c:v>All Others</c:v>
                </c:pt>
                <c:pt idx="2879">
                  <c:v>All Others</c:v>
                </c:pt>
                <c:pt idx="2880">
                  <c:v>All Others</c:v>
                </c:pt>
                <c:pt idx="2881">
                  <c:v>All Others</c:v>
                </c:pt>
                <c:pt idx="2882">
                  <c:v>All Others</c:v>
                </c:pt>
                <c:pt idx="2883">
                  <c:v>All Others</c:v>
                </c:pt>
                <c:pt idx="2884">
                  <c:v>All Others</c:v>
                </c:pt>
                <c:pt idx="2885">
                  <c:v>All Others</c:v>
                </c:pt>
                <c:pt idx="2886">
                  <c:v>All Others</c:v>
                </c:pt>
                <c:pt idx="2887">
                  <c:v>All Others</c:v>
                </c:pt>
                <c:pt idx="2888">
                  <c:v>All Others</c:v>
                </c:pt>
                <c:pt idx="2889">
                  <c:v>All Others</c:v>
                </c:pt>
                <c:pt idx="2890">
                  <c:v>All Others</c:v>
                </c:pt>
                <c:pt idx="2891">
                  <c:v>All Others</c:v>
                </c:pt>
                <c:pt idx="2892">
                  <c:v>All Others</c:v>
                </c:pt>
                <c:pt idx="2893">
                  <c:v>All Others</c:v>
                </c:pt>
                <c:pt idx="2894">
                  <c:v>All Others</c:v>
                </c:pt>
                <c:pt idx="2895">
                  <c:v>All Others</c:v>
                </c:pt>
                <c:pt idx="2896">
                  <c:v>Savencia: A</c:v>
                </c:pt>
                <c:pt idx="2897">
                  <c:v>All Others</c:v>
                </c:pt>
                <c:pt idx="2898">
                  <c:v>All Others</c:v>
                </c:pt>
                <c:pt idx="2899">
                  <c:v>All Others</c:v>
                </c:pt>
                <c:pt idx="2900">
                  <c:v>All Others</c:v>
                </c:pt>
                <c:pt idx="2901">
                  <c:v>All Others</c:v>
                </c:pt>
                <c:pt idx="2902">
                  <c:v>All Others</c:v>
                </c:pt>
                <c:pt idx="2903">
                  <c:v>All Others</c:v>
                </c:pt>
                <c:pt idx="2904">
                  <c:v>All Others</c:v>
                </c:pt>
                <c:pt idx="2905">
                  <c:v>All Others</c:v>
                </c:pt>
                <c:pt idx="2906">
                  <c:v>All Others</c:v>
                </c:pt>
                <c:pt idx="2907">
                  <c:v>All Others</c:v>
                </c:pt>
                <c:pt idx="2908">
                  <c:v>All Others</c:v>
                </c:pt>
                <c:pt idx="2909">
                  <c:v>All Others</c:v>
                </c:pt>
                <c:pt idx="2910">
                  <c:v>All Others</c:v>
                </c:pt>
                <c:pt idx="2911">
                  <c:v>All Others</c:v>
                </c:pt>
                <c:pt idx="2912">
                  <c:v>All Others</c:v>
                </c:pt>
                <c:pt idx="2913">
                  <c:v>All Others</c:v>
                </c:pt>
                <c:pt idx="2914">
                  <c:v>All Others</c:v>
                </c:pt>
                <c:pt idx="2915">
                  <c:v>All Others</c:v>
                </c:pt>
                <c:pt idx="2916">
                  <c:v>All Others</c:v>
                </c:pt>
                <c:pt idx="2917">
                  <c:v>All Others</c:v>
                </c:pt>
                <c:pt idx="2918">
                  <c:v>All Others</c:v>
                </c:pt>
                <c:pt idx="2919">
                  <c:v>All Others</c:v>
                </c:pt>
                <c:pt idx="2920">
                  <c:v>All Others</c:v>
                </c:pt>
                <c:pt idx="2921">
                  <c:v>Private Lab</c:v>
                </c:pt>
                <c:pt idx="2922">
                  <c:v>All Others</c:v>
                </c:pt>
                <c:pt idx="2923">
                  <c:v>Private Lab</c:v>
                </c:pt>
                <c:pt idx="2924">
                  <c:v>All Others</c:v>
                </c:pt>
                <c:pt idx="2925">
                  <c:v>All Others</c:v>
                </c:pt>
                <c:pt idx="2926">
                  <c:v>All Others</c:v>
                </c:pt>
                <c:pt idx="2927">
                  <c:v>All Others</c:v>
                </c:pt>
                <c:pt idx="2928">
                  <c:v>All Others</c:v>
                </c:pt>
                <c:pt idx="2929">
                  <c:v>All Others</c:v>
                </c:pt>
                <c:pt idx="2930">
                  <c:v>All Others</c:v>
                </c:pt>
                <c:pt idx="2931">
                  <c:v>All Others</c:v>
                </c:pt>
                <c:pt idx="2932">
                  <c:v>All Others</c:v>
                </c:pt>
                <c:pt idx="2933">
                  <c:v>All Others</c:v>
                </c:pt>
                <c:pt idx="2934">
                  <c:v>Private Lab</c:v>
                </c:pt>
                <c:pt idx="2935">
                  <c:v>All Others</c:v>
                </c:pt>
                <c:pt idx="2936">
                  <c:v>All Others</c:v>
                </c:pt>
                <c:pt idx="2937">
                  <c:v>All Others</c:v>
                </c:pt>
                <c:pt idx="2938">
                  <c:v>All Others</c:v>
                </c:pt>
                <c:pt idx="2939">
                  <c:v>All Others</c:v>
                </c:pt>
                <c:pt idx="2940">
                  <c:v>All Others</c:v>
                </c:pt>
                <c:pt idx="2941">
                  <c:v>All Others</c:v>
                </c:pt>
                <c:pt idx="2942">
                  <c:v>All Others</c:v>
                </c:pt>
                <c:pt idx="2943">
                  <c:v>All Others</c:v>
                </c:pt>
                <c:pt idx="2944">
                  <c:v>All Others</c:v>
                </c:pt>
                <c:pt idx="2945">
                  <c:v>All Others</c:v>
                </c:pt>
                <c:pt idx="2946">
                  <c:v>All Others</c:v>
                </c:pt>
                <c:pt idx="2947">
                  <c:v>All Others</c:v>
                </c:pt>
                <c:pt idx="2948">
                  <c:v>All Others</c:v>
                </c:pt>
                <c:pt idx="2949">
                  <c:v>All Others</c:v>
                </c:pt>
                <c:pt idx="2950">
                  <c:v>All Others</c:v>
                </c:pt>
                <c:pt idx="2951">
                  <c:v>All Others</c:v>
                </c:pt>
                <c:pt idx="2952">
                  <c:v>All Others</c:v>
                </c:pt>
                <c:pt idx="2953">
                  <c:v>All Others</c:v>
                </c:pt>
                <c:pt idx="2954">
                  <c:v>All Others</c:v>
                </c:pt>
                <c:pt idx="2955">
                  <c:v>All Others</c:v>
                </c:pt>
                <c:pt idx="2956">
                  <c:v>All Others</c:v>
                </c:pt>
                <c:pt idx="2957">
                  <c:v>All Others</c:v>
                </c:pt>
                <c:pt idx="2958">
                  <c:v>All Others</c:v>
                </c:pt>
                <c:pt idx="2959">
                  <c:v>Private Lab</c:v>
                </c:pt>
                <c:pt idx="2960">
                  <c:v>Private Lab</c:v>
                </c:pt>
                <c:pt idx="2961">
                  <c:v>All Others</c:v>
                </c:pt>
                <c:pt idx="2962">
                  <c:v>All Others</c:v>
                </c:pt>
                <c:pt idx="2963">
                  <c:v>All Others</c:v>
                </c:pt>
                <c:pt idx="2964">
                  <c:v>All Others</c:v>
                </c:pt>
                <c:pt idx="2965">
                  <c:v>All Others</c:v>
                </c:pt>
                <c:pt idx="2966">
                  <c:v>All Others</c:v>
                </c:pt>
                <c:pt idx="2967">
                  <c:v>Private Lab</c:v>
                </c:pt>
                <c:pt idx="2968">
                  <c:v>All Others</c:v>
                </c:pt>
                <c:pt idx="2969">
                  <c:v>All Others</c:v>
                </c:pt>
                <c:pt idx="2970">
                  <c:v>All Others</c:v>
                </c:pt>
                <c:pt idx="2971">
                  <c:v>All Others</c:v>
                </c:pt>
                <c:pt idx="2972">
                  <c:v>All Others</c:v>
                </c:pt>
                <c:pt idx="2973">
                  <c:v>Private Lab</c:v>
                </c:pt>
                <c:pt idx="2974">
                  <c:v>All Others</c:v>
                </c:pt>
                <c:pt idx="2975">
                  <c:v>All Others</c:v>
                </c:pt>
                <c:pt idx="2976">
                  <c:v>All Others</c:v>
                </c:pt>
                <c:pt idx="2977">
                  <c:v>All Others</c:v>
                </c:pt>
                <c:pt idx="2978">
                  <c:v>All Others</c:v>
                </c:pt>
                <c:pt idx="2979">
                  <c:v>All Others</c:v>
                </c:pt>
                <c:pt idx="2980">
                  <c:v>All Others</c:v>
                </c:pt>
                <c:pt idx="2981">
                  <c:v>All Others</c:v>
                </c:pt>
                <c:pt idx="2982">
                  <c:v>All Others</c:v>
                </c:pt>
                <c:pt idx="2983">
                  <c:v>All Others</c:v>
                </c:pt>
                <c:pt idx="2984">
                  <c:v>All Others</c:v>
                </c:pt>
                <c:pt idx="2985">
                  <c:v>All Others</c:v>
                </c:pt>
                <c:pt idx="2986">
                  <c:v>All Others</c:v>
                </c:pt>
                <c:pt idx="2987">
                  <c:v>All Others</c:v>
                </c:pt>
                <c:pt idx="2988">
                  <c:v>All Others</c:v>
                </c:pt>
                <c:pt idx="2989">
                  <c:v>All Others</c:v>
                </c:pt>
                <c:pt idx="2990">
                  <c:v>All Others</c:v>
                </c:pt>
                <c:pt idx="2991">
                  <c:v>All Others</c:v>
                </c:pt>
                <c:pt idx="2992">
                  <c:v>Lactalis: A</c:v>
                </c:pt>
                <c:pt idx="2993">
                  <c:v>All Others</c:v>
                </c:pt>
                <c:pt idx="2994">
                  <c:v>All Others</c:v>
                </c:pt>
                <c:pt idx="2995">
                  <c:v>All Others</c:v>
                </c:pt>
                <c:pt idx="2996">
                  <c:v>All Others</c:v>
                </c:pt>
                <c:pt idx="2997">
                  <c:v>All Others</c:v>
                </c:pt>
                <c:pt idx="2998">
                  <c:v>All Others</c:v>
                </c:pt>
                <c:pt idx="2999">
                  <c:v>All Others</c:v>
                </c:pt>
                <c:pt idx="3000">
                  <c:v>All Others</c:v>
                </c:pt>
                <c:pt idx="3001">
                  <c:v>All Others</c:v>
                </c:pt>
                <c:pt idx="3002">
                  <c:v>Private Lab</c:v>
                </c:pt>
                <c:pt idx="3003">
                  <c:v>Private Lab</c:v>
                </c:pt>
                <c:pt idx="3004">
                  <c:v>All Others</c:v>
                </c:pt>
                <c:pt idx="3005">
                  <c:v>All Others</c:v>
                </c:pt>
                <c:pt idx="3006">
                  <c:v>Private Lab</c:v>
                </c:pt>
                <c:pt idx="3007">
                  <c:v>All Others</c:v>
                </c:pt>
                <c:pt idx="3008">
                  <c:v>All Others</c:v>
                </c:pt>
                <c:pt idx="3009">
                  <c:v>All Others</c:v>
                </c:pt>
                <c:pt idx="3010">
                  <c:v>All Others</c:v>
                </c:pt>
                <c:pt idx="3011">
                  <c:v>All Others</c:v>
                </c:pt>
                <c:pt idx="3012">
                  <c:v>All Others</c:v>
                </c:pt>
                <c:pt idx="3013">
                  <c:v>All Others</c:v>
                </c:pt>
                <c:pt idx="3014">
                  <c:v>All Others</c:v>
                </c:pt>
                <c:pt idx="3015">
                  <c:v>All Others</c:v>
                </c:pt>
                <c:pt idx="3016">
                  <c:v>All Others</c:v>
                </c:pt>
                <c:pt idx="3017">
                  <c:v>Private Lab</c:v>
                </c:pt>
                <c:pt idx="3018">
                  <c:v>All Others</c:v>
                </c:pt>
                <c:pt idx="3019">
                  <c:v>All Others</c:v>
                </c:pt>
                <c:pt idx="3020">
                  <c:v>Milleret: A</c:v>
                </c:pt>
                <c:pt idx="3021">
                  <c:v>All Others</c:v>
                </c:pt>
                <c:pt idx="3022">
                  <c:v>All Others</c:v>
                </c:pt>
                <c:pt idx="3023">
                  <c:v>Nurishh</c:v>
                </c:pt>
                <c:pt idx="3024">
                  <c:v>All Others</c:v>
                </c:pt>
                <c:pt idx="3025">
                  <c:v>All Others</c:v>
                </c:pt>
                <c:pt idx="3026">
                  <c:v>All Others</c:v>
                </c:pt>
                <c:pt idx="3027">
                  <c:v>All Others</c:v>
                </c:pt>
                <c:pt idx="3028">
                  <c:v>All Others</c:v>
                </c:pt>
                <c:pt idx="3029">
                  <c:v>All Others</c:v>
                </c:pt>
                <c:pt idx="3030">
                  <c:v>All Others</c:v>
                </c:pt>
                <c:pt idx="3031">
                  <c:v>All Others</c:v>
                </c:pt>
                <c:pt idx="3032">
                  <c:v>All Others</c:v>
                </c:pt>
                <c:pt idx="3033">
                  <c:v>All Others</c:v>
                </c:pt>
                <c:pt idx="3034">
                  <c:v>All Others</c:v>
                </c:pt>
                <c:pt idx="3035">
                  <c:v>All Others</c:v>
                </c:pt>
                <c:pt idx="3036">
                  <c:v>All Others</c:v>
                </c:pt>
                <c:pt idx="3037">
                  <c:v>Nurishh</c:v>
                </c:pt>
                <c:pt idx="3038">
                  <c:v>All Others</c:v>
                </c:pt>
                <c:pt idx="3039">
                  <c:v>All Others</c:v>
                </c:pt>
                <c:pt idx="3040">
                  <c:v>All Others</c:v>
                </c:pt>
                <c:pt idx="3041">
                  <c:v>All Others</c:v>
                </c:pt>
                <c:pt idx="3042">
                  <c:v>All Others</c:v>
                </c:pt>
                <c:pt idx="3043">
                  <c:v>All Others</c:v>
                </c:pt>
                <c:pt idx="3044">
                  <c:v>All Others</c:v>
                </c:pt>
                <c:pt idx="3045">
                  <c:v>All Others</c:v>
                </c:pt>
                <c:pt idx="3046">
                  <c:v>All Others</c:v>
                </c:pt>
                <c:pt idx="3047">
                  <c:v>All Others</c:v>
                </c:pt>
                <c:pt idx="3048">
                  <c:v>All Others</c:v>
                </c:pt>
                <c:pt idx="3049">
                  <c:v>All Others</c:v>
                </c:pt>
                <c:pt idx="3050">
                  <c:v>All Others</c:v>
                </c:pt>
                <c:pt idx="3051">
                  <c:v>All Others</c:v>
                </c:pt>
                <c:pt idx="3052">
                  <c:v>All Others</c:v>
                </c:pt>
                <c:pt idx="3053">
                  <c:v>All Others</c:v>
                </c:pt>
                <c:pt idx="3054">
                  <c:v>Private Lab</c:v>
                </c:pt>
                <c:pt idx="3055">
                  <c:v>All Others</c:v>
                </c:pt>
                <c:pt idx="3056">
                  <c:v>All Others</c:v>
                </c:pt>
                <c:pt idx="3057">
                  <c:v>All Others</c:v>
                </c:pt>
                <c:pt idx="3058">
                  <c:v>All Others</c:v>
                </c:pt>
                <c:pt idx="3059">
                  <c:v>All Others</c:v>
                </c:pt>
                <c:pt idx="3060">
                  <c:v>All Others</c:v>
                </c:pt>
                <c:pt idx="3061">
                  <c:v>All Others</c:v>
                </c:pt>
                <c:pt idx="3062">
                  <c:v>All Others</c:v>
                </c:pt>
                <c:pt idx="3063">
                  <c:v>All Others</c:v>
                </c:pt>
                <c:pt idx="3064">
                  <c:v>All Others</c:v>
                </c:pt>
                <c:pt idx="3065">
                  <c:v>All Others</c:v>
                </c:pt>
                <c:pt idx="3066">
                  <c:v>All Others</c:v>
                </c:pt>
                <c:pt idx="3067">
                  <c:v>Private Lab</c:v>
                </c:pt>
                <c:pt idx="3068">
                  <c:v>All Others</c:v>
                </c:pt>
                <c:pt idx="3069">
                  <c:v>All Others</c:v>
                </c:pt>
                <c:pt idx="3070">
                  <c:v>All Others</c:v>
                </c:pt>
                <c:pt idx="3071">
                  <c:v>All Others</c:v>
                </c:pt>
                <c:pt idx="3072">
                  <c:v>All Others</c:v>
                </c:pt>
                <c:pt idx="3073">
                  <c:v>All Others</c:v>
                </c:pt>
                <c:pt idx="3074">
                  <c:v>Private Lab</c:v>
                </c:pt>
                <c:pt idx="3075">
                  <c:v>All Others</c:v>
                </c:pt>
                <c:pt idx="3076">
                  <c:v>All Others</c:v>
                </c:pt>
                <c:pt idx="3077">
                  <c:v>Private Lab</c:v>
                </c:pt>
                <c:pt idx="3078">
                  <c:v>All Others</c:v>
                </c:pt>
                <c:pt idx="3079">
                  <c:v>All Others</c:v>
                </c:pt>
                <c:pt idx="3080">
                  <c:v>All Others</c:v>
                </c:pt>
                <c:pt idx="3081">
                  <c:v>All Others</c:v>
                </c:pt>
                <c:pt idx="3082">
                  <c:v>All Others</c:v>
                </c:pt>
                <c:pt idx="3083">
                  <c:v>All Others</c:v>
                </c:pt>
                <c:pt idx="3084">
                  <c:v>All Others</c:v>
                </c:pt>
                <c:pt idx="3085">
                  <c:v>All Others</c:v>
                </c:pt>
                <c:pt idx="3086">
                  <c:v>All Others</c:v>
                </c:pt>
                <c:pt idx="3087">
                  <c:v>All Others</c:v>
                </c:pt>
                <c:pt idx="3088">
                  <c:v>All Others</c:v>
                </c:pt>
                <c:pt idx="3089">
                  <c:v>All Others</c:v>
                </c:pt>
                <c:pt idx="3090">
                  <c:v>All Others</c:v>
                </c:pt>
                <c:pt idx="3091">
                  <c:v>All Others</c:v>
                </c:pt>
                <c:pt idx="3092">
                  <c:v>All Others</c:v>
                </c:pt>
                <c:pt idx="3093">
                  <c:v>All Others</c:v>
                </c:pt>
                <c:pt idx="3094">
                  <c:v>All Others</c:v>
                </c:pt>
                <c:pt idx="3095">
                  <c:v>All Others</c:v>
                </c:pt>
                <c:pt idx="3096">
                  <c:v>All Others</c:v>
                </c:pt>
                <c:pt idx="3097">
                  <c:v>All Others</c:v>
                </c:pt>
                <c:pt idx="3098">
                  <c:v>All Others</c:v>
                </c:pt>
                <c:pt idx="3099">
                  <c:v>All Others</c:v>
                </c:pt>
                <c:pt idx="3100">
                  <c:v>All Others</c:v>
                </c:pt>
                <c:pt idx="3101">
                  <c:v>Lactalis: A</c:v>
                </c:pt>
                <c:pt idx="3102">
                  <c:v>Boursin</c:v>
                </c:pt>
                <c:pt idx="3103">
                  <c:v>All Others</c:v>
                </c:pt>
                <c:pt idx="3104">
                  <c:v>All Others</c:v>
                </c:pt>
                <c:pt idx="3105">
                  <c:v>Private Lab</c:v>
                </c:pt>
                <c:pt idx="3106">
                  <c:v>All Others</c:v>
                </c:pt>
                <c:pt idx="3107">
                  <c:v>All Others</c:v>
                </c:pt>
                <c:pt idx="3108">
                  <c:v>All Others</c:v>
                </c:pt>
                <c:pt idx="3109">
                  <c:v>All Others</c:v>
                </c:pt>
                <c:pt idx="3110">
                  <c:v>All Others</c:v>
                </c:pt>
                <c:pt idx="3111">
                  <c:v>All Others</c:v>
                </c:pt>
                <c:pt idx="3112">
                  <c:v>All Others</c:v>
                </c:pt>
                <c:pt idx="3113">
                  <c:v>All Others</c:v>
                </c:pt>
                <c:pt idx="3114">
                  <c:v>All Others</c:v>
                </c:pt>
                <c:pt idx="3115">
                  <c:v>Bresse Bleu</c:v>
                </c:pt>
                <c:pt idx="3116">
                  <c:v>All Others</c:v>
                </c:pt>
                <c:pt idx="3117">
                  <c:v>All Others</c:v>
                </c:pt>
                <c:pt idx="3118">
                  <c:v>All Others</c:v>
                </c:pt>
                <c:pt idx="3119">
                  <c:v>All Others</c:v>
                </c:pt>
                <c:pt idx="3120">
                  <c:v>All Others</c:v>
                </c:pt>
                <c:pt idx="3121">
                  <c:v>All Others</c:v>
                </c:pt>
                <c:pt idx="3122">
                  <c:v>All Others</c:v>
                </c:pt>
                <c:pt idx="3123">
                  <c:v>All Others</c:v>
                </c:pt>
                <c:pt idx="3124">
                  <c:v>All Others</c:v>
                </c:pt>
                <c:pt idx="3125">
                  <c:v>All Others</c:v>
                </c:pt>
                <c:pt idx="3126">
                  <c:v>All Others</c:v>
                </c:pt>
                <c:pt idx="3127">
                  <c:v>All Others</c:v>
                </c:pt>
                <c:pt idx="3128">
                  <c:v>All Others</c:v>
                </c:pt>
                <c:pt idx="3129">
                  <c:v>All Others</c:v>
                </c:pt>
                <c:pt idx="3130">
                  <c:v>All Others</c:v>
                </c:pt>
                <c:pt idx="3131">
                  <c:v>All Others</c:v>
                </c:pt>
                <c:pt idx="3132">
                  <c:v>All Others</c:v>
                </c:pt>
                <c:pt idx="3133">
                  <c:v>All Others</c:v>
                </c:pt>
                <c:pt idx="3134">
                  <c:v>Ficello</c:v>
                </c:pt>
                <c:pt idx="3135">
                  <c:v>Private Lab</c:v>
                </c:pt>
                <c:pt idx="3136">
                  <c:v>All Others</c:v>
                </c:pt>
                <c:pt idx="3137">
                  <c:v>Private Lab</c:v>
                </c:pt>
                <c:pt idx="3138">
                  <c:v>Mini Babybe</c:v>
                </c:pt>
                <c:pt idx="3139">
                  <c:v>All Others</c:v>
                </c:pt>
                <c:pt idx="3140">
                  <c:v>Savencia: A</c:v>
                </c:pt>
                <c:pt idx="3141">
                  <c:v>All Others</c:v>
                </c:pt>
                <c:pt idx="3142">
                  <c:v>All Others</c:v>
                </c:pt>
                <c:pt idx="3143">
                  <c:v>All Others</c:v>
                </c:pt>
                <c:pt idx="3144">
                  <c:v>All Others</c:v>
                </c:pt>
                <c:pt idx="3145">
                  <c:v>All Others</c:v>
                </c:pt>
                <c:pt idx="3146">
                  <c:v>All Others</c:v>
                </c:pt>
                <c:pt idx="3147">
                  <c:v>All Others</c:v>
                </c:pt>
                <c:pt idx="3148">
                  <c:v>All Others</c:v>
                </c:pt>
                <c:pt idx="3149">
                  <c:v>All Others</c:v>
                </c:pt>
                <c:pt idx="3150">
                  <c:v>All Others</c:v>
                </c:pt>
                <c:pt idx="3151">
                  <c:v>All Others</c:v>
                </c:pt>
                <c:pt idx="3152">
                  <c:v>All Others</c:v>
                </c:pt>
                <c:pt idx="3153">
                  <c:v>All Others</c:v>
                </c:pt>
                <c:pt idx="3154">
                  <c:v>All Others</c:v>
                </c:pt>
                <c:pt idx="3155">
                  <c:v>Private Lab</c:v>
                </c:pt>
                <c:pt idx="3156">
                  <c:v>All Others</c:v>
                </c:pt>
                <c:pt idx="3157">
                  <c:v>All Others</c:v>
                </c:pt>
                <c:pt idx="3158">
                  <c:v>All Others</c:v>
                </c:pt>
                <c:pt idx="3159">
                  <c:v>All Others</c:v>
                </c:pt>
                <c:pt idx="3160">
                  <c:v>Casa Azzurr</c:v>
                </c:pt>
                <c:pt idx="3161">
                  <c:v>Private Lab</c:v>
                </c:pt>
                <c:pt idx="3162">
                  <c:v>All Others</c:v>
                </c:pt>
                <c:pt idx="3163">
                  <c:v>All Others</c:v>
                </c:pt>
                <c:pt idx="3164">
                  <c:v>Private Lab</c:v>
                </c:pt>
                <c:pt idx="3165">
                  <c:v>All Others</c:v>
                </c:pt>
                <c:pt idx="3166">
                  <c:v>All Others</c:v>
                </c:pt>
                <c:pt idx="3167">
                  <c:v>All Others</c:v>
                </c:pt>
                <c:pt idx="3168">
                  <c:v>All Others</c:v>
                </c:pt>
                <c:pt idx="3169">
                  <c:v>All Others</c:v>
                </c:pt>
              </c:strCache>
            </c:strRef>
          </c:cat>
          <c:val>
            <c:numRef>
              <c:f>Sheet1!$C$2:$C$3171</c:f>
              <c:numCache>
                <c:formatCode>General</c:formatCode>
                <c:ptCount val="3170"/>
                <c:pt idx="0">
                  <c:v>1.6180477552594105E-2</c:v>
                </c:pt>
                <c:pt idx="1">
                  <c:v>3.1551480345742115E-2</c:v>
                </c:pt>
                <c:pt idx="2">
                  <c:v>5.7992766923454286E-2</c:v>
                </c:pt>
                <c:pt idx="3">
                  <c:v>6.9991403023814555E-2</c:v>
                </c:pt>
                <c:pt idx="4">
                  <c:v>9.0520518229388641E-2</c:v>
                </c:pt>
                <c:pt idx="5">
                  <c:v>0.10042192990370634</c:v>
                </c:pt>
                <c:pt idx="6">
                  <c:v>0.10957750712364138</c:v>
                </c:pt>
                <c:pt idx="7">
                  <c:v>0.11836484790489579</c:v>
                </c:pt>
                <c:pt idx="8">
                  <c:v>0.12684750045912324</c:v>
                </c:pt>
                <c:pt idx="9">
                  <c:v>0.13513774356794536</c:v>
                </c:pt>
                <c:pt idx="10">
                  <c:v>0.14300751823909041</c:v>
                </c:pt>
                <c:pt idx="11">
                  <c:v>0.15026607834690089</c:v>
                </c:pt>
                <c:pt idx="12">
                  <c:v>0.15719733471748601</c:v>
                </c:pt>
                <c:pt idx="13">
                  <c:v>0.16395670343738503</c:v>
                </c:pt>
                <c:pt idx="14">
                  <c:v>0.1706943550276952</c:v>
                </c:pt>
                <c:pt idx="15">
                  <c:v>0.17708765432322909</c:v>
                </c:pt>
                <c:pt idx="16">
                  <c:v>0.19504965257535631</c:v>
                </c:pt>
                <c:pt idx="17">
                  <c:v>0.20070656544856669</c:v>
                </c:pt>
                <c:pt idx="18">
                  <c:v>0.20619714070862241</c:v>
                </c:pt>
                <c:pt idx="19">
                  <c:v>0.21692293123910966</c:v>
                </c:pt>
                <c:pt idx="20">
                  <c:v>0.2219913221169349</c:v>
                </c:pt>
                <c:pt idx="21">
                  <c:v>0.22692051286616918</c:v>
                </c:pt>
                <c:pt idx="22">
                  <c:v>0.23161314759648774</c:v>
                </c:pt>
                <c:pt idx="23">
                  <c:v>0.23618302932941673</c:v>
                </c:pt>
                <c:pt idx="24">
                  <c:v>0.24070676098730856</c:v>
                </c:pt>
                <c:pt idx="25">
                  <c:v>0.24514385905901276</c:v>
                </c:pt>
                <c:pt idx="26">
                  <c:v>0.24942135925159137</c:v>
                </c:pt>
                <c:pt idx="27">
                  <c:v>0.25365833270550059</c:v>
                </c:pt>
                <c:pt idx="28">
                  <c:v>0.2578226745304214</c:v>
                </c:pt>
                <c:pt idx="29">
                  <c:v>0.26195250012125315</c:v>
                </c:pt>
                <c:pt idx="30">
                  <c:v>0.27014363192659291</c:v>
                </c:pt>
                <c:pt idx="31">
                  <c:v>0.27418485425994243</c:v>
                </c:pt>
                <c:pt idx="32">
                  <c:v>0.27810123927770991</c:v>
                </c:pt>
                <c:pt idx="33">
                  <c:v>0.28199563840348862</c:v>
                </c:pt>
                <c:pt idx="34">
                  <c:v>0.28587027691477168</c:v>
                </c:pt>
                <c:pt idx="35">
                  <c:v>0.29337419266077391</c:v>
                </c:pt>
                <c:pt idx="36">
                  <c:v>0.29703119565020492</c:v>
                </c:pt>
                <c:pt idx="37">
                  <c:v>0.30409543490449303</c:v>
                </c:pt>
                <c:pt idx="38">
                  <c:v>0.31080756158463912</c:v>
                </c:pt>
                <c:pt idx="39">
                  <c:v>0.3140892594963256</c:v>
                </c:pt>
                <c:pt idx="40">
                  <c:v>0.31732615490388927</c:v>
                </c:pt>
                <c:pt idx="41">
                  <c:v>0.32053775469508455</c:v>
                </c:pt>
                <c:pt idx="42">
                  <c:v>0.32374707282506643</c:v>
                </c:pt>
                <c:pt idx="43">
                  <c:v>0.32688607857642016</c:v>
                </c:pt>
                <c:pt idx="44">
                  <c:v>0.33310517097090775</c:v>
                </c:pt>
                <c:pt idx="45">
                  <c:v>0.33619907162550655</c:v>
                </c:pt>
                <c:pt idx="46">
                  <c:v>0.33926248372310058</c:v>
                </c:pt>
                <c:pt idx="47">
                  <c:v>0.34231897002038869</c:v>
                </c:pt>
                <c:pt idx="48">
                  <c:v>0.34838759869843366</c:v>
                </c:pt>
                <c:pt idx="49">
                  <c:v>0.3513596541335392</c:v>
                </c:pt>
                <c:pt idx="50">
                  <c:v>0.35429715010703677</c:v>
                </c:pt>
                <c:pt idx="51">
                  <c:v>0.3601254394185362</c:v>
                </c:pt>
                <c:pt idx="52">
                  <c:v>0.36591861858742641</c:v>
                </c:pt>
                <c:pt idx="53">
                  <c:v>0.3687699903076761</c:v>
                </c:pt>
                <c:pt idx="54">
                  <c:v>0.37160784121180618</c:v>
                </c:pt>
                <c:pt idx="55">
                  <c:v>0.37441030193418307</c:v>
                </c:pt>
                <c:pt idx="56">
                  <c:v>0.37720794748684927</c:v>
                </c:pt>
                <c:pt idx="57">
                  <c:v>0.37996647401439543</c:v>
                </c:pt>
                <c:pt idx="58">
                  <c:v>0.38271780973815039</c:v>
                </c:pt>
                <c:pt idx="59">
                  <c:v>0.38542783686898169</c:v>
                </c:pt>
                <c:pt idx="60">
                  <c:v>0.3881096176354174</c:v>
                </c:pt>
                <c:pt idx="61">
                  <c:v>0.39078706813213676</c:v>
                </c:pt>
                <c:pt idx="62">
                  <c:v>0.39344899055229504</c:v>
                </c:pt>
                <c:pt idx="63">
                  <c:v>0.39606139678931634</c:v>
                </c:pt>
                <c:pt idx="64">
                  <c:v>0.39860868170888858</c:v>
                </c:pt>
                <c:pt idx="65">
                  <c:v>0.40114086894763107</c:v>
                </c:pt>
                <c:pt idx="66">
                  <c:v>0.4036422744340234</c:v>
                </c:pt>
                <c:pt idx="67">
                  <c:v>0.40607695542585376</c:v>
                </c:pt>
                <c:pt idx="68">
                  <c:v>0.40849271592062047</c:v>
                </c:pt>
                <c:pt idx="69">
                  <c:v>0.41088775727764704</c:v>
                </c:pt>
                <c:pt idx="70">
                  <c:v>0.41326972512940141</c:v>
                </c:pt>
                <c:pt idx="71">
                  <c:v>0.41565063484667214</c:v>
                </c:pt>
                <c:pt idx="72">
                  <c:v>0.41802378428457698</c:v>
                </c:pt>
                <c:pt idx="73">
                  <c:v>0.42273867178982694</c:v>
                </c:pt>
                <c:pt idx="74">
                  <c:v>0.42507772975100205</c:v>
                </c:pt>
                <c:pt idx="75">
                  <c:v>0.42966576516239913</c:v>
                </c:pt>
                <c:pt idx="76">
                  <c:v>0.43194612955023542</c:v>
                </c:pt>
                <c:pt idx="77">
                  <c:v>0.43419618205005711</c:v>
                </c:pt>
                <c:pt idx="78">
                  <c:v>0.43644182722241137</c:v>
                </c:pt>
                <c:pt idx="79">
                  <c:v>0.43868176260336011</c:v>
                </c:pt>
                <c:pt idx="80">
                  <c:v>0.44090723743951815</c:v>
                </c:pt>
                <c:pt idx="81">
                  <c:v>0.44312395400446164</c:v>
                </c:pt>
                <c:pt idx="82">
                  <c:v>0.44755063612357554</c:v>
                </c:pt>
                <c:pt idx="83">
                  <c:v>0.4497613722552562</c:v>
                </c:pt>
                <c:pt idx="84">
                  <c:v>0.45195248121391252</c:v>
                </c:pt>
                <c:pt idx="85">
                  <c:v>0.45412956566188151</c:v>
                </c:pt>
                <c:pt idx="86">
                  <c:v>0.45629320635148191</c:v>
                </c:pt>
                <c:pt idx="87">
                  <c:v>0.45844329051527322</c:v>
                </c:pt>
                <c:pt idx="88">
                  <c:v>0.46058118263928582</c:v>
                </c:pt>
                <c:pt idx="89">
                  <c:v>0.4648369769790196</c:v>
                </c:pt>
                <c:pt idx="90">
                  <c:v>0.46695787317028692</c:v>
                </c:pt>
                <c:pt idx="91">
                  <c:v>0.46905146648474438</c:v>
                </c:pt>
                <c:pt idx="92">
                  <c:v>0.4711323170784219</c:v>
                </c:pt>
                <c:pt idx="93">
                  <c:v>0.47320232320323508</c:v>
                </c:pt>
                <c:pt idx="94">
                  <c:v>0.4752629696304842</c:v>
                </c:pt>
                <c:pt idx="95">
                  <c:v>0.48132843706127959</c:v>
                </c:pt>
                <c:pt idx="96">
                  <c:v>0.4833035005189954</c:v>
                </c:pt>
                <c:pt idx="97">
                  <c:v>0.48525439791420549</c:v>
                </c:pt>
                <c:pt idx="98">
                  <c:v>0.48714540452174976</c:v>
                </c:pt>
                <c:pt idx="99">
                  <c:v>0.48903549207465369</c:v>
                </c:pt>
                <c:pt idx="100">
                  <c:v>0.49091939245398719</c:v>
                </c:pt>
                <c:pt idx="101">
                  <c:v>0.49280002821591734</c:v>
                </c:pt>
                <c:pt idx="102">
                  <c:v>0.49655097400113973</c:v>
                </c:pt>
                <c:pt idx="103">
                  <c:v>0.49842189672752552</c:v>
                </c:pt>
                <c:pt idx="104">
                  <c:v>0.50029240785275331</c:v>
                </c:pt>
                <c:pt idx="105">
                  <c:v>0.50212797798653275</c:v>
                </c:pt>
                <c:pt idx="106">
                  <c:v>0.50395758460216544</c:v>
                </c:pt>
                <c:pt idx="107">
                  <c:v>0.50578496969921971</c:v>
                </c:pt>
                <c:pt idx="108">
                  <c:v>0.5093954410837731</c:v>
                </c:pt>
                <c:pt idx="109">
                  <c:v>0.51117633780346861</c:v>
                </c:pt>
                <c:pt idx="110">
                  <c:v>0.51294333969503336</c:v>
                </c:pt>
                <c:pt idx="111">
                  <c:v>0.51470666536803689</c:v>
                </c:pt>
                <c:pt idx="112">
                  <c:v>0.51997368481561268</c:v>
                </c:pt>
                <c:pt idx="113">
                  <c:v>0.52172049381749319</c:v>
                </c:pt>
                <c:pt idx="114">
                  <c:v>0.52346049730433764</c:v>
                </c:pt>
                <c:pt idx="115">
                  <c:v>0.52519672872029632</c:v>
                </c:pt>
                <c:pt idx="116">
                  <c:v>0.52690974507916444</c:v>
                </c:pt>
                <c:pt idx="117">
                  <c:v>0.52861771133615409</c:v>
                </c:pt>
                <c:pt idx="118">
                  <c:v>0.53032367972998906</c:v>
                </c:pt>
                <c:pt idx="119">
                  <c:v>0.53202706950835055</c:v>
                </c:pt>
                <c:pt idx="120">
                  <c:v>0.53372059965349494</c:v>
                </c:pt>
                <c:pt idx="121">
                  <c:v>0.53541151547347643</c:v>
                </c:pt>
                <c:pt idx="122">
                  <c:v>0.53877922299151293</c:v>
                </c:pt>
                <c:pt idx="123">
                  <c:v>0.54212162361643701</c:v>
                </c:pt>
                <c:pt idx="124">
                  <c:v>0.54378323305808196</c:v>
                </c:pt>
                <c:pt idx="125">
                  <c:v>0.54543703147501277</c:v>
                </c:pt>
                <c:pt idx="126">
                  <c:v>0.54708299067536936</c:v>
                </c:pt>
                <c:pt idx="127">
                  <c:v>0.54872274766649676</c:v>
                </c:pt>
                <c:pt idx="128">
                  <c:v>0.55034708183067427</c:v>
                </c:pt>
                <c:pt idx="129">
                  <c:v>0.551966995511183</c:v>
                </c:pt>
                <c:pt idx="130">
                  <c:v>0.55357701196932785</c:v>
                </c:pt>
                <c:pt idx="131">
                  <c:v>0.55677994182380364</c:v>
                </c:pt>
                <c:pt idx="132">
                  <c:v>0.55836664549307613</c:v>
                </c:pt>
                <c:pt idx="133">
                  <c:v>0.55994889484844768</c:v>
                </c:pt>
                <c:pt idx="134">
                  <c:v>0.56152607906628205</c:v>
                </c:pt>
                <c:pt idx="135">
                  <c:v>0.56309765686286473</c:v>
                </c:pt>
                <c:pt idx="136">
                  <c:v>0.56466539868701193</c:v>
                </c:pt>
                <c:pt idx="137">
                  <c:v>0.56623303902046274</c:v>
                </c:pt>
                <c:pt idx="138">
                  <c:v>0.56776534367642328</c:v>
                </c:pt>
                <c:pt idx="139">
                  <c:v>0.5692885104107861</c:v>
                </c:pt>
                <c:pt idx="140">
                  <c:v>0.5708059053316511</c:v>
                </c:pt>
                <c:pt idx="141">
                  <c:v>0.57231217574450777</c:v>
                </c:pt>
                <c:pt idx="142">
                  <c:v>0.57380828393151528</c:v>
                </c:pt>
                <c:pt idx="143">
                  <c:v>0.57530005057206235</c:v>
                </c:pt>
                <c:pt idx="144">
                  <c:v>0.57678047092863471</c:v>
                </c:pt>
                <c:pt idx="145">
                  <c:v>0.57826037819335263</c:v>
                </c:pt>
                <c:pt idx="146">
                  <c:v>0.57973622207129683</c:v>
                </c:pt>
                <c:pt idx="147">
                  <c:v>0.58119779335018451</c:v>
                </c:pt>
                <c:pt idx="148">
                  <c:v>0.58265772762172718</c:v>
                </c:pt>
                <c:pt idx="149">
                  <c:v>0.58411245955534674</c:v>
                </c:pt>
                <c:pt idx="150">
                  <c:v>0.58556344385102599</c:v>
                </c:pt>
                <c:pt idx="151">
                  <c:v>0.58700953028087144</c:v>
                </c:pt>
                <c:pt idx="152">
                  <c:v>0.58843859070665416</c:v>
                </c:pt>
                <c:pt idx="153">
                  <c:v>0.58986205034955719</c:v>
                </c:pt>
                <c:pt idx="154">
                  <c:v>0.59128064407740133</c:v>
                </c:pt>
                <c:pt idx="155">
                  <c:v>0.59269864389672533</c:v>
                </c:pt>
                <c:pt idx="156">
                  <c:v>0.59411028363240337</c:v>
                </c:pt>
                <c:pt idx="157">
                  <c:v>0.59688167880437137</c:v>
                </c:pt>
                <c:pt idx="158">
                  <c:v>0.59825197235797889</c:v>
                </c:pt>
                <c:pt idx="159">
                  <c:v>0.59961940913642631</c:v>
                </c:pt>
                <c:pt idx="160">
                  <c:v>0.60098681960247091</c:v>
                </c:pt>
                <c:pt idx="161">
                  <c:v>0.60234786998486967</c:v>
                </c:pt>
                <c:pt idx="162">
                  <c:v>0.60370279709524755</c:v>
                </c:pt>
                <c:pt idx="163">
                  <c:v>0.60505631461261877</c:v>
                </c:pt>
                <c:pt idx="164">
                  <c:v>0.60640281611573166</c:v>
                </c:pt>
                <c:pt idx="165">
                  <c:v>0.60773851449804173</c:v>
                </c:pt>
                <c:pt idx="166">
                  <c:v>0.60907342914664009</c:v>
                </c:pt>
                <c:pt idx="167">
                  <c:v>0.61040673310029625</c:v>
                </c:pt>
                <c:pt idx="168">
                  <c:v>0.61306950315571584</c:v>
                </c:pt>
                <c:pt idx="169">
                  <c:v>0.61439903503848625</c:v>
                </c:pt>
                <c:pt idx="170">
                  <c:v>0.6157239096259628</c:v>
                </c:pt>
                <c:pt idx="171">
                  <c:v>0.61704847974134991</c:v>
                </c:pt>
                <c:pt idx="172">
                  <c:v>0.61836857298934789</c:v>
                </c:pt>
                <c:pt idx="173">
                  <c:v>0.61968172352192386</c:v>
                </c:pt>
                <c:pt idx="174">
                  <c:v>0.62099145720105176</c:v>
                </c:pt>
                <c:pt idx="175">
                  <c:v>0.62229369372484178</c:v>
                </c:pt>
                <c:pt idx="176">
                  <c:v>0.62358114831663558</c:v>
                </c:pt>
                <c:pt idx="177">
                  <c:v>0.62486543978172249</c:v>
                </c:pt>
                <c:pt idx="178">
                  <c:v>0.62614717894373872</c:v>
                </c:pt>
                <c:pt idx="179">
                  <c:v>0.6274273262053861</c:v>
                </c:pt>
                <c:pt idx="180">
                  <c:v>0.62869210138543186</c:v>
                </c:pt>
                <c:pt idx="181">
                  <c:v>0.62995197682018655</c:v>
                </c:pt>
                <c:pt idx="182">
                  <c:v>0.63121142373866723</c:v>
                </c:pt>
                <c:pt idx="183">
                  <c:v>0.63246267434367864</c:v>
                </c:pt>
                <c:pt idx="184">
                  <c:v>0.63371011528865751</c:v>
                </c:pt>
                <c:pt idx="185">
                  <c:v>0.63493988933461987</c:v>
                </c:pt>
                <c:pt idx="186">
                  <c:v>0.63616960135848999</c:v>
                </c:pt>
                <c:pt idx="187">
                  <c:v>0.63738168219303315</c:v>
                </c:pt>
                <c:pt idx="188">
                  <c:v>0.63858317416491039</c:v>
                </c:pt>
                <c:pt idx="189">
                  <c:v>0.63978347831974747</c:v>
                </c:pt>
                <c:pt idx="190">
                  <c:v>0.64097346049486126</c:v>
                </c:pt>
                <c:pt idx="191">
                  <c:v>0.64215788887352887</c:v>
                </c:pt>
                <c:pt idx="192">
                  <c:v>0.64334189061537983</c:v>
                </c:pt>
                <c:pt idx="193">
                  <c:v>0.64452018256582533</c:v>
                </c:pt>
                <c:pt idx="194">
                  <c:v>0.64569554820118902</c:v>
                </c:pt>
                <c:pt idx="195">
                  <c:v>0.64686900806680769</c:v>
                </c:pt>
                <c:pt idx="196">
                  <c:v>0.64803903980223432</c:v>
                </c:pt>
                <c:pt idx="197">
                  <c:v>0.64920810173767229</c:v>
                </c:pt>
                <c:pt idx="198">
                  <c:v>0.65037081674566577</c:v>
                </c:pt>
                <c:pt idx="199">
                  <c:v>0.65152798923395716</c:v>
                </c:pt>
                <c:pt idx="200">
                  <c:v>0.6526791775300711</c:v>
                </c:pt>
                <c:pt idx="201">
                  <c:v>0.65382488720803256</c:v>
                </c:pt>
                <c:pt idx="202">
                  <c:v>0.65496989584840537</c:v>
                </c:pt>
                <c:pt idx="203">
                  <c:v>0.65610379313697131</c:v>
                </c:pt>
                <c:pt idx="204">
                  <c:v>0.65723670934880463</c:v>
                </c:pt>
                <c:pt idx="205">
                  <c:v>0.65836536858975792</c:v>
                </c:pt>
                <c:pt idx="206">
                  <c:v>0.6594926050815032</c:v>
                </c:pt>
                <c:pt idx="207">
                  <c:v>0.66061286690705157</c:v>
                </c:pt>
                <c:pt idx="208">
                  <c:v>0.66173228109733861</c:v>
                </c:pt>
                <c:pt idx="209">
                  <c:v>0.66285068601903296</c:v>
                </c:pt>
                <c:pt idx="210">
                  <c:v>0.66396507266092974</c:v>
                </c:pt>
                <c:pt idx="211">
                  <c:v>0.66507782981331087</c:v>
                </c:pt>
                <c:pt idx="212">
                  <c:v>0.66618368559833152</c:v>
                </c:pt>
                <c:pt idx="213">
                  <c:v>0.66728149730592767</c:v>
                </c:pt>
                <c:pt idx="214">
                  <c:v>0.66837565534845056</c:v>
                </c:pt>
                <c:pt idx="215">
                  <c:v>0.66946524255071727</c:v>
                </c:pt>
                <c:pt idx="216">
                  <c:v>0.67055164031387438</c:v>
                </c:pt>
                <c:pt idx="217">
                  <c:v>0.67163693483557163</c:v>
                </c:pt>
                <c:pt idx="218">
                  <c:v>0.67380449795264519</c:v>
                </c:pt>
                <c:pt idx="219">
                  <c:v>0.67487840108339148</c:v>
                </c:pt>
                <c:pt idx="220">
                  <c:v>0.67594987971416631</c:v>
                </c:pt>
                <c:pt idx="221">
                  <c:v>0.67701725924847789</c:v>
                </c:pt>
                <c:pt idx="222">
                  <c:v>0.67808182523514826</c:v>
                </c:pt>
                <c:pt idx="223">
                  <c:v>0.67914487637920085</c:v>
                </c:pt>
                <c:pt idx="224">
                  <c:v>0.68020530004188906</c:v>
                </c:pt>
                <c:pt idx="225">
                  <c:v>0.68126284249647173</c:v>
                </c:pt>
                <c:pt idx="226">
                  <c:v>0.68336968974410628</c:v>
                </c:pt>
                <c:pt idx="227">
                  <c:v>0.68441889680537638</c:v>
                </c:pt>
                <c:pt idx="228">
                  <c:v>0.68546743477983263</c:v>
                </c:pt>
                <c:pt idx="229">
                  <c:v>0.68650632549975155</c:v>
                </c:pt>
                <c:pt idx="230">
                  <c:v>0.68856840595295277</c:v>
                </c:pt>
                <c:pt idx="231">
                  <c:v>0.68958933094013775</c:v>
                </c:pt>
                <c:pt idx="232">
                  <c:v>0.69060773745448423</c:v>
                </c:pt>
                <c:pt idx="233">
                  <c:v>0.69162203359562335</c:v>
                </c:pt>
                <c:pt idx="234">
                  <c:v>0.69362267082939422</c:v>
                </c:pt>
                <c:pt idx="235">
                  <c:v>0.69460928820225509</c:v>
                </c:pt>
                <c:pt idx="236">
                  <c:v>0.69558598391980664</c:v>
                </c:pt>
                <c:pt idx="237">
                  <c:v>0.69656031715947908</c:v>
                </c:pt>
                <c:pt idx="238">
                  <c:v>0.69753290062436601</c:v>
                </c:pt>
                <c:pt idx="239">
                  <c:v>0.69849795498314016</c:v>
                </c:pt>
                <c:pt idx="240">
                  <c:v>0.69946186287293555</c:v>
                </c:pt>
                <c:pt idx="241">
                  <c:v>0.70042123751162166</c:v>
                </c:pt>
                <c:pt idx="242">
                  <c:v>0.70137989607706042</c:v>
                </c:pt>
                <c:pt idx="243">
                  <c:v>0.70233854336575507</c:v>
                </c:pt>
                <c:pt idx="244">
                  <c:v>0.70329406887580437</c:v>
                </c:pt>
                <c:pt idx="245">
                  <c:v>0.70423975354721002</c:v>
                </c:pt>
                <c:pt idx="246">
                  <c:v>0.70518211157912003</c:v>
                </c:pt>
                <c:pt idx="247">
                  <c:v>0.70609863646986182</c:v>
                </c:pt>
                <c:pt idx="248">
                  <c:v>0.70701423478813397</c:v>
                </c:pt>
                <c:pt idx="249">
                  <c:v>0.70792868287851263</c:v>
                </c:pt>
                <c:pt idx="250">
                  <c:v>0.70975144075159047</c:v>
                </c:pt>
                <c:pt idx="251">
                  <c:v>0.71065599725797723</c:v>
                </c:pt>
                <c:pt idx="252">
                  <c:v>0.71155819504539963</c:v>
                </c:pt>
                <c:pt idx="253">
                  <c:v>0.71245871635687275</c:v>
                </c:pt>
                <c:pt idx="254">
                  <c:v>0.71335778484782042</c:v>
                </c:pt>
                <c:pt idx="255">
                  <c:v>0.71425598690893333</c:v>
                </c:pt>
                <c:pt idx="256">
                  <c:v>0.71515021579722482</c:v>
                </c:pt>
                <c:pt idx="257">
                  <c:v>0.71604332828785511</c:v>
                </c:pt>
                <c:pt idx="258">
                  <c:v>0.71693529806842138</c:v>
                </c:pt>
                <c:pt idx="259">
                  <c:v>0.71870228680378478</c:v>
                </c:pt>
                <c:pt idx="260">
                  <c:v>0.71958321665192304</c:v>
                </c:pt>
                <c:pt idx="261">
                  <c:v>0.72045449548660923</c:v>
                </c:pt>
                <c:pt idx="262">
                  <c:v>0.72132104560662258</c:v>
                </c:pt>
                <c:pt idx="263">
                  <c:v>0.72218631581618586</c:v>
                </c:pt>
                <c:pt idx="264">
                  <c:v>0.72390488221258542</c:v>
                </c:pt>
                <c:pt idx="265">
                  <c:v>0.72561398930018173</c:v>
                </c:pt>
                <c:pt idx="266">
                  <c:v>0.72646066791771624</c:v>
                </c:pt>
                <c:pt idx="267">
                  <c:v>0.72730723000889552</c:v>
                </c:pt>
                <c:pt idx="268">
                  <c:v>0.72899168989290652</c:v>
                </c:pt>
                <c:pt idx="269">
                  <c:v>0.72982322384317777</c:v>
                </c:pt>
                <c:pt idx="270">
                  <c:v>0.73064727003539776</c:v>
                </c:pt>
                <c:pt idx="271">
                  <c:v>0.73146895750865326</c:v>
                </c:pt>
                <c:pt idx="272">
                  <c:v>0.73228966014626151</c:v>
                </c:pt>
                <c:pt idx="273">
                  <c:v>0.73310835740288571</c:v>
                </c:pt>
                <c:pt idx="274">
                  <c:v>0.73392693437423995</c:v>
                </c:pt>
                <c:pt idx="275">
                  <c:v>0.73474385554367572</c:v>
                </c:pt>
                <c:pt idx="276">
                  <c:v>0.73555645020230986</c:v>
                </c:pt>
                <c:pt idx="277">
                  <c:v>0.73636787771793444</c:v>
                </c:pt>
                <c:pt idx="278">
                  <c:v>0.73717405027083027</c:v>
                </c:pt>
                <c:pt idx="279">
                  <c:v>0.73797947479970394</c:v>
                </c:pt>
                <c:pt idx="280">
                  <c:v>0.73878454411113992</c:v>
                </c:pt>
                <c:pt idx="281">
                  <c:v>0.73958870752413697</c:v>
                </c:pt>
                <c:pt idx="282">
                  <c:v>0.74039253075535516</c:v>
                </c:pt>
                <c:pt idx="283">
                  <c:v>0.74119408360210393</c:v>
                </c:pt>
                <c:pt idx="284">
                  <c:v>0.74199422497638878</c:v>
                </c:pt>
                <c:pt idx="285">
                  <c:v>0.74278745182711181</c:v>
                </c:pt>
                <c:pt idx="286">
                  <c:v>0.74358049824992989</c:v>
                </c:pt>
                <c:pt idx="287">
                  <c:v>0.74436709249569233</c:v>
                </c:pt>
                <c:pt idx="288">
                  <c:v>0.74514532315628212</c:v>
                </c:pt>
                <c:pt idx="289">
                  <c:v>0.74592042264093983</c:v>
                </c:pt>
                <c:pt idx="290">
                  <c:v>0.74669434182638661</c:v>
                </c:pt>
                <c:pt idx="291">
                  <c:v>0.74746550196845507</c:v>
                </c:pt>
                <c:pt idx="292">
                  <c:v>0.74822760124667687</c:v>
                </c:pt>
                <c:pt idx="293">
                  <c:v>0.74898343065520523</c:v>
                </c:pt>
                <c:pt idx="294">
                  <c:v>0.74973818689359117</c:v>
                </c:pt>
                <c:pt idx="295">
                  <c:v>0.7504814314557563</c:v>
                </c:pt>
                <c:pt idx="296">
                  <c:v>0.75122248832957517</c:v>
                </c:pt>
                <c:pt idx="297">
                  <c:v>0.75196224649837051</c:v>
                </c:pt>
                <c:pt idx="298">
                  <c:v>0.75270073415400263</c:v>
                </c:pt>
                <c:pt idx="299">
                  <c:v>0.75343879329336072</c:v>
                </c:pt>
                <c:pt idx="300">
                  <c:v>0.75417455949476131</c:v>
                </c:pt>
                <c:pt idx="301">
                  <c:v>0.75490967164500689</c:v>
                </c:pt>
                <c:pt idx="302">
                  <c:v>0.75564346253674086</c:v>
                </c:pt>
                <c:pt idx="303">
                  <c:v>0.75637438349711339</c:v>
                </c:pt>
                <c:pt idx="304">
                  <c:v>0.7571028404889103</c:v>
                </c:pt>
                <c:pt idx="305">
                  <c:v>0.75782899890437772</c:v>
                </c:pt>
                <c:pt idx="306">
                  <c:v>0.75855130443229368</c:v>
                </c:pt>
                <c:pt idx="307">
                  <c:v>0.75926686082889383</c:v>
                </c:pt>
                <c:pt idx="308">
                  <c:v>0.7599822443154185</c:v>
                </c:pt>
                <c:pt idx="309">
                  <c:v>0.76069382753919734</c:v>
                </c:pt>
                <c:pt idx="310">
                  <c:v>0.76140459319903231</c:v>
                </c:pt>
                <c:pt idx="311">
                  <c:v>0.76210913785506473</c:v>
                </c:pt>
                <c:pt idx="312">
                  <c:v>0.76281026565764898</c:v>
                </c:pt>
                <c:pt idx="313">
                  <c:v>0.76350562540565015</c:v>
                </c:pt>
                <c:pt idx="314">
                  <c:v>0.76420056227574928</c:v>
                </c:pt>
                <c:pt idx="315">
                  <c:v>0.76489270439278068</c:v>
                </c:pt>
                <c:pt idx="316">
                  <c:v>0.76558460593927224</c:v>
                </c:pt>
                <c:pt idx="317">
                  <c:v>0.76627364507223161</c:v>
                </c:pt>
                <c:pt idx="318">
                  <c:v>0.76696169373117173</c:v>
                </c:pt>
                <c:pt idx="319">
                  <c:v>0.76764935522189937</c:v>
                </c:pt>
                <c:pt idx="320">
                  <c:v>0.76832857606970328</c:v>
                </c:pt>
                <c:pt idx="321">
                  <c:v>0.76900762400743172</c:v>
                </c:pt>
                <c:pt idx="322">
                  <c:v>0.76968297693202536</c:v>
                </c:pt>
                <c:pt idx="323">
                  <c:v>0.77035335117411963</c:v>
                </c:pt>
                <c:pt idx="324">
                  <c:v>0.77102202826623389</c:v>
                </c:pt>
                <c:pt idx="325">
                  <c:v>0.77168619090181223</c:v>
                </c:pt>
                <c:pt idx="326">
                  <c:v>0.77235017123002836</c:v>
                </c:pt>
                <c:pt idx="327">
                  <c:v>0.77301175900904795</c:v>
                </c:pt>
                <c:pt idx="328">
                  <c:v>0.77367249163497687</c:v>
                </c:pt>
                <c:pt idx="329">
                  <c:v>0.77433216424696483</c:v>
                </c:pt>
                <c:pt idx="330">
                  <c:v>0.77565093247753658</c:v>
                </c:pt>
                <c:pt idx="331">
                  <c:v>0.77630869744032216</c:v>
                </c:pt>
                <c:pt idx="332">
                  <c:v>0.77696607147598062</c:v>
                </c:pt>
                <c:pt idx="333">
                  <c:v>0.77762341919923628</c:v>
                </c:pt>
                <c:pt idx="334">
                  <c:v>0.77827894948724208</c:v>
                </c:pt>
                <c:pt idx="335">
                  <c:v>0.77893372611285361</c:v>
                </c:pt>
                <c:pt idx="336">
                  <c:v>0.77958798024932408</c:v>
                </c:pt>
                <c:pt idx="337">
                  <c:v>0.78024171189665337</c:v>
                </c:pt>
                <c:pt idx="338">
                  <c:v>0.78089001943009317</c:v>
                </c:pt>
                <c:pt idx="339">
                  <c:v>0.78153831192787415</c:v>
                </c:pt>
                <c:pt idx="340">
                  <c:v>0.78218248465516116</c:v>
                </c:pt>
                <c:pt idx="341">
                  <c:v>0.78346590029312657</c:v>
                </c:pt>
                <c:pt idx="342">
                  <c:v>0.78410089375075431</c:v>
                </c:pt>
                <c:pt idx="343">
                  <c:v>0.78473029206387446</c:v>
                </c:pt>
                <c:pt idx="344">
                  <c:v>0.78535894047351507</c:v>
                </c:pt>
                <c:pt idx="345">
                  <c:v>0.78598723930408998</c:v>
                </c:pt>
                <c:pt idx="346">
                  <c:v>0.78661478447227073</c:v>
                </c:pt>
                <c:pt idx="347">
                  <c:v>0.78724016262613594</c:v>
                </c:pt>
                <c:pt idx="348">
                  <c:v>0.78786500513465862</c:v>
                </c:pt>
                <c:pt idx="349">
                  <c:v>0.78848826514009918</c:v>
                </c:pt>
                <c:pt idx="350">
                  <c:v>0.78910939196145635</c:v>
                </c:pt>
                <c:pt idx="351">
                  <c:v>0.78972936479600542</c:v>
                </c:pt>
                <c:pt idx="352">
                  <c:v>0.79034844112940228</c:v>
                </c:pt>
                <c:pt idx="353">
                  <c:v>0.79096712653567203</c:v>
                </c:pt>
                <c:pt idx="354">
                  <c:v>0.7915846447989322</c:v>
                </c:pt>
                <c:pt idx="355">
                  <c:v>0.79219907699323655</c:v>
                </c:pt>
                <c:pt idx="356">
                  <c:v>0.7928090097666638</c:v>
                </c:pt>
                <c:pt idx="357">
                  <c:v>0.79341742769747325</c:v>
                </c:pt>
                <c:pt idx="358">
                  <c:v>0.79402568399495121</c:v>
                </c:pt>
                <c:pt idx="359">
                  <c:v>0.79523904849885907</c:v>
                </c:pt>
                <c:pt idx="360">
                  <c:v>0.79584491976496985</c:v>
                </c:pt>
                <c:pt idx="361">
                  <c:v>0.7964496915485354</c:v>
                </c:pt>
                <c:pt idx="362">
                  <c:v>0.79705427162745213</c:v>
                </c:pt>
                <c:pt idx="363">
                  <c:v>0.79765866939900665</c:v>
                </c:pt>
                <c:pt idx="364">
                  <c:v>0.79825829334891196</c:v>
                </c:pt>
                <c:pt idx="365">
                  <c:v>0.79885580666822209</c:v>
                </c:pt>
                <c:pt idx="366">
                  <c:v>0.80004582267356805</c:v>
                </c:pt>
                <c:pt idx="367">
                  <c:v>0.8006367672894672</c:v>
                </c:pt>
                <c:pt idx="368">
                  <c:v>0.80122389284804707</c:v>
                </c:pt>
                <c:pt idx="369">
                  <c:v>0.80181101464771232</c:v>
                </c:pt>
                <c:pt idx="370">
                  <c:v>0.80239716476793166</c:v>
                </c:pt>
                <c:pt idx="371">
                  <c:v>0.80298272661800285</c:v>
                </c:pt>
                <c:pt idx="372">
                  <c:v>0.80356805541536358</c:v>
                </c:pt>
                <c:pt idx="373">
                  <c:v>0.80415307034334815</c:v>
                </c:pt>
                <c:pt idx="374">
                  <c:v>0.8047360141093417</c:v>
                </c:pt>
                <c:pt idx="375">
                  <c:v>0.80531760090713422</c:v>
                </c:pt>
                <c:pt idx="376">
                  <c:v>0.80589745108634259</c:v>
                </c:pt>
                <c:pt idx="377">
                  <c:v>0.80647495006441583</c:v>
                </c:pt>
                <c:pt idx="378">
                  <c:v>0.80704999823011492</c:v>
                </c:pt>
                <c:pt idx="379">
                  <c:v>0.80761872390131495</c:v>
                </c:pt>
                <c:pt idx="380">
                  <c:v>0.80818718644848697</c:v>
                </c:pt>
                <c:pt idx="381">
                  <c:v>0.80875493104295437</c:v>
                </c:pt>
                <c:pt idx="382">
                  <c:v>0.8093219652025464</c:v>
                </c:pt>
                <c:pt idx="383">
                  <c:v>0.80988531750520509</c:v>
                </c:pt>
                <c:pt idx="384">
                  <c:v>0.81044704971563486</c:v>
                </c:pt>
                <c:pt idx="385">
                  <c:v>0.81100676526833648</c:v>
                </c:pt>
                <c:pt idx="386">
                  <c:v>0.8115661049295696</c:v>
                </c:pt>
                <c:pt idx="387">
                  <c:v>0.81212539384545446</c:v>
                </c:pt>
                <c:pt idx="388">
                  <c:v>0.81268362650631309</c:v>
                </c:pt>
                <c:pt idx="389">
                  <c:v>0.81324083110400558</c:v>
                </c:pt>
                <c:pt idx="390">
                  <c:v>0.81379801314820988</c:v>
                </c:pt>
                <c:pt idx="391">
                  <c:v>0.81435399233971517</c:v>
                </c:pt>
                <c:pt idx="392">
                  <c:v>0.814909792982773</c:v>
                </c:pt>
                <c:pt idx="393">
                  <c:v>0.81546178584525553</c:v>
                </c:pt>
                <c:pt idx="394">
                  <c:v>0.81601295174650756</c:v>
                </c:pt>
                <c:pt idx="395">
                  <c:v>0.8165585168648799</c:v>
                </c:pt>
                <c:pt idx="396">
                  <c:v>0.81710270622047776</c:v>
                </c:pt>
                <c:pt idx="397">
                  <c:v>0.81764381890440652</c:v>
                </c:pt>
                <c:pt idx="398">
                  <c:v>0.81818059004187482</c:v>
                </c:pt>
                <c:pt idx="399">
                  <c:v>0.81871041282554913</c:v>
                </c:pt>
                <c:pt idx="400">
                  <c:v>0.81923963982124592</c:v>
                </c:pt>
                <c:pt idx="401">
                  <c:v>0.8197678368743192</c:v>
                </c:pt>
                <c:pt idx="402">
                  <c:v>0.8202864205030872</c:v>
                </c:pt>
                <c:pt idx="403">
                  <c:v>0.8208033558477662</c:v>
                </c:pt>
                <c:pt idx="404">
                  <c:v>0.82131998296144104</c:v>
                </c:pt>
                <c:pt idx="405">
                  <c:v>0.82183648415147392</c:v>
                </c:pt>
                <c:pt idx="406">
                  <c:v>0.82235271282019218</c:v>
                </c:pt>
                <c:pt idx="407">
                  <c:v>0.82286803934938624</c:v>
                </c:pt>
                <c:pt idx="408">
                  <c:v>0.82338264792587557</c:v>
                </c:pt>
                <c:pt idx="409">
                  <c:v>0.82389698398105027</c:v>
                </c:pt>
                <c:pt idx="410">
                  <c:v>0.82441060020406298</c:v>
                </c:pt>
                <c:pt idx="411">
                  <c:v>0.82543670873459773</c:v>
                </c:pt>
                <c:pt idx="412">
                  <c:v>0.82594923487235195</c:v>
                </c:pt>
                <c:pt idx="413">
                  <c:v>0.82645955076827171</c:v>
                </c:pt>
                <c:pt idx="414">
                  <c:v>0.82696757748514871</c:v>
                </c:pt>
                <c:pt idx="415">
                  <c:v>0.82747560044311108</c:v>
                </c:pt>
                <c:pt idx="416">
                  <c:v>0.82798147142241663</c:v>
                </c:pt>
                <c:pt idx="417">
                  <c:v>0.82848542347577581</c:v>
                </c:pt>
                <c:pt idx="418">
                  <c:v>0.82898158517845166</c:v>
                </c:pt>
                <c:pt idx="419">
                  <c:v>0.82947725634276126</c:v>
                </c:pt>
                <c:pt idx="420">
                  <c:v>0.82997183554235499</c:v>
                </c:pt>
                <c:pt idx="421">
                  <c:v>0.83046625498807469</c:v>
                </c:pt>
                <c:pt idx="422">
                  <c:v>0.83095950729078494</c:v>
                </c:pt>
                <c:pt idx="423">
                  <c:v>0.83145235926908123</c:v>
                </c:pt>
                <c:pt idx="424">
                  <c:v>0.8319442621214197</c:v>
                </c:pt>
                <c:pt idx="425">
                  <c:v>0.83243571578345343</c:v>
                </c:pt>
                <c:pt idx="426">
                  <c:v>0.83292684429936692</c:v>
                </c:pt>
                <c:pt idx="427">
                  <c:v>0.8334172059966849</c:v>
                </c:pt>
                <c:pt idx="428">
                  <c:v>0.83390581416030263</c:v>
                </c:pt>
                <c:pt idx="429">
                  <c:v>0.83439199594449154</c:v>
                </c:pt>
                <c:pt idx="430">
                  <c:v>0.83487764584225266</c:v>
                </c:pt>
                <c:pt idx="431">
                  <c:v>0.83536308336133414</c:v>
                </c:pt>
                <c:pt idx="432">
                  <c:v>0.83584537842773943</c:v>
                </c:pt>
                <c:pt idx="433">
                  <c:v>0.83632756636507621</c:v>
                </c:pt>
                <c:pt idx="434">
                  <c:v>0.83680899124273211</c:v>
                </c:pt>
                <c:pt idx="435">
                  <c:v>0.83728954781109588</c:v>
                </c:pt>
                <c:pt idx="436">
                  <c:v>0.83776998033527506</c:v>
                </c:pt>
                <c:pt idx="437">
                  <c:v>0.83824992420054534</c:v>
                </c:pt>
                <c:pt idx="438">
                  <c:v>0.83872885691776544</c:v>
                </c:pt>
                <c:pt idx="439">
                  <c:v>0.83920687245980263</c:v>
                </c:pt>
                <c:pt idx="440">
                  <c:v>0.83968473200688043</c:v>
                </c:pt>
                <c:pt idx="441">
                  <c:v>0.84015859582764874</c:v>
                </c:pt>
                <c:pt idx="442">
                  <c:v>0.84063082076161466</c:v>
                </c:pt>
                <c:pt idx="443">
                  <c:v>0.84110151017893198</c:v>
                </c:pt>
                <c:pt idx="444">
                  <c:v>0.84157199849431374</c:v>
                </c:pt>
                <c:pt idx="445">
                  <c:v>0.84204095505196164</c:v>
                </c:pt>
                <c:pt idx="446">
                  <c:v>0.84250897000148106</c:v>
                </c:pt>
                <c:pt idx="447">
                  <c:v>0.84297584224093647</c:v>
                </c:pt>
                <c:pt idx="448">
                  <c:v>0.8434400926373995</c:v>
                </c:pt>
                <c:pt idx="449">
                  <c:v>0.84390429228851438</c:v>
                </c:pt>
                <c:pt idx="450">
                  <c:v>0.84436796945048809</c:v>
                </c:pt>
                <c:pt idx="451">
                  <c:v>0.84483044563922016</c:v>
                </c:pt>
                <c:pt idx="452">
                  <c:v>0.84528871560242047</c:v>
                </c:pt>
                <c:pt idx="453">
                  <c:v>0.84574547072300299</c:v>
                </c:pt>
                <c:pt idx="454">
                  <c:v>0.846201410159099</c:v>
                </c:pt>
                <c:pt idx="455">
                  <c:v>0.84665732704170682</c:v>
                </c:pt>
                <c:pt idx="456">
                  <c:v>0.84711315558981959</c:v>
                </c:pt>
                <c:pt idx="457">
                  <c:v>0.84756875108522189</c:v>
                </c:pt>
                <c:pt idx="458">
                  <c:v>0.84802366621706637</c:v>
                </c:pt>
                <c:pt idx="459">
                  <c:v>0.84847587117142342</c:v>
                </c:pt>
                <c:pt idx="460">
                  <c:v>0.84892735065524638</c:v>
                </c:pt>
                <c:pt idx="461">
                  <c:v>0.84937724199761522</c:v>
                </c:pt>
                <c:pt idx="462">
                  <c:v>0.84982493625435107</c:v>
                </c:pt>
                <c:pt idx="463">
                  <c:v>0.85027182610334451</c:v>
                </c:pt>
                <c:pt idx="464">
                  <c:v>0.85071788899110734</c:v>
                </c:pt>
                <c:pt idx="465">
                  <c:v>0.85115765381731656</c:v>
                </c:pt>
                <c:pt idx="466">
                  <c:v>0.85159703147531329</c:v>
                </c:pt>
                <c:pt idx="467">
                  <c:v>0.85203634523176042</c:v>
                </c:pt>
                <c:pt idx="468">
                  <c:v>0.85247555937696839</c:v>
                </c:pt>
                <c:pt idx="469">
                  <c:v>0.85291280760979638</c:v>
                </c:pt>
                <c:pt idx="470">
                  <c:v>0.85334994307518386</c:v>
                </c:pt>
                <c:pt idx="471">
                  <c:v>0.85421551587737932</c:v>
                </c:pt>
                <c:pt idx="472">
                  <c:v>0.85464671601648023</c:v>
                </c:pt>
                <c:pt idx="473">
                  <c:v>0.85507723579202322</c:v>
                </c:pt>
                <c:pt idx="474">
                  <c:v>0.85550658090672738</c:v>
                </c:pt>
                <c:pt idx="475">
                  <c:v>0.85593470625361645</c:v>
                </c:pt>
                <c:pt idx="476">
                  <c:v>0.85636209861214208</c:v>
                </c:pt>
                <c:pt idx="477">
                  <c:v>0.85678928423036005</c:v>
                </c:pt>
                <c:pt idx="478">
                  <c:v>0.85721436297689746</c:v>
                </c:pt>
                <c:pt idx="479">
                  <c:v>0.85763649661377972</c:v>
                </c:pt>
                <c:pt idx="480">
                  <c:v>0.85847975837786605</c:v>
                </c:pt>
                <c:pt idx="481">
                  <c:v>0.85890108948646315</c:v>
                </c:pt>
                <c:pt idx="482">
                  <c:v>0.85932209356948275</c:v>
                </c:pt>
                <c:pt idx="483">
                  <c:v>0.85974161100174462</c:v>
                </c:pt>
                <c:pt idx="484">
                  <c:v>0.86016098559524856</c:v>
                </c:pt>
                <c:pt idx="485">
                  <c:v>0.86057785675157272</c:v>
                </c:pt>
                <c:pt idx="486">
                  <c:v>0.86099107612228098</c:v>
                </c:pt>
                <c:pt idx="487">
                  <c:v>0.86140116055814253</c:v>
                </c:pt>
                <c:pt idx="488">
                  <c:v>0.86180168795341905</c:v>
                </c:pt>
                <c:pt idx="489">
                  <c:v>0.86220203304133347</c:v>
                </c:pt>
                <c:pt idx="490">
                  <c:v>0.86260185188119209</c:v>
                </c:pt>
                <c:pt idx="491">
                  <c:v>0.86300159366329965</c:v>
                </c:pt>
                <c:pt idx="492">
                  <c:v>0.86340014011053756</c:v>
                </c:pt>
                <c:pt idx="493">
                  <c:v>0.86379860762056715</c:v>
                </c:pt>
                <c:pt idx="494">
                  <c:v>0.86459202805539637</c:v>
                </c:pt>
                <c:pt idx="495">
                  <c:v>0.86498828532359151</c:v>
                </c:pt>
                <c:pt idx="496">
                  <c:v>0.86538277214297032</c:v>
                </c:pt>
                <c:pt idx="497">
                  <c:v>0.86577715747165263</c:v>
                </c:pt>
                <c:pt idx="498">
                  <c:v>0.86616939270113547</c:v>
                </c:pt>
                <c:pt idx="499">
                  <c:v>0.8665614625383723</c:v>
                </c:pt>
                <c:pt idx="500">
                  <c:v>0.86695327301049585</c:v>
                </c:pt>
                <c:pt idx="501">
                  <c:v>0.86734339572992614</c:v>
                </c:pt>
                <c:pt idx="502">
                  <c:v>0.86773321397726699</c:v>
                </c:pt>
                <c:pt idx="503">
                  <c:v>0.86812242891880098</c:v>
                </c:pt>
                <c:pt idx="504">
                  <c:v>0.86851101800104002</c:v>
                </c:pt>
                <c:pt idx="505">
                  <c:v>0.86889478439573908</c:v>
                </c:pt>
                <c:pt idx="506">
                  <c:v>0.86927807716718786</c:v>
                </c:pt>
                <c:pt idx="507">
                  <c:v>0.86965921795997991</c:v>
                </c:pt>
                <c:pt idx="508">
                  <c:v>0.87003753392838667</c:v>
                </c:pt>
                <c:pt idx="509">
                  <c:v>0.87041557737547881</c:v>
                </c:pt>
                <c:pt idx="510">
                  <c:v>0.87079009120168227</c:v>
                </c:pt>
                <c:pt idx="511">
                  <c:v>0.87116408253874467</c:v>
                </c:pt>
                <c:pt idx="512">
                  <c:v>0.87153741418627995</c:v>
                </c:pt>
                <c:pt idx="513">
                  <c:v>0.87190985121212039</c:v>
                </c:pt>
                <c:pt idx="514">
                  <c:v>0.8722798844120202</c:v>
                </c:pt>
                <c:pt idx="515">
                  <c:v>0.87264529414685821</c:v>
                </c:pt>
                <c:pt idx="516">
                  <c:v>0.87301041820418024</c:v>
                </c:pt>
                <c:pt idx="517">
                  <c:v>0.87337533176227988</c:v>
                </c:pt>
                <c:pt idx="518">
                  <c:v>0.87373725510374811</c:v>
                </c:pt>
                <c:pt idx="519">
                  <c:v>0.87409899989676887</c:v>
                </c:pt>
                <c:pt idx="520">
                  <c:v>0.87446040826692539</c:v>
                </c:pt>
                <c:pt idx="521">
                  <c:v>0.87481997288942925</c:v>
                </c:pt>
                <c:pt idx="522">
                  <c:v>0.8751793608429429</c:v>
                </c:pt>
                <c:pt idx="523">
                  <c:v>0.87589451879458646</c:v>
                </c:pt>
                <c:pt idx="524">
                  <c:v>0.87625141082874969</c:v>
                </c:pt>
                <c:pt idx="525">
                  <c:v>0.87695603630144781</c:v>
                </c:pt>
                <c:pt idx="526">
                  <c:v>0.87730351977215615</c:v>
                </c:pt>
                <c:pt idx="527">
                  <c:v>0.8776490316921125</c:v>
                </c:pt>
                <c:pt idx="528">
                  <c:v>0.87799385009230957</c:v>
                </c:pt>
                <c:pt idx="529">
                  <c:v>0.87833771560763418</c:v>
                </c:pt>
                <c:pt idx="530">
                  <c:v>0.87867935020709365</c:v>
                </c:pt>
                <c:pt idx="531">
                  <c:v>0.8790208776774846</c:v>
                </c:pt>
                <c:pt idx="532">
                  <c:v>0.87936189581493585</c:v>
                </c:pt>
                <c:pt idx="533">
                  <c:v>0.87970049321133037</c:v>
                </c:pt>
                <c:pt idx="534">
                  <c:v>0.8800379948840944</c:v>
                </c:pt>
                <c:pt idx="535">
                  <c:v>0.88037377873284772</c:v>
                </c:pt>
                <c:pt idx="536">
                  <c:v>0.88070832401921251</c:v>
                </c:pt>
                <c:pt idx="537">
                  <c:v>0.88104248589627943</c:v>
                </c:pt>
                <c:pt idx="538">
                  <c:v>0.88137650305513104</c:v>
                </c:pt>
                <c:pt idx="539">
                  <c:v>0.88171042060274352</c:v>
                </c:pt>
                <c:pt idx="540">
                  <c:v>0.88204357321121774</c:v>
                </c:pt>
                <c:pt idx="541">
                  <c:v>0.88237471292087843</c:v>
                </c:pt>
                <c:pt idx="542">
                  <c:v>0.88270519482046939</c:v>
                </c:pt>
                <c:pt idx="543">
                  <c:v>0.88303558274719329</c:v>
                </c:pt>
                <c:pt idx="544">
                  <c:v>0.88336579588438435</c:v>
                </c:pt>
                <c:pt idx="545">
                  <c:v>0.8836921429778225</c:v>
                </c:pt>
                <c:pt idx="546">
                  <c:v>0.8840178059487882</c:v>
                </c:pt>
                <c:pt idx="547">
                  <c:v>0.8843421589379864</c:v>
                </c:pt>
                <c:pt idx="548">
                  <c:v>0.88466526772642406</c:v>
                </c:pt>
                <c:pt idx="549">
                  <c:v>0.88498826186796387</c:v>
                </c:pt>
                <c:pt idx="550">
                  <c:v>0.88531122781764349</c:v>
                </c:pt>
                <c:pt idx="551">
                  <c:v>0.88563395695569802</c:v>
                </c:pt>
                <c:pt idx="552">
                  <c:v>0.88595158524652584</c:v>
                </c:pt>
                <c:pt idx="553">
                  <c:v>0.88626828132651192</c:v>
                </c:pt>
                <c:pt idx="554">
                  <c:v>0.88658458647937088</c:v>
                </c:pt>
                <c:pt idx="555">
                  <c:v>0.886900716842697</c:v>
                </c:pt>
                <c:pt idx="556">
                  <c:v>0.88721464448201814</c:v>
                </c:pt>
                <c:pt idx="557">
                  <c:v>0.88752819622987078</c:v>
                </c:pt>
                <c:pt idx="558">
                  <c:v>0.88784061278548876</c:v>
                </c:pt>
                <c:pt idx="559">
                  <c:v>0.88815167237290571</c:v>
                </c:pt>
                <c:pt idx="560">
                  <c:v>0.88846262483125416</c:v>
                </c:pt>
                <c:pt idx="561">
                  <c:v>0.88877267702953566</c:v>
                </c:pt>
                <c:pt idx="562">
                  <c:v>0.88908166357550422</c:v>
                </c:pt>
                <c:pt idx="563">
                  <c:v>0.88939005997186726</c:v>
                </c:pt>
                <c:pt idx="564">
                  <c:v>0.88969634573763512</c:v>
                </c:pt>
                <c:pt idx="565">
                  <c:v>0.8900022274200744</c:v>
                </c:pt>
                <c:pt idx="566">
                  <c:v>0.89030738927035158</c:v>
                </c:pt>
                <c:pt idx="567">
                  <c:v>0.89061241955861481</c:v>
                </c:pt>
                <c:pt idx="568">
                  <c:v>0.89091639171239445</c:v>
                </c:pt>
                <c:pt idx="569">
                  <c:v>0.89122028117005103</c:v>
                </c:pt>
                <c:pt idx="570">
                  <c:v>0.89152349214360704</c:v>
                </c:pt>
                <c:pt idx="571">
                  <c:v>0.89182653584545957</c:v>
                </c:pt>
                <c:pt idx="572">
                  <c:v>0.89212937468646181</c:v>
                </c:pt>
                <c:pt idx="573">
                  <c:v>0.8924322003712627</c:v>
                </c:pt>
                <c:pt idx="574">
                  <c:v>0.89273346610646953</c:v>
                </c:pt>
                <c:pt idx="575">
                  <c:v>0.89303461343586388</c:v>
                </c:pt>
                <c:pt idx="576">
                  <c:v>0.89333400347264325</c:v>
                </c:pt>
                <c:pt idx="577">
                  <c:v>0.89363211923734465</c:v>
                </c:pt>
                <c:pt idx="578">
                  <c:v>0.89392952456717067</c:v>
                </c:pt>
                <c:pt idx="579">
                  <c:v>0.89422656152335767</c:v>
                </c:pt>
                <c:pt idx="580">
                  <c:v>0.89452311170009302</c:v>
                </c:pt>
                <c:pt idx="581">
                  <c:v>0.89481904353536279</c:v>
                </c:pt>
                <c:pt idx="582">
                  <c:v>0.895114779907069</c:v>
                </c:pt>
                <c:pt idx="583">
                  <c:v>0.89570239412455788</c:v>
                </c:pt>
                <c:pt idx="584">
                  <c:v>0.89599612323582256</c:v>
                </c:pt>
                <c:pt idx="585">
                  <c:v>0.89628602201302399</c:v>
                </c:pt>
                <c:pt idx="586">
                  <c:v>0.89657574975960719</c:v>
                </c:pt>
                <c:pt idx="587">
                  <c:v>0.89686455657209274</c:v>
                </c:pt>
                <c:pt idx="588">
                  <c:v>0.89715268490047784</c:v>
                </c:pt>
                <c:pt idx="589">
                  <c:v>0.89743995431685752</c:v>
                </c:pt>
                <c:pt idx="590">
                  <c:v>0.89772629340185284</c:v>
                </c:pt>
                <c:pt idx="591">
                  <c:v>0.89801239755468032</c:v>
                </c:pt>
                <c:pt idx="592">
                  <c:v>0.89829844908270229</c:v>
                </c:pt>
                <c:pt idx="593">
                  <c:v>0.8985829519378743</c:v>
                </c:pt>
                <c:pt idx="594">
                  <c:v>0.89886698116979602</c:v>
                </c:pt>
                <c:pt idx="595">
                  <c:v>0.89914929069824967</c:v>
                </c:pt>
                <c:pt idx="596">
                  <c:v>0.89943109465267834</c:v>
                </c:pt>
                <c:pt idx="597">
                  <c:v>0.89971275952726359</c:v>
                </c:pt>
                <c:pt idx="598">
                  <c:v>0.89999433982626853</c:v>
                </c:pt>
                <c:pt idx="599">
                  <c:v>0.90027525479737425</c:v>
                </c:pt>
                <c:pt idx="600">
                  <c:v>0.90055218531891457</c:v>
                </c:pt>
                <c:pt idx="601">
                  <c:v>0.90082867040906478</c:v>
                </c:pt>
                <c:pt idx="602">
                  <c:v>0.90110499762479834</c:v>
                </c:pt>
                <c:pt idx="603">
                  <c:v>0.90138103164518646</c:v>
                </c:pt>
                <c:pt idx="604">
                  <c:v>0.90165507907916387</c:v>
                </c:pt>
                <c:pt idx="605">
                  <c:v>0.90192847622090089</c:v>
                </c:pt>
                <c:pt idx="606">
                  <c:v>0.90220149747116951</c:v>
                </c:pt>
                <c:pt idx="607">
                  <c:v>0.90247355831873632</c:v>
                </c:pt>
                <c:pt idx="608">
                  <c:v>0.90274507788258851</c:v>
                </c:pt>
                <c:pt idx="609">
                  <c:v>0.90301513146971379</c:v>
                </c:pt>
                <c:pt idx="610">
                  <c:v>0.90328480728591332</c:v>
                </c:pt>
                <c:pt idx="611">
                  <c:v>0.90355304531724612</c:v>
                </c:pt>
                <c:pt idx="612">
                  <c:v>0.90382111607687543</c:v>
                </c:pt>
                <c:pt idx="613">
                  <c:v>0.90408911165821104</c:v>
                </c:pt>
                <c:pt idx="614">
                  <c:v>0.90435672007133416</c:v>
                </c:pt>
                <c:pt idx="615">
                  <c:v>0.90462332673369394</c:v>
                </c:pt>
                <c:pt idx="616">
                  <c:v>0.90515523383556074</c:v>
                </c:pt>
                <c:pt idx="617">
                  <c:v>0.90541960770259799</c:v>
                </c:pt>
                <c:pt idx="618">
                  <c:v>0.90568286893088867</c:v>
                </c:pt>
                <c:pt idx="619">
                  <c:v>0.90594519606888035</c:v>
                </c:pt>
                <c:pt idx="620">
                  <c:v>0.90620580538286122</c:v>
                </c:pt>
                <c:pt idx="621">
                  <c:v>0.90646631320614568</c:v>
                </c:pt>
                <c:pt idx="622">
                  <c:v>0.90672681727051541</c:v>
                </c:pt>
                <c:pt idx="623">
                  <c:v>0.90698605833955115</c:v>
                </c:pt>
                <c:pt idx="624">
                  <c:v>0.90724521107409184</c:v>
                </c:pt>
                <c:pt idx="625">
                  <c:v>0.90750355752143275</c:v>
                </c:pt>
                <c:pt idx="626">
                  <c:v>0.90776165588040447</c:v>
                </c:pt>
                <c:pt idx="627">
                  <c:v>0.90801944412891478</c:v>
                </c:pt>
                <c:pt idx="628">
                  <c:v>0.90827715907858875</c:v>
                </c:pt>
                <c:pt idx="629">
                  <c:v>0.90853441919958589</c:v>
                </c:pt>
                <c:pt idx="630">
                  <c:v>0.90879149325430619</c:v>
                </c:pt>
                <c:pt idx="631">
                  <c:v>0.90904758811175113</c:v>
                </c:pt>
                <c:pt idx="632">
                  <c:v>0.90930366793353734</c:v>
                </c:pt>
                <c:pt idx="633">
                  <c:v>0.90955843025572669</c:v>
                </c:pt>
                <c:pt idx="634">
                  <c:v>0.90981223593412885</c:v>
                </c:pt>
                <c:pt idx="635">
                  <c:v>0.91006479365285586</c:v>
                </c:pt>
                <c:pt idx="636">
                  <c:v>0.91031714463127522</c:v>
                </c:pt>
                <c:pt idx="637">
                  <c:v>0.91056933021744846</c:v>
                </c:pt>
                <c:pt idx="638">
                  <c:v>0.91082104405982878</c:v>
                </c:pt>
                <c:pt idx="639">
                  <c:v>0.91107168473206679</c:v>
                </c:pt>
                <c:pt idx="640">
                  <c:v>0.91132175968764473</c:v>
                </c:pt>
                <c:pt idx="641">
                  <c:v>0.91157061863432232</c:v>
                </c:pt>
                <c:pt idx="642">
                  <c:v>0.91181858859767706</c:v>
                </c:pt>
                <c:pt idx="643">
                  <c:v>0.91206621274088084</c:v>
                </c:pt>
                <c:pt idx="644">
                  <c:v>0.91231176384263624</c:v>
                </c:pt>
                <c:pt idx="645">
                  <c:v>0.91255710068625462</c:v>
                </c:pt>
                <c:pt idx="646">
                  <c:v>0.91280186617484094</c:v>
                </c:pt>
                <c:pt idx="647">
                  <c:v>0.91304568065801217</c:v>
                </c:pt>
                <c:pt idx="648">
                  <c:v>0.91328866630049543</c:v>
                </c:pt>
                <c:pt idx="649">
                  <c:v>0.91353104675771457</c:v>
                </c:pt>
                <c:pt idx="650">
                  <c:v>0.91377340278198826</c:v>
                </c:pt>
                <c:pt idx="651">
                  <c:v>0.91401557649889975</c:v>
                </c:pt>
                <c:pt idx="652">
                  <c:v>0.91425691197783665</c:v>
                </c:pt>
                <c:pt idx="653">
                  <c:v>0.91449776631569391</c:v>
                </c:pt>
                <c:pt idx="654">
                  <c:v>0.91473847029696376</c:v>
                </c:pt>
                <c:pt idx="655">
                  <c:v>0.91497903143947568</c:v>
                </c:pt>
                <c:pt idx="656">
                  <c:v>0.9152184649075823</c:v>
                </c:pt>
                <c:pt idx="657">
                  <c:v>0.91545723492724707</c:v>
                </c:pt>
                <c:pt idx="658">
                  <c:v>0.91569556327443646</c:v>
                </c:pt>
                <c:pt idx="659">
                  <c:v>0.91593378261309999</c:v>
                </c:pt>
                <c:pt idx="660">
                  <c:v>0.91617174822502234</c:v>
                </c:pt>
                <c:pt idx="661">
                  <c:v>0.91640912180788192</c:v>
                </c:pt>
                <c:pt idx="662">
                  <c:v>0.91664626797640303</c:v>
                </c:pt>
                <c:pt idx="663">
                  <c:v>0.91688273002245169</c:v>
                </c:pt>
                <c:pt idx="664">
                  <c:v>0.91711887256075209</c:v>
                </c:pt>
                <c:pt idx="665">
                  <c:v>0.91735467491727363</c:v>
                </c:pt>
                <c:pt idx="666">
                  <c:v>0.91758929697458425</c:v>
                </c:pt>
                <c:pt idx="667">
                  <c:v>0.91782267483113433</c:v>
                </c:pt>
                <c:pt idx="668">
                  <c:v>0.91805579332257126</c:v>
                </c:pt>
                <c:pt idx="669">
                  <c:v>0.91828872574773124</c:v>
                </c:pt>
                <c:pt idx="670">
                  <c:v>0.9185204402845335</c:v>
                </c:pt>
                <c:pt idx="671">
                  <c:v>0.91875086363414171</c:v>
                </c:pt>
                <c:pt idx="672">
                  <c:v>0.91898113474770515</c:v>
                </c:pt>
                <c:pt idx="673">
                  <c:v>0.91921045673531088</c:v>
                </c:pt>
                <c:pt idx="674">
                  <c:v>0.91943952123726069</c:v>
                </c:pt>
                <c:pt idx="675">
                  <c:v>0.91966828314657845</c:v>
                </c:pt>
                <c:pt idx="676">
                  <c:v>0.91989660150396335</c:v>
                </c:pt>
                <c:pt idx="677">
                  <c:v>0.92012452705476377</c:v>
                </c:pt>
                <c:pt idx="678">
                  <c:v>0.92035152415363719</c:v>
                </c:pt>
                <c:pt idx="679">
                  <c:v>0.920805309731619</c:v>
                </c:pt>
                <c:pt idx="680">
                  <c:v>0.92103212640258758</c:v>
                </c:pt>
                <c:pt idx="681">
                  <c:v>0.92125847508867797</c:v>
                </c:pt>
                <c:pt idx="682">
                  <c:v>0.92148479182399357</c:v>
                </c:pt>
                <c:pt idx="683">
                  <c:v>0.92171068004303514</c:v>
                </c:pt>
                <c:pt idx="684">
                  <c:v>0.92193611343339987</c:v>
                </c:pt>
                <c:pt idx="685">
                  <c:v>0.92216092472338429</c:v>
                </c:pt>
                <c:pt idx="686">
                  <c:v>0.92238550671957298</c:v>
                </c:pt>
                <c:pt idx="687">
                  <c:v>0.92260891217546548</c:v>
                </c:pt>
                <c:pt idx="688">
                  <c:v>0.92283172936120983</c:v>
                </c:pt>
                <c:pt idx="689">
                  <c:v>0.92305176495008778</c:v>
                </c:pt>
                <c:pt idx="690">
                  <c:v>0.92327151674090713</c:v>
                </c:pt>
                <c:pt idx="691">
                  <c:v>0.92349126101389711</c:v>
                </c:pt>
                <c:pt idx="692">
                  <c:v>0.92371090003727585</c:v>
                </c:pt>
                <c:pt idx="693">
                  <c:v>0.92392950160020171</c:v>
                </c:pt>
                <c:pt idx="694">
                  <c:v>0.92414778929375152</c:v>
                </c:pt>
                <c:pt idx="695">
                  <c:v>0.9243647576082471</c:v>
                </c:pt>
                <c:pt idx="696">
                  <c:v>0.92458046480686606</c:v>
                </c:pt>
                <c:pt idx="697">
                  <c:v>0.92479588820742631</c:v>
                </c:pt>
                <c:pt idx="698">
                  <c:v>0.92501069138706371</c:v>
                </c:pt>
                <c:pt idx="699">
                  <c:v>0.92522519573298367</c:v>
                </c:pt>
                <c:pt idx="700">
                  <c:v>0.92543967376650083</c:v>
                </c:pt>
                <c:pt idx="701">
                  <c:v>0.92565335866901954</c:v>
                </c:pt>
                <c:pt idx="702">
                  <c:v>0.92586684434906008</c:v>
                </c:pt>
                <c:pt idx="703">
                  <c:v>0.92607957448724898</c:v>
                </c:pt>
                <c:pt idx="704">
                  <c:v>0.92629135549948016</c:v>
                </c:pt>
                <c:pt idx="705">
                  <c:v>0.9265022738407912</c:v>
                </c:pt>
                <c:pt idx="706">
                  <c:v>0.92671284260303666</c:v>
                </c:pt>
                <c:pt idx="707">
                  <c:v>0.92692227993196208</c:v>
                </c:pt>
                <c:pt idx="708">
                  <c:v>0.92713131129810167</c:v>
                </c:pt>
                <c:pt idx="709">
                  <c:v>0.92734005886618254</c:v>
                </c:pt>
                <c:pt idx="710">
                  <c:v>0.92754762989396722</c:v>
                </c:pt>
                <c:pt idx="711">
                  <c:v>0.92775486073997293</c:v>
                </c:pt>
                <c:pt idx="712">
                  <c:v>0.9279620352022584</c:v>
                </c:pt>
                <c:pt idx="713">
                  <c:v>0.92816918899051315</c:v>
                </c:pt>
                <c:pt idx="714">
                  <c:v>0.92837566993303933</c:v>
                </c:pt>
                <c:pt idx="715">
                  <c:v>0.92858203998758237</c:v>
                </c:pt>
                <c:pt idx="716">
                  <c:v>0.92878715832353553</c:v>
                </c:pt>
                <c:pt idx="717">
                  <c:v>0.92899134820756157</c:v>
                </c:pt>
                <c:pt idx="718">
                  <c:v>0.92919434651563271</c:v>
                </c:pt>
                <c:pt idx="719">
                  <c:v>0.92939712304773747</c:v>
                </c:pt>
                <c:pt idx="720">
                  <c:v>0.93000072580883619</c:v>
                </c:pt>
                <c:pt idx="721">
                  <c:v>0.930200750815392</c:v>
                </c:pt>
                <c:pt idx="722">
                  <c:v>0.93040064238047648</c:v>
                </c:pt>
                <c:pt idx="723">
                  <c:v>0.93060052642773161</c:v>
                </c:pt>
                <c:pt idx="724">
                  <c:v>0.93079937489399123</c:v>
                </c:pt>
                <c:pt idx="725">
                  <c:v>0.9309976726792496</c:v>
                </c:pt>
                <c:pt idx="726">
                  <c:v>0.93119563780055836</c:v>
                </c:pt>
                <c:pt idx="727">
                  <c:v>0.93139332852109524</c:v>
                </c:pt>
                <c:pt idx="728">
                  <c:v>0.93159016972691344</c:v>
                </c:pt>
                <c:pt idx="729">
                  <c:v>0.93178679667459463</c:v>
                </c:pt>
                <c:pt idx="730">
                  <c:v>0.93198321312305343</c:v>
                </c:pt>
                <c:pt idx="731">
                  <c:v>0.93217827636222594</c:v>
                </c:pt>
                <c:pt idx="732">
                  <c:v>0.93237215178435817</c:v>
                </c:pt>
                <c:pt idx="733">
                  <c:v>0.93256555358324023</c:v>
                </c:pt>
                <c:pt idx="734">
                  <c:v>0.93275852498639089</c:v>
                </c:pt>
                <c:pt idx="735">
                  <c:v>0.93295078031629419</c:v>
                </c:pt>
                <c:pt idx="736">
                  <c:v>0.93314290032526881</c:v>
                </c:pt>
                <c:pt idx="737">
                  <c:v>0.93352566872811915</c:v>
                </c:pt>
                <c:pt idx="738">
                  <c:v>0.93371389638093816</c:v>
                </c:pt>
                <c:pt idx="739">
                  <c:v>0.93390139856322307</c:v>
                </c:pt>
                <c:pt idx="740">
                  <c:v>0.93408885939744646</c:v>
                </c:pt>
                <c:pt idx="741">
                  <c:v>0.93427597253206152</c:v>
                </c:pt>
                <c:pt idx="742">
                  <c:v>0.93446291275660109</c:v>
                </c:pt>
                <c:pt idx="743">
                  <c:v>0.93464774047108812</c:v>
                </c:pt>
                <c:pt idx="744">
                  <c:v>0.93483214906658785</c:v>
                </c:pt>
                <c:pt idx="745">
                  <c:v>0.93501626258728476</c:v>
                </c:pt>
                <c:pt idx="746">
                  <c:v>0.93519926346923521</c:v>
                </c:pt>
                <c:pt idx="747">
                  <c:v>0.93538210459731153</c:v>
                </c:pt>
                <c:pt idx="748">
                  <c:v>0.9355648461141487</c:v>
                </c:pt>
                <c:pt idx="749">
                  <c:v>0.93574738464959295</c:v>
                </c:pt>
                <c:pt idx="750">
                  <c:v>0.93592841586024877</c:v>
                </c:pt>
                <c:pt idx="751">
                  <c:v>0.93610826865115104</c:v>
                </c:pt>
                <c:pt idx="752">
                  <c:v>0.93628803122810089</c:v>
                </c:pt>
                <c:pt idx="753">
                  <c:v>0.93646759082365771</c:v>
                </c:pt>
                <c:pt idx="754">
                  <c:v>0.93664704704906077</c:v>
                </c:pt>
                <c:pt idx="755">
                  <c:v>0.93682650327446382</c:v>
                </c:pt>
                <c:pt idx="756">
                  <c:v>0.93700570953204032</c:v>
                </c:pt>
                <c:pt idx="757">
                  <c:v>0.93718303821173199</c:v>
                </c:pt>
                <c:pt idx="758">
                  <c:v>0.93736016203057337</c:v>
                </c:pt>
                <c:pt idx="759">
                  <c:v>0.93753676899864569</c:v>
                </c:pt>
                <c:pt idx="760">
                  <c:v>0.93771336468997391</c:v>
                </c:pt>
                <c:pt idx="761">
                  <c:v>0.93788829330263968</c:v>
                </c:pt>
                <c:pt idx="762">
                  <c:v>0.93806209799981477</c:v>
                </c:pt>
                <c:pt idx="763">
                  <c:v>0.93823578617063463</c:v>
                </c:pt>
                <c:pt idx="764">
                  <c:v>0.93840923565037204</c:v>
                </c:pt>
                <c:pt idx="765">
                  <c:v>0.93858187508399504</c:v>
                </c:pt>
                <c:pt idx="766">
                  <c:v>0.93875449196412986</c:v>
                </c:pt>
                <c:pt idx="767">
                  <c:v>0.93892581389815599</c:v>
                </c:pt>
                <c:pt idx="768">
                  <c:v>0.93909681632443398</c:v>
                </c:pt>
                <c:pt idx="769">
                  <c:v>0.93926776988482097</c:v>
                </c:pt>
                <c:pt idx="770">
                  <c:v>0.93943799609521661</c:v>
                </c:pt>
                <c:pt idx="771">
                  <c:v>0.93960730700988659</c:v>
                </c:pt>
                <c:pt idx="772">
                  <c:v>0.93977633036758323</c:v>
                </c:pt>
                <c:pt idx="773">
                  <c:v>0.93994419034118504</c:v>
                </c:pt>
                <c:pt idx="774">
                  <c:v>0.94011156165587784</c:v>
                </c:pt>
                <c:pt idx="775">
                  <c:v>0.94027829771398908</c:v>
                </c:pt>
                <c:pt idx="776">
                  <c:v>0.94044458646125284</c:v>
                </c:pt>
                <c:pt idx="777">
                  <c:v>0.9406100162965112</c:v>
                </c:pt>
                <c:pt idx="778">
                  <c:v>0.94077473005852219</c:v>
                </c:pt>
                <c:pt idx="779">
                  <c:v>0.94093911679495568</c:v>
                </c:pt>
                <c:pt idx="780">
                  <c:v>0.94110273295387881</c:v>
                </c:pt>
                <c:pt idx="781">
                  <c:v>0.94126623822481881</c:v>
                </c:pt>
                <c:pt idx="782">
                  <c:v>0.94142924356010582</c:v>
                </c:pt>
                <c:pt idx="783">
                  <c:v>0.94159213612795223</c:v>
                </c:pt>
                <c:pt idx="784">
                  <c:v>0.94175465656324497</c:v>
                </c:pt>
                <c:pt idx="785">
                  <c:v>0.94191704543652377</c:v>
                </c:pt>
                <c:pt idx="786">
                  <c:v>0.94207819198849929</c:v>
                </c:pt>
                <c:pt idx="787">
                  <c:v>0.94223821838389887</c:v>
                </c:pt>
                <c:pt idx="788">
                  <c:v>0.94239764335294895</c:v>
                </c:pt>
                <c:pt idx="789">
                  <c:v>0.94255690292975303</c:v>
                </c:pt>
                <c:pt idx="790">
                  <c:v>0.94271604222128713</c:v>
                </c:pt>
                <c:pt idx="791">
                  <c:v>0.94287476803220593</c:v>
                </c:pt>
                <c:pt idx="792">
                  <c:v>0.94303322320126748</c:v>
                </c:pt>
                <c:pt idx="793">
                  <c:v>0.94319136638041023</c:v>
                </c:pt>
                <c:pt idx="794">
                  <c:v>0.9433494982828089</c:v>
                </c:pt>
                <c:pt idx="795">
                  <c:v>0.94350713400846931</c:v>
                </c:pt>
                <c:pt idx="796">
                  <c:v>0.94366357064034534</c:v>
                </c:pt>
                <c:pt idx="797">
                  <c:v>0.94381989262532351</c:v>
                </c:pt>
                <c:pt idx="798">
                  <c:v>0.94397610372231855</c:v>
                </c:pt>
                <c:pt idx="799">
                  <c:v>0.94413217386001291</c:v>
                </c:pt>
                <c:pt idx="800">
                  <c:v>0.94428798839150874</c:v>
                </c:pt>
                <c:pt idx="801">
                  <c:v>0.9444437897668031</c:v>
                </c:pt>
                <c:pt idx="802">
                  <c:v>0.94459937688396045</c:v>
                </c:pt>
                <c:pt idx="803">
                  <c:v>0.94475474222515143</c:v>
                </c:pt>
                <c:pt idx="804">
                  <c:v>0.94490914528418324</c:v>
                </c:pt>
                <c:pt idx="805">
                  <c:v>0.94506331529050469</c:v>
                </c:pt>
                <c:pt idx="806">
                  <c:v>0.94521743267202052</c:v>
                </c:pt>
                <c:pt idx="807">
                  <c:v>0.94537150682601745</c:v>
                </c:pt>
                <c:pt idx="808">
                  <c:v>0.94552552083737951</c:v>
                </c:pt>
                <c:pt idx="809">
                  <c:v>0.94567952357199747</c:v>
                </c:pt>
                <c:pt idx="810">
                  <c:v>0.94583212986981013</c:v>
                </c:pt>
                <c:pt idx="811">
                  <c:v>0.94598430013351942</c:v>
                </c:pt>
                <c:pt idx="812">
                  <c:v>0.94613565471274219</c:v>
                </c:pt>
                <c:pt idx="813">
                  <c:v>0.94628660332917913</c:v>
                </c:pt>
                <c:pt idx="814">
                  <c:v>0.9464374109863154</c:v>
                </c:pt>
                <c:pt idx="815">
                  <c:v>0.94658751008803366</c:v>
                </c:pt>
                <c:pt idx="816">
                  <c:v>0.94673750957851277</c:v>
                </c:pt>
                <c:pt idx="817">
                  <c:v>0.94703693720443904</c:v>
                </c:pt>
                <c:pt idx="818">
                  <c:v>0.94718630895616585</c:v>
                </c:pt>
                <c:pt idx="819">
                  <c:v>0.94733459062263425</c:v>
                </c:pt>
                <c:pt idx="820">
                  <c:v>0.94748187053833921</c:v>
                </c:pt>
                <c:pt idx="821">
                  <c:v>0.94762861104978702</c:v>
                </c:pt>
                <c:pt idx="822">
                  <c:v>0.94777517301278724</c:v>
                </c:pt>
                <c:pt idx="823">
                  <c:v>0.94792126699090928</c:v>
                </c:pt>
                <c:pt idx="824">
                  <c:v>0.94806685539500635</c:v>
                </c:pt>
                <c:pt idx="825">
                  <c:v>0.94821242124561522</c:v>
                </c:pt>
                <c:pt idx="826">
                  <c:v>0.94835728229972083</c:v>
                </c:pt>
                <c:pt idx="827">
                  <c:v>0.94850043680655971</c:v>
                </c:pt>
                <c:pt idx="828">
                  <c:v>0.94864342404169522</c:v>
                </c:pt>
                <c:pt idx="829">
                  <c:v>0.94878577038187695</c:v>
                </c:pt>
                <c:pt idx="830">
                  <c:v>0.94892755476431345</c:v>
                </c:pt>
                <c:pt idx="831">
                  <c:v>0.94906929779868843</c:v>
                </c:pt>
                <c:pt idx="832">
                  <c:v>0.94921094122182426</c:v>
                </c:pt>
                <c:pt idx="833">
                  <c:v>0.94935248691317831</c:v>
                </c:pt>
                <c:pt idx="834">
                  <c:v>0.94949315301849613</c:v>
                </c:pt>
                <c:pt idx="835">
                  <c:v>0.94963355787924342</c:v>
                </c:pt>
                <c:pt idx="836">
                  <c:v>0.94977237083962185</c:v>
                </c:pt>
                <c:pt idx="837">
                  <c:v>0.94990959753800353</c:v>
                </c:pt>
                <c:pt idx="838">
                  <c:v>0.95004671898677406</c:v>
                </c:pt>
                <c:pt idx="839">
                  <c:v>0.95018378969019635</c:v>
                </c:pt>
                <c:pt idx="840">
                  <c:v>0.95032013304362717</c:v>
                </c:pt>
                <c:pt idx="841">
                  <c:v>0.95045615876876721</c:v>
                </c:pt>
                <c:pt idx="842">
                  <c:v>0.95059195144119679</c:v>
                </c:pt>
                <c:pt idx="843">
                  <c:v>0.95072723853960139</c:v>
                </c:pt>
                <c:pt idx="844">
                  <c:v>0.95086185279227742</c:v>
                </c:pt>
                <c:pt idx="845">
                  <c:v>0.95099604040813679</c:v>
                </c:pt>
                <c:pt idx="846">
                  <c:v>0.95112926010346499</c:v>
                </c:pt>
                <c:pt idx="847">
                  <c:v>0.95126214713484358</c:v>
                </c:pt>
                <c:pt idx="848">
                  <c:v>0.95139433688754826</c:v>
                </c:pt>
                <c:pt idx="849">
                  <c:v>0.95152578613406014</c:v>
                </c:pt>
                <c:pt idx="850">
                  <c:v>0.9516572090681692</c:v>
                </c:pt>
                <c:pt idx="851">
                  <c:v>0.951788361360421</c:v>
                </c:pt>
                <c:pt idx="852">
                  <c:v>0.95191941967980565</c:v>
                </c:pt>
                <c:pt idx="853">
                  <c:v>0.95205042725384204</c:v>
                </c:pt>
                <c:pt idx="854">
                  <c:v>0.95218131830152319</c:v>
                </c:pt>
                <c:pt idx="855">
                  <c:v>0.95231172256975283</c:v>
                </c:pt>
                <c:pt idx="856">
                  <c:v>0.95244156300077976</c:v>
                </c:pt>
                <c:pt idx="857">
                  <c:v>0.9525705219663132</c:v>
                </c:pt>
                <c:pt idx="858">
                  <c:v>0.95269947905238928</c:v>
                </c:pt>
                <c:pt idx="859">
                  <c:v>0.95282727087491326</c:v>
                </c:pt>
                <c:pt idx="860">
                  <c:v>0.95295453644938144</c:v>
                </c:pt>
                <c:pt idx="861">
                  <c:v>0.95308177947036143</c:v>
                </c:pt>
                <c:pt idx="862">
                  <c:v>0.95320896610762118</c:v>
                </c:pt>
                <c:pt idx="863">
                  <c:v>0.9533357674561258</c:v>
                </c:pt>
                <c:pt idx="864">
                  <c:v>0.95346243912207385</c:v>
                </c:pt>
                <c:pt idx="865">
                  <c:v>0.95358834960779826</c:v>
                </c:pt>
                <c:pt idx="866">
                  <c:v>0.95371411537530737</c:v>
                </c:pt>
                <c:pt idx="867">
                  <c:v>0.95383987926335911</c:v>
                </c:pt>
                <c:pt idx="868">
                  <c:v>0.95396462260607406</c:v>
                </c:pt>
                <c:pt idx="869">
                  <c:v>0.95408758986160069</c:v>
                </c:pt>
                <c:pt idx="870">
                  <c:v>0.95421050261286433</c:v>
                </c:pt>
                <c:pt idx="871">
                  <c:v>0.95433267109902054</c:v>
                </c:pt>
                <c:pt idx="872">
                  <c:v>0.95445451443905649</c:v>
                </c:pt>
                <c:pt idx="873">
                  <c:v>0.95457635402017782</c:v>
                </c:pt>
                <c:pt idx="874">
                  <c:v>0.95469785905789217</c:v>
                </c:pt>
                <c:pt idx="875">
                  <c:v>0.95481898068630877</c:v>
                </c:pt>
                <c:pt idx="876">
                  <c:v>0.95493942758953954</c:v>
                </c:pt>
                <c:pt idx="877">
                  <c:v>0.95505977676098852</c:v>
                </c:pt>
                <c:pt idx="878">
                  <c:v>0.95517967674213267</c:v>
                </c:pt>
                <c:pt idx="879">
                  <c:v>0.95529923842095521</c:v>
                </c:pt>
                <c:pt idx="880">
                  <c:v>0.95541815732536672</c:v>
                </c:pt>
                <c:pt idx="881">
                  <c:v>0.95553697661853909</c:v>
                </c:pt>
                <c:pt idx="882">
                  <c:v>0.95565571697450313</c:v>
                </c:pt>
                <c:pt idx="883">
                  <c:v>0.95577428066147696</c:v>
                </c:pt>
                <c:pt idx="884">
                  <c:v>0.95589225795776012</c:v>
                </c:pt>
                <c:pt idx="885">
                  <c:v>0.95600984432691605</c:v>
                </c:pt>
                <c:pt idx="886">
                  <c:v>0.95612728409839931</c:v>
                </c:pt>
                <c:pt idx="887">
                  <c:v>0.9562444269156225</c:v>
                </c:pt>
                <c:pt idx="888">
                  <c:v>0.95636135923362331</c:v>
                </c:pt>
                <c:pt idx="889">
                  <c:v>0.95647727100628732</c:v>
                </c:pt>
                <c:pt idx="890">
                  <c:v>0.95659264901306618</c:v>
                </c:pt>
                <c:pt idx="891">
                  <c:v>0.95670801574310105</c:v>
                </c:pt>
                <c:pt idx="892">
                  <c:v>0.95682335991964773</c:v>
                </c:pt>
                <c:pt idx="893">
                  <c:v>0.95693793539814154</c:v>
                </c:pt>
                <c:pt idx="894">
                  <c:v>0.95705195079834737</c:v>
                </c:pt>
                <c:pt idx="895">
                  <c:v>0.95716564293189033</c:v>
                </c:pt>
                <c:pt idx="896">
                  <c:v>0.95727884452706702</c:v>
                </c:pt>
                <c:pt idx="897">
                  <c:v>0.95739187321216823</c:v>
                </c:pt>
                <c:pt idx="898">
                  <c:v>0.95750489813835471</c:v>
                </c:pt>
                <c:pt idx="899">
                  <c:v>0.95761762047190913</c:v>
                </c:pt>
                <c:pt idx="900">
                  <c:v>0.95772997443182439</c:v>
                </c:pt>
                <c:pt idx="901">
                  <c:v>0.95784194122352717</c:v>
                </c:pt>
                <c:pt idx="902">
                  <c:v>0.95795356783345109</c:v>
                </c:pt>
                <c:pt idx="903">
                  <c:v>0.95806449528524373</c:v>
                </c:pt>
                <c:pt idx="904">
                  <c:v>0.95817531748742513</c:v>
                </c:pt>
                <c:pt idx="905">
                  <c:v>0.9582850834345803</c:v>
                </c:pt>
                <c:pt idx="906">
                  <c:v>0.95839482118987529</c:v>
                </c:pt>
                <c:pt idx="907">
                  <c:v>0.9585044292626137</c:v>
                </c:pt>
                <c:pt idx="908">
                  <c:v>0.95861338704311172</c:v>
                </c:pt>
                <c:pt idx="909">
                  <c:v>0.9587217076875707</c:v>
                </c:pt>
                <c:pt idx="910">
                  <c:v>0.95882982535063677</c:v>
                </c:pt>
                <c:pt idx="911">
                  <c:v>0.95893777010362735</c:v>
                </c:pt>
                <c:pt idx="912">
                  <c:v>0.959045577656232</c:v>
                </c:pt>
                <c:pt idx="913">
                  <c:v>0.9591530487859723</c:v>
                </c:pt>
                <c:pt idx="914">
                  <c:v>0.95926050300059651</c:v>
                </c:pt>
                <c:pt idx="915">
                  <c:v>0.95936794030010464</c:v>
                </c:pt>
                <c:pt idx="916">
                  <c:v>0.95947531745697789</c:v>
                </c:pt>
                <c:pt idx="917">
                  <c:v>0.95968881065484779</c:v>
                </c:pt>
                <c:pt idx="918">
                  <c:v>0.9597946974020487</c:v>
                </c:pt>
                <c:pt idx="919">
                  <c:v>0.95990050521204118</c:v>
                </c:pt>
                <c:pt idx="920">
                  <c:v>0.96000630926311903</c:v>
                </c:pt>
                <c:pt idx="921">
                  <c:v>0.96011199866729902</c:v>
                </c:pt>
                <c:pt idx="922">
                  <c:v>0.96021762229047203</c:v>
                </c:pt>
                <c:pt idx="923">
                  <c:v>0.96032321584232749</c:v>
                </c:pt>
                <c:pt idx="924">
                  <c:v>0.96042864776085157</c:v>
                </c:pt>
                <c:pt idx="925">
                  <c:v>0.96053392368441626</c:v>
                </c:pt>
                <c:pt idx="926">
                  <c:v>0.96063919209015158</c:v>
                </c:pt>
                <c:pt idx="927">
                  <c:v>0.96074436276410513</c:v>
                </c:pt>
                <c:pt idx="928">
                  <c:v>0.96084948645162505</c:v>
                </c:pt>
                <c:pt idx="929">
                  <c:v>0.96095452932247927</c:v>
                </c:pt>
                <c:pt idx="930">
                  <c:v>0.96105944439023427</c:v>
                </c:pt>
                <c:pt idx="931">
                  <c:v>0.96116428427969558</c:v>
                </c:pt>
                <c:pt idx="932">
                  <c:v>0.96126899824551493</c:v>
                </c:pt>
                <c:pt idx="933">
                  <c:v>0.96137294727219602</c:v>
                </c:pt>
                <c:pt idx="934">
                  <c:v>0.96147683615624213</c:v>
                </c:pt>
                <c:pt idx="935">
                  <c:v>0.96158035290773458</c:v>
                </c:pt>
                <c:pt idx="936">
                  <c:v>0.96168376440961578</c:v>
                </c:pt>
                <c:pt idx="937">
                  <c:v>0.96178691654638382</c:v>
                </c:pt>
                <c:pt idx="938">
                  <c:v>0.96189006304477986</c:v>
                </c:pt>
                <c:pt idx="939">
                  <c:v>0.96199072865948421</c:v>
                </c:pt>
                <c:pt idx="940">
                  <c:v>0.96209100146760407</c:v>
                </c:pt>
                <c:pt idx="941">
                  <c:v>0.9621912272892903</c:v>
                </c:pt>
                <c:pt idx="942">
                  <c:v>0.96229112232648428</c:v>
                </c:pt>
                <c:pt idx="943">
                  <c:v>0.96239091211406713</c:v>
                </c:pt>
                <c:pt idx="944">
                  <c:v>0.96248993884196909</c:v>
                </c:pt>
                <c:pt idx="945">
                  <c:v>0.9625889467752976</c:v>
                </c:pt>
                <c:pt idx="946">
                  <c:v>0.96268756941987099</c:v>
                </c:pt>
                <c:pt idx="947">
                  <c:v>0.96278618454661502</c:v>
                </c:pt>
                <c:pt idx="948">
                  <c:v>0.96288434484468222</c:v>
                </c:pt>
                <c:pt idx="949">
                  <c:v>0.9629821724787998</c:v>
                </c:pt>
                <c:pt idx="950">
                  <c:v>0.96307944191408679</c:v>
                </c:pt>
                <c:pt idx="951">
                  <c:v>0.96317594265132089</c:v>
                </c:pt>
                <c:pt idx="952">
                  <c:v>0.96327229491142496</c:v>
                </c:pt>
                <c:pt idx="953">
                  <c:v>0.96336863025641295</c:v>
                </c:pt>
                <c:pt idx="954">
                  <c:v>0.96346446378629058</c:v>
                </c:pt>
                <c:pt idx="955">
                  <c:v>0.96355950982354177</c:v>
                </c:pt>
                <c:pt idx="956">
                  <c:v>0.96365452954839015</c:v>
                </c:pt>
                <c:pt idx="957">
                  <c:v>0.96374941583176732</c:v>
                </c:pt>
                <c:pt idx="958">
                  <c:v>0.96384362926941591</c:v>
                </c:pt>
                <c:pt idx="959">
                  <c:v>0.96393738975784504</c:v>
                </c:pt>
                <c:pt idx="960">
                  <c:v>0.96403093222922254</c:v>
                </c:pt>
                <c:pt idx="961">
                  <c:v>0.96412403114866729</c:v>
                </c:pt>
                <c:pt idx="962">
                  <c:v>0.96421705113090361</c:v>
                </c:pt>
                <c:pt idx="963">
                  <c:v>0.96430976852050787</c:v>
                </c:pt>
                <c:pt idx="964">
                  <c:v>0.96440190891670807</c:v>
                </c:pt>
                <c:pt idx="965">
                  <c:v>0.96449353810051119</c:v>
                </c:pt>
                <c:pt idx="966">
                  <c:v>0.96458462788005717</c:v>
                </c:pt>
                <c:pt idx="967">
                  <c:v>0.96467539815185488</c:v>
                </c:pt>
                <c:pt idx="968">
                  <c:v>0.96476597859846103</c:v>
                </c:pt>
                <c:pt idx="969">
                  <c:v>0.96485644627762668</c:v>
                </c:pt>
                <c:pt idx="970">
                  <c:v>0.96494661512307489</c:v>
                </c:pt>
                <c:pt idx="971">
                  <c:v>0.96503677457123649</c:v>
                </c:pt>
                <c:pt idx="972">
                  <c:v>0.96512684756436029</c:v>
                </c:pt>
                <c:pt idx="973">
                  <c:v>0.96530685071184996</c:v>
                </c:pt>
                <c:pt idx="974">
                  <c:v>0.96539670944683675</c:v>
                </c:pt>
                <c:pt idx="975">
                  <c:v>0.96548650428027394</c:v>
                </c:pt>
                <c:pt idx="976">
                  <c:v>0.9655762840780524</c:v>
                </c:pt>
                <c:pt idx="977">
                  <c:v>0.96566505084832344</c:v>
                </c:pt>
                <c:pt idx="978">
                  <c:v>0.96575378002944756</c:v>
                </c:pt>
                <c:pt idx="979">
                  <c:v>0.96584198108305852</c:v>
                </c:pt>
                <c:pt idx="980">
                  <c:v>0.96592991149481222</c:v>
                </c:pt>
                <c:pt idx="981">
                  <c:v>0.96601777048718696</c:v>
                </c:pt>
                <c:pt idx="982">
                  <c:v>0.96610543965437012</c:v>
                </c:pt>
                <c:pt idx="983">
                  <c:v>0.96619138160025586</c:v>
                </c:pt>
                <c:pt idx="984">
                  <c:v>0.96644781476002239</c:v>
                </c:pt>
                <c:pt idx="985">
                  <c:v>0.96653244672414063</c:v>
                </c:pt>
                <c:pt idx="986">
                  <c:v>0.96661648477973872</c:v>
                </c:pt>
                <c:pt idx="987">
                  <c:v>0.96670048712564727</c:v>
                </c:pt>
                <c:pt idx="988">
                  <c:v>0.96678429024907753</c:v>
                </c:pt>
                <c:pt idx="989">
                  <c:v>0.96686788663220025</c:v>
                </c:pt>
                <c:pt idx="990">
                  <c:v>0.96695134393547955</c:v>
                </c:pt>
                <c:pt idx="991">
                  <c:v>0.96703479184147223</c:v>
                </c:pt>
                <c:pt idx="992">
                  <c:v>0.96711810442653623</c:v>
                </c:pt>
                <c:pt idx="993">
                  <c:v>0.96720126477555557</c:v>
                </c:pt>
                <c:pt idx="994">
                  <c:v>0.96728394398349526</c:v>
                </c:pt>
                <c:pt idx="995">
                  <c:v>0.96736656680771471</c:v>
                </c:pt>
                <c:pt idx="996">
                  <c:v>0.96744842845171053</c:v>
                </c:pt>
                <c:pt idx="997">
                  <c:v>0.96752987285617642</c:v>
                </c:pt>
                <c:pt idx="998">
                  <c:v>0.96761097331994872</c:v>
                </c:pt>
                <c:pt idx="999">
                  <c:v>0.9676919516189938</c:v>
                </c:pt>
                <c:pt idx="1000">
                  <c:v>0.96777286037811716</c:v>
                </c:pt>
                <c:pt idx="1001">
                  <c:v>0.96785372027134964</c:v>
                </c:pt>
                <c:pt idx="1002">
                  <c:v>0.96793436402698774</c:v>
                </c:pt>
                <c:pt idx="1003">
                  <c:v>0.9680147145872805</c:v>
                </c:pt>
                <c:pt idx="1004">
                  <c:v>0.96809499936656629</c:v>
                </c:pt>
                <c:pt idx="1005">
                  <c:v>0.96817516761949685</c:v>
                </c:pt>
                <c:pt idx="1006">
                  <c:v>0.96825525881467633</c:v>
                </c:pt>
                <c:pt idx="1007">
                  <c:v>0.96833522220675661</c:v>
                </c:pt>
                <c:pt idx="1008">
                  <c:v>0.96841509350542709</c:v>
                </c:pt>
                <c:pt idx="1009">
                  <c:v>0.96849476934053402</c:v>
                </c:pt>
                <c:pt idx="1010">
                  <c:v>0.96857414634192351</c:v>
                </c:pt>
                <c:pt idx="1011">
                  <c:v>0.96865308167083763</c:v>
                </c:pt>
                <c:pt idx="1012">
                  <c:v>0.96873162419316716</c:v>
                </c:pt>
                <c:pt idx="1013">
                  <c:v>0.96881007650154427</c:v>
                </c:pt>
                <c:pt idx="1014">
                  <c:v>0.96888840476573679</c:v>
                </c:pt>
                <c:pt idx="1015">
                  <c:v>0.96896579706017294</c:v>
                </c:pt>
                <c:pt idx="1016">
                  <c:v>0.96904316680112101</c:v>
                </c:pt>
                <c:pt idx="1017">
                  <c:v>0.96912050459129429</c:v>
                </c:pt>
                <c:pt idx="1018">
                  <c:v>0.96919764503844663</c:v>
                </c:pt>
                <c:pt idx="1019">
                  <c:v>0.96927457498637659</c:v>
                </c:pt>
                <c:pt idx="1020">
                  <c:v>0.96942817927603808</c:v>
                </c:pt>
                <c:pt idx="1021">
                  <c:v>0.96950482354645207</c:v>
                </c:pt>
                <c:pt idx="1022">
                  <c:v>0.9695813682056269</c:v>
                </c:pt>
                <c:pt idx="1023">
                  <c:v>0.9696576572586032</c:v>
                </c:pt>
                <c:pt idx="1024">
                  <c:v>0.96973389932514598</c:v>
                </c:pt>
                <c:pt idx="1025">
                  <c:v>0.96981005681610832</c:v>
                </c:pt>
                <c:pt idx="1026">
                  <c:v>0.96988616920009441</c:v>
                </c:pt>
                <c:pt idx="1027">
                  <c:v>0.96996221204415889</c:v>
                </c:pt>
                <c:pt idx="1028">
                  <c:v>0.97003796545179266</c:v>
                </c:pt>
                <c:pt idx="1029">
                  <c:v>0.97011368127027964</c:v>
                </c:pt>
                <c:pt idx="1030">
                  <c:v>0.97018869605117797</c:v>
                </c:pt>
                <c:pt idx="1031">
                  <c:v>0.97026330862820509</c:v>
                </c:pt>
                <c:pt idx="1032">
                  <c:v>0.97033763364825876</c:v>
                </c:pt>
                <c:pt idx="1033">
                  <c:v>0.97041193799428171</c:v>
                </c:pt>
                <c:pt idx="1034">
                  <c:v>0.97048596230116069</c:v>
                </c:pt>
                <c:pt idx="1035">
                  <c:v>0.97055990579137397</c:v>
                </c:pt>
                <c:pt idx="1036">
                  <c:v>0.97063345647500265</c:v>
                </c:pt>
                <c:pt idx="1037">
                  <c:v>0.97070694325708173</c:v>
                </c:pt>
                <c:pt idx="1038">
                  <c:v>0.97077937002521986</c:v>
                </c:pt>
                <c:pt idx="1039">
                  <c:v>0.97085175356583908</c:v>
                </c:pt>
                <c:pt idx="1040">
                  <c:v>0.97092390593320521</c:v>
                </c:pt>
                <c:pt idx="1041">
                  <c:v>0.97099533658895198</c:v>
                </c:pt>
                <c:pt idx="1042">
                  <c:v>0.97106659057570854</c:v>
                </c:pt>
                <c:pt idx="1043">
                  <c:v>0.97113764533998692</c:v>
                </c:pt>
                <c:pt idx="1044">
                  <c:v>0.97120847644884156</c:v>
                </c:pt>
                <c:pt idx="1045">
                  <c:v>0.97127925305343321</c:v>
                </c:pt>
                <c:pt idx="1046">
                  <c:v>0.97134986802469347</c:v>
                </c:pt>
                <c:pt idx="1047">
                  <c:v>0.97142037022851324</c:v>
                </c:pt>
                <c:pt idx="1048">
                  <c:v>0.97149035746102119</c:v>
                </c:pt>
                <c:pt idx="1049">
                  <c:v>0.97156013419430687</c:v>
                </c:pt>
                <c:pt idx="1050">
                  <c:v>0.97162957450472831</c:v>
                </c:pt>
                <c:pt idx="1051">
                  <c:v>0.97176610768335081</c:v>
                </c:pt>
                <c:pt idx="1052">
                  <c:v>0.97183426056549282</c:v>
                </c:pt>
                <c:pt idx="1053">
                  <c:v>0.97190228376507826</c:v>
                </c:pt>
                <c:pt idx="1054">
                  <c:v>0.97196977131932116</c:v>
                </c:pt>
                <c:pt idx="1055">
                  <c:v>0.97203668563907464</c:v>
                </c:pt>
                <c:pt idx="1056">
                  <c:v>0.97210345336115545</c:v>
                </c:pt>
                <c:pt idx="1057">
                  <c:v>0.9721697944464196</c:v>
                </c:pt>
                <c:pt idx="1058">
                  <c:v>0.97223602652315788</c:v>
                </c:pt>
                <c:pt idx="1059">
                  <c:v>0.972302219131292</c:v>
                </c:pt>
                <c:pt idx="1060">
                  <c:v>0.97236833092276043</c:v>
                </c:pt>
                <c:pt idx="1061">
                  <c:v>0.97243413824213942</c:v>
                </c:pt>
                <c:pt idx="1062">
                  <c:v>0.97249961477702618</c:v>
                </c:pt>
                <c:pt idx="1063">
                  <c:v>0.9725650875529982</c:v>
                </c:pt>
                <c:pt idx="1064">
                  <c:v>0.97263053965493951</c:v>
                </c:pt>
                <c:pt idx="1065">
                  <c:v>0.97269593725261794</c:v>
                </c:pt>
                <c:pt idx="1066">
                  <c:v>0.97276130665843619</c:v>
                </c:pt>
                <c:pt idx="1067">
                  <c:v>0.9728264204580559</c:v>
                </c:pt>
                <c:pt idx="1068">
                  <c:v>0.97289133503519731</c:v>
                </c:pt>
                <c:pt idx="1069">
                  <c:v>0.97295604475148845</c:v>
                </c:pt>
                <c:pt idx="1070">
                  <c:v>0.9730205815577041</c:v>
                </c:pt>
                <c:pt idx="1071">
                  <c:v>0.97308493605655755</c:v>
                </c:pt>
                <c:pt idx="1072">
                  <c:v>0.97314919282362922</c:v>
                </c:pt>
                <c:pt idx="1073">
                  <c:v>0.97321329735465623</c:v>
                </c:pt>
                <c:pt idx="1074">
                  <c:v>0.97327720830157693</c:v>
                </c:pt>
                <c:pt idx="1075">
                  <c:v>0.97334108165935085</c:v>
                </c:pt>
                <c:pt idx="1076">
                  <c:v>0.97340481593728145</c:v>
                </c:pt>
                <c:pt idx="1077">
                  <c:v>0.97346851450552252</c:v>
                </c:pt>
                <c:pt idx="1078">
                  <c:v>0.9735321642078727</c:v>
                </c:pt>
                <c:pt idx="1079">
                  <c:v>0.97359574624975853</c:v>
                </c:pt>
                <c:pt idx="1080">
                  <c:v>0.97365926626955213</c:v>
                </c:pt>
                <c:pt idx="1081">
                  <c:v>0.97372242543353593</c:v>
                </c:pt>
                <c:pt idx="1082">
                  <c:v>0.97378538725449881</c:v>
                </c:pt>
                <c:pt idx="1083">
                  <c:v>0.97384780779174718</c:v>
                </c:pt>
                <c:pt idx="1084">
                  <c:v>0.97391022457008092</c:v>
                </c:pt>
                <c:pt idx="1085">
                  <c:v>0.97397230304609306</c:v>
                </c:pt>
                <c:pt idx="1086">
                  <c:v>0.97403431762055548</c:v>
                </c:pt>
                <c:pt idx="1087">
                  <c:v>0.97409625889618157</c:v>
                </c:pt>
                <c:pt idx="1088">
                  <c:v>0.97415798967258538</c:v>
                </c:pt>
                <c:pt idx="1089">
                  <c:v>0.97421946672224802</c:v>
                </c:pt>
                <c:pt idx="1090">
                  <c:v>0.97428082160718332</c:v>
                </c:pt>
                <c:pt idx="1091">
                  <c:v>0.9743420223766166</c:v>
                </c:pt>
                <c:pt idx="1092">
                  <c:v>0.97440305963326113</c:v>
                </c:pt>
                <c:pt idx="1093">
                  <c:v>0.97446388639068338</c:v>
                </c:pt>
                <c:pt idx="1094">
                  <c:v>0.97452458722446367</c:v>
                </c:pt>
                <c:pt idx="1095">
                  <c:v>0.97458518280863282</c:v>
                </c:pt>
                <c:pt idx="1096">
                  <c:v>0.97464558104978105</c:v>
                </c:pt>
                <c:pt idx="1097">
                  <c:v>0.97470549814984964</c:v>
                </c:pt>
                <c:pt idx="1098">
                  <c:v>0.9747653250359658</c:v>
                </c:pt>
                <c:pt idx="1099">
                  <c:v>0.97482487752130997</c:v>
                </c:pt>
                <c:pt idx="1100">
                  <c:v>0.97488435482836044</c:v>
                </c:pt>
                <c:pt idx="1101">
                  <c:v>0.97494360096215793</c:v>
                </c:pt>
                <c:pt idx="1102">
                  <c:v>0.97500276064091762</c:v>
                </c:pt>
                <c:pt idx="1103">
                  <c:v>0.97506188836890251</c:v>
                </c:pt>
                <c:pt idx="1104">
                  <c:v>0.97512074921394476</c:v>
                </c:pt>
                <c:pt idx="1105">
                  <c:v>0.97517942587216755</c:v>
                </c:pt>
                <c:pt idx="1106">
                  <c:v>0.97523805178504208</c:v>
                </c:pt>
                <c:pt idx="1107">
                  <c:v>0.9752966513855138</c:v>
                </c:pt>
                <c:pt idx="1108">
                  <c:v>0.97535512130342894</c:v>
                </c:pt>
                <c:pt idx="1109">
                  <c:v>0.97541301610739739</c:v>
                </c:pt>
                <c:pt idx="1110">
                  <c:v>0.97547090715245111</c:v>
                </c:pt>
                <c:pt idx="1111">
                  <c:v>0.97552872301921112</c:v>
                </c:pt>
                <c:pt idx="1112">
                  <c:v>0.97558653324759914</c:v>
                </c:pt>
                <c:pt idx="1113">
                  <c:v>0.97564426641823609</c:v>
                </c:pt>
                <c:pt idx="1114">
                  <c:v>0.97570167444275291</c:v>
                </c:pt>
                <c:pt idx="1115">
                  <c:v>0.97575900728897602</c:v>
                </c:pt>
                <c:pt idx="1116">
                  <c:v>0.975816234885588</c:v>
                </c:pt>
                <c:pt idx="1117">
                  <c:v>0.97587298885894969</c:v>
                </c:pt>
                <c:pt idx="1118">
                  <c:v>0.97592971839936593</c:v>
                </c:pt>
                <c:pt idx="1119">
                  <c:v>0.9759862054897851</c:v>
                </c:pt>
                <c:pt idx="1120">
                  <c:v>0.97604267566508818</c:v>
                </c:pt>
                <c:pt idx="1121">
                  <c:v>0.9760991383225619</c:v>
                </c:pt>
                <c:pt idx="1122">
                  <c:v>0.97615559722112089</c:v>
                </c:pt>
                <c:pt idx="1123">
                  <c:v>0.97621193207549528</c:v>
                </c:pt>
                <c:pt idx="1124">
                  <c:v>0.97626822558180815</c:v>
                </c:pt>
                <c:pt idx="1125">
                  <c:v>0.97632443451254058</c:v>
                </c:pt>
                <c:pt idx="1126">
                  <c:v>0.97638042542622139</c:v>
                </c:pt>
                <c:pt idx="1127">
                  <c:v>0.97643633740269375</c:v>
                </c:pt>
                <c:pt idx="1128">
                  <c:v>0.97649195242490605</c:v>
                </c:pt>
                <c:pt idx="1129">
                  <c:v>0.97654753173742892</c:v>
                </c:pt>
                <c:pt idx="1130">
                  <c:v>0.97660300955925528</c:v>
                </c:pt>
                <c:pt idx="1131">
                  <c:v>0.97665831071209153</c:v>
                </c:pt>
                <c:pt idx="1132">
                  <c:v>0.97671356487849414</c:v>
                </c:pt>
                <c:pt idx="1133">
                  <c:v>0.97676862170187584</c:v>
                </c:pt>
                <c:pt idx="1134">
                  <c:v>0.97682353944541422</c:v>
                </c:pt>
                <c:pt idx="1135">
                  <c:v>0.97687824668973033</c:v>
                </c:pt>
                <c:pt idx="1136">
                  <c:v>0.97693238445847175</c:v>
                </c:pt>
                <c:pt idx="1137">
                  <c:v>0.9769863211252775</c:v>
                </c:pt>
                <c:pt idx="1138">
                  <c:v>0.97704016006030148</c:v>
                </c:pt>
                <c:pt idx="1139">
                  <c:v>0.9770939482499772</c:v>
                </c:pt>
                <c:pt idx="1140">
                  <c:v>0.9771476518640726</c:v>
                </c:pt>
                <c:pt idx="1141">
                  <c:v>0.97720110738979882</c:v>
                </c:pt>
                <c:pt idx="1142">
                  <c:v>0.97730779854474215</c:v>
                </c:pt>
                <c:pt idx="1143">
                  <c:v>0.97736088569682922</c:v>
                </c:pt>
                <c:pt idx="1144">
                  <c:v>0.97741387323767726</c:v>
                </c:pt>
                <c:pt idx="1145">
                  <c:v>0.97746681191263429</c:v>
                </c:pt>
                <c:pt idx="1146">
                  <c:v>0.97751974682867671</c:v>
                </c:pt>
                <c:pt idx="1147">
                  <c:v>0.97757235096022688</c:v>
                </c:pt>
                <c:pt idx="1148">
                  <c:v>0.97762487803402598</c:v>
                </c:pt>
                <c:pt idx="1149">
                  <c:v>0.97767721716209088</c:v>
                </c:pt>
                <c:pt idx="1150">
                  <c:v>0.97772937022387896</c:v>
                </c:pt>
                <c:pt idx="1151">
                  <c:v>0.9777812939918713</c:v>
                </c:pt>
                <c:pt idx="1152">
                  <c:v>0.97783295275637838</c:v>
                </c:pt>
                <c:pt idx="1153">
                  <c:v>0.97788451942747567</c:v>
                </c:pt>
                <c:pt idx="1154">
                  <c:v>0.97793597709004709</c:v>
                </c:pt>
                <c:pt idx="1155">
                  <c:v>0.97798720733828015</c:v>
                </c:pt>
                <c:pt idx="1156">
                  <c:v>0.97803830790395663</c:v>
                </c:pt>
                <c:pt idx="1157">
                  <c:v>0.97808923743901488</c:v>
                </c:pt>
                <c:pt idx="1158">
                  <c:v>0.97814010307252353</c:v>
                </c:pt>
                <c:pt idx="1159">
                  <c:v>0.97819086909479303</c:v>
                </c:pt>
                <c:pt idx="1160">
                  <c:v>0.9782411746500137</c:v>
                </c:pt>
                <c:pt idx="1161">
                  <c:v>0.97829126594709737</c:v>
                </c:pt>
                <c:pt idx="1162">
                  <c:v>0.9783412144054231</c:v>
                </c:pt>
                <c:pt idx="1163">
                  <c:v>0.97839111775677257</c:v>
                </c:pt>
                <c:pt idx="1164">
                  <c:v>0.97844085759533328</c:v>
                </c:pt>
                <c:pt idx="1165">
                  <c:v>0.97848988511956125</c:v>
                </c:pt>
                <c:pt idx="1166">
                  <c:v>0.9785389088848746</c:v>
                </c:pt>
                <c:pt idx="1167">
                  <c:v>0.97858792701181596</c:v>
                </c:pt>
                <c:pt idx="1168">
                  <c:v>0.97863682861240209</c:v>
                </c:pt>
                <c:pt idx="1169">
                  <c:v>0.97868559301260216</c:v>
                </c:pt>
                <c:pt idx="1170">
                  <c:v>0.97873426531939256</c:v>
                </c:pt>
                <c:pt idx="1171">
                  <c:v>0.97878285868897452</c:v>
                </c:pt>
                <c:pt idx="1172">
                  <c:v>0.97883135244731734</c:v>
                </c:pt>
                <c:pt idx="1173">
                  <c:v>0.9788798330494588</c:v>
                </c:pt>
                <c:pt idx="1174">
                  <c:v>0.97892830237485617</c:v>
                </c:pt>
                <c:pt idx="1175">
                  <c:v>0.97897669840141721</c:v>
                </c:pt>
                <c:pt idx="1176">
                  <c:v>0.97902503992371537</c:v>
                </c:pt>
                <c:pt idx="1177">
                  <c:v>0.97907331002663445</c:v>
                </c:pt>
                <c:pt idx="1178">
                  <c:v>0.97912141473730741</c:v>
                </c:pt>
                <c:pt idx="1179">
                  <c:v>0.97916944614914403</c:v>
                </c:pt>
                <c:pt idx="1180">
                  <c:v>0.979217319686564</c:v>
                </c:pt>
                <c:pt idx="1181">
                  <c:v>0.97926484176546091</c:v>
                </c:pt>
                <c:pt idx="1182">
                  <c:v>0.97931227738932014</c:v>
                </c:pt>
                <c:pt idx="1183">
                  <c:v>0.97935959084845214</c:v>
                </c:pt>
                <c:pt idx="1184">
                  <c:v>0.979406535933945</c:v>
                </c:pt>
                <c:pt idx="1185">
                  <c:v>0.97945345846594978</c:v>
                </c:pt>
                <c:pt idx="1186">
                  <c:v>0.97950024943594061</c:v>
                </c:pt>
                <c:pt idx="1187">
                  <c:v>0.9795470366470167</c:v>
                </c:pt>
                <c:pt idx="1188">
                  <c:v>0.97959382385809279</c:v>
                </c:pt>
                <c:pt idx="1189">
                  <c:v>0.97964058663622344</c:v>
                </c:pt>
                <c:pt idx="1190">
                  <c:v>0.97968728927171922</c:v>
                </c:pt>
                <c:pt idx="1191">
                  <c:v>0.97973375133667517</c:v>
                </c:pt>
                <c:pt idx="1192">
                  <c:v>0.97978008371907455</c:v>
                </c:pt>
                <c:pt idx="1193">
                  <c:v>0.97982641046310182</c:v>
                </c:pt>
                <c:pt idx="1194">
                  <c:v>0.97987272217147037</c:v>
                </c:pt>
                <c:pt idx="1195">
                  <c:v>0.97991877827364038</c:v>
                </c:pt>
                <c:pt idx="1196">
                  <c:v>0.9799648174606943</c:v>
                </c:pt>
                <c:pt idx="1197">
                  <c:v>0.98001076455433844</c:v>
                </c:pt>
                <c:pt idx="1198">
                  <c:v>0.98005647671581486</c:v>
                </c:pt>
                <c:pt idx="1199">
                  <c:v>0.98010196898078228</c:v>
                </c:pt>
                <c:pt idx="1200">
                  <c:v>0.98014729585350358</c:v>
                </c:pt>
                <c:pt idx="1201">
                  <c:v>0.9801925024409549</c:v>
                </c:pt>
                <c:pt idx="1202">
                  <c:v>0.98023769023383289</c:v>
                </c:pt>
                <c:pt idx="1203">
                  <c:v>0.98028286111159479</c:v>
                </c:pt>
                <c:pt idx="1204">
                  <c:v>0.98032801883315523</c:v>
                </c:pt>
                <c:pt idx="1205">
                  <c:v>0.98037317279580105</c:v>
                </c:pt>
                <c:pt idx="1206">
                  <c:v>0.98041832675844687</c:v>
                </c:pt>
                <c:pt idx="1207">
                  <c:v>0.98046342245791507</c:v>
                </c:pt>
                <c:pt idx="1208">
                  <c:v>0.98050849936280982</c:v>
                </c:pt>
                <c:pt idx="1209">
                  <c:v>0.98055351800452695</c:v>
                </c:pt>
                <c:pt idx="1210">
                  <c:v>0.98059849905709728</c:v>
                </c:pt>
                <c:pt idx="1211">
                  <c:v>0.98064341996703264</c:v>
                </c:pt>
                <c:pt idx="1212">
                  <c:v>0.98068824126572884</c:v>
                </c:pt>
                <c:pt idx="1213">
                  <c:v>0.98073304564930897</c:v>
                </c:pt>
                <c:pt idx="1214">
                  <c:v>0.98077781996157165</c:v>
                </c:pt>
                <c:pt idx="1215">
                  <c:v>0.98082251909554063</c:v>
                </c:pt>
                <c:pt idx="1216">
                  <c:v>0.98086712237718521</c:v>
                </c:pt>
                <c:pt idx="1217">
                  <c:v>0.98091162980650526</c:v>
                </c:pt>
                <c:pt idx="1218">
                  <c:v>0.98095599063815264</c:v>
                </c:pt>
                <c:pt idx="1219">
                  <c:v>0.98100022178724344</c:v>
                </c:pt>
                <c:pt idx="1220">
                  <c:v>0.98104410899564065</c:v>
                </c:pt>
                <c:pt idx="1221">
                  <c:v>0.98108793230248814</c:v>
                </c:pt>
                <c:pt idx="1222">
                  <c:v>0.98113169734615802</c:v>
                </c:pt>
                <c:pt idx="1223">
                  <c:v>0.98117533270727131</c:v>
                </c:pt>
                <c:pt idx="1224">
                  <c:v>0.9812189361176098</c:v>
                </c:pt>
                <c:pt idx="1225">
                  <c:v>0.98126225572988968</c:v>
                </c:pt>
                <c:pt idx="1226">
                  <c:v>0.98130552647627856</c:v>
                </c:pt>
                <c:pt idx="1227">
                  <c:v>0.98134872768274584</c:v>
                </c:pt>
                <c:pt idx="1228">
                  <c:v>0.98139192700975575</c:v>
                </c:pt>
                <c:pt idx="1229">
                  <c:v>0.9814351188189363</c:v>
                </c:pt>
                <c:pt idx="1230">
                  <c:v>0.98147822605253643</c:v>
                </c:pt>
                <c:pt idx="1231">
                  <c:v>0.98152120924195196</c:v>
                </c:pt>
                <c:pt idx="1232">
                  <c:v>0.98156408154338437</c:v>
                </c:pt>
                <c:pt idx="1233">
                  <c:v>0.98160684671574827</c:v>
                </c:pt>
                <c:pt idx="1234">
                  <c:v>0.98164959685245345</c:v>
                </c:pt>
                <c:pt idx="1235">
                  <c:v>0.9816923112794691</c:v>
                </c:pt>
                <c:pt idx="1236">
                  <c:v>0.98173495428710578</c:v>
                </c:pt>
                <c:pt idx="1237">
                  <c:v>0.98177755030830882</c:v>
                </c:pt>
                <c:pt idx="1238">
                  <c:v>0.98182009558416372</c:v>
                </c:pt>
                <c:pt idx="1239">
                  <c:v>0.98186253936932211</c:v>
                </c:pt>
                <c:pt idx="1240">
                  <c:v>0.98190480836494765</c:v>
                </c:pt>
                <c:pt idx="1241">
                  <c:v>0.98194701157956621</c:v>
                </c:pt>
                <c:pt idx="1242">
                  <c:v>0.98198919036123933</c:v>
                </c:pt>
                <c:pt idx="1243">
                  <c:v>0.98203128832624675</c:v>
                </c:pt>
                <c:pt idx="1244">
                  <c:v>0.98207330359513112</c:v>
                </c:pt>
                <c:pt idx="1245">
                  <c:v>0.98211529443107004</c:v>
                </c:pt>
                <c:pt idx="1246">
                  <c:v>0.9821570089867796</c:v>
                </c:pt>
                <c:pt idx="1247">
                  <c:v>0.98219867279714101</c:v>
                </c:pt>
                <c:pt idx="1248">
                  <c:v>0.98224004153269961</c:v>
                </c:pt>
                <c:pt idx="1249">
                  <c:v>0.98228122044306665</c:v>
                </c:pt>
                <c:pt idx="1250">
                  <c:v>0.98232231853676799</c:v>
                </c:pt>
                <c:pt idx="1251">
                  <c:v>0.98236336776457844</c:v>
                </c:pt>
                <c:pt idx="1252">
                  <c:v>0.98240440195673018</c:v>
                </c:pt>
                <c:pt idx="1253">
                  <c:v>0.98244528767175188</c:v>
                </c:pt>
                <c:pt idx="1254">
                  <c:v>0.98248612640034005</c:v>
                </c:pt>
                <c:pt idx="1255">
                  <c:v>0.98252689934792126</c:v>
                </c:pt>
                <c:pt idx="1256">
                  <c:v>0.98256755201023249</c:v>
                </c:pt>
                <c:pt idx="1257">
                  <c:v>0.98260804303921234</c:v>
                </c:pt>
                <c:pt idx="1258">
                  <c:v>0.98264847580501458</c:v>
                </c:pt>
                <c:pt idx="1259">
                  <c:v>0.98268884654872457</c:v>
                </c:pt>
                <c:pt idx="1260">
                  <c:v>0.98272906505638979</c:v>
                </c:pt>
                <c:pt idx="1261">
                  <c:v>0.98276928168459765</c:v>
                </c:pt>
                <c:pt idx="1262">
                  <c:v>0.98280915249265455</c:v>
                </c:pt>
                <c:pt idx="1263">
                  <c:v>0.98284898383210728</c:v>
                </c:pt>
                <c:pt idx="1264">
                  <c:v>0.98288876442621176</c:v>
                </c:pt>
                <c:pt idx="1265">
                  <c:v>0.98292853374357225</c:v>
                </c:pt>
                <c:pt idx="1266">
                  <c:v>0.98296811323574118</c:v>
                </c:pt>
                <c:pt idx="1267">
                  <c:v>0.98300767205387929</c:v>
                </c:pt>
                <c:pt idx="1268">
                  <c:v>0.9830471932828706</c:v>
                </c:pt>
                <c:pt idx="1269">
                  <c:v>0.98308662241845213</c:v>
                </c:pt>
                <c:pt idx="1270">
                  <c:v>0.98312596885791059</c:v>
                </c:pt>
                <c:pt idx="1271">
                  <c:v>0.98316515554349493</c:v>
                </c:pt>
                <c:pt idx="1272">
                  <c:v>0.98320428960427375</c:v>
                </c:pt>
                <c:pt idx="1273">
                  <c:v>0.98324338231699104</c:v>
                </c:pt>
                <c:pt idx="1274">
                  <c:v>0.98328242616381745</c:v>
                </c:pt>
                <c:pt idx="1275">
                  <c:v>0.98332135724320324</c:v>
                </c:pt>
                <c:pt idx="1276">
                  <c:v>0.98336015676057509</c:v>
                </c:pt>
                <c:pt idx="1277">
                  <c:v>0.98339882847484772</c:v>
                </c:pt>
                <c:pt idx="1278">
                  <c:v>0.98343747951508953</c:v>
                </c:pt>
                <c:pt idx="1279">
                  <c:v>0.98347608356889782</c:v>
                </c:pt>
                <c:pt idx="1280">
                  <c:v>0.98351459740875369</c:v>
                </c:pt>
                <c:pt idx="1281">
                  <c:v>0.98355307365946276</c:v>
                </c:pt>
                <c:pt idx="1282">
                  <c:v>0.983591369482267</c:v>
                </c:pt>
                <c:pt idx="1283">
                  <c:v>0.98362965778724187</c:v>
                </c:pt>
                <c:pt idx="1284">
                  <c:v>0.98370590549215664</c:v>
                </c:pt>
                <c:pt idx="1285">
                  <c:v>0.98374395322659169</c:v>
                </c:pt>
                <c:pt idx="1286">
                  <c:v>0.98378180361800582</c:v>
                </c:pt>
                <c:pt idx="1287">
                  <c:v>0.98381960890244369</c:v>
                </c:pt>
                <c:pt idx="1288">
                  <c:v>0.98385729202215433</c:v>
                </c:pt>
                <c:pt idx="1289">
                  <c:v>0.98389493379380344</c:v>
                </c:pt>
                <c:pt idx="1290">
                  <c:v>0.98393245152126796</c:v>
                </c:pt>
                <c:pt idx="1291">
                  <c:v>0.98396994857470177</c:v>
                </c:pt>
                <c:pt idx="1292">
                  <c:v>0.9840074174362754</c:v>
                </c:pt>
                <c:pt idx="1293">
                  <c:v>0.98404486562381832</c:v>
                </c:pt>
                <c:pt idx="1294">
                  <c:v>0.98408201121872907</c:v>
                </c:pt>
                <c:pt idx="1295">
                  <c:v>0.98411915117526783</c:v>
                </c:pt>
                <c:pt idx="1296">
                  <c:v>0.98415625918103178</c:v>
                </c:pt>
                <c:pt idx="1297">
                  <c:v>0.98419333523602093</c:v>
                </c:pt>
                <c:pt idx="1298">
                  <c:v>0.98423038685806463</c:v>
                </c:pt>
                <c:pt idx="1299">
                  <c:v>0.98426736706072926</c:v>
                </c:pt>
                <c:pt idx="1300">
                  <c:v>0.98430433222773517</c:v>
                </c:pt>
                <c:pt idx="1301">
                  <c:v>0.98434129363582645</c:v>
                </c:pt>
                <c:pt idx="1302">
                  <c:v>0.98437800507609119</c:v>
                </c:pt>
                <c:pt idx="1303">
                  <c:v>0.98441463006131813</c:v>
                </c:pt>
                <c:pt idx="1304">
                  <c:v>0.98445124564925846</c:v>
                </c:pt>
                <c:pt idx="1305">
                  <c:v>0.98448785371936942</c:v>
                </c:pt>
                <c:pt idx="1306">
                  <c:v>0.98452437345498522</c:v>
                </c:pt>
                <c:pt idx="1307">
                  <c:v>0.98456087063711295</c:v>
                </c:pt>
                <c:pt idx="1308">
                  <c:v>0.98459722873939737</c:v>
                </c:pt>
                <c:pt idx="1309">
                  <c:v>0.98463355864982161</c:v>
                </c:pt>
                <c:pt idx="1310">
                  <c:v>0.98466973444474382</c:v>
                </c:pt>
                <c:pt idx="1311">
                  <c:v>0.98470584445865905</c:v>
                </c:pt>
                <c:pt idx="1312">
                  <c:v>0.9847418943299393</c:v>
                </c:pt>
                <c:pt idx="1313">
                  <c:v>0.98477791976827411</c:v>
                </c:pt>
                <c:pt idx="1314">
                  <c:v>0.98481390573800476</c:v>
                </c:pt>
                <c:pt idx="1315">
                  <c:v>0.98484980149378298</c:v>
                </c:pt>
                <c:pt idx="1316">
                  <c:v>0.98488561643289552</c:v>
                </c:pt>
                <c:pt idx="1317">
                  <c:v>0.98492142573363606</c:v>
                </c:pt>
                <c:pt idx="1318">
                  <c:v>0.98495707152158773</c:v>
                </c:pt>
                <c:pt idx="1319">
                  <c:v>0.98499256695295212</c:v>
                </c:pt>
                <c:pt idx="1320">
                  <c:v>0.98502805862540177</c:v>
                </c:pt>
                <c:pt idx="1321">
                  <c:v>0.98506347511955772</c:v>
                </c:pt>
                <c:pt idx="1322">
                  <c:v>0.98509875065441299</c:v>
                </c:pt>
                <c:pt idx="1323">
                  <c:v>0.98513391906019976</c:v>
                </c:pt>
                <c:pt idx="1324">
                  <c:v>0.98516904799738236</c:v>
                </c:pt>
                <c:pt idx="1325">
                  <c:v>0.98520414122487554</c:v>
                </c:pt>
                <c:pt idx="1326">
                  <c:v>0.98523883036904014</c:v>
                </c:pt>
                <c:pt idx="1327">
                  <c:v>0.98527344433491104</c:v>
                </c:pt>
                <c:pt idx="1328">
                  <c:v>0.98530805266240984</c:v>
                </c:pt>
                <c:pt idx="1329">
                  <c:v>0.98537689154648178</c:v>
                </c:pt>
                <c:pt idx="1330">
                  <c:v>0.98541089280925909</c:v>
                </c:pt>
                <c:pt idx="1331">
                  <c:v>0.98544472492087565</c:v>
                </c:pt>
                <c:pt idx="1332">
                  <c:v>0.98547854199683338</c:v>
                </c:pt>
                <c:pt idx="1333">
                  <c:v>0.98551213541736749</c:v>
                </c:pt>
                <c:pt idx="1334">
                  <c:v>0.98554569124875468</c:v>
                </c:pt>
                <c:pt idx="1335">
                  <c:v>0.98557924520068452</c:v>
                </c:pt>
                <c:pt idx="1336">
                  <c:v>0.98561272961269275</c:v>
                </c:pt>
                <c:pt idx="1337">
                  <c:v>0.9856461971095849</c:v>
                </c:pt>
                <c:pt idx="1338">
                  <c:v>0.98567942779485196</c:v>
                </c:pt>
                <c:pt idx="1339">
                  <c:v>0.98571251940027571</c:v>
                </c:pt>
                <c:pt idx="1340">
                  <c:v>0.98574554710414974</c:v>
                </c:pt>
                <c:pt idx="1341">
                  <c:v>0.98577844136655257</c:v>
                </c:pt>
                <c:pt idx="1342">
                  <c:v>0.98581130555763785</c:v>
                </c:pt>
                <c:pt idx="1343">
                  <c:v>0.98584409269097217</c:v>
                </c:pt>
                <c:pt idx="1344">
                  <c:v>0.98587686102973304</c:v>
                </c:pt>
                <c:pt idx="1345">
                  <c:v>0.98590940195415544</c:v>
                </c:pt>
                <c:pt idx="1346">
                  <c:v>0.98594188273594296</c:v>
                </c:pt>
                <c:pt idx="1347">
                  <c:v>0.98597428458052205</c:v>
                </c:pt>
                <c:pt idx="1348">
                  <c:v>0.98600657365766065</c:v>
                </c:pt>
                <c:pt idx="1349">
                  <c:v>0.98603880447162162</c:v>
                </c:pt>
                <c:pt idx="1350">
                  <c:v>0.9860710240088385</c:v>
                </c:pt>
                <c:pt idx="1351">
                  <c:v>0.98610324166659813</c:v>
                </c:pt>
                <c:pt idx="1352">
                  <c:v>0.98613542361466822</c:v>
                </c:pt>
                <c:pt idx="1353">
                  <c:v>0.98616754917901805</c:v>
                </c:pt>
                <c:pt idx="1354">
                  <c:v>0.98619956761429939</c:v>
                </c:pt>
                <c:pt idx="1355">
                  <c:v>0.98623153154531784</c:v>
                </c:pt>
                <c:pt idx="1356">
                  <c:v>0.98626343721315868</c:v>
                </c:pt>
                <c:pt idx="1357">
                  <c:v>0.98629516997092403</c:v>
                </c:pt>
                <c:pt idx="1358">
                  <c:v>0.98632682942985295</c:v>
                </c:pt>
                <c:pt idx="1359">
                  <c:v>0.98635837612134136</c:v>
                </c:pt>
                <c:pt idx="1360">
                  <c:v>0.98638986454965216</c:v>
                </c:pt>
                <c:pt idx="1361">
                  <c:v>0.98642125336672382</c:v>
                </c:pt>
                <c:pt idx="1362">
                  <c:v>0.98645214224814248</c:v>
                </c:pt>
                <c:pt idx="1363">
                  <c:v>0.98648282626871087</c:v>
                </c:pt>
                <c:pt idx="1364">
                  <c:v>0.98651340128075338</c:v>
                </c:pt>
                <c:pt idx="1365">
                  <c:v>0.9865436962536519</c:v>
                </c:pt>
                <c:pt idx="1366">
                  <c:v>0.98657389161531128</c:v>
                </c:pt>
                <c:pt idx="1367">
                  <c:v>0.98660407006185458</c:v>
                </c:pt>
                <c:pt idx="1368">
                  <c:v>0.98663422971382453</c:v>
                </c:pt>
                <c:pt idx="1369">
                  <c:v>0.98666422773246298</c:v>
                </c:pt>
                <c:pt idx="1370">
                  <c:v>0.98669411298366094</c:v>
                </c:pt>
                <c:pt idx="1371">
                  <c:v>0.98672394373059602</c:v>
                </c:pt>
                <c:pt idx="1372">
                  <c:v>0.98675373500892682</c:v>
                </c:pt>
                <c:pt idx="1373">
                  <c:v>0.9867834473500493</c:v>
                </c:pt>
                <c:pt idx="1374">
                  <c:v>0.98681301309349911</c:v>
                </c:pt>
                <c:pt idx="1375">
                  <c:v>0.98684254876563138</c:v>
                </c:pt>
                <c:pt idx="1376">
                  <c:v>0.98687208255830638</c:v>
                </c:pt>
                <c:pt idx="1377">
                  <c:v>0.98690159003857858</c:v>
                </c:pt>
                <c:pt idx="1378">
                  <c:v>0.98693105429133188</c:v>
                </c:pt>
                <c:pt idx="1379">
                  <c:v>0.98698947534335613</c:v>
                </c:pt>
                <c:pt idx="1380">
                  <c:v>0.98701851671820739</c:v>
                </c:pt>
                <c:pt idx="1381">
                  <c:v>0.98704749795042379</c:v>
                </c:pt>
                <c:pt idx="1382">
                  <c:v>0.98707636077682759</c:v>
                </c:pt>
                <c:pt idx="1383">
                  <c:v>0.98710515594276704</c:v>
                </c:pt>
                <c:pt idx="1384">
                  <c:v>0.98713391915793169</c:v>
                </c:pt>
                <c:pt idx="1385">
                  <c:v>0.9871625132219356</c:v>
                </c:pt>
                <c:pt idx="1386">
                  <c:v>0.98719099075958427</c:v>
                </c:pt>
                <c:pt idx="1387">
                  <c:v>0.98721937808328053</c:v>
                </c:pt>
                <c:pt idx="1388">
                  <c:v>0.98727593659307866</c:v>
                </c:pt>
                <c:pt idx="1389">
                  <c:v>0.98730412469429663</c:v>
                </c:pt>
                <c:pt idx="1390">
                  <c:v>0.98733212109086566</c:v>
                </c:pt>
                <c:pt idx="1391">
                  <c:v>0.98736004982697045</c:v>
                </c:pt>
                <c:pt idx="1392">
                  <c:v>0.98738796164795917</c:v>
                </c:pt>
                <c:pt idx="1393">
                  <c:v>0.98741578889336745</c:v>
                </c:pt>
                <c:pt idx="1394">
                  <c:v>0.98744359734420228</c:v>
                </c:pt>
                <c:pt idx="1395">
                  <c:v>0.98747132121945669</c:v>
                </c:pt>
                <c:pt idx="1396">
                  <c:v>0.98749901878230839</c:v>
                </c:pt>
                <c:pt idx="1397">
                  <c:v>0.98752668063547056</c:v>
                </c:pt>
                <c:pt idx="1398">
                  <c:v>0.98755422596227749</c:v>
                </c:pt>
                <c:pt idx="1399">
                  <c:v>0.98758176565071243</c:v>
                </c:pt>
                <c:pt idx="1400">
                  <c:v>0.98760925083488438</c:v>
                </c:pt>
                <c:pt idx="1401">
                  <c:v>0.98763670406828152</c:v>
                </c:pt>
                <c:pt idx="1402">
                  <c:v>0.9876641291098186</c:v>
                </c:pt>
                <c:pt idx="1403">
                  <c:v>0.98769136244670674</c:v>
                </c:pt>
                <c:pt idx="1404">
                  <c:v>0.9877185036901851</c:v>
                </c:pt>
                <c:pt idx="1405">
                  <c:v>0.98774557163482712</c:v>
                </c:pt>
                <c:pt idx="1406">
                  <c:v>0.9877726264232678</c:v>
                </c:pt>
                <c:pt idx="1407">
                  <c:v>0.98779964926093367</c:v>
                </c:pt>
                <c:pt idx="1408">
                  <c:v>0.98782656684898829</c:v>
                </c:pt>
                <c:pt idx="1409">
                  <c:v>0.98785336791068767</c:v>
                </c:pt>
                <c:pt idx="1410">
                  <c:v>0.98788011070920956</c:v>
                </c:pt>
                <c:pt idx="1411">
                  <c:v>0.98790682907478589</c:v>
                </c:pt>
                <c:pt idx="1412">
                  <c:v>0.98793350985121542</c:v>
                </c:pt>
                <c:pt idx="1413">
                  <c:v>0.98796012484663798</c:v>
                </c:pt>
                <c:pt idx="1414">
                  <c:v>0.98798668157888292</c:v>
                </c:pt>
                <c:pt idx="1415">
                  <c:v>0.98801320823981043</c:v>
                </c:pt>
                <c:pt idx="1416">
                  <c:v>0.98803972926236583</c:v>
                </c:pt>
                <c:pt idx="1417">
                  <c:v>0.98806622209306116</c:v>
                </c:pt>
                <c:pt idx="1418">
                  <c:v>0.98809268109352433</c:v>
                </c:pt>
                <c:pt idx="1419">
                  <c:v>0.98811906491569379</c:v>
                </c:pt>
                <c:pt idx="1420">
                  <c:v>0.98814541302817371</c:v>
                </c:pt>
                <c:pt idx="1421">
                  <c:v>0.9881717423460803</c:v>
                </c:pt>
                <c:pt idx="1422">
                  <c:v>0.98819804911049869</c:v>
                </c:pt>
                <c:pt idx="1423">
                  <c:v>0.98822410214817591</c:v>
                </c:pt>
                <c:pt idx="1424">
                  <c:v>0.98825014202965178</c:v>
                </c:pt>
                <c:pt idx="1425">
                  <c:v>0.98827614808089548</c:v>
                </c:pt>
                <c:pt idx="1426">
                  <c:v>0.98830215225268181</c:v>
                </c:pt>
                <c:pt idx="1427">
                  <c:v>0.98832804553648501</c:v>
                </c:pt>
                <c:pt idx="1428">
                  <c:v>0.98835382605284761</c:v>
                </c:pt>
                <c:pt idx="1429">
                  <c:v>0.98837956334169141</c:v>
                </c:pt>
                <c:pt idx="1430">
                  <c:v>0.98837956334169141</c:v>
                </c:pt>
                <c:pt idx="1431">
                  <c:v>0.98840529499216312</c:v>
                </c:pt>
                <c:pt idx="1432">
                  <c:v>0.98843087628604753</c:v>
                </c:pt>
                <c:pt idx="1433">
                  <c:v>0.98845645006210248</c:v>
                </c:pt>
                <c:pt idx="1434">
                  <c:v>0.98848196745443717</c:v>
                </c:pt>
                <c:pt idx="1435">
                  <c:v>0.98850746981111315</c:v>
                </c:pt>
                <c:pt idx="1436">
                  <c:v>0.9885329627705024</c:v>
                </c:pt>
                <c:pt idx="1437">
                  <c:v>0.98855833732407916</c:v>
                </c:pt>
                <c:pt idx="1438">
                  <c:v>0.98858364609664895</c:v>
                </c:pt>
                <c:pt idx="1439">
                  <c:v>0.988608951110304</c:v>
                </c:pt>
                <c:pt idx="1440">
                  <c:v>0.988634167789464</c:v>
                </c:pt>
                <c:pt idx="1441">
                  <c:v>0.98865938258916664</c:v>
                </c:pt>
                <c:pt idx="1442">
                  <c:v>0.9886845955094119</c:v>
                </c:pt>
                <c:pt idx="1443">
                  <c:v>0.98870980091182781</c:v>
                </c:pt>
                <c:pt idx="1444">
                  <c:v>0.9887349800018409</c:v>
                </c:pt>
                <c:pt idx="1445">
                  <c:v>0.9887349800018409</c:v>
                </c:pt>
                <c:pt idx="1446">
                  <c:v>0.9887600030968946</c:v>
                </c:pt>
                <c:pt idx="1447">
                  <c:v>0.98878501491520432</c:v>
                </c:pt>
                <c:pt idx="1448">
                  <c:v>0.98883487503903489</c:v>
                </c:pt>
                <c:pt idx="1449">
                  <c:v>0.9888596293716887</c:v>
                </c:pt>
                <c:pt idx="1450">
                  <c:v>0.98888431040550617</c:v>
                </c:pt>
                <c:pt idx="1451">
                  <c:v>0.98890895948854884</c:v>
                </c:pt>
                <c:pt idx="1452">
                  <c:v>0.98893348076849219</c:v>
                </c:pt>
                <c:pt idx="1453">
                  <c:v>0.98895796070037401</c:v>
                </c:pt>
                <c:pt idx="1454">
                  <c:v>0.98898235981559013</c:v>
                </c:pt>
                <c:pt idx="1455">
                  <c:v>0.989006702547086</c:v>
                </c:pt>
                <c:pt idx="1456">
                  <c:v>0.98903101332780707</c:v>
                </c:pt>
                <c:pt idx="1457">
                  <c:v>0.98905530719341206</c:v>
                </c:pt>
                <c:pt idx="1458">
                  <c:v>0.98907953715746744</c:v>
                </c:pt>
                <c:pt idx="1459">
                  <c:v>0.98910361112656342</c:v>
                </c:pt>
                <c:pt idx="1460">
                  <c:v>0.98912753661852937</c:v>
                </c:pt>
                <c:pt idx="1461">
                  <c:v>0.98915142828026315</c:v>
                </c:pt>
                <c:pt idx="1462">
                  <c:v>0.98917526543773393</c:v>
                </c:pt>
                <c:pt idx="1463">
                  <c:v>0.98919907064442991</c:v>
                </c:pt>
                <c:pt idx="1464">
                  <c:v>0.98922286081546718</c:v>
                </c:pt>
                <c:pt idx="1465">
                  <c:v>0.98924662843301636</c:v>
                </c:pt>
                <c:pt idx="1466">
                  <c:v>0.98927038101490683</c:v>
                </c:pt>
                <c:pt idx="1467">
                  <c:v>0.98929410728439449</c:v>
                </c:pt>
                <c:pt idx="1468">
                  <c:v>0.98931780536202196</c:v>
                </c:pt>
                <c:pt idx="1469">
                  <c:v>0.98934150156019207</c:v>
                </c:pt>
                <c:pt idx="1470">
                  <c:v>0.98936519775836218</c:v>
                </c:pt>
                <c:pt idx="1471">
                  <c:v>0.98938888455924567</c:v>
                </c:pt>
                <c:pt idx="1472">
                  <c:v>0.98941255256555571</c:v>
                </c:pt>
                <c:pt idx="1473">
                  <c:v>0.98943621117457903</c:v>
                </c:pt>
                <c:pt idx="1474">
                  <c:v>0.98945975137778974</c:v>
                </c:pt>
                <c:pt idx="1475">
                  <c:v>0.98948322016162149</c:v>
                </c:pt>
                <c:pt idx="1476">
                  <c:v>0.98950667578925189</c:v>
                </c:pt>
                <c:pt idx="1477">
                  <c:v>0.98952996038626406</c:v>
                </c:pt>
                <c:pt idx="1478">
                  <c:v>0.98955308898831684</c:v>
                </c:pt>
                <c:pt idx="1479">
                  <c:v>0.98957619691633891</c:v>
                </c:pt>
                <c:pt idx="1480">
                  <c:v>0.98959928417033016</c:v>
                </c:pt>
                <c:pt idx="1481">
                  <c:v>0.9896223507502907</c:v>
                </c:pt>
                <c:pt idx="1482">
                  <c:v>0.98964540981242188</c:v>
                </c:pt>
                <c:pt idx="1483">
                  <c:v>0.98966845195943698</c:v>
                </c:pt>
                <c:pt idx="1484">
                  <c:v>0.98969139825412766</c:v>
                </c:pt>
                <c:pt idx="1485">
                  <c:v>0.98971431635695817</c:v>
                </c:pt>
                <c:pt idx="1486">
                  <c:v>0.98973723070087394</c:v>
                </c:pt>
                <c:pt idx="1487">
                  <c:v>0.98976007362541074</c:v>
                </c:pt>
                <c:pt idx="1488">
                  <c:v>0.98978279250576295</c:v>
                </c:pt>
                <c:pt idx="1489">
                  <c:v>0.98980548695316972</c:v>
                </c:pt>
                <c:pt idx="1490">
                  <c:v>0.98982816260600304</c:v>
                </c:pt>
                <c:pt idx="1491">
                  <c:v>0.98985080818751892</c:v>
                </c:pt>
                <c:pt idx="1492">
                  <c:v>0.98987345001012017</c:v>
                </c:pt>
                <c:pt idx="1493">
                  <c:v>0.98989595651179274</c:v>
                </c:pt>
                <c:pt idx="1494">
                  <c:v>0.98991833145145136</c:v>
                </c:pt>
                <c:pt idx="1495">
                  <c:v>0.98994065940467646</c:v>
                </c:pt>
                <c:pt idx="1496">
                  <c:v>0.98996292909472394</c:v>
                </c:pt>
                <c:pt idx="1497">
                  <c:v>0.98998514803942317</c:v>
                </c:pt>
                <c:pt idx="1498">
                  <c:v>0.99000735758683567</c:v>
                </c:pt>
                <c:pt idx="1499">
                  <c:v>0.9900294637640944</c:v>
                </c:pt>
                <c:pt idx="1500">
                  <c:v>0.99005142898205245</c:v>
                </c:pt>
                <c:pt idx="1501">
                  <c:v>0.99007330210660072</c:v>
                </c:pt>
                <c:pt idx="1502">
                  <c:v>0.99009515643657553</c:v>
                </c:pt>
                <c:pt idx="1503">
                  <c:v>0.99011695062391536</c:v>
                </c:pt>
                <c:pt idx="1504">
                  <c:v>0.99013867527133359</c:v>
                </c:pt>
                <c:pt idx="1505">
                  <c:v>0.99016034353503157</c:v>
                </c:pt>
                <c:pt idx="1506">
                  <c:v>0.99018197984795475</c:v>
                </c:pt>
                <c:pt idx="1507">
                  <c:v>0.99020353534421213</c:v>
                </c:pt>
                <c:pt idx="1508">
                  <c:v>0.9902250908404695</c:v>
                </c:pt>
                <c:pt idx="1509">
                  <c:v>0.99024661814486681</c:v>
                </c:pt>
                <c:pt idx="1510">
                  <c:v>0.99026812101631867</c:v>
                </c:pt>
                <c:pt idx="1511">
                  <c:v>0.99028962388777053</c:v>
                </c:pt>
                <c:pt idx="1512">
                  <c:v>0.9903110835317035</c:v>
                </c:pt>
                <c:pt idx="1513">
                  <c:v>0.99033253189889237</c:v>
                </c:pt>
                <c:pt idx="1514">
                  <c:v>0.99035394267693444</c:v>
                </c:pt>
                <c:pt idx="1515">
                  <c:v>0.99037529707125627</c:v>
                </c:pt>
                <c:pt idx="1516">
                  <c:v>0.99039663079154727</c:v>
                </c:pt>
                <c:pt idx="1517">
                  <c:v>0.99041793068160611</c:v>
                </c:pt>
                <c:pt idx="1518">
                  <c:v>0.99043919486197551</c:v>
                </c:pt>
                <c:pt idx="1519">
                  <c:v>0.99046041769428339</c:v>
                </c:pt>
                <c:pt idx="1520">
                  <c:v>0.99048164052659127</c:v>
                </c:pt>
                <c:pt idx="1521">
                  <c:v>0.99052371969702535</c:v>
                </c:pt>
                <c:pt idx="1522">
                  <c:v>0.99054468504367732</c:v>
                </c:pt>
                <c:pt idx="1523">
                  <c:v>0.99056564663141466</c:v>
                </c:pt>
                <c:pt idx="1524">
                  <c:v>0.99058659506295055</c:v>
                </c:pt>
                <c:pt idx="1525">
                  <c:v>0.99060739125844177</c:v>
                </c:pt>
                <c:pt idx="1526">
                  <c:v>0.99062814046749936</c:v>
                </c:pt>
                <c:pt idx="1527">
                  <c:v>0.99064878442694582</c:v>
                </c:pt>
                <c:pt idx="1528">
                  <c:v>0.99066937012321465</c:v>
                </c:pt>
                <c:pt idx="1529">
                  <c:v>0.99068992950708068</c:v>
                </c:pt>
                <c:pt idx="1530">
                  <c:v>0.99071044942234254</c:v>
                </c:pt>
                <c:pt idx="1531">
                  <c:v>0.99073092798954288</c:v>
                </c:pt>
                <c:pt idx="1532">
                  <c:v>0.99075136144976705</c:v>
                </c:pt>
                <c:pt idx="1533">
                  <c:v>0.99077178551270451</c:v>
                </c:pt>
                <c:pt idx="1534">
                  <c:v>0.99079220769618459</c:v>
                </c:pt>
                <c:pt idx="1535">
                  <c:v>0.99081259041106051</c:v>
                </c:pt>
                <c:pt idx="1536">
                  <c:v>0.99083295433136298</c:v>
                </c:pt>
                <c:pt idx="1537">
                  <c:v>0.99085329381872</c:v>
                </c:pt>
                <c:pt idx="1538">
                  <c:v>0.99087340965065329</c:v>
                </c:pt>
                <c:pt idx="1539">
                  <c:v>0.99089336384925519</c:v>
                </c:pt>
                <c:pt idx="1540">
                  <c:v>0.99091327106142357</c:v>
                </c:pt>
                <c:pt idx="1541">
                  <c:v>0.99093313128715832</c:v>
                </c:pt>
                <c:pt idx="1542">
                  <c:v>0.9909529576826609</c:v>
                </c:pt>
                <c:pt idx="1543">
                  <c:v>0.99097274836847404</c:v>
                </c:pt>
                <c:pt idx="1544">
                  <c:v>0.99099250898296964</c:v>
                </c:pt>
                <c:pt idx="1545">
                  <c:v>0.99101225268234916</c:v>
                </c:pt>
                <c:pt idx="1546">
                  <c:v>0.99103195503366714</c:v>
                </c:pt>
                <c:pt idx="1547">
                  <c:v>0.99105163107258243</c:v>
                </c:pt>
                <c:pt idx="1548">
                  <c:v>0.9910712807990949</c:v>
                </c:pt>
                <c:pt idx="1549">
                  <c:v>0.9910908966953752</c:v>
                </c:pt>
                <c:pt idx="1550">
                  <c:v>0.99111047500250871</c:v>
                </c:pt>
                <c:pt idx="1551">
                  <c:v>0.9911300269972394</c:v>
                </c:pt>
                <c:pt idx="1552">
                  <c:v>0.99114957711251273</c:v>
                </c:pt>
                <c:pt idx="1553">
                  <c:v>0.99116908212080979</c:v>
                </c:pt>
                <c:pt idx="1554">
                  <c:v>0.99118853450430133</c:v>
                </c:pt>
                <c:pt idx="1555">
                  <c:v>0.99120786848198028</c:v>
                </c:pt>
                <c:pt idx="1556">
                  <c:v>0.99122717990617115</c:v>
                </c:pt>
                <c:pt idx="1557">
                  <c:v>0.99126567495145357</c:v>
                </c:pt>
                <c:pt idx="1558">
                  <c:v>0.99128486984928921</c:v>
                </c:pt>
                <c:pt idx="1559">
                  <c:v>0.99130406286766748</c:v>
                </c:pt>
                <c:pt idx="1560">
                  <c:v>0.99132296644961504</c:v>
                </c:pt>
                <c:pt idx="1561">
                  <c:v>0.9913418700315626</c:v>
                </c:pt>
                <c:pt idx="1562">
                  <c:v>0.99136075857785144</c:v>
                </c:pt>
                <c:pt idx="1563">
                  <c:v>0.99137960765553612</c:v>
                </c:pt>
                <c:pt idx="1564">
                  <c:v>0.99139844921539144</c:v>
                </c:pt>
                <c:pt idx="1565">
                  <c:v>0.99141726070392933</c:v>
                </c:pt>
                <c:pt idx="1566">
                  <c:v>0.99143603648277767</c:v>
                </c:pt>
                <c:pt idx="1567">
                  <c:v>0.99145475963682039</c:v>
                </c:pt>
                <c:pt idx="1568">
                  <c:v>0.99147341325094152</c:v>
                </c:pt>
                <c:pt idx="1569">
                  <c:v>0.99149202363754374</c:v>
                </c:pt>
                <c:pt idx="1570">
                  <c:v>0.99151061898848725</c:v>
                </c:pt>
                <c:pt idx="1571">
                  <c:v>0.99152920870105876</c:v>
                </c:pt>
                <c:pt idx="1572">
                  <c:v>0.99154779089580081</c:v>
                </c:pt>
                <c:pt idx="1573">
                  <c:v>0.99156635429596951</c:v>
                </c:pt>
                <c:pt idx="1574">
                  <c:v>0.99158484251784451</c:v>
                </c:pt>
                <c:pt idx="1575">
                  <c:v>0.99160327623545663</c:v>
                </c:pt>
                <c:pt idx="1576">
                  <c:v>0.9916216855201232</c:v>
                </c:pt>
                <c:pt idx="1577">
                  <c:v>0.99164001022920945</c:v>
                </c:pt>
                <c:pt idx="1578">
                  <c:v>0.99165830486697815</c:v>
                </c:pt>
                <c:pt idx="1579">
                  <c:v>0.99167656191560005</c:v>
                </c:pt>
                <c:pt idx="1580">
                  <c:v>0.99169470055840936</c:v>
                </c:pt>
                <c:pt idx="1581">
                  <c:v>0.99171274710780899</c:v>
                </c:pt>
                <c:pt idx="1582">
                  <c:v>0.99173074291186036</c:v>
                </c:pt>
                <c:pt idx="1583">
                  <c:v>0.99174872931862501</c:v>
                </c:pt>
                <c:pt idx="1584">
                  <c:v>0.99176671572538966</c:v>
                </c:pt>
                <c:pt idx="1585">
                  <c:v>0.99180257013310635</c:v>
                </c:pt>
                <c:pt idx="1586">
                  <c:v>0.99182039866545424</c:v>
                </c:pt>
                <c:pt idx="1587">
                  <c:v>0.99183819336756995</c:v>
                </c:pt>
                <c:pt idx="1588">
                  <c:v>0.99185598806968567</c:v>
                </c:pt>
                <c:pt idx="1589">
                  <c:v>0.99187377149505729</c:v>
                </c:pt>
                <c:pt idx="1590">
                  <c:v>0.99189155304097165</c:v>
                </c:pt>
                <c:pt idx="1591">
                  <c:v>0.99190929699773911</c:v>
                </c:pt>
                <c:pt idx="1592">
                  <c:v>0.99192704095450657</c:v>
                </c:pt>
                <c:pt idx="1593">
                  <c:v>0.99194478303181677</c:v>
                </c:pt>
                <c:pt idx="1594">
                  <c:v>0.9919624480513759</c:v>
                </c:pt>
                <c:pt idx="1595">
                  <c:v>0.99198002473643998</c:v>
                </c:pt>
                <c:pt idx="1596">
                  <c:v>0.99199758450638797</c:v>
                </c:pt>
                <c:pt idx="1597">
                  <c:v>0.99201512736121988</c:v>
                </c:pt>
                <c:pt idx="1598">
                  <c:v>0.99204987664801936</c:v>
                </c:pt>
                <c:pt idx="1599">
                  <c:v>0.99206713006642055</c:v>
                </c:pt>
                <c:pt idx="1600">
                  <c:v>0.99208435717241894</c:v>
                </c:pt>
                <c:pt idx="1601">
                  <c:v>0.99210157676058797</c:v>
                </c:pt>
                <c:pt idx="1602">
                  <c:v>0.99211877567472617</c:v>
                </c:pt>
                <c:pt idx="1603">
                  <c:v>0.99213594827646168</c:v>
                </c:pt>
                <c:pt idx="1604">
                  <c:v>0.99215309080687963</c:v>
                </c:pt>
                <c:pt idx="1605">
                  <c:v>0.99217014876171727</c:v>
                </c:pt>
                <c:pt idx="1606">
                  <c:v>0.9921871804041521</c:v>
                </c:pt>
                <c:pt idx="1607">
                  <c:v>0.99220417821635476</c:v>
                </c:pt>
                <c:pt idx="1608">
                  <c:v>0.99222109521189172</c:v>
                </c:pt>
                <c:pt idx="1609">
                  <c:v>0.99223798213611114</c:v>
                </c:pt>
                <c:pt idx="1610">
                  <c:v>0.99225485402467184</c:v>
                </c:pt>
                <c:pt idx="1611">
                  <c:v>0.99227170335974446</c:v>
                </c:pt>
                <c:pt idx="1612">
                  <c:v>0.99228846623977929</c:v>
                </c:pt>
                <c:pt idx="1613">
                  <c:v>0.99230519904849668</c:v>
                </c:pt>
                <c:pt idx="1614">
                  <c:v>0.99232186983512183</c:v>
                </c:pt>
                <c:pt idx="1615">
                  <c:v>0.99233848987639872</c:v>
                </c:pt>
                <c:pt idx="1616">
                  <c:v>0.99235506856961408</c:v>
                </c:pt>
                <c:pt idx="1617">
                  <c:v>0.99237162470934137</c:v>
                </c:pt>
                <c:pt idx="1618">
                  <c:v>0.9923881564161231</c:v>
                </c:pt>
                <c:pt idx="1619">
                  <c:v>0.99240468060507547</c:v>
                </c:pt>
                <c:pt idx="1620">
                  <c:v>0.99242117848162514</c:v>
                </c:pt>
                <c:pt idx="1621">
                  <c:v>0.99243767071980271</c:v>
                </c:pt>
                <c:pt idx="1622">
                  <c:v>0.99247051047794255</c:v>
                </c:pt>
                <c:pt idx="1623">
                  <c:v>0.99248688243085026</c:v>
                </c:pt>
                <c:pt idx="1624">
                  <c:v>0.99250320551786708</c:v>
                </c:pt>
                <c:pt idx="1625">
                  <c:v>0.99251949477465173</c:v>
                </c:pt>
                <c:pt idx="1626">
                  <c:v>0.99255203381961676</c:v>
                </c:pt>
                <c:pt idx="1627">
                  <c:v>0.9925682967639986</c:v>
                </c:pt>
                <c:pt idx="1628">
                  <c:v>0.99258454091380699</c:v>
                </c:pt>
                <c:pt idx="1629">
                  <c:v>0.99260076063066993</c:v>
                </c:pt>
                <c:pt idx="1630">
                  <c:v>0.99261696343241679</c:v>
                </c:pt>
                <c:pt idx="1631">
                  <c:v>0.99263313240393158</c:v>
                </c:pt>
                <c:pt idx="1632">
                  <c:v>0.99264928070141556</c:v>
                </c:pt>
                <c:pt idx="1633">
                  <c:v>0.99266522037913452</c:v>
                </c:pt>
                <c:pt idx="1634">
                  <c:v>0.99268113938282276</c:v>
                </c:pt>
                <c:pt idx="1635">
                  <c:v>0.99269705462759628</c:v>
                </c:pt>
                <c:pt idx="1636">
                  <c:v>0.99271292852430826</c:v>
                </c:pt>
                <c:pt idx="1637">
                  <c:v>0.99272871408652519</c:v>
                </c:pt>
                <c:pt idx="1638">
                  <c:v>0.99274448837199802</c:v>
                </c:pt>
                <c:pt idx="1639">
                  <c:v>0.99276024762181214</c:v>
                </c:pt>
                <c:pt idx="1640">
                  <c:v>0.99277593357278993</c:v>
                </c:pt>
                <c:pt idx="1641">
                  <c:v>0.99279157253733419</c:v>
                </c:pt>
                <c:pt idx="1642">
                  <c:v>0.99280720774296372</c:v>
                </c:pt>
                <c:pt idx="1643">
                  <c:v>0.99282276025247018</c:v>
                </c:pt>
                <c:pt idx="1644">
                  <c:v>0.99283830336469003</c:v>
                </c:pt>
                <c:pt idx="1645">
                  <c:v>0.992853748745128</c:v>
                </c:pt>
                <c:pt idx="1646">
                  <c:v>0.99286916969262051</c:v>
                </c:pt>
                <c:pt idx="1647">
                  <c:v>0.99288457936336905</c:v>
                </c:pt>
                <c:pt idx="1648">
                  <c:v>0.99289989318179306</c:v>
                </c:pt>
                <c:pt idx="1649">
                  <c:v>0.9929151731699849</c:v>
                </c:pt>
                <c:pt idx="1650">
                  <c:v>0.99293039301554187</c:v>
                </c:pt>
                <c:pt idx="1651">
                  <c:v>0.99294547754017015</c:v>
                </c:pt>
                <c:pt idx="1652">
                  <c:v>0.99297543045183234</c:v>
                </c:pt>
                <c:pt idx="1653">
                  <c:v>0.99299040032956276</c:v>
                </c:pt>
                <c:pt idx="1654">
                  <c:v>0.99300536081000645</c:v>
                </c:pt>
                <c:pt idx="1655">
                  <c:v>0.99303523102554569</c:v>
                </c:pt>
                <c:pt idx="1656">
                  <c:v>0.99305012384552516</c:v>
                </c:pt>
                <c:pt idx="1657">
                  <c:v>0.99307980987424482</c:v>
                </c:pt>
                <c:pt idx="1658">
                  <c:v>0.99309463127484521</c:v>
                </c:pt>
                <c:pt idx="1659">
                  <c:v>0.99310944139870161</c:v>
                </c:pt>
                <c:pt idx="1660">
                  <c:v>0.99312421581286847</c:v>
                </c:pt>
                <c:pt idx="1661">
                  <c:v>0.9931389601557179</c:v>
                </c:pt>
                <c:pt idx="1662">
                  <c:v>0.99315364999430433</c:v>
                </c:pt>
                <c:pt idx="1663">
                  <c:v>0.99316828156971315</c:v>
                </c:pt>
                <c:pt idx="1664">
                  <c:v>0.99318290562729261</c:v>
                </c:pt>
                <c:pt idx="1665">
                  <c:v>0.99319749961355464</c:v>
                </c:pt>
                <c:pt idx="1666">
                  <c:v>0.99321203345718168</c:v>
                </c:pt>
                <c:pt idx="1667">
                  <c:v>0.99322655038569263</c:v>
                </c:pt>
                <c:pt idx="1668">
                  <c:v>0.9932410071715686</c:v>
                </c:pt>
                <c:pt idx="1669">
                  <c:v>0.99325546207798732</c:v>
                </c:pt>
                <c:pt idx="1670">
                  <c:v>0.99326983616774034</c:v>
                </c:pt>
                <c:pt idx="1671">
                  <c:v>0.99328419334237728</c:v>
                </c:pt>
                <c:pt idx="1672">
                  <c:v>0.99329852044569666</c:v>
                </c:pt>
                <c:pt idx="1673">
                  <c:v>0.99331282311607061</c:v>
                </c:pt>
                <c:pt idx="1674">
                  <c:v>0.99332712390698719</c:v>
                </c:pt>
                <c:pt idx="1675">
                  <c:v>0.99334141905953177</c:v>
                </c:pt>
                <c:pt idx="1676">
                  <c:v>0.99335568789967355</c:v>
                </c:pt>
                <c:pt idx="1677">
                  <c:v>0.99336990787392443</c:v>
                </c:pt>
                <c:pt idx="1678">
                  <c:v>0.9933840752233698</c:v>
                </c:pt>
                <c:pt idx="1679">
                  <c:v>0.99339824257281517</c:v>
                </c:pt>
                <c:pt idx="1680">
                  <c:v>0.99341236857419901</c:v>
                </c:pt>
                <c:pt idx="1681">
                  <c:v>0.99342637429031289</c:v>
                </c:pt>
                <c:pt idx="1682">
                  <c:v>0.99344037624751214</c:v>
                </c:pt>
                <c:pt idx="1683">
                  <c:v>0.99345436504850992</c:v>
                </c:pt>
                <c:pt idx="1684">
                  <c:v>0.99346831438090355</c:v>
                </c:pt>
                <c:pt idx="1685">
                  <c:v>0.99348219981174757</c:v>
                </c:pt>
                <c:pt idx="1686">
                  <c:v>0.99349606080964614</c:v>
                </c:pt>
                <c:pt idx="1687">
                  <c:v>0.99350982219630557</c:v>
                </c:pt>
                <c:pt idx="1688">
                  <c:v>0.99352357418567827</c:v>
                </c:pt>
                <c:pt idx="1689">
                  <c:v>0.99353732241613635</c:v>
                </c:pt>
                <c:pt idx="1690">
                  <c:v>0.99355102741907553</c:v>
                </c:pt>
                <c:pt idx="1691">
                  <c:v>0.99356465160534901</c:v>
                </c:pt>
                <c:pt idx="1692">
                  <c:v>0.99357826639433577</c:v>
                </c:pt>
                <c:pt idx="1693">
                  <c:v>0.99359186614766382</c:v>
                </c:pt>
                <c:pt idx="1694">
                  <c:v>0.99360546402153449</c:v>
                </c:pt>
                <c:pt idx="1695">
                  <c:v>0.99361902430625826</c:v>
                </c:pt>
                <c:pt idx="1696">
                  <c:v>0.99363257895261003</c:v>
                </c:pt>
                <c:pt idx="1697">
                  <c:v>0.99364613359896181</c:v>
                </c:pt>
                <c:pt idx="1698">
                  <c:v>0.99365966381236814</c:v>
                </c:pt>
                <c:pt idx="1699">
                  <c:v>0.99367314703934095</c:v>
                </c:pt>
                <c:pt idx="1700">
                  <c:v>0.99368659831553896</c:v>
                </c:pt>
                <c:pt idx="1701">
                  <c:v>0.9937000157615048</c:v>
                </c:pt>
                <c:pt idx="1702">
                  <c:v>0.99372680930537483</c:v>
                </c:pt>
                <c:pt idx="1703">
                  <c:v>0.99374016848816304</c:v>
                </c:pt>
                <c:pt idx="1704">
                  <c:v>0.9937535145147498</c:v>
                </c:pt>
                <c:pt idx="1705">
                  <c:v>0.99376684550567784</c:v>
                </c:pt>
                <c:pt idx="1706">
                  <c:v>0.9937801652198619</c:v>
                </c:pt>
                <c:pt idx="1707">
                  <c:v>0.99379345110381379</c:v>
                </c:pt>
                <c:pt idx="1708">
                  <c:v>0.99380669188078941</c:v>
                </c:pt>
                <c:pt idx="1709">
                  <c:v>0.99381985935892869</c:v>
                </c:pt>
                <c:pt idx="1710">
                  <c:v>0.99383301931923862</c:v>
                </c:pt>
                <c:pt idx="1711">
                  <c:v>0.99384617176171919</c:v>
                </c:pt>
                <c:pt idx="1712">
                  <c:v>0.99385931480691303</c:v>
                </c:pt>
                <c:pt idx="1713">
                  <c:v>0.99387243717807616</c:v>
                </c:pt>
                <c:pt idx="1714">
                  <c:v>0.99388555579032456</c:v>
                </c:pt>
                <c:pt idx="1715">
                  <c:v>0.99389865748745687</c:v>
                </c:pt>
                <c:pt idx="1716">
                  <c:v>0.99391173851055847</c:v>
                </c:pt>
                <c:pt idx="1717">
                  <c:v>0.99392479698017189</c:v>
                </c:pt>
                <c:pt idx="1718">
                  <c:v>0.9939378554497853</c:v>
                </c:pt>
                <c:pt idx="1719">
                  <c:v>0.99395089324536801</c:v>
                </c:pt>
                <c:pt idx="1720">
                  <c:v>0.99396391976420662</c:v>
                </c:pt>
                <c:pt idx="1721">
                  <c:v>0.99397693876521587</c:v>
                </c:pt>
                <c:pt idx="1722">
                  <c:v>0.9940028997094833</c:v>
                </c:pt>
                <c:pt idx="1723">
                  <c:v>0.99401585292948558</c:v>
                </c:pt>
                <c:pt idx="1724">
                  <c:v>0.99402880239057312</c:v>
                </c:pt>
                <c:pt idx="1725">
                  <c:v>0.99404166163770824</c:v>
                </c:pt>
                <c:pt idx="1726">
                  <c:v>0.99405450584918464</c:v>
                </c:pt>
                <c:pt idx="1727">
                  <c:v>0.99406732750717297</c:v>
                </c:pt>
                <c:pt idx="1728">
                  <c:v>0.99408013412950258</c:v>
                </c:pt>
                <c:pt idx="1729">
                  <c:v>0.99409292007780137</c:v>
                </c:pt>
                <c:pt idx="1730">
                  <c:v>0.99410563272726382</c:v>
                </c:pt>
                <c:pt idx="1731">
                  <c:v>0.99411832846161019</c:v>
                </c:pt>
                <c:pt idx="1732">
                  <c:v>0.99413100728084047</c:v>
                </c:pt>
                <c:pt idx="1733">
                  <c:v>0.99414368046169876</c:v>
                </c:pt>
                <c:pt idx="1734">
                  <c:v>0.99415634800418506</c:v>
                </c:pt>
                <c:pt idx="1735">
                  <c:v>0.99416898171643919</c:v>
                </c:pt>
                <c:pt idx="1736">
                  <c:v>0.99418159663411987</c:v>
                </c:pt>
                <c:pt idx="1737">
                  <c:v>0.99419417396265375</c:v>
                </c:pt>
                <c:pt idx="1738">
                  <c:v>0.99420672309932745</c:v>
                </c:pt>
                <c:pt idx="1739">
                  <c:v>0.99421924404414108</c:v>
                </c:pt>
                <c:pt idx="1740">
                  <c:v>0.99423176123003998</c:v>
                </c:pt>
                <c:pt idx="1741">
                  <c:v>0.99424426525973753</c:v>
                </c:pt>
                <c:pt idx="1742">
                  <c:v>0.9942567674099777</c:v>
                </c:pt>
                <c:pt idx="1743">
                  <c:v>0.99426921129704027</c:v>
                </c:pt>
                <c:pt idx="1744">
                  <c:v>0.9942816138360413</c:v>
                </c:pt>
                <c:pt idx="1745">
                  <c:v>0.9942939863037249</c:v>
                </c:pt>
                <c:pt idx="1746">
                  <c:v>0.99430634373574966</c:v>
                </c:pt>
                <c:pt idx="1747">
                  <c:v>0.99431868049374372</c:v>
                </c:pt>
                <c:pt idx="1748">
                  <c:v>0.99433097590367625</c:v>
                </c:pt>
                <c:pt idx="1749">
                  <c:v>0.99434326943415141</c:v>
                </c:pt>
                <c:pt idx="1750">
                  <c:v>0.99435556296462657</c:v>
                </c:pt>
                <c:pt idx="1751">
                  <c:v>0.99436785273618711</c:v>
                </c:pt>
                <c:pt idx="1752">
                  <c:v>0.99438013874883291</c:v>
                </c:pt>
                <c:pt idx="1753">
                  <c:v>0.99438013874883291</c:v>
                </c:pt>
                <c:pt idx="1754">
                  <c:v>0.99439242100256409</c:v>
                </c:pt>
                <c:pt idx="1755">
                  <c:v>0.99440466378769099</c:v>
                </c:pt>
                <c:pt idx="1756">
                  <c:v>0.99441689529607391</c:v>
                </c:pt>
                <c:pt idx="1757">
                  <c:v>0.9944291174071701</c:v>
                </c:pt>
                <c:pt idx="1758">
                  <c:v>0.99444129817020477</c:v>
                </c:pt>
                <c:pt idx="1759">
                  <c:v>0.99446562962495655</c:v>
                </c:pt>
                <c:pt idx="1760">
                  <c:v>0.99447775400427096</c:v>
                </c:pt>
                <c:pt idx="1761">
                  <c:v>0.99448985770955456</c:v>
                </c:pt>
                <c:pt idx="1762">
                  <c:v>0.99450193322297809</c:v>
                </c:pt>
                <c:pt idx="1763">
                  <c:v>0.99451400497748688</c:v>
                </c:pt>
                <c:pt idx="1764">
                  <c:v>0.99452606733470894</c:v>
                </c:pt>
                <c:pt idx="1765">
                  <c:v>0.99453812781247364</c:v>
                </c:pt>
                <c:pt idx="1766">
                  <c:v>0.99455018453132371</c:v>
                </c:pt>
                <c:pt idx="1767">
                  <c:v>0.99456220178156962</c:v>
                </c:pt>
                <c:pt idx="1768">
                  <c:v>0.99457420587561407</c:v>
                </c:pt>
                <c:pt idx="1769">
                  <c:v>0.99458620996965852</c:v>
                </c:pt>
                <c:pt idx="1770">
                  <c:v>0.99459820278695898</c:v>
                </c:pt>
                <c:pt idx="1771">
                  <c:v>0.99461016177402728</c:v>
                </c:pt>
                <c:pt idx="1772">
                  <c:v>0.99462210760489411</c:v>
                </c:pt>
                <c:pt idx="1773">
                  <c:v>0.99463404027955959</c:v>
                </c:pt>
                <c:pt idx="1774">
                  <c:v>0.99464595979802373</c:v>
                </c:pt>
                <c:pt idx="1775">
                  <c:v>0.99465787367811576</c:v>
                </c:pt>
                <c:pt idx="1776">
                  <c:v>0.99466978379929316</c:v>
                </c:pt>
                <c:pt idx="1777">
                  <c:v>0.99468166760806775</c:v>
                </c:pt>
                <c:pt idx="1778">
                  <c:v>0.99469354577847036</c:v>
                </c:pt>
                <c:pt idx="1779">
                  <c:v>0.99470541831050086</c:v>
                </c:pt>
                <c:pt idx="1780">
                  <c:v>0.99471727204795801</c:v>
                </c:pt>
                <c:pt idx="1781">
                  <c:v>0.99472909759355499</c:v>
                </c:pt>
                <c:pt idx="1782">
                  <c:v>0.99474091938023723</c:v>
                </c:pt>
                <c:pt idx="1783">
                  <c:v>0.99475262088164962</c:v>
                </c:pt>
                <c:pt idx="1784">
                  <c:v>0.99476431486523265</c:v>
                </c:pt>
                <c:pt idx="1785">
                  <c:v>0.99477600321044368</c:v>
                </c:pt>
                <c:pt idx="1786">
                  <c:v>0.99478767276108127</c:v>
                </c:pt>
                <c:pt idx="1787">
                  <c:v>0.9947993291555175</c:v>
                </c:pt>
                <c:pt idx="1788">
                  <c:v>0.9948109705142949</c:v>
                </c:pt>
                <c:pt idx="1789">
                  <c:v>0.99482260435524295</c:v>
                </c:pt>
                <c:pt idx="1790">
                  <c:v>0.99483423443727637</c:v>
                </c:pt>
                <c:pt idx="1791">
                  <c:v>0.99484580813558954</c:v>
                </c:pt>
                <c:pt idx="1792">
                  <c:v>0.99485737431607324</c:v>
                </c:pt>
                <c:pt idx="1793">
                  <c:v>0.99486893109927033</c:v>
                </c:pt>
                <c:pt idx="1794">
                  <c:v>0.99488047848518069</c:v>
                </c:pt>
                <c:pt idx="1795">
                  <c:v>0.99489200895597496</c:v>
                </c:pt>
                <c:pt idx="1796">
                  <c:v>0.99490352627056777</c:v>
                </c:pt>
                <c:pt idx="1797">
                  <c:v>0.99491501727275788</c:v>
                </c:pt>
                <c:pt idx="1798">
                  <c:v>0.99492650451603326</c:v>
                </c:pt>
                <c:pt idx="1799">
                  <c:v>0.99493798048256454</c:v>
                </c:pt>
                <c:pt idx="1800">
                  <c:v>0.99494944141343711</c:v>
                </c:pt>
                <c:pt idx="1801">
                  <c:v>0.9949608741524496</c:v>
                </c:pt>
                <c:pt idx="1802">
                  <c:v>0.99497228997634601</c:v>
                </c:pt>
                <c:pt idx="1803">
                  <c:v>0.99498363626032071</c:v>
                </c:pt>
                <c:pt idx="1804">
                  <c:v>0.99499493179894716</c:v>
                </c:pt>
                <c:pt idx="1805">
                  <c:v>0.99501750784054144</c:v>
                </c:pt>
                <c:pt idx="1806">
                  <c:v>0.99502873195978891</c:v>
                </c:pt>
                <c:pt idx="1807">
                  <c:v>0.99503992600771896</c:v>
                </c:pt>
                <c:pt idx="1808">
                  <c:v>0.99505111441727689</c:v>
                </c:pt>
                <c:pt idx="1809">
                  <c:v>0.99506229906792021</c:v>
                </c:pt>
                <c:pt idx="1810">
                  <c:v>0.995073387866239</c:v>
                </c:pt>
                <c:pt idx="1811">
                  <c:v>0.99508443343703901</c:v>
                </c:pt>
                <c:pt idx="1812">
                  <c:v>0.99509545645435082</c:v>
                </c:pt>
                <c:pt idx="1813">
                  <c:v>0.99510647383329065</c:v>
                </c:pt>
                <c:pt idx="1814">
                  <c:v>0.99511746302037041</c:v>
                </c:pt>
                <c:pt idx="1815">
                  <c:v>0.99512842589504735</c:v>
                </c:pt>
                <c:pt idx="1816">
                  <c:v>0.99513935493949213</c:v>
                </c:pt>
                <c:pt idx="1817">
                  <c:v>0.99515027834556491</c:v>
                </c:pt>
                <c:pt idx="1818">
                  <c:v>0.99516118671597886</c:v>
                </c:pt>
                <c:pt idx="1819">
                  <c:v>0.99517207441236211</c:v>
                </c:pt>
                <c:pt idx="1820">
                  <c:v>0.99518295459091599</c:v>
                </c:pt>
                <c:pt idx="1821">
                  <c:v>0.99519382913109777</c:v>
                </c:pt>
                <c:pt idx="1822">
                  <c:v>0.99520467172050475</c:v>
                </c:pt>
                <c:pt idx="1823">
                  <c:v>0.99521547672076494</c:v>
                </c:pt>
                <c:pt idx="1824">
                  <c:v>0.99522627984156775</c:v>
                </c:pt>
                <c:pt idx="1825">
                  <c:v>0.99524785413239869</c:v>
                </c:pt>
                <c:pt idx="1826">
                  <c:v>0.99525862906134144</c:v>
                </c:pt>
                <c:pt idx="1827">
                  <c:v>0.99526940023136945</c:v>
                </c:pt>
                <c:pt idx="1828">
                  <c:v>0.99528015260682401</c:v>
                </c:pt>
                <c:pt idx="1829">
                  <c:v>0.9952908767904185</c:v>
                </c:pt>
                <c:pt idx="1830">
                  <c:v>0.99530155398757936</c:v>
                </c:pt>
                <c:pt idx="1831">
                  <c:v>0.99531220675179477</c:v>
                </c:pt>
                <c:pt idx="1832">
                  <c:v>0.9953227617842284</c:v>
                </c:pt>
                <c:pt idx="1833">
                  <c:v>0.99533331117829005</c:v>
                </c:pt>
                <c:pt idx="1834">
                  <c:v>0.99534383238049151</c:v>
                </c:pt>
                <c:pt idx="1835">
                  <c:v>0.99535434606486362</c:v>
                </c:pt>
                <c:pt idx="1836">
                  <c:v>0.99536484847249174</c:v>
                </c:pt>
                <c:pt idx="1837">
                  <c:v>0.99539627863762492</c:v>
                </c:pt>
                <c:pt idx="1838">
                  <c:v>0.99540672278207543</c:v>
                </c:pt>
                <c:pt idx="1839">
                  <c:v>0.99541715940869657</c:v>
                </c:pt>
                <c:pt idx="1840">
                  <c:v>0.9954275753612869</c:v>
                </c:pt>
                <c:pt idx="1841">
                  <c:v>0.99543797627821851</c:v>
                </c:pt>
                <c:pt idx="1842">
                  <c:v>0.99544828886065506</c:v>
                </c:pt>
                <c:pt idx="1843">
                  <c:v>0.9954585864074329</c:v>
                </c:pt>
                <c:pt idx="1844">
                  <c:v>0.99546886891855191</c:v>
                </c:pt>
                <c:pt idx="1845">
                  <c:v>0.99547912135835348</c:v>
                </c:pt>
                <c:pt idx="1846">
                  <c:v>0.99548937379815505</c:v>
                </c:pt>
                <c:pt idx="1847">
                  <c:v>0.99549962247904189</c:v>
                </c:pt>
                <c:pt idx="1848">
                  <c:v>0.99552010856407158</c:v>
                </c:pt>
                <c:pt idx="1849">
                  <c:v>0.99553031213798227</c:v>
                </c:pt>
                <c:pt idx="1850">
                  <c:v>0.99554050631460622</c:v>
                </c:pt>
                <c:pt idx="1851">
                  <c:v>0.99555069673231555</c:v>
                </c:pt>
                <c:pt idx="1852">
                  <c:v>0.9955608702349088</c:v>
                </c:pt>
                <c:pt idx="1853">
                  <c:v>0.99557103246075795</c:v>
                </c:pt>
                <c:pt idx="1854">
                  <c:v>0.99558117589203365</c:v>
                </c:pt>
                <c:pt idx="1855">
                  <c:v>0.99559131556439473</c:v>
                </c:pt>
                <c:pt idx="1856">
                  <c:v>0.99560145335729844</c:v>
                </c:pt>
                <c:pt idx="1857">
                  <c:v>0.99562171202798977</c:v>
                </c:pt>
                <c:pt idx="1858">
                  <c:v>0.99563181974957604</c:v>
                </c:pt>
                <c:pt idx="1859">
                  <c:v>0.99564188048472868</c:v>
                </c:pt>
                <c:pt idx="1860">
                  <c:v>0.99566193805348435</c:v>
                </c:pt>
                <c:pt idx="1861">
                  <c:v>0.99567192924871539</c:v>
                </c:pt>
                <c:pt idx="1862">
                  <c:v>0.99568191856448907</c:v>
                </c:pt>
                <c:pt idx="1863">
                  <c:v>0.9956918345814264</c:v>
                </c:pt>
                <c:pt idx="1864">
                  <c:v>0.99570171300921684</c:v>
                </c:pt>
                <c:pt idx="1865">
                  <c:v>0.99571157828080592</c:v>
                </c:pt>
                <c:pt idx="1866">
                  <c:v>0.99572138716867475</c:v>
                </c:pt>
                <c:pt idx="1867">
                  <c:v>0.99573119417708622</c:v>
                </c:pt>
                <c:pt idx="1868">
                  <c:v>0.99574099178821096</c:v>
                </c:pt>
                <c:pt idx="1869">
                  <c:v>0.99575077436367698</c:v>
                </c:pt>
                <c:pt idx="1870">
                  <c:v>0.9957702868898034</c:v>
                </c:pt>
                <c:pt idx="1871">
                  <c:v>0.99577999992534783</c:v>
                </c:pt>
                <c:pt idx="1872">
                  <c:v>0.99578968852794669</c:v>
                </c:pt>
                <c:pt idx="1873">
                  <c:v>0.9957993433003135</c:v>
                </c:pt>
                <c:pt idx="1874">
                  <c:v>0.99580895484516141</c:v>
                </c:pt>
                <c:pt idx="1875">
                  <c:v>0.99581856263109458</c:v>
                </c:pt>
                <c:pt idx="1876">
                  <c:v>0.99582815914028378</c:v>
                </c:pt>
                <c:pt idx="1877">
                  <c:v>0.99583775189055823</c:v>
                </c:pt>
                <c:pt idx="1878">
                  <c:v>0.99584733524354596</c:v>
                </c:pt>
                <c:pt idx="1879">
                  <c:v>0.99585690168141761</c:v>
                </c:pt>
                <c:pt idx="1880">
                  <c:v>0.99586645120417316</c:v>
                </c:pt>
                <c:pt idx="1881">
                  <c:v>0.99587594998158058</c:v>
                </c:pt>
                <c:pt idx="1882">
                  <c:v>0.99588543372332916</c:v>
                </c:pt>
                <c:pt idx="1883">
                  <c:v>0.99589486859918686</c:v>
                </c:pt>
                <c:pt idx="1884">
                  <c:v>0.99590430159558729</c:v>
                </c:pt>
                <c:pt idx="1885">
                  <c:v>0.9959231281197839</c:v>
                </c:pt>
                <c:pt idx="1886">
                  <c:v>0.9959325197681228</c:v>
                </c:pt>
                <c:pt idx="1887">
                  <c:v>0.99594184939436936</c:v>
                </c:pt>
                <c:pt idx="1888">
                  <c:v>0.99595117150278656</c:v>
                </c:pt>
                <c:pt idx="1889">
                  <c:v>0.99596048421391703</c:v>
                </c:pt>
                <c:pt idx="1890">
                  <c:v>0.99596979316613288</c:v>
                </c:pt>
                <c:pt idx="1891">
                  <c:v>0.995979092721062</c:v>
                </c:pt>
                <c:pt idx="1892">
                  <c:v>0.99598839227599112</c:v>
                </c:pt>
                <c:pt idx="1893">
                  <c:v>0.99599766175960269</c:v>
                </c:pt>
                <c:pt idx="1894">
                  <c:v>0.99600692936375701</c:v>
                </c:pt>
                <c:pt idx="1895">
                  <c:v>0.99601618945008197</c:v>
                </c:pt>
                <c:pt idx="1896">
                  <c:v>0.9960254401391202</c:v>
                </c:pt>
                <c:pt idx="1897">
                  <c:v>0.99603467767195697</c:v>
                </c:pt>
                <c:pt idx="1898">
                  <c:v>0.99605313958142916</c:v>
                </c:pt>
                <c:pt idx="1899">
                  <c:v>0.9960623357662044</c:v>
                </c:pt>
                <c:pt idx="1900">
                  <c:v>0.99608981155308962</c:v>
                </c:pt>
                <c:pt idx="1901">
                  <c:v>0.99609894759522999</c:v>
                </c:pt>
                <c:pt idx="1902">
                  <c:v>0.99610807424008363</c:v>
                </c:pt>
                <c:pt idx="1903">
                  <c:v>0.99611717457253446</c:v>
                </c:pt>
                <c:pt idx="1904">
                  <c:v>0.99613526622891024</c:v>
                </c:pt>
                <c:pt idx="1905">
                  <c:v>0.99614426695012193</c:v>
                </c:pt>
                <c:pt idx="1906">
                  <c:v>0.99615325075621752</c:v>
                </c:pt>
                <c:pt idx="1907">
                  <c:v>0.99617103418158925</c:v>
                </c:pt>
                <c:pt idx="1908">
                  <c:v>0.99617986763109745</c:v>
                </c:pt>
                <c:pt idx="1909">
                  <c:v>0.99618866349145885</c:v>
                </c:pt>
                <c:pt idx="1910">
                  <c:v>0.99619741612430135</c:v>
                </c:pt>
                <c:pt idx="1911">
                  <c:v>0.99620616311877186</c:v>
                </c:pt>
                <c:pt idx="1912">
                  <c:v>0.9962148762830102</c:v>
                </c:pt>
                <c:pt idx="1913">
                  <c:v>0.99622357441158982</c:v>
                </c:pt>
                <c:pt idx="1914">
                  <c:v>0.99623226690179734</c:v>
                </c:pt>
                <c:pt idx="1915">
                  <c:v>0.99624094811526087</c:v>
                </c:pt>
                <c:pt idx="1916">
                  <c:v>0.9962496236903523</c:v>
                </c:pt>
                <c:pt idx="1917">
                  <c:v>0.99625828235032776</c:v>
                </c:pt>
                <c:pt idx="1918">
                  <c:v>0.99626691657735778</c:v>
                </c:pt>
                <c:pt idx="1919">
                  <c:v>0.99627554140710106</c:v>
                </c:pt>
                <c:pt idx="1920">
                  <c:v>0.99628415683955762</c:v>
                </c:pt>
                <c:pt idx="1921">
                  <c:v>0.99629277039255681</c:v>
                </c:pt>
                <c:pt idx="1922">
                  <c:v>0.99630137266881191</c:v>
                </c:pt>
                <c:pt idx="1923">
                  <c:v>0.99631854339109005</c:v>
                </c:pt>
                <c:pt idx="1924">
                  <c:v>0.99632710243982636</c:v>
                </c:pt>
                <c:pt idx="1925">
                  <c:v>0.99633564645290384</c:v>
                </c:pt>
                <c:pt idx="1926">
                  <c:v>0.99634417730977998</c:v>
                </c:pt>
                <c:pt idx="1927">
                  <c:v>0.99635269501045476</c:v>
                </c:pt>
                <c:pt idx="1928">
                  <c:v>0.99636120707275744</c:v>
                </c:pt>
                <c:pt idx="1929">
                  <c:v>0.99636971161723076</c:v>
                </c:pt>
                <c:pt idx="1930">
                  <c:v>0.99637821052333209</c:v>
                </c:pt>
                <c:pt idx="1931">
                  <c:v>0.99638667935811598</c:v>
                </c:pt>
                <c:pt idx="1932">
                  <c:v>0.99639513503669841</c:v>
                </c:pt>
                <c:pt idx="1933">
                  <c:v>0.9964035662823354</c:v>
                </c:pt>
                <c:pt idx="1934">
                  <c:v>0.99641199376905776</c:v>
                </c:pt>
                <c:pt idx="1935">
                  <c:v>0.99642040434066403</c:v>
                </c:pt>
                <c:pt idx="1936">
                  <c:v>0.99642880175606885</c:v>
                </c:pt>
                <c:pt idx="1937">
                  <c:v>0.99643718977418694</c:v>
                </c:pt>
                <c:pt idx="1938">
                  <c:v>0.99644557215393303</c:v>
                </c:pt>
                <c:pt idx="1939">
                  <c:v>0.99645395265422176</c:v>
                </c:pt>
                <c:pt idx="1940">
                  <c:v>0.99646231811885178</c:v>
                </c:pt>
                <c:pt idx="1941">
                  <c:v>0.99647062532030417</c:v>
                </c:pt>
                <c:pt idx="1942">
                  <c:v>0.9964789306422992</c:v>
                </c:pt>
                <c:pt idx="1943">
                  <c:v>0.99648722468755024</c:v>
                </c:pt>
                <c:pt idx="1944">
                  <c:v>0.99649551873280129</c:v>
                </c:pt>
                <c:pt idx="1945">
                  <c:v>0.99650378270673479</c:v>
                </c:pt>
                <c:pt idx="1946">
                  <c:v>0.99651199781477739</c:v>
                </c:pt>
                <c:pt idx="1947">
                  <c:v>0.99652019412824666</c:v>
                </c:pt>
                <c:pt idx="1948">
                  <c:v>0.9965283490936544</c:v>
                </c:pt>
                <c:pt idx="1949">
                  <c:v>0.99654449363222375</c:v>
                </c:pt>
                <c:pt idx="1950">
                  <c:v>0.99656054795684068</c:v>
                </c:pt>
                <c:pt idx="1951">
                  <c:v>0.99656855632457575</c:v>
                </c:pt>
                <c:pt idx="1952">
                  <c:v>0.99657655717448135</c:v>
                </c:pt>
                <c:pt idx="1953">
                  <c:v>0.99658455614492969</c:v>
                </c:pt>
                <c:pt idx="1954">
                  <c:v>0.99659255323592066</c:v>
                </c:pt>
                <c:pt idx="1955">
                  <c:v>0.99661638663447683</c:v>
                </c:pt>
                <c:pt idx="1956">
                  <c:v>0.99662427659639929</c:v>
                </c:pt>
                <c:pt idx="1957">
                  <c:v>0.99663215716103504</c:v>
                </c:pt>
                <c:pt idx="1958">
                  <c:v>0.9966399775830358</c:v>
                </c:pt>
                <c:pt idx="1959">
                  <c:v>0.9966477961255793</c:v>
                </c:pt>
                <c:pt idx="1960">
                  <c:v>0.99665558271734789</c:v>
                </c:pt>
                <c:pt idx="1961">
                  <c:v>0.99666334487617103</c:v>
                </c:pt>
                <c:pt idx="1962">
                  <c:v>0.99667109763770756</c:v>
                </c:pt>
                <c:pt idx="1963">
                  <c:v>0.99667884476087198</c:v>
                </c:pt>
                <c:pt idx="1964">
                  <c:v>0.99668658436620705</c:v>
                </c:pt>
                <c:pt idx="1965">
                  <c:v>0.99669430329751141</c:v>
                </c:pt>
                <c:pt idx="1966">
                  <c:v>0.99670201659044366</c:v>
                </c:pt>
                <c:pt idx="1967">
                  <c:v>0.99670972800391866</c:v>
                </c:pt>
                <c:pt idx="1968">
                  <c:v>0.99671743753793629</c:v>
                </c:pt>
                <c:pt idx="1969">
                  <c:v>0.99672513955412456</c:v>
                </c:pt>
                <c:pt idx="1970">
                  <c:v>0.99673281901682464</c:v>
                </c:pt>
                <c:pt idx="1971">
                  <c:v>0.9967404947206101</c:v>
                </c:pt>
                <c:pt idx="1972">
                  <c:v>0.9967481309557914</c:v>
                </c:pt>
                <c:pt idx="1973">
                  <c:v>0.99675573524019789</c:v>
                </c:pt>
                <c:pt idx="1974">
                  <c:v>0.99676330005600011</c:v>
                </c:pt>
                <c:pt idx="1975">
                  <c:v>0.99677081600591144</c:v>
                </c:pt>
                <c:pt idx="1976">
                  <c:v>0.99677833195582277</c:v>
                </c:pt>
                <c:pt idx="1977">
                  <c:v>0.99678584414681948</c:v>
                </c:pt>
                <c:pt idx="1978">
                  <c:v>0.99679335445835882</c:v>
                </c:pt>
                <c:pt idx="1979">
                  <c:v>0.99680083845749534</c:v>
                </c:pt>
                <c:pt idx="1980">
                  <c:v>0.99680831681825988</c:v>
                </c:pt>
                <c:pt idx="1981">
                  <c:v>0.99682322843281268</c:v>
                </c:pt>
                <c:pt idx="1982">
                  <c:v>0.99683065980714369</c:v>
                </c:pt>
                <c:pt idx="1983">
                  <c:v>0.99683807614581588</c:v>
                </c:pt>
                <c:pt idx="1984">
                  <c:v>0.996845458654256</c:v>
                </c:pt>
                <c:pt idx="1985">
                  <c:v>0.99685279229680512</c:v>
                </c:pt>
                <c:pt idx="1986">
                  <c:v>0.99686011090369553</c:v>
                </c:pt>
                <c:pt idx="1987">
                  <c:v>0.99686739004198177</c:v>
                </c:pt>
                <c:pt idx="1988">
                  <c:v>0.99687465038569456</c:v>
                </c:pt>
                <c:pt idx="1989">
                  <c:v>0.99688189569374863</c:v>
                </c:pt>
                <c:pt idx="1990">
                  <c:v>0.9968891410018027</c:v>
                </c:pt>
                <c:pt idx="1991">
                  <c:v>0.99689637879202742</c:v>
                </c:pt>
                <c:pt idx="1992">
                  <c:v>0.99690359214930668</c:v>
                </c:pt>
                <c:pt idx="1993">
                  <c:v>0.99691077543526851</c:v>
                </c:pt>
                <c:pt idx="1994">
                  <c:v>0.99691795872123035</c:v>
                </c:pt>
                <c:pt idx="1995">
                  <c:v>0.99692514200719218</c:v>
                </c:pt>
                <c:pt idx="1996">
                  <c:v>0.99693231025749529</c:v>
                </c:pt>
                <c:pt idx="1997">
                  <c:v>0.99693944279810887</c:v>
                </c:pt>
                <c:pt idx="1998">
                  <c:v>0.99694657533872244</c:v>
                </c:pt>
                <c:pt idx="1999">
                  <c:v>0.99696078403622923</c:v>
                </c:pt>
                <c:pt idx="2000">
                  <c:v>0.99696785455475045</c:v>
                </c:pt>
                <c:pt idx="2001">
                  <c:v>0.99697486117172207</c:v>
                </c:pt>
                <c:pt idx="2002">
                  <c:v>0.99698878607117036</c:v>
                </c:pt>
                <c:pt idx="2003">
                  <c:v>0.99699570811256155</c:v>
                </c:pt>
                <c:pt idx="2004">
                  <c:v>0.99700262639503812</c:v>
                </c:pt>
                <c:pt idx="2005">
                  <c:v>0.99700953152131322</c:v>
                </c:pt>
                <c:pt idx="2006">
                  <c:v>0.99701642912975896</c:v>
                </c:pt>
                <c:pt idx="2007">
                  <c:v>0.99702328914905791</c:v>
                </c:pt>
                <c:pt idx="2008">
                  <c:v>0.99703014728889949</c:v>
                </c:pt>
                <c:pt idx="2009">
                  <c:v>0.99703696032176492</c:v>
                </c:pt>
                <c:pt idx="2010">
                  <c:v>0.99704374704222754</c:v>
                </c:pt>
                <c:pt idx="2011">
                  <c:v>0.99705052060648869</c:v>
                </c:pt>
                <c:pt idx="2012">
                  <c:v>0.99705728853237785</c:v>
                </c:pt>
                <c:pt idx="2013">
                  <c:v>0.99706405269935239</c:v>
                </c:pt>
                <c:pt idx="2014">
                  <c:v>0.99707081686632693</c:v>
                </c:pt>
                <c:pt idx="2015">
                  <c:v>0.99707757727438673</c:v>
                </c:pt>
                <c:pt idx="2016">
                  <c:v>0.99708433392353191</c:v>
                </c:pt>
                <c:pt idx="2017">
                  <c:v>0.99709108305484762</c:v>
                </c:pt>
                <c:pt idx="2018">
                  <c:v>0.99709782278887671</c:v>
                </c:pt>
                <c:pt idx="2019">
                  <c:v>0.99711128910073343</c:v>
                </c:pt>
                <c:pt idx="2020">
                  <c:v>0.99711798936615825</c:v>
                </c:pt>
                <c:pt idx="2021">
                  <c:v>0.99712468211375371</c:v>
                </c:pt>
                <c:pt idx="2022">
                  <c:v>0.99713136358460519</c:v>
                </c:pt>
                <c:pt idx="2023">
                  <c:v>0.99713802250196848</c:v>
                </c:pt>
                <c:pt idx="2024">
                  <c:v>0.99714465698638632</c:v>
                </c:pt>
                <c:pt idx="2025">
                  <c:v>0.99715128959134691</c:v>
                </c:pt>
                <c:pt idx="2026">
                  <c:v>0.99715791279902077</c:v>
                </c:pt>
                <c:pt idx="2027">
                  <c:v>0.99716452660940791</c:v>
                </c:pt>
                <c:pt idx="2028">
                  <c:v>0.99717113854033768</c:v>
                </c:pt>
                <c:pt idx="2029">
                  <c:v>0.99717772979723673</c:v>
                </c:pt>
                <c:pt idx="2030">
                  <c:v>0.99718429662119035</c:v>
                </c:pt>
                <c:pt idx="2031">
                  <c:v>0.99719085968622923</c:v>
                </c:pt>
                <c:pt idx="2032">
                  <c:v>0.9971974227512681</c:v>
                </c:pt>
                <c:pt idx="2033">
                  <c:v>0.99720396702173353</c:v>
                </c:pt>
                <c:pt idx="2034">
                  <c:v>0.9972104981359976</c:v>
                </c:pt>
                <c:pt idx="2035">
                  <c:v>0.99721701609406033</c:v>
                </c:pt>
                <c:pt idx="2036">
                  <c:v>0.99722352089592159</c:v>
                </c:pt>
                <c:pt idx="2037">
                  <c:v>0.99722994300165979</c:v>
                </c:pt>
                <c:pt idx="2038">
                  <c:v>0.99723636322794063</c:v>
                </c:pt>
                <c:pt idx="2039">
                  <c:v>0.9972427815747642</c:v>
                </c:pt>
                <c:pt idx="2040">
                  <c:v>0.99725560699166715</c:v>
                </c:pt>
                <c:pt idx="2041">
                  <c:v>0.99726200278500254</c:v>
                </c:pt>
                <c:pt idx="2042">
                  <c:v>0.99726837790430722</c:v>
                </c:pt>
                <c:pt idx="2043">
                  <c:v>0.99727474550578254</c:v>
                </c:pt>
                <c:pt idx="2044">
                  <c:v>0.9972810999510564</c:v>
                </c:pt>
                <c:pt idx="2045">
                  <c:v>0.99728742244555546</c:v>
                </c:pt>
                <c:pt idx="2046">
                  <c:v>0.99729373742222516</c:v>
                </c:pt>
                <c:pt idx="2047">
                  <c:v>0.99730000541246133</c:v>
                </c:pt>
                <c:pt idx="2048">
                  <c:v>0.99730625460812405</c:v>
                </c:pt>
                <c:pt idx="2049">
                  <c:v>0.99731248876812806</c:v>
                </c:pt>
                <c:pt idx="2050">
                  <c:v>0.99731872104867469</c:v>
                </c:pt>
                <c:pt idx="2051">
                  <c:v>0.99732492701681852</c:v>
                </c:pt>
                <c:pt idx="2052">
                  <c:v>0.99733113110550509</c:v>
                </c:pt>
                <c:pt idx="2053">
                  <c:v>0.99733729384613012</c:v>
                </c:pt>
                <c:pt idx="2054">
                  <c:v>0.9973434490689258</c:v>
                </c:pt>
                <c:pt idx="2055">
                  <c:v>0.99734960053280675</c:v>
                </c:pt>
                <c:pt idx="2056">
                  <c:v>0.99735575011723032</c:v>
                </c:pt>
                <c:pt idx="2057">
                  <c:v>0.99736189030436717</c:v>
                </c:pt>
                <c:pt idx="2058">
                  <c:v>0.99736803049150402</c:v>
                </c:pt>
                <c:pt idx="2059">
                  <c:v>0.99737415376352478</c:v>
                </c:pt>
                <c:pt idx="2060">
                  <c:v>0.99738026951771619</c:v>
                </c:pt>
                <c:pt idx="2061">
                  <c:v>0.99738635332113279</c:v>
                </c:pt>
                <c:pt idx="2062">
                  <c:v>0.99739238262028651</c:v>
                </c:pt>
                <c:pt idx="2063">
                  <c:v>0.99739841003998286</c:v>
                </c:pt>
                <c:pt idx="2064">
                  <c:v>0.99740442994184986</c:v>
                </c:pt>
                <c:pt idx="2065">
                  <c:v>0.99741041789294205</c:v>
                </c:pt>
                <c:pt idx="2066">
                  <c:v>0.99741639832620488</c:v>
                </c:pt>
                <c:pt idx="2067">
                  <c:v>0.99742236936218098</c:v>
                </c:pt>
                <c:pt idx="2068">
                  <c:v>0.99742831596521164</c:v>
                </c:pt>
                <c:pt idx="2069">
                  <c:v>0.99743420806397942</c:v>
                </c:pt>
                <c:pt idx="2070">
                  <c:v>0.99744009076546047</c:v>
                </c:pt>
                <c:pt idx="2071">
                  <c:v>0.9974459640696548</c:v>
                </c:pt>
                <c:pt idx="2072">
                  <c:v>0.9974518279765624</c:v>
                </c:pt>
                <c:pt idx="2073">
                  <c:v>0.99745768812455526</c:v>
                </c:pt>
                <c:pt idx="2074">
                  <c:v>0.9974635445136335</c:v>
                </c:pt>
                <c:pt idx="2075">
                  <c:v>0.99746939902325438</c:v>
                </c:pt>
                <c:pt idx="2076">
                  <c:v>0.99747524601504589</c:v>
                </c:pt>
                <c:pt idx="2077">
                  <c:v>0.99748108736846541</c:v>
                </c:pt>
                <c:pt idx="2078">
                  <c:v>0.99748692872188494</c:v>
                </c:pt>
                <c:pt idx="2079">
                  <c:v>0.997492751280731</c:v>
                </c:pt>
                <c:pt idx="2080">
                  <c:v>0.99750436632710571</c:v>
                </c:pt>
                <c:pt idx="2081">
                  <c:v>0.99751015693517697</c:v>
                </c:pt>
                <c:pt idx="2082">
                  <c:v>0.99751594190487625</c:v>
                </c:pt>
                <c:pt idx="2083">
                  <c:v>0.99752172687457552</c:v>
                </c:pt>
                <c:pt idx="2084">
                  <c:v>0.99752749304970134</c:v>
                </c:pt>
                <c:pt idx="2085">
                  <c:v>0.99753889947631103</c:v>
                </c:pt>
                <c:pt idx="2086">
                  <c:v>0.99754459235260051</c:v>
                </c:pt>
                <c:pt idx="2087">
                  <c:v>0.99755025891648719</c:v>
                </c:pt>
                <c:pt idx="2088">
                  <c:v>0.9975559123241724</c:v>
                </c:pt>
                <c:pt idx="2089">
                  <c:v>0.99756155821402825</c:v>
                </c:pt>
                <c:pt idx="2090">
                  <c:v>0.99756718530931077</c:v>
                </c:pt>
                <c:pt idx="2091">
                  <c:v>0.99757280676622118</c:v>
                </c:pt>
                <c:pt idx="2092">
                  <c:v>0.99758403840329812</c:v>
                </c:pt>
                <c:pt idx="2093">
                  <c:v>0.99758965046292192</c:v>
                </c:pt>
                <c:pt idx="2094">
                  <c:v>0.99759525124580162</c:v>
                </c:pt>
                <c:pt idx="2095">
                  <c:v>0.99760084826976658</c:v>
                </c:pt>
                <c:pt idx="2096">
                  <c:v>0.99760643025807283</c:v>
                </c:pt>
                <c:pt idx="2097">
                  <c:v>0.99761199909017773</c:v>
                </c:pt>
                <c:pt idx="2098">
                  <c:v>0.99761756228391052</c:v>
                </c:pt>
                <c:pt idx="2099">
                  <c:v>0.99762309916524061</c:v>
                </c:pt>
                <c:pt idx="2100">
                  <c:v>0.99763961583636362</c:v>
                </c:pt>
                <c:pt idx="2101">
                  <c:v>0.99764509257505873</c:v>
                </c:pt>
                <c:pt idx="2102">
                  <c:v>0.99765056367538185</c:v>
                </c:pt>
                <c:pt idx="2103">
                  <c:v>0.99765601786058888</c:v>
                </c:pt>
                <c:pt idx="2104">
                  <c:v>0.99766147016633855</c:v>
                </c:pt>
                <c:pt idx="2105">
                  <c:v>0.99766691683371622</c:v>
                </c:pt>
                <c:pt idx="2106">
                  <c:v>0.99767236162163653</c:v>
                </c:pt>
                <c:pt idx="2107">
                  <c:v>0.99767779701227011</c:v>
                </c:pt>
                <c:pt idx="2108">
                  <c:v>0.99768323052344632</c:v>
                </c:pt>
                <c:pt idx="2109">
                  <c:v>0.99768866215516516</c:v>
                </c:pt>
                <c:pt idx="2110">
                  <c:v>0.99769408814851201</c:v>
                </c:pt>
                <c:pt idx="2111">
                  <c:v>0.9976995122624015</c:v>
                </c:pt>
                <c:pt idx="2112">
                  <c:v>0.99770493637629099</c:v>
                </c:pt>
                <c:pt idx="2113">
                  <c:v>0.99771035673126585</c:v>
                </c:pt>
                <c:pt idx="2114">
                  <c:v>0.99771576017112462</c:v>
                </c:pt>
                <c:pt idx="2115">
                  <c:v>0.99772110346834841</c:v>
                </c:pt>
                <c:pt idx="2116">
                  <c:v>0.99772643924774285</c:v>
                </c:pt>
                <c:pt idx="2117">
                  <c:v>0.99773177126822266</c:v>
                </c:pt>
                <c:pt idx="2118">
                  <c:v>0.99773709389141574</c:v>
                </c:pt>
                <c:pt idx="2119">
                  <c:v>0.99774239396112063</c:v>
                </c:pt>
                <c:pt idx="2120">
                  <c:v>0.9977476902719109</c:v>
                </c:pt>
                <c:pt idx="2121">
                  <c:v>0.99775298094432918</c:v>
                </c:pt>
                <c:pt idx="2122">
                  <c:v>0.99775826221946073</c:v>
                </c:pt>
                <c:pt idx="2123">
                  <c:v>0.99776354161513492</c:v>
                </c:pt>
                <c:pt idx="2124">
                  <c:v>0.99776881537243711</c:v>
                </c:pt>
                <c:pt idx="2125">
                  <c:v>0.99777407221462322</c:v>
                </c:pt>
                <c:pt idx="2126">
                  <c:v>0.99777932905680933</c:v>
                </c:pt>
                <c:pt idx="2127">
                  <c:v>0.99778457838116608</c:v>
                </c:pt>
                <c:pt idx="2128">
                  <c:v>0.99778982770552282</c:v>
                </c:pt>
                <c:pt idx="2129">
                  <c:v>0.9977950695120501</c:v>
                </c:pt>
                <c:pt idx="2130">
                  <c:v>0.99780030568020539</c:v>
                </c:pt>
                <c:pt idx="2131">
                  <c:v>0.99780550425921388</c:v>
                </c:pt>
                <c:pt idx="2132">
                  <c:v>0.99781070095876501</c:v>
                </c:pt>
                <c:pt idx="2133">
                  <c:v>0.99781589201994414</c:v>
                </c:pt>
                <c:pt idx="2134">
                  <c:v>0.99782105113034847</c:v>
                </c:pt>
                <c:pt idx="2135">
                  <c:v>0.99782618956672198</c:v>
                </c:pt>
                <c:pt idx="2136">
                  <c:v>0.99783130732906478</c:v>
                </c:pt>
                <c:pt idx="2137">
                  <c:v>0.99783641005574875</c:v>
                </c:pt>
                <c:pt idx="2138">
                  <c:v>0.99784657040214053</c:v>
                </c:pt>
                <c:pt idx="2139">
                  <c:v>0.99785163178076297</c:v>
                </c:pt>
                <c:pt idx="2140">
                  <c:v>0.99786173198451988</c:v>
                </c:pt>
                <c:pt idx="2141">
                  <c:v>0.99786676517128226</c:v>
                </c:pt>
                <c:pt idx="2142">
                  <c:v>0.99787179459912989</c:v>
                </c:pt>
                <c:pt idx="2143">
                  <c:v>0.99787681275023354</c:v>
                </c:pt>
                <c:pt idx="2144">
                  <c:v>0.99788182150405047</c:v>
                </c:pt>
                <c:pt idx="2145">
                  <c:v>0.99788682086058067</c:v>
                </c:pt>
                <c:pt idx="2146">
                  <c:v>0.99789181457873888</c:v>
                </c:pt>
                <c:pt idx="2147">
                  <c:v>0.99789680829689709</c:v>
                </c:pt>
                <c:pt idx="2148">
                  <c:v>0.99790178509993921</c:v>
                </c:pt>
                <c:pt idx="2149">
                  <c:v>0.99790675062623724</c:v>
                </c:pt>
                <c:pt idx="2150">
                  <c:v>0.99791170299633392</c:v>
                </c:pt>
                <c:pt idx="2151">
                  <c:v>0.99791665536643059</c:v>
                </c:pt>
                <c:pt idx="2152">
                  <c:v>0.99792159458032581</c:v>
                </c:pt>
                <c:pt idx="2153">
                  <c:v>0.99793146736974425</c:v>
                </c:pt>
                <c:pt idx="2154">
                  <c:v>0.99793639342743812</c:v>
                </c:pt>
                <c:pt idx="2155">
                  <c:v>0.99794128565489981</c:v>
                </c:pt>
                <c:pt idx="2156">
                  <c:v>0.99794617036453215</c:v>
                </c:pt>
                <c:pt idx="2157">
                  <c:v>0.99795105507416448</c:v>
                </c:pt>
                <c:pt idx="2158">
                  <c:v>0.99795592286868073</c:v>
                </c:pt>
                <c:pt idx="2159">
                  <c:v>0.99796078878373962</c:v>
                </c:pt>
                <c:pt idx="2160">
                  <c:v>0.99796563778368241</c:v>
                </c:pt>
                <c:pt idx="2161">
                  <c:v>0.99797048490416784</c:v>
                </c:pt>
                <c:pt idx="2162">
                  <c:v>0.99797532262736666</c:v>
                </c:pt>
                <c:pt idx="2163">
                  <c:v>0.99798014907382138</c:v>
                </c:pt>
                <c:pt idx="2164">
                  <c:v>0.9979849698819041</c:v>
                </c:pt>
                <c:pt idx="2165">
                  <c:v>0.99798977001595601</c:v>
                </c:pt>
                <c:pt idx="2166">
                  <c:v>0.99799930262359549</c:v>
                </c:pt>
                <c:pt idx="2167">
                  <c:v>0.99800405201229914</c:v>
                </c:pt>
                <c:pt idx="2168">
                  <c:v>0.99800879764208816</c:v>
                </c:pt>
                <c:pt idx="2169">
                  <c:v>0.998013520718389</c:v>
                </c:pt>
                <c:pt idx="2170">
                  <c:v>0.99801823815631785</c:v>
                </c:pt>
                <c:pt idx="2171">
                  <c:v>0.99802764484031548</c:v>
                </c:pt>
                <c:pt idx="2172">
                  <c:v>0.99803233972475625</c:v>
                </c:pt>
                <c:pt idx="2173">
                  <c:v>0.99804170506069234</c:v>
                </c:pt>
                <c:pt idx="2174">
                  <c:v>0.99804638303001703</c:v>
                </c:pt>
                <c:pt idx="2175">
                  <c:v>0.99805104408422562</c:v>
                </c:pt>
                <c:pt idx="2176">
                  <c:v>0.99806035491589884</c:v>
                </c:pt>
                <c:pt idx="2177">
                  <c:v>0.99806500657282071</c:v>
                </c:pt>
                <c:pt idx="2178">
                  <c:v>0.99806965447082796</c:v>
                </c:pt>
                <c:pt idx="2179">
                  <c:v>0.99807429673046311</c:v>
                </c:pt>
                <c:pt idx="2180">
                  <c:v>0.998078937110641</c:v>
                </c:pt>
                <c:pt idx="2181">
                  <c:v>0.99809282817985701</c:v>
                </c:pt>
                <c:pt idx="2182">
                  <c:v>0.99809744412708934</c:v>
                </c:pt>
                <c:pt idx="2183">
                  <c:v>0.99810204691812032</c:v>
                </c:pt>
                <c:pt idx="2184">
                  <c:v>0.99810664407077931</c:v>
                </c:pt>
                <c:pt idx="2185">
                  <c:v>0.99811122054940749</c:v>
                </c:pt>
                <c:pt idx="2186">
                  <c:v>0.99811579326912103</c:v>
                </c:pt>
                <c:pt idx="2187">
                  <c:v>0.99812036598883458</c:v>
                </c:pt>
                <c:pt idx="2188">
                  <c:v>0.99812492179343204</c:v>
                </c:pt>
                <c:pt idx="2189">
                  <c:v>0.99812945692399868</c:v>
                </c:pt>
                <c:pt idx="2190">
                  <c:v>0.99813398077782134</c:v>
                </c:pt>
                <c:pt idx="2191">
                  <c:v>0.998138504631644</c:v>
                </c:pt>
                <c:pt idx="2192">
                  <c:v>0.99814302472655192</c:v>
                </c:pt>
                <c:pt idx="2193">
                  <c:v>0.99814753918308785</c:v>
                </c:pt>
                <c:pt idx="2194">
                  <c:v>0.99815205176016641</c:v>
                </c:pt>
                <c:pt idx="2195">
                  <c:v>0.9981565417837569</c:v>
                </c:pt>
                <c:pt idx="2196">
                  <c:v>0.99816545792938816</c:v>
                </c:pt>
                <c:pt idx="2197">
                  <c:v>0.99816988405142903</c:v>
                </c:pt>
                <c:pt idx="2198">
                  <c:v>0.99817430829401255</c:v>
                </c:pt>
                <c:pt idx="2199">
                  <c:v>0.99817871186256524</c:v>
                </c:pt>
                <c:pt idx="2200">
                  <c:v>0.99818309287762985</c:v>
                </c:pt>
                <c:pt idx="2201">
                  <c:v>0.99818747389269447</c:v>
                </c:pt>
                <c:pt idx="2202">
                  <c:v>0.99819183987210036</c:v>
                </c:pt>
                <c:pt idx="2203">
                  <c:v>0.9981961926953048</c:v>
                </c:pt>
                <c:pt idx="2204">
                  <c:v>0.99820053800067987</c:v>
                </c:pt>
                <c:pt idx="2205">
                  <c:v>0.99820487954714032</c:v>
                </c:pt>
                <c:pt idx="2206">
                  <c:v>0.99820921357577141</c:v>
                </c:pt>
                <c:pt idx="2207">
                  <c:v>0.99821353444820105</c:v>
                </c:pt>
                <c:pt idx="2208">
                  <c:v>0.99821784404388669</c:v>
                </c:pt>
                <c:pt idx="2209">
                  <c:v>0.99822213484499889</c:v>
                </c:pt>
                <c:pt idx="2210">
                  <c:v>0.99822641248990973</c:v>
                </c:pt>
                <c:pt idx="2211">
                  <c:v>0.99823068637590584</c:v>
                </c:pt>
                <c:pt idx="2212">
                  <c:v>0.99823495274407259</c:v>
                </c:pt>
                <c:pt idx="2213">
                  <c:v>0.99823920971495261</c:v>
                </c:pt>
                <c:pt idx="2214">
                  <c:v>0.99824346292691801</c:v>
                </c:pt>
                <c:pt idx="2215">
                  <c:v>0.99824770674159669</c:v>
                </c:pt>
                <c:pt idx="2216">
                  <c:v>0.998251943038446</c:v>
                </c:pt>
                <c:pt idx="2217">
                  <c:v>0.99825616805855122</c:v>
                </c:pt>
                <c:pt idx="2218">
                  <c:v>0.99826038180191234</c:v>
                </c:pt>
                <c:pt idx="2219">
                  <c:v>0.99826457675070013</c:v>
                </c:pt>
                <c:pt idx="2220">
                  <c:v>0.99826876982003054</c:v>
                </c:pt>
                <c:pt idx="2221">
                  <c:v>0.99827296100990359</c:v>
                </c:pt>
                <c:pt idx="2222">
                  <c:v>0.99828131895670424</c:v>
                </c:pt>
                <c:pt idx="2223">
                  <c:v>0.99829380607128571</c:v>
                </c:pt>
                <c:pt idx="2224">
                  <c:v>0.99829796343092658</c:v>
                </c:pt>
                <c:pt idx="2225">
                  <c:v>0.9983021132727381</c:v>
                </c:pt>
                <c:pt idx="2226">
                  <c:v>0.99830626123509225</c:v>
                </c:pt>
                <c:pt idx="2227">
                  <c:v>0.99831455340088593</c:v>
                </c:pt>
                <c:pt idx="2228">
                  <c:v>0.99831869572486809</c:v>
                </c:pt>
                <c:pt idx="2229">
                  <c:v>0.99832283241047826</c:v>
                </c:pt>
                <c:pt idx="2230">
                  <c:v>0.99832696533717369</c:v>
                </c:pt>
                <c:pt idx="2231">
                  <c:v>0.99833109262549713</c:v>
                </c:pt>
                <c:pt idx="2232">
                  <c:v>0.9983352180343632</c:v>
                </c:pt>
                <c:pt idx="2233">
                  <c:v>0.99834344817806464</c:v>
                </c:pt>
                <c:pt idx="2234">
                  <c:v>0.99834755667181463</c:v>
                </c:pt>
                <c:pt idx="2235">
                  <c:v>0.99835165952719263</c:v>
                </c:pt>
                <c:pt idx="2236">
                  <c:v>0.99835575674419852</c:v>
                </c:pt>
                <c:pt idx="2237">
                  <c:v>0.99836394178092369</c:v>
                </c:pt>
                <c:pt idx="2238">
                  <c:v>0.99837212305873413</c:v>
                </c:pt>
                <c:pt idx="2239">
                  <c:v>0.99837619772225195</c:v>
                </c:pt>
                <c:pt idx="2240">
                  <c:v>0.99838026110902578</c:v>
                </c:pt>
                <c:pt idx="2241">
                  <c:v>0.99838432073688488</c:v>
                </c:pt>
                <c:pt idx="2242">
                  <c:v>0.99838838036474398</c:v>
                </c:pt>
                <c:pt idx="2243">
                  <c:v>0.99839243999260308</c:v>
                </c:pt>
                <c:pt idx="2244">
                  <c:v>0.99839649398209018</c:v>
                </c:pt>
                <c:pt idx="2245">
                  <c:v>0.99840053481537583</c:v>
                </c:pt>
                <c:pt idx="2246">
                  <c:v>0.99840457376920422</c:v>
                </c:pt>
                <c:pt idx="2247">
                  <c:v>0.99841264227957416</c:v>
                </c:pt>
                <c:pt idx="2248">
                  <c:v>0.99842068447754129</c:v>
                </c:pt>
                <c:pt idx="2249">
                  <c:v>0.9984246952395095</c:v>
                </c:pt>
                <c:pt idx="2250">
                  <c:v>0.99842868532744689</c:v>
                </c:pt>
                <c:pt idx="2251">
                  <c:v>0.99843267541538427</c:v>
                </c:pt>
                <c:pt idx="2252">
                  <c:v>0.99843665610603505</c:v>
                </c:pt>
                <c:pt idx="2253">
                  <c:v>0.99844063303777109</c:v>
                </c:pt>
                <c:pt idx="2254">
                  <c:v>0.9984446005722204</c:v>
                </c:pt>
                <c:pt idx="2255">
                  <c:v>0.99844856622721234</c:v>
                </c:pt>
                <c:pt idx="2256">
                  <c:v>0.99845252436437493</c:v>
                </c:pt>
                <c:pt idx="2257">
                  <c:v>0.99845648062208026</c:v>
                </c:pt>
                <c:pt idx="2258">
                  <c:v>0.99846042184412676</c:v>
                </c:pt>
                <c:pt idx="2259">
                  <c:v>0.99846828549364641</c:v>
                </c:pt>
                <c:pt idx="2260">
                  <c:v>0.99847220040329021</c:v>
                </c:pt>
                <c:pt idx="2261">
                  <c:v>0.99847611155401927</c:v>
                </c:pt>
                <c:pt idx="2262">
                  <c:v>0.99848000954854699</c:v>
                </c:pt>
                <c:pt idx="2263">
                  <c:v>0.99848390002524534</c:v>
                </c:pt>
                <c:pt idx="2264">
                  <c:v>0.99848778110465697</c:v>
                </c:pt>
                <c:pt idx="2265">
                  <c:v>0.99849166030461123</c:v>
                </c:pt>
                <c:pt idx="2266">
                  <c:v>0.99849553574565075</c:v>
                </c:pt>
                <c:pt idx="2267">
                  <c:v>0.99849940366886092</c:v>
                </c:pt>
                <c:pt idx="2268">
                  <c:v>0.99850326407424173</c:v>
                </c:pt>
                <c:pt idx="2269">
                  <c:v>0.99850711884125054</c:v>
                </c:pt>
                <c:pt idx="2270">
                  <c:v>0.99851480206286536</c:v>
                </c:pt>
                <c:pt idx="2271">
                  <c:v>0.99851864179421546</c:v>
                </c:pt>
                <c:pt idx="2272">
                  <c:v>0.99852245333370537</c:v>
                </c:pt>
                <c:pt idx="2273">
                  <c:v>0.99852624231970721</c:v>
                </c:pt>
                <c:pt idx="2274">
                  <c:v>0.99853002566733706</c:v>
                </c:pt>
                <c:pt idx="2275">
                  <c:v>0.99853378834093609</c:v>
                </c:pt>
                <c:pt idx="2276">
                  <c:v>0.99853753034050441</c:v>
                </c:pt>
                <c:pt idx="2277">
                  <c:v>0.99854127234007273</c:v>
                </c:pt>
                <c:pt idx="2278">
                  <c:v>0.99854501246018368</c:v>
                </c:pt>
                <c:pt idx="2279">
                  <c:v>0.99854874694192264</c:v>
                </c:pt>
                <c:pt idx="2280">
                  <c:v>0.99855247202637487</c:v>
                </c:pt>
                <c:pt idx="2281">
                  <c:v>0.99855619523136974</c:v>
                </c:pt>
                <c:pt idx="2282">
                  <c:v>0.99855990715962051</c:v>
                </c:pt>
                <c:pt idx="2283">
                  <c:v>0.99856361532895666</c:v>
                </c:pt>
                <c:pt idx="2284">
                  <c:v>0.99857096024824987</c:v>
                </c:pt>
                <c:pt idx="2285">
                  <c:v>0.99857462143115239</c:v>
                </c:pt>
                <c:pt idx="2286">
                  <c:v>0.99857827885514028</c:v>
                </c:pt>
                <c:pt idx="2287">
                  <c:v>0.9985819343996708</c:v>
                </c:pt>
                <c:pt idx="2288">
                  <c:v>0.99858557678799997</c:v>
                </c:pt>
                <c:pt idx="2289">
                  <c:v>0.99858921541741441</c:v>
                </c:pt>
                <c:pt idx="2290">
                  <c:v>0.99859284652899949</c:v>
                </c:pt>
                <c:pt idx="2291">
                  <c:v>0.99859645132818176</c:v>
                </c:pt>
                <c:pt idx="2292">
                  <c:v>0.99860004485062004</c:v>
                </c:pt>
                <c:pt idx="2293">
                  <c:v>0.99860720182417906</c:v>
                </c:pt>
                <c:pt idx="2294">
                  <c:v>0.99861076715475716</c:v>
                </c:pt>
                <c:pt idx="2295">
                  <c:v>0.99861432308804854</c:v>
                </c:pt>
                <c:pt idx="2296">
                  <c:v>0.99861787902133992</c:v>
                </c:pt>
                <c:pt idx="2297">
                  <c:v>0.99862142367788731</c:v>
                </c:pt>
                <c:pt idx="2298">
                  <c:v>0.9986354932955509</c:v>
                </c:pt>
                <c:pt idx="2299">
                  <c:v>0.9986389834478353</c:v>
                </c:pt>
                <c:pt idx="2300">
                  <c:v>0.99864246984120508</c:v>
                </c:pt>
                <c:pt idx="2301">
                  <c:v>0.99864595435511749</c:v>
                </c:pt>
                <c:pt idx="2302">
                  <c:v>0.99864943135120054</c:v>
                </c:pt>
                <c:pt idx="2303">
                  <c:v>0.99865290270891149</c:v>
                </c:pt>
                <c:pt idx="2304">
                  <c:v>0.99865634587476237</c:v>
                </c:pt>
                <c:pt idx="2305">
                  <c:v>0.99865977212549717</c:v>
                </c:pt>
                <c:pt idx="2306">
                  <c:v>0.9986631964967746</c:v>
                </c:pt>
                <c:pt idx="2307">
                  <c:v>0.99867002456529874</c:v>
                </c:pt>
                <c:pt idx="2308">
                  <c:v>0.99867343578037482</c:v>
                </c:pt>
                <c:pt idx="2309">
                  <c:v>0.9986768357187068</c:v>
                </c:pt>
                <c:pt idx="2310">
                  <c:v>0.99868022625975206</c:v>
                </c:pt>
                <c:pt idx="2311">
                  <c:v>0.99869036405265577</c:v>
                </c:pt>
                <c:pt idx="2312">
                  <c:v>0.99869373579912768</c:v>
                </c:pt>
                <c:pt idx="2313">
                  <c:v>0.99870044734129659</c:v>
                </c:pt>
                <c:pt idx="2314">
                  <c:v>0.99870377773970698</c:v>
                </c:pt>
                <c:pt idx="2315">
                  <c:v>0.99870709874083063</c:v>
                </c:pt>
                <c:pt idx="2316">
                  <c:v>0.99871041410358219</c:v>
                </c:pt>
                <c:pt idx="2317">
                  <c:v>0.99871702227559733</c:v>
                </c:pt>
                <c:pt idx="2318">
                  <c:v>0.99872357594334948</c:v>
                </c:pt>
                <c:pt idx="2319">
                  <c:v>0.99873012021381502</c:v>
                </c:pt>
                <c:pt idx="2320">
                  <c:v>0.99873338671067569</c:v>
                </c:pt>
                <c:pt idx="2321">
                  <c:v>0.99873990278928104</c:v>
                </c:pt>
                <c:pt idx="2322">
                  <c:v>0.99874315049156837</c:v>
                </c:pt>
                <c:pt idx="2323">
                  <c:v>0.99874639443494095</c:v>
                </c:pt>
                <c:pt idx="2324">
                  <c:v>0.99874963649885617</c:v>
                </c:pt>
                <c:pt idx="2325">
                  <c:v>0.99875286916548467</c:v>
                </c:pt>
                <c:pt idx="2326">
                  <c:v>0.9987560943142838</c:v>
                </c:pt>
                <c:pt idx="2327">
                  <c:v>0.99875930254796685</c:v>
                </c:pt>
                <c:pt idx="2328">
                  <c:v>0.9987625107816499</c:v>
                </c:pt>
                <c:pt idx="2329">
                  <c:v>0.99876571525641833</c:v>
                </c:pt>
                <c:pt idx="2330">
                  <c:v>0.99876891973118676</c:v>
                </c:pt>
                <c:pt idx="2331">
                  <c:v>0.99877212420595518</c:v>
                </c:pt>
                <c:pt idx="2332">
                  <c:v>0.99877532868072361</c:v>
                </c:pt>
                <c:pt idx="2333">
                  <c:v>0.99877852751712004</c:v>
                </c:pt>
                <c:pt idx="2334">
                  <c:v>0.99878489323913799</c:v>
                </c:pt>
                <c:pt idx="2335">
                  <c:v>0.99878806576313162</c:v>
                </c:pt>
                <c:pt idx="2336">
                  <c:v>0.99879121009526506</c:v>
                </c:pt>
                <c:pt idx="2337">
                  <c:v>0.99879434878902651</c:v>
                </c:pt>
                <c:pt idx="2338">
                  <c:v>0.99879748748278796</c:v>
                </c:pt>
                <c:pt idx="2339">
                  <c:v>0.99880061677926268</c:v>
                </c:pt>
                <c:pt idx="2340">
                  <c:v>0.99880685845709605</c:v>
                </c:pt>
                <c:pt idx="2341">
                  <c:v>0.99880997271791205</c:v>
                </c:pt>
                <c:pt idx="2342">
                  <c:v>0.99881308509927069</c:v>
                </c:pt>
                <c:pt idx="2343">
                  <c:v>0.99881619560117196</c:v>
                </c:pt>
                <c:pt idx="2344">
                  <c:v>0.99881929858524388</c:v>
                </c:pt>
                <c:pt idx="2345">
                  <c:v>0.99882237337745572</c:v>
                </c:pt>
                <c:pt idx="2346">
                  <c:v>0.99882544816966756</c:v>
                </c:pt>
                <c:pt idx="2347">
                  <c:v>0.99882851168513531</c:v>
                </c:pt>
                <c:pt idx="2348">
                  <c:v>0.99883157332114569</c:v>
                </c:pt>
                <c:pt idx="2349">
                  <c:v>0.99883463119824145</c:v>
                </c:pt>
                <c:pt idx="2350">
                  <c:v>0.99883768719587984</c:v>
                </c:pt>
                <c:pt idx="2351">
                  <c:v>0.9988407394346035</c:v>
                </c:pt>
                <c:pt idx="2352">
                  <c:v>0.99884378415549779</c:v>
                </c:pt>
                <c:pt idx="2353">
                  <c:v>0.99884682699693472</c:v>
                </c:pt>
                <c:pt idx="2354">
                  <c:v>0.99884986795891439</c:v>
                </c:pt>
                <c:pt idx="2355">
                  <c:v>0.99885289764414997</c:v>
                </c:pt>
                <c:pt idx="2356">
                  <c:v>0.99885892694330369</c:v>
                </c:pt>
                <c:pt idx="2357">
                  <c:v>0.9988619284366792</c:v>
                </c:pt>
                <c:pt idx="2358">
                  <c:v>0.99886491301493863</c:v>
                </c:pt>
                <c:pt idx="2359">
                  <c:v>0.99886789571374068</c:v>
                </c:pt>
                <c:pt idx="2360">
                  <c:v>0.99887087841254274</c:v>
                </c:pt>
                <c:pt idx="2361">
                  <c:v>0.99887385547297269</c:v>
                </c:pt>
                <c:pt idx="2362">
                  <c:v>0.99887980019654599</c:v>
                </c:pt>
                <c:pt idx="2363">
                  <c:v>0.99888275658294523</c:v>
                </c:pt>
                <c:pt idx="2364">
                  <c:v>0.99888571108988711</c:v>
                </c:pt>
                <c:pt idx="2365">
                  <c:v>0.99888865807899963</c:v>
                </c:pt>
                <c:pt idx="2366">
                  <c:v>0.99889158815299606</c:v>
                </c:pt>
                <c:pt idx="2367">
                  <c:v>0.99889451634753512</c:v>
                </c:pt>
                <c:pt idx="2368">
                  <c:v>0.99890035958041201</c:v>
                </c:pt>
                <c:pt idx="2369">
                  <c:v>0.99890327085983499</c:v>
                </c:pt>
                <c:pt idx="2370">
                  <c:v>0.99890617838034335</c:v>
                </c:pt>
                <c:pt idx="2371">
                  <c:v>0.99890908402139433</c:v>
                </c:pt>
                <c:pt idx="2372">
                  <c:v>0.99891198402407333</c:v>
                </c:pt>
                <c:pt idx="2373">
                  <c:v>0.99891488026783759</c:v>
                </c:pt>
                <c:pt idx="2374">
                  <c:v>0.9989177633554005</c:v>
                </c:pt>
                <c:pt idx="2375">
                  <c:v>0.99892064268404868</c:v>
                </c:pt>
                <c:pt idx="2376">
                  <c:v>0.99892637878785706</c:v>
                </c:pt>
                <c:pt idx="2377">
                  <c:v>0.99892924683976125</c:v>
                </c:pt>
                <c:pt idx="2378">
                  <c:v>0.99893210361492135</c:v>
                </c:pt>
                <c:pt idx="2379">
                  <c:v>0.9989349472338801</c:v>
                </c:pt>
                <c:pt idx="2380">
                  <c:v>0.99893777205826539</c:v>
                </c:pt>
                <c:pt idx="2381">
                  <c:v>0.9989405912442787</c:v>
                </c:pt>
                <c:pt idx="2382">
                  <c:v>0.998943410430292</c:v>
                </c:pt>
                <c:pt idx="2383">
                  <c:v>0.99894901309262907</c:v>
                </c:pt>
                <c:pt idx="2384">
                  <c:v>0.99895180596623956</c:v>
                </c:pt>
                <c:pt idx="2385">
                  <c:v>0.99895459508093531</c:v>
                </c:pt>
                <c:pt idx="2386">
                  <c:v>0.99895737291888709</c:v>
                </c:pt>
                <c:pt idx="2387">
                  <c:v>0.99896014887738149</c:v>
                </c:pt>
                <c:pt idx="2388">
                  <c:v>0.99896291919750391</c:v>
                </c:pt>
                <c:pt idx="2389">
                  <c:v>0.99896568763816895</c:v>
                </c:pt>
                <c:pt idx="2390">
                  <c:v>0.99896845419937663</c:v>
                </c:pt>
                <c:pt idx="2391">
                  <c:v>0.99897121888112694</c:v>
                </c:pt>
                <c:pt idx="2392">
                  <c:v>0.99897397416559053</c:v>
                </c:pt>
                <c:pt idx="2393">
                  <c:v>0.9989767200527675</c:v>
                </c:pt>
                <c:pt idx="2394">
                  <c:v>0.9989794640604871</c:v>
                </c:pt>
                <c:pt idx="2395">
                  <c:v>0.99898220055037734</c:v>
                </c:pt>
                <c:pt idx="2396">
                  <c:v>0.99898491260732214</c:v>
                </c:pt>
                <c:pt idx="2397">
                  <c:v>0.99898761526698021</c:v>
                </c:pt>
                <c:pt idx="2398">
                  <c:v>0.99899030289097956</c:v>
                </c:pt>
                <c:pt idx="2399">
                  <c:v>0.99899297923823482</c:v>
                </c:pt>
                <c:pt idx="2400">
                  <c:v>0.99899829810251317</c:v>
                </c:pt>
                <c:pt idx="2401">
                  <c:v>0.99900095001682299</c:v>
                </c:pt>
                <c:pt idx="2402">
                  <c:v>0.99900359441330344</c:v>
                </c:pt>
                <c:pt idx="2403">
                  <c:v>0.99900623505086916</c:v>
                </c:pt>
                <c:pt idx="2404">
                  <c:v>0.99900887192952026</c:v>
                </c:pt>
                <c:pt idx="2405">
                  <c:v>0.99901149753142726</c:v>
                </c:pt>
                <c:pt idx="2406">
                  <c:v>0.99901412313333426</c:v>
                </c:pt>
                <c:pt idx="2407">
                  <c:v>0.99901673557903992</c:v>
                </c:pt>
                <c:pt idx="2408">
                  <c:v>0.99901934426583083</c:v>
                </c:pt>
                <c:pt idx="2409">
                  <c:v>0.99902195107316438</c:v>
                </c:pt>
                <c:pt idx="2410">
                  <c:v>0.99902454848321132</c:v>
                </c:pt>
                <c:pt idx="2411">
                  <c:v>0.99902714025488615</c:v>
                </c:pt>
                <c:pt idx="2412">
                  <c:v>0.99902972826764636</c:v>
                </c:pt>
                <c:pt idx="2413">
                  <c:v>0.99903231252149183</c:v>
                </c:pt>
                <c:pt idx="2414">
                  <c:v>0.99903744907840797</c:v>
                </c:pt>
                <c:pt idx="2415">
                  <c:v>0.999040008899308</c:v>
                </c:pt>
                <c:pt idx="2416">
                  <c:v>0.99904512290273606</c:v>
                </c:pt>
                <c:pt idx="2417">
                  <c:v>0.99904767896472146</c:v>
                </c:pt>
                <c:pt idx="2418">
                  <c:v>0.99905023126779213</c:v>
                </c:pt>
                <c:pt idx="2419">
                  <c:v>0.99905531519990276</c:v>
                </c:pt>
                <c:pt idx="2420">
                  <c:v>0.99905785246731471</c:v>
                </c:pt>
                <c:pt idx="2421">
                  <c:v>0.9990603822168973</c:v>
                </c:pt>
                <c:pt idx="2422">
                  <c:v>0.99906290820756516</c:v>
                </c:pt>
                <c:pt idx="2423">
                  <c:v>0.99906543043931839</c:v>
                </c:pt>
                <c:pt idx="2424">
                  <c:v>0.99906794703269952</c:v>
                </c:pt>
                <c:pt idx="2425">
                  <c:v>0.99907046174662339</c:v>
                </c:pt>
                <c:pt idx="2426">
                  <c:v>0.99907297082217517</c:v>
                </c:pt>
                <c:pt idx="2427">
                  <c:v>0.99907798145544946</c:v>
                </c:pt>
                <c:pt idx="2428">
                  <c:v>0.99908047925425725</c:v>
                </c:pt>
                <c:pt idx="2429">
                  <c:v>0.99908296577632094</c:v>
                </c:pt>
                <c:pt idx="2430">
                  <c:v>0.99908545229838464</c:v>
                </c:pt>
                <c:pt idx="2431">
                  <c:v>0.99908793694099096</c:v>
                </c:pt>
                <c:pt idx="2432">
                  <c:v>0.9990904159452253</c:v>
                </c:pt>
                <c:pt idx="2433">
                  <c:v>0.99909289494945963</c:v>
                </c:pt>
                <c:pt idx="2434">
                  <c:v>0.99909537395369397</c:v>
                </c:pt>
                <c:pt idx="2435">
                  <c:v>0.99909784544009894</c:v>
                </c:pt>
                <c:pt idx="2436">
                  <c:v>0.99910030377030246</c:v>
                </c:pt>
                <c:pt idx="2437">
                  <c:v>0.99910275646213398</c:v>
                </c:pt>
                <c:pt idx="2438">
                  <c:v>0.99910520351559351</c:v>
                </c:pt>
                <c:pt idx="2439">
                  <c:v>0.99910764868959567</c:v>
                </c:pt>
                <c:pt idx="2440">
                  <c:v>0.99911009198414047</c:v>
                </c:pt>
                <c:pt idx="2441">
                  <c:v>0.99911253339922801</c:v>
                </c:pt>
                <c:pt idx="2442">
                  <c:v>0.99911495789919946</c:v>
                </c:pt>
                <c:pt idx="2443">
                  <c:v>0.99911736924296946</c:v>
                </c:pt>
                <c:pt idx="2444">
                  <c:v>0.99911977118945272</c:v>
                </c:pt>
                <c:pt idx="2445">
                  <c:v>0.99912215810027727</c:v>
                </c:pt>
                <c:pt idx="2446">
                  <c:v>0.99912452809598573</c:v>
                </c:pt>
                <c:pt idx="2447">
                  <c:v>0.99913157606101888</c:v>
                </c:pt>
                <c:pt idx="2448">
                  <c:v>0.99913391410595254</c:v>
                </c:pt>
                <c:pt idx="2449">
                  <c:v>0.99913624839197157</c:v>
                </c:pt>
                <c:pt idx="2450">
                  <c:v>0.99913858079853324</c:v>
                </c:pt>
                <c:pt idx="2451">
                  <c:v>0.9991409132050949</c:v>
                </c:pt>
                <c:pt idx="2452">
                  <c:v>0.99914323621436985</c:v>
                </c:pt>
                <c:pt idx="2453">
                  <c:v>0.99914554794690069</c:v>
                </c:pt>
                <c:pt idx="2454">
                  <c:v>0.99914785779997428</c:v>
                </c:pt>
                <c:pt idx="2455">
                  <c:v>0.99915473661384668</c:v>
                </c:pt>
                <c:pt idx="2456">
                  <c:v>0.99915701827506009</c:v>
                </c:pt>
                <c:pt idx="2457">
                  <c:v>0.99915928302115742</c:v>
                </c:pt>
                <c:pt idx="2458">
                  <c:v>0.99916154400834001</c:v>
                </c:pt>
                <c:pt idx="2459">
                  <c:v>0.99916379747769324</c:v>
                </c:pt>
                <c:pt idx="2460">
                  <c:v>0.99916604718813185</c:v>
                </c:pt>
                <c:pt idx="2461">
                  <c:v>0.99916828562182636</c:v>
                </c:pt>
                <c:pt idx="2462">
                  <c:v>0.99917052029660625</c:v>
                </c:pt>
                <c:pt idx="2463">
                  <c:v>0.99917275497138613</c:v>
                </c:pt>
                <c:pt idx="2464">
                  <c:v>0.9991749802488793</c:v>
                </c:pt>
                <c:pt idx="2465">
                  <c:v>0.99917720552637246</c:v>
                </c:pt>
                <c:pt idx="2466">
                  <c:v>0.99918163916624259</c:v>
                </c:pt>
                <c:pt idx="2467">
                  <c:v>0.99918385316699165</c:v>
                </c:pt>
                <c:pt idx="2468">
                  <c:v>0.99918606528828335</c:v>
                </c:pt>
                <c:pt idx="2469">
                  <c:v>0.9991882755301178</c:v>
                </c:pt>
                <c:pt idx="2470">
                  <c:v>0.99919048201303751</c:v>
                </c:pt>
                <c:pt idx="2471">
                  <c:v>0.99919268849595722</c:v>
                </c:pt>
                <c:pt idx="2472">
                  <c:v>0.99919489497887692</c:v>
                </c:pt>
                <c:pt idx="2473">
                  <c:v>0.99919709958233927</c:v>
                </c:pt>
                <c:pt idx="2474">
                  <c:v>0.99919930230634435</c:v>
                </c:pt>
                <c:pt idx="2475">
                  <c:v>0.99920149939197733</c:v>
                </c:pt>
                <c:pt idx="2476">
                  <c:v>0.9992058935632433</c:v>
                </c:pt>
                <c:pt idx="2477">
                  <c:v>0.99920808501050429</c:v>
                </c:pt>
                <c:pt idx="2478">
                  <c:v>0.99921027269885054</c:v>
                </c:pt>
                <c:pt idx="2479">
                  <c:v>0.99921464055771381</c:v>
                </c:pt>
                <c:pt idx="2480">
                  <c:v>0.99921681884877334</c:v>
                </c:pt>
                <c:pt idx="2481">
                  <c:v>0.99922116039523368</c:v>
                </c:pt>
                <c:pt idx="2482">
                  <c:v>0.99922333116846385</c:v>
                </c:pt>
                <c:pt idx="2483">
                  <c:v>0.99922550006223676</c:v>
                </c:pt>
                <c:pt idx="2484">
                  <c:v>0.99922982657303849</c:v>
                </c:pt>
                <c:pt idx="2485">
                  <c:v>0.99923198231060995</c:v>
                </c:pt>
                <c:pt idx="2486">
                  <c:v>0.99923413428926677</c:v>
                </c:pt>
                <c:pt idx="2487">
                  <c:v>0.99923841381363498</c:v>
                </c:pt>
                <c:pt idx="2488">
                  <c:v>0.99924055075663309</c:v>
                </c:pt>
                <c:pt idx="2489">
                  <c:v>0.9992426876996312</c:v>
                </c:pt>
                <c:pt idx="2490">
                  <c:v>0.99924482088371458</c:v>
                </c:pt>
                <c:pt idx="2491">
                  <c:v>0.99924695218834059</c:v>
                </c:pt>
                <c:pt idx="2492">
                  <c:v>0.9992511884851899</c:v>
                </c:pt>
                <c:pt idx="2493">
                  <c:v>0.99925329535687046</c:v>
                </c:pt>
                <c:pt idx="2494">
                  <c:v>0.99925540222855103</c:v>
                </c:pt>
                <c:pt idx="2495">
                  <c:v>0.99925749970294486</c:v>
                </c:pt>
                <c:pt idx="2496">
                  <c:v>0.9992595971773387</c:v>
                </c:pt>
                <c:pt idx="2497">
                  <c:v>0.99926169277227528</c:v>
                </c:pt>
                <c:pt idx="2498">
                  <c:v>0.99926378460829712</c:v>
                </c:pt>
                <c:pt idx="2499">
                  <c:v>0.99926796264196871</c:v>
                </c:pt>
                <c:pt idx="2500">
                  <c:v>0.99927212563998158</c:v>
                </c:pt>
                <c:pt idx="2501">
                  <c:v>0.99927418928414324</c:v>
                </c:pt>
                <c:pt idx="2502">
                  <c:v>0.99927624541047555</c:v>
                </c:pt>
                <c:pt idx="2503">
                  <c:v>0.99927829026006387</c:v>
                </c:pt>
                <c:pt idx="2504">
                  <c:v>0.99928236492358169</c:v>
                </c:pt>
                <c:pt idx="2505">
                  <c:v>0.99928439661696855</c:v>
                </c:pt>
                <c:pt idx="2506">
                  <c:v>0.99928642831035541</c:v>
                </c:pt>
                <c:pt idx="2507">
                  <c:v>0.99928845812428502</c:v>
                </c:pt>
                <c:pt idx="2508">
                  <c:v>0.99929048042038515</c:v>
                </c:pt>
                <c:pt idx="2509">
                  <c:v>0.99929249895757066</c:v>
                </c:pt>
                <c:pt idx="2510">
                  <c:v>0.99929451561529881</c:v>
                </c:pt>
                <c:pt idx="2511">
                  <c:v>0.99929653039356958</c:v>
                </c:pt>
                <c:pt idx="2512">
                  <c:v>0.99930054491445242</c:v>
                </c:pt>
                <c:pt idx="2513">
                  <c:v>0.99930253901869248</c:v>
                </c:pt>
                <c:pt idx="2514">
                  <c:v>0.99930453312293255</c:v>
                </c:pt>
                <c:pt idx="2515">
                  <c:v>0.99930652722717261</c:v>
                </c:pt>
                <c:pt idx="2516">
                  <c:v>0.99930851945195531</c:v>
                </c:pt>
                <c:pt idx="2517">
                  <c:v>0.99931051167673801</c:v>
                </c:pt>
                <c:pt idx="2518">
                  <c:v>0.99931449236738867</c:v>
                </c:pt>
                <c:pt idx="2519">
                  <c:v>0.99931846554021009</c:v>
                </c:pt>
                <c:pt idx="2520">
                  <c:v>0.99932043897041933</c:v>
                </c:pt>
                <c:pt idx="2521">
                  <c:v>0.99932240676225659</c:v>
                </c:pt>
                <c:pt idx="2522">
                  <c:v>0.99932437267463647</c:v>
                </c:pt>
                <c:pt idx="2523">
                  <c:v>0.99932633294864437</c:v>
                </c:pt>
                <c:pt idx="2524">
                  <c:v>0.9993282913431949</c:v>
                </c:pt>
                <c:pt idx="2525">
                  <c:v>0.99933024409937343</c:v>
                </c:pt>
                <c:pt idx="2526">
                  <c:v>0.99933219685555197</c:v>
                </c:pt>
                <c:pt idx="2527">
                  <c:v>0.99933414209390115</c:v>
                </c:pt>
                <c:pt idx="2528">
                  <c:v>0.99933608357333559</c:v>
                </c:pt>
                <c:pt idx="2529">
                  <c:v>0.99933801377602605</c:v>
                </c:pt>
                <c:pt idx="2530">
                  <c:v>0.99934185914574813</c:v>
                </c:pt>
                <c:pt idx="2531">
                  <c:v>0.99934377431277976</c:v>
                </c:pt>
                <c:pt idx="2532">
                  <c:v>0.99934568572089677</c:v>
                </c:pt>
                <c:pt idx="2533">
                  <c:v>0.99934949538092932</c:v>
                </c:pt>
                <c:pt idx="2534">
                  <c:v>0.9993513973917596</c:v>
                </c:pt>
                <c:pt idx="2535">
                  <c:v>0.99935329000530315</c:v>
                </c:pt>
                <c:pt idx="2536">
                  <c:v>0.99935517885993208</c:v>
                </c:pt>
                <c:pt idx="2537">
                  <c:v>0.99935893401570175</c:v>
                </c:pt>
                <c:pt idx="2538">
                  <c:v>0.99936080783467185</c:v>
                </c:pt>
                <c:pt idx="2539">
                  <c:v>0.99936453103966671</c:v>
                </c:pt>
                <c:pt idx="2540">
                  <c:v>0.99936822417334414</c:v>
                </c:pt>
                <c:pt idx="2541">
                  <c:v>0.99937006792099681</c:v>
                </c:pt>
                <c:pt idx="2542">
                  <c:v>0.99937189851244812</c:v>
                </c:pt>
                <c:pt idx="2543">
                  <c:v>0.99937736209494188</c:v>
                </c:pt>
                <c:pt idx="2544">
                  <c:v>0.99937917577127711</c:v>
                </c:pt>
                <c:pt idx="2545">
                  <c:v>0.9993809856886976</c:v>
                </c:pt>
                <c:pt idx="2546">
                  <c:v>0.99938279560611809</c:v>
                </c:pt>
                <c:pt idx="2547">
                  <c:v>0.99938460364408122</c:v>
                </c:pt>
                <c:pt idx="2548">
                  <c:v>0.99938640980258708</c:v>
                </c:pt>
                <c:pt idx="2549">
                  <c:v>0.99938820656380623</c:v>
                </c:pt>
                <c:pt idx="2550">
                  <c:v>0.999390001445568</c:v>
                </c:pt>
                <c:pt idx="2551">
                  <c:v>0.99939357617343272</c:v>
                </c:pt>
                <c:pt idx="2552">
                  <c:v>0.99939535789899314</c:v>
                </c:pt>
                <c:pt idx="2553">
                  <c:v>0.9993971264683521</c:v>
                </c:pt>
                <c:pt idx="2554">
                  <c:v>0.99940065233032604</c:v>
                </c:pt>
                <c:pt idx="2555">
                  <c:v>0.99940241150239828</c:v>
                </c:pt>
                <c:pt idx="2556">
                  <c:v>0.99940416879501326</c:v>
                </c:pt>
                <c:pt idx="2557">
                  <c:v>0.9994059223287135</c:v>
                </c:pt>
                <c:pt idx="2558">
                  <c:v>0.99940767210349912</c:v>
                </c:pt>
                <c:pt idx="2559">
                  <c:v>0.99940942187828474</c:v>
                </c:pt>
                <c:pt idx="2560">
                  <c:v>0.99941289887436779</c:v>
                </c:pt>
                <c:pt idx="2561">
                  <c:v>0.99941463737240932</c:v>
                </c:pt>
                <c:pt idx="2562">
                  <c:v>0.99941637399099348</c:v>
                </c:pt>
                <c:pt idx="2563">
                  <c:v>0.99941810121229091</c:v>
                </c:pt>
                <c:pt idx="2564">
                  <c:v>0.99941982279521635</c:v>
                </c:pt>
                <c:pt idx="2565">
                  <c:v>0.99942154437814179</c:v>
                </c:pt>
                <c:pt idx="2566">
                  <c:v>0.99942326408160986</c:v>
                </c:pt>
                <c:pt idx="2567">
                  <c:v>0.99942668657342992</c:v>
                </c:pt>
                <c:pt idx="2568">
                  <c:v>0.99942839687961127</c:v>
                </c:pt>
                <c:pt idx="2569">
                  <c:v>0.99943009402959126</c:v>
                </c:pt>
                <c:pt idx="2570">
                  <c:v>0.99943178930011389</c:v>
                </c:pt>
                <c:pt idx="2571">
                  <c:v>0.99943348269117915</c:v>
                </c:pt>
                <c:pt idx="2572">
                  <c:v>0.99943517420278716</c:v>
                </c:pt>
                <c:pt idx="2573">
                  <c:v>0.99943685443765107</c:v>
                </c:pt>
                <c:pt idx="2574">
                  <c:v>0.99943853467251498</c:v>
                </c:pt>
                <c:pt idx="2575">
                  <c:v>0.99944188010658408</c:v>
                </c:pt>
                <c:pt idx="2576">
                  <c:v>0.99944355094416126</c:v>
                </c:pt>
                <c:pt idx="2577">
                  <c:v>0.99944521990228108</c:v>
                </c:pt>
                <c:pt idx="2578">
                  <c:v>0.99944687758365691</c:v>
                </c:pt>
                <c:pt idx="2579">
                  <c:v>0.99945017039292039</c:v>
                </c:pt>
                <c:pt idx="2580">
                  <c:v>0.9994518074002654</c:v>
                </c:pt>
                <c:pt idx="2581">
                  <c:v>0.99945344252815305</c:v>
                </c:pt>
                <c:pt idx="2582">
                  <c:v>0.99945507765604069</c:v>
                </c:pt>
                <c:pt idx="2583">
                  <c:v>0.99945671278392834</c:v>
                </c:pt>
                <c:pt idx="2584">
                  <c:v>0.99945997176295975</c:v>
                </c:pt>
                <c:pt idx="2585">
                  <c:v>0.99946158809627406</c:v>
                </c:pt>
                <c:pt idx="2586">
                  <c:v>0.99946319879121626</c:v>
                </c:pt>
                <c:pt idx="2587">
                  <c:v>0.99946800456364027</c:v>
                </c:pt>
                <c:pt idx="2588">
                  <c:v>0.99946959270509439</c:v>
                </c:pt>
                <c:pt idx="2589">
                  <c:v>0.99947275959071591</c:v>
                </c:pt>
                <c:pt idx="2590">
                  <c:v>0.99947433833488331</c:v>
                </c:pt>
                <c:pt idx="2591">
                  <c:v>0.9994759170790507</c:v>
                </c:pt>
                <c:pt idx="2592">
                  <c:v>0.9994774958232181</c:v>
                </c:pt>
                <c:pt idx="2593">
                  <c:v>0.99947907268792824</c:v>
                </c:pt>
                <c:pt idx="2594">
                  <c:v>0.99948064015535165</c:v>
                </c:pt>
                <c:pt idx="2595">
                  <c:v>0.99948376381345427</c:v>
                </c:pt>
                <c:pt idx="2596">
                  <c:v>0.99948532564250558</c:v>
                </c:pt>
                <c:pt idx="2597">
                  <c:v>0.99948687619481291</c:v>
                </c:pt>
                <c:pt idx="2598">
                  <c:v>0.99948841547037615</c:v>
                </c:pt>
                <c:pt idx="2599">
                  <c:v>0.99949148838313062</c:v>
                </c:pt>
                <c:pt idx="2600">
                  <c:v>0.99949301638194976</c:v>
                </c:pt>
                <c:pt idx="2601">
                  <c:v>0.99949454250131164</c:v>
                </c:pt>
                <c:pt idx="2602">
                  <c:v>0.99949758910166331</c:v>
                </c:pt>
                <c:pt idx="2603">
                  <c:v>0.99949910958265309</c:v>
                </c:pt>
                <c:pt idx="2604">
                  <c:v>0.99950062442527088</c:v>
                </c:pt>
                <c:pt idx="2605">
                  <c:v>0.9995021373884313</c:v>
                </c:pt>
                <c:pt idx="2606">
                  <c:v>0.99950515391746553</c:v>
                </c:pt>
                <c:pt idx="2607">
                  <c:v>0.9995066537244246</c:v>
                </c:pt>
                <c:pt idx="2608">
                  <c:v>0.9995081516519263</c:v>
                </c:pt>
                <c:pt idx="2609">
                  <c:v>0.99950964394105601</c:v>
                </c:pt>
                <c:pt idx="2610">
                  <c:v>0.99951113435072836</c:v>
                </c:pt>
                <c:pt idx="2611">
                  <c:v>0.99951410013441422</c:v>
                </c:pt>
                <c:pt idx="2612">
                  <c:v>0.99951704524406948</c:v>
                </c:pt>
                <c:pt idx="2613">
                  <c:v>0.99951850370296702</c:v>
                </c:pt>
                <c:pt idx="2614">
                  <c:v>0.9995199546440352</c:v>
                </c:pt>
                <c:pt idx="2615">
                  <c:v>0.99952140558510338</c:v>
                </c:pt>
                <c:pt idx="2616">
                  <c:v>0.99952284900834221</c:v>
                </c:pt>
                <c:pt idx="2617">
                  <c:v>0.99952428679320893</c:v>
                </c:pt>
                <c:pt idx="2618">
                  <c:v>0.99952572269861839</c:v>
                </c:pt>
                <c:pt idx="2619">
                  <c:v>0.99952715484511312</c:v>
                </c:pt>
                <c:pt idx="2620">
                  <c:v>0.99952858323269322</c:v>
                </c:pt>
                <c:pt idx="2621">
                  <c:v>0.99953284960085986</c:v>
                </c:pt>
                <c:pt idx="2622">
                  <c:v>0.99953426859115324</c:v>
                </c:pt>
                <c:pt idx="2623">
                  <c:v>0.99953709905391053</c:v>
                </c:pt>
                <c:pt idx="2624">
                  <c:v>0.99953851052637455</c:v>
                </c:pt>
                <c:pt idx="2625">
                  <c:v>0.99953991823992383</c:v>
                </c:pt>
                <c:pt idx="2626">
                  <c:v>0.99954132595347311</c:v>
                </c:pt>
                <c:pt idx="2627">
                  <c:v>0.99954553217900499</c:v>
                </c:pt>
                <c:pt idx="2628">
                  <c:v>0.99954693237472492</c:v>
                </c:pt>
                <c:pt idx="2629">
                  <c:v>0.99954832693207285</c:v>
                </c:pt>
                <c:pt idx="2630">
                  <c:v>0.99954971960996342</c:v>
                </c:pt>
                <c:pt idx="2631">
                  <c:v>0.99955111040839661</c:v>
                </c:pt>
                <c:pt idx="2632">
                  <c:v>0.99955250120682981</c:v>
                </c:pt>
                <c:pt idx="2633">
                  <c:v>0.99955528092423884</c:v>
                </c:pt>
                <c:pt idx="2634">
                  <c:v>0.99955804560598915</c:v>
                </c:pt>
                <c:pt idx="2635">
                  <c:v>0.99956214282299516</c:v>
                </c:pt>
                <c:pt idx="2636">
                  <c:v>0.99956349603228156</c:v>
                </c:pt>
                <c:pt idx="2637">
                  <c:v>0.99956484548265323</c:v>
                </c:pt>
                <c:pt idx="2638">
                  <c:v>0.99956619117411027</c:v>
                </c:pt>
                <c:pt idx="2639">
                  <c:v>0.99956753686556732</c:v>
                </c:pt>
                <c:pt idx="2640">
                  <c:v>0.99956887691865226</c:v>
                </c:pt>
                <c:pt idx="2641">
                  <c:v>0.9995715495069929</c:v>
                </c:pt>
                <c:pt idx="2642">
                  <c:v>0.99957287828333385</c:v>
                </c:pt>
                <c:pt idx="2643">
                  <c:v>0.99957420518021745</c:v>
                </c:pt>
                <c:pt idx="2644">
                  <c:v>0.9995768495766979</c:v>
                </c:pt>
                <c:pt idx="2645">
                  <c:v>0.9995781708352095</c:v>
                </c:pt>
                <c:pt idx="2646">
                  <c:v>0.99958078140145779</c:v>
                </c:pt>
                <c:pt idx="2647">
                  <c:v>0.99958208386539593</c:v>
                </c:pt>
                <c:pt idx="2648">
                  <c:v>0.99958338632933408</c:v>
                </c:pt>
                <c:pt idx="2649">
                  <c:v>0.99958468503435749</c:v>
                </c:pt>
                <c:pt idx="2650">
                  <c:v>0.99958726928820296</c:v>
                </c:pt>
                <c:pt idx="2651">
                  <c:v>0.99958984790367644</c:v>
                </c:pt>
                <c:pt idx="2652">
                  <c:v>0.99959113533195587</c:v>
                </c:pt>
                <c:pt idx="2653">
                  <c:v>0.9995924227602353</c:v>
                </c:pt>
                <c:pt idx="2654">
                  <c:v>0.99959497506330597</c:v>
                </c:pt>
                <c:pt idx="2655">
                  <c:v>0.99959624557646931</c:v>
                </c:pt>
                <c:pt idx="2656">
                  <c:v>0.99959751045126055</c:v>
                </c:pt>
                <c:pt idx="2657">
                  <c:v>0.99960002704464168</c:v>
                </c:pt>
                <c:pt idx="2658">
                  <c:v>0.99960251356670538</c:v>
                </c:pt>
                <c:pt idx="2659">
                  <c:v>0.99960375400855117</c:v>
                </c:pt>
                <c:pt idx="2660">
                  <c:v>0.99960499445039697</c:v>
                </c:pt>
                <c:pt idx="2661">
                  <c:v>0.99960622361549878</c:v>
                </c:pt>
                <c:pt idx="2662">
                  <c:v>0.99960744714222849</c:v>
                </c:pt>
                <c:pt idx="2663">
                  <c:v>0.9996098904367734</c:v>
                </c:pt>
                <c:pt idx="2664">
                  <c:v>0.99961111020458848</c:v>
                </c:pt>
                <c:pt idx="2665">
                  <c:v>0.99961353658401719</c:v>
                </c:pt>
                <c:pt idx="2666">
                  <c:v>0.99961474319563082</c:v>
                </c:pt>
                <c:pt idx="2667">
                  <c:v>0.99961594792778719</c:v>
                </c:pt>
                <c:pt idx="2668">
                  <c:v>0.99961835175372782</c:v>
                </c:pt>
                <c:pt idx="2669">
                  <c:v>0.99961955084751208</c:v>
                </c:pt>
                <c:pt idx="2670">
                  <c:v>0.99962074430292436</c:v>
                </c:pt>
                <c:pt idx="2671">
                  <c:v>0.99962193775833663</c:v>
                </c:pt>
                <c:pt idx="2672">
                  <c:v>0.99962787120516583</c:v>
                </c:pt>
                <c:pt idx="2673">
                  <c:v>0.99962905150437675</c:v>
                </c:pt>
                <c:pt idx="2674">
                  <c:v>0.99963022428575832</c:v>
                </c:pt>
                <c:pt idx="2675">
                  <c:v>0.99963139330822515</c:v>
                </c:pt>
                <c:pt idx="2676">
                  <c:v>0.99963255669231998</c:v>
                </c:pt>
                <c:pt idx="2677">
                  <c:v>0.99963486654539346</c:v>
                </c:pt>
                <c:pt idx="2678">
                  <c:v>0.99963601489382958</c:v>
                </c:pt>
                <c:pt idx="2679">
                  <c:v>0.9996371632422657</c:v>
                </c:pt>
                <c:pt idx="2680">
                  <c:v>0.99963830971124445</c:v>
                </c:pt>
                <c:pt idx="2681">
                  <c:v>0.99963945430076584</c:v>
                </c:pt>
                <c:pt idx="2682">
                  <c:v>0.99964174160035124</c:v>
                </c:pt>
                <c:pt idx="2683">
                  <c:v>0.99964401386427792</c:v>
                </c:pt>
                <c:pt idx="2684">
                  <c:v>0.99964514529759796</c:v>
                </c:pt>
                <c:pt idx="2685">
                  <c:v>0.99964627485146063</c:v>
                </c:pt>
                <c:pt idx="2686">
                  <c:v>0.99964740252586592</c:v>
                </c:pt>
                <c:pt idx="2687">
                  <c:v>0.99964852832081386</c:v>
                </c:pt>
                <c:pt idx="2688">
                  <c:v>0.9996496484773898</c:v>
                </c:pt>
                <c:pt idx="2689">
                  <c:v>0.99965076675450837</c:v>
                </c:pt>
                <c:pt idx="2690">
                  <c:v>0.99965188503162694</c:v>
                </c:pt>
                <c:pt idx="2691">
                  <c:v>0.99965299767037352</c:v>
                </c:pt>
                <c:pt idx="2692">
                  <c:v>0.99965410655020537</c:v>
                </c:pt>
                <c:pt idx="2693">
                  <c:v>0.99965521355057996</c:v>
                </c:pt>
                <c:pt idx="2694">
                  <c:v>0.9996574237924144</c:v>
                </c:pt>
                <c:pt idx="2695">
                  <c:v>0.99965963215479148</c:v>
                </c:pt>
                <c:pt idx="2696">
                  <c:v>0.99966073539625133</c:v>
                </c:pt>
                <c:pt idx="2697">
                  <c:v>0.99966293624079894</c:v>
                </c:pt>
                <c:pt idx="2698">
                  <c:v>0.99966513144697466</c:v>
                </c:pt>
                <c:pt idx="2699">
                  <c:v>0.99966841110003679</c:v>
                </c:pt>
                <c:pt idx="2700">
                  <c:v>0.99966949366746594</c:v>
                </c:pt>
                <c:pt idx="2701">
                  <c:v>0.99967057247598035</c:v>
                </c:pt>
                <c:pt idx="2702">
                  <c:v>0.99967165128449476</c:v>
                </c:pt>
                <c:pt idx="2703">
                  <c:v>0.99967273009300917</c:v>
                </c:pt>
                <c:pt idx="2704">
                  <c:v>0.99967380702206621</c:v>
                </c:pt>
                <c:pt idx="2705">
                  <c:v>0.99967591765266151</c:v>
                </c:pt>
                <c:pt idx="2706">
                  <c:v>0.99967696638985848</c:v>
                </c:pt>
                <c:pt idx="2707">
                  <c:v>0.99967801512705545</c:v>
                </c:pt>
                <c:pt idx="2708">
                  <c:v>0.99967906010533769</c:v>
                </c:pt>
                <c:pt idx="2709">
                  <c:v>0.99968010132470531</c:v>
                </c:pt>
                <c:pt idx="2710">
                  <c:v>0.99968114254407292</c:v>
                </c:pt>
                <c:pt idx="2711">
                  <c:v>0.99968322122389341</c:v>
                </c:pt>
                <c:pt idx="2712">
                  <c:v>0.99968529238588444</c:v>
                </c:pt>
                <c:pt idx="2713">
                  <c:v>0.99968632232850796</c:v>
                </c:pt>
                <c:pt idx="2714">
                  <c:v>0.99968735039167411</c:v>
                </c:pt>
                <c:pt idx="2715">
                  <c:v>0.99968837281646827</c:v>
                </c:pt>
                <c:pt idx="2716">
                  <c:v>0.99968939524126244</c:v>
                </c:pt>
                <c:pt idx="2717">
                  <c:v>0.99969041390714186</c:v>
                </c:pt>
                <c:pt idx="2718">
                  <c:v>0.99969143069356403</c:v>
                </c:pt>
                <c:pt idx="2719">
                  <c:v>0.99969244560052883</c:v>
                </c:pt>
                <c:pt idx="2720">
                  <c:v>0.99969345862803627</c:v>
                </c:pt>
                <c:pt idx="2721">
                  <c:v>0.99969446413771434</c:v>
                </c:pt>
                <c:pt idx="2722">
                  <c:v>0.9996964751570705</c:v>
                </c:pt>
                <c:pt idx="2723">
                  <c:v>0.99969948604773262</c:v>
                </c:pt>
                <c:pt idx="2724">
                  <c:v>0.99970048591903871</c:v>
                </c:pt>
                <c:pt idx="2725">
                  <c:v>0.99970148579034479</c:v>
                </c:pt>
                <c:pt idx="2726">
                  <c:v>0.99970248378219351</c:v>
                </c:pt>
                <c:pt idx="2727">
                  <c:v>0.99970347989458486</c:v>
                </c:pt>
                <c:pt idx="2728">
                  <c:v>0.99970447412751884</c:v>
                </c:pt>
                <c:pt idx="2729">
                  <c:v>0.99970545144533673</c:v>
                </c:pt>
                <c:pt idx="2730">
                  <c:v>0.99970642688369737</c:v>
                </c:pt>
                <c:pt idx="2731">
                  <c:v>0.99970740232205801</c:v>
                </c:pt>
                <c:pt idx="2732">
                  <c:v>0.99970837588096129</c:v>
                </c:pt>
                <c:pt idx="2733">
                  <c:v>0.99970934756040719</c:v>
                </c:pt>
                <c:pt idx="2734">
                  <c:v>0.99971030984256637</c:v>
                </c:pt>
                <c:pt idx="2735">
                  <c:v>0.99971127024526818</c:v>
                </c:pt>
                <c:pt idx="2736">
                  <c:v>0.99971318353284255</c:v>
                </c:pt>
                <c:pt idx="2737">
                  <c:v>0.99971414017662974</c:v>
                </c:pt>
                <c:pt idx="2738">
                  <c:v>0.99971509494095956</c:v>
                </c:pt>
                <c:pt idx="2739">
                  <c:v>0.99971604970528938</c:v>
                </c:pt>
                <c:pt idx="2740">
                  <c:v>0.99971700259016183</c:v>
                </c:pt>
                <c:pt idx="2741">
                  <c:v>0.99971795171611966</c:v>
                </c:pt>
                <c:pt idx="2742">
                  <c:v>0.99971889896262012</c:v>
                </c:pt>
                <c:pt idx="2743">
                  <c:v>0.99971984620912058</c:v>
                </c:pt>
                <c:pt idx="2744">
                  <c:v>0.99972078781724905</c:v>
                </c:pt>
                <c:pt idx="2745">
                  <c:v>0.99972451478115865</c:v>
                </c:pt>
                <c:pt idx="2746">
                  <c:v>0.99972729073965305</c:v>
                </c:pt>
                <c:pt idx="2747">
                  <c:v>0.9997282116737507</c:v>
                </c:pt>
                <c:pt idx="2748">
                  <c:v>0.99973096319929966</c:v>
                </c:pt>
                <c:pt idx="2749">
                  <c:v>0.99973187473611058</c:v>
                </c:pt>
                <c:pt idx="2750">
                  <c:v>0.99973369217136054</c:v>
                </c:pt>
                <c:pt idx="2751">
                  <c:v>0.99973640986667733</c:v>
                </c:pt>
                <c:pt idx="2752">
                  <c:v>0.99973730072945755</c:v>
                </c:pt>
                <c:pt idx="2753">
                  <c:v>0.99973818971278039</c:v>
                </c:pt>
                <c:pt idx="2754">
                  <c:v>0.99973907493718861</c:v>
                </c:pt>
                <c:pt idx="2755">
                  <c:v>0.9997399564026821</c:v>
                </c:pt>
                <c:pt idx="2756">
                  <c:v>0.99974083786817558</c:v>
                </c:pt>
                <c:pt idx="2757">
                  <c:v>0.9997425820045891</c:v>
                </c:pt>
                <c:pt idx="2758">
                  <c:v>0.99974345219333849</c:v>
                </c:pt>
                <c:pt idx="2759">
                  <c:v>0.99974432238208788</c:v>
                </c:pt>
                <c:pt idx="2760">
                  <c:v>0.99974519069138001</c:v>
                </c:pt>
                <c:pt idx="2761">
                  <c:v>0.99974691603322019</c:v>
                </c:pt>
                <c:pt idx="2762">
                  <c:v>0.99974777118631086</c:v>
                </c:pt>
                <c:pt idx="2763">
                  <c:v>0.99974862445994417</c:v>
                </c:pt>
                <c:pt idx="2764">
                  <c:v>0.99975032912775352</c:v>
                </c:pt>
                <c:pt idx="2765">
                  <c:v>0.99975203003664825</c:v>
                </c:pt>
                <c:pt idx="2766">
                  <c:v>0.99975287767190957</c:v>
                </c:pt>
                <c:pt idx="2767">
                  <c:v>0.99975372154825626</c:v>
                </c:pt>
                <c:pt idx="2768">
                  <c:v>0.99975456354514558</c:v>
                </c:pt>
                <c:pt idx="2769">
                  <c:v>0.99975624002109487</c:v>
                </c:pt>
                <c:pt idx="2770">
                  <c:v>0.99975956102221841</c:v>
                </c:pt>
                <c:pt idx="2771">
                  <c:v>0.99976120742685015</c:v>
                </c:pt>
                <c:pt idx="2772">
                  <c:v>0.99976202687025129</c:v>
                </c:pt>
                <c:pt idx="2773">
                  <c:v>0.99976284443419516</c:v>
                </c:pt>
                <c:pt idx="2774">
                  <c:v>0.99976366199813904</c:v>
                </c:pt>
                <c:pt idx="2775">
                  <c:v>0.99976526705470936</c:v>
                </c:pt>
                <c:pt idx="2776">
                  <c:v>0.99976606770353715</c:v>
                </c:pt>
                <c:pt idx="2777">
                  <c:v>0.99976765772444853</c:v>
                </c:pt>
                <c:pt idx="2778">
                  <c:v>0.9997692383480733</c:v>
                </c:pt>
                <c:pt idx="2779">
                  <c:v>0.99977002396124237</c:v>
                </c:pt>
                <c:pt idx="2780">
                  <c:v>0.99977080769495408</c:v>
                </c:pt>
                <c:pt idx="2781">
                  <c:v>0.99977158954920842</c:v>
                </c:pt>
                <c:pt idx="2782">
                  <c:v>0.99977236952400539</c:v>
                </c:pt>
                <c:pt idx="2783">
                  <c:v>0.9997731476193451</c:v>
                </c:pt>
                <c:pt idx="2784">
                  <c:v>0.99977392383522745</c:v>
                </c:pt>
                <c:pt idx="2785">
                  <c:v>0.99977624684450239</c:v>
                </c:pt>
                <c:pt idx="2786">
                  <c:v>0.99977701742201264</c:v>
                </c:pt>
                <c:pt idx="2787">
                  <c:v>0.99977778799952288</c:v>
                </c:pt>
                <c:pt idx="2788">
                  <c:v>0.99977932539562886</c:v>
                </c:pt>
                <c:pt idx="2789">
                  <c:v>0.99978161833358636</c:v>
                </c:pt>
                <c:pt idx="2790">
                  <c:v>0.99978237951380999</c:v>
                </c:pt>
                <c:pt idx="2791">
                  <c:v>0.99978313881457626</c:v>
                </c:pt>
                <c:pt idx="2792">
                  <c:v>0.99978389811534252</c:v>
                </c:pt>
                <c:pt idx="2793">
                  <c:v>0.99978465365719404</c:v>
                </c:pt>
                <c:pt idx="2794">
                  <c:v>0.99978540544013095</c:v>
                </c:pt>
                <c:pt idx="2795">
                  <c:v>0.99978690524709002</c:v>
                </c:pt>
                <c:pt idx="2796">
                  <c:v>0.99978765515056955</c:v>
                </c:pt>
                <c:pt idx="2797">
                  <c:v>0.99978840129513435</c:v>
                </c:pt>
                <c:pt idx="2798">
                  <c:v>0.99978914368078453</c:v>
                </c:pt>
                <c:pt idx="2799">
                  <c:v>0.99978988418697734</c:v>
                </c:pt>
                <c:pt idx="2800">
                  <c:v>0.99979061529588342</c:v>
                </c:pt>
                <c:pt idx="2801">
                  <c:v>0.99979424828692576</c:v>
                </c:pt>
                <c:pt idx="2802">
                  <c:v>0.99979496811908786</c:v>
                </c:pt>
                <c:pt idx="2803">
                  <c:v>0.99979640214503995</c:v>
                </c:pt>
                <c:pt idx="2804">
                  <c:v>0.99979783241207731</c:v>
                </c:pt>
                <c:pt idx="2805">
                  <c:v>0.99980067227212144</c:v>
                </c:pt>
                <c:pt idx="2806">
                  <c:v>0.99980137894808208</c:v>
                </c:pt>
                <c:pt idx="2807">
                  <c:v>0.99980207810621335</c:v>
                </c:pt>
                <c:pt idx="2808">
                  <c:v>0.99980347266356118</c:v>
                </c:pt>
                <c:pt idx="2809">
                  <c:v>0.999804867220909</c:v>
                </c:pt>
                <c:pt idx="2810">
                  <c:v>0.99980556449958291</c:v>
                </c:pt>
                <c:pt idx="2811">
                  <c:v>0.99980625989879957</c:v>
                </c:pt>
                <c:pt idx="2812">
                  <c:v>0.99980695529801622</c:v>
                </c:pt>
                <c:pt idx="2813">
                  <c:v>0.99980764505886077</c:v>
                </c:pt>
                <c:pt idx="2814">
                  <c:v>0.99980901894217789</c:v>
                </c:pt>
                <c:pt idx="2815">
                  <c:v>0.99980970118519308</c:v>
                </c:pt>
                <c:pt idx="2816">
                  <c:v>0.9998103815487509</c:v>
                </c:pt>
                <c:pt idx="2817">
                  <c:v>0.9998117403964093</c:v>
                </c:pt>
                <c:pt idx="2818">
                  <c:v>0.99981377208979627</c:v>
                </c:pt>
                <c:pt idx="2819">
                  <c:v>0.99981578498860979</c:v>
                </c:pt>
                <c:pt idx="2820">
                  <c:v>0.99981711752386537</c:v>
                </c:pt>
                <c:pt idx="2821">
                  <c:v>0.99981777909284986</c:v>
                </c:pt>
                <c:pt idx="2822">
                  <c:v>0.99981974688468722</c:v>
                </c:pt>
                <c:pt idx="2823">
                  <c:v>0.99982039905638498</c:v>
                </c:pt>
                <c:pt idx="2824">
                  <c:v>0.99982105122808274</c:v>
                </c:pt>
                <c:pt idx="2825">
                  <c:v>0.99982170339978049</c:v>
                </c:pt>
                <c:pt idx="2826">
                  <c:v>0.99982235181256351</c:v>
                </c:pt>
                <c:pt idx="2827">
                  <c:v>0.99982299646643191</c:v>
                </c:pt>
                <c:pt idx="2828">
                  <c:v>0.99982428389471134</c:v>
                </c:pt>
                <c:pt idx="2829">
                  <c:v>0.99982492666912237</c:v>
                </c:pt>
                <c:pt idx="2830">
                  <c:v>0.9998255694435334</c:v>
                </c:pt>
                <c:pt idx="2831">
                  <c:v>0.9998262084590297</c:v>
                </c:pt>
                <c:pt idx="2832">
                  <c:v>0.99982684747452599</c:v>
                </c:pt>
                <c:pt idx="2833">
                  <c:v>0.99982812362606133</c:v>
                </c:pt>
                <c:pt idx="2834">
                  <c:v>0.99982875512372826</c:v>
                </c:pt>
                <c:pt idx="2835">
                  <c:v>0.9998293866213952</c:v>
                </c:pt>
                <c:pt idx="2836">
                  <c:v>0.99983001811906214</c:v>
                </c:pt>
                <c:pt idx="2837">
                  <c:v>0.99983064773727182</c:v>
                </c:pt>
                <c:pt idx="2838">
                  <c:v>0.99983190321477644</c:v>
                </c:pt>
                <c:pt idx="2839">
                  <c:v>0.99983252719461402</c:v>
                </c:pt>
                <c:pt idx="2840">
                  <c:v>0.99983376575700256</c:v>
                </c:pt>
                <c:pt idx="2841">
                  <c:v>0.99983438409846814</c:v>
                </c:pt>
                <c:pt idx="2842">
                  <c:v>0.99983500243993373</c:v>
                </c:pt>
                <c:pt idx="2843">
                  <c:v>0.99983562078139931</c:v>
                </c:pt>
                <c:pt idx="2844">
                  <c:v>0.99983623724340753</c:v>
                </c:pt>
                <c:pt idx="2845">
                  <c:v>0.99983685182595838</c:v>
                </c:pt>
                <c:pt idx="2846">
                  <c:v>0.99983746452905198</c:v>
                </c:pt>
                <c:pt idx="2847">
                  <c:v>0.9998380753526882</c:v>
                </c:pt>
                <c:pt idx="2848">
                  <c:v>0.99983868617632443</c:v>
                </c:pt>
                <c:pt idx="2849">
                  <c:v>0.99983929512050329</c:v>
                </c:pt>
                <c:pt idx="2850">
                  <c:v>0.99983990218522478</c:v>
                </c:pt>
                <c:pt idx="2851">
                  <c:v>0.99984050737048902</c:v>
                </c:pt>
                <c:pt idx="2852">
                  <c:v>0.99984111067629589</c:v>
                </c:pt>
                <c:pt idx="2853">
                  <c:v>0.99984171022318802</c:v>
                </c:pt>
                <c:pt idx="2854">
                  <c:v>0.99984230601116553</c:v>
                </c:pt>
                <c:pt idx="2855">
                  <c:v>0.99984525675919278</c:v>
                </c:pt>
                <c:pt idx="2856">
                  <c:v>0.99984583751151146</c:v>
                </c:pt>
                <c:pt idx="2857">
                  <c:v>0.99984641638437288</c:v>
                </c:pt>
                <c:pt idx="2858">
                  <c:v>0.99984699525723431</c:v>
                </c:pt>
                <c:pt idx="2859">
                  <c:v>0.99984757413009573</c:v>
                </c:pt>
                <c:pt idx="2860">
                  <c:v>0.99984815112349978</c:v>
                </c:pt>
                <c:pt idx="2861">
                  <c:v>0.99984872623744647</c:v>
                </c:pt>
                <c:pt idx="2862">
                  <c:v>0.99984986706805323</c:v>
                </c:pt>
                <c:pt idx="2863">
                  <c:v>0.99985043090525594</c:v>
                </c:pt>
                <c:pt idx="2864">
                  <c:v>0.99985155294128925</c:v>
                </c:pt>
                <c:pt idx="2865">
                  <c:v>0.99985267309786519</c:v>
                </c:pt>
                <c:pt idx="2866">
                  <c:v>0.99985434017652763</c:v>
                </c:pt>
                <c:pt idx="2867">
                  <c:v>0.99985543777961539</c:v>
                </c:pt>
                <c:pt idx="2868">
                  <c:v>0.99985598658115926</c:v>
                </c:pt>
                <c:pt idx="2869">
                  <c:v>0.99985708230478976</c:v>
                </c:pt>
                <c:pt idx="2870">
                  <c:v>0.99985762734741901</c:v>
                </c:pt>
                <c:pt idx="2871">
                  <c:v>0.99985871179430541</c:v>
                </c:pt>
                <c:pt idx="2872">
                  <c:v>0.9998592493191053</c:v>
                </c:pt>
                <c:pt idx="2873">
                  <c:v>0.9998597868439052</c:v>
                </c:pt>
                <c:pt idx="2874">
                  <c:v>0.99986032436870509</c:v>
                </c:pt>
                <c:pt idx="2875">
                  <c:v>0.99986085813459025</c:v>
                </c:pt>
                <c:pt idx="2876">
                  <c:v>0.99986139002101804</c:v>
                </c:pt>
                <c:pt idx="2877">
                  <c:v>0.99986245191441636</c:v>
                </c:pt>
                <c:pt idx="2878">
                  <c:v>0.99986298004192953</c:v>
                </c:pt>
                <c:pt idx="2879">
                  <c:v>0.99986350441052796</c:v>
                </c:pt>
                <c:pt idx="2880">
                  <c:v>0.99986505496283529</c:v>
                </c:pt>
                <c:pt idx="2881">
                  <c:v>0.99986556617523237</c:v>
                </c:pt>
                <c:pt idx="2882">
                  <c:v>0.99986607550817208</c:v>
                </c:pt>
                <c:pt idx="2883">
                  <c:v>0.99986759598916197</c:v>
                </c:pt>
                <c:pt idx="2884">
                  <c:v>0.99986810156318706</c:v>
                </c:pt>
                <c:pt idx="2885">
                  <c:v>0.99986960700851812</c:v>
                </c:pt>
                <c:pt idx="2886">
                  <c:v>0.99987060500036684</c:v>
                </c:pt>
                <c:pt idx="2887">
                  <c:v>0.99987110305656257</c:v>
                </c:pt>
                <c:pt idx="2888">
                  <c:v>0.99987259158677766</c:v>
                </c:pt>
                <c:pt idx="2889">
                  <c:v>0.99987357830188228</c:v>
                </c:pt>
                <c:pt idx="2890">
                  <c:v>0.99987407071970591</c:v>
                </c:pt>
                <c:pt idx="2891">
                  <c:v>0.99987455937861491</c:v>
                </c:pt>
                <c:pt idx="2892">
                  <c:v>0.99987504615806655</c:v>
                </c:pt>
                <c:pt idx="2893">
                  <c:v>0.99987553105806082</c:v>
                </c:pt>
                <c:pt idx="2894">
                  <c:v>0.99987601407859772</c:v>
                </c:pt>
                <c:pt idx="2895">
                  <c:v>0.99987746126075117</c:v>
                </c:pt>
                <c:pt idx="2896">
                  <c:v>0.99987793676345871</c:v>
                </c:pt>
                <c:pt idx="2897">
                  <c:v>0.99987841226616625</c:v>
                </c:pt>
                <c:pt idx="2898">
                  <c:v>0.99987888776887379</c:v>
                </c:pt>
                <c:pt idx="2899">
                  <c:v>0.99987936327158133</c:v>
                </c:pt>
                <c:pt idx="2900">
                  <c:v>0.99988030863862443</c:v>
                </c:pt>
                <c:pt idx="2901">
                  <c:v>0.99988219185488136</c:v>
                </c:pt>
                <c:pt idx="2902">
                  <c:v>0.99988265983975955</c:v>
                </c:pt>
                <c:pt idx="2903">
                  <c:v>0.99988357701494246</c:v>
                </c:pt>
                <c:pt idx="2904">
                  <c:v>0.99988403560253392</c:v>
                </c:pt>
                <c:pt idx="2905">
                  <c:v>0.99988449419012537</c:v>
                </c:pt>
                <c:pt idx="2906">
                  <c:v>0.99988540384747904</c:v>
                </c:pt>
                <c:pt idx="2907">
                  <c:v>0.99988721752381426</c:v>
                </c:pt>
                <c:pt idx="2908">
                  <c:v>0.99988766859357636</c:v>
                </c:pt>
                <c:pt idx="2909">
                  <c:v>0.99988945595750878</c:v>
                </c:pt>
                <c:pt idx="2910">
                  <c:v>0.99988989762998415</c:v>
                </c:pt>
                <c:pt idx="2911">
                  <c:v>0.99989077909547763</c:v>
                </c:pt>
                <c:pt idx="2912">
                  <c:v>0.99989121888849575</c:v>
                </c:pt>
                <c:pt idx="2913">
                  <c:v>0.99989253074972062</c:v>
                </c:pt>
                <c:pt idx="2914">
                  <c:v>0.99989296490436663</c:v>
                </c:pt>
                <c:pt idx="2915">
                  <c:v>0.99989339717955539</c:v>
                </c:pt>
                <c:pt idx="2916">
                  <c:v>0.99989382945474414</c:v>
                </c:pt>
                <c:pt idx="2917">
                  <c:v>0.9998942617299329</c:v>
                </c:pt>
                <c:pt idx="2918">
                  <c:v>0.99989512252139567</c:v>
                </c:pt>
                <c:pt idx="2919">
                  <c:v>0.99989555291712706</c:v>
                </c:pt>
                <c:pt idx="2920">
                  <c:v>0.99989683470703439</c:v>
                </c:pt>
                <c:pt idx="2921">
                  <c:v>0.99989725946439367</c:v>
                </c:pt>
                <c:pt idx="2922">
                  <c:v>0.99989768422175296</c:v>
                </c:pt>
                <c:pt idx="2923">
                  <c:v>0.99989810709965499</c:v>
                </c:pt>
                <c:pt idx="2924">
                  <c:v>0.99989852997755702</c:v>
                </c:pt>
                <c:pt idx="2925">
                  <c:v>0.99989937573336107</c:v>
                </c:pt>
                <c:pt idx="2926">
                  <c:v>0.99990103529419427</c:v>
                </c:pt>
                <c:pt idx="2927">
                  <c:v>0.99990185661705278</c:v>
                </c:pt>
                <c:pt idx="2928">
                  <c:v>0.99990226445929598</c:v>
                </c:pt>
                <c:pt idx="2929">
                  <c:v>0.99990307450541049</c:v>
                </c:pt>
                <c:pt idx="2930">
                  <c:v>0.99990507988639454</c:v>
                </c:pt>
                <c:pt idx="2931">
                  <c:v>0.99990626582397746</c:v>
                </c:pt>
                <c:pt idx="2932">
                  <c:v>0.99990666051001931</c:v>
                </c:pt>
                <c:pt idx="2933">
                  <c:v>0.99990783892977275</c:v>
                </c:pt>
                <c:pt idx="2934">
                  <c:v>0.99991017133633453</c:v>
                </c:pt>
                <c:pt idx="2935">
                  <c:v>0.99991055474563229</c:v>
                </c:pt>
                <c:pt idx="2936">
                  <c:v>0.99991093815493004</c:v>
                </c:pt>
                <c:pt idx="2937">
                  <c:v>0.9999113215642278</c:v>
                </c:pt>
                <c:pt idx="2938">
                  <c:v>0.99991208274445142</c:v>
                </c:pt>
                <c:pt idx="2939">
                  <c:v>0.99991284204521769</c:v>
                </c:pt>
                <c:pt idx="2940">
                  <c:v>0.99991321981614345</c:v>
                </c:pt>
                <c:pt idx="2941">
                  <c:v>0.99991359570761185</c:v>
                </c:pt>
                <c:pt idx="2942">
                  <c:v>0.99991434561109138</c:v>
                </c:pt>
                <c:pt idx="2943">
                  <c:v>0.99991471586418779</c:v>
                </c:pt>
                <c:pt idx="2944">
                  <c:v>0.99991545261146586</c:v>
                </c:pt>
                <c:pt idx="2945">
                  <c:v>0.9999158209851049</c:v>
                </c:pt>
                <c:pt idx="2946">
                  <c:v>0.99991764593818422</c:v>
                </c:pt>
                <c:pt idx="2947">
                  <c:v>0.99991836389088884</c:v>
                </c:pt>
                <c:pt idx="2948">
                  <c:v>0.99991943518157389</c:v>
                </c:pt>
                <c:pt idx="2949">
                  <c:v>0.99992014185753453</c:v>
                </c:pt>
                <c:pt idx="2950">
                  <c:v>0.99992084477458043</c:v>
                </c:pt>
                <c:pt idx="2951">
                  <c:v>0.99992119247418876</c:v>
                </c:pt>
                <c:pt idx="2952">
                  <c:v>0.99992154017379709</c:v>
                </c:pt>
                <c:pt idx="2953">
                  <c:v>0.99992188787340541</c:v>
                </c:pt>
                <c:pt idx="2954">
                  <c:v>0.99992223557301374</c:v>
                </c:pt>
                <c:pt idx="2955">
                  <c:v>0.9999225813931647</c:v>
                </c:pt>
                <c:pt idx="2956">
                  <c:v>0.99992360945633074</c:v>
                </c:pt>
                <c:pt idx="2957">
                  <c:v>0.99992461872492344</c:v>
                </c:pt>
                <c:pt idx="2958">
                  <c:v>0.99992495326833031</c:v>
                </c:pt>
                <c:pt idx="2959">
                  <c:v>0.99992528781173717</c:v>
                </c:pt>
                <c:pt idx="2960">
                  <c:v>0.99992595313963639</c:v>
                </c:pt>
                <c:pt idx="2961">
                  <c:v>0.999926285803586</c:v>
                </c:pt>
                <c:pt idx="2962">
                  <c:v>0.9999276014237255</c:v>
                </c:pt>
                <c:pt idx="2963">
                  <c:v>0.99992824983650863</c:v>
                </c:pt>
                <c:pt idx="2964">
                  <c:v>0.99992921775703991</c:v>
                </c:pt>
                <c:pt idx="2965">
                  <c:v>0.99993112916515681</c:v>
                </c:pt>
                <c:pt idx="2966">
                  <c:v>0.99993175502445175</c:v>
                </c:pt>
                <c:pt idx="2967">
                  <c:v>0.99993237900428933</c:v>
                </c:pt>
                <c:pt idx="2968">
                  <c:v>0.99993268911475075</c:v>
                </c:pt>
                <c:pt idx="2969">
                  <c:v>0.99993299734575491</c:v>
                </c:pt>
                <c:pt idx="2970">
                  <c:v>0.99993330557675908</c:v>
                </c:pt>
                <c:pt idx="2971">
                  <c:v>0.99993392015931004</c:v>
                </c:pt>
                <c:pt idx="2972">
                  <c:v>0.99993422463139947</c:v>
                </c:pt>
                <c:pt idx="2973">
                  <c:v>0.99993543124301298</c:v>
                </c:pt>
                <c:pt idx="2974">
                  <c:v>0.99993603078990512</c:v>
                </c:pt>
                <c:pt idx="2975">
                  <c:v>0.99993632774416519</c:v>
                </c:pt>
                <c:pt idx="2976">
                  <c:v>0.99993691977322796</c:v>
                </c:pt>
                <c:pt idx="2977">
                  <c:v>0.99993721484803066</c:v>
                </c:pt>
                <c:pt idx="2978">
                  <c:v>0.999937508043376</c:v>
                </c:pt>
                <c:pt idx="2979">
                  <c:v>0.99993779935926408</c:v>
                </c:pt>
                <c:pt idx="2980">
                  <c:v>0.99993809067515216</c:v>
                </c:pt>
                <c:pt idx="2981">
                  <c:v>0.99993838011158287</c:v>
                </c:pt>
                <c:pt idx="2982">
                  <c:v>0.99993895898444429</c:v>
                </c:pt>
                <c:pt idx="2983">
                  <c:v>0.99993924654141764</c:v>
                </c:pt>
                <c:pt idx="2984">
                  <c:v>0.99993981601699233</c:v>
                </c:pt>
                <c:pt idx="2985">
                  <c:v>0.99994009793559369</c:v>
                </c:pt>
                <c:pt idx="2986">
                  <c:v>0.99994037985419504</c:v>
                </c:pt>
                <c:pt idx="2987">
                  <c:v>0.99994066177279639</c:v>
                </c:pt>
                <c:pt idx="2988">
                  <c:v>0.99994150189022835</c:v>
                </c:pt>
                <c:pt idx="2989">
                  <c:v>0.99994178004991496</c:v>
                </c:pt>
                <c:pt idx="2990">
                  <c:v>0.99994261077006008</c:v>
                </c:pt>
                <c:pt idx="2991">
                  <c:v>0.99994288705028933</c:v>
                </c:pt>
                <c:pt idx="2992">
                  <c:v>0.99994316333051858</c:v>
                </c:pt>
                <c:pt idx="2993">
                  <c:v>0.99994506158243412</c:v>
                </c:pt>
                <c:pt idx="2994">
                  <c:v>0.99994532846537676</c:v>
                </c:pt>
                <c:pt idx="2995">
                  <c:v>0.99994639411768993</c:v>
                </c:pt>
                <c:pt idx="2996">
                  <c:v>0.99994692036574573</c:v>
                </c:pt>
                <c:pt idx="2997">
                  <c:v>0.99994718161031626</c:v>
                </c:pt>
                <c:pt idx="2998">
                  <c:v>0.99994897085370604</c:v>
                </c:pt>
                <c:pt idx="2999">
                  <c:v>0.99994997448392675</c:v>
                </c:pt>
                <c:pt idx="3000">
                  <c:v>0.99995071123120483</c:v>
                </c:pt>
                <c:pt idx="3001">
                  <c:v>0.99995119801065646</c:v>
                </c:pt>
                <c:pt idx="3002">
                  <c:v>0.99995240838118504</c:v>
                </c:pt>
                <c:pt idx="3003">
                  <c:v>0.99995264895172487</c:v>
                </c:pt>
                <c:pt idx="3004">
                  <c:v>0.99995288952226469</c:v>
                </c:pt>
                <c:pt idx="3005">
                  <c:v>0.99995360183659732</c:v>
                </c:pt>
                <c:pt idx="3006">
                  <c:v>0.99995430663310048</c:v>
                </c:pt>
                <c:pt idx="3007">
                  <c:v>0.99995453968581094</c:v>
                </c:pt>
                <c:pt idx="3008">
                  <c:v>0.99995500579123187</c:v>
                </c:pt>
                <c:pt idx="3009">
                  <c:v>0.99995523884394233</c:v>
                </c:pt>
                <c:pt idx="3010">
                  <c:v>0.99995570119044852</c:v>
                </c:pt>
                <c:pt idx="3011">
                  <c:v>0.99995593236370162</c:v>
                </c:pt>
                <c:pt idx="3012">
                  <c:v>0.99995639283075044</c:v>
                </c:pt>
                <c:pt idx="3013">
                  <c:v>0.9999566202450888</c:v>
                </c:pt>
                <c:pt idx="3014">
                  <c:v>0.99995752614352773</c:v>
                </c:pt>
                <c:pt idx="3015">
                  <c:v>0.99995774979895147</c:v>
                </c:pt>
                <c:pt idx="3016">
                  <c:v>0.9999579734543752</c:v>
                </c:pt>
                <c:pt idx="3017">
                  <c:v>0.99995819710979894</c:v>
                </c:pt>
                <c:pt idx="3018">
                  <c:v>0.99995864066173168</c:v>
                </c:pt>
                <c:pt idx="3019">
                  <c:v>0.99995952400668242</c:v>
                </c:pt>
                <c:pt idx="3020">
                  <c:v>0.99996017805783766</c:v>
                </c:pt>
                <c:pt idx="3021">
                  <c:v>0.99996061033302641</c:v>
                </c:pt>
                <c:pt idx="3022">
                  <c:v>0.9999610407287578</c:v>
                </c:pt>
                <c:pt idx="3023">
                  <c:v>0.99996146736557445</c:v>
                </c:pt>
                <c:pt idx="3024">
                  <c:v>0.999961888364019</c:v>
                </c:pt>
                <c:pt idx="3025">
                  <c:v>0.99996251610277131</c:v>
                </c:pt>
                <c:pt idx="3026">
                  <c:v>0.99996355356322431</c:v>
                </c:pt>
                <c:pt idx="3027">
                  <c:v>0.99996375842407459</c:v>
                </c:pt>
                <c:pt idx="3028">
                  <c:v>0.99996457410856099</c:v>
                </c:pt>
                <c:pt idx="3029">
                  <c:v>0.99996498007134682</c:v>
                </c:pt>
                <c:pt idx="3030">
                  <c:v>0.99996537475738867</c:v>
                </c:pt>
                <c:pt idx="3031">
                  <c:v>0.99996557210040959</c:v>
                </c:pt>
                <c:pt idx="3032">
                  <c:v>0.99996596302753671</c:v>
                </c:pt>
                <c:pt idx="3033">
                  <c:v>0.99996635395466382</c:v>
                </c:pt>
                <c:pt idx="3034">
                  <c:v>0.99996674112287631</c:v>
                </c:pt>
                <c:pt idx="3035">
                  <c:v>0.99996712077325944</c:v>
                </c:pt>
                <c:pt idx="3036">
                  <c:v>0.99996731059845101</c:v>
                </c:pt>
                <c:pt idx="3037">
                  <c:v>0.99996749854418521</c:v>
                </c:pt>
                <c:pt idx="3038">
                  <c:v>0.9999678744356536</c:v>
                </c:pt>
                <c:pt idx="3039">
                  <c:v>0.9999680623813878</c:v>
                </c:pt>
                <c:pt idx="3040">
                  <c:v>0.99996899835114406</c:v>
                </c:pt>
                <c:pt idx="3041">
                  <c:v>0.99996972946005025</c:v>
                </c:pt>
                <c:pt idx="3042">
                  <c:v>0.99996991176741246</c:v>
                </c:pt>
                <c:pt idx="3043">
                  <c:v>0.99997027262322213</c:v>
                </c:pt>
                <c:pt idx="3044">
                  <c:v>0.99997134579336444</c:v>
                </c:pt>
                <c:pt idx="3045">
                  <c:v>0.99997152246235466</c:v>
                </c:pt>
                <c:pt idx="3046">
                  <c:v>0.99997169913134487</c:v>
                </c:pt>
                <c:pt idx="3047">
                  <c:v>0.99997274598908459</c:v>
                </c:pt>
                <c:pt idx="3048">
                  <c:v>0.99997291889916007</c:v>
                </c:pt>
                <c:pt idx="3049">
                  <c:v>0.99997444689797887</c:v>
                </c:pt>
                <c:pt idx="3050">
                  <c:v>0.99997461416968236</c:v>
                </c:pt>
                <c:pt idx="3051">
                  <c:v>0.99997511222587809</c:v>
                </c:pt>
                <c:pt idx="3052">
                  <c:v>0.99997527761812421</c:v>
                </c:pt>
                <c:pt idx="3053">
                  <c:v>0.99997560840261646</c:v>
                </c:pt>
                <c:pt idx="3054">
                  <c:v>0.99997609894098272</c:v>
                </c:pt>
                <c:pt idx="3055">
                  <c:v>0.99997658947934898</c:v>
                </c:pt>
                <c:pt idx="3056">
                  <c:v>0.99997707249988588</c:v>
                </c:pt>
                <c:pt idx="3057">
                  <c:v>0.9999773882487194</c:v>
                </c:pt>
                <c:pt idx="3058">
                  <c:v>0.9999775442436788</c:v>
                </c:pt>
                <c:pt idx="3059">
                  <c:v>0.99997769835918082</c:v>
                </c:pt>
                <c:pt idx="3060">
                  <c:v>0.99997800659018488</c:v>
                </c:pt>
                <c:pt idx="3061">
                  <c:v>0.99997845953940445</c:v>
                </c:pt>
                <c:pt idx="3062">
                  <c:v>0.99997860989599185</c:v>
                </c:pt>
                <c:pt idx="3063">
                  <c:v>0.999979203804512</c:v>
                </c:pt>
                <c:pt idx="3064">
                  <c:v>0.99998021495256206</c:v>
                </c:pt>
                <c:pt idx="3065">
                  <c:v>0.99998035779132011</c:v>
                </c:pt>
                <c:pt idx="3066">
                  <c:v>0.99998064158937883</c:v>
                </c:pt>
                <c:pt idx="3067">
                  <c:v>0.99998092350798018</c:v>
                </c:pt>
                <c:pt idx="3068">
                  <c:v>0.99998106258782349</c:v>
                </c:pt>
                <c:pt idx="3069">
                  <c:v>0.9999812016676668</c:v>
                </c:pt>
                <c:pt idx="3070">
                  <c:v>0.99998133886805274</c:v>
                </c:pt>
                <c:pt idx="3071">
                  <c:v>0.99998147606843868</c:v>
                </c:pt>
                <c:pt idx="3072">
                  <c:v>0.99998174858975331</c:v>
                </c:pt>
                <c:pt idx="3073">
                  <c:v>0.99998188391068199</c:v>
                </c:pt>
                <c:pt idx="3074">
                  <c:v>0.99998201923161067</c:v>
                </c:pt>
                <c:pt idx="3075">
                  <c:v>0.99998255487695331</c:v>
                </c:pt>
                <c:pt idx="3076">
                  <c:v>0.99998268831842463</c:v>
                </c:pt>
                <c:pt idx="3077">
                  <c:v>0.9999829533219099</c:v>
                </c:pt>
                <c:pt idx="3078">
                  <c:v>0.99998308488392385</c:v>
                </c:pt>
                <c:pt idx="3079">
                  <c:v>0.99998334800795174</c:v>
                </c:pt>
                <c:pt idx="3080">
                  <c:v>0.99998347769050833</c:v>
                </c:pt>
                <c:pt idx="3081">
                  <c:v>0.99998360549360754</c:v>
                </c:pt>
                <c:pt idx="3082">
                  <c:v>0.99998386109980597</c:v>
                </c:pt>
                <c:pt idx="3083">
                  <c:v>0.99998398890290519</c:v>
                </c:pt>
                <c:pt idx="3084">
                  <c:v>0.99998411482654714</c:v>
                </c:pt>
                <c:pt idx="3085">
                  <c:v>0.99998461100328551</c:v>
                </c:pt>
                <c:pt idx="3086">
                  <c:v>0.99998498125638191</c:v>
                </c:pt>
                <c:pt idx="3087">
                  <c:v>0.99998510342110913</c:v>
                </c:pt>
                <c:pt idx="3088">
                  <c:v>0.99998534399164885</c:v>
                </c:pt>
                <c:pt idx="3089">
                  <c:v>0.99998569920908653</c:v>
                </c:pt>
                <c:pt idx="3090">
                  <c:v>0.99998581573544176</c:v>
                </c:pt>
                <c:pt idx="3091">
                  <c:v>0.99998615967613536</c:v>
                </c:pt>
                <c:pt idx="3092">
                  <c:v>0.99998649797845685</c:v>
                </c:pt>
                <c:pt idx="3093">
                  <c:v>0.99998683628077834</c:v>
                </c:pt>
                <c:pt idx="3094">
                  <c:v>0.99998694716876158</c:v>
                </c:pt>
                <c:pt idx="3095">
                  <c:v>0.99998716894472806</c:v>
                </c:pt>
                <c:pt idx="3096">
                  <c:v>0.9999872798327113</c:v>
                </c:pt>
                <c:pt idx="3097">
                  <c:v>0.99998739072069454</c:v>
                </c:pt>
                <c:pt idx="3098">
                  <c:v>0.99998771962572952</c:v>
                </c:pt>
                <c:pt idx="3099">
                  <c:v>0.99998782863425539</c:v>
                </c:pt>
                <c:pt idx="3100">
                  <c:v>0.99998815190091828</c:v>
                </c:pt>
                <c:pt idx="3101">
                  <c:v>0.99998825902998678</c:v>
                </c:pt>
                <c:pt idx="3102">
                  <c:v>0.99998836615905529</c:v>
                </c:pt>
                <c:pt idx="3103">
                  <c:v>0.99998847140866642</c:v>
                </c:pt>
                <c:pt idx="3104">
                  <c:v>0.99998878715749984</c:v>
                </c:pt>
                <c:pt idx="3105">
                  <c:v>0.99998910290633325</c:v>
                </c:pt>
                <c:pt idx="3106">
                  <c:v>0.99998920439702976</c:v>
                </c:pt>
                <c:pt idx="3107">
                  <c:v>0.99998987536330097</c:v>
                </c:pt>
                <c:pt idx="3108">
                  <c:v>0.99999005955012055</c:v>
                </c:pt>
                <c:pt idx="3109">
                  <c:v>0.99999051625825475</c:v>
                </c:pt>
                <c:pt idx="3110">
                  <c:v>0.99999069480670222</c:v>
                </c:pt>
                <c:pt idx="3111">
                  <c:v>0.99999078126174001</c:v>
                </c:pt>
                <c:pt idx="3112">
                  <c:v>0.9999909541718156</c:v>
                </c:pt>
                <c:pt idx="3113">
                  <c:v>0.9999910406268534</c:v>
                </c:pt>
                <c:pt idx="3114">
                  <c:v>0.9999911270818912</c:v>
                </c:pt>
                <c:pt idx="3115">
                  <c:v>0.99999121353692899</c:v>
                </c:pt>
                <c:pt idx="3116">
                  <c:v>0.99999129999196679</c:v>
                </c:pt>
                <c:pt idx="3117">
                  <c:v>0.9999916439326606</c:v>
                </c:pt>
                <c:pt idx="3118">
                  <c:v>0.99999181308382146</c:v>
                </c:pt>
                <c:pt idx="3119">
                  <c:v>0.999992953914428</c:v>
                </c:pt>
                <c:pt idx="3120">
                  <c:v>0.99999332792643914</c:v>
                </c:pt>
                <c:pt idx="3121">
                  <c:v>0.99999354782294814</c:v>
                </c:pt>
                <c:pt idx="3122">
                  <c:v>0.99999369254116344</c:v>
                </c:pt>
                <c:pt idx="3123">
                  <c:v>0.99999383537992137</c:v>
                </c:pt>
                <c:pt idx="3124">
                  <c:v>0.99999419059735895</c:v>
                </c:pt>
                <c:pt idx="3125">
                  <c:v>0.99999426013728065</c:v>
                </c:pt>
                <c:pt idx="3126">
                  <c:v>0.99999432967720236</c:v>
                </c:pt>
                <c:pt idx="3127">
                  <c:v>0.99999499688455895</c:v>
                </c:pt>
                <c:pt idx="3128">
                  <c:v>0.99999562274385367</c:v>
                </c:pt>
                <c:pt idx="3129">
                  <c:v>0.99999568288648866</c:v>
                </c:pt>
                <c:pt idx="3130">
                  <c:v>0.99999580317175862</c:v>
                </c:pt>
                <c:pt idx="3131">
                  <c:v>0.99999592345702859</c:v>
                </c:pt>
                <c:pt idx="3132">
                  <c:v>0.99999603998338382</c:v>
                </c:pt>
                <c:pt idx="3133">
                  <c:v>0.99999638204462005</c:v>
                </c:pt>
                <c:pt idx="3134">
                  <c:v>0.99999654743686606</c:v>
                </c:pt>
                <c:pt idx="3135">
                  <c:v>0.99999660194112894</c:v>
                </c:pt>
                <c:pt idx="3136">
                  <c:v>0.9999967109496547</c:v>
                </c:pt>
                <c:pt idx="3137">
                  <c:v>0.99999692332833445</c:v>
                </c:pt>
                <c:pt idx="3138">
                  <c:v>0.99999697595314008</c:v>
                </c:pt>
                <c:pt idx="3139">
                  <c:v>0.99999708120275133</c:v>
                </c:pt>
                <c:pt idx="3140">
                  <c:v>0.99999718457290521</c:v>
                </c:pt>
                <c:pt idx="3141">
                  <c:v>0.99999728606360172</c:v>
                </c:pt>
                <c:pt idx="3142">
                  <c:v>0.99999733680894998</c:v>
                </c:pt>
                <c:pt idx="3143">
                  <c:v>0.99999738755429823</c:v>
                </c:pt>
                <c:pt idx="3144">
                  <c:v>0.99999743829964649</c:v>
                </c:pt>
                <c:pt idx="3145">
                  <c:v>0.99999772773607709</c:v>
                </c:pt>
                <c:pt idx="3146">
                  <c:v>0.99999777472251061</c:v>
                </c:pt>
                <c:pt idx="3147">
                  <c:v>0.99999782170894413</c:v>
                </c:pt>
                <c:pt idx="3148">
                  <c:v>0.9999978668159204</c:v>
                </c:pt>
                <c:pt idx="3149">
                  <c:v>0.99999795702987293</c:v>
                </c:pt>
                <c:pt idx="3150">
                  <c:v>0.99999804724382546</c:v>
                </c:pt>
                <c:pt idx="3151">
                  <c:v>0.99999809047134436</c:v>
                </c:pt>
                <c:pt idx="3152">
                  <c:v>0.99999813369886326</c:v>
                </c:pt>
                <c:pt idx="3153">
                  <c:v>0.99999817504692479</c:v>
                </c:pt>
                <c:pt idx="3154">
                  <c:v>0.99999825774304785</c:v>
                </c:pt>
                <c:pt idx="3155">
                  <c:v>0.99999837990777507</c:v>
                </c:pt>
                <c:pt idx="3156">
                  <c:v>0.99999841937637923</c:v>
                </c:pt>
                <c:pt idx="3157">
                  <c:v>0.9999984588449834</c:v>
                </c:pt>
                <c:pt idx="3158">
                  <c:v>0.99999853778219172</c:v>
                </c:pt>
                <c:pt idx="3159">
                  <c:v>0.99999880654459139</c:v>
                </c:pt>
                <c:pt idx="3160">
                  <c:v>0.99999899073141085</c:v>
                </c:pt>
                <c:pt idx="3161">
                  <c:v>0.99999902644110039</c:v>
                </c:pt>
                <c:pt idx="3162">
                  <c:v>0.99999906215078993</c:v>
                </c:pt>
                <c:pt idx="3163">
                  <c:v>0.99999923881978026</c:v>
                </c:pt>
                <c:pt idx="3164">
                  <c:v>0.99999937226125157</c:v>
                </c:pt>
                <c:pt idx="3165">
                  <c:v>0.99999940421202638</c:v>
                </c:pt>
                <c:pt idx="3166">
                  <c:v>0.99999977446512289</c:v>
                </c:pt>
                <c:pt idx="3167">
                  <c:v>0.99999984964341659</c:v>
                </c:pt>
                <c:pt idx="3168">
                  <c:v>0.9999999774465157</c:v>
                </c:pt>
                <c:pt idx="3169">
                  <c:v>0.9999999924821744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Soignon</c:v>
                </c:pt>
                <c:pt idx="4">
                  <c:v>St Moret</c:v>
                </c:pt>
                <c:pt idx="5">
                  <c:v>Galbani</c:v>
                </c:pt>
                <c:pt idx="6">
                  <c:v>La Vache Qui Rit</c:v>
                </c:pt>
                <c:pt idx="7">
                  <c:v>Boursin</c:v>
                </c:pt>
                <c:pt idx="8">
                  <c:v>Kiri</c:v>
                </c:pt>
                <c:pt idx="9">
                  <c:v>Others</c:v>
                </c:pt>
              </c:strCache>
            </c:strRef>
          </c:cat>
          <c:val>
            <c:numRef>
              <c:f>Sheet1!$B$2:$B$11</c:f>
              <c:numCache>
                <c:formatCode>General</c:formatCode>
                <c:ptCount val="10"/>
                <c:pt idx="0">
                  <c:v>0.44924373951365304</c:v>
                </c:pt>
                <c:pt idx="1">
                  <c:v>7.7470323493008322E-2</c:v>
                </c:pt>
                <c:pt idx="2">
                  <c:v>4.7552439643041254E-2</c:v>
                </c:pt>
                <c:pt idx="3">
                  <c:v>2.624454653822748E-2</c:v>
                </c:pt>
                <c:pt idx="4">
                  <c:v>2.3266107861103291E-2</c:v>
                </c:pt>
                <c:pt idx="5">
                  <c:v>2.2828429060585801E-2</c:v>
                </c:pt>
                <c:pt idx="6">
                  <c:v>1.6132402164864321E-2</c:v>
                </c:pt>
                <c:pt idx="7">
                  <c:v>1.4665629728665542E-2</c:v>
                </c:pt>
                <c:pt idx="8">
                  <c:v>1.2181313060979596E-2</c:v>
                </c:pt>
                <c:pt idx="9">
                  <c:v>0.31041506893587123</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Soignon</c:v>
                </c:pt>
                <c:pt idx="4">
                  <c:v>St Moret</c:v>
                </c:pt>
                <c:pt idx="5">
                  <c:v>Galbani</c:v>
                </c:pt>
                <c:pt idx="6">
                  <c:v>La Vache Qui Rit</c:v>
                </c:pt>
                <c:pt idx="7">
                  <c:v>Boursin</c:v>
                </c:pt>
                <c:pt idx="8">
                  <c:v>Kiri</c:v>
                </c:pt>
                <c:pt idx="9">
                  <c:v>Others</c:v>
                </c:pt>
              </c:strCache>
            </c:strRef>
          </c:cat>
          <c:val>
            <c:numRef>
              <c:f>Sheet1!$C$2:$C$11</c:f>
              <c:numCache>
                <c:formatCode>General</c:formatCode>
                <c:ptCount val="10"/>
                <c:pt idx="0">
                  <c:v>0.28822071378813136</c:v>
                </c:pt>
                <c:pt idx="1">
                  <c:v>5.6377274126395226E-2</c:v>
                </c:pt>
                <c:pt idx="2">
                  <c:v>5.1355160626630147E-2</c:v>
                </c:pt>
                <c:pt idx="3">
                  <c:v>2.8788050609943768E-2</c:v>
                </c:pt>
                <c:pt idx="4">
                  <c:v>1.9213634228133547E-2</c:v>
                </c:pt>
                <c:pt idx="5">
                  <c:v>2.948466635345957E-2</c:v>
                </c:pt>
                <c:pt idx="6">
                  <c:v>1.3964715602572612E-2</c:v>
                </c:pt>
                <c:pt idx="7">
                  <c:v>3.3000145803295133E-2</c:v>
                </c:pt>
                <c:pt idx="8">
                  <c:v>1.8290213358821899E-2</c:v>
                </c:pt>
                <c:pt idx="9">
                  <c:v>0.46130542550261627</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Soignon</c:v>
                </c:pt>
                <c:pt idx="4">
                  <c:v>St Moret</c:v>
                </c:pt>
                <c:pt idx="5">
                  <c:v>Galbani</c:v>
                </c:pt>
                <c:pt idx="6">
                  <c:v>La Vache Qui Rit</c:v>
                </c:pt>
                <c:pt idx="7">
                  <c:v>Boursin</c:v>
                </c:pt>
                <c:pt idx="8">
                  <c:v>Kiri</c:v>
                </c:pt>
                <c:pt idx="9">
                  <c:v>Others</c:v>
                </c:pt>
              </c:strCache>
            </c:strRef>
          </c:cat>
          <c:val>
            <c:numRef>
              <c:f>Sheet1!$D$2:$D$11</c:f>
              <c:numCache>
                <c:formatCode>General</c:formatCode>
                <c:ptCount val="10"/>
                <c:pt idx="0">
                  <c:v>64.156868184775675</c:v>
                </c:pt>
                <c:pt idx="1">
                  <c:v>72.772736171010393</c:v>
                </c:pt>
                <c:pt idx="2">
                  <c:v>107.99689986914348</c:v>
                </c:pt>
                <c:pt idx="3">
                  <c:v>109.69155274986919</c:v>
                </c:pt>
                <c:pt idx="4">
                  <c:v>82.582073214984348</c:v>
                </c:pt>
                <c:pt idx="5">
                  <c:v>129.15766685131229</c:v>
                </c:pt>
                <c:pt idx="6">
                  <c:v>86.563150731433936</c:v>
                </c:pt>
                <c:pt idx="7">
                  <c:v>225.01690288002308</c:v>
                </c:pt>
                <c:pt idx="8">
                  <c:v>150.1497684794831</c:v>
                </c:pt>
                <c:pt idx="9">
                  <c:v>148.6092241217573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980</c:f>
              <c:strCache>
                <c:ptCount val="1979"/>
                <c:pt idx="0">
                  <c:v>Private Lab</c:v>
                </c:pt>
                <c:pt idx="1">
                  <c:v>Caprice Des</c:v>
                </c:pt>
                <c:pt idx="2">
                  <c:v>Private Lab</c:v>
                </c:pt>
                <c:pt idx="3">
                  <c:v>Private Lab</c:v>
                </c:pt>
                <c:pt idx="4">
                  <c:v>Private Lab</c:v>
                </c:pt>
                <c:pt idx="5">
                  <c:v>Coeur De Li</c:v>
                </c:pt>
                <c:pt idx="6">
                  <c:v>Private Lab</c:v>
                </c:pt>
                <c:pt idx="7">
                  <c:v>President</c:v>
                </c:pt>
                <c:pt idx="8">
                  <c:v>La Vache Qu</c:v>
                </c:pt>
                <c:pt idx="9">
                  <c:v>Mini Babybe</c:v>
                </c:pt>
                <c:pt idx="10">
                  <c:v>Private Lab</c:v>
                </c:pt>
                <c:pt idx="11">
                  <c:v>Caprice Des</c:v>
                </c:pt>
                <c:pt idx="12">
                  <c:v>Private Lab</c:v>
                </c:pt>
                <c:pt idx="13">
                  <c:v>Soignon</c:v>
                </c:pt>
                <c:pt idx="14">
                  <c:v>Private Lab</c:v>
                </c:pt>
                <c:pt idx="15">
                  <c:v>Private Lab</c:v>
                </c:pt>
                <c:pt idx="16">
                  <c:v>Private Lab</c:v>
                </c:pt>
                <c:pt idx="17">
                  <c:v>Coeur De Li</c:v>
                </c:pt>
                <c:pt idx="18">
                  <c:v>Galbani</c:v>
                </c:pt>
                <c:pt idx="19">
                  <c:v>Soignon</c:v>
                </c:pt>
                <c:pt idx="20">
                  <c:v>Le Rustique</c:v>
                </c:pt>
                <c:pt idx="21">
                  <c:v>St Moret</c:v>
                </c:pt>
                <c:pt idx="22">
                  <c:v>Private Lab</c:v>
                </c:pt>
                <c:pt idx="23">
                  <c:v>Private Lab</c:v>
                </c:pt>
                <c:pt idx="24">
                  <c:v>La Vache Qu</c:v>
                </c:pt>
                <c:pt idx="25">
                  <c:v>Soignon</c:v>
                </c:pt>
                <c:pt idx="26">
                  <c:v>President</c:v>
                </c:pt>
                <c:pt idx="27">
                  <c:v>Tartare</c:v>
                </c:pt>
                <c:pt idx="28">
                  <c:v>All Others</c:v>
                </c:pt>
                <c:pt idx="29">
                  <c:v>Salakis</c:v>
                </c:pt>
                <c:pt idx="30">
                  <c:v>President</c:v>
                </c:pt>
                <c:pt idx="31">
                  <c:v>Apericube</c:v>
                </c:pt>
                <c:pt idx="32">
                  <c:v>Ficello</c:v>
                </c:pt>
                <c:pt idx="33">
                  <c:v>Private Lab</c:v>
                </c:pt>
                <c:pt idx="34">
                  <c:v>La Vache Qu</c:v>
                </c:pt>
                <c:pt idx="35">
                  <c:v>Mini Babybe</c:v>
                </c:pt>
                <c:pt idx="36">
                  <c:v>St Moret</c:v>
                </c:pt>
                <c:pt idx="37">
                  <c:v>All Others</c:v>
                </c:pt>
                <c:pt idx="38">
                  <c:v>Kiri</c:v>
                </c:pt>
                <c:pt idx="39">
                  <c:v>Private Lab</c:v>
                </c:pt>
                <c:pt idx="40">
                  <c:v>Apericube</c:v>
                </c:pt>
                <c:pt idx="41">
                  <c:v>Private Lab</c:v>
                </c:pt>
                <c:pt idx="42">
                  <c:v>Paysan Bret</c:v>
                </c:pt>
                <c:pt idx="43">
                  <c:v>Private Lab</c:v>
                </c:pt>
                <c:pt idx="44">
                  <c:v>Apericube</c:v>
                </c:pt>
                <c:pt idx="45">
                  <c:v>St Moret</c:v>
                </c:pt>
                <c:pt idx="46">
                  <c:v>Islos</c:v>
                </c:pt>
                <c:pt idx="47">
                  <c:v>Carre Frais</c:v>
                </c:pt>
                <c:pt idx="48">
                  <c:v>Kiri</c:v>
                </c:pt>
                <c:pt idx="49">
                  <c:v>Richesmonts</c:v>
                </c:pt>
                <c:pt idx="50">
                  <c:v>Private Lab</c:v>
                </c:pt>
                <c:pt idx="51">
                  <c:v>Entremont</c:v>
                </c:pt>
                <c:pt idx="52">
                  <c:v>Philadelphi</c:v>
                </c:pt>
                <c:pt idx="53">
                  <c:v>Paysan Bret</c:v>
                </c:pt>
                <c:pt idx="54">
                  <c:v>President</c:v>
                </c:pt>
                <c:pt idx="55">
                  <c:v>Private Lab</c:v>
                </c:pt>
                <c:pt idx="56">
                  <c:v>Private Lab</c:v>
                </c:pt>
                <c:pt idx="57">
                  <c:v>Private Lab</c:v>
                </c:pt>
                <c:pt idx="58">
                  <c:v>Lepetit</c:v>
                </c:pt>
                <c:pt idx="59">
                  <c:v>All Others</c:v>
                </c:pt>
                <c:pt idx="60">
                  <c:v>St Moret</c:v>
                </c:pt>
                <c:pt idx="61">
                  <c:v>Private Lab</c:v>
                </c:pt>
                <c:pt idx="62">
                  <c:v>Coeur De Li</c:v>
                </c:pt>
                <c:pt idx="63">
                  <c:v>Carre Frais</c:v>
                </c:pt>
                <c:pt idx="64">
                  <c:v>Chaussee Au</c:v>
                </c:pt>
                <c:pt idx="65">
                  <c:v>Caprice Des</c:v>
                </c:pt>
                <c:pt idx="66">
                  <c:v>Tartare</c:v>
                </c:pt>
                <c:pt idx="67">
                  <c:v>Private Lab</c:v>
                </c:pt>
                <c:pt idx="68">
                  <c:v>Private Lab</c:v>
                </c:pt>
                <c:pt idx="69">
                  <c:v>Boursin</c:v>
                </c:pt>
                <c:pt idx="70">
                  <c:v>Kiri</c:v>
                </c:pt>
                <c:pt idx="71">
                  <c:v>Casa Azzurr</c:v>
                </c:pt>
                <c:pt idx="72">
                  <c:v>Istara</c:v>
                </c:pt>
                <c:pt idx="73">
                  <c:v>Entremont</c:v>
                </c:pt>
                <c:pt idx="74">
                  <c:v>President</c:v>
                </c:pt>
                <c:pt idx="75">
                  <c:v>Private Lab</c:v>
                </c:pt>
                <c:pt idx="76">
                  <c:v>Casa Azzurr</c:v>
                </c:pt>
                <c:pt idx="77">
                  <c:v>Private Lab</c:v>
                </c:pt>
                <c:pt idx="78">
                  <c:v>St Moret</c:v>
                </c:pt>
                <c:pt idx="79">
                  <c:v>Galbani</c:v>
                </c:pt>
                <c:pt idx="80">
                  <c:v>Private Lab</c:v>
                </c:pt>
                <c:pt idx="81">
                  <c:v>Private Lab</c:v>
                </c:pt>
                <c:pt idx="82">
                  <c:v>Societe</c:v>
                </c:pt>
                <c:pt idx="83">
                  <c:v>Boursin</c:v>
                </c:pt>
                <c:pt idx="84">
                  <c:v>Private Lab</c:v>
                </c:pt>
                <c:pt idx="85">
                  <c:v>Private Lab</c:v>
                </c:pt>
                <c:pt idx="86">
                  <c:v>All Others</c:v>
                </c:pt>
                <c:pt idx="87">
                  <c:v>President</c:v>
                </c:pt>
                <c:pt idx="88">
                  <c:v>Entremont</c:v>
                </c:pt>
                <c:pt idx="89">
                  <c:v>President</c:v>
                </c:pt>
                <c:pt idx="90">
                  <c:v>Petit Billy</c:v>
                </c:pt>
                <c:pt idx="91">
                  <c:v>Juraflore</c:v>
                </c:pt>
                <c:pt idx="92">
                  <c:v>Entremont</c:v>
                </c:pt>
                <c:pt idx="93">
                  <c:v>Private Lab</c:v>
                </c:pt>
                <c:pt idx="94">
                  <c:v>Lou Perac</c:v>
                </c:pt>
                <c:pt idx="95">
                  <c:v>Private Lab</c:v>
                </c:pt>
                <c:pt idx="96">
                  <c:v>Private Lab</c:v>
                </c:pt>
                <c:pt idx="97">
                  <c:v>Philadelphi</c:v>
                </c:pt>
                <c:pt idx="98">
                  <c:v>Private Lab</c:v>
                </c:pt>
                <c:pt idx="99">
                  <c:v>Private Lab</c:v>
                </c:pt>
                <c:pt idx="100">
                  <c:v>Private Lab</c:v>
                </c:pt>
                <c:pt idx="101">
                  <c:v>Private Lab</c:v>
                </c:pt>
                <c:pt idx="102">
                  <c:v>Private Lab</c:v>
                </c:pt>
                <c:pt idx="103">
                  <c:v>Casa Azzurr</c:v>
                </c:pt>
                <c:pt idx="104">
                  <c:v>Private Lab</c:v>
                </c:pt>
                <c:pt idx="105">
                  <c:v>Boursin</c:v>
                </c:pt>
                <c:pt idx="106">
                  <c:v>President</c:v>
                </c:pt>
                <c:pt idx="107">
                  <c:v>St Moret</c:v>
                </c:pt>
                <c:pt idx="108">
                  <c:v>Private Lab</c:v>
                </c:pt>
                <c:pt idx="109">
                  <c:v>President</c:v>
                </c:pt>
                <c:pt idx="110">
                  <c:v>Private Lab</c:v>
                </c:pt>
                <c:pt idx="111">
                  <c:v>President</c:v>
                </c:pt>
                <c:pt idx="112">
                  <c:v>Kiri</c:v>
                </c:pt>
                <c:pt idx="113">
                  <c:v>St Moret</c:v>
                </c:pt>
                <c:pt idx="114">
                  <c:v>Coeur De Li</c:v>
                </c:pt>
                <c:pt idx="115">
                  <c:v>Boursin</c:v>
                </c:pt>
                <c:pt idx="116">
                  <c:v>Salakis</c:v>
                </c:pt>
                <c:pt idx="117">
                  <c:v>President</c:v>
                </c:pt>
                <c:pt idx="118">
                  <c:v>Pochat</c:v>
                </c:pt>
                <c:pt idx="119">
                  <c:v>Private Lab</c:v>
                </c:pt>
                <c:pt idx="120">
                  <c:v>Apericube</c:v>
                </c:pt>
                <c:pt idx="121">
                  <c:v>Private Lab</c:v>
                </c:pt>
                <c:pt idx="122">
                  <c:v>Apericube</c:v>
                </c:pt>
                <c:pt idx="123">
                  <c:v>Private Lab</c:v>
                </c:pt>
                <c:pt idx="124">
                  <c:v>Galbani</c:v>
                </c:pt>
                <c:pt idx="125">
                  <c:v>Private Lab</c:v>
                </c:pt>
                <c:pt idx="126">
                  <c:v>Apericube</c:v>
                </c:pt>
                <c:pt idx="127">
                  <c:v>Casa Azzurr</c:v>
                </c:pt>
                <c:pt idx="128">
                  <c:v>Private Lab</c:v>
                </c:pt>
                <c:pt idx="129">
                  <c:v>Galbani</c:v>
                </c:pt>
                <c:pt idx="130">
                  <c:v>Le Rustique</c:v>
                </c:pt>
                <c:pt idx="131">
                  <c:v>Chaussee Au</c:v>
                </c:pt>
                <c:pt idx="132">
                  <c:v>All Others</c:v>
                </c:pt>
                <c:pt idx="133">
                  <c:v>President</c:v>
                </c:pt>
                <c:pt idx="134">
                  <c:v>Casa Azzurr</c:v>
                </c:pt>
                <c:pt idx="135">
                  <c:v>Casa Azzurr</c:v>
                </c:pt>
                <c:pt idx="136">
                  <c:v>Private Lab</c:v>
                </c:pt>
                <c:pt idx="137">
                  <c:v>Richesmonts</c:v>
                </c:pt>
                <c:pt idx="138">
                  <c:v>Aperivrais</c:v>
                </c:pt>
                <c:pt idx="139">
                  <c:v>Leerdammer</c:v>
                </c:pt>
                <c:pt idx="140">
                  <c:v>All Others</c:v>
                </c:pt>
                <c:pt idx="141">
                  <c:v>Entremont</c:v>
                </c:pt>
                <c:pt idx="142">
                  <c:v>Mini Babybe</c:v>
                </c:pt>
                <c:pt idx="143">
                  <c:v>Ficello</c:v>
                </c:pt>
                <c:pt idx="144">
                  <c:v>Boursin</c:v>
                </c:pt>
                <c:pt idx="145">
                  <c:v>Mini Babybe</c:v>
                </c:pt>
                <c:pt idx="146">
                  <c:v>Le Brebiou</c:v>
                </c:pt>
                <c:pt idx="147">
                  <c:v>St Moret</c:v>
                </c:pt>
                <c:pt idx="148">
                  <c:v>Private Lab</c:v>
                </c:pt>
                <c:pt idx="149">
                  <c:v>Private Lab</c:v>
                </c:pt>
                <c:pt idx="150">
                  <c:v>Soignon</c:v>
                </c:pt>
                <c:pt idx="151">
                  <c:v>Private Lab</c:v>
                </c:pt>
                <c:pt idx="152">
                  <c:v>Salakis</c:v>
                </c:pt>
                <c:pt idx="153">
                  <c:v>Paysan Bret</c:v>
                </c:pt>
                <c:pt idx="154">
                  <c:v>Le Rustique</c:v>
                </c:pt>
                <c:pt idx="155">
                  <c:v>Richesmonts</c:v>
                </c:pt>
                <c:pt idx="156">
                  <c:v>Coeur De Li</c:v>
                </c:pt>
                <c:pt idx="157">
                  <c:v>Kiri</c:v>
                </c:pt>
                <c:pt idx="158">
                  <c:v>President</c:v>
                </c:pt>
                <c:pt idx="159">
                  <c:v>Lactalis: A</c:v>
                </c:pt>
                <c:pt idx="160">
                  <c:v>Aperivrais</c:v>
                </c:pt>
                <c:pt idx="161">
                  <c:v>Private Lab</c:v>
                </c:pt>
                <c:pt idx="162">
                  <c:v>Leerdammer</c:v>
                </c:pt>
                <c:pt idx="163">
                  <c:v>Private Lab</c:v>
                </c:pt>
                <c:pt idx="164">
                  <c:v>Private Lab</c:v>
                </c:pt>
                <c:pt idx="165">
                  <c:v>Saint Agur</c:v>
                </c:pt>
                <c:pt idx="166">
                  <c:v>Private Lab</c:v>
                </c:pt>
                <c:pt idx="167">
                  <c:v>Private Lab</c:v>
                </c:pt>
                <c:pt idx="168">
                  <c:v>Soignon</c:v>
                </c:pt>
                <c:pt idx="169">
                  <c:v>Casa Azzurr</c:v>
                </c:pt>
                <c:pt idx="170">
                  <c:v>Entremont</c:v>
                </c:pt>
                <c:pt idx="171">
                  <c:v>Etorki</c:v>
                </c:pt>
                <c:pt idx="172">
                  <c:v>All Others</c:v>
                </c:pt>
                <c:pt idx="173">
                  <c:v>Lou Perac</c:v>
                </c:pt>
                <c:pt idx="174">
                  <c:v>Richesmonts</c:v>
                </c:pt>
                <c:pt idx="175">
                  <c:v>President</c:v>
                </c:pt>
                <c:pt idx="176">
                  <c:v>L'Ortolan</c:v>
                </c:pt>
                <c:pt idx="177">
                  <c:v>Casa Azzurr</c:v>
                </c:pt>
                <c:pt idx="178">
                  <c:v>Richesmonts</c:v>
                </c:pt>
                <c:pt idx="179">
                  <c:v>Parmareggio</c:v>
                </c:pt>
                <c:pt idx="180">
                  <c:v>All Others</c:v>
                </c:pt>
                <c:pt idx="181">
                  <c:v>La Vache Qu</c:v>
                </c:pt>
                <c:pt idx="182">
                  <c:v>Chavroux</c:v>
                </c:pt>
                <c:pt idx="183">
                  <c:v>Saint Albra</c:v>
                </c:pt>
                <c:pt idx="184">
                  <c:v>Soignon</c:v>
                </c:pt>
                <c:pt idx="185">
                  <c:v>Caprice Des</c:v>
                </c:pt>
                <c:pt idx="186">
                  <c:v>President</c:v>
                </c:pt>
                <c:pt idx="187">
                  <c:v>La Vache Qu</c:v>
                </c:pt>
                <c:pt idx="188">
                  <c:v>Private Lab</c:v>
                </c:pt>
                <c:pt idx="189">
                  <c:v>All Others</c:v>
                </c:pt>
                <c:pt idx="190">
                  <c:v>Galbani</c:v>
                </c:pt>
                <c:pt idx="191">
                  <c:v>Entremont</c:v>
                </c:pt>
                <c:pt idx="192">
                  <c:v>Private Lab</c:v>
                </c:pt>
                <c:pt idx="193">
                  <c:v>Private Lab</c:v>
                </c:pt>
                <c:pt idx="194">
                  <c:v>Rondele</c:v>
                </c:pt>
                <c:pt idx="195">
                  <c:v>Private Lab</c:v>
                </c:pt>
                <c:pt idx="196">
                  <c:v>Bresse Bleu</c:v>
                </c:pt>
                <c:pt idx="197">
                  <c:v>Private Lab</c:v>
                </c:pt>
                <c:pt idx="198">
                  <c:v>All Others</c:v>
                </c:pt>
                <c:pt idx="199">
                  <c:v>All Others</c:v>
                </c:pt>
                <c:pt idx="200">
                  <c:v>Private Lab</c:v>
                </c:pt>
                <c:pt idx="201">
                  <c:v>Private Lab</c:v>
                </c:pt>
                <c:pt idx="202">
                  <c:v>Private Lab</c:v>
                </c:pt>
                <c:pt idx="203">
                  <c:v>Private Lab</c:v>
                </c:pt>
                <c:pt idx="204">
                  <c:v>Private Lab</c:v>
                </c:pt>
                <c:pt idx="205">
                  <c:v>Galbani</c:v>
                </c:pt>
                <c:pt idx="206">
                  <c:v>Lactalis: A</c:v>
                </c:pt>
                <c:pt idx="207">
                  <c:v>Boursin</c:v>
                </c:pt>
                <c:pt idx="208">
                  <c:v>All Others</c:v>
                </c:pt>
                <c:pt idx="209">
                  <c:v>All Others</c:v>
                </c:pt>
                <c:pt idx="210">
                  <c:v>Entremont</c:v>
                </c:pt>
                <c:pt idx="211">
                  <c:v>Paysan Bret</c:v>
                </c:pt>
                <c:pt idx="212">
                  <c:v>Entremont</c:v>
                </c:pt>
                <c:pt idx="213">
                  <c:v>President</c:v>
                </c:pt>
                <c:pt idx="214">
                  <c:v>Leerdammer</c:v>
                </c:pt>
                <c:pt idx="215">
                  <c:v>Leerdammer</c:v>
                </c:pt>
                <c:pt idx="216">
                  <c:v>Private Lab</c:v>
                </c:pt>
                <c:pt idx="217">
                  <c:v>Saint Agur</c:v>
                </c:pt>
                <c:pt idx="218">
                  <c:v>Saint Agur</c:v>
                </c:pt>
                <c:pt idx="219">
                  <c:v>Private Lab</c:v>
                </c:pt>
                <c:pt idx="220">
                  <c:v>Private Lab</c:v>
                </c:pt>
                <c:pt idx="221">
                  <c:v>Tartare</c:v>
                </c:pt>
                <c:pt idx="222">
                  <c:v>Istara</c:v>
                </c:pt>
                <c:pt idx="223">
                  <c:v>Private Lab</c:v>
                </c:pt>
                <c:pt idx="224">
                  <c:v>Casa Azzurr</c:v>
                </c:pt>
                <c:pt idx="225">
                  <c:v>Boursin</c:v>
                </c:pt>
                <c:pt idx="226">
                  <c:v>All Others</c:v>
                </c:pt>
                <c:pt idx="227">
                  <c:v>Lactalis: A</c:v>
                </c:pt>
                <c:pt idx="228">
                  <c:v>P'Tit Louis</c:v>
                </c:pt>
                <c:pt idx="229">
                  <c:v>Private Lab</c:v>
                </c:pt>
                <c:pt idx="230">
                  <c:v>Private Lab</c:v>
                </c:pt>
                <c:pt idx="231">
                  <c:v>Soignon</c:v>
                </c:pt>
                <c:pt idx="232">
                  <c:v>La Vache Qu</c:v>
                </c:pt>
                <c:pt idx="233">
                  <c:v>All Others</c:v>
                </c:pt>
                <c:pt idx="234">
                  <c:v>Soignon</c:v>
                </c:pt>
                <c:pt idx="235">
                  <c:v>Private Lab</c:v>
                </c:pt>
                <c:pt idx="236">
                  <c:v>Private Lab</c:v>
                </c:pt>
                <c:pt idx="237">
                  <c:v>Soignon</c:v>
                </c:pt>
                <c:pt idx="238">
                  <c:v>Chavroux</c:v>
                </c:pt>
                <c:pt idx="239">
                  <c:v>President</c:v>
                </c:pt>
                <c:pt idx="240">
                  <c:v>Galbani</c:v>
                </c:pt>
                <c:pt idx="241">
                  <c:v>President</c:v>
                </c:pt>
                <c:pt idx="242">
                  <c:v>Richesmonts</c:v>
                </c:pt>
                <c:pt idx="243">
                  <c:v>Private Lab</c:v>
                </c:pt>
                <c:pt idx="244">
                  <c:v>Private Lab</c:v>
                </c:pt>
                <c:pt idx="245">
                  <c:v>Paysan Bret</c:v>
                </c:pt>
                <c:pt idx="246">
                  <c:v>Private Lab</c:v>
                </c:pt>
                <c:pt idx="247">
                  <c:v>Port Salut</c:v>
                </c:pt>
                <c:pt idx="248">
                  <c:v>Galbani</c:v>
                </c:pt>
                <c:pt idx="249">
                  <c:v>Entremont</c:v>
                </c:pt>
                <c:pt idx="250">
                  <c:v>President</c:v>
                </c:pt>
                <c:pt idx="251">
                  <c:v>Apericube</c:v>
                </c:pt>
                <c:pt idx="252">
                  <c:v>Private Lab</c:v>
                </c:pt>
                <c:pt idx="253">
                  <c:v>President</c:v>
                </c:pt>
                <c:pt idx="254">
                  <c:v>All Others</c:v>
                </c:pt>
                <c:pt idx="255">
                  <c:v>Private Lab</c:v>
                </c:pt>
                <c:pt idx="256">
                  <c:v>Entremont</c:v>
                </c:pt>
                <c:pt idx="257">
                  <c:v>All Others</c:v>
                </c:pt>
                <c:pt idx="258">
                  <c:v>Apericube</c:v>
                </c:pt>
                <c:pt idx="259">
                  <c:v>All Others</c:v>
                </c:pt>
                <c:pt idx="260">
                  <c:v>Private Lab</c:v>
                </c:pt>
                <c:pt idx="261">
                  <c:v>Private Lab</c:v>
                </c:pt>
                <c:pt idx="262">
                  <c:v>All Others</c:v>
                </c:pt>
                <c:pt idx="263">
                  <c:v>Private Lab</c:v>
                </c:pt>
                <c:pt idx="264">
                  <c:v>Richesmonts</c:v>
                </c:pt>
                <c:pt idx="265">
                  <c:v>Caprice Des</c:v>
                </c:pt>
                <c:pt idx="266">
                  <c:v>All Others</c:v>
                </c:pt>
                <c:pt idx="267">
                  <c:v>Leerdammer</c:v>
                </c:pt>
                <c:pt idx="268">
                  <c:v>Private Lab</c:v>
                </c:pt>
                <c:pt idx="269">
                  <c:v>All Others</c:v>
                </c:pt>
                <c:pt idx="270">
                  <c:v>Paysan Bret</c:v>
                </c:pt>
                <c:pt idx="271">
                  <c:v>All Others</c:v>
                </c:pt>
                <c:pt idx="272">
                  <c:v>Private Lab</c:v>
                </c:pt>
                <c:pt idx="273">
                  <c:v>All Others</c:v>
                </c:pt>
                <c:pt idx="274">
                  <c:v>Aperivrais</c:v>
                </c:pt>
                <c:pt idx="275">
                  <c:v>Le Rustique</c:v>
                </c:pt>
                <c:pt idx="276">
                  <c:v>All Others</c:v>
                </c:pt>
                <c:pt idx="277">
                  <c:v>All Others</c:v>
                </c:pt>
                <c:pt idx="278">
                  <c:v>All Others</c:v>
                </c:pt>
                <c:pt idx="279">
                  <c:v>All Others</c:v>
                </c:pt>
                <c:pt idx="280">
                  <c:v>Lactalis: A</c:v>
                </c:pt>
                <c:pt idx="281">
                  <c:v>Private Lab</c:v>
                </c:pt>
                <c:pt idx="282">
                  <c:v>All Others</c:v>
                </c:pt>
                <c:pt idx="283">
                  <c:v>Private Lab</c:v>
                </c:pt>
                <c:pt idx="284">
                  <c:v>Societe</c:v>
                </c:pt>
                <c:pt idx="285">
                  <c:v>Bresse Bleu</c:v>
                </c:pt>
                <c:pt idx="286">
                  <c:v>Private Lab</c:v>
                </c:pt>
                <c:pt idx="287">
                  <c:v>Private Lab</c:v>
                </c:pt>
                <c:pt idx="288">
                  <c:v>All Others</c:v>
                </c:pt>
                <c:pt idx="289">
                  <c:v>Private Lab</c:v>
                </c:pt>
                <c:pt idx="290">
                  <c:v>All Others</c:v>
                </c:pt>
                <c:pt idx="291">
                  <c:v>Private Lab</c:v>
                </c:pt>
                <c:pt idx="292">
                  <c:v>Casa Azzurr</c:v>
                </c:pt>
                <c:pt idx="293">
                  <c:v>President</c:v>
                </c:pt>
                <c:pt idx="294">
                  <c:v>Kiri</c:v>
                </c:pt>
                <c:pt idx="295">
                  <c:v>Saint Agur</c:v>
                </c:pt>
                <c:pt idx="296">
                  <c:v>President</c:v>
                </c:pt>
                <c:pt idx="297">
                  <c:v>Private Lab</c:v>
                </c:pt>
                <c:pt idx="298">
                  <c:v>Richesmonts</c:v>
                </c:pt>
                <c:pt idx="299">
                  <c:v>Casa Azzurr</c:v>
                </c:pt>
                <c:pt idx="300">
                  <c:v>Leerdammer</c:v>
                </c:pt>
                <c:pt idx="301">
                  <c:v>Private Lab</c:v>
                </c:pt>
                <c:pt idx="302">
                  <c:v>Entremont</c:v>
                </c:pt>
                <c:pt idx="303">
                  <c:v>Pochat</c:v>
                </c:pt>
                <c:pt idx="304">
                  <c:v>Soignon</c:v>
                </c:pt>
                <c:pt idx="305">
                  <c:v>Soignon</c:v>
                </c:pt>
                <c:pt idx="306">
                  <c:v>Private Lab</c:v>
                </c:pt>
                <c:pt idx="307">
                  <c:v>All Others</c:v>
                </c:pt>
                <c:pt idx="308">
                  <c:v>La Vache Qu</c:v>
                </c:pt>
                <c:pt idx="309">
                  <c:v>Salakis</c:v>
                </c:pt>
                <c:pt idx="310">
                  <c:v>Private Lab</c:v>
                </c:pt>
                <c:pt idx="311">
                  <c:v>All Others</c:v>
                </c:pt>
                <c:pt idx="312">
                  <c:v>Casa Azzurr</c:v>
                </c:pt>
                <c:pt idx="313">
                  <c:v>Private Lab</c:v>
                </c:pt>
                <c:pt idx="314">
                  <c:v>Private Lab</c:v>
                </c:pt>
                <c:pt idx="315">
                  <c:v>Private Lab</c:v>
                </c:pt>
                <c:pt idx="316">
                  <c:v>Entremont</c:v>
                </c:pt>
                <c:pt idx="317">
                  <c:v>All Others</c:v>
                </c:pt>
                <c:pt idx="318">
                  <c:v>Leerdammer</c:v>
                </c:pt>
                <c:pt idx="319">
                  <c:v>Salakis</c:v>
                </c:pt>
                <c:pt idx="320">
                  <c:v>Saint Albra</c:v>
                </c:pt>
                <c:pt idx="321">
                  <c:v>Tartare</c:v>
                </c:pt>
                <c:pt idx="322">
                  <c:v>Fol Epi</c:v>
                </c:pt>
                <c:pt idx="323">
                  <c:v>Savencia: A</c:v>
                </c:pt>
                <c:pt idx="324">
                  <c:v>Societe</c:v>
                </c:pt>
                <c:pt idx="325">
                  <c:v>All Others</c:v>
                </c:pt>
                <c:pt idx="326">
                  <c:v>Paysan Bret</c:v>
                </c:pt>
                <c:pt idx="327">
                  <c:v>Private Lab</c:v>
                </c:pt>
                <c:pt idx="328">
                  <c:v>Private Lab</c:v>
                </c:pt>
                <c:pt idx="329">
                  <c:v>Boursin</c:v>
                </c:pt>
                <c:pt idx="330">
                  <c:v>All Others</c:v>
                </c:pt>
                <c:pt idx="331">
                  <c:v>Richesmonts</c:v>
                </c:pt>
                <c:pt idx="332">
                  <c:v>Salakis</c:v>
                </c:pt>
                <c:pt idx="333">
                  <c:v>Babybel</c:v>
                </c:pt>
                <c:pt idx="334">
                  <c:v>All Others</c:v>
                </c:pt>
                <c:pt idx="335">
                  <c:v>Private Lab</c:v>
                </c:pt>
                <c:pt idx="336">
                  <c:v>Entremont</c:v>
                </c:pt>
                <c:pt idx="337">
                  <c:v>Galbani</c:v>
                </c:pt>
                <c:pt idx="338">
                  <c:v>All Others</c:v>
                </c:pt>
                <c:pt idx="339">
                  <c:v>Boursin</c:v>
                </c:pt>
                <c:pt idx="340">
                  <c:v>Private Lab</c:v>
                </c:pt>
                <c:pt idx="341">
                  <c:v>Private Lab</c:v>
                </c:pt>
                <c:pt idx="342">
                  <c:v>Private Lab</c:v>
                </c:pt>
                <c:pt idx="343">
                  <c:v>Private Lab</c:v>
                </c:pt>
                <c:pt idx="344">
                  <c:v>Private Lab</c:v>
                </c:pt>
                <c:pt idx="345">
                  <c:v>Savencia: A</c:v>
                </c:pt>
                <c:pt idx="346">
                  <c:v>Private Lab</c:v>
                </c:pt>
                <c:pt idx="347">
                  <c:v>Soignon</c:v>
                </c:pt>
                <c:pt idx="348">
                  <c:v>All Others</c:v>
                </c:pt>
                <c:pt idx="349">
                  <c:v>Cousteron</c:v>
                </c:pt>
                <c:pt idx="350">
                  <c:v>All Others</c:v>
                </c:pt>
                <c:pt idx="351">
                  <c:v>Private Lab</c:v>
                </c:pt>
                <c:pt idx="352">
                  <c:v>Private Lab</c:v>
                </c:pt>
                <c:pt idx="353">
                  <c:v>Private Lab</c:v>
                </c:pt>
                <c:pt idx="354">
                  <c:v>Lou Perac</c:v>
                </c:pt>
                <c:pt idx="355">
                  <c:v>Chavroux</c:v>
                </c:pt>
                <c:pt idx="356">
                  <c:v>All Others</c:v>
                </c:pt>
                <c:pt idx="357">
                  <c:v>Private Lab</c:v>
                </c:pt>
                <c:pt idx="358">
                  <c:v>Etoile Du Q</c:v>
                </c:pt>
                <c:pt idx="359">
                  <c:v>Private Lab</c:v>
                </c:pt>
                <c:pt idx="360">
                  <c:v>Private Lab</c:v>
                </c:pt>
                <c:pt idx="361">
                  <c:v>Private Lab</c:v>
                </c:pt>
                <c:pt idx="362">
                  <c:v>Private Lab</c:v>
                </c:pt>
                <c:pt idx="363">
                  <c:v>Societe</c:v>
                </c:pt>
                <c:pt idx="364">
                  <c:v>All Others</c:v>
                </c:pt>
                <c:pt idx="365">
                  <c:v>All Others</c:v>
                </c:pt>
                <c:pt idx="366">
                  <c:v>La Vache Qu</c:v>
                </c:pt>
                <c:pt idx="367">
                  <c:v>All Others</c:v>
                </c:pt>
                <c:pt idx="368">
                  <c:v>All Others</c:v>
                </c:pt>
                <c:pt idx="369">
                  <c:v>Pave D'Affi</c:v>
                </c:pt>
                <c:pt idx="370">
                  <c:v>Richesmonts</c:v>
                </c:pt>
                <c:pt idx="371">
                  <c:v>All Others</c:v>
                </c:pt>
                <c:pt idx="372">
                  <c:v>Galbani</c:v>
                </c:pt>
                <c:pt idx="373">
                  <c:v>Entremont</c:v>
                </c:pt>
                <c:pt idx="374">
                  <c:v>Private Lab</c:v>
                </c:pt>
                <c:pt idx="375">
                  <c:v>Casa Azzurr</c:v>
                </c:pt>
                <c:pt idx="376">
                  <c:v>Apericube</c:v>
                </c:pt>
                <c:pt idx="377">
                  <c:v>All Others</c:v>
                </c:pt>
                <c:pt idx="378">
                  <c:v>Private Lab</c:v>
                </c:pt>
                <c:pt idx="379">
                  <c:v>Private Lab</c:v>
                </c:pt>
                <c:pt idx="380">
                  <c:v>Entremont</c:v>
                </c:pt>
                <c:pt idx="381">
                  <c:v>Private Lab</c:v>
                </c:pt>
                <c:pt idx="382">
                  <c:v>Fauquet</c:v>
                </c:pt>
                <c:pt idx="383">
                  <c:v>All Others</c:v>
                </c:pt>
                <c:pt idx="384">
                  <c:v>President</c:v>
                </c:pt>
                <c:pt idx="385">
                  <c:v>La Pointe P</c:v>
                </c:pt>
                <c:pt idx="386">
                  <c:v>All Others</c:v>
                </c:pt>
                <c:pt idx="387">
                  <c:v>Mini Babybe</c:v>
                </c:pt>
                <c:pt idx="388">
                  <c:v>Private Lab</c:v>
                </c:pt>
                <c:pt idx="389">
                  <c:v>President</c:v>
                </c:pt>
                <c:pt idx="390">
                  <c:v>All Others</c:v>
                </c:pt>
                <c:pt idx="391">
                  <c:v>Private Lab</c:v>
                </c:pt>
                <c:pt idx="392">
                  <c:v>President</c:v>
                </c:pt>
                <c:pt idx="393">
                  <c:v>Mini Babybe</c:v>
                </c:pt>
                <c:pt idx="394">
                  <c:v>All Others</c:v>
                </c:pt>
                <c:pt idx="395">
                  <c:v>La Pointe P</c:v>
                </c:pt>
                <c:pt idx="396">
                  <c:v>Soignon</c:v>
                </c:pt>
                <c:pt idx="397">
                  <c:v>All Others</c:v>
                </c:pt>
                <c:pt idx="398">
                  <c:v>Private Lab</c:v>
                </c:pt>
                <c:pt idx="399">
                  <c:v>Saint Agur</c:v>
                </c:pt>
                <c:pt idx="400">
                  <c:v>All Others</c:v>
                </c:pt>
                <c:pt idx="401">
                  <c:v>Triballat N</c:v>
                </c:pt>
                <c:pt idx="402">
                  <c:v>Private Lab</c:v>
                </c:pt>
                <c:pt idx="403">
                  <c:v>All Others</c:v>
                </c:pt>
                <c:pt idx="404">
                  <c:v>Private Lab</c:v>
                </c:pt>
                <c:pt idx="405">
                  <c:v>La Pointe P</c:v>
                </c:pt>
                <c:pt idx="406">
                  <c:v>Private Lab</c:v>
                </c:pt>
                <c:pt idx="407">
                  <c:v>Etoile Du V</c:v>
                </c:pt>
                <c:pt idx="408">
                  <c:v>All Others</c:v>
                </c:pt>
                <c:pt idx="409">
                  <c:v>Private Lab</c:v>
                </c:pt>
                <c:pt idx="410">
                  <c:v>All Others</c:v>
                </c:pt>
                <c:pt idx="411">
                  <c:v>St Moret</c:v>
                </c:pt>
                <c:pt idx="412">
                  <c:v>Aperivrais</c:v>
                </c:pt>
                <c:pt idx="413">
                  <c:v>Apericube</c:v>
                </c:pt>
                <c:pt idx="414">
                  <c:v>All Others</c:v>
                </c:pt>
                <c:pt idx="415">
                  <c:v>All Others</c:v>
                </c:pt>
                <c:pt idx="416">
                  <c:v>President</c:v>
                </c:pt>
                <c:pt idx="417">
                  <c:v>Pave D'Affi</c:v>
                </c:pt>
                <c:pt idx="418">
                  <c:v>St Moret</c:v>
                </c:pt>
                <c:pt idx="419">
                  <c:v>All Others</c:v>
                </c:pt>
                <c:pt idx="420">
                  <c:v>Fauquet</c:v>
                </c:pt>
                <c:pt idx="421">
                  <c:v>All Others</c:v>
                </c:pt>
                <c:pt idx="422">
                  <c:v>Private Lab</c:v>
                </c:pt>
                <c:pt idx="423">
                  <c:v>Casa Azzurr</c:v>
                </c:pt>
                <c:pt idx="424">
                  <c:v>Private Lab</c:v>
                </c:pt>
                <c:pt idx="425">
                  <c:v>L'Ortolan</c:v>
                </c:pt>
                <c:pt idx="426">
                  <c:v>All Others</c:v>
                </c:pt>
                <c:pt idx="427">
                  <c:v>All Others</c:v>
                </c:pt>
                <c:pt idx="428">
                  <c:v>Savencia: A</c:v>
                </c:pt>
                <c:pt idx="429">
                  <c:v>La Pointe P</c:v>
                </c:pt>
                <c:pt idx="430">
                  <c:v>All Others</c:v>
                </c:pt>
                <c:pt idx="431">
                  <c:v>Vieux Pane</c:v>
                </c:pt>
                <c:pt idx="432">
                  <c:v>Private Lab</c:v>
                </c:pt>
                <c:pt idx="433">
                  <c:v>All Others</c:v>
                </c:pt>
                <c:pt idx="434">
                  <c:v>All Others</c:v>
                </c:pt>
                <c:pt idx="435">
                  <c:v>Chaussee Au</c:v>
                </c:pt>
                <c:pt idx="436">
                  <c:v>Private Lab</c:v>
                </c:pt>
                <c:pt idx="437">
                  <c:v>All Others</c:v>
                </c:pt>
                <c:pt idx="438">
                  <c:v>Private Lab</c:v>
                </c:pt>
                <c:pt idx="439">
                  <c:v>Ficello</c:v>
                </c:pt>
                <c:pt idx="440">
                  <c:v>Savencia: A</c:v>
                </c:pt>
                <c:pt idx="441">
                  <c:v>All Others</c:v>
                </c:pt>
                <c:pt idx="442">
                  <c:v>St Moret</c:v>
                </c:pt>
                <c:pt idx="443">
                  <c:v>Galbani</c:v>
                </c:pt>
                <c:pt idx="444">
                  <c:v>Galbani</c:v>
                </c:pt>
                <c:pt idx="445">
                  <c:v>Private Lab</c:v>
                </c:pt>
                <c:pt idx="446">
                  <c:v>Private Lab</c:v>
                </c:pt>
                <c:pt idx="447">
                  <c:v>Private Lab</c:v>
                </c:pt>
                <c:pt idx="448">
                  <c:v>Soignon</c:v>
                </c:pt>
                <c:pt idx="449">
                  <c:v>Private Lab</c:v>
                </c:pt>
                <c:pt idx="450">
                  <c:v>Casa Azzurr</c:v>
                </c:pt>
                <c:pt idx="451">
                  <c:v>Pave D'Affi</c:v>
                </c:pt>
                <c:pt idx="452">
                  <c:v>Private Lab</c:v>
                </c:pt>
                <c:pt idx="453">
                  <c:v>Entremont</c:v>
                </c:pt>
                <c:pt idx="454">
                  <c:v>Le Rustique</c:v>
                </c:pt>
                <c:pt idx="455">
                  <c:v>Private Lab</c:v>
                </c:pt>
                <c:pt idx="456">
                  <c:v>Boursin</c:v>
                </c:pt>
                <c:pt idx="457">
                  <c:v>All Others</c:v>
                </c:pt>
                <c:pt idx="458">
                  <c:v>All Others</c:v>
                </c:pt>
                <c:pt idx="459">
                  <c:v>Private Lab</c:v>
                </c:pt>
                <c:pt idx="460">
                  <c:v>Galbani</c:v>
                </c:pt>
                <c:pt idx="461">
                  <c:v>All Others</c:v>
                </c:pt>
                <c:pt idx="462">
                  <c:v>Lactalis: A</c:v>
                </c:pt>
                <c:pt idx="463">
                  <c:v>Casa Azzurr</c:v>
                </c:pt>
                <c:pt idx="464">
                  <c:v>All Others</c:v>
                </c:pt>
                <c:pt idx="465">
                  <c:v>Lou Perac</c:v>
                </c:pt>
                <c:pt idx="466">
                  <c:v>All Others</c:v>
                </c:pt>
                <c:pt idx="467">
                  <c:v>Boursin</c:v>
                </c:pt>
                <c:pt idx="468">
                  <c:v>All Others</c:v>
                </c:pt>
                <c:pt idx="469">
                  <c:v>All Others</c:v>
                </c:pt>
                <c:pt idx="470">
                  <c:v>Private Lab</c:v>
                </c:pt>
                <c:pt idx="471">
                  <c:v>Private Lab</c:v>
                </c:pt>
                <c:pt idx="472">
                  <c:v>St Moret</c:v>
                </c:pt>
                <c:pt idx="473">
                  <c:v>All Others</c:v>
                </c:pt>
                <c:pt idx="474">
                  <c:v>All Others</c:v>
                </c:pt>
                <c:pt idx="475">
                  <c:v>Private Lab</c:v>
                </c:pt>
                <c:pt idx="476">
                  <c:v>Mini Babybe</c:v>
                </c:pt>
                <c:pt idx="477">
                  <c:v>Private Lab</c:v>
                </c:pt>
                <c:pt idx="478">
                  <c:v>Private Lab</c:v>
                </c:pt>
                <c:pt idx="479">
                  <c:v>All Others</c:v>
                </c:pt>
                <c:pt idx="480">
                  <c:v>All Others</c:v>
                </c:pt>
                <c:pt idx="481">
                  <c:v>President</c:v>
                </c:pt>
                <c:pt idx="482">
                  <c:v>Tartare</c:v>
                </c:pt>
                <c:pt idx="483">
                  <c:v>Private Lab</c:v>
                </c:pt>
                <c:pt idx="484">
                  <c:v>All Others</c:v>
                </c:pt>
                <c:pt idx="485">
                  <c:v>All Others</c:v>
                </c:pt>
                <c:pt idx="486">
                  <c:v>All Others</c:v>
                </c:pt>
                <c:pt idx="487">
                  <c:v>Private Lab</c:v>
                </c:pt>
                <c:pt idx="488">
                  <c:v>All Others</c:v>
                </c:pt>
                <c:pt idx="489">
                  <c:v>Kiri</c:v>
                </c:pt>
                <c:pt idx="490">
                  <c:v>All Others</c:v>
                </c:pt>
                <c:pt idx="491">
                  <c:v>All Others</c:v>
                </c:pt>
                <c:pt idx="492">
                  <c:v>Societe</c:v>
                </c:pt>
                <c:pt idx="493">
                  <c:v>Soignon</c:v>
                </c:pt>
                <c:pt idx="494">
                  <c:v>President</c:v>
                </c:pt>
                <c:pt idx="495">
                  <c:v>Savencia: A</c:v>
                </c:pt>
                <c:pt idx="496">
                  <c:v>Philadelphi</c:v>
                </c:pt>
                <c:pt idx="497">
                  <c:v>All Others</c:v>
                </c:pt>
                <c:pt idx="498">
                  <c:v>Leerdammer</c:v>
                </c:pt>
                <c:pt idx="499">
                  <c:v>Private Lab</c:v>
                </c:pt>
                <c:pt idx="500">
                  <c:v>Private Lab</c:v>
                </c:pt>
                <c:pt idx="501">
                  <c:v>Pave D'Affi</c:v>
                </c:pt>
                <c:pt idx="502">
                  <c:v>La Pointe P</c:v>
                </c:pt>
                <c:pt idx="503">
                  <c:v>Private Lab</c:v>
                </c:pt>
                <c:pt idx="504">
                  <c:v>All Others</c:v>
                </c:pt>
                <c:pt idx="505">
                  <c:v>All Others</c:v>
                </c:pt>
                <c:pt idx="506">
                  <c:v>Private Lab</c:v>
                </c:pt>
                <c:pt idx="507">
                  <c:v>La Pointe P</c:v>
                </c:pt>
                <c:pt idx="508">
                  <c:v>Etoile Du V</c:v>
                </c:pt>
                <c:pt idx="509">
                  <c:v>Kiri</c:v>
                </c:pt>
                <c:pt idx="510">
                  <c:v>Kiri</c:v>
                </c:pt>
                <c:pt idx="511">
                  <c:v>President</c:v>
                </c:pt>
                <c:pt idx="512">
                  <c:v>Islos</c:v>
                </c:pt>
                <c:pt idx="513">
                  <c:v>Casa Azzurr</c:v>
                </c:pt>
                <c:pt idx="514">
                  <c:v>Kiri</c:v>
                </c:pt>
                <c:pt idx="515">
                  <c:v>President</c:v>
                </c:pt>
                <c:pt idx="516">
                  <c:v>All Others</c:v>
                </c:pt>
                <c:pt idx="517">
                  <c:v>Private Lab</c:v>
                </c:pt>
                <c:pt idx="518">
                  <c:v>Rondele</c:v>
                </c:pt>
                <c:pt idx="519">
                  <c:v>Private Lab</c:v>
                </c:pt>
                <c:pt idx="520">
                  <c:v>All Others</c:v>
                </c:pt>
                <c:pt idx="521">
                  <c:v>All Others</c:v>
                </c:pt>
                <c:pt idx="522">
                  <c:v>Rondele</c:v>
                </c:pt>
                <c:pt idx="523">
                  <c:v>Entremont</c:v>
                </c:pt>
                <c:pt idx="524">
                  <c:v>Leerdammer</c:v>
                </c:pt>
                <c:pt idx="525">
                  <c:v>Leerdammer</c:v>
                </c:pt>
                <c:pt idx="526">
                  <c:v>Galbani</c:v>
                </c:pt>
                <c:pt idx="527">
                  <c:v>Private Lab</c:v>
                </c:pt>
                <c:pt idx="528">
                  <c:v>Fauquet</c:v>
                </c:pt>
                <c:pt idx="529">
                  <c:v>All Others</c:v>
                </c:pt>
                <c:pt idx="530">
                  <c:v>Casa Azzurr</c:v>
                </c:pt>
                <c:pt idx="531">
                  <c:v>All Others</c:v>
                </c:pt>
                <c:pt idx="532">
                  <c:v>All Others</c:v>
                </c:pt>
                <c:pt idx="533">
                  <c:v>All Others</c:v>
                </c:pt>
                <c:pt idx="534">
                  <c:v>Private Lab</c:v>
                </c:pt>
                <c:pt idx="535">
                  <c:v>All Others</c:v>
                </c:pt>
                <c:pt idx="536">
                  <c:v>All Others</c:v>
                </c:pt>
                <c:pt idx="537">
                  <c:v>All Others</c:v>
                </c:pt>
                <c:pt idx="538">
                  <c:v>Entremont</c:v>
                </c:pt>
                <c:pt idx="539">
                  <c:v>Le Coq Crem</c:v>
                </c:pt>
                <c:pt idx="540">
                  <c:v>All Others</c:v>
                </c:pt>
                <c:pt idx="541">
                  <c:v>Violife</c:v>
                </c:pt>
                <c:pt idx="542">
                  <c:v>Private Lab</c:v>
                </c:pt>
                <c:pt idx="543">
                  <c:v>All Others</c:v>
                </c:pt>
                <c:pt idx="544">
                  <c:v>All Others</c:v>
                </c:pt>
                <c:pt idx="545">
                  <c:v>Triballat R</c:v>
                </c:pt>
                <c:pt idx="546">
                  <c:v>Corsica</c:v>
                </c:pt>
                <c:pt idx="547">
                  <c:v>All Others</c:v>
                </c:pt>
                <c:pt idx="548">
                  <c:v>Le Brebiou</c:v>
                </c:pt>
                <c:pt idx="549">
                  <c:v>Juraflore</c:v>
                </c:pt>
                <c:pt idx="550">
                  <c:v>Saint Agur</c:v>
                </c:pt>
                <c:pt idx="551">
                  <c:v>All Others</c:v>
                </c:pt>
                <c:pt idx="552">
                  <c:v>Private Lab</c:v>
                </c:pt>
                <c:pt idx="553">
                  <c:v>President</c:v>
                </c:pt>
                <c:pt idx="554">
                  <c:v>Entremont</c:v>
                </c:pt>
                <c:pt idx="555">
                  <c:v>Private Lab</c:v>
                </c:pt>
                <c:pt idx="556">
                  <c:v>All Others</c:v>
                </c:pt>
                <c:pt idx="557">
                  <c:v>All Others</c:v>
                </c:pt>
                <c:pt idx="558">
                  <c:v>Apericube</c:v>
                </c:pt>
                <c:pt idx="559">
                  <c:v>All Others</c:v>
                </c:pt>
                <c:pt idx="560">
                  <c:v>All Others</c:v>
                </c:pt>
                <c:pt idx="561">
                  <c:v>All Others</c:v>
                </c:pt>
                <c:pt idx="562">
                  <c:v>All Others</c:v>
                </c:pt>
                <c:pt idx="563">
                  <c:v>All Others</c:v>
                </c:pt>
                <c:pt idx="564">
                  <c:v>All Others</c:v>
                </c:pt>
                <c:pt idx="565">
                  <c:v>Private Lab</c:v>
                </c:pt>
                <c:pt idx="566">
                  <c:v>Leerdammer</c:v>
                </c:pt>
                <c:pt idx="567">
                  <c:v>All Others</c:v>
                </c:pt>
                <c:pt idx="568">
                  <c:v>All Others</c:v>
                </c:pt>
                <c:pt idx="569">
                  <c:v>Ficello</c:v>
                </c:pt>
                <c:pt idx="570">
                  <c:v>Boursin</c:v>
                </c:pt>
                <c:pt idx="571">
                  <c:v>Private Lab</c:v>
                </c:pt>
                <c:pt idx="572">
                  <c:v>Savencia: A</c:v>
                </c:pt>
                <c:pt idx="573">
                  <c:v>Apericube</c:v>
                </c:pt>
                <c:pt idx="574">
                  <c:v>P'Tit Louis</c:v>
                </c:pt>
                <c:pt idx="575">
                  <c:v>All Others</c:v>
                </c:pt>
                <c:pt idx="576">
                  <c:v>All Others</c:v>
                </c:pt>
                <c:pt idx="577">
                  <c:v>Apericube</c:v>
                </c:pt>
                <c:pt idx="578">
                  <c:v>All Others</c:v>
                </c:pt>
                <c:pt idx="579">
                  <c:v>All Others</c:v>
                </c:pt>
                <c:pt idx="580">
                  <c:v>Lou Perac</c:v>
                </c:pt>
                <c:pt idx="581">
                  <c:v>All Others</c:v>
                </c:pt>
                <c:pt idx="582">
                  <c:v>All Others</c:v>
                </c:pt>
                <c:pt idx="583">
                  <c:v>Lactalis: A</c:v>
                </c:pt>
                <c:pt idx="584">
                  <c:v>Richesmonts</c:v>
                </c:pt>
                <c:pt idx="585">
                  <c:v>All Others</c:v>
                </c:pt>
                <c:pt idx="586">
                  <c:v>Leerdammer</c:v>
                </c:pt>
                <c:pt idx="587">
                  <c:v>President</c:v>
                </c:pt>
                <c:pt idx="588">
                  <c:v>Eurial Autr</c:v>
                </c:pt>
                <c:pt idx="589">
                  <c:v>Mini Babybe</c:v>
                </c:pt>
                <c:pt idx="590">
                  <c:v>All Others</c:v>
                </c:pt>
                <c:pt idx="591">
                  <c:v>Private Lab</c:v>
                </c:pt>
                <c:pt idx="592">
                  <c:v>Soignon</c:v>
                </c:pt>
                <c:pt idx="593">
                  <c:v>All Others</c:v>
                </c:pt>
                <c:pt idx="594">
                  <c:v>Galbani</c:v>
                </c:pt>
                <c:pt idx="595">
                  <c:v>All Others</c:v>
                </c:pt>
                <c:pt idx="596">
                  <c:v>All Others</c:v>
                </c:pt>
                <c:pt idx="597">
                  <c:v>Pave D'Affi</c:v>
                </c:pt>
                <c:pt idx="598">
                  <c:v>All Others</c:v>
                </c:pt>
                <c:pt idx="599">
                  <c:v>Private Lab</c:v>
                </c:pt>
                <c:pt idx="600">
                  <c:v>Soignon</c:v>
                </c:pt>
                <c:pt idx="601">
                  <c:v>La Vache Qu</c:v>
                </c:pt>
                <c:pt idx="602">
                  <c:v>All Others</c:v>
                </c:pt>
                <c:pt idx="603">
                  <c:v>Private Lab</c:v>
                </c:pt>
                <c:pt idx="604">
                  <c:v>All Others</c:v>
                </c:pt>
                <c:pt idx="605">
                  <c:v>Private Lab</c:v>
                </c:pt>
                <c:pt idx="606">
                  <c:v>Private Lab</c:v>
                </c:pt>
                <c:pt idx="607">
                  <c:v>All Others</c:v>
                </c:pt>
                <c:pt idx="608">
                  <c:v>Casa Azzurr</c:v>
                </c:pt>
                <c:pt idx="609">
                  <c:v>Entremont</c:v>
                </c:pt>
                <c:pt idx="610">
                  <c:v>Etoile Du V</c:v>
                </c:pt>
                <c:pt idx="611">
                  <c:v>Private Lab</c:v>
                </c:pt>
                <c:pt idx="612">
                  <c:v>All Others</c:v>
                </c:pt>
                <c:pt idx="613">
                  <c:v>Boursin</c:v>
                </c:pt>
                <c:pt idx="614">
                  <c:v>Saint Agur</c:v>
                </c:pt>
                <c:pt idx="615">
                  <c:v>Soignon</c:v>
                </c:pt>
                <c:pt idx="616">
                  <c:v>All Others</c:v>
                </c:pt>
                <c:pt idx="617">
                  <c:v>Eurial Autr</c:v>
                </c:pt>
                <c:pt idx="618">
                  <c:v>All Others</c:v>
                </c:pt>
                <c:pt idx="619">
                  <c:v>Triballat R</c:v>
                </c:pt>
                <c:pt idx="620">
                  <c:v>Violife</c:v>
                </c:pt>
                <c:pt idx="621">
                  <c:v>Private Lab</c:v>
                </c:pt>
                <c:pt idx="622">
                  <c:v>All Others</c:v>
                </c:pt>
                <c:pt idx="623">
                  <c:v>Apericube</c:v>
                </c:pt>
                <c:pt idx="624">
                  <c:v>Apericube</c:v>
                </c:pt>
                <c:pt idx="625">
                  <c:v>Richesmonts</c:v>
                </c:pt>
                <c:pt idx="626">
                  <c:v>All Others</c:v>
                </c:pt>
                <c:pt idx="627">
                  <c:v>All Others</c:v>
                </c:pt>
                <c:pt idx="628">
                  <c:v>All Others</c:v>
                </c:pt>
                <c:pt idx="629">
                  <c:v>Pochat</c:v>
                </c:pt>
                <c:pt idx="630">
                  <c:v>All Others</c:v>
                </c:pt>
                <c:pt idx="631">
                  <c:v>Lactalis: A</c:v>
                </c:pt>
                <c:pt idx="632">
                  <c:v>P'Tit Louis</c:v>
                </c:pt>
                <c:pt idx="633">
                  <c:v>Richesmonts</c:v>
                </c:pt>
                <c:pt idx="634">
                  <c:v>All Others</c:v>
                </c:pt>
                <c:pt idx="635">
                  <c:v>Casa Azzurr</c:v>
                </c:pt>
                <c:pt idx="636">
                  <c:v>All Others</c:v>
                </c:pt>
                <c:pt idx="637">
                  <c:v>President</c:v>
                </c:pt>
                <c:pt idx="638">
                  <c:v>Violife</c:v>
                </c:pt>
                <c:pt idx="639">
                  <c:v>All Others</c:v>
                </c:pt>
                <c:pt idx="640">
                  <c:v>All Others</c:v>
                </c:pt>
                <c:pt idx="641">
                  <c:v>Salakis</c:v>
                </c:pt>
                <c:pt idx="642">
                  <c:v>All Others</c:v>
                </c:pt>
                <c:pt idx="643">
                  <c:v>Apericube</c:v>
                </c:pt>
                <c:pt idx="644">
                  <c:v>All Others</c:v>
                </c:pt>
                <c:pt idx="645">
                  <c:v>All Others</c:v>
                </c:pt>
                <c:pt idx="646">
                  <c:v>All Others</c:v>
                </c:pt>
                <c:pt idx="647">
                  <c:v>Private Lab</c:v>
                </c:pt>
                <c:pt idx="648">
                  <c:v>Galbani</c:v>
                </c:pt>
                <c:pt idx="649">
                  <c:v>All Others</c:v>
                </c:pt>
                <c:pt idx="650">
                  <c:v>All Others</c:v>
                </c:pt>
                <c:pt idx="651">
                  <c:v>All Others</c:v>
                </c:pt>
                <c:pt idx="652">
                  <c:v>Apericube</c:v>
                </c:pt>
                <c:pt idx="653">
                  <c:v>Richesmonts</c:v>
                </c:pt>
                <c:pt idx="654">
                  <c:v>All Others</c:v>
                </c:pt>
                <c:pt idx="655">
                  <c:v>Violife</c:v>
                </c:pt>
                <c:pt idx="656">
                  <c:v>All Others</c:v>
                </c:pt>
                <c:pt idx="657">
                  <c:v>Societe</c:v>
                </c:pt>
                <c:pt idx="658">
                  <c:v>Entremont</c:v>
                </c:pt>
                <c:pt idx="659">
                  <c:v>Lactalis: A</c:v>
                </c:pt>
                <c:pt idx="660">
                  <c:v>Private Lab</c:v>
                </c:pt>
                <c:pt idx="661">
                  <c:v>All Others</c:v>
                </c:pt>
                <c:pt idx="662">
                  <c:v>All Others</c:v>
                </c:pt>
                <c:pt idx="663">
                  <c:v>Entremont</c:v>
                </c:pt>
                <c:pt idx="664">
                  <c:v>All Others</c:v>
                </c:pt>
                <c:pt idx="665">
                  <c:v>All Others</c:v>
                </c:pt>
                <c:pt idx="666">
                  <c:v>Eurial Autr</c:v>
                </c:pt>
                <c:pt idx="667">
                  <c:v>Boursin</c:v>
                </c:pt>
                <c:pt idx="668">
                  <c:v>Philadelphi</c:v>
                </c:pt>
                <c:pt idx="669">
                  <c:v>All Others</c:v>
                </c:pt>
                <c:pt idx="670">
                  <c:v>All Others</c:v>
                </c:pt>
                <c:pt idx="671">
                  <c:v>All Others</c:v>
                </c:pt>
                <c:pt idx="672">
                  <c:v>All Others</c:v>
                </c:pt>
                <c:pt idx="673">
                  <c:v>O'Tapas Ape</c:v>
                </c:pt>
                <c:pt idx="674">
                  <c:v>La Pointe P</c:v>
                </c:pt>
                <c:pt idx="675">
                  <c:v>All Others</c:v>
                </c:pt>
                <c:pt idx="676">
                  <c:v>Paysan Bret</c:v>
                </c:pt>
                <c:pt idx="677">
                  <c:v>All Others</c:v>
                </c:pt>
                <c:pt idx="678">
                  <c:v>Lactalis: A</c:v>
                </c:pt>
                <c:pt idx="679">
                  <c:v>Triballat R</c:v>
                </c:pt>
                <c:pt idx="680">
                  <c:v>All Others</c:v>
                </c:pt>
                <c:pt idx="681">
                  <c:v>All Others</c:v>
                </c:pt>
                <c:pt idx="682">
                  <c:v>Leerdammer</c:v>
                </c:pt>
                <c:pt idx="683">
                  <c:v>Savencia: A</c:v>
                </c:pt>
                <c:pt idx="684">
                  <c:v>All Others</c:v>
                </c:pt>
                <c:pt idx="685">
                  <c:v>Private Lab</c:v>
                </c:pt>
                <c:pt idx="686">
                  <c:v>Private Lab</c:v>
                </c:pt>
                <c:pt idx="687">
                  <c:v>Paysan Bret</c:v>
                </c:pt>
                <c:pt idx="688">
                  <c:v>All Others</c:v>
                </c:pt>
                <c:pt idx="689">
                  <c:v>All Others</c:v>
                </c:pt>
                <c:pt idx="690">
                  <c:v>Private Lab</c:v>
                </c:pt>
                <c:pt idx="691">
                  <c:v>Tartare</c:v>
                </c:pt>
                <c:pt idx="692">
                  <c:v>All Others</c:v>
                </c:pt>
                <c:pt idx="693">
                  <c:v>Pave D'Affi</c:v>
                </c:pt>
                <c:pt idx="694">
                  <c:v>All Others</c:v>
                </c:pt>
                <c:pt idx="695">
                  <c:v>All Others</c:v>
                </c:pt>
                <c:pt idx="696">
                  <c:v>Violife</c:v>
                </c:pt>
                <c:pt idx="697">
                  <c:v>Eurial Autr</c:v>
                </c:pt>
                <c:pt idx="698">
                  <c:v>All Others</c:v>
                </c:pt>
                <c:pt idx="699">
                  <c:v>All Others</c:v>
                </c:pt>
                <c:pt idx="700">
                  <c:v>La Pointe P</c:v>
                </c:pt>
                <c:pt idx="701">
                  <c:v>All Others</c:v>
                </c:pt>
                <c:pt idx="702">
                  <c:v>Richesmonts</c:v>
                </c:pt>
                <c:pt idx="703">
                  <c:v>Etoile Du Q</c:v>
                </c:pt>
                <c:pt idx="704">
                  <c:v>All Others</c:v>
                </c:pt>
                <c:pt idx="705">
                  <c:v>Boursin</c:v>
                </c:pt>
                <c:pt idx="706">
                  <c:v>All Others</c:v>
                </c:pt>
                <c:pt idx="707">
                  <c:v>St Moret</c:v>
                </c:pt>
                <c:pt idx="708">
                  <c:v>All Others</c:v>
                </c:pt>
                <c:pt idx="709">
                  <c:v>All Others</c:v>
                </c:pt>
                <c:pt idx="710">
                  <c:v>All Others</c:v>
                </c:pt>
                <c:pt idx="711">
                  <c:v>All Others</c:v>
                </c:pt>
                <c:pt idx="712">
                  <c:v>All Others</c:v>
                </c:pt>
                <c:pt idx="713">
                  <c:v>All Others</c:v>
                </c:pt>
                <c:pt idx="714">
                  <c:v>Private Lab</c:v>
                </c:pt>
                <c:pt idx="715">
                  <c:v>Private Lab</c:v>
                </c:pt>
                <c:pt idx="716">
                  <c:v>Private Lab</c:v>
                </c:pt>
                <c:pt idx="717">
                  <c:v>All Others</c:v>
                </c:pt>
                <c:pt idx="718">
                  <c:v>Boursin</c:v>
                </c:pt>
                <c:pt idx="719">
                  <c:v>All Others</c:v>
                </c:pt>
                <c:pt idx="720">
                  <c:v>All Others</c:v>
                </c:pt>
                <c:pt idx="721">
                  <c:v>All Others</c:v>
                </c:pt>
                <c:pt idx="722">
                  <c:v>All Others</c:v>
                </c:pt>
                <c:pt idx="723">
                  <c:v>All Others</c:v>
                </c:pt>
                <c:pt idx="724">
                  <c:v>Lactalis: A</c:v>
                </c:pt>
                <c:pt idx="725">
                  <c:v>All Others</c:v>
                </c:pt>
                <c:pt idx="726">
                  <c:v>Aperivrais</c:v>
                </c:pt>
                <c:pt idx="727">
                  <c:v>Caprice Des</c:v>
                </c:pt>
                <c:pt idx="728">
                  <c:v>Richesmonts</c:v>
                </c:pt>
                <c:pt idx="729">
                  <c:v>Eurial Autr</c:v>
                </c:pt>
                <c:pt idx="730">
                  <c:v>Violife</c:v>
                </c:pt>
                <c:pt idx="731">
                  <c:v>All Others</c:v>
                </c:pt>
                <c:pt idx="732">
                  <c:v>All Others</c:v>
                </c:pt>
                <c:pt idx="733">
                  <c:v>Mini Babybe</c:v>
                </c:pt>
                <c:pt idx="734">
                  <c:v>Petit Billy</c:v>
                </c:pt>
                <c:pt idx="735">
                  <c:v>All Others</c:v>
                </c:pt>
                <c:pt idx="736">
                  <c:v>All Others</c:v>
                </c:pt>
                <c:pt idx="737">
                  <c:v>All Others</c:v>
                </c:pt>
                <c:pt idx="738">
                  <c:v>All Others</c:v>
                </c:pt>
                <c:pt idx="739">
                  <c:v>Corsica</c:v>
                </c:pt>
                <c:pt idx="740">
                  <c:v>Nurishh</c:v>
                </c:pt>
                <c:pt idx="741">
                  <c:v>Aperivrais</c:v>
                </c:pt>
                <c:pt idx="742">
                  <c:v>Istara</c:v>
                </c:pt>
                <c:pt idx="743">
                  <c:v>President</c:v>
                </c:pt>
                <c:pt idx="744">
                  <c:v>Fauquet</c:v>
                </c:pt>
                <c:pt idx="745">
                  <c:v>All Others</c:v>
                </c:pt>
                <c:pt idx="746">
                  <c:v>Juraflore</c:v>
                </c:pt>
                <c:pt idx="747">
                  <c:v>All Others</c:v>
                </c:pt>
                <c:pt idx="748">
                  <c:v>All Others</c:v>
                </c:pt>
                <c:pt idx="749">
                  <c:v>Private Lab</c:v>
                </c:pt>
                <c:pt idx="750">
                  <c:v>All Others</c:v>
                </c:pt>
                <c:pt idx="751">
                  <c:v>All Others</c:v>
                </c:pt>
                <c:pt idx="752">
                  <c:v>Paysan Bret</c:v>
                </c:pt>
                <c:pt idx="753">
                  <c:v>All Others</c:v>
                </c:pt>
                <c:pt idx="754">
                  <c:v>All Others</c:v>
                </c:pt>
                <c:pt idx="755">
                  <c:v>All Others</c:v>
                </c:pt>
                <c:pt idx="756">
                  <c:v>All Others</c:v>
                </c:pt>
                <c:pt idx="757">
                  <c:v>All Others</c:v>
                </c:pt>
                <c:pt idx="758">
                  <c:v>All Others</c:v>
                </c:pt>
                <c:pt idx="759">
                  <c:v>All Others</c:v>
                </c:pt>
                <c:pt idx="760">
                  <c:v>Lactalis: A</c:v>
                </c:pt>
                <c:pt idx="761">
                  <c:v>Galbani</c:v>
                </c:pt>
                <c:pt idx="762">
                  <c:v>All Others</c:v>
                </c:pt>
                <c:pt idx="763">
                  <c:v>Lactalis: A</c:v>
                </c:pt>
                <c:pt idx="764">
                  <c:v>Eurial Autr</c:v>
                </c:pt>
                <c:pt idx="765">
                  <c:v>All Others</c:v>
                </c:pt>
                <c:pt idx="766">
                  <c:v>All Others</c:v>
                </c:pt>
                <c:pt idx="767">
                  <c:v>All Others</c:v>
                </c:pt>
                <c:pt idx="768">
                  <c:v>All Others</c:v>
                </c:pt>
                <c:pt idx="769">
                  <c:v>Private Lab</c:v>
                </c:pt>
                <c:pt idx="770">
                  <c:v>Lactalis: A</c:v>
                </c:pt>
                <c:pt idx="771">
                  <c:v>Casa Azzurr</c:v>
                </c:pt>
                <c:pt idx="772">
                  <c:v>All Others</c:v>
                </c:pt>
                <c:pt idx="773">
                  <c:v>Lactalis: A</c:v>
                </c:pt>
                <c:pt idx="774">
                  <c:v>All Others</c:v>
                </c:pt>
                <c:pt idx="775">
                  <c:v>All Others</c:v>
                </c:pt>
                <c:pt idx="776">
                  <c:v>Paysan Bret</c:v>
                </c:pt>
                <c:pt idx="777">
                  <c:v>Corsica</c:v>
                </c:pt>
                <c:pt idx="778">
                  <c:v>La Vache Qu</c:v>
                </c:pt>
                <c:pt idx="779">
                  <c:v>All Others</c:v>
                </c:pt>
                <c:pt idx="780">
                  <c:v>St Moret</c:v>
                </c:pt>
                <c:pt idx="781">
                  <c:v>All Others</c:v>
                </c:pt>
                <c:pt idx="782">
                  <c:v>All Others</c:v>
                </c:pt>
                <c:pt idx="783">
                  <c:v>All Others</c:v>
                </c:pt>
                <c:pt idx="784">
                  <c:v>All Others</c:v>
                </c:pt>
                <c:pt idx="785">
                  <c:v>All Others</c:v>
                </c:pt>
                <c:pt idx="786">
                  <c:v>All Others</c:v>
                </c:pt>
                <c:pt idx="787">
                  <c:v>All Others</c:v>
                </c:pt>
                <c:pt idx="788">
                  <c:v>All Others</c:v>
                </c:pt>
                <c:pt idx="789">
                  <c:v>Etoile Du Q</c:v>
                </c:pt>
                <c:pt idx="790">
                  <c:v>All Others</c:v>
                </c:pt>
                <c:pt idx="791">
                  <c:v>All Others</c:v>
                </c:pt>
                <c:pt idx="792">
                  <c:v>Richesmonts</c:v>
                </c:pt>
                <c:pt idx="793">
                  <c:v>Lactalis: A</c:v>
                </c:pt>
                <c:pt idx="794">
                  <c:v>Nurishh</c:v>
                </c:pt>
                <c:pt idx="795">
                  <c:v>Salakis</c:v>
                </c:pt>
                <c:pt idx="796">
                  <c:v>All Others</c:v>
                </c:pt>
                <c:pt idx="797">
                  <c:v>All Others</c:v>
                </c:pt>
                <c:pt idx="798">
                  <c:v>All Others</c:v>
                </c:pt>
                <c:pt idx="799">
                  <c:v>Caprice Des</c:v>
                </c:pt>
                <c:pt idx="800">
                  <c:v>All Others</c:v>
                </c:pt>
                <c:pt idx="801">
                  <c:v>Lactalis: A</c:v>
                </c:pt>
                <c:pt idx="802">
                  <c:v>All Others</c:v>
                </c:pt>
                <c:pt idx="803">
                  <c:v>All Others</c:v>
                </c:pt>
                <c:pt idx="804">
                  <c:v>All Others</c:v>
                </c:pt>
                <c:pt idx="805">
                  <c:v>Milleret: A</c:v>
                </c:pt>
                <c:pt idx="806">
                  <c:v>Violife</c:v>
                </c:pt>
                <c:pt idx="807">
                  <c:v>Saint Agur</c:v>
                </c:pt>
                <c:pt idx="808">
                  <c:v>All Others</c:v>
                </c:pt>
                <c:pt idx="809">
                  <c:v>Apericube</c:v>
                </c:pt>
                <c:pt idx="810">
                  <c:v>Private Lab</c:v>
                </c:pt>
                <c:pt idx="811">
                  <c:v>Tartare</c:v>
                </c:pt>
                <c:pt idx="812">
                  <c:v>All Others</c:v>
                </c:pt>
                <c:pt idx="813">
                  <c:v>Eurial Autr</c:v>
                </c:pt>
                <c:pt idx="814">
                  <c:v>All Others</c:v>
                </c:pt>
                <c:pt idx="815">
                  <c:v>All Others</c:v>
                </c:pt>
                <c:pt idx="816">
                  <c:v>All Others</c:v>
                </c:pt>
                <c:pt idx="817">
                  <c:v>All Others</c:v>
                </c:pt>
                <c:pt idx="818">
                  <c:v>Private Lab</c:v>
                </c:pt>
                <c:pt idx="819">
                  <c:v>Savencia: A</c:v>
                </c:pt>
                <c:pt idx="820">
                  <c:v>All Others</c:v>
                </c:pt>
                <c:pt idx="821">
                  <c:v>Paysan Bret</c:v>
                </c:pt>
                <c:pt idx="822">
                  <c:v>La Belle Et</c:v>
                </c:pt>
                <c:pt idx="823">
                  <c:v>All Others</c:v>
                </c:pt>
                <c:pt idx="824">
                  <c:v>All Others</c:v>
                </c:pt>
                <c:pt idx="825">
                  <c:v>Etoile Du V</c:v>
                </c:pt>
                <c:pt idx="826">
                  <c:v>Lactalis: A</c:v>
                </c:pt>
                <c:pt idx="827">
                  <c:v>Private Lab</c:v>
                </c:pt>
                <c:pt idx="828">
                  <c:v>O'Tapas Ape</c:v>
                </c:pt>
                <c:pt idx="829">
                  <c:v>All Others</c:v>
                </c:pt>
                <c:pt idx="830">
                  <c:v>All Others</c:v>
                </c:pt>
                <c:pt idx="831">
                  <c:v>Savencia: A</c:v>
                </c:pt>
                <c:pt idx="832">
                  <c:v>All Others</c:v>
                </c:pt>
                <c:pt idx="833">
                  <c:v>All Others</c:v>
                </c:pt>
                <c:pt idx="834">
                  <c:v>Lactalis: A</c:v>
                </c:pt>
                <c:pt idx="835">
                  <c:v>Boursin</c:v>
                </c:pt>
                <c:pt idx="836">
                  <c:v>All Others</c:v>
                </c:pt>
                <c:pt idx="837">
                  <c:v>Paysan Bret</c:v>
                </c:pt>
                <c:pt idx="838">
                  <c:v>La Belle Et</c:v>
                </c:pt>
                <c:pt idx="839">
                  <c:v>All Others</c:v>
                </c:pt>
                <c:pt idx="840">
                  <c:v>All Others</c:v>
                </c:pt>
                <c:pt idx="841">
                  <c:v>Nurishh</c:v>
                </c:pt>
                <c:pt idx="842">
                  <c:v>All Others</c:v>
                </c:pt>
                <c:pt idx="843">
                  <c:v>All Others</c:v>
                </c:pt>
                <c:pt idx="844">
                  <c:v>All Others</c:v>
                </c:pt>
                <c:pt idx="845">
                  <c:v>All Others</c:v>
                </c:pt>
                <c:pt idx="846">
                  <c:v>All Others</c:v>
                </c:pt>
                <c:pt idx="847">
                  <c:v>Private Lab</c:v>
                </c:pt>
                <c:pt idx="848">
                  <c:v>All Others</c:v>
                </c:pt>
                <c:pt idx="849">
                  <c:v>All Others</c:v>
                </c:pt>
                <c:pt idx="850">
                  <c:v>Paysan Bret</c:v>
                </c:pt>
                <c:pt idx="851">
                  <c:v>All Others</c:v>
                </c:pt>
                <c:pt idx="852">
                  <c:v>All Others</c:v>
                </c:pt>
                <c:pt idx="853">
                  <c:v>Nurishh</c:v>
                </c:pt>
                <c:pt idx="854">
                  <c:v>Chavroux</c:v>
                </c:pt>
                <c:pt idx="855">
                  <c:v>All Others</c:v>
                </c:pt>
                <c:pt idx="856">
                  <c:v>Etorki</c:v>
                </c:pt>
                <c:pt idx="857">
                  <c:v>All Others</c:v>
                </c:pt>
                <c:pt idx="858">
                  <c:v>All Others</c:v>
                </c:pt>
                <c:pt idx="859">
                  <c:v>All Others</c:v>
                </c:pt>
                <c:pt idx="860">
                  <c:v>All Others</c:v>
                </c:pt>
                <c:pt idx="861">
                  <c:v>Societe</c:v>
                </c:pt>
                <c:pt idx="862">
                  <c:v>Violife</c:v>
                </c:pt>
                <c:pt idx="863">
                  <c:v>Entremont</c:v>
                </c:pt>
                <c:pt idx="864">
                  <c:v>Nurishh</c:v>
                </c:pt>
                <c:pt idx="865">
                  <c:v>Salakis</c:v>
                </c:pt>
                <c:pt idx="866">
                  <c:v>All Others</c:v>
                </c:pt>
                <c:pt idx="867">
                  <c:v>All Others</c:v>
                </c:pt>
                <c:pt idx="868">
                  <c:v>President</c:v>
                </c:pt>
                <c:pt idx="869">
                  <c:v>All Others</c:v>
                </c:pt>
                <c:pt idx="870">
                  <c:v>All Others</c:v>
                </c:pt>
                <c:pt idx="871">
                  <c:v>All Others</c:v>
                </c:pt>
                <c:pt idx="872">
                  <c:v>All Others</c:v>
                </c:pt>
                <c:pt idx="873">
                  <c:v>Leerdammer</c:v>
                </c:pt>
                <c:pt idx="874">
                  <c:v>All Others</c:v>
                </c:pt>
                <c:pt idx="875">
                  <c:v>All Others</c:v>
                </c:pt>
                <c:pt idx="876">
                  <c:v>Port Salut</c:v>
                </c:pt>
                <c:pt idx="877">
                  <c:v>All Others</c:v>
                </c:pt>
                <c:pt idx="878">
                  <c:v>Private Lab</c:v>
                </c:pt>
                <c:pt idx="879">
                  <c:v>All Others</c:v>
                </c:pt>
                <c:pt idx="880">
                  <c:v>All Others</c:v>
                </c:pt>
                <c:pt idx="881">
                  <c:v>Galbani</c:v>
                </c:pt>
                <c:pt idx="882">
                  <c:v>Private Lab</c:v>
                </c:pt>
                <c:pt idx="883">
                  <c:v>All Others</c:v>
                </c:pt>
                <c:pt idx="884">
                  <c:v>All Others</c:v>
                </c:pt>
                <c:pt idx="885">
                  <c:v>Tartare</c:v>
                </c:pt>
                <c:pt idx="886">
                  <c:v>All Others</c:v>
                </c:pt>
                <c:pt idx="887">
                  <c:v>Private Lab</c:v>
                </c:pt>
                <c:pt idx="888">
                  <c:v>All Others</c:v>
                </c:pt>
                <c:pt idx="889">
                  <c:v>All Others</c:v>
                </c:pt>
                <c:pt idx="890">
                  <c:v>All Others</c:v>
                </c:pt>
                <c:pt idx="891">
                  <c:v>All Others</c:v>
                </c:pt>
                <c:pt idx="892">
                  <c:v>Private Lab</c:v>
                </c:pt>
                <c:pt idx="893">
                  <c:v>All Others</c:v>
                </c:pt>
                <c:pt idx="894">
                  <c:v>Private Lab</c:v>
                </c:pt>
                <c:pt idx="895">
                  <c:v>President</c:v>
                </c:pt>
                <c:pt idx="896">
                  <c:v>All Others</c:v>
                </c:pt>
                <c:pt idx="897">
                  <c:v>Savencia: A</c:v>
                </c:pt>
                <c:pt idx="898">
                  <c:v>All Others</c:v>
                </c:pt>
                <c:pt idx="899">
                  <c:v>All Others</c:v>
                </c:pt>
                <c:pt idx="900">
                  <c:v>All Others</c:v>
                </c:pt>
                <c:pt idx="901">
                  <c:v>Private Lab</c:v>
                </c:pt>
                <c:pt idx="902">
                  <c:v>All Others</c:v>
                </c:pt>
                <c:pt idx="903">
                  <c:v>Private Lab</c:v>
                </c:pt>
                <c:pt idx="904">
                  <c:v>All Others</c:v>
                </c:pt>
                <c:pt idx="905">
                  <c:v>All Others</c:v>
                </c:pt>
                <c:pt idx="906">
                  <c:v>All Others</c:v>
                </c:pt>
                <c:pt idx="907">
                  <c:v>Private Lab</c:v>
                </c:pt>
                <c:pt idx="908">
                  <c:v>Pave D'Affi</c:v>
                </c:pt>
                <c:pt idx="909">
                  <c:v>All Others</c:v>
                </c:pt>
                <c:pt idx="910">
                  <c:v>Paysan Bret</c:v>
                </c:pt>
                <c:pt idx="911">
                  <c:v>Tartare</c:v>
                </c:pt>
                <c:pt idx="912">
                  <c:v>Private Lab</c:v>
                </c:pt>
                <c:pt idx="913">
                  <c:v>Etoile Du V</c:v>
                </c:pt>
                <c:pt idx="914">
                  <c:v>Private Lab</c:v>
                </c:pt>
                <c:pt idx="915">
                  <c:v>All Others</c:v>
                </c:pt>
                <c:pt idx="916">
                  <c:v>All Others</c:v>
                </c:pt>
                <c:pt idx="917">
                  <c:v>All Others</c:v>
                </c:pt>
                <c:pt idx="918">
                  <c:v>Leerdammer</c:v>
                </c:pt>
                <c:pt idx="919">
                  <c:v>All Others</c:v>
                </c:pt>
                <c:pt idx="920">
                  <c:v>All Others</c:v>
                </c:pt>
                <c:pt idx="921">
                  <c:v>All Others</c:v>
                </c:pt>
                <c:pt idx="922">
                  <c:v>Boursin</c:v>
                </c:pt>
                <c:pt idx="923">
                  <c:v>All Others</c:v>
                </c:pt>
                <c:pt idx="924">
                  <c:v>Lactalis: A</c:v>
                </c:pt>
                <c:pt idx="925">
                  <c:v>O'Tapas Ape</c:v>
                </c:pt>
                <c:pt idx="926">
                  <c:v>Lactalis: A</c:v>
                </c:pt>
                <c:pt idx="927">
                  <c:v>All Others</c:v>
                </c:pt>
                <c:pt idx="928">
                  <c:v>Savencia: A</c:v>
                </c:pt>
                <c:pt idx="929">
                  <c:v>Boursin</c:v>
                </c:pt>
                <c:pt idx="930">
                  <c:v>All Others</c:v>
                </c:pt>
                <c:pt idx="931">
                  <c:v>Violife</c:v>
                </c:pt>
                <c:pt idx="932">
                  <c:v>All Others</c:v>
                </c:pt>
                <c:pt idx="933">
                  <c:v>All Others</c:v>
                </c:pt>
                <c:pt idx="934">
                  <c:v>All Others</c:v>
                </c:pt>
                <c:pt idx="935">
                  <c:v>All Others</c:v>
                </c:pt>
                <c:pt idx="936">
                  <c:v>All Others</c:v>
                </c:pt>
                <c:pt idx="937">
                  <c:v>All Others</c:v>
                </c:pt>
                <c:pt idx="938">
                  <c:v>P'Tit Louis</c:v>
                </c:pt>
                <c:pt idx="939">
                  <c:v>All Others</c:v>
                </c:pt>
                <c:pt idx="940">
                  <c:v>All Others</c:v>
                </c:pt>
                <c:pt idx="941">
                  <c:v>Private Lab</c:v>
                </c:pt>
                <c:pt idx="942">
                  <c:v>Etoile Du V</c:v>
                </c:pt>
                <c:pt idx="943">
                  <c:v>Lactalis: A</c:v>
                </c:pt>
                <c:pt idx="944">
                  <c:v>All Others</c:v>
                </c:pt>
                <c:pt idx="945">
                  <c:v>All Others</c:v>
                </c:pt>
                <c:pt idx="946">
                  <c:v>Violife</c:v>
                </c:pt>
                <c:pt idx="947">
                  <c:v>All Others</c:v>
                </c:pt>
                <c:pt idx="948">
                  <c:v>All Others</c:v>
                </c:pt>
                <c:pt idx="949">
                  <c:v>All Others</c:v>
                </c:pt>
                <c:pt idx="950">
                  <c:v>Private Lab</c:v>
                </c:pt>
                <c:pt idx="951">
                  <c:v>Eurial Autr</c:v>
                </c:pt>
                <c:pt idx="952">
                  <c:v>All Others</c:v>
                </c:pt>
                <c:pt idx="953">
                  <c:v>All Others</c:v>
                </c:pt>
                <c:pt idx="954">
                  <c:v>Private Lab</c:v>
                </c:pt>
                <c:pt idx="955">
                  <c:v>All Others</c:v>
                </c:pt>
                <c:pt idx="956">
                  <c:v>Nurishh</c:v>
                </c:pt>
                <c:pt idx="957">
                  <c:v>Private Lab</c:v>
                </c:pt>
                <c:pt idx="958">
                  <c:v>All Others</c:v>
                </c:pt>
                <c:pt idx="959">
                  <c:v>All Others</c:v>
                </c:pt>
                <c:pt idx="960">
                  <c:v>All Others</c:v>
                </c:pt>
                <c:pt idx="961">
                  <c:v>All Others</c:v>
                </c:pt>
                <c:pt idx="962">
                  <c:v>Pave D'Affi</c:v>
                </c:pt>
                <c:pt idx="963">
                  <c:v>All Others</c:v>
                </c:pt>
                <c:pt idx="964">
                  <c:v>All Others</c:v>
                </c:pt>
                <c:pt idx="965">
                  <c:v>All Others</c:v>
                </c:pt>
                <c:pt idx="966">
                  <c:v>La Belle Et</c:v>
                </c:pt>
                <c:pt idx="967">
                  <c:v>All Others</c:v>
                </c:pt>
                <c:pt idx="968">
                  <c:v>Islos</c:v>
                </c:pt>
                <c:pt idx="969">
                  <c:v>All Others</c:v>
                </c:pt>
                <c:pt idx="970">
                  <c:v>Tartare</c:v>
                </c:pt>
                <c:pt idx="971">
                  <c:v>All Others</c:v>
                </c:pt>
                <c:pt idx="972">
                  <c:v>Private Lab</c:v>
                </c:pt>
                <c:pt idx="973">
                  <c:v>All Others</c:v>
                </c:pt>
                <c:pt idx="974">
                  <c:v>All Others</c:v>
                </c:pt>
                <c:pt idx="975">
                  <c:v>All Others</c:v>
                </c:pt>
                <c:pt idx="976">
                  <c:v>Etoile Du Q</c:v>
                </c:pt>
                <c:pt idx="977">
                  <c:v>All Others</c:v>
                </c:pt>
                <c:pt idx="978">
                  <c:v>All Others</c:v>
                </c:pt>
                <c:pt idx="979">
                  <c:v>All Others</c:v>
                </c:pt>
                <c:pt idx="980">
                  <c:v>All Others</c:v>
                </c:pt>
                <c:pt idx="981">
                  <c:v>O'Tapas Ape</c:v>
                </c:pt>
                <c:pt idx="982">
                  <c:v>All Others</c:v>
                </c:pt>
                <c:pt idx="983">
                  <c:v>Aperivrais</c:v>
                </c:pt>
                <c:pt idx="984">
                  <c:v>All Others</c:v>
                </c:pt>
                <c:pt idx="985">
                  <c:v>Private Lab</c:v>
                </c:pt>
                <c:pt idx="986">
                  <c:v>All Others</c:v>
                </c:pt>
                <c:pt idx="987">
                  <c:v>Lactalis: A</c:v>
                </c:pt>
                <c:pt idx="988">
                  <c:v>Le Saint Am</c:v>
                </c:pt>
                <c:pt idx="989">
                  <c:v>Lactalis: A</c:v>
                </c:pt>
                <c:pt idx="990">
                  <c:v>All Others</c:v>
                </c:pt>
                <c:pt idx="991">
                  <c:v>All Others</c:v>
                </c:pt>
                <c:pt idx="992">
                  <c:v>All Others</c:v>
                </c:pt>
                <c:pt idx="993">
                  <c:v>All Others</c:v>
                </c:pt>
                <c:pt idx="994">
                  <c:v>Boursin</c:v>
                </c:pt>
                <c:pt idx="995">
                  <c:v>Philadelphi</c:v>
                </c:pt>
                <c:pt idx="996">
                  <c:v>All Others</c:v>
                </c:pt>
                <c:pt idx="997">
                  <c:v>All Others</c:v>
                </c:pt>
                <c:pt idx="998">
                  <c:v>Triballat R</c:v>
                </c:pt>
                <c:pt idx="999">
                  <c:v>All Others</c:v>
                </c:pt>
                <c:pt idx="1000">
                  <c:v>All Others</c:v>
                </c:pt>
                <c:pt idx="1001">
                  <c:v>Savencia: A</c:v>
                </c:pt>
                <c:pt idx="1002">
                  <c:v>Le Saint Am</c:v>
                </c:pt>
                <c:pt idx="1003">
                  <c:v>All Others</c:v>
                </c:pt>
                <c:pt idx="1004">
                  <c:v>All Others</c:v>
                </c:pt>
                <c:pt idx="1005">
                  <c:v>All Others</c:v>
                </c:pt>
                <c:pt idx="1006">
                  <c:v>All Others</c:v>
                </c:pt>
                <c:pt idx="1007">
                  <c:v>All Others</c:v>
                </c:pt>
                <c:pt idx="1008">
                  <c:v>Casa Azzurr</c:v>
                </c:pt>
                <c:pt idx="1009">
                  <c:v>All Others</c:v>
                </c:pt>
                <c:pt idx="1010">
                  <c:v>All Others</c:v>
                </c:pt>
                <c:pt idx="1011">
                  <c:v>All Others</c:v>
                </c:pt>
                <c:pt idx="1012">
                  <c:v>All Others</c:v>
                </c:pt>
                <c:pt idx="1013">
                  <c:v>Lactalis: A</c:v>
                </c:pt>
                <c:pt idx="1014">
                  <c:v>All Others</c:v>
                </c:pt>
                <c:pt idx="1015">
                  <c:v>Private Lab</c:v>
                </c:pt>
                <c:pt idx="1016">
                  <c:v>Boursin</c:v>
                </c:pt>
                <c:pt idx="1017">
                  <c:v>Boursin</c:v>
                </c:pt>
                <c:pt idx="1018">
                  <c:v>All Others</c:v>
                </c:pt>
                <c:pt idx="1019">
                  <c:v>Private Lab</c:v>
                </c:pt>
                <c:pt idx="1020">
                  <c:v>All Others</c:v>
                </c:pt>
                <c:pt idx="1021">
                  <c:v>All Others</c:v>
                </c:pt>
                <c:pt idx="1022">
                  <c:v>All Others</c:v>
                </c:pt>
                <c:pt idx="1023">
                  <c:v>La Belle Et</c:v>
                </c:pt>
                <c:pt idx="1024">
                  <c:v>All Others</c:v>
                </c:pt>
                <c:pt idx="1025">
                  <c:v>All Others</c:v>
                </c:pt>
                <c:pt idx="1026">
                  <c:v>All Others</c:v>
                </c:pt>
                <c:pt idx="1027">
                  <c:v>Private Lab</c:v>
                </c:pt>
                <c:pt idx="1028">
                  <c:v>All Others</c:v>
                </c:pt>
                <c:pt idx="1029">
                  <c:v>All Others</c:v>
                </c:pt>
                <c:pt idx="1030">
                  <c:v>All Others</c:v>
                </c:pt>
                <c:pt idx="1031">
                  <c:v>Private Lab</c:v>
                </c:pt>
                <c:pt idx="1032">
                  <c:v>Parmareggio</c:v>
                </c:pt>
                <c:pt idx="1033">
                  <c:v>Private Lab</c:v>
                </c:pt>
                <c:pt idx="1034">
                  <c:v>All Others</c:v>
                </c:pt>
                <c:pt idx="1035">
                  <c:v>All Others</c:v>
                </c:pt>
                <c:pt idx="1036">
                  <c:v>Chaussee Au</c:v>
                </c:pt>
                <c:pt idx="1037">
                  <c:v>Port Salut</c:v>
                </c:pt>
                <c:pt idx="1038">
                  <c:v>Triballat N</c:v>
                </c:pt>
                <c:pt idx="1039">
                  <c:v>All Others</c:v>
                </c:pt>
                <c:pt idx="1040">
                  <c:v>All Others</c:v>
                </c:pt>
                <c:pt idx="1041">
                  <c:v>All Others</c:v>
                </c:pt>
                <c:pt idx="1042">
                  <c:v>All Others</c:v>
                </c:pt>
                <c:pt idx="1043">
                  <c:v>All Others</c:v>
                </c:pt>
                <c:pt idx="1044">
                  <c:v>All Others</c:v>
                </c:pt>
                <c:pt idx="1045">
                  <c:v>All Others</c:v>
                </c:pt>
                <c:pt idx="1046">
                  <c:v>All Others</c:v>
                </c:pt>
                <c:pt idx="1047">
                  <c:v>All Others</c:v>
                </c:pt>
                <c:pt idx="1048">
                  <c:v>All Others</c:v>
                </c:pt>
                <c:pt idx="1049">
                  <c:v>All Others</c:v>
                </c:pt>
                <c:pt idx="1050">
                  <c:v>All Others</c:v>
                </c:pt>
                <c:pt idx="1051">
                  <c:v>All Others</c:v>
                </c:pt>
                <c:pt idx="1052">
                  <c:v>All Others</c:v>
                </c:pt>
                <c:pt idx="1053">
                  <c:v>All Others</c:v>
                </c:pt>
                <c:pt idx="1054">
                  <c:v>All Others</c:v>
                </c:pt>
                <c:pt idx="1055">
                  <c:v>Etoile Du V</c:v>
                </c:pt>
                <c:pt idx="1056">
                  <c:v>Nurishh</c:v>
                </c:pt>
                <c:pt idx="1057">
                  <c:v>Fauquet</c:v>
                </c:pt>
                <c:pt idx="1058">
                  <c:v>Aperivrais</c:v>
                </c:pt>
                <c:pt idx="1059">
                  <c:v>St Moret</c:v>
                </c:pt>
                <c:pt idx="1060">
                  <c:v>All Others</c:v>
                </c:pt>
                <c:pt idx="1061">
                  <c:v>All Others</c:v>
                </c:pt>
                <c:pt idx="1062">
                  <c:v>Paysan Bret</c:v>
                </c:pt>
                <c:pt idx="1063">
                  <c:v>All Others</c:v>
                </c:pt>
                <c:pt idx="1064">
                  <c:v>Lactalis: A</c:v>
                </c:pt>
                <c:pt idx="1065">
                  <c:v>Laita: All </c:v>
                </c:pt>
                <c:pt idx="1066">
                  <c:v>All Others</c:v>
                </c:pt>
                <c:pt idx="1067">
                  <c:v>All Others</c:v>
                </c:pt>
                <c:pt idx="1068">
                  <c:v>Private Lab</c:v>
                </c:pt>
                <c:pt idx="1069">
                  <c:v>All Others</c:v>
                </c:pt>
                <c:pt idx="1070">
                  <c:v>Boursin</c:v>
                </c:pt>
                <c:pt idx="1071">
                  <c:v>All Others</c:v>
                </c:pt>
                <c:pt idx="1072">
                  <c:v>Entremont</c:v>
                </c:pt>
                <c:pt idx="1073">
                  <c:v>All Others</c:v>
                </c:pt>
                <c:pt idx="1074">
                  <c:v>All Others</c:v>
                </c:pt>
                <c:pt idx="1075">
                  <c:v>All Others</c:v>
                </c:pt>
                <c:pt idx="1076">
                  <c:v>All Others</c:v>
                </c:pt>
                <c:pt idx="1077">
                  <c:v>All Others</c:v>
                </c:pt>
                <c:pt idx="1078">
                  <c:v>All Others</c:v>
                </c:pt>
                <c:pt idx="1079">
                  <c:v>Etoile Du V</c:v>
                </c:pt>
                <c:pt idx="1080">
                  <c:v>All Others</c:v>
                </c:pt>
                <c:pt idx="1081">
                  <c:v>All Others</c:v>
                </c:pt>
                <c:pt idx="1082">
                  <c:v>All Others</c:v>
                </c:pt>
                <c:pt idx="1083">
                  <c:v>All Others</c:v>
                </c:pt>
                <c:pt idx="1084">
                  <c:v>Lactalis: A</c:v>
                </c:pt>
                <c:pt idx="1085">
                  <c:v>O'Tapas Ape</c:v>
                </c:pt>
                <c:pt idx="1086">
                  <c:v>Nurishh</c:v>
                </c:pt>
                <c:pt idx="1087">
                  <c:v>All Others</c:v>
                </c:pt>
                <c:pt idx="1088">
                  <c:v>All Others</c:v>
                </c:pt>
                <c:pt idx="1089">
                  <c:v>Private Lab</c:v>
                </c:pt>
                <c:pt idx="1090">
                  <c:v>Private Lab</c:v>
                </c:pt>
                <c:pt idx="1091">
                  <c:v>All Others</c:v>
                </c:pt>
                <c:pt idx="1092">
                  <c:v>Bresse Bleu</c:v>
                </c:pt>
                <c:pt idx="1093">
                  <c:v>Juraflore</c:v>
                </c:pt>
                <c:pt idx="1094">
                  <c:v>All Others</c:v>
                </c:pt>
                <c:pt idx="1095">
                  <c:v>All Others</c:v>
                </c:pt>
                <c:pt idx="1096">
                  <c:v>All Others</c:v>
                </c:pt>
                <c:pt idx="1097">
                  <c:v>Lactalis: A</c:v>
                </c:pt>
                <c:pt idx="1098">
                  <c:v>All Others</c:v>
                </c:pt>
                <c:pt idx="1099">
                  <c:v>All Others</c:v>
                </c:pt>
                <c:pt idx="1100">
                  <c:v>Lactalis: A</c:v>
                </c:pt>
                <c:pt idx="1101">
                  <c:v>All Others</c:v>
                </c:pt>
                <c:pt idx="1102">
                  <c:v>All Others</c:v>
                </c:pt>
                <c:pt idx="1103">
                  <c:v>All Others</c:v>
                </c:pt>
                <c:pt idx="1104">
                  <c:v>Savencia: A</c:v>
                </c:pt>
                <c:pt idx="1105">
                  <c:v>All Others</c:v>
                </c:pt>
                <c:pt idx="1106">
                  <c:v>All Others</c:v>
                </c:pt>
                <c:pt idx="1107">
                  <c:v>All Others</c:v>
                </c:pt>
                <c:pt idx="1108">
                  <c:v>All Others</c:v>
                </c:pt>
                <c:pt idx="1109">
                  <c:v>All Others</c:v>
                </c:pt>
                <c:pt idx="1110">
                  <c:v>All Others</c:v>
                </c:pt>
                <c:pt idx="1111">
                  <c:v>All Others</c:v>
                </c:pt>
                <c:pt idx="1112">
                  <c:v>Pave D'Affi</c:v>
                </c:pt>
                <c:pt idx="1113">
                  <c:v>All Others</c:v>
                </c:pt>
                <c:pt idx="1114">
                  <c:v>All Others</c:v>
                </c:pt>
                <c:pt idx="1115">
                  <c:v>All Others</c:v>
                </c:pt>
                <c:pt idx="1116">
                  <c:v>Savencia: A</c:v>
                </c:pt>
                <c:pt idx="1117">
                  <c:v>All Others</c:v>
                </c:pt>
                <c:pt idx="1118">
                  <c:v>All Others</c:v>
                </c:pt>
                <c:pt idx="1119">
                  <c:v>All Others</c:v>
                </c:pt>
                <c:pt idx="1120">
                  <c:v>All Others</c:v>
                </c:pt>
                <c:pt idx="1121">
                  <c:v>Societe</c:v>
                </c:pt>
                <c:pt idx="1122">
                  <c:v>All Others</c:v>
                </c:pt>
                <c:pt idx="1123">
                  <c:v>All Others</c:v>
                </c:pt>
                <c:pt idx="1124">
                  <c:v>La Belle Et</c:v>
                </c:pt>
                <c:pt idx="1125">
                  <c:v>All Others</c:v>
                </c:pt>
                <c:pt idx="1126">
                  <c:v>All Others</c:v>
                </c:pt>
                <c:pt idx="1127">
                  <c:v>All Others</c:v>
                </c:pt>
                <c:pt idx="1128">
                  <c:v>All Others</c:v>
                </c:pt>
                <c:pt idx="1129">
                  <c:v>All Others</c:v>
                </c:pt>
                <c:pt idx="1130">
                  <c:v>All Others</c:v>
                </c:pt>
                <c:pt idx="1131">
                  <c:v>All Others</c:v>
                </c:pt>
                <c:pt idx="1132">
                  <c:v>All Others</c:v>
                </c:pt>
                <c:pt idx="1133">
                  <c:v>Boursin</c:v>
                </c:pt>
                <c:pt idx="1134">
                  <c:v>All Others</c:v>
                </c:pt>
                <c:pt idx="1135">
                  <c:v>Lactalis: A</c:v>
                </c:pt>
                <c:pt idx="1136">
                  <c:v>All Others</c:v>
                </c:pt>
                <c:pt idx="1137">
                  <c:v>All Others</c:v>
                </c:pt>
                <c:pt idx="1138">
                  <c:v>All Others</c:v>
                </c:pt>
                <c:pt idx="1139">
                  <c:v>Private Lab</c:v>
                </c:pt>
                <c:pt idx="1140">
                  <c:v>All Others</c:v>
                </c:pt>
                <c:pt idx="1141">
                  <c:v>All Others</c:v>
                </c:pt>
                <c:pt idx="1142">
                  <c:v>All Others</c:v>
                </c:pt>
                <c:pt idx="1143">
                  <c:v>All Others</c:v>
                </c:pt>
                <c:pt idx="1144">
                  <c:v>All Others</c:v>
                </c:pt>
                <c:pt idx="1145">
                  <c:v>All Others</c:v>
                </c:pt>
                <c:pt idx="1146">
                  <c:v>All Others</c:v>
                </c:pt>
                <c:pt idx="1147">
                  <c:v>Milleret: A</c:v>
                </c:pt>
                <c:pt idx="1148">
                  <c:v>All Others</c:v>
                </c:pt>
                <c:pt idx="1149">
                  <c:v>All Others</c:v>
                </c:pt>
                <c:pt idx="1150">
                  <c:v>All Others</c:v>
                </c:pt>
                <c:pt idx="1151">
                  <c:v>All Others</c:v>
                </c:pt>
                <c:pt idx="1152">
                  <c:v>All Others</c:v>
                </c:pt>
                <c:pt idx="1153">
                  <c:v>Pochat</c:v>
                </c:pt>
                <c:pt idx="1154">
                  <c:v>All Others</c:v>
                </c:pt>
                <c:pt idx="1155">
                  <c:v>All Others</c:v>
                </c:pt>
                <c:pt idx="1156">
                  <c:v>All Others</c:v>
                </c:pt>
                <c:pt idx="1157">
                  <c:v>All Others</c:v>
                </c:pt>
                <c:pt idx="1158">
                  <c:v>All Others</c:v>
                </c:pt>
                <c:pt idx="1159">
                  <c:v>All Others</c:v>
                </c:pt>
                <c:pt idx="1160">
                  <c:v>All Others</c:v>
                </c:pt>
                <c:pt idx="1161">
                  <c:v>Apericube</c:v>
                </c:pt>
                <c:pt idx="1162">
                  <c:v>All Others</c:v>
                </c:pt>
                <c:pt idx="1163">
                  <c:v>All Others</c:v>
                </c:pt>
                <c:pt idx="1164">
                  <c:v>Private Lab</c:v>
                </c:pt>
                <c:pt idx="1165">
                  <c:v>All Others</c:v>
                </c:pt>
                <c:pt idx="1166">
                  <c:v>All Others</c:v>
                </c:pt>
                <c:pt idx="1167">
                  <c:v>All Others</c:v>
                </c:pt>
                <c:pt idx="1168">
                  <c:v>All Others</c:v>
                </c:pt>
                <c:pt idx="1169">
                  <c:v>Milleret: A</c:v>
                </c:pt>
                <c:pt idx="1170">
                  <c:v>Triballat R</c:v>
                </c:pt>
                <c:pt idx="1171">
                  <c:v>All Others</c:v>
                </c:pt>
                <c:pt idx="1172">
                  <c:v>All Others</c:v>
                </c:pt>
                <c:pt idx="1173">
                  <c:v>All Others</c:v>
                </c:pt>
                <c:pt idx="1174">
                  <c:v>All Others</c:v>
                </c:pt>
                <c:pt idx="1175">
                  <c:v>All Others</c:v>
                </c:pt>
                <c:pt idx="1176">
                  <c:v>All Others</c:v>
                </c:pt>
                <c:pt idx="1177">
                  <c:v>All Others</c:v>
                </c:pt>
                <c:pt idx="1178">
                  <c:v>All Others</c:v>
                </c:pt>
                <c:pt idx="1179">
                  <c:v>All Others</c:v>
                </c:pt>
                <c:pt idx="1180">
                  <c:v>All Others</c:v>
                </c:pt>
                <c:pt idx="1181">
                  <c:v>All Others</c:v>
                </c:pt>
                <c:pt idx="1182">
                  <c:v>Lactalis: A</c:v>
                </c:pt>
                <c:pt idx="1183">
                  <c:v>All Others</c:v>
                </c:pt>
                <c:pt idx="1184">
                  <c:v>All Others</c:v>
                </c:pt>
                <c:pt idx="1185">
                  <c:v>Istara</c:v>
                </c:pt>
                <c:pt idx="1186">
                  <c:v>All Others</c:v>
                </c:pt>
                <c:pt idx="1187">
                  <c:v>All Others</c:v>
                </c:pt>
                <c:pt idx="1188">
                  <c:v>All Others</c:v>
                </c:pt>
                <c:pt idx="1189">
                  <c:v>Private Lab</c:v>
                </c:pt>
                <c:pt idx="1190">
                  <c:v>All Others</c:v>
                </c:pt>
                <c:pt idx="1191">
                  <c:v>All Others</c:v>
                </c:pt>
                <c:pt idx="1192">
                  <c:v>All Others</c:v>
                </c:pt>
                <c:pt idx="1193">
                  <c:v>All Others</c:v>
                </c:pt>
                <c:pt idx="1194">
                  <c:v>All Others</c:v>
                </c:pt>
                <c:pt idx="1195">
                  <c:v>All Others</c:v>
                </c:pt>
                <c:pt idx="1196">
                  <c:v>Eurial Autr</c:v>
                </c:pt>
                <c:pt idx="1197">
                  <c:v>All Others</c:v>
                </c:pt>
                <c:pt idx="1198">
                  <c:v>All Others</c:v>
                </c:pt>
                <c:pt idx="1199">
                  <c:v>All Others</c:v>
                </c:pt>
                <c:pt idx="1200">
                  <c:v>All Others</c:v>
                </c:pt>
                <c:pt idx="1201">
                  <c:v>All Others</c:v>
                </c:pt>
                <c:pt idx="1202">
                  <c:v>All Others</c:v>
                </c:pt>
                <c:pt idx="1203">
                  <c:v>All Others</c:v>
                </c:pt>
                <c:pt idx="1204">
                  <c:v>All Others</c:v>
                </c:pt>
                <c:pt idx="1205">
                  <c:v>All Others</c:v>
                </c:pt>
                <c:pt idx="1206">
                  <c:v>All Others</c:v>
                </c:pt>
                <c:pt idx="1207">
                  <c:v>All Others</c:v>
                </c:pt>
                <c:pt idx="1208">
                  <c:v>All Others</c:v>
                </c:pt>
                <c:pt idx="1209">
                  <c:v>Etoile Du V</c:v>
                </c:pt>
                <c:pt idx="1210">
                  <c:v>All Others</c:v>
                </c:pt>
                <c:pt idx="1211">
                  <c:v>Private Lab</c:v>
                </c:pt>
                <c:pt idx="1212">
                  <c:v>All Others</c:v>
                </c:pt>
                <c:pt idx="1213">
                  <c:v>Paysan Bret</c:v>
                </c:pt>
                <c:pt idx="1214">
                  <c:v>All Others</c:v>
                </c:pt>
                <c:pt idx="1215">
                  <c:v>All Others</c:v>
                </c:pt>
                <c:pt idx="1216">
                  <c:v>All Others</c:v>
                </c:pt>
                <c:pt idx="1217">
                  <c:v>All Others</c:v>
                </c:pt>
                <c:pt idx="1218">
                  <c:v>Juraflore</c:v>
                </c:pt>
                <c:pt idx="1219">
                  <c:v>All Others</c:v>
                </c:pt>
                <c:pt idx="1220">
                  <c:v>All Others</c:v>
                </c:pt>
                <c:pt idx="1221">
                  <c:v>All Others</c:v>
                </c:pt>
                <c:pt idx="1222">
                  <c:v>All Others</c:v>
                </c:pt>
                <c:pt idx="1223">
                  <c:v>Raguin</c:v>
                </c:pt>
                <c:pt idx="1224">
                  <c:v>All Others</c:v>
                </c:pt>
                <c:pt idx="1225">
                  <c:v>All Others</c:v>
                </c:pt>
                <c:pt idx="1226">
                  <c:v>All Others</c:v>
                </c:pt>
                <c:pt idx="1227">
                  <c:v>All Others</c:v>
                </c:pt>
                <c:pt idx="1228">
                  <c:v>All Others</c:v>
                </c:pt>
                <c:pt idx="1229">
                  <c:v>All Others</c:v>
                </c:pt>
                <c:pt idx="1230">
                  <c:v>All Others</c:v>
                </c:pt>
                <c:pt idx="1231">
                  <c:v>All Others</c:v>
                </c:pt>
                <c:pt idx="1232">
                  <c:v>Juraflore</c:v>
                </c:pt>
                <c:pt idx="1233">
                  <c:v>All Others</c:v>
                </c:pt>
                <c:pt idx="1234">
                  <c:v>All Others</c:v>
                </c:pt>
                <c:pt idx="1235">
                  <c:v>All Others</c:v>
                </c:pt>
                <c:pt idx="1236">
                  <c:v>All Others</c:v>
                </c:pt>
                <c:pt idx="1237">
                  <c:v>All Others</c:v>
                </c:pt>
                <c:pt idx="1238">
                  <c:v>All Others</c:v>
                </c:pt>
                <c:pt idx="1239">
                  <c:v>All Others</c:v>
                </c:pt>
                <c:pt idx="1240">
                  <c:v>All Others</c:v>
                </c:pt>
                <c:pt idx="1241">
                  <c:v>All Others</c:v>
                </c:pt>
                <c:pt idx="1242">
                  <c:v>Apericube</c:v>
                </c:pt>
                <c:pt idx="1243">
                  <c:v>All Others</c:v>
                </c:pt>
                <c:pt idx="1244">
                  <c:v>All Others</c:v>
                </c:pt>
                <c:pt idx="1245">
                  <c:v>All Others</c:v>
                </c:pt>
                <c:pt idx="1246">
                  <c:v>All Others</c:v>
                </c:pt>
                <c:pt idx="1247">
                  <c:v>All Others</c:v>
                </c:pt>
                <c:pt idx="1248">
                  <c:v>Pave D'Affi</c:v>
                </c:pt>
                <c:pt idx="1249">
                  <c:v>All Others</c:v>
                </c:pt>
                <c:pt idx="1250">
                  <c:v>All Others</c:v>
                </c:pt>
                <c:pt idx="1251">
                  <c:v>Eurial Autr</c:v>
                </c:pt>
                <c:pt idx="1252">
                  <c:v>All Others</c:v>
                </c:pt>
                <c:pt idx="1253">
                  <c:v>Carre Frais</c:v>
                </c:pt>
                <c:pt idx="1254">
                  <c:v>Juraflore</c:v>
                </c:pt>
                <c:pt idx="1255">
                  <c:v>All Others</c:v>
                </c:pt>
                <c:pt idx="1256">
                  <c:v>All Others</c:v>
                </c:pt>
                <c:pt idx="1257">
                  <c:v>Private Lab</c:v>
                </c:pt>
                <c:pt idx="1258">
                  <c:v>Etoile Du V</c:v>
                </c:pt>
                <c:pt idx="1259">
                  <c:v>All Others</c:v>
                </c:pt>
                <c:pt idx="1260">
                  <c:v>All Others</c:v>
                </c:pt>
                <c:pt idx="1261">
                  <c:v>Lactalis: A</c:v>
                </c:pt>
                <c:pt idx="1262">
                  <c:v>All Others</c:v>
                </c:pt>
                <c:pt idx="1263">
                  <c:v>All Others</c:v>
                </c:pt>
                <c:pt idx="1264">
                  <c:v>Pave D'Affi</c:v>
                </c:pt>
                <c:pt idx="1265">
                  <c:v>All Others</c:v>
                </c:pt>
                <c:pt idx="1266">
                  <c:v>Private Lab</c:v>
                </c:pt>
                <c:pt idx="1267">
                  <c:v>All Others</c:v>
                </c:pt>
                <c:pt idx="1268">
                  <c:v>All Others</c:v>
                </c:pt>
                <c:pt idx="1269">
                  <c:v>All Others</c:v>
                </c:pt>
                <c:pt idx="1270">
                  <c:v>All Others</c:v>
                </c:pt>
                <c:pt idx="1271">
                  <c:v>Entremont</c:v>
                </c:pt>
                <c:pt idx="1272">
                  <c:v>All Others</c:v>
                </c:pt>
                <c:pt idx="1273">
                  <c:v>All Others</c:v>
                </c:pt>
                <c:pt idx="1274">
                  <c:v>All Others</c:v>
                </c:pt>
                <c:pt idx="1275">
                  <c:v>All Others</c:v>
                </c:pt>
                <c:pt idx="1276">
                  <c:v>All Others</c:v>
                </c:pt>
                <c:pt idx="1277">
                  <c:v>All Others</c:v>
                </c:pt>
                <c:pt idx="1278">
                  <c:v>Eurial Autr</c:v>
                </c:pt>
                <c:pt idx="1279">
                  <c:v>All Others</c:v>
                </c:pt>
                <c:pt idx="1280">
                  <c:v>All Others</c:v>
                </c:pt>
                <c:pt idx="1281">
                  <c:v>All Others</c:v>
                </c:pt>
                <c:pt idx="1282">
                  <c:v>All Others</c:v>
                </c:pt>
                <c:pt idx="1283">
                  <c:v>All Others</c:v>
                </c:pt>
                <c:pt idx="1284">
                  <c:v>Lactalis: A</c:v>
                </c:pt>
                <c:pt idx="1285">
                  <c:v>All Others</c:v>
                </c:pt>
                <c:pt idx="1286">
                  <c:v>All Others</c:v>
                </c:pt>
                <c:pt idx="1287">
                  <c:v>All Others</c:v>
                </c:pt>
                <c:pt idx="1288">
                  <c:v>All Others</c:v>
                </c:pt>
                <c:pt idx="1289">
                  <c:v>All Others</c:v>
                </c:pt>
                <c:pt idx="1290">
                  <c:v>All Others</c:v>
                </c:pt>
                <c:pt idx="1291">
                  <c:v>Apericube</c:v>
                </c:pt>
                <c:pt idx="1292">
                  <c:v>All Others</c:v>
                </c:pt>
                <c:pt idx="1293">
                  <c:v>Etoile Du V</c:v>
                </c:pt>
                <c:pt idx="1294">
                  <c:v>All Others</c:v>
                </c:pt>
                <c:pt idx="1295">
                  <c:v>All Others</c:v>
                </c:pt>
                <c:pt idx="1296">
                  <c:v>All Others</c:v>
                </c:pt>
                <c:pt idx="1297">
                  <c:v>All Others</c:v>
                </c:pt>
                <c:pt idx="1298">
                  <c:v>All Others</c:v>
                </c:pt>
                <c:pt idx="1299">
                  <c:v>Lactalis: A</c:v>
                </c:pt>
                <c:pt idx="1300">
                  <c:v>All Others</c:v>
                </c:pt>
                <c:pt idx="1301">
                  <c:v>All Others</c:v>
                </c:pt>
                <c:pt idx="1302">
                  <c:v>All Others</c:v>
                </c:pt>
                <c:pt idx="1303">
                  <c:v>Etoile Du V</c:v>
                </c:pt>
                <c:pt idx="1304">
                  <c:v>All Others</c:v>
                </c:pt>
                <c:pt idx="1305">
                  <c:v>Casa Azzurr</c:v>
                </c:pt>
                <c:pt idx="1306">
                  <c:v>All Others</c:v>
                </c:pt>
                <c:pt idx="1307">
                  <c:v>All Others</c:v>
                </c:pt>
                <c:pt idx="1308">
                  <c:v>Societe</c:v>
                </c:pt>
                <c:pt idx="1309">
                  <c:v>All Others</c:v>
                </c:pt>
                <c:pt idx="1310">
                  <c:v>All Others</c:v>
                </c:pt>
                <c:pt idx="1311">
                  <c:v>Pave D'Affi</c:v>
                </c:pt>
                <c:pt idx="1312">
                  <c:v>All Others</c:v>
                </c:pt>
                <c:pt idx="1313">
                  <c:v>All Others</c:v>
                </c:pt>
                <c:pt idx="1314">
                  <c:v>All Others</c:v>
                </c:pt>
                <c:pt idx="1315">
                  <c:v>L'Ortolan</c:v>
                </c:pt>
                <c:pt idx="1316">
                  <c:v>All Others</c:v>
                </c:pt>
                <c:pt idx="1317">
                  <c:v>All Others</c:v>
                </c:pt>
                <c:pt idx="1318">
                  <c:v>Mini Babybe</c:v>
                </c:pt>
                <c:pt idx="1319">
                  <c:v>Eurial Autr</c:v>
                </c:pt>
                <c:pt idx="1320">
                  <c:v>All Others</c:v>
                </c:pt>
                <c:pt idx="1321">
                  <c:v>All Others</c:v>
                </c:pt>
                <c:pt idx="1322">
                  <c:v>All Others</c:v>
                </c:pt>
                <c:pt idx="1323">
                  <c:v>Raguin</c:v>
                </c:pt>
                <c:pt idx="1324">
                  <c:v>All Others</c:v>
                </c:pt>
                <c:pt idx="1325">
                  <c:v>All Others</c:v>
                </c:pt>
                <c:pt idx="1326">
                  <c:v>All Others</c:v>
                </c:pt>
                <c:pt idx="1327">
                  <c:v>All Others</c:v>
                </c:pt>
                <c:pt idx="1328">
                  <c:v>All Others</c:v>
                </c:pt>
                <c:pt idx="1329">
                  <c:v>All Others</c:v>
                </c:pt>
                <c:pt idx="1330">
                  <c:v>All Others</c:v>
                </c:pt>
                <c:pt idx="1331">
                  <c:v>All Others</c:v>
                </c:pt>
                <c:pt idx="1332">
                  <c:v>All Others</c:v>
                </c:pt>
                <c:pt idx="1333">
                  <c:v>All Others</c:v>
                </c:pt>
                <c:pt idx="1334">
                  <c:v>All Others</c:v>
                </c:pt>
                <c:pt idx="1335">
                  <c:v>All Others</c:v>
                </c:pt>
                <c:pt idx="1336">
                  <c:v>La Belle Et</c:v>
                </c:pt>
                <c:pt idx="1337">
                  <c:v>Triballat N</c:v>
                </c:pt>
                <c:pt idx="1338">
                  <c:v>All Others</c:v>
                </c:pt>
                <c:pt idx="1339">
                  <c:v>All Others</c:v>
                </c:pt>
                <c:pt idx="1340">
                  <c:v>All Others</c:v>
                </c:pt>
                <c:pt idx="1341">
                  <c:v>All Others</c:v>
                </c:pt>
                <c:pt idx="1342">
                  <c:v>Pochat</c:v>
                </c:pt>
                <c:pt idx="1343">
                  <c:v>All Others</c:v>
                </c:pt>
                <c:pt idx="1344">
                  <c:v>All Others</c:v>
                </c:pt>
                <c:pt idx="1345">
                  <c:v>All Others</c:v>
                </c:pt>
                <c:pt idx="1346">
                  <c:v>All Others</c:v>
                </c:pt>
                <c:pt idx="1347">
                  <c:v>All Others</c:v>
                </c:pt>
                <c:pt idx="1348">
                  <c:v>Lactalis: A</c:v>
                </c:pt>
                <c:pt idx="1349">
                  <c:v>All Others</c:v>
                </c:pt>
                <c:pt idx="1350">
                  <c:v>All Others</c:v>
                </c:pt>
                <c:pt idx="1351">
                  <c:v>All Others</c:v>
                </c:pt>
                <c:pt idx="1352">
                  <c:v>All Others</c:v>
                </c:pt>
                <c:pt idx="1353">
                  <c:v>All Others</c:v>
                </c:pt>
                <c:pt idx="1354">
                  <c:v>All Others</c:v>
                </c:pt>
                <c:pt idx="1355">
                  <c:v>All Others</c:v>
                </c:pt>
                <c:pt idx="1356">
                  <c:v>Lactalis: A</c:v>
                </c:pt>
                <c:pt idx="1357">
                  <c:v>All Others</c:v>
                </c:pt>
                <c:pt idx="1358">
                  <c:v>Private Lab</c:v>
                </c:pt>
                <c:pt idx="1359">
                  <c:v>All Others</c:v>
                </c:pt>
                <c:pt idx="1360">
                  <c:v>All Others</c:v>
                </c:pt>
                <c:pt idx="1361">
                  <c:v>All Others</c:v>
                </c:pt>
                <c:pt idx="1362">
                  <c:v>Nurishh</c:v>
                </c:pt>
                <c:pt idx="1363">
                  <c:v>All Others</c:v>
                </c:pt>
                <c:pt idx="1364">
                  <c:v>Eurial Autr</c:v>
                </c:pt>
                <c:pt idx="1365">
                  <c:v>Triballat R</c:v>
                </c:pt>
                <c:pt idx="1366">
                  <c:v>All Others</c:v>
                </c:pt>
                <c:pt idx="1367">
                  <c:v>All Others</c:v>
                </c:pt>
                <c:pt idx="1368">
                  <c:v>All Others</c:v>
                </c:pt>
                <c:pt idx="1369">
                  <c:v>All Others</c:v>
                </c:pt>
                <c:pt idx="1370">
                  <c:v>All Others</c:v>
                </c:pt>
                <c:pt idx="1371">
                  <c:v>All Others</c:v>
                </c:pt>
                <c:pt idx="1372">
                  <c:v>All Others</c:v>
                </c:pt>
                <c:pt idx="1373">
                  <c:v>All Others</c:v>
                </c:pt>
                <c:pt idx="1374">
                  <c:v>All Others</c:v>
                </c:pt>
                <c:pt idx="1375">
                  <c:v>All Others</c:v>
                </c:pt>
                <c:pt idx="1376">
                  <c:v>Lactalis: A</c:v>
                </c:pt>
                <c:pt idx="1377">
                  <c:v>All Others</c:v>
                </c:pt>
                <c:pt idx="1378">
                  <c:v>All Others</c:v>
                </c:pt>
                <c:pt idx="1379">
                  <c:v>All Others</c:v>
                </c:pt>
                <c:pt idx="1380">
                  <c:v>All Others</c:v>
                </c:pt>
                <c:pt idx="1381">
                  <c:v>All Others</c:v>
                </c:pt>
                <c:pt idx="1382">
                  <c:v>Private Lab</c:v>
                </c:pt>
                <c:pt idx="1383">
                  <c:v>All Others</c:v>
                </c:pt>
                <c:pt idx="1384">
                  <c:v>All Others</c:v>
                </c:pt>
                <c:pt idx="1385">
                  <c:v>La Belle Et</c:v>
                </c:pt>
                <c:pt idx="1386">
                  <c:v>All Others</c:v>
                </c:pt>
                <c:pt idx="1387">
                  <c:v>All Others</c:v>
                </c:pt>
                <c:pt idx="1388">
                  <c:v>All Others</c:v>
                </c:pt>
                <c:pt idx="1389">
                  <c:v>All Others</c:v>
                </c:pt>
                <c:pt idx="1390">
                  <c:v>All Others</c:v>
                </c:pt>
                <c:pt idx="1391">
                  <c:v>All Others</c:v>
                </c:pt>
                <c:pt idx="1392">
                  <c:v>All Others</c:v>
                </c:pt>
                <c:pt idx="1393">
                  <c:v>All Others</c:v>
                </c:pt>
                <c:pt idx="1394">
                  <c:v>Lactalis: A</c:v>
                </c:pt>
                <c:pt idx="1395">
                  <c:v>All Others</c:v>
                </c:pt>
                <c:pt idx="1396">
                  <c:v>All Others</c:v>
                </c:pt>
                <c:pt idx="1397">
                  <c:v>All Others</c:v>
                </c:pt>
                <c:pt idx="1398">
                  <c:v>All Others</c:v>
                </c:pt>
                <c:pt idx="1399">
                  <c:v>All Others</c:v>
                </c:pt>
                <c:pt idx="1400">
                  <c:v>All Others</c:v>
                </c:pt>
                <c:pt idx="1401">
                  <c:v>All Others</c:v>
                </c:pt>
                <c:pt idx="1402">
                  <c:v>All Others</c:v>
                </c:pt>
                <c:pt idx="1403">
                  <c:v>All Others</c:v>
                </c:pt>
                <c:pt idx="1404">
                  <c:v>All Others</c:v>
                </c:pt>
                <c:pt idx="1405">
                  <c:v>Etoile Du Q</c:v>
                </c:pt>
                <c:pt idx="1406">
                  <c:v>All Others</c:v>
                </c:pt>
                <c:pt idx="1407">
                  <c:v>All Others</c:v>
                </c:pt>
                <c:pt idx="1408">
                  <c:v>All Others</c:v>
                </c:pt>
                <c:pt idx="1409">
                  <c:v>All Others</c:v>
                </c:pt>
                <c:pt idx="1410">
                  <c:v>All Others</c:v>
                </c:pt>
                <c:pt idx="1411">
                  <c:v>All Others</c:v>
                </c:pt>
                <c:pt idx="1412">
                  <c:v>All Others</c:v>
                </c:pt>
                <c:pt idx="1413">
                  <c:v>All Others</c:v>
                </c:pt>
                <c:pt idx="1414">
                  <c:v>La Belle Et</c:v>
                </c:pt>
                <c:pt idx="1415">
                  <c:v>Eurial Autr</c:v>
                </c:pt>
                <c:pt idx="1416">
                  <c:v>All Others</c:v>
                </c:pt>
                <c:pt idx="1417">
                  <c:v>All Others</c:v>
                </c:pt>
                <c:pt idx="1418">
                  <c:v>Etoile Du V</c:v>
                </c:pt>
                <c:pt idx="1419">
                  <c:v>Pochat</c:v>
                </c:pt>
                <c:pt idx="1420">
                  <c:v>Nurishh</c:v>
                </c:pt>
                <c:pt idx="1421">
                  <c:v>All Others</c:v>
                </c:pt>
                <c:pt idx="1422">
                  <c:v>Eurial Autr</c:v>
                </c:pt>
                <c:pt idx="1423">
                  <c:v>All Others</c:v>
                </c:pt>
                <c:pt idx="1424">
                  <c:v>All Others</c:v>
                </c:pt>
                <c:pt idx="1425">
                  <c:v>All Others</c:v>
                </c:pt>
                <c:pt idx="1426">
                  <c:v>All Others</c:v>
                </c:pt>
                <c:pt idx="1427">
                  <c:v>All Others</c:v>
                </c:pt>
                <c:pt idx="1428">
                  <c:v>Private Lab</c:v>
                </c:pt>
                <c:pt idx="1429">
                  <c:v>Soignon</c:v>
                </c:pt>
                <c:pt idx="1430">
                  <c:v>All Others</c:v>
                </c:pt>
                <c:pt idx="1431">
                  <c:v>All Others</c:v>
                </c:pt>
                <c:pt idx="1432">
                  <c:v>All Others</c:v>
                </c:pt>
                <c:pt idx="1433">
                  <c:v>All Others</c:v>
                </c:pt>
                <c:pt idx="1434">
                  <c:v>Private Lab</c:v>
                </c:pt>
                <c:pt idx="1435">
                  <c:v>All Others</c:v>
                </c:pt>
                <c:pt idx="1436">
                  <c:v>All Others</c:v>
                </c:pt>
                <c:pt idx="1437">
                  <c:v>All Others</c:v>
                </c:pt>
                <c:pt idx="1438">
                  <c:v>All Others</c:v>
                </c:pt>
                <c:pt idx="1439">
                  <c:v>La Belle Et</c:v>
                </c:pt>
                <c:pt idx="1440">
                  <c:v>All Others</c:v>
                </c:pt>
                <c:pt idx="1441">
                  <c:v>All Others</c:v>
                </c:pt>
                <c:pt idx="1442">
                  <c:v>All Others</c:v>
                </c:pt>
                <c:pt idx="1443">
                  <c:v>La Belle Et</c:v>
                </c:pt>
                <c:pt idx="1444">
                  <c:v>All Others</c:v>
                </c:pt>
                <c:pt idx="1445">
                  <c:v>All Others</c:v>
                </c:pt>
                <c:pt idx="1446">
                  <c:v>All Others</c:v>
                </c:pt>
                <c:pt idx="1447">
                  <c:v>All Others</c:v>
                </c:pt>
                <c:pt idx="1448">
                  <c:v>All Others</c:v>
                </c:pt>
                <c:pt idx="1449">
                  <c:v>All Others</c:v>
                </c:pt>
                <c:pt idx="1450">
                  <c:v>All Others</c:v>
                </c:pt>
                <c:pt idx="1451">
                  <c:v>All Others</c:v>
                </c:pt>
                <c:pt idx="1452">
                  <c:v>All Others</c:v>
                </c:pt>
                <c:pt idx="1453">
                  <c:v>All Others</c:v>
                </c:pt>
                <c:pt idx="1454">
                  <c:v>All Others</c:v>
                </c:pt>
                <c:pt idx="1455">
                  <c:v>All Others</c:v>
                </c:pt>
                <c:pt idx="1456">
                  <c:v>All Others</c:v>
                </c:pt>
                <c:pt idx="1457">
                  <c:v>All Others</c:v>
                </c:pt>
                <c:pt idx="1458">
                  <c:v>Lactalis: A</c:v>
                </c:pt>
                <c:pt idx="1459">
                  <c:v>All Others</c:v>
                </c:pt>
                <c:pt idx="1460">
                  <c:v>Paysan Bret</c:v>
                </c:pt>
                <c:pt idx="1461">
                  <c:v>All Others</c:v>
                </c:pt>
                <c:pt idx="1462">
                  <c:v>All Others</c:v>
                </c:pt>
                <c:pt idx="1463">
                  <c:v>All Others</c:v>
                </c:pt>
                <c:pt idx="1464">
                  <c:v>All Others</c:v>
                </c:pt>
                <c:pt idx="1465">
                  <c:v>All Others</c:v>
                </c:pt>
                <c:pt idx="1466">
                  <c:v>Etoile Du V</c:v>
                </c:pt>
                <c:pt idx="1467">
                  <c:v>All Others</c:v>
                </c:pt>
                <c:pt idx="1468">
                  <c:v>All Others</c:v>
                </c:pt>
                <c:pt idx="1469">
                  <c:v>All Others</c:v>
                </c:pt>
                <c:pt idx="1470">
                  <c:v>All Others</c:v>
                </c:pt>
                <c:pt idx="1471">
                  <c:v>All Others</c:v>
                </c:pt>
                <c:pt idx="1472">
                  <c:v>Nurishh</c:v>
                </c:pt>
                <c:pt idx="1473">
                  <c:v>All Others</c:v>
                </c:pt>
                <c:pt idx="1474">
                  <c:v>Private Lab</c:v>
                </c:pt>
                <c:pt idx="1475">
                  <c:v>All Others</c:v>
                </c:pt>
                <c:pt idx="1476">
                  <c:v>Private Lab</c:v>
                </c:pt>
                <c:pt idx="1477">
                  <c:v>All Others</c:v>
                </c:pt>
                <c:pt idx="1478">
                  <c:v>All Others</c:v>
                </c:pt>
                <c:pt idx="1479">
                  <c:v>All Others</c:v>
                </c:pt>
                <c:pt idx="1480">
                  <c:v>All Others</c:v>
                </c:pt>
                <c:pt idx="1481">
                  <c:v>Private Lab</c:v>
                </c:pt>
                <c:pt idx="1482">
                  <c:v>All Others</c:v>
                </c:pt>
                <c:pt idx="1483">
                  <c:v>All Others</c:v>
                </c:pt>
                <c:pt idx="1484">
                  <c:v>All Others</c:v>
                </c:pt>
                <c:pt idx="1485">
                  <c:v>All Others</c:v>
                </c:pt>
                <c:pt idx="1486">
                  <c:v>La Belle Et</c:v>
                </c:pt>
                <c:pt idx="1487">
                  <c:v>All Others</c:v>
                </c:pt>
                <c:pt idx="1488">
                  <c:v>Lactalis: A</c:v>
                </c:pt>
                <c:pt idx="1489">
                  <c:v>All Others</c:v>
                </c:pt>
                <c:pt idx="1490">
                  <c:v>All Others</c:v>
                </c:pt>
                <c:pt idx="1491">
                  <c:v>Lou Perac</c:v>
                </c:pt>
                <c:pt idx="1492">
                  <c:v>All Others</c:v>
                </c:pt>
                <c:pt idx="1493">
                  <c:v>All Others</c:v>
                </c:pt>
                <c:pt idx="1494">
                  <c:v>All Others</c:v>
                </c:pt>
                <c:pt idx="1495">
                  <c:v>Private Lab</c:v>
                </c:pt>
                <c:pt idx="1496">
                  <c:v>All Others</c:v>
                </c:pt>
                <c:pt idx="1497">
                  <c:v>Etoile Du V</c:v>
                </c:pt>
                <c:pt idx="1498">
                  <c:v>All Others</c:v>
                </c:pt>
                <c:pt idx="1499">
                  <c:v>All Others</c:v>
                </c:pt>
                <c:pt idx="1500">
                  <c:v>All Others</c:v>
                </c:pt>
                <c:pt idx="1501">
                  <c:v>All Others</c:v>
                </c:pt>
                <c:pt idx="1502">
                  <c:v>All Others</c:v>
                </c:pt>
                <c:pt idx="1503">
                  <c:v>All Others</c:v>
                </c:pt>
                <c:pt idx="1504">
                  <c:v>All Others</c:v>
                </c:pt>
                <c:pt idx="1505">
                  <c:v>All Others</c:v>
                </c:pt>
                <c:pt idx="1506">
                  <c:v>All Others</c:v>
                </c:pt>
                <c:pt idx="1507">
                  <c:v>Savencia: A</c:v>
                </c:pt>
                <c:pt idx="1508">
                  <c:v>All Others</c:v>
                </c:pt>
                <c:pt idx="1509">
                  <c:v>All Others</c:v>
                </c:pt>
                <c:pt idx="1510">
                  <c:v>All Others</c:v>
                </c:pt>
                <c:pt idx="1511">
                  <c:v>All Others</c:v>
                </c:pt>
                <c:pt idx="1512">
                  <c:v>All Others</c:v>
                </c:pt>
                <c:pt idx="1513">
                  <c:v>All Others</c:v>
                </c:pt>
                <c:pt idx="1514">
                  <c:v>All Others</c:v>
                </c:pt>
                <c:pt idx="1515">
                  <c:v>All Others</c:v>
                </c:pt>
                <c:pt idx="1516">
                  <c:v>All Others</c:v>
                </c:pt>
                <c:pt idx="1517">
                  <c:v>All Others</c:v>
                </c:pt>
                <c:pt idx="1518">
                  <c:v>All Others</c:v>
                </c:pt>
                <c:pt idx="1519">
                  <c:v>La Belle Et</c:v>
                </c:pt>
                <c:pt idx="1520">
                  <c:v>Pochat</c:v>
                </c:pt>
                <c:pt idx="1521">
                  <c:v>All Others</c:v>
                </c:pt>
                <c:pt idx="1522">
                  <c:v>Raguin</c:v>
                </c:pt>
                <c:pt idx="1523">
                  <c:v>All Others</c:v>
                </c:pt>
                <c:pt idx="1524">
                  <c:v>All Others</c:v>
                </c:pt>
                <c:pt idx="1525">
                  <c:v>Lactalis: A</c:v>
                </c:pt>
                <c:pt idx="1526">
                  <c:v>Etoile Du V</c:v>
                </c:pt>
                <c:pt idx="1527">
                  <c:v>All Others</c:v>
                </c:pt>
                <c:pt idx="1528">
                  <c:v>All Others</c:v>
                </c:pt>
                <c:pt idx="1529">
                  <c:v>All Others</c:v>
                </c:pt>
                <c:pt idx="1530">
                  <c:v>All Others</c:v>
                </c:pt>
                <c:pt idx="1531">
                  <c:v>All Others</c:v>
                </c:pt>
                <c:pt idx="1532">
                  <c:v>All Others</c:v>
                </c:pt>
                <c:pt idx="1533">
                  <c:v>All Others</c:v>
                </c:pt>
                <c:pt idx="1534">
                  <c:v>All Others</c:v>
                </c:pt>
                <c:pt idx="1535">
                  <c:v>All Others</c:v>
                </c:pt>
                <c:pt idx="1536">
                  <c:v>All Others</c:v>
                </c:pt>
                <c:pt idx="1537">
                  <c:v>All Others</c:v>
                </c:pt>
                <c:pt idx="1538">
                  <c:v>La Belle Et</c:v>
                </c:pt>
                <c:pt idx="1539">
                  <c:v>All Others</c:v>
                </c:pt>
                <c:pt idx="1540">
                  <c:v>All Others</c:v>
                </c:pt>
                <c:pt idx="1541">
                  <c:v>All Others</c:v>
                </c:pt>
                <c:pt idx="1542">
                  <c:v>All Others</c:v>
                </c:pt>
                <c:pt idx="1543">
                  <c:v>All Others</c:v>
                </c:pt>
                <c:pt idx="1544">
                  <c:v>All Others</c:v>
                </c:pt>
                <c:pt idx="1545">
                  <c:v>Boursin</c:v>
                </c:pt>
                <c:pt idx="1546">
                  <c:v>All Others</c:v>
                </c:pt>
                <c:pt idx="1547">
                  <c:v>All Others</c:v>
                </c:pt>
                <c:pt idx="1548">
                  <c:v>All Others</c:v>
                </c:pt>
                <c:pt idx="1549">
                  <c:v>All Others</c:v>
                </c:pt>
                <c:pt idx="1550">
                  <c:v>Savencia: A</c:v>
                </c:pt>
                <c:pt idx="1551">
                  <c:v>All Others</c:v>
                </c:pt>
                <c:pt idx="1552">
                  <c:v>Societe</c:v>
                </c:pt>
                <c:pt idx="1553">
                  <c:v>All Others</c:v>
                </c:pt>
                <c:pt idx="1554">
                  <c:v>All Others</c:v>
                </c:pt>
                <c:pt idx="1555">
                  <c:v>All Others</c:v>
                </c:pt>
                <c:pt idx="1556">
                  <c:v>Pochat</c:v>
                </c:pt>
                <c:pt idx="1557">
                  <c:v>All Others</c:v>
                </c:pt>
                <c:pt idx="1558">
                  <c:v>All Others</c:v>
                </c:pt>
                <c:pt idx="1559">
                  <c:v>La Belle Et</c:v>
                </c:pt>
                <c:pt idx="1560">
                  <c:v>La Belle Et</c:v>
                </c:pt>
                <c:pt idx="1561">
                  <c:v>All Others</c:v>
                </c:pt>
                <c:pt idx="1562">
                  <c:v>Private Lab</c:v>
                </c:pt>
                <c:pt idx="1563">
                  <c:v>All Others</c:v>
                </c:pt>
                <c:pt idx="1564">
                  <c:v>All Others</c:v>
                </c:pt>
                <c:pt idx="1565">
                  <c:v>All Others</c:v>
                </c:pt>
                <c:pt idx="1566">
                  <c:v>Lactalis: A</c:v>
                </c:pt>
                <c:pt idx="1567">
                  <c:v>Private Lab</c:v>
                </c:pt>
                <c:pt idx="1568">
                  <c:v>Pave D'Affi</c:v>
                </c:pt>
                <c:pt idx="1569">
                  <c:v>All Others</c:v>
                </c:pt>
                <c:pt idx="1570">
                  <c:v>Etoile Du V</c:v>
                </c:pt>
                <c:pt idx="1571">
                  <c:v>All Others</c:v>
                </c:pt>
                <c:pt idx="1572">
                  <c:v>All Others</c:v>
                </c:pt>
                <c:pt idx="1573">
                  <c:v>All Others</c:v>
                </c:pt>
                <c:pt idx="1574">
                  <c:v>Etoile Du V</c:v>
                </c:pt>
                <c:pt idx="1575">
                  <c:v>All Others</c:v>
                </c:pt>
                <c:pt idx="1576">
                  <c:v>All Others</c:v>
                </c:pt>
                <c:pt idx="1577">
                  <c:v>All Others</c:v>
                </c:pt>
                <c:pt idx="1578">
                  <c:v>All Others</c:v>
                </c:pt>
                <c:pt idx="1579">
                  <c:v>All Others</c:v>
                </c:pt>
                <c:pt idx="1580">
                  <c:v>All Others</c:v>
                </c:pt>
                <c:pt idx="1581">
                  <c:v>All Others</c:v>
                </c:pt>
                <c:pt idx="1582">
                  <c:v>All Others</c:v>
                </c:pt>
                <c:pt idx="1583">
                  <c:v>La Belle Et</c:v>
                </c:pt>
                <c:pt idx="1584">
                  <c:v>All Others</c:v>
                </c:pt>
                <c:pt idx="1585">
                  <c:v>La Belle Et</c:v>
                </c:pt>
                <c:pt idx="1586">
                  <c:v>All Others</c:v>
                </c:pt>
                <c:pt idx="1587">
                  <c:v>All Others</c:v>
                </c:pt>
                <c:pt idx="1588">
                  <c:v>All Others</c:v>
                </c:pt>
                <c:pt idx="1589">
                  <c:v>All Others</c:v>
                </c:pt>
                <c:pt idx="1590">
                  <c:v>All Others</c:v>
                </c:pt>
                <c:pt idx="1591">
                  <c:v>All Others</c:v>
                </c:pt>
                <c:pt idx="1592">
                  <c:v>All Others</c:v>
                </c:pt>
                <c:pt idx="1593">
                  <c:v>All Others</c:v>
                </c:pt>
                <c:pt idx="1594">
                  <c:v>All Others</c:v>
                </c:pt>
                <c:pt idx="1595">
                  <c:v>All Others</c:v>
                </c:pt>
                <c:pt idx="1596">
                  <c:v>Savencia: A</c:v>
                </c:pt>
                <c:pt idx="1597">
                  <c:v>Apericube</c:v>
                </c:pt>
                <c:pt idx="1598">
                  <c:v>All Others</c:v>
                </c:pt>
                <c:pt idx="1599">
                  <c:v>Lactalis: A</c:v>
                </c:pt>
                <c:pt idx="1600">
                  <c:v>All Others</c:v>
                </c:pt>
                <c:pt idx="1601">
                  <c:v>All Others</c:v>
                </c:pt>
                <c:pt idx="1602">
                  <c:v>All Others</c:v>
                </c:pt>
                <c:pt idx="1603">
                  <c:v>All Others</c:v>
                </c:pt>
                <c:pt idx="1604">
                  <c:v>All Others</c:v>
                </c:pt>
                <c:pt idx="1605">
                  <c:v>All Others</c:v>
                </c:pt>
                <c:pt idx="1606">
                  <c:v>All Others</c:v>
                </c:pt>
                <c:pt idx="1607">
                  <c:v>All Others</c:v>
                </c:pt>
                <c:pt idx="1608">
                  <c:v>All Others</c:v>
                </c:pt>
                <c:pt idx="1609">
                  <c:v>All Others</c:v>
                </c:pt>
                <c:pt idx="1610">
                  <c:v>All Others</c:v>
                </c:pt>
                <c:pt idx="1611">
                  <c:v>All Others</c:v>
                </c:pt>
                <c:pt idx="1612">
                  <c:v>All Others</c:v>
                </c:pt>
                <c:pt idx="1613">
                  <c:v>All Others</c:v>
                </c:pt>
                <c:pt idx="1614">
                  <c:v>All Others</c:v>
                </c:pt>
                <c:pt idx="1615">
                  <c:v>All Others</c:v>
                </c:pt>
                <c:pt idx="1616">
                  <c:v>All Others</c:v>
                </c:pt>
                <c:pt idx="1617">
                  <c:v>All Others</c:v>
                </c:pt>
                <c:pt idx="1618">
                  <c:v>All Others</c:v>
                </c:pt>
                <c:pt idx="1619">
                  <c:v>All Others</c:v>
                </c:pt>
                <c:pt idx="1620">
                  <c:v>All Others</c:v>
                </c:pt>
                <c:pt idx="1621">
                  <c:v>All Others</c:v>
                </c:pt>
                <c:pt idx="1622">
                  <c:v>All Others</c:v>
                </c:pt>
                <c:pt idx="1623">
                  <c:v>All Others</c:v>
                </c:pt>
                <c:pt idx="1624">
                  <c:v>All Others</c:v>
                </c:pt>
                <c:pt idx="1625">
                  <c:v>All Others</c:v>
                </c:pt>
                <c:pt idx="1626">
                  <c:v>All Others</c:v>
                </c:pt>
                <c:pt idx="1627">
                  <c:v>All Others</c:v>
                </c:pt>
                <c:pt idx="1628">
                  <c:v>All Others</c:v>
                </c:pt>
                <c:pt idx="1629">
                  <c:v>All Others</c:v>
                </c:pt>
                <c:pt idx="1630">
                  <c:v>All Others</c:v>
                </c:pt>
                <c:pt idx="1631">
                  <c:v>All Others</c:v>
                </c:pt>
                <c:pt idx="1632">
                  <c:v>All Others</c:v>
                </c:pt>
                <c:pt idx="1633">
                  <c:v>Pave D'Affi</c:v>
                </c:pt>
                <c:pt idx="1634">
                  <c:v>All Others</c:v>
                </c:pt>
                <c:pt idx="1635">
                  <c:v>All Others</c:v>
                </c:pt>
                <c:pt idx="1636">
                  <c:v>All Others</c:v>
                </c:pt>
                <c:pt idx="1637">
                  <c:v>All Others</c:v>
                </c:pt>
                <c:pt idx="1638">
                  <c:v>All Others</c:v>
                </c:pt>
                <c:pt idx="1639">
                  <c:v>All Others</c:v>
                </c:pt>
                <c:pt idx="1640">
                  <c:v>All Others</c:v>
                </c:pt>
                <c:pt idx="1641">
                  <c:v>All Others</c:v>
                </c:pt>
                <c:pt idx="1642">
                  <c:v>All Others</c:v>
                </c:pt>
                <c:pt idx="1643">
                  <c:v>Leerdammer</c:v>
                </c:pt>
                <c:pt idx="1644">
                  <c:v>All Others</c:v>
                </c:pt>
                <c:pt idx="1645">
                  <c:v>All Others</c:v>
                </c:pt>
                <c:pt idx="1646">
                  <c:v>All Others</c:v>
                </c:pt>
                <c:pt idx="1647">
                  <c:v>Kiri</c:v>
                </c:pt>
                <c:pt idx="1648">
                  <c:v>All Others</c:v>
                </c:pt>
                <c:pt idx="1649">
                  <c:v>All Others</c:v>
                </c:pt>
                <c:pt idx="1650">
                  <c:v>All Others</c:v>
                </c:pt>
                <c:pt idx="1651">
                  <c:v>All Others</c:v>
                </c:pt>
                <c:pt idx="1652">
                  <c:v>All Others</c:v>
                </c:pt>
                <c:pt idx="1653">
                  <c:v>All Others</c:v>
                </c:pt>
                <c:pt idx="1654">
                  <c:v>All Others</c:v>
                </c:pt>
                <c:pt idx="1655">
                  <c:v>All Others</c:v>
                </c:pt>
                <c:pt idx="1656">
                  <c:v>All Others</c:v>
                </c:pt>
                <c:pt idx="1657">
                  <c:v>Private Lab</c:v>
                </c:pt>
                <c:pt idx="1658">
                  <c:v>All Others</c:v>
                </c:pt>
                <c:pt idx="1659">
                  <c:v>All Others</c:v>
                </c:pt>
                <c:pt idx="1660">
                  <c:v>All Others</c:v>
                </c:pt>
                <c:pt idx="1661">
                  <c:v>All Others</c:v>
                </c:pt>
                <c:pt idx="1662">
                  <c:v>All Others</c:v>
                </c:pt>
                <c:pt idx="1663">
                  <c:v>All Others</c:v>
                </c:pt>
                <c:pt idx="1664">
                  <c:v>All Others</c:v>
                </c:pt>
                <c:pt idx="1665">
                  <c:v>All Others</c:v>
                </c:pt>
                <c:pt idx="1666">
                  <c:v>All Others</c:v>
                </c:pt>
                <c:pt idx="1667">
                  <c:v>All Others</c:v>
                </c:pt>
                <c:pt idx="1668">
                  <c:v>All Others</c:v>
                </c:pt>
                <c:pt idx="1669">
                  <c:v>All Others</c:v>
                </c:pt>
                <c:pt idx="1670">
                  <c:v>All Others</c:v>
                </c:pt>
                <c:pt idx="1671">
                  <c:v>All Others</c:v>
                </c:pt>
                <c:pt idx="1672">
                  <c:v>All Others</c:v>
                </c:pt>
                <c:pt idx="1673">
                  <c:v>All Others</c:v>
                </c:pt>
                <c:pt idx="1674">
                  <c:v>All Others</c:v>
                </c:pt>
                <c:pt idx="1675">
                  <c:v>All Others</c:v>
                </c:pt>
                <c:pt idx="1676">
                  <c:v>All Others</c:v>
                </c:pt>
                <c:pt idx="1677">
                  <c:v>All Others</c:v>
                </c:pt>
                <c:pt idx="1678">
                  <c:v>All Others</c:v>
                </c:pt>
                <c:pt idx="1679">
                  <c:v>All Others</c:v>
                </c:pt>
                <c:pt idx="1680">
                  <c:v>All Others</c:v>
                </c:pt>
                <c:pt idx="1681">
                  <c:v>All Others</c:v>
                </c:pt>
                <c:pt idx="1682">
                  <c:v>All Others</c:v>
                </c:pt>
                <c:pt idx="1683">
                  <c:v>Savencia: A</c:v>
                </c:pt>
                <c:pt idx="1684">
                  <c:v>All Others</c:v>
                </c:pt>
                <c:pt idx="1685">
                  <c:v>All Others</c:v>
                </c:pt>
                <c:pt idx="1686">
                  <c:v>All Others</c:v>
                </c:pt>
                <c:pt idx="1687">
                  <c:v>All Others</c:v>
                </c:pt>
                <c:pt idx="1688">
                  <c:v>All Others</c:v>
                </c:pt>
                <c:pt idx="1689">
                  <c:v>All Others</c:v>
                </c:pt>
                <c:pt idx="1690">
                  <c:v>All Others</c:v>
                </c:pt>
                <c:pt idx="1691">
                  <c:v>All Others</c:v>
                </c:pt>
                <c:pt idx="1692">
                  <c:v>All Others</c:v>
                </c:pt>
                <c:pt idx="1693">
                  <c:v>Lactalis: A</c:v>
                </c:pt>
                <c:pt idx="1694">
                  <c:v>All Others</c:v>
                </c:pt>
                <c:pt idx="1695">
                  <c:v>All Others</c:v>
                </c:pt>
                <c:pt idx="1696">
                  <c:v>All Others</c:v>
                </c:pt>
                <c:pt idx="1697">
                  <c:v>All Others</c:v>
                </c:pt>
                <c:pt idx="1698">
                  <c:v>All Others</c:v>
                </c:pt>
                <c:pt idx="1699">
                  <c:v>All Others</c:v>
                </c:pt>
                <c:pt idx="1700">
                  <c:v>All Others</c:v>
                </c:pt>
                <c:pt idx="1701">
                  <c:v>Soignon</c:v>
                </c:pt>
                <c:pt idx="1702">
                  <c:v>All Others</c:v>
                </c:pt>
                <c:pt idx="1703">
                  <c:v>Private Lab</c:v>
                </c:pt>
                <c:pt idx="1704">
                  <c:v>All Others</c:v>
                </c:pt>
                <c:pt idx="1705">
                  <c:v>Eurial Autr</c:v>
                </c:pt>
                <c:pt idx="1706">
                  <c:v>All Others</c:v>
                </c:pt>
                <c:pt idx="1707">
                  <c:v>Milleret: A</c:v>
                </c:pt>
                <c:pt idx="1708">
                  <c:v>Private Lab</c:v>
                </c:pt>
                <c:pt idx="1709">
                  <c:v>All Others</c:v>
                </c:pt>
                <c:pt idx="1710">
                  <c:v>All Others</c:v>
                </c:pt>
                <c:pt idx="1711">
                  <c:v>All Others</c:v>
                </c:pt>
                <c:pt idx="1712">
                  <c:v>All Others</c:v>
                </c:pt>
                <c:pt idx="1713">
                  <c:v>All Others</c:v>
                </c:pt>
                <c:pt idx="1714">
                  <c:v>All Others</c:v>
                </c:pt>
                <c:pt idx="1715">
                  <c:v>Societe</c:v>
                </c:pt>
                <c:pt idx="1716">
                  <c:v>All Others</c:v>
                </c:pt>
                <c:pt idx="1717">
                  <c:v>All Others</c:v>
                </c:pt>
                <c:pt idx="1718">
                  <c:v>All Others</c:v>
                </c:pt>
                <c:pt idx="1719">
                  <c:v>Milleret: A</c:v>
                </c:pt>
                <c:pt idx="1720">
                  <c:v>Lactalis: A</c:v>
                </c:pt>
                <c:pt idx="1721">
                  <c:v>All Others</c:v>
                </c:pt>
                <c:pt idx="1722">
                  <c:v>All Others</c:v>
                </c:pt>
                <c:pt idx="1723">
                  <c:v>All Others</c:v>
                </c:pt>
                <c:pt idx="1724">
                  <c:v>La Belle Et</c:v>
                </c:pt>
                <c:pt idx="1725">
                  <c:v>Pave D'Affi</c:v>
                </c:pt>
                <c:pt idx="1726">
                  <c:v>Lactalis: A</c:v>
                </c:pt>
                <c:pt idx="1727">
                  <c:v>All Others</c:v>
                </c:pt>
                <c:pt idx="1728">
                  <c:v>All Others</c:v>
                </c:pt>
                <c:pt idx="1729">
                  <c:v>All Others</c:v>
                </c:pt>
                <c:pt idx="1730">
                  <c:v>All Others</c:v>
                </c:pt>
                <c:pt idx="1731">
                  <c:v>All Others</c:v>
                </c:pt>
                <c:pt idx="1732">
                  <c:v>All Others</c:v>
                </c:pt>
                <c:pt idx="1733">
                  <c:v>All Others</c:v>
                </c:pt>
                <c:pt idx="1734">
                  <c:v>All Others</c:v>
                </c:pt>
                <c:pt idx="1735">
                  <c:v>All Others</c:v>
                </c:pt>
                <c:pt idx="1736">
                  <c:v>All Others</c:v>
                </c:pt>
                <c:pt idx="1737">
                  <c:v>All Others</c:v>
                </c:pt>
                <c:pt idx="1738">
                  <c:v>All Others</c:v>
                </c:pt>
                <c:pt idx="1739">
                  <c:v>All Others</c:v>
                </c:pt>
                <c:pt idx="1740">
                  <c:v>All Others</c:v>
                </c:pt>
                <c:pt idx="1741">
                  <c:v>All Others</c:v>
                </c:pt>
                <c:pt idx="1742">
                  <c:v>All Others</c:v>
                </c:pt>
                <c:pt idx="1743">
                  <c:v>All Others</c:v>
                </c:pt>
                <c:pt idx="1744">
                  <c:v>All Others</c:v>
                </c:pt>
                <c:pt idx="1745">
                  <c:v>Private Lab</c:v>
                </c:pt>
                <c:pt idx="1746">
                  <c:v>All Others</c:v>
                </c:pt>
                <c:pt idx="1747">
                  <c:v>All Others</c:v>
                </c:pt>
                <c:pt idx="1748">
                  <c:v>All Others</c:v>
                </c:pt>
                <c:pt idx="1749">
                  <c:v>All Others</c:v>
                </c:pt>
                <c:pt idx="1750">
                  <c:v>All Others</c:v>
                </c:pt>
                <c:pt idx="1751">
                  <c:v>All Others</c:v>
                </c:pt>
                <c:pt idx="1752">
                  <c:v>All Others</c:v>
                </c:pt>
                <c:pt idx="1753">
                  <c:v>All Others</c:v>
                </c:pt>
                <c:pt idx="1754">
                  <c:v>All Others</c:v>
                </c:pt>
                <c:pt idx="1755">
                  <c:v>Eurial Autr</c:v>
                </c:pt>
                <c:pt idx="1756">
                  <c:v>All Others</c:v>
                </c:pt>
                <c:pt idx="1757">
                  <c:v>All Others</c:v>
                </c:pt>
                <c:pt idx="1758">
                  <c:v>All Others</c:v>
                </c:pt>
                <c:pt idx="1759">
                  <c:v>All Others</c:v>
                </c:pt>
                <c:pt idx="1760">
                  <c:v>All Others</c:v>
                </c:pt>
                <c:pt idx="1761">
                  <c:v>Lactalis: A</c:v>
                </c:pt>
                <c:pt idx="1762">
                  <c:v>All Others</c:v>
                </c:pt>
                <c:pt idx="1763">
                  <c:v>All Others</c:v>
                </c:pt>
                <c:pt idx="1764">
                  <c:v>All Others</c:v>
                </c:pt>
                <c:pt idx="1765">
                  <c:v>All Others</c:v>
                </c:pt>
                <c:pt idx="1766">
                  <c:v>All Others</c:v>
                </c:pt>
                <c:pt idx="1767">
                  <c:v>All Others</c:v>
                </c:pt>
                <c:pt idx="1768">
                  <c:v>All Others</c:v>
                </c:pt>
                <c:pt idx="1769">
                  <c:v>All Others</c:v>
                </c:pt>
                <c:pt idx="1770">
                  <c:v>La Belle Et</c:v>
                </c:pt>
                <c:pt idx="1771">
                  <c:v>All Others</c:v>
                </c:pt>
                <c:pt idx="1772">
                  <c:v>All Others</c:v>
                </c:pt>
                <c:pt idx="1773">
                  <c:v>All Others</c:v>
                </c:pt>
                <c:pt idx="1774">
                  <c:v>All Others</c:v>
                </c:pt>
                <c:pt idx="1775">
                  <c:v>All Others</c:v>
                </c:pt>
                <c:pt idx="1776">
                  <c:v>All Others</c:v>
                </c:pt>
                <c:pt idx="1777">
                  <c:v>All Others</c:v>
                </c:pt>
                <c:pt idx="1778">
                  <c:v>Soignon</c:v>
                </c:pt>
                <c:pt idx="1779">
                  <c:v>All Others</c:v>
                </c:pt>
                <c:pt idx="1780">
                  <c:v>All Others</c:v>
                </c:pt>
                <c:pt idx="1781">
                  <c:v>All Others</c:v>
                </c:pt>
                <c:pt idx="1782">
                  <c:v>All Others</c:v>
                </c:pt>
                <c:pt idx="1783">
                  <c:v>Private Lab</c:v>
                </c:pt>
                <c:pt idx="1784">
                  <c:v>All Others</c:v>
                </c:pt>
                <c:pt idx="1785">
                  <c:v>All Others</c:v>
                </c:pt>
                <c:pt idx="1786">
                  <c:v>All Others</c:v>
                </c:pt>
                <c:pt idx="1787">
                  <c:v>All Others</c:v>
                </c:pt>
                <c:pt idx="1788">
                  <c:v>All Others</c:v>
                </c:pt>
                <c:pt idx="1789">
                  <c:v>Eurial Autr</c:v>
                </c:pt>
                <c:pt idx="1790">
                  <c:v>All Others</c:v>
                </c:pt>
                <c:pt idx="1791">
                  <c:v>All Others</c:v>
                </c:pt>
                <c:pt idx="1792">
                  <c:v>All Others</c:v>
                </c:pt>
                <c:pt idx="1793">
                  <c:v>All Others</c:v>
                </c:pt>
                <c:pt idx="1794">
                  <c:v>All Others</c:v>
                </c:pt>
                <c:pt idx="1795">
                  <c:v>Galbani</c:v>
                </c:pt>
                <c:pt idx="1796">
                  <c:v>Lactalis: A</c:v>
                </c:pt>
                <c:pt idx="1797">
                  <c:v>All Others</c:v>
                </c:pt>
                <c:pt idx="1798">
                  <c:v>All Others</c:v>
                </c:pt>
                <c:pt idx="1799">
                  <c:v>All Others</c:v>
                </c:pt>
                <c:pt idx="1800">
                  <c:v>All Others</c:v>
                </c:pt>
                <c:pt idx="1801">
                  <c:v>All Others</c:v>
                </c:pt>
                <c:pt idx="1802">
                  <c:v>Le Saint Am</c:v>
                </c:pt>
                <c:pt idx="1803">
                  <c:v>All Others</c:v>
                </c:pt>
                <c:pt idx="1804">
                  <c:v>Nurishh</c:v>
                </c:pt>
                <c:pt idx="1805">
                  <c:v>Savencia: A</c:v>
                </c:pt>
                <c:pt idx="1806">
                  <c:v>Eurial Autr</c:v>
                </c:pt>
                <c:pt idx="1807">
                  <c:v>All Others</c:v>
                </c:pt>
                <c:pt idx="1808">
                  <c:v>All Others</c:v>
                </c:pt>
                <c:pt idx="1809">
                  <c:v>All Others</c:v>
                </c:pt>
                <c:pt idx="1810">
                  <c:v>All Others</c:v>
                </c:pt>
                <c:pt idx="1811">
                  <c:v>All Others</c:v>
                </c:pt>
                <c:pt idx="1812">
                  <c:v>All Others</c:v>
                </c:pt>
                <c:pt idx="1813">
                  <c:v>Private Lab</c:v>
                </c:pt>
                <c:pt idx="1814">
                  <c:v>Private Lab</c:v>
                </c:pt>
                <c:pt idx="1815">
                  <c:v>All Others</c:v>
                </c:pt>
                <c:pt idx="1816">
                  <c:v>All Others</c:v>
                </c:pt>
                <c:pt idx="1817">
                  <c:v>All Others</c:v>
                </c:pt>
                <c:pt idx="1818">
                  <c:v>Le Saint Am</c:v>
                </c:pt>
                <c:pt idx="1819">
                  <c:v>All Others</c:v>
                </c:pt>
                <c:pt idx="1820">
                  <c:v>All Others</c:v>
                </c:pt>
                <c:pt idx="1821">
                  <c:v>All Others</c:v>
                </c:pt>
                <c:pt idx="1822">
                  <c:v>All Others</c:v>
                </c:pt>
                <c:pt idx="1823">
                  <c:v>All Others</c:v>
                </c:pt>
                <c:pt idx="1824">
                  <c:v>Societe</c:v>
                </c:pt>
                <c:pt idx="1825">
                  <c:v>All Others</c:v>
                </c:pt>
                <c:pt idx="1826">
                  <c:v>All Others</c:v>
                </c:pt>
                <c:pt idx="1827">
                  <c:v>All Others</c:v>
                </c:pt>
                <c:pt idx="1828">
                  <c:v>All Others</c:v>
                </c:pt>
                <c:pt idx="1829">
                  <c:v>Le Saint Am</c:v>
                </c:pt>
                <c:pt idx="1830">
                  <c:v>All Others</c:v>
                </c:pt>
                <c:pt idx="1831">
                  <c:v>Juraflore</c:v>
                </c:pt>
                <c:pt idx="1832">
                  <c:v>All Others</c:v>
                </c:pt>
                <c:pt idx="1833">
                  <c:v>All Others</c:v>
                </c:pt>
                <c:pt idx="1834">
                  <c:v>All Others</c:v>
                </c:pt>
                <c:pt idx="1835">
                  <c:v>All Others</c:v>
                </c:pt>
                <c:pt idx="1836">
                  <c:v>All Others</c:v>
                </c:pt>
                <c:pt idx="1837">
                  <c:v>All Others</c:v>
                </c:pt>
                <c:pt idx="1838">
                  <c:v>All Others</c:v>
                </c:pt>
                <c:pt idx="1839">
                  <c:v>Etoile Du V</c:v>
                </c:pt>
                <c:pt idx="1840">
                  <c:v>All Others</c:v>
                </c:pt>
                <c:pt idx="1841">
                  <c:v>All Others</c:v>
                </c:pt>
                <c:pt idx="1842">
                  <c:v>All Others</c:v>
                </c:pt>
                <c:pt idx="1843">
                  <c:v>All Others</c:v>
                </c:pt>
                <c:pt idx="1844">
                  <c:v>All Others</c:v>
                </c:pt>
                <c:pt idx="1845">
                  <c:v>All Others</c:v>
                </c:pt>
                <c:pt idx="1846">
                  <c:v>All Others</c:v>
                </c:pt>
                <c:pt idx="1847">
                  <c:v>All Others</c:v>
                </c:pt>
                <c:pt idx="1848">
                  <c:v>All Others</c:v>
                </c:pt>
                <c:pt idx="1849">
                  <c:v>All Others</c:v>
                </c:pt>
                <c:pt idx="1850">
                  <c:v>All Others</c:v>
                </c:pt>
                <c:pt idx="1851">
                  <c:v>All Others</c:v>
                </c:pt>
                <c:pt idx="1852">
                  <c:v>All Others</c:v>
                </c:pt>
                <c:pt idx="1853">
                  <c:v>All Others</c:v>
                </c:pt>
                <c:pt idx="1854">
                  <c:v>All Others</c:v>
                </c:pt>
                <c:pt idx="1855">
                  <c:v>All Others</c:v>
                </c:pt>
                <c:pt idx="1856">
                  <c:v>All Others</c:v>
                </c:pt>
                <c:pt idx="1857">
                  <c:v>All Others</c:v>
                </c:pt>
                <c:pt idx="1858">
                  <c:v>All Others</c:v>
                </c:pt>
                <c:pt idx="1859">
                  <c:v>All Others</c:v>
                </c:pt>
                <c:pt idx="1860">
                  <c:v>All Others</c:v>
                </c:pt>
                <c:pt idx="1861">
                  <c:v>All Others</c:v>
                </c:pt>
                <c:pt idx="1862">
                  <c:v>All Others</c:v>
                </c:pt>
                <c:pt idx="1863">
                  <c:v>All Others</c:v>
                </c:pt>
                <c:pt idx="1864">
                  <c:v>All Others</c:v>
                </c:pt>
                <c:pt idx="1865">
                  <c:v>All Others</c:v>
                </c:pt>
                <c:pt idx="1866">
                  <c:v>Fol Epi</c:v>
                </c:pt>
                <c:pt idx="1867">
                  <c:v>Triballat R</c:v>
                </c:pt>
                <c:pt idx="1868">
                  <c:v>All Others</c:v>
                </c:pt>
                <c:pt idx="1869">
                  <c:v>All Others</c:v>
                </c:pt>
                <c:pt idx="1870">
                  <c:v>Private Lab</c:v>
                </c:pt>
                <c:pt idx="1871">
                  <c:v>Violife</c:v>
                </c:pt>
                <c:pt idx="1872">
                  <c:v>All Others</c:v>
                </c:pt>
                <c:pt idx="1873">
                  <c:v>Apericube</c:v>
                </c:pt>
                <c:pt idx="1874">
                  <c:v>All Others</c:v>
                </c:pt>
                <c:pt idx="1875">
                  <c:v>All Others</c:v>
                </c:pt>
                <c:pt idx="1876">
                  <c:v>All Others</c:v>
                </c:pt>
                <c:pt idx="1877">
                  <c:v>All Others</c:v>
                </c:pt>
                <c:pt idx="1878">
                  <c:v>All Others</c:v>
                </c:pt>
                <c:pt idx="1879">
                  <c:v>All Others</c:v>
                </c:pt>
                <c:pt idx="1880">
                  <c:v>All Others</c:v>
                </c:pt>
                <c:pt idx="1881">
                  <c:v>All Others</c:v>
                </c:pt>
                <c:pt idx="1882">
                  <c:v>Islos</c:v>
                </c:pt>
                <c:pt idx="1883">
                  <c:v>All Others</c:v>
                </c:pt>
                <c:pt idx="1884">
                  <c:v>All Others</c:v>
                </c:pt>
                <c:pt idx="1885">
                  <c:v>All Others</c:v>
                </c:pt>
                <c:pt idx="1886">
                  <c:v>President</c:v>
                </c:pt>
                <c:pt idx="1887">
                  <c:v>All Others</c:v>
                </c:pt>
                <c:pt idx="1888">
                  <c:v>All Others</c:v>
                </c:pt>
                <c:pt idx="1889">
                  <c:v>All Others</c:v>
                </c:pt>
                <c:pt idx="1890">
                  <c:v>All Others</c:v>
                </c:pt>
                <c:pt idx="1891">
                  <c:v>All Others</c:v>
                </c:pt>
                <c:pt idx="1892">
                  <c:v>All Others</c:v>
                </c:pt>
                <c:pt idx="1893">
                  <c:v>All Others</c:v>
                </c:pt>
                <c:pt idx="1894">
                  <c:v>All Others</c:v>
                </c:pt>
                <c:pt idx="1895">
                  <c:v>All Others</c:v>
                </c:pt>
                <c:pt idx="1896">
                  <c:v>All Others</c:v>
                </c:pt>
                <c:pt idx="1897">
                  <c:v>All Others</c:v>
                </c:pt>
                <c:pt idx="1898">
                  <c:v>All Others</c:v>
                </c:pt>
                <c:pt idx="1899">
                  <c:v>All Others</c:v>
                </c:pt>
                <c:pt idx="1900">
                  <c:v>All Others</c:v>
                </c:pt>
                <c:pt idx="1901">
                  <c:v>All Others</c:v>
                </c:pt>
                <c:pt idx="1902">
                  <c:v>All Others</c:v>
                </c:pt>
                <c:pt idx="1903">
                  <c:v>All Others</c:v>
                </c:pt>
                <c:pt idx="1904">
                  <c:v>All Others</c:v>
                </c:pt>
                <c:pt idx="1905">
                  <c:v>All Others</c:v>
                </c:pt>
                <c:pt idx="1906">
                  <c:v>All Others</c:v>
                </c:pt>
                <c:pt idx="1907">
                  <c:v>All Others</c:v>
                </c:pt>
                <c:pt idx="1908">
                  <c:v>All Others</c:v>
                </c:pt>
                <c:pt idx="1909">
                  <c:v>All Others</c:v>
                </c:pt>
                <c:pt idx="1910">
                  <c:v>All Others</c:v>
                </c:pt>
                <c:pt idx="1911">
                  <c:v>All Others</c:v>
                </c:pt>
                <c:pt idx="1912">
                  <c:v>All Others</c:v>
                </c:pt>
                <c:pt idx="1913">
                  <c:v>All Others</c:v>
                </c:pt>
                <c:pt idx="1914">
                  <c:v>Richesmonts</c:v>
                </c:pt>
                <c:pt idx="1915">
                  <c:v>All Others</c:v>
                </c:pt>
                <c:pt idx="1916">
                  <c:v>All Others</c:v>
                </c:pt>
                <c:pt idx="1917">
                  <c:v>All Others</c:v>
                </c:pt>
                <c:pt idx="1918">
                  <c:v>All Others</c:v>
                </c:pt>
                <c:pt idx="1919">
                  <c:v>All Others</c:v>
                </c:pt>
                <c:pt idx="1920">
                  <c:v>All Others</c:v>
                </c:pt>
                <c:pt idx="1921">
                  <c:v>All Others</c:v>
                </c:pt>
                <c:pt idx="1922">
                  <c:v>All Others</c:v>
                </c:pt>
                <c:pt idx="1923">
                  <c:v>All Others</c:v>
                </c:pt>
                <c:pt idx="1924">
                  <c:v>All Others</c:v>
                </c:pt>
                <c:pt idx="1925">
                  <c:v>All Others</c:v>
                </c:pt>
                <c:pt idx="1926">
                  <c:v>All Others</c:v>
                </c:pt>
                <c:pt idx="1927">
                  <c:v>All Others</c:v>
                </c:pt>
                <c:pt idx="1928">
                  <c:v>All Others</c:v>
                </c:pt>
                <c:pt idx="1929">
                  <c:v>Private Lab</c:v>
                </c:pt>
                <c:pt idx="1930">
                  <c:v>Pave D'Affi</c:v>
                </c:pt>
                <c:pt idx="1931">
                  <c:v>All Others</c:v>
                </c:pt>
                <c:pt idx="1932">
                  <c:v>All Others</c:v>
                </c:pt>
                <c:pt idx="1933">
                  <c:v>All Others</c:v>
                </c:pt>
                <c:pt idx="1934">
                  <c:v>All Others</c:v>
                </c:pt>
                <c:pt idx="1935">
                  <c:v>All Others</c:v>
                </c:pt>
                <c:pt idx="1936">
                  <c:v>All Others</c:v>
                </c:pt>
                <c:pt idx="1937">
                  <c:v>Boursin</c:v>
                </c:pt>
                <c:pt idx="1938">
                  <c:v>All Others</c:v>
                </c:pt>
                <c:pt idx="1939">
                  <c:v>All Others</c:v>
                </c:pt>
                <c:pt idx="1940">
                  <c:v>All Others</c:v>
                </c:pt>
                <c:pt idx="1941">
                  <c:v>All Others</c:v>
                </c:pt>
                <c:pt idx="1942">
                  <c:v>All Others</c:v>
                </c:pt>
                <c:pt idx="1943">
                  <c:v>All Others</c:v>
                </c:pt>
                <c:pt idx="1944">
                  <c:v>All Others</c:v>
                </c:pt>
                <c:pt idx="1945">
                  <c:v>All Others</c:v>
                </c:pt>
                <c:pt idx="1946">
                  <c:v>All Others</c:v>
                </c:pt>
                <c:pt idx="1947">
                  <c:v>All Others</c:v>
                </c:pt>
                <c:pt idx="1948">
                  <c:v>All Others</c:v>
                </c:pt>
                <c:pt idx="1949">
                  <c:v>All Others</c:v>
                </c:pt>
                <c:pt idx="1950">
                  <c:v>Private Lab</c:v>
                </c:pt>
                <c:pt idx="1951">
                  <c:v>Eurial Autr</c:v>
                </c:pt>
                <c:pt idx="1952">
                  <c:v>All Others</c:v>
                </c:pt>
                <c:pt idx="1953">
                  <c:v>All Others</c:v>
                </c:pt>
                <c:pt idx="1954">
                  <c:v>Caprice Des</c:v>
                </c:pt>
                <c:pt idx="1955">
                  <c:v>Apericube</c:v>
                </c:pt>
                <c:pt idx="1956">
                  <c:v>All Others</c:v>
                </c:pt>
                <c:pt idx="1957">
                  <c:v>All Others</c:v>
                </c:pt>
                <c:pt idx="1958">
                  <c:v>All Others</c:v>
                </c:pt>
                <c:pt idx="1959">
                  <c:v>Private Lab</c:v>
                </c:pt>
                <c:pt idx="1960">
                  <c:v>All Others</c:v>
                </c:pt>
                <c:pt idx="1961">
                  <c:v>All Others</c:v>
                </c:pt>
                <c:pt idx="1962">
                  <c:v>All Others</c:v>
                </c:pt>
                <c:pt idx="1963">
                  <c:v>All Others</c:v>
                </c:pt>
                <c:pt idx="1964">
                  <c:v>All Others</c:v>
                </c:pt>
                <c:pt idx="1965">
                  <c:v>Private Lab</c:v>
                </c:pt>
                <c:pt idx="1966">
                  <c:v>All Others</c:v>
                </c:pt>
                <c:pt idx="1967">
                  <c:v>All Others</c:v>
                </c:pt>
                <c:pt idx="1968">
                  <c:v>All Others</c:v>
                </c:pt>
                <c:pt idx="1969">
                  <c:v>Paysan Bret</c:v>
                </c:pt>
                <c:pt idx="1970">
                  <c:v>Private Lab</c:v>
                </c:pt>
                <c:pt idx="1971">
                  <c:v>All Others</c:v>
                </c:pt>
                <c:pt idx="1972">
                  <c:v>All Others</c:v>
                </c:pt>
                <c:pt idx="1973">
                  <c:v>All Others</c:v>
                </c:pt>
                <c:pt idx="1974">
                  <c:v>All Others</c:v>
                </c:pt>
                <c:pt idx="1975">
                  <c:v>Private Lab</c:v>
                </c:pt>
                <c:pt idx="1976">
                  <c:v>All Others</c:v>
                </c:pt>
                <c:pt idx="1977">
                  <c:v>All Others</c:v>
                </c:pt>
                <c:pt idx="1978">
                  <c:v>Savencia: A</c:v>
                </c:pt>
              </c:strCache>
            </c:strRef>
          </c:cat>
          <c:val>
            <c:numRef>
              <c:f>Sheet1!$B$2:$B$1980</c:f>
              <c:numCache>
                <c:formatCode>General</c:formatCode>
                <c:ptCount val="1979"/>
                <c:pt idx="0">
                  <c:v>1</c:v>
                </c:pt>
                <c:pt idx="1">
                  <c:v>0.99</c:v>
                </c:pt>
                <c:pt idx="2">
                  <c:v>1</c:v>
                </c:pt>
                <c:pt idx="3">
                  <c:v>0.35</c:v>
                </c:pt>
                <c:pt idx="4">
                  <c:v>1</c:v>
                </c:pt>
                <c:pt idx="5">
                  <c:v>1</c:v>
                </c:pt>
                <c:pt idx="6">
                  <c:v>1</c:v>
                </c:pt>
                <c:pt idx="7">
                  <c:v>1</c:v>
                </c:pt>
                <c:pt idx="8">
                  <c:v>0.99</c:v>
                </c:pt>
                <c:pt idx="9">
                  <c:v>1</c:v>
                </c:pt>
                <c:pt idx="10">
                  <c:v>1</c:v>
                </c:pt>
                <c:pt idx="11">
                  <c:v>0.99</c:v>
                </c:pt>
                <c:pt idx="12">
                  <c:v>1</c:v>
                </c:pt>
                <c:pt idx="13">
                  <c:v>1</c:v>
                </c:pt>
                <c:pt idx="14">
                  <c:v>1</c:v>
                </c:pt>
                <c:pt idx="15">
                  <c:v>1</c:v>
                </c:pt>
                <c:pt idx="16">
                  <c:v>1</c:v>
                </c:pt>
                <c:pt idx="17">
                  <c:v>1</c:v>
                </c:pt>
                <c:pt idx="18">
                  <c:v>0.99</c:v>
                </c:pt>
                <c:pt idx="19">
                  <c:v>1</c:v>
                </c:pt>
                <c:pt idx="20">
                  <c:v>1</c:v>
                </c:pt>
                <c:pt idx="21">
                  <c:v>0.96</c:v>
                </c:pt>
                <c:pt idx="22">
                  <c:v>1</c:v>
                </c:pt>
                <c:pt idx="23">
                  <c:v>1</c:v>
                </c:pt>
                <c:pt idx="24">
                  <c:v>0.96</c:v>
                </c:pt>
                <c:pt idx="25">
                  <c:v>0.98</c:v>
                </c:pt>
                <c:pt idx="26">
                  <c:v>1</c:v>
                </c:pt>
                <c:pt idx="27">
                  <c:v>1</c:v>
                </c:pt>
                <c:pt idx="28">
                  <c:v>0.89</c:v>
                </c:pt>
                <c:pt idx="29">
                  <c:v>0.99</c:v>
                </c:pt>
                <c:pt idx="30">
                  <c:v>0.99</c:v>
                </c:pt>
                <c:pt idx="31">
                  <c:v>0.96</c:v>
                </c:pt>
                <c:pt idx="32">
                  <c:v>0.99</c:v>
                </c:pt>
                <c:pt idx="33">
                  <c:v>1</c:v>
                </c:pt>
                <c:pt idx="34">
                  <c:v>0.99</c:v>
                </c:pt>
                <c:pt idx="35">
                  <c:v>0.99</c:v>
                </c:pt>
                <c:pt idx="36">
                  <c:v>0.99</c:v>
                </c:pt>
                <c:pt idx="37">
                  <c:v>0.95</c:v>
                </c:pt>
                <c:pt idx="38">
                  <c:v>0.86</c:v>
                </c:pt>
                <c:pt idx="39">
                  <c:v>1</c:v>
                </c:pt>
                <c:pt idx="40">
                  <c:v>0.96</c:v>
                </c:pt>
                <c:pt idx="41">
                  <c:v>0.99</c:v>
                </c:pt>
                <c:pt idx="42">
                  <c:v>0.95</c:v>
                </c:pt>
                <c:pt idx="43">
                  <c:v>0.99</c:v>
                </c:pt>
                <c:pt idx="44">
                  <c:v>0.95</c:v>
                </c:pt>
                <c:pt idx="45">
                  <c:v>1</c:v>
                </c:pt>
                <c:pt idx="46">
                  <c:v>0.95</c:v>
                </c:pt>
                <c:pt idx="47">
                  <c:v>0.98</c:v>
                </c:pt>
                <c:pt idx="48">
                  <c:v>0.97</c:v>
                </c:pt>
                <c:pt idx="49">
                  <c:v>0.93</c:v>
                </c:pt>
                <c:pt idx="50">
                  <c:v>1</c:v>
                </c:pt>
                <c:pt idx="51">
                  <c:v>1</c:v>
                </c:pt>
                <c:pt idx="52">
                  <c:v>0.97</c:v>
                </c:pt>
                <c:pt idx="53">
                  <c:v>1</c:v>
                </c:pt>
                <c:pt idx="54">
                  <c:v>0.99</c:v>
                </c:pt>
                <c:pt idx="55">
                  <c:v>0.96</c:v>
                </c:pt>
                <c:pt idx="56">
                  <c:v>1</c:v>
                </c:pt>
                <c:pt idx="57">
                  <c:v>1</c:v>
                </c:pt>
                <c:pt idx="58">
                  <c:v>0.99</c:v>
                </c:pt>
                <c:pt idx="59">
                  <c:v>0.87</c:v>
                </c:pt>
                <c:pt idx="60">
                  <c:v>0.88</c:v>
                </c:pt>
                <c:pt idx="61">
                  <c:v>0.99</c:v>
                </c:pt>
                <c:pt idx="62">
                  <c:v>0.95</c:v>
                </c:pt>
                <c:pt idx="63">
                  <c:v>0.99</c:v>
                </c:pt>
                <c:pt idx="64">
                  <c:v>1</c:v>
                </c:pt>
                <c:pt idx="65">
                  <c:v>0.95</c:v>
                </c:pt>
                <c:pt idx="66">
                  <c:v>0.99</c:v>
                </c:pt>
                <c:pt idx="67">
                  <c:v>1</c:v>
                </c:pt>
                <c:pt idx="68">
                  <c:v>0.97</c:v>
                </c:pt>
                <c:pt idx="69">
                  <c:v>0.98</c:v>
                </c:pt>
                <c:pt idx="70">
                  <c:v>0.99</c:v>
                </c:pt>
                <c:pt idx="71">
                  <c:v>0.93</c:v>
                </c:pt>
                <c:pt idx="72">
                  <c:v>0.97</c:v>
                </c:pt>
                <c:pt idx="73">
                  <c:v>0.99</c:v>
                </c:pt>
                <c:pt idx="74">
                  <c:v>1</c:v>
                </c:pt>
                <c:pt idx="75">
                  <c:v>0.99</c:v>
                </c:pt>
                <c:pt idx="76">
                  <c:v>0.95</c:v>
                </c:pt>
                <c:pt idx="77">
                  <c:v>0.98</c:v>
                </c:pt>
                <c:pt idx="78">
                  <c:v>0.98</c:v>
                </c:pt>
                <c:pt idx="79">
                  <c:v>0.95</c:v>
                </c:pt>
                <c:pt idx="80">
                  <c:v>0.9</c:v>
                </c:pt>
                <c:pt idx="81">
                  <c:v>0.98</c:v>
                </c:pt>
                <c:pt idx="82">
                  <c:v>1</c:v>
                </c:pt>
                <c:pt idx="83">
                  <c:v>0.99</c:v>
                </c:pt>
                <c:pt idx="84">
                  <c:v>1</c:v>
                </c:pt>
                <c:pt idx="85">
                  <c:v>1</c:v>
                </c:pt>
                <c:pt idx="86">
                  <c:v>0.97</c:v>
                </c:pt>
                <c:pt idx="87">
                  <c:v>0.98</c:v>
                </c:pt>
                <c:pt idx="88">
                  <c:v>0.94</c:v>
                </c:pt>
                <c:pt idx="89">
                  <c:v>0.89</c:v>
                </c:pt>
                <c:pt idx="90">
                  <c:v>0.98</c:v>
                </c:pt>
                <c:pt idx="91">
                  <c:v>0.97</c:v>
                </c:pt>
                <c:pt idx="92">
                  <c:v>0.97</c:v>
                </c:pt>
                <c:pt idx="93">
                  <c:v>1</c:v>
                </c:pt>
                <c:pt idx="94">
                  <c:v>0.98</c:v>
                </c:pt>
                <c:pt idx="95">
                  <c:v>0.99</c:v>
                </c:pt>
                <c:pt idx="96">
                  <c:v>1</c:v>
                </c:pt>
                <c:pt idx="97">
                  <c:v>0.99</c:v>
                </c:pt>
                <c:pt idx="98">
                  <c:v>0.84</c:v>
                </c:pt>
                <c:pt idx="99">
                  <c:v>0.97</c:v>
                </c:pt>
                <c:pt idx="100">
                  <c:v>0.99</c:v>
                </c:pt>
                <c:pt idx="101">
                  <c:v>0.98</c:v>
                </c:pt>
                <c:pt idx="102">
                  <c:v>0.97</c:v>
                </c:pt>
                <c:pt idx="103">
                  <c:v>0.9</c:v>
                </c:pt>
                <c:pt idx="104">
                  <c:v>0.98</c:v>
                </c:pt>
                <c:pt idx="105">
                  <c:v>0.95</c:v>
                </c:pt>
                <c:pt idx="106">
                  <c:v>0.91</c:v>
                </c:pt>
                <c:pt idx="107">
                  <c:v>0.98</c:v>
                </c:pt>
                <c:pt idx="108">
                  <c:v>0.95</c:v>
                </c:pt>
                <c:pt idx="109">
                  <c:v>0.91</c:v>
                </c:pt>
                <c:pt idx="110">
                  <c:v>1</c:v>
                </c:pt>
                <c:pt idx="111">
                  <c:v>0.88</c:v>
                </c:pt>
                <c:pt idx="112">
                  <c:v>0.99</c:v>
                </c:pt>
                <c:pt idx="113">
                  <c:v>0.93</c:v>
                </c:pt>
                <c:pt idx="114">
                  <c:v>0.97</c:v>
                </c:pt>
                <c:pt idx="115">
                  <c:v>0.94</c:v>
                </c:pt>
                <c:pt idx="116">
                  <c:v>0.96</c:v>
                </c:pt>
                <c:pt idx="117">
                  <c:v>0.91</c:v>
                </c:pt>
                <c:pt idx="118">
                  <c:v>0.78</c:v>
                </c:pt>
                <c:pt idx="119">
                  <c:v>1</c:v>
                </c:pt>
                <c:pt idx="120">
                  <c:v>0.83</c:v>
                </c:pt>
                <c:pt idx="121">
                  <c:v>0.99</c:v>
                </c:pt>
                <c:pt idx="122">
                  <c:v>0.83</c:v>
                </c:pt>
                <c:pt idx="123">
                  <c:v>0.96</c:v>
                </c:pt>
                <c:pt idx="124">
                  <c:v>0.94</c:v>
                </c:pt>
                <c:pt idx="125">
                  <c:v>1</c:v>
                </c:pt>
                <c:pt idx="126">
                  <c:v>0.96</c:v>
                </c:pt>
                <c:pt idx="127">
                  <c:v>0.94</c:v>
                </c:pt>
                <c:pt idx="128">
                  <c:v>1</c:v>
                </c:pt>
                <c:pt idx="129">
                  <c:v>0.98</c:v>
                </c:pt>
                <c:pt idx="130">
                  <c:v>0.93</c:v>
                </c:pt>
                <c:pt idx="131">
                  <c:v>0.97</c:v>
                </c:pt>
                <c:pt idx="132">
                  <c:v>0.85</c:v>
                </c:pt>
                <c:pt idx="133">
                  <c:v>0.91</c:v>
                </c:pt>
                <c:pt idx="134">
                  <c:v>0.92</c:v>
                </c:pt>
                <c:pt idx="135">
                  <c:v>0.99</c:v>
                </c:pt>
                <c:pt idx="136">
                  <c:v>1</c:v>
                </c:pt>
                <c:pt idx="137">
                  <c:v>0.92</c:v>
                </c:pt>
                <c:pt idx="138">
                  <c:v>0.99</c:v>
                </c:pt>
                <c:pt idx="139">
                  <c:v>0.99</c:v>
                </c:pt>
                <c:pt idx="140">
                  <c:v>0.89</c:v>
                </c:pt>
                <c:pt idx="141">
                  <c:v>0.89</c:v>
                </c:pt>
                <c:pt idx="142">
                  <c:v>0.94</c:v>
                </c:pt>
                <c:pt idx="143">
                  <c:v>0.93</c:v>
                </c:pt>
                <c:pt idx="144">
                  <c:v>0.99</c:v>
                </c:pt>
                <c:pt idx="145">
                  <c:v>0.96</c:v>
                </c:pt>
                <c:pt idx="146">
                  <c:v>0.97</c:v>
                </c:pt>
                <c:pt idx="147">
                  <c:v>0.83</c:v>
                </c:pt>
                <c:pt idx="148">
                  <c:v>0.99</c:v>
                </c:pt>
                <c:pt idx="149">
                  <c:v>1</c:v>
                </c:pt>
                <c:pt idx="150">
                  <c:v>0.97</c:v>
                </c:pt>
                <c:pt idx="151">
                  <c:v>0.95</c:v>
                </c:pt>
                <c:pt idx="152">
                  <c:v>0.91</c:v>
                </c:pt>
                <c:pt idx="153">
                  <c:v>0.95</c:v>
                </c:pt>
                <c:pt idx="154">
                  <c:v>0.93</c:v>
                </c:pt>
                <c:pt idx="155">
                  <c:v>0.88</c:v>
                </c:pt>
                <c:pt idx="156">
                  <c:v>0.92</c:v>
                </c:pt>
                <c:pt idx="157">
                  <c:v>0.73</c:v>
                </c:pt>
                <c:pt idx="158">
                  <c:v>0.99</c:v>
                </c:pt>
                <c:pt idx="159">
                  <c:v>0.88</c:v>
                </c:pt>
                <c:pt idx="160">
                  <c:v>0.99</c:v>
                </c:pt>
                <c:pt idx="161">
                  <c:v>0.98</c:v>
                </c:pt>
                <c:pt idx="162">
                  <c:v>0.95</c:v>
                </c:pt>
                <c:pt idx="163">
                  <c:v>0.95</c:v>
                </c:pt>
                <c:pt idx="164">
                  <c:v>1</c:v>
                </c:pt>
                <c:pt idx="165">
                  <c:v>0.96</c:v>
                </c:pt>
                <c:pt idx="166">
                  <c:v>0.96</c:v>
                </c:pt>
                <c:pt idx="167">
                  <c:v>0.99</c:v>
                </c:pt>
                <c:pt idx="168">
                  <c:v>0.92</c:v>
                </c:pt>
                <c:pt idx="169">
                  <c:v>0.86</c:v>
                </c:pt>
                <c:pt idx="170">
                  <c:v>0.91</c:v>
                </c:pt>
                <c:pt idx="171">
                  <c:v>0.91</c:v>
                </c:pt>
                <c:pt idx="172">
                  <c:v>0.82</c:v>
                </c:pt>
                <c:pt idx="173">
                  <c:v>0.67</c:v>
                </c:pt>
                <c:pt idx="174">
                  <c:v>0.96</c:v>
                </c:pt>
                <c:pt idx="175">
                  <c:v>0.93</c:v>
                </c:pt>
                <c:pt idx="176">
                  <c:v>1</c:v>
                </c:pt>
                <c:pt idx="177">
                  <c:v>0.83</c:v>
                </c:pt>
                <c:pt idx="178">
                  <c:v>0.93</c:v>
                </c:pt>
                <c:pt idx="179">
                  <c:v>0.96</c:v>
                </c:pt>
                <c:pt idx="180">
                  <c:v>0.87</c:v>
                </c:pt>
                <c:pt idx="181">
                  <c:v>0.66</c:v>
                </c:pt>
                <c:pt idx="182">
                  <c:v>0.98</c:v>
                </c:pt>
                <c:pt idx="183">
                  <c:v>1</c:v>
                </c:pt>
                <c:pt idx="184">
                  <c:v>0.94</c:v>
                </c:pt>
                <c:pt idx="185">
                  <c:v>0.75</c:v>
                </c:pt>
                <c:pt idx="186">
                  <c:v>0.99</c:v>
                </c:pt>
                <c:pt idx="187">
                  <c:v>0.97</c:v>
                </c:pt>
                <c:pt idx="188">
                  <c:v>1</c:v>
                </c:pt>
                <c:pt idx="189">
                  <c:v>0.87</c:v>
                </c:pt>
                <c:pt idx="190">
                  <c:v>0.92</c:v>
                </c:pt>
                <c:pt idx="191">
                  <c:v>0.88</c:v>
                </c:pt>
                <c:pt idx="192">
                  <c:v>0.91</c:v>
                </c:pt>
                <c:pt idx="193">
                  <c:v>0.98</c:v>
                </c:pt>
                <c:pt idx="194">
                  <c:v>0.96</c:v>
                </c:pt>
                <c:pt idx="195">
                  <c:v>0.99</c:v>
                </c:pt>
                <c:pt idx="196">
                  <c:v>0.93</c:v>
                </c:pt>
                <c:pt idx="197">
                  <c:v>0.83</c:v>
                </c:pt>
                <c:pt idx="198">
                  <c:v>0.72</c:v>
                </c:pt>
                <c:pt idx="199">
                  <c:v>0.9</c:v>
                </c:pt>
                <c:pt idx="200">
                  <c:v>0.96</c:v>
                </c:pt>
                <c:pt idx="201">
                  <c:v>0.85</c:v>
                </c:pt>
                <c:pt idx="202">
                  <c:v>1</c:v>
                </c:pt>
                <c:pt idx="203">
                  <c:v>0.99</c:v>
                </c:pt>
                <c:pt idx="204">
                  <c:v>0.98</c:v>
                </c:pt>
                <c:pt idx="205">
                  <c:v>0.98</c:v>
                </c:pt>
                <c:pt idx="206">
                  <c:v>0.84</c:v>
                </c:pt>
                <c:pt idx="207">
                  <c:v>0.86</c:v>
                </c:pt>
                <c:pt idx="208">
                  <c:v>0.61</c:v>
                </c:pt>
                <c:pt idx="209">
                  <c:v>0.78</c:v>
                </c:pt>
                <c:pt idx="210">
                  <c:v>0.98</c:v>
                </c:pt>
                <c:pt idx="211">
                  <c:v>0.46</c:v>
                </c:pt>
                <c:pt idx="212">
                  <c:v>0.96</c:v>
                </c:pt>
                <c:pt idx="213">
                  <c:v>0.91</c:v>
                </c:pt>
                <c:pt idx="214">
                  <c:v>0.72</c:v>
                </c:pt>
                <c:pt idx="215">
                  <c:v>0.96</c:v>
                </c:pt>
                <c:pt idx="216">
                  <c:v>0.76</c:v>
                </c:pt>
                <c:pt idx="217">
                  <c:v>0.96</c:v>
                </c:pt>
                <c:pt idx="218">
                  <c:v>0.94</c:v>
                </c:pt>
                <c:pt idx="219">
                  <c:v>0.99</c:v>
                </c:pt>
                <c:pt idx="220">
                  <c:v>0.94</c:v>
                </c:pt>
                <c:pt idx="221">
                  <c:v>0.79</c:v>
                </c:pt>
                <c:pt idx="222">
                  <c:v>0.68</c:v>
                </c:pt>
                <c:pt idx="223">
                  <c:v>0.89</c:v>
                </c:pt>
                <c:pt idx="224">
                  <c:v>0.69</c:v>
                </c:pt>
                <c:pt idx="225">
                  <c:v>0.91</c:v>
                </c:pt>
                <c:pt idx="226">
                  <c:v>0.77</c:v>
                </c:pt>
                <c:pt idx="227">
                  <c:v>0.87</c:v>
                </c:pt>
                <c:pt idx="228">
                  <c:v>0.94</c:v>
                </c:pt>
                <c:pt idx="229">
                  <c:v>0.97</c:v>
                </c:pt>
                <c:pt idx="230">
                  <c:v>0.95</c:v>
                </c:pt>
                <c:pt idx="231">
                  <c:v>0.86</c:v>
                </c:pt>
                <c:pt idx="232">
                  <c:v>0.78</c:v>
                </c:pt>
                <c:pt idx="233">
                  <c:v>0.67</c:v>
                </c:pt>
                <c:pt idx="234">
                  <c:v>0.73</c:v>
                </c:pt>
                <c:pt idx="235">
                  <c:v>0.75</c:v>
                </c:pt>
                <c:pt idx="236">
                  <c:v>1</c:v>
                </c:pt>
                <c:pt idx="237">
                  <c:v>0.71</c:v>
                </c:pt>
                <c:pt idx="238">
                  <c:v>0.81</c:v>
                </c:pt>
                <c:pt idx="239">
                  <c:v>0.72</c:v>
                </c:pt>
                <c:pt idx="240">
                  <c:v>0.94</c:v>
                </c:pt>
                <c:pt idx="241">
                  <c:v>0.77</c:v>
                </c:pt>
                <c:pt idx="242">
                  <c:v>0.97</c:v>
                </c:pt>
                <c:pt idx="243">
                  <c:v>0.94</c:v>
                </c:pt>
                <c:pt idx="244">
                  <c:v>0.82</c:v>
                </c:pt>
                <c:pt idx="245">
                  <c:v>0.79</c:v>
                </c:pt>
                <c:pt idx="246">
                  <c:v>0.99</c:v>
                </c:pt>
                <c:pt idx="247">
                  <c:v>0.92</c:v>
                </c:pt>
                <c:pt idx="248">
                  <c:v>0.84</c:v>
                </c:pt>
                <c:pt idx="249">
                  <c:v>0.92</c:v>
                </c:pt>
                <c:pt idx="250">
                  <c:v>0.89</c:v>
                </c:pt>
                <c:pt idx="251">
                  <c:v>0.82</c:v>
                </c:pt>
                <c:pt idx="252">
                  <c:v>0.95</c:v>
                </c:pt>
                <c:pt idx="253">
                  <c:v>0.75</c:v>
                </c:pt>
                <c:pt idx="254">
                  <c:v>0.71</c:v>
                </c:pt>
                <c:pt idx="255">
                  <c:v>0.56999999999999995</c:v>
                </c:pt>
                <c:pt idx="256">
                  <c:v>0.44</c:v>
                </c:pt>
                <c:pt idx="257">
                  <c:v>0.44</c:v>
                </c:pt>
                <c:pt idx="258">
                  <c:v>0.89</c:v>
                </c:pt>
                <c:pt idx="259">
                  <c:v>0.63</c:v>
                </c:pt>
                <c:pt idx="260">
                  <c:v>0.97</c:v>
                </c:pt>
                <c:pt idx="261">
                  <c:v>0.91</c:v>
                </c:pt>
                <c:pt idx="262">
                  <c:v>0.78</c:v>
                </c:pt>
                <c:pt idx="263">
                  <c:v>0.94</c:v>
                </c:pt>
                <c:pt idx="264">
                  <c:v>0.83</c:v>
                </c:pt>
                <c:pt idx="265">
                  <c:v>0.96</c:v>
                </c:pt>
                <c:pt idx="266">
                  <c:v>0.71</c:v>
                </c:pt>
                <c:pt idx="267">
                  <c:v>0.9</c:v>
                </c:pt>
                <c:pt idx="268">
                  <c:v>0.85</c:v>
                </c:pt>
                <c:pt idx="269">
                  <c:v>0.87</c:v>
                </c:pt>
                <c:pt idx="270">
                  <c:v>0.81</c:v>
                </c:pt>
                <c:pt idx="271">
                  <c:v>0.75</c:v>
                </c:pt>
                <c:pt idx="272">
                  <c:v>0.93</c:v>
                </c:pt>
                <c:pt idx="273">
                  <c:v>0.85</c:v>
                </c:pt>
                <c:pt idx="274">
                  <c:v>0.91</c:v>
                </c:pt>
                <c:pt idx="275">
                  <c:v>0.65</c:v>
                </c:pt>
                <c:pt idx="276">
                  <c:v>0.66</c:v>
                </c:pt>
                <c:pt idx="277">
                  <c:v>0.75</c:v>
                </c:pt>
                <c:pt idx="278">
                  <c:v>0.75</c:v>
                </c:pt>
                <c:pt idx="279">
                  <c:v>0.52</c:v>
                </c:pt>
                <c:pt idx="280">
                  <c:v>0.6</c:v>
                </c:pt>
                <c:pt idx="281">
                  <c:v>0.74</c:v>
                </c:pt>
                <c:pt idx="282">
                  <c:v>0.6</c:v>
                </c:pt>
                <c:pt idx="283">
                  <c:v>0.86</c:v>
                </c:pt>
                <c:pt idx="284">
                  <c:v>0.97</c:v>
                </c:pt>
                <c:pt idx="285">
                  <c:v>0.96</c:v>
                </c:pt>
                <c:pt idx="286">
                  <c:v>0.99</c:v>
                </c:pt>
                <c:pt idx="287">
                  <c:v>0.99</c:v>
                </c:pt>
                <c:pt idx="288">
                  <c:v>0.75</c:v>
                </c:pt>
                <c:pt idx="289">
                  <c:v>0.94</c:v>
                </c:pt>
                <c:pt idx="290">
                  <c:v>0.27</c:v>
                </c:pt>
                <c:pt idx="291">
                  <c:v>0.97</c:v>
                </c:pt>
                <c:pt idx="292">
                  <c:v>0.57999999999999996</c:v>
                </c:pt>
                <c:pt idx="293">
                  <c:v>0.77</c:v>
                </c:pt>
                <c:pt idx="294">
                  <c:v>0.71</c:v>
                </c:pt>
                <c:pt idx="295">
                  <c:v>0.71</c:v>
                </c:pt>
                <c:pt idx="296">
                  <c:v>0.9</c:v>
                </c:pt>
                <c:pt idx="297">
                  <c:v>0.95</c:v>
                </c:pt>
                <c:pt idx="298">
                  <c:v>0.82</c:v>
                </c:pt>
                <c:pt idx="299">
                  <c:v>0.85</c:v>
                </c:pt>
                <c:pt idx="300">
                  <c:v>0.92</c:v>
                </c:pt>
                <c:pt idx="301">
                  <c:v>0.9</c:v>
                </c:pt>
                <c:pt idx="302">
                  <c:v>0.67</c:v>
                </c:pt>
                <c:pt idx="303">
                  <c:v>0.85</c:v>
                </c:pt>
                <c:pt idx="304">
                  <c:v>0.76</c:v>
                </c:pt>
                <c:pt idx="305">
                  <c:v>0.92</c:v>
                </c:pt>
                <c:pt idx="306">
                  <c:v>0.96</c:v>
                </c:pt>
                <c:pt idx="307">
                  <c:v>0.84</c:v>
                </c:pt>
                <c:pt idx="308">
                  <c:v>0.97</c:v>
                </c:pt>
                <c:pt idx="309">
                  <c:v>0.55000000000000004</c:v>
                </c:pt>
                <c:pt idx="310">
                  <c:v>0.96</c:v>
                </c:pt>
                <c:pt idx="311">
                  <c:v>0.68</c:v>
                </c:pt>
                <c:pt idx="312">
                  <c:v>0.6</c:v>
                </c:pt>
                <c:pt idx="313">
                  <c:v>1</c:v>
                </c:pt>
                <c:pt idx="314">
                  <c:v>0.93</c:v>
                </c:pt>
                <c:pt idx="315">
                  <c:v>0.99</c:v>
                </c:pt>
                <c:pt idx="316">
                  <c:v>0.76</c:v>
                </c:pt>
                <c:pt idx="317">
                  <c:v>0.8</c:v>
                </c:pt>
                <c:pt idx="318">
                  <c:v>0.72</c:v>
                </c:pt>
                <c:pt idx="319">
                  <c:v>0.8</c:v>
                </c:pt>
                <c:pt idx="320">
                  <c:v>0.87</c:v>
                </c:pt>
                <c:pt idx="321">
                  <c:v>0.75</c:v>
                </c:pt>
                <c:pt idx="322">
                  <c:v>0.93</c:v>
                </c:pt>
                <c:pt idx="323">
                  <c:v>0.92</c:v>
                </c:pt>
                <c:pt idx="324">
                  <c:v>0.96</c:v>
                </c:pt>
                <c:pt idx="325">
                  <c:v>0.81</c:v>
                </c:pt>
                <c:pt idx="326">
                  <c:v>0.87</c:v>
                </c:pt>
                <c:pt idx="327">
                  <c:v>0.96</c:v>
                </c:pt>
                <c:pt idx="328">
                  <c:v>0.77</c:v>
                </c:pt>
                <c:pt idx="329">
                  <c:v>0.85</c:v>
                </c:pt>
                <c:pt idx="330">
                  <c:v>0.64</c:v>
                </c:pt>
                <c:pt idx="331">
                  <c:v>0.8</c:v>
                </c:pt>
                <c:pt idx="332">
                  <c:v>0.59</c:v>
                </c:pt>
                <c:pt idx="333">
                  <c:v>0.96</c:v>
                </c:pt>
                <c:pt idx="334">
                  <c:v>0.64</c:v>
                </c:pt>
                <c:pt idx="335">
                  <c:v>0.97</c:v>
                </c:pt>
                <c:pt idx="336">
                  <c:v>0.75</c:v>
                </c:pt>
                <c:pt idx="337">
                  <c:v>0.67</c:v>
                </c:pt>
                <c:pt idx="338">
                  <c:v>0.56000000000000005</c:v>
                </c:pt>
                <c:pt idx="339">
                  <c:v>0.89</c:v>
                </c:pt>
                <c:pt idx="340">
                  <c:v>0.88</c:v>
                </c:pt>
                <c:pt idx="341">
                  <c:v>0.92</c:v>
                </c:pt>
                <c:pt idx="342">
                  <c:v>0.98</c:v>
                </c:pt>
                <c:pt idx="343">
                  <c:v>0.79</c:v>
                </c:pt>
                <c:pt idx="344">
                  <c:v>0.82</c:v>
                </c:pt>
                <c:pt idx="345">
                  <c:v>0.77</c:v>
                </c:pt>
                <c:pt idx="346">
                  <c:v>0.61</c:v>
                </c:pt>
                <c:pt idx="347">
                  <c:v>0.98</c:v>
                </c:pt>
                <c:pt idx="348">
                  <c:v>0.4</c:v>
                </c:pt>
                <c:pt idx="349">
                  <c:v>0.82</c:v>
                </c:pt>
                <c:pt idx="350">
                  <c:v>0.8</c:v>
                </c:pt>
                <c:pt idx="351">
                  <c:v>0.94</c:v>
                </c:pt>
                <c:pt idx="352">
                  <c:v>0.92</c:v>
                </c:pt>
                <c:pt idx="353">
                  <c:v>0.99</c:v>
                </c:pt>
                <c:pt idx="354">
                  <c:v>0.69</c:v>
                </c:pt>
                <c:pt idx="355">
                  <c:v>0.56000000000000005</c:v>
                </c:pt>
                <c:pt idx="356">
                  <c:v>0.94</c:v>
                </c:pt>
                <c:pt idx="357">
                  <c:v>0.96</c:v>
                </c:pt>
                <c:pt idx="358">
                  <c:v>0.4</c:v>
                </c:pt>
                <c:pt idx="359">
                  <c:v>0.91</c:v>
                </c:pt>
                <c:pt idx="360">
                  <c:v>0.88</c:v>
                </c:pt>
                <c:pt idx="361">
                  <c:v>0.97</c:v>
                </c:pt>
                <c:pt idx="362">
                  <c:v>0.82</c:v>
                </c:pt>
                <c:pt idx="363">
                  <c:v>0.9</c:v>
                </c:pt>
                <c:pt idx="364">
                  <c:v>0.41</c:v>
                </c:pt>
                <c:pt idx="365">
                  <c:v>0.57999999999999996</c:v>
                </c:pt>
                <c:pt idx="366">
                  <c:v>0.79</c:v>
                </c:pt>
                <c:pt idx="367">
                  <c:v>0.56000000000000005</c:v>
                </c:pt>
                <c:pt idx="368">
                  <c:v>0.49</c:v>
                </c:pt>
                <c:pt idx="369">
                  <c:v>0.93</c:v>
                </c:pt>
                <c:pt idx="370">
                  <c:v>0.86</c:v>
                </c:pt>
                <c:pt idx="371">
                  <c:v>0.61</c:v>
                </c:pt>
                <c:pt idx="372">
                  <c:v>0.79</c:v>
                </c:pt>
                <c:pt idx="373">
                  <c:v>0.82</c:v>
                </c:pt>
                <c:pt idx="374">
                  <c:v>0.84</c:v>
                </c:pt>
                <c:pt idx="375">
                  <c:v>0.81</c:v>
                </c:pt>
                <c:pt idx="376">
                  <c:v>0.77</c:v>
                </c:pt>
                <c:pt idx="377">
                  <c:v>0.73</c:v>
                </c:pt>
                <c:pt idx="378">
                  <c:v>0.95</c:v>
                </c:pt>
                <c:pt idx="379">
                  <c:v>0.9</c:v>
                </c:pt>
                <c:pt idx="380">
                  <c:v>0.88</c:v>
                </c:pt>
                <c:pt idx="381">
                  <c:v>0.91</c:v>
                </c:pt>
                <c:pt idx="382">
                  <c:v>0.67</c:v>
                </c:pt>
                <c:pt idx="383">
                  <c:v>0.67</c:v>
                </c:pt>
                <c:pt idx="384">
                  <c:v>0.6</c:v>
                </c:pt>
                <c:pt idx="385">
                  <c:v>0.77</c:v>
                </c:pt>
                <c:pt idx="386">
                  <c:v>0.69</c:v>
                </c:pt>
                <c:pt idx="387">
                  <c:v>0.67</c:v>
                </c:pt>
                <c:pt idx="388">
                  <c:v>0.77</c:v>
                </c:pt>
                <c:pt idx="389">
                  <c:v>0.97</c:v>
                </c:pt>
                <c:pt idx="390">
                  <c:v>0.68</c:v>
                </c:pt>
                <c:pt idx="391">
                  <c:v>0.96</c:v>
                </c:pt>
                <c:pt idx="392">
                  <c:v>0.84</c:v>
                </c:pt>
                <c:pt idx="393">
                  <c:v>0.81</c:v>
                </c:pt>
                <c:pt idx="394">
                  <c:v>0.53</c:v>
                </c:pt>
                <c:pt idx="395">
                  <c:v>0.63</c:v>
                </c:pt>
                <c:pt idx="396">
                  <c:v>0.61</c:v>
                </c:pt>
                <c:pt idx="397">
                  <c:v>0.31</c:v>
                </c:pt>
                <c:pt idx="398">
                  <c:v>0.8</c:v>
                </c:pt>
                <c:pt idx="399">
                  <c:v>0.75</c:v>
                </c:pt>
                <c:pt idx="400">
                  <c:v>0.72</c:v>
                </c:pt>
                <c:pt idx="401">
                  <c:v>0.32</c:v>
                </c:pt>
                <c:pt idx="402">
                  <c:v>0.65</c:v>
                </c:pt>
                <c:pt idx="403">
                  <c:v>0.39</c:v>
                </c:pt>
                <c:pt idx="404">
                  <c:v>0.83</c:v>
                </c:pt>
                <c:pt idx="405">
                  <c:v>0.48</c:v>
                </c:pt>
                <c:pt idx="406">
                  <c:v>0.85</c:v>
                </c:pt>
                <c:pt idx="407">
                  <c:v>0.61</c:v>
                </c:pt>
                <c:pt idx="408">
                  <c:v>0.42</c:v>
                </c:pt>
                <c:pt idx="409">
                  <c:v>0.9</c:v>
                </c:pt>
                <c:pt idx="410">
                  <c:v>0.62</c:v>
                </c:pt>
                <c:pt idx="411">
                  <c:v>0.63</c:v>
                </c:pt>
                <c:pt idx="412">
                  <c:v>0.69</c:v>
                </c:pt>
                <c:pt idx="413">
                  <c:v>0.83</c:v>
                </c:pt>
                <c:pt idx="414">
                  <c:v>0.55000000000000004</c:v>
                </c:pt>
                <c:pt idx="415">
                  <c:v>0.36</c:v>
                </c:pt>
                <c:pt idx="416">
                  <c:v>0.81</c:v>
                </c:pt>
                <c:pt idx="417">
                  <c:v>0.57999999999999996</c:v>
                </c:pt>
                <c:pt idx="418">
                  <c:v>0.63</c:v>
                </c:pt>
                <c:pt idx="419">
                  <c:v>0.5</c:v>
                </c:pt>
                <c:pt idx="420">
                  <c:v>0.15</c:v>
                </c:pt>
                <c:pt idx="421">
                  <c:v>0.63</c:v>
                </c:pt>
                <c:pt idx="422">
                  <c:v>0.84</c:v>
                </c:pt>
                <c:pt idx="423">
                  <c:v>0.82</c:v>
                </c:pt>
                <c:pt idx="424">
                  <c:v>0.02</c:v>
                </c:pt>
                <c:pt idx="425">
                  <c:v>0.54</c:v>
                </c:pt>
                <c:pt idx="426">
                  <c:v>0.74</c:v>
                </c:pt>
                <c:pt idx="427">
                  <c:v>0.78</c:v>
                </c:pt>
                <c:pt idx="428">
                  <c:v>0.64</c:v>
                </c:pt>
                <c:pt idx="429">
                  <c:v>0.67</c:v>
                </c:pt>
                <c:pt idx="430">
                  <c:v>0.36</c:v>
                </c:pt>
                <c:pt idx="431">
                  <c:v>0.94</c:v>
                </c:pt>
                <c:pt idx="432">
                  <c:v>0.87</c:v>
                </c:pt>
                <c:pt idx="433">
                  <c:v>0.62</c:v>
                </c:pt>
                <c:pt idx="434">
                  <c:v>0.53</c:v>
                </c:pt>
                <c:pt idx="435">
                  <c:v>0.69</c:v>
                </c:pt>
                <c:pt idx="436">
                  <c:v>0.69</c:v>
                </c:pt>
                <c:pt idx="437">
                  <c:v>0.37</c:v>
                </c:pt>
                <c:pt idx="438">
                  <c:v>0.64</c:v>
                </c:pt>
                <c:pt idx="439">
                  <c:v>0.5</c:v>
                </c:pt>
                <c:pt idx="440">
                  <c:v>0.36</c:v>
                </c:pt>
                <c:pt idx="441">
                  <c:v>0.67</c:v>
                </c:pt>
                <c:pt idx="442">
                  <c:v>0.57999999999999996</c:v>
                </c:pt>
                <c:pt idx="443">
                  <c:v>0.45</c:v>
                </c:pt>
                <c:pt idx="444">
                  <c:v>0.92</c:v>
                </c:pt>
                <c:pt idx="445">
                  <c:v>0.74</c:v>
                </c:pt>
                <c:pt idx="446">
                  <c:v>0.72</c:v>
                </c:pt>
                <c:pt idx="447">
                  <c:v>0.75</c:v>
                </c:pt>
                <c:pt idx="448">
                  <c:v>0.61</c:v>
                </c:pt>
                <c:pt idx="449">
                  <c:v>0.86</c:v>
                </c:pt>
                <c:pt idx="450">
                  <c:v>0.68</c:v>
                </c:pt>
                <c:pt idx="451">
                  <c:v>0.77</c:v>
                </c:pt>
                <c:pt idx="452">
                  <c:v>0.94</c:v>
                </c:pt>
                <c:pt idx="453">
                  <c:v>0.65</c:v>
                </c:pt>
                <c:pt idx="454">
                  <c:v>0.83</c:v>
                </c:pt>
                <c:pt idx="455">
                  <c:v>0.85</c:v>
                </c:pt>
                <c:pt idx="456">
                  <c:v>0.91</c:v>
                </c:pt>
                <c:pt idx="457">
                  <c:v>0.61</c:v>
                </c:pt>
                <c:pt idx="458">
                  <c:v>0.55000000000000004</c:v>
                </c:pt>
                <c:pt idx="459">
                  <c:v>0.97</c:v>
                </c:pt>
                <c:pt idx="460">
                  <c:v>0.93</c:v>
                </c:pt>
                <c:pt idx="461">
                  <c:v>0.56000000000000005</c:v>
                </c:pt>
                <c:pt idx="462">
                  <c:v>0.86</c:v>
                </c:pt>
                <c:pt idx="463">
                  <c:v>0.94</c:v>
                </c:pt>
                <c:pt idx="464">
                  <c:v>0.44</c:v>
                </c:pt>
                <c:pt idx="465">
                  <c:v>0.51</c:v>
                </c:pt>
                <c:pt idx="466">
                  <c:v>0.4</c:v>
                </c:pt>
                <c:pt idx="467">
                  <c:v>0.95</c:v>
                </c:pt>
                <c:pt idx="468">
                  <c:v>0.11</c:v>
                </c:pt>
                <c:pt idx="469">
                  <c:v>0.61</c:v>
                </c:pt>
                <c:pt idx="470">
                  <c:v>0.93</c:v>
                </c:pt>
                <c:pt idx="471">
                  <c:v>0.87</c:v>
                </c:pt>
                <c:pt idx="472">
                  <c:v>0.39</c:v>
                </c:pt>
                <c:pt idx="473">
                  <c:v>0.52</c:v>
                </c:pt>
                <c:pt idx="474">
                  <c:v>0.53</c:v>
                </c:pt>
                <c:pt idx="475">
                  <c:v>0.81</c:v>
                </c:pt>
                <c:pt idx="476">
                  <c:v>0.45</c:v>
                </c:pt>
                <c:pt idx="477">
                  <c:v>0.51</c:v>
                </c:pt>
                <c:pt idx="478">
                  <c:v>0.63</c:v>
                </c:pt>
                <c:pt idx="479">
                  <c:v>0.63</c:v>
                </c:pt>
                <c:pt idx="480">
                  <c:v>0.5</c:v>
                </c:pt>
                <c:pt idx="481">
                  <c:v>0.65</c:v>
                </c:pt>
                <c:pt idx="482">
                  <c:v>0.65</c:v>
                </c:pt>
                <c:pt idx="483">
                  <c:v>0.79</c:v>
                </c:pt>
                <c:pt idx="484">
                  <c:v>0.72</c:v>
                </c:pt>
                <c:pt idx="485">
                  <c:v>0.74</c:v>
                </c:pt>
                <c:pt idx="486">
                  <c:v>0.33</c:v>
                </c:pt>
                <c:pt idx="487">
                  <c:v>0.71</c:v>
                </c:pt>
                <c:pt idx="488">
                  <c:v>0.57999999999999996</c:v>
                </c:pt>
                <c:pt idx="489">
                  <c:v>0.42</c:v>
                </c:pt>
                <c:pt idx="490">
                  <c:v>0.14000000000000001</c:v>
                </c:pt>
                <c:pt idx="491">
                  <c:v>0.5</c:v>
                </c:pt>
                <c:pt idx="492">
                  <c:v>0.78</c:v>
                </c:pt>
                <c:pt idx="493">
                  <c:v>0.48</c:v>
                </c:pt>
                <c:pt idx="494">
                  <c:v>0.81</c:v>
                </c:pt>
                <c:pt idx="495">
                  <c:v>0.9</c:v>
                </c:pt>
                <c:pt idx="496">
                  <c:v>0.67</c:v>
                </c:pt>
                <c:pt idx="497">
                  <c:v>0.35</c:v>
                </c:pt>
                <c:pt idx="498">
                  <c:v>0.62</c:v>
                </c:pt>
                <c:pt idx="499">
                  <c:v>0.87</c:v>
                </c:pt>
                <c:pt idx="500">
                  <c:v>0.23</c:v>
                </c:pt>
                <c:pt idx="501">
                  <c:v>0.63</c:v>
                </c:pt>
                <c:pt idx="502">
                  <c:v>0.33</c:v>
                </c:pt>
                <c:pt idx="503">
                  <c:v>0.7</c:v>
                </c:pt>
                <c:pt idx="504">
                  <c:v>0.71</c:v>
                </c:pt>
                <c:pt idx="505">
                  <c:v>0.57999999999999996</c:v>
                </c:pt>
                <c:pt idx="506">
                  <c:v>0.49</c:v>
                </c:pt>
                <c:pt idx="507">
                  <c:v>0.53</c:v>
                </c:pt>
                <c:pt idx="508">
                  <c:v>0.52</c:v>
                </c:pt>
                <c:pt idx="509">
                  <c:v>0.63</c:v>
                </c:pt>
                <c:pt idx="510">
                  <c:v>0.54</c:v>
                </c:pt>
                <c:pt idx="511">
                  <c:v>0.87</c:v>
                </c:pt>
                <c:pt idx="512">
                  <c:v>0.86</c:v>
                </c:pt>
                <c:pt idx="513">
                  <c:v>0.51</c:v>
                </c:pt>
                <c:pt idx="514">
                  <c:v>0.62</c:v>
                </c:pt>
                <c:pt idx="515">
                  <c:v>0.75</c:v>
                </c:pt>
                <c:pt idx="516">
                  <c:v>0.46</c:v>
                </c:pt>
                <c:pt idx="517">
                  <c:v>0.8</c:v>
                </c:pt>
                <c:pt idx="518">
                  <c:v>0.83</c:v>
                </c:pt>
                <c:pt idx="519">
                  <c:v>0.55000000000000004</c:v>
                </c:pt>
                <c:pt idx="520">
                  <c:v>0.6</c:v>
                </c:pt>
                <c:pt idx="521">
                  <c:v>0.06</c:v>
                </c:pt>
                <c:pt idx="522">
                  <c:v>0.85</c:v>
                </c:pt>
                <c:pt idx="523">
                  <c:v>0.73</c:v>
                </c:pt>
                <c:pt idx="524">
                  <c:v>0.55000000000000004</c:v>
                </c:pt>
                <c:pt idx="525">
                  <c:v>0.87</c:v>
                </c:pt>
                <c:pt idx="526">
                  <c:v>0.65</c:v>
                </c:pt>
                <c:pt idx="527">
                  <c:v>0.7</c:v>
                </c:pt>
                <c:pt idx="528">
                  <c:v>0.25</c:v>
                </c:pt>
                <c:pt idx="529">
                  <c:v>0.35</c:v>
                </c:pt>
                <c:pt idx="530">
                  <c:v>0.49</c:v>
                </c:pt>
                <c:pt idx="531">
                  <c:v>0.36</c:v>
                </c:pt>
                <c:pt idx="532">
                  <c:v>0.14000000000000001</c:v>
                </c:pt>
                <c:pt idx="533">
                  <c:v>0.56000000000000005</c:v>
                </c:pt>
                <c:pt idx="534">
                  <c:v>0.55000000000000004</c:v>
                </c:pt>
                <c:pt idx="535">
                  <c:v>0.56000000000000005</c:v>
                </c:pt>
                <c:pt idx="536">
                  <c:v>0.79</c:v>
                </c:pt>
                <c:pt idx="537">
                  <c:v>0.08</c:v>
                </c:pt>
                <c:pt idx="538">
                  <c:v>0.82</c:v>
                </c:pt>
                <c:pt idx="539">
                  <c:v>0.89</c:v>
                </c:pt>
                <c:pt idx="540">
                  <c:v>0.62</c:v>
                </c:pt>
                <c:pt idx="541">
                  <c:v>0.41</c:v>
                </c:pt>
                <c:pt idx="542">
                  <c:v>0.42</c:v>
                </c:pt>
                <c:pt idx="543">
                  <c:v>0.43</c:v>
                </c:pt>
                <c:pt idx="544">
                  <c:v>0.15</c:v>
                </c:pt>
                <c:pt idx="545">
                  <c:v>0.45</c:v>
                </c:pt>
                <c:pt idx="546">
                  <c:v>0.25</c:v>
                </c:pt>
                <c:pt idx="547">
                  <c:v>0.56000000000000005</c:v>
                </c:pt>
                <c:pt idx="548">
                  <c:v>0.69</c:v>
                </c:pt>
                <c:pt idx="549">
                  <c:v>0.52</c:v>
                </c:pt>
                <c:pt idx="550">
                  <c:v>0.39</c:v>
                </c:pt>
                <c:pt idx="551">
                  <c:v>0.66</c:v>
                </c:pt>
                <c:pt idx="552">
                  <c:v>0.7</c:v>
                </c:pt>
                <c:pt idx="553">
                  <c:v>0.57999999999999996</c:v>
                </c:pt>
                <c:pt idx="554">
                  <c:v>0.69</c:v>
                </c:pt>
                <c:pt idx="555">
                  <c:v>0.28000000000000003</c:v>
                </c:pt>
                <c:pt idx="556">
                  <c:v>0.61</c:v>
                </c:pt>
                <c:pt idx="557">
                  <c:v>7.0000000000000007E-2</c:v>
                </c:pt>
                <c:pt idx="558">
                  <c:v>0.49</c:v>
                </c:pt>
                <c:pt idx="559">
                  <c:v>0.6</c:v>
                </c:pt>
                <c:pt idx="560">
                  <c:v>0.56000000000000005</c:v>
                </c:pt>
                <c:pt idx="561">
                  <c:v>0.71</c:v>
                </c:pt>
                <c:pt idx="562">
                  <c:v>0.48</c:v>
                </c:pt>
                <c:pt idx="563">
                  <c:v>0.61</c:v>
                </c:pt>
                <c:pt idx="564">
                  <c:v>0.03</c:v>
                </c:pt>
                <c:pt idx="565">
                  <c:v>0.62</c:v>
                </c:pt>
                <c:pt idx="566">
                  <c:v>0.81</c:v>
                </c:pt>
                <c:pt idx="567">
                  <c:v>0.44</c:v>
                </c:pt>
                <c:pt idx="568">
                  <c:v>0.41</c:v>
                </c:pt>
                <c:pt idx="569">
                  <c:v>0.57999999999999996</c:v>
                </c:pt>
                <c:pt idx="570">
                  <c:v>0.72</c:v>
                </c:pt>
                <c:pt idx="571">
                  <c:v>0.62</c:v>
                </c:pt>
                <c:pt idx="572">
                  <c:v>0.5</c:v>
                </c:pt>
                <c:pt idx="573">
                  <c:v>0.52</c:v>
                </c:pt>
                <c:pt idx="574">
                  <c:v>0.39</c:v>
                </c:pt>
                <c:pt idx="575">
                  <c:v>0.46</c:v>
                </c:pt>
                <c:pt idx="576">
                  <c:v>0.21</c:v>
                </c:pt>
                <c:pt idx="577">
                  <c:v>0.49</c:v>
                </c:pt>
                <c:pt idx="578">
                  <c:v>0.48</c:v>
                </c:pt>
                <c:pt idx="579">
                  <c:v>0.44</c:v>
                </c:pt>
                <c:pt idx="580">
                  <c:v>0.28999999999999998</c:v>
                </c:pt>
                <c:pt idx="581">
                  <c:v>0.04</c:v>
                </c:pt>
                <c:pt idx="582">
                  <c:v>0.68</c:v>
                </c:pt>
                <c:pt idx="583">
                  <c:v>0.24</c:v>
                </c:pt>
                <c:pt idx="584">
                  <c:v>0.6</c:v>
                </c:pt>
                <c:pt idx="585">
                  <c:v>0.18</c:v>
                </c:pt>
                <c:pt idx="586">
                  <c:v>0.93</c:v>
                </c:pt>
                <c:pt idx="587">
                  <c:v>0.6</c:v>
                </c:pt>
                <c:pt idx="588">
                  <c:v>0.17</c:v>
                </c:pt>
                <c:pt idx="589">
                  <c:v>0.66</c:v>
                </c:pt>
                <c:pt idx="590">
                  <c:v>0.19</c:v>
                </c:pt>
                <c:pt idx="591">
                  <c:v>0.63</c:v>
                </c:pt>
                <c:pt idx="592">
                  <c:v>0.59</c:v>
                </c:pt>
                <c:pt idx="593">
                  <c:v>7.0000000000000007E-2</c:v>
                </c:pt>
                <c:pt idx="594">
                  <c:v>0.64</c:v>
                </c:pt>
                <c:pt idx="595">
                  <c:v>0.49</c:v>
                </c:pt>
                <c:pt idx="596">
                  <c:v>0.64</c:v>
                </c:pt>
                <c:pt idx="597">
                  <c:v>0.62</c:v>
                </c:pt>
                <c:pt idx="598">
                  <c:v>0.11</c:v>
                </c:pt>
                <c:pt idx="599">
                  <c:v>0.69</c:v>
                </c:pt>
                <c:pt idx="600">
                  <c:v>0.77</c:v>
                </c:pt>
                <c:pt idx="601">
                  <c:v>0.27</c:v>
                </c:pt>
                <c:pt idx="602">
                  <c:v>0.51</c:v>
                </c:pt>
                <c:pt idx="603">
                  <c:v>0.85</c:v>
                </c:pt>
                <c:pt idx="604">
                  <c:v>0.56999999999999995</c:v>
                </c:pt>
                <c:pt idx="605">
                  <c:v>0.77</c:v>
                </c:pt>
                <c:pt idx="606">
                  <c:v>0.49</c:v>
                </c:pt>
                <c:pt idx="607">
                  <c:v>0.55000000000000004</c:v>
                </c:pt>
                <c:pt idx="608">
                  <c:v>0.52</c:v>
                </c:pt>
                <c:pt idx="609">
                  <c:v>0.67</c:v>
                </c:pt>
                <c:pt idx="610">
                  <c:v>0.21</c:v>
                </c:pt>
                <c:pt idx="611">
                  <c:v>0.5</c:v>
                </c:pt>
                <c:pt idx="612">
                  <c:v>0.42</c:v>
                </c:pt>
                <c:pt idx="613">
                  <c:v>0.72</c:v>
                </c:pt>
                <c:pt idx="614">
                  <c:v>0.79</c:v>
                </c:pt>
                <c:pt idx="615">
                  <c:v>0.45</c:v>
                </c:pt>
                <c:pt idx="616">
                  <c:v>0.28000000000000003</c:v>
                </c:pt>
                <c:pt idx="617">
                  <c:v>0.57999999999999996</c:v>
                </c:pt>
                <c:pt idx="618">
                  <c:v>0.02</c:v>
                </c:pt>
                <c:pt idx="619">
                  <c:v>0.17</c:v>
                </c:pt>
                <c:pt idx="620">
                  <c:v>0.37</c:v>
                </c:pt>
                <c:pt idx="621">
                  <c:v>0.51</c:v>
                </c:pt>
                <c:pt idx="622">
                  <c:v>0.4</c:v>
                </c:pt>
                <c:pt idx="623">
                  <c:v>0.46</c:v>
                </c:pt>
                <c:pt idx="624">
                  <c:v>0.33</c:v>
                </c:pt>
                <c:pt idx="625">
                  <c:v>0.56000000000000005</c:v>
                </c:pt>
                <c:pt idx="626">
                  <c:v>0.11</c:v>
                </c:pt>
                <c:pt idx="627">
                  <c:v>0.43</c:v>
                </c:pt>
                <c:pt idx="628">
                  <c:v>0.49</c:v>
                </c:pt>
                <c:pt idx="629">
                  <c:v>0.36</c:v>
                </c:pt>
                <c:pt idx="630">
                  <c:v>0.23</c:v>
                </c:pt>
                <c:pt idx="631">
                  <c:v>0.22</c:v>
                </c:pt>
                <c:pt idx="632">
                  <c:v>0.71</c:v>
                </c:pt>
                <c:pt idx="633">
                  <c:v>0.75</c:v>
                </c:pt>
                <c:pt idx="634">
                  <c:v>0.72</c:v>
                </c:pt>
                <c:pt idx="635">
                  <c:v>0.53</c:v>
                </c:pt>
                <c:pt idx="636">
                  <c:v>0.04</c:v>
                </c:pt>
                <c:pt idx="637">
                  <c:v>0.43</c:v>
                </c:pt>
                <c:pt idx="638">
                  <c:v>0.32</c:v>
                </c:pt>
                <c:pt idx="639">
                  <c:v>0.19</c:v>
                </c:pt>
                <c:pt idx="640">
                  <c:v>0.5</c:v>
                </c:pt>
                <c:pt idx="641">
                  <c:v>0.76</c:v>
                </c:pt>
                <c:pt idx="642">
                  <c:v>0.37</c:v>
                </c:pt>
                <c:pt idx="643">
                  <c:v>0.44</c:v>
                </c:pt>
                <c:pt idx="644">
                  <c:v>0.3</c:v>
                </c:pt>
                <c:pt idx="645">
                  <c:v>0.1</c:v>
                </c:pt>
                <c:pt idx="646">
                  <c:v>0.35</c:v>
                </c:pt>
                <c:pt idx="647">
                  <c:v>0.19</c:v>
                </c:pt>
                <c:pt idx="648">
                  <c:v>0.5</c:v>
                </c:pt>
                <c:pt idx="649">
                  <c:v>0.02</c:v>
                </c:pt>
                <c:pt idx="650">
                  <c:v>0.11</c:v>
                </c:pt>
                <c:pt idx="651">
                  <c:v>0.45</c:v>
                </c:pt>
                <c:pt idx="652">
                  <c:v>0.41</c:v>
                </c:pt>
                <c:pt idx="653">
                  <c:v>0.51</c:v>
                </c:pt>
                <c:pt idx="654">
                  <c:v>7.0000000000000007E-2</c:v>
                </c:pt>
                <c:pt idx="655">
                  <c:v>0.51</c:v>
                </c:pt>
                <c:pt idx="656">
                  <c:v>0.14000000000000001</c:v>
                </c:pt>
                <c:pt idx="657">
                  <c:v>0.39</c:v>
                </c:pt>
                <c:pt idx="658">
                  <c:v>0.72</c:v>
                </c:pt>
                <c:pt idx="659">
                  <c:v>0.66</c:v>
                </c:pt>
                <c:pt idx="660">
                  <c:v>0.36</c:v>
                </c:pt>
                <c:pt idx="661">
                  <c:v>0.11</c:v>
                </c:pt>
                <c:pt idx="662">
                  <c:v>0.31</c:v>
                </c:pt>
                <c:pt idx="663">
                  <c:v>0.59</c:v>
                </c:pt>
                <c:pt idx="664">
                  <c:v>0.25</c:v>
                </c:pt>
                <c:pt idx="665">
                  <c:v>7.0000000000000007E-2</c:v>
                </c:pt>
                <c:pt idx="666">
                  <c:v>0.56000000000000005</c:v>
                </c:pt>
                <c:pt idx="667">
                  <c:v>0.65</c:v>
                </c:pt>
                <c:pt idx="668">
                  <c:v>0.59</c:v>
                </c:pt>
                <c:pt idx="669">
                  <c:v>0.36</c:v>
                </c:pt>
                <c:pt idx="670">
                  <c:v>0.43</c:v>
                </c:pt>
                <c:pt idx="671">
                  <c:v>0.12</c:v>
                </c:pt>
                <c:pt idx="672">
                  <c:v>0.12</c:v>
                </c:pt>
                <c:pt idx="673">
                  <c:v>0.6</c:v>
                </c:pt>
                <c:pt idx="674">
                  <c:v>0.19</c:v>
                </c:pt>
                <c:pt idx="675">
                  <c:v>0.18</c:v>
                </c:pt>
                <c:pt idx="676">
                  <c:v>0.78</c:v>
                </c:pt>
                <c:pt idx="677">
                  <c:v>7.0000000000000007E-2</c:v>
                </c:pt>
                <c:pt idx="678">
                  <c:v>0.64</c:v>
                </c:pt>
                <c:pt idx="679">
                  <c:v>0.21</c:v>
                </c:pt>
                <c:pt idx="680">
                  <c:v>0.01</c:v>
                </c:pt>
                <c:pt idx="681">
                  <c:v>0.01</c:v>
                </c:pt>
                <c:pt idx="682">
                  <c:v>0.76</c:v>
                </c:pt>
                <c:pt idx="683">
                  <c:v>0.14000000000000001</c:v>
                </c:pt>
                <c:pt idx="684">
                  <c:v>0.19</c:v>
                </c:pt>
                <c:pt idx="685">
                  <c:v>0.84</c:v>
                </c:pt>
                <c:pt idx="686">
                  <c:v>0.55000000000000004</c:v>
                </c:pt>
                <c:pt idx="687">
                  <c:v>0.11</c:v>
                </c:pt>
                <c:pt idx="688">
                  <c:v>0.01</c:v>
                </c:pt>
                <c:pt idx="689">
                  <c:v>0.43</c:v>
                </c:pt>
                <c:pt idx="690">
                  <c:v>0.72</c:v>
                </c:pt>
                <c:pt idx="691">
                  <c:v>0.28000000000000003</c:v>
                </c:pt>
                <c:pt idx="692">
                  <c:v>0.28000000000000003</c:v>
                </c:pt>
                <c:pt idx="693">
                  <c:v>0.64</c:v>
                </c:pt>
                <c:pt idx="694">
                  <c:v>0.02</c:v>
                </c:pt>
                <c:pt idx="695">
                  <c:v>0.02</c:v>
                </c:pt>
                <c:pt idx="696">
                  <c:v>0.3</c:v>
                </c:pt>
                <c:pt idx="697">
                  <c:v>0.53</c:v>
                </c:pt>
                <c:pt idx="698">
                  <c:v>0.17</c:v>
                </c:pt>
                <c:pt idx="699">
                  <c:v>0.43</c:v>
                </c:pt>
                <c:pt idx="700">
                  <c:v>0.21</c:v>
                </c:pt>
                <c:pt idx="701">
                  <c:v>0.05</c:v>
                </c:pt>
                <c:pt idx="702">
                  <c:v>0.34</c:v>
                </c:pt>
                <c:pt idx="703">
                  <c:v>0.15</c:v>
                </c:pt>
                <c:pt idx="704">
                  <c:v>0.03</c:v>
                </c:pt>
                <c:pt idx="705">
                  <c:v>0.71</c:v>
                </c:pt>
                <c:pt idx="706">
                  <c:v>0.01</c:v>
                </c:pt>
                <c:pt idx="707">
                  <c:v>0.67</c:v>
                </c:pt>
                <c:pt idx="708">
                  <c:v>0.47</c:v>
                </c:pt>
                <c:pt idx="709">
                  <c:v>0.03</c:v>
                </c:pt>
                <c:pt idx="710">
                  <c:v>0.34</c:v>
                </c:pt>
                <c:pt idx="711">
                  <c:v>0.42</c:v>
                </c:pt>
                <c:pt idx="712">
                  <c:v>0.3</c:v>
                </c:pt>
                <c:pt idx="713">
                  <c:v>0.12</c:v>
                </c:pt>
                <c:pt idx="714">
                  <c:v>0.59</c:v>
                </c:pt>
                <c:pt idx="715">
                  <c:v>0.48</c:v>
                </c:pt>
                <c:pt idx="716">
                  <c:v>0.52</c:v>
                </c:pt>
                <c:pt idx="717">
                  <c:v>0.48</c:v>
                </c:pt>
                <c:pt idx="718">
                  <c:v>0.79</c:v>
                </c:pt>
                <c:pt idx="719">
                  <c:v>0.01</c:v>
                </c:pt>
                <c:pt idx="720">
                  <c:v>0.15</c:v>
                </c:pt>
                <c:pt idx="721">
                  <c:v>0.02</c:v>
                </c:pt>
                <c:pt idx="722">
                  <c:v>0.14000000000000001</c:v>
                </c:pt>
                <c:pt idx="723">
                  <c:v>0.33</c:v>
                </c:pt>
                <c:pt idx="724">
                  <c:v>0.71</c:v>
                </c:pt>
                <c:pt idx="725">
                  <c:v>0.16</c:v>
                </c:pt>
                <c:pt idx="726">
                  <c:v>0.67</c:v>
                </c:pt>
                <c:pt idx="727">
                  <c:v>0.63</c:v>
                </c:pt>
                <c:pt idx="728">
                  <c:v>0.5</c:v>
                </c:pt>
                <c:pt idx="729">
                  <c:v>0.14000000000000001</c:v>
                </c:pt>
                <c:pt idx="730">
                  <c:v>0.47</c:v>
                </c:pt>
                <c:pt idx="731">
                  <c:v>0.41</c:v>
                </c:pt>
                <c:pt idx="732">
                  <c:v>0.06</c:v>
                </c:pt>
                <c:pt idx="733">
                  <c:v>0.56999999999999995</c:v>
                </c:pt>
                <c:pt idx="734">
                  <c:v>0.69</c:v>
                </c:pt>
                <c:pt idx="735">
                  <c:v>0.38</c:v>
                </c:pt>
                <c:pt idx="736">
                  <c:v>0.49</c:v>
                </c:pt>
                <c:pt idx="737">
                  <c:v>0.17</c:v>
                </c:pt>
                <c:pt idx="738">
                  <c:v>0.28999999999999998</c:v>
                </c:pt>
                <c:pt idx="739">
                  <c:v>0.14000000000000001</c:v>
                </c:pt>
                <c:pt idx="740">
                  <c:v>0.44</c:v>
                </c:pt>
                <c:pt idx="741">
                  <c:v>0.62</c:v>
                </c:pt>
                <c:pt idx="742">
                  <c:v>0.22</c:v>
                </c:pt>
                <c:pt idx="743">
                  <c:v>0.76</c:v>
                </c:pt>
                <c:pt idx="744">
                  <c:v>0.12</c:v>
                </c:pt>
                <c:pt idx="745">
                  <c:v>0.5</c:v>
                </c:pt>
                <c:pt idx="746">
                  <c:v>0.21</c:v>
                </c:pt>
                <c:pt idx="747">
                  <c:v>0.11</c:v>
                </c:pt>
                <c:pt idx="748">
                  <c:v>0.14000000000000001</c:v>
                </c:pt>
                <c:pt idx="749">
                  <c:v>0.16</c:v>
                </c:pt>
                <c:pt idx="750">
                  <c:v>7.0000000000000007E-2</c:v>
                </c:pt>
                <c:pt idx="751">
                  <c:v>0.01</c:v>
                </c:pt>
                <c:pt idx="752">
                  <c:v>0.04</c:v>
                </c:pt>
                <c:pt idx="753">
                  <c:v>0.05</c:v>
                </c:pt>
                <c:pt idx="754">
                  <c:v>0.15</c:v>
                </c:pt>
                <c:pt idx="755">
                  <c:v>0.02</c:v>
                </c:pt>
                <c:pt idx="756">
                  <c:v>0.5</c:v>
                </c:pt>
                <c:pt idx="757">
                  <c:v>0.03</c:v>
                </c:pt>
                <c:pt idx="758">
                  <c:v>0.04</c:v>
                </c:pt>
                <c:pt idx="759">
                  <c:v>0.16</c:v>
                </c:pt>
                <c:pt idx="760">
                  <c:v>0.22</c:v>
                </c:pt>
                <c:pt idx="761">
                  <c:v>0.42</c:v>
                </c:pt>
                <c:pt idx="762">
                  <c:v>0.42</c:v>
                </c:pt>
                <c:pt idx="763">
                  <c:v>0.13</c:v>
                </c:pt>
                <c:pt idx="764">
                  <c:v>0.64</c:v>
                </c:pt>
                <c:pt idx="765">
                  <c:v>0.09</c:v>
                </c:pt>
                <c:pt idx="766">
                  <c:v>7.0000000000000007E-2</c:v>
                </c:pt>
                <c:pt idx="767">
                  <c:v>0.09</c:v>
                </c:pt>
                <c:pt idx="768">
                  <c:v>0.56000000000000005</c:v>
                </c:pt>
                <c:pt idx="769">
                  <c:v>0.27</c:v>
                </c:pt>
                <c:pt idx="770">
                  <c:v>0.2</c:v>
                </c:pt>
                <c:pt idx="771">
                  <c:v>0.28000000000000003</c:v>
                </c:pt>
                <c:pt idx="772">
                  <c:v>0.27</c:v>
                </c:pt>
                <c:pt idx="773">
                  <c:v>0.15</c:v>
                </c:pt>
                <c:pt idx="774">
                  <c:v>0.56999999999999995</c:v>
                </c:pt>
                <c:pt idx="775">
                  <c:v>0.64</c:v>
                </c:pt>
                <c:pt idx="776">
                  <c:v>0.09</c:v>
                </c:pt>
                <c:pt idx="777">
                  <c:v>0.17</c:v>
                </c:pt>
                <c:pt idx="778">
                  <c:v>0.25</c:v>
                </c:pt>
                <c:pt idx="779">
                  <c:v>0.51</c:v>
                </c:pt>
                <c:pt idx="780">
                  <c:v>0.6</c:v>
                </c:pt>
                <c:pt idx="781">
                  <c:v>0.02</c:v>
                </c:pt>
                <c:pt idx="782">
                  <c:v>0.09</c:v>
                </c:pt>
                <c:pt idx="783">
                  <c:v>7.0000000000000007E-2</c:v>
                </c:pt>
                <c:pt idx="784">
                  <c:v>0.13</c:v>
                </c:pt>
                <c:pt idx="785">
                  <c:v>7.0000000000000007E-2</c:v>
                </c:pt>
                <c:pt idx="786">
                  <c:v>0.31</c:v>
                </c:pt>
                <c:pt idx="787">
                  <c:v>0.41</c:v>
                </c:pt>
                <c:pt idx="788">
                  <c:v>0.06</c:v>
                </c:pt>
                <c:pt idx="789">
                  <c:v>0.48</c:v>
                </c:pt>
                <c:pt idx="790">
                  <c:v>0.49</c:v>
                </c:pt>
                <c:pt idx="791">
                  <c:v>0.13</c:v>
                </c:pt>
                <c:pt idx="792">
                  <c:v>0.26</c:v>
                </c:pt>
                <c:pt idx="793">
                  <c:v>0.11</c:v>
                </c:pt>
                <c:pt idx="794">
                  <c:v>0.45</c:v>
                </c:pt>
                <c:pt idx="795">
                  <c:v>0.37</c:v>
                </c:pt>
                <c:pt idx="796">
                  <c:v>0.03</c:v>
                </c:pt>
                <c:pt idx="797">
                  <c:v>0.04</c:v>
                </c:pt>
                <c:pt idx="798">
                  <c:v>0.16</c:v>
                </c:pt>
                <c:pt idx="799">
                  <c:v>0.36</c:v>
                </c:pt>
                <c:pt idx="800">
                  <c:v>0.65</c:v>
                </c:pt>
                <c:pt idx="801">
                  <c:v>0.11</c:v>
                </c:pt>
                <c:pt idx="802">
                  <c:v>0.65</c:v>
                </c:pt>
                <c:pt idx="803">
                  <c:v>0.52</c:v>
                </c:pt>
                <c:pt idx="804">
                  <c:v>0.1</c:v>
                </c:pt>
                <c:pt idx="805">
                  <c:v>0.11</c:v>
                </c:pt>
                <c:pt idx="806">
                  <c:v>0.34</c:v>
                </c:pt>
                <c:pt idx="807">
                  <c:v>0.35</c:v>
                </c:pt>
                <c:pt idx="808">
                  <c:v>0.06</c:v>
                </c:pt>
                <c:pt idx="809">
                  <c:v>0.05</c:v>
                </c:pt>
                <c:pt idx="810">
                  <c:v>0.16</c:v>
                </c:pt>
                <c:pt idx="811">
                  <c:v>0.31</c:v>
                </c:pt>
                <c:pt idx="812">
                  <c:v>0.12</c:v>
                </c:pt>
                <c:pt idx="813">
                  <c:v>0.39</c:v>
                </c:pt>
                <c:pt idx="814">
                  <c:v>7.0000000000000007E-2</c:v>
                </c:pt>
                <c:pt idx="815">
                  <c:v>0.09</c:v>
                </c:pt>
                <c:pt idx="816">
                  <c:v>0.03</c:v>
                </c:pt>
                <c:pt idx="817">
                  <c:v>0.14000000000000001</c:v>
                </c:pt>
                <c:pt idx="818">
                  <c:v>0.64</c:v>
                </c:pt>
                <c:pt idx="819">
                  <c:v>0.01</c:v>
                </c:pt>
                <c:pt idx="820">
                  <c:v>0.16</c:v>
                </c:pt>
                <c:pt idx="821">
                  <c:v>0.06</c:v>
                </c:pt>
                <c:pt idx="822">
                  <c:v>7.0000000000000007E-2</c:v>
                </c:pt>
                <c:pt idx="823">
                  <c:v>0.28999999999999998</c:v>
                </c:pt>
                <c:pt idx="824">
                  <c:v>0.04</c:v>
                </c:pt>
                <c:pt idx="825">
                  <c:v>0.12</c:v>
                </c:pt>
                <c:pt idx="826">
                  <c:v>0.25</c:v>
                </c:pt>
                <c:pt idx="827">
                  <c:v>0.81</c:v>
                </c:pt>
                <c:pt idx="828">
                  <c:v>0.44</c:v>
                </c:pt>
                <c:pt idx="829">
                  <c:v>0.04</c:v>
                </c:pt>
                <c:pt idx="830">
                  <c:v>0.12</c:v>
                </c:pt>
                <c:pt idx="831">
                  <c:v>0.39</c:v>
                </c:pt>
                <c:pt idx="832">
                  <c:v>0.56000000000000005</c:v>
                </c:pt>
                <c:pt idx="833">
                  <c:v>0.02</c:v>
                </c:pt>
                <c:pt idx="834">
                  <c:v>0.08</c:v>
                </c:pt>
                <c:pt idx="835">
                  <c:v>0.61</c:v>
                </c:pt>
                <c:pt idx="836">
                  <c:v>0.66</c:v>
                </c:pt>
                <c:pt idx="837">
                  <c:v>0.03</c:v>
                </c:pt>
                <c:pt idx="838">
                  <c:v>0.06</c:v>
                </c:pt>
                <c:pt idx="839">
                  <c:v>0.22</c:v>
                </c:pt>
                <c:pt idx="840">
                  <c:v>0.34</c:v>
                </c:pt>
                <c:pt idx="841">
                  <c:v>0.26</c:v>
                </c:pt>
                <c:pt idx="842">
                  <c:v>0.03</c:v>
                </c:pt>
                <c:pt idx="843">
                  <c:v>0.11</c:v>
                </c:pt>
                <c:pt idx="844">
                  <c:v>0.12</c:v>
                </c:pt>
                <c:pt idx="845">
                  <c:v>0.02</c:v>
                </c:pt>
                <c:pt idx="846">
                  <c:v>0.05</c:v>
                </c:pt>
                <c:pt idx="847">
                  <c:v>0.49</c:v>
                </c:pt>
                <c:pt idx="848">
                  <c:v>0.14000000000000001</c:v>
                </c:pt>
                <c:pt idx="849">
                  <c:v>0.56000000000000005</c:v>
                </c:pt>
                <c:pt idx="850">
                  <c:v>0.08</c:v>
                </c:pt>
                <c:pt idx="851">
                  <c:v>0.09</c:v>
                </c:pt>
                <c:pt idx="852">
                  <c:v>0.72</c:v>
                </c:pt>
                <c:pt idx="853">
                  <c:v>0.25</c:v>
                </c:pt>
                <c:pt idx="854">
                  <c:v>0.5</c:v>
                </c:pt>
                <c:pt idx="855">
                  <c:v>0.1</c:v>
                </c:pt>
                <c:pt idx="856">
                  <c:v>0.24</c:v>
                </c:pt>
                <c:pt idx="857">
                  <c:v>0.46</c:v>
                </c:pt>
                <c:pt idx="858">
                  <c:v>0.34</c:v>
                </c:pt>
                <c:pt idx="859">
                  <c:v>0.05</c:v>
                </c:pt>
                <c:pt idx="860">
                  <c:v>0.01</c:v>
                </c:pt>
                <c:pt idx="861">
                  <c:v>0.33</c:v>
                </c:pt>
                <c:pt idx="862">
                  <c:v>0.22</c:v>
                </c:pt>
                <c:pt idx="863">
                  <c:v>0.27</c:v>
                </c:pt>
                <c:pt idx="864">
                  <c:v>0.25</c:v>
                </c:pt>
                <c:pt idx="865">
                  <c:v>0.53</c:v>
                </c:pt>
                <c:pt idx="866">
                  <c:v>0.04</c:v>
                </c:pt>
                <c:pt idx="867">
                  <c:v>0.08</c:v>
                </c:pt>
                <c:pt idx="868">
                  <c:v>0.61</c:v>
                </c:pt>
                <c:pt idx="869">
                  <c:v>0.47</c:v>
                </c:pt>
                <c:pt idx="870">
                  <c:v>0.09</c:v>
                </c:pt>
                <c:pt idx="871">
                  <c:v>0.05</c:v>
                </c:pt>
                <c:pt idx="872">
                  <c:v>0.5</c:v>
                </c:pt>
                <c:pt idx="873">
                  <c:v>0.66</c:v>
                </c:pt>
                <c:pt idx="874">
                  <c:v>0.02</c:v>
                </c:pt>
                <c:pt idx="875">
                  <c:v>0.09</c:v>
                </c:pt>
                <c:pt idx="876">
                  <c:v>0.06</c:v>
                </c:pt>
                <c:pt idx="877">
                  <c:v>0.1</c:v>
                </c:pt>
                <c:pt idx="878">
                  <c:v>0.81</c:v>
                </c:pt>
                <c:pt idx="879">
                  <c:v>0.01</c:v>
                </c:pt>
                <c:pt idx="880">
                  <c:v>0.02</c:v>
                </c:pt>
                <c:pt idx="881">
                  <c:v>0.41</c:v>
                </c:pt>
                <c:pt idx="882">
                  <c:v>0.32</c:v>
                </c:pt>
                <c:pt idx="883">
                  <c:v>0.01</c:v>
                </c:pt>
                <c:pt idx="884">
                  <c:v>0.76</c:v>
                </c:pt>
                <c:pt idx="885">
                  <c:v>0.36</c:v>
                </c:pt>
                <c:pt idx="886">
                  <c:v>0.01</c:v>
                </c:pt>
                <c:pt idx="887">
                  <c:v>0.28000000000000003</c:v>
                </c:pt>
                <c:pt idx="888">
                  <c:v>0.08</c:v>
                </c:pt>
                <c:pt idx="889">
                  <c:v>0.42</c:v>
                </c:pt>
                <c:pt idx="890">
                  <c:v>0.03</c:v>
                </c:pt>
                <c:pt idx="891">
                  <c:v>0.06</c:v>
                </c:pt>
                <c:pt idx="892">
                  <c:v>0.4</c:v>
                </c:pt>
                <c:pt idx="893">
                  <c:v>0.41</c:v>
                </c:pt>
                <c:pt idx="894">
                  <c:v>0.24</c:v>
                </c:pt>
                <c:pt idx="895">
                  <c:v>0.72</c:v>
                </c:pt>
                <c:pt idx="896">
                  <c:v>0.15</c:v>
                </c:pt>
                <c:pt idx="897">
                  <c:v>0.11</c:v>
                </c:pt>
                <c:pt idx="898">
                  <c:v>0.02</c:v>
                </c:pt>
                <c:pt idx="899">
                  <c:v>0.14000000000000001</c:v>
                </c:pt>
                <c:pt idx="900">
                  <c:v>0.18</c:v>
                </c:pt>
                <c:pt idx="901">
                  <c:v>0.49</c:v>
                </c:pt>
                <c:pt idx="902">
                  <c:v>0.09</c:v>
                </c:pt>
                <c:pt idx="903">
                  <c:v>0.74</c:v>
                </c:pt>
                <c:pt idx="904">
                  <c:v>0.24</c:v>
                </c:pt>
                <c:pt idx="905">
                  <c:v>7.0000000000000007E-2</c:v>
                </c:pt>
                <c:pt idx="906">
                  <c:v>0.47</c:v>
                </c:pt>
                <c:pt idx="907">
                  <c:v>0.56000000000000005</c:v>
                </c:pt>
                <c:pt idx="908">
                  <c:v>0.2</c:v>
                </c:pt>
                <c:pt idx="909">
                  <c:v>0.06</c:v>
                </c:pt>
                <c:pt idx="910">
                  <c:v>7.0000000000000007E-2</c:v>
                </c:pt>
                <c:pt idx="911">
                  <c:v>0.34</c:v>
                </c:pt>
                <c:pt idx="912">
                  <c:v>0.2</c:v>
                </c:pt>
                <c:pt idx="913">
                  <c:v>0.12</c:v>
                </c:pt>
                <c:pt idx="914">
                  <c:v>0.16</c:v>
                </c:pt>
                <c:pt idx="915">
                  <c:v>0.05</c:v>
                </c:pt>
                <c:pt idx="916">
                  <c:v>0.14000000000000001</c:v>
                </c:pt>
                <c:pt idx="917">
                  <c:v>0.17</c:v>
                </c:pt>
                <c:pt idx="918">
                  <c:v>0.46</c:v>
                </c:pt>
                <c:pt idx="919">
                  <c:v>0.1</c:v>
                </c:pt>
                <c:pt idx="920">
                  <c:v>0.01</c:v>
                </c:pt>
                <c:pt idx="921">
                  <c:v>0.01</c:v>
                </c:pt>
                <c:pt idx="922">
                  <c:v>0.24</c:v>
                </c:pt>
                <c:pt idx="923">
                  <c:v>0.4</c:v>
                </c:pt>
                <c:pt idx="924">
                  <c:v>0.14000000000000001</c:v>
                </c:pt>
                <c:pt idx="925">
                  <c:v>0.09</c:v>
                </c:pt>
                <c:pt idx="926">
                  <c:v>0.06</c:v>
                </c:pt>
                <c:pt idx="927">
                  <c:v>0.3</c:v>
                </c:pt>
                <c:pt idx="928">
                  <c:v>0.09</c:v>
                </c:pt>
                <c:pt idx="929">
                  <c:v>0.5</c:v>
                </c:pt>
                <c:pt idx="930">
                  <c:v>0.08</c:v>
                </c:pt>
                <c:pt idx="931">
                  <c:v>0.15</c:v>
                </c:pt>
                <c:pt idx="932">
                  <c:v>0.61</c:v>
                </c:pt>
                <c:pt idx="933">
                  <c:v>0.39</c:v>
                </c:pt>
                <c:pt idx="934">
                  <c:v>0.16</c:v>
                </c:pt>
                <c:pt idx="935">
                  <c:v>0.01</c:v>
                </c:pt>
                <c:pt idx="936">
                  <c:v>0.05</c:v>
                </c:pt>
                <c:pt idx="937">
                  <c:v>0.1</c:v>
                </c:pt>
                <c:pt idx="938">
                  <c:v>0.64</c:v>
                </c:pt>
                <c:pt idx="939">
                  <c:v>0.14000000000000001</c:v>
                </c:pt>
                <c:pt idx="940">
                  <c:v>0.01</c:v>
                </c:pt>
                <c:pt idx="941">
                  <c:v>0.48</c:v>
                </c:pt>
                <c:pt idx="942">
                  <c:v>0.2</c:v>
                </c:pt>
                <c:pt idx="943">
                  <c:v>0.71</c:v>
                </c:pt>
                <c:pt idx="944">
                  <c:v>0.16</c:v>
                </c:pt>
                <c:pt idx="945">
                  <c:v>0.05</c:v>
                </c:pt>
                <c:pt idx="946">
                  <c:v>0.16</c:v>
                </c:pt>
                <c:pt idx="947">
                  <c:v>0.02</c:v>
                </c:pt>
                <c:pt idx="948">
                  <c:v>0.37</c:v>
                </c:pt>
                <c:pt idx="949">
                  <c:v>0.02</c:v>
                </c:pt>
                <c:pt idx="950">
                  <c:v>0.23</c:v>
                </c:pt>
                <c:pt idx="951">
                  <c:v>0.06</c:v>
                </c:pt>
                <c:pt idx="952">
                  <c:v>0.38</c:v>
                </c:pt>
                <c:pt idx="953">
                  <c:v>0.09</c:v>
                </c:pt>
                <c:pt idx="954">
                  <c:v>0.54</c:v>
                </c:pt>
                <c:pt idx="955">
                  <c:v>0.01</c:v>
                </c:pt>
                <c:pt idx="956">
                  <c:v>0.31</c:v>
                </c:pt>
                <c:pt idx="957">
                  <c:v>0.48</c:v>
                </c:pt>
                <c:pt idx="958">
                  <c:v>0.03</c:v>
                </c:pt>
                <c:pt idx="959">
                  <c:v>0.05</c:v>
                </c:pt>
                <c:pt idx="960">
                  <c:v>0.22</c:v>
                </c:pt>
                <c:pt idx="961">
                  <c:v>7.0000000000000007E-2</c:v>
                </c:pt>
                <c:pt idx="962">
                  <c:v>0.39</c:v>
                </c:pt>
                <c:pt idx="963">
                  <c:v>0.37</c:v>
                </c:pt>
                <c:pt idx="964">
                  <c:v>0.04</c:v>
                </c:pt>
                <c:pt idx="965">
                  <c:v>0.02</c:v>
                </c:pt>
                <c:pt idx="966">
                  <c:v>0.02</c:v>
                </c:pt>
                <c:pt idx="967">
                  <c:v>0.08</c:v>
                </c:pt>
                <c:pt idx="968">
                  <c:v>0.32</c:v>
                </c:pt>
                <c:pt idx="969">
                  <c:v>0.12</c:v>
                </c:pt>
                <c:pt idx="970">
                  <c:v>0.3</c:v>
                </c:pt>
                <c:pt idx="971">
                  <c:v>0.04</c:v>
                </c:pt>
                <c:pt idx="972">
                  <c:v>0.53</c:v>
                </c:pt>
                <c:pt idx="973">
                  <c:v>0.17</c:v>
                </c:pt>
                <c:pt idx="974">
                  <c:v>0.01</c:v>
                </c:pt>
                <c:pt idx="975">
                  <c:v>0.09</c:v>
                </c:pt>
                <c:pt idx="976">
                  <c:v>0.17</c:v>
                </c:pt>
                <c:pt idx="977">
                  <c:v>0.13</c:v>
                </c:pt>
                <c:pt idx="978">
                  <c:v>0.09</c:v>
                </c:pt>
                <c:pt idx="979">
                  <c:v>0.08</c:v>
                </c:pt>
                <c:pt idx="980">
                  <c:v>0.56000000000000005</c:v>
                </c:pt>
                <c:pt idx="981">
                  <c:v>7.0000000000000007E-2</c:v>
                </c:pt>
                <c:pt idx="982">
                  <c:v>0.03</c:v>
                </c:pt>
                <c:pt idx="983">
                  <c:v>0.44</c:v>
                </c:pt>
                <c:pt idx="984">
                  <c:v>0.04</c:v>
                </c:pt>
                <c:pt idx="985">
                  <c:v>0.2</c:v>
                </c:pt>
                <c:pt idx="986">
                  <c:v>0.08</c:v>
                </c:pt>
                <c:pt idx="987">
                  <c:v>0.63</c:v>
                </c:pt>
                <c:pt idx="988">
                  <c:v>0.13</c:v>
                </c:pt>
                <c:pt idx="989">
                  <c:v>0.42</c:v>
                </c:pt>
                <c:pt idx="990">
                  <c:v>0.02</c:v>
                </c:pt>
                <c:pt idx="991">
                  <c:v>0.04</c:v>
                </c:pt>
                <c:pt idx="992">
                  <c:v>0.44</c:v>
                </c:pt>
                <c:pt idx="993">
                  <c:v>0.03</c:v>
                </c:pt>
                <c:pt idx="994">
                  <c:v>0.28999999999999998</c:v>
                </c:pt>
                <c:pt idx="995">
                  <c:v>0.36</c:v>
                </c:pt>
                <c:pt idx="996">
                  <c:v>0.05</c:v>
                </c:pt>
                <c:pt idx="997">
                  <c:v>0.01</c:v>
                </c:pt>
                <c:pt idx="998">
                  <c:v>0.05</c:v>
                </c:pt>
                <c:pt idx="999">
                  <c:v>0.05</c:v>
                </c:pt>
                <c:pt idx="1000">
                  <c:v>0.36</c:v>
                </c:pt>
                <c:pt idx="1001">
                  <c:v>0.04</c:v>
                </c:pt>
                <c:pt idx="1002">
                  <c:v>0.13</c:v>
                </c:pt>
                <c:pt idx="1003">
                  <c:v>0.35</c:v>
                </c:pt>
                <c:pt idx="1004">
                  <c:v>0.04</c:v>
                </c:pt>
                <c:pt idx="1005">
                  <c:v>0.04</c:v>
                </c:pt>
                <c:pt idx="1006">
                  <c:v>0.15</c:v>
                </c:pt>
                <c:pt idx="1007">
                  <c:v>0.01</c:v>
                </c:pt>
                <c:pt idx="1008">
                  <c:v>0.66</c:v>
                </c:pt>
                <c:pt idx="1009">
                  <c:v>0.22</c:v>
                </c:pt>
                <c:pt idx="1010">
                  <c:v>0.05</c:v>
                </c:pt>
                <c:pt idx="1011">
                  <c:v>0.06</c:v>
                </c:pt>
                <c:pt idx="1012">
                  <c:v>7.0000000000000007E-2</c:v>
                </c:pt>
                <c:pt idx="1013">
                  <c:v>0.03</c:v>
                </c:pt>
                <c:pt idx="1014">
                  <c:v>0.08</c:v>
                </c:pt>
                <c:pt idx="1015">
                  <c:v>0.28999999999999998</c:v>
                </c:pt>
                <c:pt idx="1016">
                  <c:v>0.41</c:v>
                </c:pt>
                <c:pt idx="1017">
                  <c:v>0.37</c:v>
                </c:pt>
                <c:pt idx="1018">
                  <c:v>0.01</c:v>
                </c:pt>
                <c:pt idx="1019">
                  <c:v>0.13</c:v>
                </c:pt>
                <c:pt idx="1020">
                  <c:v>0.06</c:v>
                </c:pt>
                <c:pt idx="1021">
                  <c:v>0.06</c:v>
                </c:pt>
                <c:pt idx="1022">
                  <c:v>0.42</c:v>
                </c:pt>
                <c:pt idx="1023">
                  <c:v>0.01</c:v>
                </c:pt>
                <c:pt idx="1024">
                  <c:v>0.06</c:v>
                </c:pt>
                <c:pt idx="1025">
                  <c:v>0.01</c:v>
                </c:pt>
                <c:pt idx="1026">
                  <c:v>0.05</c:v>
                </c:pt>
                <c:pt idx="1027">
                  <c:v>0.14000000000000001</c:v>
                </c:pt>
                <c:pt idx="1028">
                  <c:v>0.02</c:v>
                </c:pt>
                <c:pt idx="1029">
                  <c:v>0.23</c:v>
                </c:pt>
                <c:pt idx="1030">
                  <c:v>0.03</c:v>
                </c:pt>
                <c:pt idx="1031">
                  <c:v>7.0000000000000007E-2</c:v>
                </c:pt>
                <c:pt idx="1032">
                  <c:v>0.37</c:v>
                </c:pt>
                <c:pt idx="1033">
                  <c:v>0.14000000000000001</c:v>
                </c:pt>
                <c:pt idx="1034">
                  <c:v>0.02</c:v>
                </c:pt>
                <c:pt idx="1035">
                  <c:v>0.25</c:v>
                </c:pt>
                <c:pt idx="1036">
                  <c:v>0.28999999999999998</c:v>
                </c:pt>
                <c:pt idx="1037">
                  <c:v>7.0000000000000007E-2</c:v>
                </c:pt>
                <c:pt idx="1038">
                  <c:v>0.19</c:v>
                </c:pt>
                <c:pt idx="1039">
                  <c:v>0.08</c:v>
                </c:pt>
                <c:pt idx="1040">
                  <c:v>0.02</c:v>
                </c:pt>
                <c:pt idx="1041">
                  <c:v>0.01</c:v>
                </c:pt>
                <c:pt idx="1042">
                  <c:v>0.6</c:v>
                </c:pt>
                <c:pt idx="1043">
                  <c:v>0.06</c:v>
                </c:pt>
                <c:pt idx="1044">
                  <c:v>7.0000000000000007E-2</c:v>
                </c:pt>
                <c:pt idx="1045">
                  <c:v>0.05</c:v>
                </c:pt>
                <c:pt idx="1046">
                  <c:v>0.14000000000000001</c:v>
                </c:pt>
                <c:pt idx="1047">
                  <c:v>0.03</c:v>
                </c:pt>
                <c:pt idx="1048">
                  <c:v>0.01</c:v>
                </c:pt>
                <c:pt idx="1049">
                  <c:v>0.14000000000000001</c:v>
                </c:pt>
                <c:pt idx="1050">
                  <c:v>0.04</c:v>
                </c:pt>
                <c:pt idx="1051">
                  <c:v>0.03</c:v>
                </c:pt>
                <c:pt idx="1052">
                  <c:v>7.0000000000000007E-2</c:v>
                </c:pt>
                <c:pt idx="1053">
                  <c:v>0.01</c:v>
                </c:pt>
                <c:pt idx="1054">
                  <c:v>0.01</c:v>
                </c:pt>
                <c:pt idx="1055">
                  <c:v>0.03</c:v>
                </c:pt>
                <c:pt idx="1056">
                  <c:v>0.31</c:v>
                </c:pt>
                <c:pt idx="1057">
                  <c:v>7.0000000000000007E-2</c:v>
                </c:pt>
                <c:pt idx="1058">
                  <c:v>0.36</c:v>
                </c:pt>
                <c:pt idx="1059">
                  <c:v>0.26</c:v>
                </c:pt>
                <c:pt idx="1060">
                  <c:v>0.02</c:v>
                </c:pt>
                <c:pt idx="1061">
                  <c:v>0.06</c:v>
                </c:pt>
                <c:pt idx="1062">
                  <c:v>0.02</c:v>
                </c:pt>
                <c:pt idx="1063">
                  <c:v>0.03</c:v>
                </c:pt>
                <c:pt idx="1064">
                  <c:v>0.04</c:v>
                </c:pt>
                <c:pt idx="1065">
                  <c:v>0.02</c:v>
                </c:pt>
                <c:pt idx="1066">
                  <c:v>0.13</c:v>
                </c:pt>
                <c:pt idx="1067">
                  <c:v>0.02</c:v>
                </c:pt>
                <c:pt idx="1068">
                  <c:v>0.18</c:v>
                </c:pt>
                <c:pt idx="1069">
                  <c:v>0.03</c:v>
                </c:pt>
                <c:pt idx="1070">
                  <c:v>0.25</c:v>
                </c:pt>
                <c:pt idx="1071">
                  <c:v>7.0000000000000007E-2</c:v>
                </c:pt>
                <c:pt idx="1072">
                  <c:v>0.11</c:v>
                </c:pt>
                <c:pt idx="1073">
                  <c:v>0.06</c:v>
                </c:pt>
                <c:pt idx="1074">
                  <c:v>0.03</c:v>
                </c:pt>
                <c:pt idx="1075">
                  <c:v>7.0000000000000007E-2</c:v>
                </c:pt>
                <c:pt idx="1076">
                  <c:v>0.01</c:v>
                </c:pt>
                <c:pt idx="1077">
                  <c:v>0.09</c:v>
                </c:pt>
                <c:pt idx="1078">
                  <c:v>0.01</c:v>
                </c:pt>
                <c:pt idx="1079">
                  <c:v>7.0000000000000007E-2</c:v>
                </c:pt>
                <c:pt idx="1080">
                  <c:v>0.03</c:v>
                </c:pt>
                <c:pt idx="1081">
                  <c:v>0.04</c:v>
                </c:pt>
                <c:pt idx="1082">
                  <c:v>0.01</c:v>
                </c:pt>
                <c:pt idx="1083">
                  <c:v>0.02</c:v>
                </c:pt>
                <c:pt idx="1084">
                  <c:v>0.53</c:v>
                </c:pt>
                <c:pt idx="1085">
                  <c:v>0.08</c:v>
                </c:pt>
                <c:pt idx="1086">
                  <c:v>0.34</c:v>
                </c:pt>
                <c:pt idx="1087">
                  <c:v>0.01</c:v>
                </c:pt>
                <c:pt idx="1088">
                  <c:v>0.01</c:v>
                </c:pt>
                <c:pt idx="1089">
                  <c:v>0.52</c:v>
                </c:pt>
                <c:pt idx="1090">
                  <c:v>0.05</c:v>
                </c:pt>
                <c:pt idx="1091">
                  <c:v>0.02</c:v>
                </c:pt>
                <c:pt idx="1092">
                  <c:v>0.32</c:v>
                </c:pt>
                <c:pt idx="1093">
                  <c:v>0.01</c:v>
                </c:pt>
                <c:pt idx="1094">
                  <c:v>0.01</c:v>
                </c:pt>
                <c:pt idx="1095">
                  <c:v>0.01</c:v>
                </c:pt>
                <c:pt idx="1096">
                  <c:v>0.04</c:v>
                </c:pt>
                <c:pt idx="1097">
                  <c:v>0.03</c:v>
                </c:pt>
                <c:pt idx="1098">
                  <c:v>0.2</c:v>
                </c:pt>
                <c:pt idx="1099">
                  <c:v>0.02</c:v>
                </c:pt>
                <c:pt idx="1100">
                  <c:v>0.04</c:v>
                </c:pt>
                <c:pt idx="1101">
                  <c:v>7.0000000000000007E-2</c:v>
                </c:pt>
                <c:pt idx="1102">
                  <c:v>0.02</c:v>
                </c:pt>
                <c:pt idx="1103">
                  <c:v>0.01</c:v>
                </c:pt>
                <c:pt idx="1104">
                  <c:v>0.02</c:v>
                </c:pt>
                <c:pt idx="1105">
                  <c:v>0.01</c:v>
                </c:pt>
                <c:pt idx="1106">
                  <c:v>0.02</c:v>
                </c:pt>
                <c:pt idx="1107">
                  <c:v>0.02</c:v>
                </c:pt>
                <c:pt idx="1108">
                  <c:v>0.06</c:v>
                </c:pt>
                <c:pt idx="1109">
                  <c:v>0.01</c:v>
                </c:pt>
                <c:pt idx="1110">
                  <c:v>0.03</c:v>
                </c:pt>
                <c:pt idx="1111">
                  <c:v>0.05</c:v>
                </c:pt>
                <c:pt idx="1112">
                  <c:v>0.09</c:v>
                </c:pt>
                <c:pt idx="1113">
                  <c:v>0.02</c:v>
                </c:pt>
                <c:pt idx="1114">
                  <c:v>0.39</c:v>
                </c:pt>
                <c:pt idx="1115">
                  <c:v>0.03</c:v>
                </c:pt>
                <c:pt idx="1116">
                  <c:v>0.01</c:v>
                </c:pt>
                <c:pt idx="1117">
                  <c:v>0.28999999999999998</c:v>
                </c:pt>
                <c:pt idx="1118">
                  <c:v>0.03</c:v>
                </c:pt>
                <c:pt idx="1119">
                  <c:v>0.02</c:v>
                </c:pt>
                <c:pt idx="1120">
                  <c:v>0.18</c:v>
                </c:pt>
                <c:pt idx="1121">
                  <c:v>0.06</c:v>
                </c:pt>
                <c:pt idx="1122">
                  <c:v>0.18</c:v>
                </c:pt>
                <c:pt idx="1123">
                  <c:v>0.01</c:v>
                </c:pt>
                <c:pt idx="1124">
                  <c:v>0.01</c:v>
                </c:pt>
                <c:pt idx="1125">
                  <c:v>0.05</c:v>
                </c:pt>
                <c:pt idx="1126">
                  <c:v>0.03</c:v>
                </c:pt>
                <c:pt idx="1127">
                  <c:v>0.06</c:v>
                </c:pt>
                <c:pt idx="1128">
                  <c:v>0.01</c:v>
                </c:pt>
                <c:pt idx="1129">
                  <c:v>0.05</c:v>
                </c:pt>
                <c:pt idx="1130">
                  <c:v>0.01</c:v>
                </c:pt>
                <c:pt idx="1131">
                  <c:v>0.03</c:v>
                </c:pt>
                <c:pt idx="1132">
                  <c:v>0.01</c:v>
                </c:pt>
                <c:pt idx="1133">
                  <c:v>0.51</c:v>
                </c:pt>
                <c:pt idx="1134">
                  <c:v>0.03</c:v>
                </c:pt>
                <c:pt idx="1135">
                  <c:v>0.06</c:v>
                </c:pt>
                <c:pt idx="1136">
                  <c:v>0.02</c:v>
                </c:pt>
                <c:pt idx="1137">
                  <c:v>0.01</c:v>
                </c:pt>
                <c:pt idx="1138">
                  <c:v>0.04</c:v>
                </c:pt>
                <c:pt idx="1139">
                  <c:v>0.04</c:v>
                </c:pt>
                <c:pt idx="1140">
                  <c:v>0.06</c:v>
                </c:pt>
                <c:pt idx="1141">
                  <c:v>0.08</c:v>
                </c:pt>
                <c:pt idx="1142">
                  <c:v>0.04</c:v>
                </c:pt>
                <c:pt idx="1143">
                  <c:v>0.02</c:v>
                </c:pt>
                <c:pt idx="1144">
                  <c:v>0.05</c:v>
                </c:pt>
                <c:pt idx="1145">
                  <c:v>0.01</c:v>
                </c:pt>
                <c:pt idx="1146">
                  <c:v>0.52</c:v>
                </c:pt>
                <c:pt idx="1147">
                  <c:v>0.06</c:v>
                </c:pt>
                <c:pt idx="1148">
                  <c:v>0.02</c:v>
                </c:pt>
                <c:pt idx="1149">
                  <c:v>0.01</c:v>
                </c:pt>
                <c:pt idx="1150">
                  <c:v>0.02</c:v>
                </c:pt>
                <c:pt idx="1151">
                  <c:v>0.04</c:v>
                </c:pt>
                <c:pt idx="1152">
                  <c:v>0.01</c:v>
                </c:pt>
                <c:pt idx="1153">
                  <c:v>0.06</c:v>
                </c:pt>
                <c:pt idx="1154">
                  <c:v>0.12</c:v>
                </c:pt>
                <c:pt idx="1155">
                  <c:v>0.03</c:v>
                </c:pt>
                <c:pt idx="1156">
                  <c:v>0.01</c:v>
                </c:pt>
                <c:pt idx="1157">
                  <c:v>0.03</c:v>
                </c:pt>
                <c:pt idx="1158">
                  <c:v>0.33</c:v>
                </c:pt>
                <c:pt idx="1159">
                  <c:v>0.01</c:v>
                </c:pt>
                <c:pt idx="1160">
                  <c:v>0.04</c:v>
                </c:pt>
                <c:pt idx="1161">
                  <c:v>0.09</c:v>
                </c:pt>
                <c:pt idx="1162">
                  <c:v>0.02</c:v>
                </c:pt>
                <c:pt idx="1163">
                  <c:v>0.08</c:v>
                </c:pt>
                <c:pt idx="1164">
                  <c:v>0.49</c:v>
                </c:pt>
                <c:pt idx="1165">
                  <c:v>0.03</c:v>
                </c:pt>
                <c:pt idx="1166">
                  <c:v>0.02</c:v>
                </c:pt>
                <c:pt idx="1167">
                  <c:v>0.01</c:v>
                </c:pt>
                <c:pt idx="1168">
                  <c:v>0.04</c:v>
                </c:pt>
                <c:pt idx="1169">
                  <c:v>0.02</c:v>
                </c:pt>
                <c:pt idx="1170">
                  <c:v>0.02</c:v>
                </c:pt>
                <c:pt idx="1171">
                  <c:v>7.0000000000000007E-2</c:v>
                </c:pt>
                <c:pt idx="1172">
                  <c:v>0.04</c:v>
                </c:pt>
                <c:pt idx="1173">
                  <c:v>0.03</c:v>
                </c:pt>
                <c:pt idx="1174">
                  <c:v>0.01</c:v>
                </c:pt>
                <c:pt idx="1175">
                  <c:v>0.31</c:v>
                </c:pt>
                <c:pt idx="1176">
                  <c:v>0.01</c:v>
                </c:pt>
                <c:pt idx="1177">
                  <c:v>0.01</c:v>
                </c:pt>
                <c:pt idx="1178">
                  <c:v>0.01</c:v>
                </c:pt>
                <c:pt idx="1179">
                  <c:v>0.22</c:v>
                </c:pt>
                <c:pt idx="1180">
                  <c:v>0.01</c:v>
                </c:pt>
                <c:pt idx="1181">
                  <c:v>0.01</c:v>
                </c:pt>
                <c:pt idx="1182">
                  <c:v>0.02</c:v>
                </c:pt>
                <c:pt idx="1183">
                  <c:v>0.01</c:v>
                </c:pt>
                <c:pt idx="1184">
                  <c:v>0.01</c:v>
                </c:pt>
                <c:pt idx="1185">
                  <c:v>0.03</c:v>
                </c:pt>
                <c:pt idx="1186">
                  <c:v>0.08</c:v>
                </c:pt>
                <c:pt idx="1187">
                  <c:v>0.01</c:v>
                </c:pt>
                <c:pt idx="1188">
                  <c:v>0.06</c:v>
                </c:pt>
                <c:pt idx="1189">
                  <c:v>0.51</c:v>
                </c:pt>
                <c:pt idx="1190">
                  <c:v>0.27</c:v>
                </c:pt>
                <c:pt idx="1191">
                  <c:v>0.11</c:v>
                </c:pt>
                <c:pt idx="1192">
                  <c:v>0.01</c:v>
                </c:pt>
                <c:pt idx="1193">
                  <c:v>0.09</c:v>
                </c:pt>
                <c:pt idx="1194">
                  <c:v>0.01</c:v>
                </c:pt>
                <c:pt idx="1195">
                  <c:v>0.01</c:v>
                </c:pt>
                <c:pt idx="1196">
                  <c:v>0.02</c:v>
                </c:pt>
                <c:pt idx="1197">
                  <c:v>0.02</c:v>
                </c:pt>
                <c:pt idx="1198">
                  <c:v>0.01</c:v>
                </c:pt>
                <c:pt idx="1199">
                  <c:v>0.06</c:v>
                </c:pt>
                <c:pt idx="1200">
                  <c:v>0.05</c:v>
                </c:pt>
                <c:pt idx="1201">
                  <c:v>0.02</c:v>
                </c:pt>
                <c:pt idx="1202">
                  <c:v>0.01</c:v>
                </c:pt>
                <c:pt idx="1203">
                  <c:v>0.02</c:v>
                </c:pt>
                <c:pt idx="1204">
                  <c:v>0.02</c:v>
                </c:pt>
                <c:pt idx="1205">
                  <c:v>0.04</c:v>
                </c:pt>
                <c:pt idx="1206">
                  <c:v>0.03</c:v>
                </c:pt>
                <c:pt idx="1207">
                  <c:v>0.01</c:v>
                </c:pt>
                <c:pt idx="1208">
                  <c:v>0.02</c:v>
                </c:pt>
                <c:pt idx="1209">
                  <c:v>0.05</c:v>
                </c:pt>
                <c:pt idx="1210">
                  <c:v>0.01</c:v>
                </c:pt>
                <c:pt idx="1211">
                  <c:v>0.11</c:v>
                </c:pt>
                <c:pt idx="1212">
                  <c:v>0.01</c:v>
                </c:pt>
                <c:pt idx="1213">
                  <c:v>0.04</c:v>
                </c:pt>
                <c:pt idx="1214">
                  <c:v>0.03</c:v>
                </c:pt>
                <c:pt idx="1215">
                  <c:v>0.02</c:v>
                </c:pt>
                <c:pt idx="1216">
                  <c:v>0.01</c:v>
                </c:pt>
                <c:pt idx="1217">
                  <c:v>0.02</c:v>
                </c:pt>
                <c:pt idx="1218">
                  <c:v>0.01</c:v>
                </c:pt>
                <c:pt idx="1219">
                  <c:v>0.01</c:v>
                </c:pt>
                <c:pt idx="1220">
                  <c:v>0.01</c:v>
                </c:pt>
                <c:pt idx="1221">
                  <c:v>0.05</c:v>
                </c:pt>
                <c:pt idx="1222">
                  <c:v>0.01</c:v>
                </c:pt>
                <c:pt idx="1223">
                  <c:v>0.01</c:v>
                </c:pt>
                <c:pt idx="1224">
                  <c:v>0.02</c:v>
                </c:pt>
                <c:pt idx="1225">
                  <c:v>0.01</c:v>
                </c:pt>
                <c:pt idx="1226">
                  <c:v>0.01</c:v>
                </c:pt>
                <c:pt idx="1227">
                  <c:v>0.04</c:v>
                </c:pt>
                <c:pt idx="1228">
                  <c:v>0.02</c:v>
                </c:pt>
                <c:pt idx="1229">
                  <c:v>0.01</c:v>
                </c:pt>
                <c:pt idx="1230">
                  <c:v>0.05</c:v>
                </c:pt>
                <c:pt idx="1231">
                  <c:v>0.01</c:v>
                </c:pt>
                <c:pt idx="1232">
                  <c:v>0.01</c:v>
                </c:pt>
                <c:pt idx="1233">
                  <c:v>0.04</c:v>
                </c:pt>
                <c:pt idx="1234">
                  <c:v>0.04</c:v>
                </c:pt>
                <c:pt idx="1235">
                  <c:v>0.02</c:v>
                </c:pt>
                <c:pt idx="1236">
                  <c:v>0.04</c:v>
                </c:pt>
                <c:pt idx="1237">
                  <c:v>0.04</c:v>
                </c:pt>
                <c:pt idx="1238">
                  <c:v>0.05</c:v>
                </c:pt>
                <c:pt idx="1239">
                  <c:v>0.01</c:v>
                </c:pt>
                <c:pt idx="1240">
                  <c:v>0.04</c:v>
                </c:pt>
                <c:pt idx="1241">
                  <c:v>0.03</c:v>
                </c:pt>
                <c:pt idx="1242">
                  <c:v>7.0000000000000007E-2</c:v>
                </c:pt>
                <c:pt idx="1243">
                  <c:v>0.01</c:v>
                </c:pt>
                <c:pt idx="1244">
                  <c:v>0.04</c:v>
                </c:pt>
                <c:pt idx="1245">
                  <c:v>0.01</c:v>
                </c:pt>
                <c:pt idx="1246">
                  <c:v>0.04</c:v>
                </c:pt>
                <c:pt idx="1247">
                  <c:v>0.01</c:v>
                </c:pt>
                <c:pt idx="1248">
                  <c:v>0.25</c:v>
                </c:pt>
                <c:pt idx="1249">
                  <c:v>0.05</c:v>
                </c:pt>
                <c:pt idx="1250">
                  <c:v>0.03</c:v>
                </c:pt>
                <c:pt idx="1251">
                  <c:v>0.02</c:v>
                </c:pt>
                <c:pt idx="1252">
                  <c:v>0.01</c:v>
                </c:pt>
                <c:pt idx="1253">
                  <c:v>0.25</c:v>
                </c:pt>
                <c:pt idx="1254">
                  <c:v>0.05</c:v>
                </c:pt>
                <c:pt idx="1255">
                  <c:v>0.01</c:v>
                </c:pt>
                <c:pt idx="1256">
                  <c:v>0.01</c:v>
                </c:pt>
                <c:pt idx="1257">
                  <c:v>0.48</c:v>
                </c:pt>
                <c:pt idx="1258">
                  <c:v>7.0000000000000007E-2</c:v>
                </c:pt>
                <c:pt idx="1259">
                  <c:v>0.01</c:v>
                </c:pt>
                <c:pt idx="1260">
                  <c:v>0.04</c:v>
                </c:pt>
                <c:pt idx="1261">
                  <c:v>0.06</c:v>
                </c:pt>
                <c:pt idx="1262">
                  <c:v>0.03</c:v>
                </c:pt>
                <c:pt idx="1263">
                  <c:v>0.04</c:v>
                </c:pt>
                <c:pt idx="1264">
                  <c:v>0.08</c:v>
                </c:pt>
                <c:pt idx="1265">
                  <c:v>0.23</c:v>
                </c:pt>
                <c:pt idx="1266">
                  <c:v>0.12</c:v>
                </c:pt>
                <c:pt idx="1267">
                  <c:v>0.01</c:v>
                </c:pt>
                <c:pt idx="1268">
                  <c:v>0.01</c:v>
                </c:pt>
                <c:pt idx="1269">
                  <c:v>0.02</c:v>
                </c:pt>
                <c:pt idx="1270">
                  <c:v>0.08</c:v>
                </c:pt>
                <c:pt idx="1271">
                  <c:v>0.1</c:v>
                </c:pt>
                <c:pt idx="1272">
                  <c:v>0.02</c:v>
                </c:pt>
                <c:pt idx="1273">
                  <c:v>0.37</c:v>
                </c:pt>
                <c:pt idx="1274">
                  <c:v>0.03</c:v>
                </c:pt>
                <c:pt idx="1275">
                  <c:v>0.01</c:v>
                </c:pt>
                <c:pt idx="1276">
                  <c:v>0.02</c:v>
                </c:pt>
                <c:pt idx="1277">
                  <c:v>0.05</c:v>
                </c:pt>
                <c:pt idx="1278">
                  <c:v>7.0000000000000007E-2</c:v>
                </c:pt>
                <c:pt idx="1279">
                  <c:v>0.01</c:v>
                </c:pt>
                <c:pt idx="1280">
                  <c:v>0.01</c:v>
                </c:pt>
                <c:pt idx="1281">
                  <c:v>0.02</c:v>
                </c:pt>
                <c:pt idx="1282">
                  <c:v>0.01</c:v>
                </c:pt>
                <c:pt idx="1283">
                  <c:v>0.08</c:v>
                </c:pt>
                <c:pt idx="1284">
                  <c:v>0.41</c:v>
                </c:pt>
                <c:pt idx="1285">
                  <c:v>0.05</c:v>
                </c:pt>
                <c:pt idx="1286">
                  <c:v>0.01</c:v>
                </c:pt>
                <c:pt idx="1287">
                  <c:v>0.01</c:v>
                </c:pt>
                <c:pt idx="1288">
                  <c:v>0.01</c:v>
                </c:pt>
                <c:pt idx="1289">
                  <c:v>0.06</c:v>
                </c:pt>
                <c:pt idx="1290">
                  <c:v>0.06</c:v>
                </c:pt>
                <c:pt idx="1291">
                  <c:v>0.06</c:v>
                </c:pt>
                <c:pt idx="1292">
                  <c:v>0.02</c:v>
                </c:pt>
                <c:pt idx="1293">
                  <c:v>0.03</c:v>
                </c:pt>
                <c:pt idx="1294">
                  <c:v>0.02</c:v>
                </c:pt>
                <c:pt idx="1295">
                  <c:v>0.02</c:v>
                </c:pt>
                <c:pt idx="1296">
                  <c:v>0.01</c:v>
                </c:pt>
                <c:pt idx="1297">
                  <c:v>0.35</c:v>
                </c:pt>
                <c:pt idx="1298">
                  <c:v>0.04</c:v>
                </c:pt>
                <c:pt idx="1299">
                  <c:v>0.02</c:v>
                </c:pt>
                <c:pt idx="1300">
                  <c:v>0.02</c:v>
                </c:pt>
                <c:pt idx="1301">
                  <c:v>0.12</c:v>
                </c:pt>
                <c:pt idx="1302">
                  <c:v>0.02</c:v>
                </c:pt>
                <c:pt idx="1303">
                  <c:v>0.04</c:v>
                </c:pt>
                <c:pt idx="1304">
                  <c:v>0.01</c:v>
                </c:pt>
                <c:pt idx="1305">
                  <c:v>0.06</c:v>
                </c:pt>
                <c:pt idx="1306">
                  <c:v>0.02</c:v>
                </c:pt>
                <c:pt idx="1307">
                  <c:v>0.02</c:v>
                </c:pt>
                <c:pt idx="1308">
                  <c:v>0.11</c:v>
                </c:pt>
                <c:pt idx="1309">
                  <c:v>0.01</c:v>
                </c:pt>
                <c:pt idx="1310">
                  <c:v>0.11</c:v>
                </c:pt>
                <c:pt idx="1311">
                  <c:v>0.17</c:v>
                </c:pt>
                <c:pt idx="1312">
                  <c:v>0.01</c:v>
                </c:pt>
                <c:pt idx="1313">
                  <c:v>0.02</c:v>
                </c:pt>
                <c:pt idx="1314">
                  <c:v>0.03</c:v>
                </c:pt>
                <c:pt idx="1315">
                  <c:v>0.18</c:v>
                </c:pt>
                <c:pt idx="1316">
                  <c:v>0.05</c:v>
                </c:pt>
                <c:pt idx="1317">
                  <c:v>0.01</c:v>
                </c:pt>
                <c:pt idx="1318">
                  <c:v>0.06</c:v>
                </c:pt>
                <c:pt idx="1319">
                  <c:v>0.05</c:v>
                </c:pt>
                <c:pt idx="1320">
                  <c:v>0.01</c:v>
                </c:pt>
                <c:pt idx="1321">
                  <c:v>0.01</c:v>
                </c:pt>
                <c:pt idx="1322">
                  <c:v>0.02</c:v>
                </c:pt>
                <c:pt idx="1323">
                  <c:v>0.01</c:v>
                </c:pt>
                <c:pt idx="1324">
                  <c:v>0.02</c:v>
                </c:pt>
                <c:pt idx="1325">
                  <c:v>0.01</c:v>
                </c:pt>
                <c:pt idx="1326">
                  <c:v>0.05</c:v>
                </c:pt>
                <c:pt idx="1327">
                  <c:v>0.01</c:v>
                </c:pt>
                <c:pt idx="1328">
                  <c:v>0.01</c:v>
                </c:pt>
                <c:pt idx="1329">
                  <c:v>0.01</c:v>
                </c:pt>
                <c:pt idx="1330">
                  <c:v>0.02</c:v>
                </c:pt>
                <c:pt idx="1331">
                  <c:v>0.01</c:v>
                </c:pt>
                <c:pt idx="1332">
                  <c:v>0.01</c:v>
                </c:pt>
                <c:pt idx="1333">
                  <c:v>0.02</c:v>
                </c:pt>
                <c:pt idx="1334">
                  <c:v>0.01</c:v>
                </c:pt>
                <c:pt idx="1335">
                  <c:v>0.01</c:v>
                </c:pt>
                <c:pt idx="1336">
                  <c:v>0.04</c:v>
                </c:pt>
                <c:pt idx="1337">
                  <c:v>0.12</c:v>
                </c:pt>
                <c:pt idx="1338">
                  <c:v>0.03</c:v>
                </c:pt>
                <c:pt idx="1339">
                  <c:v>0.03</c:v>
                </c:pt>
                <c:pt idx="1340">
                  <c:v>0.01</c:v>
                </c:pt>
                <c:pt idx="1341">
                  <c:v>0.02</c:v>
                </c:pt>
                <c:pt idx="1342">
                  <c:v>0.04</c:v>
                </c:pt>
                <c:pt idx="1343">
                  <c:v>0.06</c:v>
                </c:pt>
                <c:pt idx="1344">
                  <c:v>0.01</c:v>
                </c:pt>
                <c:pt idx="1345">
                  <c:v>0.02</c:v>
                </c:pt>
                <c:pt idx="1346">
                  <c:v>0.02</c:v>
                </c:pt>
                <c:pt idx="1347">
                  <c:v>0.01</c:v>
                </c:pt>
                <c:pt idx="1348">
                  <c:v>0.16</c:v>
                </c:pt>
                <c:pt idx="1349">
                  <c:v>0.01</c:v>
                </c:pt>
                <c:pt idx="1350">
                  <c:v>0.02</c:v>
                </c:pt>
                <c:pt idx="1351">
                  <c:v>0.01</c:v>
                </c:pt>
                <c:pt idx="1352">
                  <c:v>0.01</c:v>
                </c:pt>
                <c:pt idx="1353">
                  <c:v>0.02</c:v>
                </c:pt>
                <c:pt idx="1354">
                  <c:v>0.01</c:v>
                </c:pt>
                <c:pt idx="1355">
                  <c:v>0.02</c:v>
                </c:pt>
                <c:pt idx="1356">
                  <c:v>0.02</c:v>
                </c:pt>
                <c:pt idx="1357">
                  <c:v>0.08</c:v>
                </c:pt>
                <c:pt idx="1358">
                  <c:v>0.19</c:v>
                </c:pt>
                <c:pt idx="1359">
                  <c:v>0.06</c:v>
                </c:pt>
                <c:pt idx="1360">
                  <c:v>0.01</c:v>
                </c:pt>
                <c:pt idx="1361">
                  <c:v>0.05</c:v>
                </c:pt>
                <c:pt idx="1362">
                  <c:v>0.13</c:v>
                </c:pt>
                <c:pt idx="1363">
                  <c:v>0.34</c:v>
                </c:pt>
                <c:pt idx="1364">
                  <c:v>0.02</c:v>
                </c:pt>
                <c:pt idx="1365">
                  <c:v>0.11</c:v>
                </c:pt>
                <c:pt idx="1366">
                  <c:v>0.01</c:v>
                </c:pt>
                <c:pt idx="1367">
                  <c:v>0.03</c:v>
                </c:pt>
                <c:pt idx="1368">
                  <c:v>0.01</c:v>
                </c:pt>
                <c:pt idx="1369">
                  <c:v>0.01</c:v>
                </c:pt>
                <c:pt idx="1370">
                  <c:v>0.04</c:v>
                </c:pt>
                <c:pt idx="1371">
                  <c:v>0.04</c:v>
                </c:pt>
                <c:pt idx="1372">
                  <c:v>0.01</c:v>
                </c:pt>
                <c:pt idx="1373">
                  <c:v>0.01</c:v>
                </c:pt>
                <c:pt idx="1374">
                  <c:v>0.01</c:v>
                </c:pt>
                <c:pt idx="1375">
                  <c:v>0.01</c:v>
                </c:pt>
                <c:pt idx="1376">
                  <c:v>0.03</c:v>
                </c:pt>
                <c:pt idx="1377">
                  <c:v>0.01</c:v>
                </c:pt>
                <c:pt idx="1378">
                  <c:v>0.01</c:v>
                </c:pt>
                <c:pt idx="1379">
                  <c:v>0.01</c:v>
                </c:pt>
                <c:pt idx="1380">
                  <c:v>0.01</c:v>
                </c:pt>
                <c:pt idx="1381">
                  <c:v>0.02</c:v>
                </c:pt>
                <c:pt idx="1382">
                  <c:v>0.02</c:v>
                </c:pt>
                <c:pt idx="1383">
                  <c:v>0.02</c:v>
                </c:pt>
                <c:pt idx="1384">
                  <c:v>0.02</c:v>
                </c:pt>
                <c:pt idx="1385">
                  <c:v>0.02</c:v>
                </c:pt>
                <c:pt idx="1386">
                  <c:v>0.01</c:v>
                </c:pt>
                <c:pt idx="1387">
                  <c:v>0.01</c:v>
                </c:pt>
                <c:pt idx="1388">
                  <c:v>0.01</c:v>
                </c:pt>
                <c:pt idx="1389">
                  <c:v>0.02</c:v>
                </c:pt>
                <c:pt idx="1390">
                  <c:v>0.04</c:v>
                </c:pt>
                <c:pt idx="1391">
                  <c:v>0.03</c:v>
                </c:pt>
                <c:pt idx="1392">
                  <c:v>0.01</c:v>
                </c:pt>
                <c:pt idx="1393">
                  <c:v>0.01</c:v>
                </c:pt>
                <c:pt idx="1394">
                  <c:v>0.03</c:v>
                </c:pt>
                <c:pt idx="1395">
                  <c:v>0.04</c:v>
                </c:pt>
                <c:pt idx="1396">
                  <c:v>0.05</c:v>
                </c:pt>
                <c:pt idx="1397">
                  <c:v>0.09</c:v>
                </c:pt>
                <c:pt idx="1398">
                  <c:v>0.01</c:v>
                </c:pt>
                <c:pt idx="1399">
                  <c:v>0.02</c:v>
                </c:pt>
                <c:pt idx="1400">
                  <c:v>0.01</c:v>
                </c:pt>
                <c:pt idx="1401">
                  <c:v>0.02</c:v>
                </c:pt>
                <c:pt idx="1402">
                  <c:v>0.01</c:v>
                </c:pt>
                <c:pt idx="1403">
                  <c:v>0.01</c:v>
                </c:pt>
                <c:pt idx="1404">
                  <c:v>0.03</c:v>
                </c:pt>
                <c:pt idx="1405">
                  <c:v>0.04</c:v>
                </c:pt>
                <c:pt idx="1406">
                  <c:v>0.05</c:v>
                </c:pt>
                <c:pt idx="1407">
                  <c:v>0.01</c:v>
                </c:pt>
                <c:pt idx="1408">
                  <c:v>0.01</c:v>
                </c:pt>
                <c:pt idx="1409">
                  <c:v>0.01</c:v>
                </c:pt>
                <c:pt idx="1410">
                  <c:v>0.03</c:v>
                </c:pt>
                <c:pt idx="1411">
                  <c:v>0.01</c:v>
                </c:pt>
                <c:pt idx="1412">
                  <c:v>0.01</c:v>
                </c:pt>
                <c:pt idx="1413">
                  <c:v>0.03</c:v>
                </c:pt>
                <c:pt idx="1414">
                  <c:v>0.02</c:v>
                </c:pt>
                <c:pt idx="1415">
                  <c:v>0.01</c:v>
                </c:pt>
                <c:pt idx="1416">
                  <c:v>0.02</c:v>
                </c:pt>
                <c:pt idx="1417">
                  <c:v>0.01</c:v>
                </c:pt>
                <c:pt idx="1418">
                  <c:v>0.02</c:v>
                </c:pt>
                <c:pt idx="1419">
                  <c:v>0.02</c:v>
                </c:pt>
                <c:pt idx="1420">
                  <c:v>0.11</c:v>
                </c:pt>
                <c:pt idx="1421">
                  <c:v>0.02</c:v>
                </c:pt>
                <c:pt idx="1422">
                  <c:v>0.02</c:v>
                </c:pt>
                <c:pt idx="1423">
                  <c:v>0.05</c:v>
                </c:pt>
                <c:pt idx="1424">
                  <c:v>0.01</c:v>
                </c:pt>
                <c:pt idx="1425">
                  <c:v>0.01</c:v>
                </c:pt>
                <c:pt idx="1426">
                  <c:v>0.01</c:v>
                </c:pt>
                <c:pt idx="1427">
                  <c:v>0.01</c:v>
                </c:pt>
                <c:pt idx="1428">
                  <c:v>0.02</c:v>
                </c:pt>
                <c:pt idx="1429">
                  <c:v>0.01</c:v>
                </c:pt>
                <c:pt idx="1430">
                  <c:v>0.02</c:v>
                </c:pt>
                <c:pt idx="1431">
                  <c:v>0.02</c:v>
                </c:pt>
                <c:pt idx="1432">
                  <c:v>0.01</c:v>
                </c:pt>
                <c:pt idx="1433">
                  <c:v>7.0000000000000007E-2</c:v>
                </c:pt>
                <c:pt idx="1434">
                  <c:v>0.05</c:v>
                </c:pt>
                <c:pt idx="1435">
                  <c:v>0.01</c:v>
                </c:pt>
                <c:pt idx="1436">
                  <c:v>0.02</c:v>
                </c:pt>
                <c:pt idx="1437">
                  <c:v>0.01</c:v>
                </c:pt>
                <c:pt idx="1438">
                  <c:v>0.02</c:v>
                </c:pt>
                <c:pt idx="1439">
                  <c:v>0.02</c:v>
                </c:pt>
                <c:pt idx="1440">
                  <c:v>0.01</c:v>
                </c:pt>
                <c:pt idx="1441">
                  <c:v>0.01</c:v>
                </c:pt>
                <c:pt idx="1442">
                  <c:v>0.01</c:v>
                </c:pt>
                <c:pt idx="1443">
                  <c:v>0.01</c:v>
                </c:pt>
                <c:pt idx="1444">
                  <c:v>0.04</c:v>
                </c:pt>
                <c:pt idx="1445">
                  <c:v>0.01</c:v>
                </c:pt>
                <c:pt idx="1446">
                  <c:v>0.02</c:v>
                </c:pt>
                <c:pt idx="1447">
                  <c:v>0.01</c:v>
                </c:pt>
                <c:pt idx="1448">
                  <c:v>0.01</c:v>
                </c:pt>
                <c:pt idx="1449">
                  <c:v>0.04</c:v>
                </c:pt>
                <c:pt idx="1450">
                  <c:v>0.02</c:v>
                </c:pt>
                <c:pt idx="1451">
                  <c:v>0.01</c:v>
                </c:pt>
                <c:pt idx="1452">
                  <c:v>0.08</c:v>
                </c:pt>
                <c:pt idx="1453">
                  <c:v>0.01</c:v>
                </c:pt>
                <c:pt idx="1454">
                  <c:v>0.02</c:v>
                </c:pt>
                <c:pt idx="1455">
                  <c:v>0.01</c:v>
                </c:pt>
                <c:pt idx="1456">
                  <c:v>0.06</c:v>
                </c:pt>
                <c:pt idx="1457">
                  <c:v>0.01</c:v>
                </c:pt>
                <c:pt idx="1458">
                  <c:v>0.03</c:v>
                </c:pt>
                <c:pt idx="1459">
                  <c:v>0.04</c:v>
                </c:pt>
                <c:pt idx="1460">
                  <c:v>0.03</c:v>
                </c:pt>
                <c:pt idx="1461">
                  <c:v>0.01</c:v>
                </c:pt>
                <c:pt idx="1462">
                  <c:v>7.0000000000000007E-2</c:v>
                </c:pt>
                <c:pt idx="1463">
                  <c:v>0.02</c:v>
                </c:pt>
                <c:pt idx="1464">
                  <c:v>0.02</c:v>
                </c:pt>
                <c:pt idx="1465">
                  <c:v>0.01</c:v>
                </c:pt>
                <c:pt idx="1466">
                  <c:v>0.02</c:v>
                </c:pt>
                <c:pt idx="1467">
                  <c:v>0.03</c:v>
                </c:pt>
                <c:pt idx="1468">
                  <c:v>0.01</c:v>
                </c:pt>
                <c:pt idx="1469">
                  <c:v>0.01</c:v>
                </c:pt>
                <c:pt idx="1470">
                  <c:v>0.01</c:v>
                </c:pt>
                <c:pt idx="1471">
                  <c:v>0.01</c:v>
                </c:pt>
                <c:pt idx="1472">
                  <c:v>0.11</c:v>
                </c:pt>
                <c:pt idx="1473">
                  <c:v>0.05</c:v>
                </c:pt>
                <c:pt idx="1474">
                  <c:v>0.01</c:v>
                </c:pt>
                <c:pt idx="1475">
                  <c:v>0.01</c:v>
                </c:pt>
                <c:pt idx="1476">
                  <c:v>0.02</c:v>
                </c:pt>
                <c:pt idx="1477">
                  <c:v>0.01</c:v>
                </c:pt>
                <c:pt idx="1478">
                  <c:v>0.04</c:v>
                </c:pt>
                <c:pt idx="1479">
                  <c:v>0.01</c:v>
                </c:pt>
                <c:pt idx="1480">
                  <c:v>0.02</c:v>
                </c:pt>
                <c:pt idx="1481">
                  <c:v>0.01</c:v>
                </c:pt>
                <c:pt idx="1482">
                  <c:v>0.01</c:v>
                </c:pt>
                <c:pt idx="1483">
                  <c:v>0.01</c:v>
                </c:pt>
                <c:pt idx="1484">
                  <c:v>0.01</c:v>
                </c:pt>
                <c:pt idx="1485">
                  <c:v>0.02</c:v>
                </c:pt>
                <c:pt idx="1486">
                  <c:v>0.01</c:v>
                </c:pt>
                <c:pt idx="1487">
                  <c:v>0.04</c:v>
                </c:pt>
                <c:pt idx="1488">
                  <c:v>0.01</c:v>
                </c:pt>
                <c:pt idx="1489">
                  <c:v>0.06</c:v>
                </c:pt>
                <c:pt idx="1490">
                  <c:v>0.02</c:v>
                </c:pt>
                <c:pt idx="1491">
                  <c:v>0.03</c:v>
                </c:pt>
                <c:pt idx="1492">
                  <c:v>0.01</c:v>
                </c:pt>
                <c:pt idx="1493">
                  <c:v>0.01</c:v>
                </c:pt>
                <c:pt idx="1494">
                  <c:v>0.01</c:v>
                </c:pt>
                <c:pt idx="1495">
                  <c:v>0.02</c:v>
                </c:pt>
                <c:pt idx="1496">
                  <c:v>0.01</c:v>
                </c:pt>
                <c:pt idx="1497">
                  <c:v>0.04</c:v>
                </c:pt>
                <c:pt idx="1498">
                  <c:v>0.01</c:v>
                </c:pt>
                <c:pt idx="1499">
                  <c:v>0.01</c:v>
                </c:pt>
                <c:pt idx="1500">
                  <c:v>0.03</c:v>
                </c:pt>
                <c:pt idx="1501">
                  <c:v>0.01</c:v>
                </c:pt>
                <c:pt idx="1502">
                  <c:v>0.01</c:v>
                </c:pt>
                <c:pt idx="1503">
                  <c:v>0.01</c:v>
                </c:pt>
                <c:pt idx="1504">
                  <c:v>0.01</c:v>
                </c:pt>
                <c:pt idx="1505">
                  <c:v>0.02</c:v>
                </c:pt>
                <c:pt idx="1506">
                  <c:v>0.01</c:v>
                </c:pt>
                <c:pt idx="1507">
                  <c:v>0.01</c:v>
                </c:pt>
                <c:pt idx="1508">
                  <c:v>0.06</c:v>
                </c:pt>
                <c:pt idx="1509">
                  <c:v>0.01</c:v>
                </c:pt>
                <c:pt idx="1510">
                  <c:v>0.01</c:v>
                </c:pt>
                <c:pt idx="1511">
                  <c:v>0.01</c:v>
                </c:pt>
                <c:pt idx="1512">
                  <c:v>0.02</c:v>
                </c:pt>
                <c:pt idx="1513">
                  <c:v>0.02</c:v>
                </c:pt>
                <c:pt idx="1514">
                  <c:v>0.01</c:v>
                </c:pt>
                <c:pt idx="1515">
                  <c:v>0.01</c:v>
                </c:pt>
                <c:pt idx="1516">
                  <c:v>0.03</c:v>
                </c:pt>
                <c:pt idx="1517">
                  <c:v>0.01</c:v>
                </c:pt>
                <c:pt idx="1518">
                  <c:v>0.01</c:v>
                </c:pt>
                <c:pt idx="1519">
                  <c:v>0.01</c:v>
                </c:pt>
                <c:pt idx="1520">
                  <c:v>0.02</c:v>
                </c:pt>
                <c:pt idx="1521">
                  <c:v>0.04</c:v>
                </c:pt>
                <c:pt idx="1522">
                  <c:v>0.01</c:v>
                </c:pt>
                <c:pt idx="1523">
                  <c:v>0.02</c:v>
                </c:pt>
                <c:pt idx="1524">
                  <c:v>0.01</c:v>
                </c:pt>
                <c:pt idx="1525">
                  <c:v>0.02</c:v>
                </c:pt>
                <c:pt idx="1526">
                  <c:v>0.03</c:v>
                </c:pt>
                <c:pt idx="1527">
                  <c:v>0.01</c:v>
                </c:pt>
                <c:pt idx="1528">
                  <c:v>0.05</c:v>
                </c:pt>
                <c:pt idx="1529">
                  <c:v>0.01</c:v>
                </c:pt>
                <c:pt idx="1530">
                  <c:v>0.02</c:v>
                </c:pt>
                <c:pt idx="1531">
                  <c:v>0.01</c:v>
                </c:pt>
                <c:pt idx="1532">
                  <c:v>0.02</c:v>
                </c:pt>
                <c:pt idx="1533">
                  <c:v>0.02</c:v>
                </c:pt>
                <c:pt idx="1534">
                  <c:v>0.01</c:v>
                </c:pt>
                <c:pt idx="1535">
                  <c:v>0.01</c:v>
                </c:pt>
                <c:pt idx="1536">
                  <c:v>0.03</c:v>
                </c:pt>
                <c:pt idx="1537">
                  <c:v>0.02</c:v>
                </c:pt>
                <c:pt idx="1538">
                  <c:v>0.04</c:v>
                </c:pt>
                <c:pt idx="1539">
                  <c:v>0.01</c:v>
                </c:pt>
                <c:pt idx="1540">
                  <c:v>0.01</c:v>
                </c:pt>
                <c:pt idx="1541">
                  <c:v>0.08</c:v>
                </c:pt>
                <c:pt idx="1542">
                  <c:v>0.02</c:v>
                </c:pt>
                <c:pt idx="1543">
                  <c:v>0.02</c:v>
                </c:pt>
                <c:pt idx="1544">
                  <c:v>0.01</c:v>
                </c:pt>
                <c:pt idx="1545">
                  <c:v>0.03</c:v>
                </c:pt>
                <c:pt idx="1546">
                  <c:v>0.01</c:v>
                </c:pt>
                <c:pt idx="1547">
                  <c:v>0.01</c:v>
                </c:pt>
                <c:pt idx="1548">
                  <c:v>0.06</c:v>
                </c:pt>
                <c:pt idx="1549">
                  <c:v>0.01</c:v>
                </c:pt>
                <c:pt idx="1550">
                  <c:v>0.01</c:v>
                </c:pt>
                <c:pt idx="1551">
                  <c:v>0.02</c:v>
                </c:pt>
                <c:pt idx="1552">
                  <c:v>0.04</c:v>
                </c:pt>
                <c:pt idx="1553">
                  <c:v>0.01</c:v>
                </c:pt>
                <c:pt idx="1554">
                  <c:v>0.01</c:v>
                </c:pt>
                <c:pt idx="1555">
                  <c:v>0.01</c:v>
                </c:pt>
                <c:pt idx="1556">
                  <c:v>0.04</c:v>
                </c:pt>
                <c:pt idx="1557">
                  <c:v>0.04</c:v>
                </c:pt>
                <c:pt idx="1558">
                  <c:v>0.02</c:v>
                </c:pt>
                <c:pt idx="1559">
                  <c:v>0.03</c:v>
                </c:pt>
                <c:pt idx="1560">
                  <c:v>0.02</c:v>
                </c:pt>
                <c:pt idx="1561">
                  <c:v>0.02</c:v>
                </c:pt>
                <c:pt idx="1562">
                  <c:v>0.01</c:v>
                </c:pt>
                <c:pt idx="1563">
                  <c:v>0.01</c:v>
                </c:pt>
                <c:pt idx="1564">
                  <c:v>0.01</c:v>
                </c:pt>
                <c:pt idx="1565">
                  <c:v>0.08</c:v>
                </c:pt>
                <c:pt idx="1566">
                  <c:v>0.01</c:v>
                </c:pt>
                <c:pt idx="1567">
                  <c:v>0.01</c:v>
                </c:pt>
                <c:pt idx="1568">
                  <c:v>0.09</c:v>
                </c:pt>
                <c:pt idx="1569">
                  <c:v>0.01</c:v>
                </c:pt>
                <c:pt idx="1570">
                  <c:v>0.04</c:v>
                </c:pt>
                <c:pt idx="1571">
                  <c:v>0.01</c:v>
                </c:pt>
                <c:pt idx="1572">
                  <c:v>0.01</c:v>
                </c:pt>
                <c:pt idx="1573">
                  <c:v>0.01</c:v>
                </c:pt>
                <c:pt idx="1574">
                  <c:v>0.01</c:v>
                </c:pt>
                <c:pt idx="1575">
                  <c:v>0.01</c:v>
                </c:pt>
                <c:pt idx="1576">
                  <c:v>0.03</c:v>
                </c:pt>
                <c:pt idx="1577">
                  <c:v>0.01</c:v>
                </c:pt>
                <c:pt idx="1578">
                  <c:v>0.03</c:v>
                </c:pt>
                <c:pt idx="1579">
                  <c:v>0.01</c:v>
                </c:pt>
                <c:pt idx="1580">
                  <c:v>0.01</c:v>
                </c:pt>
                <c:pt idx="1581">
                  <c:v>0.02</c:v>
                </c:pt>
                <c:pt idx="1582">
                  <c:v>0.01</c:v>
                </c:pt>
                <c:pt idx="1583">
                  <c:v>0.01</c:v>
                </c:pt>
                <c:pt idx="1584">
                  <c:v>0.01</c:v>
                </c:pt>
                <c:pt idx="1585">
                  <c:v>0.01</c:v>
                </c:pt>
                <c:pt idx="1586">
                  <c:v>0.03</c:v>
                </c:pt>
                <c:pt idx="1587">
                  <c:v>0.01</c:v>
                </c:pt>
                <c:pt idx="1588">
                  <c:v>0.01</c:v>
                </c:pt>
                <c:pt idx="1589">
                  <c:v>0.02</c:v>
                </c:pt>
                <c:pt idx="1590">
                  <c:v>0.01</c:v>
                </c:pt>
                <c:pt idx="1591">
                  <c:v>0.01</c:v>
                </c:pt>
                <c:pt idx="1592">
                  <c:v>0.01</c:v>
                </c:pt>
                <c:pt idx="1593">
                  <c:v>0.01</c:v>
                </c:pt>
                <c:pt idx="1594">
                  <c:v>0.01</c:v>
                </c:pt>
                <c:pt idx="1595">
                  <c:v>0.01</c:v>
                </c:pt>
                <c:pt idx="1596">
                  <c:v>0.01</c:v>
                </c:pt>
                <c:pt idx="1597">
                  <c:v>0.02</c:v>
                </c:pt>
                <c:pt idx="1598">
                  <c:v>0.01</c:v>
                </c:pt>
                <c:pt idx="1599">
                  <c:v>0.03</c:v>
                </c:pt>
                <c:pt idx="1600">
                  <c:v>0.01</c:v>
                </c:pt>
                <c:pt idx="1601">
                  <c:v>0.01</c:v>
                </c:pt>
                <c:pt idx="1602">
                  <c:v>0.01</c:v>
                </c:pt>
                <c:pt idx="1603">
                  <c:v>0.02</c:v>
                </c:pt>
                <c:pt idx="1604">
                  <c:v>0.01</c:v>
                </c:pt>
                <c:pt idx="1605">
                  <c:v>0.02</c:v>
                </c:pt>
                <c:pt idx="1606">
                  <c:v>0.01</c:v>
                </c:pt>
                <c:pt idx="1607">
                  <c:v>0.01</c:v>
                </c:pt>
                <c:pt idx="1608">
                  <c:v>0.01</c:v>
                </c:pt>
                <c:pt idx="1609">
                  <c:v>0.04</c:v>
                </c:pt>
                <c:pt idx="1610">
                  <c:v>0.02</c:v>
                </c:pt>
                <c:pt idx="1611">
                  <c:v>0.01</c:v>
                </c:pt>
                <c:pt idx="1612">
                  <c:v>0.02</c:v>
                </c:pt>
                <c:pt idx="1613">
                  <c:v>0.01</c:v>
                </c:pt>
                <c:pt idx="1614">
                  <c:v>0.04</c:v>
                </c:pt>
                <c:pt idx="1615">
                  <c:v>0.01</c:v>
                </c:pt>
                <c:pt idx="1616">
                  <c:v>7.0000000000000007E-2</c:v>
                </c:pt>
                <c:pt idx="1617">
                  <c:v>0.01</c:v>
                </c:pt>
                <c:pt idx="1618">
                  <c:v>0.01</c:v>
                </c:pt>
                <c:pt idx="1619">
                  <c:v>0.01</c:v>
                </c:pt>
                <c:pt idx="1620">
                  <c:v>0.01</c:v>
                </c:pt>
                <c:pt idx="1621">
                  <c:v>0.02</c:v>
                </c:pt>
                <c:pt idx="1622">
                  <c:v>0.05</c:v>
                </c:pt>
                <c:pt idx="1623">
                  <c:v>0.01</c:v>
                </c:pt>
                <c:pt idx="1624">
                  <c:v>0.08</c:v>
                </c:pt>
                <c:pt idx="1625">
                  <c:v>0.01</c:v>
                </c:pt>
                <c:pt idx="1626">
                  <c:v>0.01</c:v>
                </c:pt>
                <c:pt idx="1627">
                  <c:v>0.03</c:v>
                </c:pt>
                <c:pt idx="1628">
                  <c:v>0.06</c:v>
                </c:pt>
                <c:pt idx="1629">
                  <c:v>0.01</c:v>
                </c:pt>
                <c:pt idx="1630">
                  <c:v>0.02</c:v>
                </c:pt>
                <c:pt idx="1631">
                  <c:v>0.01</c:v>
                </c:pt>
                <c:pt idx="1632">
                  <c:v>0.01</c:v>
                </c:pt>
                <c:pt idx="1633">
                  <c:v>0.1</c:v>
                </c:pt>
                <c:pt idx="1634">
                  <c:v>0.01</c:v>
                </c:pt>
                <c:pt idx="1635">
                  <c:v>0.01</c:v>
                </c:pt>
                <c:pt idx="1636">
                  <c:v>0.01</c:v>
                </c:pt>
                <c:pt idx="1637">
                  <c:v>0.01</c:v>
                </c:pt>
                <c:pt idx="1638">
                  <c:v>0.01</c:v>
                </c:pt>
                <c:pt idx="1639">
                  <c:v>0.03</c:v>
                </c:pt>
                <c:pt idx="1640">
                  <c:v>0.01</c:v>
                </c:pt>
                <c:pt idx="1641">
                  <c:v>0.01</c:v>
                </c:pt>
                <c:pt idx="1642">
                  <c:v>0.01</c:v>
                </c:pt>
                <c:pt idx="1643">
                  <c:v>0.03</c:v>
                </c:pt>
                <c:pt idx="1644">
                  <c:v>0.01</c:v>
                </c:pt>
                <c:pt idx="1645">
                  <c:v>0.01</c:v>
                </c:pt>
                <c:pt idx="1646">
                  <c:v>0.02</c:v>
                </c:pt>
                <c:pt idx="1647">
                  <c:v>0.03</c:v>
                </c:pt>
                <c:pt idx="1648">
                  <c:v>0.01</c:v>
                </c:pt>
                <c:pt idx="1649">
                  <c:v>0.01</c:v>
                </c:pt>
                <c:pt idx="1650">
                  <c:v>0.01</c:v>
                </c:pt>
                <c:pt idx="1651">
                  <c:v>0.01</c:v>
                </c:pt>
                <c:pt idx="1652">
                  <c:v>0.04</c:v>
                </c:pt>
                <c:pt idx="1653">
                  <c:v>0.01</c:v>
                </c:pt>
                <c:pt idx="1654">
                  <c:v>0.02</c:v>
                </c:pt>
                <c:pt idx="1655">
                  <c:v>0.01</c:v>
                </c:pt>
                <c:pt idx="1656">
                  <c:v>0.01</c:v>
                </c:pt>
                <c:pt idx="1657">
                  <c:v>0.01</c:v>
                </c:pt>
                <c:pt idx="1658">
                  <c:v>0.01</c:v>
                </c:pt>
                <c:pt idx="1659">
                  <c:v>0.01</c:v>
                </c:pt>
                <c:pt idx="1660">
                  <c:v>0.02</c:v>
                </c:pt>
                <c:pt idx="1661">
                  <c:v>0.01</c:v>
                </c:pt>
                <c:pt idx="1662">
                  <c:v>0.03</c:v>
                </c:pt>
                <c:pt idx="1663">
                  <c:v>0.02</c:v>
                </c:pt>
                <c:pt idx="1664">
                  <c:v>0.06</c:v>
                </c:pt>
                <c:pt idx="1665">
                  <c:v>0.01</c:v>
                </c:pt>
                <c:pt idx="1666">
                  <c:v>0.03</c:v>
                </c:pt>
                <c:pt idx="1667">
                  <c:v>0.01</c:v>
                </c:pt>
                <c:pt idx="1668">
                  <c:v>0.03</c:v>
                </c:pt>
                <c:pt idx="1669">
                  <c:v>0.01</c:v>
                </c:pt>
                <c:pt idx="1670">
                  <c:v>0.01</c:v>
                </c:pt>
                <c:pt idx="1671">
                  <c:v>0.03</c:v>
                </c:pt>
                <c:pt idx="1672">
                  <c:v>0.01</c:v>
                </c:pt>
                <c:pt idx="1673">
                  <c:v>0.01</c:v>
                </c:pt>
                <c:pt idx="1674">
                  <c:v>0.01</c:v>
                </c:pt>
                <c:pt idx="1675">
                  <c:v>0.01</c:v>
                </c:pt>
                <c:pt idx="1676">
                  <c:v>0.01</c:v>
                </c:pt>
                <c:pt idx="1677">
                  <c:v>0.01</c:v>
                </c:pt>
                <c:pt idx="1678">
                  <c:v>0.01</c:v>
                </c:pt>
                <c:pt idx="1679">
                  <c:v>0.01</c:v>
                </c:pt>
                <c:pt idx="1680">
                  <c:v>0.01</c:v>
                </c:pt>
                <c:pt idx="1681">
                  <c:v>0.01</c:v>
                </c:pt>
                <c:pt idx="1682">
                  <c:v>0.01</c:v>
                </c:pt>
                <c:pt idx="1683">
                  <c:v>0.01</c:v>
                </c:pt>
                <c:pt idx="1684">
                  <c:v>0.03</c:v>
                </c:pt>
                <c:pt idx="1685">
                  <c:v>0.01</c:v>
                </c:pt>
                <c:pt idx="1686">
                  <c:v>0.03</c:v>
                </c:pt>
                <c:pt idx="1687">
                  <c:v>0.03</c:v>
                </c:pt>
                <c:pt idx="1688">
                  <c:v>0.01</c:v>
                </c:pt>
                <c:pt idx="1689">
                  <c:v>0.01</c:v>
                </c:pt>
                <c:pt idx="1690">
                  <c:v>0.01</c:v>
                </c:pt>
                <c:pt idx="1691">
                  <c:v>0.01</c:v>
                </c:pt>
                <c:pt idx="1692">
                  <c:v>0.01</c:v>
                </c:pt>
                <c:pt idx="1693">
                  <c:v>0.01</c:v>
                </c:pt>
                <c:pt idx="1694">
                  <c:v>0.01</c:v>
                </c:pt>
                <c:pt idx="1695">
                  <c:v>0.01</c:v>
                </c:pt>
                <c:pt idx="1696">
                  <c:v>0.01</c:v>
                </c:pt>
                <c:pt idx="1697">
                  <c:v>0.03</c:v>
                </c:pt>
                <c:pt idx="1698">
                  <c:v>0.01</c:v>
                </c:pt>
                <c:pt idx="1699">
                  <c:v>0.03</c:v>
                </c:pt>
                <c:pt idx="1700">
                  <c:v>0.01</c:v>
                </c:pt>
                <c:pt idx="1701">
                  <c:v>0.01</c:v>
                </c:pt>
                <c:pt idx="1702">
                  <c:v>0.01</c:v>
                </c:pt>
                <c:pt idx="1703">
                  <c:v>0.01</c:v>
                </c:pt>
                <c:pt idx="1704">
                  <c:v>0.01</c:v>
                </c:pt>
                <c:pt idx="1705">
                  <c:v>0.02</c:v>
                </c:pt>
                <c:pt idx="1706">
                  <c:v>0.01</c:v>
                </c:pt>
                <c:pt idx="1707">
                  <c:v>0.01</c:v>
                </c:pt>
                <c:pt idx="1708">
                  <c:v>0.04</c:v>
                </c:pt>
                <c:pt idx="1709">
                  <c:v>0.01</c:v>
                </c:pt>
                <c:pt idx="1710">
                  <c:v>0.01</c:v>
                </c:pt>
                <c:pt idx="1711">
                  <c:v>0.01</c:v>
                </c:pt>
                <c:pt idx="1712">
                  <c:v>0.01</c:v>
                </c:pt>
                <c:pt idx="1713">
                  <c:v>0.02</c:v>
                </c:pt>
                <c:pt idx="1714">
                  <c:v>0.01</c:v>
                </c:pt>
                <c:pt idx="1715">
                  <c:v>0.01</c:v>
                </c:pt>
                <c:pt idx="1716">
                  <c:v>0.01</c:v>
                </c:pt>
                <c:pt idx="1717">
                  <c:v>0.01</c:v>
                </c:pt>
                <c:pt idx="1718">
                  <c:v>0.02</c:v>
                </c:pt>
                <c:pt idx="1719">
                  <c:v>0.01</c:v>
                </c:pt>
                <c:pt idx="1720">
                  <c:v>0.02</c:v>
                </c:pt>
                <c:pt idx="1721">
                  <c:v>0.01</c:v>
                </c:pt>
                <c:pt idx="1722">
                  <c:v>0.02</c:v>
                </c:pt>
                <c:pt idx="1723">
                  <c:v>0.01</c:v>
                </c:pt>
                <c:pt idx="1724">
                  <c:v>0.01</c:v>
                </c:pt>
                <c:pt idx="1725">
                  <c:v>0.02</c:v>
                </c:pt>
                <c:pt idx="1726">
                  <c:v>0.01</c:v>
                </c:pt>
                <c:pt idx="1727">
                  <c:v>0.01</c:v>
                </c:pt>
                <c:pt idx="1728">
                  <c:v>0.01</c:v>
                </c:pt>
                <c:pt idx="1729">
                  <c:v>0.04</c:v>
                </c:pt>
                <c:pt idx="1730">
                  <c:v>0.01</c:v>
                </c:pt>
                <c:pt idx="1731">
                  <c:v>0.01</c:v>
                </c:pt>
                <c:pt idx="1732">
                  <c:v>0.01</c:v>
                </c:pt>
                <c:pt idx="1733">
                  <c:v>0.02</c:v>
                </c:pt>
                <c:pt idx="1734">
                  <c:v>0.01</c:v>
                </c:pt>
                <c:pt idx="1735">
                  <c:v>0.01</c:v>
                </c:pt>
                <c:pt idx="1736">
                  <c:v>0.02</c:v>
                </c:pt>
                <c:pt idx="1737">
                  <c:v>0.01</c:v>
                </c:pt>
                <c:pt idx="1738">
                  <c:v>0.01</c:v>
                </c:pt>
                <c:pt idx="1739">
                  <c:v>0.03</c:v>
                </c:pt>
                <c:pt idx="1740">
                  <c:v>0.01</c:v>
                </c:pt>
                <c:pt idx="1741">
                  <c:v>0.03</c:v>
                </c:pt>
                <c:pt idx="1742">
                  <c:v>0.01</c:v>
                </c:pt>
                <c:pt idx="1743">
                  <c:v>0.01</c:v>
                </c:pt>
                <c:pt idx="1744">
                  <c:v>0.01</c:v>
                </c:pt>
                <c:pt idx="1745">
                  <c:v>0.01</c:v>
                </c:pt>
                <c:pt idx="1746">
                  <c:v>0.01</c:v>
                </c:pt>
                <c:pt idx="1747">
                  <c:v>0.01</c:v>
                </c:pt>
                <c:pt idx="1748">
                  <c:v>0.03</c:v>
                </c:pt>
                <c:pt idx="1749">
                  <c:v>0.03</c:v>
                </c:pt>
                <c:pt idx="1750">
                  <c:v>0.01</c:v>
                </c:pt>
                <c:pt idx="1751">
                  <c:v>0.01</c:v>
                </c:pt>
                <c:pt idx="1752">
                  <c:v>0.01</c:v>
                </c:pt>
                <c:pt idx="1753">
                  <c:v>0.01</c:v>
                </c:pt>
                <c:pt idx="1754">
                  <c:v>0.01</c:v>
                </c:pt>
                <c:pt idx="1755">
                  <c:v>0.01</c:v>
                </c:pt>
                <c:pt idx="1756">
                  <c:v>0.01</c:v>
                </c:pt>
                <c:pt idx="1757">
                  <c:v>0.01</c:v>
                </c:pt>
                <c:pt idx="1758">
                  <c:v>0.01</c:v>
                </c:pt>
                <c:pt idx="1759">
                  <c:v>0.01</c:v>
                </c:pt>
                <c:pt idx="1760">
                  <c:v>0.01</c:v>
                </c:pt>
                <c:pt idx="1761">
                  <c:v>0.01</c:v>
                </c:pt>
                <c:pt idx="1762">
                  <c:v>0.01</c:v>
                </c:pt>
                <c:pt idx="1763">
                  <c:v>0.03</c:v>
                </c:pt>
                <c:pt idx="1764">
                  <c:v>0.01</c:v>
                </c:pt>
                <c:pt idx="1765">
                  <c:v>0.01</c:v>
                </c:pt>
                <c:pt idx="1766">
                  <c:v>0.01</c:v>
                </c:pt>
                <c:pt idx="1767">
                  <c:v>0.01</c:v>
                </c:pt>
                <c:pt idx="1768">
                  <c:v>0.01</c:v>
                </c:pt>
                <c:pt idx="1769">
                  <c:v>0.01</c:v>
                </c:pt>
                <c:pt idx="1770">
                  <c:v>0.01</c:v>
                </c:pt>
                <c:pt idx="1771">
                  <c:v>0.01</c:v>
                </c:pt>
                <c:pt idx="1772">
                  <c:v>0.01</c:v>
                </c:pt>
                <c:pt idx="1773">
                  <c:v>0.01</c:v>
                </c:pt>
                <c:pt idx="1774">
                  <c:v>0.01</c:v>
                </c:pt>
                <c:pt idx="1775">
                  <c:v>0.02</c:v>
                </c:pt>
                <c:pt idx="1776">
                  <c:v>0.03</c:v>
                </c:pt>
                <c:pt idx="1777">
                  <c:v>0.05</c:v>
                </c:pt>
                <c:pt idx="1778">
                  <c:v>0.01</c:v>
                </c:pt>
                <c:pt idx="1779">
                  <c:v>0.01</c:v>
                </c:pt>
                <c:pt idx="1780">
                  <c:v>0.01</c:v>
                </c:pt>
                <c:pt idx="1781">
                  <c:v>0.01</c:v>
                </c:pt>
                <c:pt idx="1782">
                  <c:v>0.01</c:v>
                </c:pt>
                <c:pt idx="1783">
                  <c:v>0.01</c:v>
                </c:pt>
                <c:pt idx="1784">
                  <c:v>0.01</c:v>
                </c:pt>
                <c:pt idx="1785">
                  <c:v>0.02</c:v>
                </c:pt>
                <c:pt idx="1786">
                  <c:v>0.01</c:v>
                </c:pt>
                <c:pt idx="1787">
                  <c:v>0.01</c:v>
                </c:pt>
                <c:pt idx="1788">
                  <c:v>0.01</c:v>
                </c:pt>
                <c:pt idx="1789">
                  <c:v>0.01</c:v>
                </c:pt>
                <c:pt idx="1790">
                  <c:v>0.01</c:v>
                </c:pt>
                <c:pt idx="1791">
                  <c:v>0.01</c:v>
                </c:pt>
                <c:pt idx="1792">
                  <c:v>0.01</c:v>
                </c:pt>
                <c:pt idx="1793">
                  <c:v>0.01</c:v>
                </c:pt>
                <c:pt idx="1794">
                  <c:v>0.01</c:v>
                </c:pt>
                <c:pt idx="1795">
                  <c:v>0.01</c:v>
                </c:pt>
                <c:pt idx="1796">
                  <c:v>0.01</c:v>
                </c:pt>
                <c:pt idx="1797">
                  <c:v>0.01</c:v>
                </c:pt>
                <c:pt idx="1798">
                  <c:v>0.01</c:v>
                </c:pt>
                <c:pt idx="1799">
                  <c:v>0.01</c:v>
                </c:pt>
                <c:pt idx="1800">
                  <c:v>0.02</c:v>
                </c:pt>
                <c:pt idx="1801">
                  <c:v>0.03</c:v>
                </c:pt>
                <c:pt idx="1802">
                  <c:v>0.01</c:v>
                </c:pt>
                <c:pt idx="1803">
                  <c:v>0.01</c:v>
                </c:pt>
                <c:pt idx="1804">
                  <c:v>0.05</c:v>
                </c:pt>
                <c:pt idx="1805">
                  <c:v>0.01</c:v>
                </c:pt>
                <c:pt idx="1806">
                  <c:v>0.02</c:v>
                </c:pt>
                <c:pt idx="1807">
                  <c:v>0.01</c:v>
                </c:pt>
                <c:pt idx="1808">
                  <c:v>0.01</c:v>
                </c:pt>
                <c:pt idx="1809">
                  <c:v>0.01</c:v>
                </c:pt>
                <c:pt idx="1810">
                  <c:v>0.01</c:v>
                </c:pt>
                <c:pt idx="1811">
                  <c:v>0.01</c:v>
                </c:pt>
                <c:pt idx="1812">
                  <c:v>0.01</c:v>
                </c:pt>
                <c:pt idx="1813">
                  <c:v>0.01</c:v>
                </c:pt>
                <c:pt idx="1814">
                  <c:v>0.01</c:v>
                </c:pt>
                <c:pt idx="1815">
                  <c:v>0.01</c:v>
                </c:pt>
                <c:pt idx="1816">
                  <c:v>0.01</c:v>
                </c:pt>
                <c:pt idx="1817">
                  <c:v>0.01</c:v>
                </c:pt>
                <c:pt idx="1818">
                  <c:v>0.03</c:v>
                </c:pt>
                <c:pt idx="1819">
                  <c:v>0.01</c:v>
                </c:pt>
                <c:pt idx="1820">
                  <c:v>0.01</c:v>
                </c:pt>
                <c:pt idx="1821">
                  <c:v>0.01</c:v>
                </c:pt>
                <c:pt idx="1822">
                  <c:v>0.03</c:v>
                </c:pt>
                <c:pt idx="1823">
                  <c:v>0.01</c:v>
                </c:pt>
                <c:pt idx="1824">
                  <c:v>0.02</c:v>
                </c:pt>
                <c:pt idx="1825">
                  <c:v>0.01</c:v>
                </c:pt>
                <c:pt idx="1826">
                  <c:v>0.01</c:v>
                </c:pt>
                <c:pt idx="1827">
                  <c:v>0.01</c:v>
                </c:pt>
                <c:pt idx="1828">
                  <c:v>0.02</c:v>
                </c:pt>
                <c:pt idx="1829">
                  <c:v>0.03</c:v>
                </c:pt>
                <c:pt idx="1830">
                  <c:v>0.03</c:v>
                </c:pt>
                <c:pt idx="1831">
                  <c:v>0.01</c:v>
                </c:pt>
                <c:pt idx="1832">
                  <c:v>0.01</c:v>
                </c:pt>
                <c:pt idx="1833">
                  <c:v>0.01</c:v>
                </c:pt>
                <c:pt idx="1834">
                  <c:v>0.01</c:v>
                </c:pt>
                <c:pt idx="1835">
                  <c:v>0.01</c:v>
                </c:pt>
                <c:pt idx="1836">
                  <c:v>0.01</c:v>
                </c:pt>
                <c:pt idx="1837">
                  <c:v>0.01</c:v>
                </c:pt>
                <c:pt idx="1838">
                  <c:v>0.01</c:v>
                </c:pt>
                <c:pt idx="1839">
                  <c:v>0.02</c:v>
                </c:pt>
                <c:pt idx="1840">
                  <c:v>0.01</c:v>
                </c:pt>
                <c:pt idx="1841">
                  <c:v>0.01</c:v>
                </c:pt>
                <c:pt idx="1842">
                  <c:v>0.01</c:v>
                </c:pt>
                <c:pt idx="1843">
                  <c:v>0.02</c:v>
                </c:pt>
                <c:pt idx="1844">
                  <c:v>0.01</c:v>
                </c:pt>
                <c:pt idx="1845">
                  <c:v>0.01</c:v>
                </c:pt>
                <c:pt idx="1846">
                  <c:v>0.01</c:v>
                </c:pt>
                <c:pt idx="1847">
                  <c:v>0.02</c:v>
                </c:pt>
                <c:pt idx="1848">
                  <c:v>0.01</c:v>
                </c:pt>
                <c:pt idx="1849">
                  <c:v>0.01</c:v>
                </c:pt>
                <c:pt idx="1850">
                  <c:v>0.05</c:v>
                </c:pt>
                <c:pt idx="1851">
                  <c:v>0.03</c:v>
                </c:pt>
                <c:pt idx="1852">
                  <c:v>0.01</c:v>
                </c:pt>
                <c:pt idx="1853">
                  <c:v>0.02</c:v>
                </c:pt>
                <c:pt idx="1854">
                  <c:v>0.01</c:v>
                </c:pt>
                <c:pt idx="1855">
                  <c:v>0.01</c:v>
                </c:pt>
                <c:pt idx="1856">
                  <c:v>0.01</c:v>
                </c:pt>
                <c:pt idx="1857">
                  <c:v>0.01</c:v>
                </c:pt>
                <c:pt idx="1858">
                  <c:v>0.01</c:v>
                </c:pt>
                <c:pt idx="1859">
                  <c:v>0.01</c:v>
                </c:pt>
                <c:pt idx="1860">
                  <c:v>0.01</c:v>
                </c:pt>
                <c:pt idx="1861">
                  <c:v>0.01</c:v>
                </c:pt>
                <c:pt idx="1862">
                  <c:v>0.01</c:v>
                </c:pt>
                <c:pt idx="1863">
                  <c:v>0.01</c:v>
                </c:pt>
                <c:pt idx="1864">
                  <c:v>0.01</c:v>
                </c:pt>
                <c:pt idx="1865">
                  <c:v>0.01</c:v>
                </c:pt>
                <c:pt idx="1866">
                  <c:v>0.05</c:v>
                </c:pt>
                <c:pt idx="1867">
                  <c:v>0.02</c:v>
                </c:pt>
                <c:pt idx="1868">
                  <c:v>0.01</c:v>
                </c:pt>
                <c:pt idx="1869">
                  <c:v>0.01</c:v>
                </c:pt>
                <c:pt idx="1870">
                  <c:v>0.01</c:v>
                </c:pt>
                <c:pt idx="1871">
                  <c:v>0.02</c:v>
                </c:pt>
                <c:pt idx="1872">
                  <c:v>0.01</c:v>
                </c:pt>
                <c:pt idx="1873">
                  <c:v>0.01</c:v>
                </c:pt>
                <c:pt idx="1874">
                  <c:v>0.01</c:v>
                </c:pt>
                <c:pt idx="1875">
                  <c:v>0.01</c:v>
                </c:pt>
                <c:pt idx="1876">
                  <c:v>0.01</c:v>
                </c:pt>
                <c:pt idx="1877">
                  <c:v>0.01</c:v>
                </c:pt>
                <c:pt idx="1878">
                  <c:v>0.01</c:v>
                </c:pt>
                <c:pt idx="1879">
                  <c:v>0.01</c:v>
                </c:pt>
                <c:pt idx="1880">
                  <c:v>0.01</c:v>
                </c:pt>
                <c:pt idx="1881">
                  <c:v>0.01</c:v>
                </c:pt>
                <c:pt idx="1882">
                  <c:v>0.02</c:v>
                </c:pt>
                <c:pt idx="1883">
                  <c:v>0.01</c:v>
                </c:pt>
                <c:pt idx="1884">
                  <c:v>0.01</c:v>
                </c:pt>
                <c:pt idx="1885">
                  <c:v>0.01</c:v>
                </c:pt>
                <c:pt idx="1886">
                  <c:v>0.02</c:v>
                </c:pt>
                <c:pt idx="1887">
                  <c:v>0.01</c:v>
                </c:pt>
                <c:pt idx="1888">
                  <c:v>0.01</c:v>
                </c:pt>
                <c:pt idx="1889">
                  <c:v>0.01</c:v>
                </c:pt>
                <c:pt idx="1890">
                  <c:v>0.01</c:v>
                </c:pt>
                <c:pt idx="1891">
                  <c:v>0.01</c:v>
                </c:pt>
                <c:pt idx="1892">
                  <c:v>0.01</c:v>
                </c:pt>
                <c:pt idx="1893">
                  <c:v>0.01</c:v>
                </c:pt>
                <c:pt idx="1894">
                  <c:v>0.01</c:v>
                </c:pt>
                <c:pt idx="1895">
                  <c:v>0.01</c:v>
                </c:pt>
                <c:pt idx="1896">
                  <c:v>0.01</c:v>
                </c:pt>
                <c:pt idx="1897">
                  <c:v>0.01</c:v>
                </c:pt>
                <c:pt idx="1898">
                  <c:v>0.01</c:v>
                </c:pt>
                <c:pt idx="1899">
                  <c:v>0.01</c:v>
                </c:pt>
                <c:pt idx="1900">
                  <c:v>0.01</c:v>
                </c:pt>
                <c:pt idx="1901">
                  <c:v>0.01</c:v>
                </c:pt>
                <c:pt idx="1902">
                  <c:v>0.02</c:v>
                </c:pt>
                <c:pt idx="1903">
                  <c:v>0.02</c:v>
                </c:pt>
                <c:pt idx="1904">
                  <c:v>0.01</c:v>
                </c:pt>
                <c:pt idx="1905">
                  <c:v>0.01</c:v>
                </c:pt>
                <c:pt idx="1906">
                  <c:v>0.01</c:v>
                </c:pt>
                <c:pt idx="1907">
                  <c:v>0.01</c:v>
                </c:pt>
                <c:pt idx="1908">
                  <c:v>0.02</c:v>
                </c:pt>
                <c:pt idx="1909">
                  <c:v>0.01</c:v>
                </c:pt>
                <c:pt idx="1910">
                  <c:v>0.01</c:v>
                </c:pt>
                <c:pt idx="1911">
                  <c:v>0.01</c:v>
                </c:pt>
                <c:pt idx="1912">
                  <c:v>0.01</c:v>
                </c:pt>
                <c:pt idx="1913">
                  <c:v>0.01</c:v>
                </c:pt>
                <c:pt idx="1914">
                  <c:v>0.01</c:v>
                </c:pt>
                <c:pt idx="1915">
                  <c:v>0.01</c:v>
                </c:pt>
                <c:pt idx="1916">
                  <c:v>0.01</c:v>
                </c:pt>
                <c:pt idx="1917">
                  <c:v>0.01</c:v>
                </c:pt>
                <c:pt idx="1918">
                  <c:v>0.02</c:v>
                </c:pt>
                <c:pt idx="1919">
                  <c:v>0.01</c:v>
                </c:pt>
                <c:pt idx="1920">
                  <c:v>0.01</c:v>
                </c:pt>
                <c:pt idx="1921">
                  <c:v>0.01</c:v>
                </c:pt>
                <c:pt idx="1922">
                  <c:v>0.01</c:v>
                </c:pt>
                <c:pt idx="1923">
                  <c:v>0.01</c:v>
                </c:pt>
                <c:pt idx="1924">
                  <c:v>0.01</c:v>
                </c:pt>
                <c:pt idx="1925">
                  <c:v>0.01</c:v>
                </c:pt>
                <c:pt idx="1926">
                  <c:v>0.01</c:v>
                </c:pt>
                <c:pt idx="1927">
                  <c:v>0.01</c:v>
                </c:pt>
                <c:pt idx="1928">
                  <c:v>0.02</c:v>
                </c:pt>
                <c:pt idx="1929">
                  <c:v>0.01</c:v>
                </c:pt>
                <c:pt idx="1930">
                  <c:v>0.02</c:v>
                </c:pt>
                <c:pt idx="1931">
                  <c:v>0.01</c:v>
                </c:pt>
                <c:pt idx="1932">
                  <c:v>0.01</c:v>
                </c:pt>
                <c:pt idx="1933">
                  <c:v>0.01</c:v>
                </c:pt>
                <c:pt idx="1934">
                  <c:v>0.01</c:v>
                </c:pt>
                <c:pt idx="1935">
                  <c:v>0.01</c:v>
                </c:pt>
                <c:pt idx="1936">
                  <c:v>0.01</c:v>
                </c:pt>
                <c:pt idx="1937">
                  <c:v>0.03</c:v>
                </c:pt>
                <c:pt idx="1938">
                  <c:v>0.01</c:v>
                </c:pt>
                <c:pt idx="1939">
                  <c:v>0.01</c:v>
                </c:pt>
                <c:pt idx="1940">
                  <c:v>0.01</c:v>
                </c:pt>
                <c:pt idx="1941">
                  <c:v>0.01</c:v>
                </c:pt>
                <c:pt idx="1942">
                  <c:v>0.01</c:v>
                </c:pt>
                <c:pt idx="1943">
                  <c:v>0.01</c:v>
                </c:pt>
                <c:pt idx="1944">
                  <c:v>0.01</c:v>
                </c:pt>
                <c:pt idx="1945">
                  <c:v>0.01</c:v>
                </c:pt>
                <c:pt idx="1946">
                  <c:v>0.02</c:v>
                </c:pt>
                <c:pt idx="1947">
                  <c:v>0.01</c:v>
                </c:pt>
                <c:pt idx="1948">
                  <c:v>0.01</c:v>
                </c:pt>
                <c:pt idx="1949">
                  <c:v>0.01</c:v>
                </c:pt>
                <c:pt idx="1950">
                  <c:v>0.01</c:v>
                </c:pt>
                <c:pt idx="1951">
                  <c:v>0.02</c:v>
                </c:pt>
                <c:pt idx="1952">
                  <c:v>0.01</c:v>
                </c:pt>
                <c:pt idx="1953">
                  <c:v>0.01</c:v>
                </c:pt>
                <c:pt idx="1954">
                  <c:v>0.04</c:v>
                </c:pt>
                <c:pt idx="1955">
                  <c:v>0.01</c:v>
                </c:pt>
                <c:pt idx="1956">
                  <c:v>0.01</c:v>
                </c:pt>
                <c:pt idx="1957">
                  <c:v>0.01</c:v>
                </c:pt>
                <c:pt idx="1958">
                  <c:v>0.01</c:v>
                </c:pt>
                <c:pt idx="1959">
                  <c:v>0.04</c:v>
                </c:pt>
                <c:pt idx="1960">
                  <c:v>0.01</c:v>
                </c:pt>
                <c:pt idx="1961">
                  <c:v>0.01</c:v>
                </c:pt>
                <c:pt idx="1962">
                  <c:v>0.01</c:v>
                </c:pt>
                <c:pt idx="1963">
                  <c:v>0.01</c:v>
                </c:pt>
                <c:pt idx="1964">
                  <c:v>0.01</c:v>
                </c:pt>
                <c:pt idx="1965">
                  <c:v>0.01</c:v>
                </c:pt>
                <c:pt idx="1966">
                  <c:v>0.01</c:v>
                </c:pt>
                <c:pt idx="1967">
                  <c:v>0.01</c:v>
                </c:pt>
                <c:pt idx="1968">
                  <c:v>0.01</c:v>
                </c:pt>
                <c:pt idx="1969">
                  <c:v>0.01</c:v>
                </c:pt>
                <c:pt idx="1970">
                  <c:v>0.01</c:v>
                </c:pt>
                <c:pt idx="1971">
                  <c:v>0.01</c:v>
                </c:pt>
                <c:pt idx="1972">
                  <c:v>0.01</c:v>
                </c:pt>
                <c:pt idx="1973">
                  <c:v>0.01</c:v>
                </c:pt>
                <c:pt idx="1974">
                  <c:v>0.01</c:v>
                </c:pt>
                <c:pt idx="1975">
                  <c:v>0.01</c:v>
                </c:pt>
                <c:pt idx="1976">
                  <c:v>0.01</c:v>
                </c:pt>
                <c:pt idx="1977">
                  <c:v>0.01</c:v>
                </c:pt>
                <c:pt idx="197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00A097"/>
              </a:solidFill>
            </c:spPr>
            <c:extLst>
              <c:ext xmlns:c16="http://schemas.microsoft.com/office/drawing/2014/chart" uri="{C3380CC4-5D6E-409C-BE32-E72D297353CC}">
                <c16:uniqueId val="{00000119-2993-41DE-A2CB-63102DE87051}"/>
              </c:ext>
            </c:extLst>
          </c:dPt>
          <c:dPt>
            <c:idx val="140"/>
            <c:invertIfNegative val="1"/>
            <c:bubble3D val="0"/>
            <c:spPr>
              <a:solidFill>
                <a:srgbClr val="00A097"/>
              </a:solidFill>
            </c:spPr>
            <c:extLst>
              <c:ext xmlns:c16="http://schemas.microsoft.com/office/drawing/2014/chart" uri="{C3380CC4-5D6E-409C-BE32-E72D297353CC}">
                <c16:uniqueId val="{0000011B-2993-41DE-A2CB-63102DE87051}"/>
              </c:ext>
            </c:extLst>
          </c:dPt>
          <c:dPt>
            <c:idx val="141"/>
            <c:invertIfNegative val="1"/>
            <c:bubble3D val="0"/>
            <c:spPr>
              <a:solidFill>
                <a:srgbClr val="00A097"/>
              </a:solidFill>
            </c:spPr>
            <c:extLst>
              <c:ext xmlns:c16="http://schemas.microsoft.com/office/drawing/2014/chart" uri="{C3380CC4-5D6E-409C-BE32-E72D297353CC}">
                <c16:uniqueId val="{0000011D-2993-41DE-A2CB-63102DE87051}"/>
              </c:ext>
            </c:extLst>
          </c:dPt>
          <c:dPt>
            <c:idx val="142"/>
            <c:invertIfNegative val="1"/>
            <c:bubble3D val="0"/>
            <c:spPr>
              <a:solidFill>
                <a:srgbClr val="00A097"/>
              </a:solidFill>
            </c:spPr>
            <c:extLst>
              <c:ext xmlns:c16="http://schemas.microsoft.com/office/drawing/2014/chart" uri="{C3380CC4-5D6E-409C-BE32-E72D297353CC}">
                <c16:uniqueId val="{0000011F-2993-41DE-A2CB-63102DE87051}"/>
              </c:ext>
            </c:extLst>
          </c:dPt>
          <c:dPt>
            <c:idx val="143"/>
            <c:invertIfNegative val="1"/>
            <c:bubble3D val="0"/>
            <c:spPr>
              <a:solidFill>
                <a:srgbClr val="00A097"/>
              </a:solidFill>
            </c:spPr>
            <c:extLst>
              <c:ext xmlns:c16="http://schemas.microsoft.com/office/drawing/2014/chart" uri="{C3380CC4-5D6E-409C-BE32-E72D297353CC}">
                <c16:uniqueId val="{00000121-2993-41DE-A2CB-63102DE87051}"/>
              </c:ext>
            </c:extLst>
          </c:dPt>
          <c:dPt>
            <c:idx val="144"/>
            <c:invertIfNegative val="1"/>
            <c:bubble3D val="0"/>
            <c:spPr>
              <a:solidFill>
                <a:srgbClr val="00A097"/>
              </a:solidFill>
            </c:spPr>
            <c:extLst>
              <c:ext xmlns:c16="http://schemas.microsoft.com/office/drawing/2014/chart" uri="{C3380CC4-5D6E-409C-BE32-E72D297353CC}">
                <c16:uniqueId val="{00000123-2993-41DE-A2CB-63102DE87051}"/>
              </c:ext>
            </c:extLst>
          </c:dPt>
          <c:dPt>
            <c:idx val="145"/>
            <c:invertIfNegative val="1"/>
            <c:bubble3D val="0"/>
            <c:spPr>
              <a:solidFill>
                <a:srgbClr val="00A097"/>
              </a:solidFill>
            </c:spPr>
            <c:extLst>
              <c:ext xmlns:c16="http://schemas.microsoft.com/office/drawing/2014/chart" uri="{C3380CC4-5D6E-409C-BE32-E72D297353CC}">
                <c16:uniqueId val="{00000125-2993-41DE-A2CB-63102DE87051}"/>
              </c:ext>
            </c:extLst>
          </c:dPt>
          <c:dPt>
            <c:idx val="146"/>
            <c:invertIfNegative val="1"/>
            <c:bubble3D val="0"/>
            <c:spPr>
              <a:solidFill>
                <a:srgbClr val="00A097"/>
              </a:solidFill>
            </c:spPr>
            <c:extLst>
              <c:ext xmlns:c16="http://schemas.microsoft.com/office/drawing/2014/chart" uri="{C3380CC4-5D6E-409C-BE32-E72D297353CC}">
                <c16:uniqueId val="{00000127-2993-41DE-A2CB-63102DE87051}"/>
              </c:ext>
            </c:extLst>
          </c:dPt>
          <c:dPt>
            <c:idx val="147"/>
            <c:invertIfNegative val="1"/>
            <c:bubble3D val="0"/>
            <c:spPr>
              <a:solidFill>
                <a:srgbClr val="00A097"/>
              </a:solidFill>
            </c:spPr>
            <c:extLst>
              <c:ext xmlns:c16="http://schemas.microsoft.com/office/drawing/2014/chart" uri="{C3380CC4-5D6E-409C-BE32-E72D297353CC}">
                <c16:uniqueId val="{00000129-2993-41DE-A2CB-63102DE87051}"/>
              </c:ext>
            </c:extLst>
          </c:dPt>
          <c:dPt>
            <c:idx val="148"/>
            <c:invertIfNegative val="1"/>
            <c:bubble3D val="0"/>
            <c:spPr>
              <a:solidFill>
                <a:srgbClr val="00A097"/>
              </a:solidFill>
            </c:spPr>
            <c:extLst>
              <c:ext xmlns:c16="http://schemas.microsoft.com/office/drawing/2014/chart" uri="{C3380CC4-5D6E-409C-BE32-E72D297353CC}">
                <c16:uniqueId val="{0000012B-2993-41DE-A2CB-63102DE87051}"/>
              </c:ext>
            </c:extLst>
          </c:dPt>
          <c:dPt>
            <c:idx val="149"/>
            <c:invertIfNegative val="1"/>
            <c:bubble3D val="0"/>
            <c:spPr>
              <a:solidFill>
                <a:srgbClr val="00A097"/>
              </a:solidFill>
            </c:spPr>
            <c:extLst>
              <c:ext xmlns:c16="http://schemas.microsoft.com/office/drawing/2014/chart" uri="{C3380CC4-5D6E-409C-BE32-E72D297353CC}">
                <c16:uniqueId val="{0000012D-2993-41DE-A2CB-63102DE87051}"/>
              </c:ext>
            </c:extLst>
          </c:dPt>
          <c:dPt>
            <c:idx val="150"/>
            <c:invertIfNegative val="1"/>
            <c:bubble3D val="0"/>
            <c:spPr>
              <a:solidFill>
                <a:srgbClr val="00A097"/>
              </a:solidFill>
            </c:spPr>
            <c:extLst>
              <c:ext xmlns:c16="http://schemas.microsoft.com/office/drawing/2014/chart" uri="{C3380CC4-5D6E-409C-BE32-E72D297353CC}">
                <c16:uniqueId val="{0000012F-2993-41DE-A2CB-63102DE87051}"/>
              </c:ext>
            </c:extLst>
          </c:dPt>
          <c:dPt>
            <c:idx val="151"/>
            <c:invertIfNegative val="1"/>
            <c:bubble3D val="0"/>
            <c:spPr>
              <a:solidFill>
                <a:srgbClr val="00A097"/>
              </a:solidFill>
            </c:spPr>
            <c:extLst>
              <c:ext xmlns:c16="http://schemas.microsoft.com/office/drawing/2014/chart" uri="{C3380CC4-5D6E-409C-BE32-E72D297353CC}">
                <c16:uniqueId val="{00000131-2993-41DE-A2CB-63102DE87051}"/>
              </c:ext>
            </c:extLst>
          </c:dPt>
          <c:dPt>
            <c:idx val="152"/>
            <c:invertIfNegative val="1"/>
            <c:bubble3D val="0"/>
            <c:spPr>
              <a:solidFill>
                <a:srgbClr val="00A097"/>
              </a:solidFill>
            </c:spPr>
            <c:extLst>
              <c:ext xmlns:c16="http://schemas.microsoft.com/office/drawing/2014/chart" uri="{C3380CC4-5D6E-409C-BE32-E72D297353CC}">
                <c16:uniqueId val="{00000133-2993-41DE-A2CB-63102DE87051}"/>
              </c:ext>
            </c:extLst>
          </c:dPt>
          <c:dPt>
            <c:idx val="153"/>
            <c:invertIfNegative val="1"/>
            <c:bubble3D val="0"/>
            <c:spPr>
              <a:solidFill>
                <a:srgbClr val="00A097"/>
              </a:solidFill>
            </c:spPr>
            <c:extLst>
              <c:ext xmlns:c16="http://schemas.microsoft.com/office/drawing/2014/chart" uri="{C3380CC4-5D6E-409C-BE32-E72D297353CC}">
                <c16:uniqueId val="{00000135-2993-41DE-A2CB-63102DE87051}"/>
              </c:ext>
            </c:extLst>
          </c:dPt>
          <c:dPt>
            <c:idx val="154"/>
            <c:invertIfNegative val="1"/>
            <c:bubble3D val="0"/>
            <c:spPr>
              <a:solidFill>
                <a:srgbClr val="00A097"/>
              </a:solidFill>
            </c:spPr>
            <c:extLst>
              <c:ext xmlns:c16="http://schemas.microsoft.com/office/drawing/2014/chart" uri="{C3380CC4-5D6E-409C-BE32-E72D297353CC}">
                <c16:uniqueId val="{00000137-2993-41DE-A2CB-63102DE87051}"/>
              </c:ext>
            </c:extLst>
          </c:dPt>
          <c:dPt>
            <c:idx val="155"/>
            <c:invertIfNegative val="1"/>
            <c:bubble3D val="0"/>
            <c:spPr>
              <a:solidFill>
                <a:srgbClr val="00A097"/>
              </a:solidFill>
            </c:spPr>
            <c:extLst>
              <c:ext xmlns:c16="http://schemas.microsoft.com/office/drawing/2014/chart" uri="{C3380CC4-5D6E-409C-BE32-E72D297353CC}">
                <c16:uniqueId val="{00000139-2993-41DE-A2CB-63102DE87051}"/>
              </c:ext>
            </c:extLst>
          </c:dPt>
          <c:dPt>
            <c:idx val="156"/>
            <c:invertIfNegative val="1"/>
            <c:bubble3D val="0"/>
            <c:spPr>
              <a:solidFill>
                <a:srgbClr val="00A097"/>
              </a:solidFill>
            </c:spPr>
            <c:extLst>
              <c:ext xmlns:c16="http://schemas.microsoft.com/office/drawing/2014/chart" uri="{C3380CC4-5D6E-409C-BE32-E72D297353CC}">
                <c16:uniqueId val="{0000013B-2993-41DE-A2CB-63102DE87051}"/>
              </c:ext>
            </c:extLst>
          </c:dPt>
          <c:dPt>
            <c:idx val="157"/>
            <c:invertIfNegative val="1"/>
            <c:bubble3D val="0"/>
            <c:spPr>
              <a:solidFill>
                <a:srgbClr val="00A097"/>
              </a:solidFill>
            </c:spPr>
            <c:extLst>
              <c:ext xmlns:c16="http://schemas.microsoft.com/office/drawing/2014/chart" uri="{C3380CC4-5D6E-409C-BE32-E72D297353CC}">
                <c16:uniqueId val="{0000013D-2993-41DE-A2CB-63102DE87051}"/>
              </c:ext>
            </c:extLst>
          </c:dPt>
          <c:dPt>
            <c:idx val="158"/>
            <c:invertIfNegative val="1"/>
            <c:bubble3D val="0"/>
            <c:spPr>
              <a:solidFill>
                <a:srgbClr val="00A097"/>
              </a:solidFill>
            </c:spPr>
            <c:extLst>
              <c:ext xmlns:c16="http://schemas.microsoft.com/office/drawing/2014/chart" uri="{C3380CC4-5D6E-409C-BE32-E72D297353CC}">
                <c16:uniqueId val="{0000013F-2993-41DE-A2CB-63102DE87051}"/>
              </c:ext>
            </c:extLst>
          </c:dPt>
          <c:dPt>
            <c:idx val="159"/>
            <c:invertIfNegative val="1"/>
            <c:bubble3D val="0"/>
            <c:spPr>
              <a:solidFill>
                <a:srgbClr val="00A097"/>
              </a:solidFill>
            </c:spPr>
            <c:extLst>
              <c:ext xmlns:c16="http://schemas.microsoft.com/office/drawing/2014/chart" uri="{C3380CC4-5D6E-409C-BE32-E72D297353CC}">
                <c16:uniqueId val="{00000141-2993-41DE-A2CB-63102DE87051}"/>
              </c:ext>
            </c:extLst>
          </c:dPt>
          <c:dPt>
            <c:idx val="160"/>
            <c:invertIfNegative val="1"/>
            <c:bubble3D val="0"/>
            <c:spPr>
              <a:solidFill>
                <a:srgbClr val="00A097"/>
              </a:solidFill>
            </c:spPr>
            <c:extLst>
              <c:ext xmlns:c16="http://schemas.microsoft.com/office/drawing/2014/chart" uri="{C3380CC4-5D6E-409C-BE32-E72D297353CC}">
                <c16:uniqueId val="{00000143-2993-41DE-A2CB-63102DE87051}"/>
              </c:ext>
            </c:extLst>
          </c:dPt>
          <c:dPt>
            <c:idx val="161"/>
            <c:invertIfNegative val="1"/>
            <c:bubble3D val="0"/>
            <c:spPr>
              <a:solidFill>
                <a:srgbClr val="00A097"/>
              </a:solidFill>
            </c:spPr>
            <c:extLst>
              <c:ext xmlns:c16="http://schemas.microsoft.com/office/drawing/2014/chart" uri="{C3380CC4-5D6E-409C-BE32-E72D297353CC}">
                <c16:uniqueId val="{00000145-2993-41DE-A2CB-63102DE87051}"/>
              </c:ext>
            </c:extLst>
          </c:dPt>
          <c:dPt>
            <c:idx val="162"/>
            <c:invertIfNegative val="1"/>
            <c:bubble3D val="0"/>
            <c:spPr>
              <a:solidFill>
                <a:srgbClr val="00A097"/>
              </a:solidFill>
            </c:spPr>
            <c:extLst>
              <c:ext xmlns:c16="http://schemas.microsoft.com/office/drawing/2014/chart" uri="{C3380CC4-5D6E-409C-BE32-E72D297353CC}">
                <c16:uniqueId val="{00000147-2993-41DE-A2CB-63102DE87051}"/>
              </c:ext>
            </c:extLst>
          </c:dPt>
          <c:dPt>
            <c:idx val="163"/>
            <c:invertIfNegative val="1"/>
            <c:bubble3D val="0"/>
            <c:spPr>
              <a:solidFill>
                <a:srgbClr val="00A097"/>
              </a:solidFill>
            </c:spPr>
            <c:extLst>
              <c:ext xmlns:c16="http://schemas.microsoft.com/office/drawing/2014/chart" uri="{C3380CC4-5D6E-409C-BE32-E72D297353CC}">
                <c16:uniqueId val="{00000149-2993-41DE-A2CB-63102DE87051}"/>
              </c:ext>
            </c:extLst>
          </c:dPt>
          <c:dPt>
            <c:idx val="164"/>
            <c:invertIfNegative val="1"/>
            <c:bubble3D val="0"/>
            <c:spPr>
              <a:solidFill>
                <a:srgbClr val="00A097"/>
              </a:solidFill>
            </c:spPr>
            <c:extLst>
              <c:ext xmlns:c16="http://schemas.microsoft.com/office/drawing/2014/chart" uri="{C3380CC4-5D6E-409C-BE32-E72D297353CC}">
                <c16:uniqueId val="{0000014B-2993-41DE-A2CB-63102DE87051}"/>
              </c:ext>
            </c:extLst>
          </c:dPt>
          <c:dPt>
            <c:idx val="165"/>
            <c:invertIfNegative val="1"/>
            <c:bubble3D val="0"/>
            <c:spPr>
              <a:solidFill>
                <a:srgbClr val="00A097"/>
              </a:solidFill>
            </c:spPr>
            <c:extLst>
              <c:ext xmlns:c16="http://schemas.microsoft.com/office/drawing/2014/chart" uri="{C3380CC4-5D6E-409C-BE32-E72D297353CC}">
                <c16:uniqueId val="{0000014D-2993-41DE-A2CB-63102DE87051}"/>
              </c:ext>
            </c:extLst>
          </c:dPt>
          <c:dPt>
            <c:idx val="166"/>
            <c:invertIfNegative val="1"/>
            <c:bubble3D val="0"/>
            <c:spPr>
              <a:solidFill>
                <a:srgbClr val="00A097"/>
              </a:solidFill>
            </c:spPr>
            <c:extLst>
              <c:ext xmlns:c16="http://schemas.microsoft.com/office/drawing/2014/chart" uri="{C3380CC4-5D6E-409C-BE32-E72D297353CC}">
                <c16:uniqueId val="{0000014F-2993-41DE-A2CB-63102DE87051}"/>
              </c:ext>
            </c:extLst>
          </c:dPt>
          <c:dPt>
            <c:idx val="167"/>
            <c:invertIfNegative val="1"/>
            <c:bubble3D val="0"/>
            <c:spPr>
              <a:solidFill>
                <a:srgbClr val="00A097"/>
              </a:solidFill>
            </c:spPr>
            <c:extLst>
              <c:ext xmlns:c16="http://schemas.microsoft.com/office/drawing/2014/chart" uri="{C3380CC4-5D6E-409C-BE32-E72D297353CC}">
                <c16:uniqueId val="{00000151-2993-41DE-A2CB-63102DE87051}"/>
              </c:ext>
            </c:extLst>
          </c:dPt>
          <c:dPt>
            <c:idx val="168"/>
            <c:invertIfNegative val="1"/>
            <c:bubble3D val="0"/>
            <c:spPr>
              <a:solidFill>
                <a:srgbClr val="00A097"/>
              </a:solidFill>
            </c:spPr>
            <c:extLst>
              <c:ext xmlns:c16="http://schemas.microsoft.com/office/drawing/2014/chart" uri="{C3380CC4-5D6E-409C-BE32-E72D297353CC}">
                <c16:uniqueId val="{00000153-2993-41DE-A2CB-63102DE87051}"/>
              </c:ext>
            </c:extLst>
          </c:dPt>
          <c:dPt>
            <c:idx val="169"/>
            <c:invertIfNegative val="1"/>
            <c:bubble3D val="0"/>
            <c:spPr>
              <a:solidFill>
                <a:srgbClr val="00A097"/>
              </a:solidFill>
            </c:spPr>
            <c:extLst>
              <c:ext xmlns:c16="http://schemas.microsoft.com/office/drawing/2014/chart" uri="{C3380CC4-5D6E-409C-BE32-E72D297353CC}">
                <c16:uniqueId val="{00000155-2993-41DE-A2CB-63102DE87051}"/>
              </c:ext>
            </c:extLst>
          </c:dPt>
          <c:dPt>
            <c:idx val="170"/>
            <c:invertIfNegative val="1"/>
            <c:bubble3D val="0"/>
            <c:spPr>
              <a:solidFill>
                <a:srgbClr val="00A097"/>
              </a:solidFill>
            </c:spPr>
            <c:extLst>
              <c:ext xmlns:c16="http://schemas.microsoft.com/office/drawing/2014/chart" uri="{C3380CC4-5D6E-409C-BE32-E72D297353CC}">
                <c16:uniqueId val="{00000157-2993-41DE-A2CB-63102DE87051}"/>
              </c:ext>
            </c:extLst>
          </c:dPt>
          <c:dPt>
            <c:idx val="171"/>
            <c:invertIfNegative val="1"/>
            <c:bubble3D val="0"/>
            <c:spPr>
              <a:solidFill>
                <a:srgbClr val="00A097"/>
              </a:solidFill>
            </c:spPr>
            <c:extLst>
              <c:ext xmlns:c16="http://schemas.microsoft.com/office/drawing/2014/chart" uri="{C3380CC4-5D6E-409C-BE32-E72D297353CC}">
                <c16:uniqueId val="{00000159-2993-41DE-A2CB-63102DE87051}"/>
              </c:ext>
            </c:extLst>
          </c:dPt>
          <c:dPt>
            <c:idx val="172"/>
            <c:invertIfNegative val="1"/>
            <c:bubble3D val="0"/>
            <c:spPr>
              <a:solidFill>
                <a:srgbClr val="00A097"/>
              </a:solidFill>
            </c:spPr>
            <c:extLst>
              <c:ext xmlns:c16="http://schemas.microsoft.com/office/drawing/2014/chart" uri="{C3380CC4-5D6E-409C-BE32-E72D297353CC}">
                <c16:uniqueId val="{0000015B-2993-41DE-A2CB-63102DE87051}"/>
              </c:ext>
            </c:extLst>
          </c:dPt>
          <c:dPt>
            <c:idx val="173"/>
            <c:invertIfNegative val="1"/>
            <c:bubble3D val="0"/>
            <c:spPr>
              <a:solidFill>
                <a:srgbClr val="00A097"/>
              </a:solidFill>
            </c:spPr>
            <c:extLst>
              <c:ext xmlns:c16="http://schemas.microsoft.com/office/drawing/2014/chart" uri="{C3380CC4-5D6E-409C-BE32-E72D297353CC}">
                <c16:uniqueId val="{0000015D-2993-41DE-A2CB-63102DE87051}"/>
              </c:ext>
            </c:extLst>
          </c:dPt>
          <c:dPt>
            <c:idx val="174"/>
            <c:invertIfNegative val="1"/>
            <c:bubble3D val="0"/>
            <c:spPr>
              <a:solidFill>
                <a:srgbClr val="00A097"/>
              </a:solidFill>
            </c:spPr>
            <c:extLst>
              <c:ext xmlns:c16="http://schemas.microsoft.com/office/drawing/2014/chart" uri="{C3380CC4-5D6E-409C-BE32-E72D297353CC}">
                <c16:uniqueId val="{0000015F-2993-41DE-A2CB-63102DE87051}"/>
              </c:ext>
            </c:extLst>
          </c:dPt>
          <c:dPt>
            <c:idx val="175"/>
            <c:invertIfNegative val="1"/>
            <c:bubble3D val="0"/>
            <c:spPr>
              <a:solidFill>
                <a:srgbClr val="00A097"/>
              </a:solidFill>
            </c:spPr>
            <c:extLst>
              <c:ext xmlns:c16="http://schemas.microsoft.com/office/drawing/2014/chart" uri="{C3380CC4-5D6E-409C-BE32-E72D297353CC}">
                <c16:uniqueId val="{00000161-2993-41DE-A2CB-63102DE87051}"/>
              </c:ext>
            </c:extLst>
          </c:dPt>
          <c:dPt>
            <c:idx val="176"/>
            <c:invertIfNegative val="1"/>
            <c:bubble3D val="0"/>
            <c:spPr>
              <a:solidFill>
                <a:srgbClr val="00A097"/>
              </a:solidFill>
            </c:spPr>
            <c:extLst>
              <c:ext xmlns:c16="http://schemas.microsoft.com/office/drawing/2014/chart" uri="{C3380CC4-5D6E-409C-BE32-E72D297353CC}">
                <c16:uniqueId val="{00000163-2993-41DE-A2CB-63102DE87051}"/>
              </c:ext>
            </c:extLst>
          </c:dPt>
          <c:dPt>
            <c:idx val="177"/>
            <c:invertIfNegative val="1"/>
            <c:bubble3D val="0"/>
            <c:spPr>
              <a:solidFill>
                <a:srgbClr val="00A097"/>
              </a:solidFill>
            </c:spPr>
            <c:extLst>
              <c:ext xmlns:c16="http://schemas.microsoft.com/office/drawing/2014/chart" uri="{C3380CC4-5D6E-409C-BE32-E72D297353CC}">
                <c16:uniqueId val="{00000165-2993-41DE-A2CB-63102DE87051}"/>
              </c:ext>
            </c:extLst>
          </c:dPt>
          <c:dPt>
            <c:idx val="178"/>
            <c:invertIfNegative val="1"/>
            <c:bubble3D val="0"/>
            <c:spPr>
              <a:solidFill>
                <a:srgbClr val="00A097"/>
              </a:solidFill>
            </c:spPr>
            <c:extLst>
              <c:ext xmlns:c16="http://schemas.microsoft.com/office/drawing/2014/chart" uri="{C3380CC4-5D6E-409C-BE32-E72D297353CC}">
                <c16:uniqueId val="{00000167-2993-41DE-A2CB-63102DE87051}"/>
              </c:ext>
            </c:extLst>
          </c:dPt>
          <c:dPt>
            <c:idx val="179"/>
            <c:invertIfNegative val="1"/>
            <c:bubble3D val="0"/>
            <c:spPr>
              <a:solidFill>
                <a:srgbClr val="00A097"/>
              </a:solidFill>
            </c:spPr>
            <c:extLst>
              <c:ext xmlns:c16="http://schemas.microsoft.com/office/drawing/2014/chart" uri="{C3380CC4-5D6E-409C-BE32-E72D297353CC}">
                <c16:uniqueId val="{00000169-2993-41DE-A2CB-63102DE87051}"/>
              </c:ext>
            </c:extLst>
          </c:dPt>
          <c:dPt>
            <c:idx val="180"/>
            <c:invertIfNegative val="1"/>
            <c:bubble3D val="0"/>
            <c:spPr>
              <a:solidFill>
                <a:srgbClr val="00A097"/>
              </a:solidFill>
            </c:spPr>
            <c:extLst>
              <c:ext xmlns:c16="http://schemas.microsoft.com/office/drawing/2014/chart" uri="{C3380CC4-5D6E-409C-BE32-E72D297353CC}">
                <c16:uniqueId val="{0000016B-2993-41DE-A2CB-63102DE87051}"/>
              </c:ext>
            </c:extLst>
          </c:dPt>
          <c:dPt>
            <c:idx val="181"/>
            <c:invertIfNegative val="1"/>
            <c:bubble3D val="0"/>
            <c:spPr>
              <a:solidFill>
                <a:srgbClr val="00A097"/>
              </a:solidFill>
            </c:spPr>
            <c:extLst>
              <c:ext xmlns:c16="http://schemas.microsoft.com/office/drawing/2014/chart" uri="{C3380CC4-5D6E-409C-BE32-E72D297353CC}">
                <c16:uniqueId val="{0000016D-2993-41DE-A2CB-63102DE87051}"/>
              </c:ext>
            </c:extLst>
          </c:dPt>
          <c:dPt>
            <c:idx val="182"/>
            <c:invertIfNegative val="1"/>
            <c:bubble3D val="0"/>
            <c:spPr>
              <a:solidFill>
                <a:srgbClr val="00A097"/>
              </a:solidFill>
            </c:spPr>
            <c:extLst>
              <c:ext xmlns:c16="http://schemas.microsoft.com/office/drawing/2014/chart" uri="{C3380CC4-5D6E-409C-BE32-E72D297353CC}">
                <c16:uniqueId val="{0000016F-2993-41DE-A2CB-63102DE87051}"/>
              </c:ext>
            </c:extLst>
          </c:dPt>
          <c:dPt>
            <c:idx val="183"/>
            <c:invertIfNegative val="1"/>
            <c:bubble3D val="0"/>
            <c:spPr>
              <a:solidFill>
                <a:srgbClr val="00A097"/>
              </a:solidFill>
            </c:spPr>
            <c:extLst>
              <c:ext xmlns:c16="http://schemas.microsoft.com/office/drawing/2014/chart" uri="{C3380CC4-5D6E-409C-BE32-E72D297353CC}">
                <c16:uniqueId val="{00000171-2993-41DE-A2CB-63102DE87051}"/>
              </c:ext>
            </c:extLst>
          </c:dPt>
          <c:dPt>
            <c:idx val="184"/>
            <c:invertIfNegative val="1"/>
            <c:bubble3D val="0"/>
            <c:spPr>
              <a:solidFill>
                <a:srgbClr val="00A097"/>
              </a:solidFill>
            </c:spPr>
            <c:extLst>
              <c:ext xmlns:c16="http://schemas.microsoft.com/office/drawing/2014/chart" uri="{C3380CC4-5D6E-409C-BE32-E72D297353CC}">
                <c16:uniqueId val="{00000173-2993-41DE-A2CB-63102DE87051}"/>
              </c:ext>
            </c:extLst>
          </c:dPt>
          <c:dPt>
            <c:idx val="185"/>
            <c:invertIfNegative val="1"/>
            <c:bubble3D val="0"/>
            <c:spPr>
              <a:solidFill>
                <a:srgbClr val="00A097"/>
              </a:solidFill>
            </c:spPr>
            <c:extLst>
              <c:ext xmlns:c16="http://schemas.microsoft.com/office/drawing/2014/chart" uri="{C3380CC4-5D6E-409C-BE32-E72D297353CC}">
                <c16:uniqueId val="{00000175-2993-41DE-A2CB-63102DE87051}"/>
              </c:ext>
            </c:extLst>
          </c:dPt>
          <c:dPt>
            <c:idx val="186"/>
            <c:invertIfNegative val="1"/>
            <c:bubble3D val="0"/>
            <c:spPr>
              <a:solidFill>
                <a:srgbClr val="00A097"/>
              </a:solidFill>
            </c:spPr>
            <c:extLst>
              <c:ext xmlns:c16="http://schemas.microsoft.com/office/drawing/2014/chart" uri="{C3380CC4-5D6E-409C-BE32-E72D297353CC}">
                <c16:uniqueId val="{00000177-2993-41DE-A2CB-63102DE87051}"/>
              </c:ext>
            </c:extLst>
          </c:dPt>
          <c:dPt>
            <c:idx val="187"/>
            <c:invertIfNegative val="1"/>
            <c:bubble3D val="0"/>
            <c:spPr>
              <a:solidFill>
                <a:srgbClr val="00A097"/>
              </a:solidFill>
            </c:spPr>
            <c:extLst>
              <c:ext xmlns:c16="http://schemas.microsoft.com/office/drawing/2014/chart" uri="{C3380CC4-5D6E-409C-BE32-E72D297353CC}">
                <c16:uniqueId val="{00000179-2993-41DE-A2CB-63102DE87051}"/>
              </c:ext>
            </c:extLst>
          </c:dPt>
          <c:dPt>
            <c:idx val="188"/>
            <c:invertIfNegative val="1"/>
            <c:bubble3D val="0"/>
            <c:spPr>
              <a:solidFill>
                <a:srgbClr val="00A097"/>
              </a:solidFill>
            </c:spPr>
            <c:extLst>
              <c:ext xmlns:c16="http://schemas.microsoft.com/office/drawing/2014/chart" uri="{C3380CC4-5D6E-409C-BE32-E72D297353CC}">
                <c16:uniqueId val="{0000017B-2993-41DE-A2CB-63102DE87051}"/>
              </c:ext>
            </c:extLst>
          </c:dPt>
          <c:dPt>
            <c:idx val="189"/>
            <c:invertIfNegative val="1"/>
            <c:bubble3D val="0"/>
            <c:spPr>
              <a:solidFill>
                <a:srgbClr val="00A097"/>
              </a:solidFill>
            </c:spPr>
            <c:extLst>
              <c:ext xmlns:c16="http://schemas.microsoft.com/office/drawing/2014/chart" uri="{C3380CC4-5D6E-409C-BE32-E72D297353CC}">
                <c16:uniqueId val="{0000017D-2993-41DE-A2CB-63102DE87051}"/>
              </c:ext>
            </c:extLst>
          </c:dPt>
          <c:dPt>
            <c:idx val="190"/>
            <c:invertIfNegative val="1"/>
            <c:bubble3D val="0"/>
            <c:spPr>
              <a:solidFill>
                <a:srgbClr val="00A097"/>
              </a:solidFill>
            </c:spPr>
            <c:extLst>
              <c:ext xmlns:c16="http://schemas.microsoft.com/office/drawing/2014/chart" uri="{C3380CC4-5D6E-409C-BE32-E72D297353CC}">
                <c16:uniqueId val="{0000017F-2993-41DE-A2CB-63102DE87051}"/>
              </c:ext>
            </c:extLst>
          </c:dPt>
          <c:dPt>
            <c:idx val="191"/>
            <c:invertIfNegative val="1"/>
            <c:bubble3D val="0"/>
            <c:spPr>
              <a:solidFill>
                <a:srgbClr val="00A097"/>
              </a:solidFill>
            </c:spPr>
            <c:extLst>
              <c:ext xmlns:c16="http://schemas.microsoft.com/office/drawing/2014/chart" uri="{C3380CC4-5D6E-409C-BE32-E72D297353CC}">
                <c16:uniqueId val="{00000181-2993-41DE-A2CB-63102DE87051}"/>
              </c:ext>
            </c:extLst>
          </c:dPt>
          <c:dPt>
            <c:idx val="192"/>
            <c:invertIfNegative val="1"/>
            <c:bubble3D val="0"/>
            <c:spPr>
              <a:solidFill>
                <a:srgbClr val="00A097"/>
              </a:solidFill>
            </c:spPr>
            <c:extLst>
              <c:ext xmlns:c16="http://schemas.microsoft.com/office/drawing/2014/chart" uri="{C3380CC4-5D6E-409C-BE32-E72D297353CC}">
                <c16:uniqueId val="{00000183-2993-41DE-A2CB-63102DE87051}"/>
              </c:ext>
            </c:extLst>
          </c:dPt>
          <c:dPt>
            <c:idx val="193"/>
            <c:invertIfNegative val="1"/>
            <c:bubble3D val="0"/>
            <c:spPr>
              <a:solidFill>
                <a:srgbClr val="00A097"/>
              </a:solidFill>
            </c:spPr>
            <c:extLst>
              <c:ext xmlns:c16="http://schemas.microsoft.com/office/drawing/2014/chart" uri="{C3380CC4-5D6E-409C-BE32-E72D297353CC}">
                <c16:uniqueId val="{00000185-2993-41DE-A2CB-63102DE87051}"/>
              </c:ext>
            </c:extLst>
          </c:dPt>
          <c:dPt>
            <c:idx val="194"/>
            <c:invertIfNegative val="1"/>
            <c:bubble3D val="0"/>
            <c:spPr>
              <a:solidFill>
                <a:srgbClr val="00A097"/>
              </a:solidFill>
            </c:spPr>
            <c:extLst>
              <c:ext xmlns:c16="http://schemas.microsoft.com/office/drawing/2014/chart" uri="{C3380CC4-5D6E-409C-BE32-E72D297353CC}">
                <c16:uniqueId val="{00000187-2993-41DE-A2CB-63102DE87051}"/>
              </c:ext>
            </c:extLst>
          </c:dPt>
          <c:dPt>
            <c:idx val="195"/>
            <c:invertIfNegative val="1"/>
            <c:bubble3D val="0"/>
            <c:spPr>
              <a:solidFill>
                <a:srgbClr val="00A097"/>
              </a:solidFill>
            </c:spPr>
            <c:extLst>
              <c:ext xmlns:c16="http://schemas.microsoft.com/office/drawing/2014/chart" uri="{C3380CC4-5D6E-409C-BE32-E72D297353CC}">
                <c16:uniqueId val="{00000189-2993-41DE-A2CB-63102DE87051}"/>
              </c:ext>
            </c:extLst>
          </c:dPt>
          <c:dPt>
            <c:idx val="196"/>
            <c:invertIfNegative val="1"/>
            <c:bubble3D val="0"/>
            <c:spPr>
              <a:solidFill>
                <a:srgbClr val="00A097"/>
              </a:solidFill>
            </c:spPr>
            <c:extLst>
              <c:ext xmlns:c16="http://schemas.microsoft.com/office/drawing/2014/chart" uri="{C3380CC4-5D6E-409C-BE32-E72D297353CC}">
                <c16:uniqueId val="{0000018B-2993-41DE-A2CB-63102DE87051}"/>
              </c:ext>
            </c:extLst>
          </c:dPt>
          <c:dPt>
            <c:idx val="197"/>
            <c:invertIfNegative val="1"/>
            <c:bubble3D val="0"/>
            <c:spPr>
              <a:solidFill>
                <a:srgbClr val="00A097"/>
              </a:solidFill>
            </c:spPr>
            <c:extLst>
              <c:ext xmlns:c16="http://schemas.microsoft.com/office/drawing/2014/chart" uri="{C3380CC4-5D6E-409C-BE32-E72D297353CC}">
                <c16:uniqueId val="{0000018D-2993-41DE-A2CB-63102DE87051}"/>
              </c:ext>
            </c:extLst>
          </c:dPt>
          <c:dPt>
            <c:idx val="198"/>
            <c:invertIfNegative val="1"/>
            <c:bubble3D val="0"/>
            <c:spPr>
              <a:solidFill>
                <a:srgbClr val="00A097"/>
              </a:solidFill>
            </c:spPr>
            <c:extLst>
              <c:ext xmlns:c16="http://schemas.microsoft.com/office/drawing/2014/chart" uri="{C3380CC4-5D6E-409C-BE32-E72D297353CC}">
                <c16:uniqueId val="{0000018F-2993-41DE-A2CB-63102DE87051}"/>
              </c:ext>
            </c:extLst>
          </c:dPt>
          <c:dPt>
            <c:idx val="199"/>
            <c:invertIfNegative val="1"/>
            <c:bubble3D val="0"/>
            <c:spPr>
              <a:solidFill>
                <a:srgbClr val="00A097"/>
              </a:solidFill>
            </c:spPr>
            <c:extLst>
              <c:ext xmlns:c16="http://schemas.microsoft.com/office/drawing/2014/chart" uri="{C3380CC4-5D6E-409C-BE32-E72D297353CC}">
                <c16:uniqueId val="{00000191-2993-41DE-A2CB-63102DE87051}"/>
              </c:ext>
            </c:extLst>
          </c:dPt>
          <c:dPt>
            <c:idx val="200"/>
            <c:invertIfNegative val="1"/>
            <c:bubble3D val="0"/>
            <c:spPr>
              <a:solidFill>
                <a:srgbClr val="00A097"/>
              </a:solidFill>
            </c:spPr>
            <c:extLst>
              <c:ext xmlns:c16="http://schemas.microsoft.com/office/drawing/2014/chart" uri="{C3380CC4-5D6E-409C-BE32-E72D297353CC}">
                <c16:uniqueId val="{00000193-2993-41DE-A2CB-63102DE87051}"/>
              </c:ext>
            </c:extLst>
          </c:dPt>
          <c:dPt>
            <c:idx val="201"/>
            <c:invertIfNegative val="1"/>
            <c:bubble3D val="0"/>
            <c:spPr>
              <a:solidFill>
                <a:srgbClr val="00A097"/>
              </a:solidFill>
            </c:spPr>
            <c:extLst>
              <c:ext xmlns:c16="http://schemas.microsoft.com/office/drawing/2014/chart" uri="{C3380CC4-5D6E-409C-BE32-E72D297353CC}">
                <c16:uniqueId val="{00000195-2993-41DE-A2CB-63102DE87051}"/>
              </c:ext>
            </c:extLst>
          </c:dPt>
          <c:dPt>
            <c:idx val="202"/>
            <c:invertIfNegative val="1"/>
            <c:bubble3D val="0"/>
            <c:spPr>
              <a:solidFill>
                <a:srgbClr val="00A097"/>
              </a:solidFill>
            </c:spPr>
            <c:extLst>
              <c:ext xmlns:c16="http://schemas.microsoft.com/office/drawing/2014/chart" uri="{C3380CC4-5D6E-409C-BE32-E72D297353CC}">
                <c16:uniqueId val="{00000197-2993-41DE-A2CB-63102DE87051}"/>
              </c:ext>
            </c:extLst>
          </c:dPt>
          <c:dPt>
            <c:idx val="203"/>
            <c:invertIfNegative val="1"/>
            <c:bubble3D val="0"/>
            <c:spPr>
              <a:solidFill>
                <a:srgbClr val="00A097"/>
              </a:solidFill>
            </c:spPr>
            <c:extLst>
              <c:ext xmlns:c16="http://schemas.microsoft.com/office/drawing/2014/chart" uri="{C3380CC4-5D6E-409C-BE32-E72D297353CC}">
                <c16:uniqueId val="{00000199-2993-41DE-A2CB-63102DE87051}"/>
              </c:ext>
            </c:extLst>
          </c:dPt>
          <c:dPt>
            <c:idx val="204"/>
            <c:invertIfNegative val="1"/>
            <c:bubble3D val="0"/>
            <c:spPr>
              <a:solidFill>
                <a:srgbClr val="00A097"/>
              </a:solidFill>
            </c:spPr>
            <c:extLst>
              <c:ext xmlns:c16="http://schemas.microsoft.com/office/drawing/2014/chart" uri="{C3380CC4-5D6E-409C-BE32-E72D297353CC}">
                <c16:uniqueId val="{0000019B-2993-41DE-A2CB-63102DE87051}"/>
              </c:ext>
            </c:extLst>
          </c:dPt>
          <c:dPt>
            <c:idx val="205"/>
            <c:invertIfNegative val="1"/>
            <c:bubble3D val="0"/>
            <c:spPr>
              <a:solidFill>
                <a:srgbClr val="00A097"/>
              </a:solidFill>
            </c:spPr>
            <c:extLst>
              <c:ext xmlns:c16="http://schemas.microsoft.com/office/drawing/2014/chart" uri="{C3380CC4-5D6E-409C-BE32-E72D297353CC}">
                <c16:uniqueId val="{0000019D-2993-41DE-A2CB-63102DE87051}"/>
              </c:ext>
            </c:extLst>
          </c:dPt>
          <c:dPt>
            <c:idx val="206"/>
            <c:invertIfNegative val="1"/>
            <c:bubble3D val="0"/>
            <c:spPr>
              <a:solidFill>
                <a:srgbClr val="00A097"/>
              </a:solidFill>
            </c:spPr>
            <c:extLst>
              <c:ext xmlns:c16="http://schemas.microsoft.com/office/drawing/2014/chart" uri="{C3380CC4-5D6E-409C-BE32-E72D297353CC}">
                <c16:uniqueId val="{0000019F-2993-41DE-A2CB-63102DE87051}"/>
              </c:ext>
            </c:extLst>
          </c:dPt>
          <c:dPt>
            <c:idx val="207"/>
            <c:invertIfNegative val="1"/>
            <c:bubble3D val="0"/>
            <c:spPr>
              <a:solidFill>
                <a:srgbClr val="00A097"/>
              </a:solidFill>
            </c:spPr>
            <c:extLst>
              <c:ext xmlns:c16="http://schemas.microsoft.com/office/drawing/2014/chart" uri="{C3380CC4-5D6E-409C-BE32-E72D297353CC}">
                <c16:uniqueId val="{000001A1-2993-41DE-A2CB-63102DE87051}"/>
              </c:ext>
            </c:extLst>
          </c:dPt>
          <c:dPt>
            <c:idx val="208"/>
            <c:invertIfNegative val="1"/>
            <c:bubble3D val="0"/>
            <c:spPr>
              <a:solidFill>
                <a:srgbClr val="00A097"/>
              </a:solidFill>
            </c:spPr>
            <c:extLst>
              <c:ext xmlns:c16="http://schemas.microsoft.com/office/drawing/2014/chart" uri="{C3380CC4-5D6E-409C-BE32-E72D297353CC}">
                <c16:uniqueId val="{000001A3-2993-41DE-A2CB-63102DE87051}"/>
              </c:ext>
            </c:extLst>
          </c:dPt>
          <c:dPt>
            <c:idx val="209"/>
            <c:invertIfNegative val="1"/>
            <c:bubble3D val="0"/>
            <c:spPr>
              <a:solidFill>
                <a:srgbClr val="00A097"/>
              </a:solidFill>
            </c:spPr>
            <c:extLst>
              <c:ext xmlns:c16="http://schemas.microsoft.com/office/drawing/2014/chart" uri="{C3380CC4-5D6E-409C-BE32-E72D297353CC}">
                <c16:uniqueId val="{000001A5-2993-41DE-A2CB-63102DE87051}"/>
              </c:ext>
            </c:extLst>
          </c:dPt>
          <c:dPt>
            <c:idx val="210"/>
            <c:invertIfNegative val="1"/>
            <c:bubble3D val="0"/>
            <c:spPr>
              <a:solidFill>
                <a:srgbClr val="00A097"/>
              </a:solidFill>
            </c:spPr>
            <c:extLst>
              <c:ext xmlns:c16="http://schemas.microsoft.com/office/drawing/2014/chart" uri="{C3380CC4-5D6E-409C-BE32-E72D297353CC}">
                <c16:uniqueId val="{000001A7-C623-4FBE-8EDB-4AD12F618AAD}"/>
              </c:ext>
            </c:extLst>
          </c:dPt>
          <c:dPt>
            <c:idx val="211"/>
            <c:invertIfNegative val="1"/>
            <c:bubble3D val="0"/>
            <c:spPr>
              <a:solidFill>
                <a:srgbClr val="00A097"/>
              </a:solidFill>
            </c:spPr>
            <c:extLst>
              <c:ext xmlns:c16="http://schemas.microsoft.com/office/drawing/2014/chart" uri="{C3380CC4-5D6E-409C-BE32-E72D297353CC}">
                <c16:uniqueId val="{000001A9-C623-4FBE-8EDB-4AD12F618AAD}"/>
              </c:ext>
            </c:extLst>
          </c:dPt>
          <c:dPt>
            <c:idx val="212"/>
            <c:invertIfNegative val="1"/>
            <c:bubble3D val="0"/>
            <c:spPr>
              <a:solidFill>
                <a:srgbClr val="00A097"/>
              </a:solidFill>
            </c:spPr>
            <c:extLst>
              <c:ext xmlns:c16="http://schemas.microsoft.com/office/drawing/2014/chart" uri="{C3380CC4-5D6E-409C-BE32-E72D297353CC}">
                <c16:uniqueId val="{000001AB-C623-4FBE-8EDB-4AD12F618AAD}"/>
              </c:ext>
            </c:extLst>
          </c:dPt>
          <c:dPt>
            <c:idx val="213"/>
            <c:invertIfNegative val="1"/>
            <c:bubble3D val="0"/>
            <c:spPr>
              <a:solidFill>
                <a:srgbClr val="00A097"/>
              </a:solidFill>
            </c:spPr>
            <c:extLst>
              <c:ext xmlns:c16="http://schemas.microsoft.com/office/drawing/2014/chart" uri="{C3380CC4-5D6E-409C-BE32-E72D297353CC}">
                <c16:uniqueId val="{000001AD-C623-4FBE-8EDB-4AD12F618AAD}"/>
              </c:ext>
            </c:extLst>
          </c:dPt>
          <c:dPt>
            <c:idx val="214"/>
            <c:invertIfNegative val="1"/>
            <c:bubble3D val="0"/>
            <c:spPr>
              <a:solidFill>
                <a:srgbClr val="00A097"/>
              </a:solidFill>
            </c:spPr>
            <c:extLst>
              <c:ext xmlns:c16="http://schemas.microsoft.com/office/drawing/2014/chart" uri="{C3380CC4-5D6E-409C-BE32-E72D297353CC}">
                <c16:uniqueId val="{000001AF-C623-4FBE-8EDB-4AD12F618AAD}"/>
              </c:ext>
            </c:extLst>
          </c:dPt>
          <c:dPt>
            <c:idx val="215"/>
            <c:invertIfNegative val="1"/>
            <c:bubble3D val="0"/>
            <c:spPr>
              <a:solidFill>
                <a:srgbClr val="00A097"/>
              </a:solidFill>
            </c:spPr>
            <c:extLst>
              <c:ext xmlns:c16="http://schemas.microsoft.com/office/drawing/2014/chart" uri="{C3380CC4-5D6E-409C-BE32-E72D297353CC}">
                <c16:uniqueId val="{000001B1-C623-4FBE-8EDB-4AD12F618AAD}"/>
              </c:ext>
            </c:extLst>
          </c:dPt>
          <c:dPt>
            <c:idx val="216"/>
            <c:invertIfNegative val="1"/>
            <c:bubble3D val="0"/>
            <c:spPr>
              <a:solidFill>
                <a:srgbClr val="00A097"/>
              </a:solidFill>
            </c:spPr>
            <c:extLst>
              <c:ext xmlns:c16="http://schemas.microsoft.com/office/drawing/2014/chart" uri="{C3380CC4-5D6E-409C-BE32-E72D297353CC}">
                <c16:uniqueId val="{000001B3-C623-4FBE-8EDB-4AD12F618AAD}"/>
              </c:ext>
            </c:extLst>
          </c:dPt>
          <c:dPt>
            <c:idx val="217"/>
            <c:invertIfNegative val="1"/>
            <c:bubble3D val="0"/>
            <c:spPr>
              <a:solidFill>
                <a:srgbClr val="00A097"/>
              </a:solidFill>
            </c:spPr>
            <c:extLst>
              <c:ext xmlns:c16="http://schemas.microsoft.com/office/drawing/2014/chart" uri="{C3380CC4-5D6E-409C-BE32-E72D297353CC}">
                <c16:uniqueId val="{000001B5-C623-4FBE-8EDB-4AD12F618AAD}"/>
              </c:ext>
            </c:extLst>
          </c:dPt>
          <c:dPt>
            <c:idx val="218"/>
            <c:invertIfNegative val="1"/>
            <c:bubble3D val="0"/>
            <c:spPr>
              <a:solidFill>
                <a:srgbClr val="00A097"/>
              </a:solidFill>
            </c:spPr>
            <c:extLst>
              <c:ext xmlns:c16="http://schemas.microsoft.com/office/drawing/2014/chart" uri="{C3380CC4-5D6E-409C-BE32-E72D297353CC}">
                <c16:uniqueId val="{000001B7-C623-4FBE-8EDB-4AD12F618AAD}"/>
              </c:ext>
            </c:extLst>
          </c:dPt>
          <c:dPt>
            <c:idx val="219"/>
            <c:invertIfNegative val="1"/>
            <c:bubble3D val="0"/>
            <c:spPr>
              <a:solidFill>
                <a:srgbClr val="00A097"/>
              </a:solidFill>
            </c:spPr>
            <c:extLst>
              <c:ext xmlns:c16="http://schemas.microsoft.com/office/drawing/2014/chart" uri="{C3380CC4-5D6E-409C-BE32-E72D297353CC}">
                <c16:uniqueId val="{000001B9-C623-4FBE-8EDB-4AD12F618AAD}"/>
              </c:ext>
            </c:extLst>
          </c:dPt>
          <c:dPt>
            <c:idx val="220"/>
            <c:invertIfNegative val="1"/>
            <c:bubble3D val="0"/>
            <c:spPr>
              <a:solidFill>
                <a:srgbClr val="00A097"/>
              </a:solidFill>
            </c:spPr>
            <c:extLst>
              <c:ext xmlns:c16="http://schemas.microsoft.com/office/drawing/2014/chart" uri="{C3380CC4-5D6E-409C-BE32-E72D297353CC}">
                <c16:uniqueId val="{000001BB-C623-4FBE-8EDB-4AD12F618AAD}"/>
              </c:ext>
            </c:extLst>
          </c:dPt>
          <c:dPt>
            <c:idx val="221"/>
            <c:invertIfNegative val="1"/>
            <c:bubble3D val="0"/>
            <c:spPr>
              <a:solidFill>
                <a:srgbClr val="00A097"/>
              </a:solidFill>
            </c:spPr>
            <c:extLst>
              <c:ext xmlns:c16="http://schemas.microsoft.com/office/drawing/2014/chart" uri="{C3380CC4-5D6E-409C-BE32-E72D297353CC}">
                <c16:uniqueId val="{000001BD-C623-4FBE-8EDB-4AD12F618AAD}"/>
              </c:ext>
            </c:extLst>
          </c:dPt>
          <c:dPt>
            <c:idx val="222"/>
            <c:invertIfNegative val="1"/>
            <c:bubble3D val="0"/>
            <c:spPr>
              <a:solidFill>
                <a:srgbClr val="00A097"/>
              </a:solidFill>
            </c:spPr>
            <c:extLst>
              <c:ext xmlns:c16="http://schemas.microsoft.com/office/drawing/2014/chart" uri="{C3380CC4-5D6E-409C-BE32-E72D297353CC}">
                <c16:uniqueId val="{000001BF-C623-4FBE-8EDB-4AD12F618AAD}"/>
              </c:ext>
            </c:extLst>
          </c:dPt>
          <c:dPt>
            <c:idx val="223"/>
            <c:invertIfNegative val="1"/>
            <c:bubble3D val="0"/>
            <c:spPr>
              <a:solidFill>
                <a:srgbClr val="00A097"/>
              </a:solidFill>
            </c:spPr>
            <c:extLst>
              <c:ext xmlns:c16="http://schemas.microsoft.com/office/drawing/2014/chart" uri="{C3380CC4-5D6E-409C-BE32-E72D297353CC}">
                <c16:uniqueId val="{000001C1-C623-4FBE-8EDB-4AD12F618AAD}"/>
              </c:ext>
            </c:extLst>
          </c:dPt>
          <c:dPt>
            <c:idx val="224"/>
            <c:invertIfNegative val="1"/>
            <c:bubble3D val="0"/>
            <c:spPr>
              <a:solidFill>
                <a:srgbClr val="00A097"/>
              </a:solidFill>
            </c:spPr>
            <c:extLst>
              <c:ext xmlns:c16="http://schemas.microsoft.com/office/drawing/2014/chart" uri="{C3380CC4-5D6E-409C-BE32-E72D297353CC}">
                <c16:uniqueId val="{000001C3-C623-4FBE-8EDB-4AD12F618AAD}"/>
              </c:ext>
            </c:extLst>
          </c:dPt>
          <c:dPt>
            <c:idx val="225"/>
            <c:invertIfNegative val="1"/>
            <c:bubble3D val="0"/>
            <c:spPr>
              <a:solidFill>
                <a:srgbClr val="00A097"/>
              </a:solidFill>
            </c:spPr>
            <c:extLst>
              <c:ext xmlns:c16="http://schemas.microsoft.com/office/drawing/2014/chart" uri="{C3380CC4-5D6E-409C-BE32-E72D297353CC}">
                <c16:uniqueId val="{000001C5-C623-4FBE-8EDB-4AD12F618AAD}"/>
              </c:ext>
            </c:extLst>
          </c:dPt>
          <c:dPt>
            <c:idx val="226"/>
            <c:invertIfNegative val="1"/>
            <c:bubble3D val="0"/>
            <c:spPr>
              <a:solidFill>
                <a:srgbClr val="00A097"/>
              </a:solidFill>
            </c:spPr>
            <c:extLst>
              <c:ext xmlns:c16="http://schemas.microsoft.com/office/drawing/2014/chart" uri="{C3380CC4-5D6E-409C-BE32-E72D297353CC}">
                <c16:uniqueId val="{000001C7-C623-4FBE-8EDB-4AD12F618AAD}"/>
              </c:ext>
            </c:extLst>
          </c:dPt>
          <c:dPt>
            <c:idx val="227"/>
            <c:invertIfNegative val="1"/>
            <c:bubble3D val="0"/>
            <c:spPr>
              <a:solidFill>
                <a:srgbClr val="00A097"/>
              </a:solidFill>
            </c:spPr>
            <c:extLst>
              <c:ext xmlns:c16="http://schemas.microsoft.com/office/drawing/2014/chart" uri="{C3380CC4-5D6E-409C-BE32-E72D297353CC}">
                <c16:uniqueId val="{000001C9-C623-4FBE-8EDB-4AD12F618AAD}"/>
              </c:ext>
            </c:extLst>
          </c:dPt>
          <c:dPt>
            <c:idx val="228"/>
            <c:invertIfNegative val="1"/>
            <c:bubble3D val="0"/>
            <c:spPr>
              <a:solidFill>
                <a:srgbClr val="00A097"/>
              </a:solidFill>
            </c:spPr>
            <c:extLst>
              <c:ext xmlns:c16="http://schemas.microsoft.com/office/drawing/2014/chart" uri="{C3380CC4-5D6E-409C-BE32-E72D297353CC}">
                <c16:uniqueId val="{000001CB-C623-4FBE-8EDB-4AD12F618AAD}"/>
              </c:ext>
            </c:extLst>
          </c:dPt>
          <c:dPt>
            <c:idx val="229"/>
            <c:invertIfNegative val="1"/>
            <c:bubble3D val="0"/>
            <c:spPr>
              <a:solidFill>
                <a:srgbClr val="00A097"/>
              </a:solidFill>
            </c:spPr>
            <c:extLst>
              <c:ext xmlns:c16="http://schemas.microsoft.com/office/drawing/2014/chart" uri="{C3380CC4-5D6E-409C-BE32-E72D297353CC}">
                <c16:uniqueId val="{000001CD-C623-4FBE-8EDB-4AD12F618AAD}"/>
              </c:ext>
            </c:extLst>
          </c:dPt>
          <c:dPt>
            <c:idx val="230"/>
            <c:invertIfNegative val="1"/>
            <c:bubble3D val="0"/>
            <c:spPr>
              <a:solidFill>
                <a:srgbClr val="00A097"/>
              </a:solidFill>
            </c:spPr>
            <c:extLst>
              <c:ext xmlns:c16="http://schemas.microsoft.com/office/drawing/2014/chart" uri="{C3380CC4-5D6E-409C-BE32-E72D297353CC}">
                <c16:uniqueId val="{000001CF-C623-4FBE-8EDB-4AD12F618AAD}"/>
              </c:ext>
            </c:extLst>
          </c:dPt>
          <c:dPt>
            <c:idx val="231"/>
            <c:invertIfNegative val="1"/>
            <c:bubble3D val="0"/>
            <c:spPr>
              <a:solidFill>
                <a:srgbClr val="00A097"/>
              </a:solidFill>
            </c:spPr>
            <c:extLst>
              <c:ext xmlns:c16="http://schemas.microsoft.com/office/drawing/2014/chart" uri="{C3380CC4-5D6E-409C-BE32-E72D297353CC}">
                <c16:uniqueId val="{000001D1-C623-4FBE-8EDB-4AD12F618AAD}"/>
              </c:ext>
            </c:extLst>
          </c:dPt>
          <c:dPt>
            <c:idx val="232"/>
            <c:invertIfNegative val="1"/>
            <c:bubble3D val="0"/>
            <c:spPr>
              <a:solidFill>
                <a:srgbClr val="00A097"/>
              </a:solidFill>
            </c:spPr>
            <c:extLst>
              <c:ext xmlns:c16="http://schemas.microsoft.com/office/drawing/2014/chart" uri="{C3380CC4-5D6E-409C-BE32-E72D297353CC}">
                <c16:uniqueId val="{000001D3-C623-4FBE-8EDB-4AD12F618AAD}"/>
              </c:ext>
            </c:extLst>
          </c:dPt>
          <c:dPt>
            <c:idx val="233"/>
            <c:invertIfNegative val="1"/>
            <c:bubble3D val="0"/>
            <c:spPr>
              <a:solidFill>
                <a:srgbClr val="00A097"/>
              </a:solidFill>
            </c:spPr>
            <c:extLst>
              <c:ext xmlns:c16="http://schemas.microsoft.com/office/drawing/2014/chart" uri="{C3380CC4-5D6E-409C-BE32-E72D297353CC}">
                <c16:uniqueId val="{000001D5-C623-4FBE-8EDB-4AD12F618AAD}"/>
              </c:ext>
            </c:extLst>
          </c:dPt>
          <c:dPt>
            <c:idx val="234"/>
            <c:invertIfNegative val="1"/>
            <c:bubble3D val="0"/>
            <c:spPr>
              <a:solidFill>
                <a:srgbClr val="00A097"/>
              </a:solidFill>
            </c:spPr>
            <c:extLst>
              <c:ext xmlns:c16="http://schemas.microsoft.com/office/drawing/2014/chart" uri="{C3380CC4-5D6E-409C-BE32-E72D297353CC}">
                <c16:uniqueId val="{000001D7-C623-4FBE-8EDB-4AD12F618AAD}"/>
              </c:ext>
            </c:extLst>
          </c:dPt>
          <c:dPt>
            <c:idx val="235"/>
            <c:invertIfNegative val="1"/>
            <c:bubble3D val="0"/>
            <c:spPr>
              <a:solidFill>
                <a:srgbClr val="00A097"/>
              </a:solidFill>
            </c:spPr>
            <c:extLst>
              <c:ext xmlns:c16="http://schemas.microsoft.com/office/drawing/2014/chart" uri="{C3380CC4-5D6E-409C-BE32-E72D297353CC}">
                <c16:uniqueId val="{000001D9-C623-4FBE-8EDB-4AD12F618AAD}"/>
              </c:ext>
            </c:extLst>
          </c:dPt>
          <c:dPt>
            <c:idx val="236"/>
            <c:invertIfNegative val="1"/>
            <c:bubble3D val="0"/>
            <c:spPr>
              <a:solidFill>
                <a:srgbClr val="00A097"/>
              </a:solidFill>
            </c:spPr>
            <c:extLst>
              <c:ext xmlns:c16="http://schemas.microsoft.com/office/drawing/2014/chart" uri="{C3380CC4-5D6E-409C-BE32-E72D297353CC}">
                <c16:uniqueId val="{000001DB-C623-4FBE-8EDB-4AD12F618AAD}"/>
              </c:ext>
            </c:extLst>
          </c:dPt>
          <c:dPt>
            <c:idx val="237"/>
            <c:invertIfNegative val="1"/>
            <c:bubble3D val="0"/>
            <c:spPr>
              <a:solidFill>
                <a:srgbClr val="00A097"/>
              </a:solidFill>
            </c:spPr>
            <c:extLst>
              <c:ext xmlns:c16="http://schemas.microsoft.com/office/drawing/2014/chart" uri="{C3380CC4-5D6E-409C-BE32-E72D297353CC}">
                <c16:uniqueId val="{000001DD-C623-4FBE-8EDB-4AD12F618AAD}"/>
              </c:ext>
            </c:extLst>
          </c:dPt>
          <c:dPt>
            <c:idx val="238"/>
            <c:invertIfNegative val="1"/>
            <c:bubble3D val="0"/>
            <c:spPr>
              <a:solidFill>
                <a:srgbClr val="00A097"/>
              </a:solidFill>
            </c:spPr>
            <c:extLst>
              <c:ext xmlns:c16="http://schemas.microsoft.com/office/drawing/2014/chart" uri="{C3380CC4-5D6E-409C-BE32-E72D297353CC}">
                <c16:uniqueId val="{000001DF-C623-4FBE-8EDB-4AD12F618AAD}"/>
              </c:ext>
            </c:extLst>
          </c:dPt>
          <c:dPt>
            <c:idx val="239"/>
            <c:invertIfNegative val="1"/>
            <c:bubble3D val="0"/>
            <c:spPr>
              <a:solidFill>
                <a:srgbClr val="00A097"/>
              </a:solidFill>
            </c:spPr>
            <c:extLst>
              <c:ext xmlns:c16="http://schemas.microsoft.com/office/drawing/2014/chart" uri="{C3380CC4-5D6E-409C-BE32-E72D297353CC}">
                <c16:uniqueId val="{000001E1-C623-4FBE-8EDB-4AD12F618AAD}"/>
              </c:ext>
            </c:extLst>
          </c:dPt>
          <c:dPt>
            <c:idx val="240"/>
            <c:invertIfNegative val="1"/>
            <c:bubble3D val="0"/>
            <c:spPr>
              <a:solidFill>
                <a:srgbClr val="00A097"/>
              </a:solidFill>
            </c:spPr>
            <c:extLst>
              <c:ext xmlns:c16="http://schemas.microsoft.com/office/drawing/2014/chart" uri="{C3380CC4-5D6E-409C-BE32-E72D297353CC}">
                <c16:uniqueId val="{000001E3-C623-4FBE-8EDB-4AD12F618AAD}"/>
              </c:ext>
            </c:extLst>
          </c:dPt>
          <c:dPt>
            <c:idx val="241"/>
            <c:invertIfNegative val="1"/>
            <c:bubble3D val="0"/>
            <c:spPr>
              <a:solidFill>
                <a:srgbClr val="00A097"/>
              </a:solidFill>
            </c:spPr>
            <c:extLst>
              <c:ext xmlns:c16="http://schemas.microsoft.com/office/drawing/2014/chart" uri="{C3380CC4-5D6E-409C-BE32-E72D297353CC}">
                <c16:uniqueId val="{000001E5-C623-4FBE-8EDB-4AD12F618AAD}"/>
              </c:ext>
            </c:extLst>
          </c:dPt>
          <c:dPt>
            <c:idx val="242"/>
            <c:invertIfNegative val="1"/>
            <c:bubble3D val="0"/>
            <c:spPr>
              <a:solidFill>
                <a:srgbClr val="00A097"/>
              </a:solidFill>
            </c:spPr>
            <c:extLst>
              <c:ext xmlns:c16="http://schemas.microsoft.com/office/drawing/2014/chart" uri="{C3380CC4-5D6E-409C-BE32-E72D297353CC}">
                <c16:uniqueId val="{000001E7-C623-4FBE-8EDB-4AD12F618AAD}"/>
              </c:ext>
            </c:extLst>
          </c:dPt>
          <c:dPt>
            <c:idx val="243"/>
            <c:invertIfNegative val="1"/>
            <c:bubble3D val="0"/>
            <c:spPr>
              <a:solidFill>
                <a:srgbClr val="00A097"/>
              </a:solidFill>
            </c:spPr>
            <c:extLst>
              <c:ext xmlns:c16="http://schemas.microsoft.com/office/drawing/2014/chart" uri="{C3380CC4-5D6E-409C-BE32-E72D297353CC}">
                <c16:uniqueId val="{000001E9-C623-4FBE-8EDB-4AD12F618AAD}"/>
              </c:ext>
            </c:extLst>
          </c:dPt>
          <c:dPt>
            <c:idx val="244"/>
            <c:invertIfNegative val="1"/>
            <c:bubble3D val="0"/>
            <c:spPr>
              <a:solidFill>
                <a:srgbClr val="00A097"/>
              </a:solidFill>
            </c:spPr>
            <c:extLst>
              <c:ext xmlns:c16="http://schemas.microsoft.com/office/drawing/2014/chart" uri="{C3380CC4-5D6E-409C-BE32-E72D297353CC}">
                <c16:uniqueId val="{000001EB-C623-4FBE-8EDB-4AD12F618AAD}"/>
              </c:ext>
            </c:extLst>
          </c:dPt>
          <c:dPt>
            <c:idx val="245"/>
            <c:invertIfNegative val="1"/>
            <c:bubble3D val="0"/>
            <c:spPr>
              <a:solidFill>
                <a:srgbClr val="00A097"/>
              </a:solidFill>
            </c:spPr>
            <c:extLst>
              <c:ext xmlns:c16="http://schemas.microsoft.com/office/drawing/2014/chart" uri="{C3380CC4-5D6E-409C-BE32-E72D297353CC}">
                <c16:uniqueId val="{000001ED-C623-4FBE-8EDB-4AD12F618AAD}"/>
              </c:ext>
            </c:extLst>
          </c:dPt>
          <c:dPt>
            <c:idx val="246"/>
            <c:invertIfNegative val="1"/>
            <c:bubble3D val="0"/>
            <c:spPr>
              <a:solidFill>
                <a:srgbClr val="00A097"/>
              </a:solidFill>
            </c:spPr>
            <c:extLst>
              <c:ext xmlns:c16="http://schemas.microsoft.com/office/drawing/2014/chart" uri="{C3380CC4-5D6E-409C-BE32-E72D297353CC}">
                <c16:uniqueId val="{000001EF-C623-4FBE-8EDB-4AD12F618AAD}"/>
              </c:ext>
            </c:extLst>
          </c:dPt>
          <c:dPt>
            <c:idx val="247"/>
            <c:invertIfNegative val="1"/>
            <c:bubble3D val="0"/>
            <c:spPr>
              <a:solidFill>
                <a:srgbClr val="00A097"/>
              </a:solidFill>
            </c:spPr>
            <c:extLst>
              <c:ext xmlns:c16="http://schemas.microsoft.com/office/drawing/2014/chart" uri="{C3380CC4-5D6E-409C-BE32-E72D297353CC}">
                <c16:uniqueId val="{000001F1-C623-4FBE-8EDB-4AD12F618AAD}"/>
              </c:ext>
            </c:extLst>
          </c:dPt>
          <c:dPt>
            <c:idx val="248"/>
            <c:invertIfNegative val="1"/>
            <c:bubble3D val="0"/>
            <c:spPr>
              <a:solidFill>
                <a:srgbClr val="00A097"/>
              </a:solidFill>
            </c:spPr>
            <c:extLst>
              <c:ext xmlns:c16="http://schemas.microsoft.com/office/drawing/2014/chart" uri="{C3380CC4-5D6E-409C-BE32-E72D297353CC}">
                <c16:uniqueId val="{000001F3-C623-4FBE-8EDB-4AD12F618AAD}"/>
              </c:ext>
            </c:extLst>
          </c:dPt>
          <c:dPt>
            <c:idx val="249"/>
            <c:invertIfNegative val="1"/>
            <c:bubble3D val="0"/>
            <c:spPr>
              <a:solidFill>
                <a:srgbClr val="00A097"/>
              </a:solidFill>
            </c:spPr>
            <c:extLst>
              <c:ext xmlns:c16="http://schemas.microsoft.com/office/drawing/2014/chart" uri="{C3380CC4-5D6E-409C-BE32-E72D297353CC}">
                <c16:uniqueId val="{000001F5-C623-4FBE-8EDB-4AD12F618AAD}"/>
              </c:ext>
            </c:extLst>
          </c:dPt>
          <c:dPt>
            <c:idx val="250"/>
            <c:invertIfNegative val="1"/>
            <c:bubble3D val="0"/>
            <c:spPr>
              <a:solidFill>
                <a:srgbClr val="00A097"/>
              </a:solidFill>
            </c:spPr>
            <c:extLst>
              <c:ext xmlns:c16="http://schemas.microsoft.com/office/drawing/2014/chart" uri="{C3380CC4-5D6E-409C-BE32-E72D297353CC}">
                <c16:uniqueId val="{000001F7-C623-4FBE-8EDB-4AD12F618AAD}"/>
              </c:ext>
            </c:extLst>
          </c:dPt>
          <c:dPt>
            <c:idx val="251"/>
            <c:invertIfNegative val="1"/>
            <c:bubble3D val="0"/>
            <c:spPr>
              <a:solidFill>
                <a:srgbClr val="00A097"/>
              </a:solidFill>
            </c:spPr>
            <c:extLst>
              <c:ext xmlns:c16="http://schemas.microsoft.com/office/drawing/2014/chart" uri="{C3380CC4-5D6E-409C-BE32-E72D297353CC}">
                <c16:uniqueId val="{000001F9-C623-4FBE-8EDB-4AD12F618AAD}"/>
              </c:ext>
            </c:extLst>
          </c:dPt>
          <c:dPt>
            <c:idx val="252"/>
            <c:invertIfNegative val="1"/>
            <c:bubble3D val="0"/>
            <c:spPr>
              <a:solidFill>
                <a:srgbClr val="00A097"/>
              </a:solidFill>
            </c:spPr>
            <c:extLst>
              <c:ext xmlns:c16="http://schemas.microsoft.com/office/drawing/2014/chart" uri="{C3380CC4-5D6E-409C-BE32-E72D297353CC}">
                <c16:uniqueId val="{000001FB-C623-4FBE-8EDB-4AD12F618AAD}"/>
              </c:ext>
            </c:extLst>
          </c:dPt>
          <c:dPt>
            <c:idx val="253"/>
            <c:invertIfNegative val="1"/>
            <c:bubble3D val="0"/>
            <c:spPr>
              <a:solidFill>
                <a:srgbClr val="00A097"/>
              </a:solidFill>
            </c:spPr>
            <c:extLst>
              <c:ext xmlns:c16="http://schemas.microsoft.com/office/drawing/2014/chart" uri="{C3380CC4-5D6E-409C-BE32-E72D297353CC}">
                <c16:uniqueId val="{000001FD-C623-4FBE-8EDB-4AD12F618AAD}"/>
              </c:ext>
            </c:extLst>
          </c:dPt>
          <c:dPt>
            <c:idx val="254"/>
            <c:invertIfNegative val="1"/>
            <c:bubble3D val="0"/>
            <c:spPr>
              <a:solidFill>
                <a:srgbClr val="00A097"/>
              </a:solidFill>
            </c:spPr>
            <c:extLst>
              <c:ext xmlns:c16="http://schemas.microsoft.com/office/drawing/2014/chart" uri="{C3380CC4-5D6E-409C-BE32-E72D297353CC}">
                <c16:uniqueId val="{000001FF-C623-4FBE-8EDB-4AD12F618AAD}"/>
              </c:ext>
            </c:extLst>
          </c:dPt>
          <c:dPt>
            <c:idx val="255"/>
            <c:invertIfNegative val="1"/>
            <c:bubble3D val="0"/>
            <c:spPr>
              <a:solidFill>
                <a:srgbClr val="00A097"/>
              </a:solidFill>
            </c:spPr>
            <c:extLst>
              <c:ext xmlns:c16="http://schemas.microsoft.com/office/drawing/2014/chart" uri="{C3380CC4-5D6E-409C-BE32-E72D297353CC}">
                <c16:uniqueId val="{00000201-C623-4FBE-8EDB-4AD12F618AAD}"/>
              </c:ext>
            </c:extLst>
          </c:dPt>
          <c:dPt>
            <c:idx val="256"/>
            <c:invertIfNegative val="1"/>
            <c:bubble3D val="0"/>
            <c:spPr>
              <a:solidFill>
                <a:srgbClr val="00A097"/>
              </a:solidFill>
            </c:spPr>
            <c:extLst>
              <c:ext xmlns:c16="http://schemas.microsoft.com/office/drawing/2014/chart" uri="{C3380CC4-5D6E-409C-BE32-E72D297353CC}">
                <c16:uniqueId val="{00000203-C623-4FBE-8EDB-4AD12F618AAD}"/>
              </c:ext>
            </c:extLst>
          </c:dPt>
          <c:dPt>
            <c:idx val="257"/>
            <c:invertIfNegative val="1"/>
            <c:bubble3D val="0"/>
            <c:spPr>
              <a:solidFill>
                <a:srgbClr val="00A097"/>
              </a:solidFill>
            </c:spPr>
            <c:extLst>
              <c:ext xmlns:c16="http://schemas.microsoft.com/office/drawing/2014/chart" uri="{C3380CC4-5D6E-409C-BE32-E72D297353CC}">
                <c16:uniqueId val="{00000205-C623-4FBE-8EDB-4AD12F618AAD}"/>
              </c:ext>
            </c:extLst>
          </c:dPt>
          <c:dPt>
            <c:idx val="258"/>
            <c:invertIfNegative val="1"/>
            <c:bubble3D val="0"/>
            <c:spPr>
              <a:solidFill>
                <a:srgbClr val="00A097"/>
              </a:solidFill>
            </c:spPr>
            <c:extLst>
              <c:ext xmlns:c16="http://schemas.microsoft.com/office/drawing/2014/chart" uri="{C3380CC4-5D6E-409C-BE32-E72D297353CC}">
                <c16:uniqueId val="{00000207-C623-4FBE-8EDB-4AD12F618AAD}"/>
              </c:ext>
            </c:extLst>
          </c:dPt>
          <c:dPt>
            <c:idx val="259"/>
            <c:invertIfNegative val="1"/>
            <c:bubble3D val="0"/>
            <c:spPr>
              <a:solidFill>
                <a:srgbClr val="00A097"/>
              </a:solidFill>
            </c:spPr>
            <c:extLst>
              <c:ext xmlns:c16="http://schemas.microsoft.com/office/drawing/2014/chart" uri="{C3380CC4-5D6E-409C-BE32-E72D297353CC}">
                <c16:uniqueId val="{00000209-C623-4FBE-8EDB-4AD12F618AAD}"/>
              </c:ext>
            </c:extLst>
          </c:dPt>
          <c:dPt>
            <c:idx val="260"/>
            <c:invertIfNegative val="1"/>
            <c:bubble3D val="0"/>
            <c:spPr>
              <a:solidFill>
                <a:srgbClr val="00A097"/>
              </a:solidFill>
            </c:spPr>
            <c:extLst>
              <c:ext xmlns:c16="http://schemas.microsoft.com/office/drawing/2014/chart" uri="{C3380CC4-5D6E-409C-BE32-E72D297353CC}">
                <c16:uniqueId val="{0000020B-C623-4FBE-8EDB-4AD12F618AAD}"/>
              </c:ext>
            </c:extLst>
          </c:dPt>
          <c:dPt>
            <c:idx val="261"/>
            <c:invertIfNegative val="1"/>
            <c:bubble3D val="0"/>
            <c:spPr>
              <a:solidFill>
                <a:srgbClr val="00A097"/>
              </a:solidFill>
            </c:spPr>
            <c:extLst>
              <c:ext xmlns:c16="http://schemas.microsoft.com/office/drawing/2014/chart" uri="{C3380CC4-5D6E-409C-BE32-E72D297353CC}">
                <c16:uniqueId val="{0000020D-C623-4FBE-8EDB-4AD12F618AAD}"/>
              </c:ext>
            </c:extLst>
          </c:dPt>
          <c:dPt>
            <c:idx val="262"/>
            <c:invertIfNegative val="1"/>
            <c:bubble3D val="0"/>
            <c:spPr>
              <a:solidFill>
                <a:srgbClr val="00A097"/>
              </a:solidFill>
            </c:spPr>
            <c:extLst>
              <c:ext xmlns:c16="http://schemas.microsoft.com/office/drawing/2014/chart" uri="{C3380CC4-5D6E-409C-BE32-E72D297353CC}">
                <c16:uniqueId val="{0000020F-C623-4FBE-8EDB-4AD12F618AAD}"/>
              </c:ext>
            </c:extLst>
          </c:dPt>
          <c:dPt>
            <c:idx val="263"/>
            <c:invertIfNegative val="1"/>
            <c:bubble3D val="0"/>
            <c:spPr>
              <a:solidFill>
                <a:srgbClr val="00A097"/>
              </a:solidFill>
            </c:spPr>
            <c:extLst>
              <c:ext xmlns:c16="http://schemas.microsoft.com/office/drawing/2014/chart" uri="{C3380CC4-5D6E-409C-BE32-E72D297353CC}">
                <c16:uniqueId val="{00000211-C623-4FBE-8EDB-4AD12F618AAD}"/>
              </c:ext>
            </c:extLst>
          </c:dPt>
          <c:dPt>
            <c:idx val="264"/>
            <c:invertIfNegative val="1"/>
            <c:bubble3D val="0"/>
            <c:spPr>
              <a:solidFill>
                <a:srgbClr val="00A097"/>
              </a:solidFill>
            </c:spPr>
            <c:extLst>
              <c:ext xmlns:c16="http://schemas.microsoft.com/office/drawing/2014/chart" uri="{C3380CC4-5D6E-409C-BE32-E72D297353CC}">
                <c16:uniqueId val="{00000213-C623-4FBE-8EDB-4AD12F618AAD}"/>
              </c:ext>
            </c:extLst>
          </c:dPt>
          <c:dPt>
            <c:idx val="265"/>
            <c:invertIfNegative val="1"/>
            <c:bubble3D val="0"/>
            <c:spPr>
              <a:solidFill>
                <a:srgbClr val="00A097"/>
              </a:solidFill>
            </c:spPr>
            <c:extLst>
              <c:ext xmlns:c16="http://schemas.microsoft.com/office/drawing/2014/chart" uri="{C3380CC4-5D6E-409C-BE32-E72D297353CC}">
                <c16:uniqueId val="{00000215-C623-4FBE-8EDB-4AD12F618AAD}"/>
              </c:ext>
            </c:extLst>
          </c:dPt>
          <c:dPt>
            <c:idx val="266"/>
            <c:invertIfNegative val="1"/>
            <c:bubble3D val="0"/>
            <c:spPr>
              <a:solidFill>
                <a:srgbClr val="00A097"/>
              </a:solidFill>
            </c:spPr>
            <c:extLst>
              <c:ext xmlns:c16="http://schemas.microsoft.com/office/drawing/2014/chart" uri="{C3380CC4-5D6E-409C-BE32-E72D297353CC}">
                <c16:uniqueId val="{00000217-C623-4FBE-8EDB-4AD12F618AAD}"/>
              </c:ext>
            </c:extLst>
          </c:dPt>
          <c:dPt>
            <c:idx val="267"/>
            <c:invertIfNegative val="1"/>
            <c:bubble3D val="0"/>
            <c:spPr>
              <a:solidFill>
                <a:srgbClr val="00A097"/>
              </a:solidFill>
            </c:spPr>
            <c:extLst>
              <c:ext xmlns:c16="http://schemas.microsoft.com/office/drawing/2014/chart" uri="{C3380CC4-5D6E-409C-BE32-E72D297353CC}">
                <c16:uniqueId val="{00000219-C623-4FBE-8EDB-4AD12F618AAD}"/>
              </c:ext>
            </c:extLst>
          </c:dPt>
          <c:dPt>
            <c:idx val="268"/>
            <c:invertIfNegative val="1"/>
            <c:bubble3D val="0"/>
            <c:spPr>
              <a:solidFill>
                <a:srgbClr val="00A097"/>
              </a:solidFill>
            </c:spPr>
            <c:extLst>
              <c:ext xmlns:c16="http://schemas.microsoft.com/office/drawing/2014/chart" uri="{C3380CC4-5D6E-409C-BE32-E72D297353CC}">
                <c16:uniqueId val="{0000021B-C623-4FBE-8EDB-4AD12F618AAD}"/>
              </c:ext>
            </c:extLst>
          </c:dPt>
          <c:dPt>
            <c:idx val="269"/>
            <c:invertIfNegative val="1"/>
            <c:bubble3D val="0"/>
            <c:spPr>
              <a:solidFill>
                <a:srgbClr val="00A097"/>
              </a:solidFill>
            </c:spPr>
            <c:extLst>
              <c:ext xmlns:c16="http://schemas.microsoft.com/office/drawing/2014/chart" uri="{C3380CC4-5D6E-409C-BE32-E72D297353CC}">
                <c16:uniqueId val="{0000021D-C623-4FBE-8EDB-4AD12F618AAD}"/>
              </c:ext>
            </c:extLst>
          </c:dPt>
          <c:dPt>
            <c:idx val="270"/>
            <c:invertIfNegative val="1"/>
            <c:bubble3D val="0"/>
            <c:spPr>
              <a:solidFill>
                <a:srgbClr val="00A097"/>
              </a:solidFill>
            </c:spPr>
            <c:extLst>
              <c:ext xmlns:c16="http://schemas.microsoft.com/office/drawing/2014/chart" uri="{C3380CC4-5D6E-409C-BE32-E72D297353CC}">
                <c16:uniqueId val="{0000021F-C623-4FBE-8EDB-4AD12F618AAD}"/>
              </c:ext>
            </c:extLst>
          </c:dPt>
          <c:dPt>
            <c:idx val="271"/>
            <c:invertIfNegative val="1"/>
            <c:bubble3D val="0"/>
            <c:spPr>
              <a:solidFill>
                <a:srgbClr val="00A097"/>
              </a:solidFill>
            </c:spPr>
            <c:extLst>
              <c:ext xmlns:c16="http://schemas.microsoft.com/office/drawing/2014/chart" uri="{C3380CC4-5D6E-409C-BE32-E72D297353CC}">
                <c16:uniqueId val="{00000221-C623-4FBE-8EDB-4AD12F618AAD}"/>
              </c:ext>
            </c:extLst>
          </c:dPt>
          <c:dPt>
            <c:idx val="272"/>
            <c:invertIfNegative val="1"/>
            <c:bubble3D val="0"/>
            <c:spPr>
              <a:solidFill>
                <a:srgbClr val="00A097"/>
              </a:solidFill>
            </c:spPr>
            <c:extLst>
              <c:ext xmlns:c16="http://schemas.microsoft.com/office/drawing/2014/chart" uri="{C3380CC4-5D6E-409C-BE32-E72D297353CC}">
                <c16:uniqueId val="{00000223-C623-4FBE-8EDB-4AD12F618AAD}"/>
              </c:ext>
            </c:extLst>
          </c:dPt>
          <c:dPt>
            <c:idx val="273"/>
            <c:invertIfNegative val="1"/>
            <c:bubble3D val="0"/>
            <c:spPr>
              <a:solidFill>
                <a:srgbClr val="00A097"/>
              </a:solidFill>
            </c:spPr>
            <c:extLst>
              <c:ext xmlns:c16="http://schemas.microsoft.com/office/drawing/2014/chart" uri="{C3380CC4-5D6E-409C-BE32-E72D297353CC}">
                <c16:uniqueId val="{00000225-C623-4FBE-8EDB-4AD12F618AAD}"/>
              </c:ext>
            </c:extLst>
          </c:dPt>
          <c:dPt>
            <c:idx val="274"/>
            <c:invertIfNegative val="1"/>
            <c:bubble3D val="0"/>
            <c:spPr>
              <a:solidFill>
                <a:srgbClr val="00A097"/>
              </a:solidFill>
            </c:spPr>
            <c:extLst>
              <c:ext xmlns:c16="http://schemas.microsoft.com/office/drawing/2014/chart" uri="{C3380CC4-5D6E-409C-BE32-E72D297353CC}">
                <c16:uniqueId val="{00000227-C623-4FBE-8EDB-4AD12F618AAD}"/>
              </c:ext>
            </c:extLst>
          </c:dPt>
          <c:dPt>
            <c:idx val="275"/>
            <c:invertIfNegative val="1"/>
            <c:bubble3D val="0"/>
            <c:spPr>
              <a:solidFill>
                <a:srgbClr val="00A097"/>
              </a:solidFill>
            </c:spPr>
            <c:extLst>
              <c:ext xmlns:c16="http://schemas.microsoft.com/office/drawing/2014/chart" uri="{C3380CC4-5D6E-409C-BE32-E72D297353CC}">
                <c16:uniqueId val="{00000229-C623-4FBE-8EDB-4AD12F618AAD}"/>
              </c:ext>
            </c:extLst>
          </c:dPt>
          <c:dPt>
            <c:idx val="276"/>
            <c:invertIfNegative val="1"/>
            <c:bubble3D val="0"/>
            <c:spPr>
              <a:solidFill>
                <a:srgbClr val="00A097"/>
              </a:solidFill>
            </c:spPr>
            <c:extLst>
              <c:ext xmlns:c16="http://schemas.microsoft.com/office/drawing/2014/chart" uri="{C3380CC4-5D6E-409C-BE32-E72D297353CC}">
                <c16:uniqueId val="{0000022B-C623-4FBE-8EDB-4AD12F618AAD}"/>
              </c:ext>
            </c:extLst>
          </c:dPt>
          <c:dPt>
            <c:idx val="277"/>
            <c:invertIfNegative val="1"/>
            <c:bubble3D val="0"/>
            <c:spPr>
              <a:solidFill>
                <a:srgbClr val="00A097"/>
              </a:solidFill>
            </c:spPr>
            <c:extLst>
              <c:ext xmlns:c16="http://schemas.microsoft.com/office/drawing/2014/chart" uri="{C3380CC4-5D6E-409C-BE32-E72D297353CC}">
                <c16:uniqueId val="{0000022D-C623-4FBE-8EDB-4AD12F618AAD}"/>
              </c:ext>
            </c:extLst>
          </c:dPt>
          <c:dPt>
            <c:idx val="278"/>
            <c:invertIfNegative val="1"/>
            <c:bubble3D val="0"/>
            <c:spPr>
              <a:solidFill>
                <a:srgbClr val="00A097"/>
              </a:solidFill>
            </c:spPr>
            <c:extLst>
              <c:ext xmlns:c16="http://schemas.microsoft.com/office/drawing/2014/chart" uri="{C3380CC4-5D6E-409C-BE32-E72D297353CC}">
                <c16:uniqueId val="{0000022F-C623-4FBE-8EDB-4AD12F618AAD}"/>
              </c:ext>
            </c:extLst>
          </c:dPt>
          <c:dPt>
            <c:idx val="279"/>
            <c:invertIfNegative val="1"/>
            <c:bubble3D val="0"/>
            <c:spPr>
              <a:solidFill>
                <a:srgbClr val="00A097"/>
              </a:solidFill>
            </c:spPr>
            <c:extLst>
              <c:ext xmlns:c16="http://schemas.microsoft.com/office/drawing/2014/chart" uri="{C3380CC4-5D6E-409C-BE32-E72D297353CC}">
                <c16:uniqueId val="{00000231-C623-4FBE-8EDB-4AD12F618AAD}"/>
              </c:ext>
            </c:extLst>
          </c:dPt>
          <c:dPt>
            <c:idx val="280"/>
            <c:invertIfNegative val="1"/>
            <c:bubble3D val="0"/>
            <c:spPr>
              <a:solidFill>
                <a:srgbClr val="00A097"/>
              </a:solidFill>
            </c:spPr>
            <c:extLst>
              <c:ext xmlns:c16="http://schemas.microsoft.com/office/drawing/2014/chart" uri="{C3380CC4-5D6E-409C-BE32-E72D297353CC}">
                <c16:uniqueId val="{00000233-C623-4FBE-8EDB-4AD12F618AAD}"/>
              </c:ext>
            </c:extLst>
          </c:dPt>
          <c:dPt>
            <c:idx val="281"/>
            <c:invertIfNegative val="1"/>
            <c:bubble3D val="0"/>
            <c:spPr>
              <a:solidFill>
                <a:srgbClr val="00A097"/>
              </a:solidFill>
            </c:spPr>
            <c:extLst>
              <c:ext xmlns:c16="http://schemas.microsoft.com/office/drawing/2014/chart" uri="{C3380CC4-5D6E-409C-BE32-E72D297353CC}">
                <c16:uniqueId val="{00000235-C623-4FBE-8EDB-4AD12F618AAD}"/>
              </c:ext>
            </c:extLst>
          </c:dPt>
          <c:dPt>
            <c:idx val="282"/>
            <c:invertIfNegative val="1"/>
            <c:bubble3D val="0"/>
            <c:spPr>
              <a:solidFill>
                <a:srgbClr val="00A097"/>
              </a:solidFill>
            </c:spPr>
            <c:extLst>
              <c:ext xmlns:c16="http://schemas.microsoft.com/office/drawing/2014/chart" uri="{C3380CC4-5D6E-409C-BE32-E72D297353CC}">
                <c16:uniqueId val="{00000237-C623-4FBE-8EDB-4AD12F618AAD}"/>
              </c:ext>
            </c:extLst>
          </c:dPt>
          <c:dPt>
            <c:idx val="283"/>
            <c:invertIfNegative val="1"/>
            <c:bubble3D val="0"/>
            <c:spPr>
              <a:solidFill>
                <a:srgbClr val="00A097"/>
              </a:solidFill>
            </c:spPr>
            <c:extLst>
              <c:ext xmlns:c16="http://schemas.microsoft.com/office/drawing/2014/chart" uri="{C3380CC4-5D6E-409C-BE32-E72D297353CC}">
                <c16:uniqueId val="{00000239-C623-4FBE-8EDB-4AD12F618AAD}"/>
              </c:ext>
            </c:extLst>
          </c:dPt>
          <c:dPt>
            <c:idx val="284"/>
            <c:invertIfNegative val="1"/>
            <c:bubble3D val="0"/>
            <c:spPr>
              <a:solidFill>
                <a:srgbClr val="00A097"/>
              </a:solidFill>
            </c:spPr>
            <c:extLst>
              <c:ext xmlns:c16="http://schemas.microsoft.com/office/drawing/2014/chart" uri="{C3380CC4-5D6E-409C-BE32-E72D297353CC}">
                <c16:uniqueId val="{0000023B-C623-4FBE-8EDB-4AD12F618AAD}"/>
              </c:ext>
            </c:extLst>
          </c:dPt>
          <c:dPt>
            <c:idx val="285"/>
            <c:invertIfNegative val="1"/>
            <c:bubble3D val="0"/>
            <c:spPr>
              <a:solidFill>
                <a:srgbClr val="00A097"/>
              </a:solidFill>
            </c:spPr>
            <c:extLst>
              <c:ext xmlns:c16="http://schemas.microsoft.com/office/drawing/2014/chart" uri="{C3380CC4-5D6E-409C-BE32-E72D297353CC}">
                <c16:uniqueId val="{0000023D-C623-4FBE-8EDB-4AD12F618AAD}"/>
              </c:ext>
            </c:extLst>
          </c:dPt>
          <c:dPt>
            <c:idx val="286"/>
            <c:invertIfNegative val="1"/>
            <c:bubble3D val="0"/>
            <c:spPr>
              <a:solidFill>
                <a:srgbClr val="00A097"/>
              </a:solidFill>
            </c:spPr>
            <c:extLst>
              <c:ext xmlns:c16="http://schemas.microsoft.com/office/drawing/2014/chart" uri="{C3380CC4-5D6E-409C-BE32-E72D297353CC}">
                <c16:uniqueId val="{0000023F-C623-4FBE-8EDB-4AD12F618AAD}"/>
              </c:ext>
            </c:extLst>
          </c:dPt>
          <c:dPt>
            <c:idx val="287"/>
            <c:invertIfNegative val="1"/>
            <c:bubble3D val="0"/>
            <c:spPr>
              <a:solidFill>
                <a:srgbClr val="00A097"/>
              </a:solidFill>
            </c:spPr>
            <c:extLst>
              <c:ext xmlns:c16="http://schemas.microsoft.com/office/drawing/2014/chart" uri="{C3380CC4-5D6E-409C-BE32-E72D297353CC}">
                <c16:uniqueId val="{00000241-C623-4FBE-8EDB-4AD12F618AAD}"/>
              </c:ext>
            </c:extLst>
          </c:dPt>
          <c:dPt>
            <c:idx val="288"/>
            <c:invertIfNegative val="1"/>
            <c:bubble3D val="0"/>
            <c:spPr>
              <a:solidFill>
                <a:srgbClr val="00A097"/>
              </a:solidFill>
            </c:spPr>
            <c:extLst>
              <c:ext xmlns:c16="http://schemas.microsoft.com/office/drawing/2014/chart" uri="{C3380CC4-5D6E-409C-BE32-E72D297353CC}">
                <c16:uniqueId val="{00000243-C623-4FBE-8EDB-4AD12F618AAD}"/>
              </c:ext>
            </c:extLst>
          </c:dPt>
          <c:dPt>
            <c:idx val="289"/>
            <c:invertIfNegative val="1"/>
            <c:bubble3D val="0"/>
            <c:spPr>
              <a:solidFill>
                <a:srgbClr val="00A097"/>
              </a:solidFill>
            </c:spPr>
            <c:extLst>
              <c:ext xmlns:c16="http://schemas.microsoft.com/office/drawing/2014/chart" uri="{C3380CC4-5D6E-409C-BE32-E72D297353CC}">
                <c16:uniqueId val="{00000245-C623-4FBE-8EDB-4AD12F618AAD}"/>
              </c:ext>
            </c:extLst>
          </c:dPt>
          <c:dPt>
            <c:idx val="290"/>
            <c:invertIfNegative val="1"/>
            <c:bubble3D val="0"/>
            <c:spPr>
              <a:solidFill>
                <a:srgbClr val="00A097"/>
              </a:solidFill>
            </c:spPr>
            <c:extLst>
              <c:ext xmlns:c16="http://schemas.microsoft.com/office/drawing/2014/chart" uri="{C3380CC4-5D6E-409C-BE32-E72D297353CC}">
                <c16:uniqueId val="{00000247-C623-4FBE-8EDB-4AD12F618AAD}"/>
              </c:ext>
            </c:extLst>
          </c:dPt>
          <c:dPt>
            <c:idx val="291"/>
            <c:invertIfNegative val="1"/>
            <c:bubble3D val="0"/>
            <c:spPr>
              <a:solidFill>
                <a:srgbClr val="00A097"/>
              </a:solidFill>
            </c:spPr>
            <c:extLst>
              <c:ext xmlns:c16="http://schemas.microsoft.com/office/drawing/2014/chart" uri="{C3380CC4-5D6E-409C-BE32-E72D297353CC}">
                <c16:uniqueId val="{00000249-C623-4FBE-8EDB-4AD12F618AAD}"/>
              </c:ext>
            </c:extLst>
          </c:dPt>
          <c:dPt>
            <c:idx val="292"/>
            <c:invertIfNegative val="1"/>
            <c:bubble3D val="0"/>
            <c:spPr>
              <a:solidFill>
                <a:srgbClr val="00A097"/>
              </a:solidFill>
            </c:spPr>
            <c:extLst>
              <c:ext xmlns:c16="http://schemas.microsoft.com/office/drawing/2014/chart" uri="{C3380CC4-5D6E-409C-BE32-E72D297353CC}">
                <c16:uniqueId val="{0000024B-C623-4FBE-8EDB-4AD12F618AAD}"/>
              </c:ext>
            </c:extLst>
          </c:dPt>
          <c:dPt>
            <c:idx val="293"/>
            <c:invertIfNegative val="1"/>
            <c:bubble3D val="0"/>
            <c:spPr>
              <a:solidFill>
                <a:srgbClr val="00A097"/>
              </a:solidFill>
            </c:spPr>
            <c:extLst>
              <c:ext xmlns:c16="http://schemas.microsoft.com/office/drawing/2014/chart" uri="{C3380CC4-5D6E-409C-BE32-E72D297353CC}">
                <c16:uniqueId val="{0000024D-C623-4FBE-8EDB-4AD12F618AAD}"/>
              </c:ext>
            </c:extLst>
          </c:dPt>
          <c:dPt>
            <c:idx val="294"/>
            <c:invertIfNegative val="1"/>
            <c:bubble3D val="0"/>
            <c:spPr>
              <a:solidFill>
                <a:srgbClr val="00A097"/>
              </a:solidFill>
            </c:spPr>
            <c:extLst>
              <c:ext xmlns:c16="http://schemas.microsoft.com/office/drawing/2014/chart" uri="{C3380CC4-5D6E-409C-BE32-E72D297353CC}">
                <c16:uniqueId val="{0000024F-C623-4FBE-8EDB-4AD12F618AAD}"/>
              </c:ext>
            </c:extLst>
          </c:dPt>
          <c:dPt>
            <c:idx val="295"/>
            <c:invertIfNegative val="1"/>
            <c:bubble3D val="0"/>
            <c:spPr>
              <a:solidFill>
                <a:srgbClr val="00A097"/>
              </a:solidFill>
            </c:spPr>
            <c:extLst>
              <c:ext xmlns:c16="http://schemas.microsoft.com/office/drawing/2014/chart" uri="{C3380CC4-5D6E-409C-BE32-E72D297353CC}">
                <c16:uniqueId val="{00000251-C623-4FBE-8EDB-4AD12F618AAD}"/>
              </c:ext>
            </c:extLst>
          </c:dPt>
          <c:dPt>
            <c:idx val="296"/>
            <c:invertIfNegative val="1"/>
            <c:bubble3D val="0"/>
            <c:spPr>
              <a:solidFill>
                <a:srgbClr val="00A097"/>
              </a:solidFill>
            </c:spPr>
            <c:extLst>
              <c:ext xmlns:c16="http://schemas.microsoft.com/office/drawing/2014/chart" uri="{C3380CC4-5D6E-409C-BE32-E72D297353CC}">
                <c16:uniqueId val="{00000253-C623-4FBE-8EDB-4AD12F618AAD}"/>
              </c:ext>
            </c:extLst>
          </c:dPt>
          <c:dPt>
            <c:idx val="297"/>
            <c:invertIfNegative val="1"/>
            <c:bubble3D val="0"/>
            <c:spPr>
              <a:solidFill>
                <a:srgbClr val="00A097"/>
              </a:solidFill>
            </c:spPr>
            <c:extLst>
              <c:ext xmlns:c16="http://schemas.microsoft.com/office/drawing/2014/chart" uri="{C3380CC4-5D6E-409C-BE32-E72D297353CC}">
                <c16:uniqueId val="{00000255-C623-4FBE-8EDB-4AD12F618AAD}"/>
              </c:ext>
            </c:extLst>
          </c:dPt>
          <c:dPt>
            <c:idx val="298"/>
            <c:invertIfNegative val="1"/>
            <c:bubble3D val="0"/>
            <c:spPr>
              <a:solidFill>
                <a:srgbClr val="7ECAC4"/>
              </a:solidFill>
            </c:spPr>
            <c:extLst>
              <c:ext xmlns:c16="http://schemas.microsoft.com/office/drawing/2014/chart" uri="{C3380CC4-5D6E-409C-BE32-E72D297353CC}">
                <c16:uniqueId val="{00000257-C623-4FBE-8EDB-4AD12F618AAD}"/>
              </c:ext>
            </c:extLst>
          </c:dPt>
          <c:dPt>
            <c:idx val="299"/>
            <c:invertIfNegative val="1"/>
            <c:bubble3D val="0"/>
            <c:spPr>
              <a:solidFill>
                <a:srgbClr val="7ECAC4"/>
              </a:solidFill>
            </c:spPr>
            <c:extLst>
              <c:ext xmlns:c16="http://schemas.microsoft.com/office/drawing/2014/chart" uri="{C3380CC4-5D6E-409C-BE32-E72D297353CC}">
                <c16:uniqueId val="{00000259-C623-4FBE-8EDB-4AD12F618AAD}"/>
              </c:ext>
            </c:extLst>
          </c:dPt>
          <c:dPt>
            <c:idx val="300"/>
            <c:invertIfNegative val="1"/>
            <c:bubble3D val="0"/>
            <c:spPr>
              <a:solidFill>
                <a:srgbClr val="7ECAC4"/>
              </a:solidFill>
            </c:spPr>
            <c:extLst>
              <c:ext xmlns:c16="http://schemas.microsoft.com/office/drawing/2014/chart" uri="{C3380CC4-5D6E-409C-BE32-E72D297353CC}">
                <c16:uniqueId val="{0000025B-C623-4FBE-8EDB-4AD12F618AAD}"/>
              </c:ext>
            </c:extLst>
          </c:dPt>
          <c:dPt>
            <c:idx val="301"/>
            <c:invertIfNegative val="1"/>
            <c:bubble3D val="0"/>
            <c:spPr>
              <a:solidFill>
                <a:srgbClr val="7ECAC4"/>
              </a:solidFill>
            </c:spPr>
            <c:extLst>
              <c:ext xmlns:c16="http://schemas.microsoft.com/office/drawing/2014/chart" uri="{C3380CC4-5D6E-409C-BE32-E72D297353CC}">
                <c16:uniqueId val="{0000025D-C623-4FBE-8EDB-4AD12F618AAD}"/>
              </c:ext>
            </c:extLst>
          </c:dPt>
          <c:dPt>
            <c:idx val="302"/>
            <c:invertIfNegative val="1"/>
            <c:bubble3D val="0"/>
            <c:spPr>
              <a:solidFill>
                <a:srgbClr val="7ECAC4"/>
              </a:solidFill>
            </c:spPr>
            <c:extLst>
              <c:ext xmlns:c16="http://schemas.microsoft.com/office/drawing/2014/chart" uri="{C3380CC4-5D6E-409C-BE32-E72D297353CC}">
                <c16:uniqueId val="{0000025F-C623-4FBE-8EDB-4AD12F618AAD}"/>
              </c:ext>
            </c:extLst>
          </c:dPt>
          <c:dPt>
            <c:idx val="303"/>
            <c:invertIfNegative val="1"/>
            <c:bubble3D val="0"/>
            <c:spPr>
              <a:solidFill>
                <a:srgbClr val="7ECAC4"/>
              </a:solidFill>
            </c:spPr>
            <c:extLst>
              <c:ext xmlns:c16="http://schemas.microsoft.com/office/drawing/2014/chart" uri="{C3380CC4-5D6E-409C-BE32-E72D297353CC}">
                <c16:uniqueId val="{00000261-C623-4FBE-8EDB-4AD12F618AAD}"/>
              </c:ext>
            </c:extLst>
          </c:dPt>
          <c:dPt>
            <c:idx val="304"/>
            <c:invertIfNegative val="1"/>
            <c:bubble3D val="0"/>
            <c:spPr>
              <a:solidFill>
                <a:srgbClr val="7ECAC4"/>
              </a:solidFill>
            </c:spPr>
            <c:extLst>
              <c:ext xmlns:c16="http://schemas.microsoft.com/office/drawing/2014/chart" uri="{C3380CC4-5D6E-409C-BE32-E72D297353CC}">
                <c16:uniqueId val="{00000263-C623-4FBE-8EDB-4AD12F618AAD}"/>
              </c:ext>
            </c:extLst>
          </c:dPt>
          <c:dPt>
            <c:idx val="305"/>
            <c:invertIfNegative val="1"/>
            <c:bubble3D val="0"/>
            <c:spPr>
              <a:solidFill>
                <a:srgbClr val="7ECAC4"/>
              </a:solidFill>
            </c:spPr>
            <c:extLst>
              <c:ext xmlns:c16="http://schemas.microsoft.com/office/drawing/2014/chart" uri="{C3380CC4-5D6E-409C-BE32-E72D297353CC}">
                <c16:uniqueId val="{00000265-C623-4FBE-8EDB-4AD12F618AAD}"/>
              </c:ext>
            </c:extLst>
          </c:dPt>
          <c:dPt>
            <c:idx val="306"/>
            <c:invertIfNegative val="1"/>
            <c:bubble3D val="0"/>
            <c:spPr>
              <a:solidFill>
                <a:srgbClr val="7ECAC4"/>
              </a:solidFill>
            </c:spPr>
            <c:extLst>
              <c:ext xmlns:c16="http://schemas.microsoft.com/office/drawing/2014/chart" uri="{C3380CC4-5D6E-409C-BE32-E72D297353CC}">
                <c16:uniqueId val="{00000267-C623-4FBE-8EDB-4AD12F618AAD}"/>
              </c:ext>
            </c:extLst>
          </c:dPt>
          <c:dPt>
            <c:idx val="307"/>
            <c:invertIfNegative val="1"/>
            <c:bubble3D val="0"/>
            <c:spPr>
              <a:solidFill>
                <a:srgbClr val="7ECAC4"/>
              </a:solidFill>
            </c:spPr>
            <c:extLst>
              <c:ext xmlns:c16="http://schemas.microsoft.com/office/drawing/2014/chart" uri="{C3380CC4-5D6E-409C-BE32-E72D297353CC}">
                <c16:uniqueId val="{00000269-C623-4FBE-8EDB-4AD12F618AAD}"/>
              </c:ext>
            </c:extLst>
          </c:dPt>
          <c:dPt>
            <c:idx val="308"/>
            <c:invertIfNegative val="1"/>
            <c:bubble3D val="0"/>
            <c:spPr>
              <a:solidFill>
                <a:srgbClr val="7ECAC4"/>
              </a:solidFill>
            </c:spPr>
            <c:extLst>
              <c:ext xmlns:c16="http://schemas.microsoft.com/office/drawing/2014/chart" uri="{C3380CC4-5D6E-409C-BE32-E72D297353CC}">
                <c16:uniqueId val="{0000026B-C623-4FBE-8EDB-4AD12F618AAD}"/>
              </c:ext>
            </c:extLst>
          </c:dPt>
          <c:dPt>
            <c:idx val="309"/>
            <c:invertIfNegative val="1"/>
            <c:bubble3D val="0"/>
            <c:spPr>
              <a:solidFill>
                <a:srgbClr val="7ECAC4"/>
              </a:solidFill>
            </c:spPr>
            <c:extLst>
              <c:ext xmlns:c16="http://schemas.microsoft.com/office/drawing/2014/chart" uri="{C3380CC4-5D6E-409C-BE32-E72D297353CC}">
                <c16:uniqueId val="{0000026D-C623-4FBE-8EDB-4AD12F618AAD}"/>
              </c:ext>
            </c:extLst>
          </c:dPt>
          <c:dPt>
            <c:idx val="310"/>
            <c:invertIfNegative val="1"/>
            <c:bubble3D val="0"/>
            <c:spPr>
              <a:solidFill>
                <a:srgbClr val="7ECAC4"/>
              </a:solidFill>
            </c:spPr>
            <c:extLst>
              <c:ext xmlns:c16="http://schemas.microsoft.com/office/drawing/2014/chart" uri="{C3380CC4-5D6E-409C-BE32-E72D297353CC}">
                <c16:uniqueId val="{0000026F-C623-4FBE-8EDB-4AD12F618AAD}"/>
              </c:ext>
            </c:extLst>
          </c:dPt>
          <c:dPt>
            <c:idx val="311"/>
            <c:invertIfNegative val="1"/>
            <c:bubble3D val="0"/>
            <c:spPr>
              <a:solidFill>
                <a:srgbClr val="7ECAC4"/>
              </a:solidFill>
            </c:spPr>
            <c:extLst>
              <c:ext xmlns:c16="http://schemas.microsoft.com/office/drawing/2014/chart" uri="{C3380CC4-5D6E-409C-BE32-E72D297353CC}">
                <c16:uniqueId val="{00000271-C623-4FBE-8EDB-4AD12F618AAD}"/>
              </c:ext>
            </c:extLst>
          </c:dPt>
          <c:dPt>
            <c:idx val="312"/>
            <c:invertIfNegative val="1"/>
            <c:bubble3D val="0"/>
            <c:spPr>
              <a:solidFill>
                <a:srgbClr val="7ECAC4"/>
              </a:solidFill>
            </c:spPr>
            <c:extLst>
              <c:ext xmlns:c16="http://schemas.microsoft.com/office/drawing/2014/chart" uri="{C3380CC4-5D6E-409C-BE32-E72D297353CC}">
                <c16:uniqueId val="{00000273-C623-4FBE-8EDB-4AD12F618AAD}"/>
              </c:ext>
            </c:extLst>
          </c:dPt>
          <c:dPt>
            <c:idx val="313"/>
            <c:invertIfNegative val="1"/>
            <c:bubble3D val="0"/>
            <c:spPr>
              <a:solidFill>
                <a:srgbClr val="7ECAC4"/>
              </a:solidFill>
            </c:spPr>
            <c:extLst>
              <c:ext xmlns:c16="http://schemas.microsoft.com/office/drawing/2014/chart" uri="{C3380CC4-5D6E-409C-BE32-E72D297353CC}">
                <c16:uniqueId val="{00000275-C623-4FBE-8EDB-4AD12F618AAD}"/>
              </c:ext>
            </c:extLst>
          </c:dPt>
          <c:dPt>
            <c:idx val="314"/>
            <c:invertIfNegative val="1"/>
            <c:bubble3D val="0"/>
            <c:spPr>
              <a:solidFill>
                <a:srgbClr val="7ECAC4"/>
              </a:solidFill>
            </c:spPr>
            <c:extLst>
              <c:ext xmlns:c16="http://schemas.microsoft.com/office/drawing/2014/chart" uri="{C3380CC4-5D6E-409C-BE32-E72D297353CC}">
                <c16:uniqueId val="{00000277-C623-4FBE-8EDB-4AD12F618AAD}"/>
              </c:ext>
            </c:extLst>
          </c:dPt>
          <c:dPt>
            <c:idx val="315"/>
            <c:invertIfNegative val="1"/>
            <c:bubble3D val="0"/>
            <c:spPr>
              <a:solidFill>
                <a:srgbClr val="7ECAC4"/>
              </a:solidFill>
            </c:spPr>
            <c:extLst>
              <c:ext xmlns:c16="http://schemas.microsoft.com/office/drawing/2014/chart" uri="{C3380CC4-5D6E-409C-BE32-E72D297353CC}">
                <c16:uniqueId val="{00000279-C623-4FBE-8EDB-4AD12F618AAD}"/>
              </c:ext>
            </c:extLst>
          </c:dPt>
          <c:dPt>
            <c:idx val="316"/>
            <c:invertIfNegative val="1"/>
            <c:bubble3D val="0"/>
            <c:spPr>
              <a:solidFill>
                <a:srgbClr val="7ECAC4"/>
              </a:solidFill>
            </c:spPr>
            <c:extLst>
              <c:ext xmlns:c16="http://schemas.microsoft.com/office/drawing/2014/chart" uri="{C3380CC4-5D6E-409C-BE32-E72D297353CC}">
                <c16:uniqueId val="{0000027B-C623-4FBE-8EDB-4AD12F618AAD}"/>
              </c:ext>
            </c:extLst>
          </c:dPt>
          <c:dPt>
            <c:idx val="317"/>
            <c:invertIfNegative val="1"/>
            <c:bubble3D val="0"/>
            <c:spPr>
              <a:solidFill>
                <a:srgbClr val="7ECAC4"/>
              </a:solidFill>
            </c:spPr>
            <c:extLst>
              <c:ext xmlns:c16="http://schemas.microsoft.com/office/drawing/2014/chart" uri="{C3380CC4-5D6E-409C-BE32-E72D297353CC}">
                <c16:uniqueId val="{0000027D-C623-4FBE-8EDB-4AD12F618AAD}"/>
              </c:ext>
            </c:extLst>
          </c:dPt>
          <c:dPt>
            <c:idx val="318"/>
            <c:invertIfNegative val="1"/>
            <c:bubble3D val="0"/>
            <c:spPr>
              <a:solidFill>
                <a:srgbClr val="7ECAC4"/>
              </a:solidFill>
            </c:spPr>
            <c:extLst>
              <c:ext xmlns:c16="http://schemas.microsoft.com/office/drawing/2014/chart" uri="{C3380CC4-5D6E-409C-BE32-E72D297353CC}">
                <c16:uniqueId val="{0000027F-C623-4FBE-8EDB-4AD12F618AAD}"/>
              </c:ext>
            </c:extLst>
          </c:dPt>
          <c:dPt>
            <c:idx val="319"/>
            <c:invertIfNegative val="1"/>
            <c:bubble3D val="0"/>
            <c:spPr>
              <a:solidFill>
                <a:srgbClr val="7ECAC4"/>
              </a:solidFill>
            </c:spPr>
            <c:extLst>
              <c:ext xmlns:c16="http://schemas.microsoft.com/office/drawing/2014/chart" uri="{C3380CC4-5D6E-409C-BE32-E72D297353CC}">
                <c16:uniqueId val="{00000281-C623-4FBE-8EDB-4AD12F618AAD}"/>
              </c:ext>
            </c:extLst>
          </c:dPt>
          <c:dPt>
            <c:idx val="320"/>
            <c:invertIfNegative val="1"/>
            <c:bubble3D val="0"/>
            <c:spPr>
              <a:solidFill>
                <a:srgbClr val="7ECAC4"/>
              </a:solidFill>
            </c:spPr>
            <c:extLst>
              <c:ext xmlns:c16="http://schemas.microsoft.com/office/drawing/2014/chart" uri="{C3380CC4-5D6E-409C-BE32-E72D297353CC}">
                <c16:uniqueId val="{00000283-C623-4FBE-8EDB-4AD12F618AAD}"/>
              </c:ext>
            </c:extLst>
          </c:dPt>
          <c:dPt>
            <c:idx val="321"/>
            <c:invertIfNegative val="1"/>
            <c:bubble3D val="0"/>
            <c:spPr>
              <a:solidFill>
                <a:srgbClr val="7ECAC4"/>
              </a:solidFill>
            </c:spPr>
            <c:extLst>
              <c:ext xmlns:c16="http://schemas.microsoft.com/office/drawing/2014/chart" uri="{C3380CC4-5D6E-409C-BE32-E72D297353CC}">
                <c16:uniqueId val="{00000285-C623-4FBE-8EDB-4AD12F618AAD}"/>
              </c:ext>
            </c:extLst>
          </c:dPt>
          <c:dPt>
            <c:idx val="322"/>
            <c:invertIfNegative val="1"/>
            <c:bubble3D val="0"/>
            <c:spPr>
              <a:solidFill>
                <a:srgbClr val="7ECAC4"/>
              </a:solidFill>
            </c:spPr>
            <c:extLst>
              <c:ext xmlns:c16="http://schemas.microsoft.com/office/drawing/2014/chart" uri="{C3380CC4-5D6E-409C-BE32-E72D297353CC}">
                <c16:uniqueId val="{00000287-C623-4FBE-8EDB-4AD12F618AAD}"/>
              </c:ext>
            </c:extLst>
          </c:dPt>
          <c:dPt>
            <c:idx val="323"/>
            <c:invertIfNegative val="1"/>
            <c:bubble3D val="0"/>
            <c:spPr>
              <a:solidFill>
                <a:srgbClr val="7ECAC4"/>
              </a:solidFill>
            </c:spPr>
            <c:extLst>
              <c:ext xmlns:c16="http://schemas.microsoft.com/office/drawing/2014/chart" uri="{C3380CC4-5D6E-409C-BE32-E72D297353CC}">
                <c16:uniqueId val="{00000289-C623-4FBE-8EDB-4AD12F618AAD}"/>
              </c:ext>
            </c:extLst>
          </c:dPt>
          <c:dPt>
            <c:idx val="324"/>
            <c:invertIfNegative val="1"/>
            <c:bubble3D val="0"/>
            <c:spPr>
              <a:solidFill>
                <a:srgbClr val="7ECAC4"/>
              </a:solidFill>
            </c:spPr>
            <c:extLst>
              <c:ext xmlns:c16="http://schemas.microsoft.com/office/drawing/2014/chart" uri="{C3380CC4-5D6E-409C-BE32-E72D297353CC}">
                <c16:uniqueId val="{0000028B-C623-4FBE-8EDB-4AD12F618AAD}"/>
              </c:ext>
            </c:extLst>
          </c:dPt>
          <c:dPt>
            <c:idx val="325"/>
            <c:invertIfNegative val="1"/>
            <c:bubble3D val="0"/>
            <c:spPr>
              <a:solidFill>
                <a:srgbClr val="7ECAC4"/>
              </a:solidFill>
            </c:spPr>
            <c:extLst>
              <c:ext xmlns:c16="http://schemas.microsoft.com/office/drawing/2014/chart" uri="{C3380CC4-5D6E-409C-BE32-E72D297353CC}">
                <c16:uniqueId val="{0000028D-C623-4FBE-8EDB-4AD12F618AAD}"/>
              </c:ext>
            </c:extLst>
          </c:dPt>
          <c:dPt>
            <c:idx val="326"/>
            <c:invertIfNegative val="1"/>
            <c:bubble3D val="0"/>
            <c:spPr>
              <a:solidFill>
                <a:srgbClr val="7ECAC4"/>
              </a:solidFill>
            </c:spPr>
            <c:extLst>
              <c:ext xmlns:c16="http://schemas.microsoft.com/office/drawing/2014/chart" uri="{C3380CC4-5D6E-409C-BE32-E72D297353CC}">
                <c16:uniqueId val="{0000028F-C623-4FBE-8EDB-4AD12F618AAD}"/>
              </c:ext>
            </c:extLst>
          </c:dPt>
          <c:dPt>
            <c:idx val="327"/>
            <c:invertIfNegative val="1"/>
            <c:bubble3D val="0"/>
            <c:spPr>
              <a:solidFill>
                <a:srgbClr val="7ECAC4"/>
              </a:solidFill>
            </c:spPr>
            <c:extLst>
              <c:ext xmlns:c16="http://schemas.microsoft.com/office/drawing/2014/chart" uri="{C3380CC4-5D6E-409C-BE32-E72D297353CC}">
                <c16:uniqueId val="{00000291-C623-4FBE-8EDB-4AD12F618AAD}"/>
              </c:ext>
            </c:extLst>
          </c:dPt>
          <c:dPt>
            <c:idx val="328"/>
            <c:invertIfNegative val="1"/>
            <c:bubble3D val="0"/>
            <c:spPr>
              <a:solidFill>
                <a:srgbClr val="7ECAC4"/>
              </a:solidFill>
            </c:spPr>
            <c:extLst>
              <c:ext xmlns:c16="http://schemas.microsoft.com/office/drawing/2014/chart" uri="{C3380CC4-5D6E-409C-BE32-E72D297353CC}">
                <c16:uniqueId val="{00000293-C623-4FBE-8EDB-4AD12F618AAD}"/>
              </c:ext>
            </c:extLst>
          </c:dPt>
          <c:dPt>
            <c:idx val="329"/>
            <c:invertIfNegative val="1"/>
            <c:bubble3D val="0"/>
            <c:spPr>
              <a:solidFill>
                <a:srgbClr val="7ECAC4"/>
              </a:solidFill>
            </c:spPr>
            <c:extLst>
              <c:ext xmlns:c16="http://schemas.microsoft.com/office/drawing/2014/chart" uri="{C3380CC4-5D6E-409C-BE32-E72D297353CC}">
                <c16:uniqueId val="{00000295-C623-4FBE-8EDB-4AD12F618AAD}"/>
              </c:ext>
            </c:extLst>
          </c:dPt>
          <c:dPt>
            <c:idx val="330"/>
            <c:invertIfNegative val="1"/>
            <c:bubble3D val="0"/>
            <c:spPr>
              <a:solidFill>
                <a:srgbClr val="7ECAC4"/>
              </a:solidFill>
            </c:spPr>
            <c:extLst>
              <c:ext xmlns:c16="http://schemas.microsoft.com/office/drawing/2014/chart" uri="{C3380CC4-5D6E-409C-BE32-E72D297353CC}">
                <c16:uniqueId val="{00000297-C623-4FBE-8EDB-4AD12F618AAD}"/>
              </c:ext>
            </c:extLst>
          </c:dPt>
          <c:dPt>
            <c:idx val="331"/>
            <c:invertIfNegative val="1"/>
            <c:bubble3D val="0"/>
            <c:spPr>
              <a:solidFill>
                <a:srgbClr val="7ECAC4"/>
              </a:solidFill>
            </c:spPr>
            <c:extLst>
              <c:ext xmlns:c16="http://schemas.microsoft.com/office/drawing/2014/chart" uri="{C3380CC4-5D6E-409C-BE32-E72D297353CC}">
                <c16:uniqueId val="{00000299-C623-4FBE-8EDB-4AD12F618AAD}"/>
              </c:ext>
            </c:extLst>
          </c:dPt>
          <c:dPt>
            <c:idx val="332"/>
            <c:invertIfNegative val="1"/>
            <c:bubble3D val="0"/>
            <c:spPr>
              <a:solidFill>
                <a:srgbClr val="7ECAC4"/>
              </a:solidFill>
            </c:spPr>
            <c:extLst>
              <c:ext xmlns:c16="http://schemas.microsoft.com/office/drawing/2014/chart" uri="{C3380CC4-5D6E-409C-BE32-E72D297353CC}">
                <c16:uniqueId val="{0000029B-C623-4FBE-8EDB-4AD12F618AAD}"/>
              </c:ext>
            </c:extLst>
          </c:dPt>
          <c:dPt>
            <c:idx val="333"/>
            <c:invertIfNegative val="1"/>
            <c:bubble3D val="0"/>
            <c:spPr>
              <a:solidFill>
                <a:srgbClr val="7ECAC4"/>
              </a:solidFill>
            </c:spPr>
            <c:extLst>
              <c:ext xmlns:c16="http://schemas.microsoft.com/office/drawing/2014/chart" uri="{C3380CC4-5D6E-409C-BE32-E72D297353CC}">
                <c16:uniqueId val="{0000029D-C623-4FBE-8EDB-4AD12F618AAD}"/>
              </c:ext>
            </c:extLst>
          </c:dPt>
          <c:dPt>
            <c:idx val="334"/>
            <c:invertIfNegative val="1"/>
            <c:bubble3D val="0"/>
            <c:spPr>
              <a:solidFill>
                <a:srgbClr val="7ECAC4"/>
              </a:solidFill>
            </c:spPr>
            <c:extLst>
              <c:ext xmlns:c16="http://schemas.microsoft.com/office/drawing/2014/chart" uri="{C3380CC4-5D6E-409C-BE32-E72D297353CC}">
                <c16:uniqueId val="{0000029F-C623-4FBE-8EDB-4AD12F618AAD}"/>
              </c:ext>
            </c:extLst>
          </c:dPt>
          <c:dPt>
            <c:idx val="335"/>
            <c:invertIfNegative val="1"/>
            <c:bubble3D val="0"/>
            <c:spPr>
              <a:solidFill>
                <a:srgbClr val="7ECAC4"/>
              </a:solidFill>
            </c:spPr>
            <c:extLst>
              <c:ext xmlns:c16="http://schemas.microsoft.com/office/drawing/2014/chart" uri="{C3380CC4-5D6E-409C-BE32-E72D297353CC}">
                <c16:uniqueId val="{000002A1-C623-4FBE-8EDB-4AD12F618AAD}"/>
              </c:ext>
            </c:extLst>
          </c:dPt>
          <c:dPt>
            <c:idx val="336"/>
            <c:invertIfNegative val="1"/>
            <c:bubble3D val="0"/>
            <c:spPr>
              <a:solidFill>
                <a:srgbClr val="7ECAC4"/>
              </a:solidFill>
            </c:spPr>
            <c:extLst>
              <c:ext xmlns:c16="http://schemas.microsoft.com/office/drawing/2014/chart" uri="{C3380CC4-5D6E-409C-BE32-E72D297353CC}">
                <c16:uniqueId val="{000002A3-C623-4FBE-8EDB-4AD12F618AAD}"/>
              </c:ext>
            </c:extLst>
          </c:dPt>
          <c:dPt>
            <c:idx val="337"/>
            <c:invertIfNegative val="1"/>
            <c:bubble3D val="0"/>
            <c:spPr>
              <a:solidFill>
                <a:srgbClr val="7ECAC4"/>
              </a:solidFill>
            </c:spPr>
            <c:extLst>
              <c:ext xmlns:c16="http://schemas.microsoft.com/office/drawing/2014/chart" uri="{C3380CC4-5D6E-409C-BE32-E72D297353CC}">
                <c16:uniqueId val="{000002A5-C623-4FBE-8EDB-4AD12F618AAD}"/>
              </c:ext>
            </c:extLst>
          </c:dPt>
          <c:dPt>
            <c:idx val="338"/>
            <c:invertIfNegative val="1"/>
            <c:bubble3D val="0"/>
            <c:spPr>
              <a:solidFill>
                <a:srgbClr val="7ECAC4"/>
              </a:solidFill>
            </c:spPr>
            <c:extLst>
              <c:ext xmlns:c16="http://schemas.microsoft.com/office/drawing/2014/chart" uri="{C3380CC4-5D6E-409C-BE32-E72D297353CC}">
                <c16:uniqueId val="{000002A7-C623-4FBE-8EDB-4AD12F618AAD}"/>
              </c:ext>
            </c:extLst>
          </c:dPt>
          <c:dPt>
            <c:idx val="339"/>
            <c:invertIfNegative val="1"/>
            <c:bubble3D val="0"/>
            <c:spPr>
              <a:solidFill>
                <a:srgbClr val="7ECAC4"/>
              </a:solidFill>
            </c:spPr>
            <c:extLst>
              <c:ext xmlns:c16="http://schemas.microsoft.com/office/drawing/2014/chart" uri="{C3380CC4-5D6E-409C-BE32-E72D297353CC}">
                <c16:uniqueId val="{000002A9-C623-4FBE-8EDB-4AD12F618AAD}"/>
              </c:ext>
            </c:extLst>
          </c:dPt>
          <c:dPt>
            <c:idx val="340"/>
            <c:invertIfNegative val="1"/>
            <c:bubble3D val="0"/>
            <c:spPr>
              <a:solidFill>
                <a:srgbClr val="7ECAC4"/>
              </a:solidFill>
            </c:spPr>
            <c:extLst>
              <c:ext xmlns:c16="http://schemas.microsoft.com/office/drawing/2014/chart" uri="{C3380CC4-5D6E-409C-BE32-E72D297353CC}">
                <c16:uniqueId val="{000002AB-C623-4FBE-8EDB-4AD12F618AAD}"/>
              </c:ext>
            </c:extLst>
          </c:dPt>
          <c:dPt>
            <c:idx val="341"/>
            <c:invertIfNegative val="1"/>
            <c:bubble3D val="0"/>
            <c:spPr>
              <a:solidFill>
                <a:srgbClr val="7ECAC4"/>
              </a:solidFill>
            </c:spPr>
            <c:extLst>
              <c:ext xmlns:c16="http://schemas.microsoft.com/office/drawing/2014/chart" uri="{C3380CC4-5D6E-409C-BE32-E72D297353CC}">
                <c16:uniqueId val="{000002AD-C623-4FBE-8EDB-4AD12F618AAD}"/>
              </c:ext>
            </c:extLst>
          </c:dPt>
          <c:dPt>
            <c:idx val="342"/>
            <c:invertIfNegative val="1"/>
            <c:bubble3D val="0"/>
            <c:spPr>
              <a:solidFill>
                <a:srgbClr val="7ECAC4"/>
              </a:solidFill>
            </c:spPr>
            <c:extLst>
              <c:ext xmlns:c16="http://schemas.microsoft.com/office/drawing/2014/chart" uri="{C3380CC4-5D6E-409C-BE32-E72D297353CC}">
                <c16:uniqueId val="{000002AF-C623-4FBE-8EDB-4AD12F618AAD}"/>
              </c:ext>
            </c:extLst>
          </c:dPt>
          <c:dPt>
            <c:idx val="343"/>
            <c:invertIfNegative val="1"/>
            <c:bubble3D val="0"/>
            <c:spPr>
              <a:solidFill>
                <a:srgbClr val="7ECAC4"/>
              </a:solidFill>
            </c:spPr>
            <c:extLst>
              <c:ext xmlns:c16="http://schemas.microsoft.com/office/drawing/2014/chart" uri="{C3380CC4-5D6E-409C-BE32-E72D297353CC}">
                <c16:uniqueId val="{000002B1-C623-4FBE-8EDB-4AD12F618AAD}"/>
              </c:ext>
            </c:extLst>
          </c:dPt>
          <c:dPt>
            <c:idx val="344"/>
            <c:invertIfNegative val="1"/>
            <c:bubble3D val="0"/>
            <c:spPr>
              <a:solidFill>
                <a:srgbClr val="7ECAC4"/>
              </a:solidFill>
            </c:spPr>
            <c:extLst>
              <c:ext xmlns:c16="http://schemas.microsoft.com/office/drawing/2014/chart" uri="{C3380CC4-5D6E-409C-BE32-E72D297353CC}">
                <c16:uniqueId val="{000002B3-C623-4FBE-8EDB-4AD12F618AAD}"/>
              </c:ext>
            </c:extLst>
          </c:dPt>
          <c:dPt>
            <c:idx val="345"/>
            <c:invertIfNegative val="1"/>
            <c:bubble3D val="0"/>
            <c:spPr>
              <a:solidFill>
                <a:srgbClr val="7ECAC4"/>
              </a:solidFill>
            </c:spPr>
            <c:extLst>
              <c:ext xmlns:c16="http://schemas.microsoft.com/office/drawing/2014/chart" uri="{C3380CC4-5D6E-409C-BE32-E72D297353CC}">
                <c16:uniqueId val="{000002B5-C623-4FBE-8EDB-4AD12F618AAD}"/>
              </c:ext>
            </c:extLst>
          </c:dPt>
          <c:dPt>
            <c:idx val="346"/>
            <c:invertIfNegative val="1"/>
            <c:bubble3D val="0"/>
            <c:spPr>
              <a:solidFill>
                <a:srgbClr val="7ECAC4"/>
              </a:solidFill>
            </c:spPr>
            <c:extLst>
              <c:ext xmlns:c16="http://schemas.microsoft.com/office/drawing/2014/chart" uri="{C3380CC4-5D6E-409C-BE32-E72D297353CC}">
                <c16:uniqueId val="{000002B7-C623-4FBE-8EDB-4AD12F618AAD}"/>
              </c:ext>
            </c:extLst>
          </c:dPt>
          <c:dPt>
            <c:idx val="347"/>
            <c:invertIfNegative val="1"/>
            <c:bubble3D val="0"/>
            <c:spPr>
              <a:solidFill>
                <a:srgbClr val="7ECAC4"/>
              </a:solidFill>
            </c:spPr>
            <c:extLst>
              <c:ext xmlns:c16="http://schemas.microsoft.com/office/drawing/2014/chart" uri="{C3380CC4-5D6E-409C-BE32-E72D297353CC}">
                <c16:uniqueId val="{000002B9-C623-4FBE-8EDB-4AD12F618AAD}"/>
              </c:ext>
            </c:extLst>
          </c:dPt>
          <c:dPt>
            <c:idx val="348"/>
            <c:invertIfNegative val="1"/>
            <c:bubble3D val="0"/>
            <c:spPr>
              <a:solidFill>
                <a:srgbClr val="7ECAC4"/>
              </a:solidFill>
            </c:spPr>
            <c:extLst>
              <c:ext xmlns:c16="http://schemas.microsoft.com/office/drawing/2014/chart" uri="{C3380CC4-5D6E-409C-BE32-E72D297353CC}">
                <c16:uniqueId val="{000002BB-C623-4FBE-8EDB-4AD12F618AAD}"/>
              </c:ext>
            </c:extLst>
          </c:dPt>
          <c:dPt>
            <c:idx val="349"/>
            <c:invertIfNegative val="1"/>
            <c:bubble3D val="0"/>
            <c:spPr>
              <a:solidFill>
                <a:srgbClr val="7ECAC4"/>
              </a:solidFill>
            </c:spPr>
            <c:extLst>
              <c:ext xmlns:c16="http://schemas.microsoft.com/office/drawing/2014/chart" uri="{C3380CC4-5D6E-409C-BE32-E72D297353CC}">
                <c16:uniqueId val="{000002BD-C623-4FBE-8EDB-4AD12F618AAD}"/>
              </c:ext>
            </c:extLst>
          </c:dPt>
          <c:dPt>
            <c:idx val="350"/>
            <c:invertIfNegative val="1"/>
            <c:bubble3D val="0"/>
            <c:spPr>
              <a:solidFill>
                <a:srgbClr val="7ECAC4"/>
              </a:solidFill>
            </c:spPr>
            <c:extLst>
              <c:ext xmlns:c16="http://schemas.microsoft.com/office/drawing/2014/chart" uri="{C3380CC4-5D6E-409C-BE32-E72D297353CC}">
                <c16:uniqueId val="{000002BF-C623-4FBE-8EDB-4AD12F618AAD}"/>
              </c:ext>
            </c:extLst>
          </c:dPt>
          <c:dPt>
            <c:idx val="351"/>
            <c:invertIfNegative val="1"/>
            <c:bubble3D val="0"/>
            <c:spPr>
              <a:solidFill>
                <a:srgbClr val="7ECAC4"/>
              </a:solidFill>
            </c:spPr>
            <c:extLst>
              <c:ext xmlns:c16="http://schemas.microsoft.com/office/drawing/2014/chart" uri="{C3380CC4-5D6E-409C-BE32-E72D297353CC}">
                <c16:uniqueId val="{000002C1-C623-4FBE-8EDB-4AD12F618AAD}"/>
              </c:ext>
            </c:extLst>
          </c:dPt>
          <c:dPt>
            <c:idx val="352"/>
            <c:invertIfNegative val="1"/>
            <c:bubble3D val="0"/>
            <c:spPr>
              <a:solidFill>
                <a:srgbClr val="7ECAC4"/>
              </a:solidFill>
            </c:spPr>
            <c:extLst>
              <c:ext xmlns:c16="http://schemas.microsoft.com/office/drawing/2014/chart" uri="{C3380CC4-5D6E-409C-BE32-E72D297353CC}">
                <c16:uniqueId val="{000002C3-C623-4FBE-8EDB-4AD12F618AAD}"/>
              </c:ext>
            </c:extLst>
          </c:dPt>
          <c:dPt>
            <c:idx val="353"/>
            <c:invertIfNegative val="1"/>
            <c:bubble3D val="0"/>
            <c:spPr>
              <a:solidFill>
                <a:srgbClr val="7ECAC4"/>
              </a:solidFill>
            </c:spPr>
            <c:extLst>
              <c:ext xmlns:c16="http://schemas.microsoft.com/office/drawing/2014/chart" uri="{C3380CC4-5D6E-409C-BE32-E72D297353CC}">
                <c16:uniqueId val="{000002C5-C623-4FBE-8EDB-4AD12F618AAD}"/>
              </c:ext>
            </c:extLst>
          </c:dPt>
          <c:dPt>
            <c:idx val="354"/>
            <c:invertIfNegative val="1"/>
            <c:bubble3D val="0"/>
            <c:spPr>
              <a:solidFill>
                <a:srgbClr val="7ECAC4"/>
              </a:solidFill>
            </c:spPr>
            <c:extLst>
              <c:ext xmlns:c16="http://schemas.microsoft.com/office/drawing/2014/chart" uri="{C3380CC4-5D6E-409C-BE32-E72D297353CC}">
                <c16:uniqueId val="{000002C7-C623-4FBE-8EDB-4AD12F618AAD}"/>
              </c:ext>
            </c:extLst>
          </c:dPt>
          <c:dPt>
            <c:idx val="355"/>
            <c:invertIfNegative val="1"/>
            <c:bubble3D val="0"/>
            <c:spPr>
              <a:solidFill>
                <a:srgbClr val="7ECAC4"/>
              </a:solidFill>
            </c:spPr>
            <c:extLst>
              <c:ext xmlns:c16="http://schemas.microsoft.com/office/drawing/2014/chart" uri="{C3380CC4-5D6E-409C-BE32-E72D297353CC}">
                <c16:uniqueId val="{000002C9-C623-4FBE-8EDB-4AD12F618AAD}"/>
              </c:ext>
            </c:extLst>
          </c:dPt>
          <c:dPt>
            <c:idx val="356"/>
            <c:invertIfNegative val="1"/>
            <c:bubble3D val="0"/>
            <c:spPr>
              <a:solidFill>
                <a:srgbClr val="7ECAC4"/>
              </a:solidFill>
            </c:spPr>
            <c:extLst>
              <c:ext xmlns:c16="http://schemas.microsoft.com/office/drawing/2014/chart" uri="{C3380CC4-5D6E-409C-BE32-E72D297353CC}">
                <c16:uniqueId val="{000002CB-C623-4FBE-8EDB-4AD12F618AAD}"/>
              </c:ext>
            </c:extLst>
          </c:dPt>
          <c:dPt>
            <c:idx val="357"/>
            <c:invertIfNegative val="1"/>
            <c:bubble3D val="0"/>
            <c:spPr>
              <a:solidFill>
                <a:srgbClr val="7ECAC4"/>
              </a:solidFill>
            </c:spPr>
            <c:extLst>
              <c:ext xmlns:c16="http://schemas.microsoft.com/office/drawing/2014/chart" uri="{C3380CC4-5D6E-409C-BE32-E72D297353CC}">
                <c16:uniqueId val="{000002CD-C623-4FBE-8EDB-4AD12F618AAD}"/>
              </c:ext>
            </c:extLst>
          </c:dPt>
          <c:dPt>
            <c:idx val="358"/>
            <c:invertIfNegative val="1"/>
            <c:bubble3D val="0"/>
            <c:spPr>
              <a:solidFill>
                <a:srgbClr val="7ECAC4"/>
              </a:solidFill>
            </c:spPr>
            <c:extLst>
              <c:ext xmlns:c16="http://schemas.microsoft.com/office/drawing/2014/chart" uri="{C3380CC4-5D6E-409C-BE32-E72D297353CC}">
                <c16:uniqueId val="{000002CF-C623-4FBE-8EDB-4AD12F618AAD}"/>
              </c:ext>
            </c:extLst>
          </c:dPt>
          <c:dPt>
            <c:idx val="359"/>
            <c:invertIfNegative val="1"/>
            <c:bubble3D val="0"/>
            <c:spPr>
              <a:solidFill>
                <a:srgbClr val="7ECAC4"/>
              </a:solidFill>
            </c:spPr>
            <c:extLst>
              <c:ext xmlns:c16="http://schemas.microsoft.com/office/drawing/2014/chart" uri="{C3380CC4-5D6E-409C-BE32-E72D297353CC}">
                <c16:uniqueId val="{000002D1-C623-4FBE-8EDB-4AD12F618AAD}"/>
              </c:ext>
            </c:extLst>
          </c:dPt>
          <c:dPt>
            <c:idx val="360"/>
            <c:invertIfNegative val="1"/>
            <c:bubble3D val="0"/>
            <c:spPr>
              <a:solidFill>
                <a:srgbClr val="7ECAC4"/>
              </a:solidFill>
            </c:spPr>
            <c:extLst>
              <c:ext xmlns:c16="http://schemas.microsoft.com/office/drawing/2014/chart" uri="{C3380CC4-5D6E-409C-BE32-E72D297353CC}">
                <c16:uniqueId val="{000002D3-C623-4FBE-8EDB-4AD12F618AAD}"/>
              </c:ext>
            </c:extLst>
          </c:dPt>
          <c:dPt>
            <c:idx val="361"/>
            <c:invertIfNegative val="1"/>
            <c:bubble3D val="0"/>
            <c:spPr>
              <a:solidFill>
                <a:srgbClr val="7ECAC4"/>
              </a:solidFill>
            </c:spPr>
            <c:extLst>
              <c:ext xmlns:c16="http://schemas.microsoft.com/office/drawing/2014/chart" uri="{C3380CC4-5D6E-409C-BE32-E72D297353CC}">
                <c16:uniqueId val="{000002D5-C623-4FBE-8EDB-4AD12F618AAD}"/>
              </c:ext>
            </c:extLst>
          </c:dPt>
          <c:dPt>
            <c:idx val="362"/>
            <c:invertIfNegative val="1"/>
            <c:bubble3D val="0"/>
            <c:spPr>
              <a:solidFill>
                <a:srgbClr val="7ECAC4"/>
              </a:solidFill>
            </c:spPr>
            <c:extLst>
              <c:ext xmlns:c16="http://schemas.microsoft.com/office/drawing/2014/chart" uri="{C3380CC4-5D6E-409C-BE32-E72D297353CC}">
                <c16:uniqueId val="{000002D7-C623-4FBE-8EDB-4AD12F618AAD}"/>
              </c:ext>
            </c:extLst>
          </c:dPt>
          <c:dPt>
            <c:idx val="363"/>
            <c:invertIfNegative val="1"/>
            <c:bubble3D val="0"/>
            <c:spPr>
              <a:solidFill>
                <a:srgbClr val="7ECAC4"/>
              </a:solidFill>
            </c:spPr>
            <c:extLst>
              <c:ext xmlns:c16="http://schemas.microsoft.com/office/drawing/2014/chart" uri="{C3380CC4-5D6E-409C-BE32-E72D297353CC}">
                <c16:uniqueId val="{000002D9-C623-4FBE-8EDB-4AD12F618AAD}"/>
              </c:ext>
            </c:extLst>
          </c:dPt>
          <c:dPt>
            <c:idx val="364"/>
            <c:invertIfNegative val="1"/>
            <c:bubble3D val="0"/>
            <c:spPr>
              <a:solidFill>
                <a:srgbClr val="7ECAC4"/>
              </a:solidFill>
            </c:spPr>
            <c:extLst>
              <c:ext xmlns:c16="http://schemas.microsoft.com/office/drawing/2014/chart" uri="{C3380CC4-5D6E-409C-BE32-E72D297353CC}">
                <c16:uniqueId val="{000002DB-C623-4FBE-8EDB-4AD12F618AAD}"/>
              </c:ext>
            </c:extLst>
          </c:dPt>
          <c:dPt>
            <c:idx val="365"/>
            <c:invertIfNegative val="1"/>
            <c:bubble3D val="0"/>
            <c:spPr>
              <a:solidFill>
                <a:srgbClr val="7ECAC4"/>
              </a:solidFill>
            </c:spPr>
            <c:extLst>
              <c:ext xmlns:c16="http://schemas.microsoft.com/office/drawing/2014/chart" uri="{C3380CC4-5D6E-409C-BE32-E72D297353CC}">
                <c16:uniqueId val="{000002DD-C623-4FBE-8EDB-4AD12F618AAD}"/>
              </c:ext>
            </c:extLst>
          </c:dPt>
          <c:dPt>
            <c:idx val="366"/>
            <c:invertIfNegative val="1"/>
            <c:bubble3D val="0"/>
            <c:spPr>
              <a:solidFill>
                <a:srgbClr val="7ECAC4"/>
              </a:solidFill>
            </c:spPr>
            <c:extLst>
              <c:ext xmlns:c16="http://schemas.microsoft.com/office/drawing/2014/chart" uri="{C3380CC4-5D6E-409C-BE32-E72D297353CC}">
                <c16:uniqueId val="{000002DF-C623-4FBE-8EDB-4AD12F618AAD}"/>
              </c:ext>
            </c:extLst>
          </c:dPt>
          <c:dPt>
            <c:idx val="367"/>
            <c:invertIfNegative val="1"/>
            <c:bubble3D val="0"/>
            <c:spPr>
              <a:solidFill>
                <a:srgbClr val="7ECAC4"/>
              </a:solidFill>
            </c:spPr>
            <c:extLst>
              <c:ext xmlns:c16="http://schemas.microsoft.com/office/drawing/2014/chart" uri="{C3380CC4-5D6E-409C-BE32-E72D297353CC}">
                <c16:uniqueId val="{000002E1-C623-4FBE-8EDB-4AD12F618AAD}"/>
              </c:ext>
            </c:extLst>
          </c:dPt>
          <c:dPt>
            <c:idx val="368"/>
            <c:invertIfNegative val="1"/>
            <c:bubble3D val="0"/>
            <c:spPr>
              <a:solidFill>
                <a:srgbClr val="7ECAC4"/>
              </a:solidFill>
            </c:spPr>
            <c:extLst>
              <c:ext xmlns:c16="http://schemas.microsoft.com/office/drawing/2014/chart" uri="{C3380CC4-5D6E-409C-BE32-E72D297353CC}">
                <c16:uniqueId val="{000002E3-C623-4FBE-8EDB-4AD12F618AAD}"/>
              </c:ext>
            </c:extLst>
          </c:dPt>
          <c:dPt>
            <c:idx val="369"/>
            <c:invertIfNegative val="1"/>
            <c:bubble3D val="0"/>
            <c:spPr>
              <a:solidFill>
                <a:srgbClr val="7ECAC4"/>
              </a:solidFill>
            </c:spPr>
            <c:extLst>
              <c:ext xmlns:c16="http://schemas.microsoft.com/office/drawing/2014/chart" uri="{C3380CC4-5D6E-409C-BE32-E72D297353CC}">
                <c16:uniqueId val="{000002E5-C623-4FBE-8EDB-4AD12F618AAD}"/>
              </c:ext>
            </c:extLst>
          </c:dPt>
          <c:dPt>
            <c:idx val="370"/>
            <c:invertIfNegative val="1"/>
            <c:bubble3D val="0"/>
            <c:spPr>
              <a:solidFill>
                <a:srgbClr val="7ECAC4"/>
              </a:solidFill>
            </c:spPr>
            <c:extLst>
              <c:ext xmlns:c16="http://schemas.microsoft.com/office/drawing/2014/chart" uri="{C3380CC4-5D6E-409C-BE32-E72D297353CC}">
                <c16:uniqueId val="{000002E7-C623-4FBE-8EDB-4AD12F618AAD}"/>
              </c:ext>
            </c:extLst>
          </c:dPt>
          <c:dPt>
            <c:idx val="371"/>
            <c:invertIfNegative val="1"/>
            <c:bubble3D val="0"/>
            <c:spPr>
              <a:solidFill>
                <a:srgbClr val="7ECAC4"/>
              </a:solidFill>
            </c:spPr>
            <c:extLst>
              <c:ext xmlns:c16="http://schemas.microsoft.com/office/drawing/2014/chart" uri="{C3380CC4-5D6E-409C-BE32-E72D297353CC}">
                <c16:uniqueId val="{000002E9-C623-4FBE-8EDB-4AD12F618AAD}"/>
              </c:ext>
            </c:extLst>
          </c:dPt>
          <c:dPt>
            <c:idx val="372"/>
            <c:invertIfNegative val="1"/>
            <c:bubble3D val="0"/>
            <c:spPr>
              <a:solidFill>
                <a:srgbClr val="7ECAC4"/>
              </a:solidFill>
            </c:spPr>
            <c:extLst>
              <c:ext xmlns:c16="http://schemas.microsoft.com/office/drawing/2014/chart" uri="{C3380CC4-5D6E-409C-BE32-E72D297353CC}">
                <c16:uniqueId val="{000002EB-C623-4FBE-8EDB-4AD12F618AAD}"/>
              </c:ext>
            </c:extLst>
          </c:dPt>
          <c:dPt>
            <c:idx val="373"/>
            <c:invertIfNegative val="1"/>
            <c:bubble3D val="0"/>
            <c:spPr>
              <a:solidFill>
                <a:srgbClr val="7ECAC4"/>
              </a:solidFill>
            </c:spPr>
            <c:extLst>
              <c:ext xmlns:c16="http://schemas.microsoft.com/office/drawing/2014/chart" uri="{C3380CC4-5D6E-409C-BE32-E72D297353CC}">
                <c16:uniqueId val="{000002ED-C623-4FBE-8EDB-4AD12F618AAD}"/>
              </c:ext>
            </c:extLst>
          </c:dPt>
          <c:dPt>
            <c:idx val="374"/>
            <c:invertIfNegative val="1"/>
            <c:bubble3D val="0"/>
            <c:spPr>
              <a:solidFill>
                <a:srgbClr val="7ECAC4"/>
              </a:solidFill>
            </c:spPr>
            <c:extLst>
              <c:ext xmlns:c16="http://schemas.microsoft.com/office/drawing/2014/chart" uri="{C3380CC4-5D6E-409C-BE32-E72D297353CC}">
                <c16:uniqueId val="{000002EF-C623-4FBE-8EDB-4AD12F618AAD}"/>
              </c:ext>
            </c:extLst>
          </c:dPt>
          <c:dPt>
            <c:idx val="375"/>
            <c:invertIfNegative val="1"/>
            <c:bubble3D val="0"/>
            <c:spPr>
              <a:solidFill>
                <a:srgbClr val="7ECAC4"/>
              </a:solidFill>
            </c:spPr>
            <c:extLst>
              <c:ext xmlns:c16="http://schemas.microsoft.com/office/drawing/2014/chart" uri="{C3380CC4-5D6E-409C-BE32-E72D297353CC}">
                <c16:uniqueId val="{000002F1-C623-4FBE-8EDB-4AD12F618AAD}"/>
              </c:ext>
            </c:extLst>
          </c:dPt>
          <c:dPt>
            <c:idx val="376"/>
            <c:invertIfNegative val="1"/>
            <c:bubble3D val="0"/>
            <c:spPr>
              <a:solidFill>
                <a:srgbClr val="7ECAC4"/>
              </a:solidFill>
            </c:spPr>
            <c:extLst>
              <c:ext xmlns:c16="http://schemas.microsoft.com/office/drawing/2014/chart" uri="{C3380CC4-5D6E-409C-BE32-E72D297353CC}">
                <c16:uniqueId val="{000002F3-C623-4FBE-8EDB-4AD12F618AAD}"/>
              </c:ext>
            </c:extLst>
          </c:dPt>
          <c:dPt>
            <c:idx val="377"/>
            <c:invertIfNegative val="1"/>
            <c:bubble3D val="0"/>
            <c:spPr>
              <a:solidFill>
                <a:srgbClr val="7ECAC4"/>
              </a:solidFill>
            </c:spPr>
            <c:extLst>
              <c:ext xmlns:c16="http://schemas.microsoft.com/office/drawing/2014/chart" uri="{C3380CC4-5D6E-409C-BE32-E72D297353CC}">
                <c16:uniqueId val="{000002F5-C623-4FBE-8EDB-4AD12F618AAD}"/>
              </c:ext>
            </c:extLst>
          </c:dPt>
          <c:dPt>
            <c:idx val="378"/>
            <c:invertIfNegative val="1"/>
            <c:bubble3D val="0"/>
            <c:spPr>
              <a:solidFill>
                <a:srgbClr val="7ECAC4"/>
              </a:solidFill>
            </c:spPr>
            <c:extLst>
              <c:ext xmlns:c16="http://schemas.microsoft.com/office/drawing/2014/chart" uri="{C3380CC4-5D6E-409C-BE32-E72D297353CC}">
                <c16:uniqueId val="{000002F7-C623-4FBE-8EDB-4AD12F618AAD}"/>
              </c:ext>
            </c:extLst>
          </c:dPt>
          <c:dPt>
            <c:idx val="379"/>
            <c:invertIfNegative val="1"/>
            <c:bubble3D val="0"/>
            <c:spPr>
              <a:solidFill>
                <a:srgbClr val="7ECAC4"/>
              </a:solidFill>
            </c:spPr>
            <c:extLst>
              <c:ext xmlns:c16="http://schemas.microsoft.com/office/drawing/2014/chart" uri="{C3380CC4-5D6E-409C-BE32-E72D297353CC}">
                <c16:uniqueId val="{000002F9-C623-4FBE-8EDB-4AD12F618AAD}"/>
              </c:ext>
            </c:extLst>
          </c:dPt>
          <c:dPt>
            <c:idx val="380"/>
            <c:invertIfNegative val="1"/>
            <c:bubble3D val="0"/>
            <c:spPr>
              <a:solidFill>
                <a:srgbClr val="7ECAC4"/>
              </a:solidFill>
            </c:spPr>
            <c:extLst>
              <c:ext xmlns:c16="http://schemas.microsoft.com/office/drawing/2014/chart" uri="{C3380CC4-5D6E-409C-BE32-E72D297353CC}">
                <c16:uniqueId val="{000002FB-C623-4FBE-8EDB-4AD12F618AAD}"/>
              </c:ext>
            </c:extLst>
          </c:dPt>
          <c:dPt>
            <c:idx val="381"/>
            <c:invertIfNegative val="1"/>
            <c:bubble3D val="0"/>
            <c:spPr>
              <a:solidFill>
                <a:srgbClr val="7ECAC4"/>
              </a:solidFill>
            </c:spPr>
            <c:extLst>
              <c:ext xmlns:c16="http://schemas.microsoft.com/office/drawing/2014/chart" uri="{C3380CC4-5D6E-409C-BE32-E72D297353CC}">
                <c16:uniqueId val="{000002FD-C623-4FBE-8EDB-4AD12F618AAD}"/>
              </c:ext>
            </c:extLst>
          </c:dPt>
          <c:dPt>
            <c:idx val="382"/>
            <c:invertIfNegative val="1"/>
            <c:bubble3D val="0"/>
            <c:spPr>
              <a:solidFill>
                <a:srgbClr val="7ECAC4"/>
              </a:solidFill>
            </c:spPr>
            <c:extLst>
              <c:ext xmlns:c16="http://schemas.microsoft.com/office/drawing/2014/chart" uri="{C3380CC4-5D6E-409C-BE32-E72D297353CC}">
                <c16:uniqueId val="{000002FF-C623-4FBE-8EDB-4AD12F618AAD}"/>
              </c:ext>
            </c:extLst>
          </c:dPt>
          <c:dPt>
            <c:idx val="383"/>
            <c:invertIfNegative val="1"/>
            <c:bubble3D val="0"/>
            <c:spPr>
              <a:solidFill>
                <a:srgbClr val="7ECAC4"/>
              </a:solidFill>
            </c:spPr>
            <c:extLst>
              <c:ext xmlns:c16="http://schemas.microsoft.com/office/drawing/2014/chart" uri="{C3380CC4-5D6E-409C-BE32-E72D297353CC}">
                <c16:uniqueId val="{00000301-C623-4FBE-8EDB-4AD12F618AAD}"/>
              </c:ext>
            </c:extLst>
          </c:dPt>
          <c:dPt>
            <c:idx val="384"/>
            <c:invertIfNegative val="1"/>
            <c:bubble3D val="0"/>
            <c:spPr>
              <a:solidFill>
                <a:srgbClr val="7ECAC4"/>
              </a:solidFill>
            </c:spPr>
            <c:extLst>
              <c:ext xmlns:c16="http://schemas.microsoft.com/office/drawing/2014/chart" uri="{C3380CC4-5D6E-409C-BE32-E72D297353CC}">
                <c16:uniqueId val="{00000303-C623-4FBE-8EDB-4AD12F618AAD}"/>
              </c:ext>
            </c:extLst>
          </c:dPt>
          <c:dPt>
            <c:idx val="385"/>
            <c:invertIfNegative val="1"/>
            <c:bubble3D val="0"/>
            <c:spPr>
              <a:solidFill>
                <a:srgbClr val="7ECAC4"/>
              </a:solidFill>
            </c:spPr>
            <c:extLst>
              <c:ext xmlns:c16="http://schemas.microsoft.com/office/drawing/2014/chart" uri="{C3380CC4-5D6E-409C-BE32-E72D297353CC}">
                <c16:uniqueId val="{00000305-C623-4FBE-8EDB-4AD12F618AAD}"/>
              </c:ext>
            </c:extLst>
          </c:dPt>
          <c:dPt>
            <c:idx val="386"/>
            <c:invertIfNegative val="1"/>
            <c:bubble3D val="0"/>
            <c:spPr>
              <a:solidFill>
                <a:srgbClr val="7ECAC4"/>
              </a:solidFill>
            </c:spPr>
            <c:extLst>
              <c:ext xmlns:c16="http://schemas.microsoft.com/office/drawing/2014/chart" uri="{C3380CC4-5D6E-409C-BE32-E72D297353CC}">
                <c16:uniqueId val="{00000307-C623-4FBE-8EDB-4AD12F618AAD}"/>
              </c:ext>
            </c:extLst>
          </c:dPt>
          <c:dPt>
            <c:idx val="387"/>
            <c:invertIfNegative val="1"/>
            <c:bubble3D val="0"/>
            <c:spPr>
              <a:solidFill>
                <a:srgbClr val="7ECAC4"/>
              </a:solidFill>
            </c:spPr>
            <c:extLst>
              <c:ext xmlns:c16="http://schemas.microsoft.com/office/drawing/2014/chart" uri="{C3380CC4-5D6E-409C-BE32-E72D297353CC}">
                <c16:uniqueId val="{00000309-C623-4FBE-8EDB-4AD12F618AAD}"/>
              </c:ext>
            </c:extLst>
          </c:dPt>
          <c:dPt>
            <c:idx val="388"/>
            <c:invertIfNegative val="1"/>
            <c:bubble3D val="0"/>
            <c:spPr>
              <a:solidFill>
                <a:srgbClr val="7ECAC4"/>
              </a:solidFill>
            </c:spPr>
            <c:extLst>
              <c:ext xmlns:c16="http://schemas.microsoft.com/office/drawing/2014/chart" uri="{C3380CC4-5D6E-409C-BE32-E72D297353CC}">
                <c16:uniqueId val="{0000030B-C623-4FBE-8EDB-4AD12F618AAD}"/>
              </c:ext>
            </c:extLst>
          </c:dPt>
          <c:dPt>
            <c:idx val="389"/>
            <c:invertIfNegative val="1"/>
            <c:bubble3D val="0"/>
            <c:spPr>
              <a:solidFill>
                <a:srgbClr val="7ECAC4"/>
              </a:solidFill>
            </c:spPr>
            <c:extLst>
              <c:ext xmlns:c16="http://schemas.microsoft.com/office/drawing/2014/chart" uri="{C3380CC4-5D6E-409C-BE32-E72D297353CC}">
                <c16:uniqueId val="{0000030D-C623-4FBE-8EDB-4AD12F618AAD}"/>
              </c:ext>
            </c:extLst>
          </c:dPt>
          <c:dPt>
            <c:idx val="390"/>
            <c:invertIfNegative val="1"/>
            <c:bubble3D val="0"/>
            <c:spPr>
              <a:solidFill>
                <a:srgbClr val="7ECAC4"/>
              </a:solidFill>
            </c:spPr>
            <c:extLst>
              <c:ext xmlns:c16="http://schemas.microsoft.com/office/drawing/2014/chart" uri="{C3380CC4-5D6E-409C-BE32-E72D297353CC}">
                <c16:uniqueId val="{0000030F-C623-4FBE-8EDB-4AD12F618AAD}"/>
              </c:ext>
            </c:extLst>
          </c:dPt>
          <c:dPt>
            <c:idx val="391"/>
            <c:invertIfNegative val="1"/>
            <c:bubble3D val="0"/>
            <c:spPr>
              <a:solidFill>
                <a:srgbClr val="7ECAC4"/>
              </a:solidFill>
            </c:spPr>
            <c:extLst>
              <c:ext xmlns:c16="http://schemas.microsoft.com/office/drawing/2014/chart" uri="{C3380CC4-5D6E-409C-BE32-E72D297353CC}">
                <c16:uniqueId val="{00000311-C623-4FBE-8EDB-4AD12F618AAD}"/>
              </c:ext>
            </c:extLst>
          </c:dPt>
          <c:dPt>
            <c:idx val="392"/>
            <c:invertIfNegative val="1"/>
            <c:bubble3D val="0"/>
            <c:spPr>
              <a:solidFill>
                <a:srgbClr val="7ECAC4"/>
              </a:solidFill>
            </c:spPr>
            <c:extLst>
              <c:ext xmlns:c16="http://schemas.microsoft.com/office/drawing/2014/chart" uri="{C3380CC4-5D6E-409C-BE32-E72D297353CC}">
                <c16:uniqueId val="{00000313-C623-4FBE-8EDB-4AD12F618AAD}"/>
              </c:ext>
            </c:extLst>
          </c:dPt>
          <c:dPt>
            <c:idx val="393"/>
            <c:invertIfNegative val="1"/>
            <c:bubble3D val="0"/>
            <c:spPr>
              <a:solidFill>
                <a:srgbClr val="7ECAC4"/>
              </a:solidFill>
            </c:spPr>
            <c:extLst>
              <c:ext xmlns:c16="http://schemas.microsoft.com/office/drawing/2014/chart" uri="{C3380CC4-5D6E-409C-BE32-E72D297353CC}">
                <c16:uniqueId val="{00000315-C623-4FBE-8EDB-4AD12F618AAD}"/>
              </c:ext>
            </c:extLst>
          </c:dPt>
          <c:dPt>
            <c:idx val="394"/>
            <c:invertIfNegative val="1"/>
            <c:bubble3D val="0"/>
            <c:spPr>
              <a:solidFill>
                <a:srgbClr val="7ECAC4"/>
              </a:solidFill>
            </c:spPr>
            <c:extLst>
              <c:ext xmlns:c16="http://schemas.microsoft.com/office/drawing/2014/chart" uri="{C3380CC4-5D6E-409C-BE32-E72D297353CC}">
                <c16:uniqueId val="{00000317-C623-4FBE-8EDB-4AD12F618AAD}"/>
              </c:ext>
            </c:extLst>
          </c:dPt>
          <c:dPt>
            <c:idx val="395"/>
            <c:invertIfNegative val="1"/>
            <c:bubble3D val="0"/>
            <c:spPr>
              <a:solidFill>
                <a:srgbClr val="7ECAC4"/>
              </a:solidFill>
            </c:spPr>
            <c:extLst>
              <c:ext xmlns:c16="http://schemas.microsoft.com/office/drawing/2014/chart" uri="{C3380CC4-5D6E-409C-BE32-E72D297353CC}">
                <c16:uniqueId val="{00000319-C623-4FBE-8EDB-4AD12F618AAD}"/>
              </c:ext>
            </c:extLst>
          </c:dPt>
          <c:dPt>
            <c:idx val="396"/>
            <c:invertIfNegative val="1"/>
            <c:bubble3D val="0"/>
            <c:spPr>
              <a:solidFill>
                <a:srgbClr val="7ECAC4"/>
              </a:solidFill>
            </c:spPr>
            <c:extLst>
              <c:ext xmlns:c16="http://schemas.microsoft.com/office/drawing/2014/chart" uri="{C3380CC4-5D6E-409C-BE32-E72D297353CC}">
                <c16:uniqueId val="{0000031B-C623-4FBE-8EDB-4AD12F618AAD}"/>
              </c:ext>
            </c:extLst>
          </c:dPt>
          <c:dPt>
            <c:idx val="397"/>
            <c:invertIfNegative val="1"/>
            <c:bubble3D val="0"/>
            <c:spPr>
              <a:solidFill>
                <a:srgbClr val="7ECAC4"/>
              </a:solidFill>
            </c:spPr>
            <c:extLst>
              <c:ext xmlns:c16="http://schemas.microsoft.com/office/drawing/2014/chart" uri="{C3380CC4-5D6E-409C-BE32-E72D297353CC}">
                <c16:uniqueId val="{0000031D-C623-4FBE-8EDB-4AD12F618AAD}"/>
              </c:ext>
            </c:extLst>
          </c:dPt>
          <c:dPt>
            <c:idx val="398"/>
            <c:invertIfNegative val="1"/>
            <c:bubble3D val="0"/>
            <c:spPr>
              <a:solidFill>
                <a:srgbClr val="7ECAC4"/>
              </a:solidFill>
            </c:spPr>
            <c:extLst>
              <c:ext xmlns:c16="http://schemas.microsoft.com/office/drawing/2014/chart" uri="{C3380CC4-5D6E-409C-BE32-E72D297353CC}">
                <c16:uniqueId val="{0000031F-C623-4FBE-8EDB-4AD12F618AAD}"/>
              </c:ext>
            </c:extLst>
          </c:dPt>
          <c:dPt>
            <c:idx val="399"/>
            <c:invertIfNegative val="1"/>
            <c:bubble3D val="0"/>
            <c:spPr>
              <a:solidFill>
                <a:srgbClr val="7ECAC4"/>
              </a:solidFill>
            </c:spPr>
            <c:extLst>
              <c:ext xmlns:c16="http://schemas.microsoft.com/office/drawing/2014/chart" uri="{C3380CC4-5D6E-409C-BE32-E72D297353CC}">
                <c16:uniqueId val="{00000321-C623-4FBE-8EDB-4AD12F618AAD}"/>
              </c:ext>
            </c:extLst>
          </c:dPt>
          <c:dPt>
            <c:idx val="400"/>
            <c:invertIfNegative val="1"/>
            <c:bubble3D val="0"/>
            <c:spPr>
              <a:solidFill>
                <a:srgbClr val="7ECAC4"/>
              </a:solidFill>
            </c:spPr>
            <c:extLst>
              <c:ext xmlns:c16="http://schemas.microsoft.com/office/drawing/2014/chart" uri="{C3380CC4-5D6E-409C-BE32-E72D297353CC}">
                <c16:uniqueId val="{00000323-C623-4FBE-8EDB-4AD12F618AAD}"/>
              </c:ext>
            </c:extLst>
          </c:dPt>
          <c:dPt>
            <c:idx val="401"/>
            <c:invertIfNegative val="1"/>
            <c:bubble3D val="0"/>
            <c:spPr>
              <a:solidFill>
                <a:srgbClr val="7ECAC4"/>
              </a:solidFill>
            </c:spPr>
            <c:extLst>
              <c:ext xmlns:c16="http://schemas.microsoft.com/office/drawing/2014/chart" uri="{C3380CC4-5D6E-409C-BE32-E72D297353CC}">
                <c16:uniqueId val="{00000325-C623-4FBE-8EDB-4AD12F618AAD}"/>
              </c:ext>
            </c:extLst>
          </c:dPt>
          <c:dPt>
            <c:idx val="402"/>
            <c:invertIfNegative val="1"/>
            <c:bubble3D val="0"/>
            <c:spPr>
              <a:solidFill>
                <a:srgbClr val="7ECAC4"/>
              </a:solidFill>
            </c:spPr>
            <c:extLst>
              <c:ext xmlns:c16="http://schemas.microsoft.com/office/drawing/2014/chart" uri="{C3380CC4-5D6E-409C-BE32-E72D297353CC}">
                <c16:uniqueId val="{00000327-C623-4FBE-8EDB-4AD12F618AAD}"/>
              </c:ext>
            </c:extLst>
          </c:dPt>
          <c:dPt>
            <c:idx val="403"/>
            <c:invertIfNegative val="1"/>
            <c:bubble3D val="0"/>
            <c:spPr>
              <a:solidFill>
                <a:srgbClr val="7ECAC4"/>
              </a:solidFill>
            </c:spPr>
            <c:extLst>
              <c:ext xmlns:c16="http://schemas.microsoft.com/office/drawing/2014/chart" uri="{C3380CC4-5D6E-409C-BE32-E72D297353CC}">
                <c16:uniqueId val="{00000329-C623-4FBE-8EDB-4AD12F618AAD}"/>
              </c:ext>
            </c:extLst>
          </c:dPt>
          <c:dPt>
            <c:idx val="404"/>
            <c:invertIfNegative val="1"/>
            <c:bubble3D val="0"/>
            <c:spPr>
              <a:solidFill>
                <a:srgbClr val="7ECAC4"/>
              </a:solidFill>
            </c:spPr>
            <c:extLst>
              <c:ext xmlns:c16="http://schemas.microsoft.com/office/drawing/2014/chart" uri="{C3380CC4-5D6E-409C-BE32-E72D297353CC}">
                <c16:uniqueId val="{0000032B-C623-4FBE-8EDB-4AD12F618AAD}"/>
              </c:ext>
            </c:extLst>
          </c:dPt>
          <c:dPt>
            <c:idx val="405"/>
            <c:invertIfNegative val="1"/>
            <c:bubble3D val="0"/>
            <c:spPr>
              <a:solidFill>
                <a:srgbClr val="7ECAC4"/>
              </a:solidFill>
            </c:spPr>
            <c:extLst>
              <c:ext xmlns:c16="http://schemas.microsoft.com/office/drawing/2014/chart" uri="{C3380CC4-5D6E-409C-BE32-E72D297353CC}">
                <c16:uniqueId val="{0000032D-C623-4FBE-8EDB-4AD12F618AAD}"/>
              </c:ext>
            </c:extLst>
          </c:dPt>
          <c:dPt>
            <c:idx val="406"/>
            <c:invertIfNegative val="1"/>
            <c:bubble3D val="0"/>
            <c:spPr>
              <a:solidFill>
                <a:srgbClr val="7ECAC4"/>
              </a:solidFill>
            </c:spPr>
            <c:extLst>
              <c:ext xmlns:c16="http://schemas.microsoft.com/office/drawing/2014/chart" uri="{C3380CC4-5D6E-409C-BE32-E72D297353CC}">
                <c16:uniqueId val="{0000032F-C623-4FBE-8EDB-4AD12F618AAD}"/>
              </c:ext>
            </c:extLst>
          </c:dPt>
          <c:dPt>
            <c:idx val="407"/>
            <c:invertIfNegative val="1"/>
            <c:bubble3D val="0"/>
            <c:spPr>
              <a:solidFill>
                <a:srgbClr val="7ECAC4"/>
              </a:solidFill>
            </c:spPr>
            <c:extLst>
              <c:ext xmlns:c16="http://schemas.microsoft.com/office/drawing/2014/chart" uri="{C3380CC4-5D6E-409C-BE32-E72D297353CC}">
                <c16:uniqueId val="{00000331-C623-4FBE-8EDB-4AD12F618AAD}"/>
              </c:ext>
            </c:extLst>
          </c:dPt>
          <c:dPt>
            <c:idx val="408"/>
            <c:invertIfNegative val="1"/>
            <c:bubble3D val="0"/>
            <c:spPr>
              <a:solidFill>
                <a:srgbClr val="7ECAC4"/>
              </a:solidFill>
            </c:spPr>
            <c:extLst>
              <c:ext xmlns:c16="http://schemas.microsoft.com/office/drawing/2014/chart" uri="{C3380CC4-5D6E-409C-BE32-E72D297353CC}">
                <c16:uniqueId val="{00000333-C623-4FBE-8EDB-4AD12F618AAD}"/>
              </c:ext>
            </c:extLst>
          </c:dPt>
          <c:dPt>
            <c:idx val="409"/>
            <c:invertIfNegative val="1"/>
            <c:bubble3D val="0"/>
            <c:spPr>
              <a:solidFill>
                <a:srgbClr val="7ECAC4"/>
              </a:solidFill>
            </c:spPr>
            <c:extLst>
              <c:ext xmlns:c16="http://schemas.microsoft.com/office/drawing/2014/chart" uri="{C3380CC4-5D6E-409C-BE32-E72D297353CC}">
                <c16:uniqueId val="{00000335-C623-4FBE-8EDB-4AD12F618AAD}"/>
              </c:ext>
            </c:extLst>
          </c:dPt>
          <c:dPt>
            <c:idx val="410"/>
            <c:invertIfNegative val="1"/>
            <c:bubble3D val="0"/>
            <c:spPr>
              <a:solidFill>
                <a:srgbClr val="7ECAC4"/>
              </a:solidFill>
            </c:spPr>
            <c:extLst>
              <c:ext xmlns:c16="http://schemas.microsoft.com/office/drawing/2014/chart" uri="{C3380CC4-5D6E-409C-BE32-E72D297353CC}">
                <c16:uniqueId val="{00000337-C623-4FBE-8EDB-4AD12F618AAD}"/>
              </c:ext>
            </c:extLst>
          </c:dPt>
          <c:dPt>
            <c:idx val="411"/>
            <c:invertIfNegative val="1"/>
            <c:bubble3D val="0"/>
            <c:spPr>
              <a:solidFill>
                <a:srgbClr val="7ECAC4"/>
              </a:solidFill>
            </c:spPr>
            <c:extLst>
              <c:ext xmlns:c16="http://schemas.microsoft.com/office/drawing/2014/chart" uri="{C3380CC4-5D6E-409C-BE32-E72D297353CC}">
                <c16:uniqueId val="{00000339-C623-4FBE-8EDB-4AD12F618AAD}"/>
              </c:ext>
            </c:extLst>
          </c:dPt>
          <c:dPt>
            <c:idx val="412"/>
            <c:invertIfNegative val="1"/>
            <c:bubble3D val="0"/>
            <c:spPr>
              <a:solidFill>
                <a:srgbClr val="7ECAC4"/>
              </a:solidFill>
            </c:spPr>
            <c:extLst>
              <c:ext xmlns:c16="http://schemas.microsoft.com/office/drawing/2014/chart" uri="{C3380CC4-5D6E-409C-BE32-E72D297353CC}">
                <c16:uniqueId val="{0000033B-C623-4FBE-8EDB-4AD12F618AAD}"/>
              </c:ext>
            </c:extLst>
          </c:dPt>
          <c:dPt>
            <c:idx val="413"/>
            <c:invertIfNegative val="1"/>
            <c:bubble3D val="0"/>
            <c:spPr>
              <a:solidFill>
                <a:srgbClr val="7ECAC4"/>
              </a:solidFill>
            </c:spPr>
            <c:extLst>
              <c:ext xmlns:c16="http://schemas.microsoft.com/office/drawing/2014/chart" uri="{C3380CC4-5D6E-409C-BE32-E72D297353CC}">
                <c16:uniqueId val="{0000033D-C623-4FBE-8EDB-4AD12F618AAD}"/>
              </c:ext>
            </c:extLst>
          </c:dPt>
          <c:dPt>
            <c:idx val="414"/>
            <c:invertIfNegative val="1"/>
            <c:bubble3D val="0"/>
            <c:spPr>
              <a:solidFill>
                <a:srgbClr val="7ECAC4"/>
              </a:solidFill>
            </c:spPr>
            <c:extLst>
              <c:ext xmlns:c16="http://schemas.microsoft.com/office/drawing/2014/chart" uri="{C3380CC4-5D6E-409C-BE32-E72D297353CC}">
                <c16:uniqueId val="{0000033F-C623-4FBE-8EDB-4AD12F618AAD}"/>
              </c:ext>
            </c:extLst>
          </c:dPt>
          <c:dPt>
            <c:idx val="415"/>
            <c:invertIfNegative val="1"/>
            <c:bubble3D val="0"/>
            <c:spPr>
              <a:solidFill>
                <a:srgbClr val="7ECAC4"/>
              </a:solidFill>
            </c:spPr>
            <c:extLst>
              <c:ext xmlns:c16="http://schemas.microsoft.com/office/drawing/2014/chart" uri="{C3380CC4-5D6E-409C-BE32-E72D297353CC}">
                <c16:uniqueId val="{00000341-C623-4FBE-8EDB-4AD12F618AAD}"/>
              </c:ext>
            </c:extLst>
          </c:dPt>
          <c:dPt>
            <c:idx val="416"/>
            <c:invertIfNegative val="1"/>
            <c:bubble3D val="0"/>
            <c:spPr>
              <a:solidFill>
                <a:srgbClr val="7ECAC4"/>
              </a:solidFill>
            </c:spPr>
            <c:extLst>
              <c:ext xmlns:c16="http://schemas.microsoft.com/office/drawing/2014/chart" uri="{C3380CC4-5D6E-409C-BE32-E72D297353CC}">
                <c16:uniqueId val="{00000343-C623-4FBE-8EDB-4AD12F618AAD}"/>
              </c:ext>
            </c:extLst>
          </c:dPt>
          <c:dPt>
            <c:idx val="417"/>
            <c:invertIfNegative val="1"/>
            <c:bubble3D val="0"/>
            <c:spPr>
              <a:solidFill>
                <a:srgbClr val="7ECAC4"/>
              </a:solidFill>
            </c:spPr>
            <c:extLst>
              <c:ext xmlns:c16="http://schemas.microsoft.com/office/drawing/2014/chart" uri="{C3380CC4-5D6E-409C-BE32-E72D297353CC}">
                <c16:uniqueId val="{00000345-C623-4FBE-8EDB-4AD12F618AAD}"/>
              </c:ext>
            </c:extLst>
          </c:dPt>
          <c:dPt>
            <c:idx val="418"/>
            <c:invertIfNegative val="1"/>
            <c:bubble3D val="0"/>
            <c:spPr>
              <a:solidFill>
                <a:srgbClr val="7ECAC4"/>
              </a:solidFill>
            </c:spPr>
            <c:extLst>
              <c:ext xmlns:c16="http://schemas.microsoft.com/office/drawing/2014/chart" uri="{C3380CC4-5D6E-409C-BE32-E72D297353CC}">
                <c16:uniqueId val="{00000347-C623-4FBE-8EDB-4AD12F618AAD}"/>
              </c:ext>
            </c:extLst>
          </c:dPt>
          <c:dPt>
            <c:idx val="419"/>
            <c:invertIfNegative val="1"/>
            <c:bubble3D val="0"/>
            <c:spPr>
              <a:solidFill>
                <a:srgbClr val="7ECAC4"/>
              </a:solidFill>
            </c:spPr>
            <c:extLst>
              <c:ext xmlns:c16="http://schemas.microsoft.com/office/drawing/2014/chart" uri="{C3380CC4-5D6E-409C-BE32-E72D297353CC}">
                <c16:uniqueId val="{00000349-C623-4FBE-8EDB-4AD12F618AAD}"/>
              </c:ext>
            </c:extLst>
          </c:dPt>
          <c:dPt>
            <c:idx val="420"/>
            <c:invertIfNegative val="1"/>
            <c:bubble3D val="0"/>
            <c:spPr>
              <a:solidFill>
                <a:srgbClr val="7ECAC4"/>
              </a:solidFill>
            </c:spPr>
            <c:extLst>
              <c:ext xmlns:c16="http://schemas.microsoft.com/office/drawing/2014/chart" uri="{C3380CC4-5D6E-409C-BE32-E72D297353CC}">
                <c16:uniqueId val="{0000034B-C623-4FBE-8EDB-4AD12F618AAD}"/>
              </c:ext>
            </c:extLst>
          </c:dPt>
          <c:dPt>
            <c:idx val="421"/>
            <c:invertIfNegative val="1"/>
            <c:bubble3D val="0"/>
            <c:spPr>
              <a:solidFill>
                <a:srgbClr val="7ECAC4"/>
              </a:solidFill>
            </c:spPr>
            <c:extLst>
              <c:ext xmlns:c16="http://schemas.microsoft.com/office/drawing/2014/chart" uri="{C3380CC4-5D6E-409C-BE32-E72D297353CC}">
                <c16:uniqueId val="{0000034D-C623-4FBE-8EDB-4AD12F618AAD}"/>
              </c:ext>
            </c:extLst>
          </c:dPt>
          <c:dPt>
            <c:idx val="422"/>
            <c:invertIfNegative val="1"/>
            <c:bubble3D val="0"/>
            <c:spPr>
              <a:solidFill>
                <a:srgbClr val="7ECAC4"/>
              </a:solidFill>
            </c:spPr>
            <c:extLst>
              <c:ext xmlns:c16="http://schemas.microsoft.com/office/drawing/2014/chart" uri="{C3380CC4-5D6E-409C-BE32-E72D297353CC}">
                <c16:uniqueId val="{0000034F-C623-4FBE-8EDB-4AD12F618AAD}"/>
              </c:ext>
            </c:extLst>
          </c:dPt>
          <c:dPt>
            <c:idx val="423"/>
            <c:invertIfNegative val="1"/>
            <c:bubble3D val="0"/>
            <c:spPr>
              <a:solidFill>
                <a:srgbClr val="7ECAC4"/>
              </a:solidFill>
            </c:spPr>
            <c:extLst>
              <c:ext xmlns:c16="http://schemas.microsoft.com/office/drawing/2014/chart" uri="{C3380CC4-5D6E-409C-BE32-E72D297353CC}">
                <c16:uniqueId val="{00000351-C623-4FBE-8EDB-4AD12F618AAD}"/>
              </c:ext>
            </c:extLst>
          </c:dPt>
          <c:dPt>
            <c:idx val="424"/>
            <c:invertIfNegative val="1"/>
            <c:bubble3D val="0"/>
            <c:spPr>
              <a:solidFill>
                <a:srgbClr val="7ECAC4"/>
              </a:solidFill>
            </c:spPr>
            <c:extLst>
              <c:ext xmlns:c16="http://schemas.microsoft.com/office/drawing/2014/chart" uri="{C3380CC4-5D6E-409C-BE32-E72D297353CC}">
                <c16:uniqueId val="{00000353-C623-4FBE-8EDB-4AD12F618AAD}"/>
              </c:ext>
            </c:extLst>
          </c:dPt>
          <c:dPt>
            <c:idx val="425"/>
            <c:invertIfNegative val="1"/>
            <c:bubble3D val="0"/>
            <c:spPr>
              <a:solidFill>
                <a:srgbClr val="7ECAC4"/>
              </a:solidFill>
            </c:spPr>
            <c:extLst>
              <c:ext xmlns:c16="http://schemas.microsoft.com/office/drawing/2014/chart" uri="{C3380CC4-5D6E-409C-BE32-E72D297353CC}">
                <c16:uniqueId val="{00000355-C623-4FBE-8EDB-4AD12F618AAD}"/>
              </c:ext>
            </c:extLst>
          </c:dPt>
          <c:dPt>
            <c:idx val="426"/>
            <c:invertIfNegative val="1"/>
            <c:bubble3D val="0"/>
            <c:spPr>
              <a:solidFill>
                <a:srgbClr val="7ECAC4"/>
              </a:solidFill>
            </c:spPr>
            <c:extLst>
              <c:ext xmlns:c16="http://schemas.microsoft.com/office/drawing/2014/chart" uri="{C3380CC4-5D6E-409C-BE32-E72D297353CC}">
                <c16:uniqueId val="{00000357-C623-4FBE-8EDB-4AD12F618AAD}"/>
              </c:ext>
            </c:extLst>
          </c:dPt>
          <c:dPt>
            <c:idx val="427"/>
            <c:invertIfNegative val="1"/>
            <c:bubble3D val="0"/>
            <c:spPr>
              <a:solidFill>
                <a:srgbClr val="7ECAC4"/>
              </a:solidFill>
            </c:spPr>
            <c:extLst>
              <c:ext xmlns:c16="http://schemas.microsoft.com/office/drawing/2014/chart" uri="{C3380CC4-5D6E-409C-BE32-E72D297353CC}">
                <c16:uniqueId val="{00000359-C623-4FBE-8EDB-4AD12F618AAD}"/>
              </c:ext>
            </c:extLst>
          </c:dPt>
          <c:dPt>
            <c:idx val="428"/>
            <c:invertIfNegative val="1"/>
            <c:bubble3D val="0"/>
            <c:spPr>
              <a:solidFill>
                <a:srgbClr val="7ECAC4"/>
              </a:solidFill>
            </c:spPr>
            <c:extLst>
              <c:ext xmlns:c16="http://schemas.microsoft.com/office/drawing/2014/chart" uri="{C3380CC4-5D6E-409C-BE32-E72D297353CC}">
                <c16:uniqueId val="{0000035B-C623-4FBE-8EDB-4AD12F618AAD}"/>
              </c:ext>
            </c:extLst>
          </c:dPt>
          <c:dPt>
            <c:idx val="429"/>
            <c:invertIfNegative val="1"/>
            <c:bubble3D val="0"/>
            <c:spPr>
              <a:solidFill>
                <a:srgbClr val="7ECAC4"/>
              </a:solidFill>
            </c:spPr>
            <c:extLst>
              <c:ext xmlns:c16="http://schemas.microsoft.com/office/drawing/2014/chart" uri="{C3380CC4-5D6E-409C-BE32-E72D297353CC}">
                <c16:uniqueId val="{0000035D-C623-4FBE-8EDB-4AD12F618AAD}"/>
              </c:ext>
            </c:extLst>
          </c:dPt>
          <c:dPt>
            <c:idx val="430"/>
            <c:invertIfNegative val="1"/>
            <c:bubble3D val="0"/>
            <c:spPr>
              <a:solidFill>
                <a:srgbClr val="7ECAC4"/>
              </a:solidFill>
            </c:spPr>
            <c:extLst>
              <c:ext xmlns:c16="http://schemas.microsoft.com/office/drawing/2014/chart" uri="{C3380CC4-5D6E-409C-BE32-E72D297353CC}">
                <c16:uniqueId val="{0000035F-C623-4FBE-8EDB-4AD12F618AAD}"/>
              </c:ext>
            </c:extLst>
          </c:dPt>
          <c:dPt>
            <c:idx val="431"/>
            <c:invertIfNegative val="1"/>
            <c:bubble3D val="0"/>
            <c:spPr>
              <a:solidFill>
                <a:srgbClr val="7ECAC4"/>
              </a:solidFill>
            </c:spPr>
            <c:extLst>
              <c:ext xmlns:c16="http://schemas.microsoft.com/office/drawing/2014/chart" uri="{C3380CC4-5D6E-409C-BE32-E72D297353CC}">
                <c16:uniqueId val="{00000361-C623-4FBE-8EDB-4AD12F618AAD}"/>
              </c:ext>
            </c:extLst>
          </c:dPt>
          <c:dPt>
            <c:idx val="432"/>
            <c:invertIfNegative val="1"/>
            <c:bubble3D val="0"/>
            <c:spPr>
              <a:solidFill>
                <a:srgbClr val="7ECAC4"/>
              </a:solidFill>
            </c:spPr>
            <c:extLst>
              <c:ext xmlns:c16="http://schemas.microsoft.com/office/drawing/2014/chart" uri="{C3380CC4-5D6E-409C-BE32-E72D297353CC}">
                <c16:uniqueId val="{00000363-C623-4FBE-8EDB-4AD12F618AAD}"/>
              </c:ext>
            </c:extLst>
          </c:dPt>
          <c:dPt>
            <c:idx val="433"/>
            <c:invertIfNegative val="1"/>
            <c:bubble3D val="0"/>
            <c:spPr>
              <a:solidFill>
                <a:srgbClr val="7ECAC4"/>
              </a:solidFill>
            </c:spPr>
            <c:extLst>
              <c:ext xmlns:c16="http://schemas.microsoft.com/office/drawing/2014/chart" uri="{C3380CC4-5D6E-409C-BE32-E72D297353CC}">
                <c16:uniqueId val="{00000365-C623-4FBE-8EDB-4AD12F618AAD}"/>
              </c:ext>
            </c:extLst>
          </c:dPt>
          <c:dPt>
            <c:idx val="434"/>
            <c:invertIfNegative val="1"/>
            <c:bubble3D val="0"/>
            <c:spPr>
              <a:solidFill>
                <a:srgbClr val="7ECAC4"/>
              </a:solidFill>
            </c:spPr>
            <c:extLst>
              <c:ext xmlns:c16="http://schemas.microsoft.com/office/drawing/2014/chart" uri="{C3380CC4-5D6E-409C-BE32-E72D297353CC}">
                <c16:uniqueId val="{00000367-C623-4FBE-8EDB-4AD12F618AAD}"/>
              </c:ext>
            </c:extLst>
          </c:dPt>
          <c:dPt>
            <c:idx val="435"/>
            <c:invertIfNegative val="1"/>
            <c:bubble3D val="0"/>
            <c:spPr>
              <a:solidFill>
                <a:srgbClr val="7ECAC4"/>
              </a:solidFill>
            </c:spPr>
            <c:extLst>
              <c:ext xmlns:c16="http://schemas.microsoft.com/office/drawing/2014/chart" uri="{C3380CC4-5D6E-409C-BE32-E72D297353CC}">
                <c16:uniqueId val="{00000369-C623-4FBE-8EDB-4AD12F618AAD}"/>
              </c:ext>
            </c:extLst>
          </c:dPt>
          <c:dPt>
            <c:idx val="436"/>
            <c:invertIfNegative val="1"/>
            <c:bubble3D val="0"/>
            <c:spPr>
              <a:solidFill>
                <a:srgbClr val="7ECAC4"/>
              </a:solidFill>
            </c:spPr>
            <c:extLst>
              <c:ext xmlns:c16="http://schemas.microsoft.com/office/drawing/2014/chart" uri="{C3380CC4-5D6E-409C-BE32-E72D297353CC}">
                <c16:uniqueId val="{0000036B-C623-4FBE-8EDB-4AD12F618AAD}"/>
              </c:ext>
            </c:extLst>
          </c:dPt>
          <c:dPt>
            <c:idx val="437"/>
            <c:invertIfNegative val="1"/>
            <c:bubble3D val="0"/>
            <c:spPr>
              <a:solidFill>
                <a:srgbClr val="7ECAC4"/>
              </a:solidFill>
            </c:spPr>
            <c:extLst>
              <c:ext xmlns:c16="http://schemas.microsoft.com/office/drawing/2014/chart" uri="{C3380CC4-5D6E-409C-BE32-E72D297353CC}">
                <c16:uniqueId val="{0000036D-C623-4FBE-8EDB-4AD12F618AAD}"/>
              </c:ext>
            </c:extLst>
          </c:dPt>
          <c:dPt>
            <c:idx val="438"/>
            <c:invertIfNegative val="1"/>
            <c:bubble3D val="0"/>
            <c:spPr>
              <a:solidFill>
                <a:srgbClr val="7ECAC4"/>
              </a:solidFill>
            </c:spPr>
            <c:extLst>
              <c:ext xmlns:c16="http://schemas.microsoft.com/office/drawing/2014/chart" uri="{C3380CC4-5D6E-409C-BE32-E72D297353CC}">
                <c16:uniqueId val="{0000036F-C623-4FBE-8EDB-4AD12F618AAD}"/>
              </c:ext>
            </c:extLst>
          </c:dPt>
          <c:dPt>
            <c:idx val="439"/>
            <c:invertIfNegative val="1"/>
            <c:bubble3D val="0"/>
            <c:spPr>
              <a:solidFill>
                <a:srgbClr val="7ECAC4"/>
              </a:solidFill>
            </c:spPr>
            <c:extLst>
              <c:ext xmlns:c16="http://schemas.microsoft.com/office/drawing/2014/chart" uri="{C3380CC4-5D6E-409C-BE32-E72D297353CC}">
                <c16:uniqueId val="{00000371-C623-4FBE-8EDB-4AD12F618AAD}"/>
              </c:ext>
            </c:extLst>
          </c:dPt>
          <c:dPt>
            <c:idx val="440"/>
            <c:invertIfNegative val="1"/>
            <c:bubble3D val="0"/>
            <c:spPr>
              <a:solidFill>
                <a:srgbClr val="7ECAC4"/>
              </a:solidFill>
            </c:spPr>
            <c:extLst>
              <c:ext xmlns:c16="http://schemas.microsoft.com/office/drawing/2014/chart" uri="{C3380CC4-5D6E-409C-BE32-E72D297353CC}">
                <c16:uniqueId val="{00000373-C623-4FBE-8EDB-4AD12F618AAD}"/>
              </c:ext>
            </c:extLst>
          </c:dPt>
          <c:dPt>
            <c:idx val="441"/>
            <c:invertIfNegative val="1"/>
            <c:bubble3D val="0"/>
            <c:spPr>
              <a:solidFill>
                <a:srgbClr val="7ECAC4"/>
              </a:solidFill>
            </c:spPr>
            <c:extLst>
              <c:ext xmlns:c16="http://schemas.microsoft.com/office/drawing/2014/chart" uri="{C3380CC4-5D6E-409C-BE32-E72D297353CC}">
                <c16:uniqueId val="{00000375-C623-4FBE-8EDB-4AD12F618AAD}"/>
              </c:ext>
            </c:extLst>
          </c:dPt>
          <c:dPt>
            <c:idx val="442"/>
            <c:invertIfNegative val="1"/>
            <c:bubble3D val="0"/>
            <c:spPr>
              <a:solidFill>
                <a:srgbClr val="7ECAC4"/>
              </a:solidFill>
            </c:spPr>
            <c:extLst>
              <c:ext xmlns:c16="http://schemas.microsoft.com/office/drawing/2014/chart" uri="{C3380CC4-5D6E-409C-BE32-E72D297353CC}">
                <c16:uniqueId val="{00000377-C623-4FBE-8EDB-4AD12F618AAD}"/>
              </c:ext>
            </c:extLst>
          </c:dPt>
          <c:dPt>
            <c:idx val="443"/>
            <c:invertIfNegative val="1"/>
            <c:bubble3D val="0"/>
            <c:spPr>
              <a:solidFill>
                <a:srgbClr val="7ECAC4"/>
              </a:solidFill>
            </c:spPr>
            <c:extLst>
              <c:ext xmlns:c16="http://schemas.microsoft.com/office/drawing/2014/chart" uri="{C3380CC4-5D6E-409C-BE32-E72D297353CC}">
                <c16:uniqueId val="{00000379-C623-4FBE-8EDB-4AD12F618AAD}"/>
              </c:ext>
            </c:extLst>
          </c:dPt>
          <c:dPt>
            <c:idx val="444"/>
            <c:invertIfNegative val="1"/>
            <c:bubble3D val="0"/>
            <c:spPr>
              <a:solidFill>
                <a:srgbClr val="7ECAC4"/>
              </a:solidFill>
            </c:spPr>
            <c:extLst>
              <c:ext xmlns:c16="http://schemas.microsoft.com/office/drawing/2014/chart" uri="{C3380CC4-5D6E-409C-BE32-E72D297353CC}">
                <c16:uniqueId val="{0000037B-C623-4FBE-8EDB-4AD12F618AAD}"/>
              </c:ext>
            </c:extLst>
          </c:dPt>
          <c:dPt>
            <c:idx val="445"/>
            <c:invertIfNegative val="1"/>
            <c:bubble3D val="0"/>
            <c:spPr>
              <a:solidFill>
                <a:srgbClr val="7ECAC4"/>
              </a:solidFill>
            </c:spPr>
            <c:extLst>
              <c:ext xmlns:c16="http://schemas.microsoft.com/office/drawing/2014/chart" uri="{C3380CC4-5D6E-409C-BE32-E72D297353CC}">
                <c16:uniqueId val="{0000037D-C623-4FBE-8EDB-4AD12F618AAD}"/>
              </c:ext>
            </c:extLst>
          </c:dPt>
          <c:dPt>
            <c:idx val="446"/>
            <c:invertIfNegative val="1"/>
            <c:bubble3D val="0"/>
            <c:spPr>
              <a:solidFill>
                <a:srgbClr val="7ECAC4"/>
              </a:solidFill>
            </c:spPr>
            <c:extLst>
              <c:ext xmlns:c16="http://schemas.microsoft.com/office/drawing/2014/chart" uri="{C3380CC4-5D6E-409C-BE32-E72D297353CC}">
                <c16:uniqueId val="{0000037F-C623-4FBE-8EDB-4AD12F618AAD}"/>
              </c:ext>
            </c:extLst>
          </c:dPt>
          <c:dPt>
            <c:idx val="447"/>
            <c:invertIfNegative val="1"/>
            <c:bubble3D val="0"/>
            <c:spPr>
              <a:solidFill>
                <a:srgbClr val="7ECAC4"/>
              </a:solidFill>
            </c:spPr>
            <c:extLst>
              <c:ext xmlns:c16="http://schemas.microsoft.com/office/drawing/2014/chart" uri="{C3380CC4-5D6E-409C-BE32-E72D297353CC}">
                <c16:uniqueId val="{00000381-C623-4FBE-8EDB-4AD12F618AAD}"/>
              </c:ext>
            </c:extLst>
          </c:dPt>
          <c:dPt>
            <c:idx val="448"/>
            <c:invertIfNegative val="1"/>
            <c:bubble3D val="0"/>
            <c:spPr>
              <a:solidFill>
                <a:srgbClr val="7ECAC4"/>
              </a:solidFill>
            </c:spPr>
            <c:extLst>
              <c:ext xmlns:c16="http://schemas.microsoft.com/office/drawing/2014/chart" uri="{C3380CC4-5D6E-409C-BE32-E72D297353CC}">
                <c16:uniqueId val="{00000383-C623-4FBE-8EDB-4AD12F618AAD}"/>
              </c:ext>
            </c:extLst>
          </c:dPt>
          <c:dPt>
            <c:idx val="449"/>
            <c:invertIfNegative val="1"/>
            <c:bubble3D val="0"/>
            <c:spPr>
              <a:solidFill>
                <a:srgbClr val="7ECAC4"/>
              </a:solidFill>
            </c:spPr>
            <c:extLst>
              <c:ext xmlns:c16="http://schemas.microsoft.com/office/drawing/2014/chart" uri="{C3380CC4-5D6E-409C-BE32-E72D297353CC}">
                <c16:uniqueId val="{00000385-C623-4FBE-8EDB-4AD12F618AAD}"/>
              </c:ext>
            </c:extLst>
          </c:dPt>
          <c:dPt>
            <c:idx val="450"/>
            <c:invertIfNegative val="1"/>
            <c:bubble3D val="0"/>
            <c:spPr>
              <a:solidFill>
                <a:srgbClr val="7ECAC4"/>
              </a:solidFill>
            </c:spPr>
            <c:extLst>
              <c:ext xmlns:c16="http://schemas.microsoft.com/office/drawing/2014/chart" uri="{C3380CC4-5D6E-409C-BE32-E72D297353CC}">
                <c16:uniqueId val="{00000387-C623-4FBE-8EDB-4AD12F618AAD}"/>
              </c:ext>
            </c:extLst>
          </c:dPt>
          <c:dPt>
            <c:idx val="451"/>
            <c:invertIfNegative val="1"/>
            <c:bubble3D val="0"/>
            <c:spPr>
              <a:solidFill>
                <a:srgbClr val="7ECAC4"/>
              </a:solidFill>
            </c:spPr>
            <c:extLst>
              <c:ext xmlns:c16="http://schemas.microsoft.com/office/drawing/2014/chart" uri="{C3380CC4-5D6E-409C-BE32-E72D297353CC}">
                <c16:uniqueId val="{00000389-C623-4FBE-8EDB-4AD12F618AAD}"/>
              </c:ext>
            </c:extLst>
          </c:dPt>
          <c:dPt>
            <c:idx val="452"/>
            <c:invertIfNegative val="1"/>
            <c:bubble3D val="0"/>
            <c:spPr>
              <a:solidFill>
                <a:srgbClr val="7ECAC4"/>
              </a:solidFill>
            </c:spPr>
            <c:extLst>
              <c:ext xmlns:c16="http://schemas.microsoft.com/office/drawing/2014/chart" uri="{C3380CC4-5D6E-409C-BE32-E72D297353CC}">
                <c16:uniqueId val="{0000038B-C623-4FBE-8EDB-4AD12F618AAD}"/>
              </c:ext>
            </c:extLst>
          </c:dPt>
          <c:dPt>
            <c:idx val="453"/>
            <c:invertIfNegative val="1"/>
            <c:bubble3D val="0"/>
            <c:spPr>
              <a:solidFill>
                <a:srgbClr val="7ECAC4"/>
              </a:solidFill>
            </c:spPr>
            <c:extLst>
              <c:ext xmlns:c16="http://schemas.microsoft.com/office/drawing/2014/chart" uri="{C3380CC4-5D6E-409C-BE32-E72D297353CC}">
                <c16:uniqueId val="{0000038D-C623-4FBE-8EDB-4AD12F618AAD}"/>
              </c:ext>
            </c:extLst>
          </c:dPt>
          <c:dPt>
            <c:idx val="454"/>
            <c:invertIfNegative val="1"/>
            <c:bubble3D val="0"/>
            <c:spPr>
              <a:solidFill>
                <a:srgbClr val="7ECAC4"/>
              </a:solidFill>
            </c:spPr>
            <c:extLst>
              <c:ext xmlns:c16="http://schemas.microsoft.com/office/drawing/2014/chart" uri="{C3380CC4-5D6E-409C-BE32-E72D297353CC}">
                <c16:uniqueId val="{0000038F-C623-4FBE-8EDB-4AD12F618AAD}"/>
              </c:ext>
            </c:extLst>
          </c:dPt>
          <c:dPt>
            <c:idx val="455"/>
            <c:invertIfNegative val="1"/>
            <c:bubble3D val="0"/>
            <c:spPr>
              <a:solidFill>
                <a:srgbClr val="7ECAC4"/>
              </a:solidFill>
            </c:spPr>
            <c:extLst>
              <c:ext xmlns:c16="http://schemas.microsoft.com/office/drawing/2014/chart" uri="{C3380CC4-5D6E-409C-BE32-E72D297353CC}">
                <c16:uniqueId val="{00000391-C623-4FBE-8EDB-4AD12F618AAD}"/>
              </c:ext>
            </c:extLst>
          </c:dPt>
          <c:dPt>
            <c:idx val="456"/>
            <c:invertIfNegative val="1"/>
            <c:bubble3D val="0"/>
            <c:spPr>
              <a:solidFill>
                <a:srgbClr val="7ECAC4"/>
              </a:solidFill>
            </c:spPr>
            <c:extLst>
              <c:ext xmlns:c16="http://schemas.microsoft.com/office/drawing/2014/chart" uri="{C3380CC4-5D6E-409C-BE32-E72D297353CC}">
                <c16:uniqueId val="{00000393-C623-4FBE-8EDB-4AD12F618AAD}"/>
              </c:ext>
            </c:extLst>
          </c:dPt>
          <c:dPt>
            <c:idx val="457"/>
            <c:invertIfNegative val="1"/>
            <c:bubble3D val="0"/>
            <c:spPr>
              <a:solidFill>
                <a:srgbClr val="7ECAC4"/>
              </a:solidFill>
            </c:spPr>
            <c:extLst>
              <c:ext xmlns:c16="http://schemas.microsoft.com/office/drawing/2014/chart" uri="{C3380CC4-5D6E-409C-BE32-E72D297353CC}">
                <c16:uniqueId val="{00000395-C623-4FBE-8EDB-4AD12F618AAD}"/>
              </c:ext>
            </c:extLst>
          </c:dPt>
          <c:dPt>
            <c:idx val="458"/>
            <c:invertIfNegative val="1"/>
            <c:bubble3D val="0"/>
            <c:spPr>
              <a:solidFill>
                <a:srgbClr val="7ECAC4"/>
              </a:solidFill>
            </c:spPr>
            <c:extLst>
              <c:ext xmlns:c16="http://schemas.microsoft.com/office/drawing/2014/chart" uri="{C3380CC4-5D6E-409C-BE32-E72D297353CC}">
                <c16:uniqueId val="{00000397-C623-4FBE-8EDB-4AD12F618AAD}"/>
              </c:ext>
            </c:extLst>
          </c:dPt>
          <c:dPt>
            <c:idx val="459"/>
            <c:invertIfNegative val="1"/>
            <c:bubble3D val="0"/>
            <c:spPr>
              <a:solidFill>
                <a:srgbClr val="7ECAC4"/>
              </a:solidFill>
            </c:spPr>
            <c:extLst>
              <c:ext xmlns:c16="http://schemas.microsoft.com/office/drawing/2014/chart" uri="{C3380CC4-5D6E-409C-BE32-E72D297353CC}">
                <c16:uniqueId val="{00000399-C623-4FBE-8EDB-4AD12F618AAD}"/>
              </c:ext>
            </c:extLst>
          </c:dPt>
          <c:dPt>
            <c:idx val="460"/>
            <c:invertIfNegative val="1"/>
            <c:bubble3D val="0"/>
            <c:spPr>
              <a:solidFill>
                <a:srgbClr val="7ECAC4"/>
              </a:solidFill>
            </c:spPr>
            <c:extLst>
              <c:ext xmlns:c16="http://schemas.microsoft.com/office/drawing/2014/chart" uri="{C3380CC4-5D6E-409C-BE32-E72D297353CC}">
                <c16:uniqueId val="{0000039B-C623-4FBE-8EDB-4AD12F618AAD}"/>
              </c:ext>
            </c:extLst>
          </c:dPt>
          <c:dPt>
            <c:idx val="461"/>
            <c:invertIfNegative val="1"/>
            <c:bubble3D val="0"/>
            <c:spPr>
              <a:solidFill>
                <a:srgbClr val="7ECAC4"/>
              </a:solidFill>
            </c:spPr>
            <c:extLst>
              <c:ext xmlns:c16="http://schemas.microsoft.com/office/drawing/2014/chart" uri="{C3380CC4-5D6E-409C-BE32-E72D297353CC}">
                <c16:uniqueId val="{0000039D-C623-4FBE-8EDB-4AD12F618AAD}"/>
              </c:ext>
            </c:extLst>
          </c:dPt>
          <c:dPt>
            <c:idx val="462"/>
            <c:invertIfNegative val="1"/>
            <c:bubble3D val="0"/>
            <c:spPr>
              <a:solidFill>
                <a:srgbClr val="7ECAC4"/>
              </a:solidFill>
            </c:spPr>
            <c:extLst>
              <c:ext xmlns:c16="http://schemas.microsoft.com/office/drawing/2014/chart" uri="{C3380CC4-5D6E-409C-BE32-E72D297353CC}">
                <c16:uniqueId val="{0000039F-C623-4FBE-8EDB-4AD12F618AAD}"/>
              </c:ext>
            </c:extLst>
          </c:dPt>
          <c:dPt>
            <c:idx val="463"/>
            <c:invertIfNegative val="1"/>
            <c:bubble3D val="0"/>
            <c:spPr>
              <a:solidFill>
                <a:srgbClr val="7ECAC4"/>
              </a:solidFill>
            </c:spPr>
            <c:extLst>
              <c:ext xmlns:c16="http://schemas.microsoft.com/office/drawing/2014/chart" uri="{C3380CC4-5D6E-409C-BE32-E72D297353CC}">
                <c16:uniqueId val="{000003A1-C623-4FBE-8EDB-4AD12F618AAD}"/>
              </c:ext>
            </c:extLst>
          </c:dPt>
          <c:dPt>
            <c:idx val="464"/>
            <c:invertIfNegative val="1"/>
            <c:bubble3D val="0"/>
            <c:spPr>
              <a:solidFill>
                <a:srgbClr val="7ECAC4"/>
              </a:solidFill>
            </c:spPr>
            <c:extLst>
              <c:ext xmlns:c16="http://schemas.microsoft.com/office/drawing/2014/chart" uri="{C3380CC4-5D6E-409C-BE32-E72D297353CC}">
                <c16:uniqueId val="{000003A3-C623-4FBE-8EDB-4AD12F618AAD}"/>
              </c:ext>
            </c:extLst>
          </c:dPt>
          <c:dPt>
            <c:idx val="465"/>
            <c:invertIfNegative val="1"/>
            <c:bubble3D val="0"/>
            <c:spPr>
              <a:solidFill>
                <a:srgbClr val="7ECAC4"/>
              </a:solidFill>
            </c:spPr>
            <c:extLst>
              <c:ext xmlns:c16="http://schemas.microsoft.com/office/drawing/2014/chart" uri="{C3380CC4-5D6E-409C-BE32-E72D297353CC}">
                <c16:uniqueId val="{000003A5-C623-4FBE-8EDB-4AD12F618AAD}"/>
              </c:ext>
            </c:extLst>
          </c:dPt>
          <c:dPt>
            <c:idx val="466"/>
            <c:invertIfNegative val="1"/>
            <c:bubble3D val="0"/>
            <c:spPr>
              <a:solidFill>
                <a:srgbClr val="7ECAC4"/>
              </a:solidFill>
            </c:spPr>
            <c:extLst>
              <c:ext xmlns:c16="http://schemas.microsoft.com/office/drawing/2014/chart" uri="{C3380CC4-5D6E-409C-BE32-E72D297353CC}">
                <c16:uniqueId val="{000003A7-C623-4FBE-8EDB-4AD12F618AAD}"/>
              </c:ext>
            </c:extLst>
          </c:dPt>
          <c:dPt>
            <c:idx val="467"/>
            <c:invertIfNegative val="1"/>
            <c:bubble3D val="0"/>
            <c:spPr>
              <a:solidFill>
                <a:srgbClr val="7ECAC4"/>
              </a:solidFill>
            </c:spPr>
            <c:extLst>
              <c:ext xmlns:c16="http://schemas.microsoft.com/office/drawing/2014/chart" uri="{C3380CC4-5D6E-409C-BE32-E72D297353CC}">
                <c16:uniqueId val="{000003A9-C623-4FBE-8EDB-4AD12F618AAD}"/>
              </c:ext>
            </c:extLst>
          </c:dPt>
          <c:dPt>
            <c:idx val="468"/>
            <c:invertIfNegative val="1"/>
            <c:bubble3D val="0"/>
            <c:spPr>
              <a:solidFill>
                <a:srgbClr val="7ECAC4"/>
              </a:solidFill>
            </c:spPr>
            <c:extLst>
              <c:ext xmlns:c16="http://schemas.microsoft.com/office/drawing/2014/chart" uri="{C3380CC4-5D6E-409C-BE32-E72D297353CC}">
                <c16:uniqueId val="{000003AB-C623-4FBE-8EDB-4AD12F618AAD}"/>
              </c:ext>
            </c:extLst>
          </c:dPt>
          <c:dPt>
            <c:idx val="469"/>
            <c:invertIfNegative val="1"/>
            <c:bubble3D val="0"/>
            <c:spPr>
              <a:solidFill>
                <a:srgbClr val="7ECAC4"/>
              </a:solidFill>
            </c:spPr>
            <c:extLst>
              <c:ext xmlns:c16="http://schemas.microsoft.com/office/drawing/2014/chart" uri="{C3380CC4-5D6E-409C-BE32-E72D297353CC}">
                <c16:uniqueId val="{000003AD-C623-4FBE-8EDB-4AD12F618AAD}"/>
              </c:ext>
            </c:extLst>
          </c:dPt>
          <c:dPt>
            <c:idx val="470"/>
            <c:invertIfNegative val="1"/>
            <c:bubble3D val="0"/>
            <c:spPr>
              <a:solidFill>
                <a:srgbClr val="7ECAC4"/>
              </a:solidFill>
            </c:spPr>
            <c:extLst>
              <c:ext xmlns:c16="http://schemas.microsoft.com/office/drawing/2014/chart" uri="{C3380CC4-5D6E-409C-BE32-E72D297353CC}">
                <c16:uniqueId val="{000003AF-C623-4FBE-8EDB-4AD12F618AAD}"/>
              </c:ext>
            </c:extLst>
          </c:dPt>
          <c:dPt>
            <c:idx val="471"/>
            <c:invertIfNegative val="1"/>
            <c:bubble3D val="0"/>
            <c:spPr>
              <a:solidFill>
                <a:srgbClr val="7ECAC4"/>
              </a:solidFill>
            </c:spPr>
            <c:extLst>
              <c:ext xmlns:c16="http://schemas.microsoft.com/office/drawing/2014/chart" uri="{C3380CC4-5D6E-409C-BE32-E72D297353CC}">
                <c16:uniqueId val="{000003B1-C623-4FBE-8EDB-4AD12F618AAD}"/>
              </c:ext>
            </c:extLst>
          </c:dPt>
          <c:dPt>
            <c:idx val="472"/>
            <c:invertIfNegative val="1"/>
            <c:bubble3D val="0"/>
            <c:spPr>
              <a:solidFill>
                <a:srgbClr val="7ECAC4"/>
              </a:solidFill>
            </c:spPr>
            <c:extLst>
              <c:ext xmlns:c16="http://schemas.microsoft.com/office/drawing/2014/chart" uri="{C3380CC4-5D6E-409C-BE32-E72D297353CC}">
                <c16:uniqueId val="{000003B3-C623-4FBE-8EDB-4AD12F618AAD}"/>
              </c:ext>
            </c:extLst>
          </c:dPt>
          <c:dPt>
            <c:idx val="473"/>
            <c:invertIfNegative val="1"/>
            <c:bubble3D val="0"/>
            <c:spPr>
              <a:solidFill>
                <a:srgbClr val="7ECAC4"/>
              </a:solidFill>
            </c:spPr>
            <c:extLst>
              <c:ext xmlns:c16="http://schemas.microsoft.com/office/drawing/2014/chart" uri="{C3380CC4-5D6E-409C-BE32-E72D297353CC}">
                <c16:uniqueId val="{000003B5-C623-4FBE-8EDB-4AD12F618AAD}"/>
              </c:ext>
            </c:extLst>
          </c:dPt>
          <c:dPt>
            <c:idx val="474"/>
            <c:invertIfNegative val="1"/>
            <c:bubble3D val="0"/>
            <c:spPr>
              <a:solidFill>
                <a:srgbClr val="7ECAC4"/>
              </a:solidFill>
            </c:spPr>
            <c:extLst>
              <c:ext xmlns:c16="http://schemas.microsoft.com/office/drawing/2014/chart" uri="{C3380CC4-5D6E-409C-BE32-E72D297353CC}">
                <c16:uniqueId val="{000003B7-C623-4FBE-8EDB-4AD12F618AAD}"/>
              </c:ext>
            </c:extLst>
          </c:dPt>
          <c:dPt>
            <c:idx val="475"/>
            <c:invertIfNegative val="1"/>
            <c:bubble3D val="0"/>
            <c:spPr>
              <a:solidFill>
                <a:srgbClr val="7ECAC4"/>
              </a:solidFill>
            </c:spPr>
            <c:extLst>
              <c:ext xmlns:c16="http://schemas.microsoft.com/office/drawing/2014/chart" uri="{C3380CC4-5D6E-409C-BE32-E72D297353CC}">
                <c16:uniqueId val="{000003B9-C623-4FBE-8EDB-4AD12F618AAD}"/>
              </c:ext>
            </c:extLst>
          </c:dPt>
          <c:dPt>
            <c:idx val="476"/>
            <c:invertIfNegative val="1"/>
            <c:bubble3D val="0"/>
            <c:spPr>
              <a:solidFill>
                <a:srgbClr val="7ECAC4"/>
              </a:solidFill>
            </c:spPr>
            <c:extLst>
              <c:ext xmlns:c16="http://schemas.microsoft.com/office/drawing/2014/chart" uri="{C3380CC4-5D6E-409C-BE32-E72D297353CC}">
                <c16:uniqueId val="{000003BB-C623-4FBE-8EDB-4AD12F618AAD}"/>
              </c:ext>
            </c:extLst>
          </c:dPt>
          <c:dPt>
            <c:idx val="477"/>
            <c:invertIfNegative val="1"/>
            <c:bubble3D val="0"/>
            <c:spPr>
              <a:solidFill>
                <a:srgbClr val="7ECAC4"/>
              </a:solidFill>
            </c:spPr>
            <c:extLst>
              <c:ext xmlns:c16="http://schemas.microsoft.com/office/drawing/2014/chart" uri="{C3380CC4-5D6E-409C-BE32-E72D297353CC}">
                <c16:uniqueId val="{000003BD-C623-4FBE-8EDB-4AD12F618AAD}"/>
              </c:ext>
            </c:extLst>
          </c:dPt>
          <c:dPt>
            <c:idx val="478"/>
            <c:invertIfNegative val="1"/>
            <c:bubble3D val="0"/>
            <c:spPr>
              <a:solidFill>
                <a:srgbClr val="7ECAC4"/>
              </a:solidFill>
            </c:spPr>
            <c:extLst>
              <c:ext xmlns:c16="http://schemas.microsoft.com/office/drawing/2014/chart" uri="{C3380CC4-5D6E-409C-BE32-E72D297353CC}">
                <c16:uniqueId val="{000003BF-C623-4FBE-8EDB-4AD12F618AAD}"/>
              </c:ext>
            </c:extLst>
          </c:dPt>
          <c:dPt>
            <c:idx val="479"/>
            <c:invertIfNegative val="1"/>
            <c:bubble3D val="0"/>
            <c:spPr>
              <a:solidFill>
                <a:srgbClr val="7ECAC4"/>
              </a:solidFill>
            </c:spPr>
            <c:extLst>
              <c:ext xmlns:c16="http://schemas.microsoft.com/office/drawing/2014/chart" uri="{C3380CC4-5D6E-409C-BE32-E72D297353CC}">
                <c16:uniqueId val="{000003C1-C623-4FBE-8EDB-4AD12F618AAD}"/>
              </c:ext>
            </c:extLst>
          </c:dPt>
          <c:dPt>
            <c:idx val="480"/>
            <c:invertIfNegative val="1"/>
            <c:bubble3D val="0"/>
            <c:spPr>
              <a:solidFill>
                <a:srgbClr val="7ECAC4"/>
              </a:solidFill>
            </c:spPr>
            <c:extLst>
              <c:ext xmlns:c16="http://schemas.microsoft.com/office/drawing/2014/chart" uri="{C3380CC4-5D6E-409C-BE32-E72D297353CC}">
                <c16:uniqueId val="{000003C3-C623-4FBE-8EDB-4AD12F618AAD}"/>
              </c:ext>
            </c:extLst>
          </c:dPt>
          <c:dPt>
            <c:idx val="481"/>
            <c:invertIfNegative val="1"/>
            <c:bubble3D val="0"/>
            <c:spPr>
              <a:solidFill>
                <a:srgbClr val="7ECAC4"/>
              </a:solidFill>
            </c:spPr>
            <c:extLst>
              <c:ext xmlns:c16="http://schemas.microsoft.com/office/drawing/2014/chart" uri="{C3380CC4-5D6E-409C-BE32-E72D297353CC}">
                <c16:uniqueId val="{000003C5-C623-4FBE-8EDB-4AD12F618AAD}"/>
              </c:ext>
            </c:extLst>
          </c:dPt>
          <c:dPt>
            <c:idx val="482"/>
            <c:invertIfNegative val="1"/>
            <c:bubble3D val="0"/>
            <c:spPr>
              <a:solidFill>
                <a:srgbClr val="7ECAC4"/>
              </a:solidFill>
            </c:spPr>
            <c:extLst>
              <c:ext xmlns:c16="http://schemas.microsoft.com/office/drawing/2014/chart" uri="{C3380CC4-5D6E-409C-BE32-E72D297353CC}">
                <c16:uniqueId val="{000003C7-C623-4FBE-8EDB-4AD12F618AAD}"/>
              </c:ext>
            </c:extLst>
          </c:dPt>
          <c:dPt>
            <c:idx val="483"/>
            <c:invertIfNegative val="1"/>
            <c:bubble3D val="0"/>
            <c:spPr>
              <a:solidFill>
                <a:srgbClr val="7ECAC4"/>
              </a:solidFill>
            </c:spPr>
            <c:extLst>
              <c:ext xmlns:c16="http://schemas.microsoft.com/office/drawing/2014/chart" uri="{C3380CC4-5D6E-409C-BE32-E72D297353CC}">
                <c16:uniqueId val="{000003C9-C623-4FBE-8EDB-4AD12F618AAD}"/>
              </c:ext>
            </c:extLst>
          </c:dPt>
          <c:dPt>
            <c:idx val="484"/>
            <c:invertIfNegative val="1"/>
            <c:bubble3D val="0"/>
            <c:spPr>
              <a:solidFill>
                <a:srgbClr val="7ECAC4"/>
              </a:solidFill>
            </c:spPr>
            <c:extLst>
              <c:ext xmlns:c16="http://schemas.microsoft.com/office/drawing/2014/chart" uri="{C3380CC4-5D6E-409C-BE32-E72D297353CC}">
                <c16:uniqueId val="{000003CB-C623-4FBE-8EDB-4AD12F618AAD}"/>
              </c:ext>
            </c:extLst>
          </c:dPt>
          <c:dPt>
            <c:idx val="485"/>
            <c:invertIfNegative val="1"/>
            <c:bubble3D val="0"/>
            <c:spPr>
              <a:solidFill>
                <a:srgbClr val="7ECAC4"/>
              </a:solidFill>
            </c:spPr>
            <c:extLst>
              <c:ext xmlns:c16="http://schemas.microsoft.com/office/drawing/2014/chart" uri="{C3380CC4-5D6E-409C-BE32-E72D297353CC}">
                <c16:uniqueId val="{000003CD-C623-4FBE-8EDB-4AD12F618AAD}"/>
              </c:ext>
            </c:extLst>
          </c:dPt>
          <c:dPt>
            <c:idx val="486"/>
            <c:invertIfNegative val="1"/>
            <c:bubble3D val="0"/>
            <c:spPr>
              <a:solidFill>
                <a:srgbClr val="7ECAC4"/>
              </a:solidFill>
            </c:spPr>
            <c:extLst>
              <c:ext xmlns:c16="http://schemas.microsoft.com/office/drawing/2014/chart" uri="{C3380CC4-5D6E-409C-BE32-E72D297353CC}">
                <c16:uniqueId val="{000003CF-C623-4FBE-8EDB-4AD12F618AAD}"/>
              </c:ext>
            </c:extLst>
          </c:dPt>
          <c:dPt>
            <c:idx val="487"/>
            <c:invertIfNegative val="1"/>
            <c:bubble3D val="0"/>
            <c:spPr>
              <a:solidFill>
                <a:srgbClr val="7ECAC4"/>
              </a:solidFill>
            </c:spPr>
            <c:extLst>
              <c:ext xmlns:c16="http://schemas.microsoft.com/office/drawing/2014/chart" uri="{C3380CC4-5D6E-409C-BE32-E72D297353CC}">
                <c16:uniqueId val="{000003D1-C623-4FBE-8EDB-4AD12F618AAD}"/>
              </c:ext>
            </c:extLst>
          </c:dPt>
          <c:dPt>
            <c:idx val="488"/>
            <c:invertIfNegative val="1"/>
            <c:bubble3D val="0"/>
            <c:spPr>
              <a:solidFill>
                <a:srgbClr val="7ECAC4"/>
              </a:solidFill>
            </c:spPr>
            <c:extLst>
              <c:ext xmlns:c16="http://schemas.microsoft.com/office/drawing/2014/chart" uri="{C3380CC4-5D6E-409C-BE32-E72D297353CC}">
                <c16:uniqueId val="{000003D3-C623-4FBE-8EDB-4AD12F618AAD}"/>
              </c:ext>
            </c:extLst>
          </c:dPt>
          <c:dPt>
            <c:idx val="489"/>
            <c:invertIfNegative val="1"/>
            <c:bubble3D val="0"/>
            <c:spPr>
              <a:solidFill>
                <a:srgbClr val="7ECAC4"/>
              </a:solidFill>
            </c:spPr>
            <c:extLst>
              <c:ext xmlns:c16="http://schemas.microsoft.com/office/drawing/2014/chart" uri="{C3380CC4-5D6E-409C-BE32-E72D297353CC}">
                <c16:uniqueId val="{000003D5-C623-4FBE-8EDB-4AD12F618AAD}"/>
              </c:ext>
            </c:extLst>
          </c:dPt>
          <c:dPt>
            <c:idx val="490"/>
            <c:invertIfNegative val="1"/>
            <c:bubble3D val="0"/>
            <c:spPr>
              <a:solidFill>
                <a:srgbClr val="7ECAC4"/>
              </a:solidFill>
            </c:spPr>
            <c:extLst>
              <c:ext xmlns:c16="http://schemas.microsoft.com/office/drawing/2014/chart" uri="{C3380CC4-5D6E-409C-BE32-E72D297353CC}">
                <c16:uniqueId val="{000003D7-C623-4FBE-8EDB-4AD12F618AAD}"/>
              </c:ext>
            </c:extLst>
          </c:dPt>
          <c:dPt>
            <c:idx val="491"/>
            <c:invertIfNegative val="1"/>
            <c:bubble3D val="0"/>
            <c:spPr>
              <a:solidFill>
                <a:srgbClr val="7ECAC4"/>
              </a:solidFill>
            </c:spPr>
            <c:extLst>
              <c:ext xmlns:c16="http://schemas.microsoft.com/office/drawing/2014/chart" uri="{C3380CC4-5D6E-409C-BE32-E72D297353CC}">
                <c16:uniqueId val="{000003D9-C623-4FBE-8EDB-4AD12F618AAD}"/>
              </c:ext>
            </c:extLst>
          </c:dPt>
          <c:dPt>
            <c:idx val="492"/>
            <c:invertIfNegative val="1"/>
            <c:bubble3D val="0"/>
            <c:spPr>
              <a:solidFill>
                <a:srgbClr val="7ECAC4"/>
              </a:solidFill>
            </c:spPr>
            <c:extLst>
              <c:ext xmlns:c16="http://schemas.microsoft.com/office/drawing/2014/chart" uri="{C3380CC4-5D6E-409C-BE32-E72D297353CC}">
                <c16:uniqueId val="{000003DB-C623-4FBE-8EDB-4AD12F618AAD}"/>
              </c:ext>
            </c:extLst>
          </c:dPt>
          <c:dPt>
            <c:idx val="493"/>
            <c:invertIfNegative val="1"/>
            <c:bubble3D val="0"/>
            <c:spPr>
              <a:solidFill>
                <a:srgbClr val="7ECAC4"/>
              </a:solidFill>
            </c:spPr>
            <c:extLst>
              <c:ext xmlns:c16="http://schemas.microsoft.com/office/drawing/2014/chart" uri="{C3380CC4-5D6E-409C-BE32-E72D297353CC}">
                <c16:uniqueId val="{000003DD-C623-4FBE-8EDB-4AD12F618AAD}"/>
              </c:ext>
            </c:extLst>
          </c:dPt>
          <c:dPt>
            <c:idx val="494"/>
            <c:invertIfNegative val="1"/>
            <c:bubble3D val="0"/>
            <c:spPr>
              <a:solidFill>
                <a:srgbClr val="7ECAC4"/>
              </a:solidFill>
            </c:spPr>
            <c:extLst>
              <c:ext xmlns:c16="http://schemas.microsoft.com/office/drawing/2014/chart" uri="{C3380CC4-5D6E-409C-BE32-E72D297353CC}">
                <c16:uniqueId val="{000003DF-C623-4FBE-8EDB-4AD12F618AAD}"/>
              </c:ext>
            </c:extLst>
          </c:dPt>
          <c:dPt>
            <c:idx val="495"/>
            <c:invertIfNegative val="1"/>
            <c:bubble3D val="0"/>
            <c:spPr>
              <a:solidFill>
                <a:srgbClr val="7ECAC4"/>
              </a:solidFill>
            </c:spPr>
            <c:extLst>
              <c:ext xmlns:c16="http://schemas.microsoft.com/office/drawing/2014/chart" uri="{C3380CC4-5D6E-409C-BE32-E72D297353CC}">
                <c16:uniqueId val="{000003E1-C623-4FBE-8EDB-4AD12F618AAD}"/>
              </c:ext>
            </c:extLst>
          </c:dPt>
          <c:dPt>
            <c:idx val="496"/>
            <c:invertIfNegative val="1"/>
            <c:bubble3D val="0"/>
            <c:spPr>
              <a:solidFill>
                <a:srgbClr val="7ECAC4"/>
              </a:solidFill>
            </c:spPr>
            <c:extLst>
              <c:ext xmlns:c16="http://schemas.microsoft.com/office/drawing/2014/chart" uri="{C3380CC4-5D6E-409C-BE32-E72D297353CC}">
                <c16:uniqueId val="{000003E3-C623-4FBE-8EDB-4AD12F618AAD}"/>
              </c:ext>
            </c:extLst>
          </c:dPt>
          <c:dPt>
            <c:idx val="497"/>
            <c:invertIfNegative val="1"/>
            <c:bubble3D val="0"/>
            <c:spPr>
              <a:solidFill>
                <a:srgbClr val="7ECAC4"/>
              </a:solidFill>
            </c:spPr>
            <c:extLst>
              <c:ext xmlns:c16="http://schemas.microsoft.com/office/drawing/2014/chart" uri="{C3380CC4-5D6E-409C-BE32-E72D297353CC}">
                <c16:uniqueId val="{000003E5-C623-4FBE-8EDB-4AD12F618AAD}"/>
              </c:ext>
            </c:extLst>
          </c:dPt>
          <c:dPt>
            <c:idx val="498"/>
            <c:invertIfNegative val="1"/>
            <c:bubble3D val="0"/>
            <c:spPr>
              <a:solidFill>
                <a:srgbClr val="7ECAC4"/>
              </a:solidFill>
            </c:spPr>
            <c:extLst>
              <c:ext xmlns:c16="http://schemas.microsoft.com/office/drawing/2014/chart" uri="{C3380CC4-5D6E-409C-BE32-E72D297353CC}">
                <c16:uniqueId val="{000003E7-C623-4FBE-8EDB-4AD12F618AAD}"/>
              </c:ext>
            </c:extLst>
          </c:dPt>
          <c:dPt>
            <c:idx val="499"/>
            <c:invertIfNegative val="1"/>
            <c:bubble3D val="0"/>
            <c:spPr>
              <a:solidFill>
                <a:srgbClr val="7ECAC4"/>
              </a:solidFill>
            </c:spPr>
            <c:extLst>
              <c:ext xmlns:c16="http://schemas.microsoft.com/office/drawing/2014/chart" uri="{C3380CC4-5D6E-409C-BE32-E72D297353CC}">
                <c16:uniqueId val="{000003E9-C623-4FBE-8EDB-4AD12F618AAD}"/>
              </c:ext>
            </c:extLst>
          </c:dPt>
          <c:dPt>
            <c:idx val="500"/>
            <c:invertIfNegative val="1"/>
            <c:bubble3D val="0"/>
            <c:spPr>
              <a:solidFill>
                <a:srgbClr val="7ECAC4"/>
              </a:solidFill>
            </c:spPr>
            <c:extLst>
              <c:ext xmlns:c16="http://schemas.microsoft.com/office/drawing/2014/chart" uri="{C3380CC4-5D6E-409C-BE32-E72D297353CC}">
                <c16:uniqueId val="{000003EB-C623-4FBE-8EDB-4AD12F618AAD}"/>
              </c:ext>
            </c:extLst>
          </c:dPt>
          <c:dPt>
            <c:idx val="501"/>
            <c:invertIfNegative val="1"/>
            <c:bubble3D val="0"/>
            <c:spPr>
              <a:solidFill>
                <a:srgbClr val="7ECAC4"/>
              </a:solidFill>
            </c:spPr>
            <c:extLst>
              <c:ext xmlns:c16="http://schemas.microsoft.com/office/drawing/2014/chart" uri="{C3380CC4-5D6E-409C-BE32-E72D297353CC}">
                <c16:uniqueId val="{000003ED-C623-4FBE-8EDB-4AD12F618AAD}"/>
              </c:ext>
            </c:extLst>
          </c:dPt>
          <c:dPt>
            <c:idx val="502"/>
            <c:invertIfNegative val="1"/>
            <c:bubble3D val="0"/>
            <c:spPr>
              <a:solidFill>
                <a:srgbClr val="7ECAC4"/>
              </a:solidFill>
            </c:spPr>
            <c:extLst>
              <c:ext xmlns:c16="http://schemas.microsoft.com/office/drawing/2014/chart" uri="{C3380CC4-5D6E-409C-BE32-E72D297353CC}">
                <c16:uniqueId val="{000003EF-C623-4FBE-8EDB-4AD12F618AAD}"/>
              </c:ext>
            </c:extLst>
          </c:dPt>
          <c:dPt>
            <c:idx val="503"/>
            <c:invertIfNegative val="1"/>
            <c:bubble3D val="0"/>
            <c:spPr>
              <a:solidFill>
                <a:srgbClr val="7ECAC4"/>
              </a:solidFill>
            </c:spPr>
            <c:extLst>
              <c:ext xmlns:c16="http://schemas.microsoft.com/office/drawing/2014/chart" uri="{C3380CC4-5D6E-409C-BE32-E72D297353CC}">
                <c16:uniqueId val="{000003F1-C623-4FBE-8EDB-4AD12F618AAD}"/>
              </c:ext>
            </c:extLst>
          </c:dPt>
          <c:dPt>
            <c:idx val="504"/>
            <c:invertIfNegative val="1"/>
            <c:bubble3D val="0"/>
            <c:spPr>
              <a:solidFill>
                <a:srgbClr val="7ECAC4"/>
              </a:solidFill>
            </c:spPr>
            <c:extLst>
              <c:ext xmlns:c16="http://schemas.microsoft.com/office/drawing/2014/chart" uri="{C3380CC4-5D6E-409C-BE32-E72D297353CC}">
                <c16:uniqueId val="{000003F3-C623-4FBE-8EDB-4AD12F618AAD}"/>
              </c:ext>
            </c:extLst>
          </c:dPt>
          <c:dPt>
            <c:idx val="505"/>
            <c:invertIfNegative val="1"/>
            <c:bubble3D val="0"/>
            <c:spPr>
              <a:solidFill>
                <a:srgbClr val="7ECAC4"/>
              </a:solidFill>
            </c:spPr>
            <c:extLst>
              <c:ext xmlns:c16="http://schemas.microsoft.com/office/drawing/2014/chart" uri="{C3380CC4-5D6E-409C-BE32-E72D297353CC}">
                <c16:uniqueId val="{000003F5-C623-4FBE-8EDB-4AD12F618AAD}"/>
              </c:ext>
            </c:extLst>
          </c:dPt>
          <c:dPt>
            <c:idx val="506"/>
            <c:invertIfNegative val="1"/>
            <c:bubble3D val="0"/>
            <c:spPr>
              <a:solidFill>
                <a:srgbClr val="7ECAC4"/>
              </a:solidFill>
            </c:spPr>
            <c:extLst>
              <c:ext xmlns:c16="http://schemas.microsoft.com/office/drawing/2014/chart" uri="{C3380CC4-5D6E-409C-BE32-E72D297353CC}">
                <c16:uniqueId val="{000003F7-C623-4FBE-8EDB-4AD12F618AAD}"/>
              </c:ext>
            </c:extLst>
          </c:dPt>
          <c:dPt>
            <c:idx val="507"/>
            <c:invertIfNegative val="1"/>
            <c:bubble3D val="0"/>
            <c:spPr>
              <a:solidFill>
                <a:srgbClr val="7ECAC4"/>
              </a:solidFill>
            </c:spPr>
            <c:extLst>
              <c:ext xmlns:c16="http://schemas.microsoft.com/office/drawing/2014/chart" uri="{C3380CC4-5D6E-409C-BE32-E72D297353CC}">
                <c16:uniqueId val="{000003F9-C623-4FBE-8EDB-4AD12F618AAD}"/>
              </c:ext>
            </c:extLst>
          </c:dPt>
          <c:dPt>
            <c:idx val="508"/>
            <c:invertIfNegative val="1"/>
            <c:bubble3D val="0"/>
            <c:spPr>
              <a:solidFill>
                <a:srgbClr val="7ECAC4"/>
              </a:solidFill>
            </c:spPr>
            <c:extLst>
              <c:ext xmlns:c16="http://schemas.microsoft.com/office/drawing/2014/chart" uri="{C3380CC4-5D6E-409C-BE32-E72D297353CC}">
                <c16:uniqueId val="{000003FB-C623-4FBE-8EDB-4AD12F618AAD}"/>
              </c:ext>
            </c:extLst>
          </c:dPt>
          <c:dPt>
            <c:idx val="509"/>
            <c:invertIfNegative val="1"/>
            <c:bubble3D val="0"/>
            <c:spPr>
              <a:solidFill>
                <a:srgbClr val="7ECAC4"/>
              </a:solidFill>
            </c:spPr>
            <c:extLst>
              <c:ext xmlns:c16="http://schemas.microsoft.com/office/drawing/2014/chart" uri="{C3380CC4-5D6E-409C-BE32-E72D297353CC}">
                <c16:uniqueId val="{000003FD-C623-4FBE-8EDB-4AD12F618AAD}"/>
              </c:ext>
            </c:extLst>
          </c:dPt>
          <c:dPt>
            <c:idx val="510"/>
            <c:invertIfNegative val="1"/>
            <c:bubble3D val="0"/>
            <c:spPr>
              <a:solidFill>
                <a:srgbClr val="7ECAC4"/>
              </a:solidFill>
            </c:spPr>
            <c:extLst>
              <c:ext xmlns:c16="http://schemas.microsoft.com/office/drawing/2014/chart" uri="{C3380CC4-5D6E-409C-BE32-E72D297353CC}">
                <c16:uniqueId val="{000003FF-C623-4FBE-8EDB-4AD12F618AAD}"/>
              </c:ext>
            </c:extLst>
          </c:dPt>
          <c:dPt>
            <c:idx val="511"/>
            <c:invertIfNegative val="1"/>
            <c:bubble3D val="0"/>
            <c:spPr>
              <a:solidFill>
                <a:srgbClr val="7ECAC4"/>
              </a:solidFill>
            </c:spPr>
            <c:extLst>
              <c:ext xmlns:c16="http://schemas.microsoft.com/office/drawing/2014/chart" uri="{C3380CC4-5D6E-409C-BE32-E72D297353CC}">
                <c16:uniqueId val="{00000401-C623-4FBE-8EDB-4AD12F618AAD}"/>
              </c:ext>
            </c:extLst>
          </c:dPt>
          <c:dPt>
            <c:idx val="512"/>
            <c:invertIfNegative val="1"/>
            <c:bubble3D val="0"/>
            <c:spPr>
              <a:solidFill>
                <a:srgbClr val="7ECAC4"/>
              </a:solidFill>
            </c:spPr>
            <c:extLst>
              <c:ext xmlns:c16="http://schemas.microsoft.com/office/drawing/2014/chart" uri="{C3380CC4-5D6E-409C-BE32-E72D297353CC}">
                <c16:uniqueId val="{00000403-C623-4FBE-8EDB-4AD12F618AAD}"/>
              </c:ext>
            </c:extLst>
          </c:dPt>
          <c:dPt>
            <c:idx val="513"/>
            <c:invertIfNegative val="1"/>
            <c:bubble3D val="0"/>
            <c:spPr>
              <a:solidFill>
                <a:srgbClr val="7ECAC4"/>
              </a:solidFill>
            </c:spPr>
            <c:extLst>
              <c:ext xmlns:c16="http://schemas.microsoft.com/office/drawing/2014/chart" uri="{C3380CC4-5D6E-409C-BE32-E72D297353CC}">
                <c16:uniqueId val="{00000405-C623-4FBE-8EDB-4AD12F618AAD}"/>
              </c:ext>
            </c:extLst>
          </c:dPt>
          <c:dPt>
            <c:idx val="514"/>
            <c:invertIfNegative val="1"/>
            <c:bubble3D val="0"/>
            <c:spPr>
              <a:solidFill>
                <a:srgbClr val="7ECAC4"/>
              </a:solidFill>
            </c:spPr>
            <c:extLst>
              <c:ext xmlns:c16="http://schemas.microsoft.com/office/drawing/2014/chart" uri="{C3380CC4-5D6E-409C-BE32-E72D297353CC}">
                <c16:uniqueId val="{00000407-C623-4FBE-8EDB-4AD12F618AAD}"/>
              </c:ext>
            </c:extLst>
          </c:dPt>
          <c:dPt>
            <c:idx val="515"/>
            <c:invertIfNegative val="1"/>
            <c:bubble3D val="0"/>
            <c:spPr>
              <a:solidFill>
                <a:srgbClr val="7ECAC4"/>
              </a:solidFill>
            </c:spPr>
            <c:extLst>
              <c:ext xmlns:c16="http://schemas.microsoft.com/office/drawing/2014/chart" uri="{C3380CC4-5D6E-409C-BE32-E72D297353CC}">
                <c16:uniqueId val="{00000409-C623-4FBE-8EDB-4AD12F618AAD}"/>
              </c:ext>
            </c:extLst>
          </c:dPt>
          <c:dPt>
            <c:idx val="516"/>
            <c:invertIfNegative val="1"/>
            <c:bubble3D val="0"/>
            <c:spPr>
              <a:solidFill>
                <a:srgbClr val="7ECAC4"/>
              </a:solidFill>
            </c:spPr>
            <c:extLst>
              <c:ext xmlns:c16="http://schemas.microsoft.com/office/drawing/2014/chart" uri="{C3380CC4-5D6E-409C-BE32-E72D297353CC}">
                <c16:uniqueId val="{0000040B-C623-4FBE-8EDB-4AD12F618AAD}"/>
              </c:ext>
            </c:extLst>
          </c:dPt>
          <c:dPt>
            <c:idx val="517"/>
            <c:invertIfNegative val="1"/>
            <c:bubble3D val="0"/>
            <c:spPr>
              <a:solidFill>
                <a:srgbClr val="7ECAC4"/>
              </a:solidFill>
            </c:spPr>
            <c:extLst>
              <c:ext xmlns:c16="http://schemas.microsoft.com/office/drawing/2014/chart" uri="{C3380CC4-5D6E-409C-BE32-E72D297353CC}">
                <c16:uniqueId val="{0000040D-C623-4FBE-8EDB-4AD12F618AAD}"/>
              </c:ext>
            </c:extLst>
          </c:dPt>
          <c:dPt>
            <c:idx val="518"/>
            <c:invertIfNegative val="1"/>
            <c:bubble3D val="0"/>
            <c:spPr>
              <a:solidFill>
                <a:srgbClr val="7ECAC4"/>
              </a:solidFill>
            </c:spPr>
            <c:extLst>
              <c:ext xmlns:c16="http://schemas.microsoft.com/office/drawing/2014/chart" uri="{C3380CC4-5D6E-409C-BE32-E72D297353CC}">
                <c16:uniqueId val="{0000040F-C623-4FBE-8EDB-4AD12F618AAD}"/>
              </c:ext>
            </c:extLst>
          </c:dPt>
          <c:dPt>
            <c:idx val="519"/>
            <c:invertIfNegative val="1"/>
            <c:bubble3D val="0"/>
            <c:spPr>
              <a:solidFill>
                <a:srgbClr val="7ECAC4"/>
              </a:solidFill>
            </c:spPr>
            <c:extLst>
              <c:ext xmlns:c16="http://schemas.microsoft.com/office/drawing/2014/chart" uri="{C3380CC4-5D6E-409C-BE32-E72D297353CC}">
                <c16:uniqueId val="{00000411-C623-4FBE-8EDB-4AD12F618AAD}"/>
              </c:ext>
            </c:extLst>
          </c:dPt>
          <c:dPt>
            <c:idx val="520"/>
            <c:invertIfNegative val="1"/>
            <c:bubble3D val="0"/>
            <c:spPr>
              <a:solidFill>
                <a:srgbClr val="7ECAC4"/>
              </a:solidFill>
            </c:spPr>
            <c:extLst>
              <c:ext xmlns:c16="http://schemas.microsoft.com/office/drawing/2014/chart" uri="{C3380CC4-5D6E-409C-BE32-E72D297353CC}">
                <c16:uniqueId val="{00000413-C623-4FBE-8EDB-4AD12F618AAD}"/>
              </c:ext>
            </c:extLst>
          </c:dPt>
          <c:dPt>
            <c:idx val="521"/>
            <c:invertIfNegative val="1"/>
            <c:bubble3D val="0"/>
            <c:spPr>
              <a:solidFill>
                <a:srgbClr val="7ECAC4"/>
              </a:solidFill>
            </c:spPr>
            <c:extLst>
              <c:ext xmlns:c16="http://schemas.microsoft.com/office/drawing/2014/chart" uri="{C3380CC4-5D6E-409C-BE32-E72D297353CC}">
                <c16:uniqueId val="{00000415-C623-4FBE-8EDB-4AD12F618AAD}"/>
              </c:ext>
            </c:extLst>
          </c:dPt>
          <c:dPt>
            <c:idx val="522"/>
            <c:invertIfNegative val="1"/>
            <c:bubble3D val="0"/>
            <c:spPr>
              <a:solidFill>
                <a:srgbClr val="7ECAC4"/>
              </a:solidFill>
            </c:spPr>
            <c:extLst>
              <c:ext xmlns:c16="http://schemas.microsoft.com/office/drawing/2014/chart" uri="{C3380CC4-5D6E-409C-BE32-E72D297353CC}">
                <c16:uniqueId val="{00000417-C623-4FBE-8EDB-4AD12F618AAD}"/>
              </c:ext>
            </c:extLst>
          </c:dPt>
          <c:dPt>
            <c:idx val="523"/>
            <c:invertIfNegative val="1"/>
            <c:bubble3D val="0"/>
            <c:spPr>
              <a:solidFill>
                <a:srgbClr val="7ECAC4"/>
              </a:solidFill>
            </c:spPr>
            <c:extLst>
              <c:ext xmlns:c16="http://schemas.microsoft.com/office/drawing/2014/chart" uri="{C3380CC4-5D6E-409C-BE32-E72D297353CC}">
                <c16:uniqueId val="{00000419-C623-4FBE-8EDB-4AD12F618AAD}"/>
              </c:ext>
            </c:extLst>
          </c:dPt>
          <c:dPt>
            <c:idx val="524"/>
            <c:invertIfNegative val="1"/>
            <c:bubble3D val="0"/>
            <c:spPr>
              <a:solidFill>
                <a:srgbClr val="7ECAC4"/>
              </a:solidFill>
            </c:spPr>
            <c:extLst>
              <c:ext xmlns:c16="http://schemas.microsoft.com/office/drawing/2014/chart" uri="{C3380CC4-5D6E-409C-BE32-E72D297353CC}">
                <c16:uniqueId val="{0000041B-C623-4FBE-8EDB-4AD12F618AAD}"/>
              </c:ext>
            </c:extLst>
          </c:dPt>
          <c:dPt>
            <c:idx val="525"/>
            <c:invertIfNegative val="1"/>
            <c:bubble3D val="0"/>
            <c:spPr>
              <a:solidFill>
                <a:srgbClr val="7ECAC4"/>
              </a:solidFill>
            </c:spPr>
            <c:extLst>
              <c:ext xmlns:c16="http://schemas.microsoft.com/office/drawing/2014/chart" uri="{C3380CC4-5D6E-409C-BE32-E72D297353CC}">
                <c16:uniqueId val="{0000041D-C623-4FBE-8EDB-4AD12F618AAD}"/>
              </c:ext>
            </c:extLst>
          </c:dPt>
          <c:dPt>
            <c:idx val="526"/>
            <c:invertIfNegative val="1"/>
            <c:bubble3D val="0"/>
            <c:spPr>
              <a:solidFill>
                <a:srgbClr val="7ECAC4"/>
              </a:solidFill>
            </c:spPr>
            <c:extLst>
              <c:ext xmlns:c16="http://schemas.microsoft.com/office/drawing/2014/chart" uri="{C3380CC4-5D6E-409C-BE32-E72D297353CC}">
                <c16:uniqueId val="{0000041F-C623-4FBE-8EDB-4AD12F618AAD}"/>
              </c:ext>
            </c:extLst>
          </c:dPt>
          <c:dPt>
            <c:idx val="527"/>
            <c:invertIfNegative val="1"/>
            <c:bubble3D val="0"/>
            <c:spPr>
              <a:solidFill>
                <a:srgbClr val="7ECAC4"/>
              </a:solidFill>
            </c:spPr>
            <c:extLst>
              <c:ext xmlns:c16="http://schemas.microsoft.com/office/drawing/2014/chart" uri="{C3380CC4-5D6E-409C-BE32-E72D297353CC}">
                <c16:uniqueId val="{00000421-C623-4FBE-8EDB-4AD12F618AAD}"/>
              </c:ext>
            </c:extLst>
          </c:dPt>
          <c:dPt>
            <c:idx val="528"/>
            <c:invertIfNegative val="1"/>
            <c:bubble3D val="0"/>
            <c:spPr>
              <a:solidFill>
                <a:srgbClr val="7ECAC4"/>
              </a:solidFill>
            </c:spPr>
            <c:extLst>
              <c:ext xmlns:c16="http://schemas.microsoft.com/office/drawing/2014/chart" uri="{C3380CC4-5D6E-409C-BE32-E72D297353CC}">
                <c16:uniqueId val="{00000423-C623-4FBE-8EDB-4AD12F618AAD}"/>
              </c:ext>
            </c:extLst>
          </c:dPt>
          <c:dPt>
            <c:idx val="529"/>
            <c:invertIfNegative val="1"/>
            <c:bubble3D val="0"/>
            <c:spPr>
              <a:solidFill>
                <a:srgbClr val="7ECAC4"/>
              </a:solidFill>
            </c:spPr>
            <c:extLst>
              <c:ext xmlns:c16="http://schemas.microsoft.com/office/drawing/2014/chart" uri="{C3380CC4-5D6E-409C-BE32-E72D297353CC}">
                <c16:uniqueId val="{00000425-C623-4FBE-8EDB-4AD12F618AAD}"/>
              </c:ext>
            </c:extLst>
          </c:dPt>
          <c:dPt>
            <c:idx val="530"/>
            <c:invertIfNegative val="1"/>
            <c:bubble3D val="0"/>
            <c:spPr>
              <a:solidFill>
                <a:srgbClr val="7ECAC4"/>
              </a:solidFill>
            </c:spPr>
            <c:extLst>
              <c:ext xmlns:c16="http://schemas.microsoft.com/office/drawing/2014/chart" uri="{C3380CC4-5D6E-409C-BE32-E72D297353CC}">
                <c16:uniqueId val="{00000427-C623-4FBE-8EDB-4AD12F618AAD}"/>
              </c:ext>
            </c:extLst>
          </c:dPt>
          <c:dPt>
            <c:idx val="531"/>
            <c:invertIfNegative val="1"/>
            <c:bubble3D val="0"/>
            <c:spPr>
              <a:solidFill>
                <a:srgbClr val="7ECAC4"/>
              </a:solidFill>
            </c:spPr>
            <c:extLst>
              <c:ext xmlns:c16="http://schemas.microsoft.com/office/drawing/2014/chart" uri="{C3380CC4-5D6E-409C-BE32-E72D297353CC}">
                <c16:uniqueId val="{00000429-C623-4FBE-8EDB-4AD12F618AAD}"/>
              </c:ext>
            </c:extLst>
          </c:dPt>
          <c:dPt>
            <c:idx val="532"/>
            <c:invertIfNegative val="1"/>
            <c:bubble3D val="0"/>
            <c:spPr>
              <a:solidFill>
                <a:srgbClr val="7ECAC4"/>
              </a:solidFill>
            </c:spPr>
            <c:extLst>
              <c:ext xmlns:c16="http://schemas.microsoft.com/office/drawing/2014/chart" uri="{C3380CC4-5D6E-409C-BE32-E72D297353CC}">
                <c16:uniqueId val="{0000042B-C623-4FBE-8EDB-4AD12F618AAD}"/>
              </c:ext>
            </c:extLst>
          </c:dPt>
          <c:dPt>
            <c:idx val="533"/>
            <c:invertIfNegative val="1"/>
            <c:bubble3D val="0"/>
            <c:spPr>
              <a:solidFill>
                <a:srgbClr val="7ECAC4"/>
              </a:solidFill>
            </c:spPr>
            <c:extLst>
              <c:ext xmlns:c16="http://schemas.microsoft.com/office/drawing/2014/chart" uri="{C3380CC4-5D6E-409C-BE32-E72D297353CC}">
                <c16:uniqueId val="{0000042D-C623-4FBE-8EDB-4AD12F618AAD}"/>
              </c:ext>
            </c:extLst>
          </c:dPt>
          <c:dPt>
            <c:idx val="534"/>
            <c:invertIfNegative val="1"/>
            <c:bubble3D val="0"/>
            <c:spPr>
              <a:solidFill>
                <a:srgbClr val="7ECAC4"/>
              </a:solidFill>
            </c:spPr>
            <c:extLst>
              <c:ext xmlns:c16="http://schemas.microsoft.com/office/drawing/2014/chart" uri="{C3380CC4-5D6E-409C-BE32-E72D297353CC}">
                <c16:uniqueId val="{0000042F-C623-4FBE-8EDB-4AD12F618AAD}"/>
              </c:ext>
            </c:extLst>
          </c:dPt>
          <c:dPt>
            <c:idx val="535"/>
            <c:invertIfNegative val="1"/>
            <c:bubble3D val="0"/>
            <c:spPr>
              <a:solidFill>
                <a:srgbClr val="7ECAC4"/>
              </a:solidFill>
            </c:spPr>
            <c:extLst>
              <c:ext xmlns:c16="http://schemas.microsoft.com/office/drawing/2014/chart" uri="{C3380CC4-5D6E-409C-BE32-E72D297353CC}">
                <c16:uniqueId val="{00000431-C623-4FBE-8EDB-4AD12F618AAD}"/>
              </c:ext>
            </c:extLst>
          </c:dPt>
          <c:dPt>
            <c:idx val="536"/>
            <c:invertIfNegative val="1"/>
            <c:bubble3D val="0"/>
            <c:spPr>
              <a:solidFill>
                <a:srgbClr val="7ECAC4"/>
              </a:solidFill>
            </c:spPr>
            <c:extLst>
              <c:ext xmlns:c16="http://schemas.microsoft.com/office/drawing/2014/chart" uri="{C3380CC4-5D6E-409C-BE32-E72D297353CC}">
                <c16:uniqueId val="{00000433-C623-4FBE-8EDB-4AD12F618AAD}"/>
              </c:ext>
            </c:extLst>
          </c:dPt>
          <c:dPt>
            <c:idx val="537"/>
            <c:invertIfNegative val="1"/>
            <c:bubble3D val="0"/>
            <c:spPr>
              <a:solidFill>
                <a:srgbClr val="7ECAC4"/>
              </a:solidFill>
            </c:spPr>
            <c:extLst>
              <c:ext xmlns:c16="http://schemas.microsoft.com/office/drawing/2014/chart" uri="{C3380CC4-5D6E-409C-BE32-E72D297353CC}">
                <c16:uniqueId val="{00000435-C623-4FBE-8EDB-4AD12F618AAD}"/>
              </c:ext>
            </c:extLst>
          </c:dPt>
          <c:dPt>
            <c:idx val="538"/>
            <c:invertIfNegative val="1"/>
            <c:bubble3D val="0"/>
            <c:spPr>
              <a:solidFill>
                <a:srgbClr val="7ECAC4"/>
              </a:solidFill>
            </c:spPr>
            <c:extLst>
              <c:ext xmlns:c16="http://schemas.microsoft.com/office/drawing/2014/chart" uri="{C3380CC4-5D6E-409C-BE32-E72D297353CC}">
                <c16:uniqueId val="{00000437-C623-4FBE-8EDB-4AD12F618AAD}"/>
              </c:ext>
            </c:extLst>
          </c:dPt>
          <c:dPt>
            <c:idx val="539"/>
            <c:invertIfNegative val="1"/>
            <c:bubble3D val="0"/>
            <c:spPr>
              <a:solidFill>
                <a:srgbClr val="7ECAC4"/>
              </a:solidFill>
            </c:spPr>
            <c:extLst>
              <c:ext xmlns:c16="http://schemas.microsoft.com/office/drawing/2014/chart" uri="{C3380CC4-5D6E-409C-BE32-E72D297353CC}">
                <c16:uniqueId val="{00000439-C623-4FBE-8EDB-4AD12F618AAD}"/>
              </c:ext>
            </c:extLst>
          </c:dPt>
          <c:dPt>
            <c:idx val="540"/>
            <c:invertIfNegative val="1"/>
            <c:bubble3D val="0"/>
            <c:spPr>
              <a:solidFill>
                <a:srgbClr val="7ECAC4"/>
              </a:solidFill>
            </c:spPr>
            <c:extLst>
              <c:ext xmlns:c16="http://schemas.microsoft.com/office/drawing/2014/chart" uri="{C3380CC4-5D6E-409C-BE32-E72D297353CC}">
                <c16:uniqueId val="{0000043B-C623-4FBE-8EDB-4AD12F618AAD}"/>
              </c:ext>
            </c:extLst>
          </c:dPt>
          <c:dPt>
            <c:idx val="541"/>
            <c:invertIfNegative val="1"/>
            <c:bubble3D val="0"/>
            <c:spPr>
              <a:solidFill>
                <a:srgbClr val="7ECAC4"/>
              </a:solidFill>
            </c:spPr>
            <c:extLst>
              <c:ext xmlns:c16="http://schemas.microsoft.com/office/drawing/2014/chart" uri="{C3380CC4-5D6E-409C-BE32-E72D297353CC}">
                <c16:uniqueId val="{0000043D-C623-4FBE-8EDB-4AD12F618AAD}"/>
              </c:ext>
            </c:extLst>
          </c:dPt>
          <c:dPt>
            <c:idx val="542"/>
            <c:invertIfNegative val="1"/>
            <c:bubble3D val="0"/>
            <c:spPr>
              <a:solidFill>
                <a:srgbClr val="7ECAC4"/>
              </a:solidFill>
            </c:spPr>
            <c:extLst>
              <c:ext xmlns:c16="http://schemas.microsoft.com/office/drawing/2014/chart" uri="{C3380CC4-5D6E-409C-BE32-E72D297353CC}">
                <c16:uniqueId val="{0000043F-C623-4FBE-8EDB-4AD12F618AAD}"/>
              </c:ext>
            </c:extLst>
          </c:dPt>
          <c:dPt>
            <c:idx val="543"/>
            <c:invertIfNegative val="1"/>
            <c:bubble3D val="0"/>
            <c:spPr>
              <a:solidFill>
                <a:srgbClr val="7ECAC4"/>
              </a:solidFill>
            </c:spPr>
            <c:extLst>
              <c:ext xmlns:c16="http://schemas.microsoft.com/office/drawing/2014/chart" uri="{C3380CC4-5D6E-409C-BE32-E72D297353CC}">
                <c16:uniqueId val="{00000441-C623-4FBE-8EDB-4AD12F618AAD}"/>
              </c:ext>
            </c:extLst>
          </c:dPt>
          <c:dPt>
            <c:idx val="544"/>
            <c:invertIfNegative val="1"/>
            <c:bubble3D val="0"/>
            <c:spPr>
              <a:solidFill>
                <a:srgbClr val="7ECAC4"/>
              </a:solidFill>
            </c:spPr>
            <c:extLst>
              <c:ext xmlns:c16="http://schemas.microsoft.com/office/drawing/2014/chart" uri="{C3380CC4-5D6E-409C-BE32-E72D297353CC}">
                <c16:uniqueId val="{00000443-C623-4FBE-8EDB-4AD12F618AAD}"/>
              </c:ext>
            </c:extLst>
          </c:dPt>
          <c:dPt>
            <c:idx val="545"/>
            <c:invertIfNegative val="1"/>
            <c:bubble3D val="0"/>
            <c:spPr>
              <a:solidFill>
                <a:srgbClr val="7ECAC4"/>
              </a:solidFill>
            </c:spPr>
            <c:extLst>
              <c:ext xmlns:c16="http://schemas.microsoft.com/office/drawing/2014/chart" uri="{C3380CC4-5D6E-409C-BE32-E72D297353CC}">
                <c16:uniqueId val="{00000445-C623-4FBE-8EDB-4AD12F618AAD}"/>
              </c:ext>
            </c:extLst>
          </c:dPt>
          <c:dPt>
            <c:idx val="546"/>
            <c:invertIfNegative val="1"/>
            <c:bubble3D val="0"/>
            <c:spPr>
              <a:solidFill>
                <a:srgbClr val="7ECAC4"/>
              </a:solidFill>
            </c:spPr>
            <c:extLst>
              <c:ext xmlns:c16="http://schemas.microsoft.com/office/drawing/2014/chart" uri="{C3380CC4-5D6E-409C-BE32-E72D297353CC}">
                <c16:uniqueId val="{00000447-C623-4FBE-8EDB-4AD12F618AAD}"/>
              </c:ext>
            </c:extLst>
          </c:dPt>
          <c:dPt>
            <c:idx val="547"/>
            <c:invertIfNegative val="1"/>
            <c:bubble3D val="0"/>
            <c:spPr>
              <a:solidFill>
                <a:srgbClr val="7ECAC4"/>
              </a:solidFill>
            </c:spPr>
            <c:extLst>
              <c:ext xmlns:c16="http://schemas.microsoft.com/office/drawing/2014/chart" uri="{C3380CC4-5D6E-409C-BE32-E72D297353CC}">
                <c16:uniqueId val="{00000449-C623-4FBE-8EDB-4AD12F618AAD}"/>
              </c:ext>
            </c:extLst>
          </c:dPt>
          <c:dPt>
            <c:idx val="548"/>
            <c:invertIfNegative val="1"/>
            <c:bubble3D val="0"/>
            <c:spPr>
              <a:solidFill>
                <a:srgbClr val="7ECAC4"/>
              </a:solidFill>
            </c:spPr>
            <c:extLst>
              <c:ext xmlns:c16="http://schemas.microsoft.com/office/drawing/2014/chart" uri="{C3380CC4-5D6E-409C-BE32-E72D297353CC}">
                <c16:uniqueId val="{0000044B-C623-4FBE-8EDB-4AD12F618AAD}"/>
              </c:ext>
            </c:extLst>
          </c:dPt>
          <c:dPt>
            <c:idx val="549"/>
            <c:invertIfNegative val="1"/>
            <c:bubble3D val="0"/>
            <c:spPr>
              <a:solidFill>
                <a:srgbClr val="7ECAC4"/>
              </a:solidFill>
            </c:spPr>
            <c:extLst>
              <c:ext xmlns:c16="http://schemas.microsoft.com/office/drawing/2014/chart" uri="{C3380CC4-5D6E-409C-BE32-E72D297353CC}">
                <c16:uniqueId val="{0000044D-C623-4FBE-8EDB-4AD12F618AAD}"/>
              </c:ext>
            </c:extLst>
          </c:dPt>
          <c:dPt>
            <c:idx val="550"/>
            <c:invertIfNegative val="1"/>
            <c:bubble3D val="0"/>
            <c:spPr>
              <a:solidFill>
                <a:srgbClr val="7ECAC4"/>
              </a:solidFill>
            </c:spPr>
            <c:extLst>
              <c:ext xmlns:c16="http://schemas.microsoft.com/office/drawing/2014/chart" uri="{C3380CC4-5D6E-409C-BE32-E72D297353CC}">
                <c16:uniqueId val="{0000044F-C623-4FBE-8EDB-4AD12F618AAD}"/>
              </c:ext>
            </c:extLst>
          </c:dPt>
          <c:dPt>
            <c:idx val="551"/>
            <c:invertIfNegative val="1"/>
            <c:bubble3D val="0"/>
            <c:spPr>
              <a:solidFill>
                <a:srgbClr val="7ECAC4"/>
              </a:solidFill>
            </c:spPr>
            <c:extLst>
              <c:ext xmlns:c16="http://schemas.microsoft.com/office/drawing/2014/chart" uri="{C3380CC4-5D6E-409C-BE32-E72D297353CC}">
                <c16:uniqueId val="{00000451-C623-4FBE-8EDB-4AD12F618AAD}"/>
              </c:ext>
            </c:extLst>
          </c:dPt>
          <c:dPt>
            <c:idx val="552"/>
            <c:invertIfNegative val="1"/>
            <c:bubble3D val="0"/>
            <c:spPr>
              <a:solidFill>
                <a:srgbClr val="7ECAC4"/>
              </a:solidFill>
            </c:spPr>
            <c:extLst>
              <c:ext xmlns:c16="http://schemas.microsoft.com/office/drawing/2014/chart" uri="{C3380CC4-5D6E-409C-BE32-E72D297353CC}">
                <c16:uniqueId val="{00000453-C623-4FBE-8EDB-4AD12F618AAD}"/>
              </c:ext>
            </c:extLst>
          </c:dPt>
          <c:dPt>
            <c:idx val="553"/>
            <c:invertIfNegative val="1"/>
            <c:bubble3D val="0"/>
            <c:spPr>
              <a:solidFill>
                <a:srgbClr val="7ECAC4"/>
              </a:solidFill>
            </c:spPr>
            <c:extLst>
              <c:ext xmlns:c16="http://schemas.microsoft.com/office/drawing/2014/chart" uri="{C3380CC4-5D6E-409C-BE32-E72D297353CC}">
                <c16:uniqueId val="{00000455-C623-4FBE-8EDB-4AD12F618AAD}"/>
              </c:ext>
            </c:extLst>
          </c:dPt>
          <c:dPt>
            <c:idx val="554"/>
            <c:invertIfNegative val="1"/>
            <c:bubble3D val="0"/>
            <c:spPr>
              <a:solidFill>
                <a:srgbClr val="7ECAC4"/>
              </a:solidFill>
            </c:spPr>
            <c:extLst>
              <c:ext xmlns:c16="http://schemas.microsoft.com/office/drawing/2014/chart" uri="{C3380CC4-5D6E-409C-BE32-E72D297353CC}">
                <c16:uniqueId val="{00000457-C623-4FBE-8EDB-4AD12F618AAD}"/>
              </c:ext>
            </c:extLst>
          </c:dPt>
          <c:dPt>
            <c:idx val="555"/>
            <c:invertIfNegative val="1"/>
            <c:bubble3D val="0"/>
            <c:spPr>
              <a:solidFill>
                <a:srgbClr val="7ECAC4"/>
              </a:solidFill>
            </c:spPr>
            <c:extLst>
              <c:ext xmlns:c16="http://schemas.microsoft.com/office/drawing/2014/chart" uri="{C3380CC4-5D6E-409C-BE32-E72D297353CC}">
                <c16:uniqueId val="{00000459-C623-4FBE-8EDB-4AD12F618AAD}"/>
              </c:ext>
            </c:extLst>
          </c:dPt>
          <c:dPt>
            <c:idx val="556"/>
            <c:invertIfNegative val="1"/>
            <c:bubble3D val="0"/>
            <c:spPr>
              <a:solidFill>
                <a:srgbClr val="7ECAC4"/>
              </a:solidFill>
            </c:spPr>
            <c:extLst>
              <c:ext xmlns:c16="http://schemas.microsoft.com/office/drawing/2014/chart" uri="{C3380CC4-5D6E-409C-BE32-E72D297353CC}">
                <c16:uniqueId val="{0000045B-C623-4FBE-8EDB-4AD12F618AAD}"/>
              </c:ext>
            </c:extLst>
          </c:dPt>
          <c:dPt>
            <c:idx val="557"/>
            <c:invertIfNegative val="1"/>
            <c:bubble3D val="0"/>
            <c:spPr>
              <a:solidFill>
                <a:srgbClr val="7ECAC4"/>
              </a:solidFill>
            </c:spPr>
            <c:extLst>
              <c:ext xmlns:c16="http://schemas.microsoft.com/office/drawing/2014/chart" uri="{C3380CC4-5D6E-409C-BE32-E72D297353CC}">
                <c16:uniqueId val="{0000045D-C623-4FBE-8EDB-4AD12F618AAD}"/>
              </c:ext>
            </c:extLst>
          </c:dPt>
          <c:dPt>
            <c:idx val="558"/>
            <c:invertIfNegative val="1"/>
            <c:bubble3D val="0"/>
            <c:spPr>
              <a:solidFill>
                <a:srgbClr val="7ECAC4"/>
              </a:solidFill>
            </c:spPr>
            <c:extLst>
              <c:ext xmlns:c16="http://schemas.microsoft.com/office/drawing/2014/chart" uri="{C3380CC4-5D6E-409C-BE32-E72D297353CC}">
                <c16:uniqueId val="{0000045F-C623-4FBE-8EDB-4AD12F618AAD}"/>
              </c:ext>
            </c:extLst>
          </c:dPt>
          <c:dPt>
            <c:idx val="559"/>
            <c:invertIfNegative val="1"/>
            <c:bubble3D val="0"/>
            <c:spPr>
              <a:solidFill>
                <a:srgbClr val="7ECAC4"/>
              </a:solidFill>
            </c:spPr>
            <c:extLst>
              <c:ext xmlns:c16="http://schemas.microsoft.com/office/drawing/2014/chart" uri="{C3380CC4-5D6E-409C-BE32-E72D297353CC}">
                <c16:uniqueId val="{00000461-C623-4FBE-8EDB-4AD12F618AAD}"/>
              </c:ext>
            </c:extLst>
          </c:dPt>
          <c:dPt>
            <c:idx val="560"/>
            <c:invertIfNegative val="1"/>
            <c:bubble3D val="0"/>
            <c:spPr>
              <a:solidFill>
                <a:srgbClr val="7ECAC4"/>
              </a:solidFill>
            </c:spPr>
            <c:extLst>
              <c:ext xmlns:c16="http://schemas.microsoft.com/office/drawing/2014/chart" uri="{C3380CC4-5D6E-409C-BE32-E72D297353CC}">
                <c16:uniqueId val="{00000463-C623-4FBE-8EDB-4AD12F618AAD}"/>
              </c:ext>
            </c:extLst>
          </c:dPt>
          <c:dPt>
            <c:idx val="561"/>
            <c:invertIfNegative val="1"/>
            <c:bubble3D val="0"/>
            <c:spPr>
              <a:solidFill>
                <a:srgbClr val="7ECAC4"/>
              </a:solidFill>
            </c:spPr>
            <c:extLst>
              <c:ext xmlns:c16="http://schemas.microsoft.com/office/drawing/2014/chart" uri="{C3380CC4-5D6E-409C-BE32-E72D297353CC}">
                <c16:uniqueId val="{00000465-C623-4FBE-8EDB-4AD12F618AAD}"/>
              </c:ext>
            </c:extLst>
          </c:dPt>
          <c:dPt>
            <c:idx val="562"/>
            <c:invertIfNegative val="1"/>
            <c:bubble3D val="0"/>
            <c:spPr>
              <a:solidFill>
                <a:srgbClr val="7ECAC4"/>
              </a:solidFill>
            </c:spPr>
            <c:extLst>
              <c:ext xmlns:c16="http://schemas.microsoft.com/office/drawing/2014/chart" uri="{C3380CC4-5D6E-409C-BE32-E72D297353CC}">
                <c16:uniqueId val="{00000467-C623-4FBE-8EDB-4AD12F618AAD}"/>
              </c:ext>
            </c:extLst>
          </c:dPt>
          <c:dPt>
            <c:idx val="563"/>
            <c:invertIfNegative val="1"/>
            <c:bubble3D val="0"/>
            <c:spPr>
              <a:solidFill>
                <a:srgbClr val="7ECAC4"/>
              </a:solidFill>
            </c:spPr>
            <c:extLst>
              <c:ext xmlns:c16="http://schemas.microsoft.com/office/drawing/2014/chart" uri="{C3380CC4-5D6E-409C-BE32-E72D297353CC}">
                <c16:uniqueId val="{00000469-C623-4FBE-8EDB-4AD12F618AAD}"/>
              </c:ext>
            </c:extLst>
          </c:dPt>
          <c:dPt>
            <c:idx val="564"/>
            <c:invertIfNegative val="1"/>
            <c:bubble3D val="0"/>
            <c:spPr>
              <a:solidFill>
                <a:srgbClr val="7ECAC4"/>
              </a:solidFill>
            </c:spPr>
            <c:extLst>
              <c:ext xmlns:c16="http://schemas.microsoft.com/office/drawing/2014/chart" uri="{C3380CC4-5D6E-409C-BE32-E72D297353CC}">
                <c16:uniqueId val="{0000046B-C623-4FBE-8EDB-4AD12F618AAD}"/>
              </c:ext>
            </c:extLst>
          </c:dPt>
          <c:dPt>
            <c:idx val="565"/>
            <c:invertIfNegative val="1"/>
            <c:bubble3D val="0"/>
            <c:spPr>
              <a:solidFill>
                <a:srgbClr val="7ECAC4"/>
              </a:solidFill>
            </c:spPr>
            <c:extLst>
              <c:ext xmlns:c16="http://schemas.microsoft.com/office/drawing/2014/chart" uri="{C3380CC4-5D6E-409C-BE32-E72D297353CC}">
                <c16:uniqueId val="{0000046D-C623-4FBE-8EDB-4AD12F618AAD}"/>
              </c:ext>
            </c:extLst>
          </c:dPt>
          <c:dPt>
            <c:idx val="566"/>
            <c:invertIfNegative val="1"/>
            <c:bubble3D val="0"/>
            <c:spPr>
              <a:solidFill>
                <a:srgbClr val="7ECAC4"/>
              </a:solidFill>
            </c:spPr>
            <c:extLst>
              <c:ext xmlns:c16="http://schemas.microsoft.com/office/drawing/2014/chart" uri="{C3380CC4-5D6E-409C-BE32-E72D297353CC}">
                <c16:uniqueId val="{0000046F-C623-4FBE-8EDB-4AD12F618AAD}"/>
              </c:ext>
            </c:extLst>
          </c:dPt>
          <c:dPt>
            <c:idx val="567"/>
            <c:invertIfNegative val="1"/>
            <c:bubble3D val="0"/>
            <c:spPr>
              <a:solidFill>
                <a:srgbClr val="7ECAC4"/>
              </a:solidFill>
            </c:spPr>
            <c:extLst>
              <c:ext xmlns:c16="http://schemas.microsoft.com/office/drawing/2014/chart" uri="{C3380CC4-5D6E-409C-BE32-E72D297353CC}">
                <c16:uniqueId val="{00000471-C623-4FBE-8EDB-4AD12F618AAD}"/>
              </c:ext>
            </c:extLst>
          </c:dPt>
          <c:dPt>
            <c:idx val="568"/>
            <c:invertIfNegative val="1"/>
            <c:bubble3D val="0"/>
            <c:spPr>
              <a:solidFill>
                <a:srgbClr val="7ECAC4"/>
              </a:solidFill>
            </c:spPr>
            <c:extLst>
              <c:ext xmlns:c16="http://schemas.microsoft.com/office/drawing/2014/chart" uri="{C3380CC4-5D6E-409C-BE32-E72D297353CC}">
                <c16:uniqueId val="{00000473-C623-4FBE-8EDB-4AD12F618AAD}"/>
              </c:ext>
            </c:extLst>
          </c:dPt>
          <c:dPt>
            <c:idx val="569"/>
            <c:invertIfNegative val="1"/>
            <c:bubble3D val="0"/>
            <c:spPr>
              <a:solidFill>
                <a:srgbClr val="7ECAC4"/>
              </a:solidFill>
            </c:spPr>
            <c:extLst>
              <c:ext xmlns:c16="http://schemas.microsoft.com/office/drawing/2014/chart" uri="{C3380CC4-5D6E-409C-BE32-E72D297353CC}">
                <c16:uniqueId val="{00000475-C623-4FBE-8EDB-4AD12F618AAD}"/>
              </c:ext>
            </c:extLst>
          </c:dPt>
          <c:dPt>
            <c:idx val="570"/>
            <c:invertIfNegative val="1"/>
            <c:bubble3D val="0"/>
            <c:spPr>
              <a:solidFill>
                <a:srgbClr val="7ECAC4"/>
              </a:solidFill>
            </c:spPr>
            <c:extLst>
              <c:ext xmlns:c16="http://schemas.microsoft.com/office/drawing/2014/chart" uri="{C3380CC4-5D6E-409C-BE32-E72D297353CC}">
                <c16:uniqueId val="{00000477-C623-4FBE-8EDB-4AD12F618AAD}"/>
              </c:ext>
            </c:extLst>
          </c:dPt>
          <c:dPt>
            <c:idx val="571"/>
            <c:invertIfNegative val="1"/>
            <c:bubble3D val="0"/>
            <c:spPr>
              <a:solidFill>
                <a:srgbClr val="7ECAC4"/>
              </a:solidFill>
            </c:spPr>
            <c:extLst>
              <c:ext xmlns:c16="http://schemas.microsoft.com/office/drawing/2014/chart" uri="{C3380CC4-5D6E-409C-BE32-E72D297353CC}">
                <c16:uniqueId val="{00000479-C623-4FBE-8EDB-4AD12F618AAD}"/>
              </c:ext>
            </c:extLst>
          </c:dPt>
          <c:dPt>
            <c:idx val="572"/>
            <c:invertIfNegative val="1"/>
            <c:bubble3D val="0"/>
            <c:spPr>
              <a:solidFill>
                <a:srgbClr val="7ECAC4"/>
              </a:solidFill>
            </c:spPr>
            <c:extLst>
              <c:ext xmlns:c16="http://schemas.microsoft.com/office/drawing/2014/chart" uri="{C3380CC4-5D6E-409C-BE32-E72D297353CC}">
                <c16:uniqueId val="{0000047B-C623-4FBE-8EDB-4AD12F618AAD}"/>
              </c:ext>
            </c:extLst>
          </c:dPt>
          <c:dPt>
            <c:idx val="573"/>
            <c:invertIfNegative val="1"/>
            <c:bubble3D val="0"/>
            <c:spPr>
              <a:solidFill>
                <a:srgbClr val="7ECAC4"/>
              </a:solidFill>
            </c:spPr>
            <c:extLst>
              <c:ext xmlns:c16="http://schemas.microsoft.com/office/drawing/2014/chart" uri="{C3380CC4-5D6E-409C-BE32-E72D297353CC}">
                <c16:uniqueId val="{0000047D-C623-4FBE-8EDB-4AD12F618AAD}"/>
              </c:ext>
            </c:extLst>
          </c:dPt>
          <c:dPt>
            <c:idx val="574"/>
            <c:invertIfNegative val="1"/>
            <c:bubble3D val="0"/>
            <c:spPr>
              <a:solidFill>
                <a:srgbClr val="7ECAC4"/>
              </a:solidFill>
            </c:spPr>
            <c:extLst>
              <c:ext xmlns:c16="http://schemas.microsoft.com/office/drawing/2014/chart" uri="{C3380CC4-5D6E-409C-BE32-E72D297353CC}">
                <c16:uniqueId val="{0000047F-C623-4FBE-8EDB-4AD12F618AAD}"/>
              </c:ext>
            </c:extLst>
          </c:dPt>
          <c:dPt>
            <c:idx val="575"/>
            <c:invertIfNegative val="1"/>
            <c:bubble3D val="0"/>
            <c:spPr>
              <a:solidFill>
                <a:srgbClr val="7ECAC4"/>
              </a:solidFill>
            </c:spPr>
            <c:extLst>
              <c:ext xmlns:c16="http://schemas.microsoft.com/office/drawing/2014/chart" uri="{C3380CC4-5D6E-409C-BE32-E72D297353CC}">
                <c16:uniqueId val="{00000481-C623-4FBE-8EDB-4AD12F618AAD}"/>
              </c:ext>
            </c:extLst>
          </c:dPt>
          <c:dPt>
            <c:idx val="576"/>
            <c:invertIfNegative val="1"/>
            <c:bubble3D val="0"/>
            <c:spPr>
              <a:solidFill>
                <a:srgbClr val="7ECAC4"/>
              </a:solidFill>
            </c:spPr>
            <c:extLst>
              <c:ext xmlns:c16="http://schemas.microsoft.com/office/drawing/2014/chart" uri="{C3380CC4-5D6E-409C-BE32-E72D297353CC}">
                <c16:uniqueId val="{00000483-C623-4FBE-8EDB-4AD12F618AAD}"/>
              </c:ext>
            </c:extLst>
          </c:dPt>
          <c:dPt>
            <c:idx val="577"/>
            <c:invertIfNegative val="1"/>
            <c:bubble3D val="0"/>
            <c:spPr>
              <a:solidFill>
                <a:srgbClr val="7ECAC4"/>
              </a:solidFill>
            </c:spPr>
            <c:extLst>
              <c:ext xmlns:c16="http://schemas.microsoft.com/office/drawing/2014/chart" uri="{C3380CC4-5D6E-409C-BE32-E72D297353CC}">
                <c16:uniqueId val="{00000485-C623-4FBE-8EDB-4AD12F618AAD}"/>
              </c:ext>
            </c:extLst>
          </c:dPt>
          <c:dPt>
            <c:idx val="578"/>
            <c:invertIfNegative val="1"/>
            <c:bubble3D val="0"/>
            <c:spPr>
              <a:solidFill>
                <a:srgbClr val="7ECAC4"/>
              </a:solidFill>
            </c:spPr>
            <c:extLst>
              <c:ext xmlns:c16="http://schemas.microsoft.com/office/drawing/2014/chart" uri="{C3380CC4-5D6E-409C-BE32-E72D297353CC}">
                <c16:uniqueId val="{00000487-C623-4FBE-8EDB-4AD12F618AAD}"/>
              </c:ext>
            </c:extLst>
          </c:dPt>
          <c:dPt>
            <c:idx val="579"/>
            <c:invertIfNegative val="1"/>
            <c:bubble3D val="0"/>
            <c:spPr>
              <a:solidFill>
                <a:srgbClr val="7ECAC4"/>
              </a:solidFill>
            </c:spPr>
            <c:extLst>
              <c:ext xmlns:c16="http://schemas.microsoft.com/office/drawing/2014/chart" uri="{C3380CC4-5D6E-409C-BE32-E72D297353CC}">
                <c16:uniqueId val="{00000489-C623-4FBE-8EDB-4AD12F618AAD}"/>
              </c:ext>
            </c:extLst>
          </c:dPt>
          <c:dPt>
            <c:idx val="580"/>
            <c:invertIfNegative val="1"/>
            <c:bubble3D val="0"/>
            <c:spPr>
              <a:solidFill>
                <a:srgbClr val="7ECAC4"/>
              </a:solidFill>
            </c:spPr>
            <c:extLst>
              <c:ext xmlns:c16="http://schemas.microsoft.com/office/drawing/2014/chart" uri="{C3380CC4-5D6E-409C-BE32-E72D297353CC}">
                <c16:uniqueId val="{0000048B-C623-4FBE-8EDB-4AD12F618AAD}"/>
              </c:ext>
            </c:extLst>
          </c:dPt>
          <c:dPt>
            <c:idx val="581"/>
            <c:invertIfNegative val="1"/>
            <c:bubble3D val="0"/>
            <c:spPr>
              <a:solidFill>
                <a:srgbClr val="7ECAC4"/>
              </a:solidFill>
            </c:spPr>
            <c:extLst>
              <c:ext xmlns:c16="http://schemas.microsoft.com/office/drawing/2014/chart" uri="{C3380CC4-5D6E-409C-BE32-E72D297353CC}">
                <c16:uniqueId val="{0000048D-C623-4FBE-8EDB-4AD12F618AAD}"/>
              </c:ext>
            </c:extLst>
          </c:dPt>
          <c:dPt>
            <c:idx val="582"/>
            <c:invertIfNegative val="1"/>
            <c:bubble3D val="0"/>
            <c:spPr>
              <a:solidFill>
                <a:srgbClr val="7ECAC4"/>
              </a:solidFill>
            </c:spPr>
            <c:extLst>
              <c:ext xmlns:c16="http://schemas.microsoft.com/office/drawing/2014/chart" uri="{C3380CC4-5D6E-409C-BE32-E72D297353CC}">
                <c16:uniqueId val="{0000048F-C623-4FBE-8EDB-4AD12F618AAD}"/>
              </c:ext>
            </c:extLst>
          </c:dPt>
          <c:dPt>
            <c:idx val="583"/>
            <c:invertIfNegative val="1"/>
            <c:bubble3D val="0"/>
            <c:spPr>
              <a:solidFill>
                <a:srgbClr val="7ECAC4"/>
              </a:solidFill>
            </c:spPr>
            <c:extLst>
              <c:ext xmlns:c16="http://schemas.microsoft.com/office/drawing/2014/chart" uri="{C3380CC4-5D6E-409C-BE32-E72D297353CC}">
                <c16:uniqueId val="{00000491-C623-4FBE-8EDB-4AD12F618AAD}"/>
              </c:ext>
            </c:extLst>
          </c:dPt>
          <c:dPt>
            <c:idx val="584"/>
            <c:invertIfNegative val="1"/>
            <c:bubble3D val="0"/>
            <c:spPr>
              <a:solidFill>
                <a:srgbClr val="7ECAC4"/>
              </a:solidFill>
            </c:spPr>
            <c:extLst>
              <c:ext xmlns:c16="http://schemas.microsoft.com/office/drawing/2014/chart" uri="{C3380CC4-5D6E-409C-BE32-E72D297353CC}">
                <c16:uniqueId val="{00000493-C623-4FBE-8EDB-4AD12F618AAD}"/>
              </c:ext>
            </c:extLst>
          </c:dPt>
          <c:dPt>
            <c:idx val="585"/>
            <c:invertIfNegative val="1"/>
            <c:bubble3D val="0"/>
            <c:spPr>
              <a:solidFill>
                <a:srgbClr val="7ECAC4"/>
              </a:solidFill>
            </c:spPr>
            <c:extLst>
              <c:ext xmlns:c16="http://schemas.microsoft.com/office/drawing/2014/chart" uri="{C3380CC4-5D6E-409C-BE32-E72D297353CC}">
                <c16:uniqueId val="{00000495-C623-4FBE-8EDB-4AD12F618AAD}"/>
              </c:ext>
            </c:extLst>
          </c:dPt>
          <c:dPt>
            <c:idx val="586"/>
            <c:invertIfNegative val="1"/>
            <c:bubble3D val="0"/>
            <c:spPr>
              <a:solidFill>
                <a:srgbClr val="7ECAC4"/>
              </a:solidFill>
            </c:spPr>
            <c:extLst>
              <c:ext xmlns:c16="http://schemas.microsoft.com/office/drawing/2014/chart" uri="{C3380CC4-5D6E-409C-BE32-E72D297353CC}">
                <c16:uniqueId val="{00000497-C623-4FBE-8EDB-4AD12F618AAD}"/>
              </c:ext>
            </c:extLst>
          </c:dPt>
          <c:dPt>
            <c:idx val="587"/>
            <c:invertIfNegative val="1"/>
            <c:bubble3D val="0"/>
            <c:spPr>
              <a:solidFill>
                <a:srgbClr val="7ECAC4"/>
              </a:solidFill>
            </c:spPr>
            <c:extLst>
              <c:ext xmlns:c16="http://schemas.microsoft.com/office/drawing/2014/chart" uri="{C3380CC4-5D6E-409C-BE32-E72D297353CC}">
                <c16:uniqueId val="{00000499-C623-4FBE-8EDB-4AD12F618AAD}"/>
              </c:ext>
            </c:extLst>
          </c:dPt>
          <c:dPt>
            <c:idx val="588"/>
            <c:invertIfNegative val="1"/>
            <c:bubble3D val="0"/>
            <c:spPr>
              <a:solidFill>
                <a:srgbClr val="7ECAC4"/>
              </a:solidFill>
            </c:spPr>
            <c:extLst>
              <c:ext xmlns:c16="http://schemas.microsoft.com/office/drawing/2014/chart" uri="{C3380CC4-5D6E-409C-BE32-E72D297353CC}">
                <c16:uniqueId val="{0000049B-C623-4FBE-8EDB-4AD12F618AAD}"/>
              </c:ext>
            </c:extLst>
          </c:dPt>
          <c:dPt>
            <c:idx val="589"/>
            <c:invertIfNegative val="1"/>
            <c:bubble3D val="0"/>
            <c:spPr>
              <a:solidFill>
                <a:srgbClr val="7ECAC4"/>
              </a:solidFill>
            </c:spPr>
            <c:extLst>
              <c:ext xmlns:c16="http://schemas.microsoft.com/office/drawing/2014/chart" uri="{C3380CC4-5D6E-409C-BE32-E72D297353CC}">
                <c16:uniqueId val="{0000049D-C623-4FBE-8EDB-4AD12F618AAD}"/>
              </c:ext>
            </c:extLst>
          </c:dPt>
          <c:dPt>
            <c:idx val="590"/>
            <c:invertIfNegative val="1"/>
            <c:bubble3D val="0"/>
            <c:spPr>
              <a:solidFill>
                <a:srgbClr val="7ECAC4"/>
              </a:solidFill>
            </c:spPr>
            <c:extLst>
              <c:ext xmlns:c16="http://schemas.microsoft.com/office/drawing/2014/chart" uri="{C3380CC4-5D6E-409C-BE32-E72D297353CC}">
                <c16:uniqueId val="{0000049F-C623-4FBE-8EDB-4AD12F618AAD}"/>
              </c:ext>
            </c:extLst>
          </c:dPt>
          <c:dPt>
            <c:idx val="591"/>
            <c:invertIfNegative val="1"/>
            <c:bubble3D val="0"/>
            <c:spPr>
              <a:solidFill>
                <a:srgbClr val="7ECAC4"/>
              </a:solidFill>
            </c:spPr>
            <c:extLst>
              <c:ext xmlns:c16="http://schemas.microsoft.com/office/drawing/2014/chart" uri="{C3380CC4-5D6E-409C-BE32-E72D297353CC}">
                <c16:uniqueId val="{000004A1-C623-4FBE-8EDB-4AD12F618AAD}"/>
              </c:ext>
            </c:extLst>
          </c:dPt>
          <c:dPt>
            <c:idx val="592"/>
            <c:invertIfNegative val="1"/>
            <c:bubble3D val="0"/>
            <c:spPr>
              <a:solidFill>
                <a:srgbClr val="7ECAC4"/>
              </a:solidFill>
            </c:spPr>
            <c:extLst>
              <c:ext xmlns:c16="http://schemas.microsoft.com/office/drawing/2014/chart" uri="{C3380CC4-5D6E-409C-BE32-E72D297353CC}">
                <c16:uniqueId val="{000004A3-C623-4FBE-8EDB-4AD12F618AAD}"/>
              </c:ext>
            </c:extLst>
          </c:dPt>
          <c:dPt>
            <c:idx val="593"/>
            <c:invertIfNegative val="1"/>
            <c:bubble3D val="0"/>
            <c:spPr>
              <a:solidFill>
                <a:srgbClr val="7ECAC4"/>
              </a:solidFill>
            </c:spPr>
            <c:extLst>
              <c:ext xmlns:c16="http://schemas.microsoft.com/office/drawing/2014/chart" uri="{C3380CC4-5D6E-409C-BE32-E72D297353CC}">
                <c16:uniqueId val="{000004A5-C623-4FBE-8EDB-4AD12F618AAD}"/>
              </c:ext>
            </c:extLst>
          </c:dPt>
          <c:dPt>
            <c:idx val="594"/>
            <c:invertIfNegative val="1"/>
            <c:bubble3D val="0"/>
            <c:spPr>
              <a:solidFill>
                <a:srgbClr val="7ECAC4"/>
              </a:solidFill>
            </c:spPr>
            <c:extLst>
              <c:ext xmlns:c16="http://schemas.microsoft.com/office/drawing/2014/chart" uri="{C3380CC4-5D6E-409C-BE32-E72D297353CC}">
                <c16:uniqueId val="{000004A7-C623-4FBE-8EDB-4AD12F618AAD}"/>
              </c:ext>
            </c:extLst>
          </c:dPt>
          <c:dPt>
            <c:idx val="595"/>
            <c:invertIfNegative val="1"/>
            <c:bubble3D val="0"/>
            <c:spPr>
              <a:solidFill>
                <a:srgbClr val="7ECAC4"/>
              </a:solidFill>
            </c:spPr>
            <c:extLst>
              <c:ext xmlns:c16="http://schemas.microsoft.com/office/drawing/2014/chart" uri="{C3380CC4-5D6E-409C-BE32-E72D297353CC}">
                <c16:uniqueId val="{000004A9-C623-4FBE-8EDB-4AD12F618AAD}"/>
              </c:ext>
            </c:extLst>
          </c:dPt>
          <c:dPt>
            <c:idx val="596"/>
            <c:invertIfNegative val="1"/>
            <c:bubble3D val="0"/>
            <c:spPr>
              <a:solidFill>
                <a:srgbClr val="7ECAC4"/>
              </a:solidFill>
            </c:spPr>
            <c:extLst>
              <c:ext xmlns:c16="http://schemas.microsoft.com/office/drawing/2014/chart" uri="{C3380CC4-5D6E-409C-BE32-E72D297353CC}">
                <c16:uniqueId val="{000004AB-C623-4FBE-8EDB-4AD12F618AAD}"/>
              </c:ext>
            </c:extLst>
          </c:dPt>
          <c:dPt>
            <c:idx val="597"/>
            <c:invertIfNegative val="1"/>
            <c:bubble3D val="0"/>
            <c:spPr>
              <a:solidFill>
                <a:srgbClr val="7ECAC4"/>
              </a:solidFill>
            </c:spPr>
            <c:extLst>
              <c:ext xmlns:c16="http://schemas.microsoft.com/office/drawing/2014/chart" uri="{C3380CC4-5D6E-409C-BE32-E72D297353CC}">
                <c16:uniqueId val="{000004AD-C623-4FBE-8EDB-4AD12F618AAD}"/>
              </c:ext>
            </c:extLst>
          </c:dPt>
          <c:dPt>
            <c:idx val="598"/>
            <c:invertIfNegative val="1"/>
            <c:bubble3D val="0"/>
            <c:spPr>
              <a:solidFill>
                <a:srgbClr val="7ECAC4"/>
              </a:solidFill>
            </c:spPr>
            <c:extLst>
              <c:ext xmlns:c16="http://schemas.microsoft.com/office/drawing/2014/chart" uri="{C3380CC4-5D6E-409C-BE32-E72D297353CC}">
                <c16:uniqueId val="{000004AF-C623-4FBE-8EDB-4AD12F618AAD}"/>
              </c:ext>
            </c:extLst>
          </c:dPt>
          <c:dPt>
            <c:idx val="599"/>
            <c:invertIfNegative val="1"/>
            <c:bubble3D val="0"/>
            <c:spPr>
              <a:solidFill>
                <a:srgbClr val="7ECAC4"/>
              </a:solidFill>
            </c:spPr>
            <c:extLst>
              <c:ext xmlns:c16="http://schemas.microsoft.com/office/drawing/2014/chart" uri="{C3380CC4-5D6E-409C-BE32-E72D297353CC}">
                <c16:uniqueId val="{000004B1-C623-4FBE-8EDB-4AD12F618AAD}"/>
              </c:ext>
            </c:extLst>
          </c:dPt>
          <c:dPt>
            <c:idx val="600"/>
            <c:invertIfNegative val="1"/>
            <c:bubble3D val="0"/>
            <c:spPr>
              <a:solidFill>
                <a:srgbClr val="7ECAC4"/>
              </a:solidFill>
            </c:spPr>
            <c:extLst>
              <c:ext xmlns:c16="http://schemas.microsoft.com/office/drawing/2014/chart" uri="{C3380CC4-5D6E-409C-BE32-E72D297353CC}">
                <c16:uniqueId val="{000004B3-C623-4FBE-8EDB-4AD12F618AAD}"/>
              </c:ext>
            </c:extLst>
          </c:dPt>
          <c:dPt>
            <c:idx val="601"/>
            <c:invertIfNegative val="1"/>
            <c:bubble3D val="0"/>
            <c:spPr>
              <a:solidFill>
                <a:srgbClr val="7ECAC4"/>
              </a:solidFill>
            </c:spPr>
            <c:extLst>
              <c:ext xmlns:c16="http://schemas.microsoft.com/office/drawing/2014/chart" uri="{C3380CC4-5D6E-409C-BE32-E72D297353CC}">
                <c16:uniqueId val="{000004B5-C623-4FBE-8EDB-4AD12F618AAD}"/>
              </c:ext>
            </c:extLst>
          </c:dPt>
          <c:dPt>
            <c:idx val="602"/>
            <c:invertIfNegative val="1"/>
            <c:bubble3D val="0"/>
            <c:spPr>
              <a:solidFill>
                <a:srgbClr val="7ECAC4"/>
              </a:solidFill>
            </c:spPr>
            <c:extLst>
              <c:ext xmlns:c16="http://schemas.microsoft.com/office/drawing/2014/chart" uri="{C3380CC4-5D6E-409C-BE32-E72D297353CC}">
                <c16:uniqueId val="{000004B7-C623-4FBE-8EDB-4AD12F618AAD}"/>
              </c:ext>
            </c:extLst>
          </c:dPt>
          <c:dPt>
            <c:idx val="603"/>
            <c:invertIfNegative val="1"/>
            <c:bubble3D val="0"/>
            <c:spPr>
              <a:solidFill>
                <a:srgbClr val="7ECAC4"/>
              </a:solidFill>
            </c:spPr>
            <c:extLst>
              <c:ext xmlns:c16="http://schemas.microsoft.com/office/drawing/2014/chart" uri="{C3380CC4-5D6E-409C-BE32-E72D297353CC}">
                <c16:uniqueId val="{000004B9-C623-4FBE-8EDB-4AD12F618AAD}"/>
              </c:ext>
            </c:extLst>
          </c:dPt>
          <c:dPt>
            <c:idx val="604"/>
            <c:invertIfNegative val="1"/>
            <c:bubble3D val="0"/>
            <c:spPr>
              <a:solidFill>
                <a:srgbClr val="7ECAC4"/>
              </a:solidFill>
            </c:spPr>
            <c:extLst>
              <c:ext xmlns:c16="http://schemas.microsoft.com/office/drawing/2014/chart" uri="{C3380CC4-5D6E-409C-BE32-E72D297353CC}">
                <c16:uniqueId val="{000004BB-C623-4FBE-8EDB-4AD12F618AAD}"/>
              </c:ext>
            </c:extLst>
          </c:dPt>
          <c:dPt>
            <c:idx val="605"/>
            <c:invertIfNegative val="1"/>
            <c:bubble3D val="0"/>
            <c:spPr>
              <a:solidFill>
                <a:srgbClr val="7ECAC4"/>
              </a:solidFill>
            </c:spPr>
            <c:extLst>
              <c:ext xmlns:c16="http://schemas.microsoft.com/office/drawing/2014/chart" uri="{C3380CC4-5D6E-409C-BE32-E72D297353CC}">
                <c16:uniqueId val="{000004BD-C623-4FBE-8EDB-4AD12F618AAD}"/>
              </c:ext>
            </c:extLst>
          </c:dPt>
          <c:dPt>
            <c:idx val="606"/>
            <c:invertIfNegative val="1"/>
            <c:bubble3D val="0"/>
            <c:spPr>
              <a:solidFill>
                <a:srgbClr val="7ECAC4"/>
              </a:solidFill>
            </c:spPr>
            <c:extLst>
              <c:ext xmlns:c16="http://schemas.microsoft.com/office/drawing/2014/chart" uri="{C3380CC4-5D6E-409C-BE32-E72D297353CC}">
                <c16:uniqueId val="{000004BF-C623-4FBE-8EDB-4AD12F618AAD}"/>
              </c:ext>
            </c:extLst>
          </c:dPt>
          <c:dPt>
            <c:idx val="607"/>
            <c:invertIfNegative val="1"/>
            <c:bubble3D val="0"/>
            <c:spPr>
              <a:solidFill>
                <a:srgbClr val="7ECAC4"/>
              </a:solidFill>
            </c:spPr>
            <c:extLst>
              <c:ext xmlns:c16="http://schemas.microsoft.com/office/drawing/2014/chart" uri="{C3380CC4-5D6E-409C-BE32-E72D297353CC}">
                <c16:uniqueId val="{000004C1-C623-4FBE-8EDB-4AD12F618AAD}"/>
              </c:ext>
            </c:extLst>
          </c:dPt>
          <c:dPt>
            <c:idx val="608"/>
            <c:invertIfNegative val="1"/>
            <c:bubble3D val="0"/>
            <c:spPr>
              <a:solidFill>
                <a:srgbClr val="7ECAC4"/>
              </a:solidFill>
            </c:spPr>
            <c:extLst>
              <c:ext xmlns:c16="http://schemas.microsoft.com/office/drawing/2014/chart" uri="{C3380CC4-5D6E-409C-BE32-E72D297353CC}">
                <c16:uniqueId val="{000004C3-C623-4FBE-8EDB-4AD12F618AAD}"/>
              </c:ext>
            </c:extLst>
          </c:dPt>
          <c:dPt>
            <c:idx val="609"/>
            <c:invertIfNegative val="1"/>
            <c:bubble3D val="0"/>
            <c:spPr>
              <a:solidFill>
                <a:srgbClr val="7ECAC4"/>
              </a:solidFill>
            </c:spPr>
            <c:extLst>
              <c:ext xmlns:c16="http://schemas.microsoft.com/office/drawing/2014/chart" uri="{C3380CC4-5D6E-409C-BE32-E72D297353CC}">
                <c16:uniqueId val="{000004C5-C623-4FBE-8EDB-4AD12F618AAD}"/>
              </c:ext>
            </c:extLst>
          </c:dPt>
          <c:dPt>
            <c:idx val="610"/>
            <c:invertIfNegative val="1"/>
            <c:bubble3D val="0"/>
            <c:spPr>
              <a:solidFill>
                <a:srgbClr val="7ECAC4"/>
              </a:solidFill>
            </c:spPr>
            <c:extLst>
              <c:ext xmlns:c16="http://schemas.microsoft.com/office/drawing/2014/chart" uri="{C3380CC4-5D6E-409C-BE32-E72D297353CC}">
                <c16:uniqueId val="{000004C7-C623-4FBE-8EDB-4AD12F618AAD}"/>
              </c:ext>
            </c:extLst>
          </c:dPt>
          <c:dPt>
            <c:idx val="611"/>
            <c:invertIfNegative val="1"/>
            <c:bubble3D val="0"/>
            <c:spPr>
              <a:solidFill>
                <a:srgbClr val="7ECAC4"/>
              </a:solidFill>
            </c:spPr>
            <c:extLst>
              <c:ext xmlns:c16="http://schemas.microsoft.com/office/drawing/2014/chart" uri="{C3380CC4-5D6E-409C-BE32-E72D297353CC}">
                <c16:uniqueId val="{000004C9-C623-4FBE-8EDB-4AD12F618AAD}"/>
              </c:ext>
            </c:extLst>
          </c:dPt>
          <c:dPt>
            <c:idx val="612"/>
            <c:invertIfNegative val="1"/>
            <c:bubble3D val="0"/>
            <c:spPr>
              <a:solidFill>
                <a:srgbClr val="7ECAC4"/>
              </a:solidFill>
            </c:spPr>
            <c:extLst>
              <c:ext xmlns:c16="http://schemas.microsoft.com/office/drawing/2014/chart" uri="{C3380CC4-5D6E-409C-BE32-E72D297353CC}">
                <c16:uniqueId val="{000004CB-C623-4FBE-8EDB-4AD12F618AAD}"/>
              </c:ext>
            </c:extLst>
          </c:dPt>
          <c:dPt>
            <c:idx val="613"/>
            <c:invertIfNegative val="1"/>
            <c:bubble3D val="0"/>
            <c:spPr>
              <a:solidFill>
                <a:srgbClr val="7ECAC4"/>
              </a:solidFill>
            </c:spPr>
            <c:extLst>
              <c:ext xmlns:c16="http://schemas.microsoft.com/office/drawing/2014/chart" uri="{C3380CC4-5D6E-409C-BE32-E72D297353CC}">
                <c16:uniqueId val="{000004CD-C623-4FBE-8EDB-4AD12F618AAD}"/>
              </c:ext>
            </c:extLst>
          </c:dPt>
          <c:dPt>
            <c:idx val="614"/>
            <c:invertIfNegative val="1"/>
            <c:bubble3D val="0"/>
            <c:spPr>
              <a:solidFill>
                <a:srgbClr val="7ECAC4"/>
              </a:solidFill>
            </c:spPr>
            <c:extLst>
              <c:ext xmlns:c16="http://schemas.microsoft.com/office/drawing/2014/chart" uri="{C3380CC4-5D6E-409C-BE32-E72D297353CC}">
                <c16:uniqueId val="{000004CF-C623-4FBE-8EDB-4AD12F618AAD}"/>
              </c:ext>
            </c:extLst>
          </c:dPt>
          <c:dPt>
            <c:idx val="615"/>
            <c:invertIfNegative val="1"/>
            <c:bubble3D val="0"/>
            <c:spPr>
              <a:solidFill>
                <a:srgbClr val="7ECAC4"/>
              </a:solidFill>
            </c:spPr>
            <c:extLst>
              <c:ext xmlns:c16="http://schemas.microsoft.com/office/drawing/2014/chart" uri="{C3380CC4-5D6E-409C-BE32-E72D297353CC}">
                <c16:uniqueId val="{000004D1-C623-4FBE-8EDB-4AD12F618AAD}"/>
              </c:ext>
            </c:extLst>
          </c:dPt>
          <c:dPt>
            <c:idx val="616"/>
            <c:invertIfNegative val="1"/>
            <c:bubble3D val="0"/>
            <c:spPr>
              <a:solidFill>
                <a:srgbClr val="7ECAC4"/>
              </a:solidFill>
            </c:spPr>
            <c:extLst>
              <c:ext xmlns:c16="http://schemas.microsoft.com/office/drawing/2014/chart" uri="{C3380CC4-5D6E-409C-BE32-E72D297353CC}">
                <c16:uniqueId val="{000004D3-C623-4FBE-8EDB-4AD12F618AAD}"/>
              </c:ext>
            </c:extLst>
          </c:dPt>
          <c:dPt>
            <c:idx val="617"/>
            <c:invertIfNegative val="1"/>
            <c:bubble3D val="0"/>
            <c:spPr>
              <a:solidFill>
                <a:srgbClr val="7ECAC4"/>
              </a:solidFill>
            </c:spPr>
            <c:extLst>
              <c:ext xmlns:c16="http://schemas.microsoft.com/office/drawing/2014/chart" uri="{C3380CC4-5D6E-409C-BE32-E72D297353CC}">
                <c16:uniqueId val="{000004D5-C623-4FBE-8EDB-4AD12F618AAD}"/>
              </c:ext>
            </c:extLst>
          </c:dPt>
          <c:dPt>
            <c:idx val="618"/>
            <c:invertIfNegative val="1"/>
            <c:bubble3D val="0"/>
            <c:spPr>
              <a:solidFill>
                <a:srgbClr val="7ECAC4"/>
              </a:solidFill>
            </c:spPr>
            <c:extLst>
              <c:ext xmlns:c16="http://schemas.microsoft.com/office/drawing/2014/chart" uri="{C3380CC4-5D6E-409C-BE32-E72D297353CC}">
                <c16:uniqueId val="{000004D7-C623-4FBE-8EDB-4AD12F618AAD}"/>
              </c:ext>
            </c:extLst>
          </c:dPt>
          <c:dPt>
            <c:idx val="619"/>
            <c:invertIfNegative val="1"/>
            <c:bubble3D val="0"/>
            <c:spPr>
              <a:solidFill>
                <a:srgbClr val="7ECAC4"/>
              </a:solidFill>
            </c:spPr>
            <c:extLst>
              <c:ext xmlns:c16="http://schemas.microsoft.com/office/drawing/2014/chart" uri="{C3380CC4-5D6E-409C-BE32-E72D297353CC}">
                <c16:uniqueId val="{000004D9-C623-4FBE-8EDB-4AD12F618AAD}"/>
              </c:ext>
            </c:extLst>
          </c:dPt>
          <c:dPt>
            <c:idx val="620"/>
            <c:invertIfNegative val="1"/>
            <c:bubble3D val="0"/>
            <c:spPr>
              <a:solidFill>
                <a:srgbClr val="7ECAC4"/>
              </a:solidFill>
            </c:spPr>
            <c:extLst>
              <c:ext xmlns:c16="http://schemas.microsoft.com/office/drawing/2014/chart" uri="{C3380CC4-5D6E-409C-BE32-E72D297353CC}">
                <c16:uniqueId val="{000004DB-C623-4FBE-8EDB-4AD12F618AAD}"/>
              </c:ext>
            </c:extLst>
          </c:dPt>
          <c:dPt>
            <c:idx val="621"/>
            <c:invertIfNegative val="1"/>
            <c:bubble3D val="0"/>
            <c:spPr>
              <a:solidFill>
                <a:srgbClr val="7ECAC4"/>
              </a:solidFill>
            </c:spPr>
            <c:extLst>
              <c:ext xmlns:c16="http://schemas.microsoft.com/office/drawing/2014/chart" uri="{C3380CC4-5D6E-409C-BE32-E72D297353CC}">
                <c16:uniqueId val="{000004DD-C623-4FBE-8EDB-4AD12F618AAD}"/>
              </c:ext>
            </c:extLst>
          </c:dPt>
          <c:dPt>
            <c:idx val="622"/>
            <c:invertIfNegative val="1"/>
            <c:bubble3D val="0"/>
            <c:spPr>
              <a:solidFill>
                <a:srgbClr val="7ECAC4"/>
              </a:solidFill>
            </c:spPr>
            <c:extLst>
              <c:ext xmlns:c16="http://schemas.microsoft.com/office/drawing/2014/chart" uri="{C3380CC4-5D6E-409C-BE32-E72D297353CC}">
                <c16:uniqueId val="{000004DF-C623-4FBE-8EDB-4AD12F618AAD}"/>
              </c:ext>
            </c:extLst>
          </c:dPt>
          <c:dPt>
            <c:idx val="623"/>
            <c:invertIfNegative val="1"/>
            <c:bubble3D val="0"/>
            <c:spPr>
              <a:solidFill>
                <a:srgbClr val="7ECAC4"/>
              </a:solidFill>
            </c:spPr>
            <c:extLst>
              <c:ext xmlns:c16="http://schemas.microsoft.com/office/drawing/2014/chart" uri="{C3380CC4-5D6E-409C-BE32-E72D297353CC}">
                <c16:uniqueId val="{000004E1-C623-4FBE-8EDB-4AD12F618AAD}"/>
              </c:ext>
            </c:extLst>
          </c:dPt>
          <c:dPt>
            <c:idx val="624"/>
            <c:invertIfNegative val="1"/>
            <c:bubble3D val="0"/>
            <c:spPr>
              <a:solidFill>
                <a:srgbClr val="7ECAC4"/>
              </a:solidFill>
            </c:spPr>
            <c:extLst>
              <c:ext xmlns:c16="http://schemas.microsoft.com/office/drawing/2014/chart" uri="{C3380CC4-5D6E-409C-BE32-E72D297353CC}">
                <c16:uniqueId val="{000004E3-C623-4FBE-8EDB-4AD12F618AAD}"/>
              </c:ext>
            </c:extLst>
          </c:dPt>
          <c:dPt>
            <c:idx val="625"/>
            <c:invertIfNegative val="1"/>
            <c:bubble3D val="0"/>
            <c:spPr>
              <a:solidFill>
                <a:srgbClr val="7ECAC4"/>
              </a:solidFill>
            </c:spPr>
            <c:extLst>
              <c:ext xmlns:c16="http://schemas.microsoft.com/office/drawing/2014/chart" uri="{C3380CC4-5D6E-409C-BE32-E72D297353CC}">
                <c16:uniqueId val="{000004E5-C623-4FBE-8EDB-4AD12F618AAD}"/>
              </c:ext>
            </c:extLst>
          </c:dPt>
          <c:dPt>
            <c:idx val="626"/>
            <c:invertIfNegative val="1"/>
            <c:bubble3D val="0"/>
            <c:spPr>
              <a:solidFill>
                <a:srgbClr val="7ECAC4"/>
              </a:solidFill>
            </c:spPr>
            <c:extLst>
              <c:ext xmlns:c16="http://schemas.microsoft.com/office/drawing/2014/chart" uri="{C3380CC4-5D6E-409C-BE32-E72D297353CC}">
                <c16:uniqueId val="{000004E7-C623-4FBE-8EDB-4AD12F618AAD}"/>
              </c:ext>
            </c:extLst>
          </c:dPt>
          <c:dPt>
            <c:idx val="627"/>
            <c:invertIfNegative val="1"/>
            <c:bubble3D val="0"/>
            <c:spPr>
              <a:solidFill>
                <a:srgbClr val="7ECAC4"/>
              </a:solidFill>
            </c:spPr>
            <c:extLst>
              <c:ext xmlns:c16="http://schemas.microsoft.com/office/drawing/2014/chart" uri="{C3380CC4-5D6E-409C-BE32-E72D297353CC}">
                <c16:uniqueId val="{000004E9-C623-4FBE-8EDB-4AD12F618AAD}"/>
              </c:ext>
            </c:extLst>
          </c:dPt>
          <c:dPt>
            <c:idx val="628"/>
            <c:invertIfNegative val="1"/>
            <c:bubble3D val="0"/>
            <c:spPr>
              <a:solidFill>
                <a:srgbClr val="7ECAC4"/>
              </a:solidFill>
            </c:spPr>
            <c:extLst>
              <c:ext xmlns:c16="http://schemas.microsoft.com/office/drawing/2014/chart" uri="{C3380CC4-5D6E-409C-BE32-E72D297353CC}">
                <c16:uniqueId val="{000004EB-C623-4FBE-8EDB-4AD12F618AAD}"/>
              </c:ext>
            </c:extLst>
          </c:dPt>
          <c:dPt>
            <c:idx val="629"/>
            <c:invertIfNegative val="1"/>
            <c:bubble3D val="0"/>
            <c:spPr>
              <a:solidFill>
                <a:srgbClr val="7ECAC4"/>
              </a:solidFill>
            </c:spPr>
            <c:extLst>
              <c:ext xmlns:c16="http://schemas.microsoft.com/office/drawing/2014/chart" uri="{C3380CC4-5D6E-409C-BE32-E72D297353CC}">
                <c16:uniqueId val="{000004ED-C623-4FBE-8EDB-4AD12F618AAD}"/>
              </c:ext>
            </c:extLst>
          </c:dPt>
          <c:dPt>
            <c:idx val="630"/>
            <c:invertIfNegative val="1"/>
            <c:bubble3D val="0"/>
            <c:spPr>
              <a:solidFill>
                <a:srgbClr val="7ECAC4"/>
              </a:solidFill>
            </c:spPr>
            <c:extLst>
              <c:ext xmlns:c16="http://schemas.microsoft.com/office/drawing/2014/chart" uri="{C3380CC4-5D6E-409C-BE32-E72D297353CC}">
                <c16:uniqueId val="{000004EF-C623-4FBE-8EDB-4AD12F618AAD}"/>
              </c:ext>
            </c:extLst>
          </c:dPt>
          <c:dPt>
            <c:idx val="631"/>
            <c:invertIfNegative val="1"/>
            <c:bubble3D val="0"/>
            <c:spPr>
              <a:solidFill>
                <a:srgbClr val="7ECAC4"/>
              </a:solidFill>
            </c:spPr>
            <c:extLst>
              <c:ext xmlns:c16="http://schemas.microsoft.com/office/drawing/2014/chart" uri="{C3380CC4-5D6E-409C-BE32-E72D297353CC}">
                <c16:uniqueId val="{000004F1-C623-4FBE-8EDB-4AD12F618AAD}"/>
              </c:ext>
            </c:extLst>
          </c:dPt>
          <c:dPt>
            <c:idx val="632"/>
            <c:invertIfNegative val="1"/>
            <c:bubble3D val="0"/>
            <c:spPr>
              <a:solidFill>
                <a:srgbClr val="7ECAC4"/>
              </a:solidFill>
            </c:spPr>
            <c:extLst>
              <c:ext xmlns:c16="http://schemas.microsoft.com/office/drawing/2014/chart" uri="{C3380CC4-5D6E-409C-BE32-E72D297353CC}">
                <c16:uniqueId val="{000004F3-C623-4FBE-8EDB-4AD12F618AAD}"/>
              </c:ext>
            </c:extLst>
          </c:dPt>
          <c:dPt>
            <c:idx val="633"/>
            <c:invertIfNegative val="1"/>
            <c:bubble3D val="0"/>
            <c:spPr>
              <a:solidFill>
                <a:srgbClr val="7ECAC4"/>
              </a:solidFill>
            </c:spPr>
            <c:extLst>
              <c:ext xmlns:c16="http://schemas.microsoft.com/office/drawing/2014/chart" uri="{C3380CC4-5D6E-409C-BE32-E72D297353CC}">
                <c16:uniqueId val="{000004F5-C623-4FBE-8EDB-4AD12F618AAD}"/>
              </c:ext>
            </c:extLst>
          </c:dPt>
          <c:dPt>
            <c:idx val="634"/>
            <c:invertIfNegative val="1"/>
            <c:bubble3D val="0"/>
            <c:spPr>
              <a:solidFill>
                <a:srgbClr val="7ECAC4"/>
              </a:solidFill>
            </c:spPr>
            <c:extLst>
              <c:ext xmlns:c16="http://schemas.microsoft.com/office/drawing/2014/chart" uri="{C3380CC4-5D6E-409C-BE32-E72D297353CC}">
                <c16:uniqueId val="{000004F7-C623-4FBE-8EDB-4AD12F618AAD}"/>
              </c:ext>
            </c:extLst>
          </c:dPt>
          <c:dPt>
            <c:idx val="635"/>
            <c:invertIfNegative val="1"/>
            <c:bubble3D val="0"/>
            <c:spPr>
              <a:solidFill>
                <a:srgbClr val="7ECAC4"/>
              </a:solidFill>
            </c:spPr>
            <c:extLst>
              <c:ext xmlns:c16="http://schemas.microsoft.com/office/drawing/2014/chart" uri="{C3380CC4-5D6E-409C-BE32-E72D297353CC}">
                <c16:uniqueId val="{000004F9-C623-4FBE-8EDB-4AD12F618AAD}"/>
              </c:ext>
            </c:extLst>
          </c:dPt>
          <c:dPt>
            <c:idx val="636"/>
            <c:invertIfNegative val="1"/>
            <c:bubble3D val="0"/>
            <c:spPr>
              <a:solidFill>
                <a:srgbClr val="7ECAC4"/>
              </a:solidFill>
            </c:spPr>
            <c:extLst>
              <c:ext xmlns:c16="http://schemas.microsoft.com/office/drawing/2014/chart" uri="{C3380CC4-5D6E-409C-BE32-E72D297353CC}">
                <c16:uniqueId val="{000004FB-C623-4FBE-8EDB-4AD12F618AAD}"/>
              </c:ext>
            </c:extLst>
          </c:dPt>
          <c:dPt>
            <c:idx val="637"/>
            <c:invertIfNegative val="1"/>
            <c:bubble3D val="0"/>
            <c:spPr>
              <a:solidFill>
                <a:srgbClr val="7ECAC4"/>
              </a:solidFill>
            </c:spPr>
            <c:extLst>
              <c:ext xmlns:c16="http://schemas.microsoft.com/office/drawing/2014/chart" uri="{C3380CC4-5D6E-409C-BE32-E72D297353CC}">
                <c16:uniqueId val="{000004FD-C623-4FBE-8EDB-4AD12F618AAD}"/>
              </c:ext>
            </c:extLst>
          </c:dPt>
          <c:dPt>
            <c:idx val="638"/>
            <c:invertIfNegative val="1"/>
            <c:bubble3D val="0"/>
            <c:spPr>
              <a:solidFill>
                <a:srgbClr val="7ECAC4"/>
              </a:solidFill>
            </c:spPr>
            <c:extLst>
              <c:ext xmlns:c16="http://schemas.microsoft.com/office/drawing/2014/chart" uri="{C3380CC4-5D6E-409C-BE32-E72D297353CC}">
                <c16:uniqueId val="{000004FF-C623-4FBE-8EDB-4AD12F618AAD}"/>
              </c:ext>
            </c:extLst>
          </c:dPt>
          <c:dPt>
            <c:idx val="639"/>
            <c:invertIfNegative val="1"/>
            <c:bubble3D val="0"/>
            <c:spPr>
              <a:solidFill>
                <a:srgbClr val="7ECAC4"/>
              </a:solidFill>
            </c:spPr>
            <c:extLst>
              <c:ext xmlns:c16="http://schemas.microsoft.com/office/drawing/2014/chart" uri="{C3380CC4-5D6E-409C-BE32-E72D297353CC}">
                <c16:uniqueId val="{00000501-C623-4FBE-8EDB-4AD12F618AAD}"/>
              </c:ext>
            </c:extLst>
          </c:dPt>
          <c:dPt>
            <c:idx val="640"/>
            <c:invertIfNegative val="1"/>
            <c:bubble3D val="0"/>
            <c:spPr>
              <a:solidFill>
                <a:srgbClr val="7ECAC4"/>
              </a:solidFill>
            </c:spPr>
            <c:extLst>
              <c:ext xmlns:c16="http://schemas.microsoft.com/office/drawing/2014/chart" uri="{C3380CC4-5D6E-409C-BE32-E72D297353CC}">
                <c16:uniqueId val="{00000503-C623-4FBE-8EDB-4AD12F618AAD}"/>
              </c:ext>
            </c:extLst>
          </c:dPt>
          <c:dPt>
            <c:idx val="641"/>
            <c:invertIfNegative val="1"/>
            <c:bubble3D val="0"/>
            <c:spPr>
              <a:solidFill>
                <a:srgbClr val="7ECAC4"/>
              </a:solidFill>
            </c:spPr>
            <c:extLst>
              <c:ext xmlns:c16="http://schemas.microsoft.com/office/drawing/2014/chart" uri="{C3380CC4-5D6E-409C-BE32-E72D297353CC}">
                <c16:uniqueId val="{00000505-C623-4FBE-8EDB-4AD12F618AAD}"/>
              </c:ext>
            </c:extLst>
          </c:dPt>
          <c:dPt>
            <c:idx val="642"/>
            <c:invertIfNegative val="1"/>
            <c:bubble3D val="0"/>
            <c:spPr>
              <a:solidFill>
                <a:srgbClr val="7ECAC4"/>
              </a:solidFill>
            </c:spPr>
            <c:extLst>
              <c:ext xmlns:c16="http://schemas.microsoft.com/office/drawing/2014/chart" uri="{C3380CC4-5D6E-409C-BE32-E72D297353CC}">
                <c16:uniqueId val="{00000507-C623-4FBE-8EDB-4AD12F618AAD}"/>
              </c:ext>
            </c:extLst>
          </c:dPt>
          <c:dPt>
            <c:idx val="643"/>
            <c:invertIfNegative val="1"/>
            <c:bubble3D val="0"/>
            <c:spPr>
              <a:solidFill>
                <a:srgbClr val="7ECAC4"/>
              </a:solidFill>
            </c:spPr>
            <c:extLst>
              <c:ext xmlns:c16="http://schemas.microsoft.com/office/drawing/2014/chart" uri="{C3380CC4-5D6E-409C-BE32-E72D297353CC}">
                <c16:uniqueId val="{00000509-C623-4FBE-8EDB-4AD12F618AAD}"/>
              </c:ext>
            </c:extLst>
          </c:dPt>
          <c:dPt>
            <c:idx val="644"/>
            <c:invertIfNegative val="1"/>
            <c:bubble3D val="0"/>
            <c:spPr>
              <a:solidFill>
                <a:srgbClr val="7ECAC4"/>
              </a:solidFill>
            </c:spPr>
            <c:extLst>
              <c:ext xmlns:c16="http://schemas.microsoft.com/office/drawing/2014/chart" uri="{C3380CC4-5D6E-409C-BE32-E72D297353CC}">
                <c16:uniqueId val="{0000050B-C623-4FBE-8EDB-4AD12F618AAD}"/>
              </c:ext>
            </c:extLst>
          </c:dPt>
          <c:dPt>
            <c:idx val="645"/>
            <c:invertIfNegative val="1"/>
            <c:bubble3D val="0"/>
            <c:spPr>
              <a:solidFill>
                <a:srgbClr val="7ECAC4"/>
              </a:solidFill>
            </c:spPr>
            <c:extLst>
              <c:ext xmlns:c16="http://schemas.microsoft.com/office/drawing/2014/chart" uri="{C3380CC4-5D6E-409C-BE32-E72D297353CC}">
                <c16:uniqueId val="{0000050D-C623-4FBE-8EDB-4AD12F618AAD}"/>
              </c:ext>
            </c:extLst>
          </c:dPt>
          <c:dPt>
            <c:idx val="646"/>
            <c:invertIfNegative val="1"/>
            <c:bubble3D val="0"/>
            <c:spPr>
              <a:solidFill>
                <a:srgbClr val="7ECAC4"/>
              </a:solidFill>
            </c:spPr>
            <c:extLst>
              <c:ext xmlns:c16="http://schemas.microsoft.com/office/drawing/2014/chart" uri="{C3380CC4-5D6E-409C-BE32-E72D297353CC}">
                <c16:uniqueId val="{0000050F-C623-4FBE-8EDB-4AD12F618AAD}"/>
              </c:ext>
            </c:extLst>
          </c:dPt>
          <c:dPt>
            <c:idx val="647"/>
            <c:invertIfNegative val="1"/>
            <c:bubble3D val="0"/>
            <c:spPr>
              <a:solidFill>
                <a:srgbClr val="7ECAC4"/>
              </a:solidFill>
            </c:spPr>
            <c:extLst>
              <c:ext xmlns:c16="http://schemas.microsoft.com/office/drawing/2014/chart" uri="{C3380CC4-5D6E-409C-BE32-E72D297353CC}">
                <c16:uniqueId val="{00000511-C623-4FBE-8EDB-4AD12F618AAD}"/>
              </c:ext>
            </c:extLst>
          </c:dPt>
          <c:dPt>
            <c:idx val="648"/>
            <c:invertIfNegative val="1"/>
            <c:bubble3D val="0"/>
            <c:spPr>
              <a:solidFill>
                <a:srgbClr val="AEABAB"/>
              </a:solidFill>
            </c:spPr>
            <c:extLst>
              <c:ext xmlns:c16="http://schemas.microsoft.com/office/drawing/2014/chart" uri="{C3380CC4-5D6E-409C-BE32-E72D297353CC}">
                <c16:uniqueId val="{00000513-C623-4FBE-8EDB-4AD12F618AAD}"/>
              </c:ext>
            </c:extLst>
          </c:dPt>
          <c:dPt>
            <c:idx val="649"/>
            <c:invertIfNegative val="1"/>
            <c:bubble3D val="0"/>
            <c:spPr>
              <a:solidFill>
                <a:srgbClr val="AEABAB"/>
              </a:solidFill>
            </c:spPr>
            <c:extLst>
              <c:ext xmlns:c16="http://schemas.microsoft.com/office/drawing/2014/chart" uri="{C3380CC4-5D6E-409C-BE32-E72D297353CC}">
                <c16:uniqueId val="{00000515-C623-4FBE-8EDB-4AD12F618AAD}"/>
              </c:ext>
            </c:extLst>
          </c:dPt>
          <c:dPt>
            <c:idx val="650"/>
            <c:invertIfNegative val="1"/>
            <c:bubble3D val="0"/>
            <c:spPr>
              <a:solidFill>
                <a:srgbClr val="AEABAB"/>
              </a:solidFill>
            </c:spPr>
            <c:extLst>
              <c:ext xmlns:c16="http://schemas.microsoft.com/office/drawing/2014/chart" uri="{C3380CC4-5D6E-409C-BE32-E72D297353CC}">
                <c16:uniqueId val="{00000517-C623-4FBE-8EDB-4AD12F618AAD}"/>
              </c:ext>
            </c:extLst>
          </c:dPt>
          <c:dPt>
            <c:idx val="651"/>
            <c:invertIfNegative val="1"/>
            <c:bubble3D val="0"/>
            <c:spPr>
              <a:solidFill>
                <a:srgbClr val="AEABAB"/>
              </a:solidFill>
            </c:spPr>
            <c:extLst>
              <c:ext xmlns:c16="http://schemas.microsoft.com/office/drawing/2014/chart" uri="{C3380CC4-5D6E-409C-BE32-E72D297353CC}">
                <c16:uniqueId val="{00000519-C623-4FBE-8EDB-4AD12F618AAD}"/>
              </c:ext>
            </c:extLst>
          </c:dPt>
          <c:dPt>
            <c:idx val="652"/>
            <c:invertIfNegative val="1"/>
            <c:bubble3D val="0"/>
            <c:spPr>
              <a:solidFill>
                <a:srgbClr val="AEABAB"/>
              </a:solidFill>
            </c:spPr>
            <c:extLst>
              <c:ext xmlns:c16="http://schemas.microsoft.com/office/drawing/2014/chart" uri="{C3380CC4-5D6E-409C-BE32-E72D297353CC}">
                <c16:uniqueId val="{0000051B-C623-4FBE-8EDB-4AD12F618AAD}"/>
              </c:ext>
            </c:extLst>
          </c:dPt>
          <c:dPt>
            <c:idx val="653"/>
            <c:invertIfNegative val="1"/>
            <c:bubble3D val="0"/>
            <c:spPr>
              <a:solidFill>
                <a:srgbClr val="AEABAB"/>
              </a:solidFill>
            </c:spPr>
            <c:extLst>
              <c:ext xmlns:c16="http://schemas.microsoft.com/office/drawing/2014/chart" uri="{C3380CC4-5D6E-409C-BE32-E72D297353CC}">
                <c16:uniqueId val="{0000051D-C623-4FBE-8EDB-4AD12F618AAD}"/>
              </c:ext>
            </c:extLst>
          </c:dPt>
          <c:dPt>
            <c:idx val="654"/>
            <c:invertIfNegative val="1"/>
            <c:bubble3D val="0"/>
            <c:spPr>
              <a:solidFill>
                <a:srgbClr val="AEABAB"/>
              </a:solidFill>
            </c:spPr>
            <c:extLst>
              <c:ext xmlns:c16="http://schemas.microsoft.com/office/drawing/2014/chart" uri="{C3380CC4-5D6E-409C-BE32-E72D297353CC}">
                <c16:uniqueId val="{0000051F-C623-4FBE-8EDB-4AD12F618AAD}"/>
              </c:ext>
            </c:extLst>
          </c:dPt>
          <c:dPt>
            <c:idx val="655"/>
            <c:invertIfNegative val="1"/>
            <c:bubble3D val="0"/>
            <c:spPr>
              <a:solidFill>
                <a:srgbClr val="AEABAB"/>
              </a:solidFill>
            </c:spPr>
            <c:extLst>
              <c:ext xmlns:c16="http://schemas.microsoft.com/office/drawing/2014/chart" uri="{C3380CC4-5D6E-409C-BE32-E72D297353CC}">
                <c16:uniqueId val="{00000521-C623-4FBE-8EDB-4AD12F618AAD}"/>
              </c:ext>
            </c:extLst>
          </c:dPt>
          <c:dPt>
            <c:idx val="656"/>
            <c:invertIfNegative val="1"/>
            <c:bubble3D val="0"/>
            <c:spPr>
              <a:solidFill>
                <a:srgbClr val="AEABAB"/>
              </a:solidFill>
            </c:spPr>
            <c:extLst>
              <c:ext xmlns:c16="http://schemas.microsoft.com/office/drawing/2014/chart" uri="{C3380CC4-5D6E-409C-BE32-E72D297353CC}">
                <c16:uniqueId val="{00000523-C623-4FBE-8EDB-4AD12F618AAD}"/>
              </c:ext>
            </c:extLst>
          </c:dPt>
          <c:dPt>
            <c:idx val="657"/>
            <c:invertIfNegative val="1"/>
            <c:bubble3D val="0"/>
            <c:spPr>
              <a:solidFill>
                <a:srgbClr val="AEABAB"/>
              </a:solidFill>
            </c:spPr>
            <c:extLst>
              <c:ext xmlns:c16="http://schemas.microsoft.com/office/drawing/2014/chart" uri="{C3380CC4-5D6E-409C-BE32-E72D297353CC}">
                <c16:uniqueId val="{00000525-C623-4FBE-8EDB-4AD12F618AAD}"/>
              </c:ext>
            </c:extLst>
          </c:dPt>
          <c:dPt>
            <c:idx val="658"/>
            <c:invertIfNegative val="1"/>
            <c:bubble3D val="0"/>
            <c:spPr>
              <a:solidFill>
                <a:srgbClr val="AEABAB"/>
              </a:solidFill>
            </c:spPr>
            <c:extLst>
              <c:ext xmlns:c16="http://schemas.microsoft.com/office/drawing/2014/chart" uri="{C3380CC4-5D6E-409C-BE32-E72D297353CC}">
                <c16:uniqueId val="{00000527-C623-4FBE-8EDB-4AD12F618AAD}"/>
              </c:ext>
            </c:extLst>
          </c:dPt>
          <c:dPt>
            <c:idx val="659"/>
            <c:invertIfNegative val="1"/>
            <c:bubble3D val="0"/>
            <c:spPr>
              <a:solidFill>
                <a:srgbClr val="AEABAB"/>
              </a:solidFill>
            </c:spPr>
            <c:extLst>
              <c:ext xmlns:c16="http://schemas.microsoft.com/office/drawing/2014/chart" uri="{C3380CC4-5D6E-409C-BE32-E72D297353CC}">
                <c16:uniqueId val="{00000529-C623-4FBE-8EDB-4AD12F618AAD}"/>
              </c:ext>
            </c:extLst>
          </c:dPt>
          <c:dPt>
            <c:idx val="660"/>
            <c:invertIfNegative val="1"/>
            <c:bubble3D val="0"/>
            <c:spPr>
              <a:solidFill>
                <a:srgbClr val="AEABAB"/>
              </a:solidFill>
            </c:spPr>
            <c:extLst>
              <c:ext xmlns:c16="http://schemas.microsoft.com/office/drawing/2014/chart" uri="{C3380CC4-5D6E-409C-BE32-E72D297353CC}">
                <c16:uniqueId val="{0000052B-C623-4FBE-8EDB-4AD12F618AAD}"/>
              </c:ext>
            </c:extLst>
          </c:dPt>
          <c:dPt>
            <c:idx val="661"/>
            <c:invertIfNegative val="1"/>
            <c:bubble3D val="0"/>
            <c:spPr>
              <a:solidFill>
                <a:srgbClr val="AEABAB"/>
              </a:solidFill>
            </c:spPr>
            <c:extLst>
              <c:ext xmlns:c16="http://schemas.microsoft.com/office/drawing/2014/chart" uri="{C3380CC4-5D6E-409C-BE32-E72D297353CC}">
                <c16:uniqueId val="{0000052D-C623-4FBE-8EDB-4AD12F618AAD}"/>
              </c:ext>
            </c:extLst>
          </c:dPt>
          <c:dPt>
            <c:idx val="662"/>
            <c:invertIfNegative val="1"/>
            <c:bubble3D val="0"/>
            <c:spPr>
              <a:solidFill>
                <a:srgbClr val="AEABAB"/>
              </a:solidFill>
            </c:spPr>
            <c:extLst>
              <c:ext xmlns:c16="http://schemas.microsoft.com/office/drawing/2014/chart" uri="{C3380CC4-5D6E-409C-BE32-E72D297353CC}">
                <c16:uniqueId val="{0000052F-C623-4FBE-8EDB-4AD12F618AAD}"/>
              </c:ext>
            </c:extLst>
          </c:dPt>
          <c:dPt>
            <c:idx val="663"/>
            <c:invertIfNegative val="1"/>
            <c:bubble3D val="0"/>
            <c:spPr>
              <a:solidFill>
                <a:srgbClr val="AEABAB"/>
              </a:solidFill>
            </c:spPr>
            <c:extLst>
              <c:ext xmlns:c16="http://schemas.microsoft.com/office/drawing/2014/chart" uri="{C3380CC4-5D6E-409C-BE32-E72D297353CC}">
                <c16:uniqueId val="{00000531-C623-4FBE-8EDB-4AD12F618AAD}"/>
              </c:ext>
            </c:extLst>
          </c:dPt>
          <c:dPt>
            <c:idx val="664"/>
            <c:invertIfNegative val="1"/>
            <c:bubble3D val="0"/>
            <c:spPr>
              <a:solidFill>
                <a:srgbClr val="AEABAB"/>
              </a:solidFill>
            </c:spPr>
            <c:extLst>
              <c:ext xmlns:c16="http://schemas.microsoft.com/office/drawing/2014/chart" uri="{C3380CC4-5D6E-409C-BE32-E72D297353CC}">
                <c16:uniqueId val="{00000533-C623-4FBE-8EDB-4AD12F618AAD}"/>
              </c:ext>
            </c:extLst>
          </c:dPt>
          <c:dPt>
            <c:idx val="665"/>
            <c:invertIfNegative val="1"/>
            <c:bubble3D val="0"/>
            <c:spPr>
              <a:solidFill>
                <a:srgbClr val="AEABAB"/>
              </a:solidFill>
            </c:spPr>
            <c:extLst>
              <c:ext xmlns:c16="http://schemas.microsoft.com/office/drawing/2014/chart" uri="{C3380CC4-5D6E-409C-BE32-E72D297353CC}">
                <c16:uniqueId val="{00000535-C623-4FBE-8EDB-4AD12F618AAD}"/>
              </c:ext>
            </c:extLst>
          </c:dPt>
          <c:dPt>
            <c:idx val="666"/>
            <c:invertIfNegative val="1"/>
            <c:bubble3D val="0"/>
            <c:spPr>
              <a:solidFill>
                <a:srgbClr val="AEABAB"/>
              </a:solidFill>
            </c:spPr>
            <c:extLst>
              <c:ext xmlns:c16="http://schemas.microsoft.com/office/drawing/2014/chart" uri="{C3380CC4-5D6E-409C-BE32-E72D297353CC}">
                <c16:uniqueId val="{00000537-C623-4FBE-8EDB-4AD12F618AAD}"/>
              </c:ext>
            </c:extLst>
          </c:dPt>
          <c:dPt>
            <c:idx val="667"/>
            <c:invertIfNegative val="1"/>
            <c:bubble3D val="0"/>
            <c:spPr>
              <a:solidFill>
                <a:srgbClr val="AEABAB"/>
              </a:solidFill>
            </c:spPr>
            <c:extLst>
              <c:ext xmlns:c16="http://schemas.microsoft.com/office/drawing/2014/chart" uri="{C3380CC4-5D6E-409C-BE32-E72D297353CC}">
                <c16:uniqueId val="{00000539-C623-4FBE-8EDB-4AD12F618AAD}"/>
              </c:ext>
            </c:extLst>
          </c:dPt>
          <c:dPt>
            <c:idx val="668"/>
            <c:invertIfNegative val="1"/>
            <c:bubble3D val="0"/>
            <c:spPr>
              <a:solidFill>
                <a:srgbClr val="AEABAB"/>
              </a:solidFill>
            </c:spPr>
            <c:extLst>
              <c:ext xmlns:c16="http://schemas.microsoft.com/office/drawing/2014/chart" uri="{C3380CC4-5D6E-409C-BE32-E72D297353CC}">
                <c16:uniqueId val="{0000053B-C623-4FBE-8EDB-4AD12F618AAD}"/>
              </c:ext>
            </c:extLst>
          </c:dPt>
          <c:dPt>
            <c:idx val="669"/>
            <c:invertIfNegative val="1"/>
            <c:bubble3D val="0"/>
            <c:spPr>
              <a:solidFill>
                <a:srgbClr val="AEABAB"/>
              </a:solidFill>
            </c:spPr>
            <c:extLst>
              <c:ext xmlns:c16="http://schemas.microsoft.com/office/drawing/2014/chart" uri="{C3380CC4-5D6E-409C-BE32-E72D297353CC}">
                <c16:uniqueId val="{0000053D-C623-4FBE-8EDB-4AD12F618AAD}"/>
              </c:ext>
            </c:extLst>
          </c:dPt>
          <c:dPt>
            <c:idx val="670"/>
            <c:invertIfNegative val="1"/>
            <c:bubble3D val="0"/>
            <c:spPr>
              <a:solidFill>
                <a:srgbClr val="AEABAB"/>
              </a:solidFill>
            </c:spPr>
            <c:extLst>
              <c:ext xmlns:c16="http://schemas.microsoft.com/office/drawing/2014/chart" uri="{C3380CC4-5D6E-409C-BE32-E72D297353CC}">
                <c16:uniqueId val="{0000053F-C623-4FBE-8EDB-4AD12F618AAD}"/>
              </c:ext>
            </c:extLst>
          </c:dPt>
          <c:dPt>
            <c:idx val="671"/>
            <c:invertIfNegative val="1"/>
            <c:bubble3D val="0"/>
            <c:spPr>
              <a:solidFill>
                <a:srgbClr val="AEABAB"/>
              </a:solidFill>
            </c:spPr>
            <c:extLst>
              <c:ext xmlns:c16="http://schemas.microsoft.com/office/drawing/2014/chart" uri="{C3380CC4-5D6E-409C-BE32-E72D297353CC}">
                <c16:uniqueId val="{00000541-C623-4FBE-8EDB-4AD12F618AAD}"/>
              </c:ext>
            </c:extLst>
          </c:dPt>
          <c:dPt>
            <c:idx val="672"/>
            <c:invertIfNegative val="1"/>
            <c:bubble3D val="0"/>
            <c:spPr>
              <a:solidFill>
                <a:srgbClr val="AEABAB"/>
              </a:solidFill>
            </c:spPr>
            <c:extLst>
              <c:ext xmlns:c16="http://schemas.microsoft.com/office/drawing/2014/chart" uri="{C3380CC4-5D6E-409C-BE32-E72D297353CC}">
                <c16:uniqueId val="{00000543-C623-4FBE-8EDB-4AD12F618AAD}"/>
              </c:ext>
            </c:extLst>
          </c:dPt>
          <c:dPt>
            <c:idx val="673"/>
            <c:invertIfNegative val="1"/>
            <c:bubble3D val="0"/>
            <c:spPr>
              <a:solidFill>
                <a:srgbClr val="AEABAB"/>
              </a:solidFill>
            </c:spPr>
            <c:extLst>
              <c:ext xmlns:c16="http://schemas.microsoft.com/office/drawing/2014/chart" uri="{C3380CC4-5D6E-409C-BE32-E72D297353CC}">
                <c16:uniqueId val="{00000545-C623-4FBE-8EDB-4AD12F618AAD}"/>
              </c:ext>
            </c:extLst>
          </c:dPt>
          <c:dPt>
            <c:idx val="674"/>
            <c:invertIfNegative val="1"/>
            <c:bubble3D val="0"/>
            <c:spPr>
              <a:solidFill>
                <a:srgbClr val="AEABAB"/>
              </a:solidFill>
            </c:spPr>
            <c:extLst>
              <c:ext xmlns:c16="http://schemas.microsoft.com/office/drawing/2014/chart" uri="{C3380CC4-5D6E-409C-BE32-E72D297353CC}">
                <c16:uniqueId val="{00000547-C623-4FBE-8EDB-4AD12F618AAD}"/>
              </c:ext>
            </c:extLst>
          </c:dPt>
          <c:dPt>
            <c:idx val="675"/>
            <c:invertIfNegative val="1"/>
            <c:bubble3D val="0"/>
            <c:spPr>
              <a:solidFill>
                <a:srgbClr val="AEABAB"/>
              </a:solidFill>
            </c:spPr>
            <c:extLst>
              <c:ext xmlns:c16="http://schemas.microsoft.com/office/drawing/2014/chart" uri="{C3380CC4-5D6E-409C-BE32-E72D297353CC}">
                <c16:uniqueId val="{00000549-C623-4FBE-8EDB-4AD12F618AAD}"/>
              </c:ext>
            </c:extLst>
          </c:dPt>
          <c:dPt>
            <c:idx val="676"/>
            <c:invertIfNegative val="1"/>
            <c:bubble3D val="0"/>
            <c:spPr>
              <a:solidFill>
                <a:srgbClr val="AEABAB"/>
              </a:solidFill>
            </c:spPr>
            <c:extLst>
              <c:ext xmlns:c16="http://schemas.microsoft.com/office/drawing/2014/chart" uri="{C3380CC4-5D6E-409C-BE32-E72D297353CC}">
                <c16:uniqueId val="{0000054B-C623-4FBE-8EDB-4AD12F618AAD}"/>
              </c:ext>
            </c:extLst>
          </c:dPt>
          <c:dPt>
            <c:idx val="677"/>
            <c:invertIfNegative val="1"/>
            <c:bubble3D val="0"/>
            <c:spPr>
              <a:solidFill>
                <a:srgbClr val="AEABAB"/>
              </a:solidFill>
            </c:spPr>
            <c:extLst>
              <c:ext xmlns:c16="http://schemas.microsoft.com/office/drawing/2014/chart" uri="{C3380CC4-5D6E-409C-BE32-E72D297353CC}">
                <c16:uniqueId val="{0000054D-C623-4FBE-8EDB-4AD12F618AAD}"/>
              </c:ext>
            </c:extLst>
          </c:dPt>
          <c:dPt>
            <c:idx val="678"/>
            <c:invertIfNegative val="1"/>
            <c:bubble3D val="0"/>
            <c:spPr>
              <a:solidFill>
                <a:srgbClr val="AEABAB"/>
              </a:solidFill>
            </c:spPr>
            <c:extLst>
              <c:ext xmlns:c16="http://schemas.microsoft.com/office/drawing/2014/chart" uri="{C3380CC4-5D6E-409C-BE32-E72D297353CC}">
                <c16:uniqueId val="{0000054F-C623-4FBE-8EDB-4AD12F618AAD}"/>
              </c:ext>
            </c:extLst>
          </c:dPt>
          <c:dPt>
            <c:idx val="679"/>
            <c:invertIfNegative val="1"/>
            <c:bubble3D val="0"/>
            <c:spPr>
              <a:solidFill>
                <a:srgbClr val="AEABAB"/>
              </a:solidFill>
            </c:spPr>
            <c:extLst>
              <c:ext xmlns:c16="http://schemas.microsoft.com/office/drawing/2014/chart" uri="{C3380CC4-5D6E-409C-BE32-E72D297353CC}">
                <c16:uniqueId val="{00000551-C623-4FBE-8EDB-4AD12F618AAD}"/>
              </c:ext>
            </c:extLst>
          </c:dPt>
          <c:dPt>
            <c:idx val="680"/>
            <c:invertIfNegative val="1"/>
            <c:bubble3D val="0"/>
            <c:spPr>
              <a:solidFill>
                <a:srgbClr val="AEABAB"/>
              </a:solidFill>
            </c:spPr>
            <c:extLst>
              <c:ext xmlns:c16="http://schemas.microsoft.com/office/drawing/2014/chart" uri="{C3380CC4-5D6E-409C-BE32-E72D297353CC}">
                <c16:uniqueId val="{00000553-C623-4FBE-8EDB-4AD12F618AAD}"/>
              </c:ext>
            </c:extLst>
          </c:dPt>
          <c:dPt>
            <c:idx val="681"/>
            <c:invertIfNegative val="1"/>
            <c:bubble3D val="0"/>
            <c:spPr>
              <a:solidFill>
                <a:srgbClr val="AEABAB"/>
              </a:solidFill>
            </c:spPr>
            <c:extLst>
              <c:ext xmlns:c16="http://schemas.microsoft.com/office/drawing/2014/chart" uri="{C3380CC4-5D6E-409C-BE32-E72D297353CC}">
                <c16:uniqueId val="{00000555-C623-4FBE-8EDB-4AD12F618AAD}"/>
              </c:ext>
            </c:extLst>
          </c:dPt>
          <c:dPt>
            <c:idx val="682"/>
            <c:invertIfNegative val="1"/>
            <c:bubble3D val="0"/>
            <c:spPr>
              <a:solidFill>
                <a:srgbClr val="AEABAB"/>
              </a:solidFill>
            </c:spPr>
            <c:extLst>
              <c:ext xmlns:c16="http://schemas.microsoft.com/office/drawing/2014/chart" uri="{C3380CC4-5D6E-409C-BE32-E72D297353CC}">
                <c16:uniqueId val="{00000557-C623-4FBE-8EDB-4AD12F618AAD}"/>
              </c:ext>
            </c:extLst>
          </c:dPt>
          <c:dPt>
            <c:idx val="683"/>
            <c:invertIfNegative val="1"/>
            <c:bubble3D val="0"/>
            <c:spPr>
              <a:solidFill>
                <a:srgbClr val="AEABAB"/>
              </a:solidFill>
            </c:spPr>
            <c:extLst>
              <c:ext xmlns:c16="http://schemas.microsoft.com/office/drawing/2014/chart" uri="{C3380CC4-5D6E-409C-BE32-E72D297353CC}">
                <c16:uniqueId val="{00000559-C623-4FBE-8EDB-4AD12F618AAD}"/>
              </c:ext>
            </c:extLst>
          </c:dPt>
          <c:dPt>
            <c:idx val="684"/>
            <c:invertIfNegative val="1"/>
            <c:bubble3D val="0"/>
            <c:spPr>
              <a:solidFill>
                <a:srgbClr val="AEABAB"/>
              </a:solidFill>
            </c:spPr>
            <c:extLst>
              <c:ext xmlns:c16="http://schemas.microsoft.com/office/drawing/2014/chart" uri="{C3380CC4-5D6E-409C-BE32-E72D297353CC}">
                <c16:uniqueId val="{0000055B-C623-4FBE-8EDB-4AD12F618AAD}"/>
              </c:ext>
            </c:extLst>
          </c:dPt>
          <c:dPt>
            <c:idx val="685"/>
            <c:invertIfNegative val="1"/>
            <c:bubble3D val="0"/>
            <c:spPr>
              <a:solidFill>
                <a:srgbClr val="AEABAB"/>
              </a:solidFill>
            </c:spPr>
            <c:extLst>
              <c:ext xmlns:c16="http://schemas.microsoft.com/office/drawing/2014/chart" uri="{C3380CC4-5D6E-409C-BE32-E72D297353CC}">
                <c16:uniqueId val="{0000055D-C623-4FBE-8EDB-4AD12F618AAD}"/>
              </c:ext>
            </c:extLst>
          </c:dPt>
          <c:dPt>
            <c:idx val="686"/>
            <c:invertIfNegative val="1"/>
            <c:bubble3D val="0"/>
            <c:spPr>
              <a:solidFill>
                <a:srgbClr val="AEABAB"/>
              </a:solidFill>
            </c:spPr>
            <c:extLst>
              <c:ext xmlns:c16="http://schemas.microsoft.com/office/drawing/2014/chart" uri="{C3380CC4-5D6E-409C-BE32-E72D297353CC}">
                <c16:uniqueId val="{0000055F-C623-4FBE-8EDB-4AD12F618AAD}"/>
              </c:ext>
            </c:extLst>
          </c:dPt>
          <c:dPt>
            <c:idx val="687"/>
            <c:invertIfNegative val="1"/>
            <c:bubble3D val="0"/>
            <c:spPr>
              <a:solidFill>
                <a:srgbClr val="AEABAB"/>
              </a:solidFill>
            </c:spPr>
            <c:extLst>
              <c:ext xmlns:c16="http://schemas.microsoft.com/office/drawing/2014/chart" uri="{C3380CC4-5D6E-409C-BE32-E72D297353CC}">
                <c16:uniqueId val="{00000561-C623-4FBE-8EDB-4AD12F618AAD}"/>
              </c:ext>
            </c:extLst>
          </c:dPt>
          <c:dPt>
            <c:idx val="688"/>
            <c:invertIfNegative val="1"/>
            <c:bubble3D val="0"/>
            <c:spPr>
              <a:solidFill>
                <a:srgbClr val="AEABAB"/>
              </a:solidFill>
            </c:spPr>
            <c:extLst>
              <c:ext xmlns:c16="http://schemas.microsoft.com/office/drawing/2014/chart" uri="{C3380CC4-5D6E-409C-BE32-E72D297353CC}">
                <c16:uniqueId val="{00000563-C623-4FBE-8EDB-4AD12F618AAD}"/>
              </c:ext>
            </c:extLst>
          </c:dPt>
          <c:dPt>
            <c:idx val="689"/>
            <c:invertIfNegative val="1"/>
            <c:bubble3D val="0"/>
            <c:spPr>
              <a:solidFill>
                <a:srgbClr val="AEABAB"/>
              </a:solidFill>
            </c:spPr>
            <c:extLst>
              <c:ext xmlns:c16="http://schemas.microsoft.com/office/drawing/2014/chart" uri="{C3380CC4-5D6E-409C-BE32-E72D297353CC}">
                <c16:uniqueId val="{00000565-C623-4FBE-8EDB-4AD12F618AAD}"/>
              </c:ext>
            </c:extLst>
          </c:dPt>
          <c:dPt>
            <c:idx val="690"/>
            <c:invertIfNegative val="1"/>
            <c:bubble3D val="0"/>
            <c:spPr>
              <a:solidFill>
                <a:srgbClr val="AEABAB"/>
              </a:solidFill>
            </c:spPr>
            <c:extLst>
              <c:ext xmlns:c16="http://schemas.microsoft.com/office/drawing/2014/chart" uri="{C3380CC4-5D6E-409C-BE32-E72D297353CC}">
                <c16:uniqueId val="{00000567-C623-4FBE-8EDB-4AD12F618AAD}"/>
              </c:ext>
            </c:extLst>
          </c:dPt>
          <c:dPt>
            <c:idx val="691"/>
            <c:invertIfNegative val="1"/>
            <c:bubble3D val="0"/>
            <c:spPr>
              <a:solidFill>
                <a:srgbClr val="AEABAB"/>
              </a:solidFill>
            </c:spPr>
            <c:extLst>
              <c:ext xmlns:c16="http://schemas.microsoft.com/office/drawing/2014/chart" uri="{C3380CC4-5D6E-409C-BE32-E72D297353CC}">
                <c16:uniqueId val="{00000569-C623-4FBE-8EDB-4AD12F618AAD}"/>
              </c:ext>
            </c:extLst>
          </c:dPt>
          <c:dPt>
            <c:idx val="692"/>
            <c:invertIfNegative val="1"/>
            <c:bubble3D val="0"/>
            <c:spPr>
              <a:solidFill>
                <a:srgbClr val="AEABAB"/>
              </a:solidFill>
            </c:spPr>
            <c:extLst>
              <c:ext xmlns:c16="http://schemas.microsoft.com/office/drawing/2014/chart" uri="{C3380CC4-5D6E-409C-BE32-E72D297353CC}">
                <c16:uniqueId val="{0000056B-C623-4FBE-8EDB-4AD12F618AAD}"/>
              </c:ext>
            </c:extLst>
          </c:dPt>
          <c:dPt>
            <c:idx val="693"/>
            <c:invertIfNegative val="1"/>
            <c:bubble3D val="0"/>
            <c:spPr>
              <a:solidFill>
                <a:srgbClr val="AEABAB"/>
              </a:solidFill>
            </c:spPr>
            <c:extLst>
              <c:ext xmlns:c16="http://schemas.microsoft.com/office/drawing/2014/chart" uri="{C3380CC4-5D6E-409C-BE32-E72D297353CC}">
                <c16:uniqueId val="{0000056D-C623-4FBE-8EDB-4AD12F618AAD}"/>
              </c:ext>
            </c:extLst>
          </c:dPt>
          <c:dPt>
            <c:idx val="694"/>
            <c:invertIfNegative val="1"/>
            <c:bubble3D val="0"/>
            <c:spPr>
              <a:solidFill>
                <a:srgbClr val="AEABAB"/>
              </a:solidFill>
            </c:spPr>
            <c:extLst>
              <c:ext xmlns:c16="http://schemas.microsoft.com/office/drawing/2014/chart" uri="{C3380CC4-5D6E-409C-BE32-E72D297353CC}">
                <c16:uniqueId val="{0000056F-C623-4FBE-8EDB-4AD12F618AAD}"/>
              </c:ext>
            </c:extLst>
          </c:dPt>
          <c:dPt>
            <c:idx val="695"/>
            <c:invertIfNegative val="1"/>
            <c:bubble3D val="0"/>
            <c:spPr>
              <a:solidFill>
                <a:srgbClr val="AEABAB"/>
              </a:solidFill>
            </c:spPr>
            <c:extLst>
              <c:ext xmlns:c16="http://schemas.microsoft.com/office/drawing/2014/chart" uri="{C3380CC4-5D6E-409C-BE32-E72D297353CC}">
                <c16:uniqueId val="{00000571-C623-4FBE-8EDB-4AD12F618AAD}"/>
              </c:ext>
            </c:extLst>
          </c:dPt>
          <c:dPt>
            <c:idx val="696"/>
            <c:invertIfNegative val="1"/>
            <c:bubble3D val="0"/>
            <c:spPr>
              <a:solidFill>
                <a:srgbClr val="AEABAB"/>
              </a:solidFill>
            </c:spPr>
            <c:extLst>
              <c:ext xmlns:c16="http://schemas.microsoft.com/office/drawing/2014/chart" uri="{C3380CC4-5D6E-409C-BE32-E72D297353CC}">
                <c16:uniqueId val="{00000573-C623-4FBE-8EDB-4AD12F618AAD}"/>
              </c:ext>
            </c:extLst>
          </c:dPt>
          <c:dPt>
            <c:idx val="697"/>
            <c:invertIfNegative val="1"/>
            <c:bubble3D val="0"/>
            <c:spPr>
              <a:solidFill>
                <a:srgbClr val="AEABAB"/>
              </a:solidFill>
            </c:spPr>
            <c:extLst>
              <c:ext xmlns:c16="http://schemas.microsoft.com/office/drawing/2014/chart" uri="{C3380CC4-5D6E-409C-BE32-E72D297353CC}">
                <c16:uniqueId val="{00000575-C623-4FBE-8EDB-4AD12F618AAD}"/>
              </c:ext>
            </c:extLst>
          </c:dPt>
          <c:dPt>
            <c:idx val="698"/>
            <c:invertIfNegative val="1"/>
            <c:bubble3D val="0"/>
            <c:spPr>
              <a:solidFill>
                <a:srgbClr val="AEABAB"/>
              </a:solidFill>
            </c:spPr>
            <c:extLst>
              <c:ext xmlns:c16="http://schemas.microsoft.com/office/drawing/2014/chart" uri="{C3380CC4-5D6E-409C-BE32-E72D297353CC}">
                <c16:uniqueId val="{00000577-C623-4FBE-8EDB-4AD12F618AAD}"/>
              </c:ext>
            </c:extLst>
          </c:dPt>
          <c:dPt>
            <c:idx val="699"/>
            <c:invertIfNegative val="1"/>
            <c:bubble3D val="0"/>
            <c:spPr>
              <a:solidFill>
                <a:srgbClr val="AEABAB"/>
              </a:solidFill>
            </c:spPr>
            <c:extLst>
              <c:ext xmlns:c16="http://schemas.microsoft.com/office/drawing/2014/chart" uri="{C3380CC4-5D6E-409C-BE32-E72D297353CC}">
                <c16:uniqueId val="{00000579-C623-4FBE-8EDB-4AD12F618AAD}"/>
              </c:ext>
            </c:extLst>
          </c:dPt>
          <c:dPt>
            <c:idx val="700"/>
            <c:invertIfNegative val="1"/>
            <c:bubble3D val="0"/>
            <c:spPr>
              <a:solidFill>
                <a:srgbClr val="AEABAB"/>
              </a:solidFill>
            </c:spPr>
            <c:extLst>
              <c:ext xmlns:c16="http://schemas.microsoft.com/office/drawing/2014/chart" uri="{C3380CC4-5D6E-409C-BE32-E72D297353CC}">
                <c16:uniqueId val="{0000057B-C623-4FBE-8EDB-4AD12F618AAD}"/>
              </c:ext>
            </c:extLst>
          </c:dPt>
          <c:dPt>
            <c:idx val="701"/>
            <c:invertIfNegative val="1"/>
            <c:bubble3D val="0"/>
            <c:spPr>
              <a:solidFill>
                <a:srgbClr val="AEABAB"/>
              </a:solidFill>
            </c:spPr>
            <c:extLst>
              <c:ext xmlns:c16="http://schemas.microsoft.com/office/drawing/2014/chart" uri="{C3380CC4-5D6E-409C-BE32-E72D297353CC}">
                <c16:uniqueId val="{0000057D-C623-4FBE-8EDB-4AD12F618AAD}"/>
              </c:ext>
            </c:extLst>
          </c:dPt>
          <c:dPt>
            <c:idx val="702"/>
            <c:invertIfNegative val="1"/>
            <c:bubble3D val="0"/>
            <c:spPr>
              <a:solidFill>
                <a:srgbClr val="AEABAB"/>
              </a:solidFill>
            </c:spPr>
            <c:extLst>
              <c:ext xmlns:c16="http://schemas.microsoft.com/office/drawing/2014/chart" uri="{C3380CC4-5D6E-409C-BE32-E72D297353CC}">
                <c16:uniqueId val="{0000057F-C623-4FBE-8EDB-4AD12F618AAD}"/>
              </c:ext>
            </c:extLst>
          </c:dPt>
          <c:dPt>
            <c:idx val="703"/>
            <c:invertIfNegative val="1"/>
            <c:bubble3D val="0"/>
            <c:spPr>
              <a:solidFill>
                <a:srgbClr val="AEABAB"/>
              </a:solidFill>
            </c:spPr>
            <c:extLst>
              <c:ext xmlns:c16="http://schemas.microsoft.com/office/drawing/2014/chart" uri="{C3380CC4-5D6E-409C-BE32-E72D297353CC}">
                <c16:uniqueId val="{00000581-C623-4FBE-8EDB-4AD12F618AAD}"/>
              </c:ext>
            </c:extLst>
          </c:dPt>
          <c:dPt>
            <c:idx val="704"/>
            <c:invertIfNegative val="1"/>
            <c:bubble3D val="0"/>
            <c:spPr>
              <a:solidFill>
                <a:srgbClr val="AEABAB"/>
              </a:solidFill>
            </c:spPr>
            <c:extLst>
              <c:ext xmlns:c16="http://schemas.microsoft.com/office/drawing/2014/chart" uri="{C3380CC4-5D6E-409C-BE32-E72D297353CC}">
                <c16:uniqueId val="{00000583-C623-4FBE-8EDB-4AD12F618AAD}"/>
              </c:ext>
            </c:extLst>
          </c:dPt>
          <c:dPt>
            <c:idx val="705"/>
            <c:invertIfNegative val="1"/>
            <c:bubble3D val="0"/>
            <c:spPr>
              <a:solidFill>
                <a:srgbClr val="AEABAB"/>
              </a:solidFill>
            </c:spPr>
            <c:extLst>
              <c:ext xmlns:c16="http://schemas.microsoft.com/office/drawing/2014/chart" uri="{C3380CC4-5D6E-409C-BE32-E72D297353CC}">
                <c16:uniqueId val="{00000585-C623-4FBE-8EDB-4AD12F618AAD}"/>
              </c:ext>
            </c:extLst>
          </c:dPt>
          <c:dPt>
            <c:idx val="706"/>
            <c:invertIfNegative val="1"/>
            <c:bubble3D val="0"/>
            <c:spPr>
              <a:solidFill>
                <a:srgbClr val="AEABAB"/>
              </a:solidFill>
            </c:spPr>
            <c:extLst>
              <c:ext xmlns:c16="http://schemas.microsoft.com/office/drawing/2014/chart" uri="{C3380CC4-5D6E-409C-BE32-E72D297353CC}">
                <c16:uniqueId val="{00000587-C623-4FBE-8EDB-4AD12F618AAD}"/>
              </c:ext>
            </c:extLst>
          </c:dPt>
          <c:dPt>
            <c:idx val="707"/>
            <c:invertIfNegative val="1"/>
            <c:bubble3D val="0"/>
            <c:spPr>
              <a:solidFill>
                <a:srgbClr val="AEABAB"/>
              </a:solidFill>
            </c:spPr>
            <c:extLst>
              <c:ext xmlns:c16="http://schemas.microsoft.com/office/drawing/2014/chart" uri="{C3380CC4-5D6E-409C-BE32-E72D297353CC}">
                <c16:uniqueId val="{00000589-C623-4FBE-8EDB-4AD12F618AAD}"/>
              </c:ext>
            </c:extLst>
          </c:dPt>
          <c:dPt>
            <c:idx val="708"/>
            <c:invertIfNegative val="1"/>
            <c:bubble3D val="0"/>
            <c:spPr>
              <a:solidFill>
                <a:srgbClr val="AEABAB"/>
              </a:solidFill>
            </c:spPr>
            <c:extLst>
              <c:ext xmlns:c16="http://schemas.microsoft.com/office/drawing/2014/chart" uri="{C3380CC4-5D6E-409C-BE32-E72D297353CC}">
                <c16:uniqueId val="{0000058B-C623-4FBE-8EDB-4AD12F618AAD}"/>
              </c:ext>
            </c:extLst>
          </c:dPt>
          <c:dPt>
            <c:idx val="709"/>
            <c:invertIfNegative val="1"/>
            <c:bubble3D val="0"/>
            <c:spPr>
              <a:solidFill>
                <a:srgbClr val="AEABAB"/>
              </a:solidFill>
            </c:spPr>
            <c:extLst>
              <c:ext xmlns:c16="http://schemas.microsoft.com/office/drawing/2014/chart" uri="{C3380CC4-5D6E-409C-BE32-E72D297353CC}">
                <c16:uniqueId val="{0000058D-C623-4FBE-8EDB-4AD12F618AAD}"/>
              </c:ext>
            </c:extLst>
          </c:dPt>
          <c:dPt>
            <c:idx val="710"/>
            <c:invertIfNegative val="1"/>
            <c:bubble3D val="0"/>
            <c:spPr>
              <a:solidFill>
                <a:srgbClr val="AEABAB"/>
              </a:solidFill>
            </c:spPr>
            <c:extLst>
              <c:ext xmlns:c16="http://schemas.microsoft.com/office/drawing/2014/chart" uri="{C3380CC4-5D6E-409C-BE32-E72D297353CC}">
                <c16:uniqueId val="{0000058F-C623-4FBE-8EDB-4AD12F618AAD}"/>
              </c:ext>
            </c:extLst>
          </c:dPt>
          <c:dPt>
            <c:idx val="711"/>
            <c:invertIfNegative val="1"/>
            <c:bubble3D val="0"/>
            <c:spPr>
              <a:solidFill>
                <a:srgbClr val="AEABAB"/>
              </a:solidFill>
            </c:spPr>
            <c:extLst>
              <c:ext xmlns:c16="http://schemas.microsoft.com/office/drawing/2014/chart" uri="{C3380CC4-5D6E-409C-BE32-E72D297353CC}">
                <c16:uniqueId val="{00000591-C623-4FBE-8EDB-4AD12F618AAD}"/>
              </c:ext>
            </c:extLst>
          </c:dPt>
          <c:dPt>
            <c:idx val="712"/>
            <c:invertIfNegative val="1"/>
            <c:bubble3D val="0"/>
            <c:spPr>
              <a:solidFill>
                <a:srgbClr val="AEABAB"/>
              </a:solidFill>
            </c:spPr>
            <c:extLst>
              <c:ext xmlns:c16="http://schemas.microsoft.com/office/drawing/2014/chart" uri="{C3380CC4-5D6E-409C-BE32-E72D297353CC}">
                <c16:uniqueId val="{00000593-C623-4FBE-8EDB-4AD12F618AAD}"/>
              </c:ext>
            </c:extLst>
          </c:dPt>
          <c:dPt>
            <c:idx val="713"/>
            <c:invertIfNegative val="1"/>
            <c:bubble3D val="0"/>
            <c:spPr>
              <a:solidFill>
                <a:srgbClr val="AEABAB"/>
              </a:solidFill>
            </c:spPr>
            <c:extLst>
              <c:ext xmlns:c16="http://schemas.microsoft.com/office/drawing/2014/chart" uri="{C3380CC4-5D6E-409C-BE32-E72D297353CC}">
                <c16:uniqueId val="{00000595-C623-4FBE-8EDB-4AD12F618AAD}"/>
              </c:ext>
            </c:extLst>
          </c:dPt>
          <c:dPt>
            <c:idx val="714"/>
            <c:invertIfNegative val="1"/>
            <c:bubble3D val="0"/>
            <c:spPr>
              <a:solidFill>
                <a:srgbClr val="AEABAB"/>
              </a:solidFill>
            </c:spPr>
            <c:extLst>
              <c:ext xmlns:c16="http://schemas.microsoft.com/office/drawing/2014/chart" uri="{C3380CC4-5D6E-409C-BE32-E72D297353CC}">
                <c16:uniqueId val="{00000597-C623-4FBE-8EDB-4AD12F618AAD}"/>
              </c:ext>
            </c:extLst>
          </c:dPt>
          <c:dPt>
            <c:idx val="715"/>
            <c:invertIfNegative val="1"/>
            <c:bubble3D val="0"/>
            <c:spPr>
              <a:solidFill>
                <a:srgbClr val="AEABAB"/>
              </a:solidFill>
            </c:spPr>
            <c:extLst>
              <c:ext xmlns:c16="http://schemas.microsoft.com/office/drawing/2014/chart" uri="{C3380CC4-5D6E-409C-BE32-E72D297353CC}">
                <c16:uniqueId val="{00000599-C623-4FBE-8EDB-4AD12F618AAD}"/>
              </c:ext>
            </c:extLst>
          </c:dPt>
          <c:dPt>
            <c:idx val="716"/>
            <c:invertIfNegative val="1"/>
            <c:bubble3D val="0"/>
            <c:spPr>
              <a:solidFill>
                <a:srgbClr val="AEABAB"/>
              </a:solidFill>
            </c:spPr>
            <c:extLst>
              <c:ext xmlns:c16="http://schemas.microsoft.com/office/drawing/2014/chart" uri="{C3380CC4-5D6E-409C-BE32-E72D297353CC}">
                <c16:uniqueId val="{0000059B-C623-4FBE-8EDB-4AD12F618AAD}"/>
              </c:ext>
            </c:extLst>
          </c:dPt>
          <c:dPt>
            <c:idx val="717"/>
            <c:invertIfNegative val="1"/>
            <c:bubble3D val="0"/>
            <c:spPr>
              <a:solidFill>
                <a:srgbClr val="AEABAB"/>
              </a:solidFill>
            </c:spPr>
            <c:extLst>
              <c:ext xmlns:c16="http://schemas.microsoft.com/office/drawing/2014/chart" uri="{C3380CC4-5D6E-409C-BE32-E72D297353CC}">
                <c16:uniqueId val="{0000059D-C623-4FBE-8EDB-4AD12F618AAD}"/>
              </c:ext>
            </c:extLst>
          </c:dPt>
          <c:dPt>
            <c:idx val="718"/>
            <c:invertIfNegative val="1"/>
            <c:bubble3D val="0"/>
            <c:spPr>
              <a:solidFill>
                <a:srgbClr val="AEABAB"/>
              </a:solidFill>
            </c:spPr>
            <c:extLst>
              <c:ext xmlns:c16="http://schemas.microsoft.com/office/drawing/2014/chart" uri="{C3380CC4-5D6E-409C-BE32-E72D297353CC}">
                <c16:uniqueId val="{0000059F-C623-4FBE-8EDB-4AD12F618AAD}"/>
              </c:ext>
            </c:extLst>
          </c:dPt>
          <c:dPt>
            <c:idx val="719"/>
            <c:invertIfNegative val="1"/>
            <c:bubble3D val="0"/>
            <c:spPr>
              <a:solidFill>
                <a:srgbClr val="AEABAB"/>
              </a:solidFill>
            </c:spPr>
            <c:extLst>
              <c:ext xmlns:c16="http://schemas.microsoft.com/office/drawing/2014/chart" uri="{C3380CC4-5D6E-409C-BE32-E72D297353CC}">
                <c16:uniqueId val="{000005A1-C623-4FBE-8EDB-4AD12F618AAD}"/>
              </c:ext>
            </c:extLst>
          </c:dPt>
          <c:dPt>
            <c:idx val="720"/>
            <c:invertIfNegative val="1"/>
            <c:bubble3D val="0"/>
            <c:spPr>
              <a:solidFill>
                <a:srgbClr val="AEABAB"/>
              </a:solidFill>
            </c:spPr>
            <c:extLst>
              <c:ext xmlns:c16="http://schemas.microsoft.com/office/drawing/2014/chart" uri="{C3380CC4-5D6E-409C-BE32-E72D297353CC}">
                <c16:uniqueId val="{000005A3-C623-4FBE-8EDB-4AD12F618AAD}"/>
              </c:ext>
            </c:extLst>
          </c:dPt>
          <c:dPt>
            <c:idx val="721"/>
            <c:invertIfNegative val="1"/>
            <c:bubble3D val="0"/>
            <c:spPr>
              <a:solidFill>
                <a:srgbClr val="AEABAB"/>
              </a:solidFill>
            </c:spPr>
            <c:extLst>
              <c:ext xmlns:c16="http://schemas.microsoft.com/office/drawing/2014/chart" uri="{C3380CC4-5D6E-409C-BE32-E72D297353CC}">
                <c16:uniqueId val="{000005A5-C623-4FBE-8EDB-4AD12F618AAD}"/>
              </c:ext>
            </c:extLst>
          </c:dPt>
          <c:dPt>
            <c:idx val="722"/>
            <c:invertIfNegative val="1"/>
            <c:bubble3D val="0"/>
            <c:spPr>
              <a:solidFill>
                <a:srgbClr val="AEABAB"/>
              </a:solidFill>
            </c:spPr>
            <c:extLst>
              <c:ext xmlns:c16="http://schemas.microsoft.com/office/drawing/2014/chart" uri="{C3380CC4-5D6E-409C-BE32-E72D297353CC}">
                <c16:uniqueId val="{000005A7-C623-4FBE-8EDB-4AD12F618AAD}"/>
              </c:ext>
            </c:extLst>
          </c:dPt>
          <c:dPt>
            <c:idx val="723"/>
            <c:invertIfNegative val="1"/>
            <c:bubble3D val="0"/>
            <c:spPr>
              <a:solidFill>
                <a:srgbClr val="AEABAB"/>
              </a:solidFill>
            </c:spPr>
            <c:extLst>
              <c:ext xmlns:c16="http://schemas.microsoft.com/office/drawing/2014/chart" uri="{C3380CC4-5D6E-409C-BE32-E72D297353CC}">
                <c16:uniqueId val="{000005A9-C623-4FBE-8EDB-4AD12F618AAD}"/>
              </c:ext>
            </c:extLst>
          </c:dPt>
          <c:dPt>
            <c:idx val="724"/>
            <c:invertIfNegative val="1"/>
            <c:bubble3D val="0"/>
            <c:spPr>
              <a:solidFill>
                <a:srgbClr val="AEABAB"/>
              </a:solidFill>
            </c:spPr>
            <c:extLst>
              <c:ext xmlns:c16="http://schemas.microsoft.com/office/drawing/2014/chart" uri="{C3380CC4-5D6E-409C-BE32-E72D297353CC}">
                <c16:uniqueId val="{000005AB-C623-4FBE-8EDB-4AD12F618AAD}"/>
              </c:ext>
            </c:extLst>
          </c:dPt>
          <c:dPt>
            <c:idx val="725"/>
            <c:invertIfNegative val="1"/>
            <c:bubble3D val="0"/>
            <c:spPr>
              <a:solidFill>
                <a:srgbClr val="AEABAB"/>
              </a:solidFill>
            </c:spPr>
            <c:extLst>
              <c:ext xmlns:c16="http://schemas.microsoft.com/office/drawing/2014/chart" uri="{C3380CC4-5D6E-409C-BE32-E72D297353CC}">
                <c16:uniqueId val="{000005AD-C623-4FBE-8EDB-4AD12F618AAD}"/>
              </c:ext>
            </c:extLst>
          </c:dPt>
          <c:dPt>
            <c:idx val="726"/>
            <c:invertIfNegative val="1"/>
            <c:bubble3D val="0"/>
            <c:spPr>
              <a:solidFill>
                <a:srgbClr val="AEABAB"/>
              </a:solidFill>
            </c:spPr>
            <c:extLst>
              <c:ext xmlns:c16="http://schemas.microsoft.com/office/drawing/2014/chart" uri="{C3380CC4-5D6E-409C-BE32-E72D297353CC}">
                <c16:uniqueId val="{000005AF-C623-4FBE-8EDB-4AD12F618AAD}"/>
              </c:ext>
            </c:extLst>
          </c:dPt>
          <c:dPt>
            <c:idx val="727"/>
            <c:invertIfNegative val="1"/>
            <c:bubble3D val="0"/>
            <c:spPr>
              <a:solidFill>
                <a:srgbClr val="AEABAB"/>
              </a:solidFill>
            </c:spPr>
            <c:extLst>
              <c:ext xmlns:c16="http://schemas.microsoft.com/office/drawing/2014/chart" uri="{C3380CC4-5D6E-409C-BE32-E72D297353CC}">
                <c16:uniqueId val="{000005B1-C623-4FBE-8EDB-4AD12F618AAD}"/>
              </c:ext>
            </c:extLst>
          </c:dPt>
          <c:dPt>
            <c:idx val="728"/>
            <c:invertIfNegative val="1"/>
            <c:bubble3D val="0"/>
            <c:spPr>
              <a:solidFill>
                <a:srgbClr val="AEABAB"/>
              </a:solidFill>
            </c:spPr>
            <c:extLst>
              <c:ext xmlns:c16="http://schemas.microsoft.com/office/drawing/2014/chart" uri="{C3380CC4-5D6E-409C-BE32-E72D297353CC}">
                <c16:uniqueId val="{000005B3-C623-4FBE-8EDB-4AD12F618AAD}"/>
              </c:ext>
            </c:extLst>
          </c:dPt>
          <c:dPt>
            <c:idx val="729"/>
            <c:invertIfNegative val="1"/>
            <c:bubble3D val="0"/>
            <c:spPr>
              <a:solidFill>
                <a:srgbClr val="AEABAB"/>
              </a:solidFill>
            </c:spPr>
            <c:extLst>
              <c:ext xmlns:c16="http://schemas.microsoft.com/office/drawing/2014/chart" uri="{C3380CC4-5D6E-409C-BE32-E72D297353CC}">
                <c16:uniqueId val="{000005B5-C623-4FBE-8EDB-4AD12F618AAD}"/>
              </c:ext>
            </c:extLst>
          </c:dPt>
          <c:dPt>
            <c:idx val="730"/>
            <c:invertIfNegative val="1"/>
            <c:bubble3D val="0"/>
            <c:spPr>
              <a:solidFill>
                <a:srgbClr val="AEABAB"/>
              </a:solidFill>
            </c:spPr>
            <c:extLst>
              <c:ext xmlns:c16="http://schemas.microsoft.com/office/drawing/2014/chart" uri="{C3380CC4-5D6E-409C-BE32-E72D297353CC}">
                <c16:uniqueId val="{000005B7-C623-4FBE-8EDB-4AD12F618AAD}"/>
              </c:ext>
            </c:extLst>
          </c:dPt>
          <c:dPt>
            <c:idx val="731"/>
            <c:invertIfNegative val="1"/>
            <c:bubble3D val="0"/>
            <c:spPr>
              <a:solidFill>
                <a:srgbClr val="AEABAB"/>
              </a:solidFill>
            </c:spPr>
            <c:extLst>
              <c:ext xmlns:c16="http://schemas.microsoft.com/office/drawing/2014/chart" uri="{C3380CC4-5D6E-409C-BE32-E72D297353CC}">
                <c16:uniqueId val="{000005B9-C623-4FBE-8EDB-4AD12F618AAD}"/>
              </c:ext>
            </c:extLst>
          </c:dPt>
          <c:dPt>
            <c:idx val="732"/>
            <c:invertIfNegative val="1"/>
            <c:bubble3D val="0"/>
            <c:spPr>
              <a:solidFill>
                <a:srgbClr val="AEABAB"/>
              </a:solidFill>
            </c:spPr>
            <c:extLst>
              <c:ext xmlns:c16="http://schemas.microsoft.com/office/drawing/2014/chart" uri="{C3380CC4-5D6E-409C-BE32-E72D297353CC}">
                <c16:uniqueId val="{000005BB-C623-4FBE-8EDB-4AD12F618AAD}"/>
              </c:ext>
            </c:extLst>
          </c:dPt>
          <c:dPt>
            <c:idx val="733"/>
            <c:invertIfNegative val="1"/>
            <c:bubble3D val="0"/>
            <c:spPr>
              <a:solidFill>
                <a:srgbClr val="AEABAB"/>
              </a:solidFill>
            </c:spPr>
            <c:extLst>
              <c:ext xmlns:c16="http://schemas.microsoft.com/office/drawing/2014/chart" uri="{C3380CC4-5D6E-409C-BE32-E72D297353CC}">
                <c16:uniqueId val="{000005BD-C623-4FBE-8EDB-4AD12F618AAD}"/>
              </c:ext>
            </c:extLst>
          </c:dPt>
          <c:dPt>
            <c:idx val="734"/>
            <c:invertIfNegative val="1"/>
            <c:bubble3D val="0"/>
            <c:spPr>
              <a:solidFill>
                <a:srgbClr val="AEABAB"/>
              </a:solidFill>
            </c:spPr>
            <c:extLst>
              <c:ext xmlns:c16="http://schemas.microsoft.com/office/drawing/2014/chart" uri="{C3380CC4-5D6E-409C-BE32-E72D297353CC}">
                <c16:uniqueId val="{000005BF-C623-4FBE-8EDB-4AD12F618AAD}"/>
              </c:ext>
            </c:extLst>
          </c:dPt>
          <c:dPt>
            <c:idx val="735"/>
            <c:invertIfNegative val="1"/>
            <c:bubble3D val="0"/>
            <c:spPr>
              <a:solidFill>
                <a:srgbClr val="AEABAB"/>
              </a:solidFill>
            </c:spPr>
            <c:extLst>
              <c:ext xmlns:c16="http://schemas.microsoft.com/office/drawing/2014/chart" uri="{C3380CC4-5D6E-409C-BE32-E72D297353CC}">
                <c16:uniqueId val="{000005C1-C623-4FBE-8EDB-4AD12F618AAD}"/>
              </c:ext>
            </c:extLst>
          </c:dPt>
          <c:dPt>
            <c:idx val="736"/>
            <c:invertIfNegative val="1"/>
            <c:bubble3D val="0"/>
            <c:spPr>
              <a:solidFill>
                <a:srgbClr val="AEABAB"/>
              </a:solidFill>
            </c:spPr>
            <c:extLst>
              <c:ext xmlns:c16="http://schemas.microsoft.com/office/drawing/2014/chart" uri="{C3380CC4-5D6E-409C-BE32-E72D297353CC}">
                <c16:uniqueId val="{000005C3-C623-4FBE-8EDB-4AD12F618AAD}"/>
              </c:ext>
            </c:extLst>
          </c:dPt>
          <c:dPt>
            <c:idx val="737"/>
            <c:invertIfNegative val="1"/>
            <c:bubble3D val="0"/>
            <c:spPr>
              <a:solidFill>
                <a:srgbClr val="AEABAB"/>
              </a:solidFill>
            </c:spPr>
            <c:extLst>
              <c:ext xmlns:c16="http://schemas.microsoft.com/office/drawing/2014/chart" uri="{C3380CC4-5D6E-409C-BE32-E72D297353CC}">
                <c16:uniqueId val="{000005C5-C623-4FBE-8EDB-4AD12F618AAD}"/>
              </c:ext>
            </c:extLst>
          </c:dPt>
          <c:dPt>
            <c:idx val="738"/>
            <c:invertIfNegative val="1"/>
            <c:bubble3D val="0"/>
            <c:spPr>
              <a:solidFill>
                <a:srgbClr val="AEABAB"/>
              </a:solidFill>
            </c:spPr>
            <c:extLst>
              <c:ext xmlns:c16="http://schemas.microsoft.com/office/drawing/2014/chart" uri="{C3380CC4-5D6E-409C-BE32-E72D297353CC}">
                <c16:uniqueId val="{000005C7-C623-4FBE-8EDB-4AD12F618AAD}"/>
              </c:ext>
            </c:extLst>
          </c:dPt>
          <c:dPt>
            <c:idx val="739"/>
            <c:invertIfNegative val="1"/>
            <c:bubble3D val="0"/>
            <c:spPr>
              <a:solidFill>
                <a:srgbClr val="AEABAB"/>
              </a:solidFill>
            </c:spPr>
            <c:extLst>
              <c:ext xmlns:c16="http://schemas.microsoft.com/office/drawing/2014/chart" uri="{C3380CC4-5D6E-409C-BE32-E72D297353CC}">
                <c16:uniqueId val="{000005C9-C623-4FBE-8EDB-4AD12F618AAD}"/>
              </c:ext>
            </c:extLst>
          </c:dPt>
          <c:dPt>
            <c:idx val="740"/>
            <c:invertIfNegative val="1"/>
            <c:bubble3D val="0"/>
            <c:spPr>
              <a:solidFill>
                <a:srgbClr val="AEABAB"/>
              </a:solidFill>
            </c:spPr>
            <c:extLst>
              <c:ext xmlns:c16="http://schemas.microsoft.com/office/drawing/2014/chart" uri="{C3380CC4-5D6E-409C-BE32-E72D297353CC}">
                <c16:uniqueId val="{000005CB-C623-4FBE-8EDB-4AD12F618AAD}"/>
              </c:ext>
            </c:extLst>
          </c:dPt>
          <c:dPt>
            <c:idx val="741"/>
            <c:invertIfNegative val="1"/>
            <c:bubble3D val="0"/>
            <c:spPr>
              <a:solidFill>
                <a:srgbClr val="AEABAB"/>
              </a:solidFill>
            </c:spPr>
            <c:extLst>
              <c:ext xmlns:c16="http://schemas.microsoft.com/office/drawing/2014/chart" uri="{C3380CC4-5D6E-409C-BE32-E72D297353CC}">
                <c16:uniqueId val="{000005CD-C623-4FBE-8EDB-4AD12F618AAD}"/>
              </c:ext>
            </c:extLst>
          </c:dPt>
          <c:dPt>
            <c:idx val="742"/>
            <c:invertIfNegative val="1"/>
            <c:bubble3D val="0"/>
            <c:spPr>
              <a:solidFill>
                <a:srgbClr val="AEABAB"/>
              </a:solidFill>
            </c:spPr>
            <c:extLst>
              <c:ext xmlns:c16="http://schemas.microsoft.com/office/drawing/2014/chart" uri="{C3380CC4-5D6E-409C-BE32-E72D297353CC}">
                <c16:uniqueId val="{000005CF-C623-4FBE-8EDB-4AD12F618AAD}"/>
              </c:ext>
            </c:extLst>
          </c:dPt>
          <c:dPt>
            <c:idx val="743"/>
            <c:invertIfNegative val="1"/>
            <c:bubble3D val="0"/>
            <c:spPr>
              <a:solidFill>
                <a:srgbClr val="AEABAB"/>
              </a:solidFill>
            </c:spPr>
            <c:extLst>
              <c:ext xmlns:c16="http://schemas.microsoft.com/office/drawing/2014/chart" uri="{C3380CC4-5D6E-409C-BE32-E72D297353CC}">
                <c16:uniqueId val="{000005D1-C623-4FBE-8EDB-4AD12F618AAD}"/>
              </c:ext>
            </c:extLst>
          </c:dPt>
          <c:dPt>
            <c:idx val="744"/>
            <c:invertIfNegative val="1"/>
            <c:bubble3D val="0"/>
            <c:spPr>
              <a:solidFill>
                <a:srgbClr val="AEABAB"/>
              </a:solidFill>
            </c:spPr>
            <c:extLst>
              <c:ext xmlns:c16="http://schemas.microsoft.com/office/drawing/2014/chart" uri="{C3380CC4-5D6E-409C-BE32-E72D297353CC}">
                <c16:uniqueId val="{000005D3-C623-4FBE-8EDB-4AD12F618AAD}"/>
              </c:ext>
            </c:extLst>
          </c:dPt>
          <c:dPt>
            <c:idx val="745"/>
            <c:invertIfNegative val="1"/>
            <c:bubble3D val="0"/>
            <c:spPr>
              <a:solidFill>
                <a:srgbClr val="AEABAB"/>
              </a:solidFill>
            </c:spPr>
            <c:extLst>
              <c:ext xmlns:c16="http://schemas.microsoft.com/office/drawing/2014/chart" uri="{C3380CC4-5D6E-409C-BE32-E72D297353CC}">
                <c16:uniqueId val="{000005D5-C623-4FBE-8EDB-4AD12F618AAD}"/>
              </c:ext>
            </c:extLst>
          </c:dPt>
          <c:dPt>
            <c:idx val="746"/>
            <c:invertIfNegative val="1"/>
            <c:bubble3D val="0"/>
            <c:spPr>
              <a:solidFill>
                <a:srgbClr val="AEABAB"/>
              </a:solidFill>
            </c:spPr>
            <c:extLst>
              <c:ext xmlns:c16="http://schemas.microsoft.com/office/drawing/2014/chart" uri="{C3380CC4-5D6E-409C-BE32-E72D297353CC}">
                <c16:uniqueId val="{000005D7-C623-4FBE-8EDB-4AD12F618AAD}"/>
              </c:ext>
            </c:extLst>
          </c:dPt>
          <c:dPt>
            <c:idx val="747"/>
            <c:invertIfNegative val="1"/>
            <c:bubble3D val="0"/>
            <c:spPr>
              <a:solidFill>
                <a:srgbClr val="AEABAB"/>
              </a:solidFill>
            </c:spPr>
            <c:extLst>
              <c:ext xmlns:c16="http://schemas.microsoft.com/office/drawing/2014/chart" uri="{C3380CC4-5D6E-409C-BE32-E72D297353CC}">
                <c16:uniqueId val="{000005D9-C623-4FBE-8EDB-4AD12F618AAD}"/>
              </c:ext>
            </c:extLst>
          </c:dPt>
          <c:dPt>
            <c:idx val="748"/>
            <c:invertIfNegative val="1"/>
            <c:bubble3D val="0"/>
            <c:spPr>
              <a:solidFill>
                <a:srgbClr val="AEABAB"/>
              </a:solidFill>
            </c:spPr>
            <c:extLst>
              <c:ext xmlns:c16="http://schemas.microsoft.com/office/drawing/2014/chart" uri="{C3380CC4-5D6E-409C-BE32-E72D297353CC}">
                <c16:uniqueId val="{000005DB-C623-4FBE-8EDB-4AD12F618AAD}"/>
              </c:ext>
            </c:extLst>
          </c:dPt>
          <c:dPt>
            <c:idx val="749"/>
            <c:invertIfNegative val="1"/>
            <c:bubble3D val="0"/>
            <c:spPr>
              <a:solidFill>
                <a:srgbClr val="AEABAB"/>
              </a:solidFill>
            </c:spPr>
            <c:extLst>
              <c:ext xmlns:c16="http://schemas.microsoft.com/office/drawing/2014/chart" uri="{C3380CC4-5D6E-409C-BE32-E72D297353CC}">
                <c16:uniqueId val="{000005DD-C623-4FBE-8EDB-4AD12F618AAD}"/>
              </c:ext>
            </c:extLst>
          </c:dPt>
          <c:dPt>
            <c:idx val="750"/>
            <c:invertIfNegative val="1"/>
            <c:bubble3D val="0"/>
            <c:spPr>
              <a:solidFill>
                <a:srgbClr val="AEABAB"/>
              </a:solidFill>
            </c:spPr>
            <c:extLst>
              <c:ext xmlns:c16="http://schemas.microsoft.com/office/drawing/2014/chart" uri="{C3380CC4-5D6E-409C-BE32-E72D297353CC}">
                <c16:uniqueId val="{000005DF-C623-4FBE-8EDB-4AD12F618AAD}"/>
              </c:ext>
            </c:extLst>
          </c:dPt>
          <c:dPt>
            <c:idx val="751"/>
            <c:invertIfNegative val="1"/>
            <c:bubble3D val="0"/>
            <c:spPr>
              <a:solidFill>
                <a:srgbClr val="AEABAB"/>
              </a:solidFill>
            </c:spPr>
            <c:extLst>
              <c:ext xmlns:c16="http://schemas.microsoft.com/office/drawing/2014/chart" uri="{C3380CC4-5D6E-409C-BE32-E72D297353CC}">
                <c16:uniqueId val="{000005E1-C623-4FBE-8EDB-4AD12F618AAD}"/>
              </c:ext>
            </c:extLst>
          </c:dPt>
          <c:dPt>
            <c:idx val="752"/>
            <c:invertIfNegative val="1"/>
            <c:bubble3D val="0"/>
            <c:spPr>
              <a:solidFill>
                <a:srgbClr val="AEABAB"/>
              </a:solidFill>
            </c:spPr>
            <c:extLst>
              <c:ext xmlns:c16="http://schemas.microsoft.com/office/drawing/2014/chart" uri="{C3380CC4-5D6E-409C-BE32-E72D297353CC}">
                <c16:uniqueId val="{000005E3-C623-4FBE-8EDB-4AD12F618AAD}"/>
              </c:ext>
            </c:extLst>
          </c:dPt>
          <c:dPt>
            <c:idx val="753"/>
            <c:invertIfNegative val="1"/>
            <c:bubble3D val="0"/>
            <c:spPr>
              <a:solidFill>
                <a:srgbClr val="AEABAB"/>
              </a:solidFill>
            </c:spPr>
            <c:extLst>
              <c:ext xmlns:c16="http://schemas.microsoft.com/office/drawing/2014/chart" uri="{C3380CC4-5D6E-409C-BE32-E72D297353CC}">
                <c16:uniqueId val="{000005E5-C623-4FBE-8EDB-4AD12F618AAD}"/>
              </c:ext>
            </c:extLst>
          </c:dPt>
          <c:dPt>
            <c:idx val="754"/>
            <c:invertIfNegative val="1"/>
            <c:bubble3D val="0"/>
            <c:spPr>
              <a:solidFill>
                <a:srgbClr val="AEABAB"/>
              </a:solidFill>
            </c:spPr>
            <c:extLst>
              <c:ext xmlns:c16="http://schemas.microsoft.com/office/drawing/2014/chart" uri="{C3380CC4-5D6E-409C-BE32-E72D297353CC}">
                <c16:uniqueId val="{000005E7-C623-4FBE-8EDB-4AD12F618AAD}"/>
              </c:ext>
            </c:extLst>
          </c:dPt>
          <c:dPt>
            <c:idx val="755"/>
            <c:invertIfNegative val="1"/>
            <c:bubble3D val="0"/>
            <c:spPr>
              <a:solidFill>
                <a:srgbClr val="AEABAB"/>
              </a:solidFill>
            </c:spPr>
            <c:extLst>
              <c:ext xmlns:c16="http://schemas.microsoft.com/office/drawing/2014/chart" uri="{C3380CC4-5D6E-409C-BE32-E72D297353CC}">
                <c16:uniqueId val="{000005E9-C623-4FBE-8EDB-4AD12F618AAD}"/>
              </c:ext>
            </c:extLst>
          </c:dPt>
          <c:dPt>
            <c:idx val="756"/>
            <c:invertIfNegative val="1"/>
            <c:bubble3D val="0"/>
            <c:spPr>
              <a:solidFill>
                <a:srgbClr val="AEABAB"/>
              </a:solidFill>
            </c:spPr>
            <c:extLst>
              <c:ext xmlns:c16="http://schemas.microsoft.com/office/drawing/2014/chart" uri="{C3380CC4-5D6E-409C-BE32-E72D297353CC}">
                <c16:uniqueId val="{000005EB-C623-4FBE-8EDB-4AD12F618AAD}"/>
              </c:ext>
            </c:extLst>
          </c:dPt>
          <c:dPt>
            <c:idx val="757"/>
            <c:invertIfNegative val="1"/>
            <c:bubble3D val="0"/>
            <c:spPr>
              <a:solidFill>
                <a:srgbClr val="AEABAB"/>
              </a:solidFill>
            </c:spPr>
            <c:extLst>
              <c:ext xmlns:c16="http://schemas.microsoft.com/office/drawing/2014/chart" uri="{C3380CC4-5D6E-409C-BE32-E72D297353CC}">
                <c16:uniqueId val="{000005ED-C623-4FBE-8EDB-4AD12F618AAD}"/>
              </c:ext>
            </c:extLst>
          </c:dPt>
          <c:dPt>
            <c:idx val="758"/>
            <c:invertIfNegative val="1"/>
            <c:bubble3D val="0"/>
            <c:spPr>
              <a:solidFill>
                <a:srgbClr val="AEABAB"/>
              </a:solidFill>
            </c:spPr>
            <c:extLst>
              <c:ext xmlns:c16="http://schemas.microsoft.com/office/drawing/2014/chart" uri="{C3380CC4-5D6E-409C-BE32-E72D297353CC}">
                <c16:uniqueId val="{000005EF-C623-4FBE-8EDB-4AD12F618AAD}"/>
              </c:ext>
            </c:extLst>
          </c:dPt>
          <c:dPt>
            <c:idx val="759"/>
            <c:invertIfNegative val="1"/>
            <c:bubble3D val="0"/>
            <c:spPr>
              <a:solidFill>
                <a:srgbClr val="AEABAB"/>
              </a:solidFill>
            </c:spPr>
            <c:extLst>
              <c:ext xmlns:c16="http://schemas.microsoft.com/office/drawing/2014/chart" uri="{C3380CC4-5D6E-409C-BE32-E72D297353CC}">
                <c16:uniqueId val="{000005F1-C623-4FBE-8EDB-4AD12F618AAD}"/>
              </c:ext>
            </c:extLst>
          </c:dPt>
          <c:dPt>
            <c:idx val="760"/>
            <c:invertIfNegative val="1"/>
            <c:bubble3D val="0"/>
            <c:spPr>
              <a:solidFill>
                <a:srgbClr val="AEABAB"/>
              </a:solidFill>
            </c:spPr>
            <c:extLst>
              <c:ext xmlns:c16="http://schemas.microsoft.com/office/drawing/2014/chart" uri="{C3380CC4-5D6E-409C-BE32-E72D297353CC}">
                <c16:uniqueId val="{000005F3-C623-4FBE-8EDB-4AD12F618AAD}"/>
              </c:ext>
            </c:extLst>
          </c:dPt>
          <c:dPt>
            <c:idx val="761"/>
            <c:invertIfNegative val="1"/>
            <c:bubble3D val="0"/>
            <c:spPr>
              <a:solidFill>
                <a:srgbClr val="AEABAB"/>
              </a:solidFill>
            </c:spPr>
            <c:extLst>
              <c:ext xmlns:c16="http://schemas.microsoft.com/office/drawing/2014/chart" uri="{C3380CC4-5D6E-409C-BE32-E72D297353CC}">
                <c16:uniqueId val="{000005F5-C623-4FBE-8EDB-4AD12F618AAD}"/>
              </c:ext>
            </c:extLst>
          </c:dPt>
          <c:dPt>
            <c:idx val="762"/>
            <c:invertIfNegative val="1"/>
            <c:bubble3D val="0"/>
            <c:spPr>
              <a:solidFill>
                <a:srgbClr val="AEABAB"/>
              </a:solidFill>
            </c:spPr>
            <c:extLst>
              <c:ext xmlns:c16="http://schemas.microsoft.com/office/drawing/2014/chart" uri="{C3380CC4-5D6E-409C-BE32-E72D297353CC}">
                <c16:uniqueId val="{000005F7-C623-4FBE-8EDB-4AD12F618AAD}"/>
              </c:ext>
            </c:extLst>
          </c:dPt>
          <c:dPt>
            <c:idx val="763"/>
            <c:invertIfNegative val="1"/>
            <c:bubble3D val="0"/>
            <c:spPr>
              <a:solidFill>
                <a:srgbClr val="AEABAB"/>
              </a:solidFill>
            </c:spPr>
            <c:extLst>
              <c:ext xmlns:c16="http://schemas.microsoft.com/office/drawing/2014/chart" uri="{C3380CC4-5D6E-409C-BE32-E72D297353CC}">
                <c16:uniqueId val="{000005F9-C623-4FBE-8EDB-4AD12F618AAD}"/>
              </c:ext>
            </c:extLst>
          </c:dPt>
          <c:dPt>
            <c:idx val="764"/>
            <c:invertIfNegative val="1"/>
            <c:bubble3D val="0"/>
            <c:spPr>
              <a:solidFill>
                <a:srgbClr val="AEABAB"/>
              </a:solidFill>
            </c:spPr>
            <c:extLst>
              <c:ext xmlns:c16="http://schemas.microsoft.com/office/drawing/2014/chart" uri="{C3380CC4-5D6E-409C-BE32-E72D297353CC}">
                <c16:uniqueId val="{000005FB-C623-4FBE-8EDB-4AD12F618AAD}"/>
              </c:ext>
            </c:extLst>
          </c:dPt>
          <c:dPt>
            <c:idx val="765"/>
            <c:invertIfNegative val="1"/>
            <c:bubble3D val="0"/>
            <c:spPr>
              <a:solidFill>
                <a:srgbClr val="AEABAB"/>
              </a:solidFill>
            </c:spPr>
            <c:extLst>
              <c:ext xmlns:c16="http://schemas.microsoft.com/office/drawing/2014/chart" uri="{C3380CC4-5D6E-409C-BE32-E72D297353CC}">
                <c16:uniqueId val="{000005FD-C623-4FBE-8EDB-4AD12F618AAD}"/>
              </c:ext>
            </c:extLst>
          </c:dPt>
          <c:dPt>
            <c:idx val="766"/>
            <c:invertIfNegative val="1"/>
            <c:bubble3D val="0"/>
            <c:spPr>
              <a:solidFill>
                <a:srgbClr val="AEABAB"/>
              </a:solidFill>
            </c:spPr>
            <c:extLst>
              <c:ext xmlns:c16="http://schemas.microsoft.com/office/drawing/2014/chart" uri="{C3380CC4-5D6E-409C-BE32-E72D297353CC}">
                <c16:uniqueId val="{000005FF-C623-4FBE-8EDB-4AD12F618AAD}"/>
              </c:ext>
            </c:extLst>
          </c:dPt>
          <c:dPt>
            <c:idx val="767"/>
            <c:invertIfNegative val="1"/>
            <c:bubble3D val="0"/>
            <c:spPr>
              <a:solidFill>
                <a:srgbClr val="AEABAB"/>
              </a:solidFill>
            </c:spPr>
            <c:extLst>
              <c:ext xmlns:c16="http://schemas.microsoft.com/office/drawing/2014/chart" uri="{C3380CC4-5D6E-409C-BE32-E72D297353CC}">
                <c16:uniqueId val="{00000601-C623-4FBE-8EDB-4AD12F618AAD}"/>
              </c:ext>
            </c:extLst>
          </c:dPt>
          <c:dPt>
            <c:idx val="768"/>
            <c:invertIfNegative val="1"/>
            <c:bubble3D val="0"/>
            <c:spPr>
              <a:solidFill>
                <a:srgbClr val="AEABAB"/>
              </a:solidFill>
            </c:spPr>
            <c:extLst>
              <c:ext xmlns:c16="http://schemas.microsoft.com/office/drawing/2014/chart" uri="{C3380CC4-5D6E-409C-BE32-E72D297353CC}">
                <c16:uniqueId val="{00000603-C623-4FBE-8EDB-4AD12F618AAD}"/>
              </c:ext>
            </c:extLst>
          </c:dPt>
          <c:dPt>
            <c:idx val="769"/>
            <c:invertIfNegative val="1"/>
            <c:bubble3D val="0"/>
            <c:spPr>
              <a:solidFill>
                <a:srgbClr val="AEABAB"/>
              </a:solidFill>
            </c:spPr>
            <c:extLst>
              <c:ext xmlns:c16="http://schemas.microsoft.com/office/drawing/2014/chart" uri="{C3380CC4-5D6E-409C-BE32-E72D297353CC}">
                <c16:uniqueId val="{00000605-C623-4FBE-8EDB-4AD12F618AAD}"/>
              </c:ext>
            </c:extLst>
          </c:dPt>
          <c:dPt>
            <c:idx val="770"/>
            <c:invertIfNegative val="1"/>
            <c:bubble3D val="0"/>
            <c:spPr>
              <a:solidFill>
                <a:srgbClr val="AEABAB"/>
              </a:solidFill>
            </c:spPr>
            <c:extLst>
              <c:ext xmlns:c16="http://schemas.microsoft.com/office/drawing/2014/chart" uri="{C3380CC4-5D6E-409C-BE32-E72D297353CC}">
                <c16:uniqueId val="{00000607-C623-4FBE-8EDB-4AD12F618AAD}"/>
              </c:ext>
            </c:extLst>
          </c:dPt>
          <c:dPt>
            <c:idx val="771"/>
            <c:invertIfNegative val="1"/>
            <c:bubble3D val="0"/>
            <c:spPr>
              <a:solidFill>
                <a:srgbClr val="AEABAB"/>
              </a:solidFill>
            </c:spPr>
            <c:extLst>
              <c:ext xmlns:c16="http://schemas.microsoft.com/office/drawing/2014/chart" uri="{C3380CC4-5D6E-409C-BE32-E72D297353CC}">
                <c16:uniqueId val="{00000609-C623-4FBE-8EDB-4AD12F618AAD}"/>
              </c:ext>
            </c:extLst>
          </c:dPt>
          <c:dPt>
            <c:idx val="772"/>
            <c:invertIfNegative val="1"/>
            <c:bubble3D val="0"/>
            <c:spPr>
              <a:solidFill>
                <a:srgbClr val="AEABAB"/>
              </a:solidFill>
            </c:spPr>
            <c:extLst>
              <c:ext xmlns:c16="http://schemas.microsoft.com/office/drawing/2014/chart" uri="{C3380CC4-5D6E-409C-BE32-E72D297353CC}">
                <c16:uniqueId val="{0000060B-C623-4FBE-8EDB-4AD12F618AAD}"/>
              </c:ext>
            </c:extLst>
          </c:dPt>
          <c:dPt>
            <c:idx val="773"/>
            <c:invertIfNegative val="1"/>
            <c:bubble3D val="0"/>
            <c:spPr>
              <a:solidFill>
                <a:srgbClr val="AEABAB"/>
              </a:solidFill>
            </c:spPr>
            <c:extLst>
              <c:ext xmlns:c16="http://schemas.microsoft.com/office/drawing/2014/chart" uri="{C3380CC4-5D6E-409C-BE32-E72D297353CC}">
                <c16:uniqueId val="{0000060D-C623-4FBE-8EDB-4AD12F618AAD}"/>
              </c:ext>
            </c:extLst>
          </c:dPt>
          <c:dPt>
            <c:idx val="774"/>
            <c:invertIfNegative val="1"/>
            <c:bubble3D val="0"/>
            <c:spPr>
              <a:solidFill>
                <a:srgbClr val="AEABAB"/>
              </a:solidFill>
            </c:spPr>
            <c:extLst>
              <c:ext xmlns:c16="http://schemas.microsoft.com/office/drawing/2014/chart" uri="{C3380CC4-5D6E-409C-BE32-E72D297353CC}">
                <c16:uniqueId val="{0000060F-C623-4FBE-8EDB-4AD12F618AAD}"/>
              </c:ext>
            </c:extLst>
          </c:dPt>
          <c:dPt>
            <c:idx val="775"/>
            <c:invertIfNegative val="1"/>
            <c:bubble3D val="0"/>
            <c:spPr>
              <a:solidFill>
                <a:srgbClr val="AEABAB"/>
              </a:solidFill>
            </c:spPr>
            <c:extLst>
              <c:ext xmlns:c16="http://schemas.microsoft.com/office/drawing/2014/chart" uri="{C3380CC4-5D6E-409C-BE32-E72D297353CC}">
                <c16:uniqueId val="{00000611-C623-4FBE-8EDB-4AD12F618AAD}"/>
              </c:ext>
            </c:extLst>
          </c:dPt>
          <c:dPt>
            <c:idx val="776"/>
            <c:invertIfNegative val="1"/>
            <c:bubble3D val="0"/>
            <c:spPr>
              <a:solidFill>
                <a:srgbClr val="AEABAB"/>
              </a:solidFill>
            </c:spPr>
            <c:extLst>
              <c:ext xmlns:c16="http://schemas.microsoft.com/office/drawing/2014/chart" uri="{C3380CC4-5D6E-409C-BE32-E72D297353CC}">
                <c16:uniqueId val="{00000613-C623-4FBE-8EDB-4AD12F618AAD}"/>
              </c:ext>
            </c:extLst>
          </c:dPt>
          <c:dPt>
            <c:idx val="777"/>
            <c:invertIfNegative val="1"/>
            <c:bubble3D val="0"/>
            <c:spPr>
              <a:solidFill>
                <a:srgbClr val="AEABAB"/>
              </a:solidFill>
            </c:spPr>
            <c:extLst>
              <c:ext xmlns:c16="http://schemas.microsoft.com/office/drawing/2014/chart" uri="{C3380CC4-5D6E-409C-BE32-E72D297353CC}">
                <c16:uniqueId val="{00000615-C623-4FBE-8EDB-4AD12F618AAD}"/>
              </c:ext>
            </c:extLst>
          </c:dPt>
          <c:dPt>
            <c:idx val="778"/>
            <c:invertIfNegative val="1"/>
            <c:bubble3D val="0"/>
            <c:spPr>
              <a:solidFill>
                <a:srgbClr val="AEABAB"/>
              </a:solidFill>
            </c:spPr>
            <c:extLst>
              <c:ext xmlns:c16="http://schemas.microsoft.com/office/drawing/2014/chart" uri="{C3380CC4-5D6E-409C-BE32-E72D297353CC}">
                <c16:uniqueId val="{00000617-C623-4FBE-8EDB-4AD12F618AAD}"/>
              </c:ext>
            </c:extLst>
          </c:dPt>
          <c:dPt>
            <c:idx val="779"/>
            <c:invertIfNegative val="1"/>
            <c:bubble3D val="0"/>
            <c:spPr>
              <a:solidFill>
                <a:srgbClr val="AEABAB"/>
              </a:solidFill>
            </c:spPr>
            <c:extLst>
              <c:ext xmlns:c16="http://schemas.microsoft.com/office/drawing/2014/chart" uri="{C3380CC4-5D6E-409C-BE32-E72D297353CC}">
                <c16:uniqueId val="{00000619-C623-4FBE-8EDB-4AD12F618AAD}"/>
              </c:ext>
            </c:extLst>
          </c:dPt>
          <c:dPt>
            <c:idx val="780"/>
            <c:invertIfNegative val="1"/>
            <c:bubble3D val="0"/>
            <c:spPr>
              <a:solidFill>
                <a:srgbClr val="AEABAB"/>
              </a:solidFill>
            </c:spPr>
            <c:extLst>
              <c:ext xmlns:c16="http://schemas.microsoft.com/office/drawing/2014/chart" uri="{C3380CC4-5D6E-409C-BE32-E72D297353CC}">
                <c16:uniqueId val="{0000061B-C623-4FBE-8EDB-4AD12F618AAD}"/>
              </c:ext>
            </c:extLst>
          </c:dPt>
          <c:dPt>
            <c:idx val="781"/>
            <c:invertIfNegative val="1"/>
            <c:bubble3D val="0"/>
            <c:spPr>
              <a:solidFill>
                <a:srgbClr val="AEABAB"/>
              </a:solidFill>
            </c:spPr>
            <c:extLst>
              <c:ext xmlns:c16="http://schemas.microsoft.com/office/drawing/2014/chart" uri="{C3380CC4-5D6E-409C-BE32-E72D297353CC}">
                <c16:uniqueId val="{0000061D-C623-4FBE-8EDB-4AD12F618AAD}"/>
              </c:ext>
            </c:extLst>
          </c:dPt>
          <c:dPt>
            <c:idx val="782"/>
            <c:invertIfNegative val="1"/>
            <c:bubble3D val="0"/>
            <c:spPr>
              <a:solidFill>
                <a:srgbClr val="AEABAB"/>
              </a:solidFill>
            </c:spPr>
            <c:extLst>
              <c:ext xmlns:c16="http://schemas.microsoft.com/office/drawing/2014/chart" uri="{C3380CC4-5D6E-409C-BE32-E72D297353CC}">
                <c16:uniqueId val="{0000061F-C623-4FBE-8EDB-4AD12F618AAD}"/>
              </c:ext>
            </c:extLst>
          </c:dPt>
          <c:dPt>
            <c:idx val="783"/>
            <c:invertIfNegative val="1"/>
            <c:bubble3D val="0"/>
            <c:spPr>
              <a:solidFill>
                <a:srgbClr val="AEABAB"/>
              </a:solidFill>
            </c:spPr>
            <c:extLst>
              <c:ext xmlns:c16="http://schemas.microsoft.com/office/drawing/2014/chart" uri="{C3380CC4-5D6E-409C-BE32-E72D297353CC}">
                <c16:uniqueId val="{00000621-C623-4FBE-8EDB-4AD12F618AAD}"/>
              </c:ext>
            </c:extLst>
          </c:dPt>
          <c:dPt>
            <c:idx val="784"/>
            <c:invertIfNegative val="1"/>
            <c:bubble3D val="0"/>
            <c:spPr>
              <a:solidFill>
                <a:srgbClr val="AEABAB"/>
              </a:solidFill>
            </c:spPr>
            <c:extLst>
              <c:ext xmlns:c16="http://schemas.microsoft.com/office/drawing/2014/chart" uri="{C3380CC4-5D6E-409C-BE32-E72D297353CC}">
                <c16:uniqueId val="{00000623-C623-4FBE-8EDB-4AD12F618AAD}"/>
              </c:ext>
            </c:extLst>
          </c:dPt>
          <c:dPt>
            <c:idx val="785"/>
            <c:invertIfNegative val="1"/>
            <c:bubble3D val="0"/>
            <c:spPr>
              <a:solidFill>
                <a:srgbClr val="AEABAB"/>
              </a:solidFill>
            </c:spPr>
            <c:extLst>
              <c:ext xmlns:c16="http://schemas.microsoft.com/office/drawing/2014/chart" uri="{C3380CC4-5D6E-409C-BE32-E72D297353CC}">
                <c16:uniqueId val="{00000625-C623-4FBE-8EDB-4AD12F618AAD}"/>
              </c:ext>
            </c:extLst>
          </c:dPt>
          <c:dPt>
            <c:idx val="786"/>
            <c:invertIfNegative val="1"/>
            <c:bubble3D val="0"/>
            <c:spPr>
              <a:solidFill>
                <a:srgbClr val="AEABAB"/>
              </a:solidFill>
            </c:spPr>
            <c:extLst>
              <c:ext xmlns:c16="http://schemas.microsoft.com/office/drawing/2014/chart" uri="{C3380CC4-5D6E-409C-BE32-E72D297353CC}">
                <c16:uniqueId val="{00000627-C623-4FBE-8EDB-4AD12F618AAD}"/>
              </c:ext>
            </c:extLst>
          </c:dPt>
          <c:dPt>
            <c:idx val="787"/>
            <c:invertIfNegative val="1"/>
            <c:bubble3D val="0"/>
            <c:spPr>
              <a:solidFill>
                <a:srgbClr val="AEABAB"/>
              </a:solidFill>
            </c:spPr>
            <c:extLst>
              <c:ext xmlns:c16="http://schemas.microsoft.com/office/drawing/2014/chart" uri="{C3380CC4-5D6E-409C-BE32-E72D297353CC}">
                <c16:uniqueId val="{00000629-C623-4FBE-8EDB-4AD12F618AAD}"/>
              </c:ext>
            </c:extLst>
          </c:dPt>
          <c:dPt>
            <c:idx val="788"/>
            <c:invertIfNegative val="1"/>
            <c:bubble3D val="0"/>
            <c:spPr>
              <a:solidFill>
                <a:srgbClr val="AEABAB"/>
              </a:solidFill>
            </c:spPr>
            <c:extLst>
              <c:ext xmlns:c16="http://schemas.microsoft.com/office/drawing/2014/chart" uri="{C3380CC4-5D6E-409C-BE32-E72D297353CC}">
                <c16:uniqueId val="{0000062B-C623-4FBE-8EDB-4AD12F618AAD}"/>
              </c:ext>
            </c:extLst>
          </c:dPt>
          <c:dPt>
            <c:idx val="789"/>
            <c:invertIfNegative val="1"/>
            <c:bubble3D val="0"/>
            <c:spPr>
              <a:solidFill>
                <a:srgbClr val="AEABAB"/>
              </a:solidFill>
            </c:spPr>
            <c:extLst>
              <c:ext xmlns:c16="http://schemas.microsoft.com/office/drawing/2014/chart" uri="{C3380CC4-5D6E-409C-BE32-E72D297353CC}">
                <c16:uniqueId val="{0000062D-C623-4FBE-8EDB-4AD12F618AAD}"/>
              </c:ext>
            </c:extLst>
          </c:dPt>
          <c:dPt>
            <c:idx val="790"/>
            <c:invertIfNegative val="1"/>
            <c:bubble3D val="0"/>
            <c:spPr>
              <a:solidFill>
                <a:srgbClr val="AEABAB"/>
              </a:solidFill>
            </c:spPr>
            <c:extLst>
              <c:ext xmlns:c16="http://schemas.microsoft.com/office/drawing/2014/chart" uri="{C3380CC4-5D6E-409C-BE32-E72D297353CC}">
                <c16:uniqueId val="{0000062F-C623-4FBE-8EDB-4AD12F618AAD}"/>
              </c:ext>
            </c:extLst>
          </c:dPt>
          <c:dPt>
            <c:idx val="791"/>
            <c:invertIfNegative val="1"/>
            <c:bubble3D val="0"/>
            <c:spPr>
              <a:solidFill>
                <a:srgbClr val="AEABAB"/>
              </a:solidFill>
            </c:spPr>
            <c:extLst>
              <c:ext xmlns:c16="http://schemas.microsoft.com/office/drawing/2014/chart" uri="{C3380CC4-5D6E-409C-BE32-E72D297353CC}">
                <c16:uniqueId val="{00000631-C623-4FBE-8EDB-4AD12F618AAD}"/>
              </c:ext>
            </c:extLst>
          </c:dPt>
          <c:dPt>
            <c:idx val="792"/>
            <c:invertIfNegative val="1"/>
            <c:bubble3D val="0"/>
            <c:spPr>
              <a:solidFill>
                <a:srgbClr val="AEABAB"/>
              </a:solidFill>
            </c:spPr>
            <c:extLst>
              <c:ext xmlns:c16="http://schemas.microsoft.com/office/drawing/2014/chart" uri="{C3380CC4-5D6E-409C-BE32-E72D297353CC}">
                <c16:uniqueId val="{00000633-C623-4FBE-8EDB-4AD12F618AAD}"/>
              </c:ext>
            </c:extLst>
          </c:dPt>
          <c:dPt>
            <c:idx val="793"/>
            <c:invertIfNegative val="1"/>
            <c:bubble3D val="0"/>
            <c:spPr>
              <a:solidFill>
                <a:srgbClr val="AEABAB"/>
              </a:solidFill>
            </c:spPr>
            <c:extLst>
              <c:ext xmlns:c16="http://schemas.microsoft.com/office/drawing/2014/chart" uri="{C3380CC4-5D6E-409C-BE32-E72D297353CC}">
                <c16:uniqueId val="{00000635-C623-4FBE-8EDB-4AD12F618AAD}"/>
              </c:ext>
            </c:extLst>
          </c:dPt>
          <c:dPt>
            <c:idx val="794"/>
            <c:invertIfNegative val="1"/>
            <c:bubble3D val="0"/>
            <c:spPr>
              <a:solidFill>
                <a:srgbClr val="AEABAB"/>
              </a:solidFill>
            </c:spPr>
            <c:extLst>
              <c:ext xmlns:c16="http://schemas.microsoft.com/office/drawing/2014/chart" uri="{C3380CC4-5D6E-409C-BE32-E72D297353CC}">
                <c16:uniqueId val="{00000637-C623-4FBE-8EDB-4AD12F618AAD}"/>
              </c:ext>
            </c:extLst>
          </c:dPt>
          <c:dPt>
            <c:idx val="795"/>
            <c:invertIfNegative val="1"/>
            <c:bubble3D val="0"/>
            <c:spPr>
              <a:solidFill>
                <a:srgbClr val="AEABAB"/>
              </a:solidFill>
            </c:spPr>
            <c:extLst>
              <c:ext xmlns:c16="http://schemas.microsoft.com/office/drawing/2014/chart" uri="{C3380CC4-5D6E-409C-BE32-E72D297353CC}">
                <c16:uniqueId val="{00000639-C623-4FBE-8EDB-4AD12F618AAD}"/>
              </c:ext>
            </c:extLst>
          </c:dPt>
          <c:dPt>
            <c:idx val="796"/>
            <c:invertIfNegative val="1"/>
            <c:bubble3D val="0"/>
            <c:spPr>
              <a:solidFill>
                <a:srgbClr val="AEABAB"/>
              </a:solidFill>
            </c:spPr>
            <c:extLst>
              <c:ext xmlns:c16="http://schemas.microsoft.com/office/drawing/2014/chart" uri="{C3380CC4-5D6E-409C-BE32-E72D297353CC}">
                <c16:uniqueId val="{0000063B-C623-4FBE-8EDB-4AD12F618AAD}"/>
              </c:ext>
            </c:extLst>
          </c:dPt>
          <c:dPt>
            <c:idx val="797"/>
            <c:invertIfNegative val="1"/>
            <c:bubble3D val="0"/>
            <c:spPr>
              <a:solidFill>
                <a:srgbClr val="AEABAB"/>
              </a:solidFill>
            </c:spPr>
            <c:extLst>
              <c:ext xmlns:c16="http://schemas.microsoft.com/office/drawing/2014/chart" uri="{C3380CC4-5D6E-409C-BE32-E72D297353CC}">
                <c16:uniqueId val="{0000063D-C623-4FBE-8EDB-4AD12F618AAD}"/>
              </c:ext>
            </c:extLst>
          </c:dPt>
          <c:dPt>
            <c:idx val="798"/>
            <c:invertIfNegative val="1"/>
            <c:bubble3D val="0"/>
            <c:spPr>
              <a:solidFill>
                <a:srgbClr val="AEABAB"/>
              </a:solidFill>
            </c:spPr>
            <c:extLst>
              <c:ext xmlns:c16="http://schemas.microsoft.com/office/drawing/2014/chart" uri="{C3380CC4-5D6E-409C-BE32-E72D297353CC}">
                <c16:uniqueId val="{0000063F-C623-4FBE-8EDB-4AD12F618AAD}"/>
              </c:ext>
            </c:extLst>
          </c:dPt>
          <c:dPt>
            <c:idx val="799"/>
            <c:invertIfNegative val="1"/>
            <c:bubble3D val="0"/>
            <c:spPr>
              <a:solidFill>
                <a:srgbClr val="AEABAB"/>
              </a:solidFill>
            </c:spPr>
            <c:extLst>
              <c:ext xmlns:c16="http://schemas.microsoft.com/office/drawing/2014/chart" uri="{C3380CC4-5D6E-409C-BE32-E72D297353CC}">
                <c16:uniqueId val="{00000641-C623-4FBE-8EDB-4AD12F618AAD}"/>
              </c:ext>
            </c:extLst>
          </c:dPt>
          <c:dPt>
            <c:idx val="800"/>
            <c:invertIfNegative val="1"/>
            <c:bubble3D val="0"/>
            <c:spPr>
              <a:solidFill>
                <a:srgbClr val="AEABAB"/>
              </a:solidFill>
            </c:spPr>
            <c:extLst>
              <c:ext xmlns:c16="http://schemas.microsoft.com/office/drawing/2014/chart" uri="{C3380CC4-5D6E-409C-BE32-E72D297353CC}">
                <c16:uniqueId val="{00000643-C623-4FBE-8EDB-4AD12F618AAD}"/>
              </c:ext>
            </c:extLst>
          </c:dPt>
          <c:dPt>
            <c:idx val="801"/>
            <c:invertIfNegative val="1"/>
            <c:bubble3D val="0"/>
            <c:spPr>
              <a:solidFill>
                <a:srgbClr val="AEABAB"/>
              </a:solidFill>
            </c:spPr>
            <c:extLst>
              <c:ext xmlns:c16="http://schemas.microsoft.com/office/drawing/2014/chart" uri="{C3380CC4-5D6E-409C-BE32-E72D297353CC}">
                <c16:uniqueId val="{00000645-C623-4FBE-8EDB-4AD12F618AAD}"/>
              </c:ext>
            </c:extLst>
          </c:dPt>
          <c:dPt>
            <c:idx val="802"/>
            <c:invertIfNegative val="1"/>
            <c:bubble3D val="0"/>
            <c:spPr>
              <a:solidFill>
                <a:srgbClr val="AEABAB"/>
              </a:solidFill>
            </c:spPr>
            <c:extLst>
              <c:ext xmlns:c16="http://schemas.microsoft.com/office/drawing/2014/chart" uri="{C3380CC4-5D6E-409C-BE32-E72D297353CC}">
                <c16:uniqueId val="{00000647-C623-4FBE-8EDB-4AD12F618AAD}"/>
              </c:ext>
            </c:extLst>
          </c:dPt>
          <c:dPt>
            <c:idx val="803"/>
            <c:invertIfNegative val="1"/>
            <c:bubble3D val="0"/>
            <c:spPr>
              <a:solidFill>
                <a:srgbClr val="AEABAB"/>
              </a:solidFill>
            </c:spPr>
            <c:extLst>
              <c:ext xmlns:c16="http://schemas.microsoft.com/office/drawing/2014/chart" uri="{C3380CC4-5D6E-409C-BE32-E72D297353CC}">
                <c16:uniqueId val="{00000649-C623-4FBE-8EDB-4AD12F618AAD}"/>
              </c:ext>
            </c:extLst>
          </c:dPt>
          <c:dPt>
            <c:idx val="804"/>
            <c:invertIfNegative val="1"/>
            <c:bubble3D val="0"/>
            <c:spPr>
              <a:solidFill>
                <a:srgbClr val="AEABAB"/>
              </a:solidFill>
            </c:spPr>
            <c:extLst>
              <c:ext xmlns:c16="http://schemas.microsoft.com/office/drawing/2014/chart" uri="{C3380CC4-5D6E-409C-BE32-E72D297353CC}">
                <c16:uniqueId val="{0000064B-C623-4FBE-8EDB-4AD12F618AAD}"/>
              </c:ext>
            </c:extLst>
          </c:dPt>
          <c:dPt>
            <c:idx val="805"/>
            <c:invertIfNegative val="1"/>
            <c:bubble3D val="0"/>
            <c:spPr>
              <a:solidFill>
                <a:srgbClr val="AEABAB"/>
              </a:solidFill>
            </c:spPr>
            <c:extLst>
              <c:ext xmlns:c16="http://schemas.microsoft.com/office/drawing/2014/chart" uri="{C3380CC4-5D6E-409C-BE32-E72D297353CC}">
                <c16:uniqueId val="{0000064D-C623-4FBE-8EDB-4AD12F618AAD}"/>
              </c:ext>
            </c:extLst>
          </c:dPt>
          <c:dPt>
            <c:idx val="806"/>
            <c:invertIfNegative val="1"/>
            <c:bubble3D val="0"/>
            <c:spPr>
              <a:solidFill>
                <a:srgbClr val="AEABAB"/>
              </a:solidFill>
            </c:spPr>
            <c:extLst>
              <c:ext xmlns:c16="http://schemas.microsoft.com/office/drawing/2014/chart" uri="{C3380CC4-5D6E-409C-BE32-E72D297353CC}">
                <c16:uniqueId val="{0000064F-C623-4FBE-8EDB-4AD12F618AAD}"/>
              </c:ext>
            </c:extLst>
          </c:dPt>
          <c:dPt>
            <c:idx val="807"/>
            <c:invertIfNegative val="1"/>
            <c:bubble3D val="0"/>
            <c:spPr>
              <a:solidFill>
                <a:srgbClr val="AEABAB"/>
              </a:solidFill>
            </c:spPr>
            <c:extLst>
              <c:ext xmlns:c16="http://schemas.microsoft.com/office/drawing/2014/chart" uri="{C3380CC4-5D6E-409C-BE32-E72D297353CC}">
                <c16:uniqueId val="{00000651-C623-4FBE-8EDB-4AD12F618AAD}"/>
              </c:ext>
            </c:extLst>
          </c:dPt>
          <c:dPt>
            <c:idx val="808"/>
            <c:invertIfNegative val="1"/>
            <c:bubble3D val="0"/>
            <c:spPr>
              <a:solidFill>
                <a:srgbClr val="AEABAB"/>
              </a:solidFill>
            </c:spPr>
            <c:extLst>
              <c:ext xmlns:c16="http://schemas.microsoft.com/office/drawing/2014/chart" uri="{C3380CC4-5D6E-409C-BE32-E72D297353CC}">
                <c16:uniqueId val="{00000653-C623-4FBE-8EDB-4AD12F618AAD}"/>
              </c:ext>
            </c:extLst>
          </c:dPt>
          <c:dPt>
            <c:idx val="809"/>
            <c:invertIfNegative val="1"/>
            <c:bubble3D val="0"/>
            <c:spPr>
              <a:solidFill>
                <a:srgbClr val="AEABAB"/>
              </a:solidFill>
            </c:spPr>
            <c:extLst>
              <c:ext xmlns:c16="http://schemas.microsoft.com/office/drawing/2014/chart" uri="{C3380CC4-5D6E-409C-BE32-E72D297353CC}">
                <c16:uniqueId val="{00000655-C623-4FBE-8EDB-4AD12F618AAD}"/>
              </c:ext>
            </c:extLst>
          </c:dPt>
          <c:dPt>
            <c:idx val="810"/>
            <c:invertIfNegative val="1"/>
            <c:bubble3D val="0"/>
            <c:spPr>
              <a:solidFill>
                <a:srgbClr val="AEABAB"/>
              </a:solidFill>
            </c:spPr>
            <c:extLst>
              <c:ext xmlns:c16="http://schemas.microsoft.com/office/drawing/2014/chart" uri="{C3380CC4-5D6E-409C-BE32-E72D297353CC}">
                <c16:uniqueId val="{00000657-C623-4FBE-8EDB-4AD12F618AAD}"/>
              </c:ext>
            </c:extLst>
          </c:dPt>
          <c:dPt>
            <c:idx val="811"/>
            <c:invertIfNegative val="1"/>
            <c:bubble3D val="0"/>
            <c:spPr>
              <a:solidFill>
                <a:srgbClr val="AEABAB"/>
              </a:solidFill>
            </c:spPr>
            <c:extLst>
              <c:ext xmlns:c16="http://schemas.microsoft.com/office/drawing/2014/chart" uri="{C3380CC4-5D6E-409C-BE32-E72D297353CC}">
                <c16:uniqueId val="{00000659-C623-4FBE-8EDB-4AD12F618AAD}"/>
              </c:ext>
            </c:extLst>
          </c:dPt>
          <c:dPt>
            <c:idx val="812"/>
            <c:invertIfNegative val="1"/>
            <c:bubble3D val="0"/>
            <c:spPr>
              <a:solidFill>
                <a:srgbClr val="AEABAB"/>
              </a:solidFill>
            </c:spPr>
            <c:extLst>
              <c:ext xmlns:c16="http://schemas.microsoft.com/office/drawing/2014/chart" uri="{C3380CC4-5D6E-409C-BE32-E72D297353CC}">
                <c16:uniqueId val="{0000065B-C623-4FBE-8EDB-4AD12F618AAD}"/>
              </c:ext>
            </c:extLst>
          </c:dPt>
          <c:dPt>
            <c:idx val="813"/>
            <c:invertIfNegative val="1"/>
            <c:bubble3D val="0"/>
            <c:spPr>
              <a:solidFill>
                <a:srgbClr val="AEABAB"/>
              </a:solidFill>
            </c:spPr>
            <c:extLst>
              <c:ext xmlns:c16="http://schemas.microsoft.com/office/drawing/2014/chart" uri="{C3380CC4-5D6E-409C-BE32-E72D297353CC}">
                <c16:uniqueId val="{0000065D-C623-4FBE-8EDB-4AD12F618AAD}"/>
              </c:ext>
            </c:extLst>
          </c:dPt>
          <c:dPt>
            <c:idx val="814"/>
            <c:invertIfNegative val="1"/>
            <c:bubble3D val="0"/>
            <c:spPr>
              <a:solidFill>
                <a:srgbClr val="AEABAB"/>
              </a:solidFill>
            </c:spPr>
            <c:extLst>
              <c:ext xmlns:c16="http://schemas.microsoft.com/office/drawing/2014/chart" uri="{C3380CC4-5D6E-409C-BE32-E72D297353CC}">
                <c16:uniqueId val="{0000065F-C623-4FBE-8EDB-4AD12F618AAD}"/>
              </c:ext>
            </c:extLst>
          </c:dPt>
          <c:dPt>
            <c:idx val="815"/>
            <c:invertIfNegative val="1"/>
            <c:bubble3D val="0"/>
            <c:spPr>
              <a:solidFill>
                <a:srgbClr val="AEABAB"/>
              </a:solidFill>
            </c:spPr>
            <c:extLst>
              <c:ext xmlns:c16="http://schemas.microsoft.com/office/drawing/2014/chart" uri="{C3380CC4-5D6E-409C-BE32-E72D297353CC}">
                <c16:uniqueId val="{00000661-C623-4FBE-8EDB-4AD12F618AAD}"/>
              </c:ext>
            </c:extLst>
          </c:dPt>
          <c:dPt>
            <c:idx val="816"/>
            <c:invertIfNegative val="1"/>
            <c:bubble3D val="0"/>
            <c:spPr>
              <a:solidFill>
                <a:srgbClr val="AEABAB"/>
              </a:solidFill>
            </c:spPr>
            <c:extLst>
              <c:ext xmlns:c16="http://schemas.microsoft.com/office/drawing/2014/chart" uri="{C3380CC4-5D6E-409C-BE32-E72D297353CC}">
                <c16:uniqueId val="{00000663-C623-4FBE-8EDB-4AD12F618AAD}"/>
              </c:ext>
            </c:extLst>
          </c:dPt>
          <c:dPt>
            <c:idx val="817"/>
            <c:invertIfNegative val="1"/>
            <c:bubble3D val="0"/>
            <c:spPr>
              <a:solidFill>
                <a:srgbClr val="AEABAB"/>
              </a:solidFill>
            </c:spPr>
            <c:extLst>
              <c:ext xmlns:c16="http://schemas.microsoft.com/office/drawing/2014/chart" uri="{C3380CC4-5D6E-409C-BE32-E72D297353CC}">
                <c16:uniqueId val="{00000665-C623-4FBE-8EDB-4AD12F618AAD}"/>
              </c:ext>
            </c:extLst>
          </c:dPt>
          <c:dPt>
            <c:idx val="818"/>
            <c:invertIfNegative val="1"/>
            <c:bubble3D val="0"/>
            <c:spPr>
              <a:solidFill>
                <a:srgbClr val="AEABAB"/>
              </a:solidFill>
            </c:spPr>
            <c:extLst>
              <c:ext xmlns:c16="http://schemas.microsoft.com/office/drawing/2014/chart" uri="{C3380CC4-5D6E-409C-BE32-E72D297353CC}">
                <c16:uniqueId val="{00000667-C623-4FBE-8EDB-4AD12F618AAD}"/>
              </c:ext>
            </c:extLst>
          </c:dPt>
          <c:dPt>
            <c:idx val="819"/>
            <c:invertIfNegative val="1"/>
            <c:bubble3D val="0"/>
            <c:spPr>
              <a:solidFill>
                <a:srgbClr val="AEABAB"/>
              </a:solidFill>
            </c:spPr>
            <c:extLst>
              <c:ext xmlns:c16="http://schemas.microsoft.com/office/drawing/2014/chart" uri="{C3380CC4-5D6E-409C-BE32-E72D297353CC}">
                <c16:uniqueId val="{00000669-C623-4FBE-8EDB-4AD12F618AAD}"/>
              </c:ext>
            </c:extLst>
          </c:dPt>
          <c:dPt>
            <c:idx val="820"/>
            <c:invertIfNegative val="1"/>
            <c:bubble3D val="0"/>
            <c:spPr>
              <a:solidFill>
                <a:srgbClr val="AEABAB"/>
              </a:solidFill>
            </c:spPr>
            <c:extLst>
              <c:ext xmlns:c16="http://schemas.microsoft.com/office/drawing/2014/chart" uri="{C3380CC4-5D6E-409C-BE32-E72D297353CC}">
                <c16:uniqueId val="{0000066B-C623-4FBE-8EDB-4AD12F618AAD}"/>
              </c:ext>
            </c:extLst>
          </c:dPt>
          <c:dPt>
            <c:idx val="821"/>
            <c:invertIfNegative val="1"/>
            <c:bubble3D val="0"/>
            <c:spPr>
              <a:solidFill>
                <a:srgbClr val="AEABAB"/>
              </a:solidFill>
            </c:spPr>
            <c:extLst>
              <c:ext xmlns:c16="http://schemas.microsoft.com/office/drawing/2014/chart" uri="{C3380CC4-5D6E-409C-BE32-E72D297353CC}">
                <c16:uniqueId val="{0000066D-C623-4FBE-8EDB-4AD12F618AAD}"/>
              </c:ext>
            </c:extLst>
          </c:dPt>
          <c:dPt>
            <c:idx val="822"/>
            <c:invertIfNegative val="1"/>
            <c:bubble3D val="0"/>
            <c:spPr>
              <a:solidFill>
                <a:srgbClr val="AEABAB"/>
              </a:solidFill>
            </c:spPr>
            <c:extLst>
              <c:ext xmlns:c16="http://schemas.microsoft.com/office/drawing/2014/chart" uri="{C3380CC4-5D6E-409C-BE32-E72D297353CC}">
                <c16:uniqueId val="{0000066F-C623-4FBE-8EDB-4AD12F618AAD}"/>
              </c:ext>
            </c:extLst>
          </c:dPt>
          <c:dPt>
            <c:idx val="823"/>
            <c:invertIfNegative val="1"/>
            <c:bubble3D val="0"/>
            <c:spPr>
              <a:solidFill>
                <a:srgbClr val="AEABAB"/>
              </a:solidFill>
            </c:spPr>
            <c:extLst>
              <c:ext xmlns:c16="http://schemas.microsoft.com/office/drawing/2014/chart" uri="{C3380CC4-5D6E-409C-BE32-E72D297353CC}">
                <c16:uniqueId val="{00000671-C623-4FBE-8EDB-4AD12F618AAD}"/>
              </c:ext>
            </c:extLst>
          </c:dPt>
          <c:dPt>
            <c:idx val="824"/>
            <c:invertIfNegative val="1"/>
            <c:bubble3D val="0"/>
            <c:spPr>
              <a:solidFill>
                <a:srgbClr val="AEABAB"/>
              </a:solidFill>
            </c:spPr>
            <c:extLst>
              <c:ext xmlns:c16="http://schemas.microsoft.com/office/drawing/2014/chart" uri="{C3380CC4-5D6E-409C-BE32-E72D297353CC}">
                <c16:uniqueId val="{00000673-C623-4FBE-8EDB-4AD12F618AAD}"/>
              </c:ext>
            </c:extLst>
          </c:dPt>
          <c:dPt>
            <c:idx val="825"/>
            <c:invertIfNegative val="1"/>
            <c:bubble3D val="0"/>
            <c:spPr>
              <a:solidFill>
                <a:srgbClr val="AEABAB"/>
              </a:solidFill>
            </c:spPr>
            <c:extLst>
              <c:ext xmlns:c16="http://schemas.microsoft.com/office/drawing/2014/chart" uri="{C3380CC4-5D6E-409C-BE32-E72D297353CC}">
                <c16:uniqueId val="{00000675-C623-4FBE-8EDB-4AD12F618AAD}"/>
              </c:ext>
            </c:extLst>
          </c:dPt>
          <c:dPt>
            <c:idx val="826"/>
            <c:invertIfNegative val="1"/>
            <c:bubble3D val="0"/>
            <c:spPr>
              <a:solidFill>
                <a:srgbClr val="AEABAB"/>
              </a:solidFill>
            </c:spPr>
            <c:extLst>
              <c:ext xmlns:c16="http://schemas.microsoft.com/office/drawing/2014/chart" uri="{C3380CC4-5D6E-409C-BE32-E72D297353CC}">
                <c16:uniqueId val="{00000677-C623-4FBE-8EDB-4AD12F618AAD}"/>
              </c:ext>
            </c:extLst>
          </c:dPt>
          <c:dPt>
            <c:idx val="827"/>
            <c:invertIfNegative val="1"/>
            <c:bubble3D val="0"/>
            <c:spPr>
              <a:solidFill>
                <a:srgbClr val="AEABAB"/>
              </a:solidFill>
            </c:spPr>
            <c:extLst>
              <c:ext xmlns:c16="http://schemas.microsoft.com/office/drawing/2014/chart" uri="{C3380CC4-5D6E-409C-BE32-E72D297353CC}">
                <c16:uniqueId val="{00000679-C623-4FBE-8EDB-4AD12F618AAD}"/>
              </c:ext>
            </c:extLst>
          </c:dPt>
          <c:dPt>
            <c:idx val="828"/>
            <c:invertIfNegative val="1"/>
            <c:bubble3D val="0"/>
            <c:spPr>
              <a:solidFill>
                <a:srgbClr val="AEABAB"/>
              </a:solidFill>
            </c:spPr>
            <c:extLst>
              <c:ext xmlns:c16="http://schemas.microsoft.com/office/drawing/2014/chart" uri="{C3380CC4-5D6E-409C-BE32-E72D297353CC}">
                <c16:uniqueId val="{0000067B-C623-4FBE-8EDB-4AD12F618AAD}"/>
              </c:ext>
            </c:extLst>
          </c:dPt>
          <c:dPt>
            <c:idx val="829"/>
            <c:invertIfNegative val="1"/>
            <c:bubble3D val="0"/>
            <c:spPr>
              <a:solidFill>
                <a:srgbClr val="AEABAB"/>
              </a:solidFill>
            </c:spPr>
            <c:extLst>
              <c:ext xmlns:c16="http://schemas.microsoft.com/office/drawing/2014/chart" uri="{C3380CC4-5D6E-409C-BE32-E72D297353CC}">
                <c16:uniqueId val="{0000067D-C623-4FBE-8EDB-4AD12F618AAD}"/>
              </c:ext>
            </c:extLst>
          </c:dPt>
          <c:dPt>
            <c:idx val="830"/>
            <c:invertIfNegative val="1"/>
            <c:bubble3D val="0"/>
            <c:spPr>
              <a:solidFill>
                <a:srgbClr val="AEABAB"/>
              </a:solidFill>
            </c:spPr>
            <c:extLst>
              <c:ext xmlns:c16="http://schemas.microsoft.com/office/drawing/2014/chart" uri="{C3380CC4-5D6E-409C-BE32-E72D297353CC}">
                <c16:uniqueId val="{0000067F-C623-4FBE-8EDB-4AD12F618AAD}"/>
              </c:ext>
            </c:extLst>
          </c:dPt>
          <c:dPt>
            <c:idx val="831"/>
            <c:invertIfNegative val="1"/>
            <c:bubble3D val="0"/>
            <c:spPr>
              <a:solidFill>
                <a:srgbClr val="AEABAB"/>
              </a:solidFill>
            </c:spPr>
            <c:extLst>
              <c:ext xmlns:c16="http://schemas.microsoft.com/office/drawing/2014/chart" uri="{C3380CC4-5D6E-409C-BE32-E72D297353CC}">
                <c16:uniqueId val="{00000681-C623-4FBE-8EDB-4AD12F618AAD}"/>
              </c:ext>
            </c:extLst>
          </c:dPt>
          <c:dPt>
            <c:idx val="832"/>
            <c:invertIfNegative val="1"/>
            <c:bubble3D val="0"/>
            <c:spPr>
              <a:solidFill>
                <a:srgbClr val="AEABAB"/>
              </a:solidFill>
            </c:spPr>
            <c:extLst>
              <c:ext xmlns:c16="http://schemas.microsoft.com/office/drawing/2014/chart" uri="{C3380CC4-5D6E-409C-BE32-E72D297353CC}">
                <c16:uniqueId val="{00000683-C623-4FBE-8EDB-4AD12F618AAD}"/>
              </c:ext>
            </c:extLst>
          </c:dPt>
          <c:dPt>
            <c:idx val="833"/>
            <c:invertIfNegative val="1"/>
            <c:bubble3D val="0"/>
            <c:spPr>
              <a:solidFill>
                <a:srgbClr val="AEABAB"/>
              </a:solidFill>
            </c:spPr>
            <c:extLst>
              <c:ext xmlns:c16="http://schemas.microsoft.com/office/drawing/2014/chart" uri="{C3380CC4-5D6E-409C-BE32-E72D297353CC}">
                <c16:uniqueId val="{00000685-C623-4FBE-8EDB-4AD12F618AAD}"/>
              </c:ext>
            </c:extLst>
          </c:dPt>
          <c:dPt>
            <c:idx val="834"/>
            <c:invertIfNegative val="1"/>
            <c:bubble3D val="0"/>
            <c:spPr>
              <a:solidFill>
                <a:srgbClr val="AEABAB"/>
              </a:solidFill>
            </c:spPr>
            <c:extLst>
              <c:ext xmlns:c16="http://schemas.microsoft.com/office/drawing/2014/chart" uri="{C3380CC4-5D6E-409C-BE32-E72D297353CC}">
                <c16:uniqueId val="{00000687-C623-4FBE-8EDB-4AD12F618AAD}"/>
              </c:ext>
            </c:extLst>
          </c:dPt>
          <c:dPt>
            <c:idx val="835"/>
            <c:invertIfNegative val="1"/>
            <c:bubble3D val="0"/>
            <c:spPr>
              <a:solidFill>
                <a:srgbClr val="AEABAB"/>
              </a:solidFill>
            </c:spPr>
            <c:extLst>
              <c:ext xmlns:c16="http://schemas.microsoft.com/office/drawing/2014/chart" uri="{C3380CC4-5D6E-409C-BE32-E72D297353CC}">
                <c16:uniqueId val="{00000689-C623-4FBE-8EDB-4AD12F618AAD}"/>
              </c:ext>
            </c:extLst>
          </c:dPt>
          <c:dPt>
            <c:idx val="836"/>
            <c:invertIfNegative val="1"/>
            <c:bubble3D val="0"/>
            <c:spPr>
              <a:solidFill>
                <a:srgbClr val="AEABAB"/>
              </a:solidFill>
            </c:spPr>
            <c:extLst>
              <c:ext xmlns:c16="http://schemas.microsoft.com/office/drawing/2014/chart" uri="{C3380CC4-5D6E-409C-BE32-E72D297353CC}">
                <c16:uniqueId val="{0000068B-C623-4FBE-8EDB-4AD12F618AAD}"/>
              </c:ext>
            </c:extLst>
          </c:dPt>
          <c:dPt>
            <c:idx val="837"/>
            <c:invertIfNegative val="1"/>
            <c:bubble3D val="0"/>
            <c:spPr>
              <a:solidFill>
                <a:srgbClr val="AEABAB"/>
              </a:solidFill>
            </c:spPr>
            <c:extLst>
              <c:ext xmlns:c16="http://schemas.microsoft.com/office/drawing/2014/chart" uri="{C3380CC4-5D6E-409C-BE32-E72D297353CC}">
                <c16:uniqueId val="{0000068D-C623-4FBE-8EDB-4AD12F618AAD}"/>
              </c:ext>
            </c:extLst>
          </c:dPt>
          <c:dPt>
            <c:idx val="838"/>
            <c:invertIfNegative val="1"/>
            <c:bubble3D val="0"/>
            <c:spPr>
              <a:solidFill>
                <a:srgbClr val="AEABAB"/>
              </a:solidFill>
            </c:spPr>
            <c:extLst>
              <c:ext xmlns:c16="http://schemas.microsoft.com/office/drawing/2014/chart" uri="{C3380CC4-5D6E-409C-BE32-E72D297353CC}">
                <c16:uniqueId val="{0000068F-C623-4FBE-8EDB-4AD12F618AAD}"/>
              </c:ext>
            </c:extLst>
          </c:dPt>
          <c:dPt>
            <c:idx val="839"/>
            <c:invertIfNegative val="1"/>
            <c:bubble3D val="0"/>
            <c:spPr>
              <a:solidFill>
                <a:srgbClr val="AEABAB"/>
              </a:solidFill>
            </c:spPr>
            <c:extLst>
              <c:ext xmlns:c16="http://schemas.microsoft.com/office/drawing/2014/chart" uri="{C3380CC4-5D6E-409C-BE32-E72D297353CC}">
                <c16:uniqueId val="{00000691-C623-4FBE-8EDB-4AD12F618AAD}"/>
              </c:ext>
            </c:extLst>
          </c:dPt>
          <c:dPt>
            <c:idx val="840"/>
            <c:invertIfNegative val="1"/>
            <c:bubble3D val="0"/>
            <c:spPr>
              <a:solidFill>
                <a:srgbClr val="AEABAB"/>
              </a:solidFill>
            </c:spPr>
            <c:extLst>
              <c:ext xmlns:c16="http://schemas.microsoft.com/office/drawing/2014/chart" uri="{C3380CC4-5D6E-409C-BE32-E72D297353CC}">
                <c16:uniqueId val="{00000693-C623-4FBE-8EDB-4AD12F618AAD}"/>
              </c:ext>
            </c:extLst>
          </c:dPt>
          <c:dPt>
            <c:idx val="841"/>
            <c:invertIfNegative val="1"/>
            <c:bubble3D val="0"/>
            <c:spPr>
              <a:solidFill>
                <a:srgbClr val="AEABAB"/>
              </a:solidFill>
            </c:spPr>
            <c:extLst>
              <c:ext xmlns:c16="http://schemas.microsoft.com/office/drawing/2014/chart" uri="{C3380CC4-5D6E-409C-BE32-E72D297353CC}">
                <c16:uniqueId val="{00000695-C623-4FBE-8EDB-4AD12F618AAD}"/>
              </c:ext>
            </c:extLst>
          </c:dPt>
          <c:dPt>
            <c:idx val="842"/>
            <c:invertIfNegative val="1"/>
            <c:bubble3D val="0"/>
            <c:spPr>
              <a:solidFill>
                <a:srgbClr val="AEABAB"/>
              </a:solidFill>
            </c:spPr>
            <c:extLst>
              <c:ext xmlns:c16="http://schemas.microsoft.com/office/drawing/2014/chart" uri="{C3380CC4-5D6E-409C-BE32-E72D297353CC}">
                <c16:uniqueId val="{00000697-C623-4FBE-8EDB-4AD12F618AAD}"/>
              </c:ext>
            </c:extLst>
          </c:dPt>
          <c:dPt>
            <c:idx val="843"/>
            <c:invertIfNegative val="1"/>
            <c:bubble3D val="0"/>
            <c:spPr>
              <a:solidFill>
                <a:srgbClr val="AEABAB"/>
              </a:solidFill>
            </c:spPr>
            <c:extLst>
              <c:ext xmlns:c16="http://schemas.microsoft.com/office/drawing/2014/chart" uri="{C3380CC4-5D6E-409C-BE32-E72D297353CC}">
                <c16:uniqueId val="{00000699-C623-4FBE-8EDB-4AD12F618AAD}"/>
              </c:ext>
            </c:extLst>
          </c:dPt>
          <c:dPt>
            <c:idx val="844"/>
            <c:invertIfNegative val="1"/>
            <c:bubble3D val="0"/>
            <c:spPr>
              <a:solidFill>
                <a:srgbClr val="AEABAB"/>
              </a:solidFill>
            </c:spPr>
            <c:extLst>
              <c:ext xmlns:c16="http://schemas.microsoft.com/office/drawing/2014/chart" uri="{C3380CC4-5D6E-409C-BE32-E72D297353CC}">
                <c16:uniqueId val="{0000069B-C623-4FBE-8EDB-4AD12F618AAD}"/>
              </c:ext>
            </c:extLst>
          </c:dPt>
          <c:dPt>
            <c:idx val="845"/>
            <c:invertIfNegative val="1"/>
            <c:bubble3D val="0"/>
            <c:spPr>
              <a:solidFill>
                <a:srgbClr val="AEABAB"/>
              </a:solidFill>
            </c:spPr>
            <c:extLst>
              <c:ext xmlns:c16="http://schemas.microsoft.com/office/drawing/2014/chart" uri="{C3380CC4-5D6E-409C-BE32-E72D297353CC}">
                <c16:uniqueId val="{0000069D-C623-4FBE-8EDB-4AD12F618AAD}"/>
              </c:ext>
            </c:extLst>
          </c:dPt>
          <c:dPt>
            <c:idx val="846"/>
            <c:invertIfNegative val="1"/>
            <c:bubble3D val="0"/>
            <c:spPr>
              <a:solidFill>
                <a:srgbClr val="AEABAB"/>
              </a:solidFill>
            </c:spPr>
            <c:extLst>
              <c:ext xmlns:c16="http://schemas.microsoft.com/office/drawing/2014/chart" uri="{C3380CC4-5D6E-409C-BE32-E72D297353CC}">
                <c16:uniqueId val="{0000069F-C623-4FBE-8EDB-4AD12F618AAD}"/>
              </c:ext>
            </c:extLst>
          </c:dPt>
          <c:dPt>
            <c:idx val="847"/>
            <c:invertIfNegative val="1"/>
            <c:bubble3D val="0"/>
            <c:spPr>
              <a:solidFill>
                <a:srgbClr val="AEABAB"/>
              </a:solidFill>
            </c:spPr>
            <c:extLst>
              <c:ext xmlns:c16="http://schemas.microsoft.com/office/drawing/2014/chart" uri="{C3380CC4-5D6E-409C-BE32-E72D297353CC}">
                <c16:uniqueId val="{000006A1-C623-4FBE-8EDB-4AD12F618AAD}"/>
              </c:ext>
            </c:extLst>
          </c:dPt>
          <c:dPt>
            <c:idx val="848"/>
            <c:invertIfNegative val="1"/>
            <c:bubble3D val="0"/>
            <c:spPr>
              <a:solidFill>
                <a:srgbClr val="AEABAB"/>
              </a:solidFill>
            </c:spPr>
            <c:extLst>
              <c:ext xmlns:c16="http://schemas.microsoft.com/office/drawing/2014/chart" uri="{C3380CC4-5D6E-409C-BE32-E72D297353CC}">
                <c16:uniqueId val="{000006A3-C623-4FBE-8EDB-4AD12F618AAD}"/>
              </c:ext>
            </c:extLst>
          </c:dPt>
          <c:dPt>
            <c:idx val="849"/>
            <c:invertIfNegative val="1"/>
            <c:bubble3D val="0"/>
            <c:spPr>
              <a:solidFill>
                <a:srgbClr val="AEABAB"/>
              </a:solidFill>
            </c:spPr>
            <c:extLst>
              <c:ext xmlns:c16="http://schemas.microsoft.com/office/drawing/2014/chart" uri="{C3380CC4-5D6E-409C-BE32-E72D297353CC}">
                <c16:uniqueId val="{000006A5-C623-4FBE-8EDB-4AD12F618AAD}"/>
              </c:ext>
            </c:extLst>
          </c:dPt>
          <c:dPt>
            <c:idx val="850"/>
            <c:invertIfNegative val="1"/>
            <c:bubble3D val="0"/>
            <c:spPr>
              <a:solidFill>
                <a:srgbClr val="AEABAB"/>
              </a:solidFill>
            </c:spPr>
            <c:extLst>
              <c:ext xmlns:c16="http://schemas.microsoft.com/office/drawing/2014/chart" uri="{C3380CC4-5D6E-409C-BE32-E72D297353CC}">
                <c16:uniqueId val="{000006A7-C623-4FBE-8EDB-4AD12F618AAD}"/>
              </c:ext>
            </c:extLst>
          </c:dPt>
          <c:dPt>
            <c:idx val="851"/>
            <c:invertIfNegative val="1"/>
            <c:bubble3D val="0"/>
            <c:spPr>
              <a:solidFill>
                <a:srgbClr val="AEABAB"/>
              </a:solidFill>
            </c:spPr>
            <c:extLst>
              <c:ext xmlns:c16="http://schemas.microsoft.com/office/drawing/2014/chart" uri="{C3380CC4-5D6E-409C-BE32-E72D297353CC}">
                <c16:uniqueId val="{000006A9-C623-4FBE-8EDB-4AD12F618AAD}"/>
              </c:ext>
            </c:extLst>
          </c:dPt>
          <c:dPt>
            <c:idx val="852"/>
            <c:invertIfNegative val="1"/>
            <c:bubble3D val="0"/>
            <c:spPr>
              <a:solidFill>
                <a:srgbClr val="AEABAB"/>
              </a:solidFill>
            </c:spPr>
            <c:extLst>
              <c:ext xmlns:c16="http://schemas.microsoft.com/office/drawing/2014/chart" uri="{C3380CC4-5D6E-409C-BE32-E72D297353CC}">
                <c16:uniqueId val="{000006AB-C623-4FBE-8EDB-4AD12F618AAD}"/>
              </c:ext>
            </c:extLst>
          </c:dPt>
          <c:dPt>
            <c:idx val="853"/>
            <c:invertIfNegative val="1"/>
            <c:bubble3D val="0"/>
            <c:spPr>
              <a:solidFill>
                <a:srgbClr val="AEABAB"/>
              </a:solidFill>
            </c:spPr>
            <c:extLst>
              <c:ext xmlns:c16="http://schemas.microsoft.com/office/drawing/2014/chart" uri="{C3380CC4-5D6E-409C-BE32-E72D297353CC}">
                <c16:uniqueId val="{000006AD-C623-4FBE-8EDB-4AD12F618AAD}"/>
              </c:ext>
            </c:extLst>
          </c:dPt>
          <c:dPt>
            <c:idx val="854"/>
            <c:invertIfNegative val="1"/>
            <c:bubble3D val="0"/>
            <c:spPr>
              <a:solidFill>
                <a:srgbClr val="AEABAB"/>
              </a:solidFill>
            </c:spPr>
            <c:extLst>
              <c:ext xmlns:c16="http://schemas.microsoft.com/office/drawing/2014/chart" uri="{C3380CC4-5D6E-409C-BE32-E72D297353CC}">
                <c16:uniqueId val="{000006AF-C623-4FBE-8EDB-4AD12F618AAD}"/>
              </c:ext>
            </c:extLst>
          </c:dPt>
          <c:dPt>
            <c:idx val="855"/>
            <c:invertIfNegative val="1"/>
            <c:bubble3D val="0"/>
            <c:spPr>
              <a:solidFill>
                <a:srgbClr val="AEABAB"/>
              </a:solidFill>
            </c:spPr>
            <c:extLst>
              <c:ext xmlns:c16="http://schemas.microsoft.com/office/drawing/2014/chart" uri="{C3380CC4-5D6E-409C-BE32-E72D297353CC}">
                <c16:uniqueId val="{000006B1-C623-4FBE-8EDB-4AD12F618AAD}"/>
              </c:ext>
            </c:extLst>
          </c:dPt>
          <c:dPt>
            <c:idx val="856"/>
            <c:invertIfNegative val="1"/>
            <c:bubble3D val="0"/>
            <c:spPr>
              <a:solidFill>
                <a:srgbClr val="AEABAB"/>
              </a:solidFill>
            </c:spPr>
            <c:extLst>
              <c:ext xmlns:c16="http://schemas.microsoft.com/office/drawing/2014/chart" uri="{C3380CC4-5D6E-409C-BE32-E72D297353CC}">
                <c16:uniqueId val="{000006B3-C623-4FBE-8EDB-4AD12F618AAD}"/>
              </c:ext>
            </c:extLst>
          </c:dPt>
          <c:dPt>
            <c:idx val="857"/>
            <c:invertIfNegative val="1"/>
            <c:bubble3D val="0"/>
            <c:spPr>
              <a:solidFill>
                <a:srgbClr val="AEABAB"/>
              </a:solidFill>
            </c:spPr>
            <c:extLst>
              <c:ext xmlns:c16="http://schemas.microsoft.com/office/drawing/2014/chart" uri="{C3380CC4-5D6E-409C-BE32-E72D297353CC}">
                <c16:uniqueId val="{000006B5-C623-4FBE-8EDB-4AD12F618AAD}"/>
              </c:ext>
            </c:extLst>
          </c:dPt>
          <c:dPt>
            <c:idx val="858"/>
            <c:invertIfNegative val="1"/>
            <c:bubble3D val="0"/>
            <c:spPr>
              <a:solidFill>
                <a:srgbClr val="AEABAB"/>
              </a:solidFill>
            </c:spPr>
            <c:extLst>
              <c:ext xmlns:c16="http://schemas.microsoft.com/office/drawing/2014/chart" uri="{C3380CC4-5D6E-409C-BE32-E72D297353CC}">
                <c16:uniqueId val="{000006B7-C623-4FBE-8EDB-4AD12F618AAD}"/>
              </c:ext>
            </c:extLst>
          </c:dPt>
          <c:dPt>
            <c:idx val="859"/>
            <c:invertIfNegative val="1"/>
            <c:bubble3D val="0"/>
            <c:spPr>
              <a:solidFill>
                <a:srgbClr val="AEABAB"/>
              </a:solidFill>
            </c:spPr>
            <c:extLst>
              <c:ext xmlns:c16="http://schemas.microsoft.com/office/drawing/2014/chart" uri="{C3380CC4-5D6E-409C-BE32-E72D297353CC}">
                <c16:uniqueId val="{000006B9-C623-4FBE-8EDB-4AD12F618AAD}"/>
              </c:ext>
            </c:extLst>
          </c:dPt>
          <c:dPt>
            <c:idx val="860"/>
            <c:invertIfNegative val="1"/>
            <c:bubble3D val="0"/>
            <c:spPr>
              <a:solidFill>
                <a:srgbClr val="AEABAB"/>
              </a:solidFill>
            </c:spPr>
            <c:extLst>
              <c:ext xmlns:c16="http://schemas.microsoft.com/office/drawing/2014/chart" uri="{C3380CC4-5D6E-409C-BE32-E72D297353CC}">
                <c16:uniqueId val="{000006BB-C623-4FBE-8EDB-4AD12F618AAD}"/>
              </c:ext>
            </c:extLst>
          </c:dPt>
          <c:dPt>
            <c:idx val="861"/>
            <c:invertIfNegative val="1"/>
            <c:bubble3D val="0"/>
            <c:spPr>
              <a:solidFill>
                <a:srgbClr val="AEABAB"/>
              </a:solidFill>
            </c:spPr>
            <c:extLst>
              <c:ext xmlns:c16="http://schemas.microsoft.com/office/drawing/2014/chart" uri="{C3380CC4-5D6E-409C-BE32-E72D297353CC}">
                <c16:uniqueId val="{000006BD-C623-4FBE-8EDB-4AD12F618AAD}"/>
              </c:ext>
            </c:extLst>
          </c:dPt>
          <c:dPt>
            <c:idx val="862"/>
            <c:invertIfNegative val="1"/>
            <c:bubble3D val="0"/>
            <c:spPr>
              <a:solidFill>
                <a:srgbClr val="AEABAB"/>
              </a:solidFill>
            </c:spPr>
            <c:extLst>
              <c:ext xmlns:c16="http://schemas.microsoft.com/office/drawing/2014/chart" uri="{C3380CC4-5D6E-409C-BE32-E72D297353CC}">
                <c16:uniqueId val="{000006BF-C623-4FBE-8EDB-4AD12F618AAD}"/>
              </c:ext>
            </c:extLst>
          </c:dPt>
          <c:dPt>
            <c:idx val="863"/>
            <c:invertIfNegative val="1"/>
            <c:bubble3D val="0"/>
            <c:spPr>
              <a:solidFill>
                <a:srgbClr val="AEABAB"/>
              </a:solidFill>
            </c:spPr>
            <c:extLst>
              <c:ext xmlns:c16="http://schemas.microsoft.com/office/drawing/2014/chart" uri="{C3380CC4-5D6E-409C-BE32-E72D297353CC}">
                <c16:uniqueId val="{000006C1-C623-4FBE-8EDB-4AD12F618AAD}"/>
              </c:ext>
            </c:extLst>
          </c:dPt>
          <c:dPt>
            <c:idx val="864"/>
            <c:invertIfNegative val="1"/>
            <c:bubble3D val="0"/>
            <c:spPr>
              <a:solidFill>
                <a:srgbClr val="AEABAB"/>
              </a:solidFill>
            </c:spPr>
            <c:extLst>
              <c:ext xmlns:c16="http://schemas.microsoft.com/office/drawing/2014/chart" uri="{C3380CC4-5D6E-409C-BE32-E72D297353CC}">
                <c16:uniqueId val="{000006C3-C623-4FBE-8EDB-4AD12F618AAD}"/>
              </c:ext>
            </c:extLst>
          </c:dPt>
          <c:dPt>
            <c:idx val="865"/>
            <c:invertIfNegative val="1"/>
            <c:bubble3D val="0"/>
            <c:spPr>
              <a:solidFill>
                <a:srgbClr val="AEABAB"/>
              </a:solidFill>
            </c:spPr>
            <c:extLst>
              <c:ext xmlns:c16="http://schemas.microsoft.com/office/drawing/2014/chart" uri="{C3380CC4-5D6E-409C-BE32-E72D297353CC}">
                <c16:uniqueId val="{000006C5-C623-4FBE-8EDB-4AD12F618AAD}"/>
              </c:ext>
            </c:extLst>
          </c:dPt>
          <c:dPt>
            <c:idx val="866"/>
            <c:invertIfNegative val="1"/>
            <c:bubble3D val="0"/>
            <c:spPr>
              <a:solidFill>
                <a:srgbClr val="AEABAB"/>
              </a:solidFill>
            </c:spPr>
            <c:extLst>
              <c:ext xmlns:c16="http://schemas.microsoft.com/office/drawing/2014/chart" uri="{C3380CC4-5D6E-409C-BE32-E72D297353CC}">
                <c16:uniqueId val="{000006C7-C623-4FBE-8EDB-4AD12F618AAD}"/>
              </c:ext>
            </c:extLst>
          </c:dPt>
          <c:dPt>
            <c:idx val="867"/>
            <c:invertIfNegative val="1"/>
            <c:bubble3D val="0"/>
            <c:spPr>
              <a:solidFill>
                <a:srgbClr val="AEABAB"/>
              </a:solidFill>
            </c:spPr>
            <c:extLst>
              <c:ext xmlns:c16="http://schemas.microsoft.com/office/drawing/2014/chart" uri="{C3380CC4-5D6E-409C-BE32-E72D297353CC}">
                <c16:uniqueId val="{000006C9-C623-4FBE-8EDB-4AD12F618AAD}"/>
              </c:ext>
            </c:extLst>
          </c:dPt>
          <c:dPt>
            <c:idx val="868"/>
            <c:invertIfNegative val="1"/>
            <c:bubble3D val="0"/>
            <c:spPr>
              <a:solidFill>
                <a:srgbClr val="AEABAB"/>
              </a:solidFill>
            </c:spPr>
            <c:extLst>
              <c:ext xmlns:c16="http://schemas.microsoft.com/office/drawing/2014/chart" uri="{C3380CC4-5D6E-409C-BE32-E72D297353CC}">
                <c16:uniqueId val="{000006CB-C623-4FBE-8EDB-4AD12F618AAD}"/>
              </c:ext>
            </c:extLst>
          </c:dPt>
          <c:dPt>
            <c:idx val="869"/>
            <c:invertIfNegative val="1"/>
            <c:bubble3D val="0"/>
            <c:spPr>
              <a:solidFill>
                <a:srgbClr val="AEABAB"/>
              </a:solidFill>
            </c:spPr>
            <c:extLst>
              <c:ext xmlns:c16="http://schemas.microsoft.com/office/drawing/2014/chart" uri="{C3380CC4-5D6E-409C-BE32-E72D297353CC}">
                <c16:uniqueId val="{000006CD-C623-4FBE-8EDB-4AD12F618AAD}"/>
              </c:ext>
            </c:extLst>
          </c:dPt>
          <c:dPt>
            <c:idx val="870"/>
            <c:invertIfNegative val="1"/>
            <c:bubble3D val="0"/>
            <c:spPr>
              <a:solidFill>
                <a:srgbClr val="AEABAB"/>
              </a:solidFill>
            </c:spPr>
            <c:extLst>
              <c:ext xmlns:c16="http://schemas.microsoft.com/office/drawing/2014/chart" uri="{C3380CC4-5D6E-409C-BE32-E72D297353CC}">
                <c16:uniqueId val="{000006CF-C623-4FBE-8EDB-4AD12F618AAD}"/>
              </c:ext>
            </c:extLst>
          </c:dPt>
          <c:dPt>
            <c:idx val="871"/>
            <c:invertIfNegative val="1"/>
            <c:bubble3D val="0"/>
            <c:spPr>
              <a:solidFill>
                <a:srgbClr val="AEABAB"/>
              </a:solidFill>
            </c:spPr>
            <c:extLst>
              <c:ext xmlns:c16="http://schemas.microsoft.com/office/drawing/2014/chart" uri="{C3380CC4-5D6E-409C-BE32-E72D297353CC}">
                <c16:uniqueId val="{000006D1-C623-4FBE-8EDB-4AD12F618AAD}"/>
              </c:ext>
            </c:extLst>
          </c:dPt>
          <c:dPt>
            <c:idx val="872"/>
            <c:invertIfNegative val="1"/>
            <c:bubble3D val="0"/>
            <c:spPr>
              <a:solidFill>
                <a:srgbClr val="AEABAB"/>
              </a:solidFill>
            </c:spPr>
            <c:extLst>
              <c:ext xmlns:c16="http://schemas.microsoft.com/office/drawing/2014/chart" uri="{C3380CC4-5D6E-409C-BE32-E72D297353CC}">
                <c16:uniqueId val="{000006D3-C623-4FBE-8EDB-4AD12F618AAD}"/>
              </c:ext>
            </c:extLst>
          </c:dPt>
          <c:dPt>
            <c:idx val="873"/>
            <c:invertIfNegative val="1"/>
            <c:bubble3D val="0"/>
            <c:spPr>
              <a:solidFill>
                <a:srgbClr val="AEABAB"/>
              </a:solidFill>
            </c:spPr>
            <c:extLst>
              <c:ext xmlns:c16="http://schemas.microsoft.com/office/drawing/2014/chart" uri="{C3380CC4-5D6E-409C-BE32-E72D297353CC}">
                <c16:uniqueId val="{000006D5-C623-4FBE-8EDB-4AD12F618AAD}"/>
              </c:ext>
            </c:extLst>
          </c:dPt>
          <c:dPt>
            <c:idx val="874"/>
            <c:invertIfNegative val="1"/>
            <c:bubble3D val="0"/>
            <c:spPr>
              <a:solidFill>
                <a:srgbClr val="AEABAB"/>
              </a:solidFill>
            </c:spPr>
            <c:extLst>
              <c:ext xmlns:c16="http://schemas.microsoft.com/office/drawing/2014/chart" uri="{C3380CC4-5D6E-409C-BE32-E72D297353CC}">
                <c16:uniqueId val="{000006D7-C623-4FBE-8EDB-4AD12F618AAD}"/>
              </c:ext>
            </c:extLst>
          </c:dPt>
          <c:dPt>
            <c:idx val="875"/>
            <c:invertIfNegative val="1"/>
            <c:bubble3D val="0"/>
            <c:spPr>
              <a:solidFill>
                <a:srgbClr val="AEABAB"/>
              </a:solidFill>
            </c:spPr>
            <c:extLst>
              <c:ext xmlns:c16="http://schemas.microsoft.com/office/drawing/2014/chart" uri="{C3380CC4-5D6E-409C-BE32-E72D297353CC}">
                <c16:uniqueId val="{000006D9-C623-4FBE-8EDB-4AD12F618AAD}"/>
              </c:ext>
            </c:extLst>
          </c:dPt>
          <c:dPt>
            <c:idx val="876"/>
            <c:invertIfNegative val="1"/>
            <c:bubble3D val="0"/>
            <c:spPr>
              <a:solidFill>
                <a:srgbClr val="AEABAB"/>
              </a:solidFill>
            </c:spPr>
            <c:extLst>
              <c:ext xmlns:c16="http://schemas.microsoft.com/office/drawing/2014/chart" uri="{C3380CC4-5D6E-409C-BE32-E72D297353CC}">
                <c16:uniqueId val="{000006DB-C623-4FBE-8EDB-4AD12F618AAD}"/>
              </c:ext>
            </c:extLst>
          </c:dPt>
          <c:dPt>
            <c:idx val="877"/>
            <c:invertIfNegative val="1"/>
            <c:bubble3D val="0"/>
            <c:spPr>
              <a:solidFill>
                <a:srgbClr val="AEABAB"/>
              </a:solidFill>
            </c:spPr>
            <c:extLst>
              <c:ext xmlns:c16="http://schemas.microsoft.com/office/drawing/2014/chart" uri="{C3380CC4-5D6E-409C-BE32-E72D297353CC}">
                <c16:uniqueId val="{000006DD-C623-4FBE-8EDB-4AD12F618AAD}"/>
              </c:ext>
            </c:extLst>
          </c:dPt>
          <c:dPt>
            <c:idx val="878"/>
            <c:invertIfNegative val="1"/>
            <c:bubble3D val="0"/>
            <c:spPr>
              <a:solidFill>
                <a:srgbClr val="AEABAB"/>
              </a:solidFill>
            </c:spPr>
            <c:extLst>
              <c:ext xmlns:c16="http://schemas.microsoft.com/office/drawing/2014/chart" uri="{C3380CC4-5D6E-409C-BE32-E72D297353CC}">
                <c16:uniqueId val="{000006DF-C623-4FBE-8EDB-4AD12F618AAD}"/>
              </c:ext>
            </c:extLst>
          </c:dPt>
          <c:dPt>
            <c:idx val="879"/>
            <c:invertIfNegative val="1"/>
            <c:bubble3D val="0"/>
            <c:spPr>
              <a:solidFill>
                <a:srgbClr val="AEABAB"/>
              </a:solidFill>
            </c:spPr>
            <c:extLst>
              <c:ext xmlns:c16="http://schemas.microsoft.com/office/drawing/2014/chart" uri="{C3380CC4-5D6E-409C-BE32-E72D297353CC}">
                <c16:uniqueId val="{000006E1-C623-4FBE-8EDB-4AD12F618AAD}"/>
              </c:ext>
            </c:extLst>
          </c:dPt>
          <c:dPt>
            <c:idx val="880"/>
            <c:invertIfNegative val="1"/>
            <c:bubble3D val="0"/>
            <c:spPr>
              <a:solidFill>
                <a:srgbClr val="AEABAB"/>
              </a:solidFill>
            </c:spPr>
            <c:extLst>
              <c:ext xmlns:c16="http://schemas.microsoft.com/office/drawing/2014/chart" uri="{C3380CC4-5D6E-409C-BE32-E72D297353CC}">
                <c16:uniqueId val="{000006E3-C623-4FBE-8EDB-4AD12F618AAD}"/>
              </c:ext>
            </c:extLst>
          </c:dPt>
          <c:dPt>
            <c:idx val="881"/>
            <c:invertIfNegative val="1"/>
            <c:bubble3D val="0"/>
            <c:spPr>
              <a:solidFill>
                <a:srgbClr val="AEABAB"/>
              </a:solidFill>
            </c:spPr>
            <c:extLst>
              <c:ext xmlns:c16="http://schemas.microsoft.com/office/drawing/2014/chart" uri="{C3380CC4-5D6E-409C-BE32-E72D297353CC}">
                <c16:uniqueId val="{000006E5-C623-4FBE-8EDB-4AD12F618AAD}"/>
              </c:ext>
            </c:extLst>
          </c:dPt>
          <c:dPt>
            <c:idx val="882"/>
            <c:invertIfNegative val="1"/>
            <c:bubble3D val="0"/>
            <c:spPr>
              <a:solidFill>
                <a:srgbClr val="AEABAB"/>
              </a:solidFill>
            </c:spPr>
            <c:extLst>
              <c:ext xmlns:c16="http://schemas.microsoft.com/office/drawing/2014/chart" uri="{C3380CC4-5D6E-409C-BE32-E72D297353CC}">
                <c16:uniqueId val="{000006E7-C623-4FBE-8EDB-4AD12F618AAD}"/>
              </c:ext>
            </c:extLst>
          </c:dPt>
          <c:dPt>
            <c:idx val="883"/>
            <c:invertIfNegative val="1"/>
            <c:bubble3D val="0"/>
            <c:spPr>
              <a:solidFill>
                <a:srgbClr val="AEABAB"/>
              </a:solidFill>
            </c:spPr>
            <c:extLst>
              <c:ext xmlns:c16="http://schemas.microsoft.com/office/drawing/2014/chart" uri="{C3380CC4-5D6E-409C-BE32-E72D297353CC}">
                <c16:uniqueId val="{000006E9-C623-4FBE-8EDB-4AD12F618AAD}"/>
              </c:ext>
            </c:extLst>
          </c:dPt>
          <c:dPt>
            <c:idx val="884"/>
            <c:invertIfNegative val="1"/>
            <c:bubble3D val="0"/>
            <c:spPr>
              <a:solidFill>
                <a:srgbClr val="AEABAB"/>
              </a:solidFill>
            </c:spPr>
            <c:extLst>
              <c:ext xmlns:c16="http://schemas.microsoft.com/office/drawing/2014/chart" uri="{C3380CC4-5D6E-409C-BE32-E72D297353CC}">
                <c16:uniqueId val="{000006EB-C623-4FBE-8EDB-4AD12F618AAD}"/>
              </c:ext>
            </c:extLst>
          </c:dPt>
          <c:dPt>
            <c:idx val="885"/>
            <c:invertIfNegative val="1"/>
            <c:bubble3D val="0"/>
            <c:spPr>
              <a:solidFill>
                <a:srgbClr val="AEABAB"/>
              </a:solidFill>
            </c:spPr>
            <c:extLst>
              <c:ext xmlns:c16="http://schemas.microsoft.com/office/drawing/2014/chart" uri="{C3380CC4-5D6E-409C-BE32-E72D297353CC}">
                <c16:uniqueId val="{000006ED-C623-4FBE-8EDB-4AD12F618AAD}"/>
              </c:ext>
            </c:extLst>
          </c:dPt>
          <c:dPt>
            <c:idx val="886"/>
            <c:invertIfNegative val="1"/>
            <c:bubble3D val="0"/>
            <c:spPr>
              <a:solidFill>
                <a:srgbClr val="AEABAB"/>
              </a:solidFill>
            </c:spPr>
            <c:extLst>
              <c:ext xmlns:c16="http://schemas.microsoft.com/office/drawing/2014/chart" uri="{C3380CC4-5D6E-409C-BE32-E72D297353CC}">
                <c16:uniqueId val="{000006EF-C623-4FBE-8EDB-4AD12F618AAD}"/>
              </c:ext>
            </c:extLst>
          </c:dPt>
          <c:dPt>
            <c:idx val="887"/>
            <c:invertIfNegative val="1"/>
            <c:bubble3D val="0"/>
            <c:spPr>
              <a:solidFill>
                <a:srgbClr val="AEABAB"/>
              </a:solidFill>
            </c:spPr>
            <c:extLst>
              <c:ext xmlns:c16="http://schemas.microsoft.com/office/drawing/2014/chart" uri="{C3380CC4-5D6E-409C-BE32-E72D297353CC}">
                <c16:uniqueId val="{000006F1-C623-4FBE-8EDB-4AD12F618AAD}"/>
              </c:ext>
            </c:extLst>
          </c:dPt>
          <c:dPt>
            <c:idx val="888"/>
            <c:invertIfNegative val="1"/>
            <c:bubble3D val="0"/>
            <c:spPr>
              <a:solidFill>
                <a:srgbClr val="AEABAB"/>
              </a:solidFill>
            </c:spPr>
            <c:extLst>
              <c:ext xmlns:c16="http://schemas.microsoft.com/office/drawing/2014/chart" uri="{C3380CC4-5D6E-409C-BE32-E72D297353CC}">
                <c16:uniqueId val="{000006F3-C623-4FBE-8EDB-4AD12F618AAD}"/>
              </c:ext>
            </c:extLst>
          </c:dPt>
          <c:dPt>
            <c:idx val="889"/>
            <c:invertIfNegative val="1"/>
            <c:bubble3D val="0"/>
            <c:spPr>
              <a:solidFill>
                <a:srgbClr val="AEABAB"/>
              </a:solidFill>
            </c:spPr>
            <c:extLst>
              <c:ext xmlns:c16="http://schemas.microsoft.com/office/drawing/2014/chart" uri="{C3380CC4-5D6E-409C-BE32-E72D297353CC}">
                <c16:uniqueId val="{000006F5-C623-4FBE-8EDB-4AD12F618AAD}"/>
              </c:ext>
            </c:extLst>
          </c:dPt>
          <c:dPt>
            <c:idx val="890"/>
            <c:invertIfNegative val="1"/>
            <c:bubble3D val="0"/>
            <c:spPr>
              <a:solidFill>
                <a:srgbClr val="AEABAB"/>
              </a:solidFill>
            </c:spPr>
            <c:extLst>
              <c:ext xmlns:c16="http://schemas.microsoft.com/office/drawing/2014/chart" uri="{C3380CC4-5D6E-409C-BE32-E72D297353CC}">
                <c16:uniqueId val="{000006F7-C623-4FBE-8EDB-4AD12F618AAD}"/>
              </c:ext>
            </c:extLst>
          </c:dPt>
          <c:dPt>
            <c:idx val="891"/>
            <c:invertIfNegative val="1"/>
            <c:bubble3D val="0"/>
            <c:spPr>
              <a:solidFill>
                <a:srgbClr val="AEABAB"/>
              </a:solidFill>
            </c:spPr>
            <c:extLst>
              <c:ext xmlns:c16="http://schemas.microsoft.com/office/drawing/2014/chart" uri="{C3380CC4-5D6E-409C-BE32-E72D297353CC}">
                <c16:uniqueId val="{000006F9-C623-4FBE-8EDB-4AD12F618AAD}"/>
              </c:ext>
            </c:extLst>
          </c:dPt>
          <c:dPt>
            <c:idx val="892"/>
            <c:invertIfNegative val="1"/>
            <c:bubble3D val="0"/>
            <c:spPr>
              <a:solidFill>
                <a:srgbClr val="AEABAB"/>
              </a:solidFill>
            </c:spPr>
            <c:extLst>
              <c:ext xmlns:c16="http://schemas.microsoft.com/office/drawing/2014/chart" uri="{C3380CC4-5D6E-409C-BE32-E72D297353CC}">
                <c16:uniqueId val="{000006FB-C623-4FBE-8EDB-4AD12F618AAD}"/>
              </c:ext>
            </c:extLst>
          </c:dPt>
          <c:dPt>
            <c:idx val="893"/>
            <c:invertIfNegative val="1"/>
            <c:bubble3D val="0"/>
            <c:spPr>
              <a:solidFill>
                <a:srgbClr val="AEABAB"/>
              </a:solidFill>
            </c:spPr>
            <c:extLst>
              <c:ext xmlns:c16="http://schemas.microsoft.com/office/drawing/2014/chart" uri="{C3380CC4-5D6E-409C-BE32-E72D297353CC}">
                <c16:uniqueId val="{000006FD-C623-4FBE-8EDB-4AD12F618AAD}"/>
              </c:ext>
            </c:extLst>
          </c:dPt>
          <c:dPt>
            <c:idx val="894"/>
            <c:invertIfNegative val="1"/>
            <c:bubble3D val="0"/>
            <c:spPr>
              <a:solidFill>
                <a:srgbClr val="AEABAB"/>
              </a:solidFill>
            </c:spPr>
            <c:extLst>
              <c:ext xmlns:c16="http://schemas.microsoft.com/office/drawing/2014/chart" uri="{C3380CC4-5D6E-409C-BE32-E72D297353CC}">
                <c16:uniqueId val="{000006FF-C623-4FBE-8EDB-4AD12F618AAD}"/>
              </c:ext>
            </c:extLst>
          </c:dPt>
          <c:dPt>
            <c:idx val="895"/>
            <c:invertIfNegative val="1"/>
            <c:bubble3D val="0"/>
            <c:spPr>
              <a:solidFill>
                <a:srgbClr val="AEABAB"/>
              </a:solidFill>
            </c:spPr>
            <c:extLst>
              <c:ext xmlns:c16="http://schemas.microsoft.com/office/drawing/2014/chart" uri="{C3380CC4-5D6E-409C-BE32-E72D297353CC}">
                <c16:uniqueId val="{00000701-C623-4FBE-8EDB-4AD12F618AAD}"/>
              </c:ext>
            </c:extLst>
          </c:dPt>
          <c:dPt>
            <c:idx val="896"/>
            <c:invertIfNegative val="1"/>
            <c:bubble3D val="0"/>
            <c:spPr>
              <a:solidFill>
                <a:srgbClr val="AEABAB"/>
              </a:solidFill>
            </c:spPr>
            <c:extLst>
              <c:ext xmlns:c16="http://schemas.microsoft.com/office/drawing/2014/chart" uri="{C3380CC4-5D6E-409C-BE32-E72D297353CC}">
                <c16:uniqueId val="{00000703-C623-4FBE-8EDB-4AD12F618AAD}"/>
              </c:ext>
            </c:extLst>
          </c:dPt>
          <c:dPt>
            <c:idx val="897"/>
            <c:invertIfNegative val="1"/>
            <c:bubble3D val="0"/>
            <c:spPr>
              <a:solidFill>
                <a:srgbClr val="AEABAB"/>
              </a:solidFill>
            </c:spPr>
            <c:extLst>
              <c:ext xmlns:c16="http://schemas.microsoft.com/office/drawing/2014/chart" uri="{C3380CC4-5D6E-409C-BE32-E72D297353CC}">
                <c16:uniqueId val="{00000705-C623-4FBE-8EDB-4AD12F618AAD}"/>
              </c:ext>
            </c:extLst>
          </c:dPt>
          <c:dPt>
            <c:idx val="898"/>
            <c:invertIfNegative val="1"/>
            <c:bubble3D val="0"/>
            <c:spPr>
              <a:solidFill>
                <a:srgbClr val="AEABAB"/>
              </a:solidFill>
            </c:spPr>
            <c:extLst>
              <c:ext xmlns:c16="http://schemas.microsoft.com/office/drawing/2014/chart" uri="{C3380CC4-5D6E-409C-BE32-E72D297353CC}">
                <c16:uniqueId val="{00000707-C623-4FBE-8EDB-4AD12F618AAD}"/>
              </c:ext>
            </c:extLst>
          </c:dPt>
          <c:dPt>
            <c:idx val="899"/>
            <c:invertIfNegative val="1"/>
            <c:bubble3D val="0"/>
            <c:spPr>
              <a:solidFill>
                <a:srgbClr val="AEABAB"/>
              </a:solidFill>
            </c:spPr>
            <c:extLst>
              <c:ext xmlns:c16="http://schemas.microsoft.com/office/drawing/2014/chart" uri="{C3380CC4-5D6E-409C-BE32-E72D297353CC}">
                <c16:uniqueId val="{00000709-C623-4FBE-8EDB-4AD12F618AAD}"/>
              </c:ext>
            </c:extLst>
          </c:dPt>
          <c:dPt>
            <c:idx val="900"/>
            <c:invertIfNegative val="1"/>
            <c:bubble3D val="0"/>
            <c:spPr>
              <a:solidFill>
                <a:srgbClr val="AEABAB"/>
              </a:solidFill>
            </c:spPr>
            <c:extLst>
              <c:ext xmlns:c16="http://schemas.microsoft.com/office/drawing/2014/chart" uri="{C3380CC4-5D6E-409C-BE32-E72D297353CC}">
                <c16:uniqueId val="{0000070B-C623-4FBE-8EDB-4AD12F618AAD}"/>
              </c:ext>
            </c:extLst>
          </c:dPt>
          <c:dPt>
            <c:idx val="901"/>
            <c:invertIfNegative val="1"/>
            <c:bubble3D val="0"/>
            <c:spPr>
              <a:solidFill>
                <a:srgbClr val="AEABAB"/>
              </a:solidFill>
            </c:spPr>
            <c:extLst>
              <c:ext xmlns:c16="http://schemas.microsoft.com/office/drawing/2014/chart" uri="{C3380CC4-5D6E-409C-BE32-E72D297353CC}">
                <c16:uniqueId val="{0000070D-C623-4FBE-8EDB-4AD12F618AAD}"/>
              </c:ext>
            </c:extLst>
          </c:dPt>
          <c:dPt>
            <c:idx val="902"/>
            <c:invertIfNegative val="1"/>
            <c:bubble3D val="0"/>
            <c:spPr>
              <a:solidFill>
                <a:srgbClr val="AEABAB"/>
              </a:solidFill>
            </c:spPr>
            <c:extLst>
              <c:ext xmlns:c16="http://schemas.microsoft.com/office/drawing/2014/chart" uri="{C3380CC4-5D6E-409C-BE32-E72D297353CC}">
                <c16:uniqueId val="{0000070F-C623-4FBE-8EDB-4AD12F618AAD}"/>
              </c:ext>
            </c:extLst>
          </c:dPt>
          <c:dPt>
            <c:idx val="903"/>
            <c:invertIfNegative val="1"/>
            <c:bubble3D val="0"/>
            <c:spPr>
              <a:solidFill>
                <a:srgbClr val="AEABAB"/>
              </a:solidFill>
            </c:spPr>
            <c:extLst>
              <c:ext xmlns:c16="http://schemas.microsoft.com/office/drawing/2014/chart" uri="{C3380CC4-5D6E-409C-BE32-E72D297353CC}">
                <c16:uniqueId val="{00000711-C623-4FBE-8EDB-4AD12F618AAD}"/>
              </c:ext>
            </c:extLst>
          </c:dPt>
          <c:dPt>
            <c:idx val="904"/>
            <c:invertIfNegative val="1"/>
            <c:bubble3D val="0"/>
            <c:spPr>
              <a:solidFill>
                <a:srgbClr val="AEABAB"/>
              </a:solidFill>
            </c:spPr>
            <c:extLst>
              <c:ext xmlns:c16="http://schemas.microsoft.com/office/drawing/2014/chart" uri="{C3380CC4-5D6E-409C-BE32-E72D297353CC}">
                <c16:uniqueId val="{00000713-C623-4FBE-8EDB-4AD12F618AAD}"/>
              </c:ext>
            </c:extLst>
          </c:dPt>
          <c:dPt>
            <c:idx val="905"/>
            <c:invertIfNegative val="1"/>
            <c:bubble3D val="0"/>
            <c:spPr>
              <a:solidFill>
                <a:srgbClr val="AEABAB"/>
              </a:solidFill>
            </c:spPr>
            <c:extLst>
              <c:ext xmlns:c16="http://schemas.microsoft.com/office/drawing/2014/chart" uri="{C3380CC4-5D6E-409C-BE32-E72D297353CC}">
                <c16:uniqueId val="{00000715-C623-4FBE-8EDB-4AD12F618AAD}"/>
              </c:ext>
            </c:extLst>
          </c:dPt>
          <c:dPt>
            <c:idx val="906"/>
            <c:invertIfNegative val="1"/>
            <c:bubble3D val="0"/>
            <c:spPr>
              <a:solidFill>
                <a:srgbClr val="AEABAB"/>
              </a:solidFill>
            </c:spPr>
            <c:extLst>
              <c:ext xmlns:c16="http://schemas.microsoft.com/office/drawing/2014/chart" uri="{C3380CC4-5D6E-409C-BE32-E72D297353CC}">
                <c16:uniqueId val="{00000717-C623-4FBE-8EDB-4AD12F618AAD}"/>
              </c:ext>
            </c:extLst>
          </c:dPt>
          <c:dPt>
            <c:idx val="907"/>
            <c:invertIfNegative val="1"/>
            <c:bubble3D val="0"/>
            <c:spPr>
              <a:solidFill>
                <a:srgbClr val="AEABAB"/>
              </a:solidFill>
            </c:spPr>
            <c:extLst>
              <c:ext xmlns:c16="http://schemas.microsoft.com/office/drawing/2014/chart" uri="{C3380CC4-5D6E-409C-BE32-E72D297353CC}">
                <c16:uniqueId val="{00000719-C623-4FBE-8EDB-4AD12F618AAD}"/>
              </c:ext>
            </c:extLst>
          </c:dPt>
          <c:dPt>
            <c:idx val="908"/>
            <c:invertIfNegative val="1"/>
            <c:bubble3D val="0"/>
            <c:spPr>
              <a:solidFill>
                <a:srgbClr val="AEABAB"/>
              </a:solidFill>
            </c:spPr>
            <c:extLst>
              <c:ext xmlns:c16="http://schemas.microsoft.com/office/drawing/2014/chart" uri="{C3380CC4-5D6E-409C-BE32-E72D297353CC}">
                <c16:uniqueId val="{0000071B-C623-4FBE-8EDB-4AD12F618AAD}"/>
              </c:ext>
            </c:extLst>
          </c:dPt>
          <c:dPt>
            <c:idx val="909"/>
            <c:invertIfNegative val="1"/>
            <c:bubble3D val="0"/>
            <c:spPr>
              <a:solidFill>
                <a:srgbClr val="AEABAB"/>
              </a:solidFill>
            </c:spPr>
            <c:extLst>
              <c:ext xmlns:c16="http://schemas.microsoft.com/office/drawing/2014/chart" uri="{C3380CC4-5D6E-409C-BE32-E72D297353CC}">
                <c16:uniqueId val="{0000071D-C623-4FBE-8EDB-4AD12F618AAD}"/>
              </c:ext>
            </c:extLst>
          </c:dPt>
          <c:dPt>
            <c:idx val="910"/>
            <c:invertIfNegative val="1"/>
            <c:bubble3D val="0"/>
            <c:spPr>
              <a:solidFill>
                <a:srgbClr val="AEABAB"/>
              </a:solidFill>
            </c:spPr>
            <c:extLst>
              <c:ext xmlns:c16="http://schemas.microsoft.com/office/drawing/2014/chart" uri="{C3380CC4-5D6E-409C-BE32-E72D297353CC}">
                <c16:uniqueId val="{0000071F-C623-4FBE-8EDB-4AD12F618AAD}"/>
              </c:ext>
            </c:extLst>
          </c:dPt>
          <c:dPt>
            <c:idx val="911"/>
            <c:invertIfNegative val="1"/>
            <c:bubble3D val="0"/>
            <c:spPr>
              <a:solidFill>
                <a:srgbClr val="AEABAB"/>
              </a:solidFill>
            </c:spPr>
            <c:extLst>
              <c:ext xmlns:c16="http://schemas.microsoft.com/office/drawing/2014/chart" uri="{C3380CC4-5D6E-409C-BE32-E72D297353CC}">
                <c16:uniqueId val="{00000721-C623-4FBE-8EDB-4AD12F618AAD}"/>
              </c:ext>
            </c:extLst>
          </c:dPt>
          <c:dPt>
            <c:idx val="912"/>
            <c:invertIfNegative val="1"/>
            <c:bubble3D val="0"/>
            <c:spPr>
              <a:solidFill>
                <a:srgbClr val="AEABAB"/>
              </a:solidFill>
            </c:spPr>
            <c:extLst>
              <c:ext xmlns:c16="http://schemas.microsoft.com/office/drawing/2014/chart" uri="{C3380CC4-5D6E-409C-BE32-E72D297353CC}">
                <c16:uniqueId val="{00000723-C623-4FBE-8EDB-4AD12F618AAD}"/>
              </c:ext>
            </c:extLst>
          </c:dPt>
          <c:dPt>
            <c:idx val="913"/>
            <c:invertIfNegative val="1"/>
            <c:bubble3D val="0"/>
            <c:spPr>
              <a:solidFill>
                <a:srgbClr val="AEABAB"/>
              </a:solidFill>
            </c:spPr>
            <c:extLst>
              <c:ext xmlns:c16="http://schemas.microsoft.com/office/drawing/2014/chart" uri="{C3380CC4-5D6E-409C-BE32-E72D297353CC}">
                <c16:uniqueId val="{00000725-C623-4FBE-8EDB-4AD12F618AAD}"/>
              </c:ext>
            </c:extLst>
          </c:dPt>
          <c:dPt>
            <c:idx val="914"/>
            <c:invertIfNegative val="1"/>
            <c:bubble3D val="0"/>
            <c:spPr>
              <a:solidFill>
                <a:srgbClr val="AEABAB"/>
              </a:solidFill>
            </c:spPr>
            <c:extLst>
              <c:ext xmlns:c16="http://schemas.microsoft.com/office/drawing/2014/chart" uri="{C3380CC4-5D6E-409C-BE32-E72D297353CC}">
                <c16:uniqueId val="{00000727-C623-4FBE-8EDB-4AD12F618AAD}"/>
              </c:ext>
            </c:extLst>
          </c:dPt>
          <c:dPt>
            <c:idx val="915"/>
            <c:invertIfNegative val="1"/>
            <c:bubble3D val="0"/>
            <c:spPr>
              <a:solidFill>
                <a:srgbClr val="AEABAB"/>
              </a:solidFill>
            </c:spPr>
            <c:extLst>
              <c:ext xmlns:c16="http://schemas.microsoft.com/office/drawing/2014/chart" uri="{C3380CC4-5D6E-409C-BE32-E72D297353CC}">
                <c16:uniqueId val="{00000729-C623-4FBE-8EDB-4AD12F618AAD}"/>
              </c:ext>
            </c:extLst>
          </c:dPt>
          <c:dPt>
            <c:idx val="916"/>
            <c:invertIfNegative val="1"/>
            <c:bubble3D val="0"/>
            <c:spPr>
              <a:solidFill>
                <a:srgbClr val="AEABAB"/>
              </a:solidFill>
            </c:spPr>
            <c:extLst>
              <c:ext xmlns:c16="http://schemas.microsoft.com/office/drawing/2014/chart" uri="{C3380CC4-5D6E-409C-BE32-E72D297353CC}">
                <c16:uniqueId val="{0000072B-C623-4FBE-8EDB-4AD12F618AAD}"/>
              </c:ext>
            </c:extLst>
          </c:dPt>
          <c:dPt>
            <c:idx val="917"/>
            <c:invertIfNegative val="1"/>
            <c:bubble3D val="0"/>
            <c:spPr>
              <a:solidFill>
                <a:srgbClr val="AEABAB"/>
              </a:solidFill>
            </c:spPr>
            <c:extLst>
              <c:ext xmlns:c16="http://schemas.microsoft.com/office/drawing/2014/chart" uri="{C3380CC4-5D6E-409C-BE32-E72D297353CC}">
                <c16:uniqueId val="{0000072D-C623-4FBE-8EDB-4AD12F618AAD}"/>
              </c:ext>
            </c:extLst>
          </c:dPt>
          <c:dPt>
            <c:idx val="918"/>
            <c:invertIfNegative val="1"/>
            <c:bubble3D val="0"/>
            <c:spPr>
              <a:solidFill>
                <a:srgbClr val="AEABAB"/>
              </a:solidFill>
            </c:spPr>
            <c:extLst>
              <c:ext xmlns:c16="http://schemas.microsoft.com/office/drawing/2014/chart" uri="{C3380CC4-5D6E-409C-BE32-E72D297353CC}">
                <c16:uniqueId val="{0000072F-C623-4FBE-8EDB-4AD12F618AAD}"/>
              </c:ext>
            </c:extLst>
          </c:dPt>
          <c:dPt>
            <c:idx val="919"/>
            <c:invertIfNegative val="1"/>
            <c:bubble3D val="0"/>
            <c:spPr>
              <a:solidFill>
                <a:srgbClr val="AEABAB"/>
              </a:solidFill>
            </c:spPr>
            <c:extLst>
              <c:ext xmlns:c16="http://schemas.microsoft.com/office/drawing/2014/chart" uri="{C3380CC4-5D6E-409C-BE32-E72D297353CC}">
                <c16:uniqueId val="{00000731-C623-4FBE-8EDB-4AD12F618AAD}"/>
              </c:ext>
            </c:extLst>
          </c:dPt>
          <c:dPt>
            <c:idx val="920"/>
            <c:invertIfNegative val="1"/>
            <c:bubble3D val="0"/>
            <c:spPr>
              <a:solidFill>
                <a:srgbClr val="AEABAB"/>
              </a:solidFill>
            </c:spPr>
            <c:extLst>
              <c:ext xmlns:c16="http://schemas.microsoft.com/office/drawing/2014/chart" uri="{C3380CC4-5D6E-409C-BE32-E72D297353CC}">
                <c16:uniqueId val="{00000733-C623-4FBE-8EDB-4AD12F618AAD}"/>
              </c:ext>
            </c:extLst>
          </c:dPt>
          <c:dPt>
            <c:idx val="921"/>
            <c:invertIfNegative val="1"/>
            <c:bubble3D val="0"/>
            <c:spPr>
              <a:solidFill>
                <a:srgbClr val="AEABAB"/>
              </a:solidFill>
            </c:spPr>
            <c:extLst>
              <c:ext xmlns:c16="http://schemas.microsoft.com/office/drawing/2014/chart" uri="{C3380CC4-5D6E-409C-BE32-E72D297353CC}">
                <c16:uniqueId val="{00000735-C623-4FBE-8EDB-4AD12F618AAD}"/>
              </c:ext>
            </c:extLst>
          </c:dPt>
          <c:dPt>
            <c:idx val="922"/>
            <c:invertIfNegative val="1"/>
            <c:bubble3D val="0"/>
            <c:spPr>
              <a:solidFill>
                <a:srgbClr val="AEABAB"/>
              </a:solidFill>
            </c:spPr>
            <c:extLst>
              <c:ext xmlns:c16="http://schemas.microsoft.com/office/drawing/2014/chart" uri="{C3380CC4-5D6E-409C-BE32-E72D297353CC}">
                <c16:uniqueId val="{00000737-C623-4FBE-8EDB-4AD12F618AAD}"/>
              </c:ext>
            </c:extLst>
          </c:dPt>
          <c:dPt>
            <c:idx val="923"/>
            <c:invertIfNegative val="1"/>
            <c:bubble3D val="0"/>
            <c:spPr>
              <a:solidFill>
                <a:srgbClr val="AEABAB"/>
              </a:solidFill>
            </c:spPr>
            <c:extLst>
              <c:ext xmlns:c16="http://schemas.microsoft.com/office/drawing/2014/chart" uri="{C3380CC4-5D6E-409C-BE32-E72D297353CC}">
                <c16:uniqueId val="{00000739-C623-4FBE-8EDB-4AD12F618AAD}"/>
              </c:ext>
            </c:extLst>
          </c:dPt>
          <c:dPt>
            <c:idx val="924"/>
            <c:invertIfNegative val="1"/>
            <c:bubble3D val="0"/>
            <c:spPr>
              <a:solidFill>
                <a:srgbClr val="AEABAB"/>
              </a:solidFill>
            </c:spPr>
            <c:extLst>
              <c:ext xmlns:c16="http://schemas.microsoft.com/office/drawing/2014/chart" uri="{C3380CC4-5D6E-409C-BE32-E72D297353CC}">
                <c16:uniqueId val="{0000073B-C623-4FBE-8EDB-4AD12F618AAD}"/>
              </c:ext>
            </c:extLst>
          </c:dPt>
          <c:dPt>
            <c:idx val="925"/>
            <c:invertIfNegative val="1"/>
            <c:bubble3D val="0"/>
            <c:spPr>
              <a:solidFill>
                <a:srgbClr val="AEABAB"/>
              </a:solidFill>
            </c:spPr>
            <c:extLst>
              <c:ext xmlns:c16="http://schemas.microsoft.com/office/drawing/2014/chart" uri="{C3380CC4-5D6E-409C-BE32-E72D297353CC}">
                <c16:uniqueId val="{0000073D-C623-4FBE-8EDB-4AD12F618AAD}"/>
              </c:ext>
            </c:extLst>
          </c:dPt>
          <c:dPt>
            <c:idx val="926"/>
            <c:invertIfNegative val="1"/>
            <c:bubble3D val="0"/>
            <c:spPr>
              <a:solidFill>
                <a:srgbClr val="AEABAB"/>
              </a:solidFill>
            </c:spPr>
            <c:extLst>
              <c:ext xmlns:c16="http://schemas.microsoft.com/office/drawing/2014/chart" uri="{C3380CC4-5D6E-409C-BE32-E72D297353CC}">
                <c16:uniqueId val="{0000073F-C623-4FBE-8EDB-4AD12F618AAD}"/>
              </c:ext>
            </c:extLst>
          </c:dPt>
          <c:dPt>
            <c:idx val="927"/>
            <c:invertIfNegative val="1"/>
            <c:bubble3D val="0"/>
            <c:spPr>
              <a:solidFill>
                <a:srgbClr val="AEABAB"/>
              </a:solidFill>
            </c:spPr>
            <c:extLst>
              <c:ext xmlns:c16="http://schemas.microsoft.com/office/drawing/2014/chart" uri="{C3380CC4-5D6E-409C-BE32-E72D297353CC}">
                <c16:uniqueId val="{00000741-C623-4FBE-8EDB-4AD12F618AAD}"/>
              </c:ext>
            </c:extLst>
          </c:dPt>
          <c:dPt>
            <c:idx val="928"/>
            <c:invertIfNegative val="1"/>
            <c:bubble3D val="0"/>
            <c:spPr>
              <a:solidFill>
                <a:srgbClr val="AEABAB"/>
              </a:solidFill>
            </c:spPr>
            <c:extLst>
              <c:ext xmlns:c16="http://schemas.microsoft.com/office/drawing/2014/chart" uri="{C3380CC4-5D6E-409C-BE32-E72D297353CC}">
                <c16:uniqueId val="{00000743-C623-4FBE-8EDB-4AD12F618AAD}"/>
              </c:ext>
            </c:extLst>
          </c:dPt>
          <c:dPt>
            <c:idx val="929"/>
            <c:invertIfNegative val="1"/>
            <c:bubble3D val="0"/>
            <c:spPr>
              <a:solidFill>
                <a:srgbClr val="AEABAB"/>
              </a:solidFill>
            </c:spPr>
            <c:extLst>
              <c:ext xmlns:c16="http://schemas.microsoft.com/office/drawing/2014/chart" uri="{C3380CC4-5D6E-409C-BE32-E72D297353CC}">
                <c16:uniqueId val="{00000745-C623-4FBE-8EDB-4AD12F618AAD}"/>
              </c:ext>
            </c:extLst>
          </c:dPt>
          <c:dPt>
            <c:idx val="930"/>
            <c:invertIfNegative val="1"/>
            <c:bubble3D val="0"/>
            <c:spPr>
              <a:solidFill>
                <a:srgbClr val="AEABAB"/>
              </a:solidFill>
            </c:spPr>
            <c:extLst>
              <c:ext xmlns:c16="http://schemas.microsoft.com/office/drawing/2014/chart" uri="{C3380CC4-5D6E-409C-BE32-E72D297353CC}">
                <c16:uniqueId val="{00000747-C623-4FBE-8EDB-4AD12F618AAD}"/>
              </c:ext>
            </c:extLst>
          </c:dPt>
          <c:dPt>
            <c:idx val="931"/>
            <c:invertIfNegative val="1"/>
            <c:bubble3D val="0"/>
            <c:spPr>
              <a:solidFill>
                <a:srgbClr val="AEABAB"/>
              </a:solidFill>
            </c:spPr>
            <c:extLst>
              <c:ext xmlns:c16="http://schemas.microsoft.com/office/drawing/2014/chart" uri="{C3380CC4-5D6E-409C-BE32-E72D297353CC}">
                <c16:uniqueId val="{00000749-C623-4FBE-8EDB-4AD12F618AAD}"/>
              </c:ext>
            </c:extLst>
          </c:dPt>
          <c:dPt>
            <c:idx val="932"/>
            <c:invertIfNegative val="1"/>
            <c:bubble3D val="0"/>
            <c:spPr>
              <a:solidFill>
                <a:srgbClr val="AEABAB"/>
              </a:solidFill>
            </c:spPr>
            <c:extLst>
              <c:ext xmlns:c16="http://schemas.microsoft.com/office/drawing/2014/chart" uri="{C3380CC4-5D6E-409C-BE32-E72D297353CC}">
                <c16:uniqueId val="{0000074B-C623-4FBE-8EDB-4AD12F618AAD}"/>
              </c:ext>
            </c:extLst>
          </c:dPt>
          <c:dPt>
            <c:idx val="933"/>
            <c:invertIfNegative val="1"/>
            <c:bubble3D val="0"/>
            <c:spPr>
              <a:solidFill>
                <a:srgbClr val="AEABAB"/>
              </a:solidFill>
            </c:spPr>
            <c:extLst>
              <c:ext xmlns:c16="http://schemas.microsoft.com/office/drawing/2014/chart" uri="{C3380CC4-5D6E-409C-BE32-E72D297353CC}">
                <c16:uniqueId val="{0000074D-C623-4FBE-8EDB-4AD12F618AAD}"/>
              </c:ext>
            </c:extLst>
          </c:dPt>
          <c:dPt>
            <c:idx val="934"/>
            <c:invertIfNegative val="1"/>
            <c:bubble3D val="0"/>
            <c:spPr>
              <a:solidFill>
                <a:srgbClr val="AEABAB"/>
              </a:solidFill>
            </c:spPr>
            <c:extLst>
              <c:ext xmlns:c16="http://schemas.microsoft.com/office/drawing/2014/chart" uri="{C3380CC4-5D6E-409C-BE32-E72D297353CC}">
                <c16:uniqueId val="{0000074F-C623-4FBE-8EDB-4AD12F618AAD}"/>
              </c:ext>
            </c:extLst>
          </c:dPt>
          <c:dPt>
            <c:idx val="935"/>
            <c:invertIfNegative val="1"/>
            <c:bubble3D val="0"/>
            <c:spPr>
              <a:solidFill>
                <a:srgbClr val="AEABAB"/>
              </a:solidFill>
            </c:spPr>
            <c:extLst>
              <c:ext xmlns:c16="http://schemas.microsoft.com/office/drawing/2014/chart" uri="{C3380CC4-5D6E-409C-BE32-E72D297353CC}">
                <c16:uniqueId val="{00000751-C623-4FBE-8EDB-4AD12F618AAD}"/>
              </c:ext>
            </c:extLst>
          </c:dPt>
          <c:dPt>
            <c:idx val="936"/>
            <c:invertIfNegative val="1"/>
            <c:bubble3D val="0"/>
            <c:spPr>
              <a:solidFill>
                <a:srgbClr val="AEABAB"/>
              </a:solidFill>
            </c:spPr>
            <c:extLst>
              <c:ext xmlns:c16="http://schemas.microsoft.com/office/drawing/2014/chart" uri="{C3380CC4-5D6E-409C-BE32-E72D297353CC}">
                <c16:uniqueId val="{00000753-C623-4FBE-8EDB-4AD12F618AAD}"/>
              </c:ext>
            </c:extLst>
          </c:dPt>
          <c:dPt>
            <c:idx val="937"/>
            <c:invertIfNegative val="1"/>
            <c:bubble3D val="0"/>
            <c:spPr>
              <a:solidFill>
                <a:srgbClr val="AEABAB"/>
              </a:solidFill>
            </c:spPr>
            <c:extLst>
              <c:ext xmlns:c16="http://schemas.microsoft.com/office/drawing/2014/chart" uri="{C3380CC4-5D6E-409C-BE32-E72D297353CC}">
                <c16:uniqueId val="{00000755-C623-4FBE-8EDB-4AD12F618AAD}"/>
              </c:ext>
            </c:extLst>
          </c:dPt>
          <c:dPt>
            <c:idx val="938"/>
            <c:invertIfNegative val="1"/>
            <c:bubble3D val="0"/>
            <c:spPr>
              <a:solidFill>
                <a:srgbClr val="AEABAB"/>
              </a:solidFill>
            </c:spPr>
            <c:extLst>
              <c:ext xmlns:c16="http://schemas.microsoft.com/office/drawing/2014/chart" uri="{C3380CC4-5D6E-409C-BE32-E72D297353CC}">
                <c16:uniqueId val="{00000757-C623-4FBE-8EDB-4AD12F618AAD}"/>
              </c:ext>
            </c:extLst>
          </c:dPt>
          <c:dPt>
            <c:idx val="939"/>
            <c:invertIfNegative val="1"/>
            <c:bubble3D val="0"/>
            <c:spPr>
              <a:solidFill>
                <a:srgbClr val="AEABAB"/>
              </a:solidFill>
            </c:spPr>
            <c:extLst>
              <c:ext xmlns:c16="http://schemas.microsoft.com/office/drawing/2014/chart" uri="{C3380CC4-5D6E-409C-BE32-E72D297353CC}">
                <c16:uniqueId val="{00000759-C623-4FBE-8EDB-4AD12F618AAD}"/>
              </c:ext>
            </c:extLst>
          </c:dPt>
          <c:dPt>
            <c:idx val="940"/>
            <c:invertIfNegative val="1"/>
            <c:bubble3D val="0"/>
            <c:spPr>
              <a:solidFill>
                <a:srgbClr val="AEABAB"/>
              </a:solidFill>
            </c:spPr>
            <c:extLst>
              <c:ext xmlns:c16="http://schemas.microsoft.com/office/drawing/2014/chart" uri="{C3380CC4-5D6E-409C-BE32-E72D297353CC}">
                <c16:uniqueId val="{0000075B-C623-4FBE-8EDB-4AD12F618AAD}"/>
              </c:ext>
            </c:extLst>
          </c:dPt>
          <c:dPt>
            <c:idx val="941"/>
            <c:invertIfNegative val="1"/>
            <c:bubble3D val="0"/>
            <c:spPr>
              <a:solidFill>
                <a:srgbClr val="AEABAB"/>
              </a:solidFill>
            </c:spPr>
            <c:extLst>
              <c:ext xmlns:c16="http://schemas.microsoft.com/office/drawing/2014/chart" uri="{C3380CC4-5D6E-409C-BE32-E72D297353CC}">
                <c16:uniqueId val="{0000075D-C623-4FBE-8EDB-4AD12F618AAD}"/>
              </c:ext>
            </c:extLst>
          </c:dPt>
          <c:dPt>
            <c:idx val="942"/>
            <c:invertIfNegative val="1"/>
            <c:bubble3D val="0"/>
            <c:spPr>
              <a:solidFill>
                <a:srgbClr val="AEABAB"/>
              </a:solidFill>
            </c:spPr>
            <c:extLst>
              <c:ext xmlns:c16="http://schemas.microsoft.com/office/drawing/2014/chart" uri="{C3380CC4-5D6E-409C-BE32-E72D297353CC}">
                <c16:uniqueId val="{0000075F-C623-4FBE-8EDB-4AD12F618AAD}"/>
              </c:ext>
            </c:extLst>
          </c:dPt>
          <c:dPt>
            <c:idx val="943"/>
            <c:invertIfNegative val="1"/>
            <c:bubble3D val="0"/>
            <c:spPr>
              <a:solidFill>
                <a:srgbClr val="AEABAB"/>
              </a:solidFill>
            </c:spPr>
            <c:extLst>
              <c:ext xmlns:c16="http://schemas.microsoft.com/office/drawing/2014/chart" uri="{C3380CC4-5D6E-409C-BE32-E72D297353CC}">
                <c16:uniqueId val="{00000761-C623-4FBE-8EDB-4AD12F618AAD}"/>
              </c:ext>
            </c:extLst>
          </c:dPt>
          <c:dPt>
            <c:idx val="944"/>
            <c:invertIfNegative val="1"/>
            <c:bubble3D val="0"/>
            <c:spPr>
              <a:solidFill>
                <a:srgbClr val="AEABAB"/>
              </a:solidFill>
            </c:spPr>
            <c:extLst>
              <c:ext xmlns:c16="http://schemas.microsoft.com/office/drawing/2014/chart" uri="{C3380CC4-5D6E-409C-BE32-E72D297353CC}">
                <c16:uniqueId val="{00000763-C623-4FBE-8EDB-4AD12F618AAD}"/>
              </c:ext>
            </c:extLst>
          </c:dPt>
          <c:dPt>
            <c:idx val="945"/>
            <c:invertIfNegative val="1"/>
            <c:bubble3D val="0"/>
            <c:spPr>
              <a:solidFill>
                <a:srgbClr val="AEABAB"/>
              </a:solidFill>
            </c:spPr>
            <c:extLst>
              <c:ext xmlns:c16="http://schemas.microsoft.com/office/drawing/2014/chart" uri="{C3380CC4-5D6E-409C-BE32-E72D297353CC}">
                <c16:uniqueId val="{00000765-C623-4FBE-8EDB-4AD12F618AAD}"/>
              </c:ext>
            </c:extLst>
          </c:dPt>
          <c:dPt>
            <c:idx val="946"/>
            <c:invertIfNegative val="1"/>
            <c:bubble3D val="0"/>
            <c:spPr>
              <a:solidFill>
                <a:srgbClr val="AEABAB"/>
              </a:solidFill>
            </c:spPr>
            <c:extLst>
              <c:ext xmlns:c16="http://schemas.microsoft.com/office/drawing/2014/chart" uri="{C3380CC4-5D6E-409C-BE32-E72D297353CC}">
                <c16:uniqueId val="{00000767-C623-4FBE-8EDB-4AD12F618AAD}"/>
              </c:ext>
            </c:extLst>
          </c:dPt>
          <c:dPt>
            <c:idx val="947"/>
            <c:invertIfNegative val="1"/>
            <c:bubble3D val="0"/>
            <c:spPr>
              <a:solidFill>
                <a:srgbClr val="AEABAB"/>
              </a:solidFill>
            </c:spPr>
            <c:extLst>
              <c:ext xmlns:c16="http://schemas.microsoft.com/office/drawing/2014/chart" uri="{C3380CC4-5D6E-409C-BE32-E72D297353CC}">
                <c16:uniqueId val="{00000769-C623-4FBE-8EDB-4AD12F618AAD}"/>
              </c:ext>
            </c:extLst>
          </c:dPt>
          <c:dPt>
            <c:idx val="948"/>
            <c:invertIfNegative val="1"/>
            <c:bubble3D val="0"/>
            <c:spPr>
              <a:solidFill>
                <a:srgbClr val="AEABAB"/>
              </a:solidFill>
            </c:spPr>
            <c:extLst>
              <c:ext xmlns:c16="http://schemas.microsoft.com/office/drawing/2014/chart" uri="{C3380CC4-5D6E-409C-BE32-E72D297353CC}">
                <c16:uniqueId val="{0000076B-C623-4FBE-8EDB-4AD12F618AAD}"/>
              </c:ext>
            </c:extLst>
          </c:dPt>
          <c:dPt>
            <c:idx val="949"/>
            <c:invertIfNegative val="1"/>
            <c:bubble3D val="0"/>
            <c:spPr>
              <a:solidFill>
                <a:srgbClr val="AEABAB"/>
              </a:solidFill>
            </c:spPr>
            <c:extLst>
              <c:ext xmlns:c16="http://schemas.microsoft.com/office/drawing/2014/chart" uri="{C3380CC4-5D6E-409C-BE32-E72D297353CC}">
                <c16:uniqueId val="{0000076D-C623-4FBE-8EDB-4AD12F618AAD}"/>
              </c:ext>
            </c:extLst>
          </c:dPt>
          <c:dPt>
            <c:idx val="950"/>
            <c:invertIfNegative val="1"/>
            <c:bubble3D val="0"/>
            <c:spPr>
              <a:solidFill>
                <a:srgbClr val="AEABAB"/>
              </a:solidFill>
            </c:spPr>
            <c:extLst>
              <c:ext xmlns:c16="http://schemas.microsoft.com/office/drawing/2014/chart" uri="{C3380CC4-5D6E-409C-BE32-E72D297353CC}">
                <c16:uniqueId val="{0000076F-C623-4FBE-8EDB-4AD12F618AAD}"/>
              </c:ext>
            </c:extLst>
          </c:dPt>
          <c:dPt>
            <c:idx val="951"/>
            <c:invertIfNegative val="1"/>
            <c:bubble3D val="0"/>
            <c:spPr>
              <a:solidFill>
                <a:srgbClr val="AEABAB"/>
              </a:solidFill>
            </c:spPr>
            <c:extLst>
              <c:ext xmlns:c16="http://schemas.microsoft.com/office/drawing/2014/chart" uri="{C3380CC4-5D6E-409C-BE32-E72D297353CC}">
                <c16:uniqueId val="{00000771-C623-4FBE-8EDB-4AD12F618AAD}"/>
              </c:ext>
            </c:extLst>
          </c:dPt>
          <c:dPt>
            <c:idx val="952"/>
            <c:invertIfNegative val="1"/>
            <c:bubble3D val="0"/>
            <c:spPr>
              <a:solidFill>
                <a:srgbClr val="AEABAB"/>
              </a:solidFill>
            </c:spPr>
            <c:extLst>
              <c:ext xmlns:c16="http://schemas.microsoft.com/office/drawing/2014/chart" uri="{C3380CC4-5D6E-409C-BE32-E72D297353CC}">
                <c16:uniqueId val="{00000773-C623-4FBE-8EDB-4AD12F618AAD}"/>
              </c:ext>
            </c:extLst>
          </c:dPt>
          <c:dPt>
            <c:idx val="953"/>
            <c:invertIfNegative val="1"/>
            <c:bubble3D val="0"/>
            <c:spPr>
              <a:solidFill>
                <a:srgbClr val="AEABAB"/>
              </a:solidFill>
            </c:spPr>
            <c:extLst>
              <c:ext xmlns:c16="http://schemas.microsoft.com/office/drawing/2014/chart" uri="{C3380CC4-5D6E-409C-BE32-E72D297353CC}">
                <c16:uniqueId val="{00000775-C623-4FBE-8EDB-4AD12F618AAD}"/>
              </c:ext>
            </c:extLst>
          </c:dPt>
          <c:dPt>
            <c:idx val="954"/>
            <c:invertIfNegative val="1"/>
            <c:bubble3D val="0"/>
            <c:spPr>
              <a:solidFill>
                <a:srgbClr val="AEABAB"/>
              </a:solidFill>
            </c:spPr>
            <c:extLst>
              <c:ext xmlns:c16="http://schemas.microsoft.com/office/drawing/2014/chart" uri="{C3380CC4-5D6E-409C-BE32-E72D297353CC}">
                <c16:uniqueId val="{00000777-C623-4FBE-8EDB-4AD12F618AAD}"/>
              </c:ext>
            </c:extLst>
          </c:dPt>
          <c:dPt>
            <c:idx val="955"/>
            <c:invertIfNegative val="1"/>
            <c:bubble3D val="0"/>
            <c:spPr>
              <a:solidFill>
                <a:srgbClr val="AEABAB"/>
              </a:solidFill>
            </c:spPr>
            <c:extLst>
              <c:ext xmlns:c16="http://schemas.microsoft.com/office/drawing/2014/chart" uri="{C3380CC4-5D6E-409C-BE32-E72D297353CC}">
                <c16:uniqueId val="{00000779-C623-4FBE-8EDB-4AD12F618AAD}"/>
              </c:ext>
            </c:extLst>
          </c:dPt>
          <c:dPt>
            <c:idx val="956"/>
            <c:invertIfNegative val="1"/>
            <c:bubble3D val="0"/>
            <c:spPr>
              <a:solidFill>
                <a:srgbClr val="AEABAB"/>
              </a:solidFill>
            </c:spPr>
            <c:extLst>
              <c:ext xmlns:c16="http://schemas.microsoft.com/office/drawing/2014/chart" uri="{C3380CC4-5D6E-409C-BE32-E72D297353CC}">
                <c16:uniqueId val="{0000077B-C623-4FBE-8EDB-4AD12F618AAD}"/>
              </c:ext>
            </c:extLst>
          </c:dPt>
          <c:dPt>
            <c:idx val="957"/>
            <c:invertIfNegative val="1"/>
            <c:bubble3D val="0"/>
            <c:spPr>
              <a:solidFill>
                <a:srgbClr val="AEABAB"/>
              </a:solidFill>
            </c:spPr>
            <c:extLst>
              <c:ext xmlns:c16="http://schemas.microsoft.com/office/drawing/2014/chart" uri="{C3380CC4-5D6E-409C-BE32-E72D297353CC}">
                <c16:uniqueId val="{0000077D-C623-4FBE-8EDB-4AD12F618AAD}"/>
              </c:ext>
            </c:extLst>
          </c:dPt>
          <c:dPt>
            <c:idx val="958"/>
            <c:invertIfNegative val="1"/>
            <c:bubble3D val="0"/>
            <c:spPr>
              <a:solidFill>
                <a:srgbClr val="AEABAB"/>
              </a:solidFill>
            </c:spPr>
            <c:extLst>
              <c:ext xmlns:c16="http://schemas.microsoft.com/office/drawing/2014/chart" uri="{C3380CC4-5D6E-409C-BE32-E72D297353CC}">
                <c16:uniqueId val="{0000077F-C623-4FBE-8EDB-4AD12F618AAD}"/>
              </c:ext>
            </c:extLst>
          </c:dPt>
          <c:dPt>
            <c:idx val="959"/>
            <c:invertIfNegative val="1"/>
            <c:bubble3D val="0"/>
            <c:spPr>
              <a:solidFill>
                <a:srgbClr val="AEABAB"/>
              </a:solidFill>
            </c:spPr>
            <c:extLst>
              <c:ext xmlns:c16="http://schemas.microsoft.com/office/drawing/2014/chart" uri="{C3380CC4-5D6E-409C-BE32-E72D297353CC}">
                <c16:uniqueId val="{00000781-C623-4FBE-8EDB-4AD12F618AAD}"/>
              </c:ext>
            </c:extLst>
          </c:dPt>
          <c:dPt>
            <c:idx val="960"/>
            <c:invertIfNegative val="1"/>
            <c:bubble3D val="0"/>
            <c:spPr>
              <a:solidFill>
                <a:srgbClr val="AEABAB"/>
              </a:solidFill>
            </c:spPr>
            <c:extLst>
              <c:ext xmlns:c16="http://schemas.microsoft.com/office/drawing/2014/chart" uri="{C3380CC4-5D6E-409C-BE32-E72D297353CC}">
                <c16:uniqueId val="{00000783-C623-4FBE-8EDB-4AD12F618AAD}"/>
              </c:ext>
            </c:extLst>
          </c:dPt>
          <c:dPt>
            <c:idx val="961"/>
            <c:invertIfNegative val="1"/>
            <c:bubble3D val="0"/>
            <c:spPr>
              <a:solidFill>
                <a:srgbClr val="AEABAB"/>
              </a:solidFill>
            </c:spPr>
            <c:extLst>
              <c:ext xmlns:c16="http://schemas.microsoft.com/office/drawing/2014/chart" uri="{C3380CC4-5D6E-409C-BE32-E72D297353CC}">
                <c16:uniqueId val="{00000785-C623-4FBE-8EDB-4AD12F618AAD}"/>
              </c:ext>
            </c:extLst>
          </c:dPt>
          <c:dPt>
            <c:idx val="962"/>
            <c:invertIfNegative val="1"/>
            <c:bubble3D val="0"/>
            <c:spPr>
              <a:solidFill>
                <a:srgbClr val="AEABAB"/>
              </a:solidFill>
            </c:spPr>
            <c:extLst>
              <c:ext xmlns:c16="http://schemas.microsoft.com/office/drawing/2014/chart" uri="{C3380CC4-5D6E-409C-BE32-E72D297353CC}">
                <c16:uniqueId val="{00000787-C623-4FBE-8EDB-4AD12F618AAD}"/>
              </c:ext>
            </c:extLst>
          </c:dPt>
          <c:dPt>
            <c:idx val="963"/>
            <c:invertIfNegative val="1"/>
            <c:bubble3D val="0"/>
            <c:spPr>
              <a:solidFill>
                <a:srgbClr val="AEABAB"/>
              </a:solidFill>
            </c:spPr>
            <c:extLst>
              <c:ext xmlns:c16="http://schemas.microsoft.com/office/drawing/2014/chart" uri="{C3380CC4-5D6E-409C-BE32-E72D297353CC}">
                <c16:uniqueId val="{00000789-C623-4FBE-8EDB-4AD12F618AAD}"/>
              </c:ext>
            </c:extLst>
          </c:dPt>
          <c:dPt>
            <c:idx val="964"/>
            <c:invertIfNegative val="1"/>
            <c:bubble3D val="0"/>
            <c:spPr>
              <a:solidFill>
                <a:srgbClr val="AEABAB"/>
              </a:solidFill>
            </c:spPr>
            <c:extLst>
              <c:ext xmlns:c16="http://schemas.microsoft.com/office/drawing/2014/chart" uri="{C3380CC4-5D6E-409C-BE32-E72D297353CC}">
                <c16:uniqueId val="{0000078B-C623-4FBE-8EDB-4AD12F618AAD}"/>
              </c:ext>
            </c:extLst>
          </c:dPt>
          <c:dPt>
            <c:idx val="965"/>
            <c:invertIfNegative val="1"/>
            <c:bubble3D val="0"/>
            <c:spPr>
              <a:solidFill>
                <a:srgbClr val="AEABAB"/>
              </a:solidFill>
            </c:spPr>
            <c:extLst>
              <c:ext xmlns:c16="http://schemas.microsoft.com/office/drawing/2014/chart" uri="{C3380CC4-5D6E-409C-BE32-E72D297353CC}">
                <c16:uniqueId val="{0000078D-C623-4FBE-8EDB-4AD12F618AAD}"/>
              </c:ext>
            </c:extLst>
          </c:dPt>
          <c:dPt>
            <c:idx val="966"/>
            <c:invertIfNegative val="1"/>
            <c:bubble3D val="0"/>
            <c:spPr>
              <a:solidFill>
                <a:srgbClr val="AEABAB"/>
              </a:solidFill>
            </c:spPr>
            <c:extLst>
              <c:ext xmlns:c16="http://schemas.microsoft.com/office/drawing/2014/chart" uri="{C3380CC4-5D6E-409C-BE32-E72D297353CC}">
                <c16:uniqueId val="{0000078F-C623-4FBE-8EDB-4AD12F618AAD}"/>
              </c:ext>
            </c:extLst>
          </c:dPt>
          <c:dPt>
            <c:idx val="967"/>
            <c:invertIfNegative val="1"/>
            <c:bubble3D val="0"/>
            <c:spPr>
              <a:solidFill>
                <a:srgbClr val="AEABAB"/>
              </a:solidFill>
            </c:spPr>
            <c:extLst>
              <c:ext xmlns:c16="http://schemas.microsoft.com/office/drawing/2014/chart" uri="{C3380CC4-5D6E-409C-BE32-E72D297353CC}">
                <c16:uniqueId val="{00000791-C623-4FBE-8EDB-4AD12F618AAD}"/>
              </c:ext>
            </c:extLst>
          </c:dPt>
          <c:dPt>
            <c:idx val="968"/>
            <c:invertIfNegative val="1"/>
            <c:bubble3D val="0"/>
            <c:spPr>
              <a:solidFill>
                <a:srgbClr val="AEABAB"/>
              </a:solidFill>
            </c:spPr>
            <c:extLst>
              <c:ext xmlns:c16="http://schemas.microsoft.com/office/drawing/2014/chart" uri="{C3380CC4-5D6E-409C-BE32-E72D297353CC}">
                <c16:uniqueId val="{00000793-C623-4FBE-8EDB-4AD12F618AAD}"/>
              </c:ext>
            </c:extLst>
          </c:dPt>
          <c:dPt>
            <c:idx val="969"/>
            <c:invertIfNegative val="1"/>
            <c:bubble3D val="0"/>
            <c:spPr>
              <a:solidFill>
                <a:srgbClr val="AEABAB"/>
              </a:solidFill>
            </c:spPr>
            <c:extLst>
              <c:ext xmlns:c16="http://schemas.microsoft.com/office/drawing/2014/chart" uri="{C3380CC4-5D6E-409C-BE32-E72D297353CC}">
                <c16:uniqueId val="{00000795-C623-4FBE-8EDB-4AD12F618AAD}"/>
              </c:ext>
            </c:extLst>
          </c:dPt>
          <c:dPt>
            <c:idx val="970"/>
            <c:invertIfNegative val="1"/>
            <c:bubble3D val="0"/>
            <c:spPr>
              <a:solidFill>
                <a:srgbClr val="AEABAB"/>
              </a:solidFill>
            </c:spPr>
            <c:extLst>
              <c:ext xmlns:c16="http://schemas.microsoft.com/office/drawing/2014/chart" uri="{C3380CC4-5D6E-409C-BE32-E72D297353CC}">
                <c16:uniqueId val="{00000797-C623-4FBE-8EDB-4AD12F618AAD}"/>
              </c:ext>
            </c:extLst>
          </c:dPt>
          <c:dPt>
            <c:idx val="971"/>
            <c:invertIfNegative val="1"/>
            <c:bubble3D val="0"/>
            <c:spPr>
              <a:solidFill>
                <a:srgbClr val="AEABAB"/>
              </a:solidFill>
            </c:spPr>
            <c:extLst>
              <c:ext xmlns:c16="http://schemas.microsoft.com/office/drawing/2014/chart" uri="{C3380CC4-5D6E-409C-BE32-E72D297353CC}">
                <c16:uniqueId val="{00000799-C623-4FBE-8EDB-4AD12F618AAD}"/>
              </c:ext>
            </c:extLst>
          </c:dPt>
          <c:dPt>
            <c:idx val="972"/>
            <c:invertIfNegative val="1"/>
            <c:bubble3D val="0"/>
            <c:spPr>
              <a:solidFill>
                <a:srgbClr val="AEABAB"/>
              </a:solidFill>
            </c:spPr>
            <c:extLst>
              <c:ext xmlns:c16="http://schemas.microsoft.com/office/drawing/2014/chart" uri="{C3380CC4-5D6E-409C-BE32-E72D297353CC}">
                <c16:uniqueId val="{0000079B-C623-4FBE-8EDB-4AD12F618AAD}"/>
              </c:ext>
            </c:extLst>
          </c:dPt>
          <c:dPt>
            <c:idx val="973"/>
            <c:invertIfNegative val="1"/>
            <c:bubble3D val="0"/>
            <c:spPr>
              <a:solidFill>
                <a:srgbClr val="AEABAB"/>
              </a:solidFill>
            </c:spPr>
            <c:extLst>
              <c:ext xmlns:c16="http://schemas.microsoft.com/office/drawing/2014/chart" uri="{C3380CC4-5D6E-409C-BE32-E72D297353CC}">
                <c16:uniqueId val="{0000079D-C623-4FBE-8EDB-4AD12F618AAD}"/>
              </c:ext>
            </c:extLst>
          </c:dPt>
          <c:dPt>
            <c:idx val="974"/>
            <c:invertIfNegative val="1"/>
            <c:bubble3D val="0"/>
            <c:spPr>
              <a:solidFill>
                <a:srgbClr val="AEABAB"/>
              </a:solidFill>
            </c:spPr>
            <c:extLst>
              <c:ext xmlns:c16="http://schemas.microsoft.com/office/drawing/2014/chart" uri="{C3380CC4-5D6E-409C-BE32-E72D297353CC}">
                <c16:uniqueId val="{0000079F-C623-4FBE-8EDB-4AD12F618AAD}"/>
              </c:ext>
            </c:extLst>
          </c:dPt>
          <c:dPt>
            <c:idx val="975"/>
            <c:invertIfNegative val="1"/>
            <c:bubble3D val="0"/>
            <c:spPr>
              <a:solidFill>
                <a:srgbClr val="AEABAB"/>
              </a:solidFill>
            </c:spPr>
            <c:extLst>
              <c:ext xmlns:c16="http://schemas.microsoft.com/office/drawing/2014/chart" uri="{C3380CC4-5D6E-409C-BE32-E72D297353CC}">
                <c16:uniqueId val="{000007A1-C623-4FBE-8EDB-4AD12F618AAD}"/>
              </c:ext>
            </c:extLst>
          </c:dPt>
          <c:dPt>
            <c:idx val="976"/>
            <c:invertIfNegative val="1"/>
            <c:bubble3D val="0"/>
            <c:spPr>
              <a:solidFill>
                <a:srgbClr val="AEABAB"/>
              </a:solidFill>
            </c:spPr>
            <c:extLst>
              <c:ext xmlns:c16="http://schemas.microsoft.com/office/drawing/2014/chart" uri="{C3380CC4-5D6E-409C-BE32-E72D297353CC}">
                <c16:uniqueId val="{000007A3-C623-4FBE-8EDB-4AD12F618AAD}"/>
              </c:ext>
            </c:extLst>
          </c:dPt>
          <c:dPt>
            <c:idx val="977"/>
            <c:invertIfNegative val="1"/>
            <c:bubble3D val="0"/>
            <c:spPr>
              <a:solidFill>
                <a:srgbClr val="AEABAB"/>
              </a:solidFill>
            </c:spPr>
            <c:extLst>
              <c:ext xmlns:c16="http://schemas.microsoft.com/office/drawing/2014/chart" uri="{C3380CC4-5D6E-409C-BE32-E72D297353CC}">
                <c16:uniqueId val="{000007A5-C623-4FBE-8EDB-4AD12F618AAD}"/>
              </c:ext>
            </c:extLst>
          </c:dPt>
          <c:dPt>
            <c:idx val="978"/>
            <c:invertIfNegative val="1"/>
            <c:bubble3D val="0"/>
            <c:spPr>
              <a:solidFill>
                <a:srgbClr val="AEABAB"/>
              </a:solidFill>
            </c:spPr>
            <c:extLst>
              <c:ext xmlns:c16="http://schemas.microsoft.com/office/drawing/2014/chart" uri="{C3380CC4-5D6E-409C-BE32-E72D297353CC}">
                <c16:uniqueId val="{000007A7-C623-4FBE-8EDB-4AD12F618AAD}"/>
              </c:ext>
            </c:extLst>
          </c:dPt>
          <c:dPt>
            <c:idx val="979"/>
            <c:invertIfNegative val="1"/>
            <c:bubble3D val="0"/>
            <c:spPr>
              <a:solidFill>
                <a:srgbClr val="AEABAB"/>
              </a:solidFill>
            </c:spPr>
            <c:extLst>
              <c:ext xmlns:c16="http://schemas.microsoft.com/office/drawing/2014/chart" uri="{C3380CC4-5D6E-409C-BE32-E72D297353CC}">
                <c16:uniqueId val="{000007A9-C623-4FBE-8EDB-4AD12F618AAD}"/>
              </c:ext>
            </c:extLst>
          </c:dPt>
          <c:dPt>
            <c:idx val="980"/>
            <c:invertIfNegative val="1"/>
            <c:bubble3D val="0"/>
            <c:spPr>
              <a:solidFill>
                <a:srgbClr val="AEABAB"/>
              </a:solidFill>
            </c:spPr>
            <c:extLst>
              <c:ext xmlns:c16="http://schemas.microsoft.com/office/drawing/2014/chart" uri="{C3380CC4-5D6E-409C-BE32-E72D297353CC}">
                <c16:uniqueId val="{000007AB-C623-4FBE-8EDB-4AD12F618AAD}"/>
              </c:ext>
            </c:extLst>
          </c:dPt>
          <c:dPt>
            <c:idx val="981"/>
            <c:invertIfNegative val="1"/>
            <c:bubble3D val="0"/>
            <c:spPr>
              <a:solidFill>
                <a:srgbClr val="AEABAB"/>
              </a:solidFill>
            </c:spPr>
            <c:extLst>
              <c:ext xmlns:c16="http://schemas.microsoft.com/office/drawing/2014/chart" uri="{C3380CC4-5D6E-409C-BE32-E72D297353CC}">
                <c16:uniqueId val="{000007AD-C623-4FBE-8EDB-4AD12F618AAD}"/>
              </c:ext>
            </c:extLst>
          </c:dPt>
          <c:dPt>
            <c:idx val="982"/>
            <c:invertIfNegative val="1"/>
            <c:bubble3D val="0"/>
            <c:spPr>
              <a:solidFill>
                <a:srgbClr val="AEABAB"/>
              </a:solidFill>
            </c:spPr>
            <c:extLst>
              <c:ext xmlns:c16="http://schemas.microsoft.com/office/drawing/2014/chart" uri="{C3380CC4-5D6E-409C-BE32-E72D297353CC}">
                <c16:uniqueId val="{000007AF-C623-4FBE-8EDB-4AD12F618AAD}"/>
              </c:ext>
            </c:extLst>
          </c:dPt>
          <c:dPt>
            <c:idx val="983"/>
            <c:invertIfNegative val="1"/>
            <c:bubble3D val="0"/>
            <c:spPr>
              <a:solidFill>
                <a:srgbClr val="AEABAB"/>
              </a:solidFill>
            </c:spPr>
            <c:extLst>
              <c:ext xmlns:c16="http://schemas.microsoft.com/office/drawing/2014/chart" uri="{C3380CC4-5D6E-409C-BE32-E72D297353CC}">
                <c16:uniqueId val="{000007B1-C623-4FBE-8EDB-4AD12F618AAD}"/>
              </c:ext>
            </c:extLst>
          </c:dPt>
          <c:dPt>
            <c:idx val="984"/>
            <c:invertIfNegative val="1"/>
            <c:bubble3D val="0"/>
            <c:spPr>
              <a:solidFill>
                <a:srgbClr val="AEABAB"/>
              </a:solidFill>
            </c:spPr>
            <c:extLst>
              <c:ext xmlns:c16="http://schemas.microsoft.com/office/drawing/2014/chart" uri="{C3380CC4-5D6E-409C-BE32-E72D297353CC}">
                <c16:uniqueId val="{000007B3-C623-4FBE-8EDB-4AD12F618AAD}"/>
              </c:ext>
            </c:extLst>
          </c:dPt>
          <c:dPt>
            <c:idx val="985"/>
            <c:invertIfNegative val="1"/>
            <c:bubble3D val="0"/>
            <c:spPr>
              <a:solidFill>
                <a:srgbClr val="AEABAB"/>
              </a:solidFill>
            </c:spPr>
            <c:extLst>
              <c:ext xmlns:c16="http://schemas.microsoft.com/office/drawing/2014/chart" uri="{C3380CC4-5D6E-409C-BE32-E72D297353CC}">
                <c16:uniqueId val="{000007B5-C623-4FBE-8EDB-4AD12F618AAD}"/>
              </c:ext>
            </c:extLst>
          </c:dPt>
          <c:dPt>
            <c:idx val="986"/>
            <c:invertIfNegative val="1"/>
            <c:bubble3D val="0"/>
            <c:spPr>
              <a:solidFill>
                <a:srgbClr val="AEABAB"/>
              </a:solidFill>
            </c:spPr>
            <c:extLst>
              <c:ext xmlns:c16="http://schemas.microsoft.com/office/drawing/2014/chart" uri="{C3380CC4-5D6E-409C-BE32-E72D297353CC}">
                <c16:uniqueId val="{000007B7-C623-4FBE-8EDB-4AD12F618AAD}"/>
              </c:ext>
            </c:extLst>
          </c:dPt>
          <c:dPt>
            <c:idx val="987"/>
            <c:invertIfNegative val="1"/>
            <c:bubble3D val="0"/>
            <c:spPr>
              <a:solidFill>
                <a:srgbClr val="AEABAB"/>
              </a:solidFill>
            </c:spPr>
            <c:extLst>
              <c:ext xmlns:c16="http://schemas.microsoft.com/office/drawing/2014/chart" uri="{C3380CC4-5D6E-409C-BE32-E72D297353CC}">
                <c16:uniqueId val="{000007B9-C623-4FBE-8EDB-4AD12F618AAD}"/>
              </c:ext>
            </c:extLst>
          </c:dPt>
          <c:dPt>
            <c:idx val="988"/>
            <c:invertIfNegative val="1"/>
            <c:bubble3D val="0"/>
            <c:spPr>
              <a:solidFill>
                <a:srgbClr val="AEABAB"/>
              </a:solidFill>
            </c:spPr>
            <c:extLst>
              <c:ext xmlns:c16="http://schemas.microsoft.com/office/drawing/2014/chart" uri="{C3380CC4-5D6E-409C-BE32-E72D297353CC}">
                <c16:uniqueId val="{000007BB-C623-4FBE-8EDB-4AD12F618AAD}"/>
              </c:ext>
            </c:extLst>
          </c:dPt>
          <c:dPt>
            <c:idx val="989"/>
            <c:invertIfNegative val="1"/>
            <c:bubble3D val="0"/>
            <c:spPr>
              <a:solidFill>
                <a:srgbClr val="AEABAB"/>
              </a:solidFill>
            </c:spPr>
            <c:extLst>
              <c:ext xmlns:c16="http://schemas.microsoft.com/office/drawing/2014/chart" uri="{C3380CC4-5D6E-409C-BE32-E72D297353CC}">
                <c16:uniqueId val="{000007BD-C623-4FBE-8EDB-4AD12F618AAD}"/>
              </c:ext>
            </c:extLst>
          </c:dPt>
          <c:dPt>
            <c:idx val="990"/>
            <c:invertIfNegative val="1"/>
            <c:bubble3D val="0"/>
            <c:spPr>
              <a:solidFill>
                <a:srgbClr val="AEABAB"/>
              </a:solidFill>
            </c:spPr>
            <c:extLst>
              <c:ext xmlns:c16="http://schemas.microsoft.com/office/drawing/2014/chart" uri="{C3380CC4-5D6E-409C-BE32-E72D297353CC}">
                <c16:uniqueId val="{000007BF-C623-4FBE-8EDB-4AD12F618AAD}"/>
              </c:ext>
            </c:extLst>
          </c:dPt>
          <c:dPt>
            <c:idx val="991"/>
            <c:invertIfNegative val="1"/>
            <c:bubble3D val="0"/>
            <c:spPr>
              <a:solidFill>
                <a:srgbClr val="AEABAB"/>
              </a:solidFill>
            </c:spPr>
            <c:extLst>
              <c:ext xmlns:c16="http://schemas.microsoft.com/office/drawing/2014/chart" uri="{C3380CC4-5D6E-409C-BE32-E72D297353CC}">
                <c16:uniqueId val="{000007C1-C623-4FBE-8EDB-4AD12F618AAD}"/>
              </c:ext>
            </c:extLst>
          </c:dPt>
          <c:dPt>
            <c:idx val="992"/>
            <c:invertIfNegative val="1"/>
            <c:bubble3D val="0"/>
            <c:spPr>
              <a:solidFill>
                <a:srgbClr val="AEABAB"/>
              </a:solidFill>
            </c:spPr>
            <c:extLst>
              <c:ext xmlns:c16="http://schemas.microsoft.com/office/drawing/2014/chart" uri="{C3380CC4-5D6E-409C-BE32-E72D297353CC}">
                <c16:uniqueId val="{000007C3-C623-4FBE-8EDB-4AD12F618AAD}"/>
              </c:ext>
            </c:extLst>
          </c:dPt>
          <c:dPt>
            <c:idx val="993"/>
            <c:invertIfNegative val="1"/>
            <c:bubble3D val="0"/>
            <c:spPr>
              <a:solidFill>
                <a:srgbClr val="AEABAB"/>
              </a:solidFill>
            </c:spPr>
            <c:extLst>
              <c:ext xmlns:c16="http://schemas.microsoft.com/office/drawing/2014/chart" uri="{C3380CC4-5D6E-409C-BE32-E72D297353CC}">
                <c16:uniqueId val="{000007C5-C623-4FBE-8EDB-4AD12F618AAD}"/>
              </c:ext>
            </c:extLst>
          </c:dPt>
          <c:dPt>
            <c:idx val="994"/>
            <c:invertIfNegative val="1"/>
            <c:bubble3D val="0"/>
            <c:spPr>
              <a:solidFill>
                <a:srgbClr val="AEABAB"/>
              </a:solidFill>
            </c:spPr>
            <c:extLst>
              <c:ext xmlns:c16="http://schemas.microsoft.com/office/drawing/2014/chart" uri="{C3380CC4-5D6E-409C-BE32-E72D297353CC}">
                <c16:uniqueId val="{000007C7-C623-4FBE-8EDB-4AD12F618AAD}"/>
              </c:ext>
            </c:extLst>
          </c:dPt>
          <c:dPt>
            <c:idx val="995"/>
            <c:invertIfNegative val="1"/>
            <c:bubble3D val="0"/>
            <c:spPr>
              <a:solidFill>
                <a:srgbClr val="AEABAB"/>
              </a:solidFill>
            </c:spPr>
            <c:extLst>
              <c:ext xmlns:c16="http://schemas.microsoft.com/office/drawing/2014/chart" uri="{C3380CC4-5D6E-409C-BE32-E72D297353CC}">
                <c16:uniqueId val="{000007C9-C623-4FBE-8EDB-4AD12F618AAD}"/>
              </c:ext>
            </c:extLst>
          </c:dPt>
          <c:dPt>
            <c:idx val="996"/>
            <c:invertIfNegative val="1"/>
            <c:bubble3D val="0"/>
            <c:spPr>
              <a:solidFill>
                <a:srgbClr val="AEABAB"/>
              </a:solidFill>
            </c:spPr>
            <c:extLst>
              <c:ext xmlns:c16="http://schemas.microsoft.com/office/drawing/2014/chart" uri="{C3380CC4-5D6E-409C-BE32-E72D297353CC}">
                <c16:uniqueId val="{000007CB-C623-4FBE-8EDB-4AD12F618AAD}"/>
              </c:ext>
            </c:extLst>
          </c:dPt>
          <c:dPt>
            <c:idx val="997"/>
            <c:invertIfNegative val="1"/>
            <c:bubble3D val="0"/>
            <c:spPr>
              <a:solidFill>
                <a:srgbClr val="AEABAB"/>
              </a:solidFill>
            </c:spPr>
            <c:extLst>
              <c:ext xmlns:c16="http://schemas.microsoft.com/office/drawing/2014/chart" uri="{C3380CC4-5D6E-409C-BE32-E72D297353CC}">
                <c16:uniqueId val="{000007CD-C623-4FBE-8EDB-4AD12F618AAD}"/>
              </c:ext>
            </c:extLst>
          </c:dPt>
          <c:dPt>
            <c:idx val="998"/>
            <c:invertIfNegative val="1"/>
            <c:bubble3D val="0"/>
            <c:spPr>
              <a:solidFill>
                <a:srgbClr val="AEABAB"/>
              </a:solidFill>
            </c:spPr>
            <c:extLst>
              <c:ext xmlns:c16="http://schemas.microsoft.com/office/drawing/2014/chart" uri="{C3380CC4-5D6E-409C-BE32-E72D297353CC}">
                <c16:uniqueId val="{000007CF-C623-4FBE-8EDB-4AD12F618AAD}"/>
              </c:ext>
            </c:extLst>
          </c:dPt>
          <c:dPt>
            <c:idx val="999"/>
            <c:invertIfNegative val="1"/>
            <c:bubble3D val="0"/>
            <c:spPr>
              <a:solidFill>
                <a:srgbClr val="AEABAB"/>
              </a:solidFill>
            </c:spPr>
            <c:extLst>
              <c:ext xmlns:c16="http://schemas.microsoft.com/office/drawing/2014/chart" uri="{C3380CC4-5D6E-409C-BE32-E72D297353CC}">
                <c16:uniqueId val="{000007D1-C623-4FBE-8EDB-4AD12F618AAD}"/>
              </c:ext>
            </c:extLst>
          </c:dPt>
          <c:dPt>
            <c:idx val="1000"/>
            <c:invertIfNegative val="1"/>
            <c:bubble3D val="0"/>
            <c:spPr>
              <a:solidFill>
                <a:srgbClr val="AEABAB"/>
              </a:solidFill>
            </c:spPr>
            <c:extLst>
              <c:ext xmlns:c16="http://schemas.microsoft.com/office/drawing/2014/chart" uri="{C3380CC4-5D6E-409C-BE32-E72D297353CC}">
                <c16:uniqueId val="{000007D3-C623-4FBE-8EDB-4AD12F618AAD}"/>
              </c:ext>
            </c:extLst>
          </c:dPt>
          <c:dPt>
            <c:idx val="1001"/>
            <c:invertIfNegative val="1"/>
            <c:bubble3D val="0"/>
            <c:spPr>
              <a:solidFill>
                <a:srgbClr val="AEABAB"/>
              </a:solidFill>
            </c:spPr>
            <c:extLst>
              <c:ext xmlns:c16="http://schemas.microsoft.com/office/drawing/2014/chart" uri="{C3380CC4-5D6E-409C-BE32-E72D297353CC}">
                <c16:uniqueId val="{000007D5-C623-4FBE-8EDB-4AD12F618AAD}"/>
              </c:ext>
            </c:extLst>
          </c:dPt>
          <c:dPt>
            <c:idx val="1002"/>
            <c:invertIfNegative val="1"/>
            <c:bubble3D val="0"/>
            <c:spPr>
              <a:solidFill>
                <a:srgbClr val="AEABAB"/>
              </a:solidFill>
            </c:spPr>
            <c:extLst>
              <c:ext xmlns:c16="http://schemas.microsoft.com/office/drawing/2014/chart" uri="{C3380CC4-5D6E-409C-BE32-E72D297353CC}">
                <c16:uniqueId val="{000007D7-C623-4FBE-8EDB-4AD12F618AAD}"/>
              </c:ext>
            </c:extLst>
          </c:dPt>
          <c:dPt>
            <c:idx val="1003"/>
            <c:invertIfNegative val="1"/>
            <c:bubble3D val="0"/>
            <c:spPr>
              <a:solidFill>
                <a:srgbClr val="AEABAB"/>
              </a:solidFill>
            </c:spPr>
            <c:extLst>
              <c:ext xmlns:c16="http://schemas.microsoft.com/office/drawing/2014/chart" uri="{C3380CC4-5D6E-409C-BE32-E72D297353CC}">
                <c16:uniqueId val="{000007D9-C623-4FBE-8EDB-4AD12F618AAD}"/>
              </c:ext>
            </c:extLst>
          </c:dPt>
          <c:dPt>
            <c:idx val="1004"/>
            <c:invertIfNegative val="1"/>
            <c:bubble3D val="0"/>
            <c:spPr>
              <a:solidFill>
                <a:srgbClr val="AEABAB"/>
              </a:solidFill>
            </c:spPr>
            <c:extLst>
              <c:ext xmlns:c16="http://schemas.microsoft.com/office/drawing/2014/chart" uri="{C3380CC4-5D6E-409C-BE32-E72D297353CC}">
                <c16:uniqueId val="{000007DB-C623-4FBE-8EDB-4AD12F618AAD}"/>
              </c:ext>
            </c:extLst>
          </c:dPt>
          <c:dPt>
            <c:idx val="1005"/>
            <c:invertIfNegative val="1"/>
            <c:bubble3D val="0"/>
            <c:spPr>
              <a:solidFill>
                <a:srgbClr val="AEABAB"/>
              </a:solidFill>
            </c:spPr>
            <c:extLst>
              <c:ext xmlns:c16="http://schemas.microsoft.com/office/drawing/2014/chart" uri="{C3380CC4-5D6E-409C-BE32-E72D297353CC}">
                <c16:uniqueId val="{000007DD-C623-4FBE-8EDB-4AD12F618AAD}"/>
              </c:ext>
            </c:extLst>
          </c:dPt>
          <c:dPt>
            <c:idx val="1006"/>
            <c:invertIfNegative val="1"/>
            <c:bubble3D val="0"/>
            <c:spPr>
              <a:solidFill>
                <a:srgbClr val="AEABAB"/>
              </a:solidFill>
            </c:spPr>
            <c:extLst>
              <c:ext xmlns:c16="http://schemas.microsoft.com/office/drawing/2014/chart" uri="{C3380CC4-5D6E-409C-BE32-E72D297353CC}">
                <c16:uniqueId val="{000007DF-C623-4FBE-8EDB-4AD12F618AAD}"/>
              </c:ext>
            </c:extLst>
          </c:dPt>
          <c:dPt>
            <c:idx val="1007"/>
            <c:invertIfNegative val="1"/>
            <c:bubble3D val="0"/>
            <c:spPr>
              <a:solidFill>
                <a:srgbClr val="AEABAB"/>
              </a:solidFill>
            </c:spPr>
            <c:extLst>
              <c:ext xmlns:c16="http://schemas.microsoft.com/office/drawing/2014/chart" uri="{C3380CC4-5D6E-409C-BE32-E72D297353CC}">
                <c16:uniqueId val="{000007E1-C623-4FBE-8EDB-4AD12F618AAD}"/>
              </c:ext>
            </c:extLst>
          </c:dPt>
          <c:dPt>
            <c:idx val="1008"/>
            <c:invertIfNegative val="1"/>
            <c:bubble3D val="0"/>
            <c:spPr>
              <a:solidFill>
                <a:srgbClr val="AEABAB"/>
              </a:solidFill>
            </c:spPr>
            <c:extLst>
              <c:ext xmlns:c16="http://schemas.microsoft.com/office/drawing/2014/chart" uri="{C3380CC4-5D6E-409C-BE32-E72D297353CC}">
                <c16:uniqueId val="{000007E3-C623-4FBE-8EDB-4AD12F618AAD}"/>
              </c:ext>
            </c:extLst>
          </c:dPt>
          <c:dPt>
            <c:idx val="1009"/>
            <c:invertIfNegative val="1"/>
            <c:bubble3D val="0"/>
            <c:spPr>
              <a:solidFill>
                <a:srgbClr val="AEABAB"/>
              </a:solidFill>
            </c:spPr>
            <c:extLst>
              <c:ext xmlns:c16="http://schemas.microsoft.com/office/drawing/2014/chart" uri="{C3380CC4-5D6E-409C-BE32-E72D297353CC}">
                <c16:uniqueId val="{000007E5-C623-4FBE-8EDB-4AD12F618AAD}"/>
              </c:ext>
            </c:extLst>
          </c:dPt>
          <c:dPt>
            <c:idx val="1010"/>
            <c:invertIfNegative val="1"/>
            <c:bubble3D val="0"/>
            <c:spPr>
              <a:solidFill>
                <a:srgbClr val="AEABAB"/>
              </a:solidFill>
            </c:spPr>
            <c:extLst>
              <c:ext xmlns:c16="http://schemas.microsoft.com/office/drawing/2014/chart" uri="{C3380CC4-5D6E-409C-BE32-E72D297353CC}">
                <c16:uniqueId val="{000007E7-C623-4FBE-8EDB-4AD12F618AAD}"/>
              </c:ext>
            </c:extLst>
          </c:dPt>
          <c:dPt>
            <c:idx val="1011"/>
            <c:invertIfNegative val="1"/>
            <c:bubble3D val="0"/>
            <c:spPr>
              <a:solidFill>
                <a:srgbClr val="AEABAB"/>
              </a:solidFill>
            </c:spPr>
            <c:extLst>
              <c:ext xmlns:c16="http://schemas.microsoft.com/office/drawing/2014/chart" uri="{C3380CC4-5D6E-409C-BE32-E72D297353CC}">
                <c16:uniqueId val="{000007E9-C623-4FBE-8EDB-4AD12F618AAD}"/>
              </c:ext>
            </c:extLst>
          </c:dPt>
          <c:dPt>
            <c:idx val="1012"/>
            <c:invertIfNegative val="1"/>
            <c:bubble3D val="0"/>
            <c:spPr>
              <a:solidFill>
                <a:srgbClr val="AEABAB"/>
              </a:solidFill>
            </c:spPr>
            <c:extLst>
              <c:ext xmlns:c16="http://schemas.microsoft.com/office/drawing/2014/chart" uri="{C3380CC4-5D6E-409C-BE32-E72D297353CC}">
                <c16:uniqueId val="{000007EB-C623-4FBE-8EDB-4AD12F618AAD}"/>
              </c:ext>
            </c:extLst>
          </c:dPt>
          <c:dPt>
            <c:idx val="1013"/>
            <c:invertIfNegative val="1"/>
            <c:bubble3D val="0"/>
            <c:spPr>
              <a:solidFill>
                <a:srgbClr val="AEABAB"/>
              </a:solidFill>
            </c:spPr>
            <c:extLst>
              <c:ext xmlns:c16="http://schemas.microsoft.com/office/drawing/2014/chart" uri="{C3380CC4-5D6E-409C-BE32-E72D297353CC}">
                <c16:uniqueId val="{000007ED-C623-4FBE-8EDB-4AD12F618AAD}"/>
              </c:ext>
            </c:extLst>
          </c:dPt>
          <c:dPt>
            <c:idx val="1014"/>
            <c:invertIfNegative val="1"/>
            <c:bubble3D val="0"/>
            <c:spPr>
              <a:solidFill>
                <a:srgbClr val="AEABAB"/>
              </a:solidFill>
            </c:spPr>
            <c:extLst>
              <c:ext xmlns:c16="http://schemas.microsoft.com/office/drawing/2014/chart" uri="{C3380CC4-5D6E-409C-BE32-E72D297353CC}">
                <c16:uniqueId val="{000007EF-C623-4FBE-8EDB-4AD12F618AAD}"/>
              </c:ext>
            </c:extLst>
          </c:dPt>
          <c:dPt>
            <c:idx val="1015"/>
            <c:invertIfNegative val="1"/>
            <c:bubble3D val="0"/>
            <c:spPr>
              <a:solidFill>
                <a:srgbClr val="AEABAB"/>
              </a:solidFill>
            </c:spPr>
            <c:extLst>
              <c:ext xmlns:c16="http://schemas.microsoft.com/office/drawing/2014/chart" uri="{C3380CC4-5D6E-409C-BE32-E72D297353CC}">
                <c16:uniqueId val="{000007F1-C623-4FBE-8EDB-4AD12F618AAD}"/>
              </c:ext>
            </c:extLst>
          </c:dPt>
          <c:dPt>
            <c:idx val="1016"/>
            <c:invertIfNegative val="1"/>
            <c:bubble3D val="0"/>
            <c:spPr>
              <a:solidFill>
                <a:srgbClr val="AEABAB"/>
              </a:solidFill>
            </c:spPr>
            <c:extLst>
              <c:ext xmlns:c16="http://schemas.microsoft.com/office/drawing/2014/chart" uri="{C3380CC4-5D6E-409C-BE32-E72D297353CC}">
                <c16:uniqueId val="{000007F3-C623-4FBE-8EDB-4AD12F618AAD}"/>
              </c:ext>
            </c:extLst>
          </c:dPt>
          <c:dPt>
            <c:idx val="1017"/>
            <c:invertIfNegative val="1"/>
            <c:bubble3D val="0"/>
            <c:spPr>
              <a:solidFill>
                <a:srgbClr val="AEABAB"/>
              </a:solidFill>
            </c:spPr>
            <c:extLst>
              <c:ext xmlns:c16="http://schemas.microsoft.com/office/drawing/2014/chart" uri="{C3380CC4-5D6E-409C-BE32-E72D297353CC}">
                <c16:uniqueId val="{000007F5-C623-4FBE-8EDB-4AD12F618AAD}"/>
              </c:ext>
            </c:extLst>
          </c:dPt>
          <c:dPt>
            <c:idx val="1018"/>
            <c:invertIfNegative val="1"/>
            <c:bubble3D val="0"/>
            <c:spPr>
              <a:solidFill>
                <a:srgbClr val="AEABAB"/>
              </a:solidFill>
            </c:spPr>
            <c:extLst>
              <c:ext xmlns:c16="http://schemas.microsoft.com/office/drawing/2014/chart" uri="{C3380CC4-5D6E-409C-BE32-E72D297353CC}">
                <c16:uniqueId val="{000007F7-C623-4FBE-8EDB-4AD12F618AAD}"/>
              </c:ext>
            </c:extLst>
          </c:dPt>
          <c:dPt>
            <c:idx val="1019"/>
            <c:invertIfNegative val="1"/>
            <c:bubble3D val="0"/>
            <c:spPr>
              <a:solidFill>
                <a:srgbClr val="AEABAB"/>
              </a:solidFill>
            </c:spPr>
            <c:extLst>
              <c:ext xmlns:c16="http://schemas.microsoft.com/office/drawing/2014/chart" uri="{C3380CC4-5D6E-409C-BE32-E72D297353CC}">
                <c16:uniqueId val="{000007F9-C623-4FBE-8EDB-4AD12F618AAD}"/>
              </c:ext>
            </c:extLst>
          </c:dPt>
          <c:dPt>
            <c:idx val="1020"/>
            <c:invertIfNegative val="1"/>
            <c:bubble3D val="0"/>
            <c:spPr>
              <a:solidFill>
                <a:srgbClr val="AEABAB"/>
              </a:solidFill>
            </c:spPr>
            <c:extLst>
              <c:ext xmlns:c16="http://schemas.microsoft.com/office/drawing/2014/chart" uri="{C3380CC4-5D6E-409C-BE32-E72D297353CC}">
                <c16:uniqueId val="{000007FB-C623-4FBE-8EDB-4AD12F618AAD}"/>
              </c:ext>
            </c:extLst>
          </c:dPt>
          <c:dPt>
            <c:idx val="1021"/>
            <c:invertIfNegative val="1"/>
            <c:bubble3D val="0"/>
            <c:spPr>
              <a:solidFill>
                <a:srgbClr val="AEABAB"/>
              </a:solidFill>
            </c:spPr>
            <c:extLst>
              <c:ext xmlns:c16="http://schemas.microsoft.com/office/drawing/2014/chart" uri="{C3380CC4-5D6E-409C-BE32-E72D297353CC}">
                <c16:uniqueId val="{000007FD-C623-4FBE-8EDB-4AD12F618AAD}"/>
              </c:ext>
            </c:extLst>
          </c:dPt>
          <c:dPt>
            <c:idx val="1022"/>
            <c:invertIfNegative val="1"/>
            <c:bubble3D val="0"/>
            <c:spPr>
              <a:solidFill>
                <a:srgbClr val="AEABAB"/>
              </a:solidFill>
            </c:spPr>
            <c:extLst>
              <c:ext xmlns:c16="http://schemas.microsoft.com/office/drawing/2014/chart" uri="{C3380CC4-5D6E-409C-BE32-E72D297353CC}">
                <c16:uniqueId val="{000007FF-C623-4FBE-8EDB-4AD12F618AAD}"/>
              </c:ext>
            </c:extLst>
          </c:dPt>
          <c:dPt>
            <c:idx val="1023"/>
            <c:invertIfNegative val="1"/>
            <c:bubble3D val="0"/>
            <c:spPr>
              <a:solidFill>
                <a:srgbClr val="AEABAB"/>
              </a:solidFill>
            </c:spPr>
            <c:extLst>
              <c:ext xmlns:c16="http://schemas.microsoft.com/office/drawing/2014/chart" uri="{C3380CC4-5D6E-409C-BE32-E72D297353CC}">
                <c16:uniqueId val="{00000801-C623-4FBE-8EDB-4AD12F618AAD}"/>
              </c:ext>
            </c:extLst>
          </c:dPt>
          <c:dPt>
            <c:idx val="1024"/>
            <c:invertIfNegative val="1"/>
            <c:bubble3D val="0"/>
            <c:spPr>
              <a:solidFill>
                <a:srgbClr val="AEABAB"/>
              </a:solidFill>
            </c:spPr>
            <c:extLst>
              <c:ext xmlns:c16="http://schemas.microsoft.com/office/drawing/2014/chart" uri="{C3380CC4-5D6E-409C-BE32-E72D297353CC}">
                <c16:uniqueId val="{00000803-C623-4FBE-8EDB-4AD12F618AAD}"/>
              </c:ext>
            </c:extLst>
          </c:dPt>
          <c:dPt>
            <c:idx val="1025"/>
            <c:invertIfNegative val="1"/>
            <c:bubble3D val="0"/>
            <c:spPr>
              <a:solidFill>
                <a:srgbClr val="AEABAB"/>
              </a:solidFill>
            </c:spPr>
            <c:extLst>
              <c:ext xmlns:c16="http://schemas.microsoft.com/office/drawing/2014/chart" uri="{C3380CC4-5D6E-409C-BE32-E72D297353CC}">
                <c16:uniqueId val="{00000805-C623-4FBE-8EDB-4AD12F618AAD}"/>
              </c:ext>
            </c:extLst>
          </c:dPt>
          <c:dPt>
            <c:idx val="1026"/>
            <c:invertIfNegative val="1"/>
            <c:bubble3D val="0"/>
            <c:spPr>
              <a:solidFill>
                <a:srgbClr val="AEABAB"/>
              </a:solidFill>
            </c:spPr>
            <c:extLst>
              <c:ext xmlns:c16="http://schemas.microsoft.com/office/drawing/2014/chart" uri="{C3380CC4-5D6E-409C-BE32-E72D297353CC}">
                <c16:uniqueId val="{00000807-C623-4FBE-8EDB-4AD12F618AAD}"/>
              </c:ext>
            </c:extLst>
          </c:dPt>
          <c:dPt>
            <c:idx val="1027"/>
            <c:invertIfNegative val="1"/>
            <c:bubble3D val="0"/>
            <c:spPr>
              <a:solidFill>
                <a:srgbClr val="AEABAB"/>
              </a:solidFill>
            </c:spPr>
            <c:extLst>
              <c:ext xmlns:c16="http://schemas.microsoft.com/office/drawing/2014/chart" uri="{C3380CC4-5D6E-409C-BE32-E72D297353CC}">
                <c16:uniqueId val="{00000809-C623-4FBE-8EDB-4AD12F618AAD}"/>
              </c:ext>
            </c:extLst>
          </c:dPt>
          <c:dPt>
            <c:idx val="1028"/>
            <c:invertIfNegative val="1"/>
            <c:bubble3D val="0"/>
            <c:spPr>
              <a:solidFill>
                <a:srgbClr val="AEABAB"/>
              </a:solidFill>
            </c:spPr>
            <c:extLst>
              <c:ext xmlns:c16="http://schemas.microsoft.com/office/drawing/2014/chart" uri="{C3380CC4-5D6E-409C-BE32-E72D297353CC}">
                <c16:uniqueId val="{0000080B-C623-4FBE-8EDB-4AD12F618AAD}"/>
              </c:ext>
            </c:extLst>
          </c:dPt>
          <c:dPt>
            <c:idx val="1029"/>
            <c:invertIfNegative val="1"/>
            <c:bubble3D val="0"/>
            <c:spPr>
              <a:solidFill>
                <a:srgbClr val="AEABAB"/>
              </a:solidFill>
            </c:spPr>
            <c:extLst>
              <c:ext xmlns:c16="http://schemas.microsoft.com/office/drawing/2014/chart" uri="{C3380CC4-5D6E-409C-BE32-E72D297353CC}">
                <c16:uniqueId val="{0000080D-C623-4FBE-8EDB-4AD12F618AAD}"/>
              </c:ext>
            </c:extLst>
          </c:dPt>
          <c:dPt>
            <c:idx val="1030"/>
            <c:invertIfNegative val="1"/>
            <c:bubble3D val="0"/>
            <c:spPr>
              <a:solidFill>
                <a:srgbClr val="AEABAB"/>
              </a:solidFill>
            </c:spPr>
            <c:extLst>
              <c:ext xmlns:c16="http://schemas.microsoft.com/office/drawing/2014/chart" uri="{C3380CC4-5D6E-409C-BE32-E72D297353CC}">
                <c16:uniqueId val="{0000080F-C623-4FBE-8EDB-4AD12F618AAD}"/>
              </c:ext>
            </c:extLst>
          </c:dPt>
          <c:dPt>
            <c:idx val="1031"/>
            <c:invertIfNegative val="1"/>
            <c:bubble3D val="0"/>
            <c:spPr>
              <a:solidFill>
                <a:srgbClr val="AEABAB"/>
              </a:solidFill>
            </c:spPr>
            <c:extLst>
              <c:ext xmlns:c16="http://schemas.microsoft.com/office/drawing/2014/chart" uri="{C3380CC4-5D6E-409C-BE32-E72D297353CC}">
                <c16:uniqueId val="{00000811-C623-4FBE-8EDB-4AD12F618AAD}"/>
              </c:ext>
            </c:extLst>
          </c:dPt>
          <c:dPt>
            <c:idx val="1032"/>
            <c:invertIfNegative val="1"/>
            <c:bubble3D val="0"/>
            <c:spPr>
              <a:solidFill>
                <a:srgbClr val="AEABAB"/>
              </a:solidFill>
            </c:spPr>
            <c:extLst>
              <c:ext xmlns:c16="http://schemas.microsoft.com/office/drawing/2014/chart" uri="{C3380CC4-5D6E-409C-BE32-E72D297353CC}">
                <c16:uniqueId val="{00000813-C623-4FBE-8EDB-4AD12F618AAD}"/>
              </c:ext>
            </c:extLst>
          </c:dPt>
          <c:dPt>
            <c:idx val="1033"/>
            <c:invertIfNegative val="1"/>
            <c:bubble3D val="0"/>
            <c:spPr>
              <a:solidFill>
                <a:srgbClr val="AEABAB"/>
              </a:solidFill>
            </c:spPr>
            <c:extLst>
              <c:ext xmlns:c16="http://schemas.microsoft.com/office/drawing/2014/chart" uri="{C3380CC4-5D6E-409C-BE32-E72D297353CC}">
                <c16:uniqueId val="{00000815-C623-4FBE-8EDB-4AD12F618AAD}"/>
              </c:ext>
            </c:extLst>
          </c:dPt>
          <c:dPt>
            <c:idx val="1034"/>
            <c:invertIfNegative val="1"/>
            <c:bubble3D val="0"/>
            <c:spPr>
              <a:solidFill>
                <a:srgbClr val="AEABAB"/>
              </a:solidFill>
            </c:spPr>
            <c:extLst>
              <c:ext xmlns:c16="http://schemas.microsoft.com/office/drawing/2014/chart" uri="{C3380CC4-5D6E-409C-BE32-E72D297353CC}">
                <c16:uniqueId val="{00000817-C623-4FBE-8EDB-4AD12F618AAD}"/>
              </c:ext>
            </c:extLst>
          </c:dPt>
          <c:dPt>
            <c:idx val="1035"/>
            <c:invertIfNegative val="1"/>
            <c:bubble3D val="0"/>
            <c:spPr>
              <a:solidFill>
                <a:srgbClr val="AEABAB"/>
              </a:solidFill>
            </c:spPr>
            <c:extLst>
              <c:ext xmlns:c16="http://schemas.microsoft.com/office/drawing/2014/chart" uri="{C3380CC4-5D6E-409C-BE32-E72D297353CC}">
                <c16:uniqueId val="{00000819-C623-4FBE-8EDB-4AD12F618AAD}"/>
              </c:ext>
            </c:extLst>
          </c:dPt>
          <c:dPt>
            <c:idx val="1036"/>
            <c:invertIfNegative val="1"/>
            <c:bubble3D val="0"/>
            <c:spPr>
              <a:solidFill>
                <a:srgbClr val="AEABAB"/>
              </a:solidFill>
            </c:spPr>
            <c:extLst>
              <c:ext xmlns:c16="http://schemas.microsoft.com/office/drawing/2014/chart" uri="{C3380CC4-5D6E-409C-BE32-E72D297353CC}">
                <c16:uniqueId val="{0000081B-C623-4FBE-8EDB-4AD12F618AAD}"/>
              </c:ext>
            </c:extLst>
          </c:dPt>
          <c:dPt>
            <c:idx val="1037"/>
            <c:invertIfNegative val="1"/>
            <c:bubble3D val="0"/>
            <c:spPr>
              <a:solidFill>
                <a:srgbClr val="AEABAB"/>
              </a:solidFill>
            </c:spPr>
            <c:extLst>
              <c:ext xmlns:c16="http://schemas.microsoft.com/office/drawing/2014/chart" uri="{C3380CC4-5D6E-409C-BE32-E72D297353CC}">
                <c16:uniqueId val="{0000081D-C623-4FBE-8EDB-4AD12F618AAD}"/>
              </c:ext>
            </c:extLst>
          </c:dPt>
          <c:dPt>
            <c:idx val="1038"/>
            <c:invertIfNegative val="1"/>
            <c:bubble3D val="0"/>
            <c:spPr>
              <a:solidFill>
                <a:srgbClr val="AEABAB"/>
              </a:solidFill>
            </c:spPr>
            <c:extLst>
              <c:ext xmlns:c16="http://schemas.microsoft.com/office/drawing/2014/chart" uri="{C3380CC4-5D6E-409C-BE32-E72D297353CC}">
                <c16:uniqueId val="{0000081F-C623-4FBE-8EDB-4AD12F618AAD}"/>
              </c:ext>
            </c:extLst>
          </c:dPt>
          <c:dPt>
            <c:idx val="1039"/>
            <c:invertIfNegative val="1"/>
            <c:bubble3D val="0"/>
            <c:spPr>
              <a:solidFill>
                <a:srgbClr val="AEABAB"/>
              </a:solidFill>
            </c:spPr>
            <c:extLst>
              <c:ext xmlns:c16="http://schemas.microsoft.com/office/drawing/2014/chart" uri="{C3380CC4-5D6E-409C-BE32-E72D297353CC}">
                <c16:uniqueId val="{00000821-C623-4FBE-8EDB-4AD12F618AAD}"/>
              </c:ext>
            </c:extLst>
          </c:dPt>
          <c:dPt>
            <c:idx val="1040"/>
            <c:invertIfNegative val="1"/>
            <c:bubble3D val="0"/>
            <c:spPr>
              <a:solidFill>
                <a:srgbClr val="AEABAB"/>
              </a:solidFill>
            </c:spPr>
            <c:extLst>
              <c:ext xmlns:c16="http://schemas.microsoft.com/office/drawing/2014/chart" uri="{C3380CC4-5D6E-409C-BE32-E72D297353CC}">
                <c16:uniqueId val="{00000823-C623-4FBE-8EDB-4AD12F618AAD}"/>
              </c:ext>
            </c:extLst>
          </c:dPt>
          <c:dPt>
            <c:idx val="1041"/>
            <c:invertIfNegative val="1"/>
            <c:bubble3D val="0"/>
            <c:spPr>
              <a:solidFill>
                <a:srgbClr val="AEABAB"/>
              </a:solidFill>
            </c:spPr>
            <c:extLst>
              <c:ext xmlns:c16="http://schemas.microsoft.com/office/drawing/2014/chart" uri="{C3380CC4-5D6E-409C-BE32-E72D297353CC}">
                <c16:uniqueId val="{00000825-C623-4FBE-8EDB-4AD12F618AAD}"/>
              </c:ext>
            </c:extLst>
          </c:dPt>
          <c:dPt>
            <c:idx val="1042"/>
            <c:invertIfNegative val="1"/>
            <c:bubble3D val="0"/>
            <c:spPr>
              <a:solidFill>
                <a:srgbClr val="AEABAB"/>
              </a:solidFill>
            </c:spPr>
            <c:extLst>
              <c:ext xmlns:c16="http://schemas.microsoft.com/office/drawing/2014/chart" uri="{C3380CC4-5D6E-409C-BE32-E72D297353CC}">
                <c16:uniqueId val="{00000827-C623-4FBE-8EDB-4AD12F618AAD}"/>
              </c:ext>
            </c:extLst>
          </c:dPt>
          <c:dPt>
            <c:idx val="1043"/>
            <c:invertIfNegative val="1"/>
            <c:bubble3D val="0"/>
            <c:spPr>
              <a:solidFill>
                <a:srgbClr val="AEABAB"/>
              </a:solidFill>
            </c:spPr>
            <c:extLst>
              <c:ext xmlns:c16="http://schemas.microsoft.com/office/drawing/2014/chart" uri="{C3380CC4-5D6E-409C-BE32-E72D297353CC}">
                <c16:uniqueId val="{00000829-C623-4FBE-8EDB-4AD12F618AAD}"/>
              </c:ext>
            </c:extLst>
          </c:dPt>
          <c:dPt>
            <c:idx val="1044"/>
            <c:invertIfNegative val="1"/>
            <c:bubble3D val="0"/>
            <c:spPr>
              <a:solidFill>
                <a:srgbClr val="AEABAB"/>
              </a:solidFill>
            </c:spPr>
            <c:extLst>
              <c:ext xmlns:c16="http://schemas.microsoft.com/office/drawing/2014/chart" uri="{C3380CC4-5D6E-409C-BE32-E72D297353CC}">
                <c16:uniqueId val="{0000082B-C623-4FBE-8EDB-4AD12F618AAD}"/>
              </c:ext>
            </c:extLst>
          </c:dPt>
          <c:dPt>
            <c:idx val="1045"/>
            <c:invertIfNegative val="1"/>
            <c:bubble3D val="0"/>
            <c:spPr>
              <a:solidFill>
                <a:srgbClr val="AEABAB"/>
              </a:solidFill>
            </c:spPr>
            <c:extLst>
              <c:ext xmlns:c16="http://schemas.microsoft.com/office/drawing/2014/chart" uri="{C3380CC4-5D6E-409C-BE32-E72D297353CC}">
                <c16:uniqueId val="{0000082D-C623-4FBE-8EDB-4AD12F618AAD}"/>
              </c:ext>
            </c:extLst>
          </c:dPt>
          <c:dPt>
            <c:idx val="1046"/>
            <c:invertIfNegative val="1"/>
            <c:bubble3D val="0"/>
            <c:spPr>
              <a:solidFill>
                <a:srgbClr val="AEABAB"/>
              </a:solidFill>
            </c:spPr>
            <c:extLst>
              <c:ext xmlns:c16="http://schemas.microsoft.com/office/drawing/2014/chart" uri="{C3380CC4-5D6E-409C-BE32-E72D297353CC}">
                <c16:uniqueId val="{0000082F-C623-4FBE-8EDB-4AD12F618AAD}"/>
              </c:ext>
            </c:extLst>
          </c:dPt>
          <c:dPt>
            <c:idx val="1047"/>
            <c:invertIfNegative val="1"/>
            <c:bubble3D val="0"/>
            <c:spPr>
              <a:solidFill>
                <a:srgbClr val="AEABAB"/>
              </a:solidFill>
            </c:spPr>
            <c:extLst>
              <c:ext xmlns:c16="http://schemas.microsoft.com/office/drawing/2014/chart" uri="{C3380CC4-5D6E-409C-BE32-E72D297353CC}">
                <c16:uniqueId val="{00000831-C623-4FBE-8EDB-4AD12F618AAD}"/>
              </c:ext>
            </c:extLst>
          </c:dPt>
          <c:dPt>
            <c:idx val="1048"/>
            <c:invertIfNegative val="1"/>
            <c:bubble3D val="0"/>
            <c:spPr>
              <a:solidFill>
                <a:srgbClr val="AEABAB"/>
              </a:solidFill>
            </c:spPr>
            <c:extLst>
              <c:ext xmlns:c16="http://schemas.microsoft.com/office/drawing/2014/chart" uri="{C3380CC4-5D6E-409C-BE32-E72D297353CC}">
                <c16:uniqueId val="{00000833-C623-4FBE-8EDB-4AD12F618AAD}"/>
              </c:ext>
            </c:extLst>
          </c:dPt>
          <c:dPt>
            <c:idx val="1049"/>
            <c:invertIfNegative val="1"/>
            <c:bubble3D val="0"/>
            <c:spPr>
              <a:solidFill>
                <a:srgbClr val="AEABAB"/>
              </a:solidFill>
            </c:spPr>
            <c:extLst>
              <c:ext xmlns:c16="http://schemas.microsoft.com/office/drawing/2014/chart" uri="{C3380CC4-5D6E-409C-BE32-E72D297353CC}">
                <c16:uniqueId val="{00000835-C623-4FBE-8EDB-4AD12F618AAD}"/>
              </c:ext>
            </c:extLst>
          </c:dPt>
          <c:dPt>
            <c:idx val="1050"/>
            <c:invertIfNegative val="1"/>
            <c:bubble3D val="0"/>
            <c:spPr>
              <a:solidFill>
                <a:srgbClr val="AEABAB"/>
              </a:solidFill>
            </c:spPr>
            <c:extLst>
              <c:ext xmlns:c16="http://schemas.microsoft.com/office/drawing/2014/chart" uri="{C3380CC4-5D6E-409C-BE32-E72D297353CC}">
                <c16:uniqueId val="{00000837-C623-4FBE-8EDB-4AD12F618AAD}"/>
              </c:ext>
            </c:extLst>
          </c:dPt>
          <c:dPt>
            <c:idx val="1051"/>
            <c:invertIfNegative val="1"/>
            <c:bubble3D val="0"/>
            <c:spPr>
              <a:solidFill>
                <a:srgbClr val="AEABAB"/>
              </a:solidFill>
            </c:spPr>
            <c:extLst>
              <c:ext xmlns:c16="http://schemas.microsoft.com/office/drawing/2014/chart" uri="{C3380CC4-5D6E-409C-BE32-E72D297353CC}">
                <c16:uniqueId val="{00000839-C623-4FBE-8EDB-4AD12F618AAD}"/>
              </c:ext>
            </c:extLst>
          </c:dPt>
          <c:dPt>
            <c:idx val="1052"/>
            <c:invertIfNegative val="1"/>
            <c:bubble3D val="0"/>
            <c:spPr>
              <a:solidFill>
                <a:srgbClr val="AEABAB"/>
              </a:solidFill>
            </c:spPr>
            <c:extLst>
              <c:ext xmlns:c16="http://schemas.microsoft.com/office/drawing/2014/chart" uri="{C3380CC4-5D6E-409C-BE32-E72D297353CC}">
                <c16:uniqueId val="{0000083B-C623-4FBE-8EDB-4AD12F618AAD}"/>
              </c:ext>
            </c:extLst>
          </c:dPt>
          <c:dPt>
            <c:idx val="1053"/>
            <c:invertIfNegative val="1"/>
            <c:bubble3D val="0"/>
            <c:spPr>
              <a:solidFill>
                <a:srgbClr val="AEABAB"/>
              </a:solidFill>
            </c:spPr>
            <c:extLst>
              <c:ext xmlns:c16="http://schemas.microsoft.com/office/drawing/2014/chart" uri="{C3380CC4-5D6E-409C-BE32-E72D297353CC}">
                <c16:uniqueId val="{0000083D-C623-4FBE-8EDB-4AD12F618AAD}"/>
              </c:ext>
            </c:extLst>
          </c:dPt>
          <c:dPt>
            <c:idx val="1054"/>
            <c:invertIfNegative val="1"/>
            <c:bubble3D val="0"/>
            <c:spPr>
              <a:solidFill>
                <a:srgbClr val="AEABAB"/>
              </a:solidFill>
            </c:spPr>
            <c:extLst>
              <c:ext xmlns:c16="http://schemas.microsoft.com/office/drawing/2014/chart" uri="{C3380CC4-5D6E-409C-BE32-E72D297353CC}">
                <c16:uniqueId val="{0000083F-C623-4FBE-8EDB-4AD12F618AAD}"/>
              </c:ext>
            </c:extLst>
          </c:dPt>
          <c:dPt>
            <c:idx val="1055"/>
            <c:invertIfNegative val="1"/>
            <c:bubble3D val="0"/>
            <c:spPr>
              <a:solidFill>
                <a:srgbClr val="AEABAB"/>
              </a:solidFill>
            </c:spPr>
            <c:extLst>
              <c:ext xmlns:c16="http://schemas.microsoft.com/office/drawing/2014/chart" uri="{C3380CC4-5D6E-409C-BE32-E72D297353CC}">
                <c16:uniqueId val="{00000841-C623-4FBE-8EDB-4AD12F618AAD}"/>
              </c:ext>
            </c:extLst>
          </c:dPt>
          <c:dPt>
            <c:idx val="1056"/>
            <c:invertIfNegative val="1"/>
            <c:bubble3D val="0"/>
            <c:spPr>
              <a:solidFill>
                <a:srgbClr val="AEABAB"/>
              </a:solidFill>
            </c:spPr>
            <c:extLst>
              <c:ext xmlns:c16="http://schemas.microsoft.com/office/drawing/2014/chart" uri="{C3380CC4-5D6E-409C-BE32-E72D297353CC}">
                <c16:uniqueId val="{00000843-C623-4FBE-8EDB-4AD12F618AAD}"/>
              </c:ext>
            </c:extLst>
          </c:dPt>
          <c:dPt>
            <c:idx val="1057"/>
            <c:invertIfNegative val="1"/>
            <c:bubble3D val="0"/>
            <c:spPr>
              <a:solidFill>
                <a:srgbClr val="AEABAB"/>
              </a:solidFill>
            </c:spPr>
            <c:extLst>
              <c:ext xmlns:c16="http://schemas.microsoft.com/office/drawing/2014/chart" uri="{C3380CC4-5D6E-409C-BE32-E72D297353CC}">
                <c16:uniqueId val="{00000845-C623-4FBE-8EDB-4AD12F618AAD}"/>
              </c:ext>
            </c:extLst>
          </c:dPt>
          <c:dPt>
            <c:idx val="1058"/>
            <c:invertIfNegative val="1"/>
            <c:bubble3D val="0"/>
            <c:spPr>
              <a:solidFill>
                <a:srgbClr val="AEABAB"/>
              </a:solidFill>
            </c:spPr>
            <c:extLst>
              <c:ext xmlns:c16="http://schemas.microsoft.com/office/drawing/2014/chart" uri="{C3380CC4-5D6E-409C-BE32-E72D297353CC}">
                <c16:uniqueId val="{00000847-C623-4FBE-8EDB-4AD12F618AAD}"/>
              </c:ext>
            </c:extLst>
          </c:dPt>
          <c:dPt>
            <c:idx val="1059"/>
            <c:invertIfNegative val="1"/>
            <c:bubble3D val="0"/>
            <c:spPr>
              <a:solidFill>
                <a:srgbClr val="AEABAB"/>
              </a:solidFill>
            </c:spPr>
            <c:extLst>
              <c:ext xmlns:c16="http://schemas.microsoft.com/office/drawing/2014/chart" uri="{C3380CC4-5D6E-409C-BE32-E72D297353CC}">
                <c16:uniqueId val="{00000849-C623-4FBE-8EDB-4AD12F618AAD}"/>
              </c:ext>
            </c:extLst>
          </c:dPt>
          <c:dPt>
            <c:idx val="1060"/>
            <c:invertIfNegative val="1"/>
            <c:bubble3D val="0"/>
            <c:spPr>
              <a:solidFill>
                <a:srgbClr val="AEABAB"/>
              </a:solidFill>
            </c:spPr>
            <c:extLst>
              <c:ext xmlns:c16="http://schemas.microsoft.com/office/drawing/2014/chart" uri="{C3380CC4-5D6E-409C-BE32-E72D297353CC}">
                <c16:uniqueId val="{0000084B-C623-4FBE-8EDB-4AD12F618AAD}"/>
              </c:ext>
            </c:extLst>
          </c:dPt>
          <c:dPt>
            <c:idx val="1061"/>
            <c:invertIfNegative val="1"/>
            <c:bubble3D val="0"/>
            <c:spPr>
              <a:solidFill>
                <a:srgbClr val="AEABAB"/>
              </a:solidFill>
            </c:spPr>
            <c:extLst>
              <c:ext xmlns:c16="http://schemas.microsoft.com/office/drawing/2014/chart" uri="{C3380CC4-5D6E-409C-BE32-E72D297353CC}">
                <c16:uniqueId val="{0000084D-C623-4FBE-8EDB-4AD12F618AAD}"/>
              </c:ext>
            </c:extLst>
          </c:dPt>
          <c:dPt>
            <c:idx val="1062"/>
            <c:invertIfNegative val="1"/>
            <c:bubble3D val="0"/>
            <c:spPr>
              <a:solidFill>
                <a:srgbClr val="AEABAB"/>
              </a:solidFill>
            </c:spPr>
            <c:extLst>
              <c:ext xmlns:c16="http://schemas.microsoft.com/office/drawing/2014/chart" uri="{C3380CC4-5D6E-409C-BE32-E72D297353CC}">
                <c16:uniqueId val="{0000084F-C623-4FBE-8EDB-4AD12F618AAD}"/>
              </c:ext>
            </c:extLst>
          </c:dPt>
          <c:dPt>
            <c:idx val="1063"/>
            <c:invertIfNegative val="1"/>
            <c:bubble3D val="0"/>
            <c:spPr>
              <a:solidFill>
                <a:srgbClr val="AEABAB"/>
              </a:solidFill>
            </c:spPr>
            <c:extLst>
              <c:ext xmlns:c16="http://schemas.microsoft.com/office/drawing/2014/chart" uri="{C3380CC4-5D6E-409C-BE32-E72D297353CC}">
                <c16:uniqueId val="{00000851-C623-4FBE-8EDB-4AD12F618AAD}"/>
              </c:ext>
            </c:extLst>
          </c:dPt>
          <c:dPt>
            <c:idx val="1064"/>
            <c:invertIfNegative val="1"/>
            <c:bubble3D val="0"/>
            <c:spPr>
              <a:solidFill>
                <a:srgbClr val="AEABAB"/>
              </a:solidFill>
            </c:spPr>
            <c:extLst>
              <c:ext xmlns:c16="http://schemas.microsoft.com/office/drawing/2014/chart" uri="{C3380CC4-5D6E-409C-BE32-E72D297353CC}">
                <c16:uniqueId val="{00000853-C623-4FBE-8EDB-4AD12F618AAD}"/>
              </c:ext>
            </c:extLst>
          </c:dPt>
          <c:dPt>
            <c:idx val="1065"/>
            <c:invertIfNegative val="1"/>
            <c:bubble3D val="0"/>
            <c:spPr>
              <a:solidFill>
                <a:srgbClr val="AEABAB"/>
              </a:solidFill>
            </c:spPr>
            <c:extLst>
              <c:ext xmlns:c16="http://schemas.microsoft.com/office/drawing/2014/chart" uri="{C3380CC4-5D6E-409C-BE32-E72D297353CC}">
                <c16:uniqueId val="{00000855-C623-4FBE-8EDB-4AD12F618AAD}"/>
              </c:ext>
            </c:extLst>
          </c:dPt>
          <c:dPt>
            <c:idx val="1066"/>
            <c:invertIfNegative val="1"/>
            <c:bubble3D val="0"/>
            <c:spPr>
              <a:solidFill>
                <a:srgbClr val="AEABAB"/>
              </a:solidFill>
            </c:spPr>
            <c:extLst>
              <c:ext xmlns:c16="http://schemas.microsoft.com/office/drawing/2014/chart" uri="{C3380CC4-5D6E-409C-BE32-E72D297353CC}">
                <c16:uniqueId val="{00000857-C623-4FBE-8EDB-4AD12F618AAD}"/>
              </c:ext>
            </c:extLst>
          </c:dPt>
          <c:dPt>
            <c:idx val="1067"/>
            <c:invertIfNegative val="1"/>
            <c:bubble3D val="0"/>
            <c:spPr>
              <a:solidFill>
                <a:srgbClr val="AEABAB"/>
              </a:solidFill>
            </c:spPr>
            <c:extLst>
              <c:ext xmlns:c16="http://schemas.microsoft.com/office/drawing/2014/chart" uri="{C3380CC4-5D6E-409C-BE32-E72D297353CC}">
                <c16:uniqueId val="{00000859-C623-4FBE-8EDB-4AD12F618AAD}"/>
              </c:ext>
            </c:extLst>
          </c:dPt>
          <c:dPt>
            <c:idx val="1068"/>
            <c:invertIfNegative val="1"/>
            <c:bubble3D val="0"/>
            <c:spPr>
              <a:solidFill>
                <a:srgbClr val="AEABAB"/>
              </a:solidFill>
            </c:spPr>
            <c:extLst>
              <c:ext xmlns:c16="http://schemas.microsoft.com/office/drawing/2014/chart" uri="{C3380CC4-5D6E-409C-BE32-E72D297353CC}">
                <c16:uniqueId val="{0000085B-C623-4FBE-8EDB-4AD12F618AAD}"/>
              </c:ext>
            </c:extLst>
          </c:dPt>
          <c:dPt>
            <c:idx val="1069"/>
            <c:invertIfNegative val="1"/>
            <c:bubble3D val="0"/>
            <c:spPr>
              <a:solidFill>
                <a:srgbClr val="AEABAB"/>
              </a:solidFill>
            </c:spPr>
            <c:extLst>
              <c:ext xmlns:c16="http://schemas.microsoft.com/office/drawing/2014/chart" uri="{C3380CC4-5D6E-409C-BE32-E72D297353CC}">
                <c16:uniqueId val="{0000085D-C623-4FBE-8EDB-4AD12F618AAD}"/>
              </c:ext>
            </c:extLst>
          </c:dPt>
          <c:dPt>
            <c:idx val="1070"/>
            <c:invertIfNegative val="1"/>
            <c:bubble3D val="0"/>
            <c:spPr>
              <a:solidFill>
                <a:srgbClr val="AEABAB"/>
              </a:solidFill>
            </c:spPr>
            <c:extLst>
              <c:ext xmlns:c16="http://schemas.microsoft.com/office/drawing/2014/chart" uri="{C3380CC4-5D6E-409C-BE32-E72D297353CC}">
                <c16:uniqueId val="{0000085F-C623-4FBE-8EDB-4AD12F618AAD}"/>
              </c:ext>
            </c:extLst>
          </c:dPt>
          <c:dPt>
            <c:idx val="1071"/>
            <c:invertIfNegative val="1"/>
            <c:bubble3D val="0"/>
            <c:spPr>
              <a:solidFill>
                <a:srgbClr val="AEABAB"/>
              </a:solidFill>
            </c:spPr>
            <c:extLst>
              <c:ext xmlns:c16="http://schemas.microsoft.com/office/drawing/2014/chart" uri="{C3380CC4-5D6E-409C-BE32-E72D297353CC}">
                <c16:uniqueId val="{00000861-C623-4FBE-8EDB-4AD12F618AAD}"/>
              </c:ext>
            </c:extLst>
          </c:dPt>
          <c:dPt>
            <c:idx val="1072"/>
            <c:invertIfNegative val="1"/>
            <c:bubble3D val="0"/>
            <c:spPr>
              <a:solidFill>
                <a:srgbClr val="AEABAB"/>
              </a:solidFill>
            </c:spPr>
            <c:extLst>
              <c:ext xmlns:c16="http://schemas.microsoft.com/office/drawing/2014/chart" uri="{C3380CC4-5D6E-409C-BE32-E72D297353CC}">
                <c16:uniqueId val="{00000863-C623-4FBE-8EDB-4AD12F618AAD}"/>
              </c:ext>
            </c:extLst>
          </c:dPt>
          <c:dPt>
            <c:idx val="1073"/>
            <c:invertIfNegative val="1"/>
            <c:bubble3D val="0"/>
            <c:spPr>
              <a:solidFill>
                <a:srgbClr val="AEABAB"/>
              </a:solidFill>
            </c:spPr>
            <c:extLst>
              <c:ext xmlns:c16="http://schemas.microsoft.com/office/drawing/2014/chart" uri="{C3380CC4-5D6E-409C-BE32-E72D297353CC}">
                <c16:uniqueId val="{00000865-C623-4FBE-8EDB-4AD12F618AAD}"/>
              </c:ext>
            </c:extLst>
          </c:dPt>
          <c:dPt>
            <c:idx val="1074"/>
            <c:invertIfNegative val="1"/>
            <c:bubble3D val="0"/>
            <c:spPr>
              <a:solidFill>
                <a:srgbClr val="AEABAB"/>
              </a:solidFill>
            </c:spPr>
            <c:extLst>
              <c:ext xmlns:c16="http://schemas.microsoft.com/office/drawing/2014/chart" uri="{C3380CC4-5D6E-409C-BE32-E72D297353CC}">
                <c16:uniqueId val="{00000867-C623-4FBE-8EDB-4AD12F618AAD}"/>
              </c:ext>
            </c:extLst>
          </c:dPt>
          <c:dPt>
            <c:idx val="1075"/>
            <c:invertIfNegative val="1"/>
            <c:bubble3D val="0"/>
            <c:spPr>
              <a:solidFill>
                <a:srgbClr val="AEABAB"/>
              </a:solidFill>
            </c:spPr>
            <c:extLst>
              <c:ext xmlns:c16="http://schemas.microsoft.com/office/drawing/2014/chart" uri="{C3380CC4-5D6E-409C-BE32-E72D297353CC}">
                <c16:uniqueId val="{00000869-C623-4FBE-8EDB-4AD12F618AAD}"/>
              </c:ext>
            </c:extLst>
          </c:dPt>
          <c:dPt>
            <c:idx val="1076"/>
            <c:invertIfNegative val="1"/>
            <c:bubble3D val="0"/>
            <c:spPr>
              <a:solidFill>
                <a:srgbClr val="AEABAB"/>
              </a:solidFill>
            </c:spPr>
            <c:extLst>
              <c:ext xmlns:c16="http://schemas.microsoft.com/office/drawing/2014/chart" uri="{C3380CC4-5D6E-409C-BE32-E72D297353CC}">
                <c16:uniqueId val="{0000086B-C623-4FBE-8EDB-4AD12F618AAD}"/>
              </c:ext>
            </c:extLst>
          </c:dPt>
          <c:dPt>
            <c:idx val="1077"/>
            <c:invertIfNegative val="1"/>
            <c:bubble3D val="0"/>
            <c:spPr>
              <a:solidFill>
                <a:srgbClr val="AEABAB"/>
              </a:solidFill>
            </c:spPr>
            <c:extLst>
              <c:ext xmlns:c16="http://schemas.microsoft.com/office/drawing/2014/chart" uri="{C3380CC4-5D6E-409C-BE32-E72D297353CC}">
                <c16:uniqueId val="{0000086D-C623-4FBE-8EDB-4AD12F618AAD}"/>
              </c:ext>
            </c:extLst>
          </c:dPt>
          <c:dPt>
            <c:idx val="1078"/>
            <c:invertIfNegative val="1"/>
            <c:bubble3D val="0"/>
            <c:spPr>
              <a:solidFill>
                <a:srgbClr val="AEABAB"/>
              </a:solidFill>
            </c:spPr>
            <c:extLst>
              <c:ext xmlns:c16="http://schemas.microsoft.com/office/drawing/2014/chart" uri="{C3380CC4-5D6E-409C-BE32-E72D297353CC}">
                <c16:uniqueId val="{0000086F-C623-4FBE-8EDB-4AD12F618AAD}"/>
              </c:ext>
            </c:extLst>
          </c:dPt>
          <c:dPt>
            <c:idx val="1079"/>
            <c:invertIfNegative val="1"/>
            <c:bubble3D val="0"/>
            <c:spPr>
              <a:solidFill>
                <a:srgbClr val="AEABAB"/>
              </a:solidFill>
            </c:spPr>
            <c:extLst>
              <c:ext xmlns:c16="http://schemas.microsoft.com/office/drawing/2014/chart" uri="{C3380CC4-5D6E-409C-BE32-E72D297353CC}">
                <c16:uniqueId val="{00000871-C623-4FBE-8EDB-4AD12F618AAD}"/>
              </c:ext>
            </c:extLst>
          </c:dPt>
          <c:dPt>
            <c:idx val="1080"/>
            <c:invertIfNegative val="1"/>
            <c:bubble3D val="0"/>
            <c:spPr>
              <a:solidFill>
                <a:srgbClr val="AEABAB"/>
              </a:solidFill>
            </c:spPr>
            <c:extLst>
              <c:ext xmlns:c16="http://schemas.microsoft.com/office/drawing/2014/chart" uri="{C3380CC4-5D6E-409C-BE32-E72D297353CC}">
                <c16:uniqueId val="{00000873-C623-4FBE-8EDB-4AD12F618AAD}"/>
              </c:ext>
            </c:extLst>
          </c:dPt>
          <c:dPt>
            <c:idx val="1081"/>
            <c:invertIfNegative val="1"/>
            <c:bubble3D val="0"/>
            <c:spPr>
              <a:solidFill>
                <a:srgbClr val="AEABAB"/>
              </a:solidFill>
            </c:spPr>
            <c:extLst>
              <c:ext xmlns:c16="http://schemas.microsoft.com/office/drawing/2014/chart" uri="{C3380CC4-5D6E-409C-BE32-E72D297353CC}">
                <c16:uniqueId val="{00000875-C623-4FBE-8EDB-4AD12F618AAD}"/>
              </c:ext>
            </c:extLst>
          </c:dPt>
          <c:dPt>
            <c:idx val="1082"/>
            <c:invertIfNegative val="1"/>
            <c:bubble3D val="0"/>
            <c:spPr>
              <a:solidFill>
                <a:srgbClr val="AEABAB"/>
              </a:solidFill>
            </c:spPr>
            <c:extLst>
              <c:ext xmlns:c16="http://schemas.microsoft.com/office/drawing/2014/chart" uri="{C3380CC4-5D6E-409C-BE32-E72D297353CC}">
                <c16:uniqueId val="{00000877-C623-4FBE-8EDB-4AD12F618AAD}"/>
              </c:ext>
            </c:extLst>
          </c:dPt>
          <c:dPt>
            <c:idx val="1083"/>
            <c:invertIfNegative val="1"/>
            <c:bubble3D val="0"/>
            <c:spPr>
              <a:solidFill>
                <a:srgbClr val="AEABAB"/>
              </a:solidFill>
            </c:spPr>
            <c:extLst>
              <c:ext xmlns:c16="http://schemas.microsoft.com/office/drawing/2014/chart" uri="{C3380CC4-5D6E-409C-BE32-E72D297353CC}">
                <c16:uniqueId val="{00000879-C623-4FBE-8EDB-4AD12F618AAD}"/>
              </c:ext>
            </c:extLst>
          </c:dPt>
          <c:dPt>
            <c:idx val="1084"/>
            <c:invertIfNegative val="1"/>
            <c:bubble3D val="0"/>
            <c:spPr>
              <a:solidFill>
                <a:srgbClr val="AEABAB"/>
              </a:solidFill>
            </c:spPr>
            <c:extLst>
              <c:ext xmlns:c16="http://schemas.microsoft.com/office/drawing/2014/chart" uri="{C3380CC4-5D6E-409C-BE32-E72D297353CC}">
                <c16:uniqueId val="{0000087B-C623-4FBE-8EDB-4AD12F618AAD}"/>
              </c:ext>
            </c:extLst>
          </c:dPt>
          <c:dPt>
            <c:idx val="1085"/>
            <c:invertIfNegative val="1"/>
            <c:bubble3D val="0"/>
            <c:spPr>
              <a:solidFill>
                <a:srgbClr val="AEABAB"/>
              </a:solidFill>
            </c:spPr>
            <c:extLst>
              <c:ext xmlns:c16="http://schemas.microsoft.com/office/drawing/2014/chart" uri="{C3380CC4-5D6E-409C-BE32-E72D297353CC}">
                <c16:uniqueId val="{0000087D-C623-4FBE-8EDB-4AD12F618AAD}"/>
              </c:ext>
            </c:extLst>
          </c:dPt>
          <c:dPt>
            <c:idx val="1086"/>
            <c:invertIfNegative val="1"/>
            <c:bubble3D val="0"/>
            <c:spPr>
              <a:solidFill>
                <a:srgbClr val="AEABAB"/>
              </a:solidFill>
            </c:spPr>
            <c:extLst>
              <c:ext xmlns:c16="http://schemas.microsoft.com/office/drawing/2014/chart" uri="{C3380CC4-5D6E-409C-BE32-E72D297353CC}">
                <c16:uniqueId val="{0000087F-C623-4FBE-8EDB-4AD12F618AAD}"/>
              </c:ext>
            </c:extLst>
          </c:dPt>
          <c:dPt>
            <c:idx val="1087"/>
            <c:invertIfNegative val="1"/>
            <c:bubble3D val="0"/>
            <c:spPr>
              <a:solidFill>
                <a:srgbClr val="AEABAB"/>
              </a:solidFill>
            </c:spPr>
            <c:extLst>
              <c:ext xmlns:c16="http://schemas.microsoft.com/office/drawing/2014/chart" uri="{C3380CC4-5D6E-409C-BE32-E72D297353CC}">
                <c16:uniqueId val="{00000881-C623-4FBE-8EDB-4AD12F618AAD}"/>
              </c:ext>
            </c:extLst>
          </c:dPt>
          <c:dPt>
            <c:idx val="1088"/>
            <c:invertIfNegative val="1"/>
            <c:bubble3D val="0"/>
            <c:spPr>
              <a:solidFill>
                <a:srgbClr val="AEABAB"/>
              </a:solidFill>
            </c:spPr>
            <c:extLst>
              <c:ext xmlns:c16="http://schemas.microsoft.com/office/drawing/2014/chart" uri="{C3380CC4-5D6E-409C-BE32-E72D297353CC}">
                <c16:uniqueId val="{00000883-C623-4FBE-8EDB-4AD12F618AAD}"/>
              </c:ext>
            </c:extLst>
          </c:dPt>
          <c:dPt>
            <c:idx val="1089"/>
            <c:invertIfNegative val="1"/>
            <c:bubble3D val="0"/>
            <c:spPr>
              <a:solidFill>
                <a:srgbClr val="AEABAB"/>
              </a:solidFill>
            </c:spPr>
            <c:extLst>
              <c:ext xmlns:c16="http://schemas.microsoft.com/office/drawing/2014/chart" uri="{C3380CC4-5D6E-409C-BE32-E72D297353CC}">
                <c16:uniqueId val="{00000885-C623-4FBE-8EDB-4AD12F618AAD}"/>
              </c:ext>
            </c:extLst>
          </c:dPt>
          <c:dPt>
            <c:idx val="1090"/>
            <c:invertIfNegative val="1"/>
            <c:bubble3D val="0"/>
            <c:spPr>
              <a:solidFill>
                <a:srgbClr val="AEABAB"/>
              </a:solidFill>
            </c:spPr>
            <c:extLst>
              <c:ext xmlns:c16="http://schemas.microsoft.com/office/drawing/2014/chart" uri="{C3380CC4-5D6E-409C-BE32-E72D297353CC}">
                <c16:uniqueId val="{00000887-C623-4FBE-8EDB-4AD12F618AAD}"/>
              </c:ext>
            </c:extLst>
          </c:dPt>
          <c:dPt>
            <c:idx val="1091"/>
            <c:invertIfNegative val="1"/>
            <c:bubble3D val="0"/>
            <c:spPr>
              <a:solidFill>
                <a:srgbClr val="AEABAB"/>
              </a:solidFill>
            </c:spPr>
            <c:extLst>
              <c:ext xmlns:c16="http://schemas.microsoft.com/office/drawing/2014/chart" uri="{C3380CC4-5D6E-409C-BE32-E72D297353CC}">
                <c16:uniqueId val="{00000889-C623-4FBE-8EDB-4AD12F618AAD}"/>
              </c:ext>
            </c:extLst>
          </c:dPt>
          <c:dPt>
            <c:idx val="1092"/>
            <c:invertIfNegative val="1"/>
            <c:bubble3D val="0"/>
            <c:spPr>
              <a:solidFill>
                <a:srgbClr val="AEABAB"/>
              </a:solidFill>
            </c:spPr>
            <c:extLst>
              <c:ext xmlns:c16="http://schemas.microsoft.com/office/drawing/2014/chart" uri="{C3380CC4-5D6E-409C-BE32-E72D297353CC}">
                <c16:uniqueId val="{0000088B-C623-4FBE-8EDB-4AD12F618AAD}"/>
              </c:ext>
            </c:extLst>
          </c:dPt>
          <c:dPt>
            <c:idx val="1093"/>
            <c:invertIfNegative val="1"/>
            <c:bubble3D val="0"/>
            <c:spPr>
              <a:solidFill>
                <a:srgbClr val="AEABAB"/>
              </a:solidFill>
            </c:spPr>
            <c:extLst>
              <c:ext xmlns:c16="http://schemas.microsoft.com/office/drawing/2014/chart" uri="{C3380CC4-5D6E-409C-BE32-E72D297353CC}">
                <c16:uniqueId val="{0000088D-C623-4FBE-8EDB-4AD12F618AAD}"/>
              </c:ext>
            </c:extLst>
          </c:dPt>
          <c:dPt>
            <c:idx val="1094"/>
            <c:invertIfNegative val="1"/>
            <c:bubble3D val="0"/>
            <c:spPr>
              <a:solidFill>
                <a:srgbClr val="AEABAB"/>
              </a:solidFill>
            </c:spPr>
            <c:extLst>
              <c:ext xmlns:c16="http://schemas.microsoft.com/office/drawing/2014/chart" uri="{C3380CC4-5D6E-409C-BE32-E72D297353CC}">
                <c16:uniqueId val="{0000088F-C623-4FBE-8EDB-4AD12F618AAD}"/>
              </c:ext>
            </c:extLst>
          </c:dPt>
          <c:dPt>
            <c:idx val="1095"/>
            <c:invertIfNegative val="1"/>
            <c:bubble3D val="0"/>
            <c:spPr>
              <a:solidFill>
                <a:srgbClr val="AEABAB"/>
              </a:solidFill>
            </c:spPr>
            <c:extLst>
              <c:ext xmlns:c16="http://schemas.microsoft.com/office/drawing/2014/chart" uri="{C3380CC4-5D6E-409C-BE32-E72D297353CC}">
                <c16:uniqueId val="{00000891-C623-4FBE-8EDB-4AD12F618AAD}"/>
              </c:ext>
            </c:extLst>
          </c:dPt>
          <c:dPt>
            <c:idx val="1096"/>
            <c:invertIfNegative val="1"/>
            <c:bubble3D val="0"/>
            <c:spPr>
              <a:solidFill>
                <a:srgbClr val="AEABAB"/>
              </a:solidFill>
            </c:spPr>
            <c:extLst>
              <c:ext xmlns:c16="http://schemas.microsoft.com/office/drawing/2014/chart" uri="{C3380CC4-5D6E-409C-BE32-E72D297353CC}">
                <c16:uniqueId val="{00000893-C623-4FBE-8EDB-4AD12F618AAD}"/>
              </c:ext>
            </c:extLst>
          </c:dPt>
          <c:dPt>
            <c:idx val="1097"/>
            <c:invertIfNegative val="1"/>
            <c:bubble3D val="0"/>
            <c:spPr>
              <a:solidFill>
                <a:srgbClr val="AEABAB"/>
              </a:solidFill>
            </c:spPr>
            <c:extLst>
              <c:ext xmlns:c16="http://schemas.microsoft.com/office/drawing/2014/chart" uri="{C3380CC4-5D6E-409C-BE32-E72D297353CC}">
                <c16:uniqueId val="{00000895-C623-4FBE-8EDB-4AD12F618AAD}"/>
              </c:ext>
            </c:extLst>
          </c:dPt>
          <c:dPt>
            <c:idx val="1098"/>
            <c:invertIfNegative val="1"/>
            <c:bubble3D val="0"/>
            <c:spPr>
              <a:solidFill>
                <a:srgbClr val="AEABAB"/>
              </a:solidFill>
            </c:spPr>
            <c:extLst>
              <c:ext xmlns:c16="http://schemas.microsoft.com/office/drawing/2014/chart" uri="{C3380CC4-5D6E-409C-BE32-E72D297353CC}">
                <c16:uniqueId val="{00000897-C623-4FBE-8EDB-4AD12F618AAD}"/>
              </c:ext>
            </c:extLst>
          </c:dPt>
          <c:dPt>
            <c:idx val="1099"/>
            <c:invertIfNegative val="1"/>
            <c:bubble3D val="0"/>
            <c:spPr>
              <a:solidFill>
                <a:srgbClr val="AEABAB"/>
              </a:solidFill>
            </c:spPr>
            <c:extLst>
              <c:ext xmlns:c16="http://schemas.microsoft.com/office/drawing/2014/chart" uri="{C3380CC4-5D6E-409C-BE32-E72D297353CC}">
                <c16:uniqueId val="{00000899-C623-4FBE-8EDB-4AD12F618AAD}"/>
              </c:ext>
            </c:extLst>
          </c:dPt>
          <c:dPt>
            <c:idx val="1100"/>
            <c:invertIfNegative val="1"/>
            <c:bubble3D val="0"/>
            <c:spPr>
              <a:solidFill>
                <a:srgbClr val="AEABAB"/>
              </a:solidFill>
            </c:spPr>
            <c:extLst>
              <c:ext xmlns:c16="http://schemas.microsoft.com/office/drawing/2014/chart" uri="{C3380CC4-5D6E-409C-BE32-E72D297353CC}">
                <c16:uniqueId val="{0000089B-C623-4FBE-8EDB-4AD12F618AAD}"/>
              </c:ext>
            </c:extLst>
          </c:dPt>
          <c:dPt>
            <c:idx val="1101"/>
            <c:invertIfNegative val="1"/>
            <c:bubble3D val="0"/>
            <c:spPr>
              <a:solidFill>
                <a:srgbClr val="AEABAB"/>
              </a:solidFill>
            </c:spPr>
            <c:extLst>
              <c:ext xmlns:c16="http://schemas.microsoft.com/office/drawing/2014/chart" uri="{C3380CC4-5D6E-409C-BE32-E72D297353CC}">
                <c16:uniqueId val="{0000089D-C623-4FBE-8EDB-4AD12F618AAD}"/>
              </c:ext>
            </c:extLst>
          </c:dPt>
          <c:dPt>
            <c:idx val="1102"/>
            <c:invertIfNegative val="1"/>
            <c:bubble3D val="0"/>
            <c:spPr>
              <a:solidFill>
                <a:srgbClr val="AEABAB"/>
              </a:solidFill>
            </c:spPr>
            <c:extLst>
              <c:ext xmlns:c16="http://schemas.microsoft.com/office/drawing/2014/chart" uri="{C3380CC4-5D6E-409C-BE32-E72D297353CC}">
                <c16:uniqueId val="{0000089F-C623-4FBE-8EDB-4AD12F618AAD}"/>
              </c:ext>
            </c:extLst>
          </c:dPt>
          <c:dPt>
            <c:idx val="1103"/>
            <c:invertIfNegative val="1"/>
            <c:bubble3D val="0"/>
            <c:spPr>
              <a:solidFill>
                <a:srgbClr val="AEABAB"/>
              </a:solidFill>
            </c:spPr>
            <c:extLst>
              <c:ext xmlns:c16="http://schemas.microsoft.com/office/drawing/2014/chart" uri="{C3380CC4-5D6E-409C-BE32-E72D297353CC}">
                <c16:uniqueId val="{000008A1-C623-4FBE-8EDB-4AD12F618AAD}"/>
              </c:ext>
            </c:extLst>
          </c:dPt>
          <c:dPt>
            <c:idx val="1104"/>
            <c:invertIfNegative val="1"/>
            <c:bubble3D val="0"/>
            <c:spPr>
              <a:solidFill>
                <a:srgbClr val="AEABAB"/>
              </a:solidFill>
            </c:spPr>
            <c:extLst>
              <c:ext xmlns:c16="http://schemas.microsoft.com/office/drawing/2014/chart" uri="{C3380CC4-5D6E-409C-BE32-E72D297353CC}">
                <c16:uniqueId val="{000008A3-C623-4FBE-8EDB-4AD12F618AAD}"/>
              </c:ext>
            </c:extLst>
          </c:dPt>
          <c:dPt>
            <c:idx val="1105"/>
            <c:invertIfNegative val="1"/>
            <c:bubble3D val="0"/>
            <c:spPr>
              <a:solidFill>
                <a:srgbClr val="AEABAB"/>
              </a:solidFill>
            </c:spPr>
            <c:extLst>
              <c:ext xmlns:c16="http://schemas.microsoft.com/office/drawing/2014/chart" uri="{C3380CC4-5D6E-409C-BE32-E72D297353CC}">
                <c16:uniqueId val="{000008A5-C623-4FBE-8EDB-4AD12F618AAD}"/>
              </c:ext>
            </c:extLst>
          </c:dPt>
          <c:dPt>
            <c:idx val="1106"/>
            <c:invertIfNegative val="1"/>
            <c:bubble3D val="0"/>
            <c:spPr>
              <a:solidFill>
                <a:srgbClr val="AEABAB"/>
              </a:solidFill>
            </c:spPr>
            <c:extLst>
              <c:ext xmlns:c16="http://schemas.microsoft.com/office/drawing/2014/chart" uri="{C3380CC4-5D6E-409C-BE32-E72D297353CC}">
                <c16:uniqueId val="{000008A7-C623-4FBE-8EDB-4AD12F618AAD}"/>
              </c:ext>
            </c:extLst>
          </c:dPt>
          <c:dPt>
            <c:idx val="1107"/>
            <c:invertIfNegative val="1"/>
            <c:bubble3D val="0"/>
            <c:spPr>
              <a:solidFill>
                <a:srgbClr val="AEABAB"/>
              </a:solidFill>
            </c:spPr>
            <c:extLst>
              <c:ext xmlns:c16="http://schemas.microsoft.com/office/drawing/2014/chart" uri="{C3380CC4-5D6E-409C-BE32-E72D297353CC}">
                <c16:uniqueId val="{000008A9-C623-4FBE-8EDB-4AD12F618AAD}"/>
              </c:ext>
            </c:extLst>
          </c:dPt>
          <c:dPt>
            <c:idx val="1108"/>
            <c:invertIfNegative val="1"/>
            <c:bubble3D val="0"/>
            <c:spPr>
              <a:solidFill>
                <a:srgbClr val="AEABAB"/>
              </a:solidFill>
            </c:spPr>
            <c:extLst>
              <c:ext xmlns:c16="http://schemas.microsoft.com/office/drawing/2014/chart" uri="{C3380CC4-5D6E-409C-BE32-E72D297353CC}">
                <c16:uniqueId val="{000008AB-C623-4FBE-8EDB-4AD12F618AAD}"/>
              </c:ext>
            </c:extLst>
          </c:dPt>
          <c:dPt>
            <c:idx val="1109"/>
            <c:invertIfNegative val="1"/>
            <c:bubble3D val="0"/>
            <c:spPr>
              <a:solidFill>
                <a:srgbClr val="AEABAB"/>
              </a:solidFill>
            </c:spPr>
            <c:extLst>
              <c:ext xmlns:c16="http://schemas.microsoft.com/office/drawing/2014/chart" uri="{C3380CC4-5D6E-409C-BE32-E72D297353CC}">
                <c16:uniqueId val="{000008AD-C623-4FBE-8EDB-4AD12F618AAD}"/>
              </c:ext>
            </c:extLst>
          </c:dPt>
          <c:dPt>
            <c:idx val="1110"/>
            <c:invertIfNegative val="1"/>
            <c:bubble3D val="0"/>
            <c:spPr>
              <a:solidFill>
                <a:srgbClr val="AEABAB"/>
              </a:solidFill>
            </c:spPr>
            <c:extLst>
              <c:ext xmlns:c16="http://schemas.microsoft.com/office/drawing/2014/chart" uri="{C3380CC4-5D6E-409C-BE32-E72D297353CC}">
                <c16:uniqueId val="{000008AF-C623-4FBE-8EDB-4AD12F618AAD}"/>
              </c:ext>
            </c:extLst>
          </c:dPt>
          <c:dPt>
            <c:idx val="1111"/>
            <c:invertIfNegative val="1"/>
            <c:bubble3D val="0"/>
            <c:spPr>
              <a:solidFill>
                <a:srgbClr val="AEABAB"/>
              </a:solidFill>
            </c:spPr>
            <c:extLst>
              <c:ext xmlns:c16="http://schemas.microsoft.com/office/drawing/2014/chart" uri="{C3380CC4-5D6E-409C-BE32-E72D297353CC}">
                <c16:uniqueId val="{000008B1-C623-4FBE-8EDB-4AD12F618AAD}"/>
              </c:ext>
            </c:extLst>
          </c:dPt>
          <c:dPt>
            <c:idx val="1112"/>
            <c:invertIfNegative val="1"/>
            <c:bubble3D val="0"/>
            <c:spPr>
              <a:solidFill>
                <a:srgbClr val="AEABAB"/>
              </a:solidFill>
            </c:spPr>
            <c:extLst>
              <c:ext xmlns:c16="http://schemas.microsoft.com/office/drawing/2014/chart" uri="{C3380CC4-5D6E-409C-BE32-E72D297353CC}">
                <c16:uniqueId val="{000008B3-C623-4FBE-8EDB-4AD12F618AAD}"/>
              </c:ext>
            </c:extLst>
          </c:dPt>
          <c:dPt>
            <c:idx val="1113"/>
            <c:invertIfNegative val="1"/>
            <c:bubble3D val="0"/>
            <c:spPr>
              <a:solidFill>
                <a:srgbClr val="AEABAB"/>
              </a:solidFill>
            </c:spPr>
            <c:extLst>
              <c:ext xmlns:c16="http://schemas.microsoft.com/office/drawing/2014/chart" uri="{C3380CC4-5D6E-409C-BE32-E72D297353CC}">
                <c16:uniqueId val="{000008B5-C623-4FBE-8EDB-4AD12F618AAD}"/>
              </c:ext>
            </c:extLst>
          </c:dPt>
          <c:dPt>
            <c:idx val="1114"/>
            <c:invertIfNegative val="1"/>
            <c:bubble3D val="0"/>
            <c:spPr>
              <a:solidFill>
                <a:srgbClr val="AEABAB"/>
              </a:solidFill>
            </c:spPr>
            <c:extLst>
              <c:ext xmlns:c16="http://schemas.microsoft.com/office/drawing/2014/chart" uri="{C3380CC4-5D6E-409C-BE32-E72D297353CC}">
                <c16:uniqueId val="{000008B7-C623-4FBE-8EDB-4AD12F618AAD}"/>
              </c:ext>
            </c:extLst>
          </c:dPt>
          <c:dPt>
            <c:idx val="1115"/>
            <c:invertIfNegative val="1"/>
            <c:bubble3D val="0"/>
            <c:spPr>
              <a:solidFill>
                <a:srgbClr val="AEABAB"/>
              </a:solidFill>
            </c:spPr>
            <c:extLst>
              <c:ext xmlns:c16="http://schemas.microsoft.com/office/drawing/2014/chart" uri="{C3380CC4-5D6E-409C-BE32-E72D297353CC}">
                <c16:uniqueId val="{000008B9-C623-4FBE-8EDB-4AD12F618AAD}"/>
              </c:ext>
            </c:extLst>
          </c:dPt>
          <c:dPt>
            <c:idx val="1116"/>
            <c:invertIfNegative val="1"/>
            <c:bubble3D val="0"/>
            <c:spPr>
              <a:solidFill>
                <a:srgbClr val="AEABAB"/>
              </a:solidFill>
            </c:spPr>
            <c:extLst>
              <c:ext xmlns:c16="http://schemas.microsoft.com/office/drawing/2014/chart" uri="{C3380CC4-5D6E-409C-BE32-E72D297353CC}">
                <c16:uniqueId val="{000008BB-C623-4FBE-8EDB-4AD12F618AAD}"/>
              </c:ext>
            </c:extLst>
          </c:dPt>
          <c:dPt>
            <c:idx val="1117"/>
            <c:invertIfNegative val="1"/>
            <c:bubble3D val="0"/>
            <c:spPr>
              <a:solidFill>
                <a:srgbClr val="AEABAB"/>
              </a:solidFill>
            </c:spPr>
            <c:extLst>
              <c:ext xmlns:c16="http://schemas.microsoft.com/office/drawing/2014/chart" uri="{C3380CC4-5D6E-409C-BE32-E72D297353CC}">
                <c16:uniqueId val="{000008BD-C623-4FBE-8EDB-4AD12F618AAD}"/>
              </c:ext>
            </c:extLst>
          </c:dPt>
          <c:dPt>
            <c:idx val="1118"/>
            <c:invertIfNegative val="1"/>
            <c:bubble3D val="0"/>
            <c:spPr>
              <a:solidFill>
                <a:srgbClr val="AEABAB"/>
              </a:solidFill>
            </c:spPr>
            <c:extLst>
              <c:ext xmlns:c16="http://schemas.microsoft.com/office/drawing/2014/chart" uri="{C3380CC4-5D6E-409C-BE32-E72D297353CC}">
                <c16:uniqueId val="{000008BF-C623-4FBE-8EDB-4AD12F618AAD}"/>
              </c:ext>
            </c:extLst>
          </c:dPt>
          <c:dPt>
            <c:idx val="1119"/>
            <c:invertIfNegative val="1"/>
            <c:bubble3D val="0"/>
            <c:spPr>
              <a:solidFill>
                <a:srgbClr val="AEABAB"/>
              </a:solidFill>
            </c:spPr>
            <c:extLst>
              <c:ext xmlns:c16="http://schemas.microsoft.com/office/drawing/2014/chart" uri="{C3380CC4-5D6E-409C-BE32-E72D297353CC}">
                <c16:uniqueId val="{000008C1-C623-4FBE-8EDB-4AD12F618AAD}"/>
              </c:ext>
            </c:extLst>
          </c:dPt>
          <c:dPt>
            <c:idx val="1120"/>
            <c:invertIfNegative val="1"/>
            <c:bubble3D val="0"/>
            <c:spPr>
              <a:solidFill>
                <a:srgbClr val="AEABAB"/>
              </a:solidFill>
            </c:spPr>
            <c:extLst>
              <c:ext xmlns:c16="http://schemas.microsoft.com/office/drawing/2014/chart" uri="{C3380CC4-5D6E-409C-BE32-E72D297353CC}">
                <c16:uniqueId val="{000008C3-C623-4FBE-8EDB-4AD12F618AAD}"/>
              </c:ext>
            </c:extLst>
          </c:dPt>
          <c:dPt>
            <c:idx val="1121"/>
            <c:invertIfNegative val="1"/>
            <c:bubble3D val="0"/>
            <c:spPr>
              <a:solidFill>
                <a:srgbClr val="AEABAB"/>
              </a:solidFill>
            </c:spPr>
            <c:extLst>
              <c:ext xmlns:c16="http://schemas.microsoft.com/office/drawing/2014/chart" uri="{C3380CC4-5D6E-409C-BE32-E72D297353CC}">
                <c16:uniqueId val="{000008C5-C623-4FBE-8EDB-4AD12F618AAD}"/>
              </c:ext>
            </c:extLst>
          </c:dPt>
          <c:dPt>
            <c:idx val="1122"/>
            <c:invertIfNegative val="1"/>
            <c:bubble3D val="0"/>
            <c:spPr>
              <a:solidFill>
                <a:srgbClr val="AEABAB"/>
              </a:solidFill>
            </c:spPr>
            <c:extLst>
              <c:ext xmlns:c16="http://schemas.microsoft.com/office/drawing/2014/chart" uri="{C3380CC4-5D6E-409C-BE32-E72D297353CC}">
                <c16:uniqueId val="{000008C7-C623-4FBE-8EDB-4AD12F618AAD}"/>
              </c:ext>
            </c:extLst>
          </c:dPt>
          <c:dPt>
            <c:idx val="1123"/>
            <c:invertIfNegative val="1"/>
            <c:bubble3D val="0"/>
            <c:spPr>
              <a:solidFill>
                <a:srgbClr val="AEABAB"/>
              </a:solidFill>
            </c:spPr>
            <c:extLst>
              <c:ext xmlns:c16="http://schemas.microsoft.com/office/drawing/2014/chart" uri="{C3380CC4-5D6E-409C-BE32-E72D297353CC}">
                <c16:uniqueId val="{000008C9-C623-4FBE-8EDB-4AD12F618AAD}"/>
              </c:ext>
            </c:extLst>
          </c:dPt>
          <c:dPt>
            <c:idx val="1124"/>
            <c:invertIfNegative val="1"/>
            <c:bubble3D val="0"/>
            <c:spPr>
              <a:solidFill>
                <a:srgbClr val="AEABAB"/>
              </a:solidFill>
            </c:spPr>
            <c:extLst>
              <c:ext xmlns:c16="http://schemas.microsoft.com/office/drawing/2014/chart" uri="{C3380CC4-5D6E-409C-BE32-E72D297353CC}">
                <c16:uniqueId val="{000008CB-C623-4FBE-8EDB-4AD12F618AAD}"/>
              </c:ext>
            </c:extLst>
          </c:dPt>
          <c:dPt>
            <c:idx val="1125"/>
            <c:invertIfNegative val="1"/>
            <c:bubble3D val="0"/>
            <c:spPr>
              <a:solidFill>
                <a:srgbClr val="AEABAB"/>
              </a:solidFill>
            </c:spPr>
            <c:extLst>
              <c:ext xmlns:c16="http://schemas.microsoft.com/office/drawing/2014/chart" uri="{C3380CC4-5D6E-409C-BE32-E72D297353CC}">
                <c16:uniqueId val="{000008CD-C623-4FBE-8EDB-4AD12F618AAD}"/>
              </c:ext>
            </c:extLst>
          </c:dPt>
          <c:dPt>
            <c:idx val="1126"/>
            <c:invertIfNegative val="1"/>
            <c:bubble3D val="0"/>
            <c:spPr>
              <a:solidFill>
                <a:srgbClr val="AEABAB"/>
              </a:solidFill>
            </c:spPr>
            <c:extLst>
              <c:ext xmlns:c16="http://schemas.microsoft.com/office/drawing/2014/chart" uri="{C3380CC4-5D6E-409C-BE32-E72D297353CC}">
                <c16:uniqueId val="{000008CF-C623-4FBE-8EDB-4AD12F618AAD}"/>
              </c:ext>
            </c:extLst>
          </c:dPt>
          <c:dPt>
            <c:idx val="1127"/>
            <c:invertIfNegative val="1"/>
            <c:bubble3D val="0"/>
            <c:spPr>
              <a:solidFill>
                <a:srgbClr val="AEABAB"/>
              </a:solidFill>
            </c:spPr>
            <c:extLst>
              <c:ext xmlns:c16="http://schemas.microsoft.com/office/drawing/2014/chart" uri="{C3380CC4-5D6E-409C-BE32-E72D297353CC}">
                <c16:uniqueId val="{000008D1-C623-4FBE-8EDB-4AD12F618AAD}"/>
              </c:ext>
            </c:extLst>
          </c:dPt>
          <c:dPt>
            <c:idx val="1128"/>
            <c:invertIfNegative val="1"/>
            <c:bubble3D val="0"/>
            <c:spPr>
              <a:solidFill>
                <a:srgbClr val="AEABAB"/>
              </a:solidFill>
            </c:spPr>
            <c:extLst>
              <c:ext xmlns:c16="http://schemas.microsoft.com/office/drawing/2014/chart" uri="{C3380CC4-5D6E-409C-BE32-E72D297353CC}">
                <c16:uniqueId val="{000008D3-C623-4FBE-8EDB-4AD12F618AAD}"/>
              </c:ext>
            </c:extLst>
          </c:dPt>
          <c:dPt>
            <c:idx val="1129"/>
            <c:invertIfNegative val="1"/>
            <c:bubble3D val="0"/>
            <c:spPr>
              <a:solidFill>
                <a:srgbClr val="AEABAB"/>
              </a:solidFill>
            </c:spPr>
            <c:extLst>
              <c:ext xmlns:c16="http://schemas.microsoft.com/office/drawing/2014/chart" uri="{C3380CC4-5D6E-409C-BE32-E72D297353CC}">
                <c16:uniqueId val="{000008D5-C623-4FBE-8EDB-4AD12F618AAD}"/>
              </c:ext>
            </c:extLst>
          </c:dPt>
          <c:dPt>
            <c:idx val="1130"/>
            <c:invertIfNegative val="1"/>
            <c:bubble3D val="0"/>
            <c:spPr>
              <a:solidFill>
                <a:srgbClr val="AEABAB"/>
              </a:solidFill>
            </c:spPr>
            <c:extLst>
              <c:ext xmlns:c16="http://schemas.microsoft.com/office/drawing/2014/chart" uri="{C3380CC4-5D6E-409C-BE32-E72D297353CC}">
                <c16:uniqueId val="{000008D7-C623-4FBE-8EDB-4AD12F618AAD}"/>
              </c:ext>
            </c:extLst>
          </c:dPt>
          <c:dPt>
            <c:idx val="1131"/>
            <c:invertIfNegative val="1"/>
            <c:bubble3D val="0"/>
            <c:spPr>
              <a:solidFill>
                <a:srgbClr val="AEABAB"/>
              </a:solidFill>
            </c:spPr>
            <c:extLst>
              <c:ext xmlns:c16="http://schemas.microsoft.com/office/drawing/2014/chart" uri="{C3380CC4-5D6E-409C-BE32-E72D297353CC}">
                <c16:uniqueId val="{000008D9-C623-4FBE-8EDB-4AD12F618AAD}"/>
              </c:ext>
            </c:extLst>
          </c:dPt>
          <c:dPt>
            <c:idx val="1132"/>
            <c:invertIfNegative val="1"/>
            <c:bubble3D val="0"/>
            <c:spPr>
              <a:solidFill>
                <a:srgbClr val="AEABAB"/>
              </a:solidFill>
            </c:spPr>
            <c:extLst>
              <c:ext xmlns:c16="http://schemas.microsoft.com/office/drawing/2014/chart" uri="{C3380CC4-5D6E-409C-BE32-E72D297353CC}">
                <c16:uniqueId val="{000008DB-C623-4FBE-8EDB-4AD12F618AAD}"/>
              </c:ext>
            </c:extLst>
          </c:dPt>
          <c:dPt>
            <c:idx val="1133"/>
            <c:invertIfNegative val="1"/>
            <c:bubble3D val="0"/>
            <c:spPr>
              <a:solidFill>
                <a:srgbClr val="AEABAB"/>
              </a:solidFill>
            </c:spPr>
            <c:extLst>
              <c:ext xmlns:c16="http://schemas.microsoft.com/office/drawing/2014/chart" uri="{C3380CC4-5D6E-409C-BE32-E72D297353CC}">
                <c16:uniqueId val="{000008DD-C623-4FBE-8EDB-4AD12F618AAD}"/>
              </c:ext>
            </c:extLst>
          </c:dPt>
          <c:dPt>
            <c:idx val="1134"/>
            <c:invertIfNegative val="1"/>
            <c:bubble3D val="0"/>
            <c:spPr>
              <a:solidFill>
                <a:srgbClr val="AEABAB"/>
              </a:solidFill>
            </c:spPr>
            <c:extLst>
              <c:ext xmlns:c16="http://schemas.microsoft.com/office/drawing/2014/chart" uri="{C3380CC4-5D6E-409C-BE32-E72D297353CC}">
                <c16:uniqueId val="{000008DF-C623-4FBE-8EDB-4AD12F618AAD}"/>
              </c:ext>
            </c:extLst>
          </c:dPt>
          <c:dPt>
            <c:idx val="1135"/>
            <c:invertIfNegative val="1"/>
            <c:bubble3D val="0"/>
            <c:spPr>
              <a:solidFill>
                <a:srgbClr val="AEABAB"/>
              </a:solidFill>
            </c:spPr>
            <c:extLst>
              <c:ext xmlns:c16="http://schemas.microsoft.com/office/drawing/2014/chart" uri="{C3380CC4-5D6E-409C-BE32-E72D297353CC}">
                <c16:uniqueId val="{000008E1-C623-4FBE-8EDB-4AD12F618AAD}"/>
              </c:ext>
            </c:extLst>
          </c:dPt>
          <c:dPt>
            <c:idx val="1136"/>
            <c:invertIfNegative val="1"/>
            <c:bubble3D val="0"/>
            <c:spPr>
              <a:solidFill>
                <a:srgbClr val="AEABAB"/>
              </a:solidFill>
            </c:spPr>
            <c:extLst>
              <c:ext xmlns:c16="http://schemas.microsoft.com/office/drawing/2014/chart" uri="{C3380CC4-5D6E-409C-BE32-E72D297353CC}">
                <c16:uniqueId val="{000008E3-C623-4FBE-8EDB-4AD12F618AAD}"/>
              </c:ext>
            </c:extLst>
          </c:dPt>
          <c:dPt>
            <c:idx val="1137"/>
            <c:invertIfNegative val="1"/>
            <c:bubble3D val="0"/>
            <c:spPr>
              <a:solidFill>
                <a:srgbClr val="AEABAB"/>
              </a:solidFill>
            </c:spPr>
            <c:extLst>
              <c:ext xmlns:c16="http://schemas.microsoft.com/office/drawing/2014/chart" uri="{C3380CC4-5D6E-409C-BE32-E72D297353CC}">
                <c16:uniqueId val="{000008E5-C623-4FBE-8EDB-4AD12F618AAD}"/>
              </c:ext>
            </c:extLst>
          </c:dPt>
          <c:dPt>
            <c:idx val="1138"/>
            <c:invertIfNegative val="1"/>
            <c:bubble3D val="0"/>
            <c:spPr>
              <a:solidFill>
                <a:srgbClr val="AEABAB"/>
              </a:solidFill>
            </c:spPr>
            <c:extLst>
              <c:ext xmlns:c16="http://schemas.microsoft.com/office/drawing/2014/chart" uri="{C3380CC4-5D6E-409C-BE32-E72D297353CC}">
                <c16:uniqueId val="{000008E7-C623-4FBE-8EDB-4AD12F618AAD}"/>
              </c:ext>
            </c:extLst>
          </c:dPt>
          <c:dPt>
            <c:idx val="1139"/>
            <c:invertIfNegative val="1"/>
            <c:bubble3D val="0"/>
            <c:spPr>
              <a:solidFill>
                <a:srgbClr val="AEABAB"/>
              </a:solidFill>
            </c:spPr>
            <c:extLst>
              <c:ext xmlns:c16="http://schemas.microsoft.com/office/drawing/2014/chart" uri="{C3380CC4-5D6E-409C-BE32-E72D297353CC}">
                <c16:uniqueId val="{000008E9-C623-4FBE-8EDB-4AD12F618AAD}"/>
              </c:ext>
            </c:extLst>
          </c:dPt>
          <c:dPt>
            <c:idx val="1140"/>
            <c:invertIfNegative val="1"/>
            <c:bubble3D val="0"/>
            <c:spPr>
              <a:solidFill>
                <a:srgbClr val="AEABAB"/>
              </a:solidFill>
            </c:spPr>
            <c:extLst>
              <c:ext xmlns:c16="http://schemas.microsoft.com/office/drawing/2014/chart" uri="{C3380CC4-5D6E-409C-BE32-E72D297353CC}">
                <c16:uniqueId val="{000008EB-C623-4FBE-8EDB-4AD12F618AAD}"/>
              </c:ext>
            </c:extLst>
          </c:dPt>
          <c:dPt>
            <c:idx val="1141"/>
            <c:invertIfNegative val="1"/>
            <c:bubble3D val="0"/>
            <c:spPr>
              <a:solidFill>
                <a:srgbClr val="AEABAB"/>
              </a:solidFill>
            </c:spPr>
            <c:extLst>
              <c:ext xmlns:c16="http://schemas.microsoft.com/office/drawing/2014/chart" uri="{C3380CC4-5D6E-409C-BE32-E72D297353CC}">
                <c16:uniqueId val="{000008ED-C623-4FBE-8EDB-4AD12F618AAD}"/>
              </c:ext>
            </c:extLst>
          </c:dPt>
          <c:dPt>
            <c:idx val="1142"/>
            <c:invertIfNegative val="1"/>
            <c:bubble3D val="0"/>
            <c:spPr>
              <a:solidFill>
                <a:srgbClr val="AEABAB"/>
              </a:solidFill>
            </c:spPr>
            <c:extLst>
              <c:ext xmlns:c16="http://schemas.microsoft.com/office/drawing/2014/chart" uri="{C3380CC4-5D6E-409C-BE32-E72D297353CC}">
                <c16:uniqueId val="{000008EF-C623-4FBE-8EDB-4AD12F618AAD}"/>
              </c:ext>
            </c:extLst>
          </c:dPt>
          <c:dPt>
            <c:idx val="1143"/>
            <c:invertIfNegative val="1"/>
            <c:bubble3D val="0"/>
            <c:spPr>
              <a:solidFill>
                <a:srgbClr val="AEABAB"/>
              </a:solidFill>
            </c:spPr>
            <c:extLst>
              <c:ext xmlns:c16="http://schemas.microsoft.com/office/drawing/2014/chart" uri="{C3380CC4-5D6E-409C-BE32-E72D297353CC}">
                <c16:uniqueId val="{000008F1-C623-4FBE-8EDB-4AD12F618AAD}"/>
              </c:ext>
            </c:extLst>
          </c:dPt>
          <c:dPt>
            <c:idx val="1144"/>
            <c:invertIfNegative val="1"/>
            <c:bubble3D val="0"/>
            <c:spPr>
              <a:solidFill>
                <a:srgbClr val="AEABAB"/>
              </a:solidFill>
            </c:spPr>
            <c:extLst>
              <c:ext xmlns:c16="http://schemas.microsoft.com/office/drawing/2014/chart" uri="{C3380CC4-5D6E-409C-BE32-E72D297353CC}">
                <c16:uniqueId val="{000008F3-C623-4FBE-8EDB-4AD12F618AAD}"/>
              </c:ext>
            </c:extLst>
          </c:dPt>
          <c:dPt>
            <c:idx val="1145"/>
            <c:invertIfNegative val="1"/>
            <c:bubble3D val="0"/>
            <c:spPr>
              <a:solidFill>
                <a:srgbClr val="AEABAB"/>
              </a:solidFill>
            </c:spPr>
            <c:extLst>
              <c:ext xmlns:c16="http://schemas.microsoft.com/office/drawing/2014/chart" uri="{C3380CC4-5D6E-409C-BE32-E72D297353CC}">
                <c16:uniqueId val="{000008F5-C623-4FBE-8EDB-4AD12F618AAD}"/>
              </c:ext>
            </c:extLst>
          </c:dPt>
          <c:dPt>
            <c:idx val="1146"/>
            <c:invertIfNegative val="1"/>
            <c:bubble3D val="0"/>
            <c:spPr>
              <a:solidFill>
                <a:srgbClr val="AEABAB"/>
              </a:solidFill>
            </c:spPr>
            <c:extLst>
              <c:ext xmlns:c16="http://schemas.microsoft.com/office/drawing/2014/chart" uri="{C3380CC4-5D6E-409C-BE32-E72D297353CC}">
                <c16:uniqueId val="{000008F7-C623-4FBE-8EDB-4AD12F618AAD}"/>
              </c:ext>
            </c:extLst>
          </c:dPt>
          <c:dPt>
            <c:idx val="1147"/>
            <c:invertIfNegative val="1"/>
            <c:bubble3D val="0"/>
            <c:spPr>
              <a:solidFill>
                <a:srgbClr val="AEABAB"/>
              </a:solidFill>
            </c:spPr>
            <c:extLst>
              <c:ext xmlns:c16="http://schemas.microsoft.com/office/drawing/2014/chart" uri="{C3380CC4-5D6E-409C-BE32-E72D297353CC}">
                <c16:uniqueId val="{000008F9-C623-4FBE-8EDB-4AD12F618AAD}"/>
              </c:ext>
            </c:extLst>
          </c:dPt>
          <c:dPt>
            <c:idx val="1148"/>
            <c:invertIfNegative val="1"/>
            <c:bubble3D val="0"/>
            <c:spPr>
              <a:solidFill>
                <a:srgbClr val="AEABAB"/>
              </a:solidFill>
            </c:spPr>
            <c:extLst>
              <c:ext xmlns:c16="http://schemas.microsoft.com/office/drawing/2014/chart" uri="{C3380CC4-5D6E-409C-BE32-E72D297353CC}">
                <c16:uniqueId val="{000008FB-C623-4FBE-8EDB-4AD12F618AAD}"/>
              </c:ext>
            </c:extLst>
          </c:dPt>
          <c:dPt>
            <c:idx val="1149"/>
            <c:invertIfNegative val="1"/>
            <c:bubble3D val="0"/>
            <c:spPr>
              <a:solidFill>
                <a:srgbClr val="AEABAB"/>
              </a:solidFill>
            </c:spPr>
            <c:extLst>
              <c:ext xmlns:c16="http://schemas.microsoft.com/office/drawing/2014/chart" uri="{C3380CC4-5D6E-409C-BE32-E72D297353CC}">
                <c16:uniqueId val="{000008FD-C623-4FBE-8EDB-4AD12F618AAD}"/>
              </c:ext>
            </c:extLst>
          </c:dPt>
          <c:dPt>
            <c:idx val="1150"/>
            <c:invertIfNegative val="1"/>
            <c:bubble3D val="0"/>
            <c:spPr>
              <a:solidFill>
                <a:srgbClr val="AEABAB"/>
              </a:solidFill>
            </c:spPr>
            <c:extLst>
              <c:ext xmlns:c16="http://schemas.microsoft.com/office/drawing/2014/chart" uri="{C3380CC4-5D6E-409C-BE32-E72D297353CC}">
                <c16:uniqueId val="{000008FF-C623-4FBE-8EDB-4AD12F618AAD}"/>
              </c:ext>
            </c:extLst>
          </c:dPt>
          <c:dPt>
            <c:idx val="1151"/>
            <c:invertIfNegative val="1"/>
            <c:bubble3D val="0"/>
            <c:spPr>
              <a:solidFill>
                <a:srgbClr val="AEABAB"/>
              </a:solidFill>
            </c:spPr>
            <c:extLst>
              <c:ext xmlns:c16="http://schemas.microsoft.com/office/drawing/2014/chart" uri="{C3380CC4-5D6E-409C-BE32-E72D297353CC}">
                <c16:uniqueId val="{00000901-C623-4FBE-8EDB-4AD12F618AAD}"/>
              </c:ext>
            </c:extLst>
          </c:dPt>
          <c:dPt>
            <c:idx val="1152"/>
            <c:invertIfNegative val="1"/>
            <c:bubble3D val="0"/>
            <c:spPr>
              <a:solidFill>
                <a:srgbClr val="AEABAB"/>
              </a:solidFill>
            </c:spPr>
            <c:extLst>
              <c:ext xmlns:c16="http://schemas.microsoft.com/office/drawing/2014/chart" uri="{C3380CC4-5D6E-409C-BE32-E72D297353CC}">
                <c16:uniqueId val="{00000903-C623-4FBE-8EDB-4AD12F618AAD}"/>
              </c:ext>
            </c:extLst>
          </c:dPt>
          <c:dPt>
            <c:idx val="1153"/>
            <c:invertIfNegative val="1"/>
            <c:bubble3D val="0"/>
            <c:spPr>
              <a:solidFill>
                <a:srgbClr val="AEABAB"/>
              </a:solidFill>
            </c:spPr>
            <c:extLst>
              <c:ext xmlns:c16="http://schemas.microsoft.com/office/drawing/2014/chart" uri="{C3380CC4-5D6E-409C-BE32-E72D297353CC}">
                <c16:uniqueId val="{00000905-C623-4FBE-8EDB-4AD12F618AAD}"/>
              </c:ext>
            </c:extLst>
          </c:dPt>
          <c:dPt>
            <c:idx val="1154"/>
            <c:invertIfNegative val="1"/>
            <c:bubble3D val="0"/>
            <c:spPr>
              <a:solidFill>
                <a:srgbClr val="AEABAB"/>
              </a:solidFill>
            </c:spPr>
            <c:extLst>
              <c:ext xmlns:c16="http://schemas.microsoft.com/office/drawing/2014/chart" uri="{C3380CC4-5D6E-409C-BE32-E72D297353CC}">
                <c16:uniqueId val="{00000907-C623-4FBE-8EDB-4AD12F618AAD}"/>
              </c:ext>
            </c:extLst>
          </c:dPt>
          <c:dPt>
            <c:idx val="1155"/>
            <c:invertIfNegative val="1"/>
            <c:bubble3D val="0"/>
            <c:spPr>
              <a:solidFill>
                <a:srgbClr val="AEABAB"/>
              </a:solidFill>
            </c:spPr>
            <c:extLst>
              <c:ext xmlns:c16="http://schemas.microsoft.com/office/drawing/2014/chart" uri="{C3380CC4-5D6E-409C-BE32-E72D297353CC}">
                <c16:uniqueId val="{00000909-C623-4FBE-8EDB-4AD12F618AAD}"/>
              </c:ext>
            </c:extLst>
          </c:dPt>
          <c:dPt>
            <c:idx val="1156"/>
            <c:invertIfNegative val="1"/>
            <c:bubble3D val="0"/>
            <c:spPr>
              <a:solidFill>
                <a:srgbClr val="AEABAB"/>
              </a:solidFill>
            </c:spPr>
            <c:extLst>
              <c:ext xmlns:c16="http://schemas.microsoft.com/office/drawing/2014/chart" uri="{C3380CC4-5D6E-409C-BE32-E72D297353CC}">
                <c16:uniqueId val="{0000090B-C623-4FBE-8EDB-4AD12F618AAD}"/>
              </c:ext>
            </c:extLst>
          </c:dPt>
          <c:dPt>
            <c:idx val="1157"/>
            <c:invertIfNegative val="1"/>
            <c:bubble3D val="0"/>
            <c:spPr>
              <a:solidFill>
                <a:srgbClr val="AEABAB"/>
              </a:solidFill>
            </c:spPr>
            <c:extLst>
              <c:ext xmlns:c16="http://schemas.microsoft.com/office/drawing/2014/chart" uri="{C3380CC4-5D6E-409C-BE32-E72D297353CC}">
                <c16:uniqueId val="{0000090D-C623-4FBE-8EDB-4AD12F618AAD}"/>
              </c:ext>
            </c:extLst>
          </c:dPt>
          <c:dPt>
            <c:idx val="1158"/>
            <c:invertIfNegative val="1"/>
            <c:bubble3D val="0"/>
            <c:spPr>
              <a:solidFill>
                <a:srgbClr val="AEABAB"/>
              </a:solidFill>
            </c:spPr>
            <c:extLst>
              <c:ext xmlns:c16="http://schemas.microsoft.com/office/drawing/2014/chart" uri="{C3380CC4-5D6E-409C-BE32-E72D297353CC}">
                <c16:uniqueId val="{0000090F-C623-4FBE-8EDB-4AD12F618AAD}"/>
              </c:ext>
            </c:extLst>
          </c:dPt>
          <c:dPt>
            <c:idx val="1159"/>
            <c:invertIfNegative val="1"/>
            <c:bubble3D val="0"/>
            <c:spPr>
              <a:solidFill>
                <a:srgbClr val="AEABAB"/>
              </a:solidFill>
            </c:spPr>
            <c:extLst>
              <c:ext xmlns:c16="http://schemas.microsoft.com/office/drawing/2014/chart" uri="{C3380CC4-5D6E-409C-BE32-E72D297353CC}">
                <c16:uniqueId val="{00000911-C623-4FBE-8EDB-4AD12F618AAD}"/>
              </c:ext>
            </c:extLst>
          </c:dPt>
          <c:dPt>
            <c:idx val="1160"/>
            <c:invertIfNegative val="1"/>
            <c:bubble3D val="0"/>
            <c:spPr>
              <a:solidFill>
                <a:srgbClr val="AEABAB"/>
              </a:solidFill>
            </c:spPr>
            <c:extLst>
              <c:ext xmlns:c16="http://schemas.microsoft.com/office/drawing/2014/chart" uri="{C3380CC4-5D6E-409C-BE32-E72D297353CC}">
                <c16:uniqueId val="{00000913-C623-4FBE-8EDB-4AD12F618AAD}"/>
              </c:ext>
            </c:extLst>
          </c:dPt>
          <c:dPt>
            <c:idx val="1161"/>
            <c:invertIfNegative val="1"/>
            <c:bubble3D val="0"/>
            <c:spPr>
              <a:solidFill>
                <a:srgbClr val="AEABAB"/>
              </a:solidFill>
            </c:spPr>
            <c:extLst>
              <c:ext xmlns:c16="http://schemas.microsoft.com/office/drawing/2014/chart" uri="{C3380CC4-5D6E-409C-BE32-E72D297353CC}">
                <c16:uniqueId val="{00000915-C623-4FBE-8EDB-4AD12F618AAD}"/>
              </c:ext>
            </c:extLst>
          </c:dPt>
          <c:dPt>
            <c:idx val="1162"/>
            <c:invertIfNegative val="1"/>
            <c:bubble3D val="0"/>
            <c:spPr>
              <a:solidFill>
                <a:srgbClr val="AEABAB"/>
              </a:solidFill>
            </c:spPr>
            <c:extLst>
              <c:ext xmlns:c16="http://schemas.microsoft.com/office/drawing/2014/chart" uri="{C3380CC4-5D6E-409C-BE32-E72D297353CC}">
                <c16:uniqueId val="{00000917-C623-4FBE-8EDB-4AD12F618AAD}"/>
              </c:ext>
            </c:extLst>
          </c:dPt>
          <c:dPt>
            <c:idx val="1163"/>
            <c:invertIfNegative val="1"/>
            <c:bubble3D val="0"/>
            <c:spPr>
              <a:solidFill>
                <a:srgbClr val="AEABAB"/>
              </a:solidFill>
            </c:spPr>
            <c:extLst>
              <c:ext xmlns:c16="http://schemas.microsoft.com/office/drawing/2014/chart" uri="{C3380CC4-5D6E-409C-BE32-E72D297353CC}">
                <c16:uniqueId val="{00000919-C623-4FBE-8EDB-4AD12F618AAD}"/>
              </c:ext>
            </c:extLst>
          </c:dPt>
          <c:dPt>
            <c:idx val="1164"/>
            <c:invertIfNegative val="1"/>
            <c:bubble3D val="0"/>
            <c:spPr>
              <a:solidFill>
                <a:srgbClr val="AEABAB"/>
              </a:solidFill>
            </c:spPr>
            <c:extLst>
              <c:ext xmlns:c16="http://schemas.microsoft.com/office/drawing/2014/chart" uri="{C3380CC4-5D6E-409C-BE32-E72D297353CC}">
                <c16:uniqueId val="{0000091B-C623-4FBE-8EDB-4AD12F618AAD}"/>
              </c:ext>
            </c:extLst>
          </c:dPt>
          <c:dPt>
            <c:idx val="1165"/>
            <c:invertIfNegative val="1"/>
            <c:bubble3D val="0"/>
            <c:spPr>
              <a:solidFill>
                <a:srgbClr val="AEABAB"/>
              </a:solidFill>
            </c:spPr>
            <c:extLst>
              <c:ext xmlns:c16="http://schemas.microsoft.com/office/drawing/2014/chart" uri="{C3380CC4-5D6E-409C-BE32-E72D297353CC}">
                <c16:uniqueId val="{0000091D-C623-4FBE-8EDB-4AD12F618AAD}"/>
              </c:ext>
            </c:extLst>
          </c:dPt>
          <c:dPt>
            <c:idx val="1166"/>
            <c:invertIfNegative val="1"/>
            <c:bubble3D val="0"/>
            <c:spPr>
              <a:solidFill>
                <a:srgbClr val="AEABAB"/>
              </a:solidFill>
            </c:spPr>
            <c:extLst>
              <c:ext xmlns:c16="http://schemas.microsoft.com/office/drawing/2014/chart" uri="{C3380CC4-5D6E-409C-BE32-E72D297353CC}">
                <c16:uniqueId val="{0000091F-C623-4FBE-8EDB-4AD12F618AAD}"/>
              </c:ext>
            </c:extLst>
          </c:dPt>
          <c:dPt>
            <c:idx val="1167"/>
            <c:invertIfNegative val="1"/>
            <c:bubble3D val="0"/>
            <c:spPr>
              <a:solidFill>
                <a:srgbClr val="AEABAB"/>
              </a:solidFill>
            </c:spPr>
            <c:extLst>
              <c:ext xmlns:c16="http://schemas.microsoft.com/office/drawing/2014/chart" uri="{C3380CC4-5D6E-409C-BE32-E72D297353CC}">
                <c16:uniqueId val="{00000921-C623-4FBE-8EDB-4AD12F618AAD}"/>
              </c:ext>
            </c:extLst>
          </c:dPt>
          <c:dPt>
            <c:idx val="1168"/>
            <c:invertIfNegative val="1"/>
            <c:bubble3D val="0"/>
            <c:spPr>
              <a:solidFill>
                <a:srgbClr val="AEABAB"/>
              </a:solidFill>
            </c:spPr>
            <c:extLst>
              <c:ext xmlns:c16="http://schemas.microsoft.com/office/drawing/2014/chart" uri="{C3380CC4-5D6E-409C-BE32-E72D297353CC}">
                <c16:uniqueId val="{00000923-C623-4FBE-8EDB-4AD12F618AAD}"/>
              </c:ext>
            </c:extLst>
          </c:dPt>
          <c:dPt>
            <c:idx val="1169"/>
            <c:invertIfNegative val="1"/>
            <c:bubble3D val="0"/>
            <c:spPr>
              <a:solidFill>
                <a:srgbClr val="AEABAB"/>
              </a:solidFill>
            </c:spPr>
            <c:extLst>
              <c:ext xmlns:c16="http://schemas.microsoft.com/office/drawing/2014/chart" uri="{C3380CC4-5D6E-409C-BE32-E72D297353CC}">
                <c16:uniqueId val="{00000925-C623-4FBE-8EDB-4AD12F618AAD}"/>
              </c:ext>
            </c:extLst>
          </c:dPt>
          <c:dPt>
            <c:idx val="1170"/>
            <c:invertIfNegative val="1"/>
            <c:bubble3D val="0"/>
            <c:spPr>
              <a:solidFill>
                <a:srgbClr val="AEABAB"/>
              </a:solidFill>
            </c:spPr>
            <c:extLst>
              <c:ext xmlns:c16="http://schemas.microsoft.com/office/drawing/2014/chart" uri="{C3380CC4-5D6E-409C-BE32-E72D297353CC}">
                <c16:uniqueId val="{00000927-C623-4FBE-8EDB-4AD12F618AAD}"/>
              </c:ext>
            </c:extLst>
          </c:dPt>
          <c:dPt>
            <c:idx val="1171"/>
            <c:invertIfNegative val="1"/>
            <c:bubble3D val="0"/>
            <c:spPr>
              <a:solidFill>
                <a:srgbClr val="AEABAB"/>
              </a:solidFill>
            </c:spPr>
            <c:extLst>
              <c:ext xmlns:c16="http://schemas.microsoft.com/office/drawing/2014/chart" uri="{C3380CC4-5D6E-409C-BE32-E72D297353CC}">
                <c16:uniqueId val="{00000929-C623-4FBE-8EDB-4AD12F618AAD}"/>
              </c:ext>
            </c:extLst>
          </c:dPt>
          <c:dPt>
            <c:idx val="1172"/>
            <c:invertIfNegative val="1"/>
            <c:bubble3D val="0"/>
            <c:spPr>
              <a:solidFill>
                <a:srgbClr val="AEABAB"/>
              </a:solidFill>
            </c:spPr>
            <c:extLst>
              <c:ext xmlns:c16="http://schemas.microsoft.com/office/drawing/2014/chart" uri="{C3380CC4-5D6E-409C-BE32-E72D297353CC}">
                <c16:uniqueId val="{0000092B-C623-4FBE-8EDB-4AD12F618AAD}"/>
              </c:ext>
            </c:extLst>
          </c:dPt>
          <c:dPt>
            <c:idx val="1173"/>
            <c:invertIfNegative val="1"/>
            <c:bubble3D val="0"/>
            <c:spPr>
              <a:solidFill>
                <a:srgbClr val="AEABAB"/>
              </a:solidFill>
            </c:spPr>
            <c:extLst>
              <c:ext xmlns:c16="http://schemas.microsoft.com/office/drawing/2014/chart" uri="{C3380CC4-5D6E-409C-BE32-E72D297353CC}">
                <c16:uniqueId val="{0000092D-C623-4FBE-8EDB-4AD12F618AAD}"/>
              </c:ext>
            </c:extLst>
          </c:dPt>
          <c:dPt>
            <c:idx val="1174"/>
            <c:invertIfNegative val="1"/>
            <c:bubble3D val="0"/>
            <c:spPr>
              <a:solidFill>
                <a:srgbClr val="AEABAB"/>
              </a:solidFill>
            </c:spPr>
            <c:extLst>
              <c:ext xmlns:c16="http://schemas.microsoft.com/office/drawing/2014/chart" uri="{C3380CC4-5D6E-409C-BE32-E72D297353CC}">
                <c16:uniqueId val="{0000092F-C623-4FBE-8EDB-4AD12F618AAD}"/>
              </c:ext>
            </c:extLst>
          </c:dPt>
          <c:dPt>
            <c:idx val="1175"/>
            <c:invertIfNegative val="1"/>
            <c:bubble3D val="0"/>
            <c:spPr>
              <a:solidFill>
                <a:srgbClr val="AEABAB"/>
              </a:solidFill>
            </c:spPr>
            <c:extLst>
              <c:ext xmlns:c16="http://schemas.microsoft.com/office/drawing/2014/chart" uri="{C3380CC4-5D6E-409C-BE32-E72D297353CC}">
                <c16:uniqueId val="{00000931-C623-4FBE-8EDB-4AD12F618AAD}"/>
              </c:ext>
            </c:extLst>
          </c:dPt>
          <c:dPt>
            <c:idx val="1176"/>
            <c:invertIfNegative val="1"/>
            <c:bubble3D val="0"/>
            <c:spPr>
              <a:solidFill>
                <a:srgbClr val="AEABAB"/>
              </a:solidFill>
            </c:spPr>
            <c:extLst>
              <c:ext xmlns:c16="http://schemas.microsoft.com/office/drawing/2014/chart" uri="{C3380CC4-5D6E-409C-BE32-E72D297353CC}">
                <c16:uniqueId val="{00000933-C623-4FBE-8EDB-4AD12F618AAD}"/>
              </c:ext>
            </c:extLst>
          </c:dPt>
          <c:dPt>
            <c:idx val="1177"/>
            <c:invertIfNegative val="1"/>
            <c:bubble3D val="0"/>
            <c:spPr>
              <a:solidFill>
                <a:srgbClr val="AEABAB"/>
              </a:solidFill>
            </c:spPr>
            <c:extLst>
              <c:ext xmlns:c16="http://schemas.microsoft.com/office/drawing/2014/chart" uri="{C3380CC4-5D6E-409C-BE32-E72D297353CC}">
                <c16:uniqueId val="{00000935-C623-4FBE-8EDB-4AD12F618AAD}"/>
              </c:ext>
            </c:extLst>
          </c:dPt>
          <c:dPt>
            <c:idx val="1178"/>
            <c:invertIfNegative val="1"/>
            <c:bubble3D val="0"/>
            <c:spPr>
              <a:solidFill>
                <a:srgbClr val="AEABAB"/>
              </a:solidFill>
            </c:spPr>
            <c:extLst>
              <c:ext xmlns:c16="http://schemas.microsoft.com/office/drawing/2014/chart" uri="{C3380CC4-5D6E-409C-BE32-E72D297353CC}">
                <c16:uniqueId val="{00000937-C623-4FBE-8EDB-4AD12F618AAD}"/>
              </c:ext>
            </c:extLst>
          </c:dPt>
          <c:dPt>
            <c:idx val="1179"/>
            <c:invertIfNegative val="1"/>
            <c:bubble3D val="0"/>
            <c:spPr>
              <a:solidFill>
                <a:srgbClr val="AEABAB"/>
              </a:solidFill>
            </c:spPr>
            <c:extLst>
              <c:ext xmlns:c16="http://schemas.microsoft.com/office/drawing/2014/chart" uri="{C3380CC4-5D6E-409C-BE32-E72D297353CC}">
                <c16:uniqueId val="{00000939-C623-4FBE-8EDB-4AD12F618AAD}"/>
              </c:ext>
            </c:extLst>
          </c:dPt>
          <c:dPt>
            <c:idx val="1180"/>
            <c:invertIfNegative val="1"/>
            <c:bubble3D val="0"/>
            <c:spPr>
              <a:solidFill>
                <a:srgbClr val="AEABAB"/>
              </a:solidFill>
            </c:spPr>
            <c:extLst>
              <c:ext xmlns:c16="http://schemas.microsoft.com/office/drawing/2014/chart" uri="{C3380CC4-5D6E-409C-BE32-E72D297353CC}">
                <c16:uniqueId val="{0000093B-C623-4FBE-8EDB-4AD12F618AAD}"/>
              </c:ext>
            </c:extLst>
          </c:dPt>
          <c:dPt>
            <c:idx val="1181"/>
            <c:invertIfNegative val="1"/>
            <c:bubble3D val="0"/>
            <c:spPr>
              <a:solidFill>
                <a:srgbClr val="AEABAB"/>
              </a:solidFill>
            </c:spPr>
            <c:extLst>
              <c:ext xmlns:c16="http://schemas.microsoft.com/office/drawing/2014/chart" uri="{C3380CC4-5D6E-409C-BE32-E72D297353CC}">
                <c16:uniqueId val="{0000093D-C623-4FBE-8EDB-4AD12F618AAD}"/>
              </c:ext>
            </c:extLst>
          </c:dPt>
          <c:dPt>
            <c:idx val="1182"/>
            <c:invertIfNegative val="1"/>
            <c:bubble3D val="0"/>
            <c:spPr>
              <a:solidFill>
                <a:srgbClr val="AEABAB"/>
              </a:solidFill>
            </c:spPr>
            <c:extLst>
              <c:ext xmlns:c16="http://schemas.microsoft.com/office/drawing/2014/chart" uri="{C3380CC4-5D6E-409C-BE32-E72D297353CC}">
                <c16:uniqueId val="{0000093F-C623-4FBE-8EDB-4AD12F618AAD}"/>
              </c:ext>
            </c:extLst>
          </c:dPt>
          <c:dPt>
            <c:idx val="1183"/>
            <c:invertIfNegative val="1"/>
            <c:bubble3D val="0"/>
            <c:spPr>
              <a:solidFill>
                <a:srgbClr val="AEABAB"/>
              </a:solidFill>
            </c:spPr>
            <c:extLst>
              <c:ext xmlns:c16="http://schemas.microsoft.com/office/drawing/2014/chart" uri="{C3380CC4-5D6E-409C-BE32-E72D297353CC}">
                <c16:uniqueId val="{00000941-C623-4FBE-8EDB-4AD12F618AAD}"/>
              </c:ext>
            </c:extLst>
          </c:dPt>
          <c:dPt>
            <c:idx val="1184"/>
            <c:invertIfNegative val="1"/>
            <c:bubble3D val="0"/>
            <c:spPr>
              <a:solidFill>
                <a:srgbClr val="AEABAB"/>
              </a:solidFill>
            </c:spPr>
            <c:extLst>
              <c:ext xmlns:c16="http://schemas.microsoft.com/office/drawing/2014/chart" uri="{C3380CC4-5D6E-409C-BE32-E72D297353CC}">
                <c16:uniqueId val="{00000943-C623-4FBE-8EDB-4AD12F618AAD}"/>
              </c:ext>
            </c:extLst>
          </c:dPt>
          <c:dPt>
            <c:idx val="1185"/>
            <c:invertIfNegative val="1"/>
            <c:bubble3D val="0"/>
            <c:spPr>
              <a:solidFill>
                <a:srgbClr val="AEABAB"/>
              </a:solidFill>
            </c:spPr>
            <c:extLst>
              <c:ext xmlns:c16="http://schemas.microsoft.com/office/drawing/2014/chart" uri="{C3380CC4-5D6E-409C-BE32-E72D297353CC}">
                <c16:uniqueId val="{00000945-C623-4FBE-8EDB-4AD12F618AAD}"/>
              </c:ext>
            </c:extLst>
          </c:dPt>
          <c:dPt>
            <c:idx val="1186"/>
            <c:invertIfNegative val="1"/>
            <c:bubble3D val="0"/>
            <c:spPr>
              <a:solidFill>
                <a:srgbClr val="AEABAB"/>
              </a:solidFill>
            </c:spPr>
            <c:extLst>
              <c:ext xmlns:c16="http://schemas.microsoft.com/office/drawing/2014/chart" uri="{C3380CC4-5D6E-409C-BE32-E72D297353CC}">
                <c16:uniqueId val="{00000947-C623-4FBE-8EDB-4AD12F618AAD}"/>
              </c:ext>
            </c:extLst>
          </c:dPt>
          <c:dPt>
            <c:idx val="1187"/>
            <c:invertIfNegative val="1"/>
            <c:bubble3D val="0"/>
            <c:spPr>
              <a:solidFill>
                <a:srgbClr val="AEABAB"/>
              </a:solidFill>
            </c:spPr>
            <c:extLst>
              <c:ext xmlns:c16="http://schemas.microsoft.com/office/drawing/2014/chart" uri="{C3380CC4-5D6E-409C-BE32-E72D297353CC}">
                <c16:uniqueId val="{00000949-C623-4FBE-8EDB-4AD12F618AAD}"/>
              </c:ext>
            </c:extLst>
          </c:dPt>
          <c:dPt>
            <c:idx val="1188"/>
            <c:invertIfNegative val="1"/>
            <c:bubble3D val="0"/>
            <c:spPr>
              <a:solidFill>
                <a:srgbClr val="AEABAB"/>
              </a:solidFill>
            </c:spPr>
            <c:extLst>
              <c:ext xmlns:c16="http://schemas.microsoft.com/office/drawing/2014/chart" uri="{C3380CC4-5D6E-409C-BE32-E72D297353CC}">
                <c16:uniqueId val="{0000094B-C623-4FBE-8EDB-4AD12F618AAD}"/>
              </c:ext>
            </c:extLst>
          </c:dPt>
          <c:dPt>
            <c:idx val="1189"/>
            <c:invertIfNegative val="1"/>
            <c:bubble3D val="0"/>
            <c:spPr>
              <a:solidFill>
                <a:srgbClr val="AEABAB"/>
              </a:solidFill>
            </c:spPr>
            <c:extLst>
              <c:ext xmlns:c16="http://schemas.microsoft.com/office/drawing/2014/chart" uri="{C3380CC4-5D6E-409C-BE32-E72D297353CC}">
                <c16:uniqueId val="{0000094D-C623-4FBE-8EDB-4AD12F618AAD}"/>
              </c:ext>
            </c:extLst>
          </c:dPt>
          <c:dPt>
            <c:idx val="1190"/>
            <c:invertIfNegative val="1"/>
            <c:bubble3D val="0"/>
            <c:spPr>
              <a:solidFill>
                <a:srgbClr val="AEABAB"/>
              </a:solidFill>
            </c:spPr>
            <c:extLst>
              <c:ext xmlns:c16="http://schemas.microsoft.com/office/drawing/2014/chart" uri="{C3380CC4-5D6E-409C-BE32-E72D297353CC}">
                <c16:uniqueId val="{0000094F-C623-4FBE-8EDB-4AD12F618AAD}"/>
              </c:ext>
            </c:extLst>
          </c:dPt>
          <c:dPt>
            <c:idx val="1191"/>
            <c:invertIfNegative val="1"/>
            <c:bubble3D val="0"/>
            <c:spPr>
              <a:solidFill>
                <a:srgbClr val="AEABAB"/>
              </a:solidFill>
            </c:spPr>
            <c:extLst>
              <c:ext xmlns:c16="http://schemas.microsoft.com/office/drawing/2014/chart" uri="{C3380CC4-5D6E-409C-BE32-E72D297353CC}">
                <c16:uniqueId val="{00000951-C623-4FBE-8EDB-4AD12F618AAD}"/>
              </c:ext>
            </c:extLst>
          </c:dPt>
          <c:dPt>
            <c:idx val="1192"/>
            <c:invertIfNegative val="1"/>
            <c:bubble3D val="0"/>
            <c:spPr>
              <a:solidFill>
                <a:srgbClr val="AEABAB"/>
              </a:solidFill>
            </c:spPr>
            <c:extLst>
              <c:ext xmlns:c16="http://schemas.microsoft.com/office/drawing/2014/chart" uri="{C3380CC4-5D6E-409C-BE32-E72D297353CC}">
                <c16:uniqueId val="{00000953-C623-4FBE-8EDB-4AD12F618AAD}"/>
              </c:ext>
            </c:extLst>
          </c:dPt>
          <c:dPt>
            <c:idx val="1193"/>
            <c:invertIfNegative val="1"/>
            <c:bubble3D val="0"/>
            <c:spPr>
              <a:solidFill>
                <a:srgbClr val="AEABAB"/>
              </a:solidFill>
            </c:spPr>
            <c:extLst>
              <c:ext xmlns:c16="http://schemas.microsoft.com/office/drawing/2014/chart" uri="{C3380CC4-5D6E-409C-BE32-E72D297353CC}">
                <c16:uniqueId val="{00000955-C623-4FBE-8EDB-4AD12F618AAD}"/>
              </c:ext>
            </c:extLst>
          </c:dPt>
          <c:dPt>
            <c:idx val="1194"/>
            <c:invertIfNegative val="1"/>
            <c:bubble3D val="0"/>
            <c:spPr>
              <a:solidFill>
                <a:srgbClr val="AEABAB"/>
              </a:solidFill>
            </c:spPr>
            <c:extLst>
              <c:ext xmlns:c16="http://schemas.microsoft.com/office/drawing/2014/chart" uri="{C3380CC4-5D6E-409C-BE32-E72D297353CC}">
                <c16:uniqueId val="{00000957-C623-4FBE-8EDB-4AD12F618AAD}"/>
              </c:ext>
            </c:extLst>
          </c:dPt>
          <c:dPt>
            <c:idx val="1195"/>
            <c:invertIfNegative val="1"/>
            <c:bubble3D val="0"/>
            <c:spPr>
              <a:solidFill>
                <a:srgbClr val="AEABAB"/>
              </a:solidFill>
            </c:spPr>
            <c:extLst>
              <c:ext xmlns:c16="http://schemas.microsoft.com/office/drawing/2014/chart" uri="{C3380CC4-5D6E-409C-BE32-E72D297353CC}">
                <c16:uniqueId val="{00000959-C623-4FBE-8EDB-4AD12F618AAD}"/>
              </c:ext>
            </c:extLst>
          </c:dPt>
          <c:dPt>
            <c:idx val="1196"/>
            <c:invertIfNegative val="1"/>
            <c:bubble3D val="0"/>
            <c:spPr>
              <a:solidFill>
                <a:srgbClr val="AEABAB"/>
              </a:solidFill>
            </c:spPr>
            <c:extLst>
              <c:ext xmlns:c16="http://schemas.microsoft.com/office/drawing/2014/chart" uri="{C3380CC4-5D6E-409C-BE32-E72D297353CC}">
                <c16:uniqueId val="{0000095B-C623-4FBE-8EDB-4AD12F618AAD}"/>
              </c:ext>
            </c:extLst>
          </c:dPt>
          <c:dPt>
            <c:idx val="1197"/>
            <c:invertIfNegative val="1"/>
            <c:bubble3D val="0"/>
            <c:spPr>
              <a:solidFill>
                <a:srgbClr val="AEABAB"/>
              </a:solidFill>
            </c:spPr>
            <c:extLst>
              <c:ext xmlns:c16="http://schemas.microsoft.com/office/drawing/2014/chart" uri="{C3380CC4-5D6E-409C-BE32-E72D297353CC}">
                <c16:uniqueId val="{0000095D-C623-4FBE-8EDB-4AD12F618AAD}"/>
              </c:ext>
            </c:extLst>
          </c:dPt>
          <c:dPt>
            <c:idx val="1198"/>
            <c:invertIfNegative val="1"/>
            <c:bubble3D val="0"/>
            <c:spPr>
              <a:solidFill>
                <a:srgbClr val="AEABAB"/>
              </a:solidFill>
            </c:spPr>
            <c:extLst>
              <c:ext xmlns:c16="http://schemas.microsoft.com/office/drawing/2014/chart" uri="{C3380CC4-5D6E-409C-BE32-E72D297353CC}">
                <c16:uniqueId val="{0000095F-C623-4FBE-8EDB-4AD12F618AAD}"/>
              </c:ext>
            </c:extLst>
          </c:dPt>
          <c:dPt>
            <c:idx val="1199"/>
            <c:invertIfNegative val="1"/>
            <c:bubble3D val="0"/>
            <c:spPr>
              <a:solidFill>
                <a:srgbClr val="AEABAB"/>
              </a:solidFill>
            </c:spPr>
            <c:extLst>
              <c:ext xmlns:c16="http://schemas.microsoft.com/office/drawing/2014/chart" uri="{C3380CC4-5D6E-409C-BE32-E72D297353CC}">
                <c16:uniqueId val="{00000961-C623-4FBE-8EDB-4AD12F618AAD}"/>
              </c:ext>
            </c:extLst>
          </c:dPt>
          <c:dPt>
            <c:idx val="1200"/>
            <c:invertIfNegative val="1"/>
            <c:bubble3D val="0"/>
            <c:spPr>
              <a:solidFill>
                <a:srgbClr val="AEABAB"/>
              </a:solidFill>
            </c:spPr>
            <c:extLst>
              <c:ext xmlns:c16="http://schemas.microsoft.com/office/drawing/2014/chart" uri="{C3380CC4-5D6E-409C-BE32-E72D297353CC}">
                <c16:uniqueId val="{00000963-C623-4FBE-8EDB-4AD12F618AAD}"/>
              </c:ext>
            </c:extLst>
          </c:dPt>
          <c:dPt>
            <c:idx val="1201"/>
            <c:invertIfNegative val="1"/>
            <c:bubble3D val="0"/>
            <c:spPr>
              <a:solidFill>
                <a:srgbClr val="AEABAB"/>
              </a:solidFill>
            </c:spPr>
            <c:extLst>
              <c:ext xmlns:c16="http://schemas.microsoft.com/office/drawing/2014/chart" uri="{C3380CC4-5D6E-409C-BE32-E72D297353CC}">
                <c16:uniqueId val="{00000965-C623-4FBE-8EDB-4AD12F618AAD}"/>
              </c:ext>
            </c:extLst>
          </c:dPt>
          <c:dPt>
            <c:idx val="1202"/>
            <c:invertIfNegative val="1"/>
            <c:bubble3D val="0"/>
            <c:spPr>
              <a:solidFill>
                <a:srgbClr val="AEABAB"/>
              </a:solidFill>
            </c:spPr>
            <c:extLst>
              <c:ext xmlns:c16="http://schemas.microsoft.com/office/drawing/2014/chart" uri="{C3380CC4-5D6E-409C-BE32-E72D297353CC}">
                <c16:uniqueId val="{00000967-C623-4FBE-8EDB-4AD12F618AAD}"/>
              </c:ext>
            </c:extLst>
          </c:dPt>
          <c:dPt>
            <c:idx val="1203"/>
            <c:invertIfNegative val="1"/>
            <c:bubble3D val="0"/>
            <c:spPr>
              <a:solidFill>
                <a:srgbClr val="AEABAB"/>
              </a:solidFill>
            </c:spPr>
            <c:extLst>
              <c:ext xmlns:c16="http://schemas.microsoft.com/office/drawing/2014/chart" uri="{C3380CC4-5D6E-409C-BE32-E72D297353CC}">
                <c16:uniqueId val="{00000969-C623-4FBE-8EDB-4AD12F618AAD}"/>
              </c:ext>
            </c:extLst>
          </c:dPt>
          <c:dPt>
            <c:idx val="1204"/>
            <c:invertIfNegative val="1"/>
            <c:bubble3D val="0"/>
            <c:spPr>
              <a:solidFill>
                <a:srgbClr val="AEABAB"/>
              </a:solidFill>
            </c:spPr>
            <c:extLst>
              <c:ext xmlns:c16="http://schemas.microsoft.com/office/drawing/2014/chart" uri="{C3380CC4-5D6E-409C-BE32-E72D297353CC}">
                <c16:uniqueId val="{0000096B-C623-4FBE-8EDB-4AD12F618AAD}"/>
              </c:ext>
            </c:extLst>
          </c:dPt>
          <c:dPt>
            <c:idx val="1205"/>
            <c:invertIfNegative val="1"/>
            <c:bubble3D val="0"/>
            <c:spPr>
              <a:solidFill>
                <a:srgbClr val="AEABAB"/>
              </a:solidFill>
            </c:spPr>
            <c:extLst>
              <c:ext xmlns:c16="http://schemas.microsoft.com/office/drawing/2014/chart" uri="{C3380CC4-5D6E-409C-BE32-E72D297353CC}">
                <c16:uniqueId val="{0000096D-C623-4FBE-8EDB-4AD12F618AAD}"/>
              </c:ext>
            </c:extLst>
          </c:dPt>
          <c:dPt>
            <c:idx val="1206"/>
            <c:invertIfNegative val="1"/>
            <c:bubble3D val="0"/>
            <c:spPr>
              <a:solidFill>
                <a:srgbClr val="AEABAB"/>
              </a:solidFill>
            </c:spPr>
            <c:extLst>
              <c:ext xmlns:c16="http://schemas.microsoft.com/office/drawing/2014/chart" uri="{C3380CC4-5D6E-409C-BE32-E72D297353CC}">
                <c16:uniqueId val="{0000096F-C623-4FBE-8EDB-4AD12F618AAD}"/>
              </c:ext>
            </c:extLst>
          </c:dPt>
          <c:dPt>
            <c:idx val="1207"/>
            <c:invertIfNegative val="1"/>
            <c:bubble3D val="0"/>
            <c:spPr>
              <a:solidFill>
                <a:srgbClr val="AEABAB"/>
              </a:solidFill>
            </c:spPr>
            <c:extLst>
              <c:ext xmlns:c16="http://schemas.microsoft.com/office/drawing/2014/chart" uri="{C3380CC4-5D6E-409C-BE32-E72D297353CC}">
                <c16:uniqueId val="{00000971-C623-4FBE-8EDB-4AD12F618AAD}"/>
              </c:ext>
            </c:extLst>
          </c:dPt>
          <c:dPt>
            <c:idx val="1208"/>
            <c:invertIfNegative val="1"/>
            <c:bubble3D val="0"/>
            <c:spPr>
              <a:solidFill>
                <a:srgbClr val="AEABAB"/>
              </a:solidFill>
            </c:spPr>
            <c:extLst>
              <c:ext xmlns:c16="http://schemas.microsoft.com/office/drawing/2014/chart" uri="{C3380CC4-5D6E-409C-BE32-E72D297353CC}">
                <c16:uniqueId val="{00000973-C623-4FBE-8EDB-4AD12F618AAD}"/>
              </c:ext>
            </c:extLst>
          </c:dPt>
          <c:dPt>
            <c:idx val="1209"/>
            <c:invertIfNegative val="1"/>
            <c:bubble3D val="0"/>
            <c:spPr>
              <a:solidFill>
                <a:srgbClr val="AEABAB"/>
              </a:solidFill>
            </c:spPr>
            <c:extLst>
              <c:ext xmlns:c16="http://schemas.microsoft.com/office/drawing/2014/chart" uri="{C3380CC4-5D6E-409C-BE32-E72D297353CC}">
                <c16:uniqueId val="{00000975-C623-4FBE-8EDB-4AD12F618AAD}"/>
              </c:ext>
            </c:extLst>
          </c:dPt>
          <c:dPt>
            <c:idx val="1210"/>
            <c:invertIfNegative val="1"/>
            <c:bubble3D val="0"/>
            <c:spPr>
              <a:solidFill>
                <a:srgbClr val="AEABAB"/>
              </a:solidFill>
            </c:spPr>
            <c:extLst>
              <c:ext xmlns:c16="http://schemas.microsoft.com/office/drawing/2014/chart" uri="{C3380CC4-5D6E-409C-BE32-E72D297353CC}">
                <c16:uniqueId val="{00000977-C623-4FBE-8EDB-4AD12F618AAD}"/>
              </c:ext>
            </c:extLst>
          </c:dPt>
          <c:dPt>
            <c:idx val="1211"/>
            <c:invertIfNegative val="1"/>
            <c:bubble3D val="0"/>
            <c:spPr>
              <a:solidFill>
                <a:srgbClr val="AEABAB"/>
              </a:solidFill>
            </c:spPr>
            <c:extLst>
              <c:ext xmlns:c16="http://schemas.microsoft.com/office/drawing/2014/chart" uri="{C3380CC4-5D6E-409C-BE32-E72D297353CC}">
                <c16:uniqueId val="{00000979-C623-4FBE-8EDB-4AD12F618AAD}"/>
              </c:ext>
            </c:extLst>
          </c:dPt>
          <c:dPt>
            <c:idx val="1212"/>
            <c:invertIfNegative val="1"/>
            <c:bubble3D val="0"/>
            <c:spPr>
              <a:solidFill>
                <a:srgbClr val="AEABAB"/>
              </a:solidFill>
            </c:spPr>
            <c:extLst>
              <c:ext xmlns:c16="http://schemas.microsoft.com/office/drawing/2014/chart" uri="{C3380CC4-5D6E-409C-BE32-E72D297353CC}">
                <c16:uniqueId val="{0000097B-C623-4FBE-8EDB-4AD12F618AAD}"/>
              </c:ext>
            </c:extLst>
          </c:dPt>
          <c:dPt>
            <c:idx val="1213"/>
            <c:invertIfNegative val="1"/>
            <c:bubble3D val="0"/>
            <c:spPr>
              <a:solidFill>
                <a:srgbClr val="AEABAB"/>
              </a:solidFill>
            </c:spPr>
            <c:extLst>
              <c:ext xmlns:c16="http://schemas.microsoft.com/office/drawing/2014/chart" uri="{C3380CC4-5D6E-409C-BE32-E72D297353CC}">
                <c16:uniqueId val="{0000097D-C623-4FBE-8EDB-4AD12F618AAD}"/>
              </c:ext>
            </c:extLst>
          </c:dPt>
          <c:dPt>
            <c:idx val="1214"/>
            <c:invertIfNegative val="1"/>
            <c:bubble3D val="0"/>
            <c:spPr>
              <a:solidFill>
                <a:srgbClr val="AEABAB"/>
              </a:solidFill>
            </c:spPr>
            <c:extLst>
              <c:ext xmlns:c16="http://schemas.microsoft.com/office/drawing/2014/chart" uri="{C3380CC4-5D6E-409C-BE32-E72D297353CC}">
                <c16:uniqueId val="{0000097F-C623-4FBE-8EDB-4AD12F618AAD}"/>
              </c:ext>
            </c:extLst>
          </c:dPt>
          <c:dPt>
            <c:idx val="1215"/>
            <c:invertIfNegative val="1"/>
            <c:bubble3D val="0"/>
            <c:spPr>
              <a:solidFill>
                <a:srgbClr val="AEABAB"/>
              </a:solidFill>
            </c:spPr>
            <c:extLst>
              <c:ext xmlns:c16="http://schemas.microsoft.com/office/drawing/2014/chart" uri="{C3380CC4-5D6E-409C-BE32-E72D297353CC}">
                <c16:uniqueId val="{00000981-C623-4FBE-8EDB-4AD12F618AAD}"/>
              </c:ext>
            </c:extLst>
          </c:dPt>
          <c:dPt>
            <c:idx val="1216"/>
            <c:invertIfNegative val="1"/>
            <c:bubble3D val="0"/>
            <c:spPr>
              <a:solidFill>
                <a:srgbClr val="AEABAB"/>
              </a:solidFill>
            </c:spPr>
            <c:extLst>
              <c:ext xmlns:c16="http://schemas.microsoft.com/office/drawing/2014/chart" uri="{C3380CC4-5D6E-409C-BE32-E72D297353CC}">
                <c16:uniqueId val="{00000983-C623-4FBE-8EDB-4AD12F618AAD}"/>
              </c:ext>
            </c:extLst>
          </c:dPt>
          <c:dPt>
            <c:idx val="1217"/>
            <c:invertIfNegative val="1"/>
            <c:bubble3D val="0"/>
            <c:spPr>
              <a:solidFill>
                <a:srgbClr val="AEABAB"/>
              </a:solidFill>
            </c:spPr>
            <c:extLst>
              <c:ext xmlns:c16="http://schemas.microsoft.com/office/drawing/2014/chart" uri="{C3380CC4-5D6E-409C-BE32-E72D297353CC}">
                <c16:uniqueId val="{00000985-C623-4FBE-8EDB-4AD12F618AAD}"/>
              </c:ext>
            </c:extLst>
          </c:dPt>
          <c:dPt>
            <c:idx val="1218"/>
            <c:invertIfNegative val="1"/>
            <c:bubble3D val="0"/>
            <c:spPr>
              <a:solidFill>
                <a:srgbClr val="AEABAB"/>
              </a:solidFill>
            </c:spPr>
            <c:extLst>
              <c:ext xmlns:c16="http://schemas.microsoft.com/office/drawing/2014/chart" uri="{C3380CC4-5D6E-409C-BE32-E72D297353CC}">
                <c16:uniqueId val="{00000987-C623-4FBE-8EDB-4AD12F618AAD}"/>
              </c:ext>
            </c:extLst>
          </c:dPt>
          <c:dPt>
            <c:idx val="1219"/>
            <c:invertIfNegative val="1"/>
            <c:bubble3D val="0"/>
            <c:spPr>
              <a:solidFill>
                <a:srgbClr val="AEABAB"/>
              </a:solidFill>
            </c:spPr>
            <c:extLst>
              <c:ext xmlns:c16="http://schemas.microsoft.com/office/drawing/2014/chart" uri="{C3380CC4-5D6E-409C-BE32-E72D297353CC}">
                <c16:uniqueId val="{00000989-C623-4FBE-8EDB-4AD12F618AAD}"/>
              </c:ext>
            </c:extLst>
          </c:dPt>
          <c:dPt>
            <c:idx val="1220"/>
            <c:invertIfNegative val="1"/>
            <c:bubble3D val="0"/>
            <c:spPr>
              <a:solidFill>
                <a:srgbClr val="AEABAB"/>
              </a:solidFill>
            </c:spPr>
            <c:extLst>
              <c:ext xmlns:c16="http://schemas.microsoft.com/office/drawing/2014/chart" uri="{C3380CC4-5D6E-409C-BE32-E72D297353CC}">
                <c16:uniqueId val="{0000098B-C623-4FBE-8EDB-4AD12F618AAD}"/>
              </c:ext>
            </c:extLst>
          </c:dPt>
          <c:dPt>
            <c:idx val="1221"/>
            <c:invertIfNegative val="1"/>
            <c:bubble3D val="0"/>
            <c:spPr>
              <a:solidFill>
                <a:srgbClr val="AEABAB"/>
              </a:solidFill>
            </c:spPr>
            <c:extLst>
              <c:ext xmlns:c16="http://schemas.microsoft.com/office/drawing/2014/chart" uri="{C3380CC4-5D6E-409C-BE32-E72D297353CC}">
                <c16:uniqueId val="{0000098D-C623-4FBE-8EDB-4AD12F618AAD}"/>
              </c:ext>
            </c:extLst>
          </c:dPt>
          <c:dPt>
            <c:idx val="1222"/>
            <c:invertIfNegative val="1"/>
            <c:bubble3D val="0"/>
            <c:spPr>
              <a:solidFill>
                <a:srgbClr val="AEABAB"/>
              </a:solidFill>
            </c:spPr>
            <c:extLst>
              <c:ext xmlns:c16="http://schemas.microsoft.com/office/drawing/2014/chart" uri="{C3380CC4-5D6E-409C-BE32-E72D297353CC}">
                <c16:uniqueId val="{0000098F-C623-4FBE-8EDB-4AD12F618AAD}"/>
              </c:ext>
            </c:extLst>
          </c:dPt>
          <c:dPt>
            <c:idx val="1223"/>
            <c:invertIfNegative val="1"/>
            <c:bubble3D val="0"/>
            <c:spPr>
              <a:solidFill>
                <a:srgbClr val="AEABAB"/>
              </a:solidFill>
            </c:spPr>
            <c:extLst>
              <c:ext xmlns:c16="http://schemas.microsoft.com/office/drawing/2014/chart" uri="{C3380CC4-5D6E-409C-BE32-E72D297353CC}">
                <c16:uniqueId val="{00000991-C623-4FBE-8EDB-4AD12F618AAD}"/>
              </c:ext>
            </c:extLst>
          </c:dPt>
          <c:dPt>
            <c:idx val="1224"/>
            <c:invertIfNegative val="1"/>
            <c:bubble3D val="0"/>
            <c:spPr>
              <a:solidFill>
                <a:srgbClr val="AEABAB"/>
              </a:solidFill>
            </c:spPr>
            <c:extLst>
              <c:ext xmlns:c16="http://schemas.microsoft.com/office/drawing/2014/chart" uri="{C3380CC4-5D6E-409C-BE32-E72D297353CC}">
                <c16:uniqueId val="{00000993-C623-4FBE-8EDB-4AD12F618AAD}"/>
              </c:ext>
            </c:extLst>
          </c:dPt>
          <c:dPt>
            <c:idx val="1225"/>
            <c:invertIfNegative val="1"/>
            <c:bubble3D val="0"/>
            <c:spPr>
              <a:solidFill>
                <a:srgbClr val="AEABAB"/>
              </a:solidFill>
            </c:spPr>
            <c:extLst>
              <c:ext xmlns:c16="http://schemas.microsoft.com/office/drawing/2014/chart" uri="{C3380CC4-5D6E-409C-BE32-E72D297353CC}">
                <c16:uniqueId val="{00000995-C623-4FBE-8EDB-4AD12F618AAD}"/>
              </c:ext>
            </c:extLst>
          </c:dPt>
          <c:dPt>
            <c:idx val="1226"/>
            <c:invertIfNegative val="1"/>
            <c:bubble3D val="0"/>
            <c:spPr>
              <a:solidFill>
                <a:srgbClr val="AEABAB"/>
              </a:solidFill>
            </c:spPr>
            <c:extLst>
              <c:ext xmlns:c16="http://schemas.microsoft.com/office/drawing/2014/chart" uri="{C3380CC4-5D6E-409C-BE32-E72D297353CC}">
                <c16:uniqueId val="{00000997-C623-4FBE-8EDB-4AD12F618AAD}"/>
              </c:ext>
            </c:extLst>
          </c:dPt>
          <c:dPt>
            <c:idx val="1227"/>
            <c:invertIfNegative val="1"/>
            <c:bubble3D val="0"/>
            <c:spPr>
              <a:solidFill>
                <a:srgbClr val="AEABAB"/>
              </a:solidFill>
            </c:spPr>
            <c:extLst>
              <c:ext xmlns:c16="http://schemas.microsoft.com/office/drawing/2014/chart" uri="{C3380CC4-5D6E-409C-BE32-E72D297353CC}">
                <c16:uniqueId val="{00000999-C623-4FBE-8EDB-4AD12F618AAD}"/>
              </c:ext>
            </c:extLst>
          </c:dPt>
          <c:dPt>
            <c:idx val="1228"/>
            <c:invertIfNegative val="1"/>
            <c:bubble3D val="0"/>
            <c:spPr>
              <a:solidFill>
                <a:srgbClr val="AEABAB"/>
              </a:solidFill>
            </c:spPr>
            <c:extLst>
              <c:ext xmlns:c16="http://schemas.microsoft.com/office/drawing/2014/chart" uri="{C3380CC4-5D6E-409C-BE32-E72D297353CC}">
                <c16:uniqueId val="{0000099B-C623-4FBE-8EDB-4AD12F618AAD}"/>
              </c:ext>
            </c:extLst>
          </c:dPt>
          <c:dPt>
            <c:idx val="1229"/>
            <c:invertIfNegative val="1"/>
            <c:bubble3D val="0"/>
            <c:spPr>
              <a:solidFill>
                <a:srgbClr val="AEABAB"/>
              </a:solidFill>
            </c:spPr>
            <c:extLst>
              <c:ext xmlns:c16="http://schemas.microsoft.com/office/drawing/2014/chart" uri="{C3380CC4-5D6E-409C-BE32-E72D297353CC}">
                <c16:uniqueId val="{0000099D-C623-4FBE-8EDB-4AD12F618AAD}"/>
              </c:ext>
            </c:extLst>
          </c:dPt>
          <c:dPt>
            <c:idx val="1230"/>
            <c:invertIfNegative val="1"/>
            <c:bubble3D val="0"/>
            <c:spPr>
              <a:solidFill>
                <a:srgbClr val="AEABAB"/>
              </a:solidFill>
            </c:spPr>
            <c:extLst>
              <c:ext xmlns:c16="http://schemas.microsoft.com/office/drawing/2014/chart" uri="{C3380CC4-5D6E-409C-BE32-E72D297353CC}">
                <c16:uniqueId val="{0000099F-C623-4FBE-8EDB-4AD12F618AAD}"/>
              </c:ext>
            </c:extLst>
          </c:dPt>
          <c:dPt>
            <c:idx val="1231"/>
            <c:invertIfNegative val="1"/>
            <c:bubble3D val="0"/>
            <c:spPr>
              <a:solidFill>
                <a:srgbClr val="AEABAB"/>
              </a:solidFill>
            </c:spPr>
            <c:extLst>
              <c:ext xmlns:c16="http://schemas.microsoft.com/office/drawing/2014/chart" uri="{C3380CC4-5D6E-409C-BE32-E72D297353CC}">
                <c16:uniqueId val="{000009A1-C623-4FBE-8EDB-4AD12F618AAD}"/>
              </c:ext>
            </c:extLst>
          </c:dPt>
          <c:dPt>
            <c:idx val="1232"/>
            <c:invertIfNegative val="1"/>
            <c:bubble3D val="0"/>
            <c:spPr>
              <a:solidFill>
                <a:srgbClr val="AEABAB"/>
              </a:solidFill>
            </c:spPr>
            <c:extLst>
              <c:ext xmlns:c16="http://schemas.microsoft.com/office/drawing/2014/chart" uri="{C3380CC4-5D6E-409C-BE32-E72D297353CC}">
                <c16:uniqueId val="{000009A3-C623-4FBE-8EDB-4AD12F618AAD}"/>
              </c:ext>
            </c:extLst>
          </c:dPt>
          <c:dPt>
            <c:idx val="1233"/>
            <c:invertIfNegative val="1"/>
            <c:bubble3D val="0"/>
            <c:spPr>
              <a:solidFill>
                <a:srgbClr val="AEABAB"/>
              </a:solidFill>
            </c:spPr>
            <c:extLst>
              <c:ext xmlns:c16="http://schemas.microsoft.com/office/drawing/2014/chart" uri="{C3380CC4-5D6E-409C-BE32-E72D297353CC}">
                <c16:uniqueId val="{000009A5-C623-4FBE-8EDB-4AD12F618AAD}"/>
              </c:ext>
            </c:extLst>
          </c:dPt>
          <c:dPt>
            <c:idx val="1234"/>
            <c:invertIfNegative val="1"/>
            <c:bubble3D val="0"/>
            <c:spPr>
              <a:solidFill>
                <a:srgbClr val="AEABAB"/>
              </a:solidFill>
            </c:spPr>
            <c:extLst>
              <c:ext xmlns:c16="http://schemas.microsoft.com/office/drawing/2014/chart" uri="{C3380CC4-5D6E-409C-BE32-E72D297353CC}">
                <c16:uniqueId val="{000009A7-C623-4FBE-8EDB-4AD12F618AAD}"/>
              </c:ext>
            </c:extLst>
          </c:dPt>
          <c:dPt>
            <c:idx val="1235"/>
            <c:invertIfNegative val="1"/>
            <c:bubble3D val="0"/>
            <c:spPr>
              <a:solidFill>
                <a:srgbClr val="AEABAB"/>
              </a:solidFill>
            </c:spPr>
            <c:extLst>
              <c:ext xmlns:c16="http://schemas.microsoft.com/office/drawing/2014/chart" uri="{C3380CC4-5D6E-409C-BE32-E72D297353CC}">
                <c16:uniqueId val="{000009A9-C623-4FBE-8EDB-4AD12F618AAD}"/>
              </c:ext>
            </c:extLst>
          </c:dPt>
          <c:dPt>
            <c:idx val="1236"/>
            <c:invertIfNegative val="1"/>
            <c:bubble3D val="0"/>
            <c:spPr>
              <a:solidFill>
                <a:srgbClr val="AEABAB"/>
              </a:solidFill>
            </c:spPr>
            <c:extLst>
              <c:ext xmlns:c16="http://schemas.microsoft.com/office/drawing/2014/chart" uri="{C3380CC4-5D6E-409C-BE32-E72D297353CC}">
                <c16:uniqueId val="{000009AB-C623-4FBE-8EDB-4AD12F618AAD}"/>
              </c:ext>
            </c:extLst>
          </c:dPt>
          <c:dPt>
            <c:idx val="1237"/>
            <c:invertIfNegative val="1"/>
            <c:bubble3D val="0"/>
            <c:spPr>
              <a:solidFill>
                <a:srgbClr val="AEABAB"/>
              </a:solidFill>
            </c:spPr>
            <c:extLst>
              <c:ext xmlns:c16="http://schemas.microsoft.com/office/drawing/2014/chart" uri="{C3380CC4-5D6E-409C-BE32-E72D297353CC}">
                <c16:uniqueId val="{000009AD-C623-4FBE-8EDB-4AD12F618AAD}"/>
              </c:ext>
            </c:extLst>
          </c:dPt>
          <c:dPt>
            <c:idx val="1238"/>
            <c:invertIfNegative val="1"/>
            <c:bubble3D val="0"/>
            <c:spPr>
              <a:solidFill>
                <a:srgbClr val="AEABAB"/>
              </a:solidFill>
            </c:spPr>
            <c:extLst>
              <c:ext xmlns:c16="http://schemas.microsoft.com/office/drawing/2014/chart" uri="{C3380CC4-5D6E-409C-BE32-E72D297353CC}">
                <c16:uniqueId val="{000009AF-C623-4FBE-8EDB-4AD12F618AAD}"/>
              </c:ext>
            </c:extLst>
          </c:dPt>
          <c:dPt>
            <c:idx val="1239"/>
            <c:invertIfNegative val="1"/>
            <c:bubble3D val="0"/>
            <c:spPr>
              <a:solidFill>
                <a:srgbClr val="AEABAB"/>
              </a:solidFill>
            </c:spPr>
            <c:extLst>
              <c:ext xmlns:c16="http://schemas.microsoft.com/office/drawing/2014/chart" uri="{C3380CC4-5D6E-409C-BE32-E72D297353CC}">
                <c16:uniqueId val="{000009B1-C623-4FBE-8EDB-4AD12F618AAD}"/>
              </c:ext>
            </c:extLst>
          </c:dPt>
          <c:dPt>
            <c:idx val="1240"/>
            <c:invertIfNegative val="1"/>
            <c:bubble3D val="0"/>
            <c:spPr>
              <a:solidFill>
                <a:srgbClr val="AEABAB"/>
              </a:solidFill>
            </c:spPr>
            <c:extLst>
              <c:ext xmlns:c16="http://schemas.microsoft.com/office/drawing/2014/chart" uri="{C3380CC4-5D6E-409C-BE32-E72D297353CC}">
                <c16:uniqueId val="{000009B3-C623-4FBE-8EDB-4AD12F618AAD}"/>
              </c:ext>
            </c:extLst>
          </c:dPt>
          <c:dPt>
            <c:idx val="1241"/>
            <c:invertIfNegative val="1"/>
            <c:bubble3D val="0"/>
            <c:spPr>
              <a:solidFill>
                <a:srgbClr val="AEABAB"/>
              </a:solidFill>
            </c:spPr>
            <c:extLst>
              <c:ext xmlns:c16="http://schemas.microsoft.com/office/drawing/2014/chart" uri="{C3380CC4-5D6E-409C-BE32-E72D297353CC}">
                <c16:uniqueId val="{000009B5-C623-4FBE-8EDB-4AD12F618AAD}"/>
              </c:ext>
            </c:extLst>
          </c:dPt>
          <c:dPt>
            <c:idx val="1242"/>
            <c:invertIfNegative val="1"/>
            <c:bubble3D val="0"/>
            <c:spPr>
              <a:solidFill>
                <a:srgbClr val="AEABAB"/>
              </a:solidFill>
            </c:spPr>
            <c:extLst>
              <c:ext xmlns:c16="http://schemas.microsoft.com/office/drawing/2014/chart" uri="{C3380CC4-5D6E-409C-BE32-E72D297353CC}">
                <c16:uniqueId val="{000009B7-C623-4FBE-8EDB-4AD12F618AAD}"/>
              </c:ext>
            </c:extLst>
          </c:dPt>
          <c:dPt>
            <c:idx val="1243"/>
            <c:invertIfNegative val="1"/>
            <c:bubble3D val="0"/>
            <c:spPr>
              <a:solidFill>
                <a:srgbClr val="AEABAB"/>
              </a:solidFill>
            </c:spPr>
            <c:extLst>
              <c:ext xmlns:c16="http://schemas.microsoft.com/office/drawing/2014/chart" uri="{C3380CC4-5D6E-409C-BE32-E72D297353CC}">
                <c16:uniqueId val="{000009B9-C623-4FBE-8EDB-4AD12F618AAD}"/>
              </c:ext>
            </c:extLst>
          </c:dPt>
          <c:dPt>
            <c:idx val="1244"/>
            <c:invertIfNegative val="1"/>
            <c:bubble3D val="0"/>
            <c:spPr>
              <a:solidFill>
                <a:srgbClr val="AEABAB"/>
              </a:solidFill>
            </c:spPr>
            <c:extLst>
              <c:ext xmlns:c16="http://schemas.microsoft.com/office/drawing/2014/chart" uri="{C3380CC4-5D6E-409C-BE32-E72D297353CC}">
                <c16:uniqueId val="{000009BB-C623-4FBE-8EDB-4AD12F618AAD}"/>
              </c:ext>
            </c:extLst>
          </c:dPt>
          <c:dPt>
            <c:idx val="1245"/>
            <c:invertIfNegative val="1"/>
            <c:bubble3D val="0"/>
            <c:spPr>
              <a:solidFill>
                <a:srgbClr val="AEABAB"/>
              </a:solidFill>
            </c:spPr>
            <c:extLst>
              <c:ext xmlns:c16="http://schemas.microsoft.com/office/drawing/2014/chart" uri="{C3380CC4-5D6E-409C-BE32-E72D297353CC}">
                <c16:uniqueId val="{000009BD-C623-4FBE-8EDB-4AD12F618AAD}"/>
              </c:ext>
            </c:extLst>
          </c:dPt>
          <c:dPt>
            <c:idx val="1246"/>
            <c:invertIfNegative val="1"/>
            <c:bubble3D val="0"/>
            <c:spPr>
              <a:solidFill>
                <a:srgbClr val="AEABAB"/>
              </a:solidFill>
            </c:spPr>
            <c:extLst>
              <c:ext xmlns:c16="http://schemas.microsoft.com/office/drawing/2014/chart" uri="{C3380CC4-5D6E-409C-BE32-E72D297353CC}">
                <c16:uniqueId val="{000009BF-C623-4FBE-8EDB-4AD12F618AAD}"/>
              </c:ext>
            </c:extLst>
          </c:dPt>
          <c:dPt>
            <c:idx val="1247"/>
            <c:invertIfNegative val="1"/>
            <c:bubble3D val="0"/>
            <c:spPr>
              <a:solidFill>
                <a:srgbClr val="AEABAB"/>
              </a:solidFill>
            </c:spPr>
            <c:extLst>
              <c:ext xmlns:c16="http://schemas.microsoft.com/office/drawing/2014/chart" uri="{C3380CC4-5D6E-409C-BE32-E72D297353CC}">
                <c16:uniqueId val="{000009C1-C623-4FBE-8EDB-4AD12F618AAD}"/>
              </c:ext>
            </c:extLst>
          </c:dPt>
          <c:dPt>
            <c:idx val="1248"/>
            <c:invertIfNegative val="1"/>
            <c:bubble3D val="0"/>
            <c:spPr>
              <a:solidFill>
                <a:srgbClr val="AEABAB"/>
              </a:solidFill>
            </c:spPr>
            <c:extLst>
              <c:ext xmlns:c16="http://schemas.microsoft.com/office/drawing/2014/chart" uri="{C3380CC4-5D6E-409C-BE32-E72D297353CC}">
                <c16:uniqueId val="{000009C3-C623-4FBE-8EDB-4AD12F618AAD}"/>
              </c:ext>
            </c:extLst>
          </c:dPt>
          <c:dPt>
            <c:idx val="1249"/>
            <c:invertIfNegative val="1"/>
            <c:bubble3D val="0"/>
            <c:spPr>
              <a:solidFill>
                <a:srgbClr val="AEABAB"/>
              </a:solidFill>
            </c:spPr>
            <c:extLst>
              <c:ext xmlns:c16="http://schemas.microsoft.com/office/drawing/2014/chart" uri="{C3380CC4-5D6E-409C-BE32-E72D297353CC}">
                <c16:uniqueId val="{000009C5-C623-4FBE-8EDB-4AD12F618AAD}"/>
              </c:ext>
            </c:extLst>
          </c:dPt>
          <c:dPt>
            <c:idx val="1250"/>
            <c:invertIfNegative val="1"/>
            <c:bubble3D val="0"/>
            <c:spPr>
              <a:solidFill>
                <a:srgbClr val="AEABAB"/>
              </a:solidFill>
            </c:spPr>
            <c:extLst>
              <c:ext xmlns:c16="http://schemas.microsoft.com/office/drawing/2014/chart" uri="{C3380CC4-5D6E-409C-BE32-E72D297353CC}">
                <c16:uniqueId val="{000009C7-C623-4FBE-8EDB-4AD12F618AAD}"/>
              </c:ext>
            </c:extLst>
          </c:dPt>
          <c:dPt>
            <c:idx val="1251"/>
            <c:invertIfNegative val="1"/>
            <c:bubble3D val="0"/>
            <c:spPr>
              <a:solidFill>
                <a:srgbClr val="AEABAB"/>
              </a:solidFill>
            </c:spPr>
            <c:extLst>
              <c:ext xmlns:c16="http://schemas.microsoft.com/office/drawing/2014/chart" uri="{C3380CC4-5D6E-409C-BE32-E72D297353CC}">
                <c16:uniqueId val="{000009C9-C623-4FBE-8EDB-4AD12F618AAD}"/>
              </c:ext>
            </c:extLst>
          </c:dPt>
          <c:dPt>
            <c:idx val="1252"/>
            <c:invertIfNegative val="1"/>
            <c:bubble3D val="0"/>
            <c:spPr>
              <a:solidFill>
                <a:srgbClr val="AEABAB"/>
              </a:solidFill>
            </c:spPr>
            <c:extLst>
              <c:ext xmlns:c16="http://schemas.microsoft.com/office/drawing/2014/chart" uri="{C3380CC4-5D6E-409C-BE32-E72D297353CC}">
                <c16:uniqueId val="{000009CB-C623-4FBE-8EDB-4AD12F618AAD}"/>
              </c:ext>
            </c:extLst>
          </c:dPt>
          <c:dPt>
            <c:idx val="1253"/>
            <c:invertIfNegative val="1"/>
            <c:bubble3D val="0"/>
            <c:spPr>
              <a:solidFill>
                <a:srgbClr val="AEABAB"/>
              </a:solidFill>
            </c:spPr>
            <c:extLst>
              <c:ext xmlns:c16="http://schemas.microsoft.com/office/drawing/2014/chart" uri="{C3380CC4-5D6E-409C-BE32-E72D297353CC}">
                <c16:uniqueId val="{000009CD-C623-4FBE-8EDB-4AD12F618AAD}"/>
              </c:ext>
            </c:extLst>
          </c:dPt>
          <c:dPt>
            <c:idx val="1254"/>
            <c:invertIfNegative val="1"/>
            <c:bubble3D val="0"/>
            <c:spPr>
              <a:solidFill>
                <a:srgbClr val="AEABAB"/>
              </a:solidFill>
            </c:spPr>
            <c:extLst>
              <c:ext xmlns:c16="http://schemas.microsoft.com/office/drawing/2014/chart" uri="{C3380CC4-5D6E-409C-BE32-E72D297353CC}">
                <c16:uniqueId val="{000009CF-C623-4FBE-8EDB-4AD12F618AAD}"/>
              </c:ext>
            </c:extLst>
          </c:dPt>
          <c:dPt>
            <c:idx val="1255"/>
            <c:invertIfNegative val="1"/>
            <c:bubble3D val="0"/>
            <c:spPr>
              <a:solidFill>
                <a:srgbClr val="AEABAB"/>
              </a:solidFill>
            </c:spPr>
            <c:extLst>
              <c:ext xmlns:c16="http://schemas.microsoft.com/office/drawing/2014/chart" uri="{C3380CC4-5D6E-409C-BE32-E72D297353CC}">
                <c16:uniqueId val="{000009D1-C623-4FBE-8EDB-4AD12F618AAD}"/>
              </c:ext>
            </c:extLst>
          </c:dPt>
          <c:dPt>
            <c:idx val="1256"/>
            <c:invertIfNegative val="1"/>
            <c:bubble3D val="0"/>
            <c:spPr>
              <a:solidFill>
                <a:srgbClr val="AEABAB"/>
              </a:solidFill>
            </c:spPr>
            <c:extLst>
              <c:ext xmlns:c16="http://schemas.microsoft.com/office/drawing/2014/chart" uri="{C3380CC4-5D6E-409C-BE32-E72D297353CC}">
                <c16:uniqueId val="{000009D3-C623-4FBE-8EDB-4AD12F618AAD}"/>
              </c:ext>
            </c:extLst>
          </c:dPt>
          <c:dPt>
            <c:idx val="1257"/>
            <c:invertIfNegative val="1"/>
            <c:bubble3D val="0"/>
            <c:spPr>
              <a:solidFill>
                <a:srgbClr val="AEABAB"/>
              </a:solidFill>
            </c:spPr>
            <c:extLst>
              <c:ext xmlns:c16="http://schemas.microsoft.com/office/drawing/2014/chart" uri="{C3380CC4-5D6E-409C-BE32-E72D297353CC}">
                <c16:uniqueId val="{000009D5-C623-4FBE-8EDB-4AD12F618AAD}"/>
              </c:ext>
            </c:extLst>
          </c:dPt>
          <c:dPt>
            <c:idx val="1258"/>
            <c:invertIfNegative val="1"/>
            <c:bubble3D val="0"/>
            <c:spPr>
              <a:solidFill>
                <a:srgbClr val="AEABAB"/>
              </a:solidFill>
            </c:spPr>
            <c:extLst>
              <c:ext xmlns:c16="http://schemas.microsoft.com/office/drawing/2014/chart" uri="{C3380CC4-5D6E-409C-BE32-E72D297353CC}">
                <c16:uniqueId val="{000009D7-C623-4FBE-8EDB-4AD12F618AAD}"/>
              </c:ext>
            </c:extLst>
          </c:dPt>
          <c:dPt>
            <c:idx val="1259"/>
            <c:invertIfNegative val="1"/>
            <c:bubble3D val="0"/>
            <c:spPr>
              <a:solidFill>
                <a:srgbClr val="AEABAB"/>
              </a:solidFill>
            </c:spPr>
            <c:extLst>
              <c:ext xmlns:c16="http://schemas.microsoft.com/office/drawing/2014/chart" uri="{C3380CC4-5D6E-409C-BE32-E72D297353CC}">
                <c16:uniqueId val="{000009D9-C623-4FBE-8EDB-4AD12F618AAD}"/>
              </c:ext>
            </c:extLst>
          </c:dPt>
          <c:dPt>
            <c:idx val="1260"/>
            <c:invertIfNegative val="1"/>
            <c:bubble3D val="0"/>
            <c:spPr>
              <a:solidFill>
                <a:srgbClr val="AEABAB"/>
              </a:solidFill>
            </c:spPr>
            <c:extLst>
              <c:ext xmlns:c16="http://schemas.microsoft.com/office/drawing/2014/chart" uri="{C3380CC4-5D6E-409C-BE32-E72D297353CC}">
                <c16:uniqueId val="{000009DB-C623-4FBE-8EDB-4AD12F618AAD}"/>
              </c:ext>
            </c:extLst>
          </c:dPt>
          <c:dPt>
            <c:idx val="1261"/>
            <c:invertIfNegative val="1"/>
            <c:bubble3D val="0"/>
            <c:spPr>
              <a:solidFill>
                <a:srgbClr val="AEABAB"/>
              </a:solidFill>
            </c:spPr>
            <c:extLst>
              <c:ext xmlns:c16="http://schemas.microsoft.com/office/drawing/2014/chart" uri="{C3380CC4-5D6E-409C-BE32-E72D297353CC}">
                <c16:uniqueId val="{000009DD-C623-4FBE-8EDB-4AD12F618AAD}"/>
              </c:ext>
            </c:extLst>
          </c:dPt>
          <c:dPt>
            <c:idx val="1262"/>
            <c:invertIfNegative val="1"/>
            <c:bubble3D val="0"/>
            <c:spPr>
              <a:solidFill>
                <a:srgbClr val="AEABAB"/>
              </a:solidFill>
            </c:spPr>
            <c:extLst>
              <c:ext xmlns:c16="http://schemas.microsoft.com/office/drawing/2014/chart" uri="{C3380CC4-5D6E-409C-BE32-E72D297353CC}">
                <c16:uniqueId val="{000009DF-C623-4FBE-8EDB-4AD12F618AAD}"/>
              </c:ext>
            </c:extLst>
          </c:dPt>
          <c:dPt>
            <c:idx val="1263"/>
            <c:invertIfNegative val="1"/>
            <c:bubble3D val="0"/>
            <c:spPr>
              <a:solidFill>
                <a:srgbClr val="AEABAB"/>
              </a:solidFill>
            </c:spPr>
            <c:extLst>
              <c:ext xmlns:c16="http://schemas.microsoft.com/office/drawing/2014/chart" uri="{C3380CC4-5D6E-409C-BE32-E72D297353CC}">
                <c16:uniqueId val="{000009E1-C623-4FBE-8EDB-4AD12F618AAD}"/>
              </c:ext>
            </c:extLst>
          </c:dPt>
          <c:dPt>
            <c:idx val="1264"/>
            <c:invertIfNegative val="1"/>
            <c:bubble3D val="0"/>
            <c:spPr>
              <a:solidFill>
                <a:srgbClr val="AEABAB"/>
              </a:solidFill>
            </c:spPr>
            <c:extLst>
              <c:ext xmlns:c16="http://schemas.microsoft.com/office/drawing/2014/chart" uri="{C3380CC4-5D6E-409C-BE32-E72D297353CC}">
                <c16:uniqueId val="{000009E3-C623-4FBE-8EDB-4AD12F618AAD}"/>
              </c:ext>
            </c:extLst>
          </c:dPt>
          <c:dPt>
            <c:idx val="1265"/>
            <c:invertIfNegative val="1"/>
            <c:bubble3D val="0"/>
            <c:spPr>
              <a:solidFill>
                <a:srgbClr val="AEABAB"/>
              </a:solidFill>
            </c:spPr>
            <c:extLst>
              <c:ext xmlns:c16="http://schemas.microsoft.com/office/drawing/2014/chart" uri="{C3380CC4-5D6E-409C-BE32-E72D297353CC}">
                <c16:uniqueId val="{000009E5-C623-4FBE-8EDB-4AD12F618AAD}"/>
              </c:ext>
            </c:extLst>
          </c:dPt>
          <c:dPt>
            <c:idx val="1266"/>
            <c:invertIfNegative val="1"/>
            <c:bubble3D val="0"/>
            <c:spPr>
              <a:solidFill>
                <a:srgbClr val="AEABAB"/>
              </a:solidFill>
            </c:spPr>
            <c:extLst>
              <c:ext xmlns:c16="http://schemas.microsoft.com/office/drawing/2014/chart" uri="{C3380CC4-5D6E-409C-BE32-E72D297353CC}">
                <c16:uniqueId val="{000009E7-C623-4FBE-8EDB-4AD12F618AAD}"/>
              </c:ext>
            </c:extLst>
          </c:dPt>
          <c:dPt>
            <c:idx val="1267"/>
            <c:invertIfNegative val="1"/>
            <c:bubble3D val="0"/>
            <c:spPr>
              <a:solidFill>
                <a:srgbClr val="AEABAB"/>
              </a:solidFill>
            </c:spPr>
            <c:extLst>
              <c:ext xmlns:c16="http://schemas.microsoft.com/office/drawing/2014/chart" uri="{C3380CC4-5D6E-409C-BE32-E72D297353CC}">
                <c16:uniqueId val="{000009E9-C623-4FBE-8EDB-4AD12F618AAD}"/>
              </c:ext>
            </c:extLst>
          </c:dPt>
          <c:dPt>
            <c:idx val="1268"/>
            <c:invertIfNegative val="1"/>
            <c:bubble3D val="0"/>
            <c:spPr>
              <a:solidFill>
                <a:srgbClr val="AEABAB"/>
              </a:solidFill>
            </c:spPr>
            <c:extLst>
              <c:ext xmlns:c16="http://schemas.microsoft.com/office/drawing/2014/chart" uri="{C3380CC4-5D6E-409C-BE32-E72D297353CC}">
                <c16:uniqueId val="{000009EB-C623-4FBE-8EDB-4AD12F618AAD}"/>
              </c:ext>
            </c:extLst>
          </c:dPt>
          <c:dPt>
            <c:idx val="1269"/>
            <c:invertIfNegative val="1"/>
            <c:bubble3D val="0"/>
            <c:spPr>
              <a:solidFill>
                <a:srgbClr val="AEABAB"/>
              </a:solidFill>
            </c:spPr>
            <c:extLst>
              <c:ext xmlns:c16="http://schemas.microsoft.com/office/drawing/2014/chart" uri="{C3380CC4-5D6E-409C-BE32-E72D297353CC}">
                <c16:uniqueId val="{000009ED-C623-4FBE-8EDB-4AD12F618AAD}"/>
              </c:ext>
            </c:extLst>
          </c:dPt>
          <c:dPt>
            <c:idx val="1270"/>
            <c:invertIfNegative val="1"/>
            <c:bubble3D val="0"/>
            <c:spPr>
              <a:solidFill>
                <a:srgbClr val="AEABAB"/>
              </a:solidFill>
            </c:spPr>
            <c:extLst>
              <c:ext xmlns:c16="http://schemas.microsoft.com/office/drawing/2014/chart" uri="{C3380CC4-5D6E-409C-BE32-E72D297353CC}">
                <c16:uniqueId val="{000009EF-C623-4FBE-8EDB-4AD12F618AAD}"/>
              </c:ext>
            </c:extLst>
          </c:dPt>
          <c:dPt>
            <c:idx val="1271"/>
            <c:invertIfNegative val="1"/>
            <c:bubble3D val="0"/>
            <c:spPr>
              <a:solidFill>
                <a:srgbClr val="AEABAB"/>
              </a:solidFill>
            </c:spPr>
            <c:extLst>
              <c:ext xmlns:c16="http://schemas.microsoft.com/office/drawing/2014/chart" uri="{C3380CC4-5D6E-409C-BE32-E72D297353CC}">
                <c16:uniqueId val="{000009F1-C623-4FBE-8EDB-4AD12F618AAD}"/>
              </c:ext>
            </c:extLst>
          </c:dPt>
          <c:dPt>
            <c:idx val="1272"/>
            <c:invertIfNegative val="1"/>
            <c:bubble3D val="0"/>
            <c:spPr>
              <a:solidFill>
                <a:srgbClr val="AEABAB"/>
              </a:solidFill>
            </c:spPr>
            <c:extLst>
              <c:ext xmlns:c16="http://schemas.microsoft.com/office/drawing/2014/chart" uri="{C3380CC4-5D6E-409C-BE32-E72D297353CC}">
                <c16:uniqueId val="{000009F3-C623-4FBE-8EDB-4AD12F618AAD}"/>
              </c:ext>
            </c:extLst>
          </c:dPt>
          <c:dPt>
            <c:idx val="1273"/>
            <c:invertIfNegative val="1"/>
            <c:bubble3D val="0"/>
            <c:spPr>
              <a:solidFill>
                <a:srgbClr val="AEABAB"/>
              </a:solidFill>
            </c:spPr>
            <c:extLst>
              <c:ext xmlns:c16="http://schemas.microsoft.com/office/drawing/2014/chart" uri="{C3380CC4-5D6E-409C-BE32-E72D297353CC}">
                <c16:uniqueId val="{000009F5-C623-4FBE-8EDB-4AD12F618AAD}"/>
              </c:ext>
            </c:extLst>
          </c:dPt>
          <c:dPt>
            <c:idx val="1274"/>
            <c:invertIfNegative val="1"/>
            <c:bubble3D val="0"/>
            <c:spPr>
              <a:solidFill>
                <a:srgbClr val="AEABAB"/>
              </a:solidFill>
            </c:spPr>
            <c:extLst>
              <c:ext xmlns:c16="http://schemas.microsoft.com/office/drawing/2014/chart" uri="{C3380CC4-5D6E-409C-BE32-E72D297353CC}">
                <c16:uniqueId val="{000009F7-C623-4FBE-8EDB-4AD12F618AAD}"/>
              </c:ext>
            </c:extLst>
          </c:dPt>
          <c:dPt>
            <c:idx val="1275"/>
            <c:invertIfNegative val="1"/>
            <c:bubble3D val="0"/>
            <c:spPr>
              <a:solidFill>
                <a:srgbClr val="AEABAB"/>
              </a:solidFill>
            </c:spPr>
            <c:extLst>
              <c:ext xmlns:c16="http://schemas.microsoft.com/office/drawing/2014/chart" uri="{C3380CC4-5D6E-409C-BE32-E72D297353CC}">
                <c16:uniqueId val="{000009F9-C623-4FBE-8EDB-4AD12F618AAD}"/>
              </c:ext>
            </c:extLst>
          </c:dPt>
          <c:dPt>
            <c:idx val="1276"/>
            <c:invertIfNegative val="1"/>
            <c:bubble3D val="0"/>
            <c:spPr>
              <a:solidFill>
                <a:srgbClr val="AEABAB"/>
              </a:solidFill>
            </c:spPr>
            <c:extLst>
              <c:ext xmlns:c16="http://schemas.microsoft.com/office/drawing/2014/chart" uri="{C3380CC4-5D6E-409C-BE32-E72D297353CC}">
                <c16:uniqueId val="{000009FB-C623-4FBE-8EDB-4AD12F618AAD}"/>
              </c:ext>
            </c:extLst>
          </c:dPt>
          <c:dPt>
            <c:idx val="1277"/>
            <c:invertIfNegative val="1"/>
            <c:bubble3D val="0"/>
            <c:spPr>
              <a:solidFill>
                <a:srgbClr val="AEABAB"/>
              </a:solidFill>
            </c:spPr>
            <c:extLst>
              <c:ext xmlns:c16="http://schemas.microsoft.com/office/drawing/2014/chart" uri="{C3380CC4-5D6E-409C-BE32-E72D297353CC}">
                <c16:uniqueId val="{000009FD-C623-4FBE-8EDB-4AD12F618AAD}"/>
              </c:ext>
            </c:extLst>
          </c:dPt>
          <c:dPt>
            <c:idx val="1278"/>
            <c:invertIfNegative val="1"/>
            <c:bubble3D val="0"/>
            <c:spPr>
              <a:solidFill>
                <a:srgbClr val="AEABAB"/>
              </a:solidFill>
            </c:spPr>
            <c:extLst>
              <c:ext xmlns:c16="http://schemas.microsoft.com/office/drawing/2014/chart" uri="{C3380CC4-5D6E-409C-BE32-E72D297353CC}">
                <c16:uniqueId val="{000009FF-C623-4FBE-8EDB-4AD12F618AAD}"/>
              </c:ext>
            </c:extLst>
          </c:dPt>
          <c:dPt>
            <c:idx val="1279"/>
            <c:invertIfNegative val="1"/>
            <c:bubble3D val="0"/>
            <c:spPr>
              <a:solidFill>
                <a:srgbClr val="AEABAB"/>
              </a:solidFill>
            </c:spPr>
            <c:extLst>
              <c:ext xmlns:c16="http://schemas.microsoft.com/office/drawing/2014/chart" uri="{C3380CC4-5D6E-409C-BE32-E72D297353CC}">
                <c16:uniqueId val="{00000A01-C623-4FBE-8EDB-4AD12F618AAD}"/>
              </c:ext>
            </c:extLst>
          </c:dPt>
          <c:dPt>
            <c:idx val="1280"/>
            <c:invertIfNegative val="1"/>
            <c:bubble3D val="0"/>
            <c:spPr>
              <a:solidFill>
                <a:srgbClr val="AEABAB"/>
              </a:solidFill>
            </c:spPr>
            <c:extLst>
              <c:ext xmlns:c16="http://schemas.microsoft.com/office/drawing/2014/chart" uri="{C3380CC4-5D6E-409C-BE32-E72D297353CC}">
                <c16:uniqueId val="{00000A03-C623-4FBE-8EDB-4AD12F618AAD}"/>
              </c:ext>
            </c:extLst>
          </c:dPt>
          <c:dPt>
            <c:idx val="1281"/>
            <c:invertIfNegative val="1"/>
            <c:bubble3D val="0"/>
            <c:spPr>
              <a:solidFill>
                <a:srgbClr val="AEABAB"/>
              </a:solidFill>
            </c:spPr>
            <c:extLst>
              <c:ext xmlns:c16="http://schemas.microsoft.com/office/drawing/2014/chart" uri="{C3380CC4-5D6E-409C-BE32-E72D297353CC}">
                <c16:uniqueId val="{00000A05-C623-4FBE-8EDB-4AD12F618AAD}"/>
              </c:ext>
            </c:extLst>
          </c:dPt>
          <c:dPt>
            <c:idx val="1282"/>
            <c:invertIfNegative val="1"/>
            <c:bubble3D val="0"/>
            <c:spPr>
              <a:solidFill>
                <a:srgbClr val="AEABAB"/>
              </a:solidFill>
            </c:spPr>
            <c:extLst>
              <c:ext xmlns:c16="http://schemas.microsoft.com/office/drawing/2014/chart" uri="{C3380CC4-5D6E-409C-BE32-E72D297353CC}">
                <c16:uniqueId val="{00000A07-C623-4FBE-8EDB-4AD12F618AAD}"/>
              </c:ext>
            </c:extLst>
          </c:dPt>
          <c:dPt>
            <c:idx val="1283"/>
            <c:invertIfNegative val="1"/>
            <c:bubble3D val="0"/>
            <c:spPr>
              <a:solidFill>
                <a:srgbClr val="AEABAB"/>
              </a:solidFill>
            </c:spPr>
            <c:extLst>
              <c:ext xmlns:c16="http://schemas.microsoft.com/office/drawing/2014/chart" uri="{C3380CC4-5D6E-409C-BE32-E72D297353CC}">
                <c16:uniqueId val="{00000A09-C623-4FBE-8EDB-4AD12F618AAD}"/>
              </c:ext>
            </c:extLst>
          </c:dPt>
          <c:dPt>
            <c:idx val="1284"/>
            <c:invertIfNegative val="1"/>
            <c:bubble3D val="0"/>
            <c:spPr>
              <a:solidFill>
                <a:srgbClr val="AEABAB"/>
              </a:solidFill>
            </c:spPr>
            <c:extLst>
              <c:ext xmlns:c16="http://schemas.microsoft.com/office/drawing/2014/chart" uri="{C3380CC4-5D6E-409C-BE32-E72D297353CC}">
                <c16:uniqueId val="{00000A0B-C623-4FBE-8EDB-4AD12F618AAD}"/>
              </c:ext>
            </c:extLst>
          </c:dPt>
          <c:dPt>
            <c:idx val="1285"/>
            <c:invertIfNegative val="1"/>
            <c:bubble3D val="0"/>
            <c:spPr>
              <a:solidFill>
                <a:srgbClr val="AEABAB"/>
              </a:solidFill>
            </c:spPr>
            <c:extLst>
              <c:ext xmlns:c16="http://schemas.microsoft.com/office/drawing/2014/chart" uri="{C3380CC4-5D6E-409C-BE32-E72D297353CC}">
                <c16:uniqueId val="{00000A0D-C623-4FBE-8EDB-4AD12F618AAD}"/>
              </c:ext>
            </c:extLst>
          </c:dPt>
          <c:dPt>
            <c:idx val="1286"/>
            <c:invertIfNegative val="1"/>
            <c:bubble3D val="0"/>
            <c:spPr>
              <a:solidFill>
                <a:srgbClr val="AEABAB"/>
              </a:solidFill>
            </c:spPr>
            <c:extLst>
              <c:ext xmlns:c16="http://schemas.microsoft.com/office/drawing/2014/chart" uri="{C3380CC4-5D6E-409C-BE32-E72D297353CC}">
                <c16:uniqueId val="{00000A0F-C623-4FBE-8EDB-4AD12F618AAD}"/>
              </c:ext>
            </c:extLst>
          </c:dPt>
          <c:dPt>
            <c:idx val="1287"/>
            <c:invertIfNegative val="1"/>
            <c:bubble3D val="0"/>
            <c:spPr>
              <a:solidFill>
                <a:srgbClr val="AEABAB"/>
              </a:solidFill>
            </c:spPr>
            <c:extLst>
              <c:ext xmlns:c16="http://schemas.microsoft.com/office/drawing/2014/chart" uri="{C3380CC4-5D6E-409C-BE32-E72D297353CC}">
                <c16:uniqueId val="{00000A11-C623-4FBE-8EDB-4AD12F618AAD}"/>
              </c:ext>
            </c:extLst>
          </c:dPt>
          <c:dPt>
            <c:idx val="1288"/>
            <c:invertIfNegative val="1"/>
            <c:bubble3D val="0"/>
            <c:spPr>
              <a:solidFill>
                <a:srgbClr val="AEABAB"/>
              </a:solidFill>
            </c:spPr>
            <c:extLst>
              <c:ext xmlns:c16="http://schemas.microsoft.com/office/drawing/2014/chart" uri="{C3380CC4-5D6E-409C-BE32-E72D297353CC}">
                <c16:uniqueId val="{00000A13-C623-4FBE-8EDB-4AD12F618AAD}"/>
              </c:ext>
            </c:extLst>
          </c:dPt>
          <c:dPt>
            <c:idx val="1289"/>
            <c:invertIfNegative val="1"/>
            <c:bubble3D val="0"/>
            <c:spPr>
              <a:solidFill>
                <a:srgbClr val="AEABAB"/>
              </a:solidFill>
            </c:spPr>
            <c:extLst>
              <c:ext xmlns:c16="http://schemas.microsoft.com/office/drawing/2014/chart" uri="{C3380CC4-5D6E-409C-BE32-E72D297353CC}">
                <c16:uniqueId val="{00000A15-C623-4FBE-8EDB-4AD12F618AAD}"/>
              </c:ext>
            </c:extLst>
          </c:dPt>
          <c:dPt>
            <c:idx val="1290"/>
            <c:invertIfNegative val="1"/>
            <c:bubble3D val="0"/>
            <c:spPr>
              <a:solidFill>
                <a:srgbClr val="AEABAB"/>
              </a:solidFill>
            </c:spPr>
            <c:extLst>
              <c:ext xmlns:c16="http://schemas.microsoft.com/office/drawing/2014/chart" uri="{C3380CC4-5D6E-409C-BE32-E72D297353CC}">
                <c16:uniqueId val="{00000A17-C623-4FBE-8EDB-4AD12F618AAD}"/>
              </c:ext>
            </c:extLst>
          </c:dPt>
          <c:dPt>
            <c:idx val="1291"/>
            <c:invertIfNegative val="1"/>
            <c:bubble3D val="0"/>
            <c:spPr>
              <a:solidFill>
                <a:srgbClr val="AEABAB"/>
              </a:solidFill>
            </c:spPr>
            <c:extLst>
              <c:ext xmlns:c16="http://schemas.microsoft.com/office/drawing/2014/chart" uri="{C3380CC4-5D6E-409C-BE32-E72D297353CC}">
                <c16:uniqueId val="{00000A19-C623-4FBE-8EDB-4AD12F618AAD}"/>
              </c:ext>
            </c:extLst>
          </c:dPt>
          <c:dPt>
            <c:idx val="1292"/>
            <c:invertIfNegative val="1"/>
            <c:bubble3D val="0"/>
            <c:spPr>
              <a:solidFill>
                <a:srgbClr val="AEABAB"/>
              </a:solidFill>
            </c:spPr>
            <c:extLst>
              <c:ext xmlns:c16="http://schemas.microsoft.com/office/drawing/2014/chart" uri="{C3380CC4-5D6E-409C-BE32-E72D297353CC}">
                <c16:uniqueId val="{00000A1B-C623-4FBE-8EDB-4AD12F618AAD}"/>
              </c:ext>
            </c:extLst>
          </c:dPt>
          <c:dPt>
            <c:idx val="1293"/>
            <c:invertIfNegative val="1"/>
            <c:bubble3D val="0"/>
            <c:spPr>
              <a:solidFill>
                <a:srgbClr val="AEABAB"/>
              </a:solidFill>
            </c:spPr>
            <c:extLst>
              <c:ext xmlns:c16="http://schemas.microsoft.com/office/drawing/2014/chart" uri="{C3380CC4-5D6E-409C-BE32-E72D297353CC}">
                <c16:uniqueId val="{00000A1D-C623-4FBE-8EDB-4AD12F618AAD}"/>
              </c:ext>
            </c:extLst>
          </c:dPt>
          <c:dPt>
            <c:idx val="1294"/>
            <c:invertIfNegative val="1"/>
            <c:bubble3D val="0"/>
            <c:spPr>
              <a:solidFill>
                <a:srgbClr val="AEABAB"/>
              </a:solidFill>
            </c:spPr>
            <c:extLst>
              <c:ext xmlns:c16="http://schemas.microsoft.com/office/drawing/2014/chart" uri="{C3380CC4-5D6E-409C-BE32-E72D297353CC}">
                <c16:uniqueId val="{00000A1F-C623-4FBE-8EDB-4AD12F618AAD}"/>
              </c:ext>
            </c:extLst>
          </c:dPt>
          <c:dPt>
            <c:idx val="1295"/>
            <c:invertIfNegative val="1"/>
            <c:bubble3D val="0"/>
            <c:spPr>
              <a:solidFill>
                <a:srgbClr val="AEABAB"/>
              </a:solidFill>
            </c:spPr>
            <c:extLst>
              <c:ext xmlns:c16="http://schemas.microsoft.com/office/drawing/2014/chart" uri="{C3380CC4-5D6E-409C-BE32-E72D297353CC}">
                <c16:uniqueId val="{00000A21-C623-4FBE-8EDB-4AD12F618AAD}"/>
              </c:ext>
            </c:extLst>
          </c:dPt>
          <c:dPt>
            <c:idx val="1296"/>
            <c:invertIfNegative val="1"/>
            <c:bubble3D val="0"/>
            <c:spPr>
              <a:solidFill>
                <a:srgbClr val="AEABAB"/>
              </a:solidFill>
            </c:spPr>
            <c:extLst>
              <c:ext xmlns:c16="http://schemas.microsoft.com/office/drawing/2014/chart" uri="{C3380CC4-5D6E-409C-BE32-E72D297353CC}">
                <c16:uniqueId val="{00000A23-C623-4FBE-8EDB-4AD12F618AAD}"/>
              </c:ext>
            </c:extLst>
          </c:dPt>
          <c:dPt>
            <c:idx val="1297"/>
            <c:invertIfNegative val="1"/>
            <c:bubble3D val="0"/>
            <c:spPr>
              <a:solidFill>
                <a:srgbClr val="AEABAB"/>
              </a:solidFill>
            </c:spPr>
            <c:extLst>
              <c:ext xmlns:c16="http://schemas.microsoft.com/office/drawing/2014/chart" uri="{C3380CC4-5D6E-409C-BE32-E72D297353CC}">
                <c16:uniqueId val="{00000A25-C623-4FBE-8EDB-4AD12F618AAD}"/>
              </c:ext>
            </c:extLst>
          </c:dPt>
          <c:dPt>
            <c:idx val="1298"/>
            <c:invertIfNegative val="1"/>
            <c:bubble3D val="0"/>
            <c:spPr>
              <a:solidFill>
                <a:srgbClr val="AEABAB"/>
              </a:solidFill>
            </c:spPr>
            <c:extLst>
              <c:ext xmlns:c16="http://schemas.microsoft.com/office/drawing/2014/chart" uri="{C3380CC4-5D6E-409C-BE32-E72D297353CC}">
                <c16:uniqueId val="{00000A27-C623-4FBE-8EDB-4AD12F618AAD}"/>
              </c:ext>
            </c:extLst>
          </c:dPt>
          <c:dPt>
            <c:idx val="1299"/>
            <c:invertIfNegative val="1"/>
            <c:bubble3D val="0"/>
            <c:spPr>
              <a:solidFill>
                <a:srgbClr val="AEABAB"/>
              </a:solidFill>
            </c:spPr>
            <c:extLst>
              <c:ext xmlns:c16="http://schemas.microsoft.com/office/drawing/2014/chart" uri="{C3380CC4-5D6E-409C-BE32-E72D297353CC}">
                <c16:uniqueId val="{00000A29-C623-4FBE-8EDB-4AD12F618AAD}"/>
              </c:ext>
            </c:extLst>
          </c:dPt>
          <c:dPt>
            <c:idx val="1300"/>
            <c:invertIfNegative val="1"/>
            <c:bubble3D val="0"/>
            <c:spPr>
              <a:solidFill>
                <a:srgbClr val="AEABAB"/>
              </a:solidFill>
            </c:spPr>
            <c:extLst>
              <c:ext xmlns:c16="http://schemas.microsoft.com/office/drawing/2014/chart" uri="{C3380CC4-5D6E-409C-BE32-E72D297353CC}">
                <c16:uniqueId val="{00000A2B-C623-4FBE-8EDB-4AD12F618AAD}"/>
              </c:ext>
            </c:extLst>
          </c:dPt>
          <c:dPt>
            <c:idx val="1301"/>
            <c:invertIfNegative val="1"/>
            <c:bubble3D val="0"/>
            <c:spPr>
              <a:solidFill>
                <a:srgbClr val="AEABAB"/>
              </a:solidFill>
            </c:spPr>
            <c:extLst>
              <c:ext xmlns:c16="http://schemas.microsoft.com/office/drawing/2014/chart" uri="{C3380CC4-5D6E-409C-BE32-E72D297353CC}">
                <c16:uniqueId val="{00000A2D-C623-4FBE-8EDB-4AD12F618AAD}"/>
              </c:ext>
            </c:extLst>
          </c:dPt>
          <c:dPt>
            <c:idx val="1302"/>
            <c:invertIfNegative val="1"/>
            <c:bubble3D val="0"/>
            <c:spPr>
              <a:solidFill>
                <a:srgbClr val="AEABAB"/>
              </a:solidFill>
            </c:spPr>
            <c:extLst>
              <c:ext xmlns:c16="http://schemas.microsoft.com/office/drawing/2014/chart" uri="{C3380CC4-5D6E-409C-BE32-E72D297353CC}">
                <c16:uniqueId val="{00000A2F-C623-4FBE-8EDB-4AD12F618AAD}"/>
              </c:ext>
            </c:extLst>
          </c:dPt>
          <c:dPt>
            <c:idx val="1303"/>
            <c:invertIfNegative val="1"/>
            <c:bubble3D val="0"/>
            <c:spPr>
              <a:solidFill>
                <a:srgbClr val="AEABAB"/>
              </a:solidFill>
            </c:spPr>
            <c:extLst>
              <c:ext xmlns:c16="http://schemas.microsoft.com/office/drawing/2014/chart" uri="{C3380CC4-5D6E-409C-BE32-E72D297353CC}">
                <c16:uniqueId val="{00000A31-C623-4FBE-8EDB-4AD12F618AAD}"/>
              </c:ext>
            </c:extLst>
          </c:dPt>
          <c:dPt>
            <c:idx val="1304"/>
            <c:invertIfNegative val="1"/>
            <c:bubble3D val="0"/>
            <c:spPr>
              <a:solidFill>
                <a:srgbClr val="AEABAB"/>
              </a:solidFill>
            </c:spPr>
            <c:extLst>
              <c:ext xmlns:c16="http://schemas.microsoft.com/office/drawing/2014/chart" uri="{C3380CC4-5D6E-409C-BE32-E72D297353CC}">
                <c16:uniqueId val="{00000A33-C623-4FBE-8EDB-4AD12F618AAD}"/>
              </c:ext>
            </c:extLst>
          </c:dPt>
          <c:dPt>
            <c:idx val="1305"/>
            <c:invertIfNegative val="1"/>
            <c:bubble3D val="0"/>
            <c:spPr>
              <a:solidFill>
                <a:srgbClr val="AEABAB"/>
              </a:solidFill>
            </c:spPr>
            <c:extLst>
              <c:ext xmlns:c16="http://schemas.microsoft.com/office/drawing/2014/chart" uri="{C3380CC4-5D6E-409C-BE32-E72D297353CC}">
                <c16:uniqueId val="{00000A35-C623-4FBE-8EDB-4AD12F618AAD}"/>
              </c:ext>
            </c:extLst>
          </c:dPt>
          <c:dPt>
            <c:idx val="1306"/>
            <c:invertIfNegative val="1"/>
            <c:bubble3D val="0"/>
            <c:spPr>
              <a:solidFill>
                <a:srgbClr val="AEABAB"/>
              </a:solidFill>
            </c:spPr>
            <c:extLst>
              <c:ext xmlns:c16="http://schemas.microsoft.com/office/drawing/2014/chart" uri="{C3380CC4-5D6E-409C-BE32-E72D297353CC}">
                <c16:uniqueId val="{00000A37-C623-4FBE-8EDB-4AD12F618AAD}"/>
              </c:ext>
            </c:extLst>
          </c:dPt>
          <c:dPt>
            <c:idx val="1307"/>
            <c:invertIfNegative val="1"/>
            <c:bubble3D val="0"/>
            <c:spPr>
              <a:solidFill>
                <a:srgbClr val="AEABAB"/>
              </a:solidFill>
            </c:spPr>
            <c:extLst>
              <c:ext xmlns:c16="http://schemas.microsoft.com/office/drawing/2014/chart" uri="{C3380CC4-5D6E-409C-BE32-E72D297353CC}">
                <c16:uniqueId val="{00000A39-C623-4FBE-8EDB-4AD12F618AAD}"/>
              </c:ext>
            </c:extLst>
          </c:dPt>
          <c:dPt>
            <c:idx val="1308"/>
            <c:invertIfNegative val="1"/>
            <c:bubble3D val="0"/>
            <c:spPr>
              <a:solidFill>
                <a:srgbClr val="AEABAB"/>
              </a:solidFill>
            </c:spPr>
            <c:extLst>
              <c:ext xmlns:c16="http://schemas.microsoft.com/office/drawing/2014/chart" uri="{C3380CC4-5D6E-409C-BE32-E72D297353CC}">
                <c16:uniqueId val="{00000A3B-C623-4FBE-8EDB-4AD12F618AAD}"/>
              </c:ext>
            </c:extLst>
          </c:dPt>
          <c:dPt>
            <c:idx val="1309"/>
            <c:invertIfNegative val="1"/>
            <c:bubble3D val="0"/>
            <c:spPr>
              <a:solidFill>
                <a:srgbClr val="AEABAB"/>
              </a:solidFill>
            </c:spPr>
            <c:extLst>
              <c:ext xmlns:c16="http://schemas.microsoft.com/office/drawing/2014/chart" uri="{C3380CC4-5D6E-409C-BE32-E72D297353CC}">
                <c16:uniqueId val="{00000A3D-C623-4FBE-8EDB-4AD12F618AAD}"/>
              </c:ext>
            </c:extLst>
          </c:dPt>
          <c:dPt>
            <c:idx val="1310"/>
            <c:invertIfNegative val="1"/>
            <c:bubble3D val="0"/>
            <c:spPr>
              <a:solidFill>
                <a:srgbClr val="AEABAB"/>
              </a:solidFill>
            </c:spPr>
            <c:extLst>
              <c:ext xmlns:c16="http://schemas.microsoft.com/office/drawing/2014/chart" uri="{C3380CC4-5D6E-409C-BE32-E72D297353CC}">
                <c16:uniqueId val="{00000A3F-C623-4FBE-8EDB-4AD12F618AAD}"/>
              </c:ext>
            </c:extLst>
          </c:dPt>
          <c:dPt>
            <c:idx val="1311"/>
            <c:invertIfNegative val="1"/>
            <c:bubble3D val="0"/>
            <c:spPr>
              <a:solidFill>
                <a:srgbClr val="AEABAB"/>
              </a:solidFill>
            </c:spPr>
            <c:extLst>
              <c:ext xmlns:c16="http://schemas.microsoft.com/office/drawing/2014/chart" uri="{C3380CC4-5D6E-409C-BE32-E72D297353CC}">
                <c16:uniqueId val="{00000A41-C623-4FBE-8EDB-4AD12F618AAD}"/>
              </c:ext>
            </c:extLst>
          </c:dPt>
          <c:dPt>
            <c:idx val="1312"/>
            <c:invertIfNegative val="1"/>
            <c:bubble3D val="0"/>
            <c:spPr>
              <a:solidFill>
                <a:srgbClr val="AEABAB"/>
              </a:solidFill>
            </c:spPr>
            <c:extLst>
              <c:ext xmlns:c16="http://schemas.microsoft.com/office/drawing/2014/chart" uri="{C3380CC4-5D6E-409C-BE32-E72D297353CC}">
                <c16:uniqueId val="{00000A43-C623-4FBE-8EDB-4AD12F618AAD}"/>
              </c:ext>
            </c:extLst>
          </c:dPt>
          <c:dPt>
            <c:idx val="1313"/>
            <c:invertIfNegative val="1"/>
            <c:bubble3D val="0"/>
            <c:spPr>
              <a:solidFill>
                <a:srgbClr val="AEABAB"/>
              </a:solidFill>
            </c:spPr>
            <c:extLst>
              <c:ext xmlns:c16="http://schemas.microsoft.com/office/drawing/2014/chart" uri="{C3380CC4-5D6E-409C-BE32-E72D297353CC}">
                <c16:uniqueId val="{00000A45-C623-4FBE-8EDB-4AD12F618AAD}"/>
              </c:ext>
            </c:extLst>
          </c:dPt>
          <c:dPt>
            <c:idx val="1314"/>
            <c:invertIfNegative val="1"/>
            <c:bubble3D val="0"/>
            <c:spPr>
              <a:solidFill>
                <a:srgbClr val="AEABAB"/>
              </a:solidFill>
            </c:spPr>
            <c:extLst>
              <c:ext xmlns:c16="http://schemas.microsoft.com/office/drawing/2014/chart" uri="{C3380CC4-5D6E-409C-BE32-E72D297353CC}">
                <c16:uniqueId val="{00000A47-C623-4FBE-8EDB-4AD12F618AAD}"/>
              </c:ext>
            </c:extLst>
          </c:dPt>
          <c:dPt>
            <c:idx val="1315"/>
            <c:invertIfNegative val="1"/>
            <c:bubble3D val="0"/>
            <c:spPr>
              <a:solidFill>
                <a:srgbClr val="AEABAB"/>
              </a:solidFill>
            </c:spPr>
            <c:extLst>
              <c:ext xmlns:c16="http://schemas.microsoft.com/office/drawing/2014/chart" uri="{C3380CC4-5D6E-409C-BE32-E72D297353CC}">
                <c16:uniqueId val="{00000A49-C623-4FBE-8EDB-4AD12F618AAD}"/>
              </c:ext>
            </c:extLst>
          </c:dPt>
          <c:dPt>
            <c:idx val="1316"/>
            <c:invertIfNegative val="1"/>
            <c:bubble3D val="0"/>
            <c:spPr>
              <a:solidFill>
                <a:srgbClr val="AEABAB"/>
              </a:solidFill>
            </c:spPr>
            <c:extLst>
              <c:ext xmlns:c16="http://schemas.microsoft.com/office/drawing/2014/chart" uri="{C3380CC4-5D6E-409C-BE32-E72D297353CC}">
                <c16:uniqueId val="{00000A4B-C623-4FBE-8EDB-4AD12F618AAD}"/>
              </c:ext>
            </c:extLst>
          </c:dPt>
          <c:dPt>
            <c:idx val="1317"/>
            <c:invertIfNegative val="1"/>
            <c:bubble3D val="0"/>
            <c:spPr>
              <a:solidFill>
                <a:srgbClr val="AEABAB"/>
              </a:solidFill>
            </c:spPr>
            <c:extLst>
              <c:ext xmlns:c16="http://schemas.microsoft.com/office/drawing/2014/chart" uri="{C3380CC4-5D6E-409C-BE32-E72D297353CC}">
                <c16:uniqueId val="{00000A4D-C623-4FBE-8EDB-4AD12F618AAD}"/>
              </c:ext>
            </c:extLst>
          </c:dPt>
          <c:dPt>
            <c:idx val="1318"/>
            <c:invertIfNegative val="1"/>
            <c:bubble3D val="0"/>
            <c:spPr>
              <a:solidFill>
                <a:srgbClr val="AEABAB"/>
              </a:solidFill>
            </c:spPr>
            <c:extLst>
              <c:ext xmlns:c16="http://schemas.microsoft.com/office/drawing/2014/chart" uri="{C3380CC4-5D6E-409C-BE32-E72D297353CC}">
                <c16:uniqueId val="{00000A4F-C623-4FBE-8EDB-4AD12F618AAD}"/>
              </c:ext>
            </c:extLst>
          </c:dPt>
          <c:dPt>
            <c:idx val="1319"/>
            <c:invertIfNegative val="1"/>
            <c:bubble3D val="0"/>
            <c:spPr>
              <a:solidFill>
                <a:srgbClr val="AEABAB"/>
              </a:solidFill>
            </c:spPr>
            <c:extLst>
              <c:ext xmlns:c16="http://schemas.microsoft.com/office/drawing/2014/chart" uri="{C3380CC4-5D6E-409C-BE32-E72D297353CC}">
                <c16:uniqueId val="{00000A51-C623-4FBE-8EDB-4AD12F618AAD}"/>
              </c:ext>
            </c:extLst>
          </c:dPt>
          <c:dPt>
            <c:idx val="1320"/>
            <c:invertIfNegative val="1"/>
            <c:bubble3D val="0"/>
            <c:spPr>
              <a:solidFill>
                <a:srgbClr val="AEABAB"/>
              </a:solidFill>
            </c:spPr>
            <c:extLst>
              <c:ext xmlns:c16="http://schemas.microsoft.com/office/drawing/2014/chart" uri="{C3380CC4-5D6E-409C-BE32-E72D297353CC}">
                <c16:uniqueId val="{00000A53-C623-4FBE-8EDB-4AD12F618AAD}"/>
              </c:ext>
            </c:extLst>
          </c:dPt>
          <c:dPt>
            <c:idx val="1321"/>
            <c:invertIfNegative val="1"/>
            <c:bubble3D val="0"/>
            <c:spPr>
              <a:solidFill>
                <a:srgbClr val="AEABAB"/>
              </a:solidFill>
            </c:spPr>
            <c:extLst>
              <c:ext xmlns:c16="http://schemas.microsoft.com/office/drawing/2014/chart" uri="{C3380CC4-5D6E-409C-BE32-E72D297353CC}">
                <c16:uniqueId val="{00000A55-C623-4FBE-8EDB-4AD12F618AAD}"/>
              </c:ext>
            </c:extLst>
          </c:dPt>
          <c:dPt>
            <c:idx val="1322"/>
            <c:invertIfNegative val="1"/>
            <c:bubble3D val="0"/>
            <c:spPr>
              <a:solidFill>
                <a:srgbClr val="AEABAB"/>
              </a:solidFill>
            </c:spPr>
            <c:extLst>
              <c:ext xmlns:c16="http://schemas.microsoft.com/office/drawing/2014/chart" uri="{C3380CC4-5D6E-409C-BE32-E72D297353CC}">
                <c16:uniqueId val="{00000A57-C623-4FBE-8EDB-4AD12F618AAD}"/>
              </c:ext>
            </c:extLst>
          </c:dPt>
          <c:dPt>
            <c:idx val="1323"/>
            <c:invertIfNegative val="1"/>
            <c:bubble3D val="0"/>
            <c:spPr>
              <a:solidFill>
                <a:srgbClr val="AEABAB"/>
              </a:solidFill>
            </c:spPr>
            <c:extLst>
              <c:ext xmlns:c16="http://schemas.microsoft.com/office/drawing/2014/chart" uri="{C3380CC4-5D6E-409C-BE32-E72D297353CC}">
                <c16:uniqueId val="{00000A59-C623-4FBE-8EDB-4AD12F618AAD}"/>
              </c:ext>
            </c:extLst>
          </c:dPt>
          <c:dPt>
            <c:idx val="1324"/>
            <c:invertIfNegative val="1"/>
            <c:bubble3D val="0"/>
            <c:spPr>
              <a:solidFill>
                <a:srgbClr val="AEABAB"/>
              </a:solidFill>
            </c:spPr>
            <c:extLst>
              <c:ext xmlns:c16="http://schemas.microsoft.com/office/drawing/2014/chart" uri="{C3380CC4-5D6E-409C-BE32-E72D297353CC}">
                <c16:uniqueId val="{00000A5B-C623-4FBE-8EDB-4AD12F618AAD}"/>
              </c:ext>
            </c:extLst>
          </c:dPt>
          <c:dPt>
            <c:idx val="1325"/>
            <c:invertIfNegative val="1"/>
            <c:bubble3D val="0"/>
            <c:spPr>
              <a:solidFill>
                <a:srgbClr val="AEABAB"/>
              </a:solidFill>
            </c:spPr>
            <c:extLst>
              <c:ext xmlns:c16="http://schemas.microsoft.com/office/drawing/2014/chart" uri="{C3380CC4-5D6E-409C-BE32-E72D297353CC}">
                <c16:uniqueId val="{00000A5D-C623-4FBE-8EDB-4AD12F618AAD}"/>
              </c:ext>
            </c:extLst>
          </c:dPt>
          <c:dPt>
            <c:idx val="1326"/>
            <c:invertIfNegative val="1"/>
            <c:bubble3D val="0"/>
            <c:spPr>
              <a:solidFill>
                <a:srgbClr val="AEABAB"/>
              </a:solidFill>
            </c:spPr>
            <c:extLst>
              <c:ext xmlns:c16="http://schemas.microsoft.com/office/drawing/2014/chart" uri="{C3380CC4-5D6E-409C-BE32-E72D297353CC}">
                <c16:uniqueId val="{00000A5F-C623-4FBE-8EDB-4AD12F618AAD}"/>
              </c:ext>
            </c:extLst>
          </c:dPt>
          <c:dPt>
            <c:idx val="1327"/>
            <c:invertIfNegative val="1"/>
            <c:bubble3D val="0"/>
            <c:spPr>
              <a:solidFill>
                <a:srgbClr val="AEABAB"/>
              </a:solidFill>
            </c:spPr>
            <c:extLst>
              <c:ext xmlns:c16="http://schemas.microsoft.com/office/drawing/2014/chart" uri="{C3380CC4-5D6E-409C-BE32-E72D297353CC}">
                <c16:uniqueId val="{00000A61-C623-4FBE-8EDB-4AD12F618AAD}"/>
              </c:ext>
            </c:extLst>
          </c:dPt>
          <c:dPt>
            <c:idx val="1328"/>
            <c:invertIfNegative val="1"/>
            <c:bubble3D val="0"/>
            <c:spPr>
              <a:solidFill>
                <a:srgbClr val="AEABAB"/>
              </a:solidFill>
            </c:spPr>
            <c:extLst>
              <c:ext xmlns:c16="http://schemas.microsoft.com/office/drawing/2014/chart" uri="{C3380CC4-5D6E-409C-BE32-E72D297353CC}">
                <c16:uniqueId val="{00000A63-C623-4FBE-8EDB-4AD12F618AAD}"/>
              </c:ext>
            </c:extLst>
          </c:dPt>
          <c:dPt>
            <c:idx val="1329"/>
            <c:invertIfNegative val="1"/>
            <c:bubble3D val="0"/>
            <c:spPr>
              <a:solidFill>
                <a:srgbClr val="AEABAB"/>
              </a:solidFill>
            </c:spPr>
            <c:extLst>
              <c:ext xmlns:c16="http://schemas.microsoft.com/office/drawing/2014/chart" uri="{C3380CC4-5D6E-409C-BE32-E72D297353CC}">
                <c16:uniqueId val="{00000A65-C623-4FBE-8EDB-4AD12F618AAD}"/>
              </c:ext>
            </c:extLst>
          </c:dPt>
          <c:dPt>
            <c:idx val="1330"/>
            <c:invertIfNegative val="1"/>
            <c:bubble3D val="0"/>
            <c:spPr>
              <a:solidFill>
                <a:srgbClr val="AEABAB"/>
              </a:solidFill>
            </c:spPr>
            <c:extLst>
              <c:ext xmlns:c16="http://schemas.microsoft.com/office/drawing/2014/chart" uri="{C3380CC4-5D6E-409C-BE32-E72D297353CC}">
                <c16:uniqueId val="{00000A67-C623-4FBE-8EDB-4AD12F618AAD}"/>
              </c:ext>
            </c:extLst>
          </c:dPt>
          <c:dPt>
            <c:idx val="1331"/>
            <c:invertIfNegative val="1"/>
            <c:bubble3D val="0"/>
            <c:spPr>
              <a:solidFill>
                <a:srgbClr val="AEABAB"/>
              </a:solidFill>
            </c:spPr>
            <c:extLst>
              <c:ext xmlns:c16="http://schemas.microsoft.com/office/drawing/2014/chart" uri="{C3380CC4-5D6E-409C-BE32-E72D297353CC}">
                <c16:uniqueId val="{00000A69-C623-4FBE-8EDB-4AD12F618AAD}"/>
              </c:ext>
            </c:extLst>
          </c:dPt>
          <c:dPt>
            <c:idx val="1332"/>
            <c:invertIfNegative val="1"/>
            <c:bubble3D val="0"/>
            <c:spPr>
              <a:solidFill>
                <a:srgbClr val="AEABAB"/>
              </a:solidFill>
            </c:spPr>
            <c:extLst>
              <c:ext xmlns:c16="http://schemas.microsoft.com/office/drawing/2014/chart" uri="{C3380CC4-5D6E-409C-BE32-E72D297353CC}">
                <c16:uniqueId val="{00000A6B-C623-4FBE-8EDB-4AD12F618AAD}"/>
              </c:ext>
            </c:extLst>
          </c:dPt>
          <c:dPt>
            <c:idx val="1333"/>
            <c:invertIfNegative val="1"/>
            <c:bubble3D val="0"/>
            <c:spPr>
              <a:solidFill>
                <a:srgbClr val="AEABAB"/>
              </a:solidFill>
            </c:spPr>
            <c:extLst>
              <c:ext xmlns:c16="http://schemas.microsoft.com/office/drawing/2014/chart" uri="{C3380CC4-5D6E-409C-BE32-E72D297353CC}">
                <c16:uniqueId val="{00000A6D-C623-4FBE-8EDB-4AD12F618AAD}"/>
              </c:ext>
            </c:extLst>
          </c:dPt>
          <c:dPt>
            <c:idx val="1334"/>
            <c:invertIfNegative val="1"/>
            <c:bubble3D val="0"/>
            <c:spPr>
              <a:solidFill>
                <a:srgbClr val="AEABAB"/>
              </a:solidFill>
            </c:spPr>
            <c:extLst>
              <c:ext xmlns:c16="http://schemas.microsoft.com/office/drawing/2014/chart" uri="{C3380CC4-5D6E-409C-BE32-E72D297353CC}">
                <c16:uniqueId val="{00000A6F-C623-4FBE-8EDB-4AD12F618AAD}"/>
              </c:ext>
            </c:extLst>
          </c:dPt>
          <c:dPt>
            <c:idx val="1335"/>
            <c:invertIfNegative val="1"/>
            <c:bubble3D val="0"/>
            <c:spPr>
              <a:solidFill>
                <a:srgbClr val="AEABAB"/>
              </a:solidFill>
            </c:spPr>
            <c:extLst>
              <c:ext xmlns:c16="http://schemas.microsoft.com/office/drawing/2014/chart" uri="{C3380CC4-5D6E-409C-BE32-E72D297353CC}">
                <c16:uniqueId val="{00000A71-C623-4FBE-8EDB-4AD12F618AAD}"/>
              </c:ext>
            </c:extLst>
          </c:dPt>
          <c:dPt>
            <c:idx val="1336"/>
            <c:invertIfNegative val="1"/>
            <c:bubble3D val="0"/>
            <c:spPr>
              <a:solidFill>
                <a:srgbClr val="AEABAB"/>
              </a:solidFill>
            </c:spPr>
            <c:extLst>
              <c:ext xmlns:c16="http://schemas.microsoft.com/office/drawing/2014/chart" uri="{C3380CC4-5D6E-409C-BE32-E72D297353CC}">
                <c16:uniqueId val="{00000A73-C623-4FBE-8EDB-4AD12F618AAD}"/>
              </c:ext>
            </c:extLst>
          </c:dPt>
          <c:dPt>
            <c:idx val="1337"/>
            <c:invertIfNegative val="1"/>
            <c:bubble3D val="0"/>
            <c:spPr>
              <a:solidFill>
                <a:srgbClr val="AEABAB"/>
              </a:solidFill>
            </c:spPr>
            <c:extLst>
              <c:ext xmlns:c16="http://schemas.microsoft.com/office/drawing/2014/chart" uri="{C3380CC4-5D6E-409C-BE32-E72D297353CC}">
                <c16:uniqueId val="{00000A75-C623-4FBE-8EDB-4AD12F618AAD}"/>
              </c:ext>
            </c:extLst>
          </c:dPt>
          <c:dPt>
            <c:idx val="1338"/>
            <c:invertIfNegative val="1"/>
            <c:bubble3D val="0"/>
            <c:spPr>
              <a:solidFill>
                <a:srgbClr val="AEABAB"/>
              </a:solidFill>
            </c:spPr>
            <c:extLst>
              <c:ext xmlns:c16="http://schemas.microsoft.com/office/drawing/2014/chart" uri="{C3380CC4-5D6E-409C-BE32-E72D297353CC}">
                <c16:uniqueId val="{00000A77-C623-4FBE-8EDB-4AD12F618AAD}"/>
              </c:ext>
            </c:extLst>
          </c:dPt>
          <c:dPt>
            <c:idx val="1339"/>
            <c:invertIfNegative val="1"/>
            <c:bubble3D val="0"/>
            <c:spPr>
              <a:solidFill>
                <a:srgbClr val="AEABAB"/>
              </a:solidFill>
            </c:spPr>
            <c:extLst>
              <c:ext xmlns:c16="http://schemas.microsoft.com/office/drawing/2014/chart" uri="{C3380CC4-5D6E-409C-BE32-E72D297353CC}">
                <c16:uniqueId val="{00000A79-C623-4FBE-8EDB-4AD12F618AAD}"/>
              </c:ext>
            </c:extLst>
          </c:dPt>
          <c:dPt>
            <c:idx val="1340"/>
            <c:invertIfNegative val="1"/>
            <c:bubble3D val="0"/>
            <c:spPr>
              <a:solidFill>
                <a:srgbClr val="AEABAB"/>
              </a:solidFill>
            </c:spPr>
            <c:extLst>
              <c:ext xmlns:c16="http://schemas.microsoft.com/office/drawing/2014/chart" uri="{C3380CC4-5D6E-409C-BE32-E72D297353CC}">
                <c16:uniqueId val="{00000A7B-C623-4FBE-8EDB-4AD12F618AAD}"/>
              </c:ext>
            </c:extLst>
          </c:dPt>
          <c:dPt>
            <c:idx val="1341"/>
            <c:invertIfNegative val="1"/>
            <c:bubble3D val="0"/>
            <c:spPr>
              <a:solidFill>
                <a:srgbClr val="AEABAB"/>
              </a:solidFill>
            </c:spPr>
            <c:extLst>
              <c:ext xmlns:c16="http://schemas.microsoft.com/office/drawing/2014/chart" uri="{C3380CC4-5D6E-409C-BE32-E72D297353CC}">
                <c16:uniqueId val="{00000A7D-C623-4FBE-8EDB-4AD12F618AAD}"/>
              </c:ext>
            </c:extLst>
          </c:dPt>
          <c:dPt>
            <c:idx val="1342"/>
            <c:invertIfNegative val="1"/>
            <c:bubble3D val="0"/>
            <c:spPr>
              <a:solidFill>
                <a:srgbClr val="AEABAB"/>
              </a:solidFill>
            </c:spPr>
            <c:extLst>
              <c:ext xmlns:c16="http://schemas.microsoft.com/office/drawing/2014/chart" uri="{C3380CC4-5D6E-409C-BE32-E72D297353CC}">
                <c16:uniqueId val="{00000A7F-C623-4FBE-8EDB-4AD12F618AAD}"/>
              </c:ext>
            </c:extLst>
          </c:dPt>
          <c:dPt>
            <c:idx val="1343"/>
            <c:invertIfNegative val="1"/>
            <c:bubble3D val="0"/>
            <c:spPr>
              <a:solidFill>
                <a:srgbClr val="AEABAB"/>
              </a:solidFill>
            </c:spPr>
            <c:extLst>
              <c:ext xmlns:c16="http://schemas.microsoft.com/office/drawing/2014/chart" uri="{C3380CC4-5D6E-409C-BE32-E72D297353CC}">
                <c16:uniqueId val="{00000A81-C623-4FBE-8EDB-4AD12F618AAD}"/>
              </c:ext>
            </c:extLst>
          </c:dPt>
          <c:dPt>
            <c:idx val="1344"/>
            <c:invertIfNegative val="1"/>
            <c:bubble3D val="0"/>
            <c:spPr>
              <a:solidFill>
                <a:srgbClr val="AEABAB"/>
              </a:solidFill>
            </c:spPr>
            <c:extLst>
              <c:ext xmlns:c16="http://schemas.microsoft.com/office/drawing/2014/chart" uri="{C3380CC4-5D6E-409C-BE32-E72D297353CC}">
                <c16:uniqueId val="{00000A83-C623-4FBE-8EDB-4AD12F618AAD}"/>
              </c:ext>
            </c:extLst>
          </c:dPt>
          <c:dPt>
            <c:idx val="1345"/>
            <c:invertIfNegative val="1"/>
            <c:bubble3D val="0"/>
            <c:spPr>
              <a:solidFill>
                <a:srgbClr val="AEABAB"/>
              </a:solidFill>
            </c:spPr>
            <c:extLst>
              <c:ext xmlns:c16="http://schemas.microsoft.com/office/drawing/2014/chart" uri="{C3380CC4-5D6E-409C-BE32-E72D297353CC}">
                <c16:uniqueId val="{00000A85-C623-4FBE-8EDB-4AD12F618AAD}"/>
              </c:ext>
            </c:extLst>
          </c:dPt>
          <c:dPt>
            <c:idx val="1346"/>
            <c:invertIfNegative val="1"/>
            <c:bubble3D val="0"/>
            <c:spPr>
              <a:solidFill>
                <a:srgbClr val="AEABAB"/>
              </a:solidFill>
            </c:spPr>
            <c:extLst>
              <c:ext xmlns:c16="http://schemas.microsoft.com/office/drawing/2014/chart" uri="{C3380CC4-5D6E-409C-BE32-E72D297353CC}">
                <c16:uniqueId val="{00000A87-C623-4FBE-8EDB-4AD12F618AAD}"/>
              </c:ext>
            </c:extLst>
          </c:dPt>
          <c:dPt>
            <c:idx val="1347"/>
            <c:invertIfNegative val="1"/>
            <c:bubble3D val="0"/>
            <c:spPr>
              <a:solidFill>
                <a:srgbClr val="AEABAB"/>
              </a:solidFill>
            </c:spPr>
            <c:extLst>
              <c:ext xmlns:c16="http://schemas.microsoft.com/office/drawing/2014/chart" uri="{C3380CC4-5D6E-409C-BE32-E72D297353CC}">
                <c16:uniqueId val="{00000A89-C623-4FBE-8EDB-4AD12F618AAD}"/>
              </c:ext>
            </c:extLst>
          </c:dPt>
          <c:dPt>
            <c:idx val="1348"/>
            <c:invertIfNegative val="1"/>
            <c:bubble3D val="0"/>
            <c:spPr>
              <a:solidFill>
                <a:srgbClr val="AEABAB"/>
              </a:solidFill>
            </c:spPr>
            <c:extLst>
              <c:ext xmlns:c16="http://schemas.microsoft.com/office/drawing/2014/chart" uri="{C3380CC4-5D6E-409C-BE32-E72D297353CC}">
                <c16:uniqueId val="{00000A8B-C623-4FBE-8EDB-4AD12F618AAD}"/>
              </c:ext>
            </c:extLst>
          </c:dPt>
          <c:dPt>
            <c:idx val="1349"/>
            <c:invertIfNegative val="1"/>
            <c:bubble3D val="0"/>
            <c:spPr>
              <a:solidFill>
                <a:srgbClr val="AEABAB"/>
              </a:solidFill>
            </c:spPr>
            <c:extLst>
              <c:ext xmlns:c16="http://schemas.microsoft.com/office/drawing/2014/chart" uri="{C3380CC4-5D6E-409C-BE32-E72D297353CC}">
                <c16:uniqueId val="{00000A8D-C623-4FBE-8EDB-4AD12F618AAD}"/>
              </c:ext>
            </c:extLst>
          </c:dPt>
          <c:dPt>
            <c:idx val="1350"/>
            <c:invertIfNegative val="1"/>
            <c:bubble3D val="0"/>
            <c:spPr>
              <a:solidFill>
                <a:srgbClr val="AEABAB"/>
              </a:solidFill>
            </c:spPr>
            <c:extLst>
              <c:ext xmlns:c16="http://schemas.microsoft.com/office/drawing/2014/chart" uri="{C3380CC4-5D6E-409C-BE32-E72D297353CC}">
                <c16:uniqueId val="{00000A8F-C623-4FBE-8EDB-4AD12F618AAD}"/>
              </c:ext>
            </c:extLst>
          </c:dPt>
          <c:dPt>
            <c:idx val="1351"/>
            <c:invertIfNegative val="1"/>
            <c:bubble3D val="0"/>
            <c:spPr>
              <a:solidFill>
                <a:srgbClr val="AEABAB"/>
              </a:solidFill>
            </c:spPr>
            <c:extLst>
              <c:ext xmlns:c16="http://schemas.microsoft.com/office/drawing/2014/chart" uri="{C3380CC4-5D6E-409C-BE32-E72D297353CC}">
                <c16:uniqueId val="{00000A91-C623-4FBE-8EDB-4AD12F618AAD}"/>
              </c:ext>
            </c:extLst>
          </c:dPt>
          <c:dPt>
            <c:idx val="1352"/>
            <c:invertIfNegative val="1"/>
            <c:bubble3D val="0"/>
            <c:spPr>
              <a:solidFill>
                <a:srgbClr val="AEABAB"/>
              </a:solidFill>
            </c:spPr>
            <c:extLst>
              <c:ext xmlns:c16="http://schemas.microsoft.com/office/drawing/2014/chart" uri="{C3380CC4-5D6E-409C-BE32-E72D297353CC}">
                <c16:uniqueId val="{00000A93-C623-4FBE-8EDB-4AD12F618AAD}"/>
              </c:ext>
            </c:extLst>
          </c:dPt>
          <c:dPt>
            <c:idx val="1353"/>
            <c:invertIfNegative val="1"/>
            <c:bubble3D val="0"/>
            <c:spPr>
              <a:solidFill>
                <a:srgbClr val="AEABAB"/>
              </a:solidFill>
            </c:spPr>
            <c:extLst>
              <c:ext xmlns:c16="http://schemas.microsoft.com/office/drawing/2014/chart" uri="{C3380CC4-5D6E-409C-BE32-E72D297353CC}">
                <c16:uniqueId val="{00000A95-C623-4FBE-8EDB-4AD12F618AAD}"/>
              </c:ext>
            </c:extLst>
          </c:dPt>
          <c:dPt>
            <c:idx val="1354"/>
            <c:invertIfNegative val="1"/>
            <c:bubble3D val="0"/>
            <c:spPr>
              <a:solidFill>
                <a:srgbClr val="AEABAB"/>
              </a:solidFill>
            </c:spPr>
            <c:extLst>
              <c:ext xmlns:c16="http://schemas.microsoft.com/office/drawing/2014/chart" uri="{C3380CC4-5D6E-409C-BE32-E72D297353CC}">
                <c16:uniqueId val="{00000A97-C623-4FBE-8EDB-4AD12F618AAD}"/>
              </c:ext>
            </c:extLst>
          </c:dPt>
          <c:dPt>
            <c:idx val="1355"/>
            <c:invertIfNegative val="1"/>
            <c:bubble3D val="0"/>
            <c:spPr>
              <a:solidFill>
                <a:srgbClr val="AEABAB"/>
              </a:solidFill>
            </c:spPr>
            <c:extLst>
              <c:ext xmlns:c16="http://schemas.microsoft.com/office/drawing/2014/chart" uri="{C3380CC4-5D6E-409C-BE32-E72D297353CC}">
                <c16:uniqueId val="{00000A99-C623-4FBE-8EDB-4AD12F618AAD}"/>
              </c:ext>
            </c:extLst>
          </c:dPt>
          <c:dPt>
            <c:idx val="1356"/>
            <c:invertIfNegative val="1"/>
            <c:bubble3D val="0"/>
            <c:spPr>
              <a:solidFill>
                <a:srgbClr val="AEABAB"/>
              </a:solidFill>
            </c:spPr>
            <c:extLst>
              <c:ext xmlns:c16="http://schemas.microsoft.com/office/drawing/2014/chart" uri="{C3380CC4-5D6E-409C-BE32-E72D297353CC}">
                <c16:uniqueId val="{00000A9B-C623-4FBE-8EDB-4AD12F618AAD}"/>
              </c:ext>
            </c:extLst>
          </c:dPt>
          <c:dPt>
            <c:idx val="1357"/>
            <c:invertIfNegative val="1"/>
            <c:bubble3D val="0"/>
            <c:spPr>
              <a:solidFill>
                <a:srgbClr val="AEABAB"/>
              </a:solidFill>
            </c:spPr>
            <c:extLst>
              <c:ext xmlns:c16="http://schemas.microsoft.com/office/drawing/2014/chart" uri="{C3380CC4-5D6E-409C-BE32-E72D297353CC}">
                <c16:uniqueId val="{00000A9D-C623-4FBE-8EDB-4AD12F618AAD}"/>
              </c:ext>
            </c:extLst>
          </c:dPt>
          <c:dPt>
            <c:idx val="1358"/>
            <c:invertIfNegative val="1"/>
            <c:bubble3D val="0"/>
            <c:spPr>
              <a:solidFill>
                <a:srgbClr val="AEABAB"/>
              </a:solidFill>
            </c:spPr>
            <c:extLst>
              <c:ext xmlns:c16="http://schemas.microsoft.com/office/drawing/2014/chart" uri="{C3380CC4-5D6E-409C-BE32-E72D297353CC}">
                <c16:uniqueId val="{00000A9F-C623-4FBE-8EDB-4AD12F618AAD}"/>
              </c:ext>
            </c:extLst>
          </c:dPt>
          <c:dPt>
            <c:idx val="1359"/>
            <c:invertIfNegative val="1"/>
            <c:bubble3D val="0"/>
            <c:spPr>
              <a:solidFill>
                <a:srgbClr val="AEABAB"/>
              </a:solidFill>
            </c:spPr>
            <c:extLst>
              <c:ext xmlns:c16="http://schemas.microsoft.com/office/drawing/2014/chart" uri="{C3380CC4-5D6E-409C-BE32-E72D297353CC}">
                <c16:uniqueId val="{00000AA1-C623-4FBE-8EDB-4AD12F618AAD}"/>
              </c:ext>
            </c:extLst>
          </c:dPt>
          <c:dPt>
            <c:idx val="1360"/>
            <c:invertIfNegative val="1"/>
            <c:bubble3D val="0"/>
            <c:spPr>
              <a:solidFill>
                <a:srgbClr val="AEABAB"/>
              </a:solidFill>
            </c:spPr>
            <c:extLst>
              <c:ext xmlns:c16="http://schemas.microsoft.com/office/drawing/2014/chart" uri="{C3380CC4-5D6E-409C-BE32-E72D297353CC}">
                <c16:uniqueId val="{00000AA3-C623-4FBE-8EDB-4AD12F618AAD}"/>
              </c:ext>
            </c:extLst>
          </c:dPt>
          <c:dPt>
            <c:idx val="1361"/>
            <c:invertIfNegative val="1"/>
            <c:bubble3D val="0"/>
            <c:spPr>
              <a:solidFill>
                <a:srgbClr val="AEABAB"/>
              </a:solidFill>
            </c:spPr>
            <c:extLst>
              <c:ext xmlns:c16="http://schemas.microsoft.com/office/drawing/2014/chart" uri="{C3380CC4-5D6E-409C-BE32-E72D297353CC}">
                <c16:uniqueId val="{00000AA5-C623-4FBE-8EDB-4AD12F618AAD}"/>
              </c:ext>
            </c:extLst>
          </c:dPt>
          <c:dPt>
            <c:idx val="1362"/>
            <c:invertIfNegative val="1"/>
            <c:bubble3D val="0"/>
            <c:spPr>
              <a:solidFill>
                <a:srgbClr val="AEABAB"/>
              </a:solidFill>
            </c:spPr>
            <c:extLst>
              <c:ext xmlns:c16="http://schemas.microsoft.com/office/drawing/2014/chart" uri="{C3380CC4-5D6E-409C-BE32-E72D297353CC}">
                <c16:uniqueId val="{00000AA7-C623-4FBE-8EDB-4AD12F618AAD}"/>
              </c:ext>
            </c:extLst>
          </c:dPt>
          <c:dPt>
            <c:idx val="1363"/>
            <c:invertIfNegative val="1"/>
            <c:bubble3D val="0"/>
            <c:spPr>
              <a:solidFill>
                <a:srgbClr val="AEABAB"/>
              </a:solidFill>
            </c:spPr>
            <c:extLst>
              <c:ext xmlns:c16="http://schemas.microsoft.com/office/drawing/2014/chart" uri="{C3380CC4-5D6E-409C-BE32-E72D297353CC}">
                <c16:uniqueId val="{00000AA9-C623-4FBE-8EDB-4AD12F618AAD}"/>
              </c:ext>
            </c:extLst>
          </c:dPt>
          <c:dPt>
            <c:idx val="1364"/>
            <c:invertIfNegative val="1"/>
            <c:bubble3D val="0"/>
            <c:spPr>
              <a:solidFill>
                <a:srgbClr val="AEABAB"/>
              </a:solidFill>
            </c:spPr>
            <c:extLst>
              <c:ext xmlns:c16="http://schemas.microsoft.com/office/drawing/2014/chart" uri="{C3380CC4-5D6E-409C-BE32-E72D297353CC}">
                <c16:uniqueId val="{00000AAB-C623-4FBE-8EDB-4AD12F618AAD}"/>
              </c:ext>
            </c:extLst>
          </c:dPt>
          <c:dPt>
            <c:idx val="1365"/>
            <c:invertIfNegative val="1"/>
            <c:bubble3D val="0"/>
            <c:spPr>
              <a:solidFill>
                <a:srgbClr val="AEABAB"/>
              </a:solidFill>
            </c:spPr>
            <c:extLst>
              <c:ext xmlns:c16="http://schemas.microsoft.com/office/drawing/2014/chart" uri="{C3380CC4-5D6E-409C-BE32-E72D297353CC}">
                <c16:uniqueId val="{00000AAD-C623-4FBE-8EDB-4AD12F618AAD}"/>
              </c:ext>
            </c:extLst>
          </c:dPt>
          <c:dPt>
            <c:idx val="1366"/>
            <c:invertIfNegative val="1"/>
            <c:bubble3D val="0"/>
            <c:spPr>
              <a:solidFill>
                <a:srgbClr val="AEABAB"/>
              </a:solidFill>
            </c:spPr>
            <c:extLst>
              <c:ext xmlns:c16="http://schemas.microsoft.com/office/drawing/2014/chart" uri="{C3380CC4-5D6E-409C-BE32-E72D297353CC}">
                <c16:uniqueId val="{00000AAF-C623-4FBE-8EDB-4AD12F618AAD}"/>
              </c:ext>
            </c:extLst>
          </c:dPt>
          <c:dPt>
            <c:idx val="1367"/>
            <c:invertIfNegative val="1"/>
            <c:bubble3D val="0"/>
            <c:spPr>
              <a:solidFill>
                <a:srgbClr val="AEABAB"/>
              </a:solidFill>
            </c:spPr>
            <c:extLst>
              <c:ext xmlns:c16="http://schemas.microsoft.com/office/drawing/2014/chart" uri="{C3380CC4-5D6E-409C-BE32-E72D297353CC}">
                <c16:uniqueId val="{00000AB1-C623-4FBE-8EDB-4AD12F618AAD}"/>
              </c:ext>
            </c:extLst>
          </c:dPt>
          <c:dPt>
            <c:idx val="1368"/>
            <c:invertIfNegative val="1"/>
            <c:bubble3D val="0"/>
            <c:spPr>
              <a:solidFill>
                <a:srgbClr val="AEABAB"/>
              </a:solidFill>
            </c:spPr>
            <c:extLst>
              <c:ext xmlns:c16="http://schemas.microsoft.com/office/drawing/2014/chart" uri="{C3380CC4-5D6E-409C-BE32-E72D297353CC}">
                <c16:uniqueId val="{00000AB3-C623-4FBE-8EDB-4AD12F618AAD}"/>
              </c:ext>
            </c:extLst>
          </c:dPt>
          <c:dPt>
            <c:idx val="1369"/>
            <c:invertIfNegative val="1"/>
            <c:bubble3D val="0"/>
            <c:spPr>
              <a:solidFill>
                <a:srgbClr val="AEABAB"/>
              </a:solidFill>
            </c:spPr>
            <c:extLst>
              <c:ext xmlns:c16="http://schemas.microsoft.com/office/drawing/2014/chart" uri="{C3380CC4-5D6E-409C-BE32-E72D297353CC}">
                <c16:uniqueId val="{00000AB5-C623-4FBE-8EDB-4AD12F618AAD}"/>
              </c:ext>
            </c:extLst>
          </c:dPt>
          <c:dPt>
            <c:idx val="1370"/>
            <c:invertIfNegative val="1"/>
            <c:bubble3D val="0"/>
            <c:spPr>
              <a:solidFill>
                <a:srgbClr val="AEABAB"/>
              </a:solidFill>
            </c:spPr>
            <c:extLst>
              <c:ext xmlns:c16="http://schemas.microsoft.com/office/drawing/2014/chart" uri="{C3380CC4-5D6E-409C-BE32-E72D297353CC}">
                <c16:uniqueId val="{00000AB7-C623-4FBE-8EDB-4AD12F618AAD}"/>
              </c:ext>
            </c:extLst>
          </c:dPt>
          <c:dPt>
            <c:idx val="1371"/>
            <c:invertIfNegative val="1"/>
            <c:bubble3D val="0"/>
            <c:spPr>
              <a:solidFill>
                <a:srgbClr val="AEABAB"/>
              </a:solidFill>
            </c:spPr>
            <c:extLst>
              <c:ext xmlns:c16="http://schemas.microsoft.com/office/drawing/2014/chart" uri="{C3380CC4-5D6E-409C-BE32-E72D297353CC}">
                <c16:uniqueId val="{00000AB9-C623-4FBE-8EDB-4AD12F618AAD}"/>
              </c:ext>
            </c:extLst>
          </c:dPt>
          <c:dPt>
            <c:idx val="1372"/>
            <c:invertIfNegative val="1"/>
            <c:bubble3D val="0"/>
            <c:spPr>
              <a:solidFill>
                <a:srgbClr val="AEABAB"/>
              </a:solidFill>
            </c:spPr>
            <c:extLst>
              <c:ext xmlns:c16="http://schemas.microsoft.com/office/drawing/2014/chart" uri="{C3380CC4-5D6E-409C-BE32-E72D297353CC}">
                <c16:uniqueId val="{00000ABB-C623-4FBE-8EDB-4AD12F618AAD}"/>
              </c:ext>
            </c:extLst>
          </c:dPt>
          <c:dPt>
            <c:idx val="1373"/>
            <c:invertIfNegative val="1"/>
            <c:bubble3D val="0"/>
            <c:spPr>
              <a:solidFill>
                <a:srgbClr val="AEABAB"/>
              </a:solidFill>
            </c:spPr>
            <c:extLst>
              <c:ext xmlns:c16="http://schemas.microsoft.com/office/drawing/2014/chart" uri="{C3380CC4-5D6E-409C-BE32-E72D297353CC}">
                <c16:uniqueId val="{00000ABD-C623-4FBE-8EDB-4AD12F618AAD}"/>
              </c:ext>
            </c:extLst>
          </c:dPt>
          <c:dPt>
            <c:idx val="1374"/>
            <c:invertIfNegative val="1"/>
            <c:bubble3D val="0"/>
            <c:spPr>
              <a:solidFill>
                <a:srgbClr val="AEABAB"/>
              </a:solidFill>
            </c:spPr>
            <c:extLst>
              <c:ext xmlns:c16="http://schemas.microsoft.com/office/drawing/2014/chart" uri="{C3380CC4-5D6E-409C-BE32-E72D297353CC}">
                <c16:uniqueId val="{00000ABF-C623-4FBE-8EDB-4AD12F618AAD}"/>
              </c:ext>
            </c:extLst>
          </c:dPt>
          <c:dPt>
            <c:idx val="1375"/>
            <c:invertIfNegative val="1"/>
            <c:bubble3D val="0"/>
            <c:spPr>
              <a:solidFill>
                <a:srgbClr val="AEABAB"/>
              </a:solidFill>
            </c:spPr>
            <c:extLst>
              <c:ext xmlns:c16="http://schemas.microsoft.com/office/drawing/2014/chart" uri="{C3380CC4-5D6E-409C-BE32-E72D297353CC}">
                <c16:uniqueId val="{00000AC1-C623-4FBE-8EDB-4AD12F618AAD}"/>
              </c:ext>
            </c:extLst>
          </c:dPt>
          <c:dPt>
            <c:idx val="1376"/>
            <c:invertIfNegative val="1"/>
            <c:bubble3D val="0"/>
            <c:spPr>
              <a:solidFill>
                <a:srgbClr val="AEABAB"/>
              </a:solidFill>
            </c:spPr>
            <c:extLst>
              <c:ext xmlns:c16="http://schemas.microsoft.com/office/drawing/2014/chart" uri="{C3380CC4-5D6E-409C-BE32-E72D297353CC}">
                <c16:uniqueId val="{00000AC3-C623-4FBE-8EDB-4AD12F618AAD}"/>
              </c:ext>
            </c:extLst>
          </c:dPt>
          <c:dPt>
            <c:idx val="1377"/>
            <c:invertIfNegative val="1"/>
            <c:bubble3D val="0"/>
            <c:spPr>
              <a:solidFill>
                <a:srgbClr val="AEABAB"/>
              </a:solidFill>
            </c:spPr>
            <c:extLst>
              <c:ext xmlns:c16="http://schemas.microsoft.com/office/drawing/2014/chart" uri="{C3380CC4-5D6E-409C-BE32-E72D297353CC}">
                <c16:uniqueId val="{00000AC5-C623-4FBE-8EDB-4AD12F618AAD}"/>
              </c:ext>
            </c:extLst>
          </c:dPt>
          <c:dPt>
            <c:idx val="1378"/>
            <c:invertIfNegative val="1"/>
            <c:bubble3D val="0"/>
            <c:spPr>
              <a:solidFill>
                <a:srgbClr val="AEABAB"/>
              </a:solidFill>
            </c:spPr>
            <c:extLst>
              <c:ext xmlns:c16="http://schemas.microsoft.com/office/drawing/2014/chart" uri="{C3380CC4-5D6E-409C-BE32-E72D297353CC}">
                <c16:uniqueId val="{00000AC7-C623-4FBE-8EDB-4AD12F618AAD}"/>
              </c:ext>
            </c:extLst>
          </c:dPt>
          <c:dPt>
            <c:idx val="1379"/>
            <c:invertIfNegative val="1"/>
            <c:bubble3D val="0"/>
            <c:spPr>
              <a:solidFill>
                <a:srgbClr val="AEABAB"/>
              </a:solidFill>
            </c:spPr>
            <c:extLst>
              <c:ext xmlns:c16="http://schemas.microsoft.com/office/drawing/2014/chart" uri="{C3380CC4-5D6E-409C-BE32-E72D297353CC}">
                <c16:uniqueId val="{00000AC9-C623-4FBE-8EDB-4AD12F618AAD}"/>
              </c:ext>
            </c:extLst>
          </c:dPt>
          <c:dPt>
            <c:idx val="1380"/>
            <c:invertIfNegative val="1"/>
            <c:bubble3D val="0"/>
            <c:spPr>
              <a:solidFill>
                <a:srgbClr val="AEABAB"/>
              </a:solidFill>
            </c:spPr>
            <c:extLst>
              <c:ext xmlns:c16="http://schemas.microsoft.com/office/drawing/2014/chart" uri="{C3380CC4-5D6E-409C-BE32-E72D297353CC}">
                <c16:uniqueId val="{00000ACB-C623-4FBE-8EDB-4AD12F618AAD}"/>
              </c:ext>
            </c:extLst>
          </c:dPt>
          <c:dPt>
            <c:idx val="1381"/>
            <c:invertIfNegative val="1"/>
            <c:bubble3D val="0"/>
            <c:spPr>
              <a:solidFill>
                <a:srgbClr val="AEABAB"/>
              </a:solidFill>
            </c:spPr>
            <c:extLst>
              <c:ext xmlns:c16="http://schemas.microsoft.com/office/drawing/2014/chart" uri="{C3380CC4-5D6E-409C-BE32-E72D297353CC}">
                <c16:uniqueId val="{00000ACD-C623-4FBE-8EDB-4AD12F618AAD}"/>
              </c:ext>
            </c:extLst>
          </c:dPt>
          <c:dPt>
            <c:idx val="1382"/>
            <c:invertIfNegative val="1"/>
            <c:bubble3D val="0"/>
            <c:spPr>
              <a:solidFill>
                <a:srgbClr val="AEABAB"/>
              </a:solidFill>
            </c:spPr>
            <c:extLst>
              <c:ext xmlns:c16="http://schemas.microsoft.com/office/drawing/2014/chart" uri="{C3380CC4-5D6E-409C-BE32-E72D297353CC}">
                <c16:uniqueId val="{00000ACF-C623-4FBE-8EDB-4AD12F618AAD}"/>
              </c:ext>
            </c:extLst>
          </c:dPt>
          <c:dPt>
            <c:idx val="1383"/>
            <c:invertIfNegative val="1"/>
            <c:bubble3D val="0"/>
            <c:spPr>
              <a:solidFill>
                <a:srgbClr val="AEABAB"/>
              </a:solidFill>
            </c:spPr>
            <c:extLst>
              <c:ext xmlns:c16="http://schemas.microsoft.com/office/drawing/2014/chart" uri="{C3380CC4-5D6E-409C-BE32-E72D297353CC}">
                <c16:uniqueId val="{00000AD1-C623-4FBE-8EDB-4AD12F618AAD}"/>
              </c:ext>
            </c:extLst>
          </c:dPt>
          <c:dPt>
            <c:idx val="1384"/>
            <c:invertIfNegative val="1"/>
            <c:bubble3D val="0"/>
            <c:spPr>
              <a:solidFill>
                <a:srgbClr val="AEABAB"/>
              </a:solidFill>
            </c:spPr>
            <c:extLst>
              <c:ext xmlns:c16="http://schemas.microsoft.com/office/drawing/2014/chart" uri="{C3380CC4-5D6E-409C-BE32-E72D297353CC}">
                <c16:uniqueId val="{00000AD3-C623-4FBE-8EDB-4AD12F618AAD}"/>
              </c:ext>
            </c:extLst>
          </c:dPt>
          <c:dPt>
            <c:idx val="1385"/>
            <c:invertIfNegative val="1"/>
            <c:bubble3D val="0"/>
            <c:spPr>
              <a:solidFill>
                <a:srgbClr val="AEABAB"/>
              </a:solidFill>
            </c:spPr>
            <c:extLst>
              <c:ext xmlns:c16="http://schemas.microsoft.com/office/drawing/2014/chart" uri="{C3380CC4-5D6E-409C-BE32-E72D297353CC}">
                <c16:uniqueId val="{00000AD5-C623-4FBE-8EDB-4AD12F618AAD}"/>
              </c:ext>
            </c:extLst>
          </c:dPt>
          <c:dPt>
            <c:idx val="1386"/>
            <c:invertIfNegative val="1"/>
            <c:bubble3D val="0"/>
            <c:spPr>
              <a:solidFill>
                <a:srgbClr val="AEABAB"/>
              </a:solidFill>
            </c:spPr>
            <c:extLst>
              <c:ext xmlns:c16="http://schemas.microsoft.com/office/drawing/2014/chart" uri="{C3380CC4-5D6E-409C-BE32-E72D297353CC}">
                <c16:uniqueId val="{00000AD7-C623-4FBE-8EDB-4AD12F618AAD}"/>
              </c:ext>
            </c:extLst>
          </c:dPt>
          <c:dPt>
            <c:idx val="1387"/>
            <c:invertIfNegative val="1"/>
            <c:bubble3D val="0"/>
            <c:spPr>
              <a:solidFill>
                <a:srgbClr val="AEABAB"/>
              </a:solidFill>
            </c:spPr>
            <c:extLst>
              <c:ext xmlns:c16="http://schemas.microsoft.com/office/drawing/2014/chart" uri="{C3380CC4-5D6E-409C-BE32-E72D297353CC}">
                <c16:uniqueId val="{00000AD9-C623-4FBE-8EDB-4AD12F618AAD}"/>
              </c:ext>
            </c:extLst>
          </c:dPt>
          <c:dPt>
            <c:idx val="1388"/>
            <c:invertIfNegative val="1"/>
            <c:bubble3D val="0"/>
            <c:spPr>
              <a:solidFill>
                <a:srgbClr val="AEABAB"/>
              </a:solidFill>
            </c:spPr>
            <c:extLst>
              <c:ext xmlns:c16="http://schemas.microsoft.com/office/drawing/2014/chart" uri="{C3380CC4-5D6E-409C-BE32-E72D297353CC}">
                <c16:uniqueId val="{00000ADB-C623-4FBE-8EDB-4AD12F618AAD}"/>
              </c:ext>
            </c:extLst>
          </c:dPt>
          <c:dPt>
            <c:idx val="1389"/>
            <c:invertIfNegative val="1"/>
            <c:bubble3D val="0"/>
            <c:spPr>
              <a:solidFill>
                <a:srgbClr val="AEABAB"/>
              </a:solidFill>
            </c:spPr>
            <c:extLst>
              <c:ext xmlns:c16="http://schemas.microsoft.com/office/drawing/2014/chart" uri="{C3380CC4-5D6E-409C-BE32-E72D297353CC}">
                <c16:uniqueId val="{00000ADD-C623-4FBE-8EDB-4AD12F618AAD}"/>
              </c:ext>
            </c:extLst>
          </c:dPt>
          <c:dPt>
            <c:idx val="1390"/>
            <c:invertIfNegative val="1"/>
            <c:bubble3D val="0"/>
            <c:spPr>
              <a:solidFill>
                <a:srgbClr val="AEABAB"/>
              </a:solidFill>
            </c:spPr>
            <c:extLst>
              <c:ext xmlns:c16="http://schemas.microsoft.com/office/drawing/2014/chart" uri="{C3380CC4-5D6E-409C-BE32-E72D297353CC}">
                <c16:uniqueId val="{00000ADF-C623-4FBE-8EDB-4AD12F618AAD}"/>
              </c:ext>
            </c:extLst>
          </c:dPt>
          <c:dPt>
            <c:idx val="1391"/>
            <c:invertIfNegative val="1"/>
            <c:bubble3D val="0"/>
            <c:spPr>
              <a:solidFill>
                <a:srgbClr val="AEABAB"/>
              </a:solidFill>
            </c:spPr>
            <c:extLst>
              <c:ext xmlns:c16="http://schemas.microsoft.com/office/drawing/2014/chart" uri="{C3380CC4-5D6E-409C-BE32-E72D297353CC}">
                <c16:uniqueId val="{00000AE1-C623-4FBE-8EDB-4AD12F618AAD}"/>
              </c:ext>
            </c:extLst>
          </c:dPt>
          <c:dPt>
            <c:idx val="1392"/>
            <c:invertIfNegative val="1"/>
            <c:bubble3D val="0"/>
            <c:spPr>
              <a:solidFill>
                <a:srgbClr val="AEABAB"/>
              </a:solidFill>
            </c:spPr>
            <c:extLst>
              <c:ext xmlns:c16="http://schemas.microsoft.com/office/drawing/2014/chart" uri="{C3380CC4-5D6E-409C-BE32-E72D297353CC}">
                <c16:uniqueId val="{00000AE3-C623-4FBE-8EDB-4AD12F618AAD}"/>
              </c:ext>
            </c:extLst>
          </c:dPt>
          <c:dPt>
            <c:idx val="1393"/>
            <c:invertIfNegative val="1"/>
            <c:bubble3D val="0"/>
            <c:spPr>
              <a:solidFill>
                <a:srgbClr val="AEABAB"/>
              </a:solidFill>
            </c:spPr>
            <c:extLst>
              <c:ext xmlns:c16="http://schemas.microsoft.com/office/drawing/2014/chart" uri="{C3380CC4-5D6E-409C-BE32-E72D297353CC}">
                <c16:uniqueId val="{00000AE5-C623-4FBE-8EDB-4AD12F618AAD}"/>
              </c:ext>
            </c:extLst>
          </c:dPt>
          <c:dPt>
            <c:idx val="1394"/>
            <c:invertIfNegative val="1"/>
            <c:bubble3D val="0"/>
            <c:spPr>
              <a:solidFill>
                <a:srgbClr val="AEABAB"/>
              </a:solidFill>
            </c:spPr>
            <c:extLst>
              <c:ext xmlns:c16="http://schemas.microsoft.com/office/drawing/2014/chart" uri="{C3380CC4-5D6E-409C-BE32-E72D297353CC}">
                <c16:uniqueId val="{00000AE7-C623-4FBE-8EDB-4AD12F618AAD}"/>
              </c:ext>
            </c:extLst>
          </c:dPt>
          <c:dPt>
            <c:idx val="1395"/>
            <c:invertIfNegative val="1"/>
            <c:bubble3D val="0"/>
            <c:spPr>
              <a:solidFill>
                <a:srgbClr val="AEABAB"/>
              </a:solidFill>
            </c:spPr>
            <c:extLst>
              <c:ext xmlns:c16="http://schemas.microsoft.com/office/drawing/2014/chart" uri="{C3380CC4-5D6E-409C-BE32-E72D297353CC}">
                <c16:uniqueId val="{00000AE9-C623-4FBE-8EDB-4AD12F618AAD}"/>
              </c:ext>
            </c:extLst>
          </c:dPt>
          <c:dPt>
            <c:idx val="1396"/>
            <c:invertIfNegative val="1"/>
            <c:bubble3D val="0"/>
            <c:spPr>
              <a:solidFill>
                <a:srgbClr val="AEABAB"/>
              </a:solidFill>
            </c:spPr>
            <c:extLst>
              <c:ext xmlns:c16="http://schemas.microsoft.com/office/drawing/2014/chart" uri="{C3380CC4-5D6E-409C-BE32-E72D297353CC}">
                <c16:uniqueId val="{00000AEB-C623-4FBE-8EDB-4AD12F618AAD}"/>
              </c:ext>
            </c:extLst>
          </c:dPt>
          <c:dPt>
            <c:idx val="1397"/>
            <c:invertIfNegative val="1"/>
            <c:bubble3D val="0"/>
            <c:spPr>
              <a:solidFill>
                <a:srgbClr val="AEABAB"/>
              </a:solidFill>
            </c:spPr>
            <c:extLst>
              <c:ext xmlns:c16="http://schemas.microsoft.com/office/drawing/2014/chart" uri="{C3380CC4-5D6E-409C-BE32-E72D297353CC}">
                <c16:uniqueId val="{00000AED-C623-4FBE-8EDB-4AD12F618AAD}"/>
              </c:ext>
            </c:extLst>
          </c:dPt>
          <c:dPt>
            <c:idx val="1398"/>
            <c:invertIfNegative val="1"/>
            <c:bubble3D val="0"/>
            <c:spPr>
              <a:solidFill>
                <a:srgbClr val="AEABAB"/>
              </a:solidFill>
            </c:spPr>
            <c:extLst>
              <c:ext xmlns:c16="http://schemas.microsoft.com/office/drawing/2014/chart" uri="{C3380CC4-5D6E-409C-BE32-E72D297353CC}">
                <c16:uniqueId val="{00000AEF-C623-4FBE-8EDB-4AD12F618AAD}"/>
              </c:ext>
            </c:extLst>
          </c:dPt>
          <c:dPt>
            <c:idx val="1399"/>
            <c:invertIfNegative val="1"/>
            <c:bubble3D val="0"/>
            <c:spPr>
              <a:solidFill>
                <a:srgbClr val="AEABAB"/>
              </a:solidFill>
            </c:spPr>
            <c:extLst>
              <c:ext xmlns:c16="http://schemas.microsoft.com/office/drawing/2014/chart" uri="{C3380CC4-5D6E-409C-BE32-E72D297353CC}">
                <c16:uniqueId val="{00000AF1-C623-4FBE-8EDB-4AD12F618AAD}"/>
              </c:ext>
            </c:extLst>
          </c:dPt>
          <c:dPt>
            <c:idx val="1400"/>
            <c:invertIfNegative val="1"/>
            <c:bubble3D val="0"/>
            <c:spPr>
              <a:solidFill>
                <a:srgbClr val="AEABAB"/>
              </a:solidFill>
            </c:spPr>
            <c:extLst>
              <c:ext xmlns:c16="http://schemas.microsoft.com/office/drawing/2014/chart" uri="{C3380CC4-5D6E-409C-BE32-E72D297353CC}">
                <c16:uniqueId val="{00000AF3-C623-4FBE-8EDB-4AD12F618AAD}"/>
              </c:ext>
            </c:extLst>
          </c:dPt>
          <c:dPt>
            <c:idx val="1401"/>
            <c:invertIfNegative val="1"/>
            <c:bubble3D val="0"/>
            <c:spPr>
              <a:solidFill>
                <a:srgbClr val="AEABAB"/>
              </a:solidFill>
            </c:spPr>
            <c:extLst>
              <c:ext xmlns:c16="http://schemas.microsoft.com/office/drawing/2014/chart" uri="{C3380CC4-5D6E-409C-BE32-E72D297353CC}">
                <c16:uniqueId val="{00000AF5-C623-4FBE-8EDB-4AD12F618AAD}"/>
              </c:ext>
            </c:extLst>
          </c:dPt>
          <c:dPt>
            <c:idx val="1402"/>
            <c:invertIfNegative val="1"/>
            <c:bubble3D val="0"/>
            <c:spPr>
              <a:solidFill>
                <a:srgbClr val="AEABAB"/>
              </a:solidFill>
            </c:spPr>
            <c:extLst>
              <c:ext xmlns:c16="http://schemas.microsoft.com/office/drawing/2014/chart" uri="{C3380CC4-5D6E-409C-BE32-E72D297353CC}">
                <c16:uniqueId val="{00000AF7-C623-4FBE-8EDB-4AD12F618AAD}"/>
              </c:ext>
            </c:extLst>
          </c:dPt>
          <c:dPt>
            <c:idx val="1403"/>
            <c:invertIfNegative val="1"/>
            <c:bubble3D val="0"/>
            <c:spPr>
              <a:solidFill>
                <a:srgbClr val="AEABAB"/>
              </a:solidFill>
            </c:spPr>
            <c:extLst>
              <c:ext xmlns:c16="http://schemas.microsoft.com/office/drawing/2014/chart" uri="{C3380CC4-5D6E-409C-BE32-E72D297353CC}">
                <c16:uniqueId val="{00000AF9-C623-4FBE-8EDB-4AD12F618AAD}"/>
              </c:ext>
            </c:extLst>
          </c:dPt>
          <c:dPt>
            <c:idx val="1404"/>
            <c:invertIfNegative val="1"/>
            <c:bubble3D val="0"/>
            <c:spPr>
              <a:solidFill>
                <a:srgbClr val="AEABAB"/>
              </a:solidFill>
            </c:spPr>
            <c:extLst>
              <c:ext xmlns:c16="http://schemas.microsoft.com/office/drawing/2014/chart" uri="{C3380CC4-5D6E-409C-BE32-E72D297353CC}">
                <c16:uniqueId val="{00000AFB-C623-4FBE-8EDB-4AD12F618AAD}"/>
              </c:ext>
            </c:extLst>
          </c:dPt>
          <c:dPt>
            <c:idx val="1405"/>
            <c:invertIfNegative val="1"/>
            <c:bubble3D val="0"/>
            <c:spPr>
              <a:solidFill>
                <a:srgbClr val="AEABAB"/>
              </a:solidFill>
            </c:spPr>
            <c:extLst>
              <c:ext xmlns:c16="http://schemas.microsoft.com/office/drawing/2014/chart" uri="{C3380CC4-5D6E-409C-BE32-E72D297353CC}">
                <c16:uniqueId val="{00000AFD-C623-4FBE-8EDB-4AD12F618AAD}"/>
              </c:ext>
            </c:extLst>
          </c:dPt>
          <c:dPt>
            <c:idx val="1406"/>
            <c:invertIfNegative val="1"/>
            <c:bubble3D val="0"/>
            <c:spPr>
              <a:solidFill>
                <a:srgbClr val="AEABAB"/>
              </a:solidFill>
            </c:spPr>
            <c:extLst>
              <c:ext xmlns:c16="http://schemas.microsoft.com/office/drawing/2014/chart" uri="{C3380CC4-5D6E-409C-BE32-E72D297353CC}">
                <c16:uniqueId val="{00000AFF-C623-4FBE-8EDB-4AD12F618AAD}"/>
              </c:ext>
            </c:extLst>
          </c:dPt>
          <c:dPt>
            <c:idx val="1407"/>
            <c:invertIfNegative val="1"/>
            <c:bubble3D val="0"/>
            <c:spPr>
              <a:solidFill>
                <a:srgbClr val="AEABAB"/>
              </a:solidFill>
            </c:spPr>
            <c:extLst>
              <c:ext xmlns:c16="http://schemas.microsoft.com/office/drawing/2014/chart" uri="{C3380CC4-5D6E-409C-BE32-E72D297353CC}">
                <c16:uniqueId val="{00000B01-C623-4FBE-8EDB-4AD12F618AAD}"/>
              </c:ext>
            </c:extLst>
          </c:dPt>
          <c:dPt>
            <c:idx val="1408"/>
            <c:invertIfNegative val="1"/>
            <c:bubble3D val="0"/>
            <c:spPr>
              <a:solidFill>
                <a:srgbClr val="AEABAB"/>
              </a:solidFill>
            </c:spPr>
            <c:extLst>
              <c:ext xmlns:c16="http://schemas.microsoft.com/office/drawing/2014/chart" uri="{C3380CC4-5D6E-409C-BE32-E72D297353CC}">
                <c16:uniqueId val="{00000B03-C623-4FBE-8EDB-4AD12F618AAD}"/>
              </c:ext>
            </c:extLst>
          </c:dPt>
          <c:dPt>
            <c:idx val="1409"/>
            <c:invertIfNegative val="1"/>
            <c:bubble3D val="0"/>
            <c:spPr>
              <a:solidFill>
                <a:srgbClr val="AEABAB"/>
              </a:solidFill>
            </c:spPr>
            <c:extLst>
              <c:ext xmlns:c16="http://schemas.microsoft.com/office/drawing/2014/chart" uri="{C3380CC4-5D6E-409C-BE32-E72D297353CC}">
                <c16:uniqueId val="{00000B05-C623-4FBE-8EDB-4AD12F618AAD}"/>
              </c:ext>
            </c:extLst>
          </c:dPt>
          <c:dPt>
            <c:idx val="1410"/>
            <c:invertIfNegative val="1"/>
            <c:bubble3D val="0"/>
            <c:spPr>
              <a:solidFill>
                <a:srgbClr val="AEABAB"/>
              </a:solidFill>
            </c:spPr>
            <c:extLst>
              <c:ext xmlns:c16="http://schemas.microsoft.com/office/drawing/2014/chart" uri="{C3380CC4-5D6E-409C-BE32-E72D297353CC}">
                <c16:uniqueId val="{00000B07-C623-4FBE-8EDB-4AD12F618AAD}"/>
              </c:ext>
            </c:extLst>
          </c:dPt>
          <c:dPt>
            <c:idx val="1411"/>
            <c:invertIfNegative val="1"/>
            <c:bubble3D val="0"/>
            <c:spPr>
              <a:solidFill>
                <a:srgbClr val="AEABAB"/>
              </a:solidFill>
            </c:spPr>
            <c:extLst>
              <c:ext xmlns:c16="http://schemas.microsoft.com/office/drawing/2014/chart" uri="{C3380CC4-5D6E-409C-BE32-E72D297353CC}">
                <c16:uniqueId val="{00000B09-C623-4FBE-8EDB-4AD12F618AAD}"/>
              </c:ext>
            </c:extLst>
          </c:dPt>
          <c:dPt>
            <c:idx val="1412"/>
            <c:invertIfNegative val="1"/>
            <c:bubble3D val="0"/>
            <c:spPr>
              <a:solidFill>
                <a:srgbClr val="AEABAB"/>
              </a:solidFill>
            </c:spPr>
            <c:extLst>
              <c:ext xmlns:c16="http://schemas.microsoft.com/office/drawing/2014/chart" uri="{C3380CC4-5D6E-409C-BE32-E72D297353CC}">
                <c16:uniqueId val="{00000B0B-C623-4FBE-8EDB-4AD12F618AAD}"/>
              </c:ext>
            </c:extLst>
          </c:dPt>
          <c:dPt>
            <c:idx val="1413"/>
            <c:invertIfNegative val="1"/>
            <c:bubble3D val="0"/>
            <c:spPr>
              <a:solidFill>
                <a:srgbClr val="AEABAB"/>
              </a:solidFill>
            </c:spPr>
            <c:extLst>
              <c:ext xmlns:c16="http://schemas.microsoft.com/office/drawing/2014/chart" uri="{C3380CC4-5D6E-409C-BE32-E72D297353CC}">
                <c16:uniqueId val="{00000B0D-C623-4FBE-8EDB-4AD12F618AAD}"/>
              </c:ext>
            </c:extLst>
          </c:dPt>
          <c:dPt>
            <c:idx val="1414"/>
            <c:invertIfNegative val="1"/>
            <c:bubble3D val="0"/>
            <c:spPr>
              <a:solidFill>
                <a:srgbClr val="AEABAB"/>
              </a:solidFill>
            </c:spPr>
            <c:extLst>
              <c:ext xmlns:c16="http://schemas.microsoft.com/office/drawing/2014/chart" uri="{C3380CC4-5D6E-409C-BE32-E72D297353CC}">
                <c16:uniqueId val="{00000B0F-C623-4FBE-8EDB-4AD12F618AAD}"/>
              </c:ext>
            </c:extLst>
          </c:dPt>
          <c:dPt>
            <c:idx val="1415"/>
            <c:invertIfNegative val="1"/>
            <c:bubble3D val="0"/>
            <c:spPr>
              <a:solidFill>
                <a:srgbClr val="AEABAB"/>
              </a:solidFill>
            </c:spPr>
            <c:extLst>
              <c:ext xmlns:c16="http://schemas.microsoft.com/office/drawing/2014/chart" uri="{C3380CC4-5D6E-409C-BE32-E72D297353CC}">
                <c16:uniqueId val="{00000B11-C623-4FBE-8EDB-4AD12F618AAD}"/>
              </c:ext>
            </c:extLst>
          </c:dPt>
          <c:dPt>
            <c:idx val="1416"/>
            <c:invertIfNegative val="1"/>
            <c:bubble3D val="0"/>
            <c:spPr>
              <a:solidFill>
                <a:srgbClr val="AEABAB"/>
              </a:solidFill>
            </c:spPr>
            <c:extLst>
              <c:ext xmlns:c16="http://schemas.microsoft.com/office/drawing/2014/chart" uri="{C3380CC4-5D6E-409C-BE32-E72D297353CC}">
                <c16:uniqueId val="{00000B13-C623-4FBE-8EDB-4AD12F618AAD}"/>
              </c:ext>
            </c:extLst>
          </c:dPt>
          <c:dPt>
            <c:idx val="1417"/>
            <c:invertIfNegative val="1"/>
            <c:bubble3D val="0"/>
            <c:spPr>
              <a:solidFill>
                <a:srgbClr val="AEABAB"/>
              </a:solidFill>
            </c:spPr>
            <c:extLst>
              <c:ext xmlns:c16="http://schemas.microsoft.com/office/drawing/2014/chart" uri="{C3380CC4-5D6E-409C-BE32-E72D297353CC}">
                <c16:uniqueId val="{00000B15-C623-4FBE-8EDB-4AD12F618AAD}"/>
              </c:ext>
            </c:extLst>
          </c:dPt>
          <c:dPt>
            <c:idx val="1418"/>
            <c:invertIfNegative val="1"/>
            <c:bubble3D val="0"/>
            <c:spPr>
              <a:solidFill>
                <a:srgbClr val="AEABAB"/>
              </a:solidFill>
            </c:spPr>
            <c:extLst>
              <c:ext xmlns:c16="http://schemas.microsoft.com/office/drawing/2014/chart" uri="{C3380CC4-5D6E-409C-BE32-E72D297353CC}">
                <c16:uniqueId val="{00000B17-C623-4FBE-8EDB-4AD12F618AAD}"/>
              </c:ext>
            </c:extLst>
          </c:dPt>
          <c:dPt>
            <c:idx val="1419"/>
            <c:invertIfNegative val="1"/>
            <c:bubble3D val="0"/>
            <c:spPr>
              <a:solidFill>
                <a:srgbClr val="AEABAB"/>
              </a:solidFill>
            </c:spPr>
            <c:extLst>
              <c:ext xmlns:c16="http://schemas.microsoft.com/office/drawing/2014/chart" uri="{C3380CC4-5D6E-409C-BE32-E72D297353CC}">
                <c16:uniqueId val="{00000B19-C623-4FBE-8EDB-4AD12F618AAD}"/>
              </c:ext>
            </c:extLst>
          </c:dPt>
          <c:dPt>
            <c:idx val="1420"/>
            <c:invertIfNegative val="1"/>
            <c:bubble3D val="0"/>
            <c:spPr>
              <a:solidFill>
                <a:srgbClr val="AEABAB"/>
              </a:solidFill>
            </c:spPr>
            <c:extLst>
              <c:ext xmlns:c16="http://schemas.microsoft.com/office/drawing/2014/chart" uri="{C3380CC4-5D6E-409C-BE32-E72D297353CC}">
                <c16:uniqueId val="{00000B1B-C623-4FBE-8EDB-4AD12F618AAD}"/>
              </c:ext>
            </c:extLst>
          </c:dPt>
          <c:dPt>
            <c:idx val="1421"/>
            <c:invertIfNegative val="1"/>
            <c:bubble3D val="0"/>
            <c:spPr>
              <a:solidFill>
                <a:srgbClr val="AEABAB"/>
              </a:solidFill>
            </c:spPr>
            <c:extLst>
              <c:ext xmlns:c16="http://schemas.microsoft.com/office/drawing/2014/chart" uri="{C3380CC4-5D6E-409C-BE32-E72D297353CC}">
                <c16:uniqueId val="{00000B1D-C623-4FBE-8EDB-4AD12F618AAD}"/>
              </c:ext>
            </c:extLst>
          </c:dPt>
          <c:dPt>
            <c:idx val="1422"/>
            <c:invertIfNegative val="1"/>
            <c:bubble3D val="0"/>
            <c:spPr>
              <a:solidFill>
                <a:srgbClr val="AEABAB"/>
              </a:solidFill>
            </c:spPr>
            <c:extLst>
              <c:ext xmlns:c16="http://schemas.microsoft.com/office/drawing/2014/chart" uri="{C3380CC4-5D6E-409C-BE32-E72D297353CC}">
                <c16:uniqueId val="{00000B1F-C623-4FBE-8EDB-4AD12F618AAD}"/>
              </c:ext>
            </c:extLst>
          </c:dPt>
          <c:dPt>
            <c:idx val="1423"/>
            <c:invertIfNegative val="1"/>
            <c:bubble3D val="0"/>
            <c:spPr>
              <a:solidFill>
                <a:srgbClr val="AEABAB"/>
              </a:solidFill>
            </c:spPr>
            <c:extLst>
              <c:ext xmlns:c16="http://schemas.microsoft.com/office/drawing/2014/chart" uri="{C3380CC4-5D6E-409C-BE32-E72D297353CC}">
                <c16:uniqueId val="{00000B21-C623-4FBE-8EDB-4AD12F618AAD}"/>
              </c:ext>
            </c:extLst>
          </c:dPt>
          <c:dPt>
            <c:idx val="1424"/>
            <c:invertIfNegative val="1"/>
            <c:bubble3D val="0"/>
            <c:spPr>
              <a:solidFill>
                <a:srgbClr val="AEABAB"/>
              </a:solidFill>
            </c:spPr>
            <c:extLst>
              <c:ext xmlns:c16="http://schemas.microsoft.com/office/drawing/2014/chart" uri="{C3380CC4-5D6E-409C-BE32-E72D297353CC}">
                <c16:uniqueId val="{00000B23-C623-4FBE-8EDB-4AD12F618AAD}"/>
              </c:ext>
            </c:extLst>
          </c:dPt>
          <c:dPt>
            <c:idx val="1425"/>
            <c:invertIfNegative val="1"/>
            <c:bubble3D val="0"/>
            <c:spPr>
              <a:solidFill>
                <a:srgbClr val="AEABAB"/>
              </a:solidFill>
            </c:spPr>
            <c:extLst>
              <c:ext xmlns:c16="http://schemas.microsoft.com/office/drawing/2014/chart" uri="{C3380CC4-5D6E-409C-BE32-E72D297353CC}">
                <c16:uniqueId val="{00000B25-C623-4FBE-8EDB-4AD12F618AAD}"/>
              </c:ext>
            </c:extLst>
          </c:dPt>
          <c:dPt>
            <c:idx val="1426"/>
            <c:invertIfNegative val="1"/>
            <c:bubble3D val="0"/>
            <c:spPr>
              <a:solidFill>
                <a:srgbClr val="AEABAB"/>
              </a:solidFill>
            </c:spPr>
            <c:extLst>
              <c:ext xmlns:c16="http://schemas.microsoft.com/office/drawing/2014/chart" uri="{C3380CC4-5D6E-409C-BE32-E72D297353CC}">
                <c16:uniqueId val="{00000B27-C623-4FBE-8EDB-4AD12F618AAD}"/>
              </c:ext>
            </c:extLst>
          </c:dPt>
          <c:dPt>
            <c:idx val="1427"/>
            <c:invertIfNegative val="1"/>
            <c:bubble3D val="0"/>
            <c:spPr>
              <a:solidFill>
                <a:srgbClr val="AEABAB"/>
              </a:solidFill>
            </c:spPr>
            <c:extLst>
              <c:ext xmlns:c16="http://schemas.microsoft.com/office/drawing/2014/chart" uri="{C3380CC4-5D6E-409C-BE32-E72D297353CC}">
                <c16:uniqueId val="{00000B29-C623-4FBE-8EDB-4AD12F618AAD}"/>
              </c:ext>
            </c:extLst>
          </c:dPt>
          <c:dPt>
            <c:idx val="1428"/>
            <c:invertIfNegative val="1"/>
            <c:bubble3D val="0"/>
            <c:spPr>
              <a:solidFill>
                <a:srgbClr val="AEABAB"/>
              </a:solidFill>
            </c:spPr>
            <c:extLst>
              <c:ext xmlns:c16="http://schemas.microsoft.com/office/drawing/2014/chart" uri="{C3380CC4-5D6E-409C-BE32-E72D297353CC}">
                <c16:uniqueId val="{00000B2B-C623-4FBE-8EDB-4AD12F618AAD}"/>
              </c:ext>
            </c:extLst>
          </c:dPt>
          <c:dPt>
            <c:idx val="1429"/>
            <c:invertIfNegative val="1"/>
            <c:bubble3D val="0"/>
            <c:spPr>
              <a:solidFill>
                <a:srgbClr val="AEABAB"/>
              </a:solidFill>
            </c:spPr>
            <c:extLst>
              <c:ext xmlns:c16="http://schemas.microsoft.com/office/drawing/2014/chart" uri="{C3380CC4-5D6E-409C-BE32-E72D297353CC}">
                <c16:uniqueId val="{00000B2D-C623-4FBE-8EDB-4AD12F618AAD}"/>
              </c:ext>
            </c:extLst>
          </c:dPt>
          <c:dPt>
            <c:idx val="1430"/>
            <c:invertIfNegative val="1"/>
            <c:bubble3D val="0"/>
            <c:spPr>
              <a:solidFill>
                <a:srgbClr val="AEABAB"/>
              </a:solidFill>
            </c:spPr>
            <c:extLst>
              <c:ext xmlns:c16="http://schemas.microsoft.com/office/drawing/2014/chart" uri="{C3380CC4-5D6E-409C-BE32-E72D297353CC}">
                <c16:uniqueId val="{00000B2F-C623-4FBE-8EDB-4AD12F618AAD}"/>
              </c:ext>
            </c:extLst>
          </c:dPt>
          <c:dPt>
            <c:idx val="1431"/>
            <c:invertIfNegative val="1"/>
            <c:bubble3D val="0"/>
            <c:spPr>
              <a:solidFill>
                <a:srgbClr val="AEABAB"/>
              </a:solidFill>
            </c:spPr>
            <c:extLst>
              <c:ext xmlns:c16="http://schemas.microsoft.com/office/drawing/2014/chart" uri="{C3380CC4-5D6E-409C-BE32-E72D297353CC}">
                <c16:uniqueId val="{00000B31-C623-4FBE-8EDB-4AD12F618AAD}"/>
              </c:ext>
            </c:extLst>
          </c:dPt>
          <c:dPt>
            <c:idx val="1432"/>
            <c:invertIfNegative val="1"/>
            <c:bubble3D val="0"/>
            <c:spPr>
              <a:solidFill>
                <a:srgbClr val="AEABAB"/>
              </a:solidFill>
            </c:spPr>
            <c:extLst>
              <c:ext xmlns:c16="http://schemas.microsoft.com/office/drawing/2014/chart" uri="{C3380CC4-5D6E-409C-BE32-E72D297353CC}">
                <c16:uniqueId val="{00000B33-C623-4FBE-8EDB-4AD12F618AAD}"/>
              </c:ext>
            </c:extLst>
          </c:dPt>
          <c:dPt>
            <c:idx val="1433"/>
            <c:invertIfNegative val="1"/>
            <c:bubble3D val="0"/>
            <c:spPr>
              <a:solidFill>
                <a:srgbClr val="AEABAB"/>
              </a:solidFill>
            </c:spPr>
            <c:extLst>
              <c:ext xmlns:c16="http://schemas.microsoft.com/office/drawing/2014/chart" uri="{C3380CC4-5D6E-409C-BE32-E72D297353CC}">
                <c16:uniqueId val="{00000B35-C623-4FBE-8EDB-4AD12F618AAD}"/>
              </c:ext>
            </c:extLst>
          </c:dPt>
          <c:dPt>
            <c:idx val="1434"/>
            <c:invertIfNegative val="1"/>
            <c:bubble3D val="0"/>
            <c:spPr>
              <a:solidFill>
                <a:srgbClr val="AEABAB"/>
              </a:solidFill>
            </c:spPr>
            <c:extLst>
              <c:ext xmlns:c16="http://schemas.microsoft.com/office/drawing/2014/chart" uri="{C3380CC4-5D6E-409C-BE32-E72D297353CC}">
                <c16:uniqueId val="{00000B37-C623-4FBE-8EDB-4AD12F618AAD}"/>
              </c:ext>
            </c:extLst>
          </c:dPt>
          <c:dPt>
            <c:idx val="1435"/>
            <c:invertIfNegative val="1"/>
            <c:bubble3D val="0"/>
            <c:spPr>
              <a:solidFill>
                <a:srgbClr val="AEABAB"/>
              </a:solidFill>
            </c:spPr>
            <c:extLst>
              <c:ext xmlns:c16="http://schemas.microsoft.com/office/drawing/2014/chart" uri="{C3380CC4-5D6E-409C-BE32-E72D297353CC}">
                <c16:uniqueId val="{00000B39-C623-4FBE-8EDB-4AD12F618AAD}"/>
              </c:ext>
            </c:extLst>
          </c:dPt>
          <c:dPt>
            <c:idx val="1436"/>
            <c:invertIfNegative val="1"/>
            <c:bubble3D val="0"/>
            <c:spPr>
              <a:solidFill>
                <a:srgbClr val="AEABAB"/>
              </a:solidFill>
            </c:spPr>
            <c:extLst>
              <c:ext xmlns:c16="http://schemas.microsoft.com/office/drawing/2014/chart" uri="{C3380CC4-5D6E-409C-BE32-E72D297353CC}">
                <c16:uniqueId val="{00000B3B-C623-4FBE-8EDB-4AD12F618AAD}"/>
              </c:ext>
            </c:extLst>
          </c:dPt>
          <c:dPt>
            <c:idx val="1437"/>
            <c:invertIfNegative val="1"/>
            <c:bubble3D val="0"/>
            <c:spPr>
              <a:solidFill>
                <a:srgbClr val="AEABAB"/>
              </a:solidFill>
            </c:spPr>
            <c:extLst>
              <c:ext xmlns:c16="http://schemas.microsoft.com/office/drawing/2014/chart" uri="{C3380CC4-5D6E-409C-BE32-E72D297353CC}">
                <c16:uniqueId val="{00000B3D-C623-4FBE-8EDB-4AD12F618AAD}"/>
              </c:ext>
            </c:extLst>
          </c:dPt>
          <c:dPt>
            <c:idx val="1438"/>
            <c:invertIfNegative val="1"/>
            <c:bubble3D val="0"/>
            <c:spPr>
              <a:solidFill>
                <a:srgbClr val="AEABAB"/>
              </a:solidFill>
            </c:spPr>
            <c:extLst>
              <c:ext xmlns:c16="http://schemas.microsoft.com/office/drawing/2014/chart" uri="{C3380CC4-5D6E-409C-BE32-E72D297353CC}">
                <c16:uniqueId val="{00000B3F-C623-4FBE-8EDB-4AD12F618AAD}"/>
              </c:ext>
            </c:extLst>
          </c:dPt>
          <c:dPt>
            <c:idx val="1439"/>
            <c:invertIfNegative val="1"/>
            <c:bubble3D val="0"/>
            <c:spPr>
              <a:solidFill>
                <a:srgbClr val="AEABAB"/>
              </a:solidFill>
            </c:spPr>
            <c:extLst>
              <c:ext xmlns:c16="http://schemas.microsoft.com/office/drawing/2014/chart" uri="{C3380CC4-5D6E-409C-BE32-E72D297353CC}">
                <c16:uniqueId val="{00000B41-C623-4FBE-8EDB-4AD12F618AAD}"/>
              </c:ext>
            </c:extLst>
          </c:dPt>
          <c:dPt>
            <c:idx val="1440"/>
            <c:invertIfNegative val="1"/>
            <c:bubble3D val="0"/>
            <c:spPr>
              <a:solidFill>
                <a:srgbClr val="AEABAB"/>
              </a:solidFill>
            </c:spPr>
            <c:extLst>
              <c:ext xmlns:c16="http://schemas.microsoft.com/office/drawing/2014/chart" uri="{C3380CC4-5D6E-409C-BE32-E72D297353CC}">
                <c16:uniqueId val="{00000B43-C623-4FBE-8EDB-4AD12F618AAD}"/>
              </c:ext>
            </c:extLst>
          </c:dPt>
          <c:dPt>
            <c:idx val="1441"/>
            <c:invertIfNegative val="1"/>
            <c:bubble3D val="0"/>
            <c:spPr>
              <a:solidFill>
                <a:srgbClr val="AEABAB"/>
              </a:solidFill>
            </c:spPr>
            <c:extLst>
              <c:ext xmlns:c16="http://schemas.microsoft.com/office/drawing/2014/chart" uri="{C3380CC4-5D6E-409C-BE32-E72D297353CC}">
                <c16:uniqueId val="{00000B45-C623-4FBE-8EDB-4AD12F618AAD}"/>
              </c:ext>
            </c:extLst>
          </c:dPt>
          <c:dPt>
            <c:idx val="1442"/>
            <c:invertIfNegative val="1"/>
            <c:bubble3D val="0"/>
            <c:spPr>
              <a:solidFill>
                <a:srgbClr val="AEABAB"/>
              </a:solidFill>
            </c:spPr>
            <c:extLst>
              <c:ext xmlns:c16="http://schemas.microsoft.com/office/drawing/2014/chart" uri="{C3380CC4-5D6E-409C-BE32-E72D297353CC}">
                <c16:uniqueId val="{00000B47-C623-4FBE-8EDB-4AD12F618AAD}"/>
              </c:ext>
            </c:extLst>
          </c:dPt>
          <c:dPt>
            <c:idx val="1443"/>
            <c:invertIfNegative val="1"/>
            <c:bubble3D val="0"/>
            <c:spPr>
              <a:solidFill>
                <a:srgbClr val="AEABAB"/>
              </a:solidFill>
            </c:spPr>
            <c:extLst>
              <c:ext xmlns:c16="http://schemas.microsoft.com/office/drawing/2014/chart" uri="{C3380CC4-5D6E-409C-BE32-E72D297353CC}">
                <c16:uniqueId val="{00000B49-C623-4FBE-8EDB-4AD12F618AAD}"/>
              </c:ext>
            </c:extLst>
          </c:dPt>
          <c:dPt>
            <c:idx val="1444"/>
            <c:invertIfNegative val="1"/>
            <c:bubble3D val="0"/>
            <c:spPr>
              <a:solidFill>
                <a:srgbClr val="AEABAB"/>
              </a:solidFill>
            </c:spPr>
            <c:extLst>
              <c:ext xmlns:c16="http://schemas.microsoft.com/office/drawing/2014/chart" uri="{C3380CC4-5D6E-409C-BE32-E72D297353CC}">
                <c16:uniqueId val="{00000B4B-C623-4FBE-8EDB-4AD12F618AAD}"/>
              </c:ext>
            </c:extLst>
          </c:dPt>
          <c:dPt>
            <c:idx val="1445"/>
            <c:invertIfNegative val="1"/>
            <c:bubble3D val="0"/>
            <c:spPr>
              <a:solidFill>
                <a:srgbClr val="AEABAB"/>
              </a:solidFill>
            </c:spPr>
            <c:extLst>
              <c:ext xmlns:c16="http://schemas.microsoft.com/office/drawing/2014/chart" uri="{C3380CC4-5D6E-409C-BE32-E72D297353CC}">
                <c16:uniqueId val="{00000B4D-C623-4FBE-8EDB-4AD12F618AAD}"/>
              </c:ext>
            </c:extLst>
          </c:dPt>
          <c:dPt>
            <c:idx val="1446"/>
            <c:invertIfNegative val="1"/>
            <c:bubble3D val="0"/>
            <c:spPr>
              <a:solidFill>
                <a:srgbClr val="AEABAB"/>
              </a:solidFill>
            </c:spPr>
            <c:extLst>
              <c:ext xmlns:c16="http://schemas.microsoft.com/office/drawing/2014/chart" uri="{C3380CC4-5D6E-409C-BE32-E72D297353CC}">
                <c16:uniqueId val="{00000B4F-C623-4FBE-8EDB-4AD12F618AAD}"/>
              </c:ext>
            </c:extLst>
          </c:dPt>
          <c:dPt>
            <c:idx val="1447"/>
            <c:invertIfNegative val="1"/>
            <c:bubble3D val="0"/>
            <c:spPr>
              <a:solidFill>
                <a:srgbClr val="AEABAB"/>
              </a:solidFill>
            </c:spPr>
            <c:extLst>
              <c:ext xmlns:c16="http://schemas.microsoft.com/office/drawing/2014/chart" uri="{C3380CC4-5D6E-409C-BE32-E72D297353CC}">
                <c16:uniqueId val="{00000B51-C623-4FBE-8EDB-4AD12F618AAD}"/>
              </c:ext>
            </c:extLst>
          </c:dPt>
          <c:dPt>
            <c:idx val="1448"/>
            <c:invertIfNegative val="1"/>
            <c:bubble3D val="0"/>
            <c:spPr>
              <a:solidFill>
                <a:srgbClr val="AEABAB"/>
              </a:solidFill>
            </c:spPr>
            <c:extLst>
              <c:ext xmlns:c16="http://schemas.microsoft.com/office/drawing/2014/chart" uri="{C3380CC4-5D6E-409C-BE32-E72D297353CC}">
                <c16:uniqueId val="{00000B53-C623-4FBE-8EDB-4AD12F618AAD}"/>
              </c:ext>
            </c:extLst>
          </c:dPt>
          <c:dPt>
            <c:idx val="1449"/>
            <c:invertIfNegative val="1"/>
            <c:bubble3D val="0"/>
            <c:spPr>
              <a:solidFill>
                <a:srgbClr val="AEABAB"/>
              </a:solidFill>
            </c:spPr>
            <c:extLst>
              <c:ext xmlns:c16="http://schemas.microsoft.com/office/drawing/2014/chart" uri="{C3380CC4-5D6E-409C-BE32-E72D297353CC}">
                <c16:uniqueId val="{00000B55-C623-4FBE-8EDB-4AD12F618AAD}"/>
              </c:ext>
            </c:extLst>
          </c:dPt>
          <c:dPt>
            <c:idx val="1450"/>
            <c:invertIfNegative val="1"/>
            <c:bubble3D val="0"/>
            <c:spPr>
              <a:solidFill>
                <a:srgbClr val="AEABAB"/>
              </a:solidFill>
            </c:spPr>
            <c:extLst>
              <c:ext xmlns:c16="http://schemas.microsoft.com/office/drawing/2014/chart" uri="{C3380CC4-5D6E-409C-BE32-E72D297353CC}">
                <c16:uniqueId val="{00000B57-C623-4FBE-8EDB-4AD12F618AAD}"/>
              </c:ext>
            </c:extLst>
          </c:dPt>
          <c:dPt>
            <c:idx val="1451"/>
            <c:invertIfNegative val="1"/>
            <c:bubble3D val="0"/>
            <c:spPr>
              <a:solidFill>
                <a:srgbClr val="AEABAB"/>
              </a:solidFill>
            </c:spPr>
            <c:extLst>
              <c:ext xmlns:c16="http://schemas.microsoft.com/office/drawing/2014/chart" uri="{C3380CC4-5D6E-409C-BE32-E72D297353CC}">
                <c16:uniqueId val="{00000B59-C623-4FBE-8EDB-4AD12F618AAD}"/>
              </c:ext>
            </c:extLst>
          </c:dPt>
          <c:dPt>
            <c:idx val="1452"/>
            <c:invertIfNegative val="1"/>
            <c:bubble3D val="0"/>
            <c:spPr>
              <a:solidFill>
                <a:srgbClr val="AEABAB"/>
              </a:solidFill>
            </c:spPr>
            <c:extLst>
              <c:ext xmlns:c16="http://schemas.microsoft.com/office/drawing/2014/chart" uri="{C3380CC4-5D6E-409C-BE32-E72D297353CC}">
                <c16:uniqueId val="{00000B5B-C623-4FBE-8EDB-4AD12F618AAD}"/>
              </c:ext>
            </c:extLst>
          </c:dPt>
          <c:dPt>
            <c:idx val="1453"/>
            <c:invertIfNegative val="1"/>
            <c:bubble3D val="0"/>
            <c:spPr>
              <a:solidFill>
                <a:srgbClr val="AEABAB"/>
              </a:solidFill>
            </c:spPr>
            <c:extLst>
              <c:ext xmlns:c16="http://schemas.microsoft.com/office/drawing/2014/chart" uri="{C3380CC4-5D6E-409C-BE32-E72D297353CC}">
                <c16:uniqueId val="{00000B5D-C623-4FBE-8EDB-4AD12F618AAD}"/>
              </c:ext>
            </c:extLst>
          </c:dPt>
          <c:dPt>
            <c:idx val="1454"/>
            <c:invertIfNegative val="1"/>
            <c:bubble3D val="0"/>
            <c:spPr>
              <a:solidFill>
                <a:srgbClr val="AEABAB"/>
              </a:solidFill>
            </c:spPr>
            <c:extLst>
              <c:ext xmlns:c16="http://schemas.microsoft.com/office/drawing/2014/chart" uri="{C3380CC4-5D6E-409C-BE32-E72D297353CC}">
                <c16:uniqueId val="{00000B5F-C623-4FBE-8EDB-4AD12F618AAD}"/>
              </c:ext>
            </c:extLst>
          </c:dPt>
          <c:dPt>
            <c:idx val="1455"/>
            <c:invertIfNegative val="1"/>
            <c:bubble3D val="0"/>
            <c:spPr>
              <a:solidFill>
                <a:srgbClr val="AEABAB"/>
              </a:solidFill>
            </c:spPr>
            <c:extLst>
              <c:ext xmlns:c16="http://schemas.microsoft.com/office/drawing/2014/chart" uri="{C3380CC4-5D6E-409C-BE32-E72D297353CC}">
                <c16:uniqueId val="{00000B61-C623-4FBE-8EDB-4AD12F618AAD}"/>
              </c:ext>
            </c:extLst>
          </c:dPt>
          <c:dPt>
            <c:idx val="1456"/>
            <c:invertIfNegative val="1"/>
            <c:bubble3D val="0"/>
            <c:spPr>
              <a:solidFill>
                <a:srgbClr val="AEABAB"/>
              </a:solidFill>
            </c:spPr>
            <c:extLst>
              <c:ext xmlns:c16="http://schemas.microsoft.com/office/drawing/2014/chart" uri="{C3380CC4-5D6E-409C-BE32-E72D297353CC}">
                <c16:uniqueId val="{00000B63-C623-4FBE-8EDB-4AD12F618AAD}"/>
              </c:ext>
            </c:extLst>
          </c:dPt>
          <c:dPt>
            <c:idx val="1457"/>
            <c:invertIfNegative val="1"/>
            <c:bubble3D val="0"/>
            <c:spPr>
              <a:solidFill>
                <a:srgbClr val="AEABAB"/>
              </a:solidFill>
            </c:spPr>
            <c:extLst>
              <c:ext xmlns:c16="http://schemas.microsoft.com/office/drawing/2014/chart" uri="{C3380CC4-5D6E-409C-BE32-E72D297353CC}">
                <c16:uniqueId val="{00000B65-C623-4FBE-8EDB-4AD12F618AAD}"/>
              </c:ext>
            </c:extLst>
          </c:dPt>
          <c:dPt>
            <c:idx val="1458"/>
            <c:invertIfNegative val="1"/>
            <c:bubble3D val="0"/>
            <c:spPr>
              <a:solidFill>
                <a:srgbClr val="AEABAB"/>
              </a:solidFill>
            </c:spPr>
            <c:extLst>
              <c:ext xmlns:c16="http://schemas.microsoft.com/office/drawing/2014/chart" uri="{C3380CC4-5D6E-409C-BE32-E72D297353CC}">
                <c16:uniqueId val="{00000B67-C623-4FBE-8EDB-4AD12F618AAD}"/>
              </c:ext>
            </c:extLst>
          </c:dPt>
          <c:dPt>
            <c:idx val="1459"/>
            <c:invertIfNegative val="1"/>
            <c:bubble3D val="0"/>
            <c:spPr>
              <a:solidFill>
                <a:srgbClr val="AEABAB"/>
              </a:solidFill>
            </c:spPr>
            <c:extLst>
              <c:ext xmlns:c16="http://schemas.microsoft.com/office/drawing/2014/chart" uri="{C3380CC4-5D6E-409C-BE32-E72D297353CC}">
                <c16:uniqueId val="{00000B69-C623-4FBE-8EDB-4AD12F618AAD}"/>
              </c:ext>
            </c:extLst>
          </c:dPt>
          <c:dPt>
            <c:idx val="1460"/>
            <c:invertIfNegative val="1"/>
            <c:bubble3D val="0"/>
            <c:spPr>
              <a:solidFill>
                <a:srgbClr val="AEABAB"/>
              </a:solidFill>
            </c:spPr>
            <c:extLst>
              <c:ext xmlns:c16="http://schemas.microsoft.com/office/drawing/2014/chart" uri="{C3380CC4-5D6E-409C-BE32-E72D297353CC}">
                <c16:uniqueId val="{00000B6B-C623-4FBE-8EDB-4AD12F618AAD}"/>
              </c:ext>
            </c:extLst>
          </c:dPt>
          <c:dPt>
            <c:idx val="1461"/>
            <c:invertIfNegative val="1"/>
            <c:bubble3D val="0"/>
            <c:spPr>
              <a:solidFill>
                <a:srgbClr val="AEABAB"/>
              </a:solidFill>
            </c:spPr>
            <c:extLst>
              <c:ext xmlns:c16="http://schemas.microsoft.com/office/drawing/2014/chart" uri="{C3380CC4-5D6E-409C-BE32-E72D297353CC}">
                <c16:uniqueId val="{00000B6D-C623-4FBE-8EDB-4AD12F618AAD}"/>
              </c:ext>
            </c:extLst>
          </c:dPt>
          <c:dPt>
            <c:idx val="1462"/>
            <c:invertIfNegative val="1"/>
            <c:bubble3D val="0"/>
            <c:spPr>
              <a:solidFill>
                <a:srgbClr val="AEABAB"/>
              </a:solidFill>
            </c:spPr>
            <c:extLst>
              <c:ext xmlns:c16="http://schemas.microsoft.com/office/drawing/2014/chart" uri="{C3380CC4-5D6E-409C-BE32-E72D297353CC}">
                <c16:uniqueId val="{00000B6F-C623-4FBE-8EDB-4AD12F618AAD}"/>
              </c:ext>
            </c:extLst>
          </c:dPt>
          <c:dPt>
            <c:idx val="1463"/>
            <c:invertIfNegative val="1"/>
            <c:bubble3D val="0"/>
            <c:spPr>
              <a:solidFill>
                <a:srgbClr val="AEABAB"/>
              </a:solidFill>
            </c:spPr>
            <c:extLst>
              <c:ext xmlns:c16="http://schemas.microsoft.com/office/drawing/2014/chart" uri="{C3380CC4-5D6E-409C-BE32-E72D297353CC}">
                <c16:uniqueId val="{00000B71-C623-4FBE-8EDB-4AD12F618AAD}"/>
              </c:ext>
            </c:extLst>
          </c:dPt>
          <c:dPt>
            <c:idx val="1464"/>
            <c:invertIfNegative val="1"/>
            <c:bubble3D val="0"/>
            <c:spPr>
              <a:solidFill>
                <a:srgbClr val="AEABAB"/>
              </a:solidFill>
            </c:spPr>
            <c:extLst>
              <c:ext xmlns:c16="http://schemas.microsoft.com/office/drawing/2014/chart" uri="{C3380CC4-5D6E-409C-BE32-E72D297353CC}">
                <c16:uniqueId val="{00000B73-C623-4FBE-8EDB-4AD12F618AAD}"/>
              </c:ext>
            </c:extLst>
          </c:dPt>
          <c:dPt>
            <c:idx val="1465"/>
            <c:invertIfNegative val="1"/>
            <c:bubble3D val="0"/>
            <c:spPr>
              <a:solidFill>
                <a:srgbClr val="AEABAB"/>
              </a:solidFill>
            </c:spPr>
            <c:extLst>
              <c:ext xmlns:c16="http://schemas.microsoft.com/office/drawing/2014/chart" uri="{C3380CC4-5D6E-409C-BE32-E72D297353CC}">
                <c16:uniqueId val="{00000B75-C623-4FBE-8EDB-4AD12F618AAD}"/>
              </c:ext>
            </c:extLst>
          </c:dPt>
          <c:dPt>
            <c:idx val="1466"/>
            <c:invertIfNegative val="1"/>
            <c:bubble3D val="0"/>
            <c:spPr>
              <a:solidFill>
                <a:srgbClr val="AEABAB"/>
              </a:solidFill>
            </c:spPr>
            <c:extLst>
              <c:ext xmlns:c16="http://schemas.microsoft.com/office/drawing/2014/chart" uri="{C3380CC4-5D6E-409C-BE32-E72D297353CC}">
                <c16:uniqueId val="{00000B77-C623-4FBE-8EDB-4AD12F618AAD}"/>
              </c:ext>
            </c:extLst>
          </c:dPt>
          <c:dPt>
            <c:idx val="1467"/>
            <c:invertIfNegative val="1"/>
            <c:bubble3D val="0"/>
            <c:spPr>
              <a:solidFill>
                <a:srgbClr val="AEABAB"/>
              </a:solidFill>
            </c:spPr>
            <c:extLst>
              <c:ext xmlns:c16="http://schemas.microsoft.com/office/drawing/2014/chart" uri="{C3380CC4-5D6E-409C-BE32-E72D297353CC}">
                <c16:uniqueId val="{00000B79-C623-4FBE-8EDB-4AD12F618AAD}"/>
              </c:ext>
            </c:extLst>
          </c:dPt>
          <c:dPt>
            <c:idx val="1468"/>
            <c:invertIfNegative val="1"/>
            <c:bubble3D val="0"/>
            <c:spPr>
              <a:solidFill>
                <a:srgbClr val="AEABAB"/>
              </a:solidFill>
            </c:spPr>
            <c:extLst>
              <c:ext xmlns:c16="http://schemas.microsoft.com/office/drawing/2014/chart" uri="{C3380CC4-5D6E-409C-BE32-E72D297353CC}">
                <c16:uniqueId val="{00000B7B-C623-4FBE-8EDB-4AD12F618AAD}"/>
              </c:ext>
            </c:extLst>
          </c:dPt>
          <c:dPt>
            <c:idx val="1469"/>
            <c:invertIfNegative val="1"/>
            <c:bubble3D val="0"/>
            <c:spPr>
              <a:solidFill>
                <a:srgbClr val="AEABAB"/>
              </a:solidFill>
            </c:spPr>
            <c:extLst>
              <c:ext xmlns:c16="http://schemas.microsoft.com/office/drawing/2014/chart" uri="{C3380CC4-5D6E-409C-BE32-E72D297353CC}">
                <c16:uniqueId val="{00000B7D-C623-4FBE-8EDB-4AD12F618AAD}"/>
              </c:ext>
            </c:extLst>
          </c:dPt>
          <c:dPt>
            <c:idx val="1470"/>
            <c:invertIfNegative val="1"/>
            <c:bubble3D val="0"/>
            <c:spPr>
              <a:solidFill>
                <a:srgbClr val="AEABAB"/>
              </a:solidFill>
            </c:spPr>
            <c:extLst>
              <c:ext xmlns:c16="http://schemas.microsoft.com/office/drawing/2014/chart" uri="{C3380CC4-5D6E-409C-BE32-E72D297353CC}">
                <c16:uniqueId val="{00000B7F-C623-4FBE-8EDB-4AD12F618AAD}"/>
              </c:ext>
            </c:extLst>
          </c:dPt>
          <c:dPt>
            <c:idx val="1471"/>
            <c:invertIfNegative val="1"/>
            <c:bubble3D val="0"/>
            <c:spPr>
              <a:solidFill>
                <a:srgbClr val="AEABAB"/>
              </a:solidFill>
            </c:spPr>
            <c:extLst>
              <c:ext xmlns:c16="http://schemas.microsoft.com/office/drawing/2014/chart" uri="{C3380CC4-5D6E-409C-BE32-E72D297353CC}">
                <c16:uniqueId val="{00000B81-C623-4FBE-8EDB-4AD12F618AAD}"/>
              </c:ext>
            </c:extLst>
          </c:dPt>
          <c:dPt>
            <c:idx val="1472"/>
            <c:invertIfNegative val="1"/>
            <c:bubble3D val="0"/>
            <c:spPr>
              <a:solidFill>
                <a:srgbClr val="AEABAB"/>
              </a:solidFill>
            </c:spPr>
            <c:extLst>
              <c:ext xmlns:c16="http://schemas.microsoft.com/office/drawing/2014/chart" uri="{C3380CC4-5D6E-409C-BE32-E72D297353CC}">
                <c16:uniqueId val="{00000B83-C623-4FBE-8EDB-4AD12F618AAD}"/>
              </c:ext>
            </c:extLst>
          </c:dPt>
          <c:dPt>
            <c:idx val="1473"/>
            <c:invertIfNegative val="1"/>
            <c:bubble3D val="0"/>
            <c:spPr>
              <a:solidFill>
                <a:srgbClr val="AEABAB"/>
              </a:solidFill>
            </c:spPr>
            <c:extLst>
              <c:ext xmlns:c16="http://schemas.microsoft.com/office/drawing/2014/chart" uri="{C3380CC4-5D6E-409C-BE32-E72D297353CC}">
                <c16:uniqueId val="{00000B85-C623-4FBE-8EDB-4AD12F618AAD}"/>
              </c:ext>
            </c:extLst>
          </c:dPt>
          <c:dPt>
            <c:idx val="1474"/>
            <c:invertIfNegative val="1"/>
            <c:bubble3D val="0"/>
            <c:spPr>
              <a:solidFill>
                <a:srgbClr val="AEABAB"/>
              </a:solidFill>
            </c:spPr>
            <c:extLst>
              <c:ext xmlns:c16="http://schemas.microsoft.com/office/drawing/2014/chart" uri="{C3380CC4-5D6E-409C-BE32-E72D297353CC}">
                <c16:uniqueId val="{00000B87-C623-4FBE-8EDB-4AD12F618AAD}"/>
              </c:ext>
            </c:extLst>
          </c:dPt>
          <c:dPt>
            <c:idx val="1475"/>
            <c:invertIfNegative val="1"/>
            <c:bubble3D val="0"/>
            <c:spPr>
              <a:solidFill>
                <a:srgbClr val="AEABAB"/>
              </a:solidFill>
            </c:spPr>
            <c:extLst>
              <c:ext xmlns:c16="http://schemas.microsoft.com/office/drawing/2014/chart" uri="{C3380CC4-5D6E-409C-BE32-E72D297353CC}">
                <c16:uniqueId val="{00000B89-C623-4FBE-8EDB-4AD12F618AAD}"/>
              </c:ext>
            </c:extLst>
          </c:dPt>
          <c:dPt>
            <c:idx val="1476"/>
            <c:invertIfNegative val="1"/>
            <c:bubble3D val="0"/>
            <c:spPr>
              <a:solidFill>
                <a:srgbClr val="AEABAB"/>
              </a:solidFill>
            </c:spPr>
            <c:extLst>
              <c:ext xmlns:c16="http://schemas.microsoft.com/office/drawing/2014/chart" uri="{C3380CC4-5D6E-409C-BE32-E72D297353CC}">
                <c16:uniqueId val="{00000B8B-C623-4FBE-8EDB-4AD12F618AAD}"/>
              </c:ext>
            </c:extLst>
          </c:dPt>
          <c:dPt>
            <c:idx val="1477"/>
            <c:invertIfNegative val="1"/>
            <c:bubble3D val="0"/>
            <c:spPr>
              <a:solidFill>
                <a:srgbClr val="AEABAB"/>
              </a:solidFill>
            </c:spPr>
            <c:extLst>
              <c:ext xmlns:c16="http://schemas.microsoft.com/office/drawing/2014/chart" uri="{C3380CC4-5D6E-409C-BE32-E72D297353CC}">
                <c16:uniqueId val="{00000B8D-C623-4FBE-8EDB-4AD12F618AAD}"/>
              </c:ext>
            </c:extLst>
          </c:dPt>
          <c:dPt>
            <c:idx val="1478"/>
            <c:invertIfNegative val="1"/>
            <c:bubble3D val="0"/>
            <c:spPr>
              <a:solidFill>
                <a:srgbClr val="AEABAB"/>
              </a:solidFill>
            </c:spPr>
            <c:extLst>
              <c:ext xmlns:c16="http://schemas.microsoft.com/office/drawing/2014/chart" uri="{C3380CC4-5D6E-409C-BE32-E72D297353CC}">
                <c16:uniqueId val="{00000B8F-C623-4FBE-8EDB-4AD12F618AAD}"/>
              </c:ext>
            </c:extLst>
          </c:dPt>
          <c:dPt>
            <c:idx val="1479"/>
            <c:invertIfNegative val="1"/>
            <c:bubble3D val="0"/>
            <c:spPr>
              <a:solidFill>
                <a:srgbClr val="AEABAB"/>
              </a:solidFill>
            </c:spPr>
            <c:extLst>
              <c:ext xmlns:c16="http://schemas.microsoft.com/office/drawing/2014/chart" uri="{C3380CC4-5D6E-409C-BE32-E72D297353CC}">
                <c16:uniqueId val="{00000B91-C623-4FBE-8EDB-4AD12F618AAD}"/>
              </c:ext>
            </c:extLst>
          </c:dPt>
          <c:dPt>
            <c:idx val="1480"/>
            <c:invertIfNegative val="1"/>
            <c:bubble3D val="0"/>
            <c:spPr>
              <a:solidFill>
                <a:srgbClr val="AEABAB"/>
              </a:solidFill>
            </c:spPr>
            <c:extLst>
              <c:ext xmlns:c16="http://schemas.microsoft.com/office/drawing/2014/chart" uri="{C3380CC4-5D6E-409C-BE32-E72D297353CC}">
                <c16:uniqueId val="{00000B93-C623-4FBE-8EDB-4AD12F618AAD}"/>
              </c:ext>
            </c:extLst>
          </c:dPt>
          <c:dPt>
            <c:idx val="1481"/>
            <c:invertIfNegative val="1"/>
            <c:bubble3D val="0"/>
            <c:spPr>
              <a:solidFill>
                <a:srgbClr val="AEABAB"/>
              </a:solidFill>
            </c:spPr>
            <c:extLst>
              <c:ext xmlns:c16="http://schemas.microsoft.com/office/drawing/2014/chart" uri="{C3380CC4-5D6E-409C-BE32-E72D297353CC}">
                <c16:uniqueId val="{00000B95-C623-4FBE-8EDB-4AD12F618AAD}"/>
              </c:ext>
            </c:extLst>
          </c:dPt>
          <c:dPt>
            <c:idx val="1482"/>
            <c:invertIfNegative val="1"/>
            <c:bubble3D val="0"/>
            <c:spPr>
              <a:solidFill>
                <a:srgbClr val="AEABAB"/>
              </a:solidFill>
            </c:spPr>
            <c:extLst>
              <c:ext xmlns:c16="http://schemas.microsoft.com/office/drawing/2014/chart" uri="{C3380CC4-5D6E-409C-BE32-E72D297353CC}">
                <c16:uniqueId val="{00000B97-C623-4FBE-8EDB-4AD12F618AAD}"/>
              </c:ext>
            </c:extLst>
          </c:dPt>
          <c:dPt>
            <c:idx val="1483"/>
            <c:invertIfNegative val="1"/>
            <c:bubble3D val="0"/>
            <c:spPr>
              <a:solidFill>
                <a:srgbClr val="AEABAB"/>
              </a:solidFill>
            </c:spPr>
            <c:extLst>
              <c:ext xmlns:c16="http://schemas.microsoft.com/office/drawing/2014/chart" uri="{C3380CC4-5D6E-409C-BE32-E72D297353CC}">
                <c16:uniqueId val="{00000B99-C623-4FBE-8EDB-4AD12F618AAD}"/>
              </c:ext>
            </c:extLst>
          </c:dPt>
          <c:dPt>
            <c:idx val="1484"/>
            <c:invertIfNegative val="1"/>
            <c:bubble3D val="0"/>
            <c:spPr>
              <a:solidFill>
                <a:srgbClr val="AEABAB"/>
              </a:solidFill>
            </c:spPr>
            <c:extLst>
              <c:ext xmlns:c16="http://schemas.microsoft.com/office/drawing/2014/chart" uri="{C3380CC4-5D6E-409C-BE32-E72D297353CC}">
                <c16:uniqueId val="{00000B9B-C623-4FBE-8EDB-4AD12F618AAD}"/>
              </c:ext>
            </c:extLst>
          </c:dPt>
          <c:dPt>
            <c:idx val="1485"/>
            <c:invertIfNegative val="1"/>
            <c:bubble3D val="0"/>
            <c:spPr>
              <a:solidFill>
                <a:srgbClr val="AEABAB"/>
              </a:solidFill>
            </c:spPr>
            <c:extLst>
              <c:ext xmlns:c16="http://schemas.microsoft.com/office/drawing/2014/chart" uri="{C3380CC4-5D6E-409C-BE32-E72D297353CC}">
                <c16:uniqueId val="{00000B9D-C623-4FBE-8EDB-4AD12F618AAD}"/>
              </c:ext>
            </c:extLst>
          </c:dPt>
          <c:dPt>
            <c:idx val="1486"/>
            <c:invertIfNegative val="1"/>
            <c:bubble3D val="0"/>
            <c:spPr>
              <a:solidFill>
                <a:srgbClr val="AEABAB"/>
              </a:solidFill>
            </c:spPr>
            <c:extLst>
              <c:ext xmlns:c16="http://schemas.microsoft.com/office/drawing/2014/chart" uri="{C3380CC4-5D6E-409C-BE32-E72D297353CC}">
                <c16:uniqueId val="{00000B9F-C623-4FBE-8EDB-4AD12F618AAD}"/>
              </c:ext>
            </c:extLst>
          </c:dPt>
          <c:dPt>
            <c:idx val="1487"/>
            <c:invertIfNegative val="1"/>
            <c:bubble3D val="0"/>
            <c:spPr>
              <a:solidFill>
                <a:srgbClr val="AEABAB"/>
              </a:solidFill>
            </c:spPr>
            <c:extLst>
              <c:ext xmlns:c16="http://schemas.microsoft.com/office/drawing/2014/chart" uri="{C3380CC4-5D6E-409C-BE32-E72D297353CC}">
                <c16:uniqueId val="{00000BA1-C623-4FBE-8EDB-4AD12F618AAD}"/>
              </c:ext>
            </c:extLst>
          </c:dPt>
          <c:dPt>
            <c:idx val="1488"/>
            <c:invertIfNegative val="1"/>
            <c:bubble3D val="0"/>
            <c:spPr>
              <a:solidFill>
                <a:srgbClr val="AEABAB"/>
              </a:solidFill>
            </c:spPr>
            <c:extLst>
              <c:ext xmlns:c16="http://schemas.microsoft.com/office/drawing/2014/chart" uri="{C3380CC4-5D6E-409C-BE32-E72D297353CC}">
                <c16:uniqueId val="{00000BA3-C623-4FBE-8EDB-4AD12F618AAD}"/>
              </c:ext>
            </c:extLst>
          </c:dPt>
          <c:dPt>
            <c:idx val="1489"/>
            <c:invertIfNegative val="1"/>
            <c:bubble3D val="0"/>
            <c:spPr>
              <a:solidFill>
                <a:srgbClr val="AEABAB"/>
              </a:solidFill>
            </c:spPr>
            <c:extLst>
              <c:ext xmlns:c16="http://schemas.microsoft.com/office/drawing/2014/chart" uri="{C3380CC4-5D6E-409C-BE32-E72D297353CC}">
                <c16:uniqueId val="{00000BA5-C623-4FBE-8EDB-4AD12F618AAD}"/>
              </c:ext>
            </c:extLst>
          </c:dPt>
          <c:dPt>
            <c:idx val="1490"/>
            <c:invertIfNegative val="1"/>
            <c:bubble3D val="0"/>
            <c:spPr>
              <a:solidFill>
                <a:srgbClr val="AEABAB"/>
              </a:solidFill>
            </c:spPr>
            <c:extLst>
              <c:ext xmlns:c16="http://schemas.microsoft.com/office/drawing/2014/chart" uri="{C3380CC4-5D6E-409C-BE32-E72D297353CC}">
                <c16:uniqueId val="{00000BA7-C623-4FBE-8EDB-4AD12F618AAD}"/>
              </c:ext>
            </c:extLst>
          </c:dPt>
          <c:dPt>
            <c:idx val="1491"/>
            <c:invertIfNegative val="1"/>
            <c:bubble3D val="0"/>
            <c:spPr>
              <a:solidFill>
                <a:srgbClr val="AEABAB"/>
              </a:solidFill>
            </c:spPr>
            <c:extLst>
              <c:ext xmlns:c16="http://schemas.microsoft.com/office/drawing/2014/chart" uri="{C3380CC4-5D6E-409C-BE32-E72D297353CC}">
                <c16:uniqueId val="{00000BA9-C623-4FBE-8EDB-4AD12F618AAD}"/>
              </c:ext>
            </c:extLst>
          </c:dPt>
          <c:dPt>
            <c:idx val="1492"/>
            <c:invertIfNegative val="1"/>
            <c:bubble3D val="0"/>
            <c:spPr>
              <a:solidFill>
                <a:srgbClr val="AEABAB"/>
              </a:solidFill>
            </c:spPr>
            <c:extLst>
              <c:ext xmlns:c16="http://schemas.microsoft.com/office/drawing/2014/chart" uri="{C3380CC4-5D6E-409C-BE32-E72D297353CC}">
                <c16:uniqueId val="{00000BAB-C623-4FBE-8EDB-4AD12F618AAD}"/>
              </c:ext>
            </c:extLst>
          </c:dPt>
          <c:dPt>
            <c:idx val="1493"/>
            <c:invertIfNegative val="1"/>
            <c:bubble3D val="0"/>
            <c:spPr>
              <a:solidFill>
                <a:srgbClr val="AEABAB"/>
              </a:solidFill>
            </c:spPr>
            <c:extLst>
              <c:ext xmlns:c16="http://schemas.microsoft.com/office/drawing/2014/chart" uri="{C3380CC4-5D6E-409C-BE32-E72D297353CC}">
                <c16:uniqueId val="{00000BAD-C623-4FBE-8EDB-4AD12F618AAD}"/>
              </c:ext>
            </c:extLst>
          </c:dPt>
          <c:dPt>
            <c:idx val="1494"/>
            <c:invertIfNegative val="1"/>
            <c:bubble3D val="0"/>
            <c:spPr>
              <a:solidFill>
                <a:srgbClr val="AEABAB"/>
              </a:solidFill>
            </c:spPr>
            <c:extLst>
              <c:ext xmlns:c16="http://schemas.microsoft.com/office/drawing/2014/chart" uri="{C3380CC4-5D6E-409C-BE32-E72D297353CC}">
                <c16:uniqueId val="{00000BAF-C623-4FBE-8EDB-4AD12F618AAD}"/>
              </c:ext>
            </c:extLst>
          </c:dPt>
          <c:dPt>
            <c:idx val="1495"/>
            <c:invertIfNegative val="1"/>
            <c:bubble3D val="0"/>
            <c:spPr>
              <a:solidFill>
                <a:srgbClr val="AEABAB"/>
              </a:solidFill>
            </c:spPr>
            <c:extLst>
              <c:ext xmlns:c16="http://schemas.microsoft.com/office/drawing/2014/chart" uri="{C3380CC4-5D6E-409C-BE32-E72D297353CC}">
                <c16:uniqueId val="{00000BB1-C623-4FBE-8EDB-4AD12F618AAD}"/>
              </c:ext>
            </c:extLst>
          </c:dPt>
          <c:dPt>
            <c:idx val="1496"/>
            <c:invertIfNegative val="1"/>
            <c:bubble3D val="0"/>
            <c:spPr>
              <a:solidFill>
                <a:srgbClr val="AEABAB"/>
              </a:solidFill>
            </c:spPr>
            <c:extLst>
              <c:ext xmlns:c16="http://schemas.microsoft.com/office/drawing/2014/chart" uri="{C3380CC4-5D6E-409C-BE32-E72D297353CC}">
                <c16:uniqueId val="{00000BB3-C623-4FBE-8EDB-4AD12F618AAD}"/>
              </c:ext>
            </c:extLst>
          </c:dPt>
          <c:dPt>
            <c:idx val="1497"/>
            <c:invertIfNegative val="1"/>
            <c:bubble3D val="0"/>
            <c:spPr>
              <a:solidFill>
                <a:srgbClr val="AEABAB"/>
              </a:solidFill>
            </c:spPr>
            <c:extLst>
              <c:ext xmlns:c16="http://schemas.microsoft.com/office/drawing/2014/chart" uri="{C3380CC4-5D6E-409C-BE32-E72D297353CC}">
                <c16:uniqueId val="{00000BB5-C623-4FBE-8EDB-4AD12F618AAD}"/>
              </c:ext>
            </c:extLst>
          </c:dPt>
          <c:dPt>
            <c:idx val="1498"/>
            <c:invertIfNegative val="1"/>
            <c:bubble3D val="0"/>
            <c:spPr>
              <a:solidFill>
                <a:srgbClr val="AEABAB"/>
              </a:solidFill>
            </c:spPr>
            <c:extLst>
              <c:ext xmlns:c16="http://schemas.microsoft.com/office/drawing/2014/chart" uri="{C3380CC4-5D6E-409C-BE32-E72D297353CC}">
                <c16:uniqueId val="{00000BB7-C623-4FBE-8EDB-4AD12F618AAD}"/>
              </c:ext>
            </c:extLst>
          </c:dPt>
          <c:dPt>
            <c:idx val="1499"/>
            <c:invertIfNegative val="1"/>
            <c:bubble3D val="0"/>
            <c:spPr>
              <a:solidFill>
                <a:srgbClr val="AEABAB"/>
              </a:solidFill>
            </c:spPr>
            <c:extLst>
              <c:ext xmlns:c16="http://schemas.microsoft.com/office/drawing/2014/chart" uri="{C3380CC4-5D6E-409C-BE32-E72D297353CC}">
                <c16:uniqueId val="{00000BB9-C623-4FBE-8EDB-4AD12F618AAD}"/>
              </c:ext>
            </c:extLst>
          </c:dPt>
          <c:dPt>
            <c:idx val="1500"/>
            <c:invertIfNegative val="1"/>
            <c:bubble3D val="0"/>
            <c:spPr>
              <a:solidFill>
                <a:srgbClr val="AEABAB"/>
              </a:solidFill>
            </c:spPr>
            <c:extLst>
              <c:ext xmlns:c16="http://schemas.microsoft.com/office/drawing/2014/chart" uri="{C3380CC4-5D6E-409C-BE32-E72D297353CC}">
                <c16:uniqueId val="{00000BBB-C623-4FBE-8EDB-4AD12F618AAD}"/>
              </c:ext>
            </c:extLst>
          </c:dPt>
          <c:dPt>
            <c:idx val="1501"/>
            <c:invertIfNegative val="1"/>
            <c:bubble3D val="0"/>
            <c:spPr>
              <a:solidFill>
                <a:srgbClr val="AEABAB"/>
              </a:solidFill>
            </c:spPr>
            <c:extLst>
              <c:ext xmlns:c16="http://schemas.microsoft.com/office/drawing/2014/chart" uri="{C3380CC4-5D6E-409C-BE32-E72D297353CC}">
                <c16:uniqueId val="{00000BBD-C623-4FBE-8EDB-4AD12F618AAD}"/>
              </c:ext>
            </c:extLst>
          </c:dPt>
          <c:dPt>
            <c:idx val="1502"/>
            <c:invertIfNegative val="1"/>
            <c:bubble3D val="0"/>
            <c:spPr>
              <a:solidFill>
                <a:srgbClr val="AEABAB"/>
              </a:solidFill>
            </c:spPr>
            <c:extLst>
              <c:ext xmlns:c16="http://schemas.microsoft.com/office/drawing/2014/chart" uri="{C3380CC4-5D6E-409C-BE32-E72D297353CC}">
                <c16:uniqueId val="{00000BBF-C623-4FBE-8EDB-4AD12F618AAD}"/>
              </c:ext>
            </c:extLst>
          </c:dPt>
          <c:dPt>
            <c:idx val="1503"/>
            <c:invertIfNegative val="1"/>
            <c:bubble3D val="0"/>
            <c:spPr>
              <a:solidFill>
                <a:srgbClr val="AEABAB"/>
              </a:solidFill>
            </c:spPr>
            <c:extLst>
              <c:ext xmlns:c16="http://schemas.microsoft.com/office/drawing/2014/chart" uri="{C3380CC4-5D6E-409C-BE32-E72D297353CC}">
                <c16:uniqueId val="{00000BC1-C623-4FBE-8EDB-4AD12F618AAD}"/>
              </c:ext>
            </c:extLst>
          </c:dPt>
          <c:dPt>
            <c:idx val="1504"/>
            <c:invertIfNegative val="1"/>
            <c:bubble3D val="0"/>
            <c:spPr>
              <a:solidFill>
                <a:srgbClr val="AEABAB"/>
              </a:solidFill>
            </c:spPr>
            <c:extLst>
              <c:ext xmlns:c16="http://schemas.microsoft.com/office/drawing/2014/chart" uri="{C3380CC4-5D6E-409C-BE32-E72D297353CC}">
                <c16:uniqueId val="{00000BC3-C623-4FBE-8EDB-4AD12F618AAD}"/>
              </c:ext>
            </c:extLst>
          </c:dPt>
          <c:dPt>
            <c:idx val="1505"/>
            <c:invertIfNegative val="1"/>
            <c:bubble3D val="0"/>
            <c:spPr>
              <a:solidFill>
                <a:srgbClr val="AEABAB"/>
              </a:solidFill>
            </c:spPr>
            <c:extLst>
              <c:ext xmlns:c16="http://schemas.microsoft.com/office/drawing/2014/chart" uri="{C3380CC4-5D6E-409C-BE32-E72D297353CC}">
                <c16:uniqueId val="{00000BC5-C623-4FBE-8EDB-4AD12F618AAD}"/>
              </c:ext>
            </c:extLst>
          </c:dPt>
          <c:dPt>
            <c:idx val="1506"/>
            <c:invertIfNegative val="1"/>
            <c:bubble3D val="0"/>
            <c:spPr>
              <a:solidFill>
                <a:srgbClr val="AEABAB"/>
              </a:solidFill>
            </c:spPr>
            <c:extLst>
              <c:ext xmlns:c16="http://schemas.microsoft.com/office/drawing/2014/chart" uri="{C3380CC4-5D6E-409C-BE32-E72D297353CC}">
                <c16:uniqueId val="{00000BC7-C623-4FBE-8EDB-4AD12F618AAD}"/>
              </c:ext>
            </c:extLst>
          </c:dPt>
          <c:dPt>
            <c:idx val="1507"/>
            <c:invertIfNegative val="1"/>
            <c:bubble3D val="0"/>
            <c:spPr>
              <a:solidFill>
                <a:srgbClr val="AEABAB"/>
              </a:solidFill>
            </c:spPr>
            <c:extLst>
              <c:ext xmlns:c16="http://schemas.microsoft.com/office/drawing/2014/chart" uri="{C3380CC4-5D6E-409C-BE32-E72D297353CC}">
                <c16:uniqueId val="{00000BC9-C623-4FBE-8EDB-4AD12F618AAD}"/>
              </c:ext>
            </c:extLst>
          </c:dPt>
          <c:dPt>
            <c:idx val="1508"/>
            <c:invertIfNegative val="1"/>
            <c:bubble3D val="0"/>
            <c:spPr>
              <a:solidFill>
                <a:srgbClr val="AEABAB"/>
              </a:solidFill>
            </c:spPr>
            <c:extLst>
              <c:ext xmlns:c16="http://schemas.microsoft.com/office/drawing/2014/chart" uri="{C3380CC4-5D6E-409C-BE32-E72D297353CC}">
                <c16:uniqueId val="{00000BCB-C623-4FBE-8EDB-4AD12F618AAD}"/>
              </c:ext>
            </c:extLst>
          </c:dPt>
          <c:dPt>
            <c:idx val="1509"/>
            <c:invertIfNegative val="1"/>
            <c:bubble3D val="0"/>
            <c:spPr>
              <a:solidFill>
                <a:srgbClr val="AEABAB"/>
              </a:solidFill>
            </c:spPr>
            <c:extLst>
              <c:ext xmlns:c16="http://schemas.microsoft.com/office/drawing/2014/chart" uri="{C3380CC4-5D6E-409C-BE32-E72D297353CC}">
                <c16:uniqueId val="{00000BCD-C623-4FBE-8EDB-4AD12F618AAD}"/>
              </c:ext>
            </c:extLst>
          </c:dPt>
          <c:dPt>
            <c:idx val="1510"/>
            <c:invertIfNegative val="1"/>
            <c:bubble3D val="0"/>
            <c:spPr>
              <a:solidFill>
                <a:srgbClr val="AEABAB"/>
              </a:solidFill>
            </c:spPr>
            <c:extLst>
              <c:ext xmlns:c16="http://schemas.microsoft.com/office/drawing/2014/chart" uri="{C3380CC4-5D6E-409C-BE32-E72D297353CC}">
                <c16:uniqueId val="{00000BCF-C623-4FBE-8EDB-4AD12F618AAD}"/>
              </c:ext>
            </c:extLst>
          </c:dPt>
          <c:dPt>
            <c:idx val="1511"/>
            <c:invertIfNegative val="1"/>
            <c:bubble3D val="0"/>
            <c:spPr>
              <a:solidFill>
                <a:srgbClr val="AEABAB"/>
              </a:solidFill>
            </c:spPr>
            <c:extLst>
              <c:ext xmlns:c16="http://schemas.microsoft.com/office/drawing/2014/chart" uri="{C3380CC4-5D6E-409C-BE32-E72D297353CC}">
                <c16:uniqueId val="{00000BD1-C623-4FBE-8EDB-4AD12F618AAD}"/>
              </c:ext>
            </c:extLst>
          </c:dPt>
          <c:dPt>
            <c:idx val="1512"/>
            <c:invertIfNegative val="1"/>
            <c:bubble3D val="0"/>
            <c:spPr>
              <a:solidFill>
                <a:srgbClr val="AEABAB"/>
              </a:solidFill>
            </c:spPr>
            <c:extLst>
              <c:ext xmlns:c16="http://schemas.microsoft.com/office/drawing/2014/chart" uri="{C3380CC4-5D6E-409C-BE32-E72D297353CC}">
                <c16:uniqueId val="{00000BD3-C623-4FBE-8EDB-4AD12F618AAD}"/>
              </c:ext>
            </c:extLst>
          </c:dPt>
          <c:dPt>
            <c:idx val="1513"/>
            <c:invertIfNegative val="1"/>
            <c:bubble3D val="0"/>
            <c:spPr>
              <a:solidFill>
                <a:srgbClr val="AEABAB"/>
              </a:solidFill>
            </c:spPr>
            <c:extLst>
              <c:ext xmlns:c16="http://schemas.microsoft.com/office/drawing/2014/chart" uri="{C3380CC4-5D6E-409C-BE32-E72D297353CC}">
                <c16:uniqueId val="{00000BD5-C623-4FBE-8EDB-4AD12F618AAD}"/>
              </c:ext>
            </c:extLst>
          </c:dPt>
          <c:dPt>
            <c:idx val="1514"/>
            <c:invertIfNegative val="1"/>
            <c:bubble3D val="0"/>
            <c:spPr>
              <a:solidFill>
                <a:srgbClr val="AEABAB"/>
              </a:solidFill>
            </c:spPr>
            <c:extLst>
              <c:ext xmlns:c16="http://schemas.microsoft.com/office/drawing/2014/chart" uri="{C3380CC4-5D6E-409C-BE32-E72D297353CC}">
                <c16:uniqueId val="{00000BD7-C623-4FBE-8EDB-4AD12F618AAD}"/>
              </c:ext>
            </c:extLst>
          </c:dPt>
          <c:dPt>
            <c:idx val="1515"/>
            <c:invertIfNegative val="1"/>
            <c:bubble3D val="0"/>
            <c:spPr>
              <a:solidFill>
                <a:srgbClr val="AEABAB"/>
              </a:solidFill>
            </c:spPr>
            <c:extLst>
              <c:ext xmlns:c16="http://schemas.microsoft.com/office/drawing/2014/chart" uri="{C3380CC4-5D6E-409C-BE32-E72D297353CC}">
                <c16:uniqueId val="{00000BD9-C623-4FBE-8EDB-4AD12F618AAD}"/>
              </c:ext>
            </c:extLst>
          </c:dPt>
          <c:dPt>
            <c:idx val="1516"/>
            <c:invertIfNegative val="1"/>
            <c:bubble3D val="0"/>
            <c:spPr>
              <a:solidFill>
                <a:srgbClr val="AEABAB"/>
              </a:solidFill>
            </c:spPr>
            <c:extLst>
              <c:ext xmlns:c16="http://schemas.microsoft.com/office/drawing/2014/chart" uri="{C3380CC4-5D6E-409C-BE32-E72D297353CC}">
                <c16:uniqueId val="{00000BDB-C623-4FBE-8EDB-4AD12F618AAD}"/>
              </c:ext>
            </c:extLst>
          </c:dPt>
          <c:dPt>
            <c:idx val="1517"/>
            <c:invertIfNegative val="1"/>
            <c:bubble3D val="0"/>
            <c:spPr>
              <a:solidFill>
                <a:srgbClr val="AEABAB"/>
              </a:solidFill>
            </c:spPr>
            <c:extLst>
              <c:ext xmlns:c16="http://schemas.microsoft.com/office/drawing/2014/chart" uri="{C3380CC4-5D6E-409C-BE32-E72D297353CC}">
                <c16:uniqueId val="{00000BDD-C623-4FBE-8EDB-4AD12F618AAD}"/>
              </c:ext>
            </c:extLst>
          </c:dPt>
          <c:dPt>
            <c:idx val="1518"/>
            <c:invertIfNegative val="1"/>
            <c:bubble3D val="0"/>
            <c:spPr>
              <a:solidFill>
                <a:srgbClr val="AEABAB"/>
              </a:solidFill>
            </c:spPr>
            <c:extLst>
              <c:ext xmlns:c16="http://schemas.microsoft.com/office/drawing/2014/chart" uri="{C3380CC4-5D6E-409C-BE32-E72D297353CC}">
                <c16:uniqueId val="{00000BDF-C623-4FBE-8EDB-4AD12F618AAD}"/>
              </c:ext>
            </c:extLst>
          </c:dPt>
          <c:dPt>
            <c:idx val="1519"/>
            <c:invertIfNegative val="1"/>
            <c:bubble3D val="0"/>
            <c:spPr>
              <a:solidFill>
                <a:srgbClr val="AEABAB"/>
              </a:solidFill>
            </c:spPr>
            <c:extLst>
              <c:ext xmlns:c16="http://schemas.microsoft.com/office/drawing/2014/chart" uri="{C3380CC4-5D6E-409C-BE32-E72D297353CC}">
                <c16:uniqueId val="{00000BE1-C623-4FBE-8EDB-4AD12F618AAD}"/>
              </c:ext>
            </c:extLst>
          </c:dPt>
          <c:dPt>
            <c:idx val="1520"/>
            <c:invertIfNegative val="1"/>
            <c:bubble3D val="0"/>
            <c:spPr>
              <a:solidFill>
                <a:srgbClr val="AEABAB"/>
              </a:solidFill>
            </c:spPr>
            <c:extLst>
              <c:ext xmlns:c16="http://schemas.microsoft.com/office/drawing/2014/chart" uri="{C3380CC4-5D6E-409C-BE32-E72D297353CC}">
                <c16:uniqueId val="{00000BE3-C623-4FBE-8EDB-4AD12F618AAD}"/>
              </c:ext>
            </c:extLst>
          </c:dPt>
          <c:dPt>
            <c:idx val="1521"/>
            <c:invertIfNegative val="1"/>
            <c:bubble3D val="0"/>
            <c:spPr>
              <a:solidFill>
                <a:srgbClr val="AEABAB"/>
              </a:solidFill>
            </c:spPr>
            <c:extLst>
              <c:ext xmlns:c16="http://schemas.microsoft.com/office/drawing/2014/chart" uri="{C3380CC4-5D6E-409C-BE32-E72D297353CC}">
                <c16:uniqueId val="{00000BE5-C623-4FBE-8EDB-4AD12F618AAD}"/>
              </c:ext>
            </c:extLst>
          </c:dPt>
          <c:dPt>
            <c:idx val="1522"/>
            <c:invertIfNegative val="1"/>
            <c:bubble3D val="0"/>
            <c:spPr>
              <a:solidFill>
                <a:srgbClr val="AEABAB"/>
              </a:solidFill>
            </c:spPr>
            <c:extLst>
              <c:ext xmlns:c16="http://schemas.microsoft.com/office/drawing/2014/chart" uri="{C3380CC4-5D6E-409C-BE32-E72D297353CC}">
                <c16:uniqueId val="{00000BE7-C623-4FBE-8EDB-4AD12F618AAD}"/>
              </c:ext>
            </c:extLst>
          </c:dPt>
          <c:dPt>
            <c:idx val="1523"/>
            <c:invertIfNegative val="1"/>
            <c:bubble3D val="0"/>
            <c:spPr>
              <a:solidFill>
                <a:srgbClr val="AEABAB"/>
              </a:solidFill>
            </c:spPr>
            <c:extLst>
              <c:ext xmlns:c16="http://schemas.microsoft.com/office/drawing/2014/chart" uri="{C3380CC4-5D6E-409C-BE32-E72D297353CC}">
                <c16:uniqueId val="{00000BE9-C623-4FBE-8EDB-4AD12F618AAD}"/>
              </c:ext>
            </c:extLst>
          </c:dPt>
          <c:dPt>
            <c:idx val="1524"/>
            <c:invertIfNegative val="1"/>
            <c:bubble3D val="0"/>
            <c:spPr>
              <a:solidFill>
                <a:srgbClr val="AEABAB"/>
              </a:solidFill>
            </c:spPr>
            <c:extLst>
              <c:ext xmlns:c16="http://schemas.microsoft.com/office/drawing/2014/chart" uri="{C3380CC4-5D6E-409C-BE32-E72D297353CC}">
                <c16:uniqueId val="{00000BEB-C623-4FBE-8EDB-4AD12F618AAD}"/>
              </c:ext>
            </c:extLst>
          </c:dPt>
          <c:dPt>
            <c:idx val="1525"/>
            <c:invertIfNegative val="1"/>
            <c:bubble3D val="0"/>
            <c:spPr>
              <a:solidFill>
                <a:srgbClr val="AEABAB"/>
              </a:solidFill>
            </c:spPr>
            <c:extLst>
              <c:ext xmlns:c16="http://schemas.microsoft.com/office/drawing/2014/chart" uri="{C3380CC4-5D6E-409C-BE32-E72D297353CC}">
                <c16:uniqueId val="{00000BED-C623-4FBE-8EDB-4AD12F618AAD}"/>
              </c:ext>
            </c:extLst>
          </c:dPt>
          <c:dPt>
            <c:idx val="1526"/>
            <c:invertIfNegative val="1"/>
            <c:bubble3D val="0"/>
            <c:spPr>
              <a:solidFill>
                <a:srgbClr val="AEABAB"/>
              </a:solidFill>
            </c:spPr>
            <c:extLst>
              <c:ext xmlns:c16="http://schemas.microsoft.com/office/drawing/2014/chart" uri="{C3380CC4-5D6E-409C-BE32-E72D297353CC}">
                <c16:uniqueId val="{00000BEF-C623-4FBE-8EDB-4AD12F618AAD}"/>
              </c:ext>
            </c:extLst>
          </c:dPt>
          <c:dPt>
            <c:idx val="1527"/>
            <c:invertIfNegative val="1"/>
            <c:bubble3D val="0"/>
            <c:spPr>
              <a:solidFill>
                <a:srgbClr val="AEABAB"/>
              </a:solidFill>
            </c:spPr>
            <c:extLst>
              <c:ext xmlns:c16="http://schemas.microsoft.com/office/drawing/2014/chart" uri="{C3380CC4-5D6E-409C-BE32-E72D297353CC}">
                <c16:uniqueId val="{00000BF1-C623-4FBE-8EDB-4AD12F618AAD}"/>
              </c:ext>
            </c:extLst>
          </c:dPt>
          <c:dPt>
            <c:idx val="1528"/>
            <c:invertIfNegative val="1"/>
            <c:bubble3D val="0"/>
            <c:spPr>
              <a:solidFill>
                <a:srgbClr val="AEABAB"/>
              </a:solidFill>
            </c:spPr>
            <c:extLst>
              <c:ext xmlns:c16="http://schemas.microsoft.com/office/drawing/2014/chart" uri="{C3380CC4-5D6E-409C-BE32-E72D297353CC}">
                <c16:uniqueId val="{00000BF3-C623-4FBE-8EDB-4AD12F618AAD}"/>
              </c:ext>
            </c:extLst>
          </c:dPt>
          <c:dPt>
            <c:idx val="1529"/>
            <c:invertIfNegative val="1"/>
            <c:bubble3D val="0"/>
            <c:spPr>
              <a:solidFill>
                <a:srgbClr val="AEABAB"/>
              </a:solidFill>
            </c:spPr>
            <c:extLst>
              <c:ext xmlns:c16="http://schemas.microsoft.com/office/drawing/2014/chart" uri="{C3380CC4-5D6E-409C-BE32-E72D297353CC}">
                <c16:uniqueId val="{00000BF5-C623-4FBE-8EDB-4AD12F618AAD}"/>
              </c:ext>
            </c:extLst>
          </c:dPt>
          <c:dPt>
            <c:idx val="1530"/>
            <c:invertIfNegative val="1"/>
            <c:bubble3D val="0"/>
            <c:spPr>
              <a:solidFill>
                <a:srgbClr val="AEABAB"/>
              </a:solidFill>
            </c:spPr>
            <c:extLst>
              <c:ext xmlns:c16="http://schemas.microsoft.com/office/drawing/2014/chart" uri="{C3380CC4-5D6E-409C-BE32-E72D297353CC}">
                <c16:uniqueId val="{00000BF7-C623-4FBE-8EDB-4AD12F618AAD}"/>
              </c:ext>
            </c:extLst>
          </c:dPt>
          <c:dPt>
            <c:idx val="1531"/>
            <c:invertIfNegative val="1"/>
            <c:bubble3D val="0"/>
            <c:spPr>
              <a:solidFill>
                <a:srgbClr val="AEABAB"/>
              </a:solidFill>
            </c:spPr>
            <c:extLst>
              <c:ext xmlns:c16="http://schemas.microsoft.com/office/drawing/2014/chart" uri="{C3380CC4-5D6E-409C-BE32-E72D297353CC}">
                <c16:uniqueId val="{00000BF9-C623-4FBE-8EDB-4AD12F618AAD}"/>
              </c:ext>
            </c:extLst>
          </c:dPt>
          <c:dPt>
            <c:idx val="1532"/>
            <c:invertIfNegative val="1"/>
            <c:bubble3D val="0"/>
            <c:spPr>
              <a:solidFill>
                <a:srgbClr val="AEABAB"/>
              </a:solidFill>
            </c:spPr>
            <c:extLst>
              <c:ext xmlns:c16="http://schemas.microsoft.com/office/drawing/2014/chart" uri="{C3380CC4-5D6E-409C-BE32-E72D297353CC}">
                <c16:uniqueId val="{00000BFB-C623-4FBE-8EDB-4AD12F618AAD}"/>
              </c:ext>
            </c:extLst>
          </c:dPt>
          <c:dPt>
            <c:idx val="1533"/>
            <c:invertIfNegative val="1"/>
            <c:bubble3D val="0"/>
            <c:spPr>
              <a:solidFill>
                <a:srgbClr val="AEABAB"/>
              </a:solidFill>
            </c:spPr>
            <c:extLst>
              <c:ext xmlns:c16="http://schemas.microsoft.com/office/drawing/2014/chart" uri="{C3380CC4-5D6E-409C-BE32-E72D297353CC}">
                <c16:uniqueId val="{00000BFD-C623-4FBE-8EDB-4AD12F618AAD}"/>
              </c:ext>
            </c:extLst>
          </c:dPt>
          <c:dPt>
            <c:idx val="1534"/>
            <c:invertIfNegative val="1"/>
            <c:bubble3D val="0"/>
            <c:spPr>
              <a:solidFill>
                <a:srgbClr val="AEABAB"/>
              </a:solidFill>
            </c:spPr>
            <c:extLst>
              <c:ext xmlns:c16="http://schemas.microsoft.com/office/drawing/2014/chart" uri="{C3380CC4-5D6E-409C-BE32-E72D297353CC}">
                <c16:uniqueId val="{00000BFF-C623-4FBE-8EDB-4AD12F618AAD}"/>
              </c:ext>
            </c:extLst>
          </c:dPt>
          <c:dPt>
            <c:idx val="1535"/>
            <c:invertIfNegative val="1"/>
            <c:bubble3D val="0"/>
            <c:spPr>
              <a:solidFill>
                <a:srgbClr val="AEABAB"/>
              </a:solidFill>
            </c:spPr>
            <c:extLst>
              <c:ext xmlns:c16="http://schemas.microsoft.com/office/drawing/2014/chart" uri="{C3380CC4-5D6E-409C-BE32-E72D297353CC}">
                <c16:uniqueId val="{00000C01-C623-4FBE-8EDB-4AD12F618AAD}"/>
              </c:ext>
            </c:extLst>
          </c:dPt>
          <c:dPt>
            <c:idx val="1536"/>
            <c:invertIfNegative val="1"/>
            <c:bubble3D val="0"/>
            <c:spPr>
              <a:solidFill>
                <a:srgbClr val="AEABAB"/>
              </a:solidFill>
            </c:spPr>
            <c:extLst>
              <c:ext xmlns:c16="http://schemas.microsoft.com/office/drawing/2014/chart" uri="{C3380CC4-5D6E-409C-BE32-E72D297353CC}">
                <c16:uniqueId val="{00000C03-C623-4FBE-8EDB-4AD12F618AAD}"/>
              </c:ext>
            </c:extLst>
          </c:dPt>
          <c:dPt>
            <c:idx val="1537"/>
            <c:invertIfNegative val="1"/>
            <c:bubble3D val="0"/>
            <c:spPr>
              <a:solidFill>
                <a:srgbClr val="AEABAB"/>
              </a:solidFill>
            </c:spPr>
            <c:extLst>
              <c:ext xmlns:c16="http://schemas.microsoft.com/office/drawing/2014/chart" uri="{C3380CC4-5D6E-409C-BE32-E72D297353CC}">
                <c16:uniqueId val="{00000C05-C623-4FBE-8EDB-4AD12F618AAD}"/>
              </c:ext>
            </c:extLst>
          </c:dPt>
          <c:dPt>
            <c:idx val="1538"/>
            <c:invertIfNegative val="1"/>
            <c:bubble3D val="0"/>
            <c:spPr>
              <a:solidFill>
                <a:srgbClr val="AEABAB"/>
              </a:solidFill>
            </c:spPr>
            <c:extLst>
              <c:ext xmlns:c16="http://schemas.microsoft.com/office/drawing/2014/chart" uri="{C3380CC4-5D6E-409C-BE32-E72D297353CC}">
                <c16:uniqueId val="{00000C07-C623-4FBE-8EDB-4AD12F618AAD}"/>
              </c:ext>
            </c:extLst>
          </c:dPt>
          <c:dPt>
            <c:idx val="1539"/>
            <c:invertIfNegative val="1"/>
            <c:bubble3D val="0"/>
            <c:spPr>
              <a:solidFill>
                <a:srgbClr val="AEABAB"/>
              </a:solidFill>
            </c:spPr>
            <c:extLst>
              <c:ext xmlns:c16="http://schemas.microsoft.com/office/drawing/2014/chart" uri="{C3380CC4-5D6E-409C-BE32-E72D297353CC}">
                <c16:uniqueId val="{00000C09-C623-4FBE-8EDB-4AD12F618AAD}"/>
              </c:ext>
            </c:extLst>
          </c:dPt>
          <c:dPt>
            <c:idx val="1540"/>
            <c:invertIfNegative val="1"/>
            <c:bubble3D val="0"/>
            <c:spPr>
              <a:solidFill>
                <a:srgbClr val="AEABAB"/>
              </a:solidFill>
            </c:spPr>
            <c:extLst>
              <c:ext xmlns:c16="http://schemas.microsoft.com/office/drawing/2014/chart" uri="{C3380CC4-5D6E-409C-BE32-E72D297353CC}">
                <c16:uniqueId val="{00000C0B-C623-4FBE-8EDB-4AD12F618AAD}"/>
              </c:ext>
            </c:extLst>
          </c:dPt>
          <c:dPt>
            <c:idx val="1541"/>
            <c:invertIfNegative val="1"/>
            <c:bubble3D val="0"/>
            <c:spPr>
              <a:solidFill>
                <a:srgbClr val="AEABAB"/>
              </a:solidFill>
            </c:spPr>
            <c:extLst>
              <c:ext xmlns:c16="http://schemas.microsoft.com/office/drawing/2014/chart" uri="{C3380CC4-5D6E-409C-BE32-E72D297353CC}">
                <c16:uniqueId val="{00000C0D-C623-4FBE-8EDB-4AD12F618AAD}"/>
              </c:ext>
            </c:extLst>
          </c:dPt>
          <c:dPt>
            <c:idx val="1542"/>
            <c:invertIfNegative val="1"/>
            <c:bubble3D val="0"/>
            <c:spPr>
              <a:solidFill>
                <a:srgbClr val="AEABAB"/>
              </a:solidFill>
            </c:spPr>
            <c:extLst>
              <c:ext xmlns:c16="http://schemas.microsoft.com/office/drawing/2014/chart" uri="{C3380CC4-5D6E-409C-BE32-E72D297353CC}">
                <c16:uniqueId val="{00000C0F-C623-4FBE-8EDB-4AD12F618AAD}"/>
              </c:ext>
            </c:extLst>
          </c:dPt>
          <c:dPt>
            <c:idx val="1543"/>
            <c:invertIfNegative val="1"/>
            <c:bubble3D val="0"/>
            <c:spPr>
              <a:solidFill>
                <a:srgbClr val="AEABAB"/>
              </a:solidFill>
            </c:spPr>
            <c:extLst>
              <c:ext xmlns:c16="http://schemas.microsoft.com/office/drawing/2014/chart" uri="{C3380CC4-5D6E-409C-BE32-E72D297353CC}">
                <c16:uniqueId val="{00000C11-C623-4FBE-8EDB-4AD12F618AAD}"/>
              </c:ext>
            </c:extLst>
          </c:dPt>
          <c:dPt>
            <c:idx val="1544"/>
            <c:invertIfNegative val="1"/>
            <c:bubble3D val="0"/>
            <c:spPr>
              <a:solidFill>
                <a:srgbClr val="AEABAB"/>
              </a:solidFill>
            </c:spPr>
            <c:extLst>
              <c:ext xmlns:c16="http://schemas.microsoft.com/office/drawing/2014/chart" uri="{C3380CC4-5D6E-409C-BE32-E72D297353CC}">
                <c16:uniqueId val="{00000C13-C623-4FBE-8EDB-4AD12F618AAD}"/>
              </c:ext>
            </c:extLst>
          </c:dPt>
          <c:dPt>
            <c:idx val="1545"/>
            <c:invertIfNegative val="1"/>
            <c:bubble3D val="0"/>
            <c:spPr>
              <a:solidFill>
                <a:srgbClr val="AEABAB"/>
              </a:solidFill>
            </c:spPr>
            <c:extLst>
              <c:ext xmlns:c16="http://schemas.microsoft.com/office/drawing/2014/chart" uri="{C3380CC4-5D6E-409C-BE32-E72D297353CC}">
                <c16:uniqueId val="{00000C15-C623-4FBE-8EDB-4AD12F618AAD}"/>
              </c:ext>
            </c:extLst>
          </c:dPt>
          <c:dPt>
            <c:idx val="1546"/>
            <c:invertIfNegative val="1"/>
            <c:bubble3D val="0"/>
            <c:spPr>
              <a:solidFill>
                <a:srgbClr val="AEABAB"/>
              </a:solidFill>
            </c:spPr>
            <c:extLst>
              <c:ext xmlns:c16="http://schemas.microsoft.com/office/drawing/2014/chart" uri="{C3380CC4-5D6E-409C-BE32-E72D297353CC}">
                <c16:uniqueId val="{00000C17-C623-4FBE-8EDB-4AD12F618AAD}"/>
              </c:ext>
            </c:extLst>
          </c:dPt>
          <c:dPt>
            <c:idx val="1547"/>
            <c:invertIfNegative val="1"/>
            <c:bubble3D val="0"/>
            <c:spPr>
              <a:solidFill>
                <a:srgbClr val="AEABAB"/>
              </a:solidFill>
            </c:spPr>
            <c:extLst>
              <c:ext xmlns:c16="http://schemas.microsoft.com/office/drawing/2014/chart" uri="{C3380CC4-5D6E-409C-BE32-E72D297353CC}">
                <c16:uniqueId val="{00000C19-C623-4FBE-8EDB-4AD12F618AAD}"/>
              </c:ext>
            </c:extLst>
          </c:dPt>
          <c:dPt>
            <c:idx val="1548"/>
            <c:invertIfNegative val="1"/>
            <c:bubble3D val="0"/>
            <c:spPr>
              <a:solidFill>
                <a:srgbClr val="AEABAB"/>
              </a:solidFill>
            </c:spPr>
            <c:extLst>
              <c:ext xmlns:c16="http://schemas.microsoft.com/office/drawing/2014/chart" uri="{C3380CC4-5D6E-409C-BE32-E72D297353CC}">
                <c16:uniqueId val="{00000C1B-C623-4FBE-8EDB-4AD12F618AAD}"/>
              </c:ext>
            </c:extLst>
          </c:dPt>
          <c:dPt>
            <c:idx val="1549"/>
            <c:invertIfNegative val="1"/>
            <c:bubble3D val="0"/>
            <c:spPr>
              <a:solidFill>
                <a:srgbClr val="AEABAB"/>
              </a:solidFill>
            </c:spPr>
            <c:extLst>
              <c:ext xmlns:c16="http://schemas.microsoft.com/office/drawing/2014/chart" uri="{C3380CC4-5D6E-409C-BE32-E72D297353CC}">
                <c16:uniqueId val="{00000C1D-C623-4FBE-8EDB-4AD12F618AAD}"/>
              </c:ext>
            </c:extLst>
          </c:dPt>
          <c:dPt>
            <c:idx val="1550"/>
            <c:invertIfNegative val="1"/>
            <c:bubble3D val="0"/>
            <c:spPr>
              <a:solidFill>
                <a:srgbClr val="AEABAB"/>
              </a:solidFill>
            </c:spPr>
            <c:extLst>
              <c:ext xmlns:c16="http://schemas.microsoft.com/office/drawing/2014/chart" uri="{C3380CC4-5D6E-409C-BE32-E72D297353CC}">
                <c16:uniqueId val="{00000C1F-C623-4FBE-8EDB-4AD12F618AAD}"/>
              </c:ext>
            </c:extLst>
          </c:dPt>
          <c:dPt>
            <c:idx val="1551"/>
            <c:invertIfNegative val="1"/>
            <c:bubble3D val="0"/>
            <c:spPr>
              <a:solidFill>
                <a:srgbClr val="AEABAB"/>
              </a:solidFill>
            </c:spPr>
            <c:extLst>
              <c:ext xmlns:c16="http://schemas.microsoft.com/office/drawing/2014/chart" uri="{C3380CC4-5D6E-409C-BE32-E72D297353CC}">
                <c16:uniqueId val="{00000C21-C623-4FBE-8EDB-4AD12F618AAD}"/>
              </c:ext>
            </c:extLst>
          </c:dPt>
          <c:dPt>
            <c:idx val="1552"/>
            <c:invertIfNegative val="1"/>
            <c:bubble3D val="0"/>
            <c:spPr>
              <a:solidFill>
                <a:srgbClr val="AEABAB"/>
              </a:solidFill>
            </c:spPr>
            <c:extLst>
              <c:ext xmlns:c16="http://schemas.microsoft.com/office/drawing/2014/chart" uri="{C3380CC4-5D6E-409C-BE32-E72D297353CC}">
                <c16:uniqueId val="{00000C23-C623-4FBE-8EDB-4AD12F618AAD}"/>
              </c:ext>
            </c:extLst>
          </c:dPt>
          <c:dPt>
            <c:idx val="1553"/>
            <c:invertIfNegative val="1"/>
            <c:bubble3D val="0"/>
            <c:spPr>
              <a:solidFill>
                <a:srgbClr val="AEABAB"/>
              </a:solidFill>
            </c:spPr>
            <c:extLst>
              <c:ext xmlns:c16="http://schemas.microsoft.com/office/drawing/2014/chart" uri="{C3380CC4-5D6E-409C-BE32-E72D297353CC}">
                <c16:uniqueId val="{00000C25-C623-4FBE-8EDB-4AD12F618AAD}"/>
              </c:ext>
            </c:extLst>
          </c:dPt>
          <c:dPt>
            <c:idx val="1554"/>
            <c:invertIfNegative val="1"/>
            <c:bubble3D val="0"/>
            <c:spPr>
              <a:solidFill>
                <a:srgbClr val="AEABAB"/>
              </a:solidFill>
            </c:spPr>
            <c:extLst>
              <c:ext xmlns:c16="http://schemas.microsoft.com/office/drawing/2014/chart" uri="{C3380CC4-5D6E-409C-BE32-E72D297353CC}">
                <c16:uniqueId val="{00000C27-C623-4FBE-8EDB-4AD12F618AAD}"/>
              </c:ext>
            </c:extLst>
          </c:dPt>
          <c:dPt>
            <c:idx val="1555"/>
            <c:invertIfNegative val="1"/>
            <c:bubble3D val="0"/>
            <c:spPr>
              <a:solidFill>
                <a:srgbClr val="AEABAB"/>
              </a:solidFill>
            </c:spPr>
            <c:extLst>
              <c:ext xmlns:c16="http://schemas.microsoft.com/office/drawing/2014/chart" uri="{C3380CC4-5D6E-409C-BE32-E72D297353CC}">
                <c16:uniqueId val="{00000C29-C623-4FBE-8EDB-4AD12F618AAD}"/>
              </c:ext>
            </c:extLst>
          </c:dPt>
          <c:dPt>
            <c:idx val="1556"/>
            <c:invertIfNegative val="1"/>
            <c:bubble3D val="0"/>
            <c:spPr>
              <a:solidFill>
                <a:srgbClr val="AEABAB"/>
              </a:solidFill>
            </c:spPr>
            <c:extLst>
              <c:ext xmlns:c16="http://schemas.microsoft.com/office/drawing/2014/chart" uri="{C3380CC4-5D6E-409C-BE32-E72D297353CC}">
                <c16:uniqueId val="{00000C2B-C623-4FBE-8EDB-4AD12F618AAD}"/>
              </c:ext>
            </c:extLst>
          </c:dPt>
          <c:dPt>
            <c:idx val="1557"/>
            <c:invertIfNegative val="1"/>
            <c:bubble3D val="0"/>
            <c:spPr>
              <a:solidFill>
                <a:srgbClr val="AEABAB"/>
              </a:solidFill>
            </c:spPr>
            <c:extLst>
              <c:ext xmlns:c16="http://schemas.microsoft.com/office/drawing/2014/chart" uri="{C3380CC4-5D6E-409C-BE32-E72D297353CC}">
                <c16:uniqueId val="{00000C2D-C623-4FBE-8EDB-4AD12F618AAD}"/>
              </c:ext>
            </c:extLst>
          </c:dPt>
          <c:dPt>
            <c:idx val="1558"/>
            <c:invertIfNegative val="1"/>
            <c:bubble3D val="0"/>
            <c:spPr>
              <a:solidFill>
                <a:srgbClr val="AEABAB"/>
              </a:solidFill>
            </c:spPr>
            <c:extLst>
              <c:ext xmlns:c16="http://schemas.microsoft.com/office/drawing/2014/chart" uri="{C3380CC4-5D6E-409C-BE32-E72D297353CC}">
                <c16:uniqueId val="{00000C2F-C623-4FBE-8EDB-4AD12F618AAD}"/>
              </c:ext>
            </c:extLst>
          </c:dPt>
          <c:dPt>
            <c:idx val="1559"/>
            <c:invertIfNegative val="1"/>
            <c:bubble3D val="0"/>
            <c:spPr>
              <a:solidFill>
                <a:srgbClr val="AEABAB"/>
              </a:solidFill>
            </c:spPr>
            <c:extLst>
              <c:ext xmlns:c16="http://schemas.microsoft.com/office/drawing/2014/chart" uri="{C3380CC4-5D6E-409C-BE32-E72D297353CC}">
                <c16:uniqueId val="{00000C31-C623-4FBE-8EDB-4AD12F618AAD}"/>
              </c:ext>
            </c:extLst>
          </c:dPt>
          <c:dPt>
            <c:idx val="1560"/>
            <c:invertIfNegative val="1"/>
            <c:bubble3D val="0"/>
            <c:spPr>
              <a:solidFill>
                <a:srgbClr val="AEABAB"/>
              </a:solidFill>
            </c:spPr>
            <c:extLst>
              <c:ext xmlns:c16="http://schemas.microsoft.com/office/drawing/2014/chart" uri="{C3380CC4-5D6E-409C-BE32-E72D297353CC}">
                <c16:uniqueId val="{00000C33-C623-4FBE-8EDB-4AD12F618AAD}"/>
              </c:ext>
            </c:extLst>
          </c:dPt>
          <c:dPt>
            <c:idx val="1561"/>
            <c:invertIfNegative val="1"/>
            <c:bubble3D val="0"/>
            <c:spPr>
              <a:solidFill>
                <a:srgbClr val="AEABAB"/>
              </a:solidFill>
            </c:spPr>
            <c:extLst>
              <c:ext xmlns:c16="http://schemas.microsoft.com/office/drawing/2014/chart" uri="{C3380CC4-5D6E-409C-BE32-E72D297353CC}">
                <c16:uniqueId val="{00000C35-C623-4FBE-8EDB-4AD12F618AAD}"/>
              </c:ext>
            </c:extLst>
          </c:dPt>
          <c:dPt>
            <c:idx val="1562"/>
            <c:invertIfNegative val="1"/>
            <c:bubble3D val="0"/>
            <c:spPr>
              <a:solidFill>
                <a:srgbClr val="AEABAB"/>
              </a:solidFill>
            </c:spPr>
            <c:extLst>
              <c:ext xmlns:c16="http://schemas.microsoft.com/office/drawing/2014/chart" uri="{C3380CC4-5D6E-409C-BE32-E72D297353CC}">
                <c16:uniqueId val="{00000C37-C623-4FBE-8EDB-4AD12F618AAD}"/>
              </c:ext>
            </c:extLst>
          </c:dPt>
          <c:dPt>
            <c:idx val="1563"/>
            <c:invertIfNegative val="1"/>
            <c:bubble3D val="0"/>
            <c:spPr>
              <a:solidFill>
                <a:srgbClr val="AEABAB"/>
              </a:solidFill>
            </c:spPr>
            <c:extLst>
              <c:ext xmlns:c16="http://schemas.microsoft.com/office/drawing/2014/chart" uri="{C3380CC4-5D6E-409C-BE32-E72D297353CC}">
                <c16:uniqueId val="{00000C39-C623-4FBE-8EDB-4AD12F618AAD}"/>
              </c:ext>
            </c:extLst>
          </c:dPt>
          <c:dPt>
            <c:idx val="1564"/>
            <c:invertIfNegative val="1"/>
            <c:bubble3D val="0"/>
            <c:spPr>
              <a:solidFill>
                <a:srgbClr val="AEABAB"/>
              </a:solidFill>
            </c:spPr>
            <c:extLst>
              <c:ext xmlns:c16="http://schemas.microsoft.com/office/drawing/2014/chart" uri="{C3380CC4-5D6E-409C-BE32-E72D297353CC}">
                <c16:uniqueId val="{00000C3B-C623-4FBE-8EDB-4AD12F618AAD}"/>
              </c:ext>
            </c:extLst>
          </c:dPt>
          <c:dPt>
            <c:idx val="1565"/>
            <c:invertIfNegative val="1"/>
            <c:bubble3D val="0"/>
            <c:spPr>
              <a:solidFill>
                <a:srgbClr val="AEABAB"/>
              </a:solidFill>
            </c:spPr>
            <c:extLst>
              <c:ext xmlns:c16="http://schemas.microsoft.com/office/drawing/2014/chart" uri="{C3380CC4-5D6E-409C-BE32-E72D297353CC}">
                <c16:uniqueId val="{00000C3D-C623-4FBE-8EDB-4AD12F618AAD}"/>
              </c:ext>
            </c:extLst>
          </c:dPt>
          <c:dPt>
            <c:idx val="1566"/>
            <c:invertIfNegative val="1"/>
            <c:bubble3D val="0"/>
            <c:spPr>
              <a:solidFill>
                <a:srgbClr val="AEABAB"/>
              </a:solidFill>
            </c:spPr>
            <c:extLst>
              <c:ext xmlns:c16="http://schemas.microsoft.com/office/drawing/2014/chart" uri="{C3380CC4-5D6E-409C-BE32-E72D297353CC}">
                <c16:uniqueId val="{00000C3F-C623-4FBE-8EDB-4AD12F618AAD}"/>
              </c:ext>
            </c:extLst>
          </c:dPt>
          <c:dPt>
            <c:idx val="1567"/>
            <c:invertIfNegative val="1"/>
            <c:bubble3D val="0"/>
            <c:spPr>
              <a:solidFill>
                <a:srgbClr val="AEABAB"/>
              </a:solidFill>
            </c:spPr>
            <c:extLst>
              <c:ext xmlns:c16="http://schemas.microsoft.com/office/drawing/2014/chart" uri="{C3380CC4-5D6E-409C-BE32-E72D297353CC}">
                <c16:uniqueId val="{00000C41-C623-4FBE-8EDB-4AD12F618AAD}"/>
              </c:ext>
            </c:extLst>
          </c:dPt>
          <c:dPt>
            <c:idx val="1568"/>
            <c:invertIfNegative val="1"/>
            <c:bubble3D val="0"/>
            <c:spPr>
              <a:solidFill>
                <a:srgbClr val="AEABAB"/>
              </a:solidFill>
            </c:spPr>
            <c:extLst>
              <c:ext xmlns:c16="http://schemas.microsoft.com/office/drawing/2014/chart" uri="{C3380CC4-5D6E-409C-BE32-E72D297353CC}">
                <c16:uniqueId val="{00000C43-C623-4FBE-8EDB-4AD12F618AAD}"/>
              </c:ext>
            </c:extLst>
          </c:dPt>
          <c:dPt>
            <c:idx val="1569"/>
            <c:invertIfNegative val="1"/>
            <c:bubble3D val="0"/>
            <c:spPr>
              <a:solidFill>
                <a:srgbClr val="AEABAB"/>
              </a:solidFill>
            </c:spPr>
            <c:extLst>
              <c:ext xmlns:c16="http://schemas.microsoft.com/office/drawing/2014/chart" uri="{C3380CC4-5D6E-409C-BE32-E72D297353CC}">
                <c16:uniqueId val="{00000C45-C623-4FBE-8EDB-4AD12F618AAD}"/>
              </c:ext>
            </c:extLst>
          </c:dPt>
          <c:dPt>
            <c:idx val="1570"/>
            <c:invertIfNegative val="1"/>
            <c:bubble3D val="0"/>
            <c:spPr>
              <a:solidFill>
                <a:srgbClr val="AEABAB"/>
              </a:solidFill>
            </c:spPr>
            <c:extLst>
              <c:ext xmlns:c16="http://schemas.microsoft.com/office/drawing/2014/chart" uri="{C3380CC4-5D6E-409C-BE32-E72D297353CC}">
                <c16:uniqueId val="{00000C47-C623-4FBE-8EDB-4AD12F618AAD}"/>
              </c:ext>
            </c:extLst>
          </c:dPt>
          <c:dPt>
            <c:idx val="1571"/>
            <c:invertIfNegative val="1"/>
            <c:bubble3D val="0"/>
            <c:spPr>
              <a:solidFill>
                <a:srgbClr val="AEABAB"/>
              </a:solidFill>
            </c:spPr>
            <c:extLst>
              <c:ext xmlns:c16="http://schemas.microsoft.com/office/drawing/2014/chart" uri="{C3380CC4-5D6E-409C-BE32-E72D297353CC}">
                <c16:uniqueId val="{00000C49-C623-4FBE-8EDB-4AD12F618AAD}"/>
              </c:ext>
            </c:extLst>
          </c:dPt>
          <c:dPt>
            <c:idx val="1572"/>
            <c:invertIfNegative val="1"/>
            <c:bubble3D val="0"/>
            <c:spPr>
              <a:solidFill>
                <a:srgbClr val="AEABAB"/>
              </a:solidFill>
            </c:spPr>
            <c:extLst>
              <c:ext xmlns:c16="http://schemas.microsoft.com/office/drawing/2014/chart" uri="{C3380CC4-5D6E-409C-BE32-E72D297353CC}">
                <c16:uniqueId val="{00000C4B-C623-4FBE-8EDB-4AD12F618AAD}"/>
              </c:ext>
            </c:extLst>
          </c:dPt>
          <c:dPt>
            <c:idx val="1573"/>
            <c:invertIfNegative val="1"/>
            <c:bubble3D val="0"/>
            <c:spPr>
              <a:solidFill>
                <a:srgbClr val="AEABAB"/>
              </a:solidFill>
            </c:spPr>
            <c:extLst>
              <c:ext xmlns:c16="http://schemas.microsoft.com/office/drawing/2014/chart" uri="{C3380CC4-5D6E-409C-BE32-E72D297353CC}">
                <c16:uniqueId val="{00000C4D-C623-4FBE-8EDB-4AD12F618AAD}"/>
              </c:ext>
            </c:extLst>
          </c:dPt>
          <c:dPt>
            <c:idx val="1574"/>
            <c:invertIfNegative val="1"/>
            <c:bubble3D val="0"/>
            <c:spPr>
              <a:solidFill>
                <a:srgbClr val="AEABAB"/>
              </a:solidFill>
            </c:spPr>
            <c:extLst>
              <c:ext xmlns:c16="http://schemas.microsoft.com/office/drawing/2014/chart" uri="{C3380CC4-5D6E-409C-BE32-E72D297353CC}">
                <c16:uniqueId val="{00000C4F-C623-4FBE-8EDB-4AD12F618AAD}"/>
              </c:ext>
            </c:extLst>
          </c:dPt>
          <c:dPt>
            <c:idx val="1575"/>
            <c:invertIfNegative val="1"/>
            <c:bubble3D val="0"/>
            <c:spPr>
              <a:solidFill>
                <a:srgbClr val="AEABAB"/>
              </a:solidFill>
            </c:spPr>
            <c:extLst>
              <c:ext xmlns:c16="http://schemas.microsoft.com/office/drawing/2014/chart" uri="{C3380CC4-5D6E-409C-BE32-E72D297353CC}">
                <c16:uniqueId val="{00000C51-C623-4FBE-8EDB-4AD12F618AAD}"/>
              </c:ext>
            </c:extLst>
          </c:dPt>
          <c:dPt>
            <c:idx val="1576"/>
            <c:invertIfNegative val="1"/>
            <c:bubble3D val="0"/>
            <c:spPr>
              <a:solidFill>
                <a:srgbClr val="AEABAB"/>
              </a:solidFill>
            </c:spPr>
            <c:extLst>
              <c:ext xmlns:c16="http://schemas.microsoft.com/office/drawing/2014/chart" uri="{C3380CC4-5D6E-409C-BE32-E72D297353CC}">
                <c16:uniqueId val="{00000C53-C623-4FBE-8EDB-4AD12F618AAD}"/>
              </c:ext>
            </c:extLst>
          </c:dPt>
          <c:dPt>
            <c:idx val="1577"/>
            <c:invertIfNegative val="1"/>
            <c:bubble3D val="0"/>
            <c:spPr>
              <a:solidFill>
                <a:srgbClr val="AEABAB"/>
              </a:solidFill>
            </c:spPr>
            <c:extLst>
              <c:ext xmlns:c16="http://schemas.microsoft.com/office/drawing/2014/chart" uri="{C3380CC4-5D6E-409C-BE32-E72D297353CC}">
                <c16:uniqueId val="{00000C55-C623-4FBE-8EDB-4AD12F618AAD}"/>
              </c:ext>
            </c:extLst>
          </c:dPt>
          <c:dPt>
            <c:idx val="1578"/>
            <c:invertIfNegative val="1"/>
            <c:bubble3D val="0"/>
            <c:spPr>
              <a:solidFill>
                <a:srgbClr val="AEABAB"/>
              </a:solidFill>
            </c:spPr>
            <c:extLst>
              <c:ext xmlns:c16="http://schemas.microsoft.com/office/drawing/2014/chart" uri="{C3380CC4-5D6E-409C-BE32-E72D297353CC}">
                <c16:uniqueId val="{00000C57-C623-4FBE-8EDB-4AD12F618AAD}"/>
              </c:ext>
            </c:extLst>
          </c:dPt>
          <c:dPt>
            <c:idx val="1579"/>
            <c:invertIfNegative val="1"/>
            <c:bubble3D val="0"/>
            <c:spPr>
              <a:solidFill>
                <a:srgbClr val="AEABAB"/>
              </a:solidFill>
            </c:spPr>
            <c:extLst>
              <c:ext xmlns:c16="http://schemas.microsoft.com/office/drawing/2014/chart" uri="{C3380CC4-5D6E-409C-BE32-E72D297353CC}">
                <c16:uniqueId val="{00000C59-C623-4FBE-8EDB-4AD12F618AAD}"/>
              </c:ext>
            </c:extLst>
          </c:dPt>
          <c:dPt>
            <c:idx val="1580"/>
            <c:invertIfNegative val="1"/>
            <c:bubble3D val="0"/>
            <c:spPr>
              <a:solidFill>
                <a:srgbClr val="AEABAB"/>
              </a:solidFill>
            </c:spPr>
            <c:extLst>
              <c:ext xmlns:c16="http://schemas.microsoft.com/office/drawing/2014/chart" uri="{C3380CC4-5D6E-409C-BE32-E72D297353CC}">
                <c16:uniqueId val="{00000C5B-C623-4FBE-8EDB-4AD12F618AAD}"/>
              </c:ext>
            </c:extLst>
          </c:dPt>
          <c:dPt>
            <c:idx val="1581"/>
            <c:invertIfNegative val="1"/>
            <c:bubble3D val="0"/>
            <c:spPr>
              <a:solidFill>
                <a:srgbClr val="AEABAB"/>
              </a:solidFill>
            </c:spPr>
            <c:extLst>
              <c:ext xmlns:c16="http://schemas.microsoft.com/office/drawing/2014/chart" uri="{C3380CC4-5D6E-409C-BE32-E72D297353CC}">
                <c16:uniqueId val="{00000C5D-C623-4FBE-8EDB-4AD12F618AAD}"/>
              </c:ext>
            </c:extLst>
          </c:dPt>
          <c:dPt>
            <c:idx val="1582"/>
            <c:invertIfNegative val="1"/>
            <c:bubble3D val="0"/>
            <c:spPr>
              <a:solidFill>
                <a:srgbClr val="AEABAB"/>
              </a:solidFill>
            </c:spPr>
            <c:extLst>
              <c:ext xmlns:c16="http://schemas.microsoft.com/office/drawing/2014/chart" uri="{C3380CC4-5D6E-409C-BE32-E72D297353CC}">
                <c16:uniqueId val="{00000C5F-C623-4FBE-8EDB-4AD12F618AAD}"/>
              </c:ext>
            </c:extLst>
          </c:dPt>
          <c:dPt>
            <c:idx val="1583"/>
            <c:invertIfNegative val="1"/>
            <c:bubble3D val="0"/>
            <c:spPr>
              <a:solidFill>
                <a:srgbClr val="AEABAB"/>
              </a:solidFill>
            </c:spPr>
            <c:extLst>
              <c:ext xmlns:c16="http://schemas.microsoft.com/office/drawing/2014/chart" uri="{C3380CC4-5D6E-409C-BE32-E72D297353CC}">
                <c16:uniqueId val="{00000C61-C623-4FBE-8EDB-4AD12F618AAD}"/>
              </c:ext>
            </c:extLst>
          </c:dPt>
          <c:dPt>
            <c:idx val="1584"/>
            <c:invertIfNegative val="1"/>
            <c:bubble3D val="0"/>
            <c:spPr>
              <a:solidFill>
                <a:srgbClr val="AEABAB"/>
              </a:solidFill>
            </c:spPr>
            <c:extLst>
              <c:ext xmlns:c16="http://schemas.microsoft.com/office/drawing/2014/chart" uri="{C3380CC4-5D6E-409C-BE32-E72D297353CC}">
                <c16:uniqueId val="{00000C63-C623-4FBE-8EDB-4AD12F618AAD}"/>
              </c:ext>
            </c:extLst>
          </c:dPt>
          <c:dPt>
            <c:idx val="1585"/>
            <c:invertIfNegative val="1"/>
            <c:bubble3D val="0"/>
            <c:spPr>
              <a:solidFill>
                <a:srgbClr val="AEABAB"/>
              </a:solidFill>
            </c:spPr>
            <c:extLst>
              <c:ext xmlns:c16="http://schemas.microsoft.com/office/drawing/2014/chart" uri="{C3380CC4-5D6E-409C-BE32-E72D297353CC}">
                <c16:uniqueId val="{00000C65-C623-4FBE-8EDB-4AD12F618AAD}"/>
              </c:ext>
            </c:extLst>
          </c:dPt>
          <c:dPt>
            <c:idx val="1586"/>
            <c:invertIfNegative val="1"/>
            <c:bubble3D val="0"/>
            <c:spPr>
              <a:solidFill>
                <a:srgbClr val="AEABAB"/>
              </a:solidFill>
            </c:spPr>
            <c:extLst>
              <c:ext xmlns:c16="http://schemas.microsoft.com/office/drawing/2014/chart" uri="{C3380CC4-5D6E-409C-BE32-E72D297353CC}">
                <c16:uniqueId val="{00000C67-C623-4FBE-8EDB-4AD12F618AAD}"/>
              </c:ext>
            </c:extLst>
          </c:dPt>
          <c:dPt>
            <c:idx val="1587"/>
            <c:invertIfNegative val="1"/>
            <c:bubble3D val="0"/>
            <c:spPr>
              <a:solidFill>
                <a:srgbClr val="AEABAB"/>
              </a:solidFill>
            </c:spPr>
            <c:extLst>
              <c:ext xmlns:c16="http://schemas.microsoft.com/office/drawing/2014/chart" uri="{C3380CC4-5D6E-409C-BE32-E72D297353CC}">
                <c16:uniqueId val="{00000C69-C623-4FBE-8EDB-4AD12F618AAD}"/>
              </c:ext>
            </c:extLst>
          </c:dPt>
          <c:dPt>
            <c:idx val="1588"/>
            <c:invertIfNegative val="1"/>
            <c:bubble3D val="0"/>
            <c:spPr>
              <a:solidFill>
                <a:srgbClr val="AEABAB"/>
              </a:solidFill>
            </c:spPr>
            <c:extLst>
              <c:ext xmlns:c16="http://schemas.microsoft.com/office/drawing/2014/chart" uri="{C3380CC4-5D6E-409C-BE32-E72D297353CC}">
                <c16:uniqueId val="{00000C6B-C623-4FBE-8EDB-4AD12F618AAD}"/>
              </c:ext>
            </c:extLst>
          </c:dPt>
          <c:dPt>
            <c:idx val="1589"/>
            <c:invertIfNegative val="1"/>
            <c:bubble3D val="0"/>
            <c:spPr>
              <a:solidFill>
                <a:srgbClr val="AEABAB"/>
              </a:solidFill>
            </c:spPr>
            <c:extLst>
              <c:ext xmlns:c16="http://schemas.microsoft.com/office/drawing/2014/chart" uri="{C3380CC4-5D6E-409C-BE32-E72D297353CC}">
                <c16:uniqueId val="{00000C6D-C623-4FBE-8EDB-4AD12F618AAD}"/>
              </c:ext>
            </c:extLst>
          </c:dPt>
          <c:dPt>
            <c:idx val="1590"/>
            <c:invertIfNegative val="1"/>
            <c:bubble3D val="0"/>
            <c:spPr>
              <a:solidFill>
                <a:srgbClr val="AEABAB"/>
              </a:solidFill>
            </c:spPr>
            <c:extLst>
              <c:ext xmlns:c16="http://schemas.microsoft.com/office/drawing/2014/chart" uri="{C3380CC4-5D6E-409C-BE32-E72D297353CC}">
                <c16:uniqueId val="{00000C6F-C623-4FBE-8EDB-4AD12F618AAD}"/>
              </c:ext>
            </c:extLst>
          </c:dPt>
          <c:dPt>
            <c:idx val="1591"/>
            <c:invertIfNegative val="1"/>
            <c:bubble3D val="0"/>
            <c:spPr>
              <a:solidFill>
                <a:srgbClr val="AEABAB"/>
              </a:solidFill>
            </c:spPr>
            <c:extLst>
              <c:ext xmlns:c16="http://schemas.microsoft.com/office/drawing/2014/chart" uri="{C3380CC4-5D6E-409C-BE32-E72D297353CC}">
                <c16:uniqueId val="{00000C71-C623-4FBE-8EDB-4AD12F618AAD}"/>
              </c:ext>
            </c:extLst>
          </c:dPt>
          <c:dPt>
            <c:idx val="1592"/>
            <c:invertIfNegative val="1"/>
            <c:bubble3D val="0"/>
            <c:spPr>
              <a:solidFill>
                <a:srgbClr val="AEABAB"/>
              </a:solidFill>
            </c:spPr>
            <c:extLst>
              <c:ext xmlns:c16="http://schemas.microsoft.com/office/drawing/2014/chart" uri="{C3380CC4-5D6E-409C-BE32-E72D297353CC}">
                <c16:uniqueId val="{00000C73-C623-4FBE-8EDB-4AD12F618AAD}"/>
              </c:ext>
            </c:extLst>
          </c:dPt>
          <c:dPt>
            <c:idx val="1593"/>
            <c:invertIfNegative val="1"/>
            <c:bubble3D val="0"/>
            <c:spPr>
              <a:solidFill>
                <a:srgbClr val="AEABAB"/>
              </a:solidFill>
            </c:spPr>
            <c:extLst>
              <c:ext xmlns:c16="http://schemas.microsoft.com/office/drawing/2014/chart" uri="{C3380CC4-5D6E-409C-BE32-E72D297353CC}">
                <c16:uniqueId val="{00000C75-C623-4FBE-8EDB-4AD12F618AAD}"/>
              </c:ext>
            </c:extLst>
          </c:dPt>
          <c:dPt>
            <c:idx val="1594"/>
            <c:invertIfNegative val="1"/>
            <c:bubble3D val="0"/>
            <c:spPr>
              <a:solidFill>
                <a:srgbClr val="AEABAB"/>
              </a:solidFill>
            </c:spPr>
            <c:extLst>
              <c:ext xmlns:c16="http://schemas.microsoft.com/office/drawing/2014/chart" uri="{C3380CC4-5D6E-409C-BE32-E72D297353CC}">
                <c16:uniqueId val="{00000C77-C623-4FBE-8EDB-4AD12F618AAD}"/>
              </c:ext>
            </c:extLst>
          </c:dPt>
          <c:dPt>
            <c:idx val="1595"/>
            <c:invertIfNegative val="1"/>
            <c:bubble3D val="0"/>
            <c:spPr>
              <a:solidFill>
                <a:srgbClr val="AEABAB"/>
              </a:solidFill>
            </c:spPr>
            <c:extLst>
              <c:ext xmlns:c16="http://schemas.microsoft.com/office/drawing/2014/chart" uri="{C3380CC4-5D6E-409C-BE32-E72D297353CC}">
                <c16:uniqueId val="{00000C79-C623-4FBE-8EDB-4AD12F618AAD}"/>
              </c:ext>
            </c:extLst>
          </c:dPt>
          <c:dPt>
            <c:idx val="1596"/>
            <c:invertIfNegative val="1"/>
            <c:bubble3D val="0"/>
            <c:spPr>
              <a:solidFill>
                <a:srgbClr val="AEABAB"/>
              </a:solidFill>
            </c:spPr>
            <c:extLst>
              <c:ext xmlns:c16="http://schemas.microsoft.com/office/drawing/2014/chart" uri="{C3380CC4-5D6E-409C-BE32-E72D297353CC}">
                <c16:uniqueId val="{00000C7B-C623-4FBE-8EDB-4AD12F618AAD}"/>
              </c:ext>
            </c:extLst>
          </c:dPt>
          <c:dPt>
            <c:idx val="1597"/>
            <c:invertIfNegative val="1"/>
            <c:bubble3D val="0"/>
            <c:spPr>
              <a:solidFill>
                <a:srgbClr val="AEABAB"/>
              </a:solidFill>
            </c:spPr>
            <c:extLst>
              <c:ext xmlns:c16="http://schemas.microsoft.com/office/drawing/2014/chart" uri="{C3380CC4-5D6E-409C-BE32-E72D297353CC}">
                <c16:uniqueId val="{00000C7D-C623-4FBE-8EDB-4AD12F618AAD}"/>
              </c:ext>
            </c:extLst>
          </c:dPt>
          <c:dPt>
            <c:idx val="1598"/>
            <c:invertIfNegative val="1"/>
            <c:bubble3D val="0"/>
            <c:spPr>
              <a:solidFill>
                <a:srgbClr val="AEABAB"/>
              </a:solidFill>
            </c:spPr>
            <c:extLst>
              <c:ext xmlns:c16="http://schemas.microsoft.com/office/drawing/2014/chart" uri="{C3380CC4-5D6E-409C-BE32-E72D297353CC}">
                <c16:uniqueId val="{00000C7F-C623-4FBE-8EDB-4AD12F618AAD}"/>
              </c:ext>
            </c:extLst>
          </c:dPt>
          <c:dPt>
            <c:idx val="1599"/>
            <c:invertIfNegative val="1"/>
            <c:bubble3D val="0"/>
            <c:spPr>
              <a:solidFill>
                <a:srgbClr val="AEABAB"/>
              </a:solidFill>
            </c:spPr>
            <c:extLst>
              <c:ext xmlns:c16="http://schemas.microsoft.com/office/drawing/2014/chart" uri="{C3380CC4-5D6E-409C-BE32-E72D297353CC}">
                <c16:uniqueId val="{00000C81-C623-4FBE-8EDB-4AD12F618AAD}"/>
              </c:ext>
            </c:extLst>
          </c:dPt>
          <c:dPt>
            <c:idx val="1600"/>
            <c:invertIfNegative val="1"/>
            <c:bubble3D val="0"/>
            <c:spPr>
              <a:solidFill>
                <a:srgbClr val="AEABAB"/>
              </a:solidFill>
            </c:spPr>
            <c:extLst>
              <c:ext xmlns:c16="http://schemas.microsoft.com/office/drawing/2014/chart" uri="{C3380CC4-5D6E-409C-BE32-E72D297353CC}">
                <c16:uniqueId val="{00000C83-C623-4FBE-8EDB-4AD12F618AAD}"/>
              </c:ext>
            </c:extLst>
          </c:dPt>
          <c:dPt>
            <c:idx val="1601"/>
            <c:invertIfNegative val="1"/>
            <c:bubble3D val="0"/>
            <c:spPr>
              <a:solidFill>
                <a:srgbClr val="AEABAB"/>
              </a:solidFill>
            </c:spPr>
            <c:extLst>
              <c:ext xmlns:c16="http://schemas.microsoft.com/office/drawing/2014/chart" uri="{C3380CC4-5D6E-409C-BE32-E72D297353CC}">
                <c16:uniqueId val="{00000C85-C623-4FBE-8EDB-4AD12F618AAD}"/>
              </c:ext>
            </c:extLst>
          </c:dPt>
          <c:dPt>
            <c:idx val="1602"/>
            <c:invertIfNegative val="1"/>
            <c:bubble3D val="0"/>
            <c:spPr>
              <a:solidFill>
                <a:srgbClr val="AEABAB"/>
              </a:solidFill>
            </c:spPr>
            <c:extLst>
              <c:ext xmlns:c16="http://schemas.microsoft.com/office/drawing/2014/chart" uri="{C3380CC4-5D6E-409C-BE32-E72D297353CC}">
                <c16:uniqueId val="{00000C87-C623-4FBE-8EDB-4AD12F618AAD}"/>
              </c:ext>
            </c:extLst>
          </c:dPt>
          <c:dPt>
            <c:idx val="1603"/>
            <c:invertIfNegative val="1"/>
            <c:bubble3D val="0"/>
            <c:spPr>
              <a:solidFill>
                <a:srgbClr val="AEABAB"/>
              </a:solidFill>
            </c:spPr>
            <c:extLst>
              <c:ext xmlns:c16="http://schemas.microsoft.com/office/drawing/2014/chart" uri="{C3380CC4-5D6E-409C-BE32-E72D297353CC}">
                <c16:uniqueId val="{00000C89-C623-4FBE-8EDB-4AD12F618AAD}"/>
              </c:ext>
            </c:extLst>
          </c:dPt>
          <c:dPt>
            <c:idx val="1604"/>
            <c:invertIfNegative val="1"/>
            <c:bubble3D val="0"/>
            <c:spPr>
              <a:solidFill>
                <a:srgbClr val="AEABAB"/>
              </a:solidFill>
            </c:spPr>
            <c:extLst>
              <c:ext xmlns:c16="http://schemas.microsoft.com/office/drawing/2014/chart" uri="{C3380CC4-5D6E-409C-BE32-E72D297353CC}">
                <c16:uniqueId val="{00000C8B-C623-4FBE-8EDB-4AD12F618AAD}"/>
              </c:ext>
            </c:extLst>
          </c:dPt>
          <c:dPt>
            <c:idx val="1605"/>
            <c:invertIfNegative val="1"/>
            <c:bubble3D val="0"/>
            <c:spPr>
              <a:solidFill>
                <a:srgbClr val="AEABAB"/>
              </a:solidFill>
            </c:spPr>
            <c:extLst>
              <c:ext xmlns:c16="http://schemas.microsoft.com/office/drawing/2014/chart" uri="{C3380CC4-5D6E-409C-BE32-E72D297353CC}">
                <c16:uniqueId val="{00000C8D-C623-4FBE-8EDB-4AD12F618AAD}"/>
              </c:ext>
            </c:extLst>
          </c:dPt>
          <c:dPt>
            <c:idx val="1606"/>
            <c:invertIfNegative val="1"/>
            <c:bubble3D val="0"/>
            <c:spPr>
              <a:solidFill>
                <a:srgbClr val="AEABAB"/>
              </a:solidFill>
            </c:spPr>
            <c:extLst>
              <c:ext xmlns:c16="http://schemas.microsoft.com/office/drawing/2014/chart" uri="{C3380CC4-5D6E-409C-BE32-E72D297353CC}">
                <c16:uniqueId val="{00000C8F-C623-4FBE-8EDB-4AD12F618AAD}"/>
              </c:ext>
            </c:extLst>
          </c:dPt>
          <c:dPt>
            <c:idx val="1607"/>
            <c:invertIfNegative val="1"/>
            <c:bubble3D val="0"/>
            <c:spPr>
              <a:solidFill>
                <a:srgbClr val="AEABAB"/>
              </a:solidFill>
            </c:spPr>
            <c:extLst>
              <c:ext xmlns:c16="http://schemas.microsoft.com/office/drawing/2014/chart" uri="{C3380CC4-5D6E-409C-BE32-E72D297353CC}">
                <c16:uniqueId val="{00000C91-C623-4FBE-8EDB-4AD12F618AAD}"/>
              </c:ext>
            </c:extLst>
          </c:dPt>
          <c:dPt>
            <c:idx val="1608"/>
            <c:invertIfNegative val="1"/>
            <c:bubble3D val="0"/>
            <c:spPr>
              <a:solidFill>
                <a:srgbClr val="AEABAB"/>
              </a:solidFill>
            </c:spPr>
            <c:extLst>
              <c:ext xmlns:c16="http://schemas.microsoft.com/office/drawing/2014/chart" uri="{C3380CC4-5D6E-409C-BE32-E72D297353CC}">
                <c16:uniqueId val="{00000C93-C623-4FBE-8EDB-4AD12F618AAD}"/>
              </c:ext>
            </c:extLst>
          </c:dPt>
          <c:dPt>
            <c:idx val="1609"/>
            <c:invertIfNegative val="1"/>
            <c:bubble3D val="0"/>
            <c:spPr>
              <a:solidFill>
                <a:srgbClr val="AEABAB"/>
              </a:solidFill>
            </c:spPr>
            <c:extLst>
              <c:ext xmlns:c16="http://schemas.microsoft.com/office/drawing/2014/chart" uri="{C3380CC4-5D6E-409C-BE32-E72D297353CC}">
                <c16:uniqueId val="{00000C95-C623-4FBE-8EDB-4AD12F618AAD}"/>
              </c:ext>
            </c:extLst>
          </c:dPt>
          <c:dPt>
            <c:idx val="1610"/>
            <c:invertIfNegative val="1"/>
            <c:bubble3D val="0"/>
            <c:spPr>
              <a:solidFill>
                <a:srgbClr val="AEABAB"/>
              </a:solidFill>
            </c:spPr>
            <c:extLst>
              <c:ext xmlns:c16="http://schemas.microsoft.com/office/drawing/2014/chart" uri="{C3380CC4-5D6E-409C-BE32-E72D297353CC}">
                <c16:uniqueId val="{00000C97-C623-4FBE-8EDB-4AD12F618AAD}"/>
              </c:ext>
            </c:extLst>
          </c:dPt>
          <c:dPt>
            <c:idx val="1611"/>
            <c:invertIfNegative val="1"/>
            <c:bubble3D val="0"/>
            <c:spPr>
              <a:solidFill>
                <a:srgbClr val="AEABAB"/>
              </a:solidFill>
            </c:spPr>
            <c:extLst>
              <c:ext xmlns:c16="http://schemas.microsoft.com/office/drawing/2014/chart" uri="{C3380CC4-5D6E-409C-BE32-E72D297353CC}">
                <c16:uniqueId val="{00000C99-C623-4FBE-8EDB-4AD12F618AAD}"/>
              </c:ext>
            </c:extLst>
          </c:dPt>
          <c:dPt>
            <c:idx val="1612"/>
            <c:invertIfNegative val="1"/>
            <c:bubble3D val="0"/>
            <c:spPr>
              <a:solidFill>
                <a:srgbClr val="AEABAB"/>
              </a:solidFill>
            </c:spPr>
            <c:extLst>
              <c:ext xmlns:c16="http://schemas.microsoft.com/office/drawing/2014/chart" uri="{C3380CC4-5D6E-409C-BE32-E72D297353CC}">
                <c16:uniqueId val="{00000C9B-C623-4FBE-8EDB-4AD12F618AAD}"/>
              </c:ext>
            </c:extLst>
          </c:dPt>
          <c:dPt>
            <c:idx val="1613"/>
            <c:invertIfNegative val="1"/>
            <c:bubble3D val="0"/>
            <c:spPr>
              <a:solidFill>
                <a:srgbClr val="AEABAB"/>
              </a:solidFill>
            </c:spPr>
            <c:extLst>
              <c:ext xmlns:c16="http://schemas.microsoft.com/office/drawing/2014/chart" uri="{C3380CC4-5D6E-409C-BE32-E72D297353CC}">
                <c16:uniqueId val="{00000C9D-C623-4FBE-8EDB-4AD12F618AAD}"/>
              </c:ext>
            </c:extLst>
          </c:dPt>
          <c:dPt>
            <c:idx val="1614"/>
            <c:invertIfNegative val="1"/>
            <c:bubble3D val="0"/>
            <c:spPr>
              <a:solidFill>
                <a:srgbClr val="AEABAB"/>
              </a:solidFill>
            </c:spPr>
            <c:extLst>
              <c:ext xmlns:c16="http://schemas.microsoft.com/office/drawing/2014/chart" uri="{C3380CC4-5D6E-409C-BE32-E72D297353CC}">
                <c16:uniqueId val="{00000C9F-C623-4FBE-8EDB-4AD12F618AAD}"/>
              </c:ext>
            </c:extLst>
          </c:dPt>
          <c:dPt>
            <c:idx val="1615"/>
            <c:invertIfNegative val="1"/>
            <c:bubble3D val="0"/>
            <c:spPr>
              <a:solidFill>
                <a:srgbClr val="AEABAB"/>
              </a:solidFill>
            </c:spPr>
            <c:extLst>
              <c:ext xmlns:c16="http://schemas.microsoft.com/office/drawing/2014/chart" uri="{C3380CC4-5D6E-409C-BE32-E72D297353CC}">
                <c16:uniqueId val="{00000CA1-C623-4FBE-8EDB-4AD12F618AAD}"/>
              </c:ext>
            </c:extLst>
          </c:dPt>
          <c:dPt>
            <c:idx val="1616"/>
            <c:invertIfNegative val="1"/>
            <c:bubble3D val="0"/>
            <c:spPr>
              <a:solidFill>
                <a:srgbClr val="AEABAB"/>
              </a:solidFill>
            </c:spPr>
            <c:extLst>
              <c:ext xmlns:c16="http://schemas.microsoft.com/office/drawing/2014/chart" uri="{C3380CC4-5D6E-409C-BE32-E72D297353CC}">
                <c16:uniqueId val="{00000CA3-C623-4FBE-8EDB-4AD12F618AAD}"/>
              </c:ext>
            </c:extLst>
          </c:dPt>
          <c:dPt>
            <c:idx val="1617"/>
            <c:invertIfNegative val="1"/>
            <c:bubble3D val="0"/>
            <c:spPr>
              <a:solidFill>
                <a:srgbClr val="AEABAB"/>
              </a:solidFill>
            </c:spPr>
            <c:extLst>
              <c:ext xmlns:c16="http://schemas.microsoft.com/office/drawing/2014/chart" uri="{C3380CC4-5D6E-409C-BE32-E72D297353CC}">
                <c16:uniqueId val="{00000CA5-C623-4FBE-8EDB-4AD12F618AAD}"/>
              </c:ext>
            </c:extLst>
          </c:dPt>
          <c:dPt>
            <c:idx val="1618"/>
            <c:invertIfNegative val="1"/>
            <c:bubble3D val="0"/>
            <c:spPr>
              <a:solidFill>
                <a:srgbClr val="AEABAB"/>
              </a:solidFill>
            </c:spPr>
            <c:extLst>
              <c:ext xmlns:c16="http://schemas.microsoft.com/office/drawing/2014/chart" uri="{C3380CC4-5D6E-409C-BE32-E72D297353CC}">
                <c16:uniqueId val="{00000CA7-C623-4FBE-8EDB-4AD12F618AAD}"/>
              </c:ext>
            </c:extLst>
          </c:dPt>
          <c:dPt>
            <c:idx val="1619"/>
            <c:invertIfNegative val="1"/>
            <c:bubble3D val="0"/>
            <c:spPr>
              <a:solidFill>
                <a:srgbClr val="AEABAB"/>
              </a:solidFill>
            </c:spPr>
            <c:extLst>
              <c:ext xmlns:c16="http://schemas.microsoft.com/office/drawing/2014/chart" uri="{C3380CC4-5D6E-409C-BE32-E72D297353CC}">
                <c16:uniqueId val="{00000CA9-C623-4FBE-8EDB-4AD12F618AAD}"/>
              </c:ext>
            </c:extLst>
          </c:dPt>
          <c:dPt>
            <c:idx val="1620"/>
            <c:invertIfNegative val="1"/>
            <c:bubble3D val="0"/>
            <c:spPr>
              <a:solidFill>
                <a:srgbClr val="AEABAB"/>
              </a:solidFill>
            </c:spPr>
            <c:extLst>
              <c:ext xmlns:c16="http://schemas.microsoft.com/office/drawing/2014/chart" uri="{C3380CC4-5D6E-409C-BE32-E72D297353CC}">
                <c16:uniqueId val="{00000CAB-C623-4FBE-8EDB-4AD12F618AAD}"/>
              </c:ext>
            </c:extLst>
          </c:dPt>
          <c:dPt>
            <c:idx val="1621"/>
            <c:invertIfNegative val="1"/>
            <c:bubble3D val="0"/>
            <c:spPr>
              <a:solidFill>
                <a:srgbClr val="AEABAB"/>
              </a:solidFill>
            </c:spPr>
            <c:extLst>
              <c:ext xmlns:c16="http://schemas.microsoft.com/office/drawing/2014/chart" uri="{C3380CC4-5D6E-409C-BE32-E72D297353CC}">
                <c16:uniqueId val="{00000CAD-C623-4FBE-8EDB-4AD12F618AAD}"/>
              </c:ext>
            </c:extLst>
          </c:dPt>
          <c:dPt>
            <c:idx val="1622"/>
            <c:invertIfNegative val="1"/>
            <c:bubble3D val="0"/>
            <c:spPr>
              <a:solidFill>
                <a:srgbClr val="AEABAB"/>
              </a:solidFill>
            </c:spPr>
            <c:extLst>
              <c:ext xmlns:c16="http://schemas.microsoft.com/office/drawing/2014/chart" uri="{C3380CC4-5D6E-409C-BE32-E72D297353CC}">
                <c16:uniqueId val="{00000CAF-C623-4FBE-8EDB-4AD12F618AAD}"/>
              </c:ext>
            </c:extLst>
          </c:dPt>
          <c:dPt>
            <c:idx val="1623"/>
            <c:invertIfNegative val="1"/>
            <c:bubble3D val="0"/>
            <c:spPr>
              <a:solidFill>
                <a:srgbClr val="AEABAB"/>
              </a:solidFill>
            </c:spPr>
            <c:extLst>
              <c:ext xmlns:c16="http://schemas.microsoft.com/office/drawing/2014/chart" uri="{C3380CC4-5D6E-409C-BE32-E72D297353CC}">
                <c16:uniqueId val="{00000CB1-C623-4FBE-8EDB-4AD12F618AAD}"/>
              </c:ext>
            </c:extLst>
          </c:dPt>
          <c:dPt>
            <c:idx val="1624"/>
            <c:invertIfNegative val="1"/>
            <c:bubble3D val="0"/>
            <c:spPr>
              <a:solidFill>
                <a:srgbClr val="AEABAB"/>
              </a:solidFill>
            </c:spPr>
            <c:extLst>
              <c:ext xmlns:c16="http://schemas.microsoft.com/office/drawing/2014/chart" uri="{C3380CC4-5D6E-409C-BE32-E72D297353CC}">
                <c16:uniqueId val="{00000CB3-C623-4FBE-8EDB-4AD12F618AAD}"/>
              </c:ext>
            </c:extLst>
          </c:dPt>
          <c:dPt>
            <c:idx val="1625"/>
            <c:invertIfNegative val="1"/>
            <c:bubble3D val="0"/>
            <c:spPr>
              <a:solidFill>
                <a:srgbClr val="AEABAB"/>
              </a:solidFill>
            </c:spPr>
            <c:extLst>
              <c:ext xmlns:c16="http://schemas.microsoft.com/office/drawing/2014/chart" uri="{C3380CC4-5D6E-409C-BE32-E72D297353CC}">
                <c16:uniqueId val="{00000CB5-C623-4FBE-8EDB-4AD12F618AAD}"/>
              </c:ext>
            </c:extLst>
          </c:dPt>
          <c:dPt>
            <c:idx val="1626"/>
            <c:invertIfNegative val="1"/>
            <c:bubble3D val="0"/>
            <c:spPr>
              <a:solidFill>
                <a:srgbClr val="AEABAB"/>
              </a:solidFill>
            </c:spPr>
            <c:extLst>
              <c:ext xmlns:c16="http://schemas.microsoft.com/office/drawing/2014/chart" uri="{C3380CC4-5D6E-409C-BE32-E72D297353CC}">
                <c16:uniqueId val="{00000CB7-C623-4FBE-8EDB-4AD12F618AAD}"/>
              </c:ext>
            </c:extLst>
          </c:dPt>
          <c:dPt>
            <c:idx val="1627"/>
            <c:invertIfNegative val="1"/>
            <c:bubble3D val="0"/>
            <c:spPr>
              <a:solidFill>
                <a:srgbClr val="AEABAB"/>
              </a:solidFill>
            </c:spPr>
            <c:extLst>
              <c:ext xmlns:c16="http://schemas.microsoft.com/office/drawing/2014/chart" uri="{C3380CC4-5D6E-409C-BE32-E72D297353CC}">
                <c16:uniqueId val="{00000CB9-C623-4FBE-8EDB-4AD12F618AAD}"/>
              </c:ext>
            </c:extLst>
          </c:dPt>
          <c:dPt>
            <c:idx val="1628"/>
            <c:invertIfNegative val="1"/>
            <c:bubble3D val="0"/>
            <c:spPr>
              <a:solidFill>
                <a:srgbClr val="AEABAB"/>
              </a:solidFill>
            </c:spPr>
            <c:extLst>
              <c:ext xmlns:c16="http://schemas.microsoft.com/office/drawing/2014/chart" uri="{C3380CC4-5D6E-409C-BE32-E72D297353CC}">
                <c16:uniqueId val="{00000CBB-C623-4FBE-8EDB-4AD12F618AAD}"/>
              </c:ext>
            </c:extLst>
          </c:dPt>
          <c:dPt>
            <c:idx val="1629"/>
            <c:invertIfNegative val="1"/>
            <c:bubble3D val="0"/>
            <c:spPr>
              <a:solidFill>
                <a:srgbClr val="AEABAB"/>
              </a:solidFill>
            </c:spPr>
            <c:extLst>
              <c:ext xmlns:c16="http://schemas.microsoft.com/office/drawing/2014/chart" uri="{C3380CC4-5D6E-409C-BE32-E72D297353CC}">
                <c16:uniqueId val="{00000CBD-C623-4FBE-8EDB-4AD12F618AAD}"/>
              </c:ext>
            </c:extLst>
          </c:dPt>
          <c:dPt>
            <c:idx val="1630"/>
            <c:invertIfNegative val="1"/>
            <c:bubble3D val="0"/>
            <c:spPr>
              <a:solidFill>
                <a:srgbClr val="AEABAB"/>
              </a:solidFill>
            </c:spPr>
            <c:extLst>
              <c:ext xmlns:c16="http://schemas.microsoft.com/office/drawing/2014/chart" uri="{C3380CC4-5D6E-409C-BE32-E72D297353CC}">
                <c16:uniqueId val="{00000CBF-C623-4FBE-8EDB-4AD12F618AAD}"/>
              </c:ext>
            </c:extLst>
          </c:dPt>
          <c:dPt>
            <c:idx val="1631"/>
            <c:invertIfNegative val="1"/>
            <c:bubble3D val="0"/>
            <c:spPr>
              <a:solidFill>
                <a:srgbClr val="AEABAB"/>
              </a:solidFill>
            </c:spPr>
            <c:extLst>
              <c:ext xmlns:c16="http://schemas.microsoft.com/office/drawing/2014/chart" uri="{C3380CC4-5D6E-409C-BE32-E72D297353CC}">
                <c16:uniqueId val="{00000CC1-C623-4FBE-8EDB-4AD12F618AAD}"/>
              </c:ext>
            </c:extLst>
          </c:dPt>
          <c:dPt>
            <c:idx val="1632"/>
            <c:invertIfNegative val="1"/>
            <c:bubble3D val="0"/>
            <c:spPr>
              <a:solidFill>
                <a:srgbClr val="AEABAB"/>
              </a:solidFill>
            </c:spPr>
            <c:extLst>
              <c:ext xmlns:c16="http://schemas.microsoft.com/office/drawing/2014/chart" uri="{C3380CC4-5D6E-409C-BE32-E72D297353CC}">
                <c16:uniqueId val="{00000CC3-C623-4FBE-8EDB-4AD12F618AAD}"/>
              </c:ext>
            </c:extLst>
          </c:dPt>
          <c:dPt>
            <c:idx val="1633"/>
            <c:invertIfNegative val="1"/>
            <c:bubble3D val="0"/>
            <c:spPr>
              <a:solidFill>
                <a:srgbClr val="AEABAB"/>
              </a:solidFill>
            </c:spPr>
            <c:extLst>
              <c:ext xmlns:c16="http://schemas.microsoft.com/office/drawing/2014/chart" uri="{C3380CC4-5D6E-409C-BE32-E72D297353CC}">
                <c16:uniqueId val="{00000CC5-C623-4FBE-8EDB-4AD12F618AAD}"/>
              </c:ext>
            </c:extLst>
          </c:dPt>
          <c:dPt>
            <c:idx val="1634"/>
            <c:invertIfNegative val="1"/>
            <c:bubble3D val="0"/>
            <c:spPr>
              <a:solidFill>
                <a:srgbClr val="AEABAB"/>
              </a:solidFill>
            </c:spPr>
            <c:extLst>
              <c:ext xmlns:c16="http://schemas.microsoft.com/office/drawing/2014/chart" uri="{C3380CC4-5D6E-409C-BE32-E72D297353CC}">
                <c16:uniqueId val="{00000CC7-C623-4FBE-8EDB-4AD12F618AAD}"/>
              </c:ext>
            </c:extLst>
          </c:dPt>
          <c:dPt>
            <c:idx val="1635"/>
            <c:invertIfNegative val="1"/>
            <c:bubble3D val="0"/>
            <c:spPr>
              <a:solidFill>
                <a:srgbClr val="AEABAB"/>
              </a:solidFill>
            </c:spPr>
            <c:extLst>
              <c:ext xmlns:c16="http://schemas.microsoft.com/office/drawing/2014/chart" uri="{C3380CC4-5D6E-409C-BE32-E72D297353CC}">
                <c16:uniqueId val="{00000CC9-C623-4FBE-8EDB-4AD12F618AAD}"/>
              </c:ext>
            </c:extLst>
          </c:dPt>
          <c:dPt>
            <c:idx val="1636"/>
            <c:invertIfNegative val="1"/>
            <c:bubble3D val="0"/>
            <c:spPr>
              <a:solidFill>
                <a:srgbClr val="AEABAB"/>
              </a:solidFill>
            </c:spPr>
            <c:extLst>
              <c:ext xmlns:c16="http://schemas.microsoft.com/office/drawing/2014/chart" uri="{C3380CC4-5D6E-409C-BE32-E72D297353CC}">
                <c16:uniqueId val="{00000CCB-C623-4FBE-8EDB-4AD12F618AAD}"/>
              </c:ext>
            </c:extLst>
          </c:dPt>
          <c:dPt>
            <c:idx val="1637"/>
            <c:invertIfNegative val="1"/>
            <c:bubble3D val="0"/>
            <c:spPr>
              <a:solidFill>
                <a:srgbClr val="AEABAB"/>
              </a:solidFill>
            </c:spPr>
            <c:extLst>
              <c:ext xmlns:c16="http://schemas.microsoft.com/office/drawing/2014/chart" uri="{C3380CC4-5D6E-409C-BE32-E72D297353CC}">
                <c16:uniqueId val="{00000CCD-C623-4FBE-8EDB-4AD12F618AAD}"/>
              </c:ext>
            </c:extLst>
          </c:dPt>
          <c:dPt>
            <c:idx val="1638"/>
            <c:invertIfNegative val="1"/>
            <c:bubble3D val="0"/>
            <c:spPr>
              <a:solidFill>
                <a:srgbClr val="AEABAB"/>
              </a:solidFill>
            </c:spPr>
            <c:extLst>
              <c:ext xmlns:c16="http://schemas.microsoft.com/office/drawing/2014/chart" uri="{C3380CC4-5D6E-409C-BE32-E72D297353CC}">
                <c16:uniqueId val="{00000CCF-C623-4FBE-8EDB-4AD12F618AAD}"/>
              </c:ext>
            </c:extLst>
          </c:dPt>
          <c:dPt>
            <c:idx val="1639"/>
            <c:invertIfNegative val="1"/>
            <c:bubble3D val="0"/>
            <c:spPr>
              <a:solidFill>
                <a:srgbClr val="AEABAB"/>
              </a:solidFill>
            </c:spPr>
            <c:extLst>
              <c:ext xmlns:c16="http://schemas.microsoft.com/office/drawing/2014/chart" uri="{C3380CC4-5D6E-409C-BE32-E72D297353CC}">
                <c16:uniqueId val="{00000CD1-C623-4FBE-8EDB-4AD12F618AAD}"/>
              </c:ext>
            </c:extLst>
          </c:dPt>
          <c:dPt>
            <c:idx val="1640"/>
            <c:invertIfNegative val="1"/>
            <c:bubble3D val="0"/>
            <c:spPr>
              <a:solidFill>
                <a:srgbClr val="AEABAB"/>
              </a:solidFill>
            </c:spPr>
            <c:extLst>
              <c:ext xmlns:c16="http://schemas.microsoft.com/office/drawing/2014/chart" uri="{C3380CC4-5D6E-409C-BE32-E72D297353CC}">
                <c16:uniqueId val="{00000CD3-C623-4FBE-8EDB-4AD12F618AAD}"/>
              </c:ext>
            </c:extLst>
          </c:dPt>
          <c:dPt>
            <c:idx val="1641"/>
            <c:invertIfNegative val="1"/>
            <c:bubble3D val="0"/>
            <c:spPr>
              <a:solidFill>
                <a:srgbClr val="AEABAB"/>
              </a:solidFill>
            </c:spPr>
            <c:extLst>
              <c:ext xmlns:c16="http://schemas.microsoft.com/office/drawing/2014/chart" uri="{C3380CC4-5D6E-409C-BE32-E72D297353CC}">
                <c16:uniqueId val="{00000CD5-C623-4FBE-8EDB-4AD12F618AAD}"/>
              </c:ext>
            </c:extLst>
          </c:dPt>
          <c:dPt>
            <c:idx val="1642"/>
            <c:invertIfNegative val="1"/>
            <c:bubble3D val="0"/>
            <c:spPr>
              <a:solidFill>
                <a:srgbClr val="AEABAB"/>
              </a:solidFill>
            </c:spPr>
            <c:extLst>
              <c:ext xmlns:c16="http://schemas.microsoft.com/office/drawing/2014/chart" uri="{C3380CC4-5D6E-409C-BE32-E72D297353CC}">
                <c16:uniqueId val="{00000CD7-C623-4FBE-8EDB-4AD12F618AAD}"/>
              </c:ext>
            </c:extLst>
          </c:dPt>
          <c:dPt>
            <c:idx val="1643"/>
            <c:invertIfNegative val="1"/>
            <c:bubble3D val="0"/>
            <c:spPr>
              <a:solidFill>
                <a:srgbClr val="AEABAB"/>
              </a:solidFill>
            </c:spPr>
            <c:extLst>
              <c:ext xmlns:c16="http://schemas.microsoft.com/office/drawing/2014/chart" uri="{C3380CC4-5D6E-409C-BE32-E72D297353CC}">
                <c16:uniqueId val="{00000CD9-C623-4FBE-8EDB-4AD12F618AAD}"/>
              </c:ext>
            </c:extLst>
          </c:dPt>
          <c:dPt>
            <c:idx val="1644"/>
            <c:invertIfNegative val="1"/>
            <c:bubble3D val="0"/>
            <c:spPr>
              <a:solidFill>
                <a:srgbClr val="AEABAB"/>
              </a:solidFill>
            </c:spPr>
            <c:extLst>
              <c:ext xmlns:c16="http://schemas.microsoft.com/office/drawing/2014/chart" uri="{C3380CC4-5D6E-409C-BE32-E72D297353CC}">
                <c16:uniqueId val="{00000CDB-C623-4FBE-8EDB-4AD12F618AAD}"/>
              </c:ext>
            </c:extLst>
          </c:dPt>
          <c:dPt>
            <c:idx val="1645"/>
            <c:invertIfNegative val="1"/>
            <c:bubble3D val="0"/>
            <c:spPr>
              <a:solidFill>
                <a:srgbClr val="AEABAB"/>
              </a:solidFill>
            </c:spPr>
            <c:extLst>
              <c:ext xmlns:c16="http://schemas.microsoft.com/office/drawing/2014/chart" uri="{C3380CC4-5D6E-409C-BE32-E72D297353CC}">
                <c16:uniqueId val="{00000CDD-C623-4FBE-8EDB-4AD12F618AAD}"/>
              </c:ext>
            </c:extLst>
          </c:dPt>
          <c:dPt>
            <c:idx val="1646"/>
            <c:invertIfNegative val="1"/>
            <c:bubble3D val="0"/>
            <c:spPr>
              <a:solidFill>
                <a:srgbClr val="AEABAB"/>
              </a:solidFill>
            </c:spPr>
            <c:extLst>
              <c:ext xmlns:c16="http://schemas.microsoft.com/office/drawing/2014/chart" uri="{C3380CC4-5D6E-409C-BE32-E72D297353CC}">
                <c16:uniqueId val="{00000CDF-C623-4FBE-8EDB-4AD12F618AAD}"/>
              </c:ext>
            </c:extLst>
          </c:dPt>
          <c:dPt>
            <c:idx val="1647"/>
            <c:invertIfNegative val="1"/>
            <c:bubble3D val="0"/>
            <c:spPr>
              <a:solidFill>
                <a:srgbClr val="AEABAB"/>
              </a:solidFill>
            </c:spPr>
            <c:extLst>
              <c:ext xmlns:c16="http://schemas.microsoft.com/office/drawing/2014/chart" uri="{C3380CC4-5D6E-409C-BE32-E72D297353CC}">
                <c16:uniqueId val="{00000CE1-C623-4FBE-8EDB-4AD12F618AAD}"/>
              </c:ext>
            </c:extLst>
          </c:dPt>
          <c:dPt>
            <c:idx val="1648"/>
            <c:invertIfNegative val="1"/>
            <c:bubble3D val="0"/>
            <c:spPr>
              <a:solidFill>
                <a:srgbClr val="AEABAB"/>
              </a:solidFill>
            </c:spPr>
            <c:extLst>
              <c:ext xmlns:c16="http://schemas.microsoft.com/office/drawing/2014/chart" uri="{C3380CC4-5D6E-409C-BE32-E72D297353CC}">
                <c16:uniqueId val="{00000CE3-C623-4FBE-8EDB-4AD12F618AAD}"/>
              </c:ext>
            </c:extLst>
          </c:dPt>
          <c:dPt>
            <c:idx val="1649"/>
            <c:invertIfNegative val="1"/>
            <c:bubble3D val="0"/>
            <c:spPr>
              <a:solidFill>
                <a:srgbClr val="AEABAB"/>
              </a:solidFill>
            </c:spPr>
            <c:extLst>
              <c:ext xmlns:c16="http://schemas.microsoft.com/office/drawing/2014/chart" uri="{C3380CC4-5D6E-409C-BE32-E72D297353CC}">
                <c16:uniqueId val="{00000CE5-C623-4FBE-8EDB-4AD12F618AAD}"/>
              </c:ext>
            </c:extLst>
          </c:dPt>
          <c:dPt>
            <c:idx val="1650"/>
            <c:invertIfNegative val="1"/>
            <c:bubble3D val="0"/>
            <c:spPr>
              <a:solidFill>
                <a:srgbClr val="AEABAB"/>
              </a:solidFill>
            </c:spPr>
            <c:extLst>
              <c:ext xmlns:c16="http://schemas.microsoft.com/office/drawing/2014/chart" uri="{C3380CC4-5D6E-409C-BE32-E72D297353CC}">
                <c16:uniqueId val="{00000CE7-C623-4FBE-8EDB-4AD12F618AAD}"/>
              </c:ext>
            </c:extLst>
          </c:dPt>
          <c:dPt>
            <c:idx val="1651"/>
            <c:invertIfNegative val="1"/>
            <c:bubble3D val="0"/>
            <c:spPr>
              <a:solidFill>
                <a:srgbClr val="AEABAB"/>
              </a:solidFill>
            </c:spPr>
            <c:extLst>
              <c:ext xmlns:c16="http://schemas.microsoft.com/office/drawing/2014/chart" uri="{C3380CC4-5D6E-409C-BE32-E72D297353CC}">
                <c16:uniqueId val="{00000CE9-C623-4FBE-8EDB-4AD12F618AAD}"/>
              </c:ext>
            </c:extLst>
          </c:dPt>
          <c:dPt>
            <c:idx val="1652"/>
            <c:invertIfNegative val="1"/>
            <c:bubble3D val="0"/>
            <c:spPr>
              <a:solidFill>
                <a:srgbClr val="AEABAB"/>
              </a:solidFill>
            </c:spPr>
            <c:extLst>
              <c:ext xmlns:c16="http://schemas.microsoft.com/office/drawing/2014/chart" uri="{C3380CC4-5D6E-409C-BE32-E72D297353CC}">
                <c16:uniqueId val="{00000CEB-C623-4FBE-8EDB-4AD12F618AAD}"/>
              </c:ext>
            </c:extLst>
          </c:dPt>
          <c:dPt>
            <c:idx val="1653"/>
            <c:invertIfNegative val="1"/>
            <c:bubble3D val="0"/>
            <c:spPr>
              <a:solidFill>
                <a:srgbClr val="AEABAB"/>
              </a:solidFill>
            </c:spPr>
            <c:extLst>
              <c:ext xmlns:c16="http://schemas.microsoft.com/office/drawing/2014/chart" uri="{C3380CC4-5D6E-409C-BE32-E72D297353CC}">
                <c16:uniqueId val="{00000CED-C623-4FBE-8EDB-4AD12F618AAD}"/>
              </c:ext>
            </c:extLst>
          </c:dPt>
          <c:dPt>
            <c:idx val="1654"/>
            <c:invertIfNegative val="1"/>
            <c:bubble3D val="0"/>
            <c:spPr>
              <a:solidFill>
                <a:srgbClr val="AEABAB"/>
              </a:solidFill>
            </c:spPr>
            <c:extLst>
              <c:ext xmlns:c16="http://schemas.microsoft.com/office/drawing/2014/chart" uri="{C3380CC4-5D6E-409C-BE32-E72D297353CC}">
                <c16:uniqueId val="{00000CEF-C623-4FBE-8EDB-4AD12F618AAD}"/>
              </c:ext>
            </c:extLst>
          </c:dPt>
          <c:dPt>
            <c:idx val="1655"/>
            <c:invertIfNegative val="1"/>
            <c:bubble3D val="0"/>
            <c:spPr>
              <a:solidFill>
                <a:srgbClr val="AEABAB"/>
              </a:solidFill>
            </c:spPr>
            <c:extLst>
              <c:ext xmlns:c16="http://schemas.microsoft.com/office/drawing/2014/chart" uri="{C3380CC4-5D6E-409C-BE32-E72D297353CC}">
                <c16:uniqueId val="{00000CF1-C623-4FBE-8EDB-4AD12F618AAD}"/>
              </c:ext>
            </c:extLst>
          </c:dPt>
          <c:dPt>
            <c:idx val="1656"/>
            <c:invertIfNegative val="1"/>
            <c:bubble3D val="0"/>
            <c:spPr>
              <a:solidFill>
                <a:srgbClr val="AEABAB"/>
              </a:solidFill>
            </c:spPr>
            <c:extLst>
              <c:ext xmlns:c16="http://schemas.microsoft.com/office/drawing/2014/chart" uri="{C3380CC4-5D6E-409C-BE32-E72D297353CC}">
                <c16:uniqueId val="{00000CF3-C623-4FBE-8EDB-4AD12F618AAD}"/>
              </c:ext>
            </c:extLst>
          </c:dPt>
          <c:dPt>
            <c:idx val="1657"/>
            <c:invertIfNegative val="1"/>
            <c:bubble3D val="0"/>
            <c:spPr>
              <a:solidFill>
                <a:srgbClr val="AEABAB"/>
              </a:solidFill>
            </c:spPr>
            <c:extLst>
              <c:ext xmlns:c16="http://schemas.microsoft.com/office/drawing/2014/chart" uri="{C3380CC4-5D6E-409C-BE32-E72D297353CC}">
                <c16:uniqueId val="{00000CF5-C623-4FBE-8EDB-4AD12F618AAD}"/>
              </c:ext>
            </c:extLst>
          </c:dPt>
          <c:dPt>
            <c:idx val="1658"/>
            <c:invertIfNegative val="1"/>
            <c:bubble3D val="0"/>
            <c:spPr>
              <a:solidFill>
                <a:srgbClr val="AEABAB"/>
              </a:solidFill>
            </c:spPr>
            <c:extLst>
              <c:ext xmlns:c16="http://schemas.microsoft.com/office/drawing/2014/chart" uri="{C3380CC4-5D6E-409C-BE32-E72D297353CC}">
                <c16:uniqueId val="{00000CF7-C623-4FBE-8EDB-4AD12F618AAD}"/>
              </c:ext>
            </c:extLst>
          </c:dPt>
          <c:dPt>
            <c:idx val="1659"/>
            <c:invertIfNegative val="1"/>
            <c:bubble3D val="0"/>
            <c:spPr>
              <a:solidFill>
                <a:srgbClr val="AEABAB"/>
              </a:solidFill>
            </c:spPr>
            <c:extLst>
              <c:ext xmlns:c16="http://schemas.microsoft.com/office/drawing/2014/chart" uri="{C3380CC4-5D6E-409C-BE32-E72D297353CC}">
                <c16:uniqueId val="{00000CF9-C623-4FBE-8EDB-4AD12F618AAD}"/>
              </c:ext>
            </c:extLst>
          </c:dPt>
          <c:dPt>
            <c:idx val="1660"/>
            <c:invertIfNegative val="1"/>
            <c:bubble3D val="0"/>
            <c:spPr>
              <a:solidFill>
                <a:srgbClr val="AEABAB"/>
              </a:solidFill>
            </c:spPr>
            <c:extLst>
              <c:ext xmlns:c16="http://schemas.microsoft.com/office/drawing/2014/chart" uri="{C3380CC4-5D6E-409C-BE32-E72D297353CC}">
                <c16:uniqueId val="{00000CFB-C623-4FBE-8EDB-4AD12F618AAD}"/>
              </c:ext>
            </c:extLst>
          </c:dPt>
          <c:dPt>
            <c:idx val="1661"/>
            <c:invertIfNegative val="1"/>
            <c:bubble3D val="0"/>
            <c:spPr>
              <a:solidFill>
                <a:srgbClr val="AEABAB"/>
              </a:solidFill>
            </c:spPr>
            <c:extLst>
              <c:ext xmlns:c16="http://schemas.microsoft.com/office/drawing/2014/chart" uri="{C3380CC4-5D6E-409C-BE32-E72D297353CC}">
                <c16:uniqueId val="{00000CFD-C623-4FBE-8EDB-4AD12F618AAD}"/>
              </c:ext>
            </c:extLst>
          </c:dPt>
          <c:dPt>
            <c:idx val="1662"/>
            <c:invertIfNegative val="1"/>
            <c:bubble3D val="0"/>
            <c:spPr>
              <a:solidFill>
                <a:srgbClr val="AEABAB"/>
              </a:solidFill>
            </c:spPr>
            <c:extLst>
              <c:ext xmlns:c16="http://schemas.microsoft.com/office/drawing/2014/chart" uri="{C3380CC4-5D6E-409C-BE32-E72D297353CC}">
                <c16:uniqueId val="{00000CFF-C623-4FBE-8EDB-4AD12F618AAD}"/>
              </c:ext>
            </c:extLst>
          </c:dPt>
          <c:dPt>
            <c:idx val="1663"/>
            <c:invertIfNegative val="1"/>
            <c:bubble3D val="0"/>
            <c:spPr>
              <a:solidFill>
                <a:srgbClr val="AEABAB"/>
              </a:solidFill>
            </c:spPr>
            <c:extLst>
              <c:ext xmlns:c16="http://schemas.microsoft.com/office/drawing/2014/chart" uri="{C3380CC4-5D6E-409C-BE32-E72D297353CC}">
                <c16:uniqueId val="{00000D01-C623-4FBE-8EDB-4AD12F618AAD}"/>
              </c:ext>
            </c:extLst>
          </c:dPt>
          <c:dPt>
            <c:idx val="1664"/>
            <c:invertIfNegative val="1"/>
            <c:bubble3D val="0"/>
            <c:spPr>
              <a:solidFill>
                <a:srgbClr val="AEABAB"/>
              </a:solidFill>
            </c:spPr>
            <c:extLst>
              <c:ext xmlns:c16="http://schemas.microsoft.com/office/drawing/2014/chart" uri="{C3380CC4-5D6E-409C-BE32-E72D297353CC}">
                <c16:uniqueId val="{00000D03-C623-4FBE-8EDB-4AD12F618AAD}"/>
              </c:ext>
            </c:extLst>
          </c:dPt>
          <c:dPt>
            <c:idx val="1665"/>
            <c:invertIfNegative val="1"/>
            <c:bubble3D val="0"/>
            <c:spPr>
              <a:solidFill>
                <a:srgbClr val="AEABAB"/>
              </a:solidFill>
            </c:spPr>
            <c:extLst>
              <c:ext xmlns:c16="http://schemas.microsoft.com/office/drawing/2014/chart" uri="{C3380CC4-5D6E-409C-BE32-E72D297353CC}">
                <c16:uniqueId val="{00000D05-C623-4FBE-8EDB-4AD12F618AAD}"/>
              </c:ext>
            </c:extLst>
          </c:dPt>
          <c:dPt>
            <c:idx val="1666"/>
            <c:invertIfNegative val="1"/>
            <c:bubble3D val="0"/>
            <c:spPr>
              <a:solidFill>
                <a:srgbClr val="AEABAB"/>
              </a:solidFill>
            </c:spPr>
            <c:extLst>
              <c:ext xmlns:c16="http://schemas.microsoft.com/office/drawing/2014/chart" uri="{C3380CC4-5D6E-409C-BE32-E72D297353CC}">
                <c16:uniqueId val="{00000D07-C623-4FBE-8EDB-4AD12F618AAD}"/>
              </c:ext>
            </c:extLst>
          </c:dPt>
          <c:dPt>
            <c:idx val="1667"/>
            <c:invertIfNegative val="1"/>
            <c:bubble3D val="0"/>
            <c:spPr>
              <a:solidFill>
                <a:srgbClr val="AEABAB"/>
              </a:solidFill>
            </c:spPr>
            <c:extLst>
              <c:ext xmlns:c16="http://schemas.microsoft.com/office/drawing/2014/chart" uri="{C3380CC4-5D6E-409C-BE32-E72D297353CC}">
                <c16:uniqueId val="{00000D09-C623-4FBE-8EDB-4AD12F618AAD}"/>
              </c:ext>
            </c:extLst>
          </c:dPt>
          <c:dPt>
            <c:idx val="1668"/>
            <c:invertIfNegative val="1"/>
            <c:bubble3D val="0"/>
            <c:spPr>
              <a:solidFill>
                <a:srgbClr val="AEABAB"/>
              </a:solidFill>
            </c:spPr>
            <c:extLst>
              <c:ext xmlns:c16="http://schemas.microsoft.com/office/drawing/2014/chart" uri="{C3380CC4-5D6E-409C-BE32-E72D297353CC}">
                <c16:uniqueId val="{00000D0B-C623-4FBE-8EDB-4AD12F618AAD}"/>
              </c:ext>
            </c:extLst>
          </c:dPt>
          <c:dPt>
            <c:idx val="1669"/>
            <c:invertIfNegative val="1"/>
            <c:bubble3D val="0"/>
            <c:spPr>
              <a:solidFill>
                <a:srgbClr val="AEABAB"/>
              </a:solidFill>
            </c:spPr>
            <c:extLst>
              <c:ext xmlns:c16="http://schemas.microsoft.com/office/drawing/2014/chart" uri="{C3380CC4-5D6E-409C-BE32-E72D297353CC}">
                <c16:uniqueId val="{00000D0D-C623-4FBE-8EDB-4AD12F618AAD}"/>
              </c:ext>
            </c:extLst>
          </c:dPt>
          <c:dPt>
            <c:idx val="1670"/>
            <c:invertIfNegative val="1"/>
            <c:bubble3D val="0"/>
            <c:spPr>
              <a:solidFill>
                <a:srgbClr val="AEABAB"/>
              </a:solidFill>
            </c:spPr>
            <c:extLst>
              <c:ext xmlns:c16="http://schemas.microsoft.com/office/drawing/2014/chart" uri="{C3380CC4-5D6E-409C-BE32-E72D297353CC}">
                <c16:uniqueId val="{00000D0F-C623-4FBE-8EDB-4AD12F618AAD}"/>
              </c:ext>
            </c:extLst>
          </c:dPt>
          <c:dPt>
            <c:idx val="1671"/>
            <c:invertIfNegative val="1"/>
            <c:bubble3D val="0"/>
            <c:spPr>
              <a:solidFill>
                <a:srgbClr val="AEABAB"/>
              </a:solidFill>
            </c:spPr>
            <c:extLst>
              <c:ext xmlns:c16="http://schemas.microsoft.com/office/drawing/2014/chart" uri="{C3380CC4-5D6E-409C-BE32-E72D297353CC}">
                <c16:uniqueId val="{00000D11-C623-4FBE-8EDB-4AD12F618AAD}"/>
              </c:ext>
            </c:extLst>
          </c:dPt>
          <c:dPt>
            <c:idx val="1672"/>
            <c:invertIfNegative val="1"/>
            <c:bubble3D val="0"/>
            <c:spPr>
              <a:solidFill>
                <a:srgbClr val="AEABAB"/>
              </a:solidFill>
            </c:spPr>
            <c:extLst>
              <c:ext xmlns:c16="http://schemas.microsoft.com/office/drawing/2014/chart" uri="{C3380CC4-5D6E-409C-BE32-E72D297353CC}">
                <c16:uniqueId val="{00000D13-C623-4FBE-8EDB-4AD12F618AAD}"/>
              </c:ext>
            </c:extLst>
          </c:dPt>
          <c:dPt>
            <c:idx val="1673"/>
            <c:invertIfNegative val="1"/>
            <c:bubble3D val="0"/>
            <c:spPr>
              <a:solidFill>
                <a:srgbClr val="AEABAB"/>
              </a:solidFill>
            </c:spPr>
            <c:extLst>
              <c:ext xmlns:c16="http://schemas.microsoft.com/office/drawing/2014/chart" uri="{C3380CC4-5D6E-409C-BE32-E72D297353CC}">
                <c16:uniqueId val="{00000D15-C623-4FBE-8EDB-4AD12F618AAD}"/>
              </c:ext>
            </c:extLst>
          </c:dPt>
          <c:dPt>
            <c:idx val="1674"/>
            <c:invertIfNegative val="1"/>
            <c:bubble3D val="0"/>
            <c:spPr>
              <a:solidFill>
                <a:srgbClr val="AEABAB"/>
              </a:solidFill>
            </c:spPr>
            <c:extLst>
              <c:ext xmlns:c16="http://schemas.microsoft.com/office/drawing/2014/chart" uri="{C3380CC4-5D6E-409C-BE32-E72D297353CC}">
                <c16:uniqueId val="{00000D17-C623-4FBE-8EDB-4AD12F618AAD}"/>
              </c:ext>
            </c:extLst>
          </c:dPt>
          <c:dPt>
            <c:idx val="1675"/>
            <c:invertIfNegative val="1"/>
            <c:bubble3D val="0"/>
            <c:spPr>
              <a:solidFill>
                <a:srgbClr val="AEABAB"/>
              </a:solidFill>
            </c:spPr>
            <c:extLst>
              <c:ext xmlns:c16="http://schemas.microsoft.com/office/drawing/2014/chart" uri="{C3380CC4-5D6E-409C-BE32-E72D297353CC}">
                <c16:uniqueId val="{00000D19-C623-4FBE-8EDB-4AD12F618AAD}"/>
              </c:ext>
            </c:extLst>
          </c:dPt>
          <c:dPt>
            <c:idx val="1676"/>
            <c:invertIfNegative val="1"/>
            <c:bubble3D val="0"/>
            <c:spPr>
              <a:solidFill>
                <a:srgbClr val="AEABAB"/>
              </a:solidFill>
            </c:spPr>
            <c:extLst>
              <c:ext xmlns:c16="http://schemas.microsoft.com/office/drawing/2014/chart" uri="{C3380CC4-5D6E-409C-BE32-E72D297353CC}">
                <c16:uniqueId val="{00000D1B-C623-4FBE-8EDB-4AD12F618AAD}"/>
              </c:ext>
            </c:extLst>
          </c:dPt>
          <c:dPt>
            <c:idx val="1677"/>
            <c:invertIfNegative val="1"/>
            <c:bubble3D val="0"/>
            <c:spPr>
              <a:solidFill>
                <a:srgbClr val="AEABAB"/>
              </a:solidFill>
            </c:spPr>
            <c:extLst>
              <c:ext xmlns:c16="http://schemas.microsoft.com/office/drawing/2014/chart" uri="{C3380CC4-5D6E-409C-BE32-E72D297353CC}">
                <c16:uniqueId val="{00000D1D-C623-4FBE-8EDB-4AD12F618AAD}"/>
              </c:ext>
            </c:extLst>
          </c:dPt>
          <c:dPt>
            <c:idx val="1678"/>
            <c:invertIfNegative val="1"/>
            <c:bubble3D val="0"/>
            <c:spPr>
              <a:solidFill>
                <a:srgbClr val="AEABAB"/>
              </a:solidFill>
            </c:spPr>
            <c:extLst>
              <c:ext xmlns:c16="http://schemas.microsoft.com/office/drawing/2014/chart" uri="{C3380CC4-5D6E-409C-BE32-E72D297353CC}">
                <c16:uniqueId val="{00000D1F-C623-4FBE-8EDB-4AD12F618AAD}"/>
              </c:ext>
            </c:extLst>
          </c:dPt>
          <c:dPt>
            <c:idx val="1679"/>
            <c:invertIfNegative val="1"/>
            <c:bubble3D val="0"/>
            <c:spPr>
              <a:solidFill>
                <a:srgbClr val="AEABAB"/>
              </a:solidFill>
            </c:spPr>
            <c:extLst>
              <c:ext xmlns:c16="http://schemas.microsoft.com/office/drawing/2014/chart" uri="{C3380CC4-5D6E-409C-BE32-E72D297353CC}">
                <c16:uniqueId val="{00000D21-C623-4FBE-8EDB-4AD12F618AAD}"/>
              </c:ext>
            </c:extLst>
          </c:dPt>
          <c:dPt>
            <c:idx val="1680"/>
            <c:invertIfNegative val="1"/>
            <c:bubble3D val="0"/>
            <c:spPr>
              <a:solidFill>
                <a:srgbClr val="AEABAB"/>
              </a:solidFill>
            </c:spPr>
            <c:extLst>
              <c:ext xmlns:c16="http://schemas.microsoft.com/office/drawing/2014/chart" uri="{C3380CC4-5D6E-409C-BE32-E72D297353CC}">
                <c16:uniqueId val="{00000D23-C623-4FBE-8EDB-4AD12F618AAD}"/>
              </c:ext>
            </c:extLst>
          </c:dPt>
          <c:dPt>
            <c:idx val="1681"/>
            <c:invertIfNegative val="1"/>
            <c:bubble3D val="0"/>
            <c:spPr>
              <a:solidFill>
                <a:srgbClr val="AEABAB"/>
              </a:solidFill>
            </c:spPr>
            <c:extLst>
              <c:ext xmlns:c16="http://schemas.microsoft.com/office/drawing/2014/chart" uri="{C3380CC4-5D6E-409C-BE32-E72D297353CC}">
                <c16:uniqueId val="{00000D25-C623-4FBE-8EDB-4AD12F618AAD}"/>
              </c:ext>
            </c:extLst>
          </c:dPt>
          <c:dPt>
            <c:idx val="1682"/>
            <c:invertIfNegative val="1"/>
            <c:bubble3D val="0"/>
            <c:spPr>
              <a:solidFill>
                <a:srgbClr val="AEABAB"/>
              </a:solidFill>
            </c:spPr>
            <c:extLst>
              <c:ext xmlns:c16="http://schemas.microsoft.com/office/drawing/2014/chart" uri="{C3380CC4-5D6E-409C-BE32-E72D297353CC}">
                <c16:uniqueId val="{00000D27-C623-4FBE-8EDB-4AD12F618AAD}"/>
              </c:ext>
            </c:extLst>
          </c:dPt>
          <c:dPt>
            <c:idx val="1683"/>
            <c:invertIfNegative val="1"/>
            <c:bubble3D val="0"/>
            <c:spPr>
              <a:solidFill>
                <a:srgbClr val="AEABAB"/>
              </a:solidFill>
            </c:spPr>
            <c:extLst>
              <c:ext xmlns:c16="http://schemas.microsoft.com/office/drawing/2014/chart" uri="{C3380CC4-5D6E-409C-BE32-E72D297353CC}">
                <c16:uniqueId val="{00000D29-C623-4FBE-8EDB-4AD12F618AAD}"/>
              </c:ext>
            </c:extLst>
          </c:dPt>
          <c:dPt>
            <c:idx val="1684"/>
            <c:invertIfNegative val="1"/>
            <c:bubble3D val="0"/>
            <c:spPr>
              <a:solidFill>
                <a:srgbClr val="AEABAB"/>
              </a:solidFill>
            </c:spPr>
            <c:extLst>
              <c:ext xmlns:c16="http://schemas.microsoft.com/office/drawing/2014/chart" uri="{C3380CC4-5D6E-409C-BE32-E72D297353CC}">
                <c16:uniqueId val="{00000D2B-C623-4FBE-8EDB-4AD12F618AAD}"/>
              </c:ext>
            </c:extLst>
          </c:dPt>
          <c:dPt>
            <c:idx val="1685"/>
            <c:invertIfNegative val="1"/>
            <c:bubble3D val="0"/>
            <c:spPr>
              <a:solidFill>
                <a:srgbClr val="AEABAB"/>
              </a:solidFill>
            </c:spPr>
            <c:extLst>
              <c:ext xmlns:c16="http://schemas.microsoft.com/office/drawing/2014/chart" uri="{C3380CC4-5D6E-409C-BE32-E72D297353CC}">
                <c16:uniqueId val="{00000D2D-C623-4FBE-8EDB-4AD12F618AAD}"/>
              </c:ext>
            </c:extLst>
          </c:dPt>
          <c:dPt>
            <c:idx val="1686"/>
            <c:invertIfNegative val="1"/>
            <c:bubble3D val="0"/>
            <c:spPr>
              <a:solidFill>
                <a:srgbClr val="AEABAB"/>
              </a:solidFill>
            </c:spPr>
            <c:extLst>
              <c:ext xmlns:c16="http://schemas.microsoft.com/office/drawing/2014/chart" uri="{C3380CC4-5D6E-409C-BE32-E72D297353CC}">
                <c16:uniqueId val="{00000D2F-C623-4FBE-8EDB-4AD12F618AAD}"/>
              </c:ext>
            </c:extLst>
          </c:dPt>
          <c:dPt>
            <c:idx val="1687"/>
            <c:invertIfNegative val="1"/>
            <c:bubble3D val="0"/>
            <c:spPr>
              <a:solidFill>
                <a:srgbClr val="AEABAB"/>
              </a:solidFill>
            </c:spPr>
            <c:extLst>
              <c:ext xmlns:c16="http://schemas.microsoft.com/office/drawing/2014/chart" uri="{C3380CC4-5D6E-409C-BE32-E72D297353CC}">
                <c16:uniqueId val="{00000D31-C623-4FBE-8EDB-4AD12F618AAD}"/>
              </c:ext>
            </c:extLst>
          </c:dPt>
          <c:dPt>
            <c:idx val="1688"/>
            <c:invertIfNegative val="1"/>
            <c:bubble3D val="0"/>
            <c:spPr>
              <a:solidFill>
                <a:srgbClr val="AEABAB"/>
              </a:solidFill>
            </c:spPr>
            <c:extLst>
              <c:ext xmlns:c16="http://schemas.microsoft.com/office/drawing/2014/chart" uri="{C3380CC4-5D6E-409C-BE32-E72D297353CC}">
                <c16:uniqueId val="{00000D33-C623-4FBE-8EDB-4AD12F618AAD}"/>
              </c:ext>
            </c:extLst>
          </c:dPt>
          <c:dPt>
            <c:idx val="1689"/>
            <c:invertIfNegative val="1"/>
            <c:bubble3D val="0"/>
            <c:spPr>
              <a:solidFill>
                <a:srgbClr val="AEABAB"/>
              </a:solidFill>
            </c:spPr>
            <c:extLst>
              <c:ext xmlns:c16="http://schemas.microsoft.com/office/drawing/2014/chart" uri="{C3380CC4-5D6E-409C-BE32-E72D297353CC}">
                <c16:uniqueId val="{00000D35-C623-4FBE-8EDB-4AD12F618AAD}"/>
              </c:ext>
            </c:extLst>
          </c:dPt>
          <c:dPt>
            <c:idx val="1690"/>
            <c:invertIfNegative val="1"/>
            <c:bubble3D val="0"/>
            <c:spPr>
              <a:solidFill>
                <a:srgbClr val="AEABAB"/>
              </a:solidFill>
            </c:spPr>
            <c:extLst>
              <c:ext xmlns:c16="http://schemas.microsoft.com/office/drawing/2014/chart" uri="{C3380CC4-5D6E-409C-BE32-E72D297353CC}">
                <c16:uniqueId val="{00000D37-C623-4FBE-8EDB-4AD12F618AAD}"/>
              </c:ext>
            </c:extLst>
          </c:dPt>
          <c:dPt>
            <c:idx val="1691"/>
            <c:invertIfNegative val="1"/>
            <c:bubble3D val="0"/>
            <c:spPr>
              <a:solidFill>
                <a:srgbClr val="AEABAB"/>
              </a:solidFill>
            </c:spPr>
            <c:extLst>
              <c:ext xmlns:c16="http://schemas.microsoft.com/office/drawing/2014/chart" uri="{C3380CC4-5D6E-409C-BE32-E72D297353CC}">
                <c16:uniqueId val="{00000D39-C623-4FBE-8EDB-4AD12F618AAD}"/>
              </c:ext>
            </c:extLst>
          </c:dPt>
          <c:dPt>
            <c:idx val="1692"/>
            <c:invertIfNegative val="1"/>
            <c:bubble3D val="0"/>
            <c:spPr>
              <a:solidFill>
                <a:srgbClr val="AEABAB"/>
              </a:solidFill>
            </c:spPr>
            <c:extLst>
              <c:ext xmlns:c16="http://schemas.microsoft.com/office/drawing/2014/chart" uri="{C3380CC4-5D6E-409C-BE32-E72D297353CC}">
                <c16:uniqueId val="{00000D3B-C623-4FBE-8EDB-4AD12F618AAD}"/>
              </c:ext>
            </c:extLst>
          </c:dPt>
          <c:dPt>
            <c:idx val="1693"/>
            <c:invertIfNegative val="1"/>
            <c:bubble3D val="0"/>
            <c:spPr>
              <a:solidFill>
                <a:srgbClr val="AEABAB"/>
              </a:solidFill>
            </c:spPr>
            <c:extLst>
              <c:ext xmlns:c16="http://schemas.microsoft.com/office/drawing/2014/chart" uri="{C3380CC4-5D6E-409C-BE32-E72D297353CC}">
                <c16:uniqueId val="{00000D3D-C623-4FBE-8EDB-4AD12F618AAD}"/>
              </c:ext>
            </c:extLst>
          </c:dPt>
          <c:dPt>
            <c:idx val="1694"/>
            <c:invertIfNegative val="1"/>
            <c:bubble3D val="0"/>
            <c:spPr>
              <a:solidFill>
                <a:srgbClr val="AEABAB"/>
              </a:solidFill>
            </c:spPr>
            <c:extLst>
              <c:ext xmlns:c16="http://schemas.microsoft.com/office/drawing/2014/chart" uri="{C3380CC4-5D6E-409C-BE32-E72D297353CC}">
                <c16:uniqueId val="{00000D3F-C623-4FBE-8EDB-4AD12F618AAD}"/>
              </c:ext>
            </c:extLst>
          </c:dPt>
          <c:dPt>
            <c:idx val="1695"/>
            <c:invertIfNegative val="1"/>
            <c:bubble3D val="0"/>
            <c:spPr>
              <a:solidFill>
                <a:srgbClr val="AEABAB"/>
              </a:solidFill>
            </c:spPr>
            <c:extLst>
              <c:ext xmlns:c16="http://schemas.microsoft.com/office/drawing/2014/chart" uri="{C3380CC4-5D6E-409C-BE32-E72D297353CC}">
                <c16:uniqueId val="{00000D41-C623-4FBE-8EDB-4AD12F618AAD}"/>
              </c:ext>
            </c:extLst>
          </c:dPt>
          <c:dPt>
            <c:idx val="1696"/>
            <c:invertIfNegative val="1"/>
            <c:bubble3D val="0"/>
            <c:spPr>
              <a:solidFill>
                <a:srgbClr val="AEABAB"/>
              </a:solidFill>
            </c:spPr>
            <c:extLst>
              <c:ext xmlns:c16="http://schemas.microsoft.com/office/drawing/2014/chart" uri="{C3380CC4-5D6E-409C-BE32-E72D297353CC}">
                <c16:uniqueId val="{00000D43-C623-4FBE-8EDB-4AD12F618AAD}"/>
              </c:ext>
            </c:extLst>
          </c:dPt>
          <c:dPt>
            <c:idx val="1697"/>
            <c:invertIfNegative val="1"/>
            <c:bubble3D val="0"/>
            <c:spPr>
              <a:solidFill>
                <a:srgbClr val="AEABAB"/>
              </a:solidFill>
            </c:spPr>
            <c:extLst>
              <c:ext xmlns:c16="http://schemas.microsoft.com/office/drawing/2014/chart" uri="{C3380CC4-5D6E-409C-BE32-E72D297353CC}">
                <c16:uniqueId val="{00000D45-C623-4FBE-8EDB-4AD12F618AAD}"/>
              </c:ext>
            </c:extLst>
          </c:dPt>
          <c:dPt>
            <c:idx val="1698"/>
            <c:invertIfNegative val="1"/>
            <c:bubble3D val="0"/>
            <c:spPr>
              <a:solidFill>
                <a:srgbClr val="AEABAB"/>
              </a:solidFill>
            </c:spPr>
            <c:extLst>
              <c:ext xmlns:c16="http://schemas.microsoft.com/office/drawing/2014/chart" uri="{C3380CC4-5D6E-409C-BE32-E72D297353CC}">
                <c16:uniqueId val="{00000D47-C623-4FBE-8EDB-4AD12F618AAD}"/>
              </c:ext>
            </c:extLst>
          </c:dPt>
          <c:dPt>
            <c:idx val="1699"/>
            <c:invertIfNegative val="1"/>
            <c:bubble3D val="0"/>
            <c:spPr>
              <a:solidFill>
                <a:srgbClr val="AEABAB"/>
              </a:solidFill>
            </c:spPr>
            <c:extLst>
              <c:ext xmlns:c16="http://schemas.microsoft.com/office/drawing/2014/chart" uri="{C3380CC4-5D6E-409C-BE32-E72D297353CC}">
                <c16:uniqueId val="{00000D49-C623-4FBE-8EDB-4AD12F618AAD}"/>
              </c:ext>
            </c:extLst>
          </c:dPt>
          <c:dPt>
            <c:idx val="1700"/>
            <c:invertIfNegative val="1"/>
            <c:bubble3D val="0"/>
            <c:spPr>
              <a:solidFill>
                <a:srgbClr val="AEABAB"/>
              </a:solidFill>
            </c:spPr>
            <c:extLst>
              <c:ext xmlns:c16="http://schemas.microsoft.com/office/drawing/2014/chart" uri="{C3380CC4-5D6E-409C-BE32-E72D297353CC}">
                <c16:uniqueId val="{00000D4B-C623-4FBE-8EDB-4AD12F618AAD}"/>
              </c:ext>
            </c:extLst>
          </c:dPt>
          <c:dPt>
            <c:idx val="1701"/>
            <c:invertIfNegative val="1"/>
            <c:bubble3D val="0"/>
            <c:spPr>
              <a:solidFill>
                <a:srgbClr val="AEABAB"/>
              </a:solidFill>
            </c:spPr>
            <c:extLst>
              <c:ext xmlns:c16="http://schemas.microsoft.com/office/drawing/2014/chart" uri="{C3380CC4-5D6E-409C-BE32-E72D297353CC}">
                <c16:uniqueId val="{00000D4D-C623-4FBE-8EDB-4AD12F618AAD}"/>
              </c:ext>
            </c:extLst>
          </c:dPt>
          <c:dPt>
            <c:idx val="1702"/>
            <c:invertIfNegative val="1"/>
            <c:bubble3D val="0"/>
            <c:spPr>
              <a:solidFill>
                <a:srgbClr val="AEABAB"/>
              </a:solidFill>
            </c:spPr>
            <c:extLst>
              <c:ext xmlns:c16="http://schemas.microsoft.com/office/drawing/2014/chart" uri="{C3380CC4-5D6E-409C-BE32-E72D297353CC}">
                <c16:uniqueId val="{00000D4F-C623-4FBE-8EDB-4AD12F618AAD}"/>
              </c:ext>
            </c:extLst>
          </c:dPt>
          <c:dPt>
            <c:idx val="1703"/>
            <c:invertIfNegative val="1"/>
            <c:bubble3D val="0"/>
            <c:spPr>
              <a:solidFill>
                <a:srgbClr val="AEABAB"/>
              </a:solidFill>
            </c:spPr>
            <c:extLst>
              <c:ext xmlns:c16="http://schemas.microsoft.com/office/drawing/2014/chart" uri="{C3380CC4-5D6E-409C-BE32-E72D297353CC}">
                <c16:uniqueId val="{00000D51-C623-4FBE-8EDB-4AD12F618AAD}"/>
              </c:ext>
            </c:extLst>
          </c:dPt>
          <c:dPt>
            <c:idx val="1704"/>
            <c:invertIfNegative val="1"/>
            <c:bubble3D val="0"/>
            <c:spPr>
              <a:solidFill>
                <a:srgbClr val="AEABAB"/>
              </a:solidFill>
            </c:spPr>
            <c:extLst>
              <c:ext xmlns:c16="http://schemas.microsoft.com/office/drawing/2014/chart" uri="{C3380CC4-5D6E-409C-BE32-E72D297353CC}">
                <c16:uniqueId val="{00000D53-C623-4FBE-8EDB-4AD12F618AAD}"/>
              </c:ext>
            </c:extLst>
          </c:dPt>
          <c:dPt>
            <c:idx val="1705"/>
            <c:invertIfNegative val="1"/>
            <c:bubble3D val="0"/>
            <c:spPr>
              <a:solidFill>
                <a:srgbClr val="AEABAB"/>
              </a:solidFill>
            </c:spPr>
            <c:extLst>
              <c:ext xmlns:c16="http://schemas.microsoft.com/office/drawing/2014/chart" uri="{C3380CC4-5D6E-409C-BE32-E72D297353CC}">
                <c16:uniqueId val="{00000D55-C623-4FBE-8EDB-4AD12F618AAD}"/>
              </c:ext>
            </c:extLst>
          </c:dPt>
          <c:dPt>
            <c:idx val="1706"/>
            <c:invertIfNegative val="1"/>
            <c:bubble3D val="0"/>
            <c:spPr>
              <a:solidFill>
                <a:srgbClr val="AEABAB"/>
              </a:solidFill>
            </c:spPr>
            <c:extLst>
              <c:ext xmlns:c16="http://schemas.microsoft.com/office/drawing/2014/chart" uri="{C3380CC4-5D6E-409C-BE32-E72D297353CC}">
                <c16:uniqueId val="{00000D57-C623-4FBE-8EDB-4AD12F618AAD}"/>
              </c:ext>
            </c:extLst>
          </c:dPt>
          <c:dPt>
            <c:idx val="1707"/>
            <c:invertIfNegative val="1"/>
            <c:bubble3D val="0"/>
            <c:spPr>
              <a:solidFill>
                <a:srgbClr val="AEABAB"/>
              </a:solidFill>
            </c:spPr>
            <c:extLst>
              <c:ext xmlns:c16="http://schemas.microsoft.com/office/drawing/2014/chart" uri="{C3380CC4-5D6E-409C-BE32-E72D297353CC}">
                <c16:uniqueId val="{00000D59-C623-4FBE-8EDB-4AD12F618AAD}"/>
              </c:ext>
            </c:extLst>
          </c:dPt>
          <c:dPt>
            <c:idx val="1708"/>
            <c:invertIfNegative val="1"/>
            <c:bubble3D val="0"/>
            <c:spPr>
              <a:solidFill>
                <a:srgbClr val="AEABAB"/>
              </a:solidFill>
            </c:spPr>
            <c:extLst>
              <c:ext xmlns:c16="http://schemas.microsoft.com/office/drawing/2014/chart" uri="{C3380CC4-5D6E-409C-BE32-E72D297353CC}">
                <c16:uniqueId val="{00000D5B-C623-4FBE-8EDB-4AD12F618AAD}"/>
              </c:ext>
            </c:extLst>
          </c:dPt>
          <c:dPt>
            <c:idx val="1709"/>
            <c:invertIfNegative val="1"/>
            <c:bubble3D val="0"/>
            <c:spPr>
              <a:solidFill>
                <a:srgbClr val="AEABAB"/>
              </a:solidFill>
            </c:spPr>
            <c:extLst>
              <c:ext xmlns:c16="http://schemas.microsoft.com/office/drawing/2014/chart" uri="{C3380CC4-5D6E-409C-BE32-E72D297353CC}">
                <c16:uniqueId val="{00000D5D-C623-4FBE-8EDB-4AD12F618AAD}"/>
              </c:ext>
            </c:extLst>
          </c:dPt>
          <c:dPt>
            <c:idx val="1710"/>
            <c:invertIfNegative val="1"/>
            <c:bubble3D val="0"/>
            <c:spPr>
              <a:solidFill>
                <a:srgbClr val="AEABAB"/>
              </a:solidFill>
            </c:spPr>
            <c:extLst>
              <c:ext xmlns:c16="http://schemas.microsoft.com/office/drawing/2014/chart" uri="{C3380CC4-5D6E-409C-BE32-E72D297353CC}">
                <c16:uniqueId val="{00000D5F-C623-4FBE-8EDB-4AD12F618AAD}"/>
              </c:ext>
            </c:extLst>
          </c:dPt>
          <c:dPt>
            <c:idx val="1711"/>
            <c:invertIfNegative val="1"/>
            <c:bubble3D val="0"/>
            <c:spPr>
              <a:solidFill>
                <a:srgbClr val="AEABAB"/>
              </a:solidFill>
            </c:spPr>
            <c:extLst>
              <c:ext xmlns:c16="http://schemas.microsoft.com/office/drawing/2014/chart" uri="{C3380CC4-5D6E-409C-BE32-E72D297353CC}">
                <c16:uniqueId val="{00000D61-C623-4FBE-8EDB-4AD12F618AAD}"/>
              </c:ext>
            </c:extLst>
          </c:dPt>
          <c:dPt>
            <c:idx val="1712"/>
            <c:invertIfNegative val="1"/>
            <c:bubble3D val="0"/>
            <c:spPr>
              <a:solidFill>
                <a:srgbClr val="AEABAB"/>
              </a:solidFill>
            </c:spPr>
            <c:extLst>
              <c:ext xmlns:c16="http://schemas.microsoft.com/office/drawing/2014/chart" uri="{C3380CC4-5D6E-409C-BE32-E72D297353CC}">
                <c16:uniqueId val="{00000D63-C623-4FBE-8EDB-4AD12F618AAD}"/>
              </c:ext>
            </c:extLst>
          </c:dPt>
          <c:dPt>
            <c:idx val="1713"/>
            <c:invertIfNegative val="1"/>
            <c:bubble3D val="0"/>
            <c:spPr>
              <a:solidFill>
                <a:srgbClr val="AEABAB"/>
              </a:solidFill>
            </c:spPr>
            <c:extLst>
              <c:ext xmlns:c16="http://schemas.microsoft.com/office/drawing/2014/chart" uri="{C3380CC4-5D6E-409C-BE32-E72D297353CC}">
                <c16:uniqueId val="{00000D65-C623-4FBE-8EDB-4AD12F618AAD}"/>
              </c:ext>
            </c:extLst>
          </c:dPt>
          <c:dPt>
            <c:idx val="1714"/>
            <c:invertIfNegative val="1"/>
            <c:bubble3D val="0"/>
            <c:spPr>
              <a:solidFill>
                <a:srgbClr val="AEABAB"/>
              </a:solidFill>
            </c:spPr>
            <c:extLst>
              <c:ext xmlns:c16="http://schemas.microsoft.com/office/drawing/2014/chart" uri="{C3380CC4-5D6E-409C-BE32-E72D297353CC}">
                <c16:uniqueId val="{00000D67-C623-4FBE-8EDB-4AD12F618AAD}"/>
              </c:ext>
            </c:extLst>
          </c:dPt>
          <c:dPt>
            <c:idx val="1715"/>
            <c:invertIfNegative val="1"/>
            <c:bubble3D val="0"/>
            <c:spPr>
              <a:solidFill>
                <a:srgbClr val="AEABAB"/>
              </a:solidFill>
            </c:spPr>
            <c:extLst>
              <c:ext xmlns:c16="http://schemas.microsoft.com/office/drawing/2014/chart" uri="{C3380CC4-5D6E-409C-BE32-E72D297353CC}">
                <c16:uniqueId val="{00000D69-C623-4FBE-8EDB-4AD12F618AAD}"/>
              </c:ext>
            </c:extLst>
          </c:dPt>
          <c:dPt>
            <c:idx val="1716"/>
            <c:invertIfNegative val="1"/>
            <c:bubble3D val="0"/>
            <c:spPr>
              <a:solidFill>
                <a:srgbClr val="AEABAB"/>
              </a:solidFill>
            </c:spPr>
            <c:extLst>
              <c:ext xmlns:c16="http://schemas.microsoft.com/office/drawing/2014/chart" uri="{C3380CC4-5D6E-409C-BE32-E72D297353CC}">
                <c16:uniqueId val="{00000D6B-C623-4FBE-8EDB-4AD12F618AAD}"/>
              </c:ext>
            </c:extLst>
          </c:dPt>
          <c:dPt>
            <c:idx val="1717"/>
            <c:invertIfNegative val="1"/>
            <c:bubble3D val="0"/>
            <c:spPr>
              <a:solidFill>
                <a:srgbClr val="AEABAB"/>
              </a:solidFill>
            </c:spPr>
            <c:extLst>
              <c:ext xmlns:c16="http://schemas.microsoft.com/office/drawing/2014/chart" uri="{C3380CC4-5D6E-409C-BE32-E72D297353CC}">
                <c16:uniqueId val="{00000D6D-C623-4FBE-8EDB-4AD12F618AAD}"/>
              </c:ext>
            </c:extLst>
          </c:dPt>
          <c:dPt>
            <c:idx val="1718"/>
            <c:invertIfNegative val="1"/>
            <c:bubble3D val="0"/>
            <c:spPr>
              <a:solidFill>
                <a:srgbClr val="AEABAB"/>
              </a:solidFill>
            </c:spPr>
            <c:extLst>
              <c:ext xmlns:c16="http://schemas.microsoft.com/office/drawing/2014/chart" uri="{C3380CC4-5D6E-409C-BE32-E72D297353CC}">
                <c16:uniqueId val="{00000D6F-C623-4FBE-8EDB-4AD12F618AAD}"/>
              </c:ext>
            </c:extLst>
          </c:dPt>
          <c:dPt>
            <c:idx val="1719"/>
            <c:invertIfNegative val="1"/>
            <c:bubble3D val="0"/>
            <c:spPr>
              <a:solidFill>
                <a:srgbClr val="AEABAB"/>
              </a:solidFill>
            </c:spPr>
            <c:extLst>
              <c:ext xmlns:c16="http://schemas.microsoft.com/office/drawing/2014/chart" uri="{C3380CC4-5D6E-409C-BE32-E72D297353CC}">
                <c16:uniqueId val="{00000D71-C623-4FBE-8EDB-4AD12F618AAD}"/>
              </c:ext>
            </c:extLst>
          </c:dPt>
          <c:dPt>
            <c:idx val="1720"/>
            <c:invertIfNegative val="1"/>
            <c:bubble3D val="0"/>
            <c:spPr>
              <a:solidFill>
                <a:srgbClr val="AEABAB"/>
              </a:solidFill>
            </c:spPr>
            <c:extLst>
              <c:ext xmlns:c16="http://schemas.microsoft.com/office/drawing/2014/chart" uri="{C3380CC4-5D6E-409C-BE32-E72D297353CC}">
                <c16:uniqueId val="{00000D73-C623-4FBE-8EDB-4AD12F618AAD}"/>
              </c:ext>
            </c:extLst>
          </c:dPt>
          <c:dPt>
            <c:idx val="1721"/>
            <c:invertIfNegative val="1"/>
            <c:bubble3D val="0"/>
            <c:spPr>
              <a:solidFill>
                <a:srgbClr val="AEABAB"/>
              </a:solidFill>
            </c:spPr>
            <c:extLst>
              <c:ext xmlns:c16="http://schemas.microsoft.com/office/drawing/2014/chart" uri="{C3380CC4-5D6E-409C-BE32-E72D297353CC}">
                <c16:uniqueId val="{00000D75-C623-4FBE-8EDB-4AD12F618AAD}"/>
              </c:ext>
            </c:extLst>
          </c:dPt>
          <c:dPt>
            <c:idx val="1722"/>
            <c:invertIfNegative val="1"/>
            <c:bubble3D val="0"/>
            <c:spPr>
              <a:solidFill>
                <a:srgbClr val="AEABAB"/>
              </a:solidFill>
            </c:spPr>
            <c:extLst>
              <c:ext xmlns:c16="http://schemas.microsoft.com/office/drawing/2014/chart" uri="{C3380CC4-5D6E-409C-BE32-E72D297353CC}">
                <c16:uniqueId val="{00000D77-C623-4FBE-8EDB-4AD12F618AAD}"/>
              </c:ext>
            </c:extLst>
          </c:dPt>
          <c:dPt>
            <c:idx val="1723"/>
            <c:invertIfNegative val="1"/>
            <c:bubble3D val="0"/>
            <c:spPr>
              <a:solidFill>
                <a:srgbClr val="AEABAB"/>
              </a:solidFill>
            </c:spPr>
            <c:extLst>
              <c:ext xmlns:c16="http://schemas.microsoft.com/office/drawing/2014/chart" uri="{C3380CC4-5D6E-409C-BE32-E72D297353CC}">
                <c16:uniqueId val="{00000D79-C623-4FBE-8EDB-4AD12F618AAD}"/>
              </c:ext>
            </c:extLst>
          </c:dPt>
          <c:dPt>
            <c:idx val="1724"/>
            <c:invertIfNegative val="1"/>
            <c:bubble3D val="0"/>
            <c:spPr>
              <a:solidFill>
                <a:srgbClr val="AEABAB"/>
              </a:solidFill>
            </c:spPr>
            <c:extLst>
              <c:ext xmlns:c16="http://schemas.microsoft.com/office/drawing/2014/chart" uri="{C3380CC4-5D6E-409C-BE32-E72D297353CC}">
                <c16:uniqueId val="{00000D7B-C623-4FBE-8EDB-4AD12F618AAD}"/>
              </c:ext>
            </c:extLst>
          </c:dPt>
          <c:dPt>
            <c:idx val="1725"/>
            <c:invertIfNegative val="1"/>
            <c:bubble3D val="0"/>
            <c:spPr>
              <a:solidFill>
                <a:srgbClr val="AEABAB"/>
              </a:solidFill>
            </c:spPr>
            <c:extLst>
              <c:ext xmlns:c16="http://schemas.microsoft.com/office/drawing/2014/chart" uri="{C3380CC4-5D6E-409C-BE32-E72D297353CC}">
                <c16:uniqueId val="{00000D7D-C623-4FBE-8EDB-4AD12F618AAD}"/>
              </c:ext>
            </c:extLst>
          </c:dPt>
          <c:dPt>
            <c:idx val="1726"/>
            <c:invertIfNegative val="1"/>
            <c:bubble3D val="0"/>
            <c:spPr>
              <a:solidFill>
                <a:srgbClr val="AEABAB"/>
              </a:solidFill>
            </c:spPr>
            <c:extLst>
              <c:ext xmlns:c16="http://schemas.microsoft.com/office/drawing/2014/chart" uri="{C3380CC4-5D6E-409C-BE32-E72D297353CC}">
                <c16:uniqueId val="{00000D7F-C623-4FBE-8EDB-4AD12F618AAD}"/>
              </c:ext>
            </c:extLst>
          </c:dPt>
          <c:dPt>
            <c:idx val="1727"/>
            <c:invertIfNegative val="1"/>
            <c:bubble3D val="0"/>
            <c:spPr>
              <a:solidFill>
                <a:srgbClr val="AEABAB"/>
              </a:solidFill>
            </c:spPr>
            <c:extLst>
              <c:ext xmlns:c16="http://schemas.microsoft.com/office/drawing/2014/chart" uri="{C3380CC4-5D6E-409C-BE32-E72D297353CC}">
                <c16:uniqueId val="{00000D81-C623-4FBE-8EDB-4AD12F618AAD}"/>
              </c:ext>
            </c:extLst>
          </c:dPt>
          <c:dPt>
            <c:idx val="1728"/>
            <c:invertIfNegative val="1"/>
            <c:bubble3D val="0"/>
            <c:spPr>
              <a:solidFill>
                <a:srgbClr val="AEABAB"/>
              </a:solidFill>
            </c:spPr>
            <c:extLst>
              <c:ext xmlns:c16="http://schemas.microsoft.com/office/drawing/2014/chart" uri="{C3380CC4-5D6E-409C-BE32-E72D297353CC}">
                <c16:uniqueId val="{00000D83-C623-4FBE-8EDB-4AD12F618AAD}"/>
              </c:ext>
            </c:extLst>
          </c:dPt>
          <c:dPt>
            <c:idx val="1729"/>
            <c:invertIfNegative val="1"/>
            <c:bubble3D val="0"/>
            <c:spPr>
              <a:solidFill>
                <a:srgbClr val="AEABAB"/>
              </a:solidFill>
            </c:spPr>
            <c:extLst>
              <c:ext xmlns:c16="http://schemas.microsoft.com/office/drawing/2014/chart" uri="{C3380CC4-5D6E-409C-BE32-E72D297353CC}">
                <c16:uniqueId val="{00000D85-C623-4FBE-8EDB-4AD12F618AAD}"/>
              </c:ext>
            </c:extLst>
          </c:dPt>
          <c:dPt>
            <c:idx val="1730"/>
            <c:invertIfNegative val="1"/>
            <c:bubble3D val="0"/>
            <c:spPr>
              <a:solidFill>
                <a:srgbClr val="AEABAB"/>
              </a:solidFill>
            </c:spPr>
            <c:extLst>
              <c:ext xmlns:c16="http://schemas.microsoft.com/office/drawing/2014/chart" uri="{C3380CC4-5D6E-409C-BE32-E72D297353CC}">
                <c16:uniqueId val="{00000D87-C623-4FBE-8EDB-4AD12F618AAD}"/>
              </c:ext>
            </c:extLst>
          </c:dPt>
          <c:dPt>
            <c:idx val="1731"/>
            <c:invertIfNegative val="1"/>
            <c:bubble3D val="0"/>
            <c:spPr>
              <a:solidFill>
                <a:srgbClr val="AEABAB"/>
              </a:solidFill>
            </c:spPr>
            <c:extLst>
              <c:ext xmlns:c16="http://schemas.microsoft.com/office/drawing/2014/chart" uri="{C3380CC4-5D6E-409C-BE32-E72D297353CC}">
                <c16:uniqueId val="{00000D89-C623-4FBE-8EDB-4AD12F618AAD}"/>
              </c:ext>
            </c:extLst>
          </c:dPt>
          <c:dPt>
            <c:idx val="1732"/>
            <c:invertIfNegative val="1"/>
            <c:bubble3D val="0"/>
            <c:spPr>
              <a:solidFill>
                <a:srgbClr val="AEABAB"/>
              </a:solidFill>
            </c:spPr>
            <c:extLst>
              <c:ext xmlns:c16="http://schemas.microsoft.com/office/drawing/2014/chart" uri="{C3380CC4-5D6E-409C-BE32-E72D297353CC}">
                <c16:uniqueId val="{00000D8B-C623-4FBE-8EDB-4AD12F618AAD}"/>
              </c:ext>
            </c:extLst>
          </c:dPt>
          <c:dPt>
            <c:idx val="1733"/>
            <c:invertIfNegative val="1"/>
            <c:bubble3D val="0"/>
            <c:spPr>
              <a:solidFill>
                <a:srgbClr val="AEABAB"/>
              </a:solidFill>
            </c:spPr>
            <c:extLst>
              <c:ext xmlns:c16="http://schemas.microsoft.com/office/drawing/2014/chart" uri="{C3380CC4-5D6E-409C-BE32-E72D297353CC}">
                <c16:uniqueId val="{00000D8D-C623-4FBE-8EDB-4AD12F618AAD}"/>
              </c:ext>
            </c:extLst>
          </c:dPt>
          <c:dPt>
            <c:idx val="1734"/>
            <c:invertIfNegative val="1"/>
            <c:bubble3D val="0"/>
            <c:spPr>
              <a:solidFill>
                <a:srgbClr val="AEABAB"/>
              </a:solidFill>
            </c:spPr>
            <c:extLst>
              <c:ext xmlns:c16="http://schemas.microsoft.com/office/drawing/2014/chart" uri="{C3380CC4-5D6E-409C-BE32-E72D297353CC}">
                <c16:uniqueId val="{00000D8F-C623-4FBE-8EDB-4AD12F618AAD}"/>
              </c:ext>
            </c:extLst>
          </c:dPt>
          <c:dPt>
            <c:idx val="1735"/>
            <c:invertIfNegative val="1"/>
            <c:bubble3D val="0"/>
            <c:spPr>
              <a:solidFill>
                <a:srgbClr val="AEABAB"/>
              </a:solidFill>
            </c:spPr>
            <c:extLst>
              <c:ext xmlns:c16="http://schemas.microsoft.com/office/drawing/2014/chart" uri="{C3380CC4-5D6E-409C-BE32-E72D297353CC}">
                <c16:uniqueId val="{00000D91-C623-4FBE-8EDB-4AD12F618AAD}"/>
              </c:ext>
            </c:extLst>
          </c:dPt>
          <c:dPt>
            <c:idx val="1736"/>
            <c:invertIfNegative val="1"/>
            <c:bubble3D val="0"/>
            <c:spPr>
              <a:solidFill>
                <a:srgbClr val="AEABAB"/>
              </a:solidFill>
            </c:spPr>
            <c:extLst>
              <c:ext xmlns:c16="http://schemas.microsoft.com/office/drawing/2014/chart" uri="{C3380CC4-5D6E-409C-BE32-E72D297353CC}">
                <c16:uniqueId val="{00000D93-C623-4FBE-8EDB-4AD12F618AAD}"/>
              </c:ext>
            </c:extLst>
          </c:dPt>
          <c:dPt>
            <c:idx val="1737"/>
            <c:invertIfNegative val="1"/>
            <c:bubble3D val="0"/>
            <c:spPr>
              <a:solidFill>
                <a:srgbClr val="AEABAB"/>
              </a:solidFill>
            </c:spPr>
            <c:extLst>
              <c:ext xmlns:c16="http://schemas.microsoft.com/office/drawing/2014/chart" uri="{C3380CC4-5D6E-409C-BE32-E72D297353CC}">
                <c16:uniqueId val="{00000D95-C623-4FBE-8EDB-4AD12F618AAD}"/>
              </c:ext>
            </c:extLst>
          </c:dPt>
          <c:dPt>
            <c:idx val="1738"/>
            <c:invertIfNegative val="1"/>
            <c:bubble3D val="0"/>
            <c:spPr>
              <a:solidFill>
                <a:srgbClr val="AEABAB"/>
              </a:solidFill>
            </c:spPr>
            <c:extLst>
              <c:ext xmlns:c16="http://schemas.microsoft.com/office/drawing/2014/chart" uri="{C3380CC4-5D6E-409C-BE32-E72D297353CC}">
                <c16:uniqueId val="{00000D97-C623-4FBE-8EDB-4AD12F618AAD}"/>
              </c:ext>
            </c:extLst>
          </c:dPt>
          <c:dPt>
            <c:idx val="1739"/>
            <c:invertIfNegative val="1"/>
            <c:bubble3D val="0"/>
            <c:spPr>
              <a:solidFill>
                <a:srgbClr val="AEABAB"/>
              </a:solidFill>
            </c:spPr>
            <c:extLst>
              <c:ext xmlns:c16="http://schemas.microsoft.com/office/drawing/2014/chart" uri="{C3380CC4-5D6E-409C-BE32-E72D297353CC}">
                <c16:uniqueId val="{00000D99-C623-4FBE-8EDB-4AD12F618AAD}"/>
              </c:ext>
            </c:extLst>
          </c:dPt>
          <c:dPt>
            <c:idx val="1740"/>
            <c:invertIfNegative val="1"/>
            <c:bubble3D val="0"/>
            <c:spPr>
              <a:solidFill>
                <a:srgbClr val="AEABAB"/>
              </a:solidFill>
            </c:spPr>
            <c:extLst>
              <c:ext xmlns:c16="http://schemas.microsoft.com/office/drawing/2014/chart" uri="{C3380CC4-5D6E-409C-BE32-E72D297353CC}">
                <c16:uniqueId val="{00000D9B-C623-4FBE-8EDB-4AD12F618AAD}"/>
              </c:ext>
            </c:extLst>
          </c:dPt>
          <c:dPt>
            <c:idx val="1741"/>
            <c:invertIfNegative val="1"/>
            <c:bubble3D val="0"/>
            <c:spPr>
              <a:solidFill>
                <a:srgbClr val="AEABAB"/>
              </a:solidFill>
            </c:spPr>
            <c:extLst>
              <c:ext xmlns:c16="http://schemas.microsoft.com/office/drawing/2014/chart" uri="{C3380CC4-5D6E-409C-BE32-E72D297353CC}">
                <c16:uniqueId val="{00000D9D-C623-4FBE-8EDB-4AD12F618AAD}"/>
              </c:ext>
            </c:extLst>
          </c:dPt>
          <c:dPt>
            <c:idx val="1742"/>
            <c:invertIfNegative val="1"/>
            <c:bubble3D val="0"/>
            <c:spPr>
              <a:solidFill>
                <a:srgbClr val="AEABAB"/>
              </a:solidFill>
            </c:spPr>
            <c:extLst>
              <c:ext xmlns:c16="http://schemas.microsoft.com/office/drawing/2014/chart" uri="{C3380CC4-5D6E-409C-BE32-E72D297353CC}">
                <c16:uniqueId val="{00000D9F-C623-4FBE-8EDB-4AD12F618AAD}"/>
              </c:ext>
            </c:extLst>
          </c:dPt>
          <c:dPt>
            <c:idx val="1743"/>
            <c:invertIfNegative val="1"/>
            <c:bubble3D val="0"/>
            <c:spPr>
              <a:solidFill>
                <a:srgbClr val="AEABAB"/>
              </a:solidFill>
            </c:spPr>
            <c:extLst>
              <c:ext xmlns:c16="http://schemas.microsoft.com/office/drawing/2014/chart" uri="{C3380CC4-5D6E-409C-BE32-E72D297353CC}">
                <c16:uniqueId val="{00000DA1-C623-4FBE-8EDB-4AD12F618AAD}"/>
              </c:ext>
            </c:extLst>
          </c:dPt>
          <c:dPt>
            <c:idx val="1744"/>
            <c:invertIfNegative val="1"/>
            <c:bubble3D val="0"/>
            <c:spPr>
              <a:solidFill>
                <a:srgbClr val="AEABAB"/>
              </a:solidFill>
            </c:spPr>
            <c:extLst>
              <c:ext xmlns:c16="http://schemas.microsoft.com/office/drawing/2014/chart" uri="{C3380CC4-5D6E-409C-BE32-E72D297353CC}">
                <c16:uniqueId val="{00000DA3-C623-4FBE-8EDB-4AD12F618AAD}"/>
              </c:ext>
            </c:extLst>
          </c:dPt>
          <c:dPt>
            <c:idx val="1745"/>
            <c:invertIfNegative val="1"/>
            <c:bubble3D val="0"/>
            <c:spPr>
              <a:solidFill>
                <a:srgbClr val="AEABAB"/>
              </a:solidFill>
            </c:spPr>
            <c:extLst>
              <c:ext xmlns:c16="http://schemas.microsoft.com/office/drawing/2014/chart" uri="{C3380CC4-5D6E-409C-BE32-E72D297353CC}">
                <c16:uniqueId val="{00000DA5-C623-4FBE-8EDB-4AD12F618AAD}"/>
              </c:ext>
            </c:extLst>
          </c:dPt>
          <c:dPt>
            <c:idx val="1746"/>
            <c:invertIfNegative val="1"/>
            <c:bubble3D val="0"/>
            <c:spPr>
              <a:solidFill>
                <a:srgbClr val="AEABAB"/>
              </a:solidFill>
            </c:spPr>
            <c:extLst>
              <c:ext xmlns:c16="http://schemas.microsoft.com/office/drawing/2014/chart" uri="{C3380CC4-5D6E-409C-BE32-E72D297353CC}">
                <c16:uniqueId val="{00000DA7-C623-4FBE-8EDB-4AD12F618AAD}"/>
              </c:ext>
            </c:extLst>
          </c:dPt>
          <c:dPt>
            <c:idx val="1747"/>
            <c:invertIfNegative val="1"/>
            <c:bubble3D val="0"/>
            <c:spPr>
              <a:solidFill>
                <a:srgbClr val="AEABAB"/>
              </a:solidFill>
            </c:spPr>
            <c:extLst>
              <c:ext xmlns:c16="http://schemas.microsoft.com/office/drawing/2014/chart" uri="{C3380CC4-5D6E-409C-BE32-E72D297353CC}">
                <c16:uniqueId val="{00000DA9-C623-4FBE-8EDB-4AD12F618AAD}"/>
              </c:ext>
            </c:extLst>
          </c:dPt>
          <c:dPt>
            <c:idx val="1748"/>
            <c:invertIfNegative val="1"/>
            <c:bubble3D val="0"/>
            <c:spPr>
              <a:solidFill>
                <a:srgbClr val="AEABAB"/>
              </a:solidFill>
            </c:spPr>
            <c:extLst>
              <c:ext xmlns:c16="http://schemas.microsoft.com/office/drawing/2014/chart" uri="{C3380CC4-5D6E-409C-BE32-E72D297353CC}">
                <c16:uniqueId val="{00000DAB-C623-4FBE-8EDB-4AD12F618AAD}"/>
              </c:ext>
            </c:extLst>
          </c:dPt>
          <c:dPt>
            <c:idx val="1749"/>
            <c:invertIfNegative val="1"/>
            <c:bubble3D val="0"/>
            <c:spPr>
              <a:solidFill>
                <a:srgbClr val="AEABAB"/>
              </a:solidFill>
            </c:spPr>
            <c:extLst>
              <c:ext xmlns:c16="http://schemas.microsoft.com/office/drawing/2014/chart" uri="{C3380CC4-5D6E-409C-BE32-E72D297353CC}">
                <c16:uniqueId val="{00000DAD-C623-4FBE-8EDB-4AD12F618AAD}"/>
              </c:ext>
            </c:extLst>
          </c:dPt>
          <c:dPt>
            <c:idx val="1750"/>
            <c:invertIfNegative val="1"/>
            <c:bubble3D val="0"/>
            <c:spPr>
              <a:solidFill>
                <a:srgbClr val="AEABAB"/>
              </a:solidFill>
            </c:spPr>
            <c:extLst>
              <c:ext xmlns:c16="http://schemas.microsoft.com/office/drawing/2014/chart" uri="{C3380CC4-5D6E-409C-BE32-E72D297353CC}">
                <c16:uniqueId val="{00000DAF-C623-4FBE-8EDB-4AD12F618AAD}"/>
              </c:ext>
            </c:extLst>
          </c:dPt>
          <c:dPt>
            <c:idx val="1751"/>
            <c:invertIfNegative val="1"/>
            <c:bubble3D val="0"/>
            <c:spPr>
              <a:solidFill>
                <a:srgbClr val="AEABAB"/>
              </a:solidFill>
            </c:spPr>
            <c:extLst>
              <c:ext xmlns:c16="http://schemas.microsoft.com/office/drawing/2014/chart" uri="{C3380CC4-5D6E-409C-BE32-E72D297353CC}">
                <c16:uniqueId val="{00000DB1-C623-4FBE-8EDB-4AD12F618AAD}"/>
              </c:ext>
            </c:extLst>
          </c:dPt>
          <c:dPt>
            <c:idx val="1752"/>
            <c:invertIfNegative val="1"/>
            <c:bubble3D val="0"/>
            <c:spPr>
              <a:solidFill>
                <a:srgbClr val="AEABAB"/>
              </a:solidFill>
            </c:spPr>
            <c:extLst>
              <c:ext xmlns:c16="http://schemas.microsoft.com/office/drawing/2014/chart" uri="{C3380CC4-5D6E-409C-BE32-E72D297353CC}">
                <c16:uniqueId val="{00000DB3-C623-4FBE-8EDB-4AD12F618AAD}"/>
              </c:ext>
            </c:extLst>
          </c:dPt>
          <c:dPt>
            <c:idx val="1753"/>
            <c:invertIfNegative val="1"/>
            <c:bubble3D val="0"/>
            <c:spPr>
              <a:solidFill>
                <a:srgbClr val="AEABAB"/>
              </a:solidFill>
            </c:spPr>
            <c:extLst>
              <c:ext xmlns:c16="http://schemas.microsoft.com/office/drawing/2014/chart" uri="{C3380CC4-5D6E-409C-BE32-E72D297353CC}">
                <c16:uniqueId val="{00000DB5-C623-4FBE-8EDB-4AD12F618AAD}"/>
              </c:ext>
            </c:extLst>
          </c:dPt>
          <c:dPt>
            <c:idx val="1754"/>
            <c:invertIfNegative val="1"/>
            <c:bubble3D val="0"/>
            <c:spPr>
              <a:solidFill>
                <a:srgbClr val="AEABAB"/>
              </a:solidFill>
            </c:spPr>
            <c:extLst>
              <c:ext xmlns:c16="http://schemas.microsoft.com/office/drawing/2014/chart" uri="{C3380CC4-5D6E-409C-BE32-E72D297353CC}">
                <c16:uniqueId val="{00000DB7-C623-4FBE-8EDB-4AD12F618AAD}"/>
              </c:ext>
            </c:extLst>
          </c:dPt>
          <c:dPt>
            <c:idx val="1755"/>
            <c:invertIfNegative val="1"/>
            <c:bubble3D val="0"/>
            <c:spPr>
              <a:solidFill>
                <a:srgbClr val="AEABAB"/>
              </a:solidFill>
            </c:spPr>
            <c:extLst>
              <c:ext xmlns:c16="http://schemas.microsoft.com/office/drawing/2014/chart" uri="{C3380CC4-5D6E-409C-BE32-E72D297353CC}">
                <c16:uniqueId val="{00000DB9-C623-4FBE-8EDB-4AD12F618AAD}"/>
              </c:ext>
            </c:extLst>
          </c:dPt>
          <c:dPt>
            <c:idx val="1756"/>
            <c:invertIfNegative val="1"/>
            <c:bubble3D val="0"/>
            <c:spPr>
              <a:solidFill>
                <a:srgbClr val="AEABAB"/>
              </a:solidFill>
            </c:spPr>
            <c:extLst>
              <c:ext xmlns:c16="http://schemas.microsoft.com/office/drawing/2014/chart" uri="{C3380CC4-5D6E-409C-BE32-E72D297353CC}">
                <c16:uniqueId val="{00000DBB-C623-4FBE-8EDB-4AD12F618AAD}"/>
              </c:ext>
            </c:extLst>
          </c:dPt>
          <c:dPt>
            <c:idx val="1757"/>
            <c:invertIfNegative val="1"/>
            <c:bubble3D val="0"/>
            <c:spPr>
              <a:solidFill>
                <a:srgbClr val="AEABAB"/>
              </a:solidFill>
            </c:spPr>
            <c:extLst>
              <c:ext xmlns:c16="http://schemas.microsoft.com/office/drawing/2014/chart" uri="{C3380CC4-5D6E-409C-BE32-E72D297353CC}">
                <c16:uniqueId val="{00000DBD-C623-4FBE-8EDB-4AD12F618AAD}"/>
              </c:ext>
            </c:extLst>
          </c:dPt>
          <c:dPt>
            <c:idx val="1758"/>
            <c:invertIfNegative val="1"/>
            <c:bubble3D val="0"/>
            <c:spPr>
              <a:solidFill>
                <a:srgbClr val="AEABAB"/>
              </a:solidFill>
            </c:spPr>
            <c:extLst>
              <c:ext xmlns:c16="http://schemas.microsoft.com/office/drawing/2014/chart" uri="{C3380CC4-5D6E-409C-BE32-E72D297353CC}">
                <c16:uniqueId val="{00000DBF-C623-4FBE-8EDB-4AD12F618AAD}"/>
              </c:ext>
            </c:extLst>
          </c:dPt>
          <c:dPt>
            <c:idx val="1759"/>
            <c:invertIfNegative val="1"/>
            <c:bubble3D val="0"/>
            <c:spPr>
              <a:solidFill>
                <a:srgbClr val="AEABAB"/>
              </a:solidFill>
            </c:spPr>
            <c:extLst>
              <c:ext xmlns:c16="http://schemas.microsoft.com/office/drawing/2014/chart" uri="{C3380CC4-5D6E-409C-BE32-E72D297353CC}">
                <c16:uniqueId val="{00000DC1-C623-4FBE-8EDB-4AD12F618AAD}"/>
              </c:ext>
            </c:extLst>
          </c:dPt>
          <c:dPt>
            <c:idx val="1760"/>
            <c:invertIfNegative val="1"/>
            <c:bubble3D val="0"/>
            <c:spPr>
              <a:solidFill>
                <a:srgbClr val="AEABAB"/>
              </a:solidFill>
            </c:spPr>
            <c:extLst>
              <c:ext xmlns:c16="http://schemas.microsoft.com/office/drawing/2014/chart" uri="{C3380CC4-5D6E-409C-BE32-E72D297353CC}">
                <c16:uniqueId val="{00000DC3-C623-4FBE-8EDB-4AD12F618AAD}"/>
              </c:ext>
            </c:extLst>
          </c:dPt>
          <c:dPt>
            <c:idx val="1761"/>
            <c:invertIfNegative val="1"/>
            <c:bubble3D val="0"/>
            <c:spPr>
              <a:solidFill>
                <a:srgbClr val="AEABAB"/>
              </a:solidFill>
            </c:spPr>
            <c:extLst>
              <c:ext xmlns:c16="http://schemas.microsoft.com/office/drawing/2014/chart" uri="{C3380CC4-5D6E-409C-BE32-E72D297353CC}">
                <c16:uniqueId val="{00000DC5-C623-4FBE-8EDB-4AD12F618AAD}"/>
              </c:ext>
            </c:extLst>
          </c:dPt>
          <c:dPt>
            <c:idx val="1762"/>
            <c:invertIfNegative val="1"/>
            <c:bubble3D val="0"/>
            <c:spPr>
              <a:solidFill>
                <a:srgbClr val="AEABAB"/>
              </a:solidFill>
            </c:spPr>
            <c:extLst>
              <c:ext xmlns:c16="http://schemas.microsoft.com/office/drawing/2014/chart" uri="{C3380CC4-5D6E-409C-BE32-E72D297353CC}">
                <c16:uniqueId val="{00000DC7-C623-4FBE-8EDB-4AD12F618AAD}"/>
              </c:ext>
            </c:extLst>
          </c:dPt>
          <c:dPt>
            <c:idx val="1763"/>
            <c:invertIfNegative val="1"/>
            <c:bubble3D val="0"/>
            <c:spPr>
              <a:solidFill>
                <a:srgbClr val="AEABAB"/>
              </a:solidFill>
            </c:spPr>
            <c:extLst>
              <c:ext xmlns:c16="http://schemas.microsoft.com/office/drawing/2014/chart" uri="{C3380CC4-5D6E-409C-BE32-E72D297353CC}">
                <c16:uniqueId val="{00000DC9-C623-4FBE-8EDB-4AD12F618AAD}"/>
              </c:ext>
            </c:extLst>
          </c:dPt>
          <c:dPt>
            <c:idx val="1764"/>
            <c:invertIfNegative val="1"/>
            <c:bubble3D val="0"/>
            <c:spPr>
              <a:solidFill>
                <a:srgbClr val="AEABAB"/>
              </a:solidFill>
            </c:spPr>
            <c:extLst>
              <c:ext xmlns:c16="http://schemas.microsoft.com/office/drawing/2014/chart" uri="{C3380CC4-5D6E-409C-BE32-E72D297353CC}">
                <c16:uniqueId val="{00000DCB-C623-4FBE-8EDB-4AD12F618AAD}"/>
              </c:ext>
            </c:extLst>
          </c:dPt>
          <c:dPt>
            <c:idx val="1765"/>
            <c:invertIfNegative val="1"/>
            <c:bubble3D val="0"/>
            <c:spPr>
              <a:solidFill>
                <a:srgbClr val="AEABAB"/>
              </a:solidFill>
            </c:spPr>
            <c:extLst>
              <c:ext xmlns:c16="http://schemas.microsoft.com/office/drawing/2014/chart" uri="{C3380CC4-5D6E-409C-BE32-E72D297353CC}">
                <c16:uniqueId val="{00000DCD-C623-4FBE-8EDB-4AD12F618AAD}"/>
              </c:ext>
            </c:extLst>
          </c:dPt>
          <c:dPt>
            <c:idx val="1766"/>
            <c:invertIfNegative val="1"/>
            <c:bubble3D val="0"/>
            <c:spPr>
              <a:solidFill>
                <a:srgbClr val="AEABAB"/>
              </a:solidFill>
            </c:spPr>
            <c:extLst>
              <c:ext xmlns:c16="http://schemas.microsoft.com/office/drawing/2014/chart" uri="{C3380CC4-5D6E-409C-BE32-E72D297353CC}">
                <c16:uniqueId val="{00000DCF-C623-4FBE-8EDB-4AD12F618AAD}"/>
              </c:ext>
            </c:extLst>
          </c:dPt>
          <c:dPt>
            <c:idx val="1767"/>
            <c:invertIfNegative val="1"/>
            <c:bubble3D val="0"/>
            <c:spPr>
              <a:solidFill>
                <a:srgbClr val="AEABAB"/>
              </a:solidFill>
            </c:spPr>
            <c:extLst>
              <c:ext xmlns:c16="http://schemas.microsoft.com/office/drawing/2014/chart" uri="{C3380CC4-5D6E-409C-BE32-E72D297353CC}">
                <c16:uniqueId val="{00000DD1-C623-4FBE-8EDB-4AD12F618AAD}"/>
              </c:ext>
            </c:extLst>
          </c:dPt>
          <c:dPt>
            <c:idx val="1768"/>
            <c:invertIfNegative val="1"/>
            <c:bubble3D val="0"/>
            <c:spPr>
              <a:solidFill>
                <a:srgbClr val="AEABAB"/>
              </a:solidFill>
            </c:spPr>
            <c:extLst>
              <c:ext xmlns:c16="http://schemas.microsoft.com/office/drawing/2014/chart" uri="{C3380CC4-5D6E-409C-BE32-E72D297353CC}">
                <c16:uniqueId val="{00000DD3-C623-4FBE-8EDB-4AD12F618AAD}"/>
              </c:ext>
            </c:extLst>
          </c:dPt>
          <c:dPt>
            <c:idx val="1769"/>
            <c:invertIfNegative val="1"/>
            <c:bubble3D val="0"/>
            <c:spPr>
              <a:solidFill>
                <a:srgbClr val="AEABAB"/>
              </a:solidFill>
            </c:spPr>
            <c:extLst>
              <c:ext xmlns:c16="http://schemas.microsoft.com/office/drawing/2014/chart" uri="{C3380CC4-5D6E-409C-BE32-E72D297353CC}">
                <c16:uniqueId val="{00000DD5-C623-4FBE-8EDB-4AD12F618AAD}"/>
              </c:ext>
            </c:extLst>
          </c:dPt>
          <c:dPt>
            <c:idx val="1770"/>
            <c:invertIfNegative val="1"/>
            <c:bubble3D val="0"/>
            <c:spPr>
              <a:solidFill>
                <a:srgbClr val="AEABAB"/>
              </a:solidFill>
            </c:spPr>
            <c:extLst>
              <c:ext xmlns:c16="http://schemas.microsoft.com/office/drawing/2014/chart" uri="{C3380CC4-5D6E-409C-BE32-E72D297353CC}">
                <c16:uniqueId val="{00000DD7-C623-4FBE-8EDB-4AD12F618AAD}"/>
              </c:ext>
            </c:extLst>
          </c:dPt>
          <c:dPt>
            <c:idx val="1771"/>
            <c:invertIfNegative val="1"/>
            <c:bubble3D val="0"/>
            <c:spPr>
              <a:solidFill>
                <a:srgbClr val="AEABAB"/>
              </a:solidFill>
            </c:spPr>
            <c:extLst>
              <c:ext xmlns:c16="http://schemas.microsoft.com/office/drawing/2014/chart" uri="{C3380CC4-5D6E-409C-BE32-E72D297353CC}">
                <c16:uniqueId val="{00000DD9-C623-4FBE-8EDB-4AD12F618AAD}"/>
              </c:ext>
            </c:extLst>
          </c:dPt>
          <c:dPt>
            <c:idx val="1772"/>
            <c:invertIfNegative val="1"/>
            <c:bubble3D val="0"/>
            <c:spPr>
              <a:solidFill>
                <a:srgbClr val="AEABAB"/>
              </a:solidFill>
            </c:spPr>
            <c:extLst>
              <c:ext xmlns:c16="http://schemas.microsoft.com/office/drawing/2014/chart" uri="{C3380CC4-5D6E-409C-BE32-E72D297353CC}">
                <c16:uniqueId val="{00000DDB-C623-4FBE-8EDB-4AD12F618AAD}"/>
              </c:ext>
            </c:extLst>
          </c:dPt>
          <c:dPt>
            <c:idx val="1773"/>
            <c:invertIfNegative val="1"/>
            <c:bubble3D val="0"/>
            <c:spPr>
              <a:solidFill>
                <a:srgbClr val="AEABAB"/>
              </a:solidFill>
            </c:spPr>
            <c:extLst>
              <c:ext xmlns:c16="http://schemas.microsoft.com/office/drawing/2014/chart" uri="{C3380CC4-5D6E-409C-BE32-E72D297353CC}">
                <c16:uniqueId val="{00000DDD-C623-4FBE-8EDB-4AD12F618AAD}"/>
              </c:ext>
            </c:extLst>
          </c:dPt>
          <c:dPt>
            <c:idx val="1774"/>
            <c:invertIfNegative val="1"/>
            <c:bubble3D val="0"/>
            <c:spPr>
              <a:solidFill>
                <a:srgbClr val="AEABAB"/>
              </a:solidFill>
            </c:spPr>
            <c:extLst>
              <c:ext xmlns:c16="http://schemas.microsoft.com/office/drawing/2014/chart" uri="{C3380CC4-5D6E-409C-BE32-E72D297353CC}">
                <c16:uniqueId val="{00000DDF-C623-4FBE-8EDB-4AD12F618AAD}"/>
              </c:ext>
            </c:extLst>
          </c:dPt>
          <c:dPt>
            <c:idx val="1775"/>
            <c:invertIfNegative val="1"/>
            <c:bubble3D val="0"/>
            <c:spPr>
              <a:solidFill>
                <a:srgbClr val="AEABAB"/>
              </a:solidFill>
            </c:spPr>
            <c:extLst>
              <c:ext xmlns:c16="http://schemas.microsoft.com/office/drawing/2014/chart" uri="{C3380CC4-5D6E-409C-BE32-E72D297353CC}">
                <c16:uniqueId val="{00000DE1-C623-4FBE-8EDB-4AD12F618AAD}"/>
              </c:ext>
            </c:extLst>
          </c:dPt>
          <c:dPt>
            <c:idx val="1776"/>
            <c:invertIfNegative val="1"/>
            <c:bubble3D val="0"/>
            <c:spPr>
              <a:solidFill>
                <a:srgbClr val="AEABAB"/>
              </a:solidFill>
            </c:spPr>
            <c:extLst>
              <c:ext xmlns:c16="http://schemas.microsoft.com/office/drawing/2014/chart" uri="{C3380CC4-5D6E-409C-BE32-E72D297353CC}">
                <c16:uniqueId val="{00000DE3-C623-4FBE-8EDB-4AD12F618AAD}"/>
              </c:ext>
            </c:extLst>
          </c:dPt>
          <c:dPt>
            <c:idx val="1777"/>
            <c:invertIfNegative val="1"/>
            <c:bubble3D val="0"/>
            <c:spPr>
              <a:solidFill>
                <a:srgbClr val="AEABAB"/>
              </a:solidFill>
            </c:spPr>
            <c:extLst>
              <c:ext xmlns:c16="http://schemas.microsoft.com/office/drawing/2014/chart" uri="{C3380CC4-5D6E-409C-BE32-E72D297353CC}">
                <c16:uniqueId val="{00000DE5-C623-4FBE-8EDB-4AD12F618AAD}"/>
              </c:ext>
            </c:extLst>
          </c:dPt>
          <c:dPt>
            <c:idx val="1778"/>
            <c:invertIfNegative val="1"/>
            <c:bubble3D val="0"/>
            <c:spPr>
              <a:solidFill>
                <a:srgbClr val="AEABAB"/>
              </a:solidFill>
            </c:spPr>
            <c:extLst>
              <c:ext xmlns:c16="http://schemas.microsoft.com/office/drawing/2014/chart" uri="{C3380CC4-5D6E-409C-BE32-E72D297353CC}">
                <c16:uniqueId val="{00000DE7-C623-4FBE-8EDB-4AD12F618AAD}"/>
              </c:ext>
            </c:extLst>
          </c:dPt>
          <c:dPt>
            <c:idx val="1779"/>
            <c:invertIfNegative val="1"/>
            <c:bubble3D val="0"/>
            <c:spPr>
              <a:solidFill>
                <a:srgbClr val="AEABAB"/>
              </a:solidFill>
            </c:spPr>
            <c:extLst>
              <c:ext xmlns:c16="http://schemas.microsoft.com/office/drawing/2014/chart" uri="{C3380CC4-5D6E-409C-BE32-E72D297353CC}">
                <c16:uniqueId val="{00000DE9-C623-4FBE-8EDB-4AD12F618AAD}"/>
              </c:ext>
            </c:extLst>
          </c:dPt>
          <c:dPt>
            <c:idx val="1780"/>
            <c:invertIfNegative val="1"/>
            <c:bubble3D val="0"/>
            <c:spPr>
              <a:solidFill>
                <a:srgbClr val="AEABAB"/>
              </a:solidFill>
            </c:spPr>
            <c:extLst>
              <c:ext xmlns:c16="http://schemas.microsoft.com/office/drawing/2014/chart" uri="{C3380CC4-5D6E-409C-BE32-E72D297353CC}">
                <c16:uniqueId val="{00000DEB-C623-4FBE-8EDB-4AD12F618AAD}"/>
              </c:ext>
            </c:extLst>
          </c:dPt>
          <c:dPt>
            <c:idx val="1781"/>
            <c:invertIfNegative val="1"/>
            <c:bubble3D val="0"/>
            <c:spPr>
              <a:solidFill>
                <a:srgbClr val="AEABAB"/>
              </a:solidFill>
            </c:spPr>
            <c:extLst>
              <c:ext xmlns:c16="http://schemas.microsoft.com/office/drawing/2014/chart" uri="{C3380CC4-5D6E-409C-BE32-E72D297353CC}">
                <c16:uniqueId val="{00000DED-C623-4FBE-8EDB-4AD12F618AAD}"/>
              </c:ext>
            </c:extLst>
          </c:dPt>
          <c:dPt>
            <c:idx val="1782"/>
            <c:invertIfNegative val="1"/>
            <c:bubble3D val="0"/>
            <c:spPr>
              <a:solidFill>
                <a:srgbClr val="AEABAB"/>
              </a:solidFill>
            </c:spPr>
            <c:extLst>
              <c:ext xmlns:c16="http://schemas.microsoft.com/office/drawing/2014/chart" uri="{C3380CC4-5D6E-409C-BE32-E72D297353CC}">
                <c16:uniqueId val="{00000DEF-C623-4FBE-8EDB-4AD12F618AAD}"/>
              </c:ext>
            </c:extLst>
          </c:dPt>
          <c:dPt>
            <c:idx val="1783"/>
            <c:invertIfNegative val="1"/>
            <c:bubble3D val="0"/>
            <c:spPr>
              <a:solidFill>
                <a:srgbClr val="AEABAB"/>
              </a:solidFill>
            </c:spPr>
            <c:extLst>
              <c:ext xmlns:c16="http://schemas.microsoft.com/office/drawing/2014/chart" uri="{C3380CC4-5D6E-409C-BE32-E72D297353CC}">
                <c16:uniqueId val="{00000DF1-C623-4FBE-8EDB-4AD12F618AAD}"/>
              </c:ext>
            </c:extLst>
          </c:dPt>
          <c:dPt>
            <c:idx val="1784"/>
            <c:invertIfNegative val="1"/>
            <c:bubble3D val="0"/>
            <c:spPr>
              <a:solidFill>
                <a:srgbClr val="AEABAB"/>
              </a:solidFill>
            </c:spPr>
            <c:extLst>
              <c:ext xmlns:c16="http://schemas.microsoft.com/office/drawing/2014/chart" uri="{C3380CC4-5D6E-409C-BE32-E72D297353CC}">
                <c16:uniqueId val="{00000DF3-C623-4FBE-8EDB-4AD12F618AAD}"/>
              </c:ext>
            </c:extLst>
          </c:dPt>
          <c:dPt>
            <c:idx val="1785"/>
            <c:invertIfNegative val="1"/>
            <c:bubble3D val="0"/>
            <c:spPr>
              <a:solidFill>
                <a:srgbClr val="AEABAB"/>
              </a:solidFill>
            </c:spPr>
            <c:extLst>
              <c:ext xmlns:c16="http://schemas.microsoft.com/office/drawing/2014/chart" uri="{C3380CC4-5D6E-409C-BE32-E72D297353CC}">
                <c16:uniqueId val="{00000DF5-C623-4FBE-8EDB-4AD12F618AAD}"/>
              </c:ext>
            </c:extLst>
          </c:dPt>
          <c:dPt>
            <c:idx val="1786"/>
            <c:invertIfNegative val="1"/>
            <c:bubble3D val="0"/>
            <c:spPr>
              <a:solidFill>
                <a:srgbClr val="AEABAB"/>
              </a:solidFill>
            </c:spPr>
            <c:extLst>
              <c:ext xmlns:c16="http://schemas.microsoft.com/office/drawing/2014/chart" uri="{C3380CC4-5D6E-409C-BE32-E72D297353CC}">
                <c16:uniqueId val="{00000DF7-C623-4FBE-8EDB-4AD12F618AAD}"/>
              </c:ext>
            </c:extLst>
          </c:dPt>
          <c:dPt>
            <c:idx val="1787"/>
            <c:invertIfNegative val="1"/>
            <c:bubble3D val="0"/>
            <c:spPr>
              <a:solidFill>
                <a:srgbClr val="AEABAB"/>
              </a:solidFill>
            </c:spPr>
            <c:extLst>
              <c:ext xmlns:c16="http://schemas.microsoft.com/office/drawing/2014/chart" uri="{C3380CC4-5D6E-409C-BE32-E72D297353CC}">
                <c16:uniqueId val="{00000DF9-C623-4FBE-8EDB-4AD12F618AAD}"/>
              </c:ext>
            </c:extLst>
          </c:dPt>
          <c:dPt>
            <c:idx val="1788"/>
            <c:invertIfNegative val="1"/>
            <c:bubble3D val="0"/>
            <c:spPr>
              <a:solidFill>
                <a:srgbClr val="AEABAB"/>
              </a:solidFill>
            </c:spPr>
            <c:extLst>
              <c:ext xmlns:c16="http://schemas.microsoft.com/office/drawing/2014/chart" uri="{C3380CC4-5D6E-409C-BE32-E72D297353CC}">
                <c16:uniqueId val="{00000DFB-C623-4FBE-8EDB-4AD12F618AAD}"/>
              </c:ext>
            </c:extLst>
          </c:dPt>
          <c:dPt>
            <c:idx val="1789"/>
            <c:invertIfNegative val="1"/>
            <c:bubble3D val="0"/>
            <c:spPr>
              <a:solidFill>
                <a:srgbClr val="AEABAB"/>
              </a:solidFill>
            </c:spPr>
            <c:extLst>
              <c:ext xmlns:c16="http://schemas.microsoft.com/office/drawing/2014/chart" uri="{C3380CC4-5D6E-409C-BE32-E72D297353CC}">
                <c16:uniqueId val="{00000DFD-C623-4FBE-8EDB-4AD12F618AAD}"/>
              </c:ext>
            </c:extLst>
          </c:dPt>
          <c:dPt>
            <c:idx val="1790"/>
            <c:invertIfNegative val="1"/>
            <c:bubble3D val="0"/>
            <c:spPr>
              <a:solidFill>
                <a:srgbClr val="AEABAB"/>
              </a:solidFill>
            </c:spPr>
            <c:extLst>
              <c:ext xmlns:c16="http://schemas.microsoft.com/office/drawing/2014/chart" uri="{C3380CC4-5D6E-409C-BE32-E72D297353CC}">
                <c16:uniqueId val="{00000DFF-C623-4FBE-8EDB-4AD12F618AAD}"/>
              </c:ext>
            </c:extLst>
          </c:dPt>
          <c:dPt>
            <c:idx val="1791"/>
            <c:invertIfNegative val="1"/>
            <c:bubble3D val="0"/>
            <c:spPr>
              <a:solidFill>
                <a:srgbClr val="AEABAB"/>
              </a:solidFill>
            </c:spPr>
            <c:extLst>
              <c:ext xmlns:c16="http://schemas.microsoft.com/office/drawing/2014/chart" uri="{C3380CC4-5D6E-409C-BE32-E72D297353CC}">
                <c16:uniqueId val="{00000E01-C623-4FBE-8EDB-4AD12F618AAD}"/>
              </c:ext>
            </c:extLst>
          </c:dPt>
          <c:dPt>
            <c:idx val="1792"/>
            <c:invertIfNegative val="1"/>
            <c:bubble3D val="0"/>
            <c:spPr>
              <a:solidFill>
                <a:srgbClr val="AEABAB"/>
              </a:solidFill>
            </c:spPr>
            <c:extLst>
              <c:ext xmlns:c16="http://schemas.microsoft.com/office/drawing/2014/chart" uri="{C3380CC4-5D6E-409C-BE32-E72D297353CC}">
                <c16:uniqueId val="{00000E03-C623-4FBE-8EDB-4AD12F618AAD}"/>
              </c:ext>
            </c:extLst>
          </c:dPt>
          <c:dPt>
            <c:idx val="1793"/>
            <c:invertIfNegative val="1"/>
            <c:bubble3D val="0"/>
            <c:spPr>
              <a:solidFill>
                <a:srgbClr val="AEABAB"/>
              </a:solidFill>
            </c:spPr>
            <c:extLst>
              <c:ext xmlns:c16="http://schemas.microsoft.com/office/drawing/2014/chart" uri="{C3380CC4-5D6E-409C-BE32-E72D297353CC}">
                <c16:uniqueId val="{00000E05-C623-4FBE-8EDB-4AD12F618AAD}"/>
              </c:ext>
            </c:extLst>
          </c:dPt>
          <c:dPt>
            <c:idx val="1794"/>
            <c:invertIfNegative val="1"/>
            <c:bubble3D val="0"/>
            <c:spPr>
              <a:solidFill>
                <a:srgbClr val="AEABAB"/>
              </a:solidFill>
            </c:spPr>
            <c:extLst>
              <c:ext xmlns:c16="http://schemas.microsoft.com/office/drawing/2014/chart" uri="{C3380CC4-5D6E-409C-BE32-E72D297353CC}">
                <c16:uniqueId val="{00000E07-C623-4FBE-8EDB-4AD12F618AAD}"/>
              </c:ext>
            </c:extLst>
          </c:dPt>
          <c:dPt>
            <c:idx val="1795"/>
            <c:invertIfNegative val="1"/>
            <c:bubble3D val="0"/>
            <c:spPr>
              <a:solidFill>
                <a:srgbClr val="AEABAB"/>
              </a:solidFill>
            </c:spPr>
            <c:extLst>
              <c:ext xmlns:c16="http://schemas.microsoft.com/office/drawing/2014/chart" uri="{C3380CC4-5D6E-409C-BE32-E72D297353CC}">
                <c16:uniqueId val="{00000E09-C623-4FBE-8EDB-4AD12F618AAD}"/>
              </c:ext>
            </c:extLst>
          </c:dPt>
          <c:dPt>
            <c:idx val="1796"/>
            <c:invertIfNegative val="1"/>
            <c:bubble3D val="0"/>
            <c:spPr>
              <a:solidFill>
                <a:srgbClr val="AEABAB"/>
              </a:solidFill>
            </c:spPr>
            <c:extLst>
              <c:ext xmlns:c16="http://schemas.microsoft.com/office/drawing/2014/chart" uri="{C3380CC4-5D6E-409C-BE32-E72D297353CC}">
                <c16:uniqueId val="{00000E0B-C623-4FBE-8EDB-4AD12F618AAD}"/>
              </c:ext>
            </c:extLst>
          </c:dPt>
          <c:dPt>
            <c:idx val="1797"/>
            <c:invertIfNegative val="1"/>
            <c:bubble3D val="0"/>
            <c:spPr>
              <a:solidFill>
                <a:srgbClr val="AEABAB"/>
              </a:solidFill>
            </c:spPr>
            <c:extLst>
              <c:ext xmlns:c16="http://schemas.microsoft.com/office/drawing/2014/chart" uri="{C3380CC4-5D6E-409C-BE32-E72D297353CC}">
                <c16:uniqueId val="{00000E0D-C623-4FBE-8EDB-4AD12F618AAD}"/>
              </c:ext>
            </c:extLst>
          </c:dPt>
          <c:dPt>
            <c:idx val="1798"/>
            <c:invertIfNegative val="1"/>
            <c:bubble3D val="0"/>
            <c:spPr>
              <a:solidFill>
                <a:srgbClr val="AEABAB"/>
              </a:solidFill>
            </c:spPr>
            <c:extLst>
              <c:ext xmlns:c16="http://schemas.microsoft.com/office/drawing/2014/chart" uri="{C3380CC4-5D6E-409C-BE32-E72D297353CC}">
                <c16:uniqueId val="{00000E0F-C623-4FBE-8EDB-4AD12F618AAD}"/>
              </c:ext>
            </c:extLst>
          </c:dPt>
          <c:dPt>
            <c:idx val="1799"/>
            <c:invertIfNegative val="1"/>
            <c:bubble3D val="0"/>
            <c:spPr>
              <a:solidFill>
                <a:srgbClr val="AEABAB"/>
              </a:solidFill>
            </c:spPr>
            <c:extLst>
              <c:ext xmlns:c16="http://schemas.microsoft.com/office/drawing/2014/chart" uri="{C3380CC4-5D6E-409C-BE32-E72D297353CC}">
                <c16:uniqueId val="{00000E11-C623-4FBE-8EDB-4AD12F618AAD}"/>
              </c:ext>
            </c:extLst>
          </c:dPt>
          <c:dPt>
            <c:idx val="1800"/>
            <c:invertIfNegative val="1"/>
            <c:bubble3D val="0"/>
            <c:spPr>
              <a:solidFill>
                <a:srgbClr val="AEABAB"/>
              </a:solidFill>
            </c:spPr>
            <c:extLst>
              <c:ext xmlns:c16="http://schemas.microsoft.com/office/drawing/2014/chart" uri="{C3380CC4-5D6E-409C-BE32-E72D297353CC}">
                <c16:uniqueId val="{00000E13-C623-4FBE-8EDB-4AD12F618AAD}"/>
              </c:ext>
            </c:extLst>
          </c:dPt>
          <c:dPt>
            <c:idx val="1801"/>
            <c:invertIfNegative val="1"/>
            <c:bubble3D val="0"/>
            <c:spPr>
              <a:solidFill>
                <a:srgbClr val="AEABAB"/>
              </a:solidFill>
            </c:spPr>
            <c:extLst>
              <c:ext xmlns:c16="http://schemas.microsoft.com/office/drawing/2014/chart" uri="{C3380CC4-5D6E-409C-BE32-E72D297353CC}">
                <c16:uniqueId val="{00000E15-C623-4FBE-8EDB-4AD12F618AAD}"/>
              </c:ext>
            </c:extLst>
          </c:dPt>
          <c:dPt>
            <c:idx val="1802"/>
            <c:invertIfNegative val="1"/>
            <c:bubble3D val="0"/>
            <c:spPr>
              <a:solidFill>
                <a:srgbClr val="AEABAB"/>
              </a:solidFill>
            </c:spPr>
            <c:extLst>
              <c:ext xmlns:c16="http://schemas.microsoft.com/office/drawing/2014/chart" uri="{C3380CC4-5D6E-409C-BE32-E72D297353CC}">
                <c16:uniqueId val="{00000E17-C623-4FBE-8EDB-4AD12F618AAD}"/>
              </c:ext>
            </c:extLst>
          </c:dPt>
          <c:dPt>
            <c:idx val="1803"/>
            <c:invertIfNegative val="1"/>
            <c:bubble3D val="0"/>
            <c:spPr>
              <a:solidFill>
                <a:srgbClr val="AEABAB"/>
              </a:solidFill>
            </c:spPr>
            <c:extLst>
              <c:ext xmlns:c16="http://schemas.microsoft.com/office/drawing/2014/chart" uri="{C3380CC4-5D6E-409C-BE32-E72D297353CC}">
                <c16:uniqueId val="{00000E19-C623-4FBE-8EDB-4AD12F618AAD}"/>
              </c:ext>
            </c:extLst>
          </c:dPt>
          <c:dPt>
            <c:idx val="1804"/>
            <c:invertIfNegative val="1"/>
            <c:bubble3D val="0"/>
            <c:spPr>
              <a:solidFill>
                <a:srgbClr val="AEABAB"/>
              </a:solidFill>
            </c:spPr>
            <c:extLst>
              <c:ext xmlns:c16="http://schemas.microsoft.com/office/drawing/2014/chart" uri="{C3380CC4-5D6E-409C-BE32-E72D297353CC}">
                <c16:uniqueId val="{00000E1B-C623-4FBE-8EDB-4AD12F618AAD}"/>
              </c:ext>
            </c:extLst>
          </c:dPt>
          <c:dPt>
            <c:idx val="1805"/>
            <c:invertIfNegative val="1"/>
            <c:bubble3D val="0"/>
            <c:spPr>
              <a:solidFill>
                <a:srgbClr val="AEABAB"/>
              </a:solidFill>
            </c:spPr>
            <c:extLst>
              <c:ext xmlns:c16="http://schemas.microsoft.com/office/drawing/2014/chart" uri="{C3380CC4-5D6E-409C-BE32-E72D297353CC}">
                <c16:uniqueId val="{00000E1D-C623-4FBE-8EDB-4AD12F618AAD}"/>
              </c:ext>
            </c:extLst>
          </c:dPt>
          <c:dPt>
            <c:idx val="1806"/>
            <c:invertIfNegative val="1"/>
            <c:bubble3D val="0"/>
            <c:spPr>
              <a:solidFill>
                <a:srgbClr val="AEABAB"/>
              </a:solidFill>
            </c:spPr>
            <c:extLst>
              <c:ext xmlns:c16="http://schemas.microsoft.com/office/drawing/2014/chart" uri="{C3380CC4-5D6E-409C-BE32-E72D297353CC}">
                <c16:uniqueId val="{00000E1F-C623-4FBE-8EDB-4AD12F618AAD}"/>
              </c:ext>
            </c:extLst>
          </c:dPt>
          <c:dPt>
            <c:idx val="1807"/>
            <c:invertIfNegative val="1"/>
            <c:bubble3D val="0"/>
            <c:spPr>
              <a:solidFill>
                <a:srgbClr val="AEABAB"/>
              </a:solidFill>
            </c:spPr>
            <c:extLst>
              <c:ext xmlns:c16="http://schemas.microsoft.com/office/drawing/2014/chart" uri="{C3380CC4-5D6E-409C-BE32-E72D297353CC}">
                <c16:uniqueId val="{00000E21-C623-4FBE-8EDB-4AD12F618AAD}"/>
              </c:ext>
            </c:extLst>
          </c:dPt>
          <c:dPt>
            <c:idx val="1808"/>
            <c:invertIfNegative val="1"/>
            <c:bubble3D val="0"/>
            <c:spPr>
              <a:solidFill>
                <a:srgbClr val="AEABAB"/>
              </a:solidFill>
            </c:spPr>
            <c:extLst>
              <c:ext xmlns:c16="http://schemas.microsoft.com/office/drawing/2014/chart" uri="{C3380CC4-5D6E-409C-BE32-E72D297353CC}">
                <c16:uniqueId val="{00000E23-C623-4FBE-8EDB-4AD12F618AAD}"/>
              </c:ext>
            </c:extLst>
          </c:dPt>
          <c:dPt>
            <c:idx val="1809"/>
            <c:invertIfNegative val="1"/>
            <c:bubble3D val="0"/>
            <c:spPr>
              <a:solidFill>
                <a:srgbClr val="AEABAB"/>
              </a:solidFill>
            </c:spPr>
            <c:extLst>
              <c:ext xmlns:c16="http://schemas.microsoft.com/office/drawing/2014/chart" uri="{C3380CC4-5D6E-409C-BE32-E72D297353CC}">
                <c16:uniqueId val="{00000E25-C623-4FBE-8EDB-4AD12F618AAD}"/>
              </c:ext>
            </c:extLst>
          </c:dPt>
          <c:dPt>
            <c:idx val="1810"/>
            <c:invertIfNegative val="1"/>
            <c:bubble3D val="0"/>
            <c:spPr>
              <a:solidFill>
                <a:srgbClr val="AEABAB"/>
              </a:solidFill>
            </c:spPr>
            <c:extLst>
              <c:ext xmlns:c16="http://schemas.microsoft.com/office/drawing/2014/chart" uri="{C3380CC4-5D6E-409C-BE32-E72D297353CC}">
                <c16:uniqueId val="{00000E27-C623-4FBE-8EDB-4AD12F618AAD}"/>
              </c:ext>
            </c:extLst>
          </c:dPt>
          <c:dPt>
            <c:idx val="1811"/>
            <c:invertIfNegative val="1"/>
            <c:bubble3D val="0"/>
            <c:spPr>
              <a:solidFill>
                <a:srgbClr val="AEABAB"/>
              </a:solidFill>
            </c:spPr>
            <c:extLst>
              <c:ext xmlns:c16="http://schemas.microsoft.com/office/drawing/2014/chart" uri="{C3380CC4-5D6E-409C-BE32-E72D297353CC}">
                <c16:uniqueId val="{00000E29-C623-4FBE-8EDB-4AD12F618AAD}"/>
              </c:ext>
            </c:extLst>
          </c:dPt>
          <c:dPt>
            <c:idx val="1812"/>
            <c:invertIfNegative val="1"/>
            <c:bubble3D val="0"/>
            <c:spPr>
              <a:solidFill>
                <a:srgbClr val="AEABAB"/>
              </a:solidFill>
            </c:spPr>
            <c:extLst>
              <c:ext xmlns:c16="http://schemas.microsoft.com/office/drawing/2014/chart" uri="{C3380CC4-5D6E-409C-BE32-E72D297353CC}">
                <c16:uniqueId val="{00000E2B-C623-4FBE-8EDB-4AD12F618AAD}"/>
              </c:ext>
            </c:extLst>
          </c:dPt>
          <c:dPt>
            <c:idx val="1813"/>
            <c:invertIfNegative val="1"/>
            <c:bubble3D val="0"/>
            <c:spPr>
              <a:solidFill>
                <a:srgbClr val="AEABAB"/>
              </a:solidFill>
            </c:spPr>
            <c:extLst>
              <c:ext xmlns:c16="http://schemas.microsoft.com/office/drawing/2014/chart" uri="{C3380CC4-5D6E-409C-BE32-E72D297353CC}">
                <c16:uniqueId val="{00000E2D-C623-4FBE-8EDB-4AD12F618AAD}"/>
              </c:ext>
            </c:extLst>
          </c:dPt>
          <c:dPt>
            <c:idx val="1814"/>
            <c:invertIfNegative val="1"/>
            <c:bubble3D val="0"/>
            <c:spPr>
              <a:solidFill>
                <a:srgbClr val="AEABAB"/>
              </a:solidFill>
            </c:spPr>
            <c:extLst>
              <c:ext xmlns:c16="http://schemas.microsoft.com/office/drawing/2014/chart" uri="{C3380CC4-5D6E-409C-BE32-E72D297353CC}">
                <c16:uniqueId val="{00000E2F-C623-4FBE-8EDB-4AD12F618AAD}"/>
              </c:ext>
            </c:extLst>
          </c:dPt>
          <c:dPt>
            <c:idx val="1815"/>
            <c:invertIfNegative val="1"/>
            <c:bubble3D val="0"/>
            <c:spPr>
              <a:solidFill>
                <a:srgbClr val="AEABAB"/>
              </a:solidFill>
            </c:spPr>
            <c:extLst>
              <c:ext xmlns:c16="http://schemas.microsoft.com/office/drawing/2014/chart" uri="{C3380CC4-5D6E-409C-BE32-E72D297353CC}">
                <c16:uniqueId val="{00000E31-C623-4FBE-8EDB-4AD12F618AAD}"/>
              </c:ext>
            </c:extLst>
          </c:dPt>
          <c:dPt>
            <c:idx val="1816"/>
            <c:invertIfNegative val="1"/>
            <c:bubble3D val="0"/>
            <c:spPr>
              <a:solidFill>
                <a:srgbClr val="AEABAB"/>
              </a:solidFill>
            </c:spPr>
            <c:extLst>
              <c:ext xmlns:c16="http://schemas.microsoft.com/office/drawing/2014/chart" uri="{C3380CC4-5D6E-409C-BE32-E72D297353CC}">
                <c16:uniqueId val="{00000E33-C623-4FBE-8EDB-4AD12F618AAD}"/>
              </c:ext>
            </c:extLst>
          </c:dPt>
          <c:dPt>
            <c:idx val="1817"/>
            <c:invertIfNegative val="1"/>
            <c:bubble3D val="0"/>
            <c:spPr>
              <a:solidFill>
                <a:srgbClr val="AEABAB"/>
              </a:solidFill>
            </c:spPr>
            <c:extLst>
              <c:ext xmlns:c16="http://schemas.microsoft.com/office/drawing/2014/chart" uri="{C3380CC4-5D6E-409C-BE32-E72D297353CC}">
                <c16:uniqueId val="{00000E35-C623-4FBE-8EDB-4AD12F618AAD}"/>
              </c:ext>
            </c:extLst>
          </c:dPt>
          <c:dPt>
            <c:idx val="1818"/>
            <c:invertIfNegative val="1"/>
            <c:bubble3D val="0"/>
            <c:spPr>
              <a:solidFill>
                <a:srgbClr val="AEABAB"/>
              </a:solidFill>
            </c:spPr>
            <c:extLst>
              <c:ext xmlns:c16="http://schemas.microsoft.com/office/drawing/2014/chart" uri="{C3380CC4-5D6E-409C-BE32-E72D297353CC}">
                <c16:uniqueId val="{00000E37-C623-4FBE-8EDB-4AD12F618AAD}"/>
              </c:ext>
            </c:extLst>
          </c:dPt>
          <c:dPt>
            <c:idx val="1819"/>
            <c:invertIfNegative val="1"/>
            <c:bubble3D val="0"/>
            <c:spPr>
              <a:solidFill>
                <a:srgbClr val="AEABAB"/>
              </a:solidFill>
            </c:spPr>
            <c:extLst>
              <c:ext xmlns:c16="http://schemas.microsoft.com/office/drawing/2014/chart" uri="{C3380CC4-5D6E-409C-BE32-E72D297353CC}">
                <c16:uniqueId val="{00000E39-C623-4FBE-8EDB-4AD12F618AAD}"/>
              </c:ext>
            </c:extLst>
          </c:dPt>
          <c:dPt>
            <c:idx val="1820"/>
            <c:invertIfNegative val="1"/>
            <c:bubble3D val="0"/>
            <c:spPr>
              <a:solidFill>
                <a:srgbClr val="AEABAB"/>
              </a:solidFill>
            </c:spPr>
            <c:extLst>
              <c:ext xmlns:c16="http://schemas.microsoft.com/office/drawing/2014/chart" uri="{C3380CC4-5D6E-409C-BE32-E72D297353CC}">
                <c16:uniqueId val="{00000E3B-C623-4FBE-8EDB-4AD12F618AAD}"/>
              </c:ext>
            </c:extLst>
          </c:dPt>
          <c:dPt>
            <c:idx val="1821"/>
            <c:invertIfNegative val="1"/>
            <c:bubble3D val="0"/>
            <c:spPr>
              <a:solidFill>
                <a:srgbClr val="AEABAB"/>
              </a:solidFill>
            </c:spPr>
            <c:extLst>
              <c:ext xmlns:c16="http://schemas.microsoft.com/office/drawing/2014/chart" uri="{C3380CC4-5D6E-409C-BE32-E72D297353CC}">
                <c16:uniqueId val="{00000E3D-C623-4FBE-8EDB-4AD12F618AAD}"/>
              </c:ext>
            </c:extLst>
          </c:dPt>
          <c:dPt>
            <c:idx val="1822"/>
            <c:invertIfNegative val="1"/>
            <c:bubble3D val="0"/>
            <c:spPr>
              <a:solidFill>
                <a:srgbClr val="AEABAB"/>
              </a:solidFill>
            </c:spPr>
            <c:extLst>
              <c:ext xmlns:c16="http://schemas.microsoft.com/office/drawing/2014/chart" uri="{C3380CC4-5D6E-409C-BE32-E72D297353CC}">
                <c16:uniqueId val="{00000E3F-C623-4FBE-8EDB-4AD12F618AAD}"/>
              </c:ext>
            </c:extLst>
          </c:dPt>
          <c:dPt>
            <c:idx val="1823"/>
            <c:invertIfNegative val="1"/>
            <c:bubble3D val="0"/>
            <c:spPr>
              <a:solidFill>
                <a:srgbClr val="AEABAB"/>
              </a:solidFill>
            </c:spPr>
            <c:extLst>
              <c:ext xmlns:c16="http://schemas.microsoft.com/office/drawing/2014/chart" uri="{C3380CC4-5D6E-409C-BE32-E72D297353CC}">
                <c16:uniqueId val="{00000E41-C623-4FBE-8EDB-4AD12F618AAD}"/>
              </c:ext>
            </c:extLst>
          </c:dPt>
          <c:dPt>
            <c:idx val="1824"/>
            <c:invertIfNegative val="1"/>
            <c:bubble3D val="0"/>
            <c:spPr>
              <a:solidFill>
                <a:srgbClr val="AEABAB"/>
              </a:solidFill>
            </c:spPr>
            <c:extLst>
              <c:ext xmlns:c16="http://schemas.microsoft.com/office/drawing/2014/chart" uri="{C3380CC4-5D6E-409C-BE32-E72D297353CC}">
                <c16:uniqueId val="{00000E43-C623-4FBE-8EDB-4AD12F618AAD}"/>
              </c:ext>
            </c:extLst>
          </c:dPt>
          <c:dPt>
            <c:idx val="1825"/>
            <c:invertIfNegative val="1"/>
            <c:bubble3D val="0"/>
            <c:spPr>
              <a:solidFill>
                <a:srgbClr val="AEABAB"/>
              </a:solidFill>
            </c:spPr>
            <c:extLst>
              <c:ext xmlns:c16="http://schemas.microsoft.com/office/drawing/2014/chart" uri="{C3380CC4-5D6E-409C-BE32-E72D297353CC}">
                <c16:uniqueId val="{00000E45-C623-4FBE-8EDB-4AD12F618AAD}"/>
              </c:ext>
            </c:extLst>
          </c:dPt>
          <c:dPt>
            <c:idx val="1826"/>
            <c:invertIfNegative val="1"/>
            <c:bubble3D val="0"/>
            <c:spPr>
              <a:solidFill>
                <a:srgbClr val="AEABAB"/>
              </a:solidFill>
            </c:spPr>
            <c:extLst>
              <c:ext xmlns:c16="http://schemas.microsoft.com/office/drawing/2014/chart" uri="{C3380CC4-5D6E-409C-BE32-E72D297353CC}">
                <c16:uniqueId val="{00000E47-C623-4FBE-8EDB-4AD12F618AAD}"/>
              </c:ext>
            </c:extLst>
          </c:dPt>
          <c:dPt>
            <c:idx val="1827"/>
            <c:invertIfNegative val="1"/>
            <c:bubble3D val="0"/>
            <c:spPr>
              <a:solidFill>
                <a:srgbClr val="AEABAB"/>
              </a:solidFill>
            </c:spPr>
            <c:extLst>
              <c:ext xmlns:c16="http://schemas.microsoft.com/office/drawing/2014/chart" uri="{C3380CC4-5D6E-409C-BE32-E72D297353CC}">
                <c16:uniqueId val="{00000E49-C623-4FBE-8EDB-4AD12F618AAD}"/>
              </c:ext>
            </c:extLst>
          </c:dPt>
          <c:dPt>
            <c:idx val="1828"/>
            <c:invertIfNegative val="1"/>
            <c:bubble3D val="0"/>
            <c:spPr>
              <a:solidFill>
                <a:srgbClr val="AEABAB"/>
              </a:solidFill>
            </c:spPr>
            <c:extLst>
              <c:ext xmlns:c16="http://schemas.microsoft.com/office/drawing/2014/chart" uri="{C3380CC4-5D6E-409C-BE32-E72D297353CC}">
                <c16:uniqueId val="{00000E4B-C623-4FBE-8EDB-4AD12F618AAD}"/>
              </c:ext>
            </c:extLst>
          </c:dPt>
          <c:dPt>
            <c:idx val="1829"/>
            <c:invertIfNegative val="1"/>
            <c:bubble3D val="0"/>
            <c:spPr>
              <a:solidFill>
                <a:srgbClr val="AEABAB"/>
              </a:solidFill>
            </c:spPr>
            <c:extLst>
              <c:ext xmlns:c16="http://schemas.microsoft.com/office/drawing/2014/chart" uri="{C3380CC4-5D6E-409C-BE32-E72D297353CC}">
                <c16:uniqueId val="{00000E4D-C623-4FBE-8EDB-4AD12F618AAD}"/>
              </c:ext>
            </c:extLst>
          </c:dPt>
          <c:dPt>
            <c:idx val="1830"/>
            <c:invertIfNegative val="1"/>
            <c:bubble3D val="0"/>
            <c:spPr>
              <a:solidFill>
                <a:srgbClr val="AEABAB"/>
              </a:solidFill>
            </c:spPr>
            <c:extLst>
              <c:ext xmlns:c16="http://schemas.microsoft.com/office/drawing/2014/chart" uri="{C3380CC4-5D6E-409C-BE32-E72D297353CC}">
                <c16:uniqueId val="{00000E4F-C623-4FBE-8EDB-4AD12F618AAD}"/>
              </c:ext>
            </c:extLst>
          </c:dPt>
          <c:dPt>
            <c:idx val="1831"/>
            <c:invertIfNegative val="1"/>
            <c:bubble3D val="0"/>
            <c:spPr>
              <a:solidFill>
                <a:srgbClr val="AEABAB"/>
              </a:solidFill>
            </c:spPr>
            <c:extLst>
              <c:ext xmlns:c16="http://schemas.microsoft.com/office/drawing/2014/chart" uri="{C3380CC4-5D6E-409C-BE32-E72D297353CC}">
                <c16:uniqueId val="{00000E51-C623-4FBE-8EDB-4AD12F618AAD}"/>
              </c:ext>
            </c:extLst>
          </c:dPt>
          <c:dPt>
            <c:idx val="1832"/>
            <c:invertIfNegative val="1"/>
            <c:bubble3D val="0"/>
            <c:spPr>
              <a:solidFill>
                <a:srgbClr val="AEABAB"/>
              </a:solidFill>
            </c:spPr>
            <c:extLst>
              <c:ext xmlns:c16="http://schemas.microsoft.com/office/drawing/2014/chart" uri="{C3380CC4-5D6E-409C-BE32-E72D297353CC}">
                <c16:uniqueId val="{00000E53-C623-4FBE-8EDB-4AD12F618AAD}"/>
              </c:ext>
            </c:extLst>
          </c:dPt>
          <c:dPt>
            <c:idx val="1833"/>
            <c:invertIfNegative val="1"/>
            <c:bubble3D val="0"/>
            <c:spPr>
              <a:solidFill>
                <a:srgbClr val="AEABAB"/>
              </a:solidFill>
            </c:spPr>
            <c:extLst>
              <c:ext xmlns:c16="http://schemas.microsoft.com/office/drawing/2014/chart" uri="{C3380CC4-5D6E-409C-BE32-E72D297353CC}">
                <c16:uniqueId val="{00000E55-C623-4FBE-8EDB-4AD12F618AAD}"/>
              </c:ext>
            </c:extLst>
          </c:dPt>
          <c:dPt>
            <c:idx val="1834"/>
            <c:invertIfNegative val="1"/>
            <c:bubble3D val="0"/>
            <c:spPr>
              <a:solidFill>
                <a:srgbClr val="AEABAB"/>
              </a:solidFill>
            </c:spPr>
            <c:extLst>
              <c:ext xmlns:c16="http://schemas.microsoft.com/office/drawing/2014/chart" uri="{C3380CC4-5D6E-409C-BE32-E72D297353CC}">
                <c16:uniqueId val="{00000E57-C623-4FBE-8EDB-4AD12F618AAD}"/>
              </c:ext>
            </c:extLst>
          </c:dPt>
          <c:dPt>
            <c:idx val="1835"/>
            <c:invertIfNegative val="1"/>
            <c:bubble3D val="0"/>
            <c:spPr>
              <a:solidFill>
                <a:srgbClr val="AEABAB"/>
              </a:solidFill>
            </c:spPr>
            <c:extLst>
              <c:ext xmlns:c16="http://schemas.microsoft.com/office/drawing/2014/chart" uri="{C3380CC4-5D6E-409C-BE32-E72D297353CC}">
                <c16:uniqueId val="{00000E59-C623-4FBE-8EDB-4AD12F618AAD}"/>
              </c:ext>
            </c:extLst>
          </c:dPt>
          <c:dPt>
            <c:idx val="1836"/>
            <c:invertIfNegative val="1"/>
            <c:bubble3D val="0"/>
            <c:spPr>
              <a:solidFill>
                <a:srgbClr val="AEABAB"/>
              </a:solidFill>
            </c:spPr>
            <c:extLst>
              <c:ext xmlns:c16="http://schemas.microsoft.com/office/drawing/2014/chart" uri="{C3380CC4-5D6E-409C-BE32-E72D297353CC}">
                <c16:uniqueId val="{00000E5B-C623-4FBE-8EDB-4AD12F618AAD}"/>
              </c:ext>
            </c:extLst>
          </c:dPt>
          <c:dPt>
            <c:idx val="1837"/>
            <c:invertIfNegative val="1"/>
            <c:bubble3D val="0"/>
            <c:spPr>
              <a:solidFill>
                <a:srgbClr val="AEABAB"/>
              </a:solidFill>
            </c:spPr>
            <c:extLst>
              <c:ext xmlns:c16="http://schemas.microsoft.com/office/drawing/2014/chart" uri="{C3380CC4-5D6E-409C-BE32-E72D297353CC}">
                <c16:uniqueId val="{00000E5D-C623-4FBE-8EDB-4AD12F618AAD}"/>
              </c:ext>
            </c:extLst>
          </c:dPt>
          <c:dPt>
            <c:idx val="1838"/>
            <c:invertIfNegative val="1"/>
            <c:bubble3D val="0"/>
            <c:spPr>
              <a:solidFill>
                <a:srgbClr val="AEABAB"/>
              </a:solidFill>
            </c:spPr>
            <c:extLst>
              <c:ext xmlns:c16="http://schemas.microsoft.com/office/drawing/2014/chart" uri="{C3380CC4-5D6E-409C-BE32-E72D297353CC}">
                <c16:uniqueId val="{00000E5F-C623-4FBE-8EDB-4AD12F618AAD}"/>
              </c:ext>
            </c:extLst>
          </c:dPt>
          <c:dPt>
            <c:idx val="1839"/>
            <c:invertIfNegative val="1"/>
            <c:bubble3D val="0"/>
            <c:spPr>
              <a:solidFill>
                <a:srgbClr val="AEABAB"/>
              </a:solidFill>
            </c:spPr>
            <c:extLst>
              <c:ext xmlns:c16="http://schemas.microsoft.com/office/drawing/2014/chart" uri="{C3380CC4-5D6E-409C-BE32-E72D297353CC}">
                <c16:uniqueId val="{00000E61-C623-4FBE-8EDB-4AD12F618AAD}"/>
              </c:ext>
            </c:extLst>
          </c:dPt>
          <c:dPt>
            <c:idx val="1840"/>
            <c:invertIfNegative val="1"/>
            <c:bubble3D val="0"/>
            <c:spPr>
              <a:solidFill>
                <a:srgbClr val="AEABAB"/>
              </a:solidFill>
            </c:spPr>
            <c:extLst>
              <c:ext xmlns:c16="http://schemas.microsoft.com/office/drawing/2014/chart" uri="{C3380CC4-5D6E-409C-BE32-E72D297353CC}">
                <c16:uniqueId val="{00000E63-C623-4FBE-8EDB-4AD12F618AAD}"/>
              </c:ext>
            </c:extLst>
          </c:dPt>
          <c:dPt>
            <c:idx val="1841"/>
            <c:invertIfNegative val="1"/>
            <c:bubble3D val="0"/>
            <c:spPr>
              <a:solidFill>
                <a:srgbClr val="AEABAB"/>
              </a:solidFill>
            </c:spPr>
            <c:extLst>
              <c:ext xmlns:c16="http://schemas.microsoft.com/office/drawing/2014/chart" uri="{C3380CC4-5D6E-409C-BE32-E72D297353CC}">
                <c16:uniqueId val="{00000E65-C623-4FBE-8EDB-4AD12F618AAD}"/>
              </c:ext>
            </c:extLst>
          </c:dPt>
          <c:dPt>
            <c:idx val="1842"/>
            <c:invertIfNegative val="1"/>
            <c:bubble3D val="0"/>
            <c:spPr>
              <a:solidFill>
                <a:srgbClr val="AEABAB"/>
              </a:solidFill>
            </c:spPr>
            <c:extLst>
              <c:ext xmlns:c16="http://schemas.microsoft.com/office/drawing/2014/chart" uri="{C3380CC4-5D6E-409C-BE32-E72D297353CC}">
                <c16:uniqueId val="{00000E67-C623-4FBE-8EDB-4AD12F618AAD}"/>
              </c:ext>
            </c:extLst>
          </c:dPt>
          <c:dPt>
            <c:idx val="1843"/>
            <c:invertIfNegative val="1"/>
            <c:bubble3D val="0"/>
            <c:spPr>
              <a:solidFill>
                <a:srgbClr val="AEABAB"/>
              </a:solidFill>
            </c:spPr>
            <c:extLst>
              <c:ext xmlns:c16="http://schemas.microsoft.com/office/drawing/2014/chart" uri="{C3380CC4-5D6E-409C-BE32-E72D297353CC}">
                <c16:uniqueId val="{00000E69-C623-4FBE-8EDB-4AD12F618AAD}"/>
              </c:ext>
            </c:extLst>
          </c:dPt>
          <c:dPt>
            <c:idx val="1844"/>
            <c:invertIfNegative val="1"/>
            <c:bubble3D val="0"/>
            <c:spPr>
              <a:solidFill>
                <a:srgbClr val="AEABAB"/>
              </a:solidFill>
            </c:spPr>
            <c:extLst>
              <c:ext xmlns:c16="http://schemas.microsoft.com/office/drawing/2014/chart" uri="{C3380CC4-5D6E-409C-BE32-E72D297353CC}">
                <c16:uniqueId val="{00000E6B-C623-4FBE-8EDB-4AD12F618AAD}"/>
              </c:ext>
            </c:extLst>
          </c:dPt>
          <c:dPt>
            <c:idx val="1845"/>
            <c:invertIfNegative val="1"/>
            <c:bubble3D val="0"/>
            <c:spPr>
              <a:solidFill>
                <a:srgbClr val="AEABAB"/>
              </a:solidFill>
            </c:spPr>
            <c:extLst>
              <c:ext xmlns:c16="http://schemas.microsoft.com/office/drawing/2014/chart" uri="{C3380CC4-5D6E-409C-BE32-E72D297353CC}">
                <c16:uniqueId val="{00000E6D-C623-4FBE-8EDB-4AD12F618AAD}"/>
              </c:ext>
            </c:extLst>
          </c:dPt>
          <c:dPt>
            <c:idx val="1846"/>
            <c:invertIfNegative val="1"/>
            <c:bubble3D val="0"/>
            <c:spPr>
              <a:solidFill>
                <a:srgbClr val="AEABAB"/>
              </a:solidFill>
            </c:spPr>
            <c:extLst>
              <c:ext xmlns:c16="http://schemas.microsoft.com/office/drawing/2014/chart" uri="{C3380CC4-5D6E-409C-BE32-E72D297353CC}">
                <c16:uniqueId val="{00000E6F-C623-4FBE-8EDB-4AD12F618AAD}"/>
              </c:ext>
            </c:extLst>
          </c:dPt>
          <c:dPt>
            <c:idx val="1847"/>
            <c:invertIfNegative val="1"/>
            <c:bubble3D val="0"/>
            <c:spPr>
              <a:solidFill>
                <a:srgbClr val="AEABAB"/>
              </a:solidFill>
            </c:spPr>
            <c:extLst>
              <c:ext xmlns:c16="http://schemas.microsoft.com/office/drawing/2014/chart" uri="{C3380CC4-5D6E-409C-BE32-E72D297353CC}">
                <c16:uniqueId val="{00000E71-C623-4FBE-8EDB-4AD12F618AAD}"/>
              </c:ext>
            </c:extLst>
          </c:dPt>
          <c:dPt>
            <c:idx val="1848"/>
            <c:invertIfNegative val="1"/>
            <c:bubble3D val="0"/>
            <c:spPr>
              <a:solidFill>
                <a:srgbClr val="AEABAB"/>
              </a:solidFill>
            </c:spPr>
            <c:extLst>
              <c:ext xmlns:c16="http://schemas.microsoft.com/office/drawing/2014/chart" uri="{C3380CC4-5D6E-409C-BE32-E72D297353CC}">
                <c16:uniqueId val="{00000E73-C623-4FBE-8EDB-4AD12F618AAD}"/>
              </c:ext>
            </c:extLst>
          </c:dPt>
          <c:dPt>
            <c:idx val="1849"/>
            <c:invertIfNegative val="1"/>
            <c:bubble3D val="0"/>
            <c:spPr>
              <a:solidFill>
                <a:srgbClr val="AEABAB"/>
              </a:solidFill>
            </c:spPr>
            <c:extLst>
              <c:ext xmlns:c16="http://schemas.microsoft.com/office/drawing/2014/chart" uri="{C3380CC4-5D6E-409C-BE32-E72D297353CC}">
                <c16:uniqueId val="{00000E75-C623-4FBE-8EDB-4AD12F618AAD}"/>
              </c:ext>
            </c:extLst>
          </c:dPt>
          <c:dPt>
            <c:idx val="1850"/>
            <c:invertIfNegative val="1"/>
            <c:bubble3D val="0"/>
            <c:spPr>
              <a:solidFill>
                <a:srgbClr val="AEABAB"/>
              </a:solidFill>
            </c:spPr>
            <c:extLst>
              <c:ext xmlns:c16="http://schemas.microsoft.com/office/drawing/2014/chart" uri="{C3380CC4-5D6E-409C-BE32-E72D297353CC}">
                <c16:uniqueId val="{00000E77-C623-4FBE-8EDB-4AD12F618AAD}"/>
              </c:ext>
            </c:extLst>
          </c:dPt>
          <c:dPt>
            <c:idx val="1851"/>
            <c:invertIfNegative val="1"/>
            <c:bubble3D val="0"/>
            <c:spPr>
              <a:solidFill>
                <a:srgbClr val="AEABAB"/>
              </a:solidFill>
            </c:spPr>
            <c:extLst>
              <c:ext xmlns:c16="http://schemas.microsoft.com/office/drawing/2014/chart" uri="{C3380CC4-5D6E-409C-BE32-E72D297353CC}">
                <c16:uniqueId val="{00000E79-C623-4FBE-8EDB-4AD12F618AAD}"/>
              </c:ext>
            </c:extLst>
          </c:dPt>
          <c:dPt>
            <c:idx val="1852"/>
            <c:invertIfNegative val="1"/>
            <c:bubble3D val="0"/>
            <c:spPr>
              <a:solidFill>
                <a:srgbClr val="AEABAB"/>
              </a:solidFill>
            </c:spPr>
            <c:extLst>
              <c:ext xmlns:c16="http://schemas.microsoft.com/office/drawing/2014/chart" uri="{C3380CC4-5D6E-409C-BE32-E72D297353CC}">
                <c16:uniqueId val="{00000E7B-C623-4FBE-8EDB-4AD12F618AAD}"/>
              </c:ext>
            </c:extLst>
          </c:dPt>
          <c:dPt>
            <c:idx val="1853"/>
            <c:invertIfNegative val="1"/>
            <c:bubble3D val="0"/>
            <c:spPr>
              <a:solidFill>
                <a:srgbClr val="AEABAB"/>
              </a:solidFill>
            </c:spPr>
            <c:extLst>
              <c:ext xmlns:c16="http://schemas.microsoft.com/office/drawing/2014/chart" uri="{C3380CC4-5D6E-409C-BE32-E72D297353CC}">
                <c16:uniqueId val="{00000E7D-C623-4FBE-8EDB-4AD12F618AAD}"/>
              </c:ext>
            </c:extLst>
          </c:dPt>
          <c:dPt>
            <c:idx val="1854"/>
            <c:invertIfNegative val="1"/>
            <c:bubble3D val="0"/>
            <c:spPr>
              <a:solidFill>
                <a:srgbClr val="AEABAB"/>
              </a:solidFill>
            </c:spPr>
            <c:extLst>
              <c:ext xmlns:c16="http://schemas.microsoft.com/office/drawing/2014/chart" uri="{C3380CC4-5D6E-409C-BE32-E72D297353CC}">
                <c16:uniqueId val="{00000E7F-C623-4FBE-8EDB-4AD12F618AAD}"/>
              </c:ext>
            </c:extLst>
          </c:dPt>
          <c:dPt>
            <c:idx val="1855"/>
            <c:invertIfNegative val="1"/>
            <c:bubble3D val="0"/>
            <c:spPr>
              <a:solidFill>
                <a:srgbClr val="AEABAB"/>
              </a:solidFill>
            </c:spPr>
            <c:extLst>
              <c:ext xmlns:c16="http://schemas.microsoft.com/office/drawing/2014/chart" uri="{C3380CC4-5D6E-409C-BE32-E72D297353CC}">
                <c16:uniqueId val="{00000E81-C623-4FBE-8EDB-4AD12F618AAD}"/>
              </c:ext>
            </c:extLst>
          </c:dPt>
          <c:dPt>
            <c:idx val="1856"/>
            <c:invertIfNegative val="1"/>
            <c:bubble3D val="0"/>
            <c:spPr>
              <a:solidFill>
                <a:srgbClr val="AEABAB"/>
              </a:solidFill>
            </c:spPr>
            <c:extLst>
              <c:ext xmlns:c16="http://schemas.microsoft.com/office/drawing/2014/chart" uri="{C3380CC4-5D6E-409C-BE32-E72D297353CC}">
                <c16:uniqueId val="{00000E83-C623-4FBE-8EDB-4AD12F618AAD}"/>
              </c:ext>
            </c:extLst>
          </c:dPt>
          <c:dPt>
            <c:idx val="1857"/>
            <c:invertIfNegative val="1"/>
            <c:bubble3D val="0"/>
            <c:spPr>
              <a:solidFill>
                <a:srgbClr val="AEABAB"/>
              </a:solidFill>
            </c:spPr>
            <c:extLst>
              <c:ext xmlns:c16="http://schemas.microsoft.com/office/drawing/2014/chart" uri="{C3380CC4-5D6E-409C-BE32-E72D297353CC}">
                <c16:uniqueId val="{00000E85-C623-4FBE-8EDB-4AD12F618AAD}"/>
              </c:ext>
            </c:extLst>
          </c:dPt>
          <c:dPt>
            <c:idx val="1858"/>
            <c:invertIfNegative val="1"/>
            <c:bubble3D val="0"/>
            <c:spPr>
              <a:solidFill>
                <a:srgbClr val="AEABAB"/>
              </a:solidFill>
            </c:spPr>
            <c:extLst>
              <c:ext xmlns:c16="http://schemas.microsoft.com/office/drawing/2014/chart" uri="{C3380CC4-5D6E-409C-BE32-E72D297353CC}">
                <c16:uniqueId val="{00000E87-C623-4FBE-8EDB-4AD12F618AAD}"/>
              </c:ext>
            </c:extLst>
          </c:dPt>
          <c:dPt>
            <c:idx val="1859"/>
            <c:invertIfNegative val="1"/>
            <c:bubble3D val="0"/>
            <c:spPr>
              <a:solidFill>
                <a:srgbClr val="AEABAB"/>
              </a:solidFill>
            </c:spPr>
            <c:extLst>
              <c:ext xmlns:c16="http://schemas.microsoft.com/office/drawing/2014/chart" uri="{C3380CC4-5D6E-409C-BE32-E72D297353CC}">
                <c16:uniqueId val="{00000E89-C623-4FBE-8EDB-4AD12F618AAD}"/>
              </c:ext>
            </c:extLst>
          </c:dPt>
          <c:dPt>
            <c:idx val="1860"/>
            <c:invertIfNegative val="1"/>
            <c:bubble3D val="0"/>
            <c:spPr>
              <a:solidFill>
                <a:srgbClr val="AEABAB"/>
              </a:solidFill>
            </c:spPr>
            <c:extLst>
              <c:ext xmlns:c16="http://schemas.microsoft.com/office/drawing/2014/chart" uri="{C3380CC4-5D6E-409C-BE32-E72D297353CC}">
                <c16:uniqueId val="{00000E8B-C623-4FBE-8EDB-4AD12F618AAD}"/>
              </c:ext>
            </c:extLst>
          </c:dPt>
          <c:dPt>
            <c:idx val="1861"/>
            <c:invertIfNegative val="1"/>
            <c:bubble3D val="0"/>
            <c:spPr>
              <a:solidFill>
                <a:srgbClr val="AEABAB"/>
              </a:solidFill>
            </c:spPr>
            <c:extLst>
              <c:ext xmlns:c16="http://schemas.microsoft.com/office/drawing/2014/chart" uri="{C3380CC4-5D6E-409C-BE32-E72D297353CC}">
                <c16:uniqueId val="{00000E8D-C623-4FBE-8EDB-4AD12F618AAD}"/>
              </c:ext>
            </c:extLst>
          </c:dPt>
          <c:dPt>
            <c:idx val="1862"/>
            <c:invertIfNegative val="1"/>
            <c:bubble3D val="0"/>
            <c:spPr>
              <a:solidFill>
                <a:srgbClr val="AEABAB"/>
              </a:solidFill>
            </c:spPr>
            <c:extLst>
              <c:ext xmlns:c16="http://schemas.microsoft.com/office/drawing/2014/chart" uri="{C3380CC4-5D6E-409C-BE32-E72D297353CC}">
                <c16:uniqueId val="{00000E8F-C623-4FBE-8EDB-4AD12F618AAD}"/>
              </c:ext>
            </c:extLst>
          </c:dPt>
          <c:dPt>
            <c:idx val="1863"/>
            <c:invertIfNegative val="1"/>
            <c:bubble3D val="0"/>
            <c:spPr>
              <a:solidFill>
                <a:srgbClr val="AEABAB"/>
              </a:solidFill>
            </c:spPr>
            <c:extLst>
              <c:ext xmlns:c16="http://schemas.microsoft.com/office/drawing/2014/chart" uri="{C3380CC4-5D6E-409C-BE32-E72D297353CC}">
                <c16:uniqueId val="{00000E91-C623-4FBE-8EDB-4AD12F618AAD}"/>
              </c:ext>
            </c:extLst>
          </c:dPt>
          <c:dPt>
            <c:idx val="1864"/>
            <c:invertIfNegative val="1"/>
            <c:bubble3D val="0"/>
            <c:spPr>
              <a:solidFill>
                <a:srgbClr val="AEABAB"/>
              </a:solidFill>
            </c:spPr>
            <c:extLst>
              <c:ext xmlns:c16="http://schemas.microsoft.com/office/drawing/2014/chart" uri="{C3380CC4-5D6E-409C-BE32-E72D297353CC}">
                <c16:uniqueId val="{00000E93-C623-4FBE-8EDB-4AD12F618AAD}"/>
              </c:ext>
            </c:extLst>
          </c:dPt>
          <c:dPt>
            <c:idx val="1865"/>
            <c:invertIfNegative val="1"/>
            <c:bubble3D val="0"/>
            <c:spPr>
              <a:solidFill>
                <a:srgbClr val="AEABAB"/>
              </a:solidFill>
            </c:spPr>
            <c:extLst>
              <c:ext xmlns:c16="http://schemas.microsoft.com/office/drawing/2014/chart" uri="{C3380CC4-5D6E-409C-BE32-E72D297353CC}">
                <c16:uniqueId val="{00000E95-C623-4FBE-8EDB-4AD12F618AAD}"/>
              </c:ext>
            </c:extLst>
          </c:dPt>
          <c:dPt>
            <c:idx val="1866"/>
            <c:invertIfNegative val="1"/>
            <c:bubble3D val="0"/>
            <c:spPr>
              <a:solidFill>
                <a:srgbClr val="AEABAB"/>
              </a:solidFill>
            </c:spPr>
            <c:extLst>
              <c:ext xmlns:c16="http://schemas.microsoft.com/office/drawing/2014/chart" uri="{C3380CC4-5D6E-409C-BE32-E72D297353CC}">
                <c16:uniqueId val="{00000E97-C623-4FBE-8EDB-4AD12F618AAD}"/>
              </c:ext>
            </c:extLst>
          </c:dPt>
          <c:dPt>
            <c:idx val="1867"/>
            <c:invertIfNegative val="1"/>
            <c:bubble3D val="0"/>
            <c:spPr>
              <a:solidFill>
                <a:srgbClr val="AEABAB"/>
              </a:solidFill>
            </c:spPr>
            <c:extLst>
              <c:ext xmlns:c16="http://schemas.microsoft.com/office/drawing/2014/chart" uri="{C3380CC4-5D6E-409C-BE32-E72D297353CC}">
                <c16:uniqueId val="{00000E99-C623-4FBE-8EDB-4AD12F618AAD}"/>
              </c:ext>
            </c:extLst>
          </c:dPt>
          <c:dPt>
            <c:idx val="1868"/>
            <c:invertIfNegative val="1"/>
            <c:bubble3D val="0"/>
            <c:spPr>
              <a:solidFill>
                <a:srgbClr val="AEABAB"/>
              </a:solidFill>
            </c:spPr>
            <c:extLst>
              <c:ext xmlns:c16="http://schemas.microsoft.com/office/drawing/2014/chart" uri="{C3380CC4-5D6E-409C-BE32-E72D297353CC}">
                <c16:uniqueId val="{00000E9B-C623-4FBE-8EDB-4AD12F618AAD}"/>
              </c:ext>
            </c:extLst>
          </c:dPt>
          <c:dPt>
            <c:idx val="1869"/>
            <c:invertIfNegative val="1"/>
            <c:bubble3D val="0"/>
            <c:spPr>
              <a:solidFill>
                <a:srgbClr val="AEABAB"/>
              </a:solidFill>
            </c:spPr>
            <c:extLst>
              <c:ext xmlns:c16="http://schemas.microsoft.com/office/drawing/2014/chart" uri="{C3380CC4-5D6E-409C-BE32-E72D297353CC}">
                <c16:uniqueId val="{00000E9D-C623-4FBE-8EDB-4AD12F618AAD}"/>
              </c:ext>
            </c:extLst>
          </c:dPt>
          <c:dPt>
            <c:idx val="1870"/>
            <c:invertIfNegative val="1"/>
            <c:bubble3D val="0"/>
            <c:spPr>
              <a:solidFill>
                <a:srgbClr val="AEABAB"/>
              </a:solidFill>
            </c:spPr>
            <c:extLst>
              <c:ext xmlns:c16="http://schemas.microsoft.com/office/drawing/2014/chart" uri="{C3380CC4-5D6E-409C-BE32-E72D297353CC}">
                <c16:uniqueId val="{00000E9F-C623-4FBE-8EDB-4AD12F618AAD}"/>
              </c:ext>
            </c:extLst>
          </c:dPt>
          <c:dPt>
            <c:idx val="1871"/>
            <c:invertIfNegative val="1"/>
            <c:bubble3D val="0"/>
            <c:spPr>
              <a:solidFill>
                <a:srgbClr val="AEABAB"/>
              </a:solidFill>
            </c:spPr>
            <c:extLst>
              <c:ext xmlns:c16="http://schemas.microsoft.com/office/drawing/2014/chart" uri="{C3380CC4-5D6E-409C-BE32-E72D297353CC}">
                <c16:uniqueId val="{00000EA1-C623-4FBE-8EDB-4AD12F618AAD}"/>
              </c:ext>
            </c:extLst>
          </c:dPt>
          <c:dPt>
            <c:idx val="1872"/>
            <c:invertIfNegative val="1"/>
            <c:bubble3D val="0"/>
            <c:spPr>
              <a:solidFill>
                <a:srgbClr val="AEABAB"/>
              </a:solidFill>
            </c:spPr>
            <c:extLst>
              <c:ext xmlns:c16="http://schemas.microsoft.com/office/drawing/2014/chart" uri="{C3380CC4-5D6E-409C-BE32-E72D297353CC}">
                <c16:uniqueId val="{00000EA3-C623-4FBE-8EDB-4AD12F618AAD}"/>
              </c:ext>
            </c:extLst>
          </c:dPt>
          <c:dPt>
            <c:idx val="1873"/>
            <c:invertIfNegative val="1"/>
            <c:bubble3D val="0"/>
            <c:spPr>
              <a:solidFill>
                <a:srgbClr val="AEABAB"/>
              </a:solidFill>
            </c:spPr>
            <c:extLst>
              <c:ext xmlns:c16="http://schemas.microsoft.com/office/drawing/2014/chart" uri="{C3380CC4-5D6E-409C-BE32-E72D297353CC}">
                <c16:uniqueId val="{00000EA5-C623-4FBE-8EDB-4AD12F618AAD}"/>
              </c:ext>
            </c:extLst>
          </c:dPt>
          <c:dPt>
            <c:idx val="1874"/>
            <c:invertIfNegative val="1"/>
            <c:bubble3D val="0"/>
            <c:spPr>
              <a:solidFill>
                <a:srgbClr val="AEABAB"/>
              </a:solidFill>
            </c:spPr>
            <c:extLst>
              <c:ext xmlns:c16="http://schemas.microsoft.com/office/drawing/2014/chart" uri="{C3380CC4-5D6E-409C-BE32-E72D297353CC}">
                <c16:uniqueId val="{00000EA7-C623-4FBE-8EDB-4AD12F618AAD}"/>
              </c:ext>
            </c:extLst>
          </c:dPt>
          <c:dPt>
            <c:idx val="1875"/>
            <c:invertIfNegative val="1"/>
            <c:bubble3D val="0"/>
            <c:spPr>
              <a:solidFill>
                <a:srgbClr val="AEABAB"/>
              </a:solidFill>
            </c:spPr>
            <c:extLst>
              <c:ext xmlns:c16="http://schemas.microsoft.com/office/drawing/2014/chart" uri="{C3380CC4-5D6E-409C-BE32-E72D297353CC}">
                <c16:uniqueId val="{00000EA9-C623-4FBE-8EDB-4AD12F618AAD}"/>
              </c:ext>
            </c:extLst>
          </c:dPt>
          <c:dPt>
            <c:idx val="1876"/>
            <c:invertIfNegative val="1"/>
            <c:bubble3D val="0"/>
            <c:spPr>
              <a:solidFill>
                <a:srgbClr val="AEABAB"/>
              </a:solidFill>
            </c:spPr>
            <c:extLst>
              <c:ext xmlns:c16="http://schemas.microsoft.com/office/drawing/2014/chart" uri="{C3380CC4-5D6E-409C-BE32-E72D297353CC}">
                <c16:uniqueId val="{00000EAB-C623-4FBE-8EDB-4AD12F618AAD}"/>
              </c:ext>
            </c:extLst>
          </c:dPt>
          <c:dPt>
            <c:idx val="1877"/>
            <c:invertIfNegative val="1"/>
            <c:bubble3D val="0"/>
            <c:spPr>
              <a:solidFill>
                <a:srgbClr val="AEABAB"/>
              </a:solidFill>
            </c:spPr>
            <c:extLst>
              <c:ext xmlns:c16="http://schemas.microsoft.com/office/drawing/2014/chart" uri="{C3380CC4-5D6E-409C-BE32-E72D297353CC}">
                <c16:uniqueId val="{00000EAD-C623-4FBE-8EDB-4AD12F618AAD}"/>
              </c:ext>
            </c:extLst>
          </c:dPt>
          <c:dPt>
            <c:idx val="1878"/>
            <c:invertIfNegative val="1"/>
            <c:bubble3D val="0"/>
            <c:spPr>
              <a:solidFill>
                <a:srgbClr val="AEABAB"/>
              </a:solidFill>
            </c:spPr>
            <c:extLst>
              <c:ext xmlns:c16="http://schemas.microsoft.com/office/drawing/2014/chart" uri="{C3380CC4-5D6E-409C-BE32-E72D297353CC}">
                <c16:uniqueId val="{00000EAF-C623-4FBE-8EDB-4AD12F618AAD}"/>
              </c:ext>
            </c:extLst>
          </c:dPt>
          <c:dPt>
            <c:idx val="1879"/>
            <c:invertIfNegative val="1"/>
            <c:bubble3D val="0"/>
            <c:spPr>
              <a:solidFill>
                <a:srgbClr val="AEABAB"/>
              </a:solidFill>
            </c:spPr>
            <c:extLst>
              <c:ext xmlns:c16="http://schemas.microsoft.com/office/drawing/2014/chart" uri="{C3380CC4-5D6E-409C-BE32-E72D297353CC}">
                <c16:uniqueId val="{00000EB1-C623-4FBE-8EDB-4AD12F618AAD}"/>
              </c:ext>
            </c:extLst>
          </c:dPt>
          <c:dPt>
            <c:idx val="1880"/>
            <c:invertIfNegative val="1"/>
            <c:bubble3D val="0"/>
            <c:spPr>
              <a:solidFill>
                <a:srgbClr val="AEABAB"/>
              </a:solidFill>
            </c:spPr>
            <c:extLst>
              <c:ext xmlns:c16="http://schemas.microsoft.com/office/drawing/2014/chart" uri="{C3380CC4-5D6E-409C-BE32-E72D297353CC}">
                <c16:uniqueId val="{00000EB3-C623-4FBE-8EDB-4AD12F618AAD}"/>
              </c:ext>
            </c:extLst>
          </c:dPt>
          <c:dPt>
            <c:idx val="1881"/>
            <c:invertIfNegative val="1"/>
            <c:bubble3D val="0"/>
            <c:spPr>
              <a:solidFill>
                <a:srgbClr val="AEABAB"/>
              </a:solidFill>
            </c:spPr>
            <c:extLst>
              <c:ext xmlns:c16="http://schemas.microsoft.com/office/drawing/2014/chart" uri="{C3380CC4-5D6E-409C-BE32-E72D297353CC}">
                <c16:uniqueId val="{00000EB5-C623-4FBE-8EDB-4AD12F618AAD}"/>
              </c:ext>
            </c:extLst>
          </c:dPt>
          <c:dPt>
            <c:idx val="1882"/>
            <c:invertIfNegative val="1"/>
            <c:bubble3D val="0"/>
            <c:spPr>
              <a:solidFill>
                <a:srgbClr val="AEABAB"/>
              </a:solidFill>
            </c:spPr>
            <c:extLst>
              <c:ext xmlns:c16="http://schemas.microsoft.com/office/drawing/2014/chart" uri="{C3380CC4-5D6E-409C-BE32-E72D297353CC}">
                <c16:uniqueId val="{00000EB7-C623-4FBE-8EDB-4AD12F618AAD}"/>
              </c:ext>
            </c:extLst>
          </c:dPt>
          <c:dPt>
            <c:idx val="1883"/>
            <c:invertIfNegative val="1"/>
            <c:bubble3D val="0"/>
            <c:spPr>
              <a:solidFill>
                <a:srgbClr val="AEABAB"/>
              </a:solidFill>
            </c:spPr>
            <c:extLst>
              <c:ext xmlns:c16="http://schemas.microsoft.com/office/drawing/2014/chart" uri="{C3380CC4-5D6E-409C-BE32-E72D297353CC}">
                <c16:uniqueId val="{00000EB9-C623-4FBE-8EDB-4AD12F618AAD}"/>
              </c:ext>
            </c:extLst>
          </c:dPt>
          <c:dPt>
            <c:idx val="1884"/>
            <c:invertIfNegative val="1"/>
            <c:bubble3D val="0"/>
            <c:spPr>
              <a:solidFill>
                <a:srgbClr val="AEABAB"/>
              </a:solidFill>
            </c:spPr>
            <c:extLst>
              <c:ext xmlns:c16="http://schemas.microsoft.com/office/drawing/2014/chart" uri="{C3380CC4-5D6E-409C-BE32-E72D297353CC}">
                <c16:uniqueId val="{00000EBB-C623-4FBE-8EDB-4AD12F618AAD}"/>
              </c:ext>
            </c:extLst>
          </c:dPt>
          <c:dPt>
            <c:idx val="1885"/>
            <c:invertIfNegative val="1"/>
            <c:bubble3D val="0"/>
            <c:spPr>
              <a:solidFill>
                <a:srgbClr val="AEABAB"/>
              </a:solidFill>
            </c:spPr>
            <c:extLst>
              <c:ext xmlns:c16="http://schemas.microsoft.com/office/drawing/2014/chart" uri="{C3380CC4-5D6E-409C-BE32-E72D297353CC}">
                <c16:uniqueId val="{00000EBD-C623-4FBE-8EDB-4AD12F618AAD}"/>
              </c:ext>
            </c:extLst>
          </c:dPt>
          <c:dPt>
            <c:idx val="1886"/>
            <c:invertIfNegative val="1"/>
            <c:bubble3D val="0"/>
            <c:spPr>
              <a:solidFill>
                <a:srgbClr val="AEABAB"/>
              </a:solidFill>
            </c:spPr>
            <c:extLst>
              <c:ext xmlns:c16="http://schemas.microsoft.com/office/drawing/2014/chart" uri="{C3380CC4-5D6E-409C-BE32-E72D297353CC}">
                <c16:uniqueId val="{00000EBF-C623-4FBE-8EDB-4AD12F618AAD}"/>
              </c:ext>
            </c:extLst>
          </c:dPt>
          <c:dPt>
            <c:idx val="1887"/>
            <c:invertIfNegative val="1"/>
            <c:bubble3D val="0"/>
            <c:spPr>
              <a:solidFill>
                <a:srgbClr val="AEABAB"/>
              </a:solidFill>
            </c:spPr>
            <c:extLst>
              <c:ext xmlns:c16="http://schemas.microsoft.com/office/drawing/2014/chart" uri="{C3380CC4-5D6E-409C-BE32-E72D297353CC}">
                <c16:uniqueId val="{00000EC1-C623-4FBE-8EDB-4AD12F618AAD}"/>
              </c:ext>
            </c:extLst>
          </c:dPt>
          <c:dPt>
            <c:idx val="1888"/>
            <c:invertIfNegative val="1"/>
            <c:bubble3D val="0"/>
            <c:spPr>
              <a:solidFill>
                <a:srgbClr val="AEABAB"/>
              </a:solidFill>
            </c:spPr>
            <c:extLst>
              <c:ext xmlns:c16="http://schemas.microsoft.com/office/drawing/2014/chart" uri="{C3380CC4-5D6E-409C-BE32-E72D297353CC}">
                <c16:uniqueId val="{00000EC3-C623-4FBE-8EDB-4AD12F618AAD}"/>
              </c:ext>
            </c:extLst>
          </c:dPt>
          <c:dPt>
            <c:idx val="1889"/>
            <c:invertIfNegative val="1"/>
            <c:bubble3D val="0"/>
            <c:spPr>
              <a:solidFill>
                <a:srgbClr val="AEABAB"/>
              </a:solidFill>
            </c:spPr>
            <c:extLst>
              <c:ext xmlns:c16="http://schemas.microsoft.com/office/drawing/2014/chart" uri="{C3380CC4-5D6E-409C-BE32-E72D297353CC}">
                <c16:uniqueId val="{00000EC5-C623-4FBE-8EDB-4AD12F618AAD}"/>
              </c:ext>
            </c:extLst>
          </c:dPt>
          <c:dPt>
            <c:idx val="1890"/>
            <c:invertIfNegative val="1"/>
            <c:bubble3D val="0"/>
            <c:spPr>
              <a:solidFill>
                <a:srgbClr val="AEABAB"/>
              </a:solidFill>
            </c:spPr>
            <c:extLst>
              <c:ext xmlns:c16="http://schemas.microsoft.com/office/drawing/2014/chart" uri="{C3380CC4-5D6E-409C-BE32-E72D297353CC}">
                <c16:uniqueId val="{00000EC7-C623-4FBE-8EDB-4AD12F618AAD}"/>
              </c:ext>
            </c:extLst>
          </c:dPt>
          <c:dPt>
            <c:idx val="1891"/>
            <c:invertIfNegative val="1"/>
            <c:bubble3D val="0"/>
            <c:spPr>
              <a:solidFill>
                <a:srgbClr val="AEABAB"/>
              </a:solidFill>
            </c:spPr>
            <c:extLst>
              <c:ext xmlns:c16="http://schemas.microsoft.com/office/drawing/2014/chart" uri="{C3380CC4-5D6E-409C-BE32-E72D297353CC}">
                <c16:uniqueId val="{00000EC9-C623-4FBE-8EDB-4AD12F618AAD}"/>
              </c:ext>
            </c:extLst>
          </c:dPt>
          <c:dPt>
            <c:idx val="1892"/>
            <c:invertIfNegative val="1"/>
            <c:bubble3D val="0"/>
            <c:spPr>
              <a:solidFill>
                <a:srgbClr val="AEABAB"/>
              </a:solidFill>
            </c:spPr>
            <c:extLst>
              <c:ext xmlns:c16="http://schemas.microsoft.com/office/drawing/2014/chart" uri="{C3380CC4-5D6E-409C-BE32-E72D297353CC}">
                <c16:uniqueId val="{00000ECB-C623-4FBE-8EDB-4AD12F618AAD}"/>
              </c:ext>
            </c:extLst>
          </c:dPt>
          <c:dPt>
            <c:idx val="1893"/>
            <c:invertIfNegative val="1"/>
            <c:bubble3D val="0"/>
            <c:spPr>
              <a:solidFill>
                <a:srgbClr val="AEABAB"/>
              </a:solidFill>
            </c:spPr>
            <c:extLst>
              <c:ext xmlns:c16="http://schemas.microsoft.com/office/drawing/2014/chart" uri="{C3380CC4-5D6E-409C-BE32-E72D297353CC}">
                <c16:uniqueId val="{00000ECD-C623-4FBE-8EDB-4AD12F618AAD}"/>
              </c:ext>
            </c:extLst>
          </c:dPt>
          <c:dPt>
            <c:idx val="1894"/>
            <c:invertIfNegative val="1"/>
            <c:bubble3D val="0"/>
            <c:spPr>
              <a:solidFill>
                <a:srgbClr val="AEABAB"/>
              </a:solidFill>
            </c:spPr>
            <c:extLst>
              <c:ext xmlns:c16="http://schemas.microsoft.com/office/drawing/2014/chart" uri="{C3380CC4-5D6E-409C-BE32-E72D297353CC}">
                <c16:uniqueId val="{00000ECF-C623-4FBE-8EDB-4AD12F618AAD}"/>
              </c:ext>
            </c:extLst>
          </c:dPt>
          <c:dPt>
            <c:idx val="1895"/>
            <c:invertIfNegative val="1"/>
            <c:bubble3D val="0"/>
            <c:spPr>
              <a:solidFill>
                <a:srgbClr val="AEABAB"/>
              </a:solidFill>
            </c:spPr>
            <c:extLst>
              <c:ext xmlns:c16="http://schemas.microsoft.com/office/drawing/2014/chart" uri="{C3380CC4-5D6E-409C-BE32-E72D297353CC}">
                <c16:uniqueId val="{00000ED1-C623-4FBE-8EDB-4AD12F618AAD}"/>
              </c:ext>
            </c:extLst>
          </c:dPt>
          <c:dPt>
            <c:idx val="1896"/>
            <c:invertIfNegative val="1"/>
            <c:bubble3D val="0"/>
            <c:spPr>
              <a:solidFill>
                <a:srgbClr val="AEABAB"/>
              </a:solidFill>
            </c:spPr>
            <c:extLst>
              <c:ext xmlns:c16="http://schemas.microsoft.com/office/drawing/2014/chart" uri="{C3380CC4-5D6E-409C-BE32-E72D297353CC}">
                <c16:uniqueId val="{00000ED3-C623-4FBE-8EDB-4AD12F618AAD}"/>
              </c:ext>
            </c:extLst>
          </c:dPt>
          <c:dPt>
            <c:idx val="1897"/>
            <c:invertIfNegative val="1"/>
            <c:bubble3D val="0"/>
            <c:spPr>
              <a:solidFill>
                <a:srgbClr val="AEABAB"/>
              </a:solidFill>
            </c:spPr>
            <c:extLst>
              <c:ext xmlns:c16="http://schemas.microsoft.com/office/drawing/2014/chart" uri="{C3380CC4-5D6E-409C-BE32-E72D297353CC}">
                <c16:uniqueId val="{00000ED5-C623-4FBE-8EDB-4AD12F618AAD}"/>
              </c:ext>
            </c:extLst>
          </c:dPt>
          <c:dPt>
            <c:idx val="1898"/>
            <c:invertIfNegative val="1"/>
            <c:bubble3D val="0"/>
            <c:spPr>
              <a:solidFill>
                <a:srgbClr val="AEABAB"/>
              </a:solidFill>
            </c:spPr>
            <c:extLst>
              <c:ext xmlns:c16="http://schemas.microsoft.com/office/drawing/2014/chart" uri="{C3380CC4-5D6E-409C-BE32-E72D297353CC}">
                <c16:uniqueId val="{00000ED7-C623-4FBE-8EDB-4AD12F618AAD}"/>
              </c:ext>
            </c:extLst>
          </c:dPt>
          <c:dPt>
            <c:idx val="1899"/>
            <c:invertIfNegative val="1"/>
            <c:bubble3D val="0"/>
            <c:spPr>
              <a:solidFill>
                <a:srgbClr val="AEABAB"/>
              </a:solidFill>
            </c:spPr>
            <c:extLst>
              <c:ext xmlns:c16="http://schemas.microsoft.com/office/drawing/2014/chart" uri="{C3380CC4-5D6E-409C-BE32-E72D297353CC}">
                <c16:uniqueId val="{00000ED9-C623-4FBE-8EDB-4AD12F618AAD}"/>
              </c:ext>
            </c:extLst>
          </c:dPt>
          <c:dPt>
            <c:idx val="1900"/>
            <c:invertIfNegative val="1"/>
            <c:bubble3D val="0"/>
            <c:spPr>
              <a:solidFill>
                <a:srgbClr val="AEABAB"/>
              </a:solidFill>
            </c:spPr>
            <c:extLst>
              <c:ext xmlns:c16="http://schemas.microsoft.com/office/drawing/2014/chart" uri="{C3380CC4-5D6E-409C-BE32-E72D297353CC}">
                <c16:uniqueId val="{00000EDB-C623-4FBE-8EDB-4AD12F618AAD}"/>
              </c:ext>
            </c:extLst>
          </c:dPt>
          <c:dPt>
            <c:idx val="1901"/>
            <c:invertIfNegative val="1"/>
            <c:bubble3D val="0"/>
            <c:spPr>
              <a:solidFill>
                <a:srgbClr val="AEABAB"/>
              </a:solidFill>
            </c:spPr>
            <c:extLst>
              <c:ext xmlns:c16="http://schemas.microsoft.com/office/drawing/2014/chart" uri="{C3380CC4-5D6E-409C-BE32-E72D297353CC}">
                <c16:uniqueId val="{00000EDD-C623-4FBE-8EDB-4AD12F618AAD}"/>
              </c:ext>
            </c:extLst>
          </c:dPt>
          <c:dPt>
            <c:idx val="1902"/>
            <c:invertIfNegative val="1"/>
            <c:bubble3D val="0"/>
            <c:spPr>
              <a:solidFill>
                <a:srgbClr val="AEABAB"/>
              </a:solidFill>
            </c:spPr>
            <c:extLst>
              <c:ext xmlns:c16="http://schemas.microsoft.com/office/drawing/2014/chart" uri="{C3380CC4-5D6E-409C-BE32-E72D297353CC}">
                <c16:uniqueId val="{00000EDF-C623-4FBE-8EDB-4AD12F618AAD}"/>
              </c:ext>
            </c:extLst>
          </c:dPt>
          <c:dPt>
            <c:idx val="1903"/>
            <c:invertIfNegative val="1"/>
            <c:bubble3D val="0"/>
            <c:spPr>
              <a:solidFill>
                <a:srgbClr val="AEABAB"/>
              </a:solidFill>
            </c:spPr>
            <c:extLst>
              <c:ext xmlns:c16="http://schemas.microsoft.com/office/drawing/2014/chart" uri="{C3380CC4-5D6E-409C-BE32-E72D297353CC}">
                <c16:uniqueId val="{00000EE1-C623-4FBE-8EDB-4AD12F618AAD}"/>
              </c:ext>
            </c:extLst>
          </c:dPt>
          <c:dPt>
            <c:idx val="1904"/>
            <c:invertIfNegative val="1"/>
            <c:bubble3D val="0"/>
            <c:spPr>
              <a:solidFill>
                <a:srgbClr val="AEABAB"/>
              </a:solidFill>
            </c:spPr>
            <c:extLst>
              <c:ext xmlns:c16="http://schemas.microsoft.com/office/drawing/2014/chart" uri="{C3380CC4-5D6E-409C-BE32-E72D297353CC}">
                <c16:uniqueId val="{00000EE3-C623-4FBE-8EDB-4AD12F618AAD}"/>
              </c:ext>
            </c:extLst>
          </c:dPt>
          <c:dPt>
            <c:idx val="1905"/>
            <c:invertIfNegative val="1"/>
            <c:bubble3D val="0"/>
            <c:spPr>
              <a:solidFill>
                <a:srgbClr val="AEABAB"/>
              </a:solidFill>
            </c:spPr>
            <c:extLst>
              <c:ext xmlns:c16="http://schemas.microsoft.com/office/drawing/2014/chart" uri="{C3380CC4-5D6E-409C-BE32-E72D297353CC}">
                <c16:uniqueId val="{00000EE5-C623-4FBE-8EDB-4AD12F618AAD}"/>
              </c:ext>
            </c:extLst>
          </c:dPt>
          <c:dPt>
            <c:idx val="1906"/>
            <c:invertIfNegative val="1"/>
            <c:bubble3D val="0"/>
            <c:spPr>
              <a:solidFill>
                <a:srgbClr val="AEABAB"/>
              </a:solidFill>
            </c:spPr>
            <c:extLst>
              <c:ext xmlns:c16="http://schemas.microsoft.com/office/drawing/2014/chart" uri="{C3380CC4-5D6E-409C-BE32-E72D297353CC}">
                <c16:uniqueId val="{00000EE7-C623-4FBE-8EDB-4AD12F618AAD}"/>
              </c:ext>
            </c:extLst>
          </c:dPt>
          <c:dPt>
            <c:idx val="1907"/>
            <c:invertIfNegative val="1"/>
            <c:bubble3D val="0"/>
            <c:spPr>
              <a:solidFill>
                <a:srgbClr val="AEABAB"/>
              </a:solidFill>
            </c:spPr>
            <c:extLst>
              <c:ext xmlns:c16="http://schemas.microsoft.com/office/drawing/2014/chart" uri="{C3380CC4-5D6E-409C-BE32-E72D297353CC}">
                <c16:uniqueId val="{00000EE9-C623-4FBE-8EDB-4AD12F618AAD}"/>
              </c:ext>
            </c:extLst>
          </c:dPt>
          <c:dPt>
            <c:idx val="1908"/>
            <c:invertIfNegative val="1"/>
            <c:bubble3D val="0"/>
            <c:spPr>
              <a:solidFill>
                <a:srgbClr val="AEABAB"/>
              </a:solidFill>
            </c:spPr>
            <c:extLst>
              <c:ext xmlns:c16="http://schemas.microsoft.com/office/drawing/2014/chart" uri="{C3380CC4-5D6E-409C-BE32-E72D297353CC}">
                <c16:uniqueId val="{00000EEB-C623-4FBE-8EDB-4AD12F618AAD}"/>
              </c:ext>
            </c:extLst>
          </c:dPt>
          <c:dPt>
            <c:idx val="1909"/>
            <c:invertIfNegative val="1"/>
            <c:bubble3D val="0"/>
            <c:spPr>
              <a:solidFill>
                <a:srgbClr val="AEABAB"/>
              </a:solidFill>
            </c:spPr>
            <c:extLst>
              <c:ext xmlns:c16="http://schemas.microsoft.com/office/drawing/2014/chart" uri="{C3380CC4-5D6E-409C-BE32-E72D297353CC}">
                <c16:uniqueId val="{00000EED-C623-4FBE-8EDB-4AD12F618AAD}"/>
              </c:ext>
            </c:extLst>
          </c:dPt>
          <c:dPt>
            <c:idx val="1910"/>
            <c:invertIfNegative val="1"/>
            <c:bubble3D val="0"/>
            <c:spPr>
              <a:solidFill>
                <a:srgbClr val="AEABAB"/>
              </a:solidFill>
            </c:spPr>
            <c:extLst>
              <c:ext xmlns:c16="http://schemas.microsoft.com/office/drawing/2014/chart" uri="{C3380CC4-5D6E-409C-BE32-E72D297353CC}">
                <c16:uniqueId val="{00000EEF-C623-4FBE-8EDB-4AD12F618AAD}"/>
              </c:ext>
            </c:extLst>
          </c:dPt>
          <c:dPt>
            <c:idx val="1911"/>
            <c:invertIfNegative val="1"/>
            <c:bubble3D val="0"/>
            <c:spPr>
              <a:solidFill>
                <a:srgbClr val="AEABAB"/>
              </a:solidFill>
            </c:spPr>
            <c:extLst>
              <c:ext xmlns:c16="http://schemas.microsoft.com/office/drawing/2014/chart" uri="{C3380CC4-5D6E-409C-BE32-E72D297353CC}">
                <c16:uniqueId val="{00000EF1-C623-4FBE-8EDB-4AD12F618AAD}"/>
              </c:ext>
            </c:extLst>
          </c:dPt>
          <c:dPt>
            <c:idx val="1912"/>
            <c:invertIfNegative val="1"/>
            <c:bubble3D val="0"/>
            <c:spPr>
              <a:solidFill>
                <a:srgbClr val="AEABAB"/>
              </a:solidFill>
            </c:spPr>
            <c:extLst>
              <c:ext xmlns:c16="http://schemas.microsoft.com/office/drawing/2014/chart" uri="{C3380CC4-5D6E-409C-BE32-E72D297353CC}">
                <c16:uniqueId val="{00000EF3-C623-4FBE-8EDB-4AD12F618AAD}"/>
              </c:ext>
            </c:extLst>
          </c:dPt>
          <c:dPt>
            <c:idx val="1913"/>
            <c:invertIfNegative val="1"/>
            <c:bubble3D val="0"/>
            <c:spPr>
              <a:solidFill>
                <a:srgbClr val="AEABAB"/>
              </a:solidFill>
            </c:spPr>
            <c:extLst>
              <c:ext xmlns:c16="http://schemas.microsoft.com/office/drawing/2014/chart" uri="{C3380CC4-5D6E-409C-BE32-E72D297353CC}">
                <c16:uniqueId val="{00000EF5-C623-4FBE-8EDB-4AD12F618AAD}"/>
              </c:ext>
            </c:extLst>
          </c:dPt>
          <c:dPt>
            <c:idx val="1914"/>
            <c:invertIfNegative val="1"/>
            <c:bubble3D val="0"/>
            <c:spPr>
              <a:solidFill>
                <a:srgbClr val="AEABAB"/>
              </a:solidFill>
            </c:spPr>
            <c:extLst>
              <c:ext xmlns:c16="http://schemas.microsoft.com/office/drawing/2014/chart" uri="{C3380CC4-5D6E-409C-BE32-E72D297353CC}">
                <c16:uniqueId val="{00000EF7-C623-4FBE-8EDB-4AD12F618AAD}"/>
              </c:ext>
            </c:extLst>
          </c:dPt>
          <c:dPt>
            <c:idx val="1915"/>
            <c:invertIfNegative val="1"/>
            <c:bubble3D val="0"/>
            <c:spPr>
              <a:solidFill>
                <a:srgbClr val="AEABAB"/>
              </a:solidFill>
            </c:spPr>
            <c:extLst>
              <c:ext xmlns:c16="http://schemas.microsoft.com/office/drawing/2014/chart" uri="{C3380CC4-5D6E-409C-BE32-E72D297353CC}">
                <c16:uniqueId val="{00000EF9-C623-4FBE-8EDB-4AD12F618AAD}"/>
              </c:ext>
            </c:extLst>
          </c:dPt>
          <c:dPt>
            <c:idx val="1916"/>
            <c:invertIfNegative val="1"/>
            <c:bubble3D val="0"/>
            <c:spPr>
              <a:solidFill>
                <a:srgbClr val="AEABAB"/>
              </a:solidFill>
            </c:spPr>
            <c:extLst>
              <c:ext xmlns:c16="http://schemas.microsoft.com/office/drawing/2014/chart" uri="{C3380CC4-5D6E-409C-BE32-E72D297353CC}">
                <c16:uniqueId val="{00000EFB-C623-4FBE-8EDB-4AD12F618AAD}"/>
              </c:ext>
            </c:extLst>
          </c:dPt>
          <c:dPt>
            <c:idx val="1917"/>
            <c:invertIfNegative val="1"/>
            <c:bubble3D val="0"/>
            <c:spPr>
              <a:solidFill>
                <a:srgbClr val="AEABAB"/>
              </a:solidFill>
            </c:spPr>
            <c:extLst>
              <c:ext xmlns:c16="http://schemas.microsoft.com/office/drawing/2014/chart" uri="{C3380CC4-5D6E-409C-BE32-E72D297353CC}">
                <c16:uniqueId val="{00000EFD-C623-4FBE-8EDB-4AD12F618AAD}"/>
              </c:ext>
            </c:extLst>
          </c:dPt>
          <c:dPt>
            <c:idx val="1918"/>
            <c:invertIfNegative val="1"/>
            <c:bubble3D val="0"/>
            <c:spPr>
              <a:solidFill>
                <a:srgbClr val="AEABAB"/>
              </a:solidFill>
            </c:spPr>
            <c:extLst>
              <c:ext xmlns:c16="http://schemas.microsoft.com/office/drawing/2014/chart" uri="{C3380CC4-5D6E-409C-BE32-E72D297353CC}">
                <c16:uniqueId val="{00000EFF-C623-4FBE-8EDB-4AD12F618AAD}"/>
              </c:ext>
            </c:extLst>
          </c:dPt>
          <c:dPt>
            <c:idx val="1919"/>
            <c:invertIfNegative val="1"/>
            <c:bubble3D val="0"/>
            <c:spPr>
              <a:solidFill>
                <a:srgbClr val="AEABAB"/>
              </a:solidFill>
            </c:spPr>
            <c:extLst>
              <c:ext xmlns:c16="http://schemas.microsoft.com/office/drawing/2014/chart" uri="{C3380CC4-5D6E-409C-BE32-E72D297353CC}">
                <c16:uniqueId val="{00000F01-C623-4FBE-8EDB-4AD12F618AAD}"/>
              </c:ext>
            </c:extLst>
          </c:dPt>
          <c:dPt>
            <c:idx val="1920"/>
            <c:invertIfNegative val="1"/>
            <c:bubble3D val="0"/>
            <c:spPr>
              <a:solidFill>
                <a:srgbClr val="AEABAB"/>
              </a:solidFill>
            </c:spPr>
            <c:extLst>
              <c:ext xmlns:c16="http://schemas.microsoft.com/office/drawing/2014/chart" uri="{C3380CC4-5D6E-409C-BE32-E72D297353CC}">
                <c16:uniqueId val="{00000F03-C623-4FBE-8EDB-4AD12F618AAD}"/>
              </c:ext>
            </c:extLst>
          </c:dPt>
          <c:dPt>
            <c:idx val="1921"/>
            <c:invertIfNegative val="1"/>
            <c:bubble3D val="0"/>
            <c:spPr>
              <a:solidFill>
                <a:srgbClr val="AEABAB"/>
              </a:solidFill>
            </c:spPr>
            <c:extLst>
              <c:ext xmlns:c16="http://schemas.microsoft.com/office/drawing/2014/chart" uri="{C3380CC4-5D6E-409C-BE32-E72D297353CC}">
                <c16:uniqueId val="{00000F05-C623-4FBE-8EDB-4AD12F618AAD}"/>
              </c:ext>
            </c:extLst>
          </c:dPt>
          <c:dPt>
            <c:idx val="1922"/>
            <c:invertIfNegative val="1"/>
            <c:bubble3D val="0"/>
            <c:spPr>
              <a:solidFill>
                <a:srgbClr val="AEABAB"/>
              </a:solidFill>
            </c:spPr>
            <c:extLst>
              <c:ext xmlns:c16="http://schemas.microsoft.com/office/drawing/2014/chart" uri="{C3380CC4-5D6E-409C-BE32-E72D297353CC}">
                <c16:uniqueId val="{00000F07-C623-4FBE-8EDB-4AD12F618AAD}"/>
              </c:ext>
            </c:extLst>
          </c:dPt>
          <c:dPt>
            <c:idx val="1923"/>
            <c:invertIfNegative val="1"/>
            <c:bubble3D val="0"/>
            <c:spPr>
              <a:solidFill>
                <a:srgbClr val="AEABAB"/>
              </a:solidFill>
            </c:spPr>
            <c:extLst>
              <c:ext xmlns:c16="http://schemas.microsoft.com/office/drawing/2014/chart" uri="{C3380CC4-5D6E-409C-BE32-E72D297353CC}">
                <c16:uniqueId val="{00000F09-C623-4FBE-8EDB-4AD12F618AAD}"/>
              </c:ext>
            </c:extLst>
          </c:dPt>
          <c:dPt>
            <c:idx val="1924"/>
            <c:invertIfNegative val="1"/>
            <c:bubble3D val="0"/>
            <c:spPr>
              <a:solidFill>
                <a:srgbClr val="AEABAB"/>
              </a:solidFill>
            </c:spPr>
            <c:extLst>
              <c:ext xmlns:c16="http://schemas.microsoft.com/office/drawing/2014/chart" uri="{C3380CC4-5D6E-409C-BE32-E72D297353CC}">
                <c16:uniqueId val="{00000F0B-C623-4FBE-8EDB-4AD12F618AAD}"/>
              </c:ext>
            </c:extLst>
          </c:dPt>
          <c:dPt>
            <c:idx val="1925"/>
            <c:invertIfNegative val="1"/>
            <c:bubble3D val="0"/>
            <c:spPr>
              <a:solidFill>
                <a:srgbClr val="AEABAB"/>
              </a:solidFill>
            </c:spPr>
            <c:extLst>
              <c:ext xmlns:c16="http://schemas.microsoft.com/office/drawing/2014/chart" uri="{C3380CC4-5D6E-409C-BE32-E72D297353CC}">
                <c16:uniqueId val="{00000F0D-C623-4FBE-8EDB-4AD12F618AAD}"/>
              </c:ext>
            </c:extLst>
          </c:dPt>
          <c:dPt>
            <c:idx val="1926"/>
            <c:invertIfNegative val="1"/>
            <c:bubble3D val="0"/>
            <c:spPr>
              <a:solidFill>
                <a:srgbClr val="AEABAB"/>
              </a:solidFill>
            </c:spPr>
            <c:extLst>
              <c:ext xmlns:c16="http://schemas.microsoft.com/office/drawing/2014/chart" uri="{C3380CC4-5D6E-409C-BE32-E72D297353CC}">
                <c16:uniqueId val="{00000F0F-C623-4FBE-8EDB-4AD12F618AAD}"/>
              </c:ext>
            </c:extLst>
          </c:dPt>
          <c:dPt>
            <c:idx val="1927"/>
            <c:invertIfNegative val="1"/>
            <c:bubble3D val="0"/>
            <c:spPr>
              <a:solidFill>
                <a:srgbClr val="AEABAB"/>
              </a:solidFill>
            </c:spPr>
            <c:extLst>
              <c:ext xmlns:c16="http://schemas.microsoft.com/office/drawing/2014/chart" uri="{C3380CC4-5D6E-409C-BE32-E72D297353CC}">
                <c16:uniqueId val="{00000F11-C623-4FBE-8EDB-4AD12F618AAD}"/>
              </c:ext>
            </c:extLst>
          </c:dPt>
          <c:dPt>
            <c:idx val="1928"/>
            <c:invertIfNegative val="1"/>
            <c:bubble3D val="0"/>
            <c:spPr>
              <a:solidFill>
                <a:srgbClr val="AEABAB"/>
              </a:solidFill>
            </c:spPr>
            <c:extLst>
              <c:ext xmlns:c16="http://schemas.microsoft.com/office/drawing/2014/chart" uri="{C3380CC4-5D6E-409C-BE32-E72D297353CC}">
                <c16:uniqueId val="{00000F13-C623-4FBE-8EDB-4AD12F618AAD}"/>
              </c:ext>
            </c:extLst>
          </c:dPt>
          <c:dPt>
            <c:idx val="1929"/>
            <c:invertIfNegative val="1"/>
            <c:bubble3D val="0"/>
            <c:spPr>
              <a:solidFill>
                <a:srgbClr val="AEABAB"/>
              </a:solidFill>
            </c:spPr>
            <c:extLst>
              <c:ext xmlns:c16="http://schemas.microsoft.com/office/drawing/2014/chart" uri="{C3380CC4-5D6E-409C-BE32-E72D297353CC}">
                <c16:uniqueId val="{00000F15-C623-4FBE-8EDB-4AD12F618AAD}"/>
              </c:ext>
            </c:extLst>
          </c:dPt>
          <c:dPt>
            <c:idx val="1930"/>
            <c:invertIfNegative val="1"/>
            <c:bubble3D val="0"/>
            <c:spPr>
              <a:solidFill>
                <a:srgbClr val="AEABAB"/>
              </a:solidFill>
            </c:spPr>
            <c:extLst>
              <c:ext xmlns:c16="http://schemas.microsoft.com/office/drawing/2014/chart" uri="{C3380CC4-5D6E-409C-BE32-E72D297353CC}">
                <c16:uniqueId val="{00000F17-C623-4FBE-8EDB-4AD12F618AAD}"/>
              </c:ext>
            </c:extLst>
          </c:dPt>
          <c:dPt>
            <c:idx val="1931"/>
            <c:invertIfNegative val="1"/>
            <c:bubble3D val="0"/>
            <c:spPr>
              <a:solidFill>
                <a:srgbClr val="AEABAB"/>
              </a:solidFill>
            </c:spPr>
            <c:extLst>
              <c:ext xmlns:c16="http://schemas.microsoft.com/office/drawing/2014/chart" uri="{C3380CC4-5D6E-409C-BE32-E72D297353CC}">
                <c16:uniqueId val="{00000F19-C623-4FBE-8EDB-4AD12F618AAD}"/>
              </c:ext>
            </c:extLst>
          </c:dPt>
          <c:dPt>
            <c:idx val="1932"/>
            <c:invertIfNegative val="1"/>
            <c:bubble3D val="0"/>
            <c:spPr>
              <a:solidFill>
                <a:srgbClr val="AEABAB"/>
              </a:solidFill>
            </c:spPr>
            <c:extLst>
              <c:ext xmlns:c16="http://schemas.microsoft.com/office/drawing/2014/chart" uri="{C3380CC4-5D6E-409C-BE32-E72D297353CC}">
                <c16:uniqueId val="{00000F1B-C623-4FBE-8EDB-4AD12F618AAD}"/>
              </c:ext>
            </c:extLst>
          </c:dPt>
          <c:dPt>
            <c:idx val="1933"/>
            <c:invertIfNegative val="1"/>
            <c:bubble3D val="0"/>
            <c:spPr>
              <a:solidFill>
                <a:srgbClr val="AEABAB"/>
              </a:solidFill>
            </c:spPr>
            <c:extLst>
              <c:ext xmlns:c16="http://schemas.microsoft.com/office/drawing/2014/chart" uri="{C3380CC4-5D6E-409C-BE32-E72D297353CC}">
                <c16:uniqueId val="{00000F1D-C623-4FBE-8EDB-4AD12F618AAD}"/>
              </c:ext>
            </c:extLst>
          </c:dPt>
          <c:dPt>
            <c:idx val="1934"/>
            <c:invertIfNegative val="1"/>
            <c:bubble3D val="0"/>
            <c:spPr>
              <a:solidFill>
                <a:srgbClr val="AEABAB"/>
              </a:solidFill>
            </c:spPr>
            <c:extLst>
              <c:ext xmlns:c16="http://schemas.microsoft.com/office/drawing/2014/chart" uri="{C3380CC4-5D6E-409C-BE32-E72D297353CC}">
                <c16:uniqueId val="{00000F1F-C623-4FBE-8EDB-4AD12F618AAD}"/>
              </c:ext>
            </c:extLst>
          </c:dPt>
          <c:dPt>
            <c:idx val="1935"/>
            <c:invertIfNegative val="1"/>
            <c:bubble3D val="0"/>
            <c:spPr>
              <a:solidFill>
                <a:srgbClr val="AEABAB"/>
              </a:solidFill>
            </c:spPr>
            <c:extLst>
              <c:ext xmlns:c16="http://schemas.microsoft.com/office/drawing/2014/chart" uri="{C3380CC4-5D6E-409C-BE32-E72D297353CC}">
                <c16:uniqueId val="{00000F21-C623-4FBE-8EDB-4AD12F618AAD}"/>
              </c:ext>
            </c:extLst>
          </c:dPt>
          <c:dPt>
            <c:idx val="1936"/>
            <c:invertIfNegative val="1"/>
            <c:bubble3D val="0"/>
            <c:spPr>
              <a:solidFill>
                <a:srgbClr val="AEABAB"/>
              </a:solidFill>
            </c:spPr>
            <c:extLst>
              <c:ext xmlns:c16="http://schemas.microsoft.com/office/drawing/2014/chart" uri="{C3380CC4-5D6E-409C-BE32-E72D297353CC}">
                <c16:uniqueId val="{00000F23-C623-4FBE-8EDB-4AD12F618AAD}"/>
              </c:ext>
            </c:extLst>
          </c:dPt>
          <c:dPt>
            <c:idx val="1937"/>
            <c:invertIfNegative val="1"/>
            <c:bubble3D val="0"/>
            <c:spPr>
              <a:solidFill>
                <a:srgbClr val="AEABAB"/>
              </a:solidFill>
            </c:spPr>
            <c:extLst>
              <c:ext xmlns:c16="http://schemas.microsoft.com/office/drawing/2014/chart" uri="{C3380CC4-5D6E-409C-BE32-E72D297353CC}">
                <c16:uniqueId val="{00000F25-C623-4FBE-8EDB-4AD12F618AAD}"/>
              </c:ext>
            </c:extLst>
          </c:dPt>
          <c:dPt>
            <c:idx val="1938"/>
            <c:invertIfNegative val="1"/>
            <c:bubble3D val="0"/>
            <c:spPr>
              <a:solidFill>
                <a:srgbClr val="AEABAB"/>
              </a:solidFill>
            </c:spPr>
            <c:extLst>
              <c:ext xmlns:c16="http://schemas.microsoft.com/office/drawing/2014/chart" uri="{C3380CC4-5D6E-409C-BE32-E72D297353CC}">
                <c16:uniqueId val="{00000F27-C623-4FBE-8EDB-4AD12F618AAD}"/>
              </c:ext>
            </c:extLst>
          </c:dPt>
          <c:dPt>
            <c:idx val="1939"/>
            <c:invertIfNegative val="1"/>
            <c:bubble3D val="0"/>
            <c:spPr>
              <a:solidFill>
                <a:srgbClr val="AEABAB"/>
              </a:solidFill>
            </c:spPr>
            <c:extLst>
              <c:ext xmlns:c16="http://schemas.microsoft.com/office/drawing/2014/chart" uri="{C3380CC4-5D6E-409C-BE32-E72D297353CC}">
                <c16:uniqueId val="{00000F29-C623-4FBE-8EDB-4AD12F618AAD}"/>
              </c:ext>
            </c:extLst>
          </c:dPt>
          <c:dPt>
            <c:idx val="1940"/>
            <c:invertIfNegative val="1"/>
            <c:bubble3D val="0"/>
            <c:spPr>
              <a:solidFill>
                <a:srgbClr val="AEABAB"/>
              </a:solidFill>
            </c:spPr>
            <c:extLst>
              <c:ext xmlns:c16="http://schemas.microsoft.com/office/drawing/2014/chart" uri="{C3380CC4-5D6E-409C-BE32-E72D297353CC}">
                <c16:uniqueId val="{00000F2B-C623-4FBE-8EDB-4AD12F618AAD}"/>
              </c:ext>
            </c:extLst>
          </c:dPt>
          <c:dPt>
            <c:idx val="1941"/>
            <c:invertIfNegative val="1"/>
            <c:bubble3D val="0"/>
            <c:spPr>
              <a:solidFill>
                <a:srgbClr val="AEABAB"/>
              </a:solidFill>
            </c:spPr>
            <c:extLst>
              <c:ext xmlns:c16="http://schemas.microsoft.com/office/drawing/2014/chart" uri="{C3380CC4-5D6E-409C-BE32-E72D297353CC}">
                <c16:uniqueId val="{00000F2D-C623-4FBE-8EDB-4AD12F618AAD}"/>
              </c:ext>
            </c:extLst>
          </c:dPt>
          <c:dPt>
            <c:idx val="1942"/>
            <c:invertIfNegative val="1"/>
            <c:bubble3D val="0"/>
            <c:spPr>
              <a:solidFill>
                <a:srgbClr val="AEABAB"/>
              </a:solidFill>
            </c:spPr>
            <c:extLst>
              <c:ext xmlns:c16="http://schemas.microsoft.com/office/drawing/2014/chart" uri="{C3380CC4-5D6E-409C-BE32-E72D297353CC}">
                <c16:uniqueId val="{00000F2F-C623-4FBE-8EDB-4AD12F618AAD}"/>
              </c:ext>
            </c:extLst>
          </c:dPt>
          <c:dPt>
            <c:idx val="1943"/>
            <c:invertIfNegative val="1"/>
            <c:bubble3D val="0"/>
            <c:spPr>
              <a:solidFill>
                <a:srgbClr val="AEABAB"/>
              </a:solidFill>
            </c:spPr>
            <c:extLst>
              <c:ext xmlns:c16="http://schemas.microsoft.com/office/drawing/2014/chart" uri="{C3380CC4-5D6E-409C-BE32-E72D297353CC}">
                <c16:uniqueId val="{00000F31-C623-4FBE-8EDB-4AD12F618AAD}"/>
              </c:ext>
            </c:extLst>
          </c:dPt>
          <c:dPt>
            <c:idx val="1944"/>
            <c:invertIfNegative val="1"/>
            <c:bubble3D val="0"/>
            <c:spPr>
              <a:solidFill>
                <a:srgbClr val="AEABAB"/>
              </a:solidFill>
            </c:spPr>
            <c:extLst>
              <c:ext xmlns:c16="http://schemas.microsoft.com/office/drawing/2014/chart" uri="{C3380CC4-5D6E-409C-BE32-E72D297353CC}">
                <c16:uniqueId val="{00000F33-C623-4FBE-8EDB-4AD12F618AAD}"/>
              </c:ext>
            </c:extLst>
          </c:dPt>
          <c:dPt>
            <c:idx val="1945"/>
            <c:invertIfNegative val="1"/>
            <c:bubble3D val="0"/>
            <c:spPr>
              <a:solidFill>
                <a:srgbClr val="AEABAB"/>
              </a:solidFill>
            </c:spPr>
            <c:extLst>
              <c:ext xmlns:c16="http://schemas.microsoft.com/office/drawing/2014/chart" uri="{C3380CC4-5D6E-409C-BE32-E72D297353CC}">
                <c16:uniqueId val="{00000F35-C623-4FBE-8EDB-4AD12F618AAD}"/>
              </c:ext>
            </c:extLst>
          </c:dPt>
          <c:dPt>
            <c:idx val="1946"/>
            <c:invertIfNegative val="1"/>
            <c:bubble3D val="0"/>
            <c:spPr>
              <a:solidFill>
                <a:srgbClr val="AEABAB"/>
              </a:solidFill>
            </c:spPr>
            <c:extLst>
              <c:ext xmlns:c16="http://schemas.microsoft.com/office/drawing/2014/chart" uri="{C3380CC4-5D6E-409C-BE32-E72D297353CC}">
                <c16:uniqueId val="{00000F37-C623-4FBE-8EDB-4AD12F618AAD}"/>
              </c:ext>
            </c:extLst>
          </c:dPt>
          <c:dPt>
            <c:idx val="1947"/>
            <c:invertIfNegative val="1"/>
            <c:bubble3D val="0"/>
            <c:spPr>
              <a:solidFill>
                <a:srgbClr val="AEABAB"/>
              </a:solidFill>
            </c:spPr>
            <c:extLst>
              <c:ext xmlns:c16="http://schemas.microsoft.com/office/drawing/2014/chart" uri="{C3380CC4-5D6E-409C-BE32-E72D297353CC}">
                <c16:uniqueId val="{00000F39-C623-4FBE-8EDB-4AD12F618AAD}"/>
              </c:ext>
            </c:extLst>
          </c:dPt>
          <c:dPt>
            <c:idx val="1948"/>
            <c:invertIfNegative val="1"/>
            <c:bubble3D val="0"/>
            <c:spPr>
              <a:solidFill>
                <a:srgbClr val="AEABAB"/>
              </a:solidFill>
            </c:spPr>
            <c:extLst>
              <c:ext xmlns:c16="http://schemas.microsoft.com/office/drawing/2014/chart" uri="{C3380CC4-5D6E-409C-BE32-E72D297353CC}">
                <c16:uniqueId val="{00000F3B-C623-4FBE-8EDB-4AD12F618AAD}"/>
              </c:ext>
            </c:extLst>
          </c:dPt>
          <c:dPt>
            <c:idx val="1949"/>
            <c:invertIfNegative val="1"/>
            <c:bubble3D val="0"/>
            <c:spPr>
              <a:solidFill>
                <a:srgbClr val="AEABAB"/>
              </a:solidFill>
            </c:spPr>
            <c:extLst>
              <c:ext xmlns:c16="http://schemas.microsoft.com/office/drawing/2014/chart" uri="{C3380CC4-5D6E-409C-BE32-E72D297353CC}">
                <c16:uniqueId val="{00000F3D-C623-4FBE-8EDB-4AD12F618AAD}"/>
              </c:ext>
            </c:extLst>
          </c:dPt>
          <c:dPt>
            <c:idx val="1950"/>
            <c:invertIfNegative val="1"/>
            <c:bubble3D val="0"/>
            <c:spPr>
              <a:solidFill>
                <a:srgbClr val="AEABAB"/>
              </a:solidFill>
            </c:spPr>
            <c:extLst>
              <c:ext xmlns:c16="http://schemas.microsoft.com/office/drawing/2014/chart" uri="{C3380CC4-5D6E-409C-BE32-E72D297353CC}">
                <c16:uniqueId val="{00000F3F-C623-4FBE-8EDB-4AD12F618AAD}"/>
              </c:ext>
            </c:extLst>
          </c:dPt>
          <c:dPt>
            <c:idx val="1951"/>
            <c:invertIfNegative val="1"/>
            <c:bubble3D val="0"/>
            <c:spPr>
              <a:solidFill>
                <a:srgbClr val="AEABAB"/>
              </a:solidFill>
            </c:spPr>
            <c:extLst>
              <c:ext xmlns:c16="http://schemas.microsoft.com/office/drawing/2014/chart" uri="{C3380CC4-5D6E-409C-BE32-E72D297353CC}">
                <c16:uniqueId val="{00000F41-C623-4FBE-8EDB-4AD12F618AAD}"/>
              </c:ext>
            </c:extLst>
          </c:dPt>
          <c:dPt>
            <c:idx val="1952"/>
            <c:invertIfNegative val="1"/>
            <c:bubble3D val="0"/>
            <c:spPr>
              <a:solidFill>
                <a:srgbClr val="AEABAB"/>
              </a:solidFill>
            </c:spPr>
            <c:extLst>
              <c:ext xmlns:c16="http://schemas.microsoft.com/office/drawing/2014/chart" uri="{C3380CC4-5D6E-409C-BE32-E72D297353CC}">
                <c16:uniqueId val="{00000F43-C623-4FBE-8EDB-4AD12F618AAD}"/>
              </c:ext>
            </c:extLst>
          </c:dPt>
          <c:dPt>
            <c:idx val="1953"/>
            <c:invertIfNegative val="1"/>
            <c:bubble3D val="0"/>
            <c:spPr>
              <a:solidFill>
                <a:srgbClr val="AEABAB"/>
              </a:solidFill>
            </c:spPr>
            <c:extLst>
              <c:ext xmlns:c16="http://schemas.microsoft.com/office/drawing/2014/chart" uri="{C3380CC4-5D6E-409C-BE32-E72D297353CC}">
                <c16:uniqueId val="{00000F45-C623-4FBE-8EDB-4AD12F618AAD}"/>
              </c:ext>
            </c:extLst>
          </c:dPt>
          <c:dPt>
            <c:idx val="1954"/>
            <c:invertIfNegative val="1"/>
            <c:bubble3D val="0"/>
            <c:spPr>
              <a:solidFill>
                <a:srgbClr val="AEABAB"/>
              </a:solidFill>
            </c:spPr>
            <c:extLst>
              <c:ext xmlns:c16="http://schemas.microsoft.com/office/drawing/2014/chart" uri="{C3380CC4-5D6E-409C-BE32-E72D297353CC}">
                <c16:uniqueId val="{00000F47-C623-4FBE-8EDB-4AD12F618AAD}"/>
              </c:ext>
            </c:extLst>
          </c:dPt>
          <c:dPt>
            <c:idx val="1955"/>
            <c:invertIfNegative val="1"/>
            <c:bubble3D val="0"/>
            <c:spPr>
              <a:solidFill>
                <a:srgbClr val="AEABAB"/>
              </a:solidFill>
            </c:spPr>
            <c:extLst>
              <c:ext xmlns:c16="http://schemas.microsoft.com/office/drawing/2014/chart" uri="{C3380CC4-5D6E-409C-BE32-E72D297353CC}">
                <c16:uniqueId val="{00000F49-C623-4FBE-8EDB-4AD12F618AAD}"/>
              </c:ext>
            </c:extLst>
          </c:dPt>
          <c:dPt>
            <c:idx val="1956"/>
            <c:invertIfNegative val="1"/>
            <c:bubble3D val="0"/>
            <c:spPr>
              <a:solidFill>
                <a:srgbClr val="AEABAB"/>
              </a:solidFill>
            </c:spPr>
            <c:extLst>
              <c:ext xmlns:c16="http://schemas.microsoft.com/office/drawing/2014/chart" uri="{C3380CC4-5D6E-409C-BE32-E72D297353CC}">
                <c16:uniqueId val="{00000F4B-C623-4FBE-8EDB-4AD12F618AAD}"/>
              </c:ext>
            </c:extLst>
          </c:dPt>
          <c:dPt>
            <c:idx val="1957"/>
            <c:invertIfNegative val="1"/>
            <c:bubble3D val="0"/>
            <c:spPr>
              <a:solidFill>
                <a:srgbClr val="AEABAB"/>
              </a:solidFill>
            </c:spPr>
            <c:extLst>
              <c:ext xmlns:c16="http://schemas.microsoft.com/office/drawing/2014/chart" uri="{C3380CC4-5D6E-409C-BE32-E72D297353CC}">
                <c16:uniqueId val="{00000F4D-C623-4FBE-8EDB-4AD12F618AAD}"/>
              </c:ext>
            </c:extLst>
          </c:dPt>
          <c:dPt>
            <c:idx val="1958"/>
            <c:invertIfNegative val="1"/>
            <c:bubble3D val="0"/>
            <c:spPr>
              <a:solidFill>
                <a:srgbClr val="AEABAB"/>
              </a:solidFill>
            </c:spPr>
            <c:extLst>
              <c:ext xmlns:c16="http://schemas.microsoft.com/office/drawing/2014/chart" uri="{C3380CC4-5D6E-409C-BE32-E72D297353CC}">
                <c16:uniqueId val="{00000F4F-C623-4FBE-8EDB-4AD12F618AAD}"/>
              </c:ext>
            </c:extLst>
          </c:dPt>
          <c:dPt>
            <c:idx val="1959"/>
            <c:invertIfNegative val="1"/>
            <c:bubble3D val="0"/>
            <c:spPr>
              <a:solidFill>
                <a:srgbClr val="AEABAB"/>
              </a:solidFill>
            </c:spPr>
            <c:extLst>
              <c:ext xmlns:c16="http://schemas.microsoft.com/office/drawing/2014/chart" uri="{C3380CC4-5D6E-409C-BE32-E72D297353CC}">
                <c16:uniqueId val="{00000F51-C623-4FBE-8EDB-4AD12F618AAD}"/>
              </c:ext>
            </c:extLst>
          </c:dPt>
          <c:dPt>
            <c:idx val="1960"/>
            <c:invertIfNegative val="1"/>
            <c:bubble3D val="0"/>
            <c:spPr>
              <a:solidFill>
                <a:srgbClr val="AEABAB"/>
              </a:solidFill>
            </c:spPr>
            <c:extLst>
              <c:ext xmlns:c16="http://schemas.microsoft.com/office/drawing/2014/chart" uri="{C3380CC4-5D6E-409C-BE32-E72D297353CC}">
                <c16:uniqueId val="{00000F53-C623-4FBE-8EDB-4AD12F618AAD}"/>
              </c:ext>
            </c:extLst>
          </c:dPt>
          <c:dPt>
            <c:idx val="1961"/>
            <c:invertIfNegative val="1"/>
            <c:bubble3D val="0"/>
            <c:spPr>
              <a:solidFill>
                <a:srgbClr val="AEABAB"/>
              </a:solidFill>
            </c:spPr>
            <c:extLst>
              <c:ext xmlns:c16="http://schemas.microsoft.com/office/drawing/2014/chart" uri="{C3380CC4-5D6E-409C-BE32-E72D297353CC}">
                <c16:uniqueId val="{00000F55-C623-4FBE-8EDB-4AD12F618AAD}"/>
              </c:ext>
            </c:extLst>
          </c:dPt>
          <c:dPt>
            <c:idx val="1962"/>
            <c:invertIfNegative val="1"/>
            <c:bubble3D val="0"/>
            <c:spPr>
              <a:solidFill>
                <a:srgbClr val="AEABAB"/>
              </a:solidFill>
            </c:spPr>
            <c:extLst>
              <c:ext xmlns:c16="http://schemas.microsoft.com/office/drawing/2014/chart" uri="{C3380CC4-5D6E-409C-BE32-E72D297353CC}">
                <c16:uniqueId val="{00000F57-C623-4FBE-8EDB-4AD12F618AAD}"/>
              </c:ext>
            </c:extLst>
          </c:dPt>
          <c:dPt>
            <c:idx val="1963"/>
            <c:invertIfNegative val="1"/>
            <c:bubble3D val="0"/>
            <c:spPr>
              <a:solidFill>
                <a:srgbClr val="AEABAB"/>
              </a:solidFill>
            </c:spPr>
            <c:extLst>
              <c:ext xmlns:c16="http://schemas.microsoft.com/office/drawing/2014/chart" uri="{C3380CC4-5D6E-409C-BE32-E72D297353CC}">
                <c16:uniqueId val="{00000F59-C623-4FBE-8EDB-4AD12F618AAD}"/>
              </c:ext>
            </c:extLst>
          </c:dPt>
          <c:dPt>
            <c:idx val="1964"/>
            <c:invertIfNegative val="1"/>
            <c:bubble3D val="0"/>
            <c:spPr>
              <a:solidFill>
                <a:srgbClr val="AEABAB"/>
              </a:solidFill>
            </c:spPr>
            <c:extLst>
              <c:ext xmlns:c16="http://schemas.microsoft.com/office/drawing/2014/chart" uri="{C3380CC4-5D6E-409C-BE32-E72D297353CC}">
                <c16:uniqueId val="{00000F5B-C623-4FBE-8EDB-4AD12F618AAD}"/>
              </c:ext>
            </c:extLst>
          </c:dPt>
          <c:dPt>
            <c:idx val="1965"/>
            <c:invertIfNegative val="1"/>
            <c:bubble3D val="0"/>
            <c:spPr>
              <a:solidFill>
                <a:srgbClr val="AEABAB"/>
              </a:solidFill>
            </c:spPr>
            <c:extLst>
              <c:ext xmlns:c16="http://schemas.microsoft.com/office/drawing/2014/chart" uri="{C3380CC4-5D6E-409C-BE32-E72D297353CC}">
                <c16:uniqueId val="{00000F5D-C623-4FBE-8EDB-4AD12F618AAD}"/>
              </c:ext>
            </c:extLst>
          </c:dPt>
          <c:dPt>
            <c:idx val="1966"/>
            <c:invertIfNegative val="1"/>
            <c:bubble3D val="0"/>
            <c:spPr>
              <a:solidFill>
                <a:srgbClr val="AEABAB"/>
              </a:solidFill>
            </c:spPr>
            <c:extLst>
              <c:ext xmlns:c16="http://schemas.microsoft.com/office/drawing/2014/chart" uri="{C3380CC4-5D6E-409C-BE32-E72D297353CC}">
                <c16:uniqueId val="{00000F5F-C623-4FBE-8EDB-4AD12F618AAD}"/>
              </c:ext>
            </c:extLst>
          </c:dPt>
          <c:dPt>
            <c:idx val="1967"/>
            <c:invertIfNegative val="1"/>
            <c:bubble3D val="0"/>
            <c:spPr>
              <a:solidFill>
                <a:srgbClr val="AEABAB"/>
              </a:solidFill>
            </c:spPr>
            <c:extLst>
              <c:ext xmlns:c16="http://schemas.microsoft.com/office/drawing/2014/chart" uri="{C3380CC4-5D6E-409C-BE32-E72D297353CC}">
                <c16:uniqueId val="{00000F61-C623-4FBE-8EDB-4AD12F618AAD}"/>
              </c:ext>
            </c:extLst>
          </c:dPt>
          <c:dPt>
            <c:idx val="1968"/>
            <c:invertIfNegative val="1"/>
            <c:bubble3D val="0"/>
            <c:spPr>
              <a:solidFill>
                <a:srgbClr val="AEABAB"/>
              </a:solidFill>
            </c:spPr>
            <c:extLst>
              <c:ext xmlns:c16="http://schemas.microsoft.com/office/drawing/2014/chart" uri="{C3380CC4-5D6E-409C-BE32-E72D297353CC}">
                <c16:uniqueId val="{00000F63-C623-4FBE-8EDB-4AD12F618AAD}"/>
              </c:ext>
            </c:extLst>
          </c:dPt>
          <c:dPt>
            <c:idx val="1969"/>
            <c:invertIfNegative val="1"/>
            <c:bubble3D val="0"/>
            <c:spPr>
              <a:solidFill>
                <a:srgbClr val="AEABAB"/>
              </a:solidFill>
            </c:spPr>
            <c:extLst>
              <c:ext xmlns:c16="http://schemas.microsoft.com/office/drawing/2014/chart" uri="{C3380CC4-5D6E-409C-BE32-E72D297353CC}">
                <c16:uniqueId val="{00000F65-C623-4FBE-8EDB-4AD12F618AAD}"/>
              </c:ext>
            </c:extLst>
          </c:dPt>
          <c:dPt>
            <c:idx val="1970"/>
            <c:invertIfNegative val="1"/>
            <c:bubble3D val="0"/>
            <c:spPr>
              <a:solidFill>
                <a:srgbClr val="AEABAB"/>
              </a:solidFill>
            </c:spPr>
            <c:extLst>
              <c:ext xmlns:c16="http://schemas.microsoft.com/office/drawing/2014/chart" uri="{C3380CC4-5D6E-409C-BE32-E72D297353CC}">
                <c16:uniqueId val="{00000F67-C623-4FBE-8EDB-4AD12F618AAD}"/>
              </c:ext>
            </c:extLst>
          </c:dPt>
          <c:dPt>
            <c:idx val="1971"/>
            <c:invertIfNegative val="1"/>
            <c:bubble3D val="0"/>
            <c:spPr>
              <a:solidFill>
                <a:srgbClr val="AEABAB"/>
              </a:solidFill>
            </c:spPr>
            <c:extLst>
              <c:ext xmlns:c16="http://schemas.microsoft.com/office/drawing/2014/chart" uri="{C3380CC4-5D6E-409C-BE32-E72D297353CC}">
                <c16:uniqueId val="{00000F69-C623-4FBE-8EDB-4AD12F618AAD}"/>
              </c:ext>
            </c:extLst>
          </c:dPt>
          <c:dPt>
            <c:idx val="1972"/>
            <c:invertIfNegative val="1"/>
            <c:bubble3D val="0"/>
            <c:spPr>
              <a:solidFill>
                <a:srgbClr val="AEABAB"/>
              </a:solidFill>
            </c:spPr>
            <c:extLst>
              <c:ext xmlns:c16="http://schemas.microsoft.com/office/drawing/2014/chart" uri="{C3380CC4-5D6E-409C-BE32-E72D297353CC}">
                <c16:uniqueId val="{00000F6B-C623-4FBE-8EDB-4AD12F618AAD}"/>
              </c:ext>
            </c:extLst>
          </c:dPt>
          <c:dPt>
            <c:idx val="1973"/>
            <c:invertIfNegative val="1"/>
            <c:bubble3D val="0"/>
            <c:spPr>
              <a:solidFill>
                <a:srgbClr val="AEABAB"/>
              </a:solidFill>
            </c:spPr>
            <c:extLst>
              <c:ext xmlns:c16="http://schemas.microsoft.com/office/drawing/2014/chart" uri="{C3380CC4-5D6E-409C-BE32-E72D297353CC}">
                <c16:uniqueId val="{00000F6D-C623-4FBE-8EDB-4AD12F618AAD}"/>
              </c:ext>
            </c:extLst>
          </c:dPt>
          <c:dPt>
            <c:idx val="1974"/>
            <c:invertIfNegative val="1"/>
            <c:bubble3D val="0"/>
            <c:spPr>
              <a:solidFill>
                <a:srgbClr val="AEABAB"/>
              </a:solidFill>
            </c:spPr>
            <c:extLst>
              <c:ext xmlns:c16="http://schemas.microsoft.com/office/drawing/2014/chart" uri="{C3380CC4-5D6E-409C-BE32-E72D297353CC}">
                <c16:uniqueId val="{00000F6F-C623-4FBE-8EDB-4AD12F618AAD}"/>
              </c:ext>
            </c:extLst>
          </c:dPt>
          <c:dPt>
            <c:idx val="1975"/>
            <c:invertIfNegative val="1"/>
            <c:bubble3D val="0"/>
            <c:spPr>
              <a:solidFill>
                <a:srgbClr val="AEABAB"/>
              </a:solidFill>
            </c:spPr>
            <c:extLst>
              <c:ext xmlns:c16="http://schemas.microsoft.com/office/drawing/2014/chart" uri="{C3380CC4-5D6E-409C-BE32-E72D297353CC}">
                <c16:uniqueId val="{00000F71-C623-4FBE-8EDB-4AD12F618AAD}"/>
              </c:ext>
            </c:extLst>
          </c:dPt>
          <c:dPt>
            <c:idx val="1976"/>
            <c:invertIfNegative val="1"/>
            <c:bubble3D val="0"/>
            <c:spPr>
              <a:solidFill>
                <a:srgbClr val="AEABAB"/>
              </a:solidFill>
            </c:spPr>
            <c:extLst>
              <c:ext xmlns:c16="http://schemas.microsoft.com/office/drawing/2014/chart" uri="{C3380CC4-5D6E-409C-BE32-E72D297353CC}">
                <c16:uniqueId val="{00000F73-C623-4FBE-8EDB-4AD12F618AAD}"/>
              </c:ext>
            </c:extLst>
          </c:dPt>
          <c:dPt>
            <c:idx val="1977"/>
            <c:invertIfNegative val="1"/>
            <c:bubble3D val="0"/>
            <c:spPr>
              <a:solidFill>
                <a:srgbClr val="AEABAB"/>
              </a:solidFill>
            </c:spPr>
            <c:extLst>
              <c:ext xmlns:c16="http://schemas.microsoft.com/office/drawing/2014/chart" uri="{C3380CC4-5D6E-409C-BE32-E72D297353CC}">
                <c16:uniqueId val="{00000F75-C623-4FBE-8EDB-4AD12F618AAD}"/>
              </c:ext>
            </c:extLst>
          </c:dPt>
          <c:dPt>
            <c:idx val="1978"/>
            <c:invertIfNegative val="1"/>
            <c:bubble3D val="0"/>
            <c:spPr>
              <a:solidFill>
                <a:srgbClr val="AEABAB"/>
              </a:solidFill>
            </c:spPr>
            <c:extLst>
              <c:ext xmlns:c16="http://schemas.microsoft.com/office/drawing/2014/chart" uri="{C3380CC4-5D6E-409C-BE32-E72D297353CC}">
                <c16:uniqueId val="{00000F77-C623-4FBE-8EDB-4AD12F618AAD}"/>
              </c:ext>
            </c:extLst>
          </c:dPt>
          <c:cat>
            <c:strRef>
              <c:f>Sheet1!$A$2:$A$1980</c:f>
              <c:strCache>
                <c:ptCount val="1979"/>
                <c:pt idx="0">
                  <c:v>Private Lab</c:v>
                </c:pt>
                <c:pt idx="1">
                  <c:v>Caprice Des</c:v>
                </c:pt>
                <c:pt idx="2">
                  <c:v>Private Lab</c:v>
                </c:pt>
                <c:pt idx="3">
                  <c:v>Private Lab</c:v>
                </c:pt>
                <c:pt idx="4">
                  <c:v>Private Lab</c:v>
                </c:pt>
                <c:pt idx="5">
                  <c:v>Coeur De Li</c:v>
                </c:pt>
                <c:pt idx="6">
                  <c:v>Private Lab</c:v>
                </c:pt>
                <c:pt idx="7">
                  <c:v>President</c:v>
                </c:pt>
                <c:pt idx="8">
                  <c:v>La Vache Qu</c:v>
                </c:pt>
                <c:pt idx="9">
                  <c:v>Mini Babybe</c:v>
                </c:pt>
                <c:pt idx="10">
                  <c:v>Private Lab</c:v>
                </c:pt>
                <c:pt idx="11">
                  <c:v>Caprice Des</c:v>
                </c:pt>
                <c:pt idx="12">
                  <c:v>Private Lab</c:v>
                </c:pt>
                <c:pt idx="13">
                  <c:v>Soignon</c:v>
                </c:pt>
                <c:pt idx="14">
                  <c:v>Private Lab</c:v>
                </c:pt>
                <c:pt idx="15">
                  <c:v>Private Lab</c:v>
                </c:pt>
                <c:pt idx="16">
                  <c:v>Private Lab</c:v>
                </c:pt>
                <c:pt idx="17">
                  <c:v>Coeur De Li</c:v>
                </c:pt>
                <c:pt idx="18">
                  <c:v>Galbani</c:v>
                </c:pt>
                <c:pt idx="19">
                  <c:v>Soignon</c:v>
                </c:pt>
                <c:pt idx="20">
                  <c:v>Le Rustique</c:v>
                </c:pt>
                <c:pt idx="21">
                  <c:v>St Moret</c:v>
                </c:pt>
                <c:pt idx="22">
                  <c:v>Private Lab</c:v>
                </c:pt>
                <c:pt idx="23">
                  <c:v>Private Lab</c:v>
                </c:pt>
                <c:pt idx="24">
                  <c:v>La Vache Qu</c:v>
                </c:pt>
                <c:pt idx="25">
                  <c:v>Soignon</c:v>
                </c:pt>
                <c:pt idx="26">
                  <c:v>President</c:v>
                </c:pt>
                <c:pt idx="27">
                  <c:v>Tartare</c:v>
                </c:pt>
                <c:pt idx="28">
                  <c:v>All Others</c:v>
                </c:pt>
                <c:pt idx="29">
                  <c:v>Salakis</c:v>
                </c:pt>
                <c:pt idx="30">
                  <c:v>President</c:v>
                </c:pt>
                <c:pt idx="31">
                  <c:v>Apericube</c:v>
                </c:pt>
                <c:pt idx="32">
                  <c:v>Ficello</c:v>
                </c:pt>
                <c:pt idx="33">
                  <c:v>Private Lab</c:v>
                </c:pt>
                <c:pt idx="34">
                  <c:v>La Vache Qu</c:v>
                </c:pt>
                <c:pt idx="35">
                  <c:v>Mini Babybe</c:v>
                </c:pt>
                <c:pt idx="36">
                  <c:v>St Moret</c:v>
                </c:pt>
                <c:pt idx="37">
                  <c:v>All Others</c:v>
                </c:pt>
                <c:pt idx="38">
                  <c:v>Kiri</c:v>
                </c:pt>
                <c:pt idx="39">
                  <c:v>Private Lab</c:v>
                </c:pt>
                <c:pt idx="40">
                  <c:v>Apericube</c:v>
                </c:pt>
                <c:pt idx="41">
                  <c:v>Private Lab</c:v>
                </c:pt>
                <c:pt idx="42">
                  <c:v>Paysan Bret</c:v>
                </c:pt>
                <c:pt idx="43">
                  <c:v>Private Lab</c:v>
                </c:pt>
                <c:pt idx="44">
                  <c:v>Apericube</c:v>
                </c:pt>
                <c:pt idx="45">
                  <c:v>St Moret</c:v>
                </c:pt>
                <c:pt idx="46">
                  <c:v>Islos</c:v>
                </c:pt>
                <c:pt idx="47">
                  <c:v>Carre Frais</c:v>
                </c:pt>
                <c:pt idx="48">
                  <c:v>Kiri</c:v>
                </c:pt>
                <c:pt idx="49">
                  <c:v>Richesmonts</c:v>
                </c:pt>
                <c:pt idx="50">
                  <c:v>Private Lab</c:v>
                </c:pt>
                <c:pt idx="51">
                  <c:v>Entremont</c:v>
                </c:pt>
                <c:pt idx="52">
                  <c:v>Philadelphi</c:v>
                </c:pt>
                <c:pt idx="53">
                  <c:v>Paysan Bret</c:v>
                </c:pt>
                <c:pt idx="54">
                  <c:v>President</c:v>
                </c:pt>
                <c:pt idx="55">
                  <c:v>Private Lab</c:v>
                </c:pt>
                <c:pt idx="56">
                  <c:v>Private Lab</c:v>
                </c:pt>
                <c:pt idx="57">
                  <c:v>Private Lab</c:v>
                </c:pt>
                <c:pt idx="58">
                  <c:v>Lepetit</c:v>
                </c:pt>
                <c:pt idx="59">
                  <c:v>All Others</c:v>
                </c:pt>
                <c:pt idx="60">
                  <c:v>St Moret</c:v>
                </c:pt>
                <c:pt idx="61">
                  <c:v>Private Lab</c:v>
                </c:pt>
                <c:pt idx="62">
                  <c:v>Coeur De Li</c:v>
                </c:pt>
                <c:pt idx="63">
                  <c:v>Carre Frais</c:v>
                </c:pt>
                <c:pt idx="64">
                  <c:v>Chaussee Au</c:v>
                </c:pt>
                <c:pt idx="65">
                  <c:v>Caprice Des</c:v>
                </c:pt>
                <c:pt idx="66">
                  <c:v>Tartare</c:v>
                </c:pt>
                <c:pt idx="67">
                  <c:v>Private Lab</c:v>
                </c:pt>
                <c:pt idx="68">
                  <c:v>Private Lab</c:v>
                </c:pt>
                <c:pt idx="69">
                  <c:v>Boursin</c:v>
                </c:pt>
                <c:pt idx="70">
                  <c:v>Kiri</c:v>
                </c:pt>
                <c:pt idx="71">
                  <c:v>Casa Azzurr</c:v>
                </c:pt>
                <c:pt idx="72">
                  <c:v>Istara</c:v>
                </c:pt>
                <c:pt idx="73">
                  <c:v>Entremont</c:v>
                </c:pt>
                <c:pt idx="74">
                  <c:v>President</c:v>
                </c:pt>
                <c:pt idx="75">
                  <c:v>Private Lab</c:v>
                </c:pt>
                <c:pt idx="76">
                  <c:v>Casa Azzurr</c:v>
                </c:pt>
                <c:pt idx="77">
                  <c:v>Private Lab</c:v>
                </c:pt>
                <c:pt idx="78">
                  <c:v>St Moret</c:v>
                </c:pt>
                <c:pt idx="79">
                  <c:v>Galbani</c:v>
                </c:pt>
                <c:pt idx="80">
                  <c:v>Private Lab</c:v>
                </c:pt>
                <c:pt idx="81">
                  <c:v>Private Lab</c:v>
                </c:pt>
                <c:pt idx="82">
                  <c:v>Societe</c:v>
                </c:pt>
                <c:pt idx="83">
                  <c:v>Boursin</c:v>
                </c:pt>
                <c:pt idx="84">
                  <c:v>Private Lab</c:v>
                </c:pt>
                <c:pt idx="85">
                  <c:v>Private Lab</c:v>
                </c:pt>
                <c:pt idx="86">
                  <c:v>All Others</c:v>
                </c:pt>
                <c:pt idx="87">
                  <c:v>President</c:v>
                </c:pt>
                <c:pt idx="88">
                  <c:v>Entremont</c:v>
                </c:pt>
                <c:pt idx="89">
                  <c:v>President</c:v>
                </c:pt>
                <c:pt idx="90">
                  <c:v>Petit Billy</c:v>
                </c:pt>
                <c:pt idx="91">
                  <c:v>Juraflore</c:v>
                </c:pt>
                <c:pt idx="92">
                  <c:v>Entremont</c:v>
                </c:pt>
                <c:pt idx="93">
                  <c:v>Private Lab</c:v>
                </c:pt>
                <c:pt idx="94">
                  <c:v>Lou Perac</c:v>
                </c:pt>
                <c:pt idx="95">
                  <c:v>Private Lab</c:v>
                </c:pt>
                <c:pt idx="96">
                  <c:v>Private Lab</c:v>
                </c:pt>
                <c:pt idx="97">
                  <c:v>Philadelphi</c:v>
                </c:pt>
                <c:pt idx="98">
                  <c:v>Private Lab</c:v>
                </c:pt>
                <c:pt idx="99">
                  <c:v>Private Lab</c:v>
                </c:pt>
                <c:pt idx="100">
                  <c:v>Private Lab</c:v>
                </c:pt>
                <c:pt idx="101">
                  <c:v>Private Lab</c:v>
                </c:pt>
                <c:pt idx="102">
                  <c:v>Private Lab</c:v>
                </c:pt>
                <c:pt idx="103">
                  <c:v>Casa Azzurr</c:v>
                </c:pt>
                <c:pt idx="104">
                  <c:v>Private Lab</c:v>
                </c:pt>
                <c:pt idx="105">
                  <c:v>Boursin</c:v>
                </c:pt>
                <c:pt idx="106">
                  <c:v>President</c:v>
                </c:pt>
                <c:pt idx="107">
                  <c:v>St Moret</c:v>
                </c:pt>
                <c:pt idx="108">
                  <c:v>Private Lab</c:v>
                </c:pt>
                <c:pt idx="109">
                  <c:v>President</c:v>
                </c:pt>
                <c:pt idx="110">
                  <c:v>Private Lab</c:v>
                </c:pt>
                <c:pt idx="111">
                  <c:v>President</c:v>
                </c:pt>
                <c:pt idx="112">
                  <c:v>Kiri</c:v>
                </c:pt>
                <c:pt idx="113">
                  <c:v>St Moret</c:v>
                </c:pt>
                <c:pt idx="114">
                  <c:v>Coeur De Li</c:v>
                </c:pt>
                <c:pt idx="115">
                  <c:v>Boursin</c:v>
                </c:pt>
                <c:pt idx="116">
                  <c:v>Salakis</c:v>
                </c:pt>
                <c:pt idx="117">
                  <c:v>President</c:v>
                </c:pt>
                <c:pt idx="118">
                  <c:v>Pochat</c:v>
                </c:pt>
                <c:pt idx="119">
                  <c:v>Private Lab</c:v>
                </c:pt>
                <c:pt idx="120">
                  <c:v>Apericube</c:v>
                </c:pt>
                <c:pt idx="121">
                  <c:v>Private Lab</c:v>
                </c:pt>
                <c:pt idx="122">
                  <c:v>Apericube</c:v>
                </c:pt>
                <c:pt idx="123">
                  <c:v>Private Lab</c:v>
                </c:pt>
                <c:pt idx="124">
                  <c:v>Galbani</c:v>
                </c:pt>
                <c:pt idx="125">
                  <c:v>Private Lab</c:v>
                </c:pt>
                <c:pt idx="126">
                  <c:v>Apericube</c:v>
                </c:pt>
                <c:pt idx="127">
                  <c:v>Casa Azzurr</c:v>
                </c:pt>
                <c:pt idx="128">
                  <c:v>Private Lab</c:v>
                </c:pt>
                <c:pt idx="129">
                  <c:v>Galbani</c:v>
                </c:pt>
                <c:pt idx="130">
                  <c:v>Le Rustique</c:v>
                </c:pt>
                <c:pt idx="131">
                  <c:v>Chaussee Au</c:v>
                </c:pt>
                <c:pt idx="132">
                  <c:v>All Others</c:v>
                </c:pt>
                <c:pt idx="133">
                  <c:v>President</c:v>
                </c:pt>
                <c:pt idx="134">
                  <c:v>Casa Azzurr</c:v>
                </c:pt>
                <c:pt idx="135">
                  <c:v>Casa Azzurr</c:v>
                </c:pt>
                <c:pt idx="136">
                  <c:v>Private Lab</c:v>
                </c:pt>
                <c:pt idx="137">
                  <c:v>Richesmonts</c:v>
                </c:pt>
                <c:pt idx="138">
                  <c:v>Aperivrais</c:v>
                </c:pt>
                <c:pt idx="139">
                  <c:v>Leerdammer</c:v>
                </c:pt>
                <c:pt idx="140">
                  <c:v>All Others</c:v>
                </c:pt>
                <c:pt idx="141">
                  <c:v>Entremont</c:v>
                </c:pt>
                <c:pt idx="142">
                  <c:v>Mini Babybe</c:v>
                </c:pt>
                <c:pt idx="143">
                  <c:v>Ficello</c:v>
                </c:pt>
                <c:pt idx="144">
                  <c:v>Boursin</c:v>
                </c:pt>
                <c:pt idx="145">
                  <c:v>Mini Babybe</c:v>
                </c:pt>
                <c:pt idx="146">
                  <c:v>Le Brebiou</c:v>
                </c:pt>
                <c:pt idx="147">
                  <c:v>St Moret</c:v>
                </c:pt>
                <c:pt idx="148">
                  <c:v>Private Lab</c:v>
                </c:pt>
                <c:pt idx="149">
                  <c:v>Private Lab</c:v>
                </c:pt>
                <c:pt idx="150">
                  <c:v>Soignon</c:v>
                </c:pt>
                <c:pt idx="151">
                  <c:v>Private Lab</c:v>
                </c:pt>
                <c:pt idx="152">
                  <c:v>Salakis</c:v>
                </c:pt>
                <c:pt idx="153">
                  <c:v>Paysan Bret</c:v>
                </c:pt>
                <c:pt idx="154">
                  <c:v>Le Rustique</c:v>
                </c:pt>
                <c:pt idx="155">
                  <c:v>Richesmonts</c:v>
                </c:pt>
                <c:pt idx="156">
                  <c:v>Coeur De Li</c:v>
                </c:pt>
                <c:pt idx="157">
                  <c:v>Kiri</c:v>
                </c:pt>
                <c:pt idx="158">
                  <c:v>President</c:v>
                </c:pt>
                <c:pt idx="159">
                  <c:v>Lactalis: A</c:v>
                </c:pt>
                <c:pt idx="160">
                  <c:v>Aperivrais</c:v>
                </c:pt>
                <c:pt idx="161">
                  <c:v>Private Lab</c:v>
                </c:pt>
                <c:pt idx="162">
                  <c:v>Leerdammer</c:v>
                </c:pt>
                <c:pt idx="163">
                  <c:v>Private Lab</c:v>
                </c:pt>
                <c:pt idx="164">
                  <c:v>Private Lab</c:v>
                </c:pt>
                <c:pt idx="165">
                  <c:v>Saint Agur</c:v>
                </c:pt>
                <c:pt idx="166">
                  <c:v>Private Lab</c:v>
                </c:pt>
                <c:pt idx="167">
                  <c:v>Private Lab</c:v>
                </c:pt>
                <c:pt idx="168">
                  <c:v>Soignon</c:v>
                </c:pt>
                <c:pt idx="169">
                  <c:v>Casa Azzurr</c:v>
                </c:pt>
                <c:pt idx="170">
                  <c:v>Entremont</c:v>
                </c:pt>
                <c:pt idx="171">
                  <c:v>Etorki</c:v>
                </c:pt>
                <c:pt idx="172">
                  <c:v>All Others</c:v>
                </c:pt>
                <c:pt idx="173">
                  <c:v>Lou Perac</c:v>
                </c:pt>
                <c:pt idx="174">
                  <c:v>Richesmonts</c:v>
                </c:pt>
                <c:pt idx="175">
                  <c:v>President</c:v>
                </c:pt>
                <c:pt idx="176">
                  <c:v>L'Ortolan</c:v>
                </c:pt>
                <c:pt idx="177">
                  <c:v>Casa Azzurr</c:v>
                </c:pt>
                <c:pt idx="178">
                  <c:v>Richesmonts</c:v>
                </c:pt>
                <c:pt idx="179">
                  <c:v>Parmareggio</c:v>
                </c:pt>
                <c:pt idx="180">
                  <c:v>All Others</c:v>
                </c:pt>
                <c:pt idx="181">
                  <c:v>La Vache Qu</c:v>
                </c:pt>
                <c:pt idx="182">
                  <c:v>Chavroux</c:v>
                </c:pt>
                <c:pt idx="183">
                  <c:v>Saint Albra</c:v>
                </c:pt>
                <c:pt idx="184">
                  <c:v>Soignon</c:v>
                </c:pt>
                <c:pt idx="185">
                  <c:v>Caprice Des</c:v>
                </c:pt>
                <c:pt idx="186">
                  <c:v>President</c:v>
                </c:pt>
                <c:pt idx="187">
                  <c:v>La Vache Qu</c:v>
                </c:pt>
                <c:pt idx="188">
                  <c:v>Private Lab</c:v>
                </c:pt>
                <c:pt idx="189">
                  <c:v>All Others</c:v>
                </c:pt>
                <c:pt idx="190">
                  <c:v>Galbani</c:v>
                </c:pt>
                <c:pt idx="191">
                  <c:v>Entremont</c:v>
                </c:pt>
                <c:pt idx="192">
                  <c:v>Private Lab</c:v>
                </c:pt>
                <c:pt idx="193">
                  <c:v>Private Lab</c:v>
                </c:pt>
                <c:pt idx="194">
                  <c:v>Rondele</c:v>
                </c:pt>
                <c:pt idx="195">
                  <c:v>Private Lab</c:v>
                </c:pt>
                <c:pt idx="196">
                  <c:v>Bresse Bleu</c:v>
                </c:pt>
                <c:pt idx="197">
                  <c:v>Private Lab</c:v>
                </c:pt>
                <c:pt idx="198">
                  <c:v>All Others</c:v>
                </c:pt>
                <c:pt idx="199">
                  <c:v>All Others</c:v>
                </c:pt>
                <c:pt idx="200">
                  <c:v>Private Lab</c:v>
                </c:pt>
                <c:pt idx="201">
                  <c:v>Private Lab</c:v>
                </c:pt>
                <c:pt idx="202">
                  <c:v>Private Lab</c:v>
                </c:pt>
                <c:pt idx="203">
                  <c:v>Private Lab</c:v>
                </c:pt>
                <c:pt idx="204">
                  <c:v>Private Lab</c:v>
                </c:pt>
                <c:pt idx="205">
                  <c:v>Galbani</c:v>
                </c:pt>
                <c:pt idx="206">
                  <c:v>Lactalis: A</c:v>
                </c:pt>
                <c:pt idx="207">
                  <c:v>Boursin</c:v>
                </c:pt>
                <c:pt idx="208">
                  <c:v>All Others</c:v>
                </c:pt>
                <c:pt idx="209">
                  <c:v>All Others</c:v>
                </c:pt>
                <c:pt idx="210">
                  <c:v>Entremont</c:v>
                </c:pt>
                <c:pt idx="211">
                  <c:v>Paysan Bret</c:v>
                </c:pt>
                <c:pt idx="212">
                  <c:v>Entremont</c:v>
                </c:pt>
                <c:pt idx="213">
                  <c:v>President</c:v>
                </c:pt>
                <c:pt idx="214">
                  <c:v>Leerdammer</c:v>
                </c:pt>
                <c:pt idx="215">
                  <c:v>Leerdammer</c:v>
                </c:pt>
                <c:pt idx="216">
                  <c:v>Private Lab</c:v>
                </c:pt>
                <c:pt idx="217">
                  <c:v>Saint Agur</c:v>
                </c:pt>
                <c:pt idx="218">
                  <c:v>Saint Agur</c:v>
                </c:pt>
                <c:pt idx="219">
                  <c:v>Private Lab</c:v>
                </c:pt>
                <c:pt idx="220">
                  <c:v>Private Lab</c:v>
                </c:pt>
                <c:pt idx="221">
                  <c:v>Tartare</c:v>
                </c:pt>
                <c:pt idx="222">
                  <c:v>Istara</c:v>
                </c:pt>
                <c:pt idx="223">
                  <c:v>Private Lab</c:v>
                </c:pt>
                <c:pt idx="224">
                  <c:v>Casa Azzurr</c:v>
                </c:pt>
                <c:pt idx="225">
                  <c:v>Boursin</c:v>
                </c:pt>
                <c:pt idx="226">
                  <c:v>All Others</c:v>
                </c:pt>
                <c:pt idx="227">
                  <c:v>Lactalis: A</c:v>
                </c:pt>
                <c:pt idx="228">
                  <c:v>P'Tit Louis</c:v>
                </c:pt>
                <c:pt idx="229">
                  <c:v>Private Lab</c:v>
                </c:pt>
                <c:pt idx="230">
                  <c:v>Private Lab</c:v>
                </c:pt>
                <c:pt idx="231">
                  <c:v>Soignon</c:v>
                </c:pt>
                <c:pt idx="232">
                  <c:v>La Vache Qu</c:v>
                </c:pt>
                <c:pt idx="233">
                  <c:v>All Others</c:v>
                </c:pt>
                <c:pt idx="234">
                  <c:v>Soignon</c:v>
                </c:pt>
                <c:pt idx="235">
                  <c:v>Private Lab</c:v>
                </c:pt>
                <c:pt idx="236">
                  <c:v>Private Lab</c:v>
                </c:pt>
                <c:pt idx="237">
                  <c:v>Soignon</c:v>
                </c:pt>
                <c:pt idx="238">
                  <c:v>Chavroux</c:v>
                </c:pt>
                <c:pt idx="239">
                  <c:v>President</c:v>
                </c:pt>
                <c:pt idx="240">
                  <c:v>Galbani</c:v>
                </c:pt>
                <c:pt idx="241">
                  <c:v>President</c:v>
                </c:pt>
                <c:pt idx="242">
                  <c:v>Richesmonts</c:v>
                </c:pt>
                <c:pt idx="243">
                  <c:v>Private Lab</c:v>
                </c:pt>
                <c:pt idx="244">
                  <c:v>Private Lab</c:v>
                </c:pt>
                <c:pt idx="245">
                  <c:v>Paysan Bret</c:v>
                </c:pt>
                <c:pt idx="246">
                  <c:v>Private Lab</c:v>
                </c:pt>
                <c:pt idx="247">
                  <c:v>Port Salut</c:v>
                </c:pt>
                <c:pt idx="248">
                  <c:v>Galbani</c:v>
                </c:pt>
                <c:pt idx="249">
                  <c:v>Entremont</c:v>
                </c:pt>
                <c:pt idx="250">
                  <c:v>President</c:v>
                </c:pt>
                <c:pt idx="251">
                  <c:v>Apericube</c:v>
                </c:pt>
                <c:pt idx="252">
                  <c:v>Private Lab</c:v>
                </c:pt>
                <c:pt idx="253">
                  <c:v>President</c:v>
                </c:pt>
                <c:pt idx="254">
                  <c:v>All Others</c:v>
                </c:pt>
                <c:pt idx="255">
                  <c:v>Private Lab</c:v>
                </c:pt>
                <c:pt idx="256">
                  <c:v>Entremont</c:v>
                </c:pt>
                <c:pt idx="257">
                  <c:v>All Others</c:v>
                </c:pt>
                <c:pt idx="258">
                  <c:v>Apericube</c:v>
                </c:pt>
                <c:pt idx="259">
                  <c:v>All Others</c:v>
                </c:pt>
                <c:pt idx="260">
                  <c:v>Private Lab</c:v>
                </c:pt>
                <c:pt idx="261">
                  <c:v>Private Lab</c:v>
                </c:pt>
                <c:pt idx="262">
                  <c:v>All Others</c:v>
                </c:pt>
                <c:pt idx="263">
                  <c:v>Private Lab</c:v>
                </c:pt>
                <c:pt idx="264">
                  <c:v>Richesmonts</c:v>
                </c:pt>
                <c:pt idx="265">
                  <c:v>Caprice Des</c:v>
                </c:pt>
                <c:pt idx="266">
                  <c:v>All Others</c:v>
                </c:pt>
                <c:pt idx="267">
                  <c:v>Leerdammer</c:v>
                </c:pt>
                <c:pt idx="268">
                  <c:v>Private Lab</c:v>
                </c:pt>
                <c:pt idx="269">
                  <c:v>All Others</c:v>
                </c:pt>
                <c:pt idx="270">
                  <c:v>Paysan Bret</c:v>
                </c:pt>
                <c:pt idx="271">
                  <c:v>All Others</c:v>
                </c:pt>
                <c:pt idx="272">
                  <c:v>Private Lab</c:v>
                </c:pt>
                <c:pt idx="273">
                  <c:v>All Others</c:v>
                </c:pt>
                <c:pt idx="274">
                  <c:v>Aperivrais</c:v>
                </c:pt>
                <c:pt idx="275">
                  <c:v>Le Rustique</c:v>
                </c:pt>
                <c:pt idx="276">
                  <c:v>All Others</c:v>
                </c:pt>
                <c:pt idx="277">
                  <c:v>All Others</c:v>
                </c:pt>
                <c:pt idx="278">
                  <c:v>All Others</c:v>
                </c:pt>
                <c:pt idx="279">
                  <c:v>All Others</c:v>
                </c:pt>
                <c:pt idx="280">
                  <c:v>Lactalis: A</c:v>
                </c:pt>
                <c:pt idx="281">
                  <c:v>Private Lab</c:v>
                </c:pt>
                <c:pt idx="282">
                  <c:v>All Others</c:v>
                </c:pt>
                <c:pt idx="283">
                  <c:v>Private Lab</c:v>
                </c:pt>
                <c:pt idx="284">
                  <c:v>Societe</c:v>
                </c:pt>
                <c:pt idx="285">
                  <c:v>Bresse Bleu</c:v>
                </c:pt>
                <c:pt idx="286">
                  <c:v>Private Lab</c:v>
                </c:pt>
                <c:pt idx="287">
                  <c:v>Private Lab</c:v>
                </c:pt>
                <c:pt idx="288">
                  <c:v>All Others</c:v>
                </c:pt>
                <c:pt idx="289">
                  <c:v>Private Lab</c:v>
                </c:pt>
                <c:pt idx="290">
                  <c:v>All Others</c:v>
                </c:pt>
                <c:pt idx="291">
                  <c:v>Private Lab</c:v>
                </c:pt>
                <c:pt idx="292">
                  <c:v>Casa Azzurr</c:v>
                </c:pt>
                <c:pt idx="293">
                  <c:v>President</c:v>
                </c:pt>
                <c:pt idx="294">
                  <c:v>Kiri</c:v>
                </c:pt>
                <c:pt idx="295">
                  <c:v>Saint Agur</c:v>
                </c:pt>
                <c:pt idx="296">
                  <c:v>President</c:v>
                </c:pt>
                <c:pt idx="297">
                  <c:v>Private Lab</c:v>
                </c:pt>
                <c:pt idx="298">
                  <c:v>Richesmonts</c:v>
                </c:pt>
                <c:pt idx="299">
                  <c:v>Casa Azzurr</c:v>
                </c:pt>
                <c:pt idx="300">
                  <c:v>Leerdammer</c:v>
                </c:pt>
                <c:pt idx="301">
                  <c:v>Private Lab</c:v>
                </c:pt>
                <c:pt idx="302">
                  <c:v>Entremont</c:v>
                </c:pt>
                <c:pt idx="303">
                  <c:v>Pochat</c:v>
                </c:pt>
                <c:pt idx="304">
                  <c:v>Soignon</c:v>
                </c:pt>
                <c:pt idx="305">
                  <c:v>Soignon</c:v>
                </c:pt>
                <c:pt idx="306">
                  <c:v>Private Lab</c:v>
                </c:pt>
                <c:pt idx="307">
                  <c:v>All Others</c:v>
                </c:pt>
                <c:pt idx="308">
                  <c:v>La Vache Qu</c:v>
                </c:pt>
                <c:pt idx="309">
                  <c:v>Salakis</c:v>
                </c:pt>
                <c:pt idx="310">
                  <c:v>Private Lab</c:v>
                </c:pt>
                <c:pt idx="311">
                  <c:v>All Others</c:v>
                </c:pt>
                <c:pt idx="312">
                  <c:v>Casa Azzurr</c:v>
                </c:pt>
                <c:pt idx="313">
                  <c:v>Private Lab</c:v>
                </c:pt>
                <c:pt idx="314">
                  <c:v>Private Lab</c:v>
                </c:pt>
                <c:pt idx="315">
                  <c:v>Private Lab</c:v>
                </c:pt>
                <c:pt idx="316">
                  <c:v>Entremont</c:v>
                </c:pt>
                <c:pt idx="317">
                  <c:v>All Others</c:v>
                </c:pt>
                <c:pt idx="318">
                  <c:v>Leerdammer</c:v>
                </c:pt>
                <c:pt idx="319">
                  <c:v>Salakis</c:v>
                </c:pt>
                <c:pt idx="320">
                  <c:v>Saint Albra</c:v>
                </c:pt>
                <c:pt idx="321">
                  <c:v>Tartare</c:v>
                </c:pt>
                <c:pt idx="322">
                  <c:v>Fol Epi</c:v>
                </c:pt>
                <c:pt idx="323">
                  <c:v>Savencia: A</c:v>
                </c:pt>
                <c:pt idx="324">
                  <c:v>Societe</c:v>
                </c:pt>
                <c:pt idx="325">
                  <c:v>All Others</c:v>
                </c:pt>
                <c:pt idx="326">
                  <c:v>Paysan Bret</c:v>
                </c:pt>
                <c:pt idx="327">
                  <c:v>Private Lab</c:v>
                </c:pt>
                <c:pt idx="328">
                  <c:v>Private Lab</c:v>
                </c:pt>
                <c:pt idx="329">
                  <c:v>Boursin</c:v>
                </c:pt>
                <c:pt idx="330">
                  <c:v>All Others</c:v>
                </c:pt>
                <c:pt idx="331">
                  <c:v>Richesmonts</c:v>
                </c:pt>
                <c:pt idx="332">
                  <c:v>Salakis</c:v>
                </c:pt>
                <c:pt idx="333">
                  <c:v>Babybel</c:v>
                </c:pt>
                <c:pt idx="334">
                  <c:v>All Others</c:v>
                </c:pt>
                <c:pt idx="335">
                  <c:v>Private Lab</c:v>
                </c:pt>
                <c:pt idx="336">
                  <c:v>Entremont</c:v>
                </c:pt>
                <c:pt idx="337">
                  <c:v>Galbani</c:v>
                </c:pt>
                <c:pt idx="338">
                  <c:v>All Others</c:v>
                </c:pt>
                <c:pt idx="339">
                  <c:v>Boursin</c:v>
                </c:pt>
                <c:pt idx="340">
                  <c:v>Private Lab</c:v>
                </c:pt>
                <c:pt idx="341">
                  <c:v>Private Lab</c:v>
                </c:pt>
                <c:pt idx="342">
                  <c:v>Private Lab</c:v>
                </c:pt>
                <c:pt idx="343">
                  <c:v>Private Lab</c:v>
                </c:pt>
                <c:pt idx="344">
                  <c:v>Private Lab</c:v>
                </c:pt>
                <c:pt idx="345">
                  <c:v>Savencia: A</c:v>
                </c:pt>
                <c:pt idx="346">
                  <c:v>Private Lab</c:v>
                </c:pt>
                <c:pt idx="347">
                  <c:v>Soignon</c:v>
                </c:pt>
                <c:pt idx="348">
                  <c:v>All Others</c:v>
                </c:pt>
                <c:pt idx="349">
                  <c:v>Cousteron</c:v>
                </c:pt>
                <c:pt idx="350">
                  <c:v>All Others</c:v>
                </c:pt>
                <c:pt idx="351">
                  <c:v>Private Lab</c:v>
                </c:pt>
                <c:pt idx="352">
                  <c:v>Private Lab</c:v>
                </c:pt>
                <c:pt idx="353">
                  <c:v>Private Lab</c:v>
                </c:pt>
                <c:pt idx="354">
                  <c:v>Lou Perac</c:v>
                </c:pt>
                <c:pt idx="355">
                  <c:v>Chavroux</c:v>
                </c:pt>
                <c:pt idx="356">
                  <c:v>All Others</c:v>
                </c:pt>
                <c:pt idx="357">
                  <c:v>Private Lab</c:v>
                </c:pt>
                <c:pt idx="358">
                  <c:v>Etoile Du Q</c:v>
                </c:pt>
                <c:pt idx="359">
                  <c:v>Private Lab</c:v>
                </c:pt>
                <c:pt idx="360">
                  <c:v>Private Lab</c:v>
                </c:pt>
                <c:pt idx="361">
                  <c:v>Private Lab</c:v>
                </c:pt>
                <c:pt idx="362">
                  <c:v>Private Lab</c:v>
                </c:pt>
                <c:pt idx="363">
                  <c:v>Societe</c:v>
                </c:pt>
                <c:pt idx="364">
                  <c:v>All Others</c:v>
                </c:pt>
                <c:pt idx="365">
                  <c:v>All Others</c:v>
                </c:pt>
                <c:pt idx="366">
                  <c:v>La Vache Qu</c:v>
                </c:pt>
                <c:pt idx="367">
                  <c:v>All Others</c:v>
                </c:pt>
                <c:pt idx="368">
                  <c:v>All Others</c:v>
                </c:pt>
                <c:pt idx="369">
                  <c:v>Pave D'Affi</c:v>
                </c:pt>
                <c:pt idx="370">
                  <c:v>Richesmonts</c:v>
                </c:pt>
                <c:pt idx="371">
                  <c:v>All Others</c:v>
                </c:pt>
                <c:pt idx="372">
                  <c:v>Galbani</c:v>
                </c:pt>
                <c:pt idx="373">
                  <c:v>Entremont</c:v>
                </c:pt>
                <c:pt idx="374">
                  <c:v>Private Lab</c:v>
                </c:pt>
                <c:pt idx="375">
                  <c:v>Casa Azzurr</c:v>
                </c:pt>
                <c:pt idx="376">
                  <c:v>Apericube</c:v>
                </c:pt>
                <c:pt idx="377">
                  <c:v>All Others</c:v>
                </c:pt>
                <c:pt idx="378">
                  <c:v>Private Lab</c:v>
                </c:pt>
                <c:pt idx="379">
                  <c:v>Private Lab</c:v>
                </c:pt>
                <c:pt idx="380">
                  <c:v>Entremont</c:v>
                </c:pt>
                <c:pt idx="381">
                  <c:v>Private Lab</c:v>
                </c:pt>
                <c:pt idx="382">
                  <c:v>Fauquet</c:v>
                </c:pt>
                <c:pt idx="383">
                  <c:v>All Others</c:v>
                </c:pt>
                <c:pt idx="384">
                  <c:v>President</c:v>
                </c:pt>
                <c:pt idx="385">
                  <c:v>La Pointe P</c:v>
                </c:pt>
                <c:pt idx="386">
                  <c:v>All Others</c:v>
                </c:pt>
                <c:pt idx="387">
                  <c:v>Mini Babybe</c:v>
                </c:pt>
                <c:pt idx="388">
                  <c:v>Private Lab</c:v>
                </c:pt>
                <c:pt idx="389">
                  <c:v>President</c:v>
                </c:pt>
                <c:pt idx="390">
                  <c:v>All Others</c:v>
                </c:pt>
                <c:pt idx="391">
                  <c:v>Private Lab</c:v>
                </c:pt>
                <c:pt idx="392">
                  <c:v>President</c:v>
                </c:pt>
                <c:pt idx="393">
                  <c:v>Mini Babybe</c:v>
                </c:pt>
                <c:pt idx="394">
                  <c:v>All Others</c:v>
                </c:pt>
                <c:pt idx="395">
                  <c:v>La Pointe P</c:v>
                </c:pt>
                <c:pt idx="396">
                  <c:v>Soignon</c:v>
                </c:pt>
                <c:pt idx="397">
                  <c:v>All Others</c:v>
                </c:pt>
                <c:pt idx="398">
                  <c:v>Private Lab</c:v>
                </c:pt>
                <c:pt idx="399">
                  <c:v>Saint Agur</c:v>
                </c:pt>
                <c:pt idx="400">
                  <c:v>All Others</c:v>
                </c:pt>
                <c:pt idx="401">
                  <c:v>Triballat N</c:v>
                </c:pt>
                <c:pt idx="402">
                  <c:v>Private Lab</c:v>
                </c:pt>
                <c:pt idx="403">
                  <c:v>All Others</c:v>
                </c:pt>
                <c:pt idx="404">
                  <c:v>Private Lab</c:v>
                </c:pt>
                <c:pt idx="405">
                  <c:v>La Pointe P</c:v>
                </c:pt>
                <c:pt idx="406">
                  <c:v>Private Lab</c:v>
                </c:pt>
                <c:pt idx="407">
                  <c:v>Etoile Du V</c:v>
                </c:pt>
                <c:pt idx="408">
                  <c:v>All Others</c:v>
                </c:pt>
                <c:pt idx="409">
                  <c:v>Private Lab</c:v>
                </c:pt>
                <c:pt idx="410">
                  <c:v>All Others</c:v>
                </c:pt>
                <c:pt idx="411">
                  <c:v>St Moret</c:v>
                </c:pt>
                <c:pt idx="412">
                  <c:v>Aperivrais</c:v>
                </c:pt>
                <c:pt idx="413">
                  <c:v>Apericube</c:v>
                </c:pt>
                <c:pt idx="414">
                  <c:v>All Others</c:v>
                </c:pt>
                <c:pt idx="415">
                  <c:v>All Others</c:v>
                </c:pt>
                <c:pt idx="416">
                  <c:v>President</c:v>
                </c:pt>
                <c:pt idx="417">
                  <c:v>Pave D'Affi</c:v>
                </c:pt>
                <c:pt idx="418">
                  <c:v>St Moret</c:v>
                </c:pt>
                <c:pt idx="419">
                  <c:v>All Others</c:v>
                </c:pt>
                <c:pt idx="420">
                  <c:v>Fauquet</c:v>
                </c:pt>
                <c:pt idx="421">
                  <c:v>All Others</c:v>
                </c:pt>
                <c:pt idx="422">
                  <c:v>Private Lab</c:v>
                </c:pt>
                <c:pt idx="423">
                  <c:v>Casa Azzurr</c:v>
                </c:pt>
                <c:pt idx="424">
                  <c:v>Private Lab</c:v>
                </c:pt>
                <c:pt idx="425">
                  <c:v>L'Ortolan</c:v>
                </c:pt>
                <c:pt idx="426">
                  <c:v>All Others</c:v>
                </c:pt>
                <c:pt idx="427">
                  <c:v>All Others</c:v>
                </c:pt>
                <c:pt idx="428">
                  <c:v>Savencia: A</c:v>
                </c:pt>
                <c:pt idx="429">
                  <c:v>La Pointe P</c:v>
                </c:pt>
                <c:pt idx="430">
                  <c:v>All Others</c:v>
                </c:pt>
                <c:pt idx="431">
                  <c:v>Vieux Pane</c:v>
                </c:pt>
                <c:pt idx="432">
                  <c:v>Private Lab</c:v>
                </c:pt>
                <c:pt idx="433">
                  <c:v>All Others</c:v>
                </c:pt>
                <c:pt idx="434">
                  <c:v>All Others</c:v>
                </c:pt>
                <c:pt idx="435">
                  <c:v>Chaussee Au</c:v>
                </c:pt>
                <c:pt idx="436">
                  <c:v>Private Lab</c:v>
                </c:pt>
                <c:pt idx="437">
                  <c:v>All Others</c:v>
                </c:pt>
                <c:pt idx="438">
                  <c:v>Private Lab</c:v>
                </c:pt>
                <c:pt idx="439">
                  <c:v>Ficello</c:v>
                </c:pt>
                <c:pt idx="440">
                  <c:v>Savencia: A</c:v>
                </c:pt>
                <c:pt idx="441">
                  <c:v>All Others</c:v>
                </c:pt>
                <c:pt idx="442">
                  <c:v>St Moret</c:v>
                </c:pt>
                <c:pt idx="443">
                  <c:v>Galbani</c:v>
                </c:pt>
                <c:pt idx="444">
                  <c:v>Galbani</c:v>
                </c:pt>
                <c:pt idx="445">
                  <c:v>Private Lab</c:v>
                </c:pt>
                <c:pt idx="446">
                  <c:v>Private Lab</c:v>
                </c:pt>
                <c:pt idx="447">
                  <c:v>Private Lab</c:v>
                </c:pt>
                <c:pt idx="448">
                  <c:v>Soignon</c:v>
                </c:pt>
                <c:pt idx="449">
                  <c:v>Private Lab</c:v>
                </c:pt>
                <c:pt idx="450">
                  <c:v>Casa Azzurr</c:v>
                </c:pt>
                <c:pt idx="451">
                  <c:v>Pave D'Affi</c:v>
                </c:pt>
                <c:pt idx="452">
                  <c:v>Private Lab</c:v>
                </c:pt>
                <c:pt idx="453">
                  <c:v>Entremont</c:v>
                </c:pt>
                <c:pt idx="454">
                  <c:v>Le Rustique</c:v>
                </c:pt>
                <c:pt idx="455">
                  <c:v>Private Lab</c:v>
                </c:pt>
                <c:pt idx="456">
                  <c:v>Boursin</c:v>
                </c:pt>
                <c:pt idx="457">
                  <c:v>All Others</c:v>
                </c:pt>
                <c:pt idx="458">
                  <c:v>All Others</c:v>
                </c:pt>
                <c:pt idx="459">
                  <c:v>Private Lab</c:v>
                </c:pt>
                <c:pt idx="460">
                  <c:v>Galbani</c:v>
                </c:pt>
                <c:pt idx="461">
                  <c:v>All Others</c:v>
                </c:pt>
                <c:pt idx="462">
                  <c:v>Lactalis: A</c:v>
                </c:pt>
                <c:pt idx="463">
                  <c:v>Casa Azzurr</c:v>
                </c:pt>
                <c:pt idx="464">
                  <c:v>All Others</c:v>
                </c:pt>
                <c:pt idx="465">
                  <c:v>Lou Perac</c:v>
                </c:pt>
                <c:pt idx="466">
                  <c:v>All Others</c:v>
                </c:pt>
                <c:pt idx="467">
                  <c:v>Boursin</c:v>
                </c:pt>
                <c:pt idx="468">
                  <c:v>All Others</c:v>
                </c:pt>
                <c:pt idx="469">
                  <c:v>All Others</c:v>
                </c:pt>
                <c:pt idx="470">
                  <c:v>Private Lab</c:v>
                </c:pt>
                <c:pt idx="471">
                  <c:v>Private Lab</c:v>
                </c:pt>
                <c:pt idx="472">
                  <c:v>St Moret</c:v>
                </c:pt>
                <c:pt idx="473">
                  <c:v>All Others</c:v>
                </c:pt>
                <c:pt idx="474">
                  <c:v>All Others</c:v>
                </c:pt>
                <c:pt idx="475">
                  <c:v>Private Lab</c:v>
                </c:pt>
                <c:pt idx="476">
                  <c:v>Mini Babybe</c:v>
                </c:pt>
                <c:pt idx="477">
                  <c:v>Private Lab</c:v>
                </c:pt>
                <c:pt idx="478">
                  <c:v>Private Lab</c:v>
                </c:pt>
                <c:pt idx="479">
                  <c:v>All Others</c:v>
                </c:pt>
                <c:pt idx="480">
                  <c:v>All Others</c:v>
                </c:pt>
                <c:pt idx="481">
                  <c:v>President</c:v>
                </c:pt>
                <c:pt idx="482">
                  <c:v>Tartare</c:v>
                </c:pt>
                <c:pt idx="483">
                  <c:v>Private Lab</c:v>
                </c:pt>
                <c:pt idx="484">
                  <c:v>All Others</c:v>
                </c:pt>
                <c:pt idx="485">
                  <c:v>All Others</c:v>
                </c:pt>
                <c:pt idx="486">
                  <c:v>All Others</c:v>
                </c:pt>
                <c:pt idx="487">
                  <c:v>Private Lab</c:v>
                </c:pt>
                <c:pt idx="488">
                  <c:v>All Others</c:v>
                </c:pt>
                <c:pt idx="489">
                  <c:v>Kiri</c:v>
                </c:pt>
                <c:pt idx="490">
                  <c:v>All Others</c:v>
                </c:pt>
                <c:pt idx="491">
                  <c:v>All Others</c:v>
                </c:pt>
                <c:pt idx="492">
                  <c:v>Societe</c:v>
                </c:pt>
                <c:pt idx="493">
                  <c:v>Soignon</c:v>
                </c:pt>
                <c:pt idx="494">
                  <c:v>President</c:v>
                </c:pt>
                <c:pt idx="495">
                  <c:v>Savencia: A</c:v>
                </c:pt>
                <c:pt idx="496">
                  <c:v>Philadelphi</c:v>
                </c:pt>
                <c:pt idx="497">
                  <c:v>All Others</c:v>
                </c:pt>
                <c:pt idx="498">
                  <c:v>Leerdammer</c:v>
                </c:pt>
                <c:pt idx="499">
                  <c:v>Private Lab</c:v>
                </c:pt>
                <c:pt idx="500">
                  <c:v>Private Lab</c:v>
                </c:pt>
                <c:pt idx="501">
                  <c:v>Pave D'Affi</c:v>
                </c:pt>
                <c:pt idx="502">
                  <c:v>La Pointe P</c:v>
                </c:pt>
                <c:pt idx="503">
                  <c:v>Private Lab</c:v>
                </c:pt>
                <c:pt idx="504">
                  <c:v>All Others</c:v>
                </c:pt>
                <c:pt idx="505">
                  <c:v>All Others</c:v>
                </c:pt>
                <c:pt idx="506">
                  <c:v>Private Lab</c:v>
                </c:pt>
                <c:pt idx="507">
                  <c:v>La Pointe P</c:v>
                </c:pt>
                <c:pt idx="508">
                  <c:v>Etoile Du V</c:v>
                </c:pt>
                <c:pt idx="509">
                  <c:v>Kiri</c:v>
                </c:pt>
                <c:pt idx="510">
                  <c:v>Kiri</c:v>
                </c:pt>
                <c:pt idx="511">
                  <c:v>President</c:v>
                </c:pt>
                <c:pt idx="512">
                  <c:v>Islos</c:v>
                </c:pt>
                <c:pt idx="513">
                  <c:v>Casa Azzurr</c:v>
                </c:pt>
                <c:pt idx="514">
                  <c:v>Kiri</c:v>
                </c:pt>
                <c:pt idx="515">
                  <c:v>President</c:v>
                </c:pt>
                <c:pt idx="516">
                  <c:v>All Others</c:v>
                </c:pt>
                <c:pt idx="517">
                  <c:v>Private Lab</c:v>
                </c:pt>
                <c:pt idx="518">
                  <c:v>Rondele</c:v>
                </c:pt>
                <c:pt idx="519">
                  <c:v>Private Lab</c:v>
                </c:pt>
                <c:pt idx="520">
                  <c:v>All Others</c:v>
                </c:pt>
                <c:pt idx="521">
                  <c:v>All Others</c:v>
                </c:pt>
                <c:pt idx="522">
                  <c:v>Rondele</c:v>
                </c:pt>
                <c:pt idx="523">
                  <c:v>Entremont</c:v>
                </c:pt>
                <c:pt idx="524">
                  <c:v>Leerdammer</c:v>
                </c:pt>
                <c:pt idx="525">
                  <c:v>Leerdammer</c:v>
                </c:pt>
                <c:pt idx="526">
                  <c:v>Galbani</c:v>
                </c:pt>
                <c:pt idx="527">
                  <c:v>Private Lab</c:v>
                </c:pt>
                <c:pt idx="528">
                  <c:v>Fauquet</c:v>
                </c:pt>
                <c:pt idx="529">
                  <c:v>All Others</c:v>
                </c:pt>
                <c:pt idx="530">
                  <c:v>Casa Azzurr</c:v>
                </c:pt>
                <c:pt idx="531">
                  <c:v>All Others</c:v>
                </c:pt>
                <c:pt idx="532">
                  <c:v>All Others</c:v>
                </c:pt>
                <c:pt idx="533">
                  <c:v>All Others</c:v>
                </c:pt>
                <c:pt idx="534">
                  <c:v>Private Lab</c:v>
                </c:pt>
                <c:pt idx="535">
                  <c:v>All Others</c:v>
                </c:pt>
                <c:pt idx="536">
                  <c:v>All Others</c:v>
                </c:pt>
                <c:pt idx="537">
                  <c:v>All Others</c:v>
                </c:pt>
                <c:pt idx="538">
                  <c:v>Entremont</c:v>
                </c:pt>
                <c:pt idx="539">
                  <c:v>Le Coq Crem</c:v>
                </c:pt>
                <c:pt idx="540">
                  <c:v>All Others</c:v>
                </c:pt>
                <c:pt idx="541">
                  <c:v>Violife</c:v>
                </c:pt>
                <c:pt idx="542">
                  <c:v>Private Lab</c:v>
                </c:pt>
                <c:pt idx="543">
                  <c:v>All Others</c:v>
                </c:pt>
                <c:pt idx="544">
                  <c:v>All Others</c:v>
                </c:pt>
                <c:pt idx="545">
                  <c:v>Triballat R</c:v>
                </c:pt>
                <c:pt idx="546">
                  <c:v>Corsica</c:v>
                </c:pt>
                <c:pt idx="547">
                  <c:v>All Others</c:v>
                </c:pt>
                <c:pt idx="548">
                  <c:v>Le Brebiou</c:v>
                </c:pt>
                <c:pt idx="549">
                  <c:v>Juraflore</c:v>
                </c:pt>
                <c:pt idx="550">
                  <c:v>Saint Agur</c:v>
                </c:pt>
                <c:pt idx="551">
                  <c:v>All Others</c:v>
                </c:pt>
                <c:pt idx="552">
                  <c:v>Private Lab</c:v>
                </c:pt>
                <c:pt idx="553">
                  <c:v>President</c:v>
                </c:pt>
                <c:pt idx="554">
                  <c:v>Entremont</c:v>
                </c:pt>
                <c:pt idx="555">
                  <c:v>Private Lab</c:v>
                </c:pt>
                <c:pt idx="556">
                  <c:v>All Others</c:v>
                </c:pt>
                <c:pt idx="557">
                  <c:v>All Others</c:v>
                </c:pt>
                <c:pt idx="558">
                  <c:v>Apericube</c:v>
                </c:pt>
                <c:pt idx="559">
                  <c:v>All Others</c:v>
                </c:pt>
                <c:pt idx="560">
                  <c:v>All Others</c:v>
                </c:pt>
                <c:pt idx="561">
                  <c:v>All Others</c:v>
                </c:pt>
                <c:pt idx="562">
                  <c:v>All Others</c:v>
                </c:pt>
                <c:pt idx="563">
                  <c:v>All Others</c:v>
                </c:pt>
                <c:pt idx="564">
                  <c:v>All Others</c:v>
                </c:pt>
                <c:pt idx="565">
                  <c:v>Private Lab</c:v>
                </c:pt>
                <c:pt idx="566">
                  <c:v>Leerdammer</c:v>
                </c:pt>
                <c:pt idx="567">
                  <c:v>All Others</c:v>
                </c:pt>
                <c:pt idx="568">
                  <c:v>All Others</c:v>
                </c:pt>
                <c:pt idx="569">
                  <c:v>Ficello</c:v>
                </c:pt>
                <c:pt idx="570">
                  <c:v>Boursin</c:v>
                </c:pt>
                <c:pt idx="571">
                  <c:v>Private Lab</c:v>
                </c:pt>
                <c:pt idx="572">
                  <c:v>Savencia: A</c:v>
                </c:pt>
                <c:pt idx="573">
                  <c:v>Apericube</c:v>
                </c:pt>
                <c:pt idx="574">
                  <c:v>P'Tit Louis</c:v>
                </c:pt>
                <c:pt idx="575">
                  <c:v>All Others</c:v>
                </c:pt>
                <c:pt idx="576">
                  <c:v>All Others</c:v>
                </c:pt>
                <c:pt idx="577">
                  <c:v>Apericube</c:v>
                </c:pt>
                <c:pt idx="578">
                  <c:v>All Others</c:v>
                </c:pt>
                <c:pt idx="579">
                  <c:v>All Others</c:v>
                </c:pt>
                <c:pt idx="580">
                  <c:v>Lou Perac</c:v>
                </c:pt>
                <c:pt idx="581">
                  <c:v>All Others</c:v>
                </c:pt>
                <c:pt idx="582">
                  <c:v>All Others</c:v>
                </c:pt>
                <c:pt idx="583">
                  <c:v>Lactalis: A</c:v>
                </c:pt>
                <c:pt idx="584">
                  <c:v>Richesmonts</c:v>
                </c:pt>
                <c:pt idx="585">
                  <c:v>All Others</c:v>
                </c:pt>
                <c:pt idx="586">
                  <c:v>Leerdammer</c:v>
                </c:pt>
                <c:pt idx="587">
                  <c:v>President</c:v>
                </c:pt>
                <c:pt idx="588">
                  <c:v>Eurial Autr</c:v>
                </c:pt>
                <c:pt idx="589">
                  <c:v>Mini Babybe</c:v>
                </c:pt>
                <c:pt idx="590">
                  <c:v>All Others</c:v>
                </c:pt>
                <c:pt idx="591">
                  <c:v>Private Lab</c:v>
                </c:pt>
                <c:pt idx="592">
                  <c:v>Soignon</c:v>
                </c:pt>
                <c:pt idx="593">
                  <c:v>All Others</c:v>
                </c:pt>
                <c:pt idx="594">
                  <c:v>Galbani</c:v>
                </c:pt>
                <c:pt idx="595">
                  <c:v>All Others</c:v>
                </c:pt>
                <c:pt idx="596">
                  <c:v>All Others</c:v>
                </c:pt>
                <c:pt idx="597">
                  <c:v>Pave D'Affi</c:v>
                </c:pt>
                <c:pt idx="598">
                  <c:v>All Others</c:v>
                </c:pt>
                <c:pt idx="599">
                  <c:v>Private Lab</c:v>
                </c:pt>
                <c:pt idx="600">
                  <c:v>Soignon</c:v>
                </c:pt>
                <c:pt idx="601">
                  <c:v>La Vache Qu</c:v>
                </c:pt>
                <c:pt idx="602">
                  <c:v>All Others</c:v>
                </c:pt>
                <c:pt idx="603">
                  <c:v>Private Lab</c:v>
                </c:pt>
                <c:pt idx="604">
                  <c:v>All Others</c:v>
                </c:pt>
                <c:pt idx="605">
                  <c:v>Private Lab</c:v>
                </c:pt>
                <c:pt idx="606">
                  <c:v>Private Lab</c:v>
                </c:pt>
                <c:pt idx="607">
                  <c:v>All Others</c:v>
                </c:pt>
                <c:pt idx="608">
                  <c:v>Casa Azzurr</c:v>
                </c:pt>
                <c:pt idx="609">
                  <c:v>Entremont</c:v>
                </c:pt>
                <c:pt idx="610">
                  <c:v>Etoile Du V</c:v>
                </c:pt>
                <c:pt idx="611">
                  <c:v>Private Lab</c:v>
                </c:pt>
                <c:pt idx="612">
                  <c:v>All Others</c:v>
                </c:pt>
                <c:pt idx="613">
                  <c:v>Boursin</c:v>
                </c:pt>
                <c:pt idx="614">
                  <c:v>Saint Agur</c:v>
                </c:pt>
                <c:pt idx="615">
                  <c:v>Soignon</c:v>
                </c:pt>
                <c:pt idx="616">
                  <c:v>All Others</c:v>
                </c:pt>
                <c:pt idx="617">
                  <c:v>Eurial Autr</c:v>
                </c:pt>
                <c:pt idx="618">
                  <c:v>All Others</c:v>
                </c:pt>
                <c:pt idx="619">
                  <c:v>Triballat R</c:v>
                </c:pt>
                <c:pt idx="620">
                  <c:v>Violife</c:v>
                </c:pt>
                <c:pt idx="621">
                  <c:v>Private Lab</c:v>
                </c:pt>
                <c:pt idx="622">
                  <c:v>All Others</c:v>
                </c:pt>
                <c:pt idx="623">
                  <c:v>Apericube</c:v>
                </c:pt>
                <c:pt idx="624">
                  <c:v>Apericube</c:v>
                </c:pt>
                <c:pt idx="625">
                  <c:v>Richesmonts</c:v>
                </c:pt>
                <c:pt idx="626">
                  <c:v>All Others</c:v>
                </c:pt>
                <c:pt idx="627">
                  <c:v>All Others</c:v>
                </c:pt>
                <c:pt idx="628">
                  <c:v>All Others</c:v>
                </c:pt>
                <c:pt idx="629">
                  <c:v>Pochat</c:v>
                </c:pt>
                <c:pt idx="630">
                  <c:v>All Others</c:v>
                </c:pt>
                <c:pt idx="631">
                  <c:v>Lactalis: A</c:v>
                </c:pt>
                <c:pt idx="632">
                  <c:v>P'Tit Louis</c:v>
                </c:pt>
                <c:pt idx="633">
                  <c:v>Richesmonts</c:v>
                </c:pt>
                <c:pt idx="634">
                  <c:v>All Others</c:v>
                </c:pt>
                <c:pt idx="635">
                  <c:v>Casa Azzurr</c:v>
                </c:pt>
                <c:pt idx="636">
                  <c:v>All Others</c:v>
                </c:pt>
                <c:pt idx="637">
                  <c:v>President</c:v>
                </c:pt>
                <c:pt idx="638">
                  <c:v>Violife</c:v>
                </c:pt>
                <c:pt idx="639">
                  <c:v>All Others</c:v>
                </c:pt>
                <c:pt idx="640">
                  <c:v>All Others</c:v>
                </c:pt>
                <c:pt idx="641">
                  <c:v>Salakis</c:v>
                </c:pt>
                <c:pt idx="642">
                  <c:v>All Others</c:v>
                </c:pt>
                <c:pt idx="643">
                  <c:v>Apericube</c:v>
                </c:pt>
                <c:pt idx="644">
                  <c:v>All Others</c:v>
                </c:pt>
                <c:pt idx="645">
                  <c:v>All Others</c:v>
                </c:pt>
                <c:pt idx="646">
                  <c:v>All Others</c:v>
                </c:pt>
                <c:pt idx="647">
                  <c:v>Private Lab</c:v>
                </c:pt>
                <c:pt idx="648">
                  <c:v>Galbani</c:v>
                </c:pt>
                <c:pt idx="649">
                  <c:v>All Others</c:v>
                </c:pt>
                <c:pt idx="650">
                  <c:v>All Others</c:v>
                </c:pt>
                <c:pt idx="651">
                  <c:v>All Others</c:v>
                </c:pt>
                <c:pt idx="652">
                  <c:v>Apericube</c:v>
                </c:pt>
                <c:pt idx="653">
                  <c:v>Richesmonts</c:v>
                </c:pt>
                <c:pt idx="654">
                  <c:v>All Others</c:v>
                </c:pt>
                <c:pt idx="655">
                  <c:v>Violife</c:v>
                </c:pt>
                <c:pt idx="656">
                  <c:v>All Others</c:v>
                </c:pt>
                <c:pt idx="657">
                  <c:v>Societe</c:v>
                </c:pt>
                <c:pt idx="658">
                  <c:v>Entremont</c:v>
                </c:pt>
                <c:pt idx="659">
                  <c:v>Lactalis: A</c:v>
                </c:pt>
                <c:pt idx="660">
                  <c:v>Private Lab</c:v>
                </c:pt>
                <c:pt idx="661">
                  <c:v>All Others</c:v>
                </c:pt>
                <c:pt idx="662">
                  <c:v>All Others</c:v>
                </c:pt>
                <c:pt idx="663">
                  <c:v>Entremont</c:v>
                </c:pt>
                <c:pt idx="664">
                  <c:v>All Others</c:v>
                </c:pt>
                <c:pt idx="665">
                  <c:v>All Others</c:v>
                </c:pt>
                <c:pt idx="666">
                  <c:v>Eurial Autr</c:v>
                </c:pt>
                <c:pt idx="667">
                  <c:v>Boursin</c:v>
                </c:pt>
                <c:pt idx="668">
                  <c:v>Philadelphi</c:v>
                </c:pt>
                <c:pt idx="669">
                  <c:v>All Others</c:v>
                </c:pt>
                <c:pt idx="670">
                  <c:v>All Others</c:v>
                </c:pt>
                <c:pt idx="671">
                  <c:v>All Others</c:v>
                </c:pt>
                <c:pt idx="672">
                  <c:v>All Others</c:v>
                </c:pt>
                <c:pt idx="673">
                  <c:v>O'Tapas Ape</c:v>
                </c:pt>
                <c:pt idx="674">
                  <c:v>La Pointe P</c:v>
                </c:pt>
                <c:pt idx="675">
                  <c:v>All Others</c:v>
                </c:pt>
                <c:pt idx="676">
                  <c:v>Paysan Bret</c:v>
                </c:pt>
                <c:pt idx="677">
                  <c:v>All Others</c:v>
                </c:pt>
                <c:pt idx="678">
                  <c:v>Lactalis: A</c:v>
                </c:pt>
                <c:pt idx="679">
                  <c:v>Triballat R</c:v>
                </c:pt>
                <c:pt idx="680">
                  <c:v>All Others</c:v>
                </c:pt>
                <c:pt idx="681">
                  <c:v>All Others</c:v>
                </c:pt>
                <c:pt idx="682">
                  <c:v>Leerdammer</c:v>
                </c:pt>
                <c:pt idx="683">
                  <c:v>Savencia: A</c:v>
                </c:pt>
                <c:pt idx="684">
                  <c:v>All Others</c:v>
                </c:pt>
                <c:pt idx="685">
                  <c:v>Private Lab</c:v>
                </c:pt>
                <c:pt idx="686">
                  <c:v>Private Lab</c:v>
                </c:pt>
                <c:pt idx="687">
                  <c:v>Paysan Bret</c:v>
                </c:pt>
                <c:pt idx="688">
                  <c:v>All Others</c:v>
                </c:pt>
                <c:pt idx="689">
                  <c:v>All Others</c:v>
                </c:pt>
                <c:pt idx="690">
                  <c:v>Private Lab</c:v>
                </c:pt>
                <c:pt idx="691">
                  <c:v>Tartare</c:v>
                </c:pt>
                <c:pt idx="692">
                  <c:v>All Others</c:v>
                </c:pt>
                <c:pt idx="693">
                  <c:v>Pave D'Affi</c:v>
                </c:pt>
                <c:pt idx="694">
                  <c:v>All Others</c:v>
                </c:pt>
                <c:pt idx="695">
                  <c:v>All Others</c:v>
                </c:pt>
                <c:pt idx="696">
                  <c:v>Violife</c:v>
                </c:pt>
                <c:pt idx="697">
                  <c:v>Eurial Autr</c:v>
                </c:pt>
                <c:pt idx="698">
                  <c:v>All Others</c:v>
                </c:pt>
                <c:pt idx="699">
                  <c:v>All Others</c:v>
                </c:pt>
                <c:pt idx="700">
                  <c:v>La Pointe P</c:v>
                </c:pt>
                <c:pt idx="701">
                  <c:v>All Others</c:v>
                </c:pt>
                <c:pt idx="702">
                  <c:v>Richesmonts</c:v>
                </c:pt>
                <c:pt idx="703">
                  <c:v>Etoile Du Q</c:v>
                </c:pt>
                <c:pt idx="704">
                  <c:v>All Others</c:v>
                </c:pt>
                <c:pt idx="705">
                  <c:v>Boursin</c:v>
                </c:pt>
                <c:pt idx="706">
                  <c:v>All Others</c:v>
                </c:pt>
                <c:pt idx="707">
                  <c:v>St Moret</c:v>
                </c:pt>
                <c:pt idx="708">
                  <c:v>All Others</c:v>
                </c:pt>
                <c:pt idx="709">
                  <c:v>All Others</c:v>
                </c:pt>
                <c:pt idx="710">
                  <c:v>All Others</c:v>
                </c:pt>
                <c:pt idx="711">
                  <c:v>All Others</c:v>
                </c:pt>
                <c:pt idx="712">
                  <c:v>All Others</c:v>
                </c:pt>
                <c:pt idx="713">
                  <c:v>All Others</c:v>
                </c:pt>
                <c:pt idx="714">
                  <c:v>Private Lab</c:v>
                </c:pt>
                <c:pt idx="715">
                  <c:v>Private Lab</c:v>
                </c:pt>
                <c:pt idx="716">
                  <c:v>Private Lab</c:v>
                </c:pt>
                <c:pt idx="717">
                  <c:v>All Others</c:v>
                </c:pt>
                <c:pt idx="718">
                  <c:v>Boursin</c:v>
                </c:pt>
                <c:pt idx="719">
                  <c:v>All Others</c:v>
                </c:pt>
                <c:pt idx="720">
                  <c:v>All Others</c:v>
                </c:pt>
                <c:pt idx="721">
                  <c:v>All Others</c:v>
                </c:pt>
                <c:pt idx="722">
                  <c:v>All Others</c:v>
                </c:pt>
                <c:pt idx="723">
                  <c:v>All Others</c:v>
                </c:pt>
                <c:pt idx="724">
                  <c:v>Lactalis: A</c:v>
                </c:pt>
                <c:pt idx="725">
                  <c:v>All Others</c:v>
                </c:pt>
                <c:pt idx="726">
                  <c:v>Aperivrais</c:v>
                </c:pt>
                <c:pt idx="727">
                  <c:v>Caprice Des</c:v>
                </c:pt>
                <c:pt idx="728">
                  <c:v>Richesmonts</c:v>
                </c:pt>
                <c:pt idx="729">
                  <c:v>Eurial Autr</c:v>
                </c:pt>
                <c:pt idx="730">
                  <c:v>Violife</c:v>
                </c:pt>
                <c:pt idx="731">
                  <c:v>All Others</c:v>
                </c:pt>
                <c:pt idx="732">
                  <c:v>All Others</c:v>
                </c:pt>
                <c:pt idx="733">
                  <c:v>Mini Babybe</c:v>
                </c:pt>
                <c:pt idx="734">
                  <c:v>Petit Billy</c:v>
                </c:pt>
                <c:pt idx="735">
                  <c:v>All Others</c:v>
                </c:pt>
                <c:pt idx="736">
                  <c:v>All Others</c:v>
                </c:pt>
                <c:pt idx="737">
                  <c:v>All Others</c:v>
                </c:pt>
                <c:pt idx="738">
                  <c:v>All Others</c:v>
                </c:pt>
                <c:pt idx="739">
                  <c:v>Corsica</c:v>
                </c:pt>
                <c:pt idx="740">
                  <c:v>Nurishh</c:v>
                </c:pt>
                <c:pt idx="741">
                  <c:v>Aperivrais</c:v>
                </c:pt>
                <c:pt idx="742">
                  <c:v>Istara</c:v>
                </c:pt>
                <c:pt idx="743">
                  <c:v>President</c:v>
                </c:pt>
                <c:pt idx="744">
                  <c:v>Fauquet</c:v>
                </c:pt>
                <c:pt idx="745">
                  <c:v>All Others</c:v>
                </c:pt>
                <c:pt idx="746">
                  <c:v>Juraflore</c:v>
                </c:pt>
                <c:pt idx="747">
                  <c:v>All Others</c:v>
                </c:pt>
                <c:pt idx="748">
                  <c:v>All Others</c:v>
                </c:pt>
                <c:pt idx="749">
                  <c:v>Private Lab</c:v>
                </c:pt>
                <c:pt idx="750">
                  <c:v>All Others</c:v>
                </c:pt>
                <c:pt idx="751">
                  <c:v>All Others</c:v>
                </c:pt>
                <c:pt idx="752">
                  <c:v>Paysan Bret</c:v>
                </c:pt>
                <c:pt idx="753">
                  <c:v>All Others</c:v>
                </c:pt>
                <c:pt idx="754">
                  <c:v>All Others</c:v>
                </c:pt>
                <c:pt idx="755">
                  <c:v>All Others</c:v>
                </c:pt>
                <c:pt idx="756">
                  <c:v>All Others</c:v>
                </c:pt>
                <c:pt idx="757">
                  <c:v>All Others</c:v>
                </c:pt>
                <c:pt idx="758">
                  <c:v>All Others</c:v>
                </c:pt>
                <c:pt idx="759">
                  <c:v>All Others</c:v>
                </c:pt>
                <c:pt idx="760">
                  <c:v>Lactalis: A</c:v>
                </c:pt>
                <c:pt idx="761">
                  <c:v>Galbani</c:v>
                </c:pt>
                <c:pt idx="762">
                  <c:v>All Others</c:v>
                </c:pt>
                <c:pt idx="763">
                  <c:v>Lactalis: A</c:v>
                </c:pt>
                <c:pt idx="764">
                  <c:v>Eurial Autr</c:v>
                </c:pt>
                <c:pt idx="765">
                  <c:v>All Others</c:v>
                </c:pt>
                <c:pt idx="766">
                  <c:v>All Others</c:v>
                </c:pt>
                <c:pt idx="767">
                  <c:v>All Others</c:v>
                </c:pt>
                <c:pt idx="768">
                  <c:v>All Others</c:v>
                </c:pt>
                <c:pt idx="769">
                  <c:v>Private Lab</c:v>
                </c:pt>
                <c:pt idx="770">
                  <c:v>Lactalis: A</c:v>
                </c:pt>
                <c:pt idx="771">
                  <c:v>Casa Azzurr</c:v>
                </c:pt>
                <c:pt idx="772">
                  <c:v>All Others</c:v>
                </c:pt>
                <c:pt idx="773">
                  <c:v>Lactalis: A</c:v>
                </c:pt>
                <c:pt idx="774">
                  <c:v>All Others</c:v>
                </c:pt>
                <c:pt idx="775">
                  <c:v>All Others</c:v>
                </c:pt>
                <c:pt idx="776">
                  <c:v>Paysan Bret</c:v>
                </c:pt>
                <c:pt idx="777">
                  <c:v>Corsica</c:v>
                </c:pt>
                <c:pt idx="778">
                  <c:v>La Vache Qu</c:v>
                </c:pt>
                <c:pt idx="779">
                  <c:v>All Others</c:v>
                </c:pt>
                <c:pt idx="780">
                  <c:v>St Moret</c:v>
                </c:pt>
                <c:pt idx="781">
                  <c:v>All Others</c:v>
                </c:pt>
                <c:pt idx="782">
                  <c:v>All Others</c:v>
                </c:pt>
                <c:pt idx="783">
                  <c:v>All Others</c:v>
                </c:pt>
                <c:pt idx="784">
                  <c:v>All Others</c:v>
                </c:pt>
                <c:pt idx="785">
                  <c:v>All Others</c:v>
                </c:pt>
                <c:pt idx="786">
                  <c:v>All Others</c:v>
                </c:pt>
                <c:pt idx="787">
                  <c:v>All Others</c:v>
                </c:pt>
                <c:pt idx="788">
                  <c:v>All Others</c:v>
                </c:pt>
                <c:pt idx="789">
                  <c:v>Etoile Du Q</c:v>
                </c:pt>
                <c:pt idx="790">
                  <c:v>All Others</c:v>
                </c:pt>
                <c:pt idx="791">
                  <c:v>All Others</c:v>
                </c:pt>
                <c:pt idx="792">
                  <c:v>Richesmonts</c:v>
                </c:pt>
                <c:pt idx="793">
                  <c:v>Lactalis: A</c:v>
                </c:pt>
                <c:pt idx="794">
                  <c:v>Nurishh</c:v>
                </c:pt>
                <c:pt idx="795">
                  <c:v>Salakis</c:v>
                </c:pt>
                <c:pt idx="796">
                  <c:v>All Others</c:v>
                </c:pt>
                <c:pt idx="797">
                  <c:v>All Others</c:v>
                </c:pt>
                <c:pt idx="798">
                  <c:v>All Others</c:v>
                </c:pt>
                <c:pt idx="799">
                  <c:v>Caprice Des</c:v>
                </c:pt>
                <c:pt idx="800">
                  <c:v>All Others</c:v>
                </c:pt>
                <c:pt idx="801">
                  <c:v>Lactalis: A</c:v>
                </c:pt>
                <c:pt idx="802">
                  <c:v>All Others</c:v>
                </c:pt>
                <c:pt idx="803">
                  <c:v>All Others</c:v>
                </c:pt>
                <c:pt idx="804">
                  <c:v>All Others</c:v>
                </c:pt>
                <c:pt idx="805">
                  <c:v>Milleret: A</c:v>
                </c:pt>
                <c:pt idx="806">
                  <c:v>Violife</c:v>
                </c:pt>
                <c:pt idx="807">
                  <c:v>Saint Agur</c:v>
                </c:pt>
                <c:pt idx="808">
                  <c:v>All Others</c:v>
                </c:pt>
                <c:pt idx="809">
                  <c:v>Apericube</c:v>
                </c:pt>
                <c:pt idx="810">
                  <c:v>Private Lab</c:v>
                </c:pt>
                <c:pt idx="811">
                  <c:v>Tartare</c:v>
                </c:pt>
                <c:pt idx="812">
                  <c:v>All Others</c:v>
                </c:pt>
                <c:pt idx="813">
                  <c:v>Eurial Autr</c:v>
                </c:pt>
                <c:pt idx="814">
                  <c:v>All Others</c:v>
                </c:pt>
                <c:pt idx="815">
                  <c:v>All Others</c:v>
                </c:pt>
                <c:pt idx="816">
                  <c:v>All Others</c:v>
                </c:pt>
                <c:pt idx="817">
                  <c:v>All Others</c:v>
                </c:pt>
                <c:pt idx="818">
                  <c:v>Private Lab</c:v>
                </c:pt>
                <c:pt idx="819">
                  <c:v>Savencia: A</c:v>
                </c:pt>
                <c:pt idx="820">
                  <c:v>All Others</c:v>
                </c:pt>
                <c:pt idx="821">
                  <c:v>Paysan Bret</c:v>
                </c:pt>
                <c:pt idx="822">
                  <c:v>La Belle Et</c:v>
                </c:pt>
                <c:pt idx="823">
                  <c:v>All Others</c:v>
                </c:pt>
                <c:pt idx="824">
                  <c:v>All Others</c:v>
                </c:pt>
                <c:pt idx="825">
                  <c:v>Etoile Du V</c:v>
                </c:pt>
                <c:pt idx="826">
                  <c:v>Lactalis: A</c:v>
                </c:pt>
                <c:pt idx="827">
                  <c:v>Private Lab</c:v>
                </c:pt>
                <c:pt idx="828">
                  <c:v>O'Tapas Ape</c:v>
                </c:pt>
                <c:pt idx="829">
                  <c:v>All Others</c:v>
                </c:pt>
                <c:pt idx="830">
                  <c:v>All Others</c:v>
                </c:pt>
                <c:pt idx="831">
                  <c:v>Savencia: A</c:v>
                </c:pt>
                <c:pt idx="832">
                  <c:v>All Others</c:v>
                </c:pt>
                <c:pt idx="833">
                  <c:v>All Others</c:v>
                </c:pt>
                <c:pt idx="834">
                  <c:v>Lactalis: A</c:v>
                </c:pt>
                <c:pt idx="835">
                  <c:v>Boursin</c:v>
                </c:pt>
                <c:pt idx="836">
                  <c:v>All Others</c:v>
                </c:pt>
                <c:pt idx="837">
                  <c:v>Paysan Bret</c:v>
                </c:pt>
                <c:pt idx="838">
                  <c:v>La Belle Et</c:v>
                </c:pt>
                <c:pt idx="839">
                  <c:v>All Others</c:v>
                </c:pt>
                <c:pt idx="840">
                  <c:v>All Others</c:v>
                </c:pt>
                <c:pt idx="841">
                  <c:v>Nurishh</c:v>
                </c:pt>
                <c:pt idx="842">
                  <c:v>All Others</c:v>
                </c:pt>
                <c:pt idx="843">
                  <c:v>All Others</c:v>
                </c:pt>
                <c:pt idx="844">
                  <c:v>All Others</c:v>
                </c:pt>
                <c:pt idx="845">
                  <c:v>All Others</c:v>
                </c:pt>
                <c:pt idx="846">
                  <c:v>All Others</c:v>
                </c:pt>
                <c:pt idx="847">
                  <c:v>Private Lab</c:v>
                </c:pt>
                <c:pt idx="848">
                  <c:v>All Others</c:v>
                </c:pt>
                <c:pt idx="849">
                  <c:v>All Others</c:v>
                </c:pt>
                <c:pt idx="850">
                  <c:v>Paysan Bret</c:v>
                </c:pt>
                <c:pt idx="851">
                  <c:v>All Others</c:v>
                </c:pt>
                <c:pt idx="852">
                  <c:v>All Others</c:v>
                </c:pt>
                <c:pt idx="853">
                  <c:v>Nurishh</c:v>
                </c:pt>
                <c:pt idx="854">
                  <c:v>Chavroux</c:v>
                </c:pt>
                <c:pt idx="855">
                  <c:v>All Others</c:v>
                </c:pt>
                <c:pt idx="856">
                  <c:v>Etorki</c:v>
                </c:pt>
                <c:pt idx="857">
                  <c:v>All Others</c:v>
                </c:pt>
                <c:pt idx="858">
                  <c:v>All Others</c:v>
                </c:pt>
                <c:pt idx="859">
                  <c:v>All Others</c:v>
                </c:pt>
                <c:pt idx="860">
                  <c:v>All Others</c:v>
                </c:pt>
                <c:pt idx="861">
                  <c:v>Societe</c:v>
                </c:pt>
                <c:pt idx="862">
                  <c:v>Violife</c:v>
                </c:pt>
                <c:pt idx="863">
                  <c:v>Entremont</c:v>
                </c:pt>
                <c:pt idx="864">
                  <c:v>Nurishh</c:v>
                </c:pt>
                <c:pt idx="865">
                  <c:v>Salakis</c:v>
                </c:pt>
                <c:pt idx="866">
                  <c:v>All Others</c:v>
                </c:pt>
                <c:pt idx="867">
                  <c:v>All Others</c:v>
                </c:pt>
                <c:pt idx="868">
                  <c:v>President</c:v>
                </c:pt>
                <c:pt idx="869">
                  <c:v>All Others</c:v>
                </c:pt>
                <c:pt idx="870">
                  <c:v>All Others</c:v>
                </c:pt>
                <c:pt idx="871">
                  <c:v>All Others</c:v>
                </c:pt>
                <c:pt idx="872">
                  <c:v>All Others</c:v>
                </c:pt>
                <c:pt idx="873">
                  <c:v>Leerdammer</c:v>
                </c:pt>
                <c:pt idx="874">
                  <c:v>All Others</c:v>
                </c:pt>
                <c:pt idx="875">
                  <c:v>All Others</c:v>
                </c:pt>
                <c:pt idx="876">
                  <c:v>Port Salut</c:v>
                </c:pt>
                <c:pt idx="877">
                  <c:v>All Others</c:v>
                </c:pt>
                <c:pt idx="878">
                  <c:v>Private Lab</c:v>
                </c:pt>
                <c:pt idx="879">
                  <c:v>All Others</c:v>
                </c:pt>
                <c:pt idx="880">
                  <c:v>All Others</c:v>
                </c:pt>
                <c:pt idx="881">
                  <c:v>Galbani</c:v>
                </c:pt>
                <c:pt idx="882">
                  <c:v>Private Lab</c:v>
                </c:pt>
                <c:pt idx="883">
                  <c:v>All Others</c:v>
                </c:pt>
                <c:pt idx="884">
                  <c:v>All Others</c:v>
                </c:pt>
                <c:pt idx="885">
                  <c:v>Tartare</c:v>
                </c:pt>
                <c:pt idx="886">
                  <c:v>All Others</c:v>
                </c:pt>
                <c:pt idx="887">
                  <c:v>Private Lab</c:v>
                </c:pt>
                <c:pt idx="888">
                  <c:v>All Others</c:v>
                </c:pt>
                <c:pt idx="889">
                  <c:v>All Others</c:v>
                </c:pt>
                <c:pt idx="890">
                  <c:v>All Others</c:v>
                </c:pt>
                <c:pt idx="891">
                  <c:v>All Others</c:v>
                </c:pt>
                <c:pt idx="892">
                  <c:v>Private Lab</c:v>
                </c:pt>
                <c:pt idx="893">
                  <c:v>All Others</c:v>
                </c:pt>
                <c:pt idx="894">
                  <c:v>Private Lab</c:v>
                </c:pt>
                <c:pt idx="895">
                  <c:v>President</c:v>
                </c:pt>
                <c:pt idx="896">
                  <c:v>All Others</c:v>
                </c:pt>
                <c:pt idx="897">
                  <c:v>Savencia: A</c:v>
                </c:pt>
                <c:pt idx="898">
                  <c:v>All Others</c:v>
                </c:pt>
                <c:pt idx="899">
                  <c:v>All Others</c:v>
                </c:pt>
                <c:pt idx="900">
                  <c:v>All Others</c:v>
                </c:pt>
                <c:pt idx="901">
                  <c:v>Private Lab</c:v>
                </c:pt>
                <c:pt idx="902">
                  <c:v>All Others</c:v>
                </c:pt>
                <c:pt idx="903">
                  <c:v>Private Lab</c:v>
                </c:pt>
                <c:pt idx="904">
                  <c:v>All Others</c:v>
                </c:pt>
                <c:pt idx="905">
                  <c:v>All Others</c:v>
                </c:pt>
                <c:pt idx="906">
                  <c:v>All Others</c:v>
                </c:pt>
                <c:pt idx="907">
                  <c:v>Private Lab</c:v>
                </c:pt>
                <c:pt idx="908">
                  <c:v>Pave D'Affi</c:v>
                </c:pt>
                <c:pt idx="909">
                  <c:v>All Others</c:v>
                </c:pt>
                <c:pt idx="910">
                  <c:v>Paysan Bret</c:v>
                </c:pt>
                <c:pt idx="911">
                  <c:v>Tartare</c:v>
                </c:pt>
                <c:pt idx="912">
                  <c:v>Private Lab</c:v>
                </c:pt>
                <c:pt idx="913">
                  <c:v>Etoile Du V</c:v>
                </c:pt>
                <c:pt idx="914">
                  <c:v>Private Lab</c:v>
                </c:pt>
                <c:pt idx="915">
                  <c:v>All Others</c:v>
                </c:pt>
                <c:pt idx="916">
                  <c:v>All Others</c:v>
                </c:pt>
                <c:pt idx="917">
                  <c:v>All Others</c:v>
                </c:pt>
                <c:pt idx="918">
                  <c:v>Leerdammer</c:v>
                </c:pt>
                <c:pt idx="919">
                  <c:v>All Others</c:v>
                </c:pt>
                <c:pt idx="920">
                  <c:v>All Others</c:v>
                </c:pt>
                <c:pt idx="921">
                  <c:v>All Others</c:v>
                </c:pt>
                <c:pt idx="922">
                  <c:v>Boursin</c:v>
                </c:pt>
                <c:pt idx="923">
                  <c:v>All Others</c:v>
                </c:pt>
                <c:pt idx="924">
                  <c:v>Lactalis: A</c:v>
                </c:pt>
                <c:pt idx="925">
                  <c:v>O'Tapas Ape</c:v>
                </c:pt>
                <c:pt idx="926">
                  <c:v>Lactalis: A</c:v>
                </c:pt>
                <c:pt idx="927">
                  <c:v>All Others</c:v>
                </c:pt>
                <c:pt idx="928">
                  <c:v>Savencia: A</c:v>
                </c:pt>
                <c:pt idx="929">
                  <c:v>Boursin</c:v>
                </c:pt>
                <c:pt idx="930">
                  <c:v>All Others</c:v>
                </c:pt>
                <c:pt idx="931">
                  <c:v>Violife</c:v>
                </c:pt>
                <c:pt idx="932">
                  <c:v>All Others</c:v>
                </c:pt>
                <c:pt idx="933">
                  <c:v>All Others</c:v>
                </c:pt>
                <c:pt idx="934">
                  <c:v>All Others</c:v>
                </c:pt>
                <c:pt idx="935">
                  <c:v>All Others</c:v>
                </c:pt>
                <c:pt idx="936">
                  <c:v>All Others</c:v>
                </c:pt>
                <c:pt idx="937">
                  <c:v>All Others</c:v>
                </c:pt>
                <c:pt idx="938">
                  <c:v>P'Tit Louis</c:v>
                </c:pt>
                <c:pt idx="939">
                  <c:v>All Others</c:v>
                </c:pt>
                <c:pt idx="940">
                  <c:v>All Others</c:v>
                </c:pt>
                <c:pt idx="941">
                  <c:v>Private Lab</c:v>
                </c:pt>
                <c:pt idx="942">
                  <c:v>Etoile Du V</c:v>
                </c:pt>
                <c:pt idx="943">
                  <c:v>Lactalis: A</c:v>
                </c:pt>
                <c:pt idx="944">
                  <c:v>All Others</c:v>
                </c:pt>
                <c:pt idx="945">
                  <c:v>All Others</c:v>
                </c:pt>
                <c:pt idx="946">
                  <c:v>Violife</c:v>
                </c:pt>
                <c:pt idx="947">
                  <c:v>All Others</c:v>
                </c:pt>
                <c:pt idx="948">
                  <c:v>All Others</c:v>
                </c:pt>
                <c:pt idx="949">
                  <c:v>All Others</c:v>
                </c:pt>
                <c:pt idx="950">
                  <c:v>Private Lab</c:v>
                </c:pt>
                <c:pt idx="951">
                  <c:v>Eurial Autr</c:v>
                </c:pt>
                <c:pt idx="952">
                  <c:v>All Others</c:v>
                </c:pt>
                <c:pt idx="953">
                  <c:v>All Others</c:v>
                </c:pt>
                <c:pt idx="954">
                  <c:v>Private Lab</c:v>
                </c:pt>
                <c:pt idx="955">
                  <c:v>All Others</c:v>
                </c:pt>
                <c:pt idx="956">
                  <c:v>Nurishh</c:v>
                </c:pt>
                <c:pt idx="957">
                  <c:v>Private Lab</c:v>
                </c:pt>
                <c:pt idx="958">
                  <c:v>All Others</c:v>
                </c:pt>
                <c:pt idx="959">
                  <c:v>All Others</c:v>
                </c:pt>
                <c:pt idx="960">
                  <c:v>All Others</c:v>
                </c:pt>
                <c:pt idx="961">
                  <c:v>All Others</c:v>
                </c:pt>
                <c:pt idx="962">
                  <c:v>Pave D'Affi</c:v>
                </c:pt>
                <c:pt idx="963">
                  <c:v>All Others</c:v>
                </c:pt>
                <c:pt idx="964">
                  <c:v>All Others</c:v>
                </c:pt>
                <c:pt idx="965">
                  <c:v>All Others</c:v>
                </c:pt>
                <c:pt idx="966">
                  <c:v>La Belle Et</c:v>
                </c:pt>
                <c:pt idx="967">
                  <c:v>All Others</c:v>
                </c:pt>
                <c:pt idx="968">
                  <c:v>Islos</c:v>
                </c:pt>
                <c:pt idx="969">
                  <c:v>All Others</c:v>
                </c:pt>
                <c:pt idx="970">
                  <c:v>Tartare</c:v>
                </c:pt>
                <c:pt idx="971">
                  <c:v>All Others</c:v>
                </c:pt>
                <c:pt idx="972">
                  <c:v>Private Lab</c:v>
                </c:pt>
                <c:pt idx="973">
                  <c:v>All Others</c:v>
                </c:pt>
                <c:pt idx="974">
                  <c:v>All Others</c:v>
                </c:pt>
                <c:pt idx="975">
                  <c:v>All Others</c:v>
                </c:pt>
                <c:pt idx="976">
                  <c:v>Etoile Du Q</c:v>
                </c:pt>
                <c:pt idx="977">
                  <c:v>All Others</c:v>
                </c:pt>
                <c:pt idx="978">
                  <c:v>All Others</c:v>
                </c:pt>
                <c:pt idx="979">
                  <c:v>All Others</c:v>
                </c:pt>
                <c:pt idx="980">
                  <c:v>All Others</c:v>
                </c:pt>
                <c:pt idx="981">
                  <c:v>O'Tapas Ape</c:v>
                </c:pt>
                <c:pt idx="982">
                  <c:v>All Others</c:v>
                </c:pt>
                <c:pt idx="983">
                  <c:v>Aperivrais</c:v>
                </c:pt>
                <c:pt idx="984">
                  <c:v>All Others</c:v>
                </c:pt>
                <c:pt idx="985">
                  <c:v>Private Lab</c:v>
                </c:pt>
                <c:pt idx="986">
                  <c:v>All Others</c:v>
                </c:pt>
                <c:pt idx="987">
                  <c:v>Lactalis: A</c:v>
                </c:pt>
                <c:pt idx="988">
                  <c:v>Le Saint Am</c:v>
                </c:pt>
                <c:pt idx="989">
                  <c:v>Lactalis: A</c:v>
                </c:pt>
                <c:pt idx="990">
                  <c:v>All Others</c:v>
                </c:pt>
                <c:pt idx="991">
                  <c:v>All Others</c:v>
                </c:pt>
                <c:pt idx="992">
                  <c:v>All Others</c:v>
                </c:pt>
                <c:pt idx="993">
                  <c:v>All Others</c:v>
                </c:pt>
                <c:pt idx="994">
                  <c:v>Boursin</c:v>
                </c:pt>
                <c:pt idx="995">
                  <c:v>Philadelphi</c:v>
                </c:pt>
                <c:pt idx="996">
                  <c:v>All Others</c:v>
                </c:pt>
                <c:pt idx="997">
                  <c:v>All Others</c:v>
                </c:pt>
                <c:pt idx="998">
                  <c:v>Triballat R</c:v>
                </c:pt>
                <c:pt idx="999">
                  <c:v>All Others</c:v>
                </c:pt>
                <c:pt idx="1000">
                  <c:v>All Others</c:v>
                </c:pt>
                <c:pt idx="1001">
                  <c:v>Savencia: A</c:v>
                </c:pt>
                <c:pt idx="1002">
                  <c:v>Le Saint Am</c:v>
                </c:pt>
                <c:pt idx="1003">
                  <c:v>All Others</c:v>
                </c:pt>
                <c:pt idx="1004">
                  <c:v>All Others</c:v>
                </c:pt>
                <c:pt idx="1005">
                  <c:v>All Others</c:v>
                </c:pt>
                <c:pt idx="1006">
                  <c:v>All Others</c:v>
                </c:pt>
                <c:pt idx="1007">
                  <c:v>All Others</c:v>
                </c:pt>
                <c:pt idx="1008">
                  <c:v>Casa Azzurr</c:v>
                </c:pt>
                <c:pt idx="1009">
                  <c:v>All Others</c:v>
                </c:pt>
                <c:pt idx="1010">
                  <c:v>All Others</c:v>
                </c:pt>
                <c:pt idx="1011">
                  <c:v>All Others</c:v>
                </c:pt>
                <c:pt idx="1012">
                  <c:v>All Others</c:v>
                </c:pt>
                <c:pt idx="1013">
                  <c:v>Lactalis: A</c:v>
                </c:pt>
                <c:pt idx="1014">
                  <c:v>All Others</c:v>
                </c:pt>
                <c:pt idx="1015">
                  <c:v>Private Lab</c:v>
                </c:pt>
                <c:pt idx="1016">
                  <c:v>Boursin</c:v>
                </c:pt>
                <c:pt idx="1017">
                  <c:v>Boursin</c:v>
                </c:pt>
                <c:pt idx="1018">
                  <c:v>All Others</c:v>
                </c:pt>
                <c:pt idx="1019">
                  <c:v>Private Lab</c:v>
                </c:pt>
                <c:pt idx="1020">
                  <c:v>All Others</c:v>
                </c:pt>
                <c:pt idx="1021">
                  <c:v>All Others</c:v>
                </c:pt>
                <c:pt idx="1022">
                  <c:v>All Others</c:v>
                </c:pt>
                <c:pt idx="1023">
                  <c:v>La Belle Et</c:v>
                </c:pt>
                <c:pt idx="1024">
                  <c:v>All Others</c:v>
                </c:pt>
                <c:pt idx="1025">
                  <c:v>All Others</c:v>
                </c:pt>
                <c:pt idx="1026">
                  <c:v>All Others</c:v>
                </c:pt>
                <c:pt idx="1027">
                  <c:v>Private Lab</c:v>
                </c:pt>
                <c:pt idx="1028">
                  <c:v>All Others</c:v>
                </c:pt>
                <c:pt idx="1029">
                  <c:v>All Others</c:v>
                </c:pt>
                <c:pt idx="1030">
                  <c:v>All Others</c:v>
                </c:pt>
                <c:pt idx="1031">
                  <c:v>Private Lab</c:v>
                </c:pt>
                <c:pt idx="1032">
                  <c:v>Parmareggio</c:v>
                </c:pt>
                <c:pt idx="1033">
                  <c:v>Private Lab</c:v>
                </c:pt>
                <c:pt idx="1034">
                  <c:v>All Others</c:v>
                </c:pt>
                <c:pt idx="1035">
                  <c:v>All Others</c:v>
                </c:pt>
                <c:pt idx="1036">
                  <c:v>Chaussee Au</c:v>
                </c:pt>
                <c:pt idx="1037">
                  <c:v>Port Salut</c:v>
                </c:pt>
                <c:pt idx="1038">
                  <c:v>Triballat N</c:v>
                </c:pt>
                <c:pt idx="1039">
                  <c:v>All Others</c:v>
                </c:pt>
                <c:pt idx="1040">
                  <c:v>All Others</c:v>
                </c:pt>
                <c:pt idx="1041">
                  <c:v>All Others</c:v>
                </c:pt>
                <c:pt idx="1042">
                  <c:v>All Others</c:v>
                </c:pt>
                <c:pt idx="1043">
                  <c:v>All Others</c:v>
                </c:pt>
                <c:pt idx="1044">
                  <c:v>All Others</c:v>
                </c:pt>
                <c:pt idx="1045">
                  <c:v>All Others</c:v>
                </c:pt>
                <c:pt idx="1046">
                  <c:v>All Others</c:v>
                </c:pt>
                <c:pt idx="1047">
                  <c:v>All Others</c:v>
                </c:pt>
                <c:pt idx="1048">
                  <c:v>All Others</c:v>
                </c:pt>
                <c:pt idx="1049">
                  <c:v>All Others</c:v>
                </c:pt>
                <c:pt idx="1050">
                  <c:v>All Others</c:v>
                </c:pt>
                <c:pt idx="1051">
                  <c:v>All Others</c:v>
                </c:pt>
                <c:pt idx="1052">
                  <c:v>All Others</c:v>
                </c:pt>
                <c:pt idx="1053">
                  <c:v>All Others</c:v>
                </c:pt>
                <c:pt idx="1054">
                  <c:v>All Others</c:v>
                </c:pt>
                <c:pt idx="1055">
                  <c:v>Etoile Du V</c:v>
                </c:pt>
                <c:pt idx="1056">
                  <c:v>Nurishh</c:v>
                </c:pt>
                <c:pt idx="1057">
                  <c:v>Fauquet</c:v>
                </c:pt>
                <c:pt idx="1058">
                  <c:v>Aperivrais</c:v>
                </c:pt>
                <c:pt idx="1059">
                  <c:v>St Moret</c:v>
                </c:pt>
                <c:pt idx="1060">
                  <c:v>All Others</c:v>
                </c:pt>
                <c:pt idx="1061">
                  <c:v>All Others</c:v>
                </c:pt>
                <c:pt idx="1062">
                  <c:v>Paysan Bret</c:v>
                </c:pt>
                <c:pt idx="1063">
                  <c:v>All Others</c:v>
                </c:pt>
                <c:pt idx="1064">
                  <c:v>Lactalis: A</c:v>
                </c:pt>
                <c:pt idx="1065">
                  <c:v>Laita: All </c:v>
                </c:pt>
                <c:pt idx="1066">
                  <c:v>All Others</c:v>
                </c:pt>
                <c:pt idx="1067">
                  <c:v>All Others</c:v>
                </c:pt>
                <c:pt idx="1068">
                  <c:v>Private Lab</c:v>
                </c:pt>
                <c:pt idx="1069">
                  <c:v>All Others</c:v>
                </c:pt>
                <c:pt idx="1070">
                  <c:v>Boursin</c:v>
                </c:pt>
                <c:pt idx="1071">
                  <c:v>All Others</c:v>
                </c:pt>
                <c:pt idx="1072">
                  <c:v>Entremont</c:v>
                </c:pt>
                <c:pt idx="1073">
                  <c:v>All Others</c:v>
                </c:pt>
                <c:pt idx="1074">
                  <c:v>All Others</c:v>
                </c:pt>
                <c:pt idx="1075">
                  <c:v>All Others</c:v>
                </c:pt>
                <c:pt idx="1076">
                  <c:v>All Others</c:v>
                </c:pt>
                <c:pt idx="1077">
                  <c:v>All Others</c:v>
                </c:pt>
                <c:pt idx="1078">
                  <c:v>All Others</c:v>
                </c:pt>
                <c:pt idx="1079">
                  <c:v>Etoile Du V</c:v>
                </c:pt>
                <c:pt idx="1080">
                  <c:v>All Others</c:v>
                </c:pt>
                <c:pt idx="1081">
                  <c:v>All Others</c:v>
                </c:pt>
                <c:pt idx="1082">
                  <c:v>All Others</c:v>
                </c:pt>
                <c:pt idx="1083">
                  <c:v>All Others</c:v>
                </c:pt>
                <c:pt idx="1084">
                  <c:v>Lactalis: A</c:v>
                </c:pt>
                <c:pt idx="1085">
                  <c:v>O'Tapas Ape</c:v>
                </c:pt>
                <c:pt idx="1086">
                  <c:v>Nurishh</c:v>
                </c:pt>
                <c:pt idx="1087">
                  <c:v>All Others</c:v>
                </c:pt>
                <c:pt idx="1088">
                  <c:v>All Others</c:v>
                </c:pt>
                <c:pt idx="1089">
                  <c:v>Private Lab</c:v>
                </c:pt>
                <c:pt idx="1090">
                  <c:v>Private Lab</c:v>
                </c:pt>
                <c:pt idx="1091">
                  <c:v>All Others</c:v>
                </c:pt>
                <c:pt idx="1092">
                  <c:v>Bresse Bleu</c:v>
                </c:pt>
                <c:pt idx="1093">
                  <c:v>Juraflore</c:v>
                </c:pt>
                <c:pt idx="1094">
                  <c:v>All Others</c:v>
                </c:pt>
                <c:pt idx="1095">
                  <c:v>All Others</c:v>
                </c:pt>
                <c:pt idx="1096">
                  <c:v>All Others</c:v>
                </c:pt>
                <c:pt idx="1097">
                  <c:v>Lactalis: A</c:v>
                </c:pt>
                <c:pt idx="1098">
                  <c:v>All Others</c:v>
                </c:pt>
                <c:pt idx="1099">
                  <c:v>All Others</c:v>
                </c:pt>
                <c:pt idx="1100">
                  <c:v>Lactalis: A</c:v>
                </c:pt>
                <c:pt idx="1101">
                  <c:v>All Others</c:v>
                </c:pt>
                <c:pt idx="1102">
                  <c:v>All Others</c:v>
                </c:pt>
                <c:pt idx="1103">
                  <c:v>All Others</c:v>
                </c:pt>
                <c:pt idx="1104">
                  <c:v>Savencia: A</c:v>
                </c:pt>
                <c:pt idx="1105">
                  <c:v>All Others</c:v>
                </c:pt>
                <c:pt idx="1106">
                  <c:v>All Others</c:v>
                </c:pt>
                <c:pt idx="1107">
                  <c:v>All Others</c:v>
                </c:pt>
                <c:pt idx="1108">
                  <c:v>All Others</c:v>
                </c:pt>
                <c:pt idx="1109">
                  <c:v>All Others</c:v>
                </c:pt>
                <c:pt idx="1110">
                  <c:v>All Others</c:v>
                </c:pt>
                <c:pt idx="1111">
                  <c:v>All Others</c:v>
                </c:pt>
                <c:pt idx="1112">
                  <c:v>Pave D'Affi</c:v>
                </c:pt>
                <c:pt idx="1113">
                  <c:v>All Others</c:v>
                </c:pt>
                <c:pt idx="1114">
                  <c:v>All Others</c:v>
                </c:pt>
                <c:pt idx="1115">
                  <c:v>All Others</c:v>
                </c:pt>
                <c:pt idx="1116">
                  <c:v>Savencia: A</c:v>
                </c:pt>
                <c:pt idx="1117">
                  <c:v>All Others</c:v>
                </c:pt>
                <c:pt idx="1118">
                  <c:v>All Others</c:v>
                </c:pt>
                <c:pt idx="1119">
                  <c:v>All Others</c:v>
                </c:pt>
                <c:pt idx="1120">
                  <c:v>All Others</c:v>
                </c:pt>
                <c:pt idx="1121">
                  <c:v>Societe</c:v>
                </c:pt>
                <c:pt idx="1122">
                  <c:v>All Others</c:v>
                </c:pt>
                <c:pt idx="1123">
                  <c:v>All Others</c:v>
                </c:pt>
                <c:pt idx="1124">
                  <c:v>La Belle Et</c:v>
                </c:pt>
                <c:pt idx="1125">
                  <c:v>All Others</c:v>
                </c:pt>
                <c:pt idx="1126">
                  <c:v>All Others</c:v>
                </c:pt>
                <c:pt idx="1127">
                  <c:v>All Others</c:v>
                </c:pt>
                <c:pt idx="1128">
                  <c:v>All Others</c:v>
                </c:pt>
                <c:pt idx="1129">
                  <c:v>All Others</c:v>
                </c:pt>
                <c:pt idx="1130">
                  <c:v>All Others</c:v>
                </c:pt>
                <c:pt idx="1131">
                  <c:v>All Others</c:v>
                </c:pt>
                <c:pt idx="1132">
                  <c:v>All Others</c:v>
                </c:pt>
                <c:pt idx="1133">
                  <c:v>Boursin</c:v>
                </c:pt>
                <c:pt idx="1134">
                  <c:v>All Others</c:v>
                </c:pt>
                <c:pt idx="1135">
                  <c:v>Lactalis: A</c:v>
                </c:pt>
                <c:pt idx="1136">
                  <c:v>All Others</c:v>
                </c:pt>
                <c:pt idx="1137">
                  <c:v>All Others</c:v>
                </c:pt>
                <c:pt idx="1138">
                  <c:v>All Others</c:v>
                </c:pt>
                <c:pt idx="1139">
                  <c:v>Private Lab</c:v>
                </c:pt>
                <c:pt idx="1140">
                  <c:v>All Others</c:v>
                </c:pt>
                <c:pt idx="1141">
                  <c:v>All Others</c:v>
                </c:pt>
                <c:pt idx="1142">
                  <c:v>All Others</c:v>
                </c:pt>
                <c:pt idx="1143">
                  <c:v>All Others</c:v>
                </c:pt>
                <c:pt idx="1144">
                  <c:v>All Others</c:v>
                </c:pt>
                <c:pt idx="1145">
                  <c:v>All Others</c:v>
                </c:pt>
                <c:pt idx="1146">
                  <c:v>All Others</c:v>
                </c:pt>
                <c:pt idx="1147">
                  <c:v>Milleret: A</c:v>
                </c:pt>
                <c:pt idx="1148">
                  <c:v>All Others</c:v>
                </c:pt>
                <c:pt idx="1149">
                  <c:v>All Others</c:v>
                </c:pt>
                <c:pt idx="1150">
                  <c:v>All Others</c:v>
                </c:pt>
                <c:pt idx="1151">
                  <c:v>All Others</c:v>
                </c:pt>
                <c:pt idx="1152">
                  <c:v>All Others</c:v>
                </c:pt>
                <c:pt idx="1153">
                  <c:v>Pochat</c:v>
                </c:pt>
                <c:pt idx="1154">
                  <c:v>All Others</c:v>
                </c:pt>
                <c:pt idx="1155">
                  <c:v>All Others</c:v>
                </c:pt>
                <c:pt idx="1156">
                  <c:v>All Others</c:v>
                </c:pt>
                <c:pt idx="1157">
                  <c:v>All Others</c:v>
                </c:pt>
                <c:pt idx="1158">
                  <c:v>All Others</c:v>
                </c:pt>
                <c:pt idx="1159">
                  <c:v>All Others</c:v>
                </c:pt>
                <c:pt idx="1160">
                  <c:v>All Others</c:v>
                </c:pt>
                <c:pt idx="1161">
                  <c:v>Apericube</c:v>
                </c:pt>
                <c:pt idx="1162">
                  <c:v>All Others</c:v>
                </c:pt>
                <c:pt idx="1163">
                  <c:v>All Others</c:v>
                </c:pt>
                <c:pt idx="1164">
                  <c:v>Private Lab</c:v>
                </c:pt>
                <c:pt idx="1165">
                  <c:v>All Others</c:v>
                </c:pt>
                <c:pt idx="1166">
                  <c:v>All Others</c:v>
                </c:pt>
                <c:pt idx="1167">
                  <c:v>All Others</c:v>
                </c:pt>
                <c:pt idx="1168">
                  <c:v>All Others</c:v>
                </c:pt>
                <c:pt idx="1169">
                  <c:v>Milleret: A</c:v>
                </c:pt>
                <c:pt idx="1170">
                  <c:v>Triballat R</c:v>
                </c:pt>
                <c:pt idx="1171">
                  <c:v>All Others</c:v>
                </c:pt>
                <c:pt idx="1172">
                  <c:v>All Others</c:v>
                </c:pt>
                <c:pt idx="1173">
                  <c:v>All Others</c:v>
                </c:pt>
                <c:pt idx="1174">
                  <c:v>All Others</c:v>
                </c:pt>
                <c:pt idx="1175">
                  <c:v>All Others</c:v>
                </c:pt>
                <c:pt idx="1176">
                  <c:v>All Others</c:v>
                </c:pt>
                <c:pt idx="1177">
                  <c:v>All Others</c:v>
                </c:pt>
                <c:pt idx="1178">
                  <c:v>All Others</c:v>
                </c:pt>
                <c:pt idx="1179">
                  <c:v>All Others</c:v>
                </c:pt>
                <c:pt idx="1180">
                  <c:v>All Others</c:v>
                </c:pt>
                <c:pt idx="1181">
                  <c:v>All Others</c:v>
                </c:pt>
                <c:pt idx="1182">
                  <c:v>Lactalis: A</c:v>
                </c:pt>
                <c:pt idx="1183">
                  <c:v>All Others</c:v>
                </c:pt>
                <c:pt idx="1184">
                  <c:v>All Others</c:v>
                </c:pt>
                <c:pt idx="1185">
                  <c:v>Istara</c:v>
                </c:pt>
                <c:pt idx="1186">
                  <c:v>All Others</c:v>
                </c:pt>
                <c:pt idx="1187">
                  <c:v>All Others</c:v>
                </c:pt>
                <c:pt idx="1188">
                  <c:v>All Others</c:v>
                </c:pt>
                <c:pt idx="1189">
                  <c:v>Private Lab</c:v>
                </c:pt>
                <c:pt idx="1190">
                  <c:v>All Others</c:v>
                </c:pt>
                <c:pt idx="1191">
                  <c:v>All Others</c:v>
                </c:pt>
                <c:pt idx="1192">
                  <c:v>All Others</c:v>
                </c:pt>
                <c:pt idx="1193">
                  <c:v>All Others</c:v>
                </c:pt>
                <c:pt idx="1194">
                  <c:v>All Others</c:v>
                </c:pt>
                <c:pt idx="1195">
                  <c:v>All Others</c:v>
                </c:pt>
                <c:pt idx="1196">
                  <c:v>Eurial Autr</c:v>
                </c:pt>
                <c:pt idx="1197">
                  <c:v>All Others</c:v>
                </c:pt>
                <c:pt idx="1198">
                  <c:v>All Others</c:v>
                </c:pt>
                <c:pt idx="1199">
                  <c:v>All Others</c:v>
                </c:pt>
                <c:pt idx="1200">
                  <c:v>All Others</c:v>
                </c:pt>
                <c:pt idx="1201">
                  <c:v>All Others</c:v>
                </c:pt>
                <c:pt idx="1202">
                  <c:v>All Others</c:v>
                </c:pt>
                <c:pt idx="1203">
                  <c:v>All Others</c:v>
                </c:pt>
                <c:pt idx="1204">
                  <c:v>All Others</c:v>
                </c:pt>
                <c:pt idx="1205">
                  <c:v>All Others</c:v>
                </c:pt>
                <c:pt idx="1206">
                  <c:v>All Others</c:v>
                </c:pt>
                <c:pt idx="1207">
                  <c:v>All Others</c:v>
                </c:pt>
                <c:pt idx="1208">
                  <c:v>All Others</c:v>
                </c:pt>
                <c:pt idx="1209">
                  <c:v>Etoile Du V</c:v>
                </c:pt>
                <c:pt idx="1210">
                  <c:v>All Others</c:v>
                </c:pt>
                <c:pt idx="1211">
                  <c:v>Private Lab</c:v>
                </c:pt>
                <c:pt idx="1212">
                  <c:v>All Others</c:v>
                </c:pt>
                <c:pt idx="1213">
                  <c:v>Paysan Bret</c:v>
                </c:pt>
                <c:pt idx="1214">
                  <c:v>All Others</c:v>
                </c:pt>
                <c:pt idx="1215">
                  <c:v>All Others</c:v>
                </c:pt>
                <c:pt idx="1216">
                  <c:v>All Others</c:v>
                </c:pt>
                <c:pt idx="1217">
                  <c:v>All Others</c:v>
                </c:pt>
                <c:pt idx="1218">
                  <c:v>Juraflore</c:v>
                </c:pt>
                <c:pt idx="1219">
                  <c:v>All Others</c:v>
                </c:pt>
                <c:pt idx="1220">
                  <c:v>All Others</c:v>
                </c:pt>
                <c:pt idx="1221">
                  <c:v>All Others</c:v>
                </c:pt>
                <c:pt idx="1222">
                  <c:v>All Others</c:v>
                </c:pt>
                <c:pt idx="1223">
                  <c:v>Raguin</c:v>
                </c:pt>
                <c:pt idx="1224">
                  <c:v>All Others</c:v>
                </c:pt>
                <c:pt idx="1225">
                  <c:v>All Others</c:v>
                </c:pt>
                <c:pt idx="1226">
                  <c:v>All Others</c:v>
                </c:pt>
                <c:pt idx="1227">
                  <c:v>All Others</c:v>
                </c:pt>
                <c:pt idx="1228">
                  <c:v>All Others</c:v>
                </c:pt>
                <c:pt idx="1229">
                  <c:v>All Others</c:v>
                </c:pt>
                <c:pt idx="1230">
                  <c:v>All Others</c:v>
                </c:pt>
                <c:pt idx="1231">
                  <c:v>All Others</c:v>
                </c:pt>
                <c:pt idx="1232">
                  <c:v>Juraflore</c:v>
                </c:pt>
                <c:pt idx="1233">
                  <c:v>All Others</c:v>
                </c:pt>
                <c:pt idx="1234">
                  <c:v>All Others</c:v>
                </c:pt>
                <c:pt idx="1235">
                  <c:v>All Others</c:v>
                </c:pt>
                <c:pt idx="1236">
                  <c:v>All Others</c:v>
                </c:pt>
                <c:pt idx="1237">
                  <c:v>All Others</c:v>
                </c:pt>
                <c:pt idx="1238">
                  <c:v>All Others</c:v>
                </c:pt>
                <c:pt idx="1239">
                  <c:v>All Others</c:v>
                </c:pt>
                <c:pt idx="1240">
                  <c:v>All Others</c:v>
                </c:pt>
                <c:pt idx="1241">
                  <c:v>All Others</c:v>
                </c:pt>
                <c:pt idx="1242">
                  <c:v>Apericube</c:v>
                </c:pt>
                <c:pt idx="1243">
                  <c:v>All Others</c:v>
                </c:pt>
                <c:pt idx="1244">
                  <c:v>All Others</c:v>
                </c:pt>
                <c:pt idx="1245">
                  <c:v>All Others</c:v>
                </c:pt>
                <c:pt idx="1246">
                  <c:v>All Others</c:v>
                </c:pt>
                <c:pt idx="1247">
                  <c:v>All Others</c:v>
                </c:pt>
                <c:pt idx="1248">
                  <c:v>Pave D'Affi</c:v>
                </c:pt>
                <c:pt idx="1249">
                  <c:v>All Others</c:v>
                </c:pt>
                <c:pt idx="1250">
                  <c:v>All Others</c:v>
                </c:pt>
                <c:pt idx="1251">
                  <c:v>Eurial Autr</c:v>
                </c:pt>
                <c:pt idx="1252">
                  <c:v>All Others</c:v>
                </c:pt>
                <c:pt idx="1253">
                  <c:v>Carre Frais</c:v>
                </c:pt>
                <c:pt idx="1254">
                  <c:v>Juraflore</c:v>
                </c:pt>
                <c:pt idx="1255">
                  <c:v>All Others</c:v>
                </c:pt>
                <c:pt idx="1256">
                  <c:v>All Others</c:v>
                </c:pt>
                <c:pt idx="1257">
                  <c:v>Private Lab</c:v>
                </c:pt>
                <c:pt idx="1258">
                  <c:v>Etoile Du V</c:v>
                </c:pt>
                <c:pt idx="1259">
                  <c:v>All Others</c:v>
                </c:pt>
                <c:pt idx="1260">
                  <c:v>All Others</c:v>
                </c:pt>
                <c:pt idx="1261">
                  <c:v>Lactalis: A</c:v>
                </c:pt>
                <c:pt idx="1262">
                  <c:v>All Others</c:v>
                </c:pt>
                <c:pt idx="1263">
                  <c:v>All Others</c:v>
                </c:pt>
                <c:pt idx="1264">
                  <c:v>Pave D'Affi</c:v>
                </c:pt>
                <c:pt idx="1265">
                  <c:v>All Others</c:v>
                </c:pt>
                <c:pt idx="1266">
                  <c:v>Private Lab</c:v>
                </c:pt>
                <c:pt idx="1267">
                  <c:v>All Others</c:v>
                </c:pt>
                <c:pt idx="1268">
                  <c:v>All Others</c:v>
                </c:pt>
                <c:pt idx="1269">
                  <c:v>All Others</c:v>
                </c:pt>
                <c:pt idx="1270">
                  <c:v>All Others</c:v>
                </c:pt>
                <c:pt idx="1271">
                  <c:v>Entremont</c:v>
                </c:pt>
                <c:pt idx="1272">
                  <c:v>All Others</c:v>
                </c:pt>
                <c:pt idx="1273">
                  <c:v>All Others</c:v>
                </c:pt>
                <c:pt idx="1274">
                  <c:v>All Others</c:v>
                </c:pt>
                <c:pt idx="1275">
                  <c:v>All Others</c:v>
                </c:pt>
                <c:pt idx="1276">
                  <c:v>All Others</c:v>
                </c:pt>
                <c:pt idx="1277">
                  <c:v>All Others</c:v>
                </c:pt>
                <c:pt idx="1278">
                  <c:v>Eurial Autr</c:v>
                </c:pt>
                <c:pt idx="1279">
                  <c:v>All Others</c:v>
                </c:pt>
                <c:pt idx="1280">
                  <c:v>All Others</c:v>
                </c:pt>
                <c:pt idx="1281">
                  <c:v>All Others</c:v>
                </c:pt>
                <c:pt idx="1282">
                  <c:v>All Others</c:v>
                </c:pt>
                <c:pt idx="1283">
                  <c:v>All Others</c:v>
                </c:pt>
                <c:pt idx="1284">
                  <c:v>Lactalis: A</c:v>
                </c:pt>
                <c:pt idx="1285">
                  <c:v>All Others</c:v>
                </c:pt>
                <c:pt idx="1286">
                  <c:v>All Others</c:v>
                </c:pt>
                <c:pt idx="1287">
                  <c:v>All Others</c:v>
                </c:pt>
                <c:pt idx="1288">
                  <c:v>All Others</c:v>
                </c:pt>
                <c:pt idx="1289">
                  <c:v>All Others</c:v>
                </c:pt>
                <c:pt idx="1290">
                  <c:v>All Others</c:v>
                </c:pt>
                <c:pt idx="1291">
                  <c:v>Apericube</c:v>
                </c:pt>
                <c:pt idx="1292">
                  <c:v>All Others</c:v>
                </c:pt>
                <c:pt idx="1293">
                  <c:v>Etoile Du V</c:v>
                </c:pt>
                <c:pt idx="1294">
                  <c:v>All Others</c:v>
                </c:pt>
                <c:pt idx="1295">
                  <c:v>All Others</c:v>
                </c:pt>
                <c:pt idx="1296">
                  <c:v>All Others</c:v>
                </c:pt>
                <c:pt idx="1297">
                  <c:v>All Others</c:v>
                </c:pt>
                <c:pt idx="1298">
                  <c:v>All Others</c:v>
                </c:pt>
                <c:pt idx="1299">
                  <c:v>Lactalis: A</c:v>
                </c:pt>
                <c:pt idx="1300">
                  <c:v>All Others</c:v>
                </c:pt>
                <c:pt idx="1301">
                  <c:v>All Others</c:v>
                </c:pt>
                <c:pt idx="1302">
                  <c:v>All Others</c:v>
                </c:pt>
                <c:pt idx="1303">
                  <c:v>Etoile Du V</c:v>
                </c:pt>
                <c:pt idx="1304">
                  <c:v>All Others</c:v>
                </c:pt>
                <c:pt idx="1305">
                  <c:v>Casa Azzurr</c:v>
                </c:pt>
                <c:pt idx="1306">
                  <c:v>All Others</c:v>
                </c:pt>
                <c:pt idx="1307">
                  <c:v>All Others</c:v>
                </c:pt>
                <c:pt idx="1308">
                  <c:v>Societe</c:v>
                </c:pt>
                <c:pt idx="1309">
                  <c:v>All Others</c:v>
                </c:pt>
                <c:pt idx="1310">
                  <c:v>All Others</c:v>
                </c:pt>
                <c:pt idx="1311">
                  <c:v>Pave D'Affi</c:v>
                </c:pt>
                <c:pt idx="1312">
                  <c:v>All Others</c:v>
                </c:pt>
                <c:pt idx="1313">
                  <c:v>All Others</c:v>
                </c:pt>
                <c:pt idx="1314">
                  <c:v>All Others</c:v>
                </c:pt>
                <c:pt idx="1315">
                  <c:v>L'Ortolan</c:v>
                </c:pt>
                <c:pt idx="1316">
                  <c:v>All Others</c:v>
                </c:pt>
                <c:pt idx="1317">
                  <c:v>All Others</c:v>
                </c:pt>
                <c:pt idx="1318">
                  <c:v>Mini Babybe</c:v>
                </c:pt>
                <c:pt idx="1319">
                  <c:v>Eurial Autr</c:v>
                </c:pt>
                <c:pt idx="1320">
                  <c:v>All Others</c:v>
                </c:pt>
                <c:pt idx="1321">
                  <c:v>All Others</c:v>
                </c:pt>
                <c:pt idx="1322">
                  <c:v>All Others</c:v>
                </c:pt>
                <c:pt idx="1323">
                  <c:v>Raguin</c:v>
                </c:pt>
                <c:pt idx="1324">
                  <c:v>All Others</c:v>
                </c:pt>
                <c:pt idx="1325">
                  <c:v>All Others</c:v>
                </c:pt>
                <c:pt idx="1326">
                  <c:v>All Others</c:v>
                </c:pt>
                <c:pt idx="1327">
                  <c:v>All Others</c:v>
                </c:pt>
                <c:pt idx="1328">
                  <c:v>All Others</c:v>
                </c:pt>
                <c:pt idx="1329">
                  <c:v>All Others</c:v>
                </c:pt>
                <c:pt idx="1330">
                  <c:v>All Others</c:v>
                </c:pt>
                <c:pt idx="1331">
                  <c:v>All Others</c:v>
                </c:pt>
                <c:pt idx="1332">
                  <c:v>All Others</c:v>
                </c:pt>
                <c:pt idx="1333">
                  <c:v>All Others</c:v>
                </c:pt>
                <c:pt idx="1334">
                  <c:v>All Others</c:v>
                </c:pt>
                <c:pt idx="1335">
                  <c:v>All Others</c:v>
                </c:pt>
                <c:pt idx="1336">
                  <c:v>La Belle Et</c:v>
                </c:pt>
                <c:pt idx="1337">
                  <c:v>Triballat N</c:v>
                </c:pt>
                <c:pt idx="1338">
                  <c:v>All Others</c:v>
                </c:pt>
                <c:pt idx="1339">
                  <c:v>All Others</c:v>
                </c:pt>
                <c:pt idx="1340">
                  <c:v>All Others</c:v>
                </c:pt>
                <c:pt idx="1341">
                  <c:v>All Others</c:v>
                </c:pt>
                <c:pt idx="1342">
                  <c:v>Pochat</c:v>
                </c:pt>
                <c:pt idx="1343">
                  <c:v>All Others</c:v>
                </c:pt>
                <c:pt idx="1344">
                  <c:v>All Others</c:v>
                </c:pt>
                <c:pt idx="1345">
                  <c:v>All Others</c:v>
                </c:pt>
                <c:pt idx="1346">
                  <c:v>All Others</c:v>
                </c:pt>
                <c:pt idx="1347">
                  <c:v>All Others</c:v>
                </c:pt>
                <c:pt idx="1348">
                  <c:v>Lactalis: A</c:v>
                </c:pt>
                <c:pt idx="1349">
                  <c:v>All Others</c:v>
                </c:pt>
                <c:pt idx="1350">
                  <c:v>All Others</c:v>
                </c:pt>
                <c:pt idx="1351">
                  <c:v>All Others</c:v>
                </c:pt>
                <c:pt idx="1352">
                  <c:v>All Others</c:v>
                </c:pt>
                <c:pt idx="1353">
                  <c:v>All Others</c:v>
                </c:pt>
                <c:pt idx="1354">
                  <c:v>All Others</c:v>
                </c:pt>
                <c:pt idx="1355">
                  <c:v>All Others</c:v>
                </c:pt>
                <c:pt idx="1356">
                  <c:v>Lactalis: A</c:v>
                </c:pt>
                <c:pt idx="1357">
                  <c:v>All Others</c:v>
                </c:pt>
                <c:pt idx="1358">
                  <c:v>Private Lab</c:v>
                </c:pt>
                <c:pt idx="1359">
                  <c:v>All Others</c:v>
                </c:pt>
                <c:pt idx="1360">
                  <c:v>All Others</c:v>
                </c:pt>
                <c:pt idx="1361">
                  <c:v>All Others</c:v>
                </c:pt>
                <c:pt idx="1362">
                  <c:v>Nurishh</c:v>
                </c:pt>
                <c:pt idx="1363">
                  <c:v>All Others</c:v>
                </c:pt>
                <c:pt idx="1364">
                  <c:v>Eurial Autr</c:v>
                </c:pt>
                <c:pt idx="1365">
                  <c:v>Triballat R</c:v>
                </c:pt>
                <c:pt idx="1366">
                  <c:v>All Others</c:v>
                </c:pt>
                <c:pt idx="1367">
                  <c:v>All Others</c:v>
                </c:pt>
                <c:pt idx="1368">
                  <c:v>All Others</c:v>
                </c:pt>
                <c:pt idx="1369">
                  <c:v>All Others</c:v>
                </c:pt>
                <c:pt idx="1370">
                  <c:v>All Others</c:v>
                </c:pt>
                <c:pt idx="1371">
                  <c:v>All Others</c:v>
                </c:pt>
                <c:pt idx="1372">
                  <c:v>All Others</c:v>
                </c:pt>
                <c:pt idx="1373">
                  <c:v>All Others</c:v>
                </c:pt>
                <c:pt idx="1374">
                  <c:v>All Others</c:v>
                </c:pt>
                <c:pt idx="1375">
                  <c:v>All Others</c:v>
                </c:pt>
                <c:pt idx="1376">
                  <c:v>Lactalis: A</c:v>
                </c:pt>
                <c:pt idx="1377">
                  <c:v>All Others</c:v>
                </c:pt>
                <c:pt idx="1378">
                  <c:v>All Others</c:v>
                </c:pt>
                <c:pt idx="1379">
                  <c:v>All Others</c:v>
                </c:pt>
                <c:pt idx="1380">
                  <c:v>All Others</c:v>
                </c:pt>
                <c:pt idx="1381">
                  <c:v>All Others</c:v>
                </c:pt>
                <c:pt idx="1382">
                  <c:v>Private Lab</c:v>
                </c:pt>
                <c:pt idx="1383">
                  <c:v>All Others</c:v>
                </c:pt>
                <c:pt idx="1384">
                  <c:v>All Others</c:v>
                </c:pt>
                <c:pt idx="1385">
                  <c:v>La Belle Et</c:v>
                </c:pt>
                <c:pt idx="1386">
                  <c:v>All Others</c:v>
                </c:pt>
                <c:pt idx="1387">
                  <c:v>All Others</c:v>
                </c:pt>
                <c:pt idx="1388">
                  <c:v>All Others</c:v>
                </c:pt>
                <c:pt idx="1389">
                  <c:v>All Others</c:v>
                </c:pt>
                <c:pt idx="1390">
                  <c:v>All Others</c:v>
                </c:pt>
                <c:pt idx="1391">
                  <c:v>All Others</c:v>
                </c:pt>
                <c:pt idx="1392">
                  <c:v>All Others</c:v>
                </c:pt>
                <c:pt idx="1393">
                  <c:v>All Others</c:v>
                </c:pt>
                <c:pt idx="1394">
                  <c:v>Lactalis: A</c:v>
                </c:pt>
                <c:pt idx="1395">
                  <c:v>All Others</c:v>
                </c:pt>
                <c:pt idx="1396">
                  <c:v>All Others</c:v>
                </c:pt>
                <c:pt idx="1397">
                  <c:v>All Others</c:v>
                </c:pt>
                <c:pt idx="1398">
                  <c:v>All Others</c:v>
                </c:pt>
                <c:pt idx="1399">
                  <c:v>All Others</c:v>
                </c:pt>
                <c:pt idx="1400">
                  <c:v>All Others</c:v>
                </c:pt>
                <c:pt idx="1401">
                  <c:v>All Others</c:v>
                </c:pt>
                <c:pt idx="1402">
                  <c:v>All Others</c:v>
                </c:pt>
                <c:pt idx="1403">
                  <c:v>All Others</c:v>
                </c:pt>
                <c:pt idx="1404">
                  <c:v>All Others</c:v>
                </c:pt>
                <c:pt idx="1405">
                  <c:v>Etoile Du Q</c:v>
                </c:pt>
                <c:pt idx="1406">
                  <c:v>All Others</c:v>
                </c:pt>
                <c:pt idx="1407">
                  <c:v>All Others</c:v>
                </c:pt>
                <c:pt idx="1408">
                  <c:v>All Others</c:v>
                </c:pt>
                <c:pt idx="1409">
                  <c:v>All Others</c:v>
                </c:pt>
                <c:pt idx="1410">
                  <c:v>All Others</c:v>
                </c:pt>
                <c:pt idx="1411">
                  <c:v>All Others</c:v>
                </c:pt>
                <c:pt idx="1412">
                  <c:v>All Others</c:v>
                </c:pt>
                <c:pt idx="1413">
                  <c:v>All Others</c:v>
                </c:pt>
                <c:pt idx="1414">
                  <c:v>La Belle Et</c:v>
                </c:pt>
                <c:pt idx="1415">
                  <c:v>Eurial Autr</c:v>
                </c:pt>
                <c:pt idx="1416">
                  <c:v>All Others</c:v>
                </c:pt>
                <c:pt idx="1417">
                  <c:v>All Others</c:v>
                </c:pt>
                <c:pt idx="1418">
                  <c:v>Etoile Du V</c:v>
                </c:pt>
                <c:pt idx="1419">
                  <c:v>Pochat</c:v>
                </c:pt>
                <c:pt idx="1420">
                  <c:v>Nurishh</c:v>
                </c:pt>
                <c:pt idx="1421">
                  <c:v>All Others</c:v>
                </c:pt>
                <c:pt idx="1422">
                  <c:v>Eurial Autr</c:v>
                </c:pt>
                <c:pt idx="1423">
                  <c:v>All Others</c:v>
                </c:pt>
                <c:pt idx="1424">
                  <c:v>All Others</c:v>
                </c:pt>
                <c:pt idx="1425">
                  <c:v>All Others</c:v>
                </c:pt>
                <c:pt idx="1426">
                  <c:v>All Others</c:v>
                </c:pt>
                <c:pt idx="1427">
                  <c:v>All Others</c:v>
                </c:pt>
                <c:pt idx="1428">
                  <c:v>Private Lab</c:v>
                </c:pt>
                <c:pt idx="1429">
                  <c:v>Soignon</c:v>
                </c:pt>
                <c:pt idx="1430">
                  <c:v>All Others</c:v>
                </c:pt>
                <c:pt idx="1431">
                  <c:v>All Others</c:v>
                </c:pt>
                <c:pt idx="1432">
                  <c:v>All Others</c:v>
                </c:pt>
                <c:pt idx="1433">
                  <c:v>All Others</c:v>
                </c:pt>
                <c:pt idx="1434">
                  <c:v>Private Lab</c:v>
                </c:pt>
                <c:pt idx="1435">
                  <c:v>All Others</c:v>
                </c:pt>
                <c:pt idx="1436">
                  <c:v>All Others</c:v>
                </c:pt>
                <c:pt idx="1437">
                  <c:v>All Others</c:v>
                </c:pt>
                <c:pt idx="1438">
                  <c:v>All Others</c:v>
                </c:pt>
                <c:pt idx="1439">
                  <c:v>La Belle Et</c:v>
                </c:pt>
                <c:pt idx="1440">
                  <c:v>All Others</c:v>
                </c:pt>
                <c:pt idx="1441">
                  <c:v>All Others</c:v>
                </c:pt>
                <c:pt idx="1442">
                  <c:v>All Others</c:v>
                </c:pt>
                <c:pt idx="1443">
                  <c:v>La Belle Et</c:v>
                </c:pt>
                <c:pt idx="1444">
                  <c:v>All Others</c:v>
                </c:pt>
                <c:pt idx="1445">
                  <c:v>All Others</c:v>
                </c:pt>
                <c:pt idx="1446">
                  <c:v>All Others</c:v>
                </c:pt>
                <c:pt idx="1447">
                  <c:v>All Others</c:v>
                </c:pt>
                <c:pt idx="1448">
                  <c:v>All Others</c:v>
                </c:pt>
                <c:pt idx="1449">
                  <c:v>All Others</c:v>
                </c:pt>
                <c:pt idx="1450">
                  <c:v>All Others</c:v>
                </c:pt>
                <c:pt idx="1451">
                  <c:v>All Others</c:v>
                </c:pt>
                <c:pt idx="1452">
                  <c:v>All Others</c:v>
                </c:pt>
                <c:pt idx="1453">
                  <c:v>All Others</c:v>
                </c:pt>
                <c:pt idx="1454">
                  <c:v>All Others</c:v>
                </c:pt>
                <c:pt idx="1455">
                  <c:v>All Others</c:v>
                </c:pt>
                <c:pt idx="1456">
                  <c:v>All Others</c:v>
                </c:pt>
                <c:pt idx="1457">
                  <c:v>All Others</c:v>
                </c:pt>
                <c:pt idx="1458">
                  <c:v>Lactalis: A</c:v>
                </c:pt>
                <c:pt idx="1459">
                  <c:v>All Others</c:v>
                </c:pt>
                <c:pt idx="1460">
                  <c:v>Paysan Bret</c:v>
                </c:pt>
                <c:pt idx="1461">
                  <c:v>All Others</c:v>
                </c:pt>
                <c:pt idx="1462">
                  <c:v>All Others</c:v>
                </c:pt>
                <c:pt idx="1463">
                  <c:v>All Others</c:v>
                </c:pt>
                <c:pt idx="1464">
                  <c:v>All Others</c:v>
                </c:pt>
                <c:pt idx="1465">
                  <c:v>All Others</c:v>
                </c:pt>
                <c:pt idx="1466">
                  <c:v>Etoile Du V</c:v>
                </c:pt>
                <c:pt idx="1467">
                  <c:v>All Others</c:v>
                </c:pt>
                <c:pt idx="1468">
                  <c:v>All Others</c:v>
                </c:pt>
                <c:pt idx="1469">
                  <c:v>All Others</c:v>
                </c:pt>
                <c:pt idx="1470">
                  <c:v>All Others</c:v>
                </c:pt>
                <c:pt idx="1471">
                  <c:v>All Others</c:v>
                </c:pt>
                <c:pt idx="1472">
                  <c:v>Nurishh</c:v>
                </c:pt>
                <c:pt idx="1473">
                  <c:v>All Others</c:v>
                </c:pt>
                <c:pt idx="1474">
                  <c:v>Private Lab</c:v>
                </c:pt>
                <c:pt idx="1475">
                  <c:v>All Others</c:v>
                </c:pt>
                <c:pt idx="1476">
                  <c:v>Private Lab</c:v>
                </c:pt>
                <c:pt idx="1477">
                  <c:v>All Others</c:v>
                </c:pt>
                <c:pt idx="1478">
                  <c:v>All Others</c:v>
                </c:pt>
                <c:pt idx="1479">
                  <c:v>All Others</c:v>
                </c:pt>
                <c:pt idx="1480">
                  <c:v>All Others</c:v>
                </c:pt>
                <c:pt idx="1481">
                  <c:v>Private Lab</c:v>
                </c:pt>
                <c:pt idx="1482">
                  <c:v>All Others</c:v>
                </c:pt>
                <c:pt idx="1483">
                  <c:v>All Others</c:v>
                </c:pt>
                <c:pt idx="1484">
                  <c:v>All Others</c:v>
                </c:pt>
                <c:pt idx="1485">
                  <c:v>All Others</c:v>
                </c:pt>
                <c:pt idx="1486">
                  <c:v>La Belle Et</c:v>
                </c:pt>
                <c:pt idx="1487">
                  <c:v>All Others</c:v>
                </c:pt>
                <c:pt idx="1488">
                  <c:v>Lactalis: A</c:v>
                </c:pt>
                <c:pt idx="1489">
                  <c:v>All Others</c:v>
                </c:pt>
                <c:pt idx="1490">
                  <c:v>All Others</c:v>
                </c:pt>
                <c:pt idx="1491">
                  <c:v>Lou Perac</c:v>
                </c:pt>
                <c:pt idx="1492">
                  <c:v>All Others</c:v>
                </c:pt>
                <c:pt idx="1493">
                  <c:v>All Others</c:v>
                </c:pt>
                <c:pt idx="1494">
                  <c:v>All Others</c:v>
                </c:pt>
                <c:pt idx="1495">
                  <c:v>Private Lab</c:v>
                </c:pt>
                <c:pt idx="1496">
                  <c:v>All Others</c:v>
                </c:pt>
                <c:pt idx="1497">
                  <c:v>Etoile Du V</c:v>
                </c:pt>
                <c:pt idx="1498">
                  <c:v>All Others</c:v>
                </c:pt>
                <c:pt idx="1499">
                  <c:v>All Others</c:v>
                </c:pt>
                <c:pt idx="1500">
                  <c:v>All Others</c:v>
                </c:pt>
                <c:pt idx="1501">
                  <c:v>All Others</c:v>
                </c:pt>
                <c:pt idx="1502">
                  <c:v>All Others</c:v>
                </c:pt>
                <c:pt idx="1503">
                  <c:v>All Others</c:v>
                </c:pt>
                <c:pt idx="1504">
                  <c:v>All Others</c:v>
                </c:pt>
                <c:pt idx="1505">
                  <c:v>All Others</c:v>
                </c:pt>
                <c:pt idx="1506">
                  <c:v>All Others</c:v>
                </c:pt>
                <c:pt idx="1507">
                  <c:v>Savencia: A</c:v>
                </c:pt>
                <c:pt idx="1508">
                  <c:v>All Others</c:v>
                </c:pt>
                <c:pt idx="1509">
                  <c:v>All Others</c:v>
                </c:pt>
                <c:pt idx="1510">
                  <c:v>All Others</c:v>
                </c:pt>
                <c:pt idx="1511">
                  <c:v>All Others</c:v>
                </c:pt>
                <c:pt idx="1512">
                  <c:v>All Others</c:v>
                </c:pt>
                <c:pt idx="1513">
                  <c:v>All Others</c:v>
                </c:pt>
                <c:pt idx="1514">
                  <c:v>All Others</c:v>
                </c:pt>
                <c:pt idx="1515">
                  <c:v>All Others</c:v>
                </c:pt>
                <c:pt idx="1516">
                  <c:v>All Others</c:v>
                </c:pt>
                <c:pt idx="1517">
                  <c:v>All Others</c:v>
                </c:pt>
                <c:pt idx="1518">
                  <c:v>All Others</c:v>
                </c:pt>
                <c:pt idx="1519">
                  <c:v>La Belle Et</c:v>
                </c:pt>
                <c:pt idx="1520">
                  <c:v>Pochat</c:v>
                </c:pt>
                <c:pt idx="1521">
                  <c:v>All Others</c:v>
                </c:pt>
                <c:pt idx="1522">
                  <c:v>Raguin</c:v>
                </c:pt>
                <c:pt idx="1523">
                  <c:v>All Others</c:v>
                </c:pt>
                <c:pt idx="1524">
                  <c:v>All Others</c:v>
                </c:pt>
                <c:pt idx="1525">
                  <c:v>Lactalis: A</c:v>
                </c:pt>
                <c:pt idx="1526">
                  <c:v>Etoile Du V</c:v>
                </c:pt>
                <c:pt idx="1527">
                  <c:v>All Others</c:v>
                </c:pt>
                <c:pt idx="1528">
                  <c:v>All Others</c:v>
                </c:pt>
                <c:pt idx="1529">
                  <c:v>All Others</c:v>
                </c:pt>
                <c:pt idx="1530">
                  <c:v>All Others</c:v>
                </c:pt>
                <c:pt idx="1531">
                  <c:v>All Others</c:v>
                </c:pt>
                <c:pt idx="1532">
                  <c:v>All Others</c:v>
                </c:pt>
                <c:pt idx="1533">
                  <c:v>All Others</c:v>
                </c:pt>
                <c:pt idx="1534">
                  <c:v>All Others</c:v>
                </c:pt>
                <c:pt idx="1535">
                  <c:v>All Others</c:v>
                </c:pt>
                <c:pt idx="1536">
                  <c:v>All Others</c:v>
                </c:pt>
                <c:pt idx="1537">
                  <c:v>All Others</c:v>
                </c:pt>
                <c:pt idx="1538">
                  <c:v>La Belle Et</c:v>
                </c:pt>
                <c:pt idx="1539">
                  <c:v>All Others</c:v>
                </c:pt>
                <c:pt idx="1540">
                  <c:v>All Others</c:v>
                </c:pt>
                <c:pt idx="1541">
                  <c:v>All Others</c:v>
                </c:pt>
                <c:pt idx="1542">
                  <c:v>All Others</c:v>
                </c:pt>
                <c:pt idx="1543">
                  <c:v>All Others</c:v>
                </c:pt>
                <c:pt idx="1544">
                  <c:v>All Others</c:v>
                </c:pt>
                <c:pt idx="1545">
                  <c:v>Boursin</c:v>
                </c:pt>
                <c:pt idx="1546">
                  <c:v>All Others</c:v>
                </c:pt>
                <c:pt idx="1547">
                  <c:v>All Others</c:v>
                </c:pt>
                <c:pt idx="1548">
                  <c:v>All Others</c:v>
                </c:pt>
                <c:pt idx="1549">
                  <c:v>All Others</c:v>
                </c:pt>
                <c:pt idx="1550">
                  <c:v>Savencia: A</c:v>
                </c:pt>
                <c:pt idx="1551">
                  <c:v>All Others</c:v>
                </c:pt>
                <c:pt idx="1552">
                  <c:v>Societe</c:v>
                </c:pt>
                <c:pt idx="1553">
                  <c:v>All Others</c:v>
                </c:pt>
                <c:pt idx="1554">
                  <c:v>All Others</c:v>
                </c:pt>
                <c:pt idx="1555">
                  <c:v>All Others</c:v>
                </c:pt>
                <c:pt idx="1556">
                  <c:v>Pochat</c:v>
                </c:pt>
                <c:pt idx="1557">
                  <c:v>All Others</c:v>
                </c:pt>
                <c:pt idx="1558">
                  <c:v>All Others</c:v>
                </c:pt>
                <c:pt idx="1559">
                  <c:v>La Belle Et</c:v>
                </c:pt>
                <c:pt idx="1560">
                  <c:v>La Belle Et</c:v>
                </c:pt>
                <c:pt idx="1561">
                  <c:v>All Others</c:v>
                </c:pt>
                <c:pt idx="1562">
                  <c:v>Private Lab</c:v>
                </c:pt>
                <c:pt idx="1563">
                  <c:v>All Others</c:v>
                </c:pt>
                <c:pt idx="1564">
                  <c:v>All Others</c:v>
                </c:pt>
                <c:pt idx="1565">
                  <c:v>All Others</c:v>
                </c:pt>
                <c:pt idx="1566">
                  <c:v>Lactalis: A</c:v>
                </c:pt>
                <c:pt idx="1567">
                  <c:v>Private Lab</c:v>
                </c:pt>
                <c:pt idx="1568">
                  <c:v>Pave D'Affi</c:v>
                </c:pt>
                <c:pt idx="1569">
                  <c:v>All Others</c:v>
                </c:pt>
                <c:pt idx="1570">
                  <c:v>Etoile Du V</c:v>
                </c:pt>
                <c:pt idx="1571">
                  <c:v>All Others</c:v>
                </c:pt>
                <c:pt idx="1572">
                  <c:v>All Others</c:v>
                </c:pt>
                <c:pt idx="1573">
                  <c:v>All Others</c:v>
                </c:pt>
                <c:pt idx="1574">
                  <c:v>Etoile Du V</c:v>
                </c:pt>
                <c:pt idx="1575">
                  <c:v>All Others</c:v>
                </c:pt>
                <c:pt idx="1576">
                  <c:v>All Others</c:v>
                </c:pt>
                <c:pt idx="1577">
                  <c:v>All Others</c:v>
                </c:pt>
                <c:pt idx="1578">
                  <c:v>All Others</c:v>
                </c:pt>
                <c:pt idx="1579">
                  <c:v>All Others</c:v>
                </c:pt>
                <c:pt idx="1580">
                  <c:v>All Others</c:v>
                </c:pt>
                <c:pt idx="1581">
                  <c:v>All Others</c:v>
                </c:pt>
                <c:pt idx="1582">
                  <c:v>All Others</c:v>
                </c:pt>
                <c:pt idx="1583">
                  <c:v>La Belle Et</c:v>
                </c:pt>
                <c:pt idx="1584">
                  <c:v>All Others</c:v>
                </c:pt>
                <c:pt idx="1585">
                  <c:v>La Belle Et</c:v>
                </c:pt>
                <c:pt idx="1586">
                  <c:v>All Others</c:v>
                </c:pt>
                <c:pt idx="1587">
                  <c:v>All Others</c:v>
                </c:pt>
                <c:pt idx="1588">
                  <c:v>All Others</c:v>
                </c:pt>
                <c:pt idx="1589">
                  <c:v>All Others</c:v>
                </c:pt>
                <c:pt idx="1590">
                  <c:v>All Others</c:v>
                </c:pt>
                <c:pt idx="1591">
                  <c:v>All Others</c:v>
                </c:pt>
                <c:pt idx="1592">
                  <c:v>All Others</c:v>
                </c:pt>
                <c:pt idx="1593">
                  <c:v>All Others</c:v>
                </c:pt>
                <c:pt idx="1594">
                  <c:v>All Others</c:v>
                </c:pt>
                <c:pt idx="1595">
                  <c:v>All Others</c:v>
                </c:pt>
                <c:pt idx="1596">
                  <c:v>Savencia: A</c:v>
                </c:pt>
                <c:pt idx="1597">
                  <c:v>Apericube</c:v>
                </c:pt>
                <c:pt idx="1598">
                  <c:v>All Others</c:v>
                </c:pt>
                <c:pt idx="1599">
                  <c:v>Lactalis: A</c:v>
                </c:pt>
                <c:pt idx="1600">
                  <c:v>All Others</c:v>
                </c:pt>
                <c:pt idx="1601">
                  <c:v>All Others</c:v>
                </c:pt>
                <c:pt idx="1602">
                  <c:v>All Others</c:v>
                </c:pt>
                <c:pt idx="1603">
                  <c:v>All Others</c:v>
                </c:pt>
                <c:pt idx="1604">
                  <c:v>All Others</c:v>
                </c:pt>
                <c:pt idx="1605">
                  <c:v>All Others</c:v>
                </c:pt>
                <c:pt idx="1606">
                  <c:v>All Others</c:v>
                </c:pt>
                <c:pt idx="1607">
                  <c:v>All Others</c:v>
                </c:pt>
                <c:pt idx="1608">
                  <c:v>All Others</c:v>
                </c:pt>
                <c:pt idx="1609">
                  <c:v>All Others</c:v>
                </c:pt>
                <c:pt idx="1610">
                  <c:v>All Others</c:v>
                </c:pt>
                <c:pt idx="1611">
                  <c:v>All Others</c:v>
                </c:pt>
                <c:pt idx="1612">
                  <c:v>All Others</c:v>
                </c:pt>
                <c:pt idx="1613">
                  <c:v>All Others</c:v>
                </c:pt>
                <c:pt idx="1614">
                  <c:v>All Others</c:v>
                </c:pt>
                <c:pt idx="1615">
                  <c:v>All Others</c:v>
                </c:pt>
                <c:pt idx="1616">
                  <c:v>All Others</c:v>
                </c:pt>
                <c:pt idx="1617">
                  <c:v>All Others</c:v>
                </c:pt>
                <c:pt idx="1618">
                  <c:v>All Others</c:v>
                </c:pt>
                <c:pt idx="1619">
                  <c:v>All Others</c:v>
                </c:pt>
                <c:pt idx="1620">
                  <c:v>All Others</c:v>
                </c:pt>
                <c:pt idx="1621">
                  <c:v>All Others</c:v>
                </c:pt>
                <c:pt idx="1622">
                  <c:v>All Others</c:v>
                </c:pt>
                <c:pt idx="1623">
                  <c:v>All Others</c:v>
                </c:pt>
                <c:pt idx="1624">
                  <c:v>All Others</c:v>
                </c:pt>
                <c:pt idx="1625">
                  <c:v>All Others</c:v>
                </c:pt>
                <c:pt idx="1626">
                  <c:v>All Others</c:v>
                </c:pt>
                <c:pt idx="1627">
                  <c:v>All Others</c:v>
                </c:pt>
                <c:pt idx="1628">
                  <c:v>All Others</c:v>
                </c:pt>
                <c:pt idx="1629">
                  <c:v>All Others</c:v>
                </c:pt>
                <c:pt idx="1630">
                  <c:v>All Others</c:v>
                </c:pt>
                <c:pt idx="1631">
                  <c:v>All Others</c:v>
                </c:pt>
                <c:pt idx="1632">
                  <c:v>All Others</c:v>
                </c:pt>
                <c:pt idx="1633">
                  <c:v>Pave D'Affi</c:v>
                </c:pt>
                <c:pt idx="1634">
                  <c:v>All Others</c:v>
                </c:pt>
                <c:pt idx="1635">
                  <c:v>All Others</c:v>
                </c:pt>
                <c:pt idx="1636">
                  <c:v>All Others</c:v>
                </c:pt>
                <c:pt idx="1637">
                  <c:v>All Others</c:v>
                </c:pt>
                <c:pt idx="1638">
                  <c:v>All Others</c:v>
                </c:pt>
                <c:pt idx="1639">
                  <c:v>All Others</c:v>
                </c:pt>
                <c:pt idx="1640">
                  <c:v>All Others</c:v>
                </c:pt>
                <c:pt idx="1641">
                  <c:v>All Others</c:v>
                </c:pt>
                <c:pt idx="1642">
                  <c:v>All Others</c:v>
                </c:pt>
                <c:pt idx="1643">
                  <c:v>Leerdammer</c:v>
                </c:pt>
                <c:pt idx="1644">
                  <c:v>All Others</c:v>
                </c:pt>
                <c:pt idx="1645">
                  <c:v>All Others</c:v>
                </c:pt>
                <c:pt idx="1646">
                  <c:v>All Others</c:v>
                </c:pt>
                <c:pt idx="1647">
                  <c:v>Kiri</c:v>
                </c:pt>
                <c:pt idx="1648">
                  <c:v>All Others</c:v>
                </c:pt>
                <c:pt idx="1649">
                  <c:v>All Others</c:v>
                </c:pt>
                <c:pt idx="1650">
                  <c:v>All Others</c:v>
                </c:pt>
                <c:pt idx="1651">
                  <c:v>All Others</c:v>
                </c:pt>
                <c:pt idx="1652">
                  <c:v>All Others</c:v>
                </c:pt>
                <c:pt idx="1653">
                  <c:v>All Others</c:v>
                </c:pt>
                <c:pt idx="1654">
                  <c:v>All Others</c:v>
                </c:pt>
                <c:pt idx="1655">
                  <c:v>All Others</c:v>
                </c:pt>
                <c:pt idx="1656">
                  <c:v>All Others</c:v>
                </c:pt>
                <c:pt idx="1657">
                  <c:v>Private Lab</c:v>
                </c:pt>
                <c:pt idx="1658">
                  <c:v>All Others</c:v>
                </c:pt>
                <c:pt idx="1659">
                  <c:v>All Others</c:v>
                </c:pt>
                <c:pt idx="1660">
                  <c:v>All Others</c:v>
                </c:pt>
                <c:pt idx="1661">
                  <c:v>All Others</c:v>
                </c:pt>
                <c:pt idx="1662">
                  <c:v>All Others</c:v>
                </c:pt>
                <c:pt idx="1663">
                  <c:v>All Others</c:v>
                </c:pt>
                <c:pt idx="1664">
                  <c:v>All Others</c:v>
                </c:pt>
                <c:pt idx="1665">
                  <c:v>All Others</c:v>
                </c:pt>
                <c:pt idx="1666">
                  <c:v>All Others</c:v>
                </c:pt>
                <c:pt idx="1667">
                  <c:v>All Others</c:v>
                </c:pt>
                <c:pt idx="1668">
                  <c:v>All Others</c:v>
                </c:pt>
                <c:pt idx="1669">
                  <c:v>All Others</c:v>
                </c:pt>
                <c:pt idx="1670">
                  <c:v>All Others</c:v>
                </c:pt>
                <c:pt idx="1671">
                  <c:v>All Others</c:v>
                </c:pt>
                <c:pt idx="1672">
                  <c:v>All Others</c:v>
                </c:pt>
                <c:pt idx="1673">
                  <c:v>All Others</c:v>
                </c:pt>
                <c:pt idx="1674">
                  <c:v>All Others</c:v>
                </c:pt>
                <c:pt idx="1675">
                  <c:v>All Others</c:v>
                </c:pt>
                <c:pt idx="1676">
                  <c:v>All Others</c:v>
                </c:pt>
                <c:pt idx="1677">
                  <c:v>All Others</c:v>
                </c:pt>
                <c:pt idx="1678">
                  <c:v>All Others</c:v>
                </c:pt>
                <c:pt idx="1679">
                  <c:v>All Others</c:v>
                </c:pt>
                <c:pt idx="1680">
                  <c:v>All Others</c:v>
                </c:pt>
                <c:pt idx="1681">
                  <c:v>All Others</c:v>
                </c:pt>
                <c:pt idx="1682">
                  <c:v>All Others</c:v>
                </c:pt>
                <c:pt idx="1683">
                  <c:v>Savencia: A</c:v>
                </c:pt>
                <c:pt idx="1684">
                  <c:v>All Others</c:v>
                </c:pt>
                <c:pt idx="1685">
                  <c:v>All Others</c:v>
                </c:pt>
                <c:pt idx="1686">
                  <c:v>All Others</c:v>
                </c:pt>
                <c:pt idx="1687">
                  <c:v>All Others</c:v>
                </c:pt>
                <c:pt idx="1688">
                  <c:v>All Others</c:v>
                </c:pt>
                <c:pt idx="1689">
                  <c:v>All Others</c:v>
                </c:pt>
                <c:pt idx="1690">
                  <c:v>All Others</c:v>
                </c:pt>
                <c:pt idx="1691">
                  <c:v>All Others</c:v>
                </c:pt>
                <c:pt idx="1692">
                  <c:v>All Others</c:v>
                </c:pt>
                <c:pt idx="1693">
                  <c:v>Lactalis: A</c:v>
                </c:pt>
                <c:pt idx="1694">
                  <c:v>All Others</c:v>
                </c:pt>
                <c:pt idx="1695">
                  <c:v>All Others</c:v>
                </c:pt>
                <c:pt idx="1696">
                  <c:v>All Others</c:v>
                </c:pt>
                <c:pt idx="1697">
                  <c:v>All Others</c:v>
                </c:pt>
                <c:pt idx="1698">
                  <c:v>All Others</c:v>
                </c:pt>
                <c:pt idx="1699">
                  <c:v>All Others</c:v>
                </c:pt>
                <c:pt idx="1700">
                  <c:v>All Others</c:v>
                </c:pt>
                <c:pt idx="1701">
                  <c:v>Soignon</c:v>
                </c:pt>
                <c:pt idx="1702">
                  <c:v>All Others</c:v>
                </c:pt>
                <c:pt idx="1703">
                  <c:v>Private Lab</c:v>
                </c:pt>
                <c:pt idx="1704">
                  <c:v>All Others</c:v>
                </c:pt>
                <c:pt idx="1705">
                  <c:v>Eurial Autr</c:v>
                </c:pt>
                <c:pt idx="1706">
                  <c:v>All Others</c:v>
                </c:pt>
                <c:pt idx="1707">
                  <c:v>Milleret: A</c:v>
                </c:pt>
                <c:pt idx="1708">
                  <c:v>Private Lab</c:v>
                </c:pt>
                <c:pt idx="1709">
                  <c:v>All Others</c:v>
                </c:pt>
                <c:pt idx="1710">
                  <c:v>All Others</c:v>
                </c:pt>
                <c:pt idx="1711">
                  <c:v>All Others</c:v>
                </c:pt>
                <c:pt idx="1712">
                  <c:v>All Others</c:v>
                </c:pt>
                <c:pt idx="1713">
                  <c:v>All Others</c:v>
                </c:pt>
                <c:pt idx="1714">
                  <c:v>All Others</c:v>
                </c:pt>
                <c:pt idx="1715">
                  <c:v>Societe</c:v>
                </c:pt>
                <c:pt idx="1716">
                  <c:v>All Others</c:v>
                </c:pt>
                <c:pt idx="1717">
                  <c:v>All Others</c:v>
                </c:pt>
                <c:pt idx="1718">
                  <c:v>All Others</c:v>
                </c:pt>
                <c:pt idx="1719">
                  <c:v>Milleret: A</c:v>
                </c:pt>
                <c:pt idx="1720">
                  <c:v>Lactalis: A</c:v>
                </c:pt>
                <c:pt idx="1721">
                  <c:v>All Others</c:v>
                </c:pt>
                <c:pt idx="1722">
                  <c:v>All Others</c:v>
                </c:pt>
                <c:pt idx="1723">
                  <c:v>All Others</c:v>
                </c:pt>
                <c:pt idx="1724">
                  <c:v>La Belle Et</c:v>
                </c:pt>
                <c:pt idx="1725">
                  <c:v>Pave D'Affi</c:v>
                </c:pt>
                <c:pt idx="1726">
                  <c:v>Lactalis: A</c:v>
                </c:pt>
                <c:pt idx="1727">
                  <c:v>All Others</c:v>
                </c:pt>
                <c:pt idx="1728">
                  <c:v>All Others</c:v>
                </c:pt>
                <c:pt idx="1729">
                  <c:v>All Others</c:v>
                </c:pt>
                <c:pt idx="1730">
                  <c:v>All Others</c:v>
                </c:pt>
                <c:pt idx="1731">
                  <c:v>All Others</c:v>
                </c:pt>
                <c:pt idx="1732">
                  <c:v>All Others</c:v>
                </c:pt>
                <c:pt idx="1733">
                  <c:v>All Others</c:v>
                </c:pt>
                <c:pt idx="1734">
                  <c:v>All Others</c:v>
                </c:pt>
                <c:pt idx="1735">
                  <c:v>All Others</c:v>
                </c:pt>
                <c:pt idx="1736">
                  <c:v>All Others</c:v>
                </c:pt>
                <c:pt idx="1737">
                  <c:v>All Others</c:v>
                </c:pt>
                <c:pt idx="1738">
                  <c:v>All Others</c:v>
                </c:pt>
                <c:pt idx="1739">
                  <c:v>All Others</c:v>
                </c:pt>
                <c:pt idx="1740">
                  <c:v>All Others</c:v>
                </c:pt>
                <c:pt idx="1741">
                  <c:v>All Others</c:v>
                </c:pt>
                <c:pt idx="1742">
                  <c:v>All Others</c:v>
                </c:pt>
                <c:pt idx="1743">
                  <c:v>All Others</c:v>
                </c:pt>
                <c:pt idx="1744">
                  <c:v>All Others</c:v>
                </c:pt>
                <c:pt idx="1745">
                  <c:v>Private Lab</c:v>
                </c:pt>
                <c:pt idx="1746">
                  <c:v>All Others</c:v>
                </c:pt>
                <c:pt idx="1747">
                  <c:v>All Others</c:v>
                </c:pt>
                <c:pt idx="1748">
                  <c:v>All Others</c:v>
                </c:pt>
                <c:pt idx="1749">
                  <c:v>All Others</c:v>
                </c:pt>
                <c:pt idx="1750">
                  <c:v>All Others</c:v>
                </c:pt>
                <c:pt idx="1751">
                  <c:v>All Others</c:v>
                </c:pt>
                <c:pt idx="1752">
                  <c:v>All Others</c:v>
                </c:pt>
                <c:pt idx="1753">
                  <c:v>All Others</c:v>
                </c:pt>
                <c:pt idx="1754">
                  <c:v>All Others</c:v>
                </c:pt>
                <c:pt idx="1755">
                  <c:v>Eurial Autr</c:v>
                </c:pt>
                <c:pt idx="1756">
                  <c:v>All Others</c:v>
                </c:pt>
                <c:pt idx="1757">
                  <c:v>All Others</c:v>
                </c:pt>
                <c:pt idx="1758">
                  <c:v>All Others</c:v>
                </c:pt>
                <c:pt idx="1759">
                  <c:v>All Others</c:v>
                </c:pt>
                <c:pt idx="1760">
                  <c:v>All Others</c:v>
                </c:pt>
                <c:pt idx="1761">
                  <c:v>Lactalis: A</c:v>
                </c:pt>
                <c:pt idx="1762">
                  <c:v>All Others</c:v>
                </c:pt>
                <c:pt idx="1763">
                  <c:v>All Others</c:v>
                </c:pt>
                <c:pt idx="1764">
                  <c:v>All Others</c:v>
                </c:pt>
                <c:pt idx="1765">
                  <c:v>All Others</c:v>
                </c:pt>
                <c:pt idx="1766">
                  <c:v>All Others</c:v>
                </c:pt>
                <c:pt idx="1767">
                  <c:v>All Others</c:v>
                </c:pt>
                <c:pt idx="1768">
                  <c:v>All Others</c:v>
                </c:pt>
                <c:pt idx="1769">
                  <c:v>All Others</c:v>
                </c:pt>
                <c:pt idx="1770">
                  <c:v>La Belle Et</c:v>
                </c:pt>
                <c:pt idx="1771">
                  <c:v>All Others</c:v>
                </c:pt>
                <c:pt idx="1772">
                  <c:v>All Others</c:v>
                </c:pt>
                <c:pt idx="1773">
                  <c:v>All Others</c:v>
                </c:pt>
                <c:pt idx="1774">
                  <c:v>All Others</c:v>
                </c:pt>
                <c:pt idx="1775">
                  <c:v>All Others</c:v>
                </c:pt>
                <c:pt idx="1776">
                  <c:v>All Others</c:v>
                </c:pt>
                <c:pt idx="1777">
                  <c:v>All Others</c:v>
                </c:pt>
                <c:pt idx="1778">
                  <c:v>Soignon</c:v>
                </c:pt>
                <c:pt idx="1779">
                  <c:v>All Others</c:v>
                </c:pt>
                <c:pt idx="1780">
                  <c:v>All Others</c:v>
                </c:pt>
                <c:pt idx="1781">
                  <c:v>All Others</c:v>
                </c:pt>
                <c:pt idx="1782">
                  <c:v>All Others</c:v>
                </c:pt>
                <c:pt idx="1783">
                  <c:v>Private Lab</c:v>
                </c:pt>
                <c:pt idx="1784">
                  <c:v>All Others</c:v>
                </c:pt>
                <c:pt idx="1785">
                  <c:v>All Others</c:v>
                </c:pt>
                <c:pt idx="1786">
                  <c:v>All Others</c:v>
                </c:pt>
                <c:pt idx="1787">
                  <c:v>All Others</c:v>
                </c:pt>
                <c:pt idx="1788">
                  <c:v>All Others</c:v>
                </c:pt>
                <c:pt idx="1789">
                  <c:v>Eurial Autr</c:v>
                </c:pt>
                <c:pt idx="1790">
                  <c:v>All Others</c:v>
                </c:pt>
                <c:pt idx="1791">
                  <c:v>All Others</c:v>
                </c:pt>
                <c:pt idx="1792">
                  <c:v>All Others</c:v>
                </c:pt>
                <c:pt idx="1793">
                  <c:v>All Others</c:v>
                </c:pt>
                <c:pt idx="1794">
                  <c:v>All Others</c:v>
                </c:pt>
                <c:pt idx="1795">
                  <c:v>Galbani</c:v>
                </c:pt>
                <c:pt idx="1796">
                  <c:v>Lactalis: A</c:v>
                </c:pt>
                <c:pt idx="1797">
                  <c:v>All Others</c:v>
                </c:pt>
                <c:pt idx="1798">
                  <c:v>All Others</c:v>
                </c:pt>
                <c:pt idx="1799">
                  <c:v>All Others</c:v>
                </c:pt>
                <c:pt idx="1800">
                  <c:v>All Others</c:v>
                </c:pt>
                <c:pt idx="1801">
                  <c:v>All Others</c:v>
                </c:pt>
                <c:pt idx="1802">
                  <c:v>Le Saint Am</c:v>
                </c:pt>
                <c:pt idx="1803">
                  <c:v>All Others</c:v>
                </c:pt>
                <c:pt idx="1804">
                  <c:v>Nurishh</c:v>
                </c:pt>
                <c:pt idx="1805">
                  <c:v>Savencia: A</c:v>
                </c:pt>
                <c:pt idx="1806">
                  <c:v>Eurial Autr</c:v>
                </c:pt>
                <c:pt idx="1807">
                  <c:v>All Others</c:v>
                </c:pt>
                <c:pt idx="1808">
                  <c:v>All Others</c:v>
                </c:pt>
                <c:pt idx="1809">
                  <c:v>All Others</c:v>
                </c:pt>
                <c:pt idx="1810">
                  <c:v>All Others</c:v>
                </c:pt>
                <c:pt idx="1811">
                  <c:v>All Others</c:v>
                </c:pt>
                <c:pt idx="1812">
                  <c:v>All Others</c:v>
                </c:pt>
                <c:pt idx="1813">
                  <c:v>Private Lab</c:v>
                </c:pt>
                <c:pt idx="1814">
                  <c:v>Private Lab</c:v>
                </c:pt>
                <c:pt idx="1815">
                  <c:v>All Others</c:v>
                </c:pt>
                <c:pt idx="1816">
                  <c:v>All Others</c:v>
                </c:pt>
                <c:pt idx="1817">
                  <c:v>All Others</c:v>
                </c:pt>
                <c:pt idx="1818">
                  <c:v>Le Saint Am</c:v>
                </c:pt>
                <c:pt idx="1819">
                  <c:v>All Others</c:v>
                </c:pt>
                <c:pt idx="1820">
                  <c:v>All Others</c:v>
                </c:pt>
                <c:pt idx="1821">
                  <c:v>All Others</c:v>
                </c:pt>
                <c:pt idx="1822">
                  <c:v>All Others</c:v>
                </c:pt>
                <c:pt idx="1823">
                  <c:v>All Others</c:v>
                </c:pt>
                <c:pt idx="1824">
                  <c:v>Societe</c:v>
                </c:pt>
                <c:pt idx="1825">
                  <c:v>All Others</c:v>
                </c:pt>
                <c:pt idx="1826">
                  <c:v>All Others</c:v>
                </c:pt>
                <c:pt idx="1827">
                  <c:v>All Others</c:v>
                </c:pt>
                <c:pt idx="1828">
                  <c:v>All Others</c:v>
                </c:pt>
                <c:pt idx="1829">
                  <c:v>Le Saint Am</c:v>
                </c:pt>
                <c:pt idx="1830">
                  <c:v>All Others</c:v>
                </c:pt>
                <c:pt idx="1831">
                  <c:v>Juraflore</c:v>
                </c:pt>
                <c:pt idx="1832">
                  <c:v>All Others</c:v>
                </c:pt>
                <c:pt idx="1833">
                  <c:v>All Others</c:v>
                </c:pt>
                <c:pt idx="1834">
                  <c:v>All Others</c:v>
                </c:pt>
                <c:pt idx="1835">
                  <c:v>All Others</c:v>
                </c:pt>
                <c:pt idx="1836">
                  <c:v>All Others</c:v>
                </c:pt>
                <c:pt idx="1837">
                  <c:v>All Others</c:v>
                </c:pt>
                <c:pt idx="1838">
                  <c:v>All Others</c:v>
                </c:pt>
                <c:pt idx="1839">
                  <c:v>Etoile Du V</c:v>
                </c:pt>
                <c:pt idx="1840">
                  <c:v>All Others</c:v>
                </c:pt>
                <c:pt idx="1841">
                  <c:v>All Others</c:v>
                </c:pt>
                <c:pt idx="1842">
                  <c:v>All Others</c:v>
                </c:pt>
                <c:pt idx="1843">
                  <c:v>All Others</c:v>
                </c:pt>
                <c:pt idx="1844">
                  <c:v>All Others</c:v>
                </c:pt>
                <c:pt idx="1845">
                  <c:v>All Others</c:v>
                </c:pt>
                <c:pt idx="1846">
                  <c:v>All Others</c:v>
                </c:pt>
                <c:pt idx="1847">
                  <c:v>All Others</c:v>
                </c:pt>
                <c:pt idx="1848">
                  <c:v>All Others</c:v>
                </c:pt>
                <c:pt idx="1849">
                  <c:v>All Others</c:v>
                </c:pt>
                <c:pt idx="1850">
                  <c:v>All Others</c:v>
                </c:pt>
                <c:pt idx="1851">
                  <c:v>All Others</c:v>
                </c:pt>
                <c:pt idx="1852">
                  <c:v>All Others</c:v>
                </c:pt>
                <c:pt idx="1853">
                  <c:v>All Others</c:v>
                </c:pt>
                <c:pt idx="1854">
                  <c:v>All Others</c:v>
                </c:pt>
                <c:pt idx="1855">
                  <c:v>All Others</c:v>
                </c:pt>
                <c:pt idx="1856">
                  <c:v>All Others</c:v>
                </c:pt>
                <c:pt idx="1857">
                  <c:v>All Others</c:v>
                </c:pt>
                <c:pt idx="1858">
                  <c:v>All Others</c:v>
                </c:pt>
                <c:pt idx="1859">
                  <c:v>All Others</c:v>
                </c:pt>
                <c:pt idx="1860">
                  <c:v>All Others</c:v>
                </c:pt>
                <c:pt idx="1861">
                  <c:v>All Others</c:v>
                </c:pt>
                <c:pt idx="1862">
                  <c:v>All Others</c:v>
                </c:pt>
                <c:pt idx="1863">
                  <c:v>All Others</c:v>
                </c:pt>
                <c:pt idx="1864">
                  <c:v>All Others</c:v>
                </c:pt>
                <c:pt idx="1865">
                  <c:v>All Others</c:v>
                </c:pt>
                <c:pt idx="1866">
                  <c:v>Fol Epi</c:v>
                </c:pt>
                <c:pt idx="1867">
                  <c:v>Triballat R</c:v>
                </c:pt>
                <c:pt idx="1868">
                  <c:v>All Others</c:v>
                </c:pt>
                <c:pt idx="1869">
                  <c:v>All Others</c:v>
                </c:pt>
                <c:pt idx="1870">
                  <c:v>Private Lab</c:v>
                </c:pt>
                <c:pt idx="1871">
                  <c:v>Violife</c:v>
                </c:pt>
                <c:pt idx="1872">
                  <c:v>All Others</c:v>
                </c:pt>
                <c:pt idx="1873">
                  <c:v>Apericube</c:v>
                </c:pt>
                <c:pt idx="1874">
                  <c:v>All Others</c:v>
                </c:pt>
                <c:pt idx="1875">
                  <c:v>All Others</c:v>
                </c:pt>
                <c:pt idx="1876">
                  <c:v>All Others</c:v>
                </c:pt>
                <c:pt idx="1877">
                  <c:v>All Others</c:v>
                </c:pt>
                <c:pt idx="1878">
                  <c:v>All Others</c:v>
                </c:pt>
                <c:pt idx="1879">
                  <c:v>All Others</c:v>
                </c:pt>
                <c:pt idx="1880">
                  <c:v>All Others</c:v>
                </c:pt>
                <c:pt idx="1881">
                  <c:v>All Others</c:v>
                </c:pt>
                <c:pt idx="1882">
                  <c:v>Islos</c:v>
                </c:pt>
                <c:pt idx="1883">
                  <c:v>All Others</c:v>
                </c:pt>
                <c:pt idx="1884">
                  <c:v>All Others</c:v>
                </c:pt>
                <c:pt idx="1885">
                  <c:v>All Others</c:v>
                </c:pt>
                <c:pt idx="1886">
                  <c:v>President</c:v>
                </c:pt>
                <c:pt idx="1887">
                  <c:v>All Others</c:v>
                </c:pt>
                <c:pt idx="1888">
                  <c:v>All Others</c:v>
                </c:pt>
                <c:pt idx="1889">
                  <c:v>All Others</c:v>
                </c:pt>
                <c:pt idx="1890">
                  <c:v>All Others</c:v>
                </c:pt>
                <c:pt idx="1891">
                  <c:v>All Others</c:v>
                </c:pt>
                <c:pt idx="1892">
                  <c:v>All Others</c:v>
                </c:pt>
                <c:pt idx="1893">
                  <c:v>All Others</c:v>
                </c:pt>
                <c:pt idx="1894">
                  <c:v>All Others</c:v>
                </c:pt>
                <c:pt idx="1895">
                  <c:v>All Others</c:v>
                </c:pt>
                <c:pt idx="1896">
                  <c:v>All Others</c:v>
                </c:pt>
                <c:pt idx="1897">
                  <c:v>All Others</c:v>
                </c:pt>
                <c:pt idx="1898">
                  <c:v>All Others</c:v>
                </c:pt>
                <c:pt idx="1899">
                  <c:v>All Others</c:v>
                </c:pt>
                <c:pt idx="1900">
                  <c:v>All Others</c:v>
                </c:pt>
                <c:pt idx="1901">
                  <c:v>All Others</c:v>
                </c:pt>
                <c:pt idx="1902">
                  <c:v>All Others</c:v>
                </c:pt>
                <c:pt idx="1903">
                  <c:v>All Others</c:v>
                </c:pt>
                <c:pt idx="1904">
                  <c:v>All Others</c:v>
                </c:pt>
                <c:pt idx="1905">
                  <c:v>All Others</c:v>
                </c:pt>
                <c:pt idx="1906">
                  <c:v>All Others</c:v>
                </c:pt>
                <c:pt idx="1907">
                  <c:v>All Others</c:v>
                </c:pt>
                <c:pt idx="1908">
                  <c:v>All Others</c:v>
                </c:pt>
                <c:pt idx="1909">
                  <c:v>All Others</c:v>
                </c:pt>
                <c:pt idx="1910">
                  <c:v>All Others</c:v>
                </c:pt>
                <c:pt idx="1911">
                  <c:v>All Others</c:v>
                </c:pt>
                <c:pt idx="1912">
                  <c:v>All Others</c:v>
                </c:pt>
                <c:pt idx="1913">
                  <c:v>All Others</c:v>
                </c:pt>
                <c:pt idx="1914">
                  <c:v>Richesmonts</c:v>
                </c:pt>
                <c:pt idx="1915">
                  <c:v>All Others</c:v>
                </c:pt>
                <c:pt idx="1916">
                  <c:v>All Others</c:v>
                </c:pt>
                <c:pt idx="1917">
                  <c:v>All Others</c:v>
                </c:pt>
                <c:pt idx="1918">
                  <c:v>All Others</c:v>
                </c:pt>
                <c:pt idx="1919">
                  <c:v>All Others</c:v>
                </c:pt>
                <c:pt idx="1920">
                  <c:v>All Others</c:v>
                </c:pt>
                <c:pt idx="1921">
                  <c:v>All Others</c:v>
                </c:pt>
                <c:pt idx="1922">
                  <c:v>All Others</c:v>
                </c:pt>
                <c:pt idx="1923">
                  <c:v>All Others</c:v>
                </c:pt>
                <c:pt idx="1924">
                  <c:v>All Others</c:v>
                </c:pt>
                <c:pt idx="1925">
                  <c:v>All Others</c:v>
                </c:pt>
                <c:pt idx="1926">
                  <c:v>All Others</c:v>
                </c:pt>
                <c:pt idx="1927">
                  <c:v>All Others</c:v>
                </c:pt>
                <c:pt idx="1928">
                  <c:v>All Others</c:v>
                </c:pt>
                <c:pt idx="1929">
                  <c:v>Private Lab</c:v>
                </c:pt>
                <c:pt idx="1930">
                  <c:v>Pave D'Affi</c:v>
                </c:pt>
                <c:pt idx="1931">
                  <c:v>All Others</c:v>
                </c:pt>
                <c:pt idx="1932">
                  <c:v>All Others</c:v>
                </c:pt>
                <c:pt idx="1933">
                  <c:v>All Others</c:v>
                </c:pt>
                <c:pt idx="1934">
                  <c:v>All Others</c:v>
                </c:pt>
                <c:pt idx="1935">
                  <c:v>All Others</c:v>
                </c:pt>
                <c:pt idx="1936">
                  <c:v>All Others</c:v>
                </c:pt>
                <c:pt idx="1937">
                  <c:v>Boursin</c:v>
                </c:pt>
                <c:pt idx="1938">
                  <c:v>All Others</c:v>
                </c:pt>
                <c:pt idx="1939">
                  <c:v>All Others</c:v>
                </c:pt>
                <c:pt idx="1940">
                  <c:v>All Others</c:v>
                </c:pt>
                <c:pt idx="1941">
                  <c:v>All Others</c:v>
                </c:pt>
                <c:pt idx="1942">
                  <c:v>All Others</c:v>
                </c:pt>
                <c:pt idx="1943">
                  <c:v>All Others</c:v>
                </c:pt>
                <c:pt idx="1944">
                  <c:v>All Others</c:v>
                </c:pt>
                <c:pt idx="1945">
                  <c:v>All Others</c:v>
                </c:pt>
                <c:pt idx="1946">
                  <c:v>All Others</c:v>
                </c:pt>
                <c:pt idx="1947">
                  <c:v>All Others</c:v>
                </c:pt>
                <c:pt idx="1948">
                  <c:v>All Others</c:v>
                </c:pt>
                <c:pt idx="1949">
                  <c:v>All Others</c:v>
                </c:pt>
                <c:pt idx="1950">
                  <c:v>Private Lab</c:v>
                </c:pt>
                <c:pt idx="1951">
                  <c:v>Eurial Autr</c:v>
                </c:pt>
                <c:pt idx="1952">
                  <c:v>All Others</c:v>
                </c:pt>
                <c:pt idx="1953">
                  <c:v>All Others</c:v>
                </c:pt>
                <c:pt idx="1954">
                  <c:v>Caprice Des</c:v>
                </c:pt>
                <c:pt idx="1955">
                  <c:v>Apericube</c:v>
                </c:pt>
                <c:pt idx="1956">
                  <c:v>All Others</c:v>
                </c:pt>
                <c:pt idx="1957">
                  <c:v>All Others</c:v>
                </c:pt>
                <c:pt idx="1958">
                  <c:v>All Others</c:v>
                </c:pt>
                <c:pt idx="1959">
                  <c:v>Private Lab</c:v>
                </c:pt>
                <c:pt idx="1960">
                  <c:v>All Others</c:v>
                </c:pt>
                <c:pt idx="1961">
                  <c:v>All Others</c:v>
                </c:pt>
                <c:pt idx="1962">
                  <c:v>All Others</c:v>
                </c:pt>
                <c:pt idx="1963">
                  <c:v>All Others</c:v>
                </c:pt>
                <c:pt idx="1964">
                  <c:v>All Others</c:v>
                </c:pt>
                <c:pt idx="1965">
                  <c:v>Private Lab</c:v>
                </c:pt>
                <c:pt idx="1966">
                  <c:v>All Others</c:v>
                </c:pt>
                <c:pt idx="1967">
                  <c:v>All Others</c:v>
                </c:pt>
                <c:pt idx="1968">
                  <c:v>All Others</c:v>
                </c:pt>
                <c:pt idx="1969">
                  <c:v>Paysan Bret</c:v>
                </c:pt>
                <c:pt idx="1970">
                  <c:v>Private Lab</c:v>
                </c:pt>
                <c:pt idx="1971">
                  <c:v>All Others</c:v>
                </c:pt>
                <c:pt idx="1972">
                  <c:v>All Others</c:v>
                </c:pt>
                <c:pt idx="1973">
                  <c:v>All Others</c:v>
                </c:pt>
                <c:pt idx="1974">
                  <c:v>All Others</c:v>
                </c:pt>
                <c:pt idx="1975">
                  <c:v>Private Lab</c:v>
                </c:pt>
                <c:pt idx="1976">
                  <c:v>All Others</c:v>
                </c:pt>
                <c:pt idx="1977">
                  <c:v>All Others</c:v>
                </c:pt>
                <c:pt idx="1978">
                  <c:v>Savencia: A</c:v>
                </c:pt>
              </c:strCache>
            </c:strRef>
          </c:cat>
          <c:val>
            <c:numRef>
              <c:f>Sheet1!$C$2:$C$1980</c:f>
              <c:numCache>
                <c:formatCode>General</c:formatCode>
                <c:ptCount val="1979"/>
                <c:pt idx="0">
                  <c:v>2.8850707852201715E-2</c:v>
                </c:pt>
                <c:pt idx="1">
                  <c:v>5.2565327371348877E-2</c:v>
                </c:pt>
                <c:pt idx="2">
                  <c:v>6.3046648191847382E-2</c:v>
                </c:pt>
                <c:pt idx="3">
                  <c:v>7.3454691941122488E-2</c:v>
                </c:pt>
                <c:pt idx="4">
                  <c:v>8.3610403925001658E-2</c:v>
                </c:pt>
                <c:pt idx="5">
                  <c:v>9.3263583669313907E-2</c:v>
                </c:pt>
                <c:pt idx="6">
                  <c:v>0.10236034120219388</c:v>
                </c:pt>
                <c:pt idx="7">
                  <c:v>0.11085039553825046</c:v>
                </c:pt>
                <c:pt idx="8">
                  <c:v>0.11883215112576431</c:v>
                </c:pt>
                <c:pt idx="9">
                  <c:v>0.12652762949000299</c:v>
                </c:pt>
                <c:pt idx="10">
                  <c:v>0.14172783018899787</c:v>
                </c:pt>
                <c:pt idx="11">
                  <c:v>0.14903897226015611</c:v>
                </c:pt>
                <c:pt idx="12">
                  <c:v>0.15616051903582212</c:v>
                </c:pt>
                <c:pt idx="13">
                  <c:v>0.16324724379178202</c:v>
                </c:pt>
                <c:pt idx="14">
                  <c:v>0.16999792840678876</c:v>
                </c:pt>
                <c:pt idx="15">
                  <c:v>0.17672642354771911</c:v>
                </c:pt>
                <c:pt idx="16">
                  <c:v>0.18334045414126141</c:v>
                </c:pt>
                <c:pt idx="17">
                  <c:v>0.18948425194050844</c:v>
                </c:pt>
                <c:pt idx="18">
                  <c:v>0.20134935566814618</c:v>
                </c:pt>
                <c:pt idx="19">
                  <c:v>0.20713389208881683</c:v>
                </c:pt>
                <c:pt idx="20">
                  <c:v>0.21282876126225928</c:v>
                </c:pt>
                <c:pt idx="21">
                  <c:v>0.21830015307458206</c:v>
                </c:pt>
                <c:pt idx="22">
                  <c:v>0.22362330101305608</c:v>
                </c:pt>
                <c:pt idx="23">
                  <c:v>0.22879945980707944</c:v>
                </c:pt>
                <c:pt idx="24">
                  <c:v>0.23381675324616477</c:v>
                </c:pt>
                <c:pt idx="25">
                  <c:v>0.23862162799316328</c:v>
                </c:pt>
                <c:pt idx="26">
                  <c:v>0.24339752810920104</c:v>
                </c:pt>
                <c:pt idx="27">
                  <c:v>0.2480841041705463</c:v>
                </c:pt>
                <c:pt idx="28">
                  <c:v>0.25728456924146254</c:v>
                </c:pt>
                <c:pt idx="29">
                  <c:v>0.26180607843689013</c:v>
                </c:pt>
                <c:pt idx="30">
                  <c:v>0.26622527472382146</c:v>
                </c:pt>
                <c:pt idx="31">
                  <c:v>0.27059950404481586</c:v>
                </c:pt>
                <c:pt idx="32">
                  <c:v>0.27481119563214618</c:v>
                </c:pt>
                <c:pt idx="33">
                  <c:v>0.27901663106000391</c:v>
                </c:pt>
                <c:pt idx="34">
                  <c:v>0.28318965774560406</c:v>
                </c:pt>
                <c:pt idx="35">
                  <c:v>0.28731948151861963</c:v>
                </c:pt>
                <c:pt idx="36">
                  <c:v>0.29541896526152034</c:v>
                </c:pt>
                <c:pt idx="37">
                  <c:v>0.29941239513989792</c:v>
                </c:pt>
                <c:pt idx="38">
                  <c:v>0.30338595701217952</c:v>
                </c:pt>
                <c:pt idx="39">
                  <c:v>0.30733401552577239</c:v>
                </c:pt>
                <c:pt idx="40">
                  <c:v>0.31126958139387745</c:v>
                </c:pt>
                <c:pt idx="41">
                  <c:v>0.31520336790705217</c:v>
                </c:pt>
                <c:pt idx="42">
                  <c:v>0.31910467135601889</c:v>
                </c:pt>
                <c:pt idx="43">
                  <c:v>0.32282241051717508</c:v>
                </c:pt>
                <c:pt idx="44">
                  <c:v>0.33021356453982759</c:v>
                </c:pt>
                <c:pt idx="45">
                  <c:v>0.33385372688633524</c:v>
                </c:pt>
                <c:pt idx="46">
                  <c:v>0.33740785720336558</c:v>
                </c:pt>
                <c:pt idx="47">
                  <c:v>0.34090927139815902</c:v>
                </c:pt>
                <c:pt idx="48">
                  <c:v>0.34438086281738117</c:v>
                </c:pt>
                <c:pt idx="49">
                  <c:v>0.34781394890847256</c:v>
                </c:pt>
                <c:pt idx="50">
                  <c:v>0.35796638416871457</c:v>
                </c:pt>
                <c:pt idx="51">
                  <c:v>0.36462721354567734</c:v>
                </c:pt>
                <c:pt idx="52">
                  <c:v>0.36794790736023325</c:v>
                </c:pt>
                <c:pt idx="53">
                  <c:v>0.37125426141023971</c:v>
                </c:pt>
                <c:pt idx="54">
                  <c:v>0.37784847427429952</c:v>
                </c:pt>
                <c:pt idx="55">
                  <c:v>0.38420422078859401</c:v>
                </c:pt>
                <c:pt idx="56">
                  <c:v>0.39042114482922391</c:v>
                </c:pt>
                <c:pt idx="57">
                  <c:v>0.39658794745806214</c:v>
                </c:pt>
                <c:pt idx="58">
                  <c:v>0.39964653179886395</c:v>
                </c:pt>
                <c:pt idx="59">
                  <c:v>0.40269297980235197</c:v>
                </c:pt>
                <c:pt idx="60">
                  <c:v>0.40569835837042012</c:v>
                </c:pt>
                <c:pt idx="61">
                  <c:v>0.41165618079034777</c:v>
                </c:pt>
                <c:pt idx="62">
                  <c:v>0.41453541752105483</c:v>
                </c:pt>
                <c:pt idx="63">
                  <c:v>0.41740413988171882</c:v>
                </c:pt>
                <c:pt idx="64">
                  <c:v>0.42024198147198805</c:v>
                </c:pt>
                <c:pt idx="65">
                  <c:v>0.42294725674806527</c:v>
                </c:pt>
                <c:pt idx="66">
                  <c:v>0.42556887392519882</c:v>
                </c:pt>
                <c:pt idx="67">
                  <c:v>0.42817441351570723</c:v>
                </c:pt>
                <c:pt idx="68">
                  <c:v>0.43077728407382004</c:v>
                </c:pt>
                <c:pt idx="69">
                  <c:v>0.43337247323976419</c:v>
                </c:pt>
                <c:pt idx="70">
                  <c:v>0.43595574466236636</c:v>
                </c:pt>
                <c:pt idx="71">
                  <c:v>0.43853213911861599</c:v>
                </c:pt>
                <c:pt idx="72">
                  <c:v>0.4410935948628335</c:v>
                </c:pt>
                <c:pt idx="73">
                  <c:v>0.44365061533536343</c:v>
                </c:pt>
                <c:pt idx="74">
                  <c:v>0.44617070654229918</c:v>
                </c:pt>
                <c:pt idx="75">
                  <c:v>0.44867519232558883</c:v>
                </c:pt>
                <c:pt idx="76">
                  <c:v>0.45115413540327481</c:v>
                </c:pt>
                <c:pt idx="77">
                  <c:v>0.45361466412477724</c:v>
                </c:pt>
                <c:pt idx="78">
                  <c:v>0.45606933452783571</c:v>
                </c:pt>
                <c:pt idx="79">
                  <c:v>0.45852174904110532</c:v>
                </c:pt>
                <c:pt idx="80">
                  <c:v>0.46097016547063085</c:v>
                </c:pt>
                <c:pt idx="81">
                  <c:v>0.46341456632889461</c:v>
                </c:pt>
                <c:pt idx="82">
                  <c:v>0.46585515928016979</c:v>
                </c:pt>
                <c:pt idx="83">
                  <c:v>0.47068763807392594</c:v>
                </c:pt>
                <c:pt idx="84">
                  <c:v>0.47309635565223473</c:v>
                </c:pt>
                <c:pt idx="85">
                  <c:v>0.48028630922543269</c:v>
                </c:pt>
                <c:pt idx="86">
                  <c:v>0.48265838389625032</c:v>
                </c:pt>
                <c:pt idx="87">
                  <c:v>0.48502822016479685</c:v>
                </c:pt>
                <c:pt idx="88">
                  <c:v>0.48739460920640826</c:v>
                </c:pt>
                <c:pt idx="89">
                  <c:v>0.48975854343771646</c:v>
                </c:pt>
                <c:pt idx="90">
                  <c:v>0.49211559414485301</c:v>
                </c:pt>
                <c:pt idx="91">
                  <c:v>0.49446216545698191</c:v>
                </c:pt>
                <c:pt idx="92">
                  <c:v>0.49913248905652458</c:v>
                </c:pt>
                <c:pt idx="93">
                  <c:v>0.5014306658492389</c:v>
                </c:pt>
                <c:pt idx="94">
                  <c:v>0.5036785988175374</c:v>
                </c:pt>
                <c:pt idx="95">
                  <c:v>0.50591922637529863</c:v>
                </c:pt>
                <c:pt idx="96">
                  <c:v>0.50815174191076673</c:v>
                </c:pt>
                <c:pt idx="97">
                  <c:v>0.51038070966607274</c:v>
                </c:pt>
                <c:pt idx="98">
                  <c:v>0.51259831709266479</c:v>
                </c:pt>
                <c:pt idx="99">
                  <c:v>0.51479762383193861</c:v>
                </c:pt>
                <c:pt idx="100">
                  <c:v>0.51698471991194817</c:v>
                </c:pt>
                <c:pt idx="101">
                  <c:v>0.51916831411652975</c:v>
                </c:pt>
                <c:pt idx="102">
                  <c:v>0.52346638966963199</c:v>
                </c:pt>
                <c:pt idx="103">
                  <c:v>0.52559384019849897</c:v>
                </c:pt>
                <c:pt idx="104">
                  <c:v>0.52770443931808075</c:v>
                </c:pt>
                <c:pt idx="105">
                  <c:v>0.52979865263353709</c:v>
                </c:pt>
                <c:pt idx="106">
                  <c:v>0.53189021440411566</c:v>
                </c:pt>
                <c:pt idx="107">
                  <c:v>0.53397327942701078</c:v>
                </c:pt>
                <c:pt idx="108">
                  <c:v>0.53605589851820346</c:v>
                </c:pt>
                <c:pt idx="109">
                  <c:v>0.53813667267627419</c:v>
                </c:pt>
                <c:pt idx="110">
                  <c:v>0.54019687495565971</c:v>
                </c:pt>
                <c:pt idx="111">
                  <c:v>0.54225323872490061</c:v>
                </c:pt>
                <c:pt idx="112">
                  <c:v>0.5442882852100126</c:v>
                </c:pt>
                <c:pt idx="113">
                  <c:v>0.54630221770338938</c:v>
                </c:pt>
                <c:pt idx="114">
                  <c:v>0.54830962516670823</c:v>
                </c:pt>
                <c:pt idx="115">
                  <c:v>0.55031371655947503</c:v>
                </c:pt>
                <c:pt idx="116">
                  <c:v>0.55229917063020706</c:v>
                </c:pt>
                <c:pt idx="117">
                  <c:v>0.55428077744703563</c:v>
                </c:pt>
                <c:pt idx="118">
                  <c:v>0.55821455303051182</c:v>
                </c:pt>
                <c:pt idx="119">
                  <c:v>0.56016607475900293</c:v>
                </c:pt>
                <c:pt idx="120">
                  <c:v>0.56402706073581277</c:v>
                </c:pt>
                <c:pt idx="121">
                  <c:v>0.56594409707931426</c:v>
                </c:pt>
                <c:pt idx="122">
                  <c:v>0.56785157212248971</c:v>
                </c:pt>
                <c:pt idx="123">
                  <c:v>0.56975388616199119</c:v>
                </c:pt>
                <c:pt idx="124">
                  <c:v>0.57164454695685651</c:v>
                </c:pt>
                <c:pt idx="125">
                  <c:v>0.57537171844789536</c:v>
                </c:pt>
                <c:pt idx="126">
                  <c:v>0.57719877276884934</c:v>
                </c:pt>
                <c:pt idx="127">
                  <c:v>0.57901746805632204</c:v>
                </c:pt>
                <c:pt idx="128">
                  <c:v>0.58082722285034849</c:v>
                </c:pt>
                <c:pt idx="129">
                  <c:v>0.58263384737869894</c:v>
                </c:pt>
                <c:pt idx="130">
                  <c:v>0.58441706923642955</c:v>
                </c:pt>
                <c:pt idx="131">
                  <c:v>0.5861892236813685</c:v>
                </c:pt>
                <c:pt idx="132">
                  <c:v>0.5879548793275261</c:v>
                </c:pt>
                <c:pt idx="133">
                  <c:v>0.58971204041193992</c:v>
                </c:pt>
                <c:pt idx="134">
                  <c:v>0.59145794827868603</c:v>
                </c:pt>
                <c:pt idx="135">
                  <c:v>0.59320149533053679</c:v>
                </c:pt>
                <c:pt idx="136">
                  <c:v>0.59494147274282816</c:v>
                </c:pt>
                <c:pt idx="137">
                  <c:v>0.59667815157208526</c:v>
                </c:pt>
                <c:pt idx="138">
                  <c:v>0.5984042635687461</c:v>
                </c:pt>
                <c:pt idx="139">
                  <c:v>0.6017972332941347</c:v>
                </c:pt>
                <c:pt idx="140">
                  <c:v>0.60347905596617113</c:v>
                </c:pt>
                <c:pt idx="141">
                  <c:v>0.60515458531775979</c:v>
                </c:pt>
                <c:pt idx="142">
                  <c:v>0.60681754551597045</c:v>
                </c:pt>
                <c:pt idx="143">
                  <c:v>0.6084761972269972</c:v>
                </c:pt>
                <c:pt idx="144">
                  <c:v>0.61012443293526808</c:v>
                </c:pt>
                <c:pt idx="145">
                  <c:v>0.6117663490918146</c:v>
                </c:pt>
                <c:pt idx="146">
                  <c:v>0.61340635473704763</c:v>
                </c:pt>
                <c:pt idx="147">
                  <c:v>0.6150424038313913</c:v>
                </c:pt>
                <c:pt idx="148">
                  <c:v>0.61667399360871045</c:v>
                </c:pt>
                <c:pt idx="149">
                  <c:v>0.61830280068476873</c:v>
                </c:pt>
                <c:pt idx="150">
                  <c:v>0.61992568167825179</c:v>
                </c:pt>
                <c:pt idx="151">
                  <c:v>0.62315877395861285</c:v>
                </c:pt>
                <c:pt idx="152">
                  <c:v>0.62477141601045727</c:v>
                </c:pt>
                <c:pt idx="153">
                  <c:v>0.62638123820006553</c:v>
                </c:pt>
                <c:pt idx="154">
                  <c:v>0.62798986249470845</c:v>
                </c:pt>
                <c:pt idx="155">
                  <c:v>0.62959209072973676</c:v>
                </c:pt>
                <c:pt idx="156">
                  <c:v>0.63118493909743556</c:v>
                </c:pt>
                <c:pt idx="157">
                  <c:v>0.63277375659229451</c:v>
                </c:pt>
                <c:pt idx="158">
                  <c:v>0.63435957934973997</c:v>
                </c:pt>
                <c:pt idx="159">
                  <c:v>0.63750851732284142</c:v>
                </c:pt>
                <c:pt idx="160">
                  <c:v>0.63907399772527218</c:v>
                </c:pt>
                <c:pt idx="161">
                  <c:v>0.64062715598551312</c:v>
                </c:pt>
                <c:pt idx="162">
                  <c:v>0.64217458052587395</c:v>
                </c:pt>
                <c:pt idx="163">
                  <c:v>0.64371455975555569</c:v>
                </c:pt>
                <c:pt idx="164">
                  <c:v>0.64524763578760824</c:v>
                </c:pt>
                <c:pt idx="165">
                  <c:v>0.64677903301795747</c:v>
                </c:pt>
                <c:pt idx="166">
                  <c:v>0.64830551844176054</c:v>
                </c:pt>
                <c:pt idx="167">
                  <c:v>0.64982266771702857</c:v>
                </c:pt>
                <c:pt idx="168">
                  <c:v>0.65133530521271876</c:v>
                </c:pt>
                <c:pt idx="169">
                  <c:v>0.65284651966165264</c:v>
                </c:pt>
                <c:pt idx="170">
                  <c:v>0.65434074935897846</c:v>
                </c:pt>
                <c:pt idx="171">
                  <c:v>0.65582505707592476</c:v>
                </c:pt>
                <c:pt idx="172">
                  <c:v>0.65730850353262216</c:v>
                </c:pt>
                <c:pt idx="173">
                  <c:v>0.65878879349236696</c:v>
                </c:pt>
                <c:pt idx="174">
                  <c:v>0.66026369511070715</c:v>
                </c:pt>
                <c:pt idx="175">
                  <c:v>0.66172448867410794</c:v>
                </c:pt>
                <c:pt idx="176">
                  <c:v>0.66462996979706812</c:v>
                </c:pt>
                <c:pt idx="177">
                  <c:v>0.66607286488605877</c:v>
                </c:pt>
                <c:pt idx="178">
                  <c:v>0.66750486087961602</c:v>
                </c:pt>
                <c:pt idx="179">
                  <c:v>0.66890768332169814</c:v>
                </c:pt>
                <c:pt idx="180">
                  <c:v>0.67169022719492366</c:v>
                </c:pt>
                <c:pt idx="181">
                  <c:v>0.67307279909145923</c:v>
                </c:pt>
                <c:pt idx="182">
                  <c:v>0.67445090511315109</c:v>
                </c:pt>
                <c:pt idx="183">
                  <c:v>0.67582736293629564</c:v>
                </c:pt>
                <c:pt idx="184">
                  <c:v>0.67719763892191798</c:v>
                </c:pt>
                <c:pt idx="185">
                  <c:v>0.67855193131632308</c:v>
                </c:pt>
                <c:pt idx="186">
                  <c:v>0.67989365892922971</c:v>
                </c:pt>
                <c:pt idx="187">
                  <c:v>0.68122963752067822</c:v>
                </c:pt>
                <c:pt idx="188">
                  <c:v>0.68255449623678177</c:v>
                </c:pt>
                <c:pt idx="189">
                  <c:v>0.68386157451921992</c:v>
                </c:pt>
                <c:pt idx="190">
                  <c:v>0.68516190917762843</c:v>
                </c:pt>
                <c:pt idx="191">
                  <c:v>0.68645713748085591</c:v>
                </c:pt>
                <c:pt idx="192">
                  <c:v>0.68774148417616765</c:v>
                </c:pt>
                <c:pt idx="193">
                  <c:v>0.68901875717055228</c:v>
                </c:pt>
                <c:pt idx="194">
                  <c:v>0.69028499116936148</c:v>
                </c:pt>
                <c:pt idx="195">
                  <c:v>0.69154074795910281</c:v>
                </c:pt>
                <c:pt idx="196">
                  <c:v>0.69279379636953364</c:v>
                </c:pt>
                <c:pt idx="197">
                  <c:v>0.69404439652748051</c:v>
                </c:pt>
                <c:pt idx="198">
                  <c:v>0.69529132649264103</c:v>
                </c:pt>
                <c:pt idx="199">
                  <c:v>0.69653618418694896</c:v>
                </c:pt>
                <c:pt idx="200">
                  <c:v>0.69776561789060731</c:v>
                </c:pt>
                <c:pt idx="201">
                  <c:v>0.69899043488958157</c:v>
                </c:pt>
                <c:pt idx="202">
                  <c:v>0.70021383758555833</c:v>
                </c:pt>
                <c:pt idx="203">
                  <c:v>0.70143606206002707</c:v>
                </c:pt>
                <c:pt idx="204">
                  <c:v>0.70265606780568213</c:v>
                </c:pt>
                <c:pt idx="205">
                  <c:v>0.70385771602958636</c:v>
                </c:pt>
                <c:pt idx="206">
                  <c:v>0.70505339226618124</c:v>
                </c:pt>
                <c:pt idx="207">
                  <c:v>0.70624613059979524</c:v>
                </c:pt>
                <c:pt idx="208">
                  <c:v>0.70743835742351524</c:v>
                </c:pt>
                <c:pt idx="209">
                  <c:v>0.70862883549546096</c:v>
                </c:pt>
                <c:pt idx="210">
                  <c:v>0.70981757793127065</c:v>
                </c:pt>
                <c:pt idx="211">
                  <c:v>0.71100585913379988</c:v>
                </c:pt>
                <c:pt idx="212">
                  <c:v>0.7121913335897313</c:v>
                </c:pt>
                <c:pt idx="213">
                  <c:v>0.71336746971118792</c:v>
                </c:pt>
                <c:pt idx="214">
                  <c:v>0.71454126031932719</c:v>
                </c:pt>
                <c:pt idx="215">
                  <c:v>0.71570246210063115</c:v>
                </c:pt>
                <c:pt idx="216">
                  <c:v>0.71686225176487728</c:v>
                </c:pt>
                <c:pt idx="217">
                  <c:v>0.71801803022974109</c:v>
                </c:pt>
                <c:pt idx="218">
                  <c:v>0.71916560049096423</c:v>
                </c:pt>
                <c:pt idx="219">
                  <c:v>0.7214519447919856</c:v>
                </c:pt>
                <c:pt idx="220">
                  <c:v>0.72259442837148513</c:v>
                </c:pt>
                <c:pt idx="221">
                  <c:v>0.72371317701752769</c:v>
                </c:pt>
                <c:pt idx="222">
                  <c:v>0.72483160214449205</c:v>
                </c:pt>
                <c:pt idx="223">
                  <c:v>0.72594299291744424</c:v>
                </c:pt>
                <c:pt idx="224">
                  <c:v>0.72704780401184554</c:v>
                </c:pt>
                <c:pt idx="225">
                  <c:v>0.72814707812094137</c:v>
                </c:pt>
                <c:pt idx="226">
                  <c:v>0.72924409196836892</c:v>
                </c:pt>
                <c:pt idx="227">
                  <c:v>0.73031802447831518</c:v>
                </c:pt>
                <c:pt idx="228">
                  <c:v>0.73138806820150326</c:v>
                </c:pt>
                <c:pt idx="229">
                  <c:v>0.7335184741208689</c:v>
                </c:pt>
                <c:pt idx="230">
                  <c:v>0.73457364689615612</c:v>
                </c:pt>
                <c:pt idx="231">
                  <c:v>0.73561930646179108</c:v>
                </c:pt>
                <c:pt idx="232">
                  <c:v>0.73666380310749613</c:v>
                </c:pt>
                <c:pt idx="233">
                  <c:v>0.73770506019053916</c:v>
                </c:pt>
                <c:pt idx="234">
                  <c:v>0.73874344057691355</c:v>
                </c:pt>
                <c:pt idx="235">
                  <c:v>0.73977155360443292</c:v>
                </c:pt>
                <c:pt idx="236">
                  <c:v>0.74079561171377561</c:v>
                </c:pt>
                <c:pt idx="237">
                  <c:v>0.74181450663350457</c:v>
                </c:pt>
                <c:pt idx="238">
                  <c:v>0.74384529272210642</c:v>
                </c:pt>
                <c:pt idx="239">
                  <c:v>0.74485261527696889</c:v>
                </c:pt>
                <c:pt idx="240">
                  <c:v>0.74585717261808815</c:v>
                </c:pt>
                <c:pt idx="241">
                  <c:v>0.74685965331647541</c:v>
                </c:pt>
                <c:pt idx="242">
                  <c:v>0.74785782552767877</c:v>
                </c:pt>
                <c:pt idx="243">
                  <c:v>0.74885377463818892</c:v>
                </c:pt>
                <c:pt idx="244">
                  <c:v>0.74984844497396419</c:v>
                </c:pt>
                <c:pt idx="245">
                  <c:v>0.75084148241277016</c:v>
                </c:pt>
                <c:pt idx="246">
                  <c:v>0.75182113534268347</c:v>
                </c:pt>
                <c:pt idx="247">
                  <c:v>0.75279021706812099</c:v>
                </c:pt>
                <c:pt idx="248">
                  <c:v>0.75472313426367299</c:v>
                </c:pt>
                <c:pt idx="249">
                  <c:v>0.75568742222330909</c:v>
                </c:pt>
                <c:pt idx="250">
                  <c:v>0.75665039424723501</c:v>
                </c:pt>
                <c:pt idx="251">
                  <c:v>0.75761098578280817</c:v>
                </c:pt>
                <c:pt idx="252">
                  <c:v>0.75856964494767076</c:v>
                </c:pt>
                <c:pt idx="253">
                  <c:v>0.75952703189561754</c:v>
                </c:pt>
                <c:pt idx="254">
                  <c:v>0.76047851680632594</c:v>
                </c:pt>
                <c:pt idx="255">
                  <c:v>0.76142920166309758</c:v>
                </c:pt>
                <c:pt idx="256">
                  <c:v>0.76237909520969138</c:v>
                </c:pt>
                <c:pt idx="257">
                  <c:v>0.76332278287342603</c:v>
                </c:pt>
                <c:pt idx="258">
                  <c:v>0.76426382336416232</c:v>
                </c:pt>
                <c:pt idx="259">
                  <c:v>0.76520273693555307</c:v>
                </c:pt>
                <c:pt idx="260">
                  <c:v>0.76613748629178124</c:v>
                </c:pt>
                <c:pt idx="261">
                  <c:v>0.76891409971055213</c:v>
                </c:pt>
                <c:pt idx="262">
                  <c:v>0.76983618810393428</c:v>
                </c:pt>
                <c:pt idx="263">
                  <c:v>0.77075008359525377</c:v>
                </c:pt>
                <c:pt idx="264">
                  <c:v>0.77165852735291673</c:v>
                </c:pt>
                <c:pt idx="265">
                  <c:v>0.77255247614431033</c:v>
                </c:pt>
                <c:pt idx="266">
                  <c:v>0.77344560739424939</c:v>
                </c:pt>
                <c:pt idx="267">
                  <c:v>0.77433856376901111</c:v>
                </c:pt>
                <c:pt idx="268">
                  <c:v>0.77523042280203436</c:v>
                </c:pt>
                <c:pt idx="269">
                  <c:v>0.77611728259092283</c:v>
                </c:pt>
                <c:pt idx="270">
                  <c:v>0.7770037773278784</c:v>
                </c:pt>
                <c:pt idx="271">
                  <c:v>0.7778884074582546</c:v>
                </c:pt>
                <c:pt idx="272">
                  <c:v>0.7787714156213601</c:v>
                </c:pt>
                <c:pt idx="273">
                  <c:v>0.77965332862866699</c:v>
                </c:pt>
                <c:pt idx="274">
                  <c:v>0.78053308411347222</c:v>
                </c:pt>
                <c:pt idx="275">
                  <c:v>0.78228718269634123</c:v>
                </c:pt>
                <c:pt idx="276">
                  <c:v>0.78316077820302143</c:v>
                </c:pt>
                <c:pt idx="277">
                  <c:v>0.78403120191117104</c:v>
                </c:pt>
                <c:pt idx="278">
                  <c:v>0.78488927943179387</c:v>
                </c:pt>
                <c:pt idx="279">
                  <c:v>0.78574254569909763</c:v>
                </c:pt>
                <c:pt idx="280">
                  <c:v>0.78659054385168126</c:v>
                </c:pt>
                <c:pt idx="281">
                  <c:v>0.78743682604158638</c:v>
                </c:pt>
                <c:pt idx="282">
                  <c:v>0.78828177699420332</c:v>
                </c:pt>
                <c:pt idx="283">
                  <c:v>0.78912422941772264</c:v>
                </c:pt>
                <c:pt idx="284">
                  <c:v>0.78996086505565266</c:v>
                </c:pt>
                <c:pt idx="285">
                  <c:v>0.79079633121583359</c:v>
                </c:pt>
                <c:pt idx="286">
                  <c:v>0.7916244526185624</c:v>
                </c:pt>
                <c:pt idx="287">
                  <c:v>0.79245047333322227</c:v>
                </c:pt>
                <c:pt idx="288">
                  <c:v>0.79327588854258035</c:v>
                </c:pt>
                <c:pt idx="289">
                  <c:v>0.7941009714891013</c:v>
                </c:pt>
                <c:pt idx="290">
                  <c:v>0.7949134940260032</c:v>
                </c:pt>
                <c:pt idx="291">
                  <c:v>0.79572154194430256</c:v>
                </c:pt>
                <c:pt idx="292">
                  <c:v>0.79652581255876931</c:v>
                </c:pt>
                <c:pt idx="293">
                  <c:v>0.79732708624988291</c:v>
                </c:pt>
                <c:pt idx="294">
                  <c:v>0.79812589201505502</c:v>
                </c:pt>
                <c:pt idx="295">
                  <c:v>0.798924411422124</c:v>
                </c:pt>
                <c:pt idx="296">
                  <c:v>0.79972287399476039</c:v>
                </c:pt>
                <c:pt idx="297">
                  <c:v>0.8005204687493287</c:v>
                </c:pt>
                <c:pt idx="298">
                  <c:v>0.80131222485891052</c:v>
                </c:pt>
                <c:pt idx="299">
                  <c:v>0.80210357656964448</c:v>
                </c:pt>
                <c:pt idx="300">
                  <c:v>0.80289342653979234</c:v>
                </c:pt>
                <c:pt idx="301">
                  <c:v>0.8036803080038033</c:v>
                </c:pt>
                <c:pt idx="302">
                  <c:v>0.80446669325949827</c:v>
                </c:pt>
                <c:pt idx="303">
                  <c:v>0.80525262821161137</c:v>
                </c:pt>
                <c:pt idx="304">
                  <c:v>0.80603764506904296</c:v>
                </c:pt>
                <c:pt idx="305">
                  <c:v>0.8068218771741158</c:v>
                </c:pt>
                <c:pt idx="306">
                  <c:v>0.80760597375092613</c:v>
                </c:pt>
                <c:pt idx="307">
                  <c:v>0.80838580337340715</c:v>
                </c:pt>
                <c:pt idx="308">
                  <c:v>0.80916559583491288</c:v>
                </c:pt>
                <c:pt idx="309">
                  <c:v>0.8107149724194419</c:v>
                </c:pt>
                <c:pt idx="310">
                  <c:v>0.81148611074560451</c:v>
                </c:pt>
                <c:pt idx="311">
                  <c:v>0.81225359855243817</c:v>
                </c:pt>
                <c:pt idx="312">
                  <c:v>0.81302107980145277</c:v>
                </c:pt>
                <c:pt idx="313">
                  <c:v>0.81378555538335517</c:v>
                </c:pt>
                <c:pt idx="314">
                  <c:v>0.81454811826800444</c:v>
                </c:pt>
                <c:pt idx="315">
                  <c:v>0.81530790063733261</c:v>
                </c:pt>
                <c:pt idx="316">
                  <c:v>0.81606716712488736</c:v>
                </c:pt>
                <c:pt idx="317">
                  <c:v>0.816825379989498</c:v>
                </c:pt>
                <c:pt idx="318">
                  <c:v>0.81758256109056182</c:v>
                </c:pt>
                <c:pt idx="319">
                  <c:v>0.81833953671329218</c:v>
                </c:pt>
                <c:pt idx="320">
                  <c:v>0.81909386516302418</c:v>
                </c:pt>
                <c:pt idx="321">
                  <c:v>0.81984051877840658</c:v>
                </c:pt>
                <c:pt idx="322">
                  <c:v>0.82058544768735153</c:v>
                </c:pt>
                <c:pt idx="323">
                  <c:v>0.82132851198971712</c:v>
                </c:pt>
                <c:pt idx="324">
                  <c:v>0.82207137081374926</c:v>
                </c:pt>
                <c:pt idx="325">
                  <c:v>0.82281175296808107</c:v>
                </c:pt>
                <c:pt idx="326">
                  <c:v>0.82354140215839799</c:v>
                </c:pt>
                <c:pt idx="327">
                  <c:v>0.82499649697695421</c:v>
                </c:pt>
                <c:pt idx="328">
                  <c:v>0.82571831394526185</c:v>
                </c:pt>
                <c:pt idx="329">
                  <c:v>0.8264398642289239</c:v>
                </c:pt>
                <c:pt idx="330">
                  <c:v>0.82715798914504801</c:v>
                </c:pt>
                <c:pt idx="331">
                  <c:v>0.82787288105632939</c:v>
                </c:pt>
                <c:pt idx="332">
                  <c:v>0.82858619471913442</c:v>
                </c:pt>
                <c:pt idx="333">
                  <c:v>0.82929411129677599</c:v>
                </c:pt>
                <c:pt idx="334">
                  <c:v>0.82999918615278423</c:v>
                </c:pt>
                <c:pt idx="335">
                  <c:v>0.83070343035169969</c:v>
                </c:pt>
                <c:pt idx="336">
                  <c:v>0.83140470823041801</c:v>
                </c:pt>
                <c:pt idx="337">
                  <c:v>0.83210422861360311</c:v>
                </c:pt>
                <c:pt idx="338">
                  <c:v>0.83279885904963924</c:v>
                </c:pt>
                <c:pt idx="339">
                  <c:v>0.83349119424897156</c:v>
                </c:pt>
                <c:pt idx="340">
                  <c:v>0.83418216323598027</c:v>
                </c:pt>
                <c:pt idx="341">
                  <c:v>0.83487100093176403</c:v>
                </c:pt>
                <c:pt idx="342">
                  <c:v>0.8355587631452065</c:v>
                </c:pt>
                <c:pt idx="343">
                  <c:v>0.83692300156532806</c:v>
                </c:pt>
                <c:pt idx="344">
                  <c:v>0.83760141670053689</c:v>
                </c:pt>
                <c:pt idx="345">
                  <c:v>0.83827058531073895</c:v>
                </c:pt>
                <c:pt idx="346">
                  <c:v>0.83893001993137717</c:v>
                </c:pt>
                <c:pt idx="347">
                  <c:v>0.83958786537384056</c:v>
                </c:pt>
                <c:pt idx="348">
                  <c:v>0.84024428121172845</c:v>
                </c:pt>
                <c:pt idx="349">
                  <c:v>0.84089959096411904</c:v>
                </c:pt>
                <c:pt idx="350">
                  <c:v>0.84155242623274895</c:v>
                </c:pt>
                <c:pt idx="351">
                  <c:v>0.84220443958804492</c:v>
                </c:pt>
                <c:pt idx="352">
                  <c:v>0.84285555015023739</c:v>
                </c:pt>
                <c:pt idx="353">
                  <c:v>0.84350614045877703</c:v>
                </c:pt>
                <c:pt idx="354">
                  <c:v>0.8441533228872965</c:v>
                </c:pt>
                <c:pt idx="355">
                  <c:v>0.8447981138977646</c:v>
                </c:pt>
                <c:pt idx="356">
                  <c:v>0.84543965660181186</c:v>
                </c:pt>
                <c:pt idx="357">
                  <c:v>0.84607737391135285</c:v>
                </c:pt>
                <c:pt idx="358">
                  <c:v>0.84671466933452821</c:v>
                </c:pt>
                <c:pt idx="359">
                  <c:v>0.84734711852934896</c:v>
                </c:pt>
                <c:pt idx="360">
                  <c:v>0.84797220547919983</c:v>
                </c:pt>
                <c:pt idx="361">
                  <c:v>0.84859612513724136</c:v>
                </c:pt>
                <c:pt idx="362">
                  <c:v>0.84921336019162563</c:v>
                </c:pt>
                <c:pt idx="363">
                  <c:v>0.84982912192264004</c:v>
                </c:pt>
                <c:pt idx="364">
                  <c:v>0.85044273706085138</c:v>
                </c:pt>
                <c:pt idx="365">
                  <c:v>0.85104941839827764</c:v>
                </c:pt>
                <c:pt idx="366">
                  <c:v>0.85165608006224636</c:v>
                </c:pt>
                <c:pt idx="367">
                  <c:v>0.85286755845706197</c:v>
                </c:pt>
                <c:pt idx="368">
                  <c:v>0.85347163415434446</c:v>
                </c:pt>
                <c:pt idx="369">
                  <c:v>0.85407509123068681</c:v>
                </c:pt>
                <c:pt idx="370">
                  <c:v>0.85467518195986358</c:v>
                </c:pt>
                <c:pt idx="371">
                  <c:v>0.85527450542419936</c:v>
                </c:pt>
                <c:pt idx="372">
                  <c:v>0.85586962532645761</c:v>
                </c:pt>
                <c:pt idx="373">
                  <c:v>0.85645737423998713</c:v>
                </c:pt>
                <c:pt idx="374">
                  <c:v>0.85704368699112199</c:v>
                </c:pt>
                <c:pt idx="375">
                  <c:v>0.85762888709894036</c:v>
                </c:pt>
                <c:pt idx="376">
                  <c:v>0.85821398009571259</c:v>
                </c:pt>
                <c:pt idx="377">
                  <c:v>0.85879826210884946</c:v>
                </c:pt>
                <c:pt idx="378">
                  <c:v>0.8593807101185631</c:v>
                </c:pt>
                <c:pt idx="379">
                  <c:v>0.85996296357964175</c:v>
                </c:pt>
                <c:pt idx="380">
                  <c:v>0.86054318848866218</c:v>
                </c:pt>
                <c:pt idx="381">
                  <c:v>0.86112268547975657</c:v>
                </c:pt>
                <c:pt idx="382">
                  <c:v>0.86169641814781484</c:v>
                </c:pt>
                <c:pt idx="383">
                  <c:v>0.86226882395046434</c:v>
                </c:pt>
                <c:pt idx="384">
                  <c:v>0.86284083628396469</c:v>
                </c:pt>
                <c:pt idx="385">
                  <c:v>0.86341057305421864</c:v>
                </c:pt>
                <c:pt idx="386">
                  <c:v>0.86397958846436573</c:v>
                </c:pt>
                <c:pt idx="387">
                  <c:v>0.86454081099941849</c:v>
                </c:pt>
                <c:pt idx="388">
                  <c:v>0.86510144114480769</c:v>
                </c:pt>
                <c:pt idx="389">
                  <c:v>0.86565739775108008</c:v>
                </c:pt>
                <c:pt idx="390">
                  <c:v>0.86620697359931587</c:v>
                </c:pt>
                <c:pt idx="391">
                  <c:v>0.86675549363866788</c:v>
                </c:pt>
                <c:pt idx="392">
                  <c:v>0.86730132278622718</c:v>
                </c:pt>
                <c:pt idx="393">
                  <c:v>0.86784198437229343</c:v>
                </c:pt>
                <c:pt idx="394">
                  <c:v>0.86837580615298238</c:v>
                </c:pt>
                <c:pt idx="395">
                  <c:v>0.86890876667342243</c:v>
                </c:pt>
                <c:pt idx="396">
                  <c:v>0.86944005932185775</c:v>
                </c:pt>
                <c:pt idx="397">
                  <c:v>0.86997109402940631</c:v>
                </c:pt>
                <c:pt idx="398">
                  <c:v>0.87049886294301637</c:v>
                </c:pt>
                <c:pt idx="399">
                  <c:v>0.8710186509907164</c:v>
                </c:pt>
                <c:pt idx="400">
                  <c:v>0.87153648480830859</c:v>
                </c:pt>
                <c:pt idx="401">
                  <c:v>0.87204897837516993</c:v>
                </c:pt>
                <c:pt idx="402">
                  <c:v>0.87255733395814528</c:v>
                </c:pt>
                <c:pt idx="403">
                  <c:v>0.87306370252191712</c:v>
                </c:pt>
                <c:pt idx="404">
                  <c:v>0.87356880324065256</c:v>
                </c:pt>
                <c:pt idx="405">
                  <c:v>0.8740738777281114</c:v>
                </c:pt>
                <c:pt idx="406">
                  <c:v>0.87457482953326227</c:v>
                </c:pt>
                <c:pt idx="407">
                  <c:v>0.87507506216424591</c:v>
                </c:pt>
                <c:pt idx="408">
                  <c:v>0.87557267166756814</c:v>
                </c:pt>
                <c:pt idx="409">
                  <c:v>0.8760686985505346</c:v>
                </c:pt>
                <c:pt idx="410">
                  <c:v>0.8765618225055557</c:v>
                </c:pt>
                <c:pt idx="411">
                  <c:v>0.87705321519632018</c:v>
                </c:pt>
                <c:pt idx="412">
                  <c:v>0.87754387996915861</c:v>
                </c:pt>
                <c:pt idx="413">
                  <c:v>0.87803431303238699</c:v>
                </c:pt>
                <c:pt idx="414">
                  <c:v>0.87852081796194226</c:v>
                </c:pt>
                <c:pt idx="415">
                  <c:v>0.87900711741316406</c:v>
                </c:pt>
                <c:pt idx="416">
                  <c:v>0.8794929927920806</c:v>
                </c:pt>
                <c:pt idx="417">
                  <c:v>0.87997849000342598</c:v>
                </c:pt>
                <c:pt idx="418">
                  <c:v>0.88046076513962712</c:v>
                </c:pt>
                <c:pt idx="419">
                  <c:v>0.88094279982245927</c:v>
                </c:pt>
                <c:pt idx="420">
                  <c:v>0.88142289776270144</c:v>
                </c:pt>
                <c:pt idx="421">
                  <c:v>0.88190083380856255</c:v>
                </c:pt>
                <c:pt idx="422">
                  <c:v>0.88237861465270373</c:v>
                </c:pt>
                <c:pt idx="423">
                  <c:v>0.8828548675249821</c:v>
                </c:pt>
                <c:pt idx="424">
                  <c:v>0.88332995310545104</c:v>
                </c:pt>
                <c:pt idx="425">
                  <c:v>0.88380462772925306</c:v>
                </c:pt>
                <c:pt idx="426">
                  <c:v>0.88427876679782413</c:v>
                </c:pt>
                <c:pt idx="427">
                  <c:v>0.8847521866922281</c:v>
                </c:pt>
                <c:pt idx="428">
                  <c:v>0.88522123252125651</c:v>
                </c:pt>
                <c:pt idx="429">
                  <c:v>0.88569023025961113</c:v>
                </c:pt>
                <c:pt idx="430">
                  <c:v>0.8861582661844899</c:v>
                </c:pt>
                <c:pt idx="431">
                  <c:v>0.88662147555447157</c:v>
                </c:pt>
                <c:pt idx="432">
                  <c:v>0.88753535355827318</c:v>
                </c:pt>
                <c:pt idx="433">
                  <c:v>0.88798661239581711</c:v>
                </c:pt>
                <c:pt idx="434">
                  <c:v>0.88843693565116177</c:v>
                </c:pt>
                <c:pt idx="435">
                  <c:v>0.88888434067698296</c:v>
                </c:pt>
                <c:pt idx="436">
                  <c:v>0.88932914662047957</c:v>
                </c:pt>
                <c:pt idx="437">
                  <c:v>0.88977289675509252</c:v>
                </c:pt>
                <c:pt idx="438">
                  <c:v>0.89021104432620846</c:v>
                </c:pt>
                <c:pt idx="439">
                  <c:v>0.89064376639494458</c:v>
                </c:pt>
                <c:pt idx="440">
                  <c:v>0.89107494519023989</c:v>
                </c:pt>
                <c:pt idx="441">
                  <c:v>0.89150496106560528</c:v>
                </c:pt>
                <c:pt idx="442">
                  <c:v>0.89193436706378937</c:v>
                </c:pt>
                <c:pt idx="443">
                  <c:v>0.89236278064534147</c:v>
                </c:pt>
                <c:pt idx="444">
                  <c:v>0.89279106088457083</c:v>
                </c:pt>
                <c:pt idx="445">
                  <c:v>0.89321795742395871</c:v>
                </c:pt>
                <c:pt idx="446">
                  <c:v>0.89364198163855724</c:v>
                </c:pt>
                <c:pt idx="447">
                  <c:v>0.8940606983915208</c:v>
                </c:pt>
                <c:pt idx="448">
                  <c:v>0.89447870034219656</c:v>
                </c:pt>
                <c:pt idx="449">
                  <c:v>0.89488984718591702</c:v>
                </c:pt>
                <c:pt idx="450">
                  <c:v>0.89530057432921162</c:v>
                </c:pt>
                <c:pt idx="451">
                  <c:v>0.89571113096920818</c:v>
                </c:pt>
                <c:pt idx="452">
                  <c:v>0.89612133130103078</c:v>
                </c:pt>
                <c:pt idx="453">
                  <c:v>0.8965288276254223</c:v>
                </c:pt>
                <c:pt idx="454">
                  <c:v>0.89693610098396259</c:v>
                </c:pt>
                <c:pt idx="455">
                  <c:v>0.89733784828689611</c:v>
                </c:pt>
                <c:pt idx="456">
                  <c:v>0.89773541825902869</c:v>
                </c:pt>
                <c:pt idx="457">
                  <c:v>0.89813117608713511</c:v>
                </c:pt>
                <c:pt idx="458">
                  <c:v>0.89852687489486915</c:v>
                </c:pt>
                <c:pt idx="459">
                  <c:v>0.89891714601428363</c:v>
                </c:pt>
                <c:pt idx="460">
                  <c:v>0.89930495795151555</c:v>
                </c:pt>
                <c:pt idx="461">
                  <c:v>0.89969267152146015</c:v>
                </c:pt>
                <c:pt idx="462">
                  <c:v>0.90007527217840455</c:v>
                </c:pt>
                <c:pt idx="463">
                  <c:v>0.90045679298112835</c:v>
                </c:pt>
                <c:pt idx="464">
                  <c:v>0.90083830941197263</c:v>
                </c:pt>
                <c:pt idx="465">
                  <c:v>0.90121649009880744</c:v>
                </c:pt>
                <c:pt idx="466">
                  <c:v>0.90158851517939664</c:v>
                </c:pt>
                <c:pt idx="467">
                  <c:v>0.90195916093202388</c:v>
                </c:pt>
                <c:pt idx="468">
                  <c:v>0.90232968427202687</c:v>
                </c:pt>
                <c:pt idx="469">
                  <c:v>0.90269923268291574</c:v>
                </c:pt>
                <c:pt idx="470">
                  <c:v>0.90306693178880326</c:v>
                </c:pt>
                <c:pt idx="471">
                  <c:v>0.90343371935782835</c:v>
                </c:pt>
                <c:pt idx="472">
                  <c:v>0.90379978775268632</c:v>
                </c:pt>
                <c:pt idx="473">
                  <c:v>0.90416441998514963</c:v>
                </c:pt>
                <c:pt idx="474">
                  <c:v>0.9045284795014068</c:v>
                </c:pt>
                <c:pt idx="475">
                  <c:v>0.90488918141425734</c:v>
                </c:pt>
                <c:pt idx="476">
                  <c:v>0.90524969970817148</c:v>
                </c:pt>
                <c:pt idx="477">
                  <c:v>0.90560687351431723</c:v>
                </c:pt>
                <c:pt idx="478">
                  <c:v>0.9059630658335297</c:v>
                </c:pt>
                <c:pt idx="479">
                  <c:v>0.90631886031171349</c:v>
                </c:pt>
                <c:pt idx="480">
                  <c:v>0.9066745913976455</c:v>
                </c:pt>
                <c:pt idx="481">
                  <c:v>0.9070275419682563</c:v>
                </c:pt>
                <c:pt idx="482">
                  <c:v>0.90737911539684479</c:v>
                </c:pt>
                <c:pt idx="483">
                  <c:v>0.90772947562888995</c:v>
                </c:pt>
                <c:pt idx="484">
                  <c:v>0.90807855052838093</c:v>
                </c:pt>
                <c:pt idx="485">
                  <c:v>0.90842664175499888</c:v>
                </c:pt>
                <c:pt idx="486">
                  <c:v>0.90877465428778692</c:v>
                </c:pt>
                <c:pt idx="487">
                  <c:v>0.90912202634023764</c:v>
                </c:pt>
                <c:pt idx="488">
                  <c:v>0.90946922133157126</c:v>
                </c:pt>
                <c:pt idx="489">
                  <c:v>0.90981398992981799</c:v>
                </c:pt>
                <c:pt idx="490">
                  <c:v>0.9101582273447133</c:v>
                </c:pt>
                <c:pt idx="491">
                  <c:v>0.91050114226607926</c:v>
                </c:pt>
                <c:pt idx="492">
                  <c:v>0.9108437708293422</c:v>
                </c:pt>
                <c:pt idx="493">
                  <c:v>0.91118613926577863</c:v>
                </c:pt>
                <c:pt idx="494">
                  <c:v>0.91152575997598972</c:v>
                </c:pt>
                <c:pt idx="495">
                  <c:v>0.91186463965263642</c:v>
                </c:pt>
                <c:pt idx="496">
                  <c:v>0.91220181648224286</c:v>
                </c:pt>
                <c:pt idx="497">
                  <c:v>0.9125389561508741</c:v>
                </c:pt>
                <c:pt idx="498">
                  <c:v>0.91287568923471785</c:v>
                </c:pt>
                <c:pt idx="499">
                  <c:v>0.91321143427380913</c:v>
                </c:pt>
                <c:pt idx="500">
                  <c:v>0.91354697820644637</c:v>
                </c:pt>
                <c:pt idx="501">
                  <c:v>0.91388197128227466</c:v>
                </c:pt>
                <c:pt idx="502">
                  <c:v>0.91421643754663096</c:v>
                </c:pt>
                <c:pt idx="503">
                  <c:v>0.91455042727612867</c:v>
                </c:pt>
                <c:pt idx="504">
                  <c:v>0.91488372406273588</c:v>
                </c:pt>
                <c:pt idx="505">
                  <c:v>0.91521645031907672</c:v>
                </c:pt>
                <c:pt idx="506">
                  <c:v>0.91554367237920786</c:v>
                </c:pt>
                <c:pt idx="507">
                  <c:v>0.9158705971515374</c:v>
                </c:pt>
                <c:pt idx="508">
                  <c:v>0.91619581907682668</c:v>
                </c:pt>
                <c:pt idx="509">
                  <c:v>0.91652031308418991</c:v>
                </c:pt>
                <c:pt idx="510">
                  <c:v>0.91684342339171165</c:v>
                </c:pt>
                <c:pt idx="511">
                  <c:v>0.91716651183983622</c:v>
                </c:pt>
                <c:pt idx="512">
                  <c:v>0.9174880657582789</c:v>
                </c:pt>
                <c:pt idx="513">
                  <c:v>0.91780771353728752</c:v>
                </c:pt>
                <c:pt idx="514">
                  <c:v>0.91812698533466464</c:v>
                </c:pt>
                <c:pt idx="515">
                  <c:v>0.91844566692831797</c:v>
                </c:pt>
                <c:pt idx="516">
                  <c:v>0.91876288394236028</c:v>
                </c:pt>
                <c:pt idx="517">
                  <c:v>0.91907941457133113</c:v>
                </c:pt>
                <c:pt idx="518">
                  <c:v>0.91939574627978771</c:v>
                </c:pt>
                <c:pt idx="519">
                  <c:v>0.91970653444511974</c:v>
                </c:pt>
                <c:pt idx="520">
                  <c:v>0.920015213178624</c:v>
                </c:pt>
                <c:pt idx="521">
                  <c:v>0.92062985789444252</c:v>
                </c:pt>
                <c:pt idx="522">
                  <c:v>0.9209354260357282</c:v>
                </c:pt>
                <c:pt idx="523">
                  <c:v>0.92123994492594929</c:v>
                </c:pt>
                <c:pt idx="524">
                  <c:v>0.92154388672808485</c:v>
                </c:pt>
                <c:pt idx="525">
                  <c:v>0.92184763835346495</c:v>
                </c:pt>
                <c:pt idx="526">
                  <c:v>0.92214919748130797</c:v>
                </c:pt>
                <c:pt idx="527">
                  <c:v>0.92244816189870582</c:v>
                </c:pt>
                <c:pt idx="528">
                  <c:v>0.92274697985814258</c:v>
                </c:pt>
                <c:pt idx="529">
                  <c:v>0.92304496060266739</c:v>
                </c:pt>
                <c:pt idx="530">
                  <c:v>0.9233406242510912</c:v>
                </c:pt>
                <c:pt idx="531">
                  <c:v>0.92363538073453211</c:v>
                </c:pt>
                <c:pt idx="532">
                  <c:v>0.92392718619935388</c:v>
                </c:pt>
                <c:pt idx="533">
                  <c:v>0.92421498046479333</c:v>
                </c:pt>
                <c:pt idx="534">
                  <c:v>0.92450247525649143</c:v>
                </c:pt>
                <c:pt idx="535">
                  <c:v>0.92478843333256777</c:v>
                </c:pt>
                <c:pt idx="536">
                  <c:v>0.92507414002557664</c:v>
                </c:pt>
                <c:pt idx="537">
                  <c:v>0.92535957784800016</c:v>
                </c:pt>
                <c:pt idx="538">
                  <c:v>0.92564265266958867</c:v>
                </c:pt>
                <c:pt idx="539">
                  <c:v>0.92592496897009502</c:v>
                </c:pt>
                <c:pt idx="540">
                  <c:v>0.92620666009184205</c:v>
                </c:pt>
                <c:pt idx="541">
                  <c:v>0.92648783095993625</c:v>
                </c:pt>
                <c:pt idx="542">
                  <c:v>0.92676878760593806</c:v>
                </c:pt>
                <c:pt idx="543">
                  <c:v>0.92704879555410236</c:v>
                </c:pt>
                <c:pt idx="544">
                  <c:v>0.92732742198836493</c:v>
                </c:pt>
                <c:pt idx="545">
                  <c:v>0.92760577518016274</c:v>
                </c:pt>
                <c:pt idx="546">
                  <c:v>0.92788368462619786</c:v>
                </c:pt>
                <c:pt idx="547">
                  <c:v>0.92816120716090289</c:v>
                </c:pt>
                <c:pt idx="548">
                  <c:v>0.92843310964459314</c:v>
                </c:pt>
                <c:pt idx="549">
                  <c:v>0.92870500775640397</c:v>
                </c:pt>
                <c:pt idx="550">
                  <c:v>0.92897651677094506</c:v>
                </c:pt>
                <c:pt idx="551">
                  <c:v>0.92924565185495245</c:v>
                </c:pt>
                <c:pt idx="552">
                  <c:v>0.92951410273982815</c:v>
                </c:pt>
                <c:pt idx="553">
                  <c:v>0.9297819568631609</c:v>
                </c:pt>
                <c:pt idx="554">
                  <c:v>0.93004696926486041</c:v>
                </c:pt>
                <c:pt idx="555">
                  <c:v>0.93031140676441404</c:v>
                </c:pt>
                <c:pt idx="556">
                  <c:v>0.93057510760228279</c:v>
                </c:pt>
                <c:pt idx="557">
                  <c:v>0.93083770672653365</c:v>
                </c:pt>
                <c:pt idx="558">
                  <c:v>0.93109814614234332</c:v>
                </c:pt>
                <c:pt idx="559">
                  <c:v>0.931356539518577</c:v>
                </c:pt>
                <c:pt idx="560">
                  <c:v>0.93161212833415263</c:v>
                </c:pt>
                <c:pt idx="561">
                  <c:v>0.93186674877843323</c:v>
                </c:pt>
                <c:pt idx="562">
                  <c:v>0.93211835918372221</c:v>
                </c:pt>
                <c:pt idx="563">
                  <c:v>0.93236724809406246</c:v>
                </c:pt>
                <c:pt idx="564">
                  <c:v>0.93261549871000504</c:v>
                </c:pt>
                <c:pt idx="565">
                  <c:v>0.93286051850704466</c:v>
                </c:pt>
                <c:pt idx="566">
                  <c:v>0.93310520385530737</c:v>
                </c:pt>
                <c:pt idx="567">
                  <c:v>0.93334956787043155</c:v>
                </c:pt>
                <c:pt idx="568">
                  <c:v>0.93359321708326803</c:v>
                </c:pt>
                <c:pt idx="569">
                  <c:v>0.93383098393232356</c:v>
                </c:pt>
                <c:pt idx="570">
                  <c:v>0.93406869613288623</c:v>
                </c:pt>
                <c:pt idx="571">
                  <c:v>0.9343054487059127</c:v>
                </c:pt>
                <c:pt idx="572">
                  <c:v>0.93454198268496735</c:v>
                </c:pt>
                <c:pt idx="573">
                  <c:v>0.93477812100893309</c:v>
                </c:pt>
                <c:pt idx="574">
                  <c:v>0.93501128645488252</c:v>
                </c:pt>
                <c:pt idx="575">
                  <c:v>0.9352442923272325</c:v>
                </c:pt>
                <c:pt idx="576">
                  <c:v>0.93547697468050428</c:v>
                </c:pt>
                <c:pt idx="577">
                  <c:v>0.93570801539304793</c:v>
                </c:pt>
                <c:pt idx="578">
                  <c:v>0.93593822107661928</c:v>
                </c:pt>
                <c:pt idx="579">
                  <c:v>0.93616747150453394</c:v>
                </c:pt>
                <c:pt idx="580">
                  <c:v>0.93639627381480639</c:v>
                </c:pt>
                <c:pt idx="581">
                  <c:v>0.93662447061977705</c:v>
                </c:pt>
                <c:pt idx="582">
                  <c:v>0.93685247724799225</c:v>
                </c:pt>
                <c:pt idx="583">
                  <c:v>0.93730407490619239</c:v>
                </c:pt>
                <c:pt idx="584">
                  <c:v>0.93752914800330611</c:v>
                </c:pt>
                <c:pt idx="585">
                  <c:v>0.93775405496900133</c:v>
                </c:pt>
                <c:pt idx="586">
                  <c:v>0.93797756949109623</c:v>
                </c:pt>
                <c:pt idx="587">
                  <c:v>0.93820077360975118</c:v>
                </c:pt>
                <c:pt idx="588">
                  <c:v>0.93842373071721796</c:v>
                </c:pt>
                <c:pt idx="589">
                  <c:v>0.93864477075555219</c:v>
                </c:pt>
                <c:pt idx="590">
                  <c:v>0.9388652380776803</c:v>
                </c:pt>
                <c:pt idx="591">
                  <c:v>0.93908484413955962</c:v>
                </c:pt>
                <c:pt idx="592">
                  <c:v>0.93930334630188139</c:v>
                </c:pt>
                <c:pt idx="593">
                  <c:v>0.93951781540542356</c:v>
                </c:pt>
                <c:pt idx="594">
                  <c:v>0.93973179704440868</c:v>
                </c:pt>
                <c:pt idx="595">
                  <c:v>0.93994536335484735</c:v>
                </c:pt>
                <c:pt idx="596">
                  <c:v>0.94015787604234202</c:v>
                </c:pt>
                <c:pt idx="597">
                  <c:v>0.94037031222194656</c:v>
                </c:pt>
                <c:pt idx="598">
                  <c:v>0.94058267407960072</c:v>
                </c:pt>
                <c:pt idx="599">
                  <c:v>0.94079485669019802</c:v>
                </c:pt>
                <c:pt idx="600">
                  <c:v>0.94100701525545838</c:v>
                </c:pt>
                <c:pt idx="601">
                  <c:v>0.94121866231082474</c:v>
                </c:pt>
                <c:pt idx="602">
                  <c:v>0.94142946777939973</c:v>
                </c:pt>
                <c:pt idx="603">
                  <c:v>0.94163777253293746</c:v>
                </c:pt>
                <c:pt idx="604">
                  <c:v>0.94184488594932891</c:v>
                </c:pt>
                <c:pt idx="605">
                  <c:v>0.94204938060993837</c:v>
                </c:pt>
                <c:pt idx="606">
                  <c:v>0.94225228172049347</c:v>
                </c:pt>
                <c:pt idx="607">
                  <c:v>0.94245511069503785</c:v>
                </c:pt>
                <c:pt idx="608">
                  <c:v>0.94265760303486568</c:v>
                </c:pt>
                <c:pt idx="609">
                  <c:v>0.94285911170182046</c:v>
                </c:pt>
                <c:pt idx="610">
                  <c:v>0.94306043456389921</c:v>
                </c:pt>
                <c:pt idx="611">
                  <c:v>0.94326120219728959</c:v>
                </c:pt>
                <c:pt idx="612">
                  <c:v>0.94346139930041362</c:v>
                </c:pt>
                <c:pt idx="613">
                  <c:v>0.94366054059465387</c:v>
                </c:pt>
                <c:pt idx="614">
                  <c:v>0.94385962724040118</c:v>
                </c:pt>
                <c:pt idx="615">
                  <c:v>0.94405711377827506</c:v>
                </c:pt>
                <c:pt idx="616">
                  <c:v>0.94425452818013822</c:v>
                </c:pt>
                <c:pt idx="617">
                  <c:v>0.94445082338086583</c:v>
                </c:pt>
                <c:pt idx="618">
                  <c:v>0.94464704207370331</c:v>
                </c:pt>
                <c:pt idx="619">
                  <c:v>0.94464704207370331</c:v>
                </c:pt>
                <c:pt idx="620">
                  <c:v>0.94484272739724962</c:v>
                </c:pt>
                <c:pt idx="621">
                  <c:v>0.94503756894806479</c:v>
                </c:pt>
                <c:pt idx="622">
                  <c:v>0.94523058305327579</c:v>
                </c:pt>
                <c:pt idx="623">
                  <c:v>0.94542295012033029</c:v>
                </c:pt>
                <c:pt idx="624">
                  <c:v>0.94561472916960065</c:v>
                </c:pt>
                <c:pt idx="625">
                  <c:v>0.94580540869119301</c:v>
                </c:pt>
                <c:pt idx="626">
                  <c:v>0.94599605323774982</c:v>
                </c:pt>
                <c:pt idx="627">
                  <c:v>0.94618667373896981</c:v>
                </c:pt>
                <c:pt idx="628">
                  <c:v>0.94637543400548985</c:v>
                </c:pt>
                <c:pt idx="629">
                  <c:v>0.94656414618133611</c:v>
                </c:pt>
                <c:pt idx="630">
                  <c:v>0.94675145935576288</c:v>
                </c:pt>
                <c:pt idx="631">
                  <c:v>0.94693872881139529</c:v>
                </c:pt>
                <c:pt idx="632">
                  <c:v>0.94712488343777157</c:v>
                </c:pt>
                <c:pt idx="633">
                  <c:v>0.94730958222829575</c:v>
                </c:pt>
                <c:pt idx="634">
                  <c:v>0.94749418265153262</c:v>
                </c:pt>
                <c:pt idx="635">
                  <c:v>0.947678422394716</c:v>
                </c:pt>
                <c:pt idx="636">
                  <c:v>0.94786165441968939</c:v>
                </c:pt>
                <c:pt idx="637">
                  <c:v>0.94804467878038967</c:v>
                </c:pt>
                <c:pt idx="638">
                  <c:v>0.94822758510034511</c:v>
                </c:pt>
                <c:pt idx="639">
                  <c:v>0.94840922357526414</c:v>
                </c:pt>
                <c:pt idx="640">
                  <c:v>0.94859016254947348</c:v>
                </c:pt>
                <c:pt idx="641">
                  <c:v>0.94876894181524152</c:v>
                </c:pt>
                <c:pt idx="642">
                  <c:v>0.94894760741214423</c:v>
                </c:pt>
                <c:pt idx="643">
                  <c:v>0.94912511446099646</c:v>
                </c:pt>
                <c:pt idx="644">
                  <c:v>0.94930163127915645</c:v>
                </c:pt>
                <c:pt idx="645">
                  <c:v>0.94947797540807877</c:v>
                </c:pt>
                <c:pt idx="646">
                  <c:v>0.94965326591405708</c:v>
                </c:pt>
                <c:pt idx="647">
                  <c:v>0.94982805583983998</c:v>
                </c:pt>
                <c:pt idx="648">
                  <c:v>0.95000277581555193</c:v>
                </c:pt>
                <c:pt idx="649">
                  <c:v>0.95017418846447066</c:v>
                </c:pt>
                <c:pt idx="650">
                  <c:v>0.95034538689129711</c:v>
                </c:pt>
                <c:pt idx="651">
                  <c:v>0.95051650006647448</c:v>
                </c:pt>
                <c:pt idx="652">
                  <c:v>0.95068760886977244</c:v>
                </c:pt>
                <c:pt idx="653">
                  <c:v>0.95085780395026831</c:v>
                </c:pt>
                <c:pt idx="654">
                  <c:v>0.95102775639145554</c:v>
                </c:pt>
                <c:pt idx="655">
                  <c:v>0.95119624206709208</c:v>
                </c:pt>
                <c:pt idx="656">
                  <c:v>0.95136464249107955</c:v>
                </c:pt>
                <c:pt idx="657">
                  <c:v>0.95153141001809782</c:v>
                </c:pt>
                <c:pt idx="658">
                  <c:v>0.9516978015634846</c:v>
                </c:pt>
                <c:pt idx="659">
                  <c:v>0.95186279847933131</c:v>
                </c:pt>
                <c:pt idx="660">
                  <c:v>0.95202756149962819</c:v>
                </c:pt>
                <c:pt idx="661">
                  <c:v>0.95219122062036754</c:v>
                </c:pt>
                <c:pt idx="662">
                  <c:v>0.95235438134685124</c:v>
                </c:pt>
                <c:pt idx="663">
                  <c:v>0.95251626548453971</c:v>
                </c:pt>
                <c:pt idx="664">
                  <c:v>0.95267749384031275</c:v>
                </c:pt>
                <c:pt idx="665">
                  <c:v>0.95283807515792929</c:v>
                </c:pt>
                <c:pt idx="666">
                  <c:v>0.95299803785460568</c:v>
                </c:pt>
                <c:pt idx="667">
                  <c:v>0.95315747155387032</c:v>
                </c:pt>
                <c:pt idx="668">
                  <c:v>0.95331672163419867</c:v>
                </c:pt>
                <c:pt idx="669">
                  <c:v>0.95347509515270013</c:v>
                </c:pt>
                <c:pt idx="670">
                  <c:v>0.95363303804107724</c:v>
                </c:pt>
                <c:pt idx="671">
                  <c:v>0.95379097874351459</c:v>
                </c:pt>
                <c:pt idx="672">
                  <c:v>0.95394818934208614</c:v>
                </c:pt>
                <c:pt idx="673">
                  <c:v>0.95410472229934518</c:v>
                </c:pt>
                <c:pt idx="674">
                  <c:v>0.95426032841816377</c:v>
                </c:pt>
                <c:pt idx="675">
                  <c:v>0.95441566566639713</c:v>
                </c:pt>
                <c:pt idx="676">
                  <c:v>0.95457074278780407</c:v>
                </c:pt>
                <c:pt idx="677">
                  <c:v>0.95472556852614343</c:v>
                </c:pt>
                <c:pt idx="678">
                  <c:v>0.95488038114884444</c:v>
                </c:pt>
                <c:pt idx="679">
                  <c:v>0.9550351019620773</c:v>
                </c:pt>
                <c:pt idx="680">
                  <c:v>0.95518934186857229</c:v>
                </c:pt>
                <c:pt idx="681">
                  <c:v>0.95534344843274444</c:v>
                </c:pt>
                <c:pt idx="682">
                  <c:v>0.95549459960641803</c:v>
                </c:pt>
                <c:pt idx="683">
                  <c:v>0.95564534638124377</c:v>
                </c:pt>
                <c:pt idx="684">
                  <c:v>0.95579505920658292</c:v>
                </c:pt>
                <c:pt idx="685">
                  <c:v>0.95594443758314529</c:v>
                </c:pt>
                <c:pt idx="686">
                  <c:v>0.95609352960160454</c:v>
                </c:pt>
                <c:pt idx="687">
                  <c:v>0.95624259757472696</c:v>
                </c:pt>
                <c:pt idx="688">
                  <c:v>0.95639156936650171</c:v>
                </c:pt>
                <c:pt idx="689">
                  <c:v>0.95654047995196445</c:v>
                </c:pt>
                <c:pt idx="690">
                  <c:v>0.95668848337244428</c:v>
                </c:pt>
                <c:pt idx="691">
                  <c:v>0.95683624415361535</c:v>
                </c:pt>
                <c:pt idx="692">
                  <c:v>0.95698373169232165</c:v>
                </c:pt>
                <c:pt idx="693">
                  <c:v>0.95712979399833198</c:v>
                </c:pt>
                <c:pt idx="694">
                  <c:v>0.95727547376489164</c:v>
                </c:pt>
                <c:pt idx="695">
                  <c:v>0.95742034036187618</c:v>
                </c:pt>
                <c:pt idx="696">
                  <c:v>0.95756515886818694</c:v>
                </c:pt>
                <c:pt idx="697">
                  <c:v>0.95770940465829169</c:v>
                </c:pt>
                <c:pt idx="698">
                  <c:v>0.95785285476633908</c:v>
                </c:pt>
                <c:pt idx="699">
                  <c:v>0.95799580866607048</c:v>
                </c:pt>
                <c:pt idx="700">
                  <c:v>0.95813847620769887</c:v>
                </c:pt>
                <c:pt idx="701">
                  <c:v>0.95828029997659614</c:v>
                </c:pt>
                <c:pt idx="702">
                  <c:v>0.95842210625797564</c:v>
                </c:pt>
                <c:pt idx="703">
                  <c:v>0.95856381417206782</c:v>
                </c:pt>
                <c:pt idx="704">
                  <c:v>0.95870534283910314</c:v>
                </c:pt>
                <c:pt idx="705">
                  <c:v>0.95884635781030481</c:v>
                </c:pt>
                <c:pt idx="706">
                  <c:v>0.95898718041881126</c:v>
                </c:pt>
                <c:pt idx="707">
                  <c:v>0.95912718329992352</c:v>
                </c:pt>
                <c:pt idx="708">
                  <c:v>0.95940680433675773</c:v>
                </c:pt>
                <c:pt idx="709">
                  <c:v>0.95954626729075965</c:v>
                </c:pt>
                <c:pt idx="710">
                  <c:v>0.95968537612252725</c:v>
                </c:pt>
                <c:pt idx="711">
                  <c:v>0.95982429040565997</c:v>
                </c:pt>
                <c:pt idx="712">
                  <c:v>0.95996305167301244</c:v>
                </c:pt>
                <c:pt idx="713">
                  <c:v>0.96009946086922848</c:v>
                </c:pt>
                <c:pt idx="714">
                  <c:v>0.96023564928553307</c:v>
                </c:pt>
                <c:pt idx="715">
                  <c:v>0.96037129777472729</c:v>
                </c:pt>
                <c:pt idx="716">
                  <c:v>0.96050691128888599</c:v>
                </c:pt>
                <c:pt idx="717">
                  <c:v>0.96064210947449835</c:v>
                </c:pt>
                <c:pt idx="718">
                  <c:v>0.96077616659957799</c:v>
                </c:pt>
                <c:pt idx="719">
                  <c:v>0.96090994392437368</c:v>
                </c:pt>
                <c:pt idx="720">
                  <c:v>0.96104306983913346</c:v>
                </c:pt>
                <c:pt idx="721">
                  <c:v>0.96117379559208294</c:v>
                </c:pt>
                <c:pt idx="722">
                  <c:v>0.96130445358090122</c:v>
                </c:pt>
                <c:pt idx="723">
                  <c:v>0.96143481209597814</c:v>
                </c:pt>
                <c:pt idx="724">
                  <c:v>0.96156495420302301</c:v>
                </c:pt>
                <c:pt idx="725">
                  <c:v>0.9616950066865394</c:v>
                </c:pt>
                <c:pt idx="726">
                  <c:v>0.9618241192159771</c:v>
                </c:pt>
                <c:pt idx="727">
                  <c:v>0.96195310496091113</c:v>
                </c:pt>
                <c:pt idx="728">
                  <c:v>0.96208208633396575</c:v>
                </c:pt>
                <c:pt idx="729">
                  <c:v>0.96221092780687845</c:v>
                </c:pt>
                <c:pt idx="730">
                  <c:v>0.96233868723963079</c:v>
                </c:pt>
                <c:pt idx="731">
                  <c:v>0.96246626305344685</c:v>
                </c:pt>
                <c:pt idx="732">
                  <c:v>0.96259364431862793</c:v>
                </c:pt>
                <c:pt idx="733">
                  <c:v>0.96271989763891463</c:v>
                </c:pt>
                <c:pt idx="734">
                  <c:v>0.9628458711589174</c:v>
                </c:pt>
                <c:pt idx="735">
                  <c:v>0.96297139218939853</c:v>
                </c:pt>
                <c:pt idx="736">
                  <c:v>0.96309639296622684</c:v>
                </c:pt>
                <c:pt idx="737">
                  <c:v>0.96322059150317874</c:v>
                </c:pt>
                <c:pt idx="738">
                  <c:v>0.96334470041660214</c:v>
                </c:pt>
                <c:pt idx="739">
                  <c:v>0.96346825628727695</c:v>
                </c:pt>
                <c:pt idx="740">
                  <c:v>0.96371447835116131</c:v>
                </c:pt>
                <c:pt idx="741">
                  <c:v>0.96395792864348351</c:v>
                </c:pt>
                <c:pt idx="742">
                  <c:v>0.96407900128663881</c:v>
                </c:pt>
                <c:pt idx="743">
                  <c:v>0.96419976571229382</c:v>
                </c:pt>
                <c:pt idx="744">
                  <c:v>0.96432033121743455</c:v>
                </c:pt>
                <c:pt idx="745">
                  <c:v>0.9644397993808369</c:v>
                </c:pt>
                <c:pt idx="746">
                  <c:v>0.96455875166246585</c:v>
                </c:pt>
                <c:pt idx="747">
                  <c:v>0.96467753999861594</c:v>
                </c:pt>
                <c:pt idx="748">
                  <c:v>0.96479615783146799</c:v>
                </c:pt>
                <c:pt idx="749">
                  <c:v>0.96491476692056122</c:v>
                </c:pt>
                <c:pt idx="750">
                  <c:v>0.96503336507995585</c:v>
                </c:pt>
                <c:pt idx="751">
                  <c:v>0.96515125936676127</c:v>
                </c:pt>
                <c:pt idx="752">
                  <c:v>0.96526848257007336</c:v>
                </c:pt>
                <c:pt idx="753">
                  <c:v>0.96538520300725028</c:v>
                </c:pt>
                <c:pt idx="754">
                  <c:v>0.96550080424329165</c:v>
                </c:pt>
                <c:pt idx="755">
                  <c:v>0.96561602731176177</c:v>
                </c:pt>
                <c:pt idx="756">
                  <c:v>0.96573003499774879</c:v>
                </c:pt>
                <c:pt idx="757">
                  <c:v>0.96584378474284904</c:v>
                </c:pt>
                <c:pt idx="758">
                  <c:v>0.96595667978551969</c:v>
                </c:pt>
                <c:pt idx="759">
                  <c:v>0.96606819112834885</c:v>
                </c:pt>
                <c:pt idx="760">
                  <c:v>0.9661795101084828</c:v>
                </c:pt>
                <c:pt idx="761">
                  <c:v>0.96629032195060227</c:v>
                </c:pt>
                <c:pt idx="762">
                  <c:v>0.96639929978929839</c:v>
                </c:pt>
                <c:pt idx="763">
                  <c:v>0.96650820330604414</c:v>
                </c:pt>
                <c:pt idx="764">
                  <c:v>0.96661686855536066</c:v>
                </c:pt>
                <c:pt idx="765">
                  <c:v>0.9667253239544642</c:v>
                </c:pt>
                <c:pt idx="766">
                  <c:v>0.96683369628785842</c:v>
                </c:pt>
                <c:pt idx="767">
                  <c:v>0.96694122922040104</c:v>
                </c:pt>
                <c:pt idx="768">
                  <c:v>0.96704874685136566</c:v>
                </c:pt>
                <c:pt idx="769">
                  <c:v>0.96715569176612415</c:v>
                </c:pt>
                <c:pt idx="770">
                  <c:v>0.96726263012306346</c:v>
                </c:pt>
                <c:pt idx="771">
                  <c:v>0.96736931272505577</c:v>
                </c:pt>
                <c:pt idx="772">
                  <c:v>0.96747552316406904</c:v>
                </c:pt>
                <c:pt idx="773">
                  <c:v>0.96758149970753249</c:v>
                </c:pt>
                <c:pt idx="774">
                  <c:v>0.96768744346190017</c:v>
                </c:pt>
                <c:pt idx="775">
                  <c:v>0.96779330852243806</c:v>
                </c:pt>
                <c:pt idx="776">
                  <c:v>0.96789907740162828</c:v>
                </c:pt>
                <c:pt idx="777">
                  <c:v>0.96800421891611954</c:v>
                </c:pt>
                <c:pt idx="778">
                  <c:v>0.96810846856720589</c:v>
                </c:pt>
                <c:pt idx="779">
                  <c:v>0.96821235316635934</c:v>
                </c:pt>
                <c:pt idx="780">
                  <c:v>0.96831559728517547</c:v>
                </c:pt>
                <c:pt idx="781">
                  <c:v>0.96841883266023265</c:v>
                </c:pt>
                <c:pt idx="782">
                  <c:v>0.96852167238020093</c:v>
                </c:pt>
                <c:pt idx="783">
                  <c:v>0.96862436345626834</c:v>
                </c:pt>
                <c:pt idx="784">
                  <c:v>0.96872665887724685</c:v>
                </c:pt>
                <c:pt idx="785">
                  <c:v>0.96882867668388117</c:v>
                </c:pt>
                <c:pt idx="786">
                  <c:v>0.9689299906179264</c:v>
                </c:pt>
                <c:pt idx="787">
                  <c:v>0.96903038208541059</c:v>
                </c:pt>
                <c:pt idx="788">
                  <c:v>0.96913070578876359</c:v>
                </c:pt>
                <c:pt idx="789">
                  <c:v>0.96923034747892456</c:v>
                </c:pt>
                <c:pt idx="790">
                  <c:v>0.9693296722078264</c:v>
                </c:pt>
                <c:pt idx="791">
                  <c:v>0.96942887452410409</c:v>
                </c:pt>
                <c:pt idx="792">
                  <c:v>0.9695279194527221</c:v>
                </c:pt>
                <c:pt idx="793">
                  <c:v>0.96962626706657007</c:v>
                </c:pt>
                <c:pt idx="794">
                  <c:v>0.96972363756536417</c:v>
                </c:pt>
                <c:pt idx="795">
                  <c:v>0.96982021456804068</c:v>
                </c:pt>
                <c:pt idx="796">
                  <c:v>0.96991624289984801</c:v>
                </c:pt>
                <c:pt idx="797">
                  <c:v>0.97001170507326839</c:v>
                </c:pt>
                <c:pt idx="798">
                  <c:v>0.97010712352789441</c:v>
                </c:pt>
                <c:pt idx="799">
                  <c:v>0.9702022250212613</c:v>
                </c:pt>
                <c:pt idx="800">
                  <c:v>0.97029657673730496</c:v>
                </c:pt>
                <c:pt idx="801">
                  <c:v>0.97039080604072447</c:v>
                </c:pt>
                <c:pt idx="802">
                  <c:v>0.97048464624687414</c:v>
                </c:pt>
                <c:pt idx="803">
                  <c:v>0.97057835966852013</c:v>
                </c:pt>
                <c:pt idx="804">
                  <c:v>0.97066998988961506</c:v>
                </c:pt>
                <c:pt idx="805">
                  <c:v>0.97076139933079841</c:v>
                </c:pt>
                <c:pt idx="806">
                  <c:v>0.97085253771545676</c:v>
                </c:pt>
                <c:pt idx="807">
                  <c:v>0.97103384611347843</c:v>
                </c:pt>
                <c:pt idx="808">
                  <c:v>0.97112365107490883</c:v>
                </c:pt>
                <c:pt idx="809">
                  <c:v>0.97121295108426442</c:v>
                </c:pt>
                <c:pt idx="810">
                  <c:v>0.97130221611858458</c:v>
                </c:pt>
                <c:pt idx="811">
                  <c:v>0.97139146147944722</c:v>
                </c:pt>
                <c:pt idx="812">
                  <c:v>0.97148020844605421</c:v>
                </c:pt>
                <c:pt idx="813">
                  <c:v>0.97156847887780273</c:v>
                </c:pt>
                <c:pt idx="814">
                  <c:v>0.97165661815316817</c:v>
                </c:pt>
                <c:pt idx="815">
                  <c:v>0.97174454102050145</c:v>
                </c:pt>
                <c:pt idx="816">
                  <c:v>0.97183197642327768</c:v>
                </c:pt>
                <c:pt idx="817">
                  <c:v>0.9719191670008055</c:v>
                </c:pt>
                <c:pt idx="818">
                  <c:v>0.97209317654610916</c:v>
                </c:pt>
                <c:pt idx="819">
                  <c:v>0.97217942279767888</c:v>
                </c:pt>
                <c:pt idx="820">
                  <c:v>0.97226505917206729</c:v>
                </c:pt>
                <c:pt idx="821">
                  <c:v>0.97235057313383144</c:v>
                </c:pt>
                <c:pt idx="822">
                  <c:v>0.97243551219344981</c:v>
                </c:pt>
                <c:pt idx="823">
                  <c:v>0.97252033539826321</c:v>
                </c:pt>
                <c:pt idx="824">
                  <c:v>0.9726048197824203</c:v>
                </c:pt>
                <c:pt idx="825">
                  <c:v>0.97268893911464449</c:v>
                </c:pt>
                <c:pt idx="826">
                  <c:v>0.972856487022142</c:v>
                </c:pt>
                <c:pt idx="827">
                  <c:v>0.97294012981950773</c:v>
                </c:pt>
                <c:pt idx="828">
                  <c:v>0.97302344909779515</c:v>
                </c:pt>
                <c:pt idx="829">
                  <c:v>0.97310673558698679</c:v>
                </c:pt>
                <c:pt idx="830">
                  <c:v>0.97318984938694075</c:v>
                </c:pt>
                <c:pt idx="831">
                  <c:v>0.97327294788531671</c:v>
                </c:pt>
                <c:pt idx="832">
                  <c:v>0.97335518512344377</c:v>
                </c:pt>
                <c:pt idx="833">
                  <c:v>0.97343736771307787</c:v>
                </c:pt>
                <c:pt idx="834">
                  <c:v>0.97351894042553067</c:v>
                </c:pt>
                <c:pt idx="835">
                  <c:v>0.97360048690670686</c:v>
                </c:pt>
                <c:pt idx="836">
                  <c:v>0.97368176451729782</c:v>
                </c:pt>
                <c:pt idx="837">
                  <c:v>0.9737630202684916</c:v>
                </c:pt>
                <c:pt idx="838">
                  <c:v>0.97384287920420565</c:v>
                </c:pt>
                <c:pt idx="839">
                  <c:v>0.97392272721022111</c:v>
                </c:pt>
                <c:pt idx="840">
                  <c:v>0.97400226481279661</c:v>
                </c:pt>
                <c:pt idx="841">
                  <c:v>0.97408161223861667</c:v>
                </c:pt>
                <c:pt idx="842">
                  <c:v>0.97416057275310663</c:v>
                </c:pt>
                <c:pt idx="843">
                  <c:v>0.97423935402053974</c:v>
                </c:pt>
                <c:pt idx="844">
                  <c:v>0.97431793636745845</c:v>
                </c:pt>
                <c:pt idx="845">
                  <c:v>0.97439610119989106</c:v>
                </c:pt>
                <c:pt idx="846">
                  <c:v>0.97447354248627704</c:v>
                </c:pt>
                <c:pt idx="847">
                  <c:v>0.97455094661168784</c:v>
                </c:pt>
                <c:pt idx="848">
                  <c:v>0.97462813432906659</c:v>
                </c:pt>
                <c:pt idx="849">
                  <c:v>0.97470526302607297</c:v>
                </c:pt>
                <c:pt idx="850">
                  <c:v>0.97478232833082745</c:v>
                </c:pt>
                <c:pt idx="851">
                  <c:v>0.97493300296964247</c:v>
                </c:pt>
                <c:pt idx="852">
                  <c:v>0.9750074364029766</c:v>
                </c:pt>
                <c:pt idx="853">
                  <c:v>0.97508168840331422</c:v>
                </c:pt>
                <c:pt idx="854">
                  <c:v>0.97515549447194938</c:v>
                </c:pt>
                <c:pt idx="855">
                  <c:v>0.9752292087311164</c:v>
                </c:pt>
                <c:pt idx="856">
                  <c:v>0.97530252296331499</c:v>
                </c:pt>
                <c:pt idx="857">
                  <c:v>0.97544906836200285</c:v>
                </c:pt>
                <c:pt idx="858">
                  <c:v>0.97552181206393507</c:v>
                </c:pt>
                <c:pt idx="859">
                  <c:v>0.9755943043827997</c:v>
                </c:pt>
                <c:pt idx="860">
                  <c:v>0.97566674205317139</c:v>
                </c:pt>
                <c:pt idx="861">
                  <c:v>0.97573858733387953</c:v>
                </c:pt>
                <c:pt idx="862">
                  <c:v>0.97581020090497761</c:v>
                </c:pt>
                <c:pt idx="863">
                  <c:v>0.97588122645829156</c:v>
                </c:pt>
                <c:pt idx="864">
                  <c:v>0.97595195253786415</c:v>
                </c:pt>
                <c:pt idx="865">
                  <c:v>0.97602216929348251</c:v>
                </c:pt>
                <c:pt idx="866">
                  <c:v>0.97609208657535951</c:v>
                </c:pt>
                <c:pt idx="867">
                  <c:v>0.97616171094131432</c:v>
                </c:pt>
                <c:pt idx="868">
                  <c:v>0.97623046748920106</c:v>
                </c:pt>
                <c:pt idx="869">
                  <c:v>0.97629910599634306</c:v>
                </c:pt>
                <c:pt idx="870">
                  <c:v>0.97643556546917254</c:v>
                </c:pt>
                <c:pt idx="871">
                  <c:v>0.97650342140989554</c:v>
                </c:pt>
                <c:pt idx="872">
                  <c:v>0.97657121395836677</c:v>
                </c:pt>
                <c:pt idx="873">
                  <c:v>0.9766388075863236</c:v>
                </c:pt>
                <c:pt idx="874">
                  <c:v>0.97670554432591106</c:v>
                </c:pt>
                <c:pt idx="875">
                  <c:v>0.97683858061714246</c:v>
                </c:pt>
                <c:pt idx="876">
                  <c:v>0.97690502225486797</c:v>
                </c:pt>
                <c:pt idx="877">
                  <c:v>0.97697139175658276</c:v>
                </c:pt>
                <c:pt idx="878">
                  <c:v>0.97703768475040753</c:v>
                </c:pt>
                <c:pt idx="879">
                  <c:v>0.97710360832041987</c:v>
                </c:pt>
                <c:pt idx="880">
                  <c:v>0.97716916465255965</c:v>
                </c:pt>
                <c:pt idx="881">
                  <c:v>0.97723358429604612</c:v>
                </c:pt>
                <c:pt idx="882">
                  <c:v>0.97729782469247573</c:v>
                </c:pt>
                <c:pt idx="883">
                  <c:v>0.97736201262635214</c:v>
                </c:pt>
                <c:pt idx="884">
                  <c:v>0.9774261721430122</c:v>
                </c:pt>
                <c:pt idx="885">
                  <c:v>0.97749026170960129</c:v>
                </c:pt>
                <c:pt idx="886">
                  <c:v>0.97755434253243145</c:v>
                </c:pt>
                <c:pt idx="887">
                  <c:v>0.97761842335526161</c:v>
                </c:pt>
                <c:pt idx="888">
                  <c:v>0.97768228777005972</c:v>
                </c:pt>
                <c:pt idx="889">
                  <c:v>0.97774595326434355</c:v>
                </c:pt>
                <c:pt idx="890">
                  <c:v>0.97780961875862737</c:v>
                </c:pt>
                <c:pt idx="891">
                  <c:v>0.97787283176338957</c:v>
                </c:pt>
                <c:pt idx="892">
                  <c:v>0.97793587207891408</c:v>
                </c:pt>
                <c:pt idx="893">
                  <c:v>0.97799861729257664</c:v>
                </c:pt>
                <c:pt idx="894">
                  <c:v>0.97806130129992708</c:v>
                </c:pt>
                <c:pt idx="895">
                  <c:v>0.97812391535720655</c:v>
                </c:pt>
                <c:pt idx="896">
                  <c:v>0.97818620808134749</c:v>
                </c:pt>
                <c:pt idx="897">
                  <c:v>0.97824845490075441</c:v>
                </c:pt>
                <c:pt idx="898">
                  <c:v>0.97831047438243068</c:v>
                </c:pt>
                <c:pt idx="899">
                  <c:v>0.97837181403685469</c:v>
                </c:pt>
                <c:pt idx="900">
                  <c:v>0.97843270557363649</c:v>
                </c:pt>
                <c:pt idx="901">
                  <c:v>0.9784935752510211</c:v>
                </c:pt>
                <c:pt idx="902">
                  <c:v>0.97855442306900853</c:v>
                </c:pt>
                <c:pt idx="903">
                  <c:v>0.97861514410249228</c:v>
                </c:pt>
                <c:pt idx="904">
                  <c:v>0.97867582797500086</c:v>
                </c:pt>
                <c:pt idx="905">
                  <c:v>0.97873638724894552</c:v>
                </c:pt>
                <c:pt idx="906">
                  <c:v>0.97879674978831555</c:v>
                </c:pt>
                <c:pt idx="907">
                  <c:v>0.97885705112137356</c:v>
                </c:pt>
                <c:pt idx="908">
                  <c:v>0.97891728906217967</c:v>
                </c:pt>
                <c:pt idx="909">
                  <c:v>0.97897714883541465</c:v>
                </c:pt>
                <c:pt idx="910">
                  <c:v>0.97903588940751407</c:v>
                </c:pt>
                <c:pt idx="911">
                  <c:v>0.97909450100917006</c:v>
                </c:pt>
                <c:pt idx="912">
                  <c:v>0.97915277379016985</c:v>
                </c:pt>
                <c:pt idx="913">
                  <c:v>0.97921104657116964</c:v>
                </c:pt>
                <c:pt idx="914">
                  <c:v>0.97926920131142459</c:v>
                </c:pt>
                <c:pt idx="915">
                  <c:v>0.97932712652800924</c:v>
                </c:pt>
                <c:pt idx="916">
                  <c:v>0.97938492277415046</c:v>
                </c:pt>
                <c:pt idx="917">
                  <c:v>0.97944259660766753</c:v>
                </c:pt>
                <c:pt idx="918">
                  <c:v>0.97950017863171646</c:v>
                </c:pt>
                <c:pt idx="919">
                  <c:v>0.97955763168532195</c:v>
                </c:pt>
                <c:pt idx="920">
                  <c:v>0.97961498199976071</c:v>
                </c:pt>
                <c:pt idx="921">
                  <c:v>0.97967227547976687</c:v>
                </c:pt>
                <c:pt idx="922">
                  <c:v>0.97972938534083664</c:v>
                </c:pt>
                <c:pt idx="923">
                  <c:v>0.97978617605470764</c:v>
                </c:pt>
                <c:pt idx="924">
                  <c:v>0.97984274817460681</c:v>
                </c:pt>
                <c:pt idx="925">
                  <c:v>0.97989917602248466</c:v>
                </c:pt>
                <c:pt idx="926">
                  <c:v>0.97995534811541551</c:v>
                </c:pt>
                <c:pt idx="927">
                  <c:v>0.98001123822212277</c:v>
                </c:pt>
                <c:pt idx="928">
                  <c:v>0.98006636762180821</c:v>
                </c:pt>
                <c:pt idx="929">
                  <c:v>0.98012146423239788</c:v>
                </c:pt>
                <c:pt idx="930">
                  <c:v>0.9801762657411256</c:v>
                </c:pt>
                <c:pt idx="931">
                  <c:v>0.98023096013880717</c:v>
                </c:pt>
                <c:pt idx="932">
                  <c:v>0.9802856304911518</c:v>
                </c:pt>
                <c:pt idx="933">
                  <c:v>0.98034026368252125</c:v>
                </c:pt>
                <c:pt idx="934">
                  <c:v>0.98039485752697575</c:v>
                </c:pt>
                <c:pt idx="935">
                  <c:v>0.98044918905866407</c:v>
                </c:pt>
                <c:pt idx="936">
                  <c:v>0.98050342440900484</c:v>
                </c:pt>
                <c:pt idx="937">
                  <c:v>0.98055762041243066</c:v>
                </c:pt>
                <c:pt idx="938">
                  <c:v>0.98061163935473938</c:v>
                </c:pt>
                <c:pt idx="939">
                  <c:v>0.98066527138571802</c:v>
                </c:pt>
                <c:pt idx="940">
                  <c:v>0.98077160205141578</c:v>
                </c:pt>
                <c:pt idx="941">
                  <c:v>0.98082464169273087</c:v>
                </c:pt>
                <c:pt idx="942">
                  <c:v>0.98087734469932941</c:v>
                </c:pt>
                <c:pt idx="943">
                  <c:v>0.98092996464021864</c:v>
                </c:pt>
                <c:pt idx="944">
                  <c:v>0.98098258020922846</c:v>
                </c:pt>
                <c:pt idx="945">
                  <c:v>0.98103514112974533</c:v>
                </c:pt>
                <c:pt idx="946">
                  <c:v>0.98108742662185777</c:v>
                </c:pt>
                <c:pt idx="947">
                  <c:v>0.98113966402329644</c:v>
                </c:pt>
                <c:pt idx="948">
                  <c:v>0.98119184677624216</c:v>
                </c:pt>
                <c:pt idx="949">
                  <c:v>0.9812436163865812</c:v>
                </c:pt>
                <c:pt idx="950">
                  <c:v>0.98129530730309034</c:v>
                </c:pt>
                <c:pt idx="951">
                  <c:v>0.98134693919922711</c:v>
                </c:pt>
                <c:pt idx="952">
                  <c:v>0.98139851426093117</c:v>
                </c:pt>
                <c:pt idx="953">
                  <c:v>0.98145001937256426</c:v>
                </c:pt>
                <c:pt idx="954">
                  <c:v>0.98150150918261936</c:v>
                </c:pt>
                <c:pt idx="955">
                  <c:v>0.98155284597689418</c:v>
                </c:pt>
                <c:pt idx="956">
                  <c:v>0.98160413030861582</c:v>
                </c:pt>
                <c:pt idx="957">
                  <c:v>0.98165531408711038</c:v>
                </c:pt>
                <c:pt idx="958">
                  <c:v>0.98170626178411546</c:v>
                </c:pt>
                <c:pt idx="959">
                  <c:v>0.98175717887796443</c:v>
                </c:pt>
                <c:pt idx="960">
                  <c:v>0.98180808722805457</c:v>
                </c:pt>
                <c:pt idx="961">
                  <c:v>0.98185877479823325</c:v>
                </c:pt>
                <c:pt idx="962">
                  <c:v>0.98190939679022038</c:v>
                </c:pt>
                <c:pt idx="963">
                  <c:v>0.98195970837876756</c:v>
                </c:pt>
                <c:pt idx="964">
                  <c:v>0.98201001778137498</c:v>
                </c:pt>
                <c:pt idx="965">
                  <c:v>0.98206024193233343</c:v>
                </c:pt>
                <c:pt idx="966">
                  <c:v>0.98211046389735213</c:v>
                </c:pt>
                <c:pt idx="967">
                  <c:v>0.98216033174013651</c:v>
                </c:pt>
                <c:pt idx="968">
                  <c:v>0.98221003782338179</c:v>
                </c:pt>
                <c:pt idx="969">
                  <c:v>0.98225927611552744</c:v>
                </c:pt>
                <c:pt idx="970">
                  <c:v>0.98230849473421566</c:v>
                </c:pt>
                <c:pt idx="971">
                  <c:v>0.98235764777471235</c:v>
                </c:pt>
                <c:pt idx="972">
                  <c:v>0.98240658440717699</c:v>
                </c:pt>
                <c:pt idx="973">
                  <c:v>0.98245549699430468</c:v>
                </c:pt>
                <c:pt idx="974">
                  <c:v>0.98250422377655633</c:v>
                </c:pt>
                <c:pt idx="975">
                  <c:v>0.98255291995565197</c:v>
                </c:pt>
                <c:pt idx="976">
                  <c:v>0.9826015855315916</c:v>
                </c:pt>
                <c:pt idx="977">
                  <c:v>0.98265013962460557</c:v>
                </c:pt>
                <c:pt idx="978">
                  <c:v>0.98269868715980035</c:v>
                </c:pt>
                <c:pt idx="979">
                  <c:v>0.98274700954320426</c:v>
                </c:pt>
                <c:pt idx="980">
                  <c:v>0.98279528602187405</c:v>
                </c:pt>
                <c:pt idx="981">
                  <c:v>0.98284342478634157</c:v>
                </c:pt>
                <c:pt idx="982">
                  <c:v>0.9828913908615714</c:v>
                </c:pt>
                <c:pt idx="983">
                  <c:v>0.9829392235944785</c:v>
                </c:pt>
                <c:pt idx="984">
                  <c:v>0.98298703009610899</c:v>
                </c:pt>
                <c:pt idx="985">
                  <c:v>0.98303467483820028</c:v>
                </c:pt>
                <c:pt idx="986">
                  <c:v>0.98308214689105389</c:v>
                </c:pt>
                <c:pt idx="987">
                  <c:v>0.98312934788738249</c:v>
                </c:pt>
                <c:pt idx="988">
                  <c:v>0.98317619038959736</c:v>
                </c:pt>
                <c:pt idx="989">
                  <c:v>0.98322277713686523</c:v>
                </c:pt>
                <c:pt idx="990">
                  <c:v>0.98326934421067558</c:v>
                </c:pt>
                <c:pt idx="991">
                  <c:v>0.98331586319381215</c:v>
                </c:pt>
                <c:pt idx="992">
                  <c:v>0.98336210893448406</c:v>
                </c:pt>
                <c:pt idx="993">
                  <c:v>0.98340828691102466</c:v>
                </c:pt>
                <c:pt idx="994">
                  <c:v>0.98345439712343408</c:v>
                </c:pt>
                <c:pt idx="995">
                  <c:v>0.98350050514990373</c:v>
                </c:pt>
                <c:pt idx="996">
                  <c:v>0.98354661099043361</c:v>
                </c:pt>
                <c:pt idx="997">
                  <c:v>0.98359268185592807</c:v>
                </c:pt>
                <c:pt idx="998">
                  <c:v>0.98363842264452506</c:v>
                </c:pt>
                <c:pt idx="999">
                  <c:v>0.9836839513969694</c:v>
                </c:pt>
                <c:pt idx="1000">
                  <c:v>0.98372936648054843</c:v>
                </c:pt>
                <c:pt idx="1001">
                  <c:v>0.98377474877503168</c:v>
                </c:pt>
                <c:pt idx="1002">
                  <c:v>0.98382010046635893</c:v>
                </c:pt>
                <c:pt idx="1003">
                  <c:v>0.98386544997174641</c:v>
                </c:pt>
                <c:pt idx="1004">
                  <c:v>0.98391077543179706</c:v>
                </c:pt>
                <c:pt idx="1005">
                  <c:v>0.98395588885569507</c:v>
                </c:pt>
                <c:pt idx="1006">
                  <c:v>0.98404594082831365</c:v>
                </c:pt>
                <c:pt idx="1007">
                  <c:v>0.98409083128636043</c:v>
                </c:pt>
                <c:pt idx="1008">
                  <c:v>0.98413567365373344</c:v>
                </c:pt>
                <c:pt idx="1009">
                  <c:v>0.98418008976286142</c:v>
                </c:pt>
                <c:pt idx="1010">
                  <c:v>0.98422448838447163</c:v>
                </c:pt>
                <c:pt idx="1011">
                  <c:v>0.9842687689653371</c:v>
                </c:pt>
                <c:pt idx="1012">
                  <c:v>0.98431298396801103</c:v>
                </c:pt>
                <c:pt idx="1013">
                  <c:v>0.98435705907054305</c:v>
                </c:pt>
                <c:pt idx="1014">
                  <c:v>0.98440092650880184</c:v>
                </c:pt>
                <c:pt idx="1015">
                  <c:v>0.98444460158436542</c:v>
                </c:pt>
                <c:pt idx="1016">
                  <c:v>0.98448816299106368</c:v>
                </c:pt>
                <c:pt idx="1017">
                  <c:v>0.98453150361785047</c:v>
                </c:pt>
                <c:pt idx="1018">
                  <c:v>0.98457449230834271</c:v>
                </c:pt>
                <c:pt idx="1019">
                  <c:v>0.98461725803298372</c:v>
                </c:pt>
                <c:pt idx="1020">
                  <c:v>0.98465997129507143</c:v>
                </c:pt>
                <c:pt idx="1021">
                  <c:v>0.98470267362746056</c:v>
                </c:pt>
                <c:pt idx="1022">
                  <c:v>0.98474524043158718</c:v>
                </c:pt>
                <c:pt idx="1023">
                  <c:v>0.98478778319037696</c:v>
                </c:pt>
                <c:pt idx="1024">
                  <c:v>0.98483025599909579</c:v>
                </c:pt>
                <c:pt idx="1025">
                  <c:v>0.98487259983737119</c:v>
                </c:pt>
                <c:pt idx="1026">
                  <c:v>0.98491452834710025</c:v>
                </c:pt>
                <c:pt idx="1027">
                  <c:v>0.98499760498607902</c:v>
                </c:pt>
                <c:pt idx="1028">
                  <c:v>0.98503900887027573</c:v>
                </c:pt>
                <c:pt idx="1029">
                  <c:v>0.9850803318747029</c:v>
                </c:pt>
                <c:pt idx="1030">
                  <c:v>0.9851215849290591</c:v>
                </c:pt>
                <c:pt idx="1031">
                  <c:v>0.98516276147552517</c:v>
                </c:pt>
                <c:pt idx="1032">
                  <c:v>0.98520386370004087</c:v>
                </c:pt>
                <c:pt idx="1033">
                  <c:v>0.98524496592455657</c:v>
                </c:pt>
                <c:pt idx="1034">
                  <c:v>0.98528597196772461</c:v>
                </c:pt>
                <c:pt idx="1035">
                  <c:v>0.98532686652796708</c:v>
                </c:pt>
                <c:pt idx="1036">
                  <c:v>0.98536747473010644</c:v>
                </c:pt>
                <c:pt idx="1037">
                  <c:v>0.98540797363526</c:v>
                </c:pt>
                <c:pt idx="1038">
                  <c:v>0.98544845068101639</c:v>
                </c:pt>
                <c:pt idx="1039">
                  <c:v>0.98552862876392922</c:v>
                </c:pt>
                <c:pt idx="1040">
                  <c:v>0.98556854402317806</c:v>
                </c:pt>
                <c:pt idx="1041">
                  <c:v>0.98560841774957231</c:v>
                </c:pt>
                <c:pt idx="1042">
                  <c:v>0.98564822808371466</c:v>
                </c:pt>
                <c:pt idx="1043">
                  <c:v>0.98568787010049874</c:v>
                </c:pt>
                <c:pt idx="1044">
                  <c:v>0.9857273831468395</c:v>
                </c:pt>
                <c:pt idx="1045">
                  <c:v>0.98576673880552057</c:v>
                </c:pt>
                <c:pt idx="1046">
                  <c:v>0.98580582777955605</c:v>
                </c:pt>
                <c:pt idx="1047">
                  <c:v>0.98584483587382199</c:v>
                </c:pt>
                <c:pt idx="1048">
                  <c:v>0.98588364286163388</c:v>
                </c:pt>
                <c:pt idx="1049">
                  <c:v>0.98592230339148468</c:v>
                </c:pt>
                <c:pt idx="1050">
                  <c:v>0.98596074969924308</c:v>
                </c:pt>
                <c:pt idx="1051">
                  <c:v>0.98599900145836661</c:v>
                </c:pt>
                <c:pt idx="1052">
                  <c:v>0.98603720512681636</c:v>
                </c:pt>
                <c:pt idx="1053">
                  <c:v>0.98607538037804976</c:v>
                </c:pt>
                <c:pt idx="1054">
                  <c:v>0.9861133654525277</c:v>
                </c:pt>
                <c:pt idx="1055">
                  <c:v>0.98615123030032115</c:v>
                </c:pt>
                <c:pt idx="1056">
                  <c:v>0.98618898147924927</c:v>
                </c:pt>
                <c:pt idx="1057">
                  <c:v>0.98622673047223763</c:v>
                </c:pt>
                <c:pt idx="1058">
                  <c:v>0.986264479465226</c:v>
                </c:pt>
                <c:pt idx="1059">
                  <c:v>0.98630221971445553</c:v>
                </c:pt>
                <c:pt idx="1060">
                  <c:v>0.98637755594089327</c:v>
                </c:pt>
                <c:pt idx="1061">
                  <c:v>0.98641473440361527</c:v>
                </c:pt>
                <c:pt idx="1062">
                  <c:v>0.98645190849445785</c:v>
                </c:pt>
                <c:pt idx="1063">
                  <c:v>0.98648902356492807</c:v>
                </c:pt>
                <c:pt idx="1064">
                  <c:v>0.98652613644945852</c:v>
                </c:pt>
                <c:pt idx="1065">
                  <c:v>0.98656302199625834</c:v>
                </c:pt>
                <c:pt idx="1066">
                  <c:v>0.98659979824607225</c:v>
                </c:pt>
                <c:pt idx="1067">
                  <c:v>0.98663657012400674</c:v>
                </c:pt>
                <c:pt idx="1068">
                  <c:v>0.98667298350782751</c:v>
                </c:pt>
                <c:pt idx="1069">
                  <c:v>0.98674533811248999</c:v>
                </c:pt>
                <c:pt idx="1070">
                  <c:v>0.98678143016317221</c:v>
                </c:pt>
                <c:pt idx="1071">
                  <c:v>0.98681734078085781</c:v>
                </c:pt>
                <c:pt idx="1072">
                  <c:v>0.98685320549380939</c:v>
                </c:pt>
                <c:pt idx="1073">
                  <c:v>0.98688905271924321</c:v>
                </c:pt>
                <c:pt idx="1074">
                  <c:v>0.98692478408987194</c:v>
                </c:pt>
                <c:pt idx="1075">
                  <c:v>0.98696036025878076</c:v>
                </c:pt>
                <c:pt idx="1076">
                  <c:v>0.98699569378838092</c:v>
                </c:pt>
                <c:pt idx="1077">
                  <c:v>0.98703090271941707</c:v>
                </c:pt>
                <c:pt idx="1078">
                  <c:v>0.98706607448947803</c:v>
                </c:pt>
                <c:pt idx="1079">
                  <c:v>0.98710113040473402</c:v>
                </c:pt>
                <c:pt idx="1080">
                  <c:v>0.98713574476016697</c:v>
                </c:pt>
                <c:pt idx="1081">
                  <c:v>0.9872046062331602</c:v>
                </c:pt>
                <c:pt idx="1082">
                  <c:v>0.98723897357740498</c:v>
                </c:pt>
                <c:pt idx="1083">
                  <c:v>0.98727326878563915</c:v>
                </c:pt>
                <c:pt idx="1084">
                  <c:v>0.98730731261080573</c:v>
                </c:pt>
                <c:pt idx="1085">
                  <c:v>0.98734134332033396</c:v>
                </c:pt>
                <c:pt idx="1086">
                  <c:v>0.9873752275719011</c:v>
                </c:pt>
                <c:pt idx="1087">
                  <c:v>0.98740893257641138</c:v>
                </c:pt>
                <c:pt idx="1088">
                  <c:v>0.98744238838379383</c:v>
                </c:pt>
                <c:pt idx="1089">
                  <c:v>0.9874756977332152</c:v>
                </c:pt>
                <c:pt idx="1090">
                  <c:v>0.98750888029813289</c:v>
                </c:pt>
                <c:pt idx="1091">
                  <c:v>0.9875418945456923</c:v>
                </c:pt>
                <c:pt idx="1092">
                  <c:v>0.98757470112897849</c:v>
                </c:pt>
                <c:pt idx="1093">
                  <c:v>0.98764001263586987</c:v>
                </c:pt>
                <c:pt idx="1094">
                  <c:v>0.98767245635316292</c:v>
                </c:pt>
                <c:pt idx="1095">
                  <c:v>0.98770485416572185</c:v>
                </c:pt>
                <c:pt idx="1096">
                  <c:v>0.98773721044542617</c:v>
                </c:pt>
                <c:pt idx="1097">
                  <c:v>0.98776935468897786</c:v>
                </c:pt>
                <c:pt idx="1098">
                  <c:v>0.98780149018877073</c:v>
                </c:pt>
                <c:pt idx="1099">
                  <c:v>0.9878335622963117</c:v>
                </c:pt>
                <c:pt idx="1100">
                  <c:v>0.98786526935191987</c:v>
                </c:pt>
                <c:pt idx="1101">
                  <c:v>0.98789688241212015</c:v>
                </c:pt>
                <c:pt idx="1102">
                  <c:v>0.98792842770818912</c:v>
                </c:pt>
                <c:pt idx="1103">
                  <c:v>0.98795985714945311</c:v>
                </c:pt>
                <c:pt idx="1104">
                  <c:v>0.98799117292185168</c:v>
                </c:pt>
                <c:pt idx="1105">
                  <c:v>0.98805360117425511</c:v>
                </c:pt>
                <c:pt idx="1106">
                  <c:v>0.9880845715681783</c:v>
                </c:pt>
                <c:pt idx="1107">
                  <c:v>0.98811551791676455</c:v>
                </c:pt>
                <c:pt idx="1108">
                  <c:v>0.9881768138523942</c:v>
                </c:pt>
                <c:pt idx="1109">
                  <c:v>0.98820694484546567</c:v>
                </c:pt>
                <c:pt idx="1110">
                  <c:v>0.98823706053695914</c:v>
                </c:pt>
                <c:pt idx="1111">
                  <c:v>0.98826691391568644</c:v>
                </c:pt>
                <c:pt idx="1112">
                  <c:v>0.98829673231937831</c:v>
                </c:pt>
                <c:pt idx="1113">
                  <c:v>0.98835613304527248</c:v>
                </c:pt>
                <c:pt idx="1114">
                  <c:v>0.98838579187536491</c:v>
                </c:pt>
                <c:pt idx="1115">
                  <c:v>0.98841544414763816</c:v>
                </c:pt>
                <c:pt idx="1116">
                  <c:v>0.98844507893239375</c:v>
                </c:pt>
                <c:pt idx="1117">
                  <c:v>0.98847453665603213</c:v>
                </c:pt>
                <c:pt idx="1118">
                  <c:v>0.98850377797163846</c:v>
                </c:pt>
                <c:pt idx="1119">
                  <c:v>0.98853294277935466</c:v>
                </c:pt>
                <c:pt idx="1120">
                  <c:v>0.9885620791698545</c:v>
                </c:pt>
                <c:pt idx="1121">
                  <c:v>0.98859110626336844</c:v>
                </c:pt>
                <c:pt idx="1122">
                  <c:v>0.98861984262689995</c:v>
                </c:pt>
                <c:pt idx="1123">
                  <c:v>0.98864854401539592</c:v>
                </c:pt>
                <c:pt idx="1124">
                  <c:v>0.98867700057864349</c:v>
                </c:pt>
                <c:pt idx="1125">
                  <c:v>0.98870537626212152</c:v>
                </c:pt>
                <c:pt idx="1126">
                  <c:v>0.98873374538778036</c:v>
                </c:pt>
                <c:pt idx="1127">
                  <c:v>0.98876202488991083</c:v>
                </c:pt>
                <c:pt idx="1128">
                  <c:v>0.98879019509505539</c:v>
                </c:pt>
                <c:pt idx="1129">
                  <c:v>0.98881832813922477</c:v>
                </c:pt>
                <c:pt idx="1130">
                  <c:v>0.98884644369587638</c:v>
                </c:pt>
                <c:pt idx="1131">
                  <c:v>0.98890203651478192</c:v>
                </c:pt>
                <c:pt idx="1132">
                  <c:v>0.98892969521003249</c:v>
                </c:pt>
                <c:pt idx="1133">
                  <c:v>0.98895733423182564</c:v>
                </c:pt>
                <c:pt idx="1134">
                  <c:v>0.98898493390670383</c:v>
                </c:pt>
                <c:pt idx="1135">
                  <c:v>0.98901250735030544</c:v>
                </c:pt>
                <c:pt idx="1136">
                  <c:v>0.98904005893450986</c:v>
                </c:pt>
                <c:pt idx="1137">
                  <c:v>0.9890673744372247</c:v>
                </c:pt>
                <c:pt idx="1138">
                  <c:v>0.98909465933678353</c:v>
                </c:pt>
                <c:pt idx="1139">
                  <c:v>0.98912192019100542</c:v>
                </c:pt>
                <c:pt idx="1140">
                  <c:v>0.98914912858267412</c:v>
                </c:pt>
                <c:pt idx="1141">
                  <c:v>0.9892033267720397</c:v>
                </c:pt>
                <c:pt idx="1142">
                  <c:v>0.98925718176886968</c:v>
                </c:pt>
                <c:pt idx="1143">
                  <c:v>0.98931042033069905</c:v>
                </c:pt>
                <c:pt idx="1144">
                  <c:v>0.98936307306068416</c:v>
                </c:pt>
                <c:pt idx="1145">
                  <c:v>0.98941540882941004</c:v>
                </c:pt>
                <c:pt idx="1146">
                  <c:v>0.98944144337145024</c:v>
                </c:pt>
                <c:pt idx="1147">
                  <c:v>0.98946740359153995</c:v>
                </c:pt>
                <c:pt idx="1148">
                  <c:v>0.98949335506787084</c:v>
                </c:pt>
                <c:pt idx="1149">
                  <c:v>0.98951930435826196</c:v>
                </c:pt>
                <c:pt idx="1150">
                  <c:v>0.9895452164876779</c:v>
                </c:pt>
                <c:pt idx="1151">
                  <c:v>0.98957108489829948</c:v>
                </c:pt>
                <c:pt idx="1152">
                  <c:v>0.98959695112298141</c:v>
                </c:pt>
                <c:pt idx="1153">
                  <c:v>0.98962259656775176</c:v>
                </c:pt>
                <c:pt idx="1154">
                  <c:v>0.98964823326876328</c:v>
                </c:pt>
                <c:pt idx="1155">
                  <c:v>0.98969921375486414</c:v>
                </c:pt>
                <c:pt idx="1156">
                  <c:v>0.98972461874626561</c:v>
                </c:pt>
                <c:pt idx="1157">
                  <c:v>0.98975001062202872</c:v>
                </c:pt>
                <c:pt idx="1158">
                  <c:v>0.98977539156809324</c:v>
                </c:pt>
                <c:pt idx="1159">
                  <c:v>0.98980061075461867</c:v>
                </c:pt>
                <c:pt idx="1160">
                  <c:v>0.98982576436295255</c:v>
                </c:pt>
                <c:pt idx="1161">
                  <c:v>0.9898508829962509</c:v>
                </c:pt>
                <c:pt idx="1162">
                  <c:v>0.98987597977015207</c:v>
                </c:pt>
                <c:pt idx="1163">
                  <c:v>0.989901063428415</c:v>
                </c:pt>
                <c:pt idx="1164">
                  <c:v>0.98992607932254661</c:v>
                </c:pt>
                <c:pt idx="1165">
                  <c:v>0.98995106679946188</c:v>
                </c:pt>
                <c:pt idx="1166">
                  <c:v>0.98997603678885948</c:v>
                </c:pt>
                <c:pt idx="1167">
                  <c:v>0.99005042213151984</c:v>
                </c:pt>
                <c:pt idx="1168">
                  <c:v>0.99007505985808031</c:v>
                </c:pt>
                <c:pt idx="1169">
                  <c:v>0.99009952270946333</c:v>
                </c:pt>
                <c:pt idx="1170">
                  <c:v>0.99012393965611223</c:v>
                </c:pt>
                <c:pt idx="1171">
                  <c:v>0.99014831069802711</c:v>
                </c:pt>
                <c:pt idx="1172">
                  <c:v>0.99017266862430364</c:v>
                </c:pt>
                <c:pt idx="1173">
                  <c:v>0.9901967904690907</c:v>
                </c:pt>
                <c:pt idx="1174">
                  <c:v>0.99022090794199824</c:v>
                </c:pt>
                <c:pt idx="1175">
                  <c:v>0.99024497076641282</c:v>
                </c:pt>
                <c:pt idx="1176">
                  <c:v>0.99026884997189113</c:v>
                </c:pt>
                <c:pt idx="1177">
                  <c:v>0.99029268764451484</c:v>
                </c:pt>
                <c:pt idx="1178">
                  <c:v>0.99031651875931936</c:v>
                </c:pt>
                <c:pt idx="1179">
                  <c:v>0.99034021871774081</c:v>
                </c:pt>
                <c:pt idx="1180">
                  <c:v>0.99036381812293528</c:v>
                </c:pt>
                <c:pt idx="1181">
                  <c:v>0.99041093605355457</c:v>
                </c:pt>
                <c:pt idx="1182">
                  <c:v>0.9904344436492809</c:v>
                </c:pt>
                <c:pt idx="1183">
                  <c:v>0.99045791845591147</c:v>
                </c:pt>
                <c:pt idx="1184">
                  <c:v>0.99048131894059155</c:v>
                </c:pt>
                <c:pt idx="1185">
                  <c:v>0.99050470630963339</c:v>
                </c:pt>
                <c:pt idx="1186">
                  <c:v>0.990551155342699</c:v>
                </c:pt>
                <c:pt idx="1187">
                  <c:v>0.99057432193182926</c:v>
                </c:pt>
                <c:pt idx="1188">
                  <c:v>0.99059744480216516</c:v>
                </c:pt>
                <c:pt idx="1189">
                  <c:v>0.99066661449265869</c:v>
                </c:pt>
                <c:pt idx="1190">
                  <c:v>0.99068956904563632</c:v>
                </c:pt>
                <c:pt idx="1191">
                  <c:v>0.99071251485485512</c:v>
                </c:pt>
                <c:pt idx="1192">
                  <c:v>0.99073541913121921</c:v>
                </c:pt>
                <c:pt idx="1193">
                  <c:v>0.99075826438721093</c:v>
                </c:pt>
                <c:pt idx="1194">
                  <c:v>0.99078100908997568</c:v>
                </c:pt>
                <c:pt idx="1195">
                  <c:v>0.99080373849116243</c:v>
                </c:pt>
                <c:pt idx="1196">
                  <c:v>0.99082643073137389</c:v>
                </c:pt>
                <c:pt idx="1197">
                  <c:v>0.99087166656789605</c:v>
                </c:pt>
                <c:pt idx="1198">
                  <c:v>0.99089423858142311</c:v>
                </c:pt>
                <c:pt idx="1199">
                  <c:v>0.99091670785578345</c:v>
                </c:pt>
                <c:pt idx="1200">
                  <c:v>0.99093916182856567</c:v>
                </c:pt>
                <c:pt idx="1201">
                  <c:v>0.99096152836375917</c:v>
                </c:pt>
                <c:pt idx="1202">
                  <c:v>0.99098379215978594</c:v>
                </c:pt>
                <c:pt idx="1203">
                  <c:v>0.99100583080402183</c:v>
                </c:pt>
                <c:pt idx="1204">
                  <c:v>0.99102778201066899</c:v>
                </c:pt>
                <c:pt idx="1205">
                  <c:v>0.99104968949852179</c:v>
                </c:pt>
                <c:pt idx="1206">
                  <c:v>0.9910714352268355</c:v>
                </c:pt>
                <c:pt idx="1207">
                  <c:v>0.9911149157537642</c:v>
                </c:pt>
                <c:pt idx="1208">
                  <c:v>0.99113655874291107</c:v>
                </c:pt>
                <c:pt idx="1209">
                  <c:v>0.99115819954611828</c:v>
                </c:pt>
                <c:pt idx="1210">
                  <c:v>0.99120135218208938</c:v>
                </c:pt>
                <c:pt idx="1211">
                  <c:v>0.99124417911304241</c:v>
                </c:pt>
                <c:pt idx="1212">
                  <c:v>0.99126553355814662</c:v>
                </c:pt>
                <c:pt idx="1213">
                  <c:v>0.9912868836313713</c:v>
                </c:pt>
                <c:pt idx="1214">
                  <c:v>0.99130822933271656</c:v>
                </c:pt>
                <c:pt idx="1215">
                  <c:v>0.99132938485730637</c:v>
                </c:pt>
                <c:pt idx="1216">
                  <c:v>0.99135049010528264</c:v>
                </c:pt>
                <c:pt idx="1217">
                  <c:v>0.99139252354011809</c:v>
                </c:pt>
                <c:pt idx="1218">
                  <c:v>0.99141348888795244</c:v>
                </c:pt>
                <c:pt idx="1219">
                  <c:v>0.99143428373248876</c:v>
                </c:pt>
                <c:pt idx="1220">
                  <c:v>0.99145503923011025</c:v>
                </c:pt>
                <c:pt idx="1221">
                  <c:v>0.9914757182198416</c:v>
                </c:pt>
                <c:pt idx="1222">
                  <c:v>0.9914963054001048</c:v>
                </c:pt>
                <c:pt idx="1223">
                  <c:v>0.99151684011781471</c:v>
                </c:pt>
                <c:pt idx="1224">
                  <c:v>0.99153736827770556</c:v>
                </c:pt>
                <c:pt idx="1225">
                  <c:v>0.99157818195817848</c:v>
                </c:pt>
                <c:pt idx="1226">
                  <c:v>0.99159852649913294</c:v>
                </c:pt>
                <c:pt idx="1227">
                  <c:v>0.99163915000285041</c:v>
                </c:pt>
                <c:pt idx="1228">
                  <c:v>0.99165945519689003</c:v>
                </c:pt>
                <c:pt idx="1229">
                  <c:v>0.99167975820498988</c:v>
                </c:pt>
                <c:pt idx="1230">
                  <c:v>0.99170005465527056</c:v>
                </c:pt>
                <c:pt idx="1231">
                  <c:v>0.99176072759808054</c:v>
                </c:pt>
                <c:pt idx="1232">
                  <c:v>0.99180093795919133</c:v>
                </c:pt>
                <c:pt idx="1233">
                  <c:v>0.99182089996069522</c:v>
                </c:pt>
                <c:pt idx="1234">
                  <c:v>0.99184079419806781</c:v>
                </c:pt>
                <c:pt idx="1235">
                  <c:v>0.99186053104778071</c:v>
                </c:pt>
                <c:pt idx="1236">
                  <c:v>0.99189997632999016</c:v>
                </c:pt>
                <c:pt idx="1237">
                  <c:v>0.99191961918429516</c:v>
                </c:pt>
                <c:pt idx="1238">
                  <c:v>0.99193925329484134</c:v>
                </c:pt>
                <c:pt idx="1239">
                  <c:v>0.99195886117411092</c:v>
                </c:pt>
                <c:pt idx="1240">
                  <c:v>0.99197837724391236</c:v>
                </c:pt>
                <c:pt idx="1241">
                  <c:v>0.99201738096629877</c:v>
                </c:pt>
                <c:pt idx="1242">
                  <c:v>0.99203682271414972</c:v>
                </c:pt>
                <c:pt idx="1243">
                  <c:v>0.99205625571824185</c:v>
                </c:pt>
                <c:pt idx="1244">
                  <c:v>0.99207567779263539</c:v>
                </c:pt>
                <c:pt idx="1245">
                  <c:v>0.99209508019357151</c:v>
                </c:pt>
                <c:pt idx="1246">
                  <c:v>0.99211446729292951</c:v>
                </c:pt>
                <c:pt idx="1247">
                  <c:v>0.9921338347188301</c:v>
                </c:pt>
                <c:pt idx="1248">
                  <c:v>0.99215312563684055</c:v>
                </c:pt>
                <c:pt idx="1249">
                  <c:v>0.99217239250951406</c:v>
                </c:pt>
                <c:pt idx="1250">
                  <c:v>0.99219156757271942</c:v>
                </c:pt>
                <c:pt idx="1251">
                  <c:v>0.99222942586269369</c:v>
                </c:pt>
                <c:pt idx="1252">
                  <c:v>0.99224814843637754</c:v>
                </c:pt>
                <c:pt idx="1253">
                  <c:v>0.99226686882412163</c:v>
                </c:pt>
                <c:pt idx="1254">
                  <c:v>0.9922855061461564</c:v>
                </c:pt>
                <c:pt idx="1255">
                  <c:v>0.99230411286503517</c:v>
                </c:pt>
                <c:pt idx="1256">
                  <c:v>0.99232266712136075</c:v>
                </c:pt>
                <c:pt idx="1257">
                  <c:v>0.99234119951828914</c:v>
                </c:pt>
                <c:pt idx="1258">
                  <c:v>0.99235971005582035</c:v>
                </c:pt>
                <c:pt idx="1259">
                  <c:v>0.99237821840741181</c:v>
                </c:pt>
                <c:pt idx="1260">
                  <c:v>0.9924331467006432</c:v>
                </c:pt>
                <c:pt idx="1261">
                  <c:v>0.99245126376902515</c:v>
                </c:pt>
                <c:pt idx="1262">
                  <c:v>0.99246934367643191</c:v>
                </c:pt>
                <c:pt idx="1263">
                  <c:v>0.99248727712587759</c:v>
                </c:pt>
                <c:pt idx="1264">
                  <c:v>0.99250520183156432</c:v>
                </c:pt>
                <c:pt idx="1265">
                  <c:v>0.9925230303559035</c:v>
                </c:pt>
                <c:pt idx="1266">
                  <c:v>0.99254074958325678</c:v>
                </c:pt>
                <c:pt idx="1267">
                  <c:v>0.99255836825738308</c:v>
                </c:pt>
                <c:pt idx="1268">
                  <c:v>0.99257594758459444</c:v>
                </c:pt>
                <c:pt idx="1269">
                  <c:v>0.99259346789143343</c:v>
                </c:pt>
                <c:pt idx="1270">
                  <c:v>0.99261098601233266</c:v>
                </c:pt>
                <c:pt idx="1271">
                  <c:v>0.99262848227383471</c:v>
                </c:pt>
                <c:pt idx="1272">
                  <c:v>0.99264592388684381</c:v>
                </c:pt>
                <c:pt idx="1273">
                  <c:v>0.99266332833887772</c:v>
                </c:pt>
                <c:pt idx="1274">
                  <c:v>0.99268071530339386</c:v>
                </c:pt>
                <c:pt idx="1275">
                  <c:v>0.99273242370742076</c:v>
                </c:pt>
                <c:pt idx="1276">
                  <c:v>0.99274958989202544</c:v>
                </c:pt>
                <c:pt idx="1277">
                  <c:v>0.99278383263770631</c:v>
                </c:pt>
                <c:pt idx="1278">
                  <c:v>0.99280088733938532</c:v>
                </c:pt>
                <c:pt idx="1279">
                  <c:v>0.99280088733938532</c:v>
                </c:pt>
                <c:pt idx="1280">
                  <c:v>0.99283490056139578</c:v>
                </c:pt>
                <c:pt idx="1281">
                  <c:v>0.99285186345360665</c:v>
                </c:pt>
                <c:pt idx="1282">
                  <c:v>0.9928687542098068</c:v>
                </c:pt>
                <c:pt idx="1283">
                  <c:v>0.99288561654879071</c:v>
                </c:pt>
                <c:pt idx="1284">
                  <c:v>0.99291927564856697</c:v>
                </c:pt>
                <c:pt idx="1285">
                  <c:v>0.9929360789671785</c:v>
                </c:pt>
                <c:pt idx="1286">
                  <c:v>0.99295270741061259</c:v>
                </c:pt>
                <c:pt idx="1287">
                  <c:v>0.99296932055246867</c:v>
                </c:pt>
                <c:pt idx="1288">
                  <c:v>0.99300247032829059</c:v>
                </c:pt>
                <c:pt idx="1289">
                  <c:v>0.99301890203715004</c:v>
                </c:pt>
                <c:pt idx="1290">
                  <c:v>0.99303523319278242</c:v>
                </c:pt>
                <c:pt idx="1291">
                  <c:v>0.99305154904683679</c:v>
                </c:pt>
                <c:pt idx="1292">
                  <c:v>0.99306786271495151</c:v>
                </c:pt>
                <c:pt idx="1293">
                  <c:v>0.99308416326742788</c:v>
                </c:pt>
                <c:pt idx="1294">
                  <c:v>0.99310028457284738</c:v>
                </c:pt>
                <c:pt idx="1295">
                  <c:v>0.99311637527511087</c:v>
                </c:pt>
                <c:pt idx="1296">
                  <c:v>0.99313240914294165</c:v>
                </c:pt>
                <c:pt idx="1297">
                  <c:v>0.9931484342670136</c:v>
                </c:pt>
                <c:pt idx="1298">
                  <c:v>0.99316445720514579</c:v>
                </c:pt>
                <c:pt idx="1299">
                  <c:v>0.99319642001570085</c:v>
                </c:pt>
                <c:pt idx="1300">
                  <c:v>0.99321208664565908</c:v>
                </c:pt>
                <c:pt idx="1301">
                  <c:v>0.99322774671779812</c:v>
                </c:pt>
                <c:pt idx="1302">
                  <c:v>0.99325895975102996</c:v>
                </c:pt>
                <c:pt idx="1303">
                  <c:v>0.99328988205427937</c:v>
                </c:pt>
                <c:pt idx="1304">
                  <c:v>0.9933052929292906</c:v>
                </c:pt>
                <c:pt idx="1305">
                  <c:v>0.9933206732011457</c:v>
                </c:pt>
                <c:pt idx="1306">
                  <c:v>0.99335132663380976</c:v>
                </c:pt>
                <c:pt idx="1307">
                  <c:v>0.99336659105085989</c:v>
                </c:pt>
                <c:pt idx="1308">
                  <c:v>0.99338181393505531</c:v>
                </c:pt>
                <c:pt idx="1309">
                  <c:v>0.99339703026143156</c:v>
                </c:pt>
                <c:pt idx="1310">
                  <c:v>0.99341220068307379</c:v>
                </c:pt>
                <c:pt idx="1311">
                  <c:v>0.99344243878719152</c:v>
                </c:pt>
                <c:pt idx="1312">
                  <c:v>0.9934875587689086</c:v>
                </c:pt>
                <c:pt idx="1313">
                  <c:v>0.99351726568967491</c:v>
                </c:pt>
                <c:pt idx="1314">
                  <c:v>0.99354655291001526</c:v>
                </c:pt>
                <c:pt idx="1315">
                  <c:v>0.99356113749981312</c:v>
                </c:pt>
                <c:pt idx="1316">
                  <c:v>0.99360464862989795</c:v>
                </c:pt>
                <c:pt idx="1317">
                  <c:v>0.99363341778252523</c:v>
                </c:pt>
                <c:pt idx="1318">
                  <c:v>0.99364772694391856</c:v>
                </c:pt>
                <c:pt idx="1319">
                  <c:v>0.99366199675839706</c:v>
                </c:pt>
                <c:pt idx="1320">
                  <c:v>0.99369047736698157</c:v>
                </c:pt>
                <c:pt idx="1321">
                  <c:v>0.99371884430670077</c:v>
                </c:pt>
                <c:pt idx="1322">
                  <c:v>0.99374718720108313</c:v>
                </c:pt>
                <c:pt idx="1323">
                  <c:v>0.99376134990451537</c:v>
                </c:pt>
                <c:pt idx="1324">
                  <c:v>0.99378955727063512</c:v>
                </c:pt>
                <c:pt idx="1325">
                  <c:v>0.99380361723490063</c:v>
                </c:pt>
                <c:pt idx="1326">
                  <c:v>0.99381765971164837</c:v>
                </c:pt>
                <c:pt idx="1327">
                  <c:v>0.99383166284148128</c:v>
                </c:pt>
                <c:pt idx="1328">
                  <c:v>0.99384565504161559</c:v>
                </c:pt>
                <c:pt idx="1329">
                  <c:v>0.99385963849799097</c:v>
                </c:pt>
                <c:pt idx="1330">
                  <c:v>0.99387361539654717</c:v>
                </c:pt>
                <c:pt idx="1331">
                  <c:v>0.99388758355134454</c:v>
                </c:pt>
                <c:pt idx="1332">
                  <c:v>0.99390153640456391</c:v>
                </c:pt>
                <c:pt idx="1333">
                  <c:v>0.99391548707184352</c:v>
                </c:pt>
                <c:pt idx="1334">
                  <c:v>0.99392942899536429</c:v>
                </c:pt>
                <c:pt idx="1335">
                  <c:v>0.99394332064227153</c:v>
                </c:pt>
                <c:pt idx="1336">
                  <c:v>0.99395720573135959</c:v>
                </c:pt>
                <c:pt idx="1337">
                  <c:v>0.99397102524225611</c:v>
                </c:pt>
                <c:pt idx="1338">
                  <c:v>0.99398482289375545</c:v>
                </c:pt>
                <c:pt idx="1339">
                  <c:v>0.99399857901240019</c:v>
                </c:pt>
                <c:pt idx="1340">
                  <c:v>0.99402598851052293</c:v>
                </c:pt>
                <c:pt idx="1341">
                  <c:v>0.99403963751812152</c:v>
                </c:pt>
                <c:pt idx="1342">
                  <c:v>0.99406684809572987</c:v>
                </c:pt>
                <c:pt idx="1343">
                  <c:v>0.99409373734019979</c:v>
                </c:pt>
                <c:pt idx="1344">
                  <c:v>0.99410710654751444</c:v>
                </c:pt>
                <c:pt idx="1345">
                  <c:v>0.99413381654492738</c:v>
                </c:pt>
                <c:pt idx="1346">
                  <c:v>0.99417372743229671</c:v>
                </c:pt>
                <c:pt idx="1347">
                  <c:v>0.99421332135840701</c:v>
                </c:pt>
                <c:pt idx="1348">
                  <c:v>0.99422650038896621</c:v>
                </c:pt>
                <c:pt idx="1349">
                  <c:v>0.99426576205223938</c:v>
                </c:pt>
                <c:pt idx="1350">
                  <c:v>0.99427879462483748</c:v>
                </c:pt>
                <c:pt idx="1351">
                  <c:v>0.99429182282555617</c:v>
                </c:pt>
                <c:pt idx="1352">
                  <c:v>0.99431785955353602</c:v>
                </c:pt>
                <c:pt idx="1353">
                  <c:v>0.99434371922039877</c:v>
                </c:pt>
                <c:pt idx="1354">
                  <c:v>0.99436948489185362</c:v>
                </c:pt>
                <c:pt idx="1355">
                  <c:v>0.99438231635799768</c:v>
                </c:pt>
                <c:pt idx="1356">
                  <c:v>0.99440794868712978</c:v>
                </c:pt>
                <c:pt idx="1357">
                  <c:v>0.9944207145750823</c:v>
                </c:pt>
                <c:pt idx="1358">
                  <c:v>0.99444620700407249</c:v>
                </c:pt>
                <c:pt idx="1359">
                  <c:v>0.99445891824353205</c:v>
                </c:pt>
                <c:pt idx="1360">
                  <c:v>0.99447162729705196</c:v>
                </c:pt>
                <c:pt idx="1361">
                  <c:v>0.99448429044583775</c:v>
                </c:pt>
                <c:pt idx="1362">
                  <c:v>0.99449695140868377</c:v>
                </c:pt>
                <c:pt idx="1363">
                  <c:v>0.99450961237152979</c:v>
                </c:pt>
                <c:pt idx="1364">
                  <c:v>0.99452219464054603</c:v>
                </c:pt>
                <c:pt idx="1365">
                  <c:v>0.99454690887499653</c:v>
                </c:pt>
                <c:pt idx="1366">
                  <c:v>0.99460819169498793</c:v>
                </c:pt>
                <c:pt idx="1367">
                  <c:v>0.99462035207763855</c:v>
                </c:pt>
                <c:pt idx="1368">
                  <c:v>0.99464464005384412</c:v>
                </c:pt>
                <c:pt idx="1369">
                  <c:v>0.99465675234582096</c:v>
                </c:pt>
                <c:pt idx="1370">
                  <c:v>0.99466880998930485</c:v>
                </c:pt>
                <c:pt idx="1371">
                  <c:v>0.99468084577339155</c:v>
                </c:pt>
                <c:pt idx="1372">
                  <c:v>0.99469287718559884</c:v>
                </c:pt>
                <c:pt idx="1373">
                  <c:v>0.9947048845524693</c:v>
                </c:pt>
                <c:pt idx="1374">
                  <c:v>0.99471687661776165</c:v>
                </c:pt>
                <c:pt idx="1375">
                  <c:v>0.99472883589395822</c:v>
                </c:pt>
                <c:pt idx="1376">
                  <c:v>0.99474075582323995</c:v>
                </c:pt>
                <c:pt idx="1377">
                  <c:v>0.99475265607906416</c:v>
                </c:pt>
                <c:pt idx="1378">
                  <c:v>0.99476440113316844</c:v>
                </c:pt>
                <c:pt idx="1379">
                  <c:v>0.99477611558411672</c:v>
                </c:pt>
                <c:pt idx="1380">
                  <c:v>0.99478782566318547</c:v>
                </c:pt>
                <c:pt idx="1381">
                  <c:v>0.99479952699849539</c:v>
                </c:pt>
                <c:pt idx="1382">
                  <c:v>0.99481121084628754</c:v>
                </c:pt>
                <c:pt idx="1383">
                  <c:v>0.99484619681147246</c:v>
                </c:pt>
                <c:pt idx="1384">
                  <c:v>0.99485782163889225</c:v>
                </c:pt>
                <c:pt idx="1385">
                  <c:v>0.99488102538899781</c:v>
                </c:pt>
                <c:pt idx="1386">
                  <c:v>0.99489262179920124</c:v>
                </c:pt>
                <c:pt idx="1387">
                  <c:v>0.99490418104842948</c:v>
                </c:pt>
                <c:pt idx="1388">
                  <c:v>0.9949157315538989</c:v>
                </c:pt>
                <c:pt idx="1389">
                  <c:v>0.9949272667577902</c:v>
                </c:pt>
                <c:pt idx="1390">
                  <c:v>0.99493879321792267</c:v>
                </c:pt>
                <c:pt idx="1391">
                  <c:v>0.99495026721550195</c:v>
                </c:pt>
                <c:pt idx="1392">
                  <c:v>0.99496173902714147</c:v>
                </c:pt>
                <c:pt idx="1393">
                  <c:v>0.99498467609260133</c:v>
                </c:pt>
                <c:pt idx="1394">
                  <c:v>0.99499613260266284</c:v>
                </c:pt>
                <c:pt idx="1395">
                  <c:v>0.99501901720556951</c:v>
                </c:pt>
                <c:pt idx="1396">
                  <c:v>0.99503032944360958</c:v>
                </c:pt>
                <c:pt idx="1397">
                  <c:v>0.99504161326443341</c:v>
                </c:pt>
                <c:pt idx="1398">
                  <c:v>0.99506399291526526</c:v>
                </c:pt>
                <c:pt idx="1399">
                  <c:v>0.99507513246406765</c:v>
                </c:pt>
                <c:pt idx="1400">
                  <c:v>0.99509739844603418</c:v>
                </c:pt>
                <c:pt idx="1401">
                  <c:v>0.99510851832137914</c:v>
                </c:pt>
                <c:pt idx="1402">
                  <c:v>0.9951306990516966</c:v>
                </c:pt>
                <c:pt idx="1403">
                  <c:v>0.99515284699291828</c:v>
                </c:pt>
                <c:pt idx="1404">
                  <c:v>0.99516385538533758</c:v>
                </c:pt>
                <c:pt idx="1405">
                  <c:v>0.99517478508392709</c:v>
                </c:pt>
                <c:pt idx="1406">
                  <c:v>0.9951856994809386</c:v>
                </c:pt>
                <c:pt idx="1407">
                  <c:v>0.99521837927972112</c:v>
                </c:pt>
                <c:pt idx="1408">
                  <c:v>0.99522924558605874</c:v>
                </c:pt>
                <c:pt idx="1409">
                  <c:v>0.99524010970645671</c:v>
                </c:pt>
                <c:pt idx="1410">
                  <c:v>0.9952509672690355</c:v>
                </c:pt>
                <c:pt idx="1411">
                  <c:v>0.99526180297221711</c:v>
                </c:pt>
                <c:pt idx="1412">
                  <c:v>0.99527261244412213</c:v>
                </c:pt>
                <c:pt idx="1413">
                  <c:v>0.99528341973008738</c:v>
                </c:pt>
                <c:pt idx="1414">
                  <c:v>0.99529422045823357</c:v>
                </c:pt>
                <c:pt idx="1415">
                  <c:v>0.9953050080707414</c:v>
                </c:pt>
                <c:pt idx="1416">
                  <c:v>0.99531564266746897</c:v>
                </c:pt>
                <c:pt idx="1417">
                  <c:v>0.99532626414855829</c:v>
                </c:pt>
                <c:pt idx="1418">
                  <c:v>0.99533685284055184</c:v>
                </c:pt>
                <c:pt idx="1419">
                  <c:v>0.99534743060284681</c:v>
                </c:pt>
                <c:pt idx="1420">
                  <c:v>0.99536858394149696</c:v>
                </c:pt>
                <c:pt idx="1421">
                  <c:v>0.9953895973800051</c:v>
                </c:pt>
                <c:pt idx="1422">
                  <c:v>0.99540008770471133</c:v>
                </c:pt>
                <c:pt idx="1423">
                  <c:v>0.9954105452403218</c:v>
                </c:pt>
                <c:pt idx="1424">
                  <c:v>0.99543144938184414</c:v>
                </c:pt>
                <c:pt idx="1425">
                  <c:v>0.99544188505805742</c:v>
                </c:pt>
                <c:pt idx="1426">
                  <c:v>0.99546263181191996</c:v>
                </c:pt>
                <c:pt idx="1427">
                  <c:v>0.99547295819114734</c:v>
                </c:pt>
                <c:pt idx="1428">
                  <c:v>0.99549359346208433</c:v>
                </c:pt>
                <c:pt idx="1429">
                  <c:v>0.99550389798191452</c:v>
                </c:pt>
                <c:pt idx="1430">
                  <c:v>0.9955346869428412</c:v>
                </c:pt>
                <c:pt idx="1431">
                  <c:v>0.99554491495478126</c:v>
                </c:pt>
                <c:pt idx="1432">
                  <c:v>0.99556531633016843</c:v>
                </c:pt>
                <c:pt idx="1433">
                  <c:v>0.99557551155301272</c:v>
                </c:pt>
                <c:pt idx="1434">
                  <c:v>0.99558570240397759</c:v>
                </c:pt>
                <c:pt idx="1435">
                  <c:v>0.99559588232524387</c:v>
                </c:pt>
                <c:pt idx="1436">
                  <c:v>0.99560600541207744</c:v>
                </c:pt>
                <c:pt idx="1437">
                  <c:v>0.9956161241270316</c:v>
                </c:pt>
                <c:pt idx="1438">
                  <c:v>0.99563624788807448</c:v>
                </c:pt>
                <c:pt idx="1439">
                  <c:v>0.99564629665295767</c:v>
                </c:pt>
                <c:pt idx="1440">
                  <c:v>0.99565632574438334</c:v>
                </c:pt>
                <c:pt idx="1441">
                  <c:v>0.99566633516235159</c:v>
                </c:pt>
                <c:pt idx="1442">
                  <c:v>0.99567633583656101</c:v>
                </c:pt>
                <c:pt idx="1443">
                  <c:v>0.99569618635513923</c:v>
                </c:pt>
                <c:pt idx="1444">
                  <c:v>0.99571592101891238</c:v>
                </c:pt>
                <c:pt idx="1445">
                  <c:v>0.99572577960704012</c:v>
                </c:pt>
                <c:pt idx="1446">
                  <c:v>0.99573553108412172</c:v>
                </c:pt>
                <c:pt idx="1447">
                  <c:v>0.99574526944556496</c:v>
                </c:pt>
                <c:pt idx="1448">
                  <c:v>0.99578408299119592</c:v>
                </c:pt>
                <c:pt idx="1449">
                  <c:v>0.99581289586261745</c:v>
                </c:pt>
                <c:pt idx="1450">
                  <c:v>0.99582233037843992</c:v>
                </c:pt>
                <c:pt idx="1451">
                  <c:v>0.99583175615050346</c:v>
                </c:pt>
                <c:pt idx="1452">
                  <c:v>0.99585059676493204</c:v>
                </c:pt>
                <c:pt idx="1453">
                  <c:v>0.99585997444632179</c:v>
                </c:pt>
                <c:pt idx="1454">
                  <c:v>0.99587868609030705</c:v>
                </c:pt>
                <c:pt idx="1455">
                  <c:v>0.99588802005290245</c:v>
                </c:pt>
                <c:pt idx="1456">
                  <c:v>0.995897329970161</c:v>
                </c:pt>
                <c:pt idx="1457">
                  <c:v>0.99590658742486626</c:v>
                </c:pt>
                <c:pt idx="1458">
                  <c:v>0.99591575525604314</c:v>
                </c:pt>
                <c:pt idx="1459">
                  <c:v>0.99592492090128026</c:v>
                </c:pt>
                <c:pt idx="1460">
                  <c:v>0.99593406250118055</c:v>
                </c:pt>
                <c:pt idx="1461">
                  <c:v>0.99594314508070847</c:v>
                </c:pt>
                <c:pt idx="1462">
                  <c:v>0.99596119875683853</c:v>
                </c:pt>
                <c:pt idx="1463">
                  <c:v>0.99597019389877772</c:v>
                </c:pt>
                <c:pt idx="1464">
                  <c:v>0.99598817325295752</c:v>
                </c:pt>
                <c:pt idx="1465">
                  <c:v>0.99599714872143918</c:v>
                </c:pt>
                <c:pt idx="1466">
                  <c:v>0.99600611763210167</c:v>
                </c:pt>
                <c:pt idx="1467">
                  <c:v>0.99604181184175522</c:v>
                </c:pt>
                <c:pt idx="1468">
                  <c:v>0.99605956604414403</c:v>
                </c:pt>
                <c:pt idx="1469">
                  <c:v>0.99608611646795764</c:v>
                </c:pt>
                <c:pt idx="1470">
                  <c:v>0.9960949411065988</c:v>
                </c:pt>
                <c:pt idx="1471">
                  <c:v>0.99610375044366195</c:v>
                </c:pt>
                <c:pt idx="1472">
                  <c:v>0.99613001888125197</c:v>
                </c:pt>
                <c:pt idx="1473">
                  <c:v>0.9961387298510278</c:v>
                </c:pt>
                <c:pt idx="1474">
                  <c:v>0.99615611900148371</c:v>
                </c:pt>
                <c:pt idx="1475">
                  <c:v>0.99618211856848837</c:v>
                </c:pt>
                <c:pt idx="1476">
                  <c:v>0.99619075084443431</c:v>
                </c:pt>
                <c:pt idx="1477">
                  <c:v>0.99620775089762037</c:v>
                </c:pt>
                <c:pt idx="1478">
                  <c:v>0.99621616020771508</c:v>
                </c:pt>
                <c:pt idx="1479">
                  <c:v>0.99622456295999073</c:v>
                </c:pt>
                <c:pt idx="1480">
                  <c:v>0.99624964224637413</c:v>
                </c:pt>
                <c:pt idx="1481">
                  <c:v>0.99625798597827731</c:v>
                </c:pt>
                <c:pt idx="1482">
                  <c:v>0.99627465158268647</c:v>
                </c:pt>
                <c:pt idx="1483">
                  <c:v>0.99628295378173504</c:v>
                </c:pt>
                <c:pt idx="1484">
                  <c:v>0.99629124505108502</c:v>
                </c:pt>
                <c:pt idx="1485">
                  <c:v>0.99630779480068921</c:v>
                </c:pt>
                <c:pt idx="1486">
                  <c:v>0.99632429645961973</c:v>
                </c:pt>
                <c:pt idx="1487">
                  <c:v>0.99633252433671793</c:v>
                </c:pt>
                <c:pt idx="1488">
                  <c:v>0.99634072598253953</c:v>
                </c:pt>
                <c:pt idx="1489">
                  <c:v>0.99634892325648161</c:v>
                </c:pt>
                <c:pt idx="1490">
                  <c:v>0.99637331834373333</c:v>
                </c:pt>
                <c:pt idx="1491">
                  <c:v>0.99638136915971431</c:v>
                </c:pt>
                <c:pt idx="1492">
                  <c:v>0.99638939374441871</c:v>
                </c:pt>
                <c:pt idx="1493">
                  <c:v>0.99640535547623876</c:v>
                </c:pt>
                <c:pt idx="1494">
                  <c:v>0.99642119042355526</c:v>
                </c:pt>
                <c:pt idx="1495">
                  <c:v>0.99643697290831845</c:v>
                </c:pt>
                <c:pt idx="1496">
                  <c:v>0.99644485322100151</c:v>
                </c:pt>
                <c:pt idx="1497">
                  <c:v>0.99646837830424562</c:v>
                </c:pt>
                <c:pt idx="1498">
                  <c:v>0.99650733175001849</c:v>
                </c:pt>
                <c:pt idx="1499">
                  <c:v>0.99651507434849929</c:v>
                </c:pt>
                <c:pt idx="1500">
                  <c:v>0.99652280820322126</c:v>
                </c:pt>
                <c:pt idx="1501">
                  <c:v>0.99653053550012405</c:v>
                </c:pt>
                <c:pt idx="1502">
                  <c:v>0.99656132446105061</c:v>
                </c:pt>
                <c:pt idx="1503">
                  <c:v>0.99656900803915904</c:v>
                </c:pt>
                <c:pt idx="1504">
                  <c:v>0.99657668287350853</c:v>
                </c:pt>
                <c:pt idx="1505">
                  <c:v>0.99659199100935303</c:v>
                </c:pt>
                <c:pt idx="1506">
                  <c:v>0.99662230780730054</c:v>
                </c:pt>
                <c:pt idx="1507">
                  <c:v>0.99663733395692133</c:v>
                </c:pt>
                <c:pt idx="1508">
                  <c:v>0.99664484047391255</c:v>
                </c:pt>
                <c:pt idx="1509">
                  <c:v>0.99666726602947853</c:v>
                </c:pt>
                <c:pt idx="1510">
                  <c:v>0.99669690955799306</c:v>
                </c:pt>
                <c:pt idx="1511">
                  <c:v>0.99670427398890271</c:v>
                </c:pt>
                <c:pt idx="1512">
                  <c:v>0.99671162967605342</c:v>
                </c:pt>
                <c:pt idx="1513">
                  <c:v>0.99671892852877153</c:v>
                </c:pt>
                <c:pt idx="1514">
                  <c:v>0.99676245714637401</c:v>
                </c:pt>
                <c:pt idx="1515">
                  <c:v>0.99676962921458845</c:v>
                </c:pt>
                <c:pt idx="1516">
                  <c:v>0.99678389247124777</c:v>
                </c:pt>
                <c:pt idx="1517">
                  <c:v>0.99679099458939124</c:v>
                </c:pt>
                <c:pt idx="1518">
                  <c:v>0.99682637402372531</c:v>
                </c:pt>
                <c:pt idx="1519">
                  <c:v>0.9968334389808936</c:v>
                </c:pt>
                <c:pt idx="1520">
                  <c:v>0.99684753173425489</c:v>
                </c:pt>
                <c:pt idx="1521">
                  <c:v>0.99685457701796565</c:v>
                </c:pt>
                <c:pt idx="1522">
                  <c:v>0.99686160918603817</c:v>
                </c:pt>
                <c:pt idx="1523">
                  <c:v>0.99686864135411068</c:v>
                </c:pt>
                <c:pt idx="1524">
                  <c:v>0.99687566477842426</c:v>
                </c:pt>
                <c:pt idx="1525">
                  <c:v>0.99688966135043799</c:v>
                </c:pt>
                <c:pt idx="1526">
                  <c:v>0.99689664542783674</c:v>
                </c:pt>
                <c:pt idx="1527">
                  <c:v>0.99690360545989853</c:v>
                </c:pt>
                <c:pt idx="1528">
                  <c:v>0.9969105305169248</c:v>
                </c:pt>
                <c:pt idx="1529">
                  <c:v>0.99693122043635474</c:v>
                </c:pt>
                <c:pt idx="1530">
                  <c:v>0.99693805368391286</c:v>
                </c:pt>
                <c:pt idx="1531">
                  <c:v>0.99694487818771216</c:v>
                </c:pt>
                <c:pt idx="1532">
                  <c:v>0.9969516895758731</c:v>
                </c:pt>
                <c:pt idx="1533">
                  <c:v>0.99695849003433545</c:v>
                </c:pt>
                <c:pt idx="1534">
                  <c:v>0.99697871216266587</c:v>
                </c:pt>
                <c:pt idx="1535">
                  <c:v>0.99698543829917785</c:v>
                </c:pt>
                <c:pt idx="1536">
                  <c:v>0.99699215350599124</c:v>
                </c:pt>
                <c:pt idx="1537">
                  <c:v>0.99699885341122663</c:v>
                </c:pt>
                <c:pt idx="1538">
                  <c:v>0.99700552927112507</c:v>
                </c:pt>
                <c:pt idx="1539">
                  <c:v>0.99701885694558512</c:v>
                </c:pt>
                <c:pt idx="1540">
                  <c:v>0.99703213652937139</c:v>
                </c:pt>
                <c:pt idx="1541">
                  <c:v>0.99703876429859606</c:v>
                </c:pt>
                <c:pt idx="1542">
                  <c:v>0.99705852956552532</c:v>
                </c:pt>
                <c:pt idx="1543">
                  <c:v>0.99707160804285744</c:v>
                </c:pt>
                <c:pt idx="1544">
                  <c:v>0.99709113285641771</c:v>
                </c:pt>
                <c:pt idx="1545">
                  <c:v>0.99709762291144011</c:v>
                </c:pt>
                <c:pt idx="1546">
                  <c:v>0.99710406924766815</c:v>
                </c:pt>
                <c:pt idx="1547">
                  <c:v>0.99711050028231818</c:v>
                </c:pt>
                <c:pt idx="1548">
                  <c:v>0.99712326617027069</c:v>
                </c:pt>
                <c:pt idx="1549">
                  <c:v>0.99712962944078953</c:v>
                </c:pt>
                <c:pt idx="1550">
                  <c:v>0.9971359599222126</c:v>
                </c:pt>
                <c:pt idx="1551">
                  <c:v>0.99715492294926544</c:v>
                </c:pt>
                <c:pt idx="1552">
                  <c:v>0.99716123375723098</c:v>
                </c:pt>
                <c:pt idx="1553">
                  <c:v>0.99717382258406639</c:v>
                </c:pt>
                <c:pt idx="1554">
                  <c:v>0.9971863436467705</c:v>
                </c:pt>
                <c:pt idx="1555">
                  <c:v>0.99719258450466508</c:v>
                </c:pt>
                <c:pt idx="1556">
                  <c:v>0.99720505529075565</c:v>
                </c:pt>
                <c:pt idx="1557">
                  <c:v>0.99721128303301199</c:v>
                </c:pt>
                <c:pt idx="1558">
                  <c:v>0.99721750858932856</c:v>
                </c:pt>
                <c:pt idx="1559">
                  <c:v>0.9972236991706096</c:v>
                </c:pt>
                <c:pt idx="1560">
                  <c:v>0.99724219222062294</c:v>
                </c:pt>
                <c:pt idx="1561">
                  <c:v>0.99724832596747137</c:v>
                </c:pt>
                <c:pt idx="1562">
                  <c:v>0.99725444878462122</c:v>
                </c:pt>
                <c:pt idx="1563">
                  <c:v>0.99726056067207247</c:v>
                </c:pt>
                <c:pt idx="1564">
                  <c:v>0.99728490548271076</c:v>
                </c:pt>
                <c:pt idx="1565">
                  <c:v>0.99729697405589324</c:v>
                </c:pt>
                <c:pt idx="1566">
                  <c:v>0.99731502554608364</c:v>
                </c:pt>
                <c:pt idx="1567">
                  <c:v>0.9973210019052724</c:v>
                </c:pt>
                <c:pt idx="1568">
                  <c:v>0.99733294587989096</c:v>
                </c:pt>
                <c:pt idx="1569">
                  <c:v>0.99733890256562219</c:v>
                </c:pt>
                <c:pt idx="1570">
                  <c:v>0.99735079407768756</c:v>
                </c:pt>
                <c:pt idx="1571">
                  <c:v>0.99735673546184078</c:v>
                </c:pt>
                <c:pt idx="1572">
                  <c:v>0.997368473958126</c:v>
                </c:pt>
                <c:pt idx="1573">
                  <c:v>0.99737432790469049</c:v>
                </c:pt>
                <c:pt idx="1574">
                  <c:v>0.99738600956654289</c:v>
                </c:pt>
                <c:pt idx="1575">
                  <c:v>0.99739182853807196</c:v>
                </c:pt>
                <c:pt idx="1576">
                  <c:v>0.99739764313772161</c:v>
                </c:pt>
                <c:pt idx="1577">
                  <c:v>0.99740926140732222</c:v>
                </c:pt>
                <c:pt idx="1578">
                  <c:v>0.99741505633351435</c:v>
                </c:pt>
                <c:pt idx="1579">
                  <c:v>0.99742661776868236</c:v>
                </c:pt>
                <c:pt idx="1580">
                  <c:v>0.9974323908354773</c:v>
                </c:pt>
                <c:pt idx="1581">
                  <c:v>0.99743816171633259</c:v>
                </c:pt>
                <c:pt idx="1582">
                  <c:v>0.997443869204936</c:v>
                </c:pt>
                <c:pt idx="1583">
                  <c:v>0.99746089548939887</c:v>
                </c:pt>
                <c:pt idx="1584">
                  <c:v>0.99747789117070562</c:v>
                </c:pt>
                <c:pt idx="1585">
                  <c:v>0.99748919029310745</c:v>
                </c:pt>
                <c:pt idx="1586">
                  <c:v>0.99750043258107657</c:v>
                </c:pt>
                <c:pt idx="1587">
                  <c:v>0.99750602640081465</c:v>
                </c:pt>
                <c:pt idx="1588">
                  <c:v>0.99751160710491449</c:v>
                </c:pt>
                <c:pt idx="1589">
                  <c:v>0.99751717687931574</c:v>
                </c:pt>
                <c:pt idx="1590">
                  <c:v>0.99752274665371699</c:v>
                </c:pt>
                <c:pt idx="1591">
                  <c:v>0.99752830987029906</c:v>
                </c:pt>
                <c:pt idx="1592">
                  <c:v>0.99753385559936336</c:v>
                </c:pt>
                <c:pt idx="1593">
                  <c:v>0.9975393991424879</c:v>
                </c:pt>
                <c:pt idx="1594">
                  <c:v>0.99756700100330575</c:v>
                </c:pt>
                <c:pt idx="1595">
                  <c:v>0.9975724920838771</c:v>
                </c:pt>
                <c:pt idx="1596">
                  <c:v>0.99758344145592415</c:v>
                </c:pt>
                <c:pt idx="1597">
                  <c:v>0.99759437771233284</c:v>
                </c:pt>
                <c:pt idx="1598">
                  <c:v>0.99759984037568783</c:v>
                </c:pt>
                <c:pt idx="1599">
                  <c:v>0.99760528992340458</c:v>
                </c:pt>
                <c:pt idx="1600">
                  <c:v>0.99761073947112133</c:v>
                </c:pt>
                <c:pt idx="1601">
                  <c:v>0.99762704002359781</c:v>
                </c:pt>
                <c:pt idx="1602">
                  <c:v>0.99763244148064079</c:v>
                </c:pt>
                <c:pt idx="1603">
                  <c:v>0.99763783637986458</c:v>
                </c:pt>
                <c:pt idx="1604">
                  <c:v>0.99764322034938979</c:v>
                </c:pt>
                <c:pt idx="1605">
                  <c:v>0.99764859776109582</c:v>
                </c:pt>
                <c:pt idx="1606">
                  <c:v>0.99765930449383411</c:v>
                </c:pt>
                <c:pt idx="1607">
                  <c:v>0.99766464911644437</c:v>
                </c:pt>
                <c:pt idx="1608">
                  <c:v>0.99768598170215128</c:v>
                </c:pt>
                <c:pt idx="1609">
                  <c:v>0.99769129353566577</c:v>
                </c:pt>
                <c:pt idx="1610">
                  <c:v>0.99769660099730084</c:v>
                </c:pt>
                <c:pt idx="1611">
                  <c:v>0.99770190190111674</c:v>
                </c:pt>
                <c:pt idx="1612">
                  <c:v>0.99770717875959569</c:v>
                </c:pt>
                <c:pt idx="1613">
                  <c:v>0.9977124425024364</c:v>
                </c:pt>
                <c:pt idx="1614">
                  <c:v>0.99772292626932346</c:v>
                </c:pt>
                <c:pt idx="1615">
                  <c:v>0.99772814629336981</c:v>
                </c:pt>
                <c:pt idx="1616">
                  <c:v>0.99773333352832039</c:v>
                </c:pt>
                <c:pt idx="1617">
                  <c:v>0.9977385032757532</c:v>
                </c:pt>
                <c:pt idx="1618">
                  <c:v>0.99774361181687388</c:v>
                </c:pt>
                <c:pt idx="1619">
                  <c:v>0.99775892213865813</c:v>
                </c:pt>
                <c:pt idx="1620">
                  <c:v>0.99777413627909473</c:v>
                </c:pt>
                <c:pt idx="1621">
                  <c:v>0.99779920463577954</c:v>
                </c:pt>
                <c:pt idx="1622">
                  <c:v>0.99781414334781171</c:v>
                </c:pt>
                <c:pt idx="1623">
                  <c:v>0.99781910980285082</c:v>
                </c:pt>
                <c:pt idx="1624">
                  <c:v>0.99782902303947152</c:v>
                </c:pt>
                <c:pt idx="1625">
                  <c:v>0.99783891660263468</c:v>
                </c:pt>
                <c:pt idx="1626">
                  <c:v>0.99784877300482266</c:v>
                </c:pt>
                <c:pt idx="1627">
                  <c:v>0.99786349312288303</c:v>
                </c:pt>
                <c:pt idx="1628">
                  <c:v>0.99786838088409224</c:v>
                </c:pt>
                <c:pt idx="1629">
                  <c:v>0.99787325990154263</c:v>
                </c:pt>
                <c:pt idx="1630">
                  <c:v>0.99787812143147525</c:v>
                </c:pt>
                <c:pt idx="1631">
                  <c:v>0.9978973708166311</c:v>
                </c:pt>
                <c:pt idx="1632">
                  <c:v>0.99793071514108778</c:v>
                </c:pt>
                <c:pt idx="1633">
                  <c:v>0.99794014309909107</c:v>
                </c:pt>
                <c:pt idx="1634">
                  <c:v>0.99794484724136401</c:v>
                </c:pt>
                <c:pt idx="1635">
                  <c:v>0.99794954045393836</c:v>
                </c:pt>
                <c:pt idx="1636">
                  <c:v>0.99796356325722868</c:v>
                </c:pt>
                <c:pt idx="1637">
                  <c:v>0.99796822805258667</c:v>
                </c:pt>
                <c:pt idx="1638">
                  <c:v>0.9979728644307283</c:v>
                </c:pt>
                <c:pt idx="1639">
                  <c:v>0.9979774243009798</c:v>
                </c:pt>
                <c:pt idx="1640">
                  <c:v>0.99798196886965329</c:v>
                </c:pt>
                <c:pt idx="1641">
                  <c:v>0.99798649595080902</c:v>
                </c:pt>
                <c:pt idx="1642">
                  <c:v>0.99800007282239689</c:v>
                </c:pt>
                <c:pt idx="1643">
                  <c:v>0.99800459334573355</c:v>
                </c:pt>
                <c:pt idx="1644">
                  <c:v>0.99800910731125103</c:v>
                </c:pt>
                <c:pt idx="1645">
                  <c:v>0.99801360378925075</c:v>
                </c:pt>
                <c:pt idx="1646">
                  <c:v>0.9980180980813107</c:v>
                </c:pt>
                <c:pt idx="1647">
                  <c:v>0.99802708447949096</c:v>
                </c:pt>
                <c:pt idx="1648">
                  <c:v>0.99803155035433466</c:v>
                </c:pt>
                <c:pt idx="1649">
                  <c:v>0.99804491956164931</c:v>
                </c:pt>
                <c:pt idx="1650">
                  <c:v>0.99805378791908483</c:v>
                </c:pt>
                <c:pt idx="1651">
                  <c:v>0.99806702378407675</c:v>
                </c:pt>
                <c:pt idx="1652">
                  <c:v>0.99807139784945231</c:v>
                </c:pt>
                <c:pt idx="1653">
                  <c:v>0.99807576317106894</c:v>
                </c:pt>
                <c:pt idx="1654">
                  <c:v>0.99808447195490513</c:v>
                </c:pt>
                <c:pt idx="1655">
                  <c:v>0.99808882416088351</c:v>
                </c:pt>
                <c:pt idx="1656">
                  <c:v>0.99809315450746472</c:v>
                </c:pt>
                <c:pt idx="1657">
                  <c:v>0.99809747173840757</c:v>
                </c:pt>
                <c:pt idx="1658">
                  <c:v>0.99810174962243547</c:v>
                </c:pt>
                <c:pt idx="1659">
                  <c:v>0.99811027697327503</c:v>
                </c:pt>
                <c:pt idx="1660">
                  <c:v>0.9981272507951845</c:v>
                </c:pt>
                <c:pt idx="1661">
                  <c:v>0.99813147403071945</c:v>
                </c:pt>
                <c:pt idx="1662">
                  <c:v>0.99815249839892617</c:v>
                </c:pt>
                <c:pt idx="1663">
                  <c:v>0.99815666698596817</c:v>
                </c:pt>
                <c:pt idx="1664">
                  <c:v>0.99816497355689626</c:v>
                </c:pt>
                <c:pt idx="1665">
                  <c:v>0.99816911591266166</c:v>
                </c:pt>
                <c:pt idx="1666">
                  <c:v>0.99817324296684906</c:v>
                </c:pt>
                <c:pt idx="1667">
                  <c:v>0.99818145991424867</c:v>
                </c:pt>
                <c:pt idx="1668">
                  <c:v>0.99818554106370194</c:v>
                </c:pt>
                <c:pt idx="1669">
                  <c:v>0.9981896178412758</c:v>
                </c:pt>
                <c:pt idx="1670">
                  <c:v>0.99820987713058118</c:v>
                </c:pt>
                <c:pt idx="1671">
                  <c:v>0.99822195226158283</c:v>
                </c:pt>
                <c:pt idx="1672">
                  <c:v>0.99822994842907087</c:v>
                </c:pt>
                <c:pt idx="1673">
                  <c:v>0.99824187928805108</c:v>
                </c:pt>
                <c:pt idx="1674">
                  <c:v>0.99824584458269938</c:v>
                </c:pt>
                <c:pt idx="1675">
                  <c:v>0.99824980331952851</c:v>
                </c:pt>
                <c:pt idx="1676">
                  <c:v>0.99825375768447822</c:v>
                </c:pt>
                <c:pt idx="1677">
                  <c:v>0.99826166204249811</c:v>
                </c:pt>
                <c:pt idx="1678">
                  <c:v>0.99827345737321593</c:v>
                </c:pt>
                <c:pt idx="1679">
                  <c:v>0.99827735490373293</c:v>
                </c:pt>
                <c:pt idx="1680">
                  <c:v>0.99828514122100809</c:v>
                </c:pt>
                <c:pt idx="1681">
                  <c:v>0.99828903000776625</c:v>
                </c:pt>
                <c:pt idx="1682">
                  <c:v>0.99829679009376482</c:v>
                </c:pt>
                <c:pt idx="1683">
                  <c:v>0.99830834497111365</c:v>
                </c:pt>
                <c:pt idx="1684">
                  <c:v>0.99831217255155968</c:v>
                </c:pt>
                <c:pt idx="1685">
                  <c:v>0.99831982552651199</c:v>
                </c:pt>
                <c:pt idx="1686">
                  <c:v>0.99832363124756085</c:v>
                </c:pt>
                <c:pt idx="1687">
                  <c:v>0.99834255274175887</c:v>
                </c:pt>
                <c:pt idx="1688">
                  <c:v>0.99834632348777219</c:v>
                </c:pt>
                <c:pt idx="1689">
                  <c:v>0.99836127750138248</c:v>
                </c:pt>
                <c:pt idx="1690">
                  <c:v>0.9983687009526645</c:v>
                </c:pt>
                <c:pt idx="1691">
                  <c:v>0.99837240830642604</c:v>
                </c:pt>
                <c:pt idx="1692">
                  <c:v>0.99839078768757417</c:v>
                </c:pt>
                <c:pt idx="1693">
                  <c:v>0.99840173268774168</c:v>
                </c:pt>
                <c:pt idx="1694">
                  <c:v>0.99843068764524512</c:v>
                </c:pt>
                <c:pt idx="1695">
                  <c:v>0.99844137470452587</c:v>
                </c:pt>
                <c:pt idx="1696">
                  <c:v>0.998448463707031</c:v>
                </c:pt>
                <c:pt idx="1697">
                  <c:v>0.99845198306997685</c:v>
                </c:pt>
                <c:pt idx="1698">
                  <c:v>0.99845900649429042</c:v>
                </c:pt>
                <c:pt idx="1699">
                  <c:v>0.99847295716157003</c:v>
                </c:pt>
                <c:pt idx="1700">
                  <c:v>0.99847643280572151</c:v>
                </c:pt>
                <c:pt idx="1701">
                  <c:v>0.99848336660650661</c:v>
                </c:pt>
                <c:pt idx="1702">
                  <c:v>0.99848680946156232</c:v>
                </c:pt>
                <c:pt idx="1703">
                  <c:v>0.99852096695559411</c:v>
                </c:pt>
                <c:pt idx="1704">
                  <c:v>0.99853454601312175</c:v>
                </c:pt>
                <c:pt idx="1705">
                  <c:v>0.9985447062609305</c:v>
                </c:pt>
                <c:pt idx="1706">
                  <c:v>0.99857163266637561</c:v>
                </c:pt>
                <c:pt idx="1707">
                  <c:v>0.99857497278226459</c:v>
                </c:pt>
                <c:pt idx="1708">
                  <c:v>0.9985816245968262</c:v>
                </c:pt>
                <c:pt idx="1709">
                  <c:v>0.998584942853318</c:v>
                </c:pt>
                <c:pt idx="1710">
                  <c:v>0.99859483423054152</c:v>
                </c:pt>
                <c:pt idx="1711">
                  <c:v>0.99860467533115149</c:v>
                </c:pt>
                <c:pt idx="1712">
                  <c:v>0.99861448145672604</c:v>
                </c:pt>
                <c:pt idx="1713">
                  <c:v>0.99862097151174845</c:v>
                </c:pt>
                <c:pt idx="1714">
                  <c:v>0.99863711467656513</c:v>
                </c:pt>
                <c:pt idx="1715">
                  <c:v>0.99864032800795044</c:v>
                </c:pt>
                <c:pt idx="1716">
                  <c:v>0.9986467524847813</c:v>
                </c:pt>
                <c:pt idx="1717">
                  <c:v>0.99864995488646802</c:v>
                </c:pt>
                <c:pt idx="1718">
                  <c:v>0.99865315728815474</c:v>
                </c:pt>
                <c:pt idx="1719">
                  <c:v>0.99865635750390169</c:v>
                </c:pt>
                <c:pt idx="1720">
                  <c:v>0.99866591443234831</c:v>
                </c:pt>
                <c:pt idx="1721">
                  <c:v>0.99868161385140219</c:v>
                </c:pt>
                <c:pt idx="1722">
                  <c:v>0.99868784596553795</c:v>
                </c:pt>
                <c:pt idx="1723">
                  <c:v>0.99869715806873616</c:v>
                </c:pt>
                <c:pt idx="1724">
                  <c:v>0.99870331586092154</c:v>
                </c:pt>
                <c:pt idx="1725">
                  <c:v>0.99870944960776997</c:v>
                </c:pt>
                <c:pt idx="1726">
                  <c:v>0.99871250992337501</c:v>
                </c:pt>
                <c:pt idx="1727">
                  <c:v>0.9987155680530404</c:v>
                </c:pt>
                <c:pt idx="1728">
                  <c:v>0.99871862618270579</c:v>
                </c:pt>
                <c:pt idx="1729">
                  <c:v>0.99872471183888045</c:v>
                </c:pt>
                <c:pt idx="1730">
                  <c:v>0.9987307931231757</c:v>
                </c:pt>
                <c:pt idx="1731">
                  <c:v>0.99873382283562473</c:v>
                </c:pt>
                <c:pt idx="1732">
                  <c:v>0.99874287699793629</c:v>
                </c:pt>
                <c:pt idx="1733">
                  <c:v>0.99874588922286756</c:v>
                </c:pt>
                <c:pt idx="1734">
                  <c:v>0.99874889926185906</c:v>
                </c:pt>
                <c:pt idx="1735">
                  <c:v>0.99875486031946981</c:v>
                </c:pt>
                <c:pt idx="1736">
                  <c:v>0.99878432678686691</c:v>
                </c:pt>
                <c:pt idx="1737">
                  <c:v>0.99879017636155198</c:v>
                </c:pt>
                <c:pt idx="1738">
                  <c:v>0.99879309021919593</c:v>
                </c:pt>
                <c:pt idx="1739">
                  <c:v>0.99879888951726759</c:v>
                </c:pt>
                <c:pt idx="1740">
                  <c:v>0.99880178807333353</c:v>
                </c:pt>
                <c:pt idx="1741">
                  <c:v>0.99882479071698504</c:v>
                </c:pt>
                <c:pt idx="1742">
                  <c:v>0.9988276521120758</c:v>
                </c:pt>
                <c:pt idx="1743">
                  <c:v>0.9988333705303778</c:v>
                </c:pt>
                <c:pt idx="1744">
                  <c:v>0.99884466746683997</c:v>
                </c:pt>
                <c:pt idx="1745">
                  <c:v>0.99885306803317586</c:v>
                </c:pt>
                <c:pt idx="1746">
                  <c:v>0.99885865092321546</c:v>
                </c:pt>
                <c:pt idx="1747">
                  <c:v>0.99888084695511103</c:v>
                </c:pt>
                <c:pt idx="1748">
                  <c:v>0.99889178539745949</c:v>
                </c:pt>
                <c:pt idx="1749">
                  <c:v>0.99890262765846027</c:v>
                </c:pt>
                <c:pt idx="1750">
                  <c:v>0.99890800069828678</c:v>
                </c:pt>
                <c:pt idx="1751">
                  <c:v>0.9989106762885015</c:v>
                </c:pt>
                <c:pt idx="1752">
                  <c:v>0.99891334532089704</c:v>
                </c:pt>
                <c:pt idx="1753">
                  <c:v>0.99891600123765434</c:v>
                </c:pt>
                <c:pt idx="1754">
                  <c:v>0.99891864403877328</c:v>
                </c:pt>
                <c:pt idx="1755">
                  <c:v>0.99892656369837118</c:v>
                </c:pt>
                <c:pt idx="1756">
                  <c:v>0.9989370605808966</c:v>
                </c:pt>
                <c:pt idx="1757">
                  <c:v>0.99894751374462754</c:v>
                </c:pt>
                <c:pt idx="1758">
                  <c:v>0.99896557397857677</c:v>
                </c:pt>
                <c:pt idx="1759">
                  <c:v>0.99896813589992617</c:v>
                </c:pt>
                <c:pt idx="1760">
                  <c:v>0.99897069344939615</c:v>
                </c:pt>
                <c:pt idx="1761">
                  <c:v>0.99897324444104696</c:v>
                </c:pt>
                <c:pt idx="1762">
                  <c:v>0.9989933813177283</c:v>
                </c:pt>
                <c:pt idx="1763">
                  <c:v>0.99899587110306698</c:v>
                </c:pt>
                <c:pt idx="1764">
                  <c:v>0.99900082662840739</c:v>
                </c:pt>
                <c:pt idx="1765">
                  <c:v>0.99901309412210426</c:v>
                </c:pt>
                <c:pt idx="1766">
                  <c:v>0.99901552925894999</c:v>
                </c:pt>
                <c:pt idx="1767">
                  <c:v>0.99902281062415033</c:v>
                </c:pt>
                <c:pt idx="1768">
                  <c:v>0.99903001985334006</c:v>
                </c:pt>
                <c:pt idx="1769">
                  <c:v>0.99903480706132231</c:v>
                </c:pt>
                <c:pt idx="1770">
                  <c:v>0.99904433775849244</c:v>
                </c:pt>
                <c:pt idx="1771">
                  <c:v>0.9990467138749658</c:v>
                </c:pt>
                <c:pt idx="1772">
                  <c:v>0.99904908124768033</c:v>
                </c:pt>
                <c:pt idx="1773">
                  <c:v>0.99907243364168674</c:v>
                </c:pt>
                <c:pt idx="1774">
                  <c:v>0.99907472669245079</c:v>
                </c:pt>
                <c:pt idx="1775">
                  <c:v>0.99908159272910479</c:v>
                </c:pt>
                <c:pt idx="1776">
                  <c:v>0.99908842160478339</c:v>
                </c:pt>
                <c:pt idx="1777">
                  <c:v>0.9990929552437583</c:v>
                </c:pt>
                <c:pt idx="1778">
                  <c:v>0.99909520457572798</c:v>
                </c:pt>
                <c:pt idx="1779">
                  <c:v>0.99909745172175801</c:v>
                </c:pt>
                <c:pt idx="1780">
                  <c:v>0.99912394531113891</c:v>
                </c:pt>
                <c:pt idx="1781">
                  <c:v>0.99912611376333904</c:v>
                </c:pt>
                <c:pt idx="1782">
                  <c:v>0.99913044629586001</c:v>
                </c:pt>
                <c:pt idx="1783">
                  <c:v>0.99914978749048378</c:v>
                </c:pt>
                <c:pt idx="1784">
                  <c:v>0.99915831046944381</c:v>
                </c:pt>
                <c:pt idx="1785">
                  <c:v>0.99916042208721134</c:v>
                </c:pt>
                <c:pt idx="1786">
                  <c:v>0.99916253151903911</c:v>
                </c:pt>
                <c:pt idx="1787">
                  <c:v>0.99916463657898746</c:v>
                </c:pt>
                <c:pt idx="1788">
                  <c:v>0.99916673289517688</c:v>
                </c:pt>
                <c:pt idx="1789">
                  <c:v>0.99917299342652888</c:v>
                </c:pt>
                <c:pt idx="1790">
                  <c:v>0.99917507444114029</c:v>
                </c:pt>
                <c:pt idx="1791">
                  <c:v>0.99917921898284545</c:v>
                </c:pt>
                <c:pt idx="1792">
                  <c:v>0.99918747746309955</c:v>
                </c:pt>
                <c:pt idx="1793">
                  <c:v>0.99919159140164859</c:v>
                </c:pt>
                <c:pt idx="1794">
                  <c:v>0.99919364181310399</c:v>
                </c:pt>
                <c:pt idx="1795">
                  <c:v>0.99919569003861963</c:v>
                </c:pt>
                <c:pt idx="1796">
                  <c:v>0.9992017909963723</c:v>
                </c:pt>
                <c:pt idx="1797">
                  <c:v>0.99920380424685251</c:v>
                </c:pt>
                <c:pt idx="1798">
                  <c:v>0.99921973974739609</c:v>
                </c:pt>
                <c:pt idx="1799">
                  <c:v>0.99922170490720252</c:v>
                </c:pt>
                <c:pt idx="1800">
                  <c:v>0.99923151103277696</c:v>
                </c:pt>
                <c:pt idx="1801">
                  <c:v>0.99923737590904005</c:v>
                </c:pt>
                <c:pt idx="1802">
                  <c:v>0.9992450835324852</c:v>
                </c:pt>
                <c:pt idx="1803">
                  <c:v>0.99925080632266672</c:v>
                </c:pt>
                <c:pt idx="1804">
                  <c:v>0.99925459892807722</c:v>
                </c:pt>
                <c:pt idx="1805">
                  <c:v>0.99926216665138046</c:v>
                </c:pt>
                <c:pt idx="1806">
                  <c:v>0.99928277350510109</c:v>
                </c:pt>
                <c:pt idx="1807">
                  <c:v>0.99928648523074204</c:v>
                </c:pt>
                <c:pt idx="1808">
                  <c:v>0.99928833890762281</c:v>
                </c:pt>
                <c:pt idx="1809">
                  <c:v>0.99929203970356517</c:v>
                </c:pt>
                <c:pt idx="1810">
                  <c:v>0.99929757668887054</c:v>
                </c:pt>
                <c:pt idx="1811">
                  <c:v>0.99930125562541572</c:v>
                </c:pt>
                <c:pt idx="1812">
                  <c:v>0.99930673577628848</c:v>
                </c:pt>
                <c:pt idx="1813">
                  <c:v>0.99931933990470201</c:v>
                </c:pt>
                <c:pt idx="1814">
                  <c:v>0.9993246670397945</c:v>
                </c:pt>
                <c:pt idx="1815">
                  <c:v>0.99932997231548981</c:v>
                </c:pt>
                <c:pt idx="1816">
                  <c:v>0.99933350042219449</c:v>
                </c:pt>
                <c:pt idx="1817">
                  <c:v>0.99933525573178794</c:v>
                </c:pt>
                <c:pt idx="1818">
                  <c:v>0.99934048449959323</c:v>
                </c:pt>
                <c:pt idx="1819">
                  <c:v>0.9993422179497895</c:v>
                </c:pt>
                <c:pt idx="1820">
                  <c:v>0.99934736583782524</c:v>
                </c:pt>
                <c:pt idx="1821">
                  <c:v>0.99935076060220718</c:v>
                </c:pt>
                <c:pt idx="1822">
                  <c:v>0.99935582979641291</c:v>
                </c:pt>
                <c:pt idx="1823">
                  <c:v>0.99935918302794013</c:v>
                </c:pt>
                <c:pt idx="1824">
                  <c:v>0.99936251221413053</c:v>
                </c:pt>
                <c:pt idx="1825">
                  <c:v>0.99936416697049701</c:v>
                </c:pt>
                <c:pt idx="1826">
                  <c:v>0.99936747429729023</c:v>
                </c:pt>
                <c:pt idx="1827">
                  <c:v>0.99937076850844508</c:v>
                </c:pt>
                <c:pt idx="1828">
                  <c:v>0.99937240796323346</c:v>
                </c:pt>
                <c:pt idx="1829">
                  <c:v>0.99937731758383985</c:v>
                </c:pt>
                <c:pt idx="1830">
                  <c:v>0.9993805811918387</c:v>
                </c:pt>
                <c:pt idx="1831">
                  <c:v>0.99938220971692848</c:v>
                </c:pt>
                <c:pt idx="1832">
                  <c:v>0.99939028676418606</c:v>
                </c:pt>
                <c:pt idx="1833">
                  <c:v>0.99939189124393901</c:v>
                </c:pt>
                <c:pt idx="1834">
                  <c:v>0.9993982523285182</c:v>
                </c:pt>
                <c:pt idx="1835">
                  <c:v>0.99939982620511514</c:v>
                </c:pt>
                <c:pt idx="1836">
                  <c:v>0.99940296084267066</c:v>
                </c:pt>
                <c:pt idx="1837">
                  <c:v>0.99940918421304747</c:v>
                </c:pt>
                <c:pt idx="1838">
                  <c:v>0.99941227513180853</c:v>
                </c:pt>
                <c:pt idx="1839">
                  <c:v>0.99941381403336993</c:v>
                </c:pt>
                <c:pt idx="1840">
                  <c:v>0.99942147138020165</c:v>
                </c:pt>
                <c:pt idx="1841">
                  <c:v>0.99942599190353831</c:v>
                </c:pt>
                <c:pt idx="1842">
                  <c:v>0.99942899319877099</c:v>
                </c:pt>
                <c:pt idx="1843">
                  <c:v>0.99943048619559827</c:v>
                </c:pt>
                <c:pt idx="1844">
                  <c:v>0.99943939389994862</c:v>
                </c:pt>
                <c:pt idx="1845">
                  <c:v>0.99944528063560889</c:v>
                </c:pt>
                <c:pt idx="1846">
                  <c:v>0.99944820979483096</c:v>
                </c:pt>
                <c:pt idx="1847">
                  <c:v>0.99945113239623373</c:v>
                </c:pt>
                <c:pt idx="1848">
                  <c:v>0.99945694918182304</c:v>
                </c:pt>
                <c:pt idx="1849">
                  <c:v>0.99945839845985596</c:v>
                </c:pt>
                <c:pt idx="1850">
                  <c:v>0.99945984555194922</c:v>
                </c:pt>
                <c:pt idx="1851">
                  <c:v>0.99946414748131396</c:v>
                </c:pt>
                <c:pt idx="1852">
                  <c:v>0.9994698527839776</c:v>
                </c:pt>
                <c:pt idx="1853">
                  <c:v>0.99947127364479427</c:v>
                </c:pt>
                <c:pt idx="1854">
                  <c:v>0.99947410662266856</c:v>
                </c:pt>
                <c:pt idx="1855">
                  <c:v>0.99947551655378664</c:v>
                </c:pt>
                <c:pt idx="1856">
                  <c:v>0.99947831892850503</c:v>
                </c:pt>
                <c:pt idx="1857">
                  <c:v>0.99947971792992452</c:v>
                </c:pt>
                <c:pt idx="1858">
                  <c:v>0.99948251593276349</c:v>
                </c:pt>
                <c:pt idx="1859">
                  <c:v>0.9994866888916849</c:v>
                </c:pt>
                <c:pt idx="1860">
                  <c:v>0.99948807259152639</c:v>
                </c:pt>
                <c:pt idx="1861">
                  <c:v>0.99949083343339018</c:v>
                </c:pt>
                <c:pt idx="1862">
                  <c:v>0.99949220620353307</c:v>
                </c:pt>
                <c:pt idx="1863">
                  <c:v>0.9994949386281804</c:v>
                </c:pt>
                <c:pt idx="1864">
                  <c:v>0.99950692413565367</c:v>
                </c:pt>
                <c:pt idx="1865">
                  <c:v>0.99950822914166526</c:v>
                </c:pt>
                <c:pt idx="1866">
                  <c:v>0.99951212667218237</c:v>
                </c:pt>
                <c:pt idx="1867">
                  <c:v>0.99951599797142276</c:v>
                </c:pt>
                <c:pt idx="1868">
                  <c:v>0.99952110869848321</c:v>
                </c:pt>
                <c:pt idx="1869">
                  <c:v>0.99952860428577583</c:v>
                </c:pt>
                <c:pt idx="1870">
                  <c:v>0.99953232475517573</c:v>
                </c:pt>
                <c:pt idx="1871">
                  <c:v>0.99953847380360228</c:v>
                </c:pt>
                <c:pt idx="1872">
                  <c:v>0.99954580763135581</c:v>
                </c:pt>
                <c:pt idx="1873">
                  <c:v>0.99954823839632201</c:v>
                </c:pt>
                <c:pt idx="1874">
                  <c:v>0.99956846926841125</c:v>
                </c:pt>
                <c:pt idx="1875">
                  <c:v>0.99957195802820098</c:v>
                </c:pt>
                <c:pt idx="1876">
                  <c:v>0.99957655505942777</c:v>
                </c:pt>
                <c:pt idx="1877">
                  <c:v>0.99958225161833258</c:v>
                </c:pt>
                <c:pt idx="1878">
                  <c:v>0.99958451625188038</c:v>
                </c:pt>
                <c:pt idx="1879">
                  <c:v>0.99958790008656373</c:v>
                </c:pt>
                <c:pt idx="1880">
                  <c:v>0.99959234410201026</c:v>
                </c:pt>
                <c:pt idx="1881">
                  <c:v>0.99959345018750756</c:v>
                </c:pt>
                <c:pt idx="1882">
                  <c:v>0.99959675314242125</c:v>
                </c:pt>
                <c:pt idx="1883">
                  <c:v>0.99960331096157495</c:v>
                </c:pt>
                <c:pt idx="1884">
                  <c:v>0.9996054837856545</c:v>
                </c:pt>
                <c:pt idx="1885">
                  <c:v>0.99960871241861782</c:v>
                </c:pt>
                <c:pt idx="1886">
                  <c:v>0.99960977915720017</c:v>
                </c:pt>
                <c:pt idx="1887">
                  <c:v>0.99961615772929702</c:v>
                </c:pt>
                <c:pt idx="1888">
                  <c:v>0.99962144114559504</c:v>
                </c:pt>
                <c:pt idx="1889">
                  <c:v>0.99962458671284904</c:v>
                </c:pt>
                <c:pt idx="1890">
                  <c:v>0.99962771479258528</c:v>
                </c:pt>
                <c:pt idx="1891">
                  <c:v>0.99963386821289113</c:v>
                </c:pt>
                <c:pt idx="1892">
                  <c:v>0.99963890461800109</c:v>
                </c:pt>
                <c:pt idx="1893">
                  <c:v>0.99963990140651249</c:v>
                </c:pt>
                <c:pt idx="1894">
                  <c:v>0.99964778609107507</c:v>
                </c:pt>
                <c:pt idx="1895">
                  <c:v>0.99965168799347148</c:v>
                </c:pt>
                <c:pt idx="1896">
                  <c:v>0.99965362692200121</c:v>
                </c:pt>
                <c:pt idx="1897">
                  <c:v>0.99965459529329626</c:v>
                </c:pt>
                <c:pt idx="1898">
                  <c:v>0.99965942184819334</c:v>
                </c:pt>
                <c:pt idx="1899">
                  <c:v>0.99966037928978979</c:v>
                </c:pt>
                <c:pt idx="1900">
                  <c:v>0.99966323849894079</c:v>
                </c:pt>
                <c:pt idx="1901">
                  <c:v>0.99966607584869471</c:v>
                </c:pt>
                <c:pt idx="1902">
                  <c:v>0.99966888259529252</c:v>
                </c:pt>
                <c:pt idx="1903">
                  <c:v>0.9996726183662703</c:v>
                </c:pt>
                <c:pt idx="1904">
                  <c:v>0.99967447860097025</c:v>
                </c:pt>
                <c:pt idx="1905">
                  <c:v>0.99967907563219705</c:v>
                </c:pt>
                <c:pt idx="1906">
                  <c:v>0.99967998716905937</c:v>
                </c:pt>
                <c:pt idx="1907">
                  <c:v>0.99968089870592169</c:v>
                </c:pt>
                <c:pt idx="1908">
                  <c:v>0.99968538644016247</c:v>
                </c:pt>
                <c:pt idx="1909">
                  <c:v>0.9996889538937821</c:v>
                </c:pt>
                <c:pt idx="1910">
                  <c:v>0.99969691290029494</c:v>
                </c:pt>
                <c:pt idx="1911">
                  <c:v>0.99969865728018981</c:v>
                </c:pt>
                <c:pt idx="1912">
                  <c:v>0.99970980338681137</c:v>
                </c:pt>
                <c:pt idx="1913">
                  <c:v>0.99971064934548215</c:v>
                </c:pt>
                <c:pt idx="1914">
                  <c:v>0.99971486602319792</c:v>
                </c:pt>
                <c:pt idx="1915">
                  <c:v>0.99971570542404964</c:v>
                </c:pt>
                <c:pt idx="1916">
                  <c:v>0.99971738203981331</c:v>
                </c:pt>
                <c:pt idx="1917">
                  <c:v>0.9997182170687855</c:v>
                </c:pt>
                <c:pt idx="1918">
                  <c:v>0.99971988494079023</c:v>
                </c:pt>
                <c:pt idx="1919">
                  <c:v>0.99972237035424949</c:v>
                </c:pt>
                <c:pt idx="1920">
                  <c:v>0.99972483390831146</c:v>
                </c:pt>
                <c:pt idx="1921">
                  <c:v>0.999725651449766</c:v>
                </c:pt>
                <c:pt idx="1922">
                  <c:v>0.99972808002879254</c:v>
                </c:pt>
                <c:pt idx="1923">
                  <c:v>0.99972888664054849</c:v>
                </c:pt>
                <c:pt idx="1924">
                  <c:v>0.99973448264622633</c:v>
                </c:pt>
                <c:pt idx="1925">
                  <c:v>0.99973527614234392</c:v>
                </c:pt>
                <c:pt idx="1926">
                  <c:v>0.99974154104557533</c:v>
                </c:pt>
                <c:pt idx="1927">
                  <c:v>0.99974770976745908</c:v>
                </c:pt>
                <c:pt idx="1928">
                  <c:v>0.99974847484636031</c:v>
                </c:pt>
                <c:pt idx="1929">
                  <c:v>0.99975000281822313</c:v>
                </c:pt>
                <c:pt idx="1930">
                  <c:v>0.99975680546262524</c:v>
                </c:pt>
                <c:pt idx="1931">
                  <c:v>0.99975978271252097</c:v>
                </c:pt>
                <c:pt idx="1932">
                  <c:v>0.99976922160022308</c:v>
                </c:pt>
                <c:pt idx="1933">
                  <c:v>0.99977349729831133</c:v>
                </c:pt>
                <c:pt idx="1934">
                  <c:v>0.99977768774475062</c:v>
                </c:pt>
                <c:pt idx="1935">
                  <c:v>0.99977975782966344</c:v>
                </c:pt>
                <c:pt idx="1936">
                  <c:v>0.99978113059980633</c:v>
                </c:pt>
                <c:pt idx="1937">
                  <c:v>0.9997953129766961</c:v>
                </c:pt>
                <c:pt idx="1938">
                  <c:v>0.99979991875168173</c:v>
                </c:pt>
                <c:pt idx="1939">
                  <c:v>0.9998012193858139</c:v>
                </c:pt>
                <c:pt idx="1940">
                  <c:v>0.99980186860991016</c:v>
                </c:pt>
                <c:pt idx="1941">
                  <c:v>0.99980830183049985</c:v>
                </c:pt>
                <c:pt idx="1942">
                  <c:v>0.99981399401752524</c:v>
                </c:pt>
                <c:pt idx="1943">
                  <c:v>0.99981710898162324</c:v>
                </c:pt>
                <c:pt idx="1944">
                  <c:v>0.99982435099990863</c:v>
                </c:pt>
                <c:pt idx="1945">
                  <c:v>0.99982844745093991</c:v>
                </c:pt>
                <c:pt idx="1946">
                  <c:v>0.99983476918860414</c:v>
                </c:pt>
                <c:pt idx="1947">
                  <c:v>0.99983646329188547</c:v>
                </c:pt>
                <c:pt idx="1948">
                  <c:v>0.99983758030708125</c:v>
                </c:pt>
                <c:pt idx="1949">
                  <c:v>0.99983868202069914</c:v>
                </c:pt>
                <c:pt idx="1950">
                  <c:v>0.99984248336986858</c:v>
                </c:pt>
                <c:pt idx="1951">
                  <c:v>0.99984888161542296</c:v>
                </c:pt>
                <c:pt idx="1952">
                  <c:v>0.99985350924980587</c:v>
                </c:pt>
                <c:pt idx="1953">
                  <c:v>0.99985804507472054</c:v>
                </c:pt>
                <c:pt idx="1954">
                  <c:v>0.9998595336996684</c:v>
                </c:pt>
                <c:pt idx="1955">
                  <c:v>0.99986486739258007</c:v>
                </c:pt>
                <c:pt idx="1956">
                  <c:v>0.99986534392743853</c:v>
                </c:pt>
                <c:pt idx="1957">
                  <c:v>0.99988175814878011</c:v>
                </c:pt>
                <c:pt idx="1958">
                  <c:v>0.9998951973061655</c:v>
                </c:pt>
                <c:pt idx="1959">
                  <c:v>0.9999011649215952</c:v>
                </c:pt>
                <c:pt idx="1960">
                  <c:v>0.99990335960507193</c:v>
                </c:pt>
                <c:pt idx="1961">
                  <c:v>0.99990481544092402</c:v>
                </c:pt>
                <c:pt idx="1962">
                  <c:v>0.99990871297144091</c:v>
                </c:pt>
                <c:pt idx="1963">
                  <c:v>0.9999094124721507</c:v>
                </c:pt>
                <c:pt idx="1964">
                  <c:v>0.99991417126291637</c:v>
                </c:pt>
                <c:pt idx="1965">
                  <c:v>0.99991483141671111</c:v>
                </c:pt>
                <c:pt idx="1966">
                  <c:v>0.99991615172430059</c:v>
                </c:pt>
                <c:pt idx="1967">
                  <c:v>0.99991998586256581</c:v>
                </c:pt>
                <c:pt idx="1968">
                  <c:v>0.99992743773106452</c:v>
                </c:pt>
                <c:pt idx="1969">
                  <c:v>0.99994399622442742</c:v>
                </c:pt>
                <c:pt idx="1970">
                  <c:v>0.99994868069324305</c:v>
                </c:pt>
                <c:pt idx="1971">
                  <c:v>0.99997547375636453</c:v>
                </c:pt>
                <c:pt idx="1972">
                  <c:v>0.99998440113417197</c:v>
                </c:pt>
                <c:pt idx="1973">
                  <c:v>0.99998524272096334</c:v>
                </c:pt>
                <c:pt idx="1974">
                  <c:v>0.9999854481992968</c:v>
                </c:pt>
                <c:pt idx="1975">
                  <c:v>0.9999924912970688</c:v>
                </c:pt>
                <c:pt idx="1976">
                  <c:v>0.99999424442072282</c:v>
                </c:pt>
                <c:pt idx="1977">
                  <c:v>0.99999476467437565</c:v>
                </c:pt>
                <c:pt idx="1978">
                  <c:v>0.9999969440562743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27</c:f>
              <c:strCache>
                <c:ptCount val="926"/>
                <c:pt idx="0">
                  <c:v>Private Lab</c:v>
                </c:pt>
                <c:pt idx="1">
                  <c:v>Private Lab</c:v>
                </c:pt>
                <c:pt idx="2">
                  <c:v>Private Lab</c:v>
                </c:pt>
                <c:pt idx="3">
                  <c:v>Private Lab</c:v>
                </c:pt>
                <c:pt idx="4">
                  <c:v>Private Lab</c:v>
                </c:pt>
                <c:pt idx="5">
                  <c:v>Private Lab</c:v>
                </c:pt>
                <c:pt idx="6">
                  <c:v>Soignon</c:v>
                </c:pt>
                <c:pt idx="7">
                  <c:v>Caprice Des</c:v>
                </c:pt>
                <c:pt idx="8">
                  <c:v>Mini Babybe</c:v>
                </c:pt>
                <c:pt idx="9">
                  <c:v>Private Lab</c:v>
                </c:pt>
                <c:pt idx="10">
                  <c:v>St Moret</c:v>
                </c:pt>
                <c:pt idx="11">
                  <c:v>La Vache Qu</c:v>
                </c:pt>
                <c:pt idx="12">
                  <c:v>Private Lab</c:v>
                </c:pt>
                <c:pt idx="13">
                  <c:v>Le Rustique</c:v>
                </c:pt>
                <c:pt idx="14">
                  <c:v>Coeur De Li</c:v>
                </c:pt>
                <c:pt idx="15">
                  <c:v>Kiri</c:v>
                </c:pt>
                <c:pt idx="16">
                  <c:v>Galbani</c:v>
                </c:pt>
                <c:pt idx="17">
                  <c:v>President</c:v>
                </c:pt>
                <c:pt idx="18">
                  <c:v>Private Lab</c:v>
                </c:pt>
                <c:pt idx="19">
                  <c:v>Paysan Bret</c:v>
                </c:pt>
                <c:pt idx="20">
                  <c:v>President</c:v>
                </c:pt>
                <c:pt idx="21">
                  <c:v>Private Lab</c:v>
                </c:pt>
                <c:pt idx="22">
                  <c:v>Philadelphi</c:v>
                </c:pt>
                <c:pt idx="23">
                  <c:v>Coeur De Li</c:v>
                </c:pt>
                <c:pt idx="24">
                  <c:v>Private Lab</c:v>
                </c:pt>
                <c:pt idx="25">
                  <c:v>Private Lab</c:v>
                </c:pt>
                <c:pt idx="26">
                  <c:v>Private Lab</c:v>
                </c:pt>
                <c:pt idx="27">
                  <c:v>Private Lab</c:v>
                </c:pt>
                <c:pt idx="28">
                  <c:v>Private Lab</c:v>
                </c:pt>
                <c:pt idx="29">
                  <c:v>Ficello</c:v>
                </c:pt>
                <c:pt idx="30">
                  <c:v>Leerdammer</c:v>
                </c:pt>
                <c:pt idx="31">
                  <c:v>Caprice Des</c:v>
                </c:pt>
                <c:pt idx="32">
                  <c:v>Salakis</c:v>
                </c:pt>
                <c:pt idx="33">
                  <c:v>Soignon</c:v>
                </c:pt>
                <c:pt idx="34">
                  <c:v>La Vache Qu</c:v>
                </c:pt>
                <c:pt idx="35">
                  <c:v>Boursin</c:v>
                </c:pt>
                <c:pt idx="36">
                  <c:v>Soignon</c:v>
                </c:pt>
                <c:pt idx="37">
                  <c:v>President</c:v>
                </c:pt>
                <c:pt idx="38">
                  <c:v>Petit Billy</c:v>
                </c:pt>
                <c:pt idx="39">
                  <c:v>St Moret</c:v>
                </c:pt>
                <c:pt idx="40">
                  <c:v>Private Lab</c:v>
                </c:pt>
                <c:pt idx="41">
                  <c:v>St Moret</c:v>
                </c:pt>
                <c:pt idx="42">
                  <c:v>Private Lab</c:v>
                </c:pt>
                <c:pt idx="43">
                  <c:v>Chaussee Au</c:v>
                </c:pt>
                <c:pt idx="44">
                  <c:v>Private Lab</c:v>
                </c:pt>
                <c:pt idx="45">
                  <c:v>Private Lab</c:v>
                </c:pt>
                <c:pt idx="46">
                  <c:v>Tartare</c:v>
                </c:pt>
                <c:pt idx="47">
                  <c:v>Private Lab</c:v>
                </c:pt>
                <c:pt idx="48">
                  <c:v>Private Lab</c:v>
                </c:pt>
                <c:pt idx="49">
                  <c:v>President</c:v>
                </c:pt>
                <c:pt idx="50">
                  <c:v>Soignon</c:v>
                </c:pt>
                <c:pt idx="51">
                  <c:v>Entremont</c:v>
                </c:pt>
                <c:pt idx="52">
                  <c:v>Private Lab</c:v>
                </c:pt>
                <c:pt idx="53">
                  <c:v>Private Lab</c:v>
                </c:pt>
                <c:pt idx="54">
                  <c:v>Boursin</c:v>
                </c:pt>
                <c:pt idx="55">
                  <c:v>Caprice Des</c:v>
                </c:pt>
                <c:pt idx="56">
                  <c:v>All Others</c:v>
                </c:pt>
                <c:pt idx="57">
                  <c:v>Kiri</c:v>
                </c:pt>
                <c:pt idx="58">
                  <c:v>Aperivrais</c:v>
                </c:pt>
                <c:pt idx="59">
                  <c:v>All Others</c:v>
                </c:pt>
                <c:pt idx="60">
                  <c:v>Le Brebiou</c:v>
                </c:pt>
                <c:pt idx="61">
                  <c:v>Private Lab</c:v>
                </c:pt>
                <c:pt idx="62">
                  <c:v>Private Lab</c:v>
                </c:pt>
                <c:pt idx="63">
                  <c:v>Apericube</c:v>
                </c:pt>
                <c:pt idx="64">
                  <c:v>Richesmonts</c:v>
                </c:pt>
                <c:pt idx="65">
                  <c:v>Private Lab</c:v>
                </c:pt>
                <c:pt idx="66">
                  <c:v>President</c:v>
                </c:pt>
                <c:pt idx="67">
                  <c:v>Private Lab</c:v>
                </c:pt>
                <c:pt idx="68">
                  <c:v>Private Lab</c:v>
                </c:pt>
                <c:pt idx="69">
                  <c:v>Private Lab</c:v>
                </c:pt>
                <c:pt idx="70">
                  <c:v>Carre Frais</c:v>
                </c:pt>
                <c:pt idx="71">
                  <c:v>Chavroux</c:v>
                </c:pt>
                <c:pt idx="72">
                  <c:v>Private Lab</c:v>
                </c:pt>
                <c:pt idx="73">
                  <c:v>Private Lab</c:v>
                </c:pt>
                <c:pt idx="74">
                  <c:v>President</c:v>
                </c:pt>
                <c:pt idx="75">
                  <c:v>Boursin</c:v>
                </c:pt>
                <c:pt idx="76">
                  <c:v>Etorki</c:v>
                </c:pt>
                <c:pt idx="77">
                  <c:v>President</c:v>
                </c:pt>
                <c:pt idx="78">
                  <c:v>Private Lab</c:v>
                </c:pt>
                <c:pt idx="79">
                  <c:v>President</c:v>
                </c:pt>
                <c:pt idx="80">
                  <c:v>Istara</c:v>
                </c:pt>
                <c:pt idx="81">
                  <c:v>Private Lab</c:v>
                </c:pt>
                <c:pt idx="82">
                  <c:v>Lou Perac</c:v>
                </c:pt>
                <c:pt idx="83">
                  <c:v>All Others</c:v>
                </c:pt>
                <c:pt idx="84">
                  <c:v>Paysan Bret</c:v>
                </c:pt>
                <c:pt idx="85">
                  <c:v>Private Lab</c:v>
                </c:pt>
                <c:pt idx="86">
                  <c:v>Tartare</c:v>
                </c:pt>
                <c:pt idx="87">
                  <c:v>Boursin</c:v>
                </c:pt>
                <c:pt idx="88">
                  <c:v>Lepetit</c:v>
                </c:pt>
                <c:pt idx="89">
                  <c:v>Aperivrais</c:v>
                </c:pt>
                <c:pt idx="90">
                  <c:v>Private Lab</c:v>
                </c:pt>
                <c:pt idx="91">
                  <c:v>Private Lab</c:v>
                </c:pt>
                <c:pt idx="92">
                  <c:v>Saint Albra</c:v>
                </c:pt>
                <c:pt idx="93">
                  <c:v>Salakis</c:v>
                </c:pt>
                <c:pt idx="94">
                  <c:v>Saint Agur</c:v>
                </c:pt>
                <c:pt idx="95">
                  <c:v>Casa Azzurr</c:v>
                </c:pt>
                <c:pt idx="96">
                  <c:v>Private Lab</c:v>
                </c:pt>
                <c:pt idx="97">
                  <c:v>Private Lab</c:v>
                </c:pt>
                <c:pt idx="98">
                  <c:v>Juraflore</c:v>
                </c:pt>
                <c:pt idx="99">
                  <c:v>Private Lab</c:v>
                </c:pt>
                <c:pt idx="100">
                  <c:v>Apericube</c:v>
                </c:pt>
                <c:pt idx="101">
                  <c:v>Tartare</c:v>
                </c:pt>
                <c:pt idx="102">
                  <c:v>Private Lab</c:v>
                </c:pt>
                <c:pt idx="103">
                  <c:v>Societe</c:v>
                </c:pt>
                <c:pt idx="104">
                  <c:v>Apericube</c:v>
                </c:pt>
                <c:pt idx="105">
                  <c:v>Private Lab</c:v>
                </c:pt>
                <c:pt idx="106">
                  <c:v>Private Lab</c:v>
                </c:pt>
                <c:pt idx="107">
                  <c:v>Private Lab</c:v>
                </c:pt>
                <c:pt idx="108">
                  <c:v>Private Lab</c:v>
                </c:pt>
                <c:pt idx="109">
                  <c:v>Private Lab</c:v>
                </c:pt>
                <c:pt idx="110">
                  <c:v>President</c:v>
                </c:pt>
                <c:pt idx="111">
                  <c:v>Private Lab</c:v>
                </c:pt>
                <c:pt idx="112">
                  <c:v>Private Lab</c:v>
                </c:pt>
                <c:pt idx="113">
                  <c:v>Babybel</c:v>
                </c:pt>
                <c:pt idx="114">
                  <c:v>L'Ortolan</c:v>
                </c:pt>
                <c:pt idx="115">
                  <c:v>La Vache Qu</c:v>
                </c:pt>
                <c:pt idx="116">
                  <c:v>Saint Agur</c:v>
                </c:pt>
                <c:pt idx="117">
                  <c:v>President</c:v>
                </c:pt>
                <c:pt idx="118">
                  <c:v>St Moret</c:v>
                </c:pt>
                <c:pt idx="119">
                  <c:v>Mini Babybe</c:v>
                </c:pt>
                <c:pt idx="120">
                  <c:v>Private Lab</c:v>
                </c:pt>
                <c:pt idx="121">
                  <c:v>Galbani</c:v>
                </c:pt>
                <c:pt idx="122">
                  <c:v>Private Lab</c:v>
                </c:pt>
                <c:pt idx="123">
                  <c:v>All Others</c:v>
                </c:pt>
                <c:pt idx="124">
                  <c:v>Leerdammer</c:v>
                </c:pt>
                <c:pt idx="125">
                  <c:v>Private Lab</c:v>
                </c:pt>
                <c:pt idx="126">
                  <c:v>Private Lab</c:v>
                </c:pt>
                <c:pt idx="127">
                  <c:v>Private Lab</c:v>
                </c:pt>
                <c:pt idx="128">
                  <c:v>Private Lab</c:v>
                </c:pt>
                <c:pt idx="129">
                  <c:v>Private Lab</c:v>
                </c:pt>
                <c:pt idx="130">
                  <c:v>All Others</c:v>
                </c:pt>
                <c:pt idx="131">
                  <c:v>Islos</c:v>
                </c:pt>
                <c:pt idx="132">
                  <c:v>Private Lab</c:v>
                </c:pt>
                <c:pt idx="133">
                  <c:v>Casa Azzurr</c:v>
                </c:pt>
                <c:pt idx="134">
                  <c:v>Private Lab</c:v>
                </c:pt>
                <c:pt idx="135">
                  <c:v>Kiri</c:v>
                </c:pt>
                <c:pt idx="136">
                  <c:v>Carre Frais</c:v>
                </c:pt>
                <c:pt idx="137">
                  <c:v>Violife</c:v>
                </c:pt>
                <c:pt idx="138">
                  <c:v>Fol Epi</c:v>
                </c:pt>
                <c:pt idx="139">
                  <c:v>Private Lab</c:v>
                </c:pt>
                <c:pt idx="140">
                  <c:v>Private Lab</c:v>
                </c:pt>
                <c:pt idx="141">
                  <c:v>Private Lab</c:v>
                </c:pt>
                <c:pt idx="142">
                  <c:v>Private Lab</c:v>
                </c:pt>
                <c:pt idx="143">
                  <c:v>Private Lab</c:v>
                </c:pt>
                <c:pt idx="144">
                  <c:v>Private Lab</c:v>
                </c:pt>
                <c:pt idx="145">
                  <c:v>Private Lab</c:v>
                </c:pt>
                <c:pt idx="146">
                  <c:v>Private Lab</c:v>
                </c:pt>
                <c:pt idx="147">
                  <c:v>Soignon</c:v>
                </c:pt>
                <c:pt idx="148">
                  <c:v>Private Lab</c:v>
                </c:pt>
                <c:pt idx="149">
                  <c:v>All Others</c:v>
                </c:pt>
                <c:pt idx="150">
                  <c:v>Private Lab</c:v>
                </c:pt>
                <c:pt idx="151">
                  <c:v>Private Lab</c:v>
                </c:pt>
                <c:pt idx="152">
                  <c:v>Private Lab</c:v>
                </c:pt>
                <c:pt idx="153">
                  <c:v>Private Lab</c:v>
                </c:pt>
                <c:pt idx="154">
                  <c:v>Private Lab</c:v>
                </c:pt>
                <c:pt idx="155">
                  <c:v>Private Lab</c:v>
                </c:pt>
                <c:pt idx="156">
                  <c:v>Soignon</c:v>
                </c:pt>
                <c:pt idx="157">
                  <c:v>Private Lab</c:v>
                </c:pt>
                <c:pt idx="158">
                  <c:v>Private Lab</c:v>
                </c:pt>
                <c:pt idx="159">
                  <c:v>Private Lab</c:v>
                </c:pt>
                <c:pt idx="160">
                  <c:v>Private Lab</c:v>
                </c:pt>
                <c:pt idx="161">
                  <c:v>Private Lab</c:v>
                </c:pt>
                <c:pt idx="162">
                  <c:v>Galbani</c:v>
                </c:pt>
                <c:pt idx="163">
                  <c:v>Private Lab</c:v>
                </c:pt>
                <c:pt idx="164">
                  <c:v>Private Lab</c:v>
                </c:pt>
                <c:pt idx="165">
                  <c:v>Private Lab</c:v>
                </c:pt>
                <c:pt idx="166">
                  <c:v>Private Lab</c:v>
                </c:pt>
                <c:pt idx="167">
                  <c:v>Private Lab</c:v>
                </c:pt>
                <c:pt idx="168">
                  <c:v>Private Lab</c:v>
                </c:pt>
                <c:pt idx="169">
                  <c:v>Private Lab</c:v>
                </c:pt>
                <c:pt idx="170">
                  <c:v>Pochat</c:v>
                </c:pt>
                <c:pt idx="171">
                  <c:v>Private Lab</c:v>
                </c:pt>
                <c:pt idx="172">
                  <c:v>All Others</c:v>
                </c:pt>
                <c:pt idx="173">
                  <c:v>Apericube</c:v>
                </c:pt>
                <c:pt idx="174">
                  <c:v>President</c:v>
                </c:pt>
                <c:pt idx="175">
                  <c:v>Paysan Bret</c:v>
                </c:pt>
                <c:pt idx="176">
                  <c:v>Private Lab</c:v>
                </c:pt>
                <c:pt idx="177">
                  <c:v>Violife</c:v>
                </c:pt>
                <c:pt idx="178">
                  <c:v>Private Lab</c:v>
                </c:pt>
                <c:pt idx="179">
                  <c:v>P'Tit Louis</c:v>
                </c:pt>
                <c:pt idx="180">
                  <c:v>Istara</c:v>
                </c:pt>
                <c:pt idx="181">
                  <c:v>Fauquet</c:v>
                </c:pt>
                <c:pt idx="182">
                  <c:v>Private Lab</c:v>
                </c:pt>
                <c:pt idx="183">
                  <c:v>Port Salut</c:v>
                </c:pt>
                <c:pt idx="184">
                  <c:v>Private Lab</c:v>
                </c:pt>
                <c:pt idx="185">
                  <c:v>All Others</c:v>
                </c:pt>
                <c:pt idx="186">
                  <c:v>All Others</c:v>
                </c:pt>
                <c:pt idx="187">
                  <c:v>Paysan Bret</c:v>
                </c:pt>
                <c:pt idx="188">
                  <c:v>Private Lab</c:v>
                </c:pt>
                <c:pt idx="189">
                  <c:v>Entremont</c:v>
                </c:pt>
                <c:pt idx="190">
                  <c:v>Galbani</c:v>
                </c:pt>
                <c:pt idx="191">
                  <c:v>Lactalis: A</c:v>
                </c:pt>
                <c:pt idx="192">
                  <c:v>Private Lab</c:v>
                </c:pt>
                <c:pt idx="193">
                  <c:v>Private Lab</c:v>
                </c:pt>
                <c:pt idx="194">
                  <c:v>Societe</c:v>
                </c:pt>
                <c:pt idx="195">
                  <c:v>All Others</c:v>
                </c:pt>
                <c:pt idx="196">
                  <c:v>Private Lab</c:v>
                </c:pt>
                <c:pt idx="197">
                  <c:v>All Others</c:v>
                </c:pt>
                <c:pt idx="198">
                  <c:v>Private Lab</c:v>
                </c:pt>
                <c:pt idx="199">
                  <c:v>Private Lab</c:v>
                </c:pt>
                <c:pt idx="200">
                  <c:v>Lou Perac</c:v>
                </c:pt>
                <c:pt idx="201">
                  <c:v>Leerdammer</c:v>
                </c:pt>
                <c:pt idx="202">
                  <c:v>Private Lab</c:v>
                </c:pt>
                <c:pt idx="203">
                  <c:v>President</c:v>
                </c:pt>
                <c:pt idx="204">
                  <c:v>All Others</c:v>
                </c:pt>
                <c:pt idx="205">
                  <c:v>President</c:v>
                </c:pt>
                <c:pt idx="206">
                  <c:v>Private Lab</c:v>
                </c:pt>
                <c:pt idx="207">
                  <c:v>Private Lab</c:v>
                </c:pt>
                <c:pt idx="208">
                  <c:v>All Others</c:v>
                </c:pt>
                <c:pt idx="209">
                  <c:v>Private Lab</c:v>
                </c:pt>
                <c:pt idx="210">
                  <c:v>Private Lab</c:v>
                </c:pt>
                <c:pt idx="211">
                  <c:v>President</c:v>
                </c:pt>
                <c:pt idx="212">
                  <c:v>Private Lab</c:v>
                </c:pt>
                <c:pt idx="213">
                  <c:v>Private Lab</c:v>
                </c:pt>
                <c:pt idx="214">
                  <c:v>All Others</c:v>
                </c:pt>
                <c:pt idx="215">
                  <c:v>President</c:v>
                </c:pt>
                <c:pt idx="216">
                  <c:v>All Others</c:v>
                </c:pt>
                <c:pt idx="217">
                  <c:v>Entremont</c:v>
                </c:pt>
                <c:pt idx="218">
                  <c:v>Bresse Bleu</c:v>
                </c:pt>
                <c:pt idx="219">
                  <c:v>All Others</c:v>
                </c:pt>
                <c:pt idx="220">
                  <c:v>La Vache Qu</c:v>
                </c:pt>
                <c:pt idx="221">
                  <c:v>Richesmonts</c:v>
                </c:pt>
                <c:pt idx="222">
                  <c:v>All Others</c:v>
                </c:pt>
                <c:pt idx="223">
                  <c:v>Societe</c:v>
                </c:pt>
                <c:pt idx="224">
                  <c:v>Private Lab</c:v>
                </c:pt>
                <c:pt idx="225">
                  <c:v>Cousteron</c:v>
                </c:pt>
                <c:pt idx="226">
                  <c:v>All Others</c:v>
                </c:pt>
                <c:pt idx="227">
                  <c:v>All Others</c:v>
                </c:pt>
                <c:pt idx="228">
                  <c:v>All Others</c:v>
                </c:pt>
                <c:pt idx="229">
                  <c:v>Private Lab</c:v>
                </c:pt>
                <c:pt idx="230">
                  <c:v>St Moret</c:v>
                </c:pt>
                <c:pt idx="231">
                  <c:v>Kiri</c:v>
                </c:pt>
                <c:pt idx="232">
                  <c:v>Casa Azzurr</c:v>
                </c:pt>
                <c:pt idx="233">
                  <c:v>All Others</c:v>
                </c:pt>
                <c:pt idx="234">
                  <c:v>Private Lab</c:v>
                </c:pt>
                <c:pt idx="235">
                  <c:v>Soignon</c:v>
                </c:pt>
                <c:pt idx="236">
                  <c:v>Soignon</c:v>
                </c:pt>
                <c:pt idx="237">
                  <c:v>All Others</c:v>
                </c:pt>
                <c:pt idx="238">
                  <c:v>Apericube</c:v>
                </c:pt>
                <c:pt idx="239">
                  <c:v>All Others</c:v>
                </c:pt>
                <c:pt idx="240">
                  <c:v>Soignon</c:v>
                </c:pt>
                <c:pt idx="241">
                  <c:v>Private Lab</c:v>
                </c:pt>
                <c:pt idx="242">
                  <c:v>All Others</c:v>
                </c:pt>
                <c:pt idx="243">
                  <c:v>All Others</c:v>
                </c:pt>
                <c:pt idx="244">
                  <c:v>President</c:v>
                </c:pt>
                <c:pt idx="245">
                  <c:v>Private Lab</c:v>
                </c:pt>
                <c:pt idx="246">
                  <c:v>Paysan Bret</c:v>
                </c:pt>
                <c:pt idx="247">
                  <c:v>All Others</c:v>
                </c:pt>
                <c:pt idx="248">
                  <c:v>All Others</c:v>
                </c:pt>
                <c:pt idx="249">
                  <c:v>Paysan Bret</c:v>
                </c:pt>
                <c:pt idx="250">
                  <c:v>Juraflore</c:v>
                </c:pt>
                <c:pt idx="251">
                  <c:v>All Others</c:v>
                </c:pt>
                <c:pt idx="252">
                  <c:v>All Others</c:v>
                </c:pt>
                <c:pt idx="253">
                  <c:v>Paysan Bret</c:v>
                </c:pt>
                <c:pt idx="254">
                  <c:v>Private Lab</c:v>
                </c:pt>
                <c:pt idx="255">
                  <c:v>All Others</c:v>
                </c:pt>
                <c:pt idx="256">
                  <c:v>Private Lab</c:v>
                </c:pt>
                <c:pt idx="257">
                  <c:v>Private Lab</c:v>
                </c:pt>
                <c:pt idx="258">
                  <c:v>All Others</c:v>
                </c:pt>
                <c:pt idx="259">
                  <c:v>Triballat N</c:v>
                </c:pt>
                <c:pt idx="260">
                  <c:v>All Others</c:v>
                </c:pt>
                <c:pt idx="261">
                  <c:v>All Others</c:v>
                </c:pt>
                <c:pt idx="262">
                  <c:v>All Others</c:v>
                </c:pt>
                <c:pt idx="263">
                  <c:v>All Others</c:v>
                </c:pt>
                <c:pt idx="264">
                  <c:v>Private Lab</c:v>
                </c:pt>
                <c:pt idx="265">
                  <c:v>Lactalis: A</c:v>
                </c:pt>
                <c:pt idx="266">
                  <c:v>Private Lab</c:v>
                </c:pt>
                <c:pt idx="267">
                  <c:v>Richesmonts</c:v>
                </c:pt>
                <c:pt idx="268">
                  <c:v>Private Lab</c:v>
                </c:pt>
                <c:pt idx="269">
                  <c:v>Apericube</c:v>
                </c:pt>
                <c:pt idx="270">
                  <c:v>Richesmonts</c:v>
                </c:pt>
                <c:pt idx="271">
                  <c:v>Boursin</c:v>
                </c:pt>
                <c:pt idx="272">
                  <c:v>All Others</c:v>
                </c:pt>
                <c:pt idx="273">
                  <c:v>All Others</c:v>
                </c:pt>
                <c:pt idx="274">
                  <c:v>Private Lab</c:v>
                </c:pt>
                <c:pt idx="275">
                  <c:v>Boursin</c:v>
                </c:pt>
                <c:pt idx="276">
                  <c:v>Private Lab</c:v>
                </c:pt>
                <c:pt idx="277">
                  <c:v>All Others</c:v>
                </c:pt>
                <c:pt idx="278">
                  <c:v>All Others</c:v>
                </c:pt>
                <c:pt idx="279">
                  <c:v>Galbani</c:v>
                </c:pt>
                <c:pt idx="280">
                  <c:v>Entremont</c:v>
                </c:pt>
                <c:pt idx="281">
                  <c:v>Private Lab</c:v>
                </c:pt>
                <c:pt idx="282">
                  <c:v>Private Lab</c:v>
                </c:pt>
                <c:pt idx="283">
                  <c:v>All Others</c:v>
                </c:pt>
                <c:pt idx="284">
                  <c:v>P'Tit Louis</c:v>
                </c:pt>
                <c:pt idx="285">
                  <c:v>Salakis</c:v>
                </c:pt>
                <c:pt idx="286">
                  <c:v>Richesmonts</c:v>
                </c:pt>
                <c:pt idx="287">
                  <c:v>All Others</c:v>
                </c:pt>
                <c:pt idx="288">
                  <c:v>St Moret</c:v>
                </c:pt>
                <c:pt idx="289">
                  <c:v>Private Lab</c:v>
                </c:pt>
                <c:pt idx="290">
                  <c:v>All Others</c:v>
                </c:pt>
                <c:pt idx="291">
                  <c:v>Soignon</c:v>
                </c:pt>
                <c:pt idx="292">
                  <c:v>Le Rustique</c:v>
                </c:pt>
                <c:pt idx="293">
                  <c:v>Violife</c:v>
                </c:pt>
                <c:pt idx="294">
                  <c:v>All Others</c:v>
                </c:pt>
                <c:pt idx="295">
                  <c:v>All Others</c:v>
                </c:pt>
                <c:pt idx="296">
                  <c:v>Private Lab</c:v>
                </c:pt>
                <c:pt idx="297">
                  <c:v>All Others</c:v>
                </c:pt>
                <c:pt idx="298">
                  <c:v>All Others</c:v>
                </c:pt>
                <c:pt idx="299">
                  <c:v>All Others</c:v>
                </c:pt>
                <c:pt idx="300">
                  <c:v>All Others</c:v>
                </c:pt>
                <c:pt idx="301">
                  <c:v>Vieux Pane</c:v>
                </c:pt>
                <c:pt idx="302">
                  <c:v>Milleret: A</c:v>
                </c:pt>
                <c:pt idx="303">
                  <c:v>All Others</c:v>
                </c:pt>
                <c:pt idx="304">
                  <c:v>Private Lab</c:v>
                </c:pt>
                <c:pt idx="305">
                  <c:v>Private Lab</c:v>
                </c:pt>
                <c:pt idx="306">
                  <c:v>Soignon</c:v>
                </c:pt>
                <c:pt idx="307">
                  <c:v>All Others</c:v>
                </c:pt>
                <c:pt idx="308">
                  <c:v>Richesmonts</c:v>
                </c:pt>
                <c:pt idx="309">
                  <c:v>All Others</c:v>
                </c:pt>
                <c:pt idx="310">
                  <c:v>Entremont</c:v>
                </c:pt>
                <c:pt idx="311">
                  <c:v>Carre Frais</c:v>
                </c:pt>
                <c:pt idx="312">
                  <c:v>Private Lab</c:v>
                </c:pt>
                <c:pt idx="313">
                  <c:v>All Others</c:v>
                </c:pt>
                <c:pt idx="314">
                  <c:v>Port Salut</c:v>
                </c:pt>
                <c:pt idx="315">
                  <c:v>Entremont</c:v>
                </c:pt>
                <c:pt idx="316">
                  <c:v>Galbani</c:v>
                </c:pt>
                <c:pt idx="317">
                  <c:v>All Others</c:v>
                </c:pt>
                <c:pt idx="318">
                  <c:v>All Others</c:v>
                </c:pt>
                <c:pt idx="319">
                  <c:v>Paysan Bret</c:v>
                </c:pt>
                <c:pt idx="320">
                  <c:v>All Others</c:v>
                </c:pt>
                <c:pt idx="321">
                  <c:v>Soignon</c:v>
                </c:pt>
                <c:pt idx="322">
                  <c:v>Coeur De Li</c:v>
                </c:pt>
                <c:pt idx="323">
                  <c:v>Private Lab</c:v>
                </c:pt>
                <c:pt idx="324">
                  <c:v>All Others</c:v>
                </c:pt>
                <c:pt idx="325">
                  <c:v>All Others</c:v>
                </c:pt>
                <c:pt idx="326">
                  <c:v>Fauquet</c:v>
                </c:pt>
                <c:pt idx="327">
                  <c:v>Private Lab</c:v>
                </c:pt>
                <c:pt idx="328">
                  <c:v>Eurial Autr</c:v>
                </c:pt>
                <c:pt idx="329">
                  <c:v>Private Lab</c:v>
                </c:pt>
                <c:pt idx="330">
                  <c:v>Soignon</c:v>
                </c:pt>
                <c:pt idx="331">
                  <c:v>Savencia: A</c:v>
                </c:pt>
                <c:pt idx="332">
                  <c:v>Milleret: A</c:v>
                </c:pt>
                <c:pt idx="333">
                  <c:v>All Others</c:v>
                </c:pt>
                <c:pt idx="334">
                  <c:v>Pochat</c:v>
                </c:pt>
                <c:pt idx="335">
                  <c:v>Lactalis: A</c:v>
                </c:pt>
                <c:pt idx="336">
                  <c:v>Paysan Bret</c:v>
                </c:pt>
                <c:pt idx="337">
                  <c:v>All Others</c:v>
                </c:pt>
                <c:pt idx="338">
                  <c:v>Boursin</c:v>
                </c:pt>
                <c:pt idx="339">
                  <c:v>Lactalis: A</c:v>
                </c:pt>
                <c:pt idx="340">
                  <c:v>Private Lab</c:v>
                </c:pt>
                <c:pt idx="341">
                  <c:v>Galbani</c:v>
                </c:pt>
                <c:pt idx="342">
                  <c:v>Entremont</c:v>
                </c:pt>
                <c:pt idx="343">
                  <c:v>Pave D'Affi</c:v>
                </c:pt>
                <c:pt idx="344">
                  <c:v>Casa Azzurr</c:v>
                </c:pt>
                <c:pt idx="345">
                  <c:v>Casa Azzurr</c:v>
                </c:pt>
                <c:pt idx="346">
                  <c:v>All Others</c:v>
                </c:pt>
                <c:pt idx="347">
                  <c:v>Istara</c:v>
                </c:pt>
                <c:pt idx="348">
                  <c:v>President</c:v>
                </c:pt>
                <c:pt idx="349">
                  <c:v>Apericube</c:v>
                </c:pt>
                <c:pt idx="350">
                  <c:v>La Vache Qu</c:v>
                </c:pt>
                <c:pt idx="351">
                  <c:v>Boursin</c:v>
                </c:pt>
                <c:pt idx="352">
                  <c:v>Violife</c:v>
                </c:pt>
                <c:pt idx="353">
                  <c:v>Mini Babybe</c:v>
                </c:pt>
                <c:pt idx="354">
                  <c:v>Eurial Autr</c:v>
                </c:pt>
                <c:pt idx="355">
                  <c:v>Private Lab</c:v>
                </c:pt>
                <c:pt idx="356">
                  <c:v>Port Salut</c:v>
                </c:pt>
                <c:pt idx="357">
                  <c:v>Etoile Du V</c:v>
                </c:pt>
                <c:pt idx="358">
                  <c:v>Casa Azzurr</c:v>
                </c:pt>
                <c:pt idx="359">
                  <c:v>Private Lab</c:v>
                </c:pt>
                <c:pt idx="360">
                  <c:v>All Others</c:v>
                </c:pt>
                <c:pt idx="361">
                  <c:v>O'Tapas Ape</c:v>
                </c:pt>
                <c:pt idx="362">
                  <c:v>Lou Perac</c:v>
                </c:pt>
                <c:pt idx="363">
                  <c:v>Kiri</c:v>
                </c:pt>
                <c:pt idx="364">
                  <c:v>All Others</c:v>
                </c:pt>
                <c:pt idx="365">
                  <c:v>All Others</c:v>
                </c:pt>
                <c:pt idx="366">
                  <c:v>All Others</c:v>
                </c:pt>
                <c:pt idx="367">
                  <c:v>Private Lab</c:v>
                </c:pt>
                <c:pt idx="368">
                  <c:v>Private Lab</c:v>
                </c:pt>
                <c:pt idx="369">
                  <c:v>All Others</c:v>
                </c:pt>
                <c:pt idx="370">
                  <c:v>All Others</c:v>
                </c:pt>
                <c:pt idx="371">
                  <c:v>Entremont</c:v>
                </c:pt>
                <c:pt idx="372">
                  <c:v>All Others</c:v>
                </c:pt>
                <c:pt idx="373">
                  <c:v>Private Lab</c:v>
                </c:pt>
                <c:pt idx="374">
                  <c:v>Lactalis: A</c:v>
                </c:pt>
                <c:pt idx="375">
                  <c:v>All Others</c:v>
                </c:pt>
                <c:pt idx="376">
                  <c:v>Fauquet</c:v>
                </c:pt>
                <c:pt idx="377">
                  <c:v>Entremont</c:v>
                </c:pt>
                <c:pt idx="378">
                  <c:v>All Others</c:v>
                </c:pt>
                <c:pt idx="379">
                  <c:v>La Pointe P</c:v>
                </c:pt>
                <c:pt idx="380">
                  <c:v>Lactalis: A</c:v>
                </c:pt>
                <c:pt idx="381">
                  <c:v>La Belle Et</c:v>
                </c:pt>
                <c:pt idx="382">
                  <c:v>Entremont</c:v>
                </c:pt>
                <c:pt idx="383">
                  <c:v>Mini Babybe</c:v>
                </c:pt>
                <c:pt idx="384">
                  <c:v>All Others</c:v>
                </c:pt>
                <c:pt idx="385">
                  <c:v>Juraflore</c:v>
                </c:pt>
                <c:pt idx="386">
                  <c:v>All Others</c:v>
                </c:pt>
                <c:pt idx="387">
                  <c:v>All Others</c:v>
                </c:pt>
                <c:pt idx="388">
                  <c:v>Private Lab</c:v>
                </c:pt>
                <c:pt idx="389">
                  <c:v>Private Lab</c:v>
                </c:pt>
                <c:pt idx="390">
                  <c:v>All Others</c:v>
                </c:pt>
                <c:pt idx="391">
                  <c:v>Private Lab</c:v>
                </c:pt>
                <c:pt idx="392">
                  <c:v>President</c:v>
                </c:pt>
                <c:pt idx="393">
                  <c:v>All Others</c:v>
                </c:pt>
                <c:pt idx="394">
                  <c:v>Private Lab</c:v>
                </c:pt>
                <c:pt idx="395">
                  <c:v>Private Lab</c:v>
                </c:pt>
                <c:pt idx="396">
                  <c:v>All Others</c:v>
                </c:pt>
                <c:pt idx="397">
                  <c:v>Chaussee Au</c:v>
                </c:pt>
                <c:pt idx="398">
                  <c:v>All Others</c:v>
                </c:pt>
                <c:pt idx="399">
                  <c:v>All Others</c:v>
                </c:pt>
                <c:pt idx="400">
                  <c:v>President</c:v>
                </c:pt>
                <c:pt idx="401">
                  <c:v>All Others</c:v>
                </c:pt>
                <c:pt idx="402">
                  <c:v>All Others</c:v>
                </c:pt>
                <c:pt idx="403">
                  <c:v>All Others</c:v>
                </c:pt>
                <c:pt idx="404">
                  <c:v>All Others</c:v>
                </c:pt>
                <c:pt idx="405">
                  <c:v>All Others</c:v>
                </c:pt>
                <c:pt idx="406">
                  <c:v>Richesmonts</c:v>
                </c:pt>
                <c:pt idx="407">
                  <c:v>All Others</c:v>
                </c:pt>
                <c:pt idx="408">
                  <c:v>Lactalis: A</c:v>
                </c:pt>
                <c:pt idx="409">
                  <c:v>All Others</c:v>
                </c:pt>
                <c:pt idx="410">
                  <c:v>Pave D'Affi</c:v>
                </c:pt>
                <c:pt idx="411">
                  <c:v>All Others</c:v>
                </c:pt>
                <c:pt idx="412">
                  <c:v>Richesmonts</c:v>
                </c:pt>
                <c:pt idx="413">
                  <c:v>La Vache Qu</c:v>
                </c:pt>
                <c:pt idx="414">
                  <c:v>All Others</c:v>
                </c:pt>
                <c:pt idx="415">
                  <c:v>La Belle Et</c:v>
                </c:pt>
                <c:pt idx="416">
                  <c:v>Private Lab</c:v>
                </c:pt>
                <c:pt idx="417">
                  <c:v>All Others</c:v>
                </c:pt>
                <c:pt idx="418">
                  <c:v>President</c:v>
                </c:pt>
                <c:pt idx="419">
                  <c:v>Pave D'Affi</c:v>
                </c:pt>
                <c:pt idx="420">
                  <c:v>Nurishh</c:v>
                </c:pt>
                <c:pt idx="421">
                  <c:v>All Others</c:v>
                </c:pt>
                <c:pt idx="422">
                  <c:v>Richesmonts</c:v>
                </c:pt>
                <c:pt idx="423">
                  <c:v>Private Lab</c:v>
                </c:pt>
                <c:pt idx="424">
                  <c:v>Private Lab</c:v>
                </c:pt>
                <c:pt idx="425">
                  <c:v>Chaussee Au</c:v>
                </c:pt>
                <c:pt idx="426">
                  <c:v>Etoile Du V</c:v>
                </c:pt>
                <c:pt idx="427">
                  <c:v>All Others</c:v>
                </c:pt>
                <c:pt idx="428">
                  <c:v>All Others</c:v>
                </c:pt>
                <c:pt idx="429">
                  <c:v>Lactalis: A</c:v>
                </c:pt>
                <c:pt idx="430">
                  <c:v>All Others</c:v>
                </c:pt>
                <c:pt idx="431">
                  <c:v>All Others</c:v>
                </c:pt>
                <c:pt idx="432">
                  <c:v>Lactalis: A</c:v>
                </c:pt>
                <c:pt idx="433">
                  <c:v>All Others</c:v>
                </c:pt>
                <c:pt idx="434">
                  <c:v>Violife</c:v>
                </c:pt>
                <c:pt idx="435">
                  <c:v>All Others</c:v>
                </c:pt>
                <c:pt idx="436">
                  <c:v>All Others</c:v>
                </c:pt>
                <c:pt idx="437">
                  <c:v>Private Lab</c:v>
                </c:pt>
                <c:pt idx="438">
                  <c:v>All Others</c:v>
                </c:pt>
                <c:pt idx="439">
                  <c:v>Lactalis: A</c:v>
                </c:pt>
                <c:pt idx="440">
                  <c:v>All Others</c:v>
                </c:pt>
                <c:pt idx="441">
                  <c:v>Lactalis: A</c:v>
                </c:pt>
                <c:pt idx="442">
                  <c:v>All Others</c:v>
                </c:pt>
                <c:pt idx="443">
                  <c:v>All Others</c:v>
                </c:pt>
                <c:pt idx="444">
                  <c:v>Private Lab</c:v>
                </c:pt>
                <c:pt idx="445">
                  <c:v>Mini Babybe</c:v>
                </c:pt>
                <c:pt idx="446">
                  <c:v>La Belle Et</c:v>
                </c:pt>
                <c:pt idx="447">
                  <c:v>Private Lab</c:v>
                </c:pt>
                <c:pt idx="448">
                  <c:v>All Others</c:v>
                </c:pt>
                <c:pt idx="449">
                  <c:v>All Others</c:v>
                </c:pt>
                <c:pt idx="450">
                  <c:v>All Others</c:v>
                </c:pt>
                <c:pt idx="451">
                  <c:v>La Vache Qu</c:v>
                </c:pt>
                <c:pt idx="452">
                  <c:v>All Others</c:v>
                </c:pt>
                <c:pt idx="453">
                  <c:v>Savencia: A</c:v>
                </c:pt>
                <c:pt idx="454">
                  <c:v>All Others</c:v>
                </c:pt>
                <c:pt idx="455">
                  <c:v>All Others</c:v>
                </c:pt>
                <c:pt idx="456">
                  <c:v>All Others</c:v>
                </c:pt>
                <c:pt idx="457">
                  <c:v>All Others</c:v>
                </c:pt>
                <c:pt idx="458">
                  <c:v>All Others</c:v>
                </c:pt>
                <c:pt idx="459">
                  <c:v>All Others</c:v>
                </c:pt>
                <c:pt idx="460">
                  <c:v>All Others</c:v>
                </c:pt>
                <c:pt idx="461">
                  <c:v>All Others</c:v>
                </c:pt>
                <c:pt idx="462">
                  <c:v>All Others</c:v>
                </c:pt>
                <c:pt idx="463">
                  <c:v>All Others</c:v>
                </c:pt>
                <c:pt idx="464">
                  <c:v>All Others</c:v>
                </c:pt>
                <c:pt idx="465">
                  <c:v>All Others</c:v>
                </c:pt>
                <c:pt idx="466">
                  <c:v>P'Tit Louis</c:v>
                </c:pt>
                <c:pt idx="467">
                  <c:v>All Others</c:v>
                </c:pt>
                <c:pt idx="468">
                  <c:v>La Pointe P</c:v>
                </c:pt>
                <c:pt idx="469">
                  <c:v>All Others</c:v>
                </c:pt>
                <c:pt idx="470">
                  <c:v>Boursin</c:v>
                </c:pt>
                <c:pt idx="471">
                  <c:v>All Others</c:v>
                </c:pt>
                <c:pt idx="472">
                  <c:v>All Others</c:v>
                </c:pt>
                <c:pt idx="473">
                  <c:v>All Others</c:v>
                </c:pt>
                <c:pt idx="474">
                  <c:v>La Vache Qu</c:v>
                </c:pt>
                <c:pt idx="475">
                  <c:v>All Others</c:v>
                </c:pt>
                <c:pt idx="476">
                  <c:v>Entremont</c:v>
                </c:pt>
                <c:pt idx="477">
                  <c:v>Leerdammer</c:v>
                </c:pt>
                <c:pt idx="478">
                  <c:v>Societe</c:v>
                </c:pt>
                <c:pt idx="479">
                  <c:v>All Others</c:v>
                </c:pt>
                <c:pt idx="480">
                  <c:v>All Others</c:v>
                </c:pt>
                <c:pt idx="481">
                  <c:v>Private Lab</c:v>
                </c:pt>
                <c:pt idx="482">
                  <c:v>All Others</c:v>
                </c:pt>
                <c:pt idx="483">
                  <c:v>Private Lab</c:v>
                </c:pt>
                <c:pt idx="484">
                  <c:v>All Others</c:v>
                </c:pt>
                <c:pt idx="485">
                  <c:v>Lactalis: A</c:v>
                </c:pt>
                <c:pt idx="486">
                  <c:v>All Others</c:v>
                </c:pt>
                <c:pt idx="487">
                  <c:v>All Others</c:v>
                </c:pt>
                <c:pt idx="488">
                  <c:v>Leerdammer</c:v>
                </c:pt>
                <c:pt idx="489">
                  <c:v>Private Lab</c:v>
                </c:pt>
                <c:pt idx="490">
                  <c:v>Lactalis: A</c:v>
                </c:pt>
                <c:pt idx="491">
                  <c:v>All Others</c:v>
                </c:pt>
                <c:pt idx="492">
                  <c:v>Richesmonts</c:v>
                </c:pt>
                <c:pt idx="493">
                  <c:v>All Others</c:v>
                </c:pt>
                <c:pt idx="494">
                  <c:v>All Others</c:v>
                </c:pt>
                <c:pt idx="495">
                  <c:v>All Others</c:v>
                </c:pt>
                <c:pt idx="496">
                  <c:v>All Others</c:v>
                </c:pt>
                <c:pt idx="497">
                  <c:v>Paysan Bret</c:v>
                </c:pt>
                <c:pt idx="498">
                  <c:v>All Others</c:v>
                </c:pt>
                <c:pt idx="499">
                  <c:v>La Belle Et</c:v>
                </c:pt>
                <c:pt idx="500">
                  <c:v>President</c:v>
                </c:pt>
                <c:pt idx="501">
                  <c:v>All Others</c:v>
                </c:pt>
                <c:pt idx="502">
                  <c:v>All Others</c:v>
                </c:pt>
                <c:pt idx="503">
                  <c:v>Etoile Du V</c:v>
                </c:pt>
                <c:pt idx="504">
                  <c:v>Milleret: A</c:v>
                </c:pt>
                <c:pt idx="505">
                  <c:v>Apericube</c:v>
                </c:pt>
                <c:pt idx="506">
                  <c:v>Lactalis: A</c:v>
                </c:pt>
                <c:pt idx="507">
                  <c:v>Lou Perac</c:v>
                </c:pt>
                <c:pt idx="508">
                  <c:v>All Others</c:v>
                </c:pt>
                <c:pt idx="509">
                  <c:v>Lactalis: A</c:v>
                </c:pt>
                <c:pt idx="510">
                  <c:v>All Others</c:v>
                </c:pt>
                <c:pt idx="511">
                  <c:v>All Others</c:v>
                </c:pt>
                <c:pt idx="512">
                  <c:v>Galbani</c:v>
                </c:pt>
                <c:pt idx="513">
                  <c:v>All Others</c:v>
                </c:pt>
                <c:pt idx="514">
                  <c:v>All Others</c:v>
                </c:pt>
                <c:pt idx="515">
                  <c:v>All Others</c:v>
                </c:pt>
                <c:pt idx="516">
                  <c:v>Pave D'Affi</c:v>
                </c:pt>
                <c:pt idx="517">
                  <c:v>Lactalis: A</c:v>
                </c:pt>
                <c:pt idx="518">
                  <c:v>All Others</c:v>
                </c:pt>
                <c:pt idx="519">
                  <c:v>Private Lab</c:v>
                </c:pt>
                <c:pt idx="520">
                  <c:v>Savencia: A</c:v>
                </c:pt>
                <c:pt idx="521">
                  <c:v>Private Lab</c:v>
                </c:pt>
                <c:pt idx="522">
                  <c:v>La Pointe P</c:v>
                </c:pt>
                <c:pt idx="523">
                  <c:v>All Others</c:v>
                </c:pt>
                <c:pt idx="524">
                  <c:v>Lactalis: A</c:v>
                </c:pt>
                <c:pt idx="525">
                  <c:v>Ficello</c:v>
                </c:pt>
                <c:pt idx="526">
                  <c:v>All Others</c:v>
                </c:pt>
                <c:pt idx="527">
                  <c:v>All Others</c:v>
                </c:pt>
                <c:pt idx="528">
                  <c:v>All Others</c:v>
                </c:pt>
                <c:pt idx="529">
                  <c:v>Violife</c:v>
                </c:pt>
                <c:pt idx="530">
                  <c:v>Chavroux</c:v>
                </c:pt>
                <c:pt idx="531">
                  <c:v>All Others</c:v>
                </c:pt>
                <c:pt idx="532">
                  <c:v>Private Lab</c:v>
                </c:pt>
                <c:pt idx="533">
                  <c:v>All Others</c:v>
                </c:pt>
                <c:pt idx="534">
                  <c:v>All Others</c:v>
                </c:pt>
                <c:pt idx="535">
                  <c:v>All Others</c:v>
                </c:pt>
                <c:pt idx="536">
                  <c:v>All Others</c:v>
                </c:pt>
                <c:pt idx="537">
                  <c:v>Private Lab</c:v>
                </c:pt>
                <c:pt idx="538">
                  <c:v>Kiri</c:v>
                </c:pt>
                <c:pt idx="539">
                  <c:v>All Others</c:v>
                </c:pt>
                <c:pt idx="540">
                  <c:v>Societe</c:v>
                </c:pt>
                <c:pt idx="541">
                  <c:v>All Others</c:v>
                </c:pt>
                <c:pt idx="542">
                  <c:v>All Others</c:v>
                </c:pt>
                <c:pt idx="543">
                  <c:v>All Others</c:v>
                </c:pt>
                <c:pt idx="544">
                  <c:v>Leerdammer</c:v>
                </c:pt>
                <c:pt idx="545">
                  <c:v>All Others</c:v>
                </c:pt>
                <c:pt idx="546">
                  <c:v>Richesmonts</c:v>
                </c:pt>
                <c:pt idx="547">
                  <c:v>All Others</c:v>
                </c:pt>
                <c:pt idx="548">
                  <c:v>Leerdammer</c:v>
                </c:pt>
                <c:pt idx="549">
                  <c:v>Mini Babybe</c:v>
                </c:pt>
                <c:pt idx="550">
                  <c:v>All Others</c:v>
                </c:pt>
                <c:pt idx="551">
                  <c:v>All Others</c:v>
                </c:pt>
                <c:pt idx="552">
                  <c:v>All Others</c:v>
                </c:pt>
                <c:pt idx="553">
                  <c:v>La Belle Et</c:v>
                </c:pt>
                <c:pt idx="554">
                  <c:v>All Others</c:v>
                </c:pt>
                <c:pt idx="555">
                  <c:v>Etoile Du V</c:v>
                </c:pt>
                <c:pt idx="556">
                  <c:v>All Others</c:v>
                </c:pt>
                <c:pt idx="557">
                  <c:v>All Others</c:v>
                </c:pt>
                <c:pt idx="558">
                  <c:v>All Others</c:v>
                </c:pt>
                <c:pt idx="559">
                  <c:v>All Others</c:v>
                </c:pt>
                <c:pt idx="560">
                  <c:v>Societe</c:v>
                </c:pt>
                <c:pt idx="561">
                  <c:v>All Others</c:v>
                </c:pt>
                <c:pt idx="562">
                  <c:v>All Others</c:v>
                </c:pt>
                <c:pt idx="563">
                  <c:v>All Others</c:v>
                </c:pt>
                <c:pt idx="564">
                  <c:v>All Others</c:v>
                </c:pt>
                <c:pt idx="565">
                  <c:v>All Others</c:v>
                </c:pt>
                <c:pt idx="566">
                  <c:v>All Others</c:v>
                </c:pt>
                <c:pt idx="567">
                  <c:v>All Others</c:v>
                </c:pt>
                <c:pt idx="568">
                  <c:v>All Others</c:v>
                </c:pt>
                <c:pt idx="569">
                  <c:v>All Others</c:v>
                </c:pt>
                <c:pt idx="570">
                  <c:v>All Others</c:v>
                </c:pt>
                <c:pt idx="571">
                  <c:v>All Others</c:v>
                </c:pt>
                <c:pt idx="572">
                  <c:v>Triballat R</c:v>
                </c:pt>
                <c:pt idx="573">
                  <c:v>Pochat</c:v>
                </c:pt>
                <c:pt idx="574">
                  <c:v>Leerdammer</c:v>
                </c:pt>
                <c:pt idx="575">
                  <c:v>All Others</c:v>
                </c:pt>
                <c:pt idx="576">
                  <c:v>L'Ortolan</c:v>
                </c:pt>
                <c:pt idx="577">
                  <c:v>Lactalis: A</c:v>
                </c:pt>
                <c:pt idx="578">
                  <c:v>All Others</c:v>
                </c:pt>
                <c:pt idx="579">
                  <c:v>Philadelphi</c:v>
                </c:pt>
                <c:pt idx="580">
                  <c:v>Etoile Du V</c:v>
                </c:pt>
                <c:pt idx="581">
                  <c:v>Triballat R</c:v>
                </c:pt>
                <c:pt idx="582">
                  <c:v>Lactalis: A</c:v>
                </c:pt>
                <c:pt idx="583">
                  <c:v>All Others</c:v>
                </c:pt>
                <c:pt idx="584">
                  <c:v>Savencia: A</c:v>
                </c:pt>
                <c:pt idx="585">
                  <c:v>All Others</c:v>
                </c:pt>
                <c:pt idx="586">
                  <c:v>All Others</c:v>
                </c:pt>
                <c:pt idx="587">
                  <c:v>Etoile Du V</c:v>
                </c:pt>
                <c:pt idx="588">
                  <c:v>Private Lab</c:v>
                </c:pt>
                <c:pt idx="589">
                  <c:v>Private Lab</c:v>
                </c:pt>
                <c:pt idx="590">
                  <c:v>All Others</c:v>
                </c:pt>
                <c:pt idx="591">
                  <c:v>All Others</c:v>
                </c:pt>
                <c:pt idx="592">
                  <c:v>All Others</c:v>
                </c:pt>
                <c:pt idx="593">
                  <c:v>All Others</c:v>
                </c:pt>
                <c:pt idx="594">
                  <c:v>All Others</c:v>
                </c:pt>
                <c:pt idx="595">
                  <c:v>All Others</c:v>
                </c:pt>
                <c:pt idx="596">
                  <c:v>All Others</c:v>
                </c:pt>
                <c:pt idx="597">
                  <c:v>Eurial Autr</c:v>
                </c:pt>
                <c:pt idx="598">
                  <c:v>Raguin</c:v>
                </c:pt>
                <c:pt idx="599">
                  <c:v>All Others</c:v>
                </c:pt>
                <c:pt idx="600">
                  <c:v>All Others</c:v>
                </c:pt>
                <c:pt idx="601">
                  <c:v>Etoile Du Q</c:v>
                </c:pt>
                <c:pt idx="602">
                  <c:v>All Others</c:v>
                </c:pt>
                <c:pt idx="603">
                  <c:v>All Others</c:v>
                </c:pt>
                <c:pt idx="604">
                  <c:v>Savencia: A</c:v>
                </c:pt>
                <c:pt idx="605">
                  <c:v>All Others</c:v>
                </c:pt>
                <c:pt idx="606">
                  <c:v>All Others</c:v>
                </c:pt>
                <c:pt idx="607">
                  <c:v>All Others</c:v>
                </c:pt>
                <c:pt idx="608">
                  <c:v>Savencia: A</c:v>
                </c:pt>
                <c:pt idx="609">
                  <c:v>Triballat R</c:v>
                </c:pt>
                <c:pt idx="610">
                  <c:v>All Others</c:v>
                </c:pt>
                <c:pt idx="611">
                  <c:v>All Others</c:v>
                </c:pt>
                <c:pt idx="612">
                  <c:v>All Others</c:v>
                </c:pt>
                <c:pt idx="613">
                  <c:v>St Moret</c:v>
                </c:pt>
                <c:pt idx="614">
                  <c:v>Lactalis: A</c:v>
                </c:pt>
                <c:pt idx="615">
                  <c:v>All Others</c:v>
                </c:pt>
                <c:pt idx="616">
                  <c:v>Nurishh</c:v>
                </c:pt>
                <c:pt idx="617">
                  <c:v>All Others</c:v>
                </c:pt>
                <c:pt idx="618">
                  <c:v>All Others</c:v>
                </c:pt>
                <c:pt idx="619">
                  <c:v>All Others</c:v>
                </c:pt>
                <c:pt idx="620">
                  <c:v>Savencia: A</c:v>
                </c:pt>
                <c:pt idx="621">
                  <c:v>All Others</c:v>
                </c:pt>
                <c:pt idx="622">
                  <c:v>All Others</c:v>
                </c:pt>
                <c:pt idx="623">
                  <c:v>All Others</c:v>
                </c:pt>
                <c:pt idx="624">
                  <c:v>All Others</c:v>
                </c:pt>
                <c:pt idx="625">
                  <c:v>La Belle Et</c:v>
                </c:pt>
                <c:pt idx="626">
                  <c:v>All Others</c:v>
                </c:pt>
                <c:pt idx="627">
                  <c:v>All Others</c:v>
                </c:pt>
                <c:pt idx="628">
                  <c:v>All Others</c:v>
                </c:pt>
                <c:pt idx="629">
                  <c:v>All Others</c:v>
                </c:pt>
                <c:pt idx="630">
                  <c:v>All Others</c:v>
                </c:pt>
                <c:pt idx="631">
                  <c:v>Lactalis: A</c:v>
                </c:pt>
                <c:pt idx="632">
                  <c:v>Ficello</c:v>
                </c:pt>
                <c:pt idx="633">
                  <c:v>All Others</c:v>
                </c:pt>
                <c:pt idx="634">
                  <c:v>Lactalis: A</c:v>
                </c:pt>
                <c:pt idx="635">
                  <c:v>All Others</c:v>
                </c:pt>
                <c:pt idx="636">
                  <c:v>All Others</c:v>
                </c:pt>
                <c:pt idx="637">
                  <c:v>Triballat N</c:v>
                </c:pt>
                <c:pt idx="638">
                  <c:v>All Others</c:v>
                </c:pt>
                <c:pt idx="639">
                  <c:v>All Others</c:v>
                </c:pt>
                <c:pt idx="640">
                  <c:v>All Others</c:v>
                </c:pt>
                <c:pt idx="641">
                  <c:v>Etoile Du V</c:v>
                </c:pt>
                <c:pt idx="642">
                  <c:v>Nurishh</c:v>
                </c:pt>
                <c:pt idx="643">
                  <c:v>All Others</c:v>
                </c:pt>
                <c:pt idx="644">
                  <c:v>All Others</c:v>
                </c:pt>
                <c:pt idx="645">
                  <c:v>All Others</c:v>
                </c:pt>
                <c:pt idx="646">
                  <c:v>All Others</c:v>
                </c:pt>
                <c:pt idx="647">
                  <c:v>All Others</c:v>
                </c:pt>
                <c:pt idx="648">
                  <c:v>Lactalis: A</c:v>
                </c:pt>
                <c:pt idx="649">
                  <c:v>All Others</c:v>
                </c:pt>
                <c:pt idx="650">
                  <c:v>All Others</c:v>
                </c:pt>
                <c:pt idx="651">
                  <c:v>All Others</c:v>
                </c:pt>
                <c:pt idx="652">
                  <c:v>All Others</c:v>
                </c:pt>
                <c:pt idx="653">
                  <c:v>Saint Albra</c:v>
                </c:pt>
                <c:pt idx="654">
                  <c:v>Private Lab</c:v>
                </c:pt>
                <c:pt idx="655">
                  <c:v>All Others</c:v>
                </c:pt>
                <c:pt idx="656">
                  <c:v>All Others</c:v>
                </c:pt>
                <c:pt idx="657">
                  <c:v>All Others</c:v>
                </c:pt>
                <c:pt idx="658">
                  <c:v>All Others</c:v>
                </c:pt>
                <c:pt idx="659">
                  <c:v>All Others</c:v>
                </c:pt>
                <c:pt idx="660">
                  <c:v>All Others</c:v>
                </c:pt>
                <c:pt idx="661">
                  <c:v>All Others</c:v>
                </c:pt>
                <c:pt idx="662">
                  <c:v>Savencia: A</c:v>
                </c:pt>
                <c:pt idx="663">
                  <c:v>All Others</c:v>
                </c:pt>
                <c:pt idx="664">
                  <c:v>All Others</c:v>
                </c:pt>
                <c:pt idx="665">
                  <c:v>All Others</c:v>
                </c:pt>
                <c:pt idx="666">
                  <c:v>All Others</c:v>
                </c:pt>
                <c:pt idx="667">
                  <c:v>Saint Agur</c:v>
                </c:pt>
                <c:pt idx="668">
                  <c:v>Private Lab</c:v>
                </c:pt>
                <c:pt idx="669">
                  <c:v>All Others</c:v>
                </c:pt>
                <c:pt idx="670">
                  <c:v>All Others</c:v>
                </c:pt>
                <c:pt idx="671">
                  <c:v>Private Lab</c:v>
                </c:pt>
                <c:pt idx="672">
                  <c:v>All Others</c:v>
                </c:pt>
                <c:pt idx="673">
                  <c:v>Raguin</c:v>
                </c:pt>
                <c:pt idx="674">
                  <c:v>All Others</c:v>
                </c:pt>
                <c:pt idx="675">
                  <c:v>All Others</c:v>
                </c:pt>
                <c:pt idx="676">
                  <c:v>La Belle Et</c:v>
                </c:pt>
                <c:pt idx="677">
                  <c:v>All Others</c:v>
                </c:pt>
                <c:pt idx="678">
                  <c:v>Private Lab</c:v>
                </c:pt>
                <c:pt idx="679">
                  <c:v>All Others</c:v>
                </c:pt>
                <c:pt idx="680">
                  <c:v>Tartare</c:v>
                </c:pt>
                <c:pt idx="681">
                  <c:v>Lactalis: A</c:v>
                </c:pt>
                <c:pt idx="682">
                  <c:v>All Others</c:v>
                </c:pt>
                <c:pt idx="683">
                  <c:v>Private Lab</c:v>
                </c:pt>
                <c:pt idx="684">
                  <c:v>Private Lab</c:v>
                </c:pt>
                <c:pt idx="685">
                  <c:v>Parmareggio</c:v>
                </c:pt>
                <c:pt idx="686">
                  <c:v>All Others</c:v>
                </c:pt>
                <c:pt idx="687">
                  <c:v>All Others</c:v>
                </c:pt>
                <c:pt idx="688">
                  <c:v>Juraflore</c:v>
                </c:pt>
                <c:pt idx="689">
                  <c:v>All Others</c:v>
                </c:pt>
                <c:pt idx="690">
                  <c:v>All Others</c:v>
                </c:pt>
                <c:pt idx="691">
                  <c:v>La Pointe P</c:v>
                </c:pt>
                <c:pt idx="692">
                  <c:v>All Others</c:v>
                </c:pt>
                <c:pt idx="693">
                  <c:v>All Others</c:v>
                </c:pt>
                <c:pt idx="694">
                  <c:v>All Others</c:v>
                </c:pt>
                <c:pt idx="695">
                  <c:v>Paysan Bret</c:v>
                </c:pt>
                <c:pt idx="696">
                  <c:v>Etoile Du V</c:v>
                </c:pt>
                <c:pt idx="697">
                  <c:v>All Others</c:v>
                </c:pt>
                <c:pt idx="698">
                  <c:v>All Others</c:v>
                </c:pt>
                <c:pt idx="699">
                  <c:v>All Others</c:v>
                </c:pt>
                <c:pt idx="700">
                  <c:v>Lactalis: A</c:v>
                </c:pt>
                <c:pt idx="701">
                  <c:v>All Others</c:v>
                </c:pt>
                <c:pt idx="702">
                  <c:v>All Others</c:v>
                </c:pt>
                <c:pt idx="703">
                  <c:v>Eurial Autr</c:v>
                </c:pt>
                <c:pt idx="704">
                  <c:v>Apericube</c:v>
                </c:pt>
                <c:pt idx="705">
                  <c:v>Societe</c:v>
                </c:pt>
                <c:pt idx="706">
                  <c:v>La Belle Et</c:v>
                </c:pt>
                <c:pt idx="707">
                  <c:v>All Others</c:v>
                </c:pt>
                <c:pt idx="708">
                  <c:v>Raguin</c:v>
                </c:pt>
                <c:pt idx="709">
                  <c:v>All Others</c:v>
                </c:pt>
                <c:pt idx="710">
                  <c:v>All Others</c:v>
                </c:pt>
                <c:pt idx="711">
                  <c:v>All Others</c:v>
                </c:pt>
                <c:pt idx="712">
                  <c:v>All Others</c:v>
                </c:pt>
                <c:pt idx="713">
                  <c:v>All Others</c:v>
                </c:pt>
                <c:pt idx="714">
                  <c:v>La Belle Et</c:v>
                </c:pt>
                <c:pt idx="715">
                  <c:v>All Others</c:v>
                </c:pt>
                <c:pt idx="716">
                  <c:v>All Others</c:v>
                </c:pt>
                <c:pt idx="717">
                  <c:v>O'Tapas Ape</c:v>
                </c:pt>
                <c:pt idx="718">
                  <c:v>Mini Babybe</c:v>
                </c:pt>
                <c:pt idx="719">
                  <c:v>All Others</c:v>
                </c:pt>
                <c:pt idx="720">
                  <c:v>Private Lab</c:v>
                </c:pt>
                <c:pt idx="721">
                  <c:v>All Others</c:v>
                </c:pt>
                <c:pt idx="722">
                  <c:v>All Others</c:v>
                </c:pt>
                <c:pt idx="723">
                  <c:v>All Others</c:v>
                </c:pt>
                <c:pt idx="724">
                  <c:v>All Others</c:v>
                </c:pt>
                <c:pt idx="725">
                  <c:v>Corsica</c:v>
                </c:pt>
                <c:pt idx="726">
                  <c:v>All Others</c:v>
                </c:pt>
                <c:pt idx="727">
                  <c:v>All Others</c:v>
                </c:pt>
                <c:pt idx="728">
                  <c:v>All Others</c:v>
                </c:pt>
                <c:pt idx="729">
                  <c:v>All Others</c:v>
                </c:pt>
                <c:pt idx="730">
                  <c:v>All Others</c:v>
                </c:pt>
                <c:pt idx="731">
                  <c:v>All Others</c:v>
                </c:pt>
                <c:pt idx="732">
                  <c:v>All Others</c:v>
                </c:pt>
                <c:pt idx="733">
                  <c:v>All Others</c:v>
                </c:pt>
                <c:pt idx="734">
                  <c:v>All Others</c:v>
                </c:pt>
                <c:pt idx="735">
                  <c:v>All Others</c:v>
                </c:pt>
                <c:pt idx="736">
                  <c:v>Boursin</c:v>
                </c:pt>
                <c:pt idx="737">
                  <c:v>O'Tapas Ape</c:v>
                </c:pt>
                <c:pt idx="738">
                  <c:v>All Others</c:v>
                </c:pt>
                <c:pt idx="739">
                  <c:v>All Others</c:v>
                </c:pt>
                <c:pt idx="740">
                  <c:v>All Others</c:v>
                </c:pt>
                <c:pt idx="741">
                  <c:v>Soignon</c:v>
                </c:pt>
                <c:pt idx="742">
                  <c:v>All Others</c:v>
                </c:pt>
                <c:pt idx="743">
                  <c:v>Etoile Du Q</c:v>
                </c:pt>
                <c:pt idx="744">
                  <c:v>All Others</c:v>
                </c:pt>
                <c:pt idx="745">
                  <c:v>All Others</c:v>
                </c:pt>
                <c:pt idx="746">
                  <c:v>All Others</c:v>
                </c:pt>
                <c:pt idx="747">
                  <c:v>All Others</c:v>
                </c:pt>
                <c:pt idx="748">
                  <c:v>La Belle Et</c:v>
                </c:pt>
                <c:pt idx="749">
                  <c:v>All Others</c:v>
                </c:pt>
                <c:pt idx="750">
                  <c:v>All Others</c:v>
                </c:pt>
                <c:pt idx="751">
                  <c:v>All Others</c:v>
                </c:pt>
                <c:pt idx="752">
                  <c:v>All Others</c:v>
                </c:pt>
                <c:pt idx="753">
                  <c:v>Raguin</c:v>
                </c:pt>
                <c:pt idx="754">
                  <c:v>All Others</c:v>
                </c:pt>
                <c:pt idx="755">
                  <c:v>All Others</c:v>
                </c:pt>
                <c:pt idx="756">
                  <c:v>All Others</c:v>
                </c:pt>
                <c:pt idx="757">
                  <c:v>All Others</c:v>
                </c:pt>
                <c:pt idx="758">
                  <c:v>Lactalis: A</c:v>
                </c:pt>
                <c:pt idx="759">
                  <c:v>All Others</c:v>
                </c:pt>
                <c:pt idx="760">
                  <c:v>Private Lab</c:v>
                </c:pt>
                <c:pt idx="761">
                  <c:v>All Others</c:v>
                </c:pt>
                <c:pt idx="762">
                  <c:v>All Others</c:v>
                </c:pt>
                <c:pt idx="763">
                  <c:v>All Others</c:v>
                </c:pt>
                <c:pt idx="764">
                  <c:v>Pave D'Affi</c:v>
                </c:pt>
                <c:pt idx="765">
                  <c:v>All Others</c:v>
                </c:pt>
                <c:pt idx="766">
                  <c:v>All Others</c:v>
                </c:pt>
                <c:pt idx="767">
                  <c:v>All Others</c:v>
                </c:pt>
                <c:pt idx="768">
                  <c:v>All Others</c:v>
                </c:pt>
                <c:pt idx="769">
                  <c:v>All Others</c:v>
                </c:pt>
                <c:pt idx="770">
                  <c:v>All Others</c:v>
                </c:pt>
                <c:pt idx="771">
                  <c:v>All Others</c:v>
                </c:pt>
                <c:pt idx="772">
                  <c:v>All Others</c:v>
                </c:pt>
                <c:pt idx="773">
                  <c:v>All Others</c:v>
                </c:pt>
                <c:pt idx="774">
                  <c:v>All Others</c:v>
                </c:pt>
                <c:pt idx="775">
                  <c:v>All Others</c:v>
                </c:pt>
                <c:pt idx="776">
                  <c:v>All Others</c:v>
                </c:pt>
                <c:pt idx="777">
                  <c:v>Savencia: A</c:v>
                </c:pt>
                <c:pt idx="778">
                  <c:v>La Belle Et</c:v>
                </c:pt>
                <c:pt idx="779">
                  <c:v>La Belle Et</c:v>
                </c:pt>
                <c:pt idx="780">
                  <c:v>Private Lab</c:v>
                </c:pt>
                <c:pt idx="781">
                  <c:v>All Others</c:v>
                </c:pt>
                <c:pt idx="782">
                  <c:v>All Others</c:v>
                </c:pt>
                <c:pt idx="783">
                  <c:v>All Others</c:v>
                </c:pt>
                <c:pt idx="784">
                  <c:v>Lactalis: A</c:v>
                </c:pt>
                <c:pt idx="785">
                  <c:v>All Others</c:v>
                </c:pt>
                <c:pt idx="786">
                  <c:v>All Others</c:v>
                </c:pt>
                <c:pt idx="787">
                  <c:v>All Others</c:v>
                </c:pt>
                <c:pt idx="788">
                  <c:v>All Others</c:v>
                </c:pt>
                <c:pt idx="789">
                  <c:v>All Others</c:v>
                </c:pt>
                <c:pt idx="790">
                  <c:v>All Others</c:v>
                </c:pt>
                <c:pt idx="791">
                  <c:v>Private Lab</c:v>
                </c:pt>
                <c:pt idx="792">
                  <c:v>All Others</c:v>
                </c:pt>
                <c:pt idx="793">
                  <c:v>Nurishh</c:v>
                </c:pt>
                <c:pt idx="794">
                  <c:v>All Others</c:v>
                </c:pt>
                <c:pt idx="795">
                  <c:v>All Others</c:v>
                </c:pt>
                <c:pt idx="796">
                  <c:v>All Others</c:v>
                </c:pt>
                <c:pt idx="797">
                  <c:v>All Others</c:v>
                </c:pt>
                <c:pt idx="798">
                  <c:v>All Others</c:v>
                </c:pt>
                <c:pt idx="799">
                  <c:v>All Others</c:v>
                </c:pt>
                <c:pt idx="800">
                  <c:v>All Others</c:v>
                </c:pt>
                <c:pt idx="801">
                  <c:v>All Others</c:v>
                </c:pt>
                <c:pt idx="802">
                  <c:v>La Belle Et</c:v>
                </c:pt>
                <c:pt idx="803">
                  <c:v>Eurial Autr</c:v>
                </c:pt>
                <c:pt idx="804">
                  <c:v>Lactalis: A</c:v>
                </c:pt>
                <c:pt idx="805">
                  <c:v>All Others</c:v>
                </c:pt>
                <c:pt idx="806">
                  <c:v>All Others</c:v>
                </c:pt>
                <c:pt idx="807">
                  <c:v>All Others</c:v>
                </c:pt>
                <c:pt idx="808">
                  <c:v>Private Lab</c:v>
                </c:pt>
                <c:pt idx="809">
                  <c:v>All Others</c:v>
                </c:pt>
                <c:pt idx="810">
                  <c:v>All Others</c:v>
                </c:pt>
                <c:pt idx="811">
                  <c:v>La Belle Et</c:v>
                </c:pt>
                <c:pt idx="812">
                  <c:v>All Others</c:v>
                </c:pt>
                <c:pt idx="813">
                  <c:v>All Others</c:v>
                </c:pt>
                <c:pt idx="814">
                  <c:v>All Others</c:v>
                </c:pt>
                <c:pt idx="815">
                  <c:v>All Others</c:v>
                </c:pt>
                <c:pt idx="816">
                  <c:v>All Others</c:v>
                </c:pt>
                <c:pt idx="817">
                  <c:v>La Belle Et</c:v>
                </c:pt>
                <c:pt idx="818">
                  <c:v>All Others</c:v>
                </c:pt>
                <c:pt idx="819">
                  <c:v>Pave D'Affi</c:v>
                </c:pt>
                <c:pt idx="820">
                  <c:v>All Others</c:v>
                </c:pt>
                <c:pt idx="821">
                  <c:v>All Others</c:v>
                </c:pt>
                <c:pt idx="822">
                  <c:v>All Others</c:v>
                </c:pt>
                <c:pt idx="823">
                  <c:v>Private Lab</c:v>
                </c:pt>
                <c:pt idx="824">
                  <c:v>Private Lab</c:v>
                </c:pt>
                <c:pt idx="825">
                  <c:v>All Others</c:v>
                </c:pt>
                <c:pt idx="826">
                  <c:v>Lactalis: A</c:v>
                </c:pt>
                <c:pt idx="827">
                  <c:v>All Others</c:v>
                </c:pt>
                <c:pt idx="828">
                  <c:v>All Others</c:v>
                </c:pt>
                <c:pt idx="829">
                  <c:v>All Others</c:v>
                </c:pt>
                <c:pt idx="830">
                  <c:v>All Others</c:v>
                </c:pt>
                <c:pt idx="831">
                  <c:v>Private Lab</c:v>
                </c:pt>
                <c:pt idx="832">
                  <c:v>All Others</c:v>
                </c:pt>
                <c:pt idx="833">
                  <c:v>All Others</c:v>
                </c:pt>
                <c:pt idx="834">
                  <c:v>All Others</c:v>
                </c:pt>
                <c:pt idx="835">
                  <c:v>All Others</c:v>
                </c:pt>
                <c:pt idx="836">
                  <c:v>All Others</c:v>
                </c:pt>
                <c:pt idx="837">
                  <c:v>All Others</c:v>
                </c:pt>
                <c:pt idx="838">
                  <c:v>All Others</c:v>
                </c:pt>
                <c:pt idx="839">
                  <c:v>All Others</c:v>
                </c:pt>
                <c:pt idx="840">
                  <c:v>All Others</c:v>
                </c:pt>
                <c:pt idx="841">
                  <c:v>Caprice Des</c:v>
                </c:pt>
                <c:pt idx="842">
                  <c:v>Private Lab</c:v>
                </c:pt>
                <c:pt idx="843">
                  <c:v>All Others</c:v>
                </c:pt>
                <c:pt idx="844">
                  <c:v>All Others</c:v>
                </c:pt>
                <c:pt idx="845">
                  <c:v>All Others</c:v>
                </c:pt>
                <c:pt idx="846">
                  <c:v>All Others</c:v>
                </c:pt>
                <c:pt idx="847">
                  <c:v>All Others</c:v>
                </c:pt>
                <c:pt idx="848">
                  <c:v>All Others</c:v>
                </c:pt>
                <c:pt idx="849">
                  <c:v>All Others</c:v>
                </c:pt>
                <c:pt idx="850">
                  <c:v>All Others</c:v>
                </c:pt>
                <c:pt idx="851">
                  <c:v>All Others</c:v>
                </c:pt>
                <c:pt idx="852">
                  <c:v>All Others</c:v>
                </c:pt>
                <c:pt idx="853">
                  <c:v>All Others</c:v>
                </c:pt>
                <c:pt idx="854">
                  <c:v>All Others</c:v>
                </c:pt>
                <c:pt idx="855">
                  <c:v>All Others</c:v>
                </c:pt>
                <c:pt idx="856">
                  <c:v>All Others</c:v>
                </c:pt>
                <c:pt idx="857">
                  <c:v>All Others</c:v>
                </c:pt>
                <c:pt idx="858">
                  <c:v>All Others</c:v>
                </c:pt>
                <c:pt idx="859">
                  <c:v>All Others</c:v>
                </c:pt>
                <c:pt idx="860">
                  <c:v>All Others</c:v>
                </c:pt>
                <c:pt idx="861">
                  <c:v>All Others</c:v>
                </c:pt>
                <c:pt idx="862">
                  <c:v>All Others</c:v>
                </c:pt>
                <c:pt idx="863">
                  <c:v>All Others</c:v>
                </c:pt>
                <c:pt idx="864">
                  <c:v>Private Lab</c:v>
                </c:pt>
                <c:pt idx="865">
                  <c:v>Private Lab</c:v>
                </c:pt>
                <c:pt idx="866">
                  <c:v>All Others</c:v>
                </c:pt>
                <c:pt idx="867">
                  <c:v>All Others</c:v>
                </c:pt>
                <c:pt idx="868">
                  <c:v>All Others</c:v>
                </c:pt>
                <c:pt idx="869">
                  <c:v>All Others</c:v>
                </c:pt>
                <c:pt idx="870">
                  <c:v>All Others</c:v>
                </c:pt>
                <c:pt idx="871">
                  <c:v>La Belle Et</c:v>
                </c:pt>
                <c:pt idx="872">
                  <c:v>All Others</c:v>
                </c:pt>
                <c:pt idx="873">
                  <c:v>All Others</c:v>
                </c:pt>
                <c:pt idx="874">
                  <c:v>Nurishh</c:v>
                </c:pt>
                <c:pt idx="875">
                  <c:v>All Others</c:v>
                </c:pt>
                <c:pt idx="876">
                  <c:v>All Others</c:v>
                </c:pt>
                <c:pt idx="877">
                  <c:v>Etoile Du V</c:v>
                </c:pt>
                <c:pt idx="878">
                  <c:v>All Others</c:v>
                </c:pt>
                <c:pt idx="879">
                  <c:v>All Others</c:v>
                </c:pt>
                <c:pt idx="880">
                  <c:v>All Others</c:v>
                </c:pt>
                <c:pt idx="881">
                  <c:v>All Others</c:v>
                </c:pt>
                <c:pt idx="882">
                  <c:v>All Others</c:v>
                </c:pt>
                <c:pt idx="883">
                  <c:v>All Others</c:v>
                </c:pt>
                <c:pt idx="884">
                  <c:v>All Others</c:v>
                </c:pt>
                <c:pt idx="885">
                  <c:v>All Others</c:v>
                </c:pt>
                <c:pt idx="886">
                  <c:v>Private Lab</c:v>
                </c:pt>
                <c:pt idx="887">
                  <c:v>All Others</c:v>
                </c:pt>
                <c:pt idx="888">
                  <c:v>All Others</c:v>
                </c:pt>
                <c:pt idx="889">
                  <c:v>All Others</c:v>
                </c:pt>
                <c:pt idx="890">
                  <c:v>All Others</c:v>
                </c:pt>
                <c:pt idx="891">
                  <c:v>All Others</c:v>
                </c:pt>
                <c:pt idx="892">
                  <c:v>Carre Frais</c:v>
                </c:pt>
                <c:pt idx="893">
                  <c:v>All Others</c:v>
                </c:pt>
                <c:pt idx="894">
                  <c:v>All Others</c:v>
                </c:pt>
                <c:pt idx="895">
                  <c:v>All Others</c:v>
                </c:pt>
                <c:pt idx="896">
                  <c:v>Triballat R</c:v>
                </c:pt>
                <c:pt idx="897">
                  <c:v>All Others</c:v>
                </c:pt>
                <c:pt idx="898">
                  <c:v>Private Lab</c:v>
                </c:pt>
                <c:pt idx="899">
                  <c:v>All Others</c:v>
                </c:pt>
                <c:pt idx="900">
                  <c:v>All Others</c:v>
                </c:pt>
                <c:pt idx="901">
                  <c:v>All Others</c:v>
                </c:pt>
                <c:pt idx="902">
                  <c:v>All Others</c:v>
                </c:pt>
                <c:pt idx="903">
                  <c:v>Aperivrais</c:v>
                </c:pt>
                <c:pt idx="904">
                  <c:v>All Others</c:v>
                </c:pt>
                <c:pt idx="905">
                  <c:v>Pave D'Affi</c:v>
                </c:pt>
                <c:pt idx="906">
                  <c:v>Corsica</c:v>
                </c:pt>
                <c:pt idx="907">
                  <c:v>All Others</c:v>
                </c:pt>
                <c:pt idx="908">
                  <c:v>All Others</c:v>
                </c:pt>
                <c:pt idx="909">
                  <c:v>All Others</c:v>
                </c:pt>
                <c:pt idx="910">
                  <c:v>All Others</c:v>
                </c:pt>
                <c:pt idx="911">
                  <c:v>All Others</c:v>
                </c:pt>
                <c:pt idx="912">
                  <c:v>All Others</c:v>
                </c:pt>
                <c:pt idx="913">
                  <c:v>All Others</c:v>
                </c:pt>
                <c:pt idx="914">
                  <c:v>All Others</c:v>
                </c:pt>
                <c:pt idx="915">
                  <c:v>All Others</c:v>
                </c:pt>
                <c:pt idx="916">
                  <c:v>All Others</c:v>
                </c:pt>
                <c:pt idx="917">
                  <c:v>All Others</c:v>
                </c:pt>
                <c:pt idx="918">
                  <c:v>All Others</c:v>
                </c:pt>
                <c:pt idx="919">
                  <c:v>All Others</c:v>
                </c:pt>
                <c:pt idx="920">
                  <c:v>All Others</c:v>
                </c:pt>
                <c:pt idx="921">
                  <c:v>All Others</c:v>
                </c:pt>
                <c:pt idx="922">
                  <c:v>All Others</c:v>
                </c:pt>
                <c:pt idx="923">
                  <c:v>All Others</c:v>
                </c:pt>
                <c:pt idx="924">
                  <c:v>All Others</c:v>
                </c:pt>
                <c:pt idx="925">
                  <c:v>All Others</c:v>
                </c:pt>
              </c:strCache>
            </c:strRef>
          </c:cat>
          <c:val>
            <c:numRef>
              <c:f>Sheet1!$B$2:$B$927</c:f>
              <c:numCache>
                <c:formatCode>General</c:formatCode>
                <c:ptCount val="926"/>
                <c:pt idx="0">
                  <c:v>1</c:v>
                </c:pt>
                <c:pt idx="1">
                  <c:v>0.99</c:v>
                </c:pt>
                <c:pt idx="2">
                  <c:v>1</c:v>
                </c:pt>
                <c:pt idx="3">
                  <c:v>0.93</c:v>
                </c:pt>
                <c:pt idx="4">
                  <c:v>0.99</c:v>
                </c:pt>
                <c:pt idx="5">
                  <c:v>1</c:v>
                </c:pt>
                <c:pt idx="6">
                  <c:v>0.93</c:v>
                </c:pt>
                <c:pt idx="7">
                  <c:v>0.95</c:v>
                </c:pt>
                <c:pt idx="8">
                  <c:v>0.96</c:v>
                </c:pt>
                <c:pt idx="9">
                  <c:v>0.97</c:v>
                </c:pt>
                <c:pt idx="10">
                  <c:v>0.97</c:v>
                </c:pt>
                <c:pt idx="11">
                  <c:v>0.91</c:v>
                </c:pt>
                <c:pt idx="12">
                  <c:v>0.97</c:v>
                </c:pt>
                <c:pt idx="13">
                  <c:v>0.94</c:v>
                </c:pt>
                <c:pt idx="14">
                  <c:v>0.78</c:v>
                </c:pt>
                <c:pt idx="15">
                  <c:v>0.96</c:v>
                </c:pt>
                <c:pt idx="16">
                  <c:v>0.74</c:v>
                </c:pt>
                <c:pt idx="17">
                  <c:v>0.88</c:v>
                </c:pt>
                <c:pt idx="18">
                  <c:v>0.84</c:v>
                </c:pt>
                <c:pt idx="19">
                  <c:v>0.86</c:v>
                </c:pt>
                <c:pt idx="20">
                  <c:v>0.95</c:v>
                </c:pt>
                <c:pt idx="21">
                  <c:v>0.97</c:v>
                </c:pt>
                <c:pt idx="22">
                  <c:v>0.91</c:v>
                </c:pt>
                <c:pt idx="23">
                  <c:v>0.86</c:v>
                </c:pt>
                <c:pt idx="24">
                  <c:v>0.95</c:v>
                </c:pt>
                <c:pt idx="25">
                  <c:v>0.93</c:v>
                </c:pt>
                <c:pt idx="26">
                  <c:v>0.79</c:v>
                </c:pt>
                <c:pt idx="27">
                  <c:v>0.84</c:v>
                </c:pt>
                <c:pt idx="28">
                  <c:v>0.99</c:v>
                </c:pt>
                <c:pt idx="29">
                  <c:v>0.83</c:v>
                </c:pt>
                <c:pt idx="30">
                  <c:v>0.98</c:v>
                </c:pt>
                <c:pt idx="31">
                  <c:v>0.47</c:v>
                </c:pt>
                <c:pt idx="32">
                  <c:v>0.66</c:v>
                </c:pt>
                <c:pt idx="33">
                  <c:v>0.78</c:v>
                </c:pt>
                <c:pt idx="34">
                  <c:v>0.47</c:v>
                </c:pt>
                <c:pt idx="35">
                  <c:v>0.83</c:v>
                </c:pt>
                <c:pt idx="36">
                  <c:v>0.48</c:v>
                </c:pt>
                <c:pt idx="37">
                  <c:v>0.9</c:v>
                </c:pt>
                <c:pt idx="38">
                  <c:v>0.79</c:v>
                </c:pt>
                <c:pt idx="39">
                  <c:v>0.65</c:v>
                </c:pt>
                <c:pt idx="40">
                  <c:v>0.94</c:v>
                </c:pt>
                <c:pt idx="41">
                  <c:v>0.75</c:v>
                </c:pt>
                <c:pt idx="42">
                  <c:v>0.97</c:v>
                </c:pt>
                <c:pt idx="43">
                  <c:v>0.95</c:v>
                </c:pt>
                <c:pt idx="44">
                  <c:v>0.89</c:v>
                </c:pt>
                <c:pt idx="45">
                  <c:v>0.79</c:v>
                </c:pt>
                <c:pt idx="46">
                  <c:v>0.75</c:v>
                </c:pt>
                <c:pt idx="47">
                  <c:v>0.95</c:v>
                </c:pt>
                <c:pt idx="48">
                  <c:v>0.98</c:v>
                </c:pt>
                <c:pt idx="49">
                  <c:v>0.56000000000000005</c:v>
                </c:pt>
                <c:pt idx="50">
                  <c:v>0.78</c:v>
                </c:pt>
                <c:pt idx="51">
                  <c:v>0.67</c:v>
                </c:pt>
                <c:pt idx="52">
                  <c:v>0.79</c:v>
                </c:pt>
                <c:pt idx="53">
                  <c:v>0.84</c:v>
                </c:pt>
                <c:pt idx="54">
                  <c:v>0.56000000000000005</c:v>
                </c:pt>
                <c:pt idx="55">
                  <c:v>0.56999999999999995</c:v>
                </c:pt>
                <c:pt idx="56">
                  <c:v>0.25</c:v>
                </c:pt>
                <c:pt idx="57">
                  <c:v>0.71</c:v>
                </c:pt>
                <c:pt idx="58">
                  <c:v>0.8</c:v>
                </c:pt>
                <c:pt idx="59">
                  <c:v>0.01</c:v>
                </c:pt>
                <c:pt idx="60">
                  <c:v>0.63</c:v>
                </c:pt>
                <c:pt idx="61">
                  <c:v>0.97</c:v>
                </c:pt>
                <c:pt idx="62">
                  <c:v>0.96</c:v>
                </c:pt>
                <c:pt idx="63">
                  <c:v>0.53</c:v>
                </c:pt>
                <c:pt idx="64">
                  <c:v>0.44</c:v>
                </c:pt>
                <c:pt idx="65">
                  <c:v>0.82</c:v>
                </c:pt>
                <c:pt idx="66">
                  <c:v>0.62</c:v>
                </c:pt>
                <c:pt idx="67">
                  <c:v>0.63</c:v>
                </c:pt>
                <c:pt idx="68">
                  <c:v>0.88</c:v>
                </c:pt>
                <c:pt idx="69">
                  <c:v>0.88</c:v>
                </c:pt>
                <c:pt idx="70">
                  <c:v>0.54</c:v>
                </c:pt>
                <c:pt idx="71">
                  <c:v>0.74</c:v>
                </c:pt>
                <c:pt idx="72">
                  <c:v>0.68</c:v>
                </c:pt>
                <c:pt idx="73">
                  <c:v>0.95</c:v>
                </c:pt>
                <c:pt idx="74">
                  <c:v>0.71</c:v>
                </c:pt>
                <c:pt idx="75">
                  <c:v>0.53</c:v>
                </c:pt>
                <c:pt idx="76">
                  <c:v>0.56000000000000005</c:v>
                </c:pt>
                <c:pt idx="77">
                  <c:v>0.61</c:v>
                </c:pt>
                <c:pt idx="78">
                  <c:v>0.76</c:v>
                </c:pt>
                <c:pt idx="79">
                  <c:v>0.91</c:v>
                </c:pt>
                <c:pt idx="80">
                  <c:v>0.48</c:v>
                </c:pt>
                <c:pt idx="81">
                  <c:v>0.82</c:v>
                </c:pt>
                <c:pt idx="82">
                  <c:v>0.57999999999999996</c:v>
                </c:pt>
                <c:pt idx="83">
                  <c:v>0.57999999999999996</c:v>
                </c:pt>
                <c:pt idx="84">
                  <c:v>0.48</c:v>
                </c:pt>
                <c:pt idx="85">
                  <c:v>0.72</c:v>
                </c:pt>
                <c:pt idx="86">
                  <c:v>0.41</c:v>
                </c:pt>
                <c:pt idx="87">
                  <c:v>0.79</c:v>
                </c:pt>
                <c:pt idx="88">
                  <c:v>0.5</c:v>
                </c:pt>
                <c:pt idx="89">
                  <c:v>0.65</c:v>
                </c:pt>
                <c:pt idx="90">
                  <c:v>0.43</c:v>
                </c:pt>
                <c:pt idx="91">
                  <c:v>0.7</c:v>
                </c:pt>
                <c:pt idx="92">
                  <c:v>0.85</c:v>
                </c:pt>
                <c:pt idx="93">
                  <c:v>0.68</c:v>
                </c:pt>
                <c:pt idx="94">
                  <c:v>0.81</c:v>
                </c:pt>
                <c:pt idx="95">
                  <c:v>0.35</c:v>
                </c:pt>
                <c:pt idx="96">
                  <c:v>0.68</c:v>
                </c:pt>
                <c:pt idx="97">
                  <c:v>0.87</c:v>
                </c:pt>
                <c:pt idx="98">
                  <c:v>0.5</c:v>
                </c:pt>
                <c:pt idx="99">
                  <c:v>0.56999999999999995</c:v>
                </c:pt>
                <c:pt idx="100">
                  <c:v>0.62</c:v>
                </c:pt>
                <c:pt idx="101">
                  <c:v>0.59</c:v>
                </c:pt>
                <c:pt idx="102">
                  <c:v>0.19</c:v>
                </c:pt>
                <c:pt idx="103">
                  <c:v>0.74</c:v>
                </c:pt>
                <c:pt idx="104">
                  <c:v>0.35</c:v>
                </c:pt>
                <c:pt idx="105">
                  <c:v>0.45</c:v>
                </c:pt>
                <c:pt idx="106">
                  <c:v>0.41</c:v>
                </c:pt>
                <c:pt idx="107">
                  <c:v>0.56999999999999995</c:v>
                </c:pt>
                <c:pt idx="108">
                  <c:v>0.73</c:v>
                </c:pt>
                <c:pt idx="109">
                  <c:v>0.82</c:v>
                </c:pt>
                <c:pt idx="110">
                  <c:v>0.43</c:v>
                </c:pt>
                <c:pt idx="111">
                  <c:v>0.42</c:v>
                </c:pt>
                <c:pt idx="112">
                  <c:v>0.66</c:v>
                </c:pt>
                <c:pt idx="113">
                  <c:v>0.84</c:v>
                </c:pt>
                <c:pt idx="114">
                  <c:v>0.71</c:v>
                </c:pt>
                <c:pt idx="115">
                  <c:v>0.51</c:v>
                </c:pt>
                <c:pt idx="116">
                  <c:v>0.8</c:v>
                </c:pt>
                <c:pt idx="117">
                  <c:v>0.86</c:v>
                </c:pt>
                <c:pt idx="118">
                  <c:v>0.19</c:v>
                </c:pt>
                <c:pt idx="119">
                  <c:v>0.2</c:v>
                </c:pt>
                <c:pt idx="120">
                  <c:v>0.65</c:v>
                </c:pt>
                <c:pt idx="121">
                  <c:v>0.28000000000000003</c:v>
                </c:pt>
                <c:pt idx="122">
                  <c:v>0.82</c:v>
                </c:pt>
                <c:pt idx="123">
                  <c:v>0.34</c:v>
                </c:pt>
                <c:pt idx="124">
                  <c:v>0.71</c:v>
                </c:pt>
                <c:pt idx="125">
                  <c:v>0.53</c:v>
                </c:pt>
                <c:pt idx="126">
                  <c:v>0.61</c:v>
                </c:pt>
                <c:pt idx="127">
                  <c:v>0.52</c:v>
                </c:pt>
                <c:pt idx="128">
                  <c:v>0.61</c:v>
                </c:pt>
                <c:pt idx="129">
                  <c:v>0.53</c:v>
                </c:pt>
                <c:pt idx="130">
                  <c:v>0.27</c:v>
                </c:pt>
                <c:pt idx="131">
                  <c:v>0.14000000000000001</c:v>
                </c:pt>
                <c:pt idx="132">
                  <c:v>0.62</c:v>
                </c:pt>
                <c:pt idx="133">
                  <c:v>0.25</c:v>
                </c:pt>
                <c:pt idx="134">
                  <c:v>0.69</c:v>
                </c:pt>
                <c:pt idx="135">
                  <c:v>0.56000000000000005</c:v>
                </c:pt>
                <c:pt idx="136">
                  <c:v>0.28000000000000003</c:v>
                </c:pt>
                <c:pt idx="137">
                  <c:v>0.4</c:v>
                </c:pt>
                <c:pt idx="138">
                  <c:v>0.56999999999999995</c:v>
                </c:pt>
                <c:pt idx="139">
                  <c:v>0.59</c:v>
                </c:pt>
                <c:pt idx="140">
                  <c:v>0.92</c:v>
                </c:pt>
                <c:pt idx="141">
                  <c:v>0.66</c:v>
                </c:pt>
                <c:pt idx="142">
                  <c:v>0.55000000000000004</c:v>
                </c:pt>
                <c:pt idx="143">
                  <c:v>0.77</c:v>
                </c:pt>
                <c:pt idx="144">
                  <c:v>0.6</c:v>
                </c:pt>
                <c:pt idx="145">
                  <c:v>0.59</c:v>
                </c:pt>
                <c:pt idx="146">
                  <c:v>0.76</c:v>
                </c:pt>
                <c:pt idx="147">
                  <c:v>0.77</c:v>
                </c:pt>
                <c:pt idx="148">
                  <c:v>0.62</c:v>
                </c:pt>
                <c:pt idx="149">
                  <c:v>0.22</c:v>
                </c:pt>
                <c:pt idx="150">
                  <c:v>0.44</c:v>
                </c:pt>
                <c:pt idx="151">
                  <c:v>0.59</c:v>
                </c:pt>
                <c:pt idx="152">
                  <c:v>0.28999999999999998</c:v>
                </c:pt>
                <c:pt idx="153">
                  <c:v>0.6</c:v>
                </c:pt>
                <c:pt idx="154">
                  <c:v>0.66</c:v>
                </c:pt>
                <c:pt idx="155">
                  <c:v>0.33</c:v>
                </c:pt>
                <c:pt idx="156">
                  <c:v>0.37</c:v>
                </c:pt>
                <c:pt idx="157">
                  <c:v>0.74</c:v>
                </c:pt>
                <c:pt idx="158">
                  <c:v>0.36</c:v>
                </c:pt>
                <c:pt idx="159">
                  <c:v>0.44</c:v>
                </c:pt>
                <c:pt idx="160">
                  <c:v>0.45</c:v>
                </c:pt>
                <c:pt idx="161">
                  <c:v>0.38</c:v>
                </c:pt>
                <c:pt idx="162">
                  <c:v>0.16</c:v>
                </c:pt>
                <c:pt idx="163">
                  <c:v>0.45</c:v>
                </c:pt>
                <c:pt idx="164">
                  <c:v>0.49</c:v>
                </c:pt>
                <c:pt idx="165">
                  <c:v>0.61</c:v>
                </c:pt>
                <c:pt idx="166">
                  <c:v>0.46</c:v>
                </c:pt>
                <c:pt idx="167">
                  <c:v>0.26</c:v>
                </c:pt>
                <c:pt idx="168">
                  <c:v>0.33</c:v>
                </c:pt>
                <c:pt idx="169">
                  <c:v>0.16</c:v>
                </c:pt>
                <c:pt idx="170">
                  <c:v>0.38</c:v>
                </c:pt>
                <c:pt idx="171">
                  <c:v>0.63</c:v>
                </c:pt>
                <c:pt idx="172">
                  <c:v>0.16</c:v>
                </c:pt>
                <c:pt idx="173">
                  <c:v>0.36</c:v>
                </c:pt>
                <c:pt idx="174">
                  <c:v>0.14000000000000001</c:v>
                </c:pt>
                <c:pt idx="175">
                  <c:v>0.24</c:v>
                </c:pt>
                <c:pt idx="176">
                  <c:v>0.37</c:v>
                </c:pt>
                <c:pt idx="177">
                  <c:v>0.48</c:v>
                </c:pt>
                <c:pt idx="178">
                  <c:v>0.28000000000000003</c:v>
                </c:pt>
                <c:pt idx="179">
                  <c:v>0.36</c:v>
                </c:pt>
                <c:pt idx="180">
                  <c:v>0.14000000000000001</c:v>
                </c:pt>
                <c:pt idx="181">
                  <c:v>0.2</c:v>
                </c:pt>
                <c:pt idx="182">
                  <c:v>0.47</c:v>
                </c:pt>
                <c:pt idx="183">
                  <c:v>0.44</c:v>
                </c:pt>
                <c:pt idx="184">
                  <c:v>0.22</c:v>
                </c:pt>
                <c:pt idx="185">
                  <c:v>0.28999999999999998</c:v>
                </c:pt>
                <c:pt idx="186">
                  <c:v>0.1</c:v>
                </c:pt>
                <c:pt idx="187">
                  <c:v>0.52</c:v>
                </c:pt>
                <c:pt idx="188">
                  <c:v>0.3</c:v>
                </c:pt>
                <c:pt idx="189">
                  <c:v>0.21</c:v>
                </c:pt>
                <c:pt idx="190">
                  <c:v>0.54</c:v>
                </c:pt>
                <c:pt idx="191">
                  <c:v>0.16</c:v>
                </c:pt>
                <c:pt idx="192">
                  <c:v>0.26</c:v>
                </c:pt>
                <c:pt idx="193">
                  <c:v>0.42</c:v>
                </c:pt>
                <c:pt idx="194">
                  <c:v>0.59</c:v>
                </c:pt>
                <c:pt idx="195">
                  <c:v>0.08</c:v>
                </c:pt>
                <c:pt idx="196">
                  <c:v>0.25</c:v>
                </c:pt>
                <c:pt idx="197">
                  <c:v>0.18</c:v>
                </c:pt>
                <c:pt idx="198">
                  <c:v>0.33</c:v>
                </c:pt>
                <c:pt idx="199">
                  <c:v>0.17</c:v>
                </c:pt>
                <c:pt idx="200">
                  <c:v>0.37</c:v>
                </c:pt>
                <c:pt idx="201">
                  <c:v>0.17</c:v>
                </c:pt>
                <c:pt idx="202">
                  <c:v>0.39</c:v>
                </c:pt>
                <c:pt idx="203">
                  <c:v>0.18</c:v>
                </c:pt>
                <c:pt idx="204">
                  <c:v>0.18</c:v>
                </c:pt>
                <c:pt idx="205">
                  <c:v>0.12</c:v>
                </c:pt>
                <c:pt idx="206">
                  <c:v>0.12</c:v>
                </c:pt>
                <c:pt idx="207">
                  <c:v>0.36</c:v>
                </c:pt>
                <c:pt idx="208">
                  <c:v>0.19</c:v>
                </c:pt>
                <c:pt idx="209">
                  <c:v>0.49</c:v>
                </c:pt>
                <c:pt idx="210">
                  <c:v>0.28000000000000003</c:v>
                </c:pt>
                <c:pt idx="211">
                  <c:v>0.23</c:v>
                </c:pt>
                <c:pt idx="212">
                  <c:v>0.13</c:v>
                </c:pt>
                <c:pt idx="213">
                  <c:v>0.41</c:v>
                </c:pt>
                <c:pt idx="214">
                  <c:v>0.19</c:v>
                </c:pt>
                <c:pt idx="215">
                  <c:v>0.4</c:v>
                </c:pt>
                <c:pt idx="216">
                  <c:v>0.18</c:v>
                </c:pt>
                <c:pt idx="217">
                  <c:v>0.1</c:v>
                </c:pt>
                <c:pt idx="218">
                  <c:v>0.32</c:v>
                </c:pt>
                <c:pt idx="219">
                  <c:v>0.19</c:v>
                </c:pt>
                <c:pt idx="220">
                  <c:v>0.09</c:v>
                </c:pt>
                <c:pt idx="221">
                  <c:v>0.2</c:v>
                </c:pt>
                <c:pt idx="222">
                  <c:v>0.19</c:v>
                </c:pt>
                <c:pt idx="223">
                  <c:v>0.41</c:v>
                </c:pt>
                <c:pt idx="224">
                  <c:v>0.5</c:v>
                </c:pt>
                <c:pt idx="225">
                  <c:v>0.32</c:v>
                </c:pt>
                <c:pt idx="226">
                  <c:v>0.09</c:v>
                </c:pt>
                <c:pt idx="227">
                  <c:v>0.21</c:v>
                </c:pt>
                <c:pt idx="228">
                  <c:v>0.08</c:v>
                </c:pt>
                <c:pt idx="229">
                  <c:v>0.16</c:v>
                </c:pt>
                <c:pt idx="230">
                  <c:v>0.24</c:v>
                </c:pt>
                <c:pt idx="231">
                  <c:v>0.27</c:v>
                </c:pt>
                <c:pt idx="232">
                  <c:v>0.1</c:v>
                </c:pt>
                <c:pt idx="233">
                  <c:v>0.08</c:v>
                </c:pt>
                <c:pt idx="234">
                  <c:v>0.35</c:v>
                </c:pt>
                <c:pt idx="235">
                  <c:v>0.12</c:v>
                </c:pt>
                <c:pt idx="236">
                  <c:v>0.18</c:v>
                </c:pt>
                <c:pt idx="237">
                  <c:v>0.06</c:v>
                </c:pt>
                <c:pt idx="238">
                  <c:v>0.22</c:v>
                </c:pt>
                <c:pt idx="239">
                  <c:v>0.08</c:v>
                </c:pt>
                <c:pt idx="240">
                  <c:v>0.16</c:v>
                </c:pt>
                <c:pt idx="241">
                  <c:v>0.17</c:v>
                </c:pt>
                <c:pt idx="242">
                  <c:v>0.08</c:v>
                </c:pt>
                <c:pt idx="243">
                  <c:v>0.1</c:v>
                </c:pt>
                <c:pt idx="244">
                  <c:v>0.19</c:v>
                </c:pt>
                <c:pt idx="245">
                  <c:v>0.3</c:v>
                </c:pt>
                <c:pt idx="246">
                  <c:v>0.06</c:v>
                </c:pt>
                <c:pt idx="247">
                  <c:v>0.16</c:v>
                </c:pt>
                <c:pt idx="248">
                  <c:v>0.08</c:v>
                </c:pt>
                <c:pt idx="249">
                  <c:v>0.05</c:v>
                </c:pt>
                <c:pt idx="250">
                  <c:v>0.21</c:v>
                </c:pt>
                <c:pt idx="251">
                  <c:v>0.24</c:v>
                </c:pt>
                <c:pt idx="252">
                  <c:v>0.06</c:v>
                </c:pt>
                <c:pt idx="253">
                  <c:v>0.06</c:v>
                </c:pt>
                <c:pt idx="254">
                  <c:v>0.2</c:v>
                </c:pt>
                <c:pt idx="255">
                  <c:v>0.1</c:v>
                </c:pt>
                <c:pt idx="256">
                  <c:v>0.33</c:v>
                </c:pt>
                <c:pt idx="257">
                  <c:v>0.22</c:v>
                </c:pt>
                <c:pt idx="258">
                  <c:v>0.08</c:v>
                </c:pt>
                <c:pt idx="259">
                  <c:v>0.14000000000000001</c:v>
                </c:pt>
                <c:pt idx="260">
                  <c:v>7.0000000000000007E-2</c:v>
                </c:pt>
                <c:pt idx="261">
                  <c:v>7.0000000000000007E-2</c:v>
                </c:pt>
                <c:pt idx="262">
                  <c:v>0.03</c:v>
                </c:pt>
                <c:pt idx="263">
                  <c:v>0.05</c:v>
                </c:pt>
                <c:pt idx="264">
                  <c:v>0.21</c:v>
                </c:pt>
                <c:pt idx="265">
                  <c:v>0.06</c:v>
                </c:pt>
                <c:pt idx="266">
                  <c:v>0.12</c:v>
                </c:pt>
                <c:pt idx="267">
                  <c:v>0.11</c:v>
                </c:pt>
                <c:pt idx="268">
                  <c:v>0.21</c:v>
                </c:pt>
                <c:pt idx="269">
                  <c:v>0.24</c:v>
                </c:pt>
                <c:pt idx="270">
                  <c:v>0.21</c:v>
                </c:pt>
                <c:pt idx="271">
                  <c:v>0.32</c:v>
                </c:pt>
                <c:pt idx="272">
                  <c:v>7.0000000000000007E-2</c:v>
                </c:pt>
                <c:pt idx="273">
                  <c:v>0.03</c:v>
                </c:pt>
                <c:pt idx="274">
                  <c:v>0.27</c:v>
                </c:pt>
                <c:pt idx="275">
                  <c:v>0.17</c:v>
                </c:pt>
                <c:pt idx="276">
                  <c:v>0.22</c:v>
                </c:pt>
                <c:pt idx="277">
                  <c:v>0.12</c:v>
                </c:pt>
                <c:pt idx="278">
                  <c:v>0.12</c:v>
                </c:pt>
                <c:pt idx="279">
                  <c:v>0.19</c:v>
                </c:pt>
                <c:pt idx="280">
                  <c:v>0.14000000000000001</c:v>
                </c:pt>
                <c:pt idx="281">
                  <c:v>0.08</c:v>
                </c:pt>
                <c:pt idx="282">
                  <c:v>0.2</c:v>
                </c:pt>
                <c:pt idx="283">
                  <c:v>0.05</c:v>
                </c:pt>
                <c:pt idx="284">
                  <c:v>0.3</c:v>
                </c:pt>
                <c:pt idx="285">
                  <c:v>0.11</c:v>
                </c:pt>
                <c:pt idx="286">
                  <c:v>0.14000000000000001</c:v>
                </c:pt>
                <c:pt idx="287">
                  <c:v>0.1</c:v>
                </c:pt>
                <c:pt idx="288">
                  <c:v>0.12</c:v>
                </c:pt>
                <c:pt idx="289">
                  <c:v>0.22</c:v>
                </c:pt>
                <c:pt idx="290">
                  <c:v>0.06</c:v>
                </c:pt>
                <c:pt idx="291">
                  <c:v>0.21</c:v>
                </c:pt>
                <c:pt idx="292">
                  <c:v>7.0000000000000007E-2</c:v>
                </c:pt>
                <c:pt idx="293">
                  <c:v>0.09</c:v>
                </c:pt>
                <c:pt idx="294">
                  <c:v>0.28999999999999998</c:v>
                </c:pt>
                <c:pt idx="295">
                  <c:v>0.12</c:v>
                </c:pt>
                <c:pt idx="296">
                  <c:v>0.16</c:v>
                </c:pt>
                <c:pt idx="297">
                  <c:v>0.12</c:v>
                </c:pt>
                <c:pt idx="298">
                  <c:v>7.0000000000000007E-2</c:v>
                </c:pt>
                <c:pt idx="299">
                  <c:v>0.04</c:v>
                </c:pt>
                <c:pt idx="300">
                  <c:v>0.04</c:v>
                </c:pt>
                <c:pt idx="301">
                  <c:v>0.2</c:v>
                </c:pt>
                <c:pt idx="302">
                  <c:v>0.05</c:v>
                </c:pt>
                <c:pt idx="303">
                  <c:v>7.0000000000000007E-2</c:v>
                </c:pt>
                <c:pt idx="304">
                  <c:v>0.11</c:v>
                </c:pt>
                <c:pt idx="305">
                  <c:v>0.22</c:v>
                </c:pt>
                <c:pt idx="306">
                  <c:v>0.13</c:v>
                </c:pt>
                <c:pt idx="307">
                  <c:v>0.05</c:v>
                </c:pt>
                <c:pt idx="308">
                  <c:v>0.15</c:v>
                </c:pt>
                <c:pt idx="309">
                  <c:v>0.06</c:v>
                </c:pt>
                <c:pt idx="310">
                  <c:v>0.05</c:v>
                </c:pt>
                <c:pt idx="311">
                  <c:v>0.08</c:v>
                </c:pt>
                <c:pt idx="312">
                  <c:v>0.19</c:v>
                </c:pt>
                <c:pt idx="313">
                  <c:v>0.18</c:v>
                </c:pt>
                <c:pt idx="314">
                  <c:v>0.09</c:v>
                </c:pt>
                <c:pt idx="315">
                  <c:v>0.13</c:v>
                </c:pt>
                <c:pt idx="316">
                  <c:v>0.08</c:v>
                </c:pt>
                <c:pt idx="317">
                  <c:v>0.14000000000000001</c:v>
                </c:pt>
                <c:pt idx="318">
                  <c:v>0.1</c:v>
                </c:pt>
                <c:pt idx="319">
                  <c:v>0.04</c:v>
                </c:pt>
                <c:pt idx="320">
                  <c:v>0.1</c:v>
                </c:pt>
                <c:pt idx="321">
                  <c:v>0.11</c:v>
                </c:pt>
                <c:pt idx="322">
                  <c:v>0.05</c:v>
                </c:pt>
                <c:pt idx="323">
                  <c:v>0.06</c:v>
                </c:pt>
                <c:pt idx="324">
                  <c:v>0.05</c:v>
                </c:pt>
                <c:pt idx="325">
                  <c:v>0.05</c:v>
                </c:pt>
                <c:pt idx="326">
                  <c:v>0.04</c:v>
                </c:pt>
                <c:pt idx="327">
                  <c:v>0.32</c:v>
                </c:pt>
                <c:pt idx="328">
                  <c:v>0.24</c:v>
                </c:pt>
                <c:pt idx="329">
                  <c:v>0.15</c:v>
                </c:pt>
                <c:pt idx="330">
                  <c:v>0.11</c:v>
                </c:pt>
                <c:pt idx="331">
                  <c:v>0.12</c:v>
                </c:pt>
                <c:pt idx="332">
                  <c:v>0.05</c:v>
                </c:pt>
                <c:pt idx="333">
                  <c:v>0.05</c:v>
                </c:pt>
                <c:pt idx="334">
                  <c:v>0.05</c:v>
                </c:pt>
                <c:pt idx="335">
                  <c:v>7.0000000000000007E-2</c:v>
                </c:pt>
                <c:pt idx="336">
                  <c:v>0.04</c:v>
                </c:pt>
                <c:pt idx="337">
                  <c:v>0.03</c:v>
                </c:pt>
                <c:pt idx="338">
                  <c:v>0.08</c:v>
                </c:pt>
                <c:pt idx="339">
                  <c:v>7.0000000000000007E-2</c:v>
                </c:pt>
                <c:pt idx="340">
                  <c:v>0.19</c:v>
                </c:pt>
                <c:pt idx="341">
                  <c:v>7.0000000000000007E-2</c:v>
                </c:pt>
                <c:pt idx="342">
                  <c:v>0.08</c:v>
                </c:pt>
                <c:pt idx="343">
                  <c:v>7.0000000000000007E-2</c:v>
                </c:pt>
                <c:pt idx="344">
                  <c:v>0.09</c:v>
                </c:pt>
                <c:pt idx="345">
                  <c:v>0.08</c:v>
                </c:pt>
                <c:pt idx="346">
                  <c:v>7.0000000000000007E-2</c:v>
                </c:pt>
                <c:pt idx="347">
                  <c:v>7.0000000000000007E-2</c:v>
                </c:pt>
                <c:pt idx="348">
                  <c:v>0.11</c:v>
                </c:pt>
                <c:pt idx="349">
                  <c:v>0.25</c:v>
                </c:pt>
                <c:pt idx="350">
                  <c:v>0.18</c:v>
                </c:pt>
                <c:pt idx="351">
                  <c:v>0.12</c:v>
                </c:pt>
                <c:pt idx="352">
                  <c:v>0.1</c:v>
                </c:pt>
                <c:pt idx="353">
                  <c:v>0.13</c:v>
                </c:pt>
                <c:pt idx="354">
                  <c:v>0.03</c:v>
                </c:pt>
                <c:pt idx="355">
                  <c:v>0.12</c:v>
                </c:pt>
                <c:pt idx="356">
                  <c:v>0.09</c:v>
                </c:pt>
                <c:pt idx="357">
                  <c:v>0.02</c:v>
                </c:pt>
                <c:pt idx="358">
                  <c:v>0.06</c:v>
                </c:pt>
                <c:pt idx="359">
                  <c:v>0.18</c:v>
                </c:pt>
                <c:pt idx="360">
                  <c:v>7.0000000000000007E-2</c:v>
                </c:pt>
                <c:pt idx="361">
                  <c:v>0.09</c:v>
                </c:pt>
                <c:pt idx="362">
                  <c:v>0.05</c:v>
                </c:pt>
                <c:pt idx="363">
                  <c:v>0.06</c:v>
                </c:pt>
                <c:pt idx="364">
                  <c:v>0.05</c:v>
                </c:pt>
                <c:pt idx="365">
                  <c:v>0.06</c:v>
                </c:pt>
                <c:pt idx="366">
                  <c:v>0.05</c:v>
                </c:pt>
                <c:pt idx="367">
                  <c:v>0.11</c:v>
                </c:pt>
                <c:pt idx="368">
                  <c:v>0.14000000000000001</c:v>
                </c:pt>
                <c:pt idx="369">
                  <c:v>0.02</c:v>
                </c:pt>
                <c:pt idx="370">
                  <c:v>0.02</c:v>
                </c:pt>
                <c:pt idx="371">
                  <c:v>0.11</c:v>
                </c:pt>
                <c:pt idx="372">
                  <c:v>0.04</c:v>
                </c:pt>
                <c:pt idx="373">
                  <c:v>0.16</c:v>
                </c:pt>
                <c:pt idx="374">
                  <c:v>0.06</c:v>
                </c:pt>
                <c:pt idx="375">
                  <c:v>0.04</c:v>
                </c:pt>
                <c:pt idx="376">
                  <c:v>0.08</c:v>
                </c:pt>
                <c:pt idx="377">
                  <c:v>0.06</c:v>
                </c:pt>
                <c:pt idx="378">
                  <c:v>0.08</c:v>
                </c:pt>
                <c:pt idx="379">
                  <c:v>7.0000000000000007E-2</c:v>
                </c:pt>
                <c:pt idx="380">
                  <c:v>0.16</c:v>
                </c:pt>
                <c:pt idx="381">
                  <c:v>0.03</c:v>
                </c:pt>
                <c:pt idx="382">
                  <c:v>0.03</c:v>
                </c:pt>
                <c:pt idx="383">
                  <c:v>0.17</c:v>
                </c:pt>
                <c:pt idx="384">
                  <c:v>0.06</c:v>
                </c:pt>
                <c:pt idx="385">
                  <c:v>7.0000000000000007E-2</c:v>
                </c:pt>
                <c:pt idx="386">
                  <c:v>0.06</c:v>
                </c:pt>
                <c:pt idx="387">
                  <c:v>0.04</c:v>
                </c:pt>
                <c:pt idx="388">
                  <c:v>0.13</c:v>
                </c:pt>
                <c:pt idx="389">
                  <c:v>0.12</c:v>
                </c:pt>
                <c:pt idx="390">
                  <c:v>0.08</c:v>
                </c:pt>
                <c:pt idx="391">
                  <c:v>0.09</c:v>
                </c:pt>
                <c:pt idx="392">
                  <c:v>0.05</c:v>
                </c:pt>
                <c:pt idx="393">
                  <c:v>0.03</c:v>
                </c:pt>
                <c:pt idx="394">
                  <c:v>0.1</c:v>
                </c:pt>
                <c:pt idx="395">
                  <c:v>0.06</c:v>
                </c:pt>
                <c:pt idx="396">
                  <c:v>0.01</c:v>
                </c:pt>
                <c:pt idx="397">
                  <c:v>0.05</c:v>
                </c:pt>
                <c:pt idx="398">
                  <c:v>0.02</c:v>
                </c:pt>
                <c:pt idx="399">
                  <c:v>0.1</c:v>
                </c:pt>
                <c:pt idx="400">
                  <c:v>0.32</c:v>
                </c:pt>
                <c:pt idx="401">
                  <c:v>0.09</c:v>
                </c:pt>
                <c:pt idx="402">
                  <c:v>0.03</c:v>
                </c:pt>
                <c:pt idx="403">
                  <c:v>0.03</c:v>
                </c:pt>
                <c:pt idx="404">
                  <c:v>0.01</c:v>
                </c:pt>
                <c:pt idx="405">
                  <c:v>0.03</c:v>
                </c:pt>
                <c:pt idx="406">
                  <c:v>0.2</c:v>
                </c:pt>
                <c:pt idx="407">
                  <c:v>0.05</c:v>
                </c:pt>
                <c:pt idx="408">
                  <c:v>7.0000000000000007E-2</c:v>
                </c:pt>
                <c:pt idx="409">
                  <c:v>0.03</c:v>
                </c:pt>
                <c:pt idx="410">
                  <c:v>0.13</c:v>
                </c:pt>
                <c:pt idx="411">
                  <c:v>0.05</c:v>
                </c:pt>
                <c:pt idx="412">
                  <c:v>0.19</c:v>
                </c:pt>
                <c:pt idx="413">
                  <c:v>0.08</c:v>
                </c:pt>
                <c:pt idx="414">
                  <c:v>0.03</c:v>
                </c:pt>
                <c:pt idx="415">
                  <c:v>0.03</c:v>
                </c:pt>
                <c:pt idx="416">
                  <c:v>0.09</c:v>
                </c:pt>
                <c:pt idx="417">
                  <c:v>7.0000000000000007E-2</c:v>
                </c:pt>
                <c:pt idx="418">
                  <c:v>0.53</c:v>
                </c:pt>
                <c:pt idx="419">
                  <c:v>0.09</c:v>
                </c:pt>
                <c:pt idx="420">
                  <c:v>0.08</c:v>
                </c:pt>
                <c:pt idx="421">
                  <c:v>0.03</c:v>
                </c:pt>
                <c:pt idx="422">
                  <c:v>0.16</c:v>
                </c:pt>
                <c:pt idx="423">
                  <c:v>0.11</c:v>
                </c:pt>
                <c:pt idx="424">
                  <c:v>0.13</c:v>
                </c:pt>
                <c:pt idx="425">
                  <c:v>7.0000000000000007E-2</c:v>
                </c:pt>
                <c:pt idx="426">
                  <c:v>7.0000000000000007E-2</c:v>
                </c:pt>
                <c:pt idx="427">
                  <c:v>0.01</c:v>
                </c:pt>
                <c:pt idx="428">
                  <c:v>0.04</c:v>
                </c:pt>
                <c:pt idx="429">
                  <c:v>0.06</c:v>
                </c:pt>
                <c:pt idx="430">
                  <c:v>0.03</c:v>
                </c:pt>
                <c:pt idx="431">
                  <c:v>0.03</c:v>
                </c:pt>
                <c:pt idx="432">
                  <c:v>0.05</c:v>
                </c:pt>
                <c:pt idx="433">
                  <c:v>0.03</c:v>
                </c:pt>
                <c:pt idx="434">
                  <c:v>0.06</c:v>
                </c:pt>
                <c:pt idx="435">
                  <c:v>0.02</c:v>
                </c:pt>
                <c:pt idx="436">
                  <c:v>0.11</c:v>
                </c:pt>
                <c:pt idx="437">
                  <c:v>0.06</c:v>
                </c:pt>
                <c:pt idx="438">
                  <c:v>0.03</c:v>
                </c:pt>
                <c:pt idx="439">
                  <c:v>7.0000000000000007E-2</c:v>
                </c:pt>
                <c:pt idx="440">
                  <c:v>0.09</c:v>
                </c:pt>
                <c:pt idx="441">
                  <c:v>0.05</c:v>
                </c:pt>
                <c:pt idx="442">
                  <c:v>0.02</c:v>
                </c:pt>
                <c:pt idx="443">
                  <c:v>0.15</c:v>
                </c:pt>
                <c:pt idx="444">
                  <c:v>0.12</c:v>
                </c:pt>
                <c:pt idx="445">
                  <c:v>0.06</c:v>
                </c:pt>
                <c:pt idx="446">
                  <c:v>0.01</c:v>
                </c:pt>
                <c:pt idx="447">
                  <c:v>0.1</c:v>
                </c:pt>
                <c:pt idx="448">
                  <c:v>0.06</c:v>
                </c:pt>
                <c:pt idx="449">
                  <c:v>0.04</c:v>
                </c:pt>
                <c:pt idx="450">
                  <c:v>0.09</c:v>
                </c:pt>
                <c:pt idx="451">
                  <c:v>0.05</c:v>
                </c:pt>
                <c:pt idx="452">
                  <c:v>7.0000000000000007E-2</c:v>
                </c:pt>
                <c:pt idx="453">
                  <c:v>0.04</c:v>
                </c:pt>
                <c:pt idx="454">
                  <c:v>0.05</c:v>
                </c:pt>
                <c:pt idx="455">
                  <c:v>0.01</c:v>
                </c:pt>
                <c:pt idx="456">
                  <c:v>0.03</c:v>
                </c:pt>
                <c:pt idx="457">
                  <c:v>0.02</c:v>
                </c:pt>
                <c:pt idx="458">
                  <c:v>0.03</c:v>
                </c:pt>
                <c:pt idx="459">
                  <c:v>0.05</c:v>
                </c:pt>
                <c:pt idx="460">
                  <c:v>0.02</c:v>
                </c:pt>
                <c:pt idx="461">
                  <c:v>0.03</c:v>
                </c:pt>
                <c:pt idx="462">
                  <c:v>0.03</c:v>
                </c:pt>
                <c:pt idx="463">
                  <c:v>0.1</c:v>
                </c:pt>
                <c:pt idx="464">
                  <c:v>0.04</c:v>
                </c:pt>
                <c:pt idx="465">
                  <c:v>0.05</c:v>
                </c:pt>
                <c:pt idx="466">
                  <c:v>0.05</c:v>
                </c:pt>
                <c:pt idx="467">
                  <c:v>0.01</c:v>
                </c:pt>
                <c:pt idx="468">
                  <c:v>0.04</c:v>
                </c:pt>
                <c:pt idx="469">
                  <c:v>0.03</c:v>
                </c:pt>
                <c:pt idx="470">
                  <c:v>0.11</c:v>
                </c:pt>
                <c:pt idx="471">
                  <c:v>0.02</c:v>
                </c:pt>
                <c:pt idx="472">
                  <c:v>0.02</c:v>
                </c:pt>
                <c:pt idx="473">
                  <c:v>7.0000000000000007E-2</c:v>
                </c:pt>
                <c:pt idx="474">
                  <c:v>0.05</c:v>
                </c:pt>
                <c:pt idx="475">
                  <c:v>0.01</c:v>
                </c:pt>
                <c:pt idx="476">
                  <c:v>0.06</c:v>
                </c:pt>
                <c:pt idx="477">
                  <c:v>0.06</c:v>
                </c:pt>
                <c:pt idx="478">
                  <c:v>7.0000000000000007E-2</c:v>
                </c:pt>
                <c:pt idx="479">
                  <c:v>0.12</c:v>
                </c:pt>
                <c:pt idx="480">
                  <c:v>0.03</c:v>
                </c:pt>
                <c:pt idx="481">
                  <c:v>7.0000000000000007E-2</c:v>
                </c:pt>
                <c:pt idx="482">
                  <c:v>0.08</c:v>
                </c:pt>
                <c:pt idx="483">
                  <c:v>7.0000000000000007E-2</c:v>
                </c:pt>
                <c:pt idx="484">
                  <c:v>0.01</c:v>
                </c:pt>
                <c:pt idx="485">
                  <c:v>0.02</c:v>
                </c:pt>
                <c:pt idx="486">
                  <c:v>0.02</c:v>
                </c:pt>
                <c:pt idx="487">
                  <c:v>0.01</c:v>
                </c:pt>
                <c:pt idx="488">
                  <c:v>0.03</c:v>
                </c:pt>
                <c:pt idx="489">
                  <c:v>7.0000000000000007E-2</c:v>
                </c:pt>
                <c:pt idx="490">
                  <c:v>0.05</c:v>
                </c:pt>
                <c:pt idx="491">
                  <c:v>0.02</c:v>
                </c:pt>
                <c:pt idx="492">
                  <c:v>0.09</c:v>
                </c:pt>
                <c:pt idx="493">
                  <c:v>0.04</c:v>
                </c:pt>
                <c:pt idx="494">
                  <c:v>0.02</c:v>
                </c:pt>
                <c:pt idx="495">
                  <c:v>0.01</c:v>
                </c:pt>
                <c:pt idx="496">
                  <c:v>0.01</c:v>
                </c:pt>
                <c:pt idx="497">
                  <c:v>0.03</c:v>
                </c:pt>
                <c:pt idx="498">
                  <c:v>0.02</c:v>
                </c:pt>
                <c:pt idx="499">
                  <c:v>0.01</c:v>
                </c:pt>
                <c:pt idx="500">
                  <c:v>0.08</c:v>
                </c:pt>
                <c:pt idx="501">
                  <c:v>0.02</c:v>
                </c:pt>
                <c:pt idx="502">
                  <c:v>0.01</c:v>
                </c:pt>
                <c:pt idx="503">
                  <c:v>0.03</c:v>
                </c:pt>
                <c:pt idx="504">
                  <c:v>0.05</c:v>
                </c:pt>
                <c:pt idx="505">
                  <c:v>0.18</c:v>
                </c:pt>
                <c:pt idx="506">
                  <c:v>0.05</c:v>
                </c:pt>
                <c:pt idx="507">
                  <c:v>0.03</c:v>
                </c:pt>
                <c:pt idx="508">
                  <c:v>0.11</c:v>
                </c:pt>
                <c:pt idx="509">
                  <c:v>0.02</c:v>
                </c:pt>
                <c:pt idx="510">
                  <c:v>0.01</c:v>
                </c:pt>
                <c:pt idx="511">
                  <c:v>0.04</c:v>
                </c:pt>
                <c:pt idx="512">
                  <c:v>0.04</c:v>
                </c:pt>
                <c:pt idx="513">
                  <c:v>0.05</c:v>
                </c:pt>
                <c:pt idx="514">
                  <c:v>0.01</c:v>
                </c:pt>
                <c:pt idx="515">
                  <c:v>0.01</c:v>
                </c:pt>
                <c:pt idx="516">
                  <c:v>7.0000000000000007E-2</c:v>
                </c:pt>
                <c:pt idx="517">
                  <c:v>0.03</c:v>
                </c:pt>
                <c:pt idx="518">
                  <c:v>0.01</c:v>
                </c:pt>
                <c:pt idx="519">
                  <c:v>0.06</c:v>
                </c:pt>
                <c:pt idx="520">
                  <c:v>0.08</c:v>
                </c:pt>
                <c:pt idx="521">
                  <c:v>0.04</c:v>
                </c:pt>
                <c:pt idx="522">
                  <c:v>0.02</c:v>
                </c:pt>
                <c:pt idx="523">
                  <c:v>0.03</c:v>
                </c:pt>
                <c:pt idx="524">
                  <c:v>0.08</c:v>
                </c:pt>
                <c:pt idx="525">
                  <c:v>0.02</c:v>
                </c:pt>
                <c:pt idx="526">
                  <c:v>0.01</c:v>
                </c:pt>
                <c:pt idx="527">
                  <c:v>0.01</c:v>
                </c:pt>
                <c:pt idx="528">
                  <c:v>0.04</c:v>
                </c:pt>
                <c:pt idx="529">
                  <c:v>0.04</c:v>
                </c:pt>
                <c:pt idx="530">
                  <c:v>0.05</c:v>
                </c:pt>
                <c:pt idx="531">
                  <c:v>0.03</c:v>
                </c:pt>
                <c:pt idx="532">
                  <c:v>0.11</c:v>
                </c:pt>
                <c:pt idx="533">
                  <c:v>0.02</c:v>
                </c:pt>
                <c:pt idx="534">
                  <c:v>0.02</c:v>
                </c:pt>
                <c:pt idx="535">
                  <c:v>0.02</c:v>
                </c:pt>
                <c:pt idx="536">
                  <c:v>0.01</c:v>
                </c:pt>
                <c:pt idx="537">
                  <c:v>0.05</c:v>
                </c:pt>
                <c:pt idx="538">
                  <c:v>0.02</c:v>
                </c:pt>
                <c:pt idx="539">
                  <c:v>0.03</c:v>
                </c:pt>
                <c:pt idx="540">
                  <c:v>0.06</c:v>
                </c:pt>
                <c:pt idx="541">
                  <c:v>0.02</c:v>
                </c:pt>
                <c:pt idx="542">
                  <c:v>0.02</c:v>
                </c:pt>
                <c:pt idx="543">
                  <c:v>0.01</c:v>
                </c:pt>
                <c:pt idx="544">
                  <c:v>0.04</c:v>
                </c:pt>
                <c:pt idx="545">
                  <c:v>0.02</c:v>
                </c:pt>
                <c:pt idx="546">
                  <c:v>0.09</c:v>
                </c:pt>
                <c:pt idx="547">
                  <c:v>0.01</c:v>
                </c:pt>
                <c:pt idx="548">
                  <c:v>0.04</c:v>
                </c:pt>
                <c:pt idx="549">
                  <c:v>0.05</c:v>
                </c:pt>
                <c:pt idx="550">
                  <c:v>0.01</c:v>
                </c:pt>
                <c:pt idx="551">
                  <c:v>0.02</c:v>
                </c:pt>
                <c:pt idx="552">
                  <c:v>0.01</c:v>
                </c:pt>
                <c:pt idx="553">
                  <c:v>0.01</c:v>
                </c:pt>
                <c:pt idx="554">
                  <c:v>0.02</c:v>
                </c:pt>
                <c:pt idx="555">
                  <c:v>0.04</c:v>
                </c:pt>
                <c:pt idx="556">
                  <c:v>0.03</c:v>
                </c:pt>
                <c:pt idx="557">
                  <c:v>0.01</c:v>
                </c:pt>
                <c:pt idx="558">
                  <c:v>0.01</c:v>
                </c:pt>
                <c:pt idx="559">
                  <c:v>0.01</c:v>
                </c:pt>
                <c:pt idx="560">
                  <c:v>7.0000000000000007E-2</c:v>
                </c:pt>
                <c:pt idx="561">
                  <c:v>0.01</c:v>
                </c:pt>
                <c:pt idx="562">
                  <c:v>0.01</c:v>
                </c:pt>
                <c:pt idx="563">
                  <c:v>0.04</c:v>
                </c:pt>
                <c:pt idx="564">
                  <c:v>0.02</c:v>
                </c:pt>
                <c:pt idx="565">
                  <c:v>0.01</c:v>
                </c:pt>
                <c:pt idx="566">
                  <c:v>0.03</c:v>
                </c:pt>
                <c:pt idx="567">
                  <c:v>0.01</c:v>
                </c:pt>
                <c:pt idx="568">
                  <c:v>0.01</c:v>
                </c:pt>
                <c:pt idx="569">
                  <c:v>0.02</c:v>
                </c:pt>
                <c:pt idx="570">
                  <c:v>0.03</c:v>
                </c:pt>
                <c:pt idx="571">
                  <c:v>0.04</c:v>
                </c:pt>
                <c:pt idx="572">
                  <c:v>0.01</c:v>
                </c:pt>
                <c:pt idx="573">
                  <c:v>0.03</c:v>
                </c:pt>
                <c:pt idx="574">
                  <c:v>0.06</c:v>
                </c:pt>
                <c:pt idx="575">
                  <c:v>0.01</c:v>
                </c:pt>
                <c:pt idx="576">
                  <c:v>0.03</c:v>
                </c:pt>
                <c:pt idx="577">
                  <c:v>0.04</c:v>
                </c:pt>
                <c:pt idx="578">
                  <c:v>0.02</c:v>
                </c:pt>
                <c:pt idx="579">
                  <c:v>0.03</c:v>
                </c:pt>
                <c:pt idx="580">
                  <c:v>0.02</c:v>
                </c:pt>
                <c:pt idx="581">
                  <c:v>0.01</c:v>
                </c:pt>
                <c:pt idx="582">
                  <c:v>0.02</c:v>
                </c:pt>
                <c:pt idx="583">
                  <c:v>0.02</c:v>
                </c:pt>
                <c:pt idx="584">
                  <c:v>0.01</c:v>
                </c:pt>
                <c:pt idx="585">
                  <c:v>0.03</c:v>
                </c:pt>
                <c:pt idx="586">
                  <c:v>0.03</c:v>
                </c:pt>
                <c:pt idx="587">
                  <c:v>0.03</c:v>
                </c:pt>
                <c:pt idx="588">
                  <c:v>0.05</c:v>
                </c:pt>
                <c:pt idx="589">
                  <c:v>0.04</c:v>
                </c:pt>
                <c:pt idx="590">
                  <c:v>0.02</c:v>
                </c:pt>
                <c:pt idx="591">
                  <c:v>0.01</c:v>
                </c:pt>
                <c:pt idx="592">
                  <c:v>0.16</c:v>
                </c:pt>
                <c:pt idx="593">
                  <c:v>0.02</c:v>
                </c:pt>
                <c:pt idx="594">
                  <c:v>0.02</c:v>
                </c:pt>
                <c:pt idx="595">
                  <c:v>0.01</c:v>
                </c:pt>
                <c:pt idx="596">
                  <c:v>0.04</c:v>
                </c:pt>
                <c:pt idx="597">
                  <c:v>0.03</c:v>
                </c:pt>
                <c:pt idx="598">
                  <c:v>0.01</c:v>
                </c:pt>
                <c:pt idx="599">
                  <c:v>0.01</c:v>
                </c:pt>
                <c:pt idx="600">
                  <c:v>0.01</c:v>
                </c:pt>
                <c:pt idx="601">
                  <c:v>0.01</c:v>
                </c:pt>
                <c:pt idx="602">
                  <c:v>0.01</c:v>
                </c:pt>
                <c:pt idx="603">
                  <c:v>0.01</c:v>
                </c:pt>
                <c:pt idx="604">
                  <c:v>0.01</c:v>
                </c:pt>
                <c:pt idx="605">
                  <c:v>0.01</c:v>
                </c:pt>
                <c:pt idx="606">
                  <c:v>0.02</c:v>
                </c:pt>
                <c:pt idx="607">
                  <c:v>0.01</c:v>
                </c:pt>
                <c:pt idx="608">
                  <c:v>0.01</c:v>
                </c:pt>
                <c:pt idx="609">
                  <c:v>0.01</c:v>
                </c:pt>
                <c:pt idx="610">
                  <c:v>0.01</c:v>
                </c:pt>
                <c:pt idx="611">
                  <c:v>0.01</c:v>
                </c:pt>
                <c:pt idx="612">
                  <c:v>0.01</c:v>
                </c:pt>
                <c:pt idx="613">
                  <c:v>0.03</c:v>
                </c:pt>
                <c:pt idx="614">
                  <c:v>0.02</c:v>
                </c:pt>
                <c:pt idx="615">
                  <c:v>0.03</c:v>
                </c:pt>
                <c:pt idx="616">
                  <c:v>0.03</c:v>
                </c:pt>
                <c:pt idx="617">
                  <c:v>0.01</c:v>
                </c:pt>
                <c:pt idx="618">
                  <c:v>0.01</c:v>
                </c:pt>
                <c:pt idx="619">
                  <c:v>0.02</c:v>
                </c:pt>
                <c:pt idx="620">
                  <c:v>0.01</c:v>
                </c:pt>
                <c:pt idx="621">
                  <c:v>0.04</c:v>
                </c:pt>
                <c:pt idx="622">
                  <c:v>0.02</c:v>
                </c:pt>
                <c:pt idx="623">
                  <c:v>0.01</c:v>
                </c:pt>
                <c:pt idx="624">
                  <c:v>0.01</c:v>
                </c:pt>
                <c:pt idx="625">
                  <c:v>0.03</c:v>
                </c:pt>
                <c:pt idx="626">
                  <c:v>0.01</c:v>
                </c:pt>
                <c:pt idx="627">
                  <c:v>0.04</c:v>
                </c:pt>
                <c:pt idx="628">
                  <c:v>0.01</c:v>
                </c:pt>
                <c:pt idx="629">
                  <c:v>0.01</c:v>
                </c:pt>
                <c:pt idx="630">
                  <c:v>0.01</c:v>
                </c:pt>
                <c:pt idx="631">
                  <c:v>0.08</c:v>
                </c:pt>
                <c:pt idx="632">
                  <c:v>0.03</c:v>
                </c:pt>
                <c:pt idx="633">
                  <c:v>0.03</c:v>
                </c:pt>
                <c:pt idx="634">
                  <c:v>0.03</c:v>
                </c:pt>
                <c:pt idx="635">
                  <c:v>0.01</c:v>
                </c:pt>
                <c:pt idx="636">
                  <c:v>0.03</c:v>
                </c:pt>
                <c:pt idx="637">
                  <c:v>0.01</c:v>
                </c:pt>
                <c:pt idx="638">
                  <c:v>0.01</c:v>
                </c:pt>
                <c:pt idx="639">
                  <c:v>0.01</c:v>
                </c:pt>
                <c:pt idx="640">
                  <c:v>0.01</c:v>
                </c:pt>
                <c:pt idx="641">
                  <c:v>0.03</c:v>
                </c:pt>
                <c:pt idx="642">
                  <c:v>0.02</c:v>
                </c:pt>
                <c:pt idx="643">
                  <c:v>0.01</c:v>
                </c:pt>
                <c:pt idx="644">
                  <c:v>0.02</c:v>
                </c:pt>
                <c:pt idx="645">
                  <c:v>0.02</c:v>
                </c:pt>
                <c:pt idx="646">
                  <c:v>0.02</c:v>
                </c:pt>
                <c:pt idx="647">
                  <c:v>0.03</c:v>
                </c:pt>
                <c:pt idx="648">
                  <c:v>0.06</c:v>
                </c:pt>
                <c:pt idx="649">
                  <c:v>0.01</c:v>
                </c:pt>
                <c:pt idx="650">
                  <c:v>0.01</c:v>
                </c:pt>
                <c:pt idx="651">
                  <c:v>0.01</c:v>
                </c:pt>
                <c:pt idx="652">
                  <c:v>0.03</c:v>
                </c:pt>
                <c:pt idx="653">
                  <c:v>0.02</c:v>
                </c:pt>
                <c:pt idx="654">
                  <c:v>0.02</c:v>
                </c:pt>
                <c:pt idx="655">
                  <c:v>0.01</c:v>
                </c:pt>
                <c:pt idx="656">
                  <c:v>0.02</c:v>
                </c:pt>
                <c:pt idx="657">
                  <c:v>0.02</c:v>
                </c:pt>
                <c:pt idx="658">
                  <c:v>0.02</c:v>
                </c:pt>
                <c:pt idx="659">
                  <c:v>0.03</c:v>
                </c:pt>
                <c:pt idx="660">
                  <c:v>0.01</c:v>
                </c:pt>
                <c:pt idx="661">
                  <c:v>0.01</c:v>
                </c:pt>
                <c:pt idx="662">
                  <c:v>0.04</c:v>
                </c:pt>
                <c:pt idx="663">
                  <c:v>0.02</c:v>
                </c:pt>
                <c:pt idx="664">
                  <c:v>0.02</c:v>
                </c:pt>
                <c:pt idx="665">
                  <c:v>0.02</c:v>
                </c:pt>
                <c:pt idx="666">
                  <c:v>0.02</c:v>
                </c:pt>
                <c:pt idx="667">
                  <c:v>0.05</c:v>
                </c:pt>
                <c:pt idx="668">
                  <c:v>0.02</c:v>
                </c:pt>
                <c:pt idx="669">
                  <c:v>0.01</c:v>
                </c:pt>
                <c:pt idx="670">
                  <c:v>0.01</c:v>
                </c:pt>
                <c:pt idx="671">
                  <c:v>0.03</c:v>
                </c:pt>
                <c:pt idx="672">
                  <c:v>0.01</c:v>
                </c:pt>
                <c:pt idx="673">
                  <c:v>0.01</c:v>
                </c:pt>
                <c:pt idx="674">
                  <c:v>0.01</c:v>
                </c:pt>
                <c:pt idx="675">
                  <c:v>0.02</c:v>
                </c:pt>
                <c:pt idx="676">
                  <c:v>0.02</c:v>
                </c:pt>
                <c:pt idx="677">
                  <c:v>0.02</c:v>
                </c:pt>
                <c:pt idx="678">
                  <c:v>0.11</c:v>
                </c:pt>
                <c:pt idx="679">
                  <c:v>0.01</c:v>
                </c:pt>
                <c:pt idx="680">
                  <c:v>0.03</c:v>
                </c:pt>
                <c:pt idx="681">
                  <c:v>0.03</c:v>
                </c:pt>
                <c:pt idx="682">
                  <c:v>0.01</c:v>
                </c:pt>
                <c:pt idx="683">
                  <c:v>0.02</c:v>
                </c:pt>
                <c:pt idx="684">
                  <c:v>0.02</c:v>
                </c:pt>
                <c:pt idx="685">
                  <c:v>0.01</c:v>
                </c:pt>
                <c:pt idx="686">
                  <c:v>0.01</c:v>
                </c:pt>
                <c:pt idx="687">
                  <c:v>0.02</c:v>
                </c:pt>
                <c:pt idx="688">
                  <c:v>0.02</c:v>
                </c:pt>
                <c:pt idx="689">
                  <c:v>0.01</c:v>
                </c:pt>
                <c:pt idx="690">
                  <c:v>0.01</c:v>
                </c:pt>
                <c:pt idx="691">
                  <c:v>0.01</c:v>
                </c:pt>
                <c:pt idx="692">
                  <c:v>0.01</c:v>
                </c:pt>
                <c:pt idx="693">
                  <c:v>0.01</c:v>
                </c:pt>
                <c:pt idx="694">
                  <c:v>0.01</c:v>
                </c:pt>
                <c:pt idx="695">
                  <c:v>0.01</c:v>
                </c:pt>
                <c:pt idx="696">
                  <c:v>0.01</c:v>
                </c:pt>
                <c:pt idx="697">
                  <c:v>0.02</c:v>
                </c:pt>
                <c:pt idx="698">
                  <c:v>0.01</c:v>
                </c:pt>
                <c:pt idx="699">
                  <c:v>0.01</c:v>
                </c:pt>
                <c:pt idx="700">
                  <c:v>0.02</c:v>
                </c:pt>
                <c:pt idx="701">
                  <c:v>0.03</c:v>
                </c:pt>
                <c:pt idx="702">
                  <c:v>0.01</c:v>
                </c:pt>
                <c:pt idx="703">
                  <c:v>0.01</c:v>
                </c:pt>
                <c:pt idx="704">
                  <c:v>0.01</c:v>
                </c:pt>
                <c:pt idx="705">
                  <c:v>0.04</c:v>
                </c:pt>
                <c:pt idx="706">
                  <c:v>0.01</c:v>
                </c:pt>
                <c:pt idx="707">
                  <c:v>0.01</c:v>
                </c:pt>
                <c:pt idx="708">
                  <c:v>0.01</c:v>
                </c:pt>
                <c:pt idx="709">
                  <c:v>0.01</c:v>
                </c:pt>
                <c:pt idx="710">
                  <c:v>0.01</c:v>
                </c:pt>
                <c:pt idx="711">
                  <c:v>0.01</c:v>
                </c:pt>
                <c:pt idx="712">
                  <c:v>0.01</c:v>
                </c:pt>
                <c:pt idx="713">
                  <c:v>0.01</c:v>
                </c:pt>
                <c:pt idx="714">
                  <c:v>0.02</c:v>
                </c:pt>
                <c:pt idx="715">
                  <c:v>0.03</c:v>
                </c:pt>
                <c:pt idx="716">
                  <c:v>0.01</c:v>
                </c:pt>
                <c:pt idx="717">
                  <c:v>0.02</c:v>
                </c:pt>
                <c:pt idx="718">
                  <c:v>0.06</c:v>
                </c:pt>
                <c:pt idx="719">
                  <c:v>0.01</c:v>
                </c:pt>
                <c:pt idx="720">
                  <c:v>0.04</c:v>
                </c:pt>
                <c:pt idx="721">
                  <c:v>0.02</c:v>
                </c:pt>
                <c:pt idx="722">
                  <c:v>0.01</c:v>
                </c:pt>
                <c:pt idx="723">
                  <c:v>0.04</c:v>
                </c:pt>
                <c:pt idx="724">
                  <c:v>0.01</c:v>
                </c:pt>
                <c:pt idx="725">
                  <c:v>0.02</c:v>
                </c:pt>
                <c:pt idx="726">
                  <c:v>0.02</c:v>
                </c:pt>
                <c:pt idx="727">
                  <c:v>0.02</c:v>
                </c:pt>
                <c:pt idx="728">
                  <c:v>0.01</c:v>
                </c:pt>
                <c:pt idx="729">
                  <c:v>0.01</c:v>
                </c:pt>
                <c:pt idx="730">
                  <c:v>0.01</c:v>
                </c:pt>
                <c:pt idx="731">
                  <c:v>0.01</c:v>
                </c:pt>
                <c:pt idx="732">
                  <c:v>0.02</c:v>
                </c:pt>
                <c:pt idx="733">
                  <c:v>0.01</c:v>
                </c:pt>
                <c:pt idx="734">
                  <c:v>0.01</c:v>
                </c:pt>
                <c:pt idx="735">
                  <c:v>0.01</c:v>
                </c:pt>
                <c:pt idx="736">
                  <c:v>0.1</c:v>
                </c:pt>
                <c:pt idx="737">
                  <c:v>0.03</c:v>
                </c:pt>
                <c:pt idx="738">
                  <c:v>0.01</c:v>
                </c:pt>
                <c:pt idx="739">
                  <c:v>0.01</c:v>
                </c:pt>
                <c:pt idx="740">
                  <c:v>0.01</c:v>
                </c:pt>
                <c:pt idx="741">
                  <c:v>0.01</c:v>
                </c:pt>
                <c:pt idx="742">
                  <c:v>0.01</c:v>
                </c:pt>
                <c:pt idx="743">
                  <c:v>0.04</c:v>
                </c:pt>
                <c:pt idx="744">
                  <c:v>0.01</c:v>
                </c:pt>
                <c:pt idx="745">
                  <c:v>0.02</c:v>
                </c:pt>
                <c:pt idx="746">
                  <c:v>0.01</c:v>
                </c:pt>
                <c:pt idx="747">
                  <c:v>0.01</c:v>
                </c:pt>
                <c:pt idx="748">
                  <c:v>0.01</c:v>
                </c:pt>
                <c:pt idx="749">
                  <c:v>0.01</c:v>
                </c:pt>
                <c:pt idx="750">
                  <c:v>0.01</c:v>
                </c:pt>
                <c:pt idx="751">
                  <c:v>0.01</c:v>
                </c:pt>
                <c:pt idx="752">
                  <c:v>0.01</c:v>
                </c:pt>
                <c:pt idx="753">
                  <c:v>0.01</c:v>
                </c:pt>
                <c:pt idx="754">
                  <c:v>0.01</c:v>
                </c:pt>
                <c:pt idx="755">
                  <c:v>0.01</c:v>
                </c:pt>
                <c:pt idx="756">
                  <c:v>0.01</c:v>
                </c:pt>
                <c:pt idx="757">
                  <c:v>0.01</c:v>
                </c:pt>
                <c:pt idx="758">
                  <c:v>0.01</c:v>
                </c:pt>
                <c:pt idx="759">
                  <c:v>0.01</c:v>
                </c:pt>
                <c:pt idx="760">
                  <c:v>0.01</c:v>
                </c:pt>
                <c:pt idx="761">
                  <c:v>0.01</c:v>
                </c:pt>
                <c:pt idx="762">
                  <c:v>0.01</c:v>
                </c:pt>
                <c:pt idx="763">
                  <c:v>0.01</c:v>
                </c:pt>
                <c:pt idx="764">
                  <c:v>7.0000000000000007E-2</c:v>
                </c:pt>
                <c:pt idx="765">
                  <c:v>0.01</c:v>
                </c:pt>
                <c:pt idx="766">
                  <c:v>0.01</c:v>
                </c:pt>
                <c:pt idx="767">
                  <c:v>0.01</c:v>
                </c:pt>
                <c:pt idx="768">
                  <c:v>0.01</c:v>
                </c:pt>
                <c:pt idx="769">
                  <c:v>0.01</c:v>
                </c:pt>
                <c:pt idx="770">
                  <c:v>0.01</c:v>
                </c:pt>
                <c:pt idx="771">
                  <c:v>0.01</c:v>
                </c:pt>
                <c:pt idx="772">
                  <c:v>0.01</c:v>
                </c:pt>
                <c:pt idx="773">
                  <c:v>0.01</c:v>
                </c:pt>
                <c:pt idx="774">
                  <c:v>0.01</c:v>
                </c:pt>
                <c:pt idx="775">
                  <c:v>0.01</c:v>
                </c:pt>
                <c:pt idx="776">
                  <c:v>0.01</c:v>
                </c:pt>
                <c:pt idx="777">
                  <c:v>0.01</c:v>
                </c:pt>
                <c:pt idx="778">
                  <c:v>0.01</c:v>
                </c:pt>
                <c:pt idx="779">
                  <c:v>0.01</c:v>
                </c:pt>
                <c:pt idx="780">
                  <c:v>0.05</c:v>
                </c:pt>
                <c:pt idx="781">
                  <c:v>0.01</c:v>
                </c:pt>
                <c:pt idx="782">
                  <c:v>0.01</c:v>
                </c:pt>
                <c:pt idx="783">
                  <c:v>0.01</c:v>
                </c:pt>
                <c:pt idx="784">
                  <c:v>0.01</c:v>
                </c:pt>
                <c:pt idx="785">
                  <c:v>0.01</c:v>
                </c:pt>
                <c:pt idx="786">
                  <c:v>0.01</c:v>
                </c:pt>
                <c:pt idx="787">
                  <c:v>0.01</c:v>
                </c:pt>
                <c:pt idx="788">
                  <c:v>0.04</c:v>
                </c:pt>
                <c:pt idx="789">
                  <c:v>0.02</c:v>
                </c:pt>
                <c:pt idx="790">
                  <c:v>0.06</c:v>
                </c:pt>
                <c:pt idx="791">
                  <c:v>0.01</c:v>
                </c:pt>
                <c:pt idx="792">
                  <c:v>0.01</c:v>
                </c:pt>
                <c:pt idx="793">
                  <c:v>0.04</c:v>
                </c:pt>
                <c:pt idx="794">
                  <c:v>0.01</c:v>
                </c:pt>
                <c:pt idx="795">
                  <c:v>0.02</c:v>
                </c:pt>
                <c:pt idx="796">
                  <c:v>0.01</c:v>
                </c:pt>
                <c:pt idx="797">
                  <c:v>0.01</c:v>
                </c:pt>
                <c:pt idx="798">
                  <c:v>0.01</c:v>
                </c:pt>
                <c:pt idx="799">
                  <c:v>0.01</c:v>
                </c:pt>
                <c:pt idx="800">
                  <c:v>0.05</c:v>
                </c:pt>
                <c:pt idx="801">
                  <c:v>0.01</c:v>
                </c:pt>
                <c:pt idx="802">
                  <c:v>0.01</c:v>
                </c:pt>
                <c:pt idx="803">
                  <c:v>0.01</c:v>
                </c:pt>
                <c:pt idx="804">
                  <c:v>0.01</c:v>
                </c:pt>
                <c:pt idx="805">
                  <c:v>0.02</c:v>
                </c:pt>
                <c:pt idx="806">
                  <c:v>0.01</c:v>
                </c:pt>
                <c:pt idx="807">
                  <c:v>0.01</c:v>
                </c:pt>
                <c:pt idx="808">
                  <c:v>0.03</c:v>
                </c:pt>
                <c:pt idx="809">
                  <c:v>0.01</c:v>
                </c:pt>
                <c:pt idx="810">
                  <c:v>0.01</c:v>
                </c:pt>
                <c:pt idx="811">
                  <c:v>0.01</c:v>
                </c:pt>
                <c:pt idx="812">
                  <c:v>0.01</c:v>
                </c:pt>
                <c:pt idx="813">
                  <c:v>0.01</c:v>
                </c:pt>
                <c:pt idx="814">
                  <c:v>0.01</c:v>
                </c:pt>
                <c:pt idx="815">
                  <c:v>0.01</c:v>
                </c:pt>
                <c:pt idx="816">
                  <c:v>0.01</c:v>
                </c:pt>
                <c:pt idx="817">
                  <c:v>0.01</c:v>
                </c:pt>
                <c:pt idx="818">
                  <c:v>0.01</c:v>
                </c:pt>
                <c:pt idx="819">
                  <c:v>0.01</c:v>
                </c:pt>
                <c:pt idx="820">
                  <c:v>0.01</c:v>
                </c:pt>
                <c:pt idx="821">
                  <c:v>0.01</c:v>
                </c:pt>
                <c:pt idx="822">
                  <c:v>0.01</c:v>
                </c:pt>
                <c:pt idx="823">
                  <c:v>0.02</c:v>
                </c:pt>
                <c:pt idx="824">
                  <c:v>0.08</c:v>
                </c:pt>
                <c:pt idx="825">
                  <c:v>0.02</c:v>
                </c:pt>
                <c:pt idx="826">
                  <c:v>0.01</c:v>
                </c:pt>
                <c:pt idx="827">
                  <c:v>0.01</c:v>
                </c:pt>
                <c:pt idx="828">
                  <c:v>0.01</c:v>
                </c:pt>
                <c:pt idx="829">
                  <c:v>0.01</c:v>
                </c:pt>
                <c:pt idx="830">
                  <c:v>0.01</c:v>
                </c:pt>
                <c:pt idx="831">
                  <c:v>0.01</c:v>
                </c:pt>
                <c:pt idx="832">
                  <c:v>0.01</c:v>
                </c:pt>
                <c:pt idx="833">
                  <c:v>0.01</c:v>
                </c:pt>
                <c:pt idx="834">
                  <c:v>0.01</c:v>
                </c:pt>
                <c:pt idx="835">
                  <c:v>0.01</c:v>
                </c:pt>
                <c:pt idx="836">
                  <c:v>0.01</c:v>
                </c:pt>
                <c:pt idx="837">
                  <c:v>0.01</c:v>
                </c:pt>
                <c:pt idx="838">
                  <c:v>0.01</c:v>
                </c:pt>
                <c:pt idx="839">
                  <c:v>0.01</c:v>
                </c:pt>
                <c:pt idx="840">
                  <c:v>0.01</c:v>
                </c:pt>
                <c:pt idx="841">
                  <c:v>0.02</c:v>
                </c:pt>
                <c:pt idx="842">
                  <c:v>0.05</c:v>
                </c:pt>
                <c:pt idx="843">
                  <c:v>0.02</c:v>
                </c:pt>
                <c:pt idx="844">
                  <c:v>0.01</c:v>
                </c:pt>
                <c:pt idx="845">
                  <c:v>0.01</c:v>
                </c:pt>
                <c:pt idx="846">
                  <c:v>0.01</c:v>
                </c:pt>
                <c:pt idx="847">
                  <c:v>0.01</c:v>
                </c:pt>
                <c:pt idx="848">
                  <c:v>0.01</c:v>
                </c:pt>
                <c:pt idx="849">
                  <c:v>0.01</c:v>
                </c:pt>
                <c:pt idx="850">
                  <c:v>0.01</c:v>
                </c:pt>
                <c:pt idx="851">
                  <c:v>0.01</c:v>
                </c:pt>
                <c:pt idx="852">
                  <c:v>0.01</c:v>
                </c:pt>
                <c:pt idx="853">
                  <c:v>0.01</c:v>
                </c:pt>
                <c:pt idx="854">
                  <c:v>0.01</c:v>
                </c:pt>
                <c:pt idx="855">
                  <c:v>0.01</c:v>
                </c:pt>
                <c:pt idx="856">
                  <c:v>0.01</c:v>
                </c:pt>
                <c:pt idx="857">
                  <c:v>0.01</c:v>
                </c:pt>
                <c:pt idx="858">
                  <c:v>0.01</c:v>
                </c:pt>
                <c:pt idx="859">
                  <c:v>0.01</c:v>
                </c:pt>
                <c:pt idx="860">
                  <c:v>0.01</c:v>
                </c:pt>
                <c:pt idx="861">
                  <c:v>0.01</c:v>
                </c:pt>
                <c:pt idx="862">
                  <c:v>0.01</c:v>
                </c:pt>
                <c:pt idx="863">
                  <c:v>0.01</c:v>
                </c:pt>
                <c:pt idx="864">
                  <c:v>7.0000000000000007E-2</c:v>
                </c:pt>
                <c:pt idx="865">
                  <c:v>0.01</c:v>
                </c:pt>
                <c:pt idx="866">
                  <c:v>0.01</c:v>
                </c:pt>
                <c:pt idx="867">
                  <c:v>0.01</c:v>
                </c:pt>
                <c:pt idx="868">
                  <c:v>0.01</c:v>
                </c:pt>
                <c:pt idx="869">
                  <c:v>0.01</c:v>
                </c:pt>
                <c:pt idx="870">
                  <c:v>0.01</c:v>
                </c:pt>
                <c:pt idx="871">
                  <c:v>0.01</c:v>
                </c:pt>
                <c:pt idx="872">
                  <c:v>0.01</c:v>
                </c:pt>
                <c:pt idx="873">
                  <c:v>0.01</c:v>
                </c:pt>
                <c:pt idx="874">
                  <c:v>0.02</c:v>
                </c:pt>
                <c:pt idx="875">
                  <c:v>0.01</c:v>
                </c:pt>
                <c:pt idx="876">
                  <c:v>0.01</c:v>
                </c:pt>
                <c:pt idx="877">
                  <c:v>0.02</c:v>
                </c:pt>
                <c:pt idx="878">
                  <c:v>0.01</c:v>
                </c:pt>
                <c:pt idx="879">
                  <c:v>0.01</c:v>
                </c:pt>
                <c:pt idx="880">
                  <c:v>0.01</c:v>
                </c:pt>
                <c:pt idx="881">
                  <c:v>0.01</c:v>
                </c:pt>
                <c:pt idx="882">
                  <c:v>0.01</c:v>
                </c:pt>
                <c:pt idx="883">
                  <c:v>0.01</c:v>
                </c:pt>
                <c:pt idx="884">
                  <c:v>0.01</c:v>
                </c:pt>
                <c:pt idx="885">
                  <c:v>0.01</c:v>
                </c:pt>
                <c:pt idx="886">
                  <c:v>0.01</c:v>
                </c:pt>
                <c:pt idx="887">
                  <c:v>0.03</c:v>
                </c:pt>
                <c:pt idx="888">
                  <c:v>0.01</c:v>
                </c:pt>
                <c:pt idx="889">
                  <c:v>0.01</c:v>
                </c:pt>
                <c:pt idx="890">
                  <c:v>0.01</c:v>
                </c:pt>
                <c:pt idx="891">
                  <c:v>0.01</c:v>
                </c:pt>
                <c:pt idx="892">
                  <c:v>0.01</c:v>
                </c:pt>
                <c:pt idx="893">
                  <c:v>0.01</c:v>
                </c:pt>
                <c:pt idx="894">
                  <c:v>0.01</c:v>
                </c:pt>
                <c:pt idx="895">
                  <c:v>0.01</c:v>
                </c:pt>
                <c:pt idx="896">
                  <c:v>0.01</c:v>
                </c:pt>
                <c:pt idx="897">
                  <c:v>0.01</c:v>
                </c:pt>
                <c:pt idx="898">
                  <c:v>0.01</c:v>
                </c:pt>
                <c:pt idx="899">
                  <c:v>0.01</c:v>
                </c:pt>
                <c:pt idx="900">
                  <c:v>0.01</c:v>
                </c:pt>
                <c:pt idx="901">
                  <c:v>0.01</c:v>
                </c:pt>
                <c:pt idx="902">
                  <c:v>0.01</c:v>
                </c:pt>
                <c:pt idx="903">
                  <c:v>0.01</c:v>
                </c:pt>
                <c:pt idx="904">
                  <c:v>0.01</c:v>
                </c:pt>
                <c:pt idx="905">
                  <c:v>0.01</c:v>
                </c:pt>
                <c:pt idx="906">
                  <c:v>0.01</c:v>
                </c:pt>
                <c:pt idx="907">
                  <c:v>0.01</c:v>
                </c:pt>
                <c:pt idx="908">
                  <c:v>0.01</c:v>
                </c:pt>
                <c:pt idx="909">
                  <c:v>0.01</c:v>
                </c:pt>
                <c:pt idx="910">
                  <c:v>0.01</c:v>
                </c:pt>
                <c:pt idx="911">
                  <c:v>0.03</c:v>
                </c:pt>
                <c:pt idx="912">
                  <c:v>0.01</c:v>
                </c:pt>
                <c:pt idx="913">
                  <c:v>0.01</c:v>
                </c:pt>
                <c:pt idx="914">
                  <c:v>0.01</c:v>
                </c:pt>
                <c:pt idx="915">
                  <c:v>0.01</c:v>
                </c:pt>
                <c:pt idx="916">
                  <c:v>0.01</c:v>
                </c:pt>
                <c:pt idx="917">
                  <c:v>0.01</c:v>
                </c:pt>
                <c:pt idx="918">
                  <c:v>0.01</c:v>
                </c:pt>
                <c:pt idx="919">
                  <c:v>0.01</c:v>
                </c:pt>
                <c:pt idx="920">
                  <c:v>0.01</c:v>
                </c:pt>
                <c:pt idx="921">
                  <c:v>0.01</c:v>
                </c:pt>
                <c:pt idx="922">
                  <c:v>0.01</c:v>
                </c:pt>
                <c:pt idx="923">
                  <c:v>0.01</c:v>
                </c:pt>
                <c:pt idx="924">
                  <c:v>0.01</c:v>
                </c:pt>
                <c:pt idx="92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7ECAC4"/>
              </a:solidFill>
            </c:spPr>
            <c:extLst>
              <c:ext xmlns:c16="http://schemas.microsoft.com/office/drawing/2014/chart" uri="{C3380CC4-5D6E-409C-BE32-E72D297353CC}">
                <c16:uniqueId val="{00000185-2993-41DE-A2CB-63102DE87051}"/>
              </c:ext>
            </c:extLst>
          </c:dPt>
          <c:dPt>
            <c:idx val="194"/>
            <c:invertIfNegative val="1"/>
            <c:bubble3D val="0"/>
            <c:spPr>
              <a:solidFill>
                <a:srgbClr val="7ECAC4"/>
              </a:solidFill>
            </c:spPr>
            <c:extLst>
              <c:ext xmlns:c16="http://schemas.microsoft.com/office/drawing/2014/chart" uri="{C3380CC4-5D6E-409C-BE32-E72D297353CC}">
                <c16:uniqueId val="{00000187-2993-41DE-A2CB-63102DE87051}"/>
              </c:ext>
            </c:extLst>
          </c:dPt>
          <c:dPt>
            <c:idx val="195"/>
            <c:invertIfNegative val="1"/>
            <c:bubble3D val="0"/>
            <c:spPr>
              <a:solidFill>
                <a:srgbClr val="7ECAC4"/>
              </a:solidFill>
            </c:spPr>
            <c:extLst>
              <c:ext xmlns:c16="http://schemas.microsoft.com/office/drawing/2014/chart" uri="{C3380CC4-5D6E-409C-BE32-E72D297353CC}">
                <c16:uniqueId val="{00000189-2993-41DE-A2CB-63102DE87051}"/>
              </c:ext>
            </c:extLst>
          </c:dPt>
          <c:dPt>
            <c:idx val="196"/>
            <c:invertIfNegative val="1"/>
            <c:bubble3D val="0"/>
            <c:spPr>
              <a:solidFill>
                <a:srgbClr val="7ECAC4"/>
              </a:solidFill>
            </c:spPr>
            <c:extLst>
              <c:ext xmlns:c16="http://schemas.microsoft.com/office/drawing/2014/chart" uri="{C3380CC4-5D6E-409C-BE32-E72D297353CC}">
                <c16:uniqueId val="{0000018B-2993-41DE-A2CB-63102DE87051}"/>
              </c:ext>
            </c:extLst>
          </c:dPt>
          <c:dPt>
            <c:idx val="197"/>
            <c:invertIfNegative val="1"/>
            <c:bubble3D val="0"/>
            <c:spPr>
              <a:solidFill>
                <a:srgbClr val="7ECAC4"/>
              </a:solidFill>
            </c:spPr>
            <c:extLst>
              <c:ext xmlns:c16="http://schemas.microsoft.com/office/drawing/2014/chart" uri="{C3380CC4-5D6E-409C-BE32-E72D297353CC}">
                <c16:uniqueId val="{0000018D-2993-41DE-A2CB-63102DE87051}"/>
              </c:ext>
            </c:extLst>
          </c:dPt>
          <c:dPt>
            <c:idx val="198"/>
            <c:invertIfNegative val="1"/>
            <c:bubble3D val="0"/>
            <c:spPr>
              <a:solidFill>
                <a:srgbClr val="7ECAC4"/>
              </a:solidFill>
            </c:spPr>
            <c:extLst>
              <c:ext xmlns:c16="http://schemas.microsoft.com/office/drawing/2014/chart" uri="{C3380CC4-5D6E-409C-BE32-E72D297353CC}">
                <c16:uniqueId val="{0000018F-2993-41DE-A2CB-63102DE87051}"/>
              </c:ext>
            </c:extLst>
          </c:dPt>
          <c:dPt>
            <c:idx val="199"/>
            <c:invertIfNegative val="1"/>
            <c:bubble3D val="0"/>
            <c:spPr>
              <a:solidFill>
                <a:srgbClr val="7ECAC4"/>
              </a:solidFill>
            </c:spPr>
            <c:extLst>
              <c:ext xmlns:c16="http://schemas.microsoft.com/office/drawing/2014/chart" uri="{C3380CC4-5D6E-409C-BE32-E72D297353CC}">
                <c16:uniqueId val="{00000191-2993-41DE-A2CB-63102DE87051}"/>
              </c:ext>
            </c:extLst>
          </c:dPt>
          <c:dPt>
            <c:idx val="200"/>
            <c:invertIfNegative val="1"/>
            <c:bubble3D val="0"/>
            <c:spPr>
              <a:solidFill>
                <a:srgbClr val="7ECAC4"/>
              </a:solidFill>
            </c:spPr>
            <c:extLst>
              <c:ext xmlns:c16="http://schemas.microsoft.com/office/drawing/2014/chart" uri="{C3380CC4-5D6E-409C-BE32-E72D297353CC}">
                <c16:uniqueId val="{00000193-2993-41DE-A2CB-63102DE87051}"/>
              </c:ext>
            </c:extLst>
          </c:dPt>
          <c:dPt>
            <c:idx val="201"/>
            <c:invertIfNegative val="1"/>
            <c:bubble3D val="0"/>
            <c:spPr>
              <a:solidFill>
                <a:srgbClr val="7ECAC4"/>
              </a:solidFill>
            </c:spPr>
            <c:extLst>
              <c:ext xmlns:c16="http://schemas.microsoft.com/office/drawing/2014/chart" uri="{C3380CC4-5D6E-409C-BE32-E72D297353CC}">
                <c16:uniqueId val="{00000195-2993-41DE-A2CB-63102DE87051}"/>
              </c:ext>
            </c:extLst>
          </c:dPt>
          <c:dPt>
            <c:idx val="202"/>
            <c:invertIfNegative val="1"/>
            <c:bubble3D val="0"/>
            <c:spPr>
              <a:solidFill>
                <a:srgbClr val="7ECAC4"/>
              </a:solidFill>
            </c:spPr>
            <c:extLst>
              <c:ext xmlns:c16="http://schemas.microsoft.com/office/drawing/2014/chart" uri="{C3380CC4-5D6E-409C-BE32-E72D297353CC}">
                <c16:uniqueId val="{00000197-2993-41DE-A2CB-63102DE87051}"/>
              </c:ext>
            </c:extLst>
          </c:dPt>
          <c:dPt>
            <c:idx val="203"/>
            <c:invertIfNegative val="1"/>
            <c:bubble3D val="0"/>
            <c:spPr>
              <a:solidFill>
                <a:srgbClr val="7ECAC4"/>
              </a:solidFill>
            </c:spPr>
            <c:extLst>
              <c:ext xmlns:c16="http://schemas.microsoft.com/office/drawing/2014/chart" uri="{C3380CC4-5D6E-409C-BE32-E72D297353CC}">
                <c16:uniqueId val="{00000199-2993-41DE-A2CB-63102DE87051}"/>
              </c:ext>
            </c:extLst>
          </c:dPt>
          <c:dPt>
            <c:idx val="204"/>
            <c:invertIfNegative val="1"/>
            <c:bubble3D val="0"/>
            <c:spPr>
              <a:solidFill>
                <a:srgbClr val="7ECAC4"/>
              </a:solidFill>
            </c:spPr>
            <c:extLst>
              <c:ext xmlns:c16="http://schemas.microsoft.com/office/drawing/2014/chart" uri="{C3380CC4-5D6E-409C-BE32-E72D297353CC}">
                <c16:uniqueId val="{0000019B-2993-41DE-A2CB-63102DE87051}"/>
              </c:ext>
            </c:extLst>
          </c:dPt>
          <c:dPt>
            <c:idx val="205"/>
            <c:invertIfNegative val="1"/>
            <c:bubble3D val="0"/>
            <c:spPr>
              <a:solidFill>
                <a:srgbClr val="7ECAC4"/>
              </a:solidFill>
            </c:spPr>
            <c:extLst>
              <c:ext xmlns:c16="http://schemas.microsoft.com/office/drawing/2014/chart" uri="{C3380CC4-5D6E-409C-BE32-E72D297353CC}">
                <c16:uniqueId val="{0000019D-2993-41DE-A2CB-63102DE87051}"/>
              </c:ext>
            </c:extLst>
          </c:dPt>
          <c:dPt>
            <c:idx val="206"/>
            <c:invertIfNegative val="1"/>
            <c:bubble3D val="0"/>
            <c:spPr>
              <a:solidFill>
                <a:srgbClr val="7ECAC4"/>
              </a:solidFill>
            </c:spPr>
            <c:extLst>
              <c:ext xmlns:c16="http://schemas.microsoft.com/office/drawing/2014/chart" uri="{C3380CC4-5D6E-409C-BE32-E72D297353CC}">
                <c16:uniqueId val="{0000019F-2993-41DE-A2CB-63102DE87051}"/>
              </c:ext>
            </c:extLst>
          </c:dPt>
          <c:dPt>
            <c:idx val="207"/>
            <c:invertIfNegative val="1"/>
            <c:bubble3D val="0"/>
            <c:spPr>
              <a:solidFill>
                <a:srgbClr val="7ECAC4"/>
              </a:solidFill>
            </c:spPr>
            <c:extLst>
              <c:ext xmlns:c16="http://schemas.microsoft.com/office/drawing/2014/chart" uri="{C3380CC4-5D6E-409C-BE32-E72D297353CC}">
                <c16:uniqueId val="{000001A1-2993-41DE-A2CB-63102DE87051}"/>
              </c:ext>
            </c:extLst>
          </c:dPt>
          <c:dPt>
            <c:idx val="208"/>
            <c:invertIfNegative val="1"/>
            <c:bubble3D val="0"/>
            <c:spPr>
              <a:solidFill>
                <a:srgbClr val="7ECAC4"/>
              </a:solidFill>
            </c:spPr>
            <c:extLst>
              <c:ext xmlns:c16="http://schemas.microsoft.com/office/drawing/2014/chart" uri="{C3380CC4-5D6E-409C-BE32-E72D297353CC}">
                <c16:uniqueId val="{000001A3-2993-41DE-A2CB-63102DE87051}"/>
              </c:ext>
            </c:extLst>
          </c:dPt>
          <c:dPt>
            <c:idx val="209"/>
            <c:invertIfNegative val="1"/>
            <c:bubble3D val="0"/>
            <c:spPr>
              <a:solidFill>
                <a:srgbClr val="7ECAC4"/>
              </a:solidFill>
            </c:spPr>
            <c:extLst>
              <c:ext xmlns:c16="http://schemas.microsoft.com/office/drawing/2014/chart" uri="{C3380CC4-5D6E-409C-BE32-E72D297353CC}">
                <c16:uniqueId val="{000001A5-2993-41DE-A2CB-63102DE87051}"/>
              </c:ext>
            </c:extLst>
          </c:dPt>
          <c:dPt>
            <c:idx val="210"/>
            <c:invertIfNegative val="1"/>
            <c:bubble3D val="0"/>
            <c:spPr>
              <a:solidFill>
                <a:srgbClr val="7ECAC4"/>
              </a:solidFill>
            </c:spPr>
            <c:extLst>
              <c:ext xmlns:c16="http://schemas.microsoft.com/office/drawing/2014/chart" uri="{C3380CC4-5D6E-409C-BE32-E72D297353CC}">
                <c16:uniqueId val="{000001A7-DBE9-4B73-8742-74A0F2DCF0F9}"/>
              </c:ext>
            </c:extLst>
          </c:dPt>
          <c:dPt>
            <c:idx val="211"/>
            <c:invertIfNegative val="1"/>
            <c:bubble3D val="0"/>
            <c:spPr>
              <a:solidFill>
                <a:srgbClr val="7ECAC4"/>
              </a:solidFill>
            </c:spPr>
            <c:extLst>
              <c:ext xmlns:c16="http://schemas.microsoft.com/office/drawing/2014/chart" uri="{C3380CC4-5D6E-409C-BE32-E72D297353CC}">
                <c16:uniqueId val="{000001A9-DBE9-4B73-8742-74A0F2DCF0F9}"/>
              </c:ext>
            </c:extLst>
          </c:dPt>
          <c:dPt>
            <c:idx val="212"/>
            <c:invertIfNegative val="1"/>
            <c:bubble3D val="0"/>
            <c:spPr>
              <a:solidFill>
                <a:srgbClr val="7ECAC4"/>
              </a:solidFill>
            </c:spPr>
            <c:extLst>
              <c:ext xmlns:c16="http://schemas.microsoft.com/office/drawing/2014/chart" uri="{C3380CC4-5D6E-409C-BE32-E72D297353CC}">
                <c16:uniqueId val="{000001AB-DBE9-4B73-8742-74A0F2DCF0F9}"/>
              </c:ext>
            </c:extLst>
          </c:dPt>
          <c:dPt>
            <c:idx val="213"/>
            <c:invertIfNegative val="1"/>
            <c:bubble3D val="0"/>
            <c:spPr>
              <a:solidFill>
                <a:srgbClr val="7ECAC4"/>
              </a:solidFill>
            </c:spPr>
            <c:extLst>
              <c:ext xmlns:c16="http://schemas.microsoft.com/office/drawing/2014/chart" uri="{C3380CC4-5D6E-409C-BE32-E72D297353CC}">
                <c16:uniqueId val="{000001AD-DBE9-4B73-8742-74A0F2DCF0F9}"/>
              </c:ext>
            </c:extLst>
          </c:dPt>
          <c:dPt>
            <c:idx val="214"/>
            <c:invertIfNegative val="1"/>
            <c:bubble3D val="0"/>
            <c:spPr>
              <a:solidFill>
                <a:srgbClr val="7ECAC4"/>
              </a:solidFill>
            </c:spPr>
            <c:extLst>
              <c:ext xmlns:c16="http://schemas.microsoft.com/office/drawing/2014/chart" uri="{C3380CC4-5D6E-409C-BE32-E72D297353CC}">
                <c16:uniqueId val="{000001AF-DBE9-4B73-8742-74A0F2DCF0F9}"/>
              </c:ext>
            </c:extLst>
          </c:dPt>
          <c:dPt>
            <c:idx val="215"/>
            <c:invertIfNegative val="1"/>
            <c:bubble3D val="0"/>
            <c:spPr>
              <a:solidFill>
                <a:srgbClr val="7ECAC4"/>
              </a:solidFill>
            </c:spPr>
            <c:extLst>
              <c:ext xmlns:c16="http://schemas.microsoft.com/office/drawing/2014/chart" uri="{C3380CC4-5D6E-409C-BE32-E72D297353CC}">
                <c16:uniqueId val="{000001B1-DBE9-4B73-8742-74A0F2DCF0F9}"/>
              </c:ext>
            </c:extLst>
          </c:dPt>
          <c:dPt>
            <c:idx val="216"/>
            <c:invertIfNegative val="1"/>
            <c:bubble3D val="0"/>
            <c:spPr>
              <a:solidFill>
                <a:srgbClr val="7ECAC4"/>
              </a:solidFill>
            </c:spPr>
            <c:extLst>
              <c:ext xmlns:c16="http://schemas.microsoft.com/office/drawing/2014/chart" uri="{C3380CC4-5D6E-409C-BE32-E72D297353CC}">
                <c16:uniqueId val="{000001B3-DBE9-4B73-8742-74A0F2DCF0F9}"/>
              </c:ext>
            </c:extLst>
          </c:dPt>
          <c:dPt>
            <c:idx val="217"/>
            <c:invertIfNegative val="1"/>
            <c:bubble3D val="0"/>
            <c:spPr>
              <a:solidFill>
                <a:srgbClr val="7ECAC4"/>
              </a:solidFill>
            </c:spPr>
            <c:extLst>
              <c:ext xmlns:c16="http://schemas.microsoft.com/office/drawing/2014/chart" uri="{C3380CC4-5D6E-409C-BE32-E72D297353CC}">
                <c16:uniqueId val="{000001B5-DBE9-4B73-8742-74A0F2DCF0F9}"/>
              </c:ext>
            </c:extLst>
          </c:dPt>
          <c:dPt>
            <c:idx val="218"/>
            <c:invertIfNegative val="1"/>
            <c:bubble3D val="0"/>
            <c:spPr>
              <a:solidFill>
                <a:srgbClr val="7ECAC4"/>
              </a:solidFill>
            </c:spPr>
            <c:extLst>
              <c:ext xmlns:c16="http://schemas.microsoft.com/office/drawing/2014/chart" uri="{C3380CC4-5D6E-409C-BE32-E72D297353CC}">
                <c16:uniqueId val="{000001B7-DBE9-4B73-8742-74A0F2DCF0F9}"/>
              </c:ext>
            </c:extLst>
          </c:dPt>
          <c:dPt>
            <c:idx val="219"/>
            <c:invertIfNegative val="1"/>
            <c:bubble3D val="0"/>
            <c:spPr>
              <a:solidFill>
                <a:srgbClr val="7ECAC4"/>
              </a:solidFill>
            </c:spPr>
            <c:extLst>
              <c:ext xmlns:c16="http://schemas.microsoft.com/office/drawing/2014/chart" uri="{C3380CC4-5D6E-409C-BE32-E72D297353CC}">
                <c16:uniqueId val="{000001B9-DBE9-4B73-8742-74A0F2DCF0F9}"/>
              </c:ext>
            </c:extLst>
          </c:dPt>
          <c:dPt>
            <c:idx val="220"/>
            <c:invertIfNegative val="1"/>
            <c:bubble3D val="0"/>
            <c:spPr>
              <a:solidFill>
                <a:srgbClr val="7ECAC4"/>
              </a:solidFill>
            </c:spPr>
            <c:extLst>
              <c:ext xmlns:c16="http://schemas.microsoft.com/office/drawing/2014/chart" uri="{C3380CC4-5D6E-409C-BE32-E72D297353CC}">
                <c16:uniqueId val="{000001BB-DBE9-4B73-8742-74A0F2DCF0F9}"/>
              </c:ext>
            </c:extLst>
          </c:dPt>
          <c:dPt>
            <c:idx val="221"/>
            <c:invertIfNegative val="1"/>
            <c:bubble3D val="0"/>
            <c:spPr>
              <a:solidFill>
                <a:srgbClr val="7ECAC4"/>
              </a:solidFill>
            </c:spPr>
            <c:extLst>
              <c:ext xmlns:c16="http://schemas.microsoft.com/office/drawing/2014/chart" uri="{C3380CC4-5D6E-409C-BE32-E72D297353CC}">
                <c16:uniqueId val="{000001BD-DBE9-4B73-8742-74A0F2DCF0F9}"/>
              </c:ext>
            </c:extLst>
          </c:dPt>
          <c:dPt>
            <c:idx val="222"/>
            <c:invertIfNegative val="1"/>
            <c:bubble3D val="0"/>
            <c:spPr>
              <a:solidFill>
                <a:srgbClr val="7ECAC4"/>
              </a:solidFill>
            </c:spPr>
            <c:extLst>
              <c:ext xmlns:c16="http://schemas.microsoft.com/office/drawing/2014/chart" uri="{C3380CC4-5D6E-409C-BE32-E72D297353CC}">
                <c16:uniqueId val="{000001BF-DBE9-4B73-8742-74A0F2DCF0F9}"/>
              </c:ext>
            </c:extLst>
          </c:dPt>
          <c:dPt>
            <c:idx val="223"/>
            <c:invertIfNegative val="1"/>
            <c:bubble3D val="0"/>
            <c:spPr>
              <a:solidFill>
                <a:srgbClr val="7ECAC4"/>
              </a:solidFill>
            </c:spPr>
            <c:extLst>
              <c:ext xmlns:c16="http://schemas.microsoft.com/office/drawing/2014/chart" uri="{C3380CC4-5D6E-409C-BE32-E72D297353CC}">
                <c16:uniqueId val="{000001C1-DBE9-4B73-8742-74A0F2DCF0F9}"/>
              </c:ext>
            </c:extLst>
          </c:dPt>
          <c:dPt>
            <c:idx val="224"/>
            <c:invertIfNegative val="1"/>
            <c:bubble3D val="0"/>
            <c:spPr>
              <a:solidFill>
                <a:srgbClr val="7ECAC4"/>
              </a:solidFill>
            </c:spPr>
            <c:extLst>
              <c:ext xmlns:c16="http://schemas.microsoft.com/office/drawing/2014/chart" uri="{C3380CC4-5D6E-409C-BE32-E72D297353CC}">
                <c16:uniqueId val="{000001C3-DBE9-4B73-8742-74A0F2DCF0F9}"/>
              </c:ext>
            </c:extLst>
          </c:dPt>
          <c:dPt>
            <c:idx val="225"/>
            <c:invertIfNegative val="1"/>
            <c:bubble3D val="0"/>
            <c:spPr>
              <a:solidFill>
                <a:srgbClr val="7ECAC4"/>
              </a:solidFill>
            </c:spPr>
            <c:extLst>
              <c:ext xmlns:c16="http://schemas.microsoft.com/office/drawing/2014/chart" uri="{C3380CC4-5D6E-409C-BE32-E72D297353CC}">
                <c16:uniqueId val="{000001C5-DBE9-4B73-8742-74A0F2DCF0F9}"/>
              </c:ext>
            </c:extLst>
          </c:dPt>
          <c:dPt>
            <c:idx val="226"/>
            <c:invertIfNegative val="1"/>
            <c:bubble3D val="0"/>
            <c:spPr>
              <a:solidFill>
                <a:srgbClr val="7ECAC4"/>
              </a:solidFill>
            </c:spPr>
            <c:extLst>
              <c:ext xmlns:c16="http://schemas.microsoft.com/office/drawing/2014/chart" uri="{C3380CC4-5D6E-409C-BE32-E72D297353CC}">
                <c16:uniqueId val="{000001C7-DBE9-4B73-8742-74A0F2DCF0F9}"/>
              </c:ext>
            </c:extLst>
          </c:dPt>
          <c:dPt>
            <c:idx val="227"/>
            <c:invertIfNegative val="1"/>
            <c:bubble3D val="0"/>
            <c:spPr>
              <a:solidFill>
                <a:srgbClr val="7ECAC4"/>
              </a:solidFill>
            </c:spPr>
            <c:extLst>
              <c:ext xmlns:c16="http://schemas.microsoft.com/office/drawing/2014/chart" uri="{C3380CC4-5D6E-409C-BE32-E72D297353CC}">
                <c16:uniqueId val="{000001C9-DBE9-4B73-8742-74A0F2DCF0F9}"/>
              </c:ext>
            </c:extLst>
          </c:dPt>
          <c:dPt>
            <c:idx val="228"/>
            <c:invertIfNegative val="1"/>
            <c:bubble3D val="0"/>
            <c:spPr>
              <a:solidFill>
                <a:srgbClr val="7ECAC4"/>
              </a:solidFill>
            </c:spPr>
            <c:extLst>
              <c:ext xmlns:c16="http://schemas.microsoft.com/office/drawing/2014/chart" uri="{C3380CC4-5D6E-409C-BE32-E72D297353CC}">
                <c16:uniqueId val="{000001CB-DBE9-4B73-8742-74A0F2DCF0F9}"/>
              </c:ext>
            </c:extLst>
          </c:dPt>
          <c:dPt>
            <c:idx val="229"/>
            <c:invertIfNegative val="1"/>
            <c:bubble3D val="0"/>
            <c:spPr>
              <a:solidFill>
                <a:srgbClr val="7ECAC4"/>
              </a:solidFill>
            </c:spPr>
            <c:extLst>
              <c:ext xmlns:c16="http://schemas.microsoft.com/office/drawing/2014/chart" uri="{C3380CC4-5D6E-409C-BE32-E72D297353CC}">
                <c16:uniqueId val="{000001CD-DBE9-4B73-8742-74A0F2DCF0F9}"/>
              </c:ext>
            </c:extLst>
          </c:dPt>
          <c:dPt>
            <c:idx val="230"/>
            <c:invertIfNegative val="1"/>
            <c:bubble3D val="0"/>
            <c:spPr>
              <a:solidFill>
                <a:srgbClr val="7ECAC4"/>
              </a:solidFill>
            </c:spPr>
            <c:extLst>
              <c:ext xmlns:c16="http://schemas.microsoft.com/office/drawing/2014/chart" uri="{C3380CC4-5D6E-409C-BE32-E72D297353CC}">
                <c16:uniqueId val="{000001CF-DBE9-4B73-8742-74A0F2DCF0F9}"/>
              </c:ext>
            </c:extLst>
          </c:dPt>
          <c:dPt>
            <c:idx val="231"/>
            <c:invertIfNegative val="1"/>
            <c:bubble3D val="0"/>
            <c:spPr>
              <a:solidFill>
                <a:srgbClr val="7ECAC4"/>
              </a:solidFill>
            </c:spPr>
            <c:extLst>
              <c:ext xmlns:c16="http://schemas.microsoft.com/office/drawing/2014/chart" uri="{C3380CC4-5D6E-409C-BE32-E72D297353CC}">
                <c16:uniqueId val="{000001D1-DBE9-4B73-8742-74A0F2DCF0F9}"/>
              </c:ext>
            </c:extLst>
          </c:dPt>
          <c:dPt>
            <c:idx val="232"/>
            <c:invertIfNegative val="1"/>
            <c:bubble3D val="0"/>
            <c:spPr>
              <a:solidFill>
                <a:srgbClr val="7ECAC4"/>
              </a:solidFill>
            </c:spPr>
            <c:extLst>
              <c:ext xmlns:c16="http://schemas.microsoft.com/office/drawing/2014/chart" uri="{C3380CC4-5D6E-409C-BE32-E72D297353CC}">
                <c16:uniqueId val="{000001D3-DBE9-4B73-8742-74A0F2DCF0F9}"/>
              </c:ext>
            </c:extLst>
          </c:dPt>
          <c:dPt>
            <c:idx val="233"/>
            <c:invertIfNegative val="1"/>
            <c:bubble3D val="0"/>
            <c:spPr>
              <a:solidFill>
                <a:srgbClr val="7ECAC4"/>
              </a:solidFill>
            </c:spPr>
            <c:extLst>
              <c:ext xmlns:c16="http://schemas.microsoft.com/office/drawing/2014/chart" uri="{C3380CC4-5D6E-409C-BE32-E72D297353CC}">
                <c16:uniqueId val="{000001D5-DBE9-4B73-8742-74A0F2DCF0F9}"/>
              </c:ext>
            </c:extLst>
          </c:dPt>
          <c:dPt>
            <c:idx val="234"/>
            <c:invertIfNegative val="1"/>
            <c:bubble3D val="0"/>
            <c:spPr>
              <a:solidFill>
                <a:srgbClr val="7ECAC4"/>
              </a:solidFill>
            </c:spPr>
            <c:extLst>
              <c:ext xmlns:c16="http://schemas.microsoft.com/office/drawing/2014/chart" uri="{C3380CC4-5D6E-409C-BE32-E72D297353CC}">
                <c16:uniqueId val="{000001D7-DBE9-4B73-8742-74A0F2DCF0F9}"/>
              </c:ext>
            </c:extLst>
          </c:dPt>
          <c:dPt>
            <c:idx val="235"/>
            <c:invertIfNegative val="1"/>
            <c:bubble3D val="0"/>
            <c:spPr>
              <a:solidFill>
                <a:srgbClr val="7ECAC4"/>
              </a:solidFill>
            </c:spPr>
            <c:extLst>
              <c:ext xmlns:c16="http://schemas.microsoft.com/office/drawing/2014/chart" uri="{C3380CC4-5D6E-409C-BE32-E72D297353CC}">
                <c16:uniqueId val="{000001D9-DBE9-4B73-8742-74A0F2DCF0F9}"/>
              </c:ext>
            </c:extLst>
          </c:dPt>
          <c:dPt>
            <c:idx val="236"/>
            <c:invertIfNegative val="1"/>
            <c:bubble3D val="0"/>
            <c:spPr>
              <a:solidFill>
                <a:srgbClr val="7ECAC4"/>
              </a:solidFill>
            </c:spPr>
            <c:extLst>
              <c:ext xmlns:c16="http://schemas.microsoft.com/office/drawing/2014/chart" uri="{C3380CC4-5D6E-409C-BE32-E72D297353CC}">
                <c16:uniqueId val="{000001DB-DBE9-4B73-8742-74A0F2DCF0F9}"/>
              </c:ext>
            </c:extLst>
          </c:dPt>
          <c:dPt>
            <c:idx val="237"/>
            <c:invertIfNegative val="1"/>
            <c:bubble3D val="0"/>
            <c:spPr>
              <a:solidFill>
                <a:srgbClr val="7ECAC4"/>
              </a:solidFill>
            </c:spPr>
            <c:extLst>
              <c:ext xmlns:c16="http://schemas.microsoft.com/office/drawing/2014/chart" uri="{C3380CC4-5D6E-409C-BE32-E72D297353CC}">
                <c16:uniqueId val="{000001DD-DBE9-4B73-8742-74A0F2DCF0F9}"/>
              </c:ext>
            </c:extLst>
          </c:dPt>
          <c:dPt>
            <c:idx val="238"/>
            <c:invertIfNegative val="1"/>
            <c:bubble3D val="0"/>
            <c:spPr>
              <a:solidFill>
                <a:srgbClr val="7ECAC4"/>
              </a:solidFill>
            </c:spPr>
            <c:extLst>
              <c:ext xmlns:c16="http://schemas.microsoft.com/office/drawing/2014/chart" uri="{C3380CC4-5D6E-409C-BE32-E72D297353CC}">
                <c16:uniqueId val="{000001DF-DBE9-4B73-8742-74A0F2DCF0F9}"/>
              </c:ext>
            </c:extLst>
          </c:dPt>
          <c:dPt>
            <c:idx val="239"/>
            <c:invertIfNegative val="1"/>
            <c:bubble3D val="0"/>
            <c:spPr>
              <a:solidFill>
                <a:srgbClr val="7ECAC4"/>
              </a:solidFill>
            </c:spPr>
            <c:extLst>
              <c:ext xmlns:c16="http://schemas.microsoft.com/office/drawing/2014/chart" uri="{C3380CC4-5D6E-409C-BE32-E72D297353CC}">
                <c16:uniqueId val="{000001E1-DBE9-4B73-8742-74A0F2DCF0F9}"/>
              </c:ext>
            </c:extLst>
          </c:dPt>
          <c:dPt>
            <c:idx val="240"/>
            <c:invertIfNegative val="1"/>
            <c:bubble3D val="0"/>
            <c:spPr>
              <a:solidFill>
                <a:srgbClr val="7ECAC4"/>
              </a:solidFill>
            </c:spPr>
            <c:extLst>
              <c:ext xmlns:c16="http://schemas.microsoft.com/office/drawing/2014/chart" uri="{C3380CC4-5D6E-409C-BE32-E72D297353CC}">
                <c16:uniqueId val="{000001E3-DBE9-4B73-8742-74A0F2DCF0F9}"/>
              </c:ext>
            </c:extLst>
          </c:dPt>
          <c:dPt>
            <c:idx val="241"/>
            <c:invertIfNegative val="1"/>
            <c:bubble3D val="0"/>
            <c:spPr>
              <a:solidFill>
                <a:srgbClr val="7ECAC4"/>
              </a:solidFill>
            </c:spPr>
            <c:extLst>
              <c:ext xmlns:c16="http://schemas.microsoft.com/office/drawing/2014/chart" uri="{C3380CC4-5D6E-409C-BE32-E72D297353CC}">
                <c16:uniqueId val="{000001E5-DBE9-4B73-8742-74A0F2DCF0F9}"/>
              </c:ext>
            </c:extLst>
          </c:dPt>
          <c:dPt>
            <c:idx val="242"/>
            <c:invertIfNegative val="1"/>
            <c:bubble3D val="0"/>
            <c:spPr>
              <a:solidFill>
                <a:srgbClr val="7ECAC4"/>
              </a:solidFill>
            </c:spPr>
            <c:extLst>
              <c:ext xmlns:c16="http://schemas.microsoft.com/office/drawing/2014/chart" uri="{C3380CC4-5D6E-409C-BE32-E72D297353CC}">
                <c16:uniqueId val="{000001E7-DBE9-4B73-8742-74A0F2DCF0F9}"/>
              </c:ext>
            </c:extLst>
          </c:dPt>
          <c:dPt>
            <c:idx val="243"/>
            <c:invertIfNegative val="1"/>
            <c:bubble3D val="0"/>
            <c:spPr>
              <a:solidFill>
                <a:srgbClr val="7ECAC4"/>
              </a:solidFill>
            </c:spPr>
            <c:extLst>
              <c:ext xmlns:c16="http://schemas.microsoft.com/office/drawing/2014/chart" uri="{C3380CC4-5D6E-409C-BE32-E72D297353CC}">
                <c16:uniqueId val="{000001E9-DBE9-4B73-8742-74A0F2DCF0F9}"/>
              </c:ext>
            </c:extLst>
          </c:dPt>
          <c:dPt>
            <c:idx val="244"/>
            <c:invertIfNegative val="1"/>
            <c:bubble3D val="0"/>
            <c:spPr>
              <a:solidFill>
                <a:srgbClr val="7ECAC4"/>
              </a:solidFill>
            </c:spPr>
            <c:extLst>
              <c:ext xmlns:c16="http://schemas.microsoft.com/office/drawing/2014/chart" uri="{C3380CC4-5D6E-409C-BE32-E72D297353CC}">
                <c16:uniqueId val="{000001EB-DBE9-4B73-8742-74A0F2DCF0F9}"/>
              </c:ext>
            </c:extLst>
          </c:dPt>
          <c:dPt>
            <c:idx val="245"/>
            <c:invertIfNegative val="1"/>
            <c:bubble3D val="0"/>
            <c:spPr>
              <a:solidFill>
                <a:srgbClr val="7ECAC4"/>
              </a:solidFill>
            </c:spPr>
            <c:extLst>
              <c:ext xmlns:c16="http://schemas.microsoft.com/office/drawing/2014/chart" uri="{C3380CC4-5D6E-409C-BE32-E72D297353CC}">
                <c16:uniqueId val="{000001ED-DBE9-4B73-8742-74A0F2DCF0F9}"/>
              </c:ext>
            </c:extLst>
          </c:dPt>
          <c:dPt>
            <c:idx val="246"/>
            <c:invertIfNegative val="1"/>
            <c:bubble3D val="0"/>
            <c:spPr>
              <a:solidFill>
                <a:srgbClr val="7ECAC4"/>
              </a:solidFill>
            </c:spPr>
            <c:extLst>
              <c:ext xmlns:c16="http://schemas.microsoft.com/office/drawing/2014/chart" uri="{C3380CC4-5D6E-409C-BE32-E72D297353CC}">
                <c16:uniqueId val="{000001EF-DBE9-4B73-8742-74A0F2DCF0F9}"/>
              </c:ext>
            </c:extLst>
          </c:dPt>
          <c:dPt>
            <c:idx val="247"/>
            <c:invertIfNegative val="1"/>
            <c:bubble3D val="0"/>
            <c:spPr>
              <a:solidFill>
                <a:srgbClr val="7ECAC4"/>
              </a:solidFill>
            </c:spPr>
            <c:extLst>
              <c:ext xmlns:c16="http://schemas.microsoft.com/office/drawing/2014/chart" uri="{C3380CC4-5D6E-409C-BE32-E72D297353CC}">
                <c16:uniqueId val="{000001F1-DBE9-4B73-8742-74A0F2DCF0F9}"/>
              </c:ext>
            </c:extLst>
          </c:dPt>
          <c:dPt>
            <c:idx val="248"/>
            <c:invertIfNegative val="1"/>
            <c:bubble3D val="0"/>
            <c:spPr>
              <a:solidFill>
                <a:srgbClr val="7ECAC4"/>
              </a:solidFill>
            </c:spPr>
            <c:extLst>
              <c:ext xmlns:c16="http://schemas.microsoft.com/office/drawing/2014/chart" uri="{C3380CC4-5D6E-409C-BE32-E72D297353CC}">
                <c16:uniqueId val="{000001F3-DBE9-4B73-8742-74A0F2DCF0F9}"/>
              </c:ext>
            </c:extLst>
          </c:dPt>
          <c:dPt>
            <c:idx val="249"/>
            <c:invertIfNegative val="1"/>
            <c:bubble3D val="0"/>
            <c:spPr>
              <a:solidFill>
                <a:srgbClr val="7ECAC4"/>
              </a:solidFill>
            </c:spPr>
            <c:extLst>
              <c:ext xmlns:c16="http://schemas.microsoft.com/office/drawing/2014/chart" uri="{C3380CC4-5D6E-409C-BE32-E72D297353CC}">
                <c16:uniqueId val="{000001F5-DBE9-4B73-8742-74A0F2DCF0F9}"/>
              </c:ext>
            </c:extLst>
          </c:dPt>
          <c:dPt>
            <c:idx val="250"/>
            <c:invertIfNegative val="1"/>
            <c:bubble3D val="0"/>
            <c:spPr>
              <a:solidFill>
                <a:srgbClr val="7ECAC4"/>
              </a:solidFill>
            </c:spPr>
            <c:extLst>
              <c:ext xmlns:c16="http://schemas.microsoft.com/office/drawing/2014/chart" uri="{C3380CC4-5D6E-409C-BE32-E72D297353CC}">
                <c16:uniqueId val="{000001F7-DBE9-4B73-8742-74A0F2DCF0F9}"/>
              </c:ext>
            </c:extLst>
          </c:dPt>
          <c:dPt>
            <c:idx val="251"/>
            <c:invertIfNegative val="1"/>
            <c:bubble3D val="0"/>
            <c:spPr>
              <a:solidFill>
                <a:srgbClr val="7ECAC4"/>
              </a:solidFill>
            </c:spPr>
            <c:extLst>
              <c:ext xmlns:c16="http://schemas.microsoft.com/office/drawing/2014/chart" uri="{C3380CC4-5D6E-409C-BE32-E72D297353CC}">
                <c16:uniqueId val="{000001F9-DBE9-4B73-8742-74A0F2DCF0F9}"/>
              </c:ext>
            </c:extLst>
          </c:dPt>
          <c:dPt>
            <c:idx val="252"/>
            <c:invertIfNegative val="1"/>
            <c:bubble3D val="0"/>
            <c:spPr>
              <a:solidFill>
                <a:srgbClr val="7ECAC4"/>
              </a:solidFill>
            </c:spPr>
            <c:extLst>
              <c:ext xmlns:c16="http://schemas.microsoft.com/office/drawing/2014/chart" uri="{C3380CC4-5D6E-409C-BE32-E72D297353CC}">
                <c16:uniqueId val="{000001FB-DBE9-4B73-8742-74A0F2DCF0F9}"/>
              </c:ext>
            </c:extLst>
          </c:dPt>
          <c:dPt>
            <c:idx val="253"/>
            <c:invertIfNegative val="1"/>
            <c:bubble3D val="0"/>
            <c:spPr>
              <a:solidFill>
                <a:srgbClr val="7ECAC4"/>
              </a:solidFill>
            </c:spPr>
            <c:extLst>
              <c:ext xmlns:c16="http://schemas.microsoft.com/office/drawing/2014/chart" uri="{C3380CC4-5D6E-409C-BE32-E72D297353CC}">
                <c16:uniqueId val="{000001FD-DBE9-4B73-8742-74A0F2DCF0F9}"/>
              </c:ext>
            </c:extLst>
          </c:dPt>
          <c:dPt>
            <c:idx val="254"/>
            <c:invertIfNegative val="1"/>
            <c:bubble3D val="0"/>
            <c:spPr>
              <a:solidFill>
                <a:srgbClr val="7ECAC4"/>
              </a:solidFill>
            </c:spPr>
            <c:extLst>
              <c:ext xmlns:c16="http://schemas.microsoft.com/office/drawing/2014/chart" uri="{C3380CC4-5D6E-409C-BE32-E72D297353CC}">
                <c16:uniqueId val="{000001FF-DBE9-4B73-8742-74A0F2DCF0F9}"/>
              </c:ext>
            </c:extLst>
          </c:dPt>
          <c:dPt>
            <c:idx val="255"/>
            <c:invertIfNegative val="1"/>
            <c:bubble3D val="0"/>
            <c:spPr>
              <a:solidFill>
                <a:srgbClr val="7ECAC4"/>
              </a:solidFill>
            </c:spPr>
            <c:extLst>
              <c:ext xmlns:c16="http://schemas.microsoft.com/office/drawing/2014/chart" uri="{C3380CC4-5D6E-409C-BE32-E72D297353CC}">
                <c16:uniqueId val="{00000201-DBE9-4B73-8742-74A0F2DCF0F9}"/>
              </c:ext>
            </c:extLst>
          </c:dPt>
          <c:dPt>
            <c:idx val="256"/>
            <c:invertIfNegative val="1"/>
            <c:bubble3D val="0"/>
            <c:spPr>
              <a:solidFill>
                <a:srgbClr val="7ECAC4"/>
              </a:solidFill>
            </c:spPr>
            <c:extLst>
              <c:ext xmlns:c16="http://schemas.microsoft.com/office/drawing/2014/chart" uri="{C3380CC4-5D6E-409C-BE32-E72D297353CC}">
                <c16:uniqueId val="{00000203-DBE9-4B73-8742-74A0F2DCF0F9}"/>
              </c:ext>
            </c:extLst>
          </c:dPt>
          <c:dPt>
            <c:idx val="257"/>
            <c:invertIfNegative val="1"/>
            <c:bubble3D val="0"/>
            <c:spPr>
              <a:solidFill>
                <a:srgbClr val="7ECAC4"/>
              </a:solidFill>
            </c:spPr>
            <c:extLst>
              <c:ext xmlns:c16="http://schemas.microsoft.com/office/drawing/2014/chart" uri="{C3380CC4-5D6E-409C-BE32-E72D297353CC}">
                <c16:uniqueId val="{00000205-DBE9-4B73-8742-74A0F2DCF0F9}"/>
              </c:ext>
            </c:extLst>
          </c:dPt>
          <c:dPt>
            <c:idx val="258"/>
            <c:invertIfNegative val="1"/>
            <c:bubble3D val="0"/>
            <c:spPr>
              <a:solidFill>
                <a:srgbClr val="7ECAC4"/>
              </a:solidFill>
            </c:spPr>
            <c:extLst>
              <c:ext xmlns:c16="http://schemas.microsoft.com/office/drawing/2014/chart" uri="{C3380CC4-5D6E-409C-BE32-E72D297353CC}">
                <c16:uniqueId val="{00000207-DBE9-4B73-8742-74A0F2DCF0F9}"/>
              </c:ext>
            </c:extLst>
          </c:dPt>
          <c:dPt>
            <c:idx val="259"/>
            <c:invertIfNegative val="1"/>
            <c:bubble3D val="0"/>
            <c:spPr>
              <a:solidFill>
                <a:srgbClr val="7ECAC4"/>
              </a:solidFill>
            </c:spPr>
            <c:extLst>
              <c:ext xmlns:c16="http://schemas.microsoft.com/office/drawing/2014/chart" uri="{C3380CC4-5D6E-409C-BE32-E72D297353CC}">
                <c16:uniqueId val="{00000209-DBE9-4B73-8742-74A0F2DCF0F9}"/>
              </c:ext>
            </c:extLst>
          </c:dPt>
          <c:dPt>
            <c:idx val="260"/>
            <c:invertIfNegative val="1"/>
            <c:bubble3D val="0"/>
            <c:spPr>
              <a:solidFill>
                <a:srgbClr val="7ECAC4"/>
              </a:solidFill>
            </c:spPr>
            <c:extLst>
              <c:ext xmlns:c16="http://schemas.microsoft.com/office/drawing/2014/chart" uri="{C3380CC4-5D6E-409C-BE32-E72D297353CC}">
                <c16:uniqueId val="{0000020B-DBE9-4B73-8742-74A0F2DCF0F9}"/>
              </c:ext>
            </c:extLst>
          </c:dPt>
          <c:dPt>
            <c:idx val="261"/>
            <c:invertIfNegative val="1"/>
            <c:bubble3D val="0"/>
            <c:spPr>
              <a:solidFill>
                <a:srgbClr val="7ECAC4"/>
              </a:solidFill>
            </c:spPr>
            <c:extLst>
              <c:ext xmlns:c16="http://schemas.microsoft.com/office/drawing/2014/chart" uri="{C3380CC4-5D6E-409C-BE32-E72D297353CC}">
                <c16:uniqueId val="{0000020D-DBE9-4B73-8742-74A0F2DCF0F9}"/>
              </c:ext>
            </c:extLst>
          </c:dPt>
          <c:dPt>
            <c:idx val="262"/>
            <c:invertIfNegative val="1"/>
            <c:bubble3D val="0"/>
            <c:spPr>
              <a:solidFill>
                <a:srgbClr val="7ECAC4"/>
              </a:solidFill>
            </c:spPr>
            <c:extLst>
              <c:ext xmlns:c16="http://schemas.microsoft.com/office/drawing/2014/chart" uri="{C3380CC4-5D6E-409C-BE32-E72D297353CC}">
                <c16:uniqueId val="{0000020F-DBE9-4B73-8742-74A0F2DCF0F9}"/>
              </c:ext>
            </c:extLst>
          </c:dPt>
          <c:dPt>
            <c:idx val="263"/>
            <c:invertIfNegative val="1"/>
            <c:bubble3D val="0"/>
            <c:spPr>
              <a:solidFill>
                <a:srgbClr val="7ECAC4"/>
              </a:solidFill>
            </c:spPr>
            <c:extLst>
              <c:ext xmlns:c16="http://schemas.microsoft.com/office/drawing/2014/chart" uri="{C3380CC4-5D6E-409C-BE32-E72D297353CC}">
                <c16:uniqueId val="{00000211-DBE9-4B73-8742-74A0F2DCF0F9}"/>
              </c:ext>
            </c:extLst>
          </c:dPt>
          <c:dPt>
            <c:idx val="264"/>
            <c:invertIfNegative val="1"/>
            <c:bubble3D val="0"/>
            <c:spPr>
              <a:solidFill>
                <a:srgbClr val="7ECAC4"/>
              </a:solidFill>
            </c:spPr>
            <c:extLst>
              <c:ext xmlns:c16="http://schemas.microsoft.com/office/drawing/2014/chart" uri="{C3380CC4-5D6E-409C-BE32-E72D297353CC}">
                <c16:uniqueId val="{00000213-DBE9-4B73-8742-74A0F2DCF0F9}"/>
              </c:ext>
            </c:extLst>
          </c:dPt>
          <c:dPt>
            <c:idx val="265"/>
            <c:invertIfNegative val="1"/>
            <c:bubble3D val="0"/>
            <c:spPr>
              <a:solidFill>
                <a:srgbClr val="7ECAC4"/>
              </a:solidFill>
            </c:spPr>
            <c:extLst>
              <c:ext xmlns:c16="http://schemas.microsoft.com/office/drawing/2014/chart" uri="{C3380CC4-5D6E-409C-BE32-E72D297353CC}">
                <c16:uniqueId val="{00000215-DBE9-4B73-8742-74A0F2DCF0F9}"/>
              </c:ext>
            </c:extLst>
          </c:dPt>
          <c:dPt>
            <c:idx val="266"/>
            <c:invertIfNegative val="1"/>
            <c:bubble3D val="0"/>
            <c:spPr>
              <a:solidFill>
                <a:srgbClr val="7ECAC4"/>
              </a:solidFill>
            </c:spPr>
            <c:extLst>
              <c:ext xmlns:c16="http://schemas.microsoft.com/office/drawing/2014/chart" uri="{C3380CC4-5D6E-409C-BE32-E72D297353CC}">
                <c16:uniqueId val="{00000217-DBE9-4B73-8742-74A0F2DCF0F9}"/>
              </c:ext>
            </c:extLst>
          </c:dPt>
          <c:dPt>
            <c:idx val="267"/>
            <c:invertIfNegative val="1"/>
            <c:bubble3D val="0"/>
            <c:spPr>
              <a:solidFill>
                <a:srgbClr val="7ECAC4"/>
              </a:solidFill>
            </c:spPr>
            <c:extLst>
              <c:ext xmlns:c16="http://schemas.microsoft.com/office/drawing/2014/chart" uri="{C3380CC4-5D6E-409C-BE32-E72D297353CC}">
                <c16:uniqueId val="{00000219-DBE9-4B73-8742-74A0F2DCF0F9}"/>
              </c:ext>
            </c:extLst>
          </c:dPt>
          <c:dPt>
            <c:idx val="268"/>
            <c:invertIfNegative val="1"/>
            <c:bubble3D val="0"/>
            <c:spPr>
              <a:solidFill>
                <a:srgbClr val="7ECAC4"/>
              </a:solidFill>
            </c:spPr>
            <c:extLst>
              <c:ext xmlns:c16="http://schemas.microsoft.com/office/drawing/2014/chart" uri="{C3380CC4-5D6E-409C-BE32-E72D297353CC}">
                <c16:uniqueId val="{0000021B-DBE9-4B73-8742-74A0F2DCF0F9}"/>
              </c:ext>
            </c:extLst>
          </c:dPt>
          <c:dPt>
            <c:idx val="269"/>
            <c:invertIfNegative val="1"/>
            <c:bubble3D val="0"/>
            <c:spPr>
              <a:solidFill>
                <a:srgbClr val="7ECAC4"/>
              </a:solidFill>
            </c:spPr>
            <c:extLst>
              <c:ext xmlns:c16="http://schemas.microsoft.com/office/drawing/2014/chart" uri="{C3380CC4-5D6E-409C-BE32-E72D297353CC}">
                <c16:uniqueId val="{0000021D-DBE9-4B73-8742-74A0F2DCF0F9}"/>
              </c:ext>
            </c:extLst>
          </c:dPt>
          <c:dPt>
            <c:idx val="270"/>
            <c:invertIfNegative val="1"/>
            <c:bubble3D val="0"/>
            <c:spPr>
              <a:solidFill>
                <a:srgbClr val="7ECAC4"/>
              </a:solidFill>
            </c:spPr>
            <c:extLst>
              <c:ext xmlns:c16="http://schemas.microsoft.com/office/drawing/2014/chart" uri="{C3380CC4-5D6E-409C-BE32-E72D297353CC}">
                <c16:uniqueId val="{0000021F-DBE9-4B73-8742-74A0F2DCF0F9}"/>
              </c:ext>
            </c:extLst>
          </c:dPt>
          <c:dPt>
            <c:idx val="271"/>
            <c:invertIfNegative val="1"/>
            <c:bubble3D val="0"/>
            <c:spPr>
              <a:solidFill>
                <a:srgbClr val="7ECAC4"/>
              </a:solidFill>
            </c:spPr>
            <c:extLst>
              <c:ext xmlns:c16="http://schemas.microsoft.com/office/drawing/2014/chart" uri="{C3380CC4-5D6E-409C-BE32-E72D297353CC}">
                <c16:uniqueId val="{00000221-DBE9-4B73-8742-74A0F2DCF0F9}"/>
              </c:ext>
            </c:extLst>
          </c:dPt>
          <c:dPt>
            <c:idx val="272"/>
            <c:invertIfNegative val="1"/>
            <c:bubble3D val="0"/>
            <c:spPr>
              <a:solidFill>
                <a:srgbClr val="7ECAC4"/>
              </a:solidFill>
            </c:spPr>
            <c:extLst>
              <c:ext xmlns:c16="http://schemas.microsoft.com/office/drawing/2014/chart" uri="{C3380CC4-5D6E-409C-BE32-E72D297353CC}">
                <c16:uniqueId val="{00000223-DBE9-4B73-8742-74A0F2DCF0F9}"/>
              </c:ext>
            </c:extLst>
          </c:dPt>
          <c:dPt>
            <c:idx val="273"/>
            <c:invertIfNegative val="1"/>
            <c:bubble3D val="0"/>
            <c:spPr>
              <a:solidFill>
                <a:srgbClr val="7ECAC4"/>
              </a:solidFill>
            </c:spPr>
            <c:extLst>
              <c:ext xmlns:c16="http://schemas.microsoft.com/office/drawing/2014/chart" uri="{C3380CC4-5D6E-409C-BE32-E72D297353CC}">
                <c16:uniqueId val="{00000225-DBE9-4B73-8742-74A0F2DCF0F9}"/>
              </c:ext>
            </c:extLst>
          </c:dPt>
          <c:dPt>
            <c:idx val="274"/>
            <c:invertIfNegative val="1"/>
            <c:bubble3D val="0"/>
            <c:spPr>
              <a:solidFill>
                <a:srgbClr val="7ECAC4"/>
              </a:solidFill>
            </c:spPr>
            <c:extLst>
              <c:ext xmlns:c16="http://schemas.microsoft.com/office/drawing/2014/chart" uri="{C3380CC4-5D6E-409C-BE32-E72D297353CC}">
                <c16:uniqueId val="{00000227-DBE9-4B73-8742-74A0F2DCF0F9}"/>
              </c:ext>
            </c:extLst>
          </c:dPt>
          <c:dPt>
            <c:idx val="275"/>
            <c:invertIfNegative val="1"/>
            <c:bubble3D val="0"/>
            <c:spPr>
              <a:solidFill>
                <a:srgbClr val="7ECAC4"/>
              </a:solidFill>
            </c:spPr>
            <c:extLst>
              <c:ext xmlns:c16="http://schemas.microsoft.com/office/drawing/2014/chart" uri="{C3380CC4-5D6E-409C-BE32-E72D297353CC}">
                <c16:uniqueId val="{00000229-DBE9-4B73-8742-74A0F2DCF0F9}"/>
              </c:ext>
            </c:extLst>
          </c:dPt>
          <c:dPt>
            <c:idx val="276"/>
            <c:invertIfNegative val="1"/>
            <c:bubble3D val="0"/>
            <c:spPr>
              <a:solidFill>
                <a:srgbClr val="7ECAC4"/>
              </a:solidFill>
            </c:spPr>
            <c:extLst>
              <c:ext xmlns:c16="http://schemas.microsoft.com/office/drawing/2014/chart" uri="{C3380CC4-5D6E-409C-BE32-E72D297353CC}">
                <c16:uniqueId val="{0000022B-DBE9-4B73-8742-74A0F2DCF0F9}"/>
              </c:ext>
            </c:extLst>
          </c:dPt>
          <c:dPt>
            <c:idx val="277"/>
            <c:invertIfNegative val="1"/>
            <c:bubble3D val="0"/>
            <c:spPr>
              <a:solidFill>
                <a:srgbClr val="7ECAC4"/>
              </a:solidFill>
            </c:spPr>
            <c:extLst>
              <c:ext xmlns:c16="http://schemas.microsoft.com/office/drawing/2014/chart" uri="{C3380CC4-5D6E-409C-BE32-E72D297353CC}">
                <c16:uniqueId val="{0000022D-DBE9-4B73-8742-74A0F2DCF0F9}"/>
              </c:ext>
            </c:extLst>
          </c:dPt>
          <c:dPt>
            <c:idx val="278"/>
            <c:invertIfNegative val="1"/>
            <c:bubble3D val="0"/>
            <c:spPr>
              <a:solidFill>
                <a:srgbClr val="7ECAC4"/>
              </a:solidFill>
            </c:spPr>
            <c:extLst>
              <c:ext xmlns:c16="http://schemas.microsoft.com/office/drawing/2014/chart" uri="{C3380CC4-5D6E-409C-BE32-E72D297353CC}">
                <c16:uniqueId val="{0000022F-DBE9-4B73-8742-74A0F2DCF0F9}"/>
              </c:ext>
            </c:extLst>
          </c:dPt>
          <c:dPt>
            <c:idx val="279"/>
            <c:invertIfNegative val="1"/>
            <c:bubble3D val="0"/>
            <c:spPr>
              <a:solidFill>
                <a:srgbClr val="7ECAC4"/>
              </a:solidFill>
            </c:spPr>
            <c:extLst>
              <c:ext xmlns:c16="http://schemas.microsoft.com/office/drawing/2014/chart" uri="{C3380CC4-5D6E-409C-BE32-E72D297353CC}">
                <c16:uniqueId val="{00000231-DBE9-4B73-8742-74A0F2DCF0F9}"/>
              </c:ext>
            </c:extLst>
          </c:dPt>
          <c:dPt>
            <c:idx val="280"/>
            <c:invertIfNegative val="1"/>
            <c:bubble3D val="0"/>
            <c:spPr>
              <a:solidFill>
                <a:srgbClr val="7ECAC4"/>
              </a:solidFill>
            </c:spPr>
            <c:extLst>
              <c:ext xmlns:c16="http://schemas.microsoft.com/office/drawing/2014/chart" uri="{C3380CC4-5D6E-409C-BE32-E72D297353CC}">
                <c16:uniqueId val="{00000233-DBE9-4B73-8742-74A0F2DCF0F9}"/>
              </c:ext>
            </c:extLst>
          </c:dPt>
          <c:dPt>
            <c:idx val="281"/>
            <c:invertIfNegative val="1"/>
            <c:bubble3D val="0"/>
            <c:spPr>
              <a:solidFill>
                <a:srgbClr val="7ECAC4"/>
              </a:solidFill>
            </c:spPr>
            <c:extLst>
              <c:ext xmlns:c16="http://schemas.microsoft.com/office/drawing/2014/chart" uri="{C3380CC4-5D6E-409C-BE32-E72D297353CC}">
                <c16:uniqueId val="{00000235-DBE9-4B73-8742-74A0F2DCF0F9}"/>
              </c:ext>
            </c:extLst>
          </c:dPt>
          <c:dPt>
            <c:idx val="282"/>
            <c:invertIfNegative val="1"/>
            <c:bubble3D val="0"/>
            <c:spPr>
              <a:solidFill>
                <a:srgbClr val="7ECAC4"/>
              </a:solidFill>
            </c:spPr>
            <c:extLst>
              <c:ext xmlns:c16="http://schemas.microsoft.com/office/drawing/2014/chart" uri="{C3380CC4-5D6E-409C-BE32-E72D297353CC}">
                <c16:uniqueId val="{00000237-DBE9-4B73-8742-74A0F2DCF0F9}"/>
              </c:ext>
            </c:extLst>
          </c:dPt>
          <c:dPt>
            <c:idx val="283"/>
            <c:invertIfNegative val="1"/>
            <c:bubble3D val="0"/>
            <c:spPr>
              <a:solidFill>
                <a:srgbClr val="7ECAC4"/>
              </a:solidFill>
            </c:spPr>
            <c:extLst>
              <c:ext xmlns:c16="http://schemas.microsoft.com/office/drawing/2014/chart" uri="{C3380CC4-5D6E-409C-BE32-E72D297353CC}">
                <c16:uniqueId val="{00000239-DBE9-4B73-8742-74A0F2DCF0F9}"/>
              </c:ext>
            </c:extLst>
          </c:dPt>
          <c:dPt>
            <c:idx val="284"/>
            <c:invertIfNegative val="1"/>
            <c:bubble3D val="0"/>
            <c:spPr>
              <a:solidFill>
                <a:srgbClr val="7ECAC4"/>
              </a:solidFill>
            </c:spPr>
            <c:extLst>
              <c:ext xmlns:c16="http://schemas.microsoft.com/office/drawing/2014/chart" uri="{C3380CC4-5D6E-409C-BE32-E72D297353CC}">
                <c16:uniqueId val="{0000023B-DBE9-4B73-8742-74A0F2DCF0F9}"/>
              </c:ext>
            </c:extLst>
          </c:dPt>
          <c:dPt>
            <c:idx val="285"/>
            <c:invertIfNegative val="1"/>
            <c:bubble3D val="0"/>
            <c:spPr>
              <a:solidFill>
                <a:srgbClr val="7ECAC4"/>
              </a:solidFill>
            </c:spPr>
            <c:extLst>
              <c:ext xmlns:c16="http://schemas.microsoft.com/office/drawing/2014/chart" uri="{C3380CC4-5D6E-409C-BE32-E72D297353CC}">
                <c16:uniqueId val="{0000023D-DBE9-4B73-8742-74A0F2DCF0F9}"/>
              </c:ext>
            </c:extLst>
          </c:dPt>
          <c:dPt>
            <c:idx val="286"/>
            <c:invertIfNegative val="1"/>
            <c:bubble3D val="0"/>
            <c:spPr>
              <a:solidFill>
                <a:srgbClr val="7ECAC4"/>
              </a:solidFill>
            </c:spPr>
            <c:extLst>
              <c:ext xmlns:c16="http://schemas.microsoft.com/office/drawing/2014/chart" uri="{C3380CC4-5D6E-409C-BE32-E72D297353CC}">
                <c16:uniqueId val="{0000023F-DBE9-4B73-8742-74A0F2DCF0F9}"/>
              </c:ext>
            </c:extLst>
          </c:dPt>
          <c:dPt>
            <c:idx val="287"/>
            <c:invertIfNegative val="1"/>
            <c:bubble3D val="0"/>
            <c:spPr>
              <a:solidFill>
                <a:srgbClr val="7ECAC4"/>
              </a:solidFill>
            </c:spPr>
            <c:extLst>
              <c:ext xmlns:c16="http://schemas.microsoft.com/office/drawing/2014/chart" uri="{C3380CC4-5D6E-409C-BE32-E72D297353CC}">
                <c16:uniqueId val="{00000241-DBE9-4B73-8742-74A0F2DCF0F9}"/>
              </c:ext>
            </c:extLst>
          </c:dPt>
          <c:dPt>
            <c:idx val="288"/>
            <c:invertIfNegative val="1"/>
            <c:bubble3D val="0"/>
            <c:spPr>
              <a:solidFill>
                <a:srgbClr val="7ECAC4"/>
              </a:solidFill>
            </c:spPr>
            <c:extLst>
              <c:ext xmlns:c16="http://schemas.microsoft.com/office/drawing/2014/chart" uri="{C3380CC4-5D6E-409C-BE32-E72D297353CC}">
                <c16:uniqueId val="{00000243-DBE9-4B73-8742-74A0F2DCF0F9}"/>
              </c:ext>
            </c:extLst>
          </c:dPt>
          <c:dPt>
            <c:idx val="289"/>
            <c:invertIfNegative val="1"/>
            <c:bubble3D val="0"/>
            <c:spPr>
              <a:solidFill>
                <a:srgbClr val="7ECAC4"/>
              </a:solidFill>
            </c:spPr>
            <c:extLst>
              <c:ext xmlns:c16="http://schemas.microsoft.com/office/drawing/2014/chart" uri="{C3380CC4-5D6E-409C-BE32-E72D297353CC}">
                <c16:uniqueId val="{00000245-DBE9-4B73-8742-74A0F2DCF0F9}"/>
              </c:ext>
            </c:extLst>
          </c:dPt>
          <c:dPt>
            <c:idx val="290"/>
            <c:invertIfNegative val="1"/>
            <c:bubble3D val="0"/>
            <c:spPr>
              <a:solidFill>
                <a:srgbClr val="7ECAC4"/>
              </a:solidFill>
            </c:spPr>
            <c:extLst>
              <c:ext xmlns:c16="http://schemas.microsoft.com/office/drawing/2014/chart" uri="{C3380CC4-5D6E-409C-BE32-E72D297353CC}">
                <c16:uniqueId val="{00000247-DBE9-4B73-8742-74A0F2DCF0F9}"/>
              </c:ext>
            </c:extLst>
          </c:dPt>
          <c:dPt>
            <c:idx val="291"/>
            <c:invertIfNegative val="1"/>
            <c:bubble3D val="0"/>
            <c:spPr>
              <a:solidFill>
                <a:srgbClr val="7ECAC4"/>
              </a:solidFill>
            </c:spPr>
            <c:extLst>
              <c:ext xmlns:c16="http://schemas.microsoft.com/office/drawing/2014/chart" uri="{C3380CC4-5D6E-409C-BE32-E72D297353CC}">
                <c16:uniqueId val="{00000249-DBE9-4B73-8742-74A0F2DCF0F9}"/>
              </c:ext>
            </c:extLst>
          </c:dPt>
          <c:dPt>
            <c:idx val="292"/>
            <c:invertIfNegative val="1"/>
            <c:bubble3D val="0"/>
            <c:spPr>
              <a:solidFill>
                <a:srgbClr val="7ECAC4"/>
              </a:solidFill>
            </c:spPr>
            <c:extLst>
              <c:ext xmlns:c16="http://schemas.microsoft.com/office/drawing/2014/chart" uri="{C3380CC4-5D6E-409C-BE32-E72D297353CC}">
                <c16:uniqueId val="{0000024B-DBE9-4B73-8742-74A0F2DCF0F9}"/>
              </c:ext>
            </c:extLst>
          </c:dPt>
          <c:dPt>
            <c:idx val="293"/>
            <c:invertIfNegative val="1"/>
            <c:bubble3D val="0"/>
            <c:spPr>
              <a:solidFill>
                <a:srgbClr val="7ECAC4"/>
              </a:solidFill>
            </c:spPr>
            <c:extLst>
              <c:ext xmlns:c16="http://schemas.microsoft.com/office/drawing/2014/chart" uri="{C3380CC4-5D6E-409C-BE32-E72D297353CC}">
                <c16:uniqueId val="{0000024D-DBE9-4B73-8742-74A0F2DCF0F9}"/>
              </c:ext>
            </c:extLst>
          </c:dPt>
          <c:dPt>
            <c:idx val="294"/>
            <c:invertIfNegative val="1"/>
            <c:bubble3D val="0"/>
            <c:spPr>
              <a:solidFill>
                <a:srgbClr val="7ECAC4"/>
              </a:solidFill>
            </c:spPr>
            <c:extLst>
              <c:ext xmlns:c16="http://schemas.microsoft.com/office/drawing/2014/chart" uri="{C3380CC4-5D6E-409C-BE32-E72D297353CC}">
                <c16:uniqueId val="{0000024F-DBE9-4B73-8742-74A0F2DCF0F9}"/>
              </c:ext>
            </c:extLst>
          </c:dPt>
          <c:dPt>
            <c:idx val="295"/>
            <c:invertIfNegative val="1"/>
            <c:bubble3D val="0"/>
            <c:spPr>
              <a:solidFill>
                <a:srgbClr val="7ECAC4"/>
              </a:solidFill>
            </c:spPr>
            <c:extLst>
              <c:ext xmlns:c16="http://schemas.microsoft.com/office/drawing/2014/chart" uri="{C3380CC4-5D6E-409C-BE32-E72D297353CC}">
                <c16:uniqueId val="{00000251-DBE9-4B73-8742-74A0F2DCF0F9}"/>
              </c:ext>
            </c:extLst>
          </c:dPt>
          <c:dPt>
            <c:idx val="296"/>
            <c:invertIfNegative val="1"/>
            <c:bubble3D val="0"/>
            <c:spPr>
              <a:solidFill>
                <a:srgbClr val="7ECAC4"/>
              </a:solidFill>
            </c:spPr>
            <c:extLst>
              <c:ext xmlns:c16="http://schemas.microsoft.com/office/drawing/2014/chart" uri="{C3380CC4-5D6E-409C-BE32-E72D297353CC}">
                <c16:uniqueId val="{00000253-DBE9-4B73-8742-74A0F2DCF0F9}"/>
              </c:ext>
            </c:extLst>
          </c:dPt>
          <c:dPt>
            <c:idx val="297"/>
            <c:invertIfNegative val="1"/>
            <c:bubble3D val="0"/>
            <c:spPr>
              <a:solidFill>
                <a:srgbClr val="7ECAC4"/>
              </a:solidFill>
            </c:spPr>
            <c:extLst>
              <c:ext xmlns:c16="http://schemas.microsoft.com/office/drawing/2014/chart" uri="{C3380CC4-5D6E-409C-BE32-E72D297353CC}">
                <c16:uniqueId val="{00000255-DBE9-4B73-8742-74A0F2DCF0F9}"/>
              </c:ext>
            </c:extLst>
          </c:dPt>
          <c:dPt>
            <c:idx val="298"/>
            <c:invertIfNegative val="1"/>
            <c:bubble3D val="0"/>
            <c:spPr>
              <a:solidFill>
                <a:srgbClr val="7ECAC4"/>
              </a:solidFill>
            </c:spPr>
            <c:extLst>
              <c:ext xmlns:c16="http://schemas.microsoft.com/office/drawing/2014/chart" uri="{C3380CC4-5D6E-409C-BE32-E72D297353CC}">
                <c16:uniqueId val="{00000257-DBE9-4B73-8742-74A0F2DCF0F9}"/>
              </c:ext>
            </c:extLst>
          </c:dPt>
          <c:dPt>
            <c:idx val="299"/>
            <c:invertIfNegative val="1"/>
            <c:bubble3D val="0"/>
            <c:spPr>
              <a:solidFill>
                <a:srgbClr val="7ECAC4"/>
              </a:solidFill>
            </c:spPr>
            <c:extLst>
              <c:ext xmlns:c16="http://schemas.microsoft.com/office/drawing/2014/chart" uri="{C3380CC4-5D6E-409C-BE32-E72D297353CC}">
                <c16:uniqueId val="{00000259-DBE9-4B73-8742-74A0F2DCF0F9}"/>
              </c:ext>
            </c:extLst>
          </c:dPt>
          <c:dPt>
            <c:idx val="300"/>
            <c:invertIfNegative val="1"/>
            <c:bubble3D val="0"/>
            <c:spPr>
              <a:solidFill>
                <a:srgbClr val="7ECAC4"/>
              </a:solidFill>
            </c:spPr>
            <c:extLst>
              <c:ext xmlns:c16="http://schemas.microsoft.com/office/drawing/2014/chart" uri="{C3380CC4-5D6E-409C-BE32-E72D297353CC}">
                <c16:uniqueId val="{0000025B-DBE9-4B73-8742-74A0F2DCF0F9}"/>
              </c:ext>
            </c:extLst>
          </c:dPt>
          <c:dPt>
            <c:idx val="301"/>
            <c:invertIfNegative val="1"/>
            <c:bubble3D val="0"/>
            <c:spPr>
              <a:solidFill>
                <a:srgbClr val="7ECAC4"/>
              </a:solidFill>
            </c:spPr>
            <c:extLst>
              <c:ext xmlns:c16="http://schemas.microsoft.com/office/drawing/2014/chart" uri="{C3380CC4-5D6E-409C-BE32-E72D297353CC}">
                <c16:uniqueId val="{0000025D-DBE9-4B73-8742-74A0F2DCF0F9}"/>
              </c:ext>
            </c:extLst>
          </c:dPt>
          <c:dPt>
            <c:idx val="302"/>
            <c:invertIfNegative val="1"/>
            <c:bubble3D val="0"/>
            <c:spPr>
              <a:solidFill>
                <a:srgbClr val="AEABAB"/>
              </a:solidFill>
            </c:spPr>
            <c:extLst>
              <c:ext xmlns:c16="http://schemas.microsoft.com/office/drawing/2014/chart" uri="{C3380CC4-5D6E-409C-BE32-E72D297353CC}">
                <c16:uniqueId val="{0000025F-DBE9-4B73-8742-74A0F2DCF0F9}"/>
              </c:ext>
            </c:extLst>
          </c:dPt>
          <c:dPt>
            <c:idx val="303"/>
            <c:invertIfNegative val="1"/>
            <c:bubble3D val="0"/>
            <c:spPr>
              <a:solidFill>
                <a:srgbClr val="AEABAB"/>
              </a:solidFill>
            </c:spPr>
            <c:extLst>
              <c:ext xmlns:c16="http://schemas.microsoft.com/office/drawing/2014/chart" uri="{C3380CC4-5D6E-409C-BE32-E72D297353CC}">
                <c16:uniqueId val="{00000261-DBE9-4B73-8742-74A0F2DCF0F9}"/>
              </c:ext>
            </c:extLst>
          </c:dPt>
          <c:dPt>
            <c:idx val="304"/>
            <c:invertIfNegative val="1"/>
            <c:bubble3D val="0"/>
            <c:spPr>
              <a:solidFill>
                <a:srgbClr val="AEABAB"/>
              </a:solidFill>
            </c:spPr>
            <c:extLst>
              <c:ext xmlns:c16="http://schemas.microsoft.com/office/drawing/2014/chart" uri="{C3380CC4-5D6E-409C-BE32-E72D297353CC}">
                <c16:uniqueId val="{00000263-DBE9-4B73-8742-74A0F2DCF0F9}"/>
              </c:ext>
            </c:extLst>
          </c:dPt>
          <c:dPt>
            <c:idx val="305"/>
            <c:invertIfNegative val="1"/>
            <c:bubble3D val="0"/>
            <c:spPr>
              <a:solidFill>
                <a:srgbClr val="AEABAB"/>
              </a:solidFill>
            </c:spPr>
            <c:extLst>
              <c:ext xmlns:c16="http://schemas.microsoft.com/office/drawing/2014/chart" uri="{C3380CC4-5D6E-409C-BE32-E72D297353CC}">
                <c16:uniqueId val="{00000265-DBE9-4B73-8742-74A0F2DCF0F9}"/>
              </c:ext>
            </c:extLst>
          </c:dPt>
          <c:dPt>
            <c:idx val="306"/>
            <c:invertIfNegative val="1"/>
            <c:bubble3D val="0"/>
            <c:spPr>
              <a:solidFill>
                <a:srgbClr val="AEABAB"/>
              </a:solidFill>
            </c:spPr>
            <c:extLst>
              <c:ext xmlns:c16="http://schemas.microsoft.com/office/drawing/2014/chart" uri="{C3380CC4-5D6E-409C-BE32-E72D297353CC}">
                <c16:uniqueId val="{00000267-DBE9-4B73-8742-74A0F2DCF0F9}"/>
              </c:ext>
            </c:extLst>
          </c:dPt>
          <c:dPt>
            <c:idx val="307"/>
            <c:invertIfNegative val="1"/>
            <c:bubble3D val="0"/>
            <c:spPr>
              <a:solidFill>
                <a:srgbClr val="AEABAB"/>
              </a:solidFill>
            </c:spPr>
            <c:extLst>
              <c:ext xmlns:c16="http://schemas.microsoft.com/office/drawing/2014/chart" uri="{C3380CC4-5D6E-409C-BE32-E72D297353CC}">
                <c16:uniqueId val="{00000269-DBE9-4B73-8742-74A0F2DCF0F9}"/>
              </c:ext>
            </c:extLst>
          </c:dPt>
          <c:dPt>
            <c:idx val="308"/>
            <c:invertIfNegative val="1"/>
            <c:bubble3D val="0"/>
            <c:spPr>
              <a:solidFill>
                <a:srgbClr val="AEABAB"/>
              </a:solidFill>
            </c:spPr>
            <c:extLst>
              <c:ext xmlns:c16="http://schemas.microsoft.com/office/drawing/2014/chart" uri="{C3380CC4-5D6E-409C-BE32-E72D297353CC}">
                <c16:uniqueId val="{0000026B-DBE9-4B73-8742-74A0F2DCF0F9}"/>
              </c:ext>
            </c:extLst>
          </c:dPt>
          <c:dPt>
            <c:idx val="309"/>
            <c:invertIfNegative val="1"/>
            <c:bubble3D val="0"/>
            <c:spPr>
              <a:solidFill>
                <a:srgbClr val="AEABAB"/>
              </a:solidFill>
            </c:spPr>
            <c:extLst>
              <c:ext xmlns:c16="http://schemas.microsoft.com/office/drawing/2014/chart" uri="{C3380CC4-5D6E-409C-BE32-E72D297353CC}">
                <c16:uniqueId val="{0000026D-DBE9-4B73-8742-74A0F2DCF0F9}"/>
              </c:ext>
            </c:extLst>
          </c:dPt>
          <c:dPt>
            <c:idx val="310"/>
            <c:invertIfNegative val="1"/>
            <c:bubble3D val="0"/>
            <c:spPr>
              <a:solidFill>
                <a:srgbClr val="AEABAB"/>
              </a:solidFill>
            </c:spPr>
            <c:extLst>
              <c:ext xmlns:c16="http://schemas.microsoft.com/office/drawing/2014/chart" uri="{C3380CC4-5D6E-409C-BE32-E72D297353CC}">
                <c16:uniqueId val="{0000026F-DBE9-4B73-8742-74A0F2DCF0F9}"/>
              </c:ext>
            </c:extLst>
          </c:dPt>
          <c:dPt>
            <c:idx val="311"/>
            <c:invertIfNegative val="1"/>
            <c:bubble3D val="0"/>
            <c:spPr>
              <a:solidFill>
                <a:srgbClr val="AEABAB"/>
              </a:solidFill>
            </c:spPr>
            <c:extLst>
              <c:ext xmlns:c16="http://schemas.microsoft.com/office/drawing/2014/chart" uri="{C3380CC4-5D6E-409C-BE32-E72D297353CC}">
                <c16:uniqueId val="{00000271-DBE9-4B73-8742-74A0F2DCF0F9}"/>
              </c:ext>
            </c:extLst>
          </c:dPt>
          <c:dPt>
            <c:idx val="312"/>
            <c:invertIfNegative val="1"/>
            <c:bubble3D val="0"/>
            <c:spPr>
              <a:solidFill>
                <a:srgbClr val="AEABAB"/>
              </a:solidFill>
            </c:spPr>
            <c:extLst>
              <c:ext xmlns:c16="http://schemas.microsoft.com/office/drawing/2014/chart" uri="{C3380CC4-5D6E-409C-BE32-E72D297353CC}">
                <c16:uniqueId val="{00000273-DBE9-4B73-8742-74A0F2DCF0F9}"/>
              </c:ext>
            </c:extLst>
          </c:dPt>
          <c:dPt>
            <c:idx val="313"/>
            <c:invertIfNegative val="1"/>
            <c:bubble3D val="0"/>
            <c:spPr>
              <a:solidFill>
                <a:srgbClr val="AEABAB"/>
              </a:solidFill>
            </c:spPr>
            <c:extLst>
              <c:ext xmlns:c16="http://schemas.microsoft.com/office/drawing/2014/chart" uri="{C3380CC4-5D6E-409C-BE32-E72D297353CC}">
                <c16:uniqueId val="{00000275-DBE9-4B73-8742-74A0F2DCF0F9}"/>
              </c:ext>
            </c:extLst>
          </c:dPt>
          <c:dPt>
            <c:idx val="314"/>
            <c:invertIfNegative val="1"/>
            <c:bubble3D val="0"/>
            <c:spPr>
              <a:solidFill>
                <a:srgbClr val="AEABAB"/>
              </a:solidFill>
            </c:spPr>
            <c:extLst>
              <c:ext xmlns:c16="http://schemas.microsoft.com/office/drawing/2014/chart" uri="{C3380CC4-5D6E-409C-BE32-E72D297353CC}">
                <c16:uniqueId val="{00000277-DBE9-4B73-8742-74A0F2DCF0F9}"/>
              </c:ext>
            </c:extLst>
          </c:dPt>
          <c:dPt>
            <c:idx val="315"/>
            <c:invertIfNegative val="1"/>
            <c:bubble3D val="0"/>
            <c:spPr>
              <a:solidFill>
                <a:srgbClr val="AEABAB"/>
              </a:solidFill>
            </c:spPr>
            <c:extLst>
              <c:ext xmlns:c16="http://schemas.microsoft.com/office/drawing/2014/chart" uri="{C3380CC4-5D6E-409C-BE32-E72D297353CC}">
                <c16:uniqueId val="{00000279-DBE9-4B73-8742-74A0F2DCF0F9}"/>
              </c:ext>
            </c:extLst>
          </c:dPt>
          <c:dPt>
            <c:idx val="316"/>
            <c:invertIfNegative val="1"/>
            <c:bubble3D val="0"/>
            <c:spPr>
              <a:solidFill>
                <a:srgbClr val="AEABAB"/>
              </a:solidFill>
            </c:spPr>
            <c:extLst>
              <c:ext xmlns:c16="http://schemas.microsoft.com/office/drawing/2014/chart" uri="{C3380CC4-5D6E-409C-BE32-E72D297353CC}">
                <c16:uniqueId val="{0000027B-DBE9-4B73-8742-74A0F2DCF0F9}"/>
              </c:ext>
            </c:extLst>
          </c:dPt>
          <c:dPt>
            <c:idx val="317"/>
            <c:invertIfNegative val="1"/>
            <c:bubble3D val="0"/>
            <c:spPr>
              <a:solidFill>
                <a:srgbClr val="AEABAB"/>
              </a:solidFill>
            </c:spPr>
            <c:extLst>
              <c:ext xmlns:c16="http://schemas.microsoft.com/office/drawing/2014/chart" uri="{C3380CC4-5D6E-409C-BE32-E72D297353CC}">
                <c16:uniqueId val="{0000027D-DBE9-4B73-8742-74A0F2DCF0F9}"/>
              </c:ext>
            </c:extLst>
          </c:dPt>
          <c:dPt>
            <c:idx val="318"/>
            <c:invertIfNegative val="1"/>
            <c:bubble3D val="0"/>
            <c:spPr>
              <a:solidFill>
                <a:srgbClr val="AEABAB"/>
              </a:solidFill>
            </c:spPr>
            <c:extLst>
              <c:ext xmlns:c16="http://schemas.microsoft.com/office/drawing/2014/chart" uri="{C3380CC4-5D6E-409C-BE32-E72D297353CC}">
                <c16:uniqueId val="{0000027F-DBE9-4B73-8742-74A0F2DCF0F9}"/>
              </c:ext>
            </c:extLst>
          </c:dPt>
          <c:dPt>
            <c:idx val="319"/>
            <c:invertIfNegative val="1"/>
            <c:bubble3D val="0"/>
            <c:spPr>
              <a:solidFill>
                <a:srgbClr val="AEABAB"/>
              </a:solidFill>
            </c:spPr>
            <c:extLst>
              <c:ext xmlns:c16="http://schemas.microsoft.com/office/drawing/2014/chart" uri="{C3380CC4-5D6E-409C-BE32-E72D297353CC}">
                <c16:uniqueId val="{00000281-DBE9-4B73-8742-74A0F2DCF0F9}"/>
              </c:ext>
            </c:extLst>
          </c:dPt>
          <c:dPt>
            <c:idx val="320"/>
            <c:invertIfNegative val="1"/>
            <c:bubble3D val="0"/>
            <c:spPr>
              <a:solidFill>
                <a:srgbClr val="AEABAB"/>
              </a:solidFill>
            </c:spPr>
            <c:extLst>
              <c:ext xmlns:c16="http://schemas.microsoft.com/office/drawing/2014/chart" uri="{C3380CC4-5D6E-409C-BE32-E72D297353CC}">
                <c16:uniqueId val="{00000283-DBE9-4B73-8742-74A0F2DCF0F9}"/>
              </c:ext>
            </c:extLst>
          </c:dPt>
          <c:dPt>
            <c:idx val="321"/>
            <c:invertIfNegative val="1"/>
            <c:bubble3D val="0"/>
            <c:spPr>
              <a:solidFill>
                <a:srgbClr val="AEABAB"/>
              </a:solidFill>
            </c:spPr>
            <c:extLst>
              <c:ext xmlns:c16="http://schemas.microsoft.com/office/drawing/2014/chart" uri="{C3380CC4-5D6E-409C-BE32-E72D297353CC}">
                <c16:uniqueId val="{00000285-DBE9-4B73-8742-74A0F2DCF0F9}"/>
              </c:ext>
            </c:extLst>
          </c:dPt>
          <c:dPt>
            <c:idx val="322"/>
            <c:invertIfNegative val="1"/>
            <c:bubble3D val="0"/>
            <c:spPr>
              <a:solidFill>
                <a:srgbClr val="AEABAB"/>
              </a:solidFill>
            </c:spPr>
            <c:extLst>
              <c:ext xmlns:c16="http://schemas.microsoft.com/office/drawing/2014/chart" uri="{C3380CC4-5D6E-409C-BE32-E72D297353CC}">
                <c16:uniqueId val="{00000287-DBE9-4B73-8742-74A0F2DCF0F9}"/>
              </c:ext>
            </c:extLst>
          </c:dPt>
          <c:dPt>
            <c:idx val="323"/>
            <c:invertIfNegative val="1"/>
            <c:bubble3D val="0"/>
            <c:spPr>
              <a:solidFill>
                <a:srgbClr val="AEABAB"/>
              </a:solidFill>
            </c:spPr>
            <c:extLst>
              <c:ext xmlns:c16="http://schemas.microsoft.com/office/drawing/2014/chart" uri="{C3380CC4-5D6E-409C-BE32-E72D297353CC}">
                <c16:uniqueId val="{00000289-DBE9-4B73-8742-74A0F2DCF0F9}"/>
              </c:ext>
            </c:extLst>
          </c:dPt>
          <c:dPt>
            <c:idx val="324"/>
            <c:invertIfNegative val="1"/>
            <c:bubble3D val="0"/>
            <c:spPr>
              <a:solidFill>
                <a:srgbClr val="AEABAB"/>
              </a:solidFill>
            </c:spPr>
            <c:extLst>
              <c:ext xmlns:c16="http://schemas.microsoft.com/office/drawing/2014/chart" uri="{C3380CC4-5D6E-409C-BE32-E72D297353CC}">
                <c16:uniqueId val="{0000028B-DBE9-4B73-8742-74A0F2DCF0F9}"/>
              </c:ext>
            </c:extLst>
          </c:dPt>
          <c:dPt>
            <c:idx val="325"/>
            <c:invertIfNegative val="1"/>
            <c:bubble3D val="0"/>
            <c:spPr>
              <a:solidFill>
                <a:srgbClr val="AEABAB"/>
              </a:solidFill>
            </c:spPr>
            <c:extLst>
              <c:ext xmlns:c16="http://schemas.microsoft.com/office/drawing/2014/chart" uri="{C3380CC4-5D6E-409C-BE32-E72D297353CC}">
                <c16:uniqueId val="{0000028D-DBE9-4B73-8742-74A0F2DCF0F9}"/>
              </c:ext>
            </c:extLst>
          </c:dPt>
          <c:dPt>
            <c:idx val="326"/>
            <c:invertIfNegative val="1"/>
            <c:bubble3D val="0"/>
            <c:spPr>
              <a:solidFill>
                <a:srgbClr val="AEABAB"/>
              </a:solidFill>
            </c:spPr>
            <c:extLst>
              <c:ext xmlns:c16="http://schemas.microsoft.com/office/drawing/2014/chart" uri="{C3380CC4-5D6E-409C-BE32-E72D297353CC}">
                <c16:uniqueId val="{0000028F-DBE9-4B73-8742-74A0F2DCF0F9}"/>
              </c:ext>
            </c:extLst>
          </c:dPt>
          <c:dPt>
            <c:idx val="327"/>
            <c:invertIfNegative val="1"/>
            <c:bubble3D val="0"/>
            <c:spPr>
              <a:solidFill>
                <a:srgbClr val="AEABAB"/>
              </a:solidFill>
            </c:spPr>
            <c:extLst>
              <c:ext xmlns:c16="http://schemas.microsoft.com/office/drawing/2014/chart" uri="{C3380CC4-5D6E-409C-BE32-E72D297353CC}">
                <c16:uniqueId val="{00000291-DBE9-4B73-8742-74A0F2DCF0F9}"/>
              </c:ext>
            </c:extLst>
          </c:dPt>
          <c:dPt>
            <c:idx val="328"/>
            <c:invertIfNegative val="1"/>
            <c:bubble3D val="0"/>
            <c:spPr>
              <a:solidFill>
                <a:srgbClr val="AEABAB"/>
              </a:solidFill>
            </c:spPr>
            <c:extLst>
              <c:ext xmlns:c16="http://schemas.microsoft.com/office/drawing/2014/chart" uri="{C3380CC4-5D6E-409C-BE32-E72D297353CC}">
                <c16:uniqueId val="{00000293-DBE9-4B73-8742-74A0F2DCF0F9}"/>
              </c:ext>
            </c:extLst>
          </c:dPt>
          <c:dPt>
            <c:idx val="329"/>
            <c:invertIfNegative val="1"/>
            <c:bubble3D val="0"/>
            <c:spPr>
              <a:solidFill>
                <a:srgbClr val="AEABAB"/>
              </a:solidFill>
            </c:spPr>
            <c:extLst>
              <c:ext xmlns:c16="http://schemas.microsoft.com/office/drawing/2014/chart" uri="{C3380CC4-5D6E-409C-BE32-E72D297353CC}">
                <c16:uniqueId val="{00000295-DBE9-4B73-8742-74A0F2DCF0F9}"/>
              </c:ext>
            </c:extLst>
          </c:dPt>
          <c:dPt>
            <c:idx val="330"/>
            <c:invertIfNegative val="1"/>
            <c:bubble3D val="0"/>
            <c:spPr>
              <a:solidFill>
                <a:srgbClr val="AEABAB"/>
              </a:solidFill>
            </c:spPr>
            <c:extLst>
              <c:ext xmlns:c16="http://schemas.microsoft.com/office/drawing/2014/chart" uri="{C3380CC4-5D6E-409C-BE32-E72D297353CC}">
                <c16:uniqueId val="{00000297-DBE9-4B73-8742-74A0F2DCF0F9}"/>
              </c:ext>
            </c:extLst>
          </c:dPt>
          <c:dPt>
            <c:idx val="331"/>
            <c:invertIfNegative val="1"/>
            <c:bubble3D val="0"/>
            <c:spPr>
              <a:solidFill>
                <a:srgbClr val="AEABAB"/>
              </a:solidFill>
            </c:spPr>
            <c:extLst>
              <c:ext xmlns:c16="http://schemas.microsoft.com/office/drawing/2014/chart" uri="{C3380CC4-5D6E-409C-BE32-E72D297353CC}">
                <c16:uniqueId val="{00000299-DBE9-4B73-8742-74A0F2DCF0F9}"/>
              </c:ext>
            </c:extLst>
          </c:dPt>
          <c:dPt>
            <c:idx val="332"/>
            <c:invertIfNegative val="1"/>
            <c:bubble3D val="0"/>
            <c:spPr>
              <a:solidFill>
                <a:srgbClr val="AEABAB"/>
              </a:solidFill>
            </c:spPr>
            <c:extLst>
              <c:ext xmlns:c16="http://schemas.microsoft.com/office/drawing/2014/chart" uri="{C3380CC4-5D6E-409C-BE32-E72D297353CC}">
                <c16:uniqueId val="{0000029B-DBE9-4B73-8742-74A0F2DCF0F9}"/>
              </c:ext>
            </c:extLst>
          </c:dPt>
          <c:dPt>
            <c:idx val="333"/>
            <c:invertIfNegative val="1"/>
            <c:bubble3D val="0"/>
            <c:spPr>
              <a:solidFill>
                <a:srgbClr val="AEABAB"/>
              </a:solidFill>
            </c:spPr>
            <c:extLst>
              <c:ext xmlns:c16="http://schemas.microsoft.com/office/drawing/2014/chart" uri="{C3380CC4-5D6E-409C-BE32-E72D297353CC}">
                <c16:uniqueId val="{0000029D-DBE9-4B73-8742-74A0F2DCF0F9}"/>
              </c:ext>
            </c:extLst>
          </c:dPt>
          <c:dPt>
            <c:idx val="334"/>
            <c:invertIfNegative val="1"/>
            <c:bubble3D val="0"/>
            <c:spPr>
              <a:solidFill>
                <a:srgbClr val="AEABAB"/>
              </a:solidFill>
            </c:spPr>
            <c:extLst>
              <c:ext xmlns:c16="http://schemas.microsoft.com/office/drawing/2014/chart" uri="{C3380CC4-5D6E-409C-BE32-E72D297353CC}">
                <c16:uniqueId val="{0000029F-DBE9-4B73-8742-74A0F2DCF0F9}"/>
              </c:ext>
            </c:extLst>
          </c:dPt>
          <c:dPt>
            <c:idx val="335"/>
            <c:invertIfNegative val="1"/>
            <c:bubble3D val="0"/>
            <c:spPr>
              <a:solidFill>
                <a:srgbClr val="AEABAB"/>
              </a:solidFill>
            </c:spPr>
            <c:extLst>
              <c:ext xmlns:c16="http://schemas.microsoft.com/office/drawing/2014/chart" uri="{C3380CC4-5D6E-409C-BE32-E72D297353CC}">
                <c16:uniqueId val="{000002A1-DBE9-4B73-8742-74A0F2DCF0F9}"/>
              </c:ext>
            </c:extLst>
          </c:dPt>
          <c:dPt>
            <c:idx val="336"/>
            <c:invertIfNegative val="1"/>
            <c:bubble3D val="0"/>
            <c:spPr>
              <a:solidFill>
                <a:srgbClr val="AEABAB"/>
              </a:solidFill>
            </c:spPr>
            <c:extLst>
              <c:ext xmlns:c16="http://schemas.microsoft.com/office/drawing/2014/chart" uri="{C3380CC4-5D6E-409C-BE32-E72D297353CC}">
                <c16:uniqueId val="{000002A3-DBE9-4B73-8742-74A0F2DCF0F9}"/>
              </c:ext>
            </c:extLst>
          </c:dPt>
          <c:dPt>
            <c:idx val="337"/>
            <c:invertIfNegative val="1"/>
            <c:bubble3D val="0"/>
            <c:spPr>
              <a:solidFill>
                <a:srgbClr val="AEABAB"/>
              </a:solidFill>
            </c:spPr>
            <c:extLst>
              <c:ext xmlns:c16="http://schemas.microsoft.com/office/drawing/2014/chart" uri="{C3380CC4-5D6E-409C-BE32-E72D297353CC}">
                <c16:uniqueId val="{000002A5-DBE9-4B73-8742-74A0F2DCF0F9}"/>
              </c:ext>
            </c:extLst>
          </c:dPt>
          <c:dPt>
            <c:idx val="338"/>
            <c:invertIfNegative val="1"/>
            <c:bubble3D val="0"/>
            <c:spPr>
              <a:solidFill>
                <a:srgbClr val="AEABAB"/>
              </a:solidFill>
            </c:spPr>
            <c:extLst>
              <c:ext xmlns:c16="http://schemas.microsoft.com/office/drawing/2014/chart" uri="{C3380CC4-5D6E-409C-BE32-E72D297353CC}">
                <c16:uniqueId val="{000002A7-DBE9-4B73-8742-74A0F2DCF0F9}"/>
              </c:ext>
            </c:extLst>
          </c:dPt>
          <c:dPt>
            <c:idx val="339"/>
            <c:invertIfNegative val="1"/>
            <c:bubble3D val="0"/>
            <c:spPr>
              <a:solidFill>
                <a:srgbClr val="AEABAB"/>
              </a:solidFill>
            </c:spPr>
            <c:extLst>
              <c:ext xmlns:c16="http://schemas.microsoft.com/office/drawing/2014/chart" uri="{C3380CC4-5D6E-409C-BE32-E72D297353CC}">
                <c16:uniqueId val="{000002A9-DBE9-4B73-8742-74A0F2DCF0F9}"/>
              </c:ext>
            </c:extLst>
          </c:dPt>
          <c:dPt>
            <c:idx val="340"/>
            <c:invertIfNegative val="1"/>
            <c:bubble3D val="0"/>
            <c:spPr>
              <a:solidFill>
                <a:srgbClr val="AEABAB"/>
              </a:solidFill>
            </c:spPr>
            <c:extLst>
              <c:ext xmlns:c16="http://schemas.microsoft.com/office/drawing/2014/chart" uri="{C3380CC4-5D6E-409C-BE32-E72D297353CC}">
                <c16:uniqueId val="{000002AB-DBE9-4B73-8742-74A0F2DCF0F9}"/>
              </c:ext>
            </c:extLst>
          </c:dPt>
          <c:dPt>
            <c:idx val="341"/>
            <c:invertIfNegative val="1"/>
            <c:bubble3D val="0"/>
            <c:spPr>
              <a:solidFill>
                <a:srgbClr val="AEABAB"/>
              </a:solidFill>
            </c:spPr>
            <c:extLst>
              <c:ext xmlns:c16="http://schemas.microsoft.com/office/drawing/2014/chart" uri="{C3380CC4-5D6E-409C-BE32-E72D297353CC}">
                <c16:uniqueId val="{000002AD-DBE9-4B73-8742-74A0F2DCF0F9}"/>
              </c:ext>
            </c:extLst>
          </c:dPt>
          <c:dPt>
            <c:idx val="342"/>
            <c:invertIfNegative val="1"/>
            <c:bubble3D val="0"/>
            <c:spPr>
              <a:solidFill>
                <a:srgbClr val="AEABAB"/>
              </a:solidFill>
            </c:spPr>
            <c:extLst>
              <c:ext xmlns:c16="http://schemas.microsoft.com/office/drawing/2014/chart" uri="{C3380CC4-5D6E-409C-BE32-E72D297353CC}">
                <c16:uniqueId val="{000002AF-DBE9-4B73-8742-74A0F2DCF0F9}"/>
              </c:ext>
            </c:extLst>
          </c:dPt>
          <c:dPt>
            <c:idx val="343"/>
            <c:invertIfNegative val="1"/>
            <c:bubble3D val="0"/>
            <c:spPr>
              <a:solidFill>
                <a:srgbClr val="AEABAB"/>
              </a:solidFill>
            </c:spPr>
            <c:extLst>
              <c:ext xmlns:c16="http://schemas.microsoft.com/office/drawing/2014/chart" uri="{C3380CC4-5D6E-409C-BE32-E72D297353CC}">
                <c16:uniqueId val="{000002B1-DBE9-4B73-8742-74A0F2DCF0F9}"/>
              </c:ext>
            </c:extLst>
          </c:dPt>
          <c:dPt>
            <c:idx val="344"/>
            <c:invertIfNegative val="1"/>
            <c:bubble3D val="0"/>
            <c:spPr>
              <a:solidFill>
                <a:srgbClr val="AEABAB"/>
              </a:solidFill>
            </c:spPr>
            <c:extLst>
              <c:ext xmlns:c16="http://schemas.microsoft.com/office/drawing/2014/chart" uri="{C3380CC4-5D6E-409C-BE32-E72D297353CC}">
                <c16:uniqueId val="{000002B3-DBE9-4B73-8742-74A0F2DCF0F9}"/>
              </c:ext>
            </c:extLst>
          </c:dPt>
          <c:dPt>
            <c:idx val="345"/>
            <c:invertIfNegative val="1"/>
            <c:bubble3D val="0"/>
            <c:spPr>
              <a:solidFill>
                <a:srgbClr val="AEABAB"/>
              </a:solidFill>
            </c:spPr>
            <c:extLst>
              <c:ext xmlns:c16="http://schemas.microsoft.com/office/drawing/2014/chart" uri="{C3380CC4-5D6E-409C-BE32-E72D297353CC}">
                <c16:uniqueId val="{000002B5-DBE9-4B73-8742-74A0F2DCF0F9}"/>
              </c:ext>
            </c:extLst>
          </c:dPt>
          <c:dPt>
            <c:idx val="346"/>
            <c:invertIfNegative val="1"/>
            <c:bubble3D val="0"/>
            <c:spPr>
              <a:solidFill>
                <a:srgbClr val="AEABAB"/>
              </a:solidFill>
            </c:spPr>
            <c:extLst>
              <c:ext xmlns:c16="http://schemas.microsoft.com/office/drawing/2014/chart" uri="{C3380CC4-5D6E-409C-BE32-E72D297353CC}">
                <c16:uniqueId val="{000002B7-DBE9-4B73-8742-74A0F2DCF0F9}"/>
              </c:ext>
            </c:extLst>
          </c:dPt>
          <c:dPt>
            <c:idx val="347"/>
            <c:invertIfNegative val="1"/>
            <c:bubble3D val="0"/>
            <c:spPr>
              <a:solidFill>
                <a:srgbClr val="AEABAB"/>
              </a:solidFill>
            </c:spPr>
            <c:extLst>
              <c:ext xmlns:c16="http://schemas.microsoft.com/office/drawing/2014/chart" uri="{C3380CC4-5D6E-409C-BE32-E72D297353CC}">
                <c16:uniqueId val="{000002B9-DBE9-4B73-8742-74A0F2DCF0F9}"/>
              </c:ext>
            </c:extLst>
          </c:dPt>
          <c:dPt>
            <c:idx val="348"/>
            <c:invertIfNegative val="1"/>
            <c:bubble3D val="0"/>
            <c:spPr>
              <a:solidFill>
                <a:srgbClr val="AEABAB"/>
              </a:solidFill>
            </c:spPr>
            <c:extLst>
              <c:ext xmlns:c16="http://schemas.microsoft.com/office/drawing/2014/chart" uri="{C3380CC4-5D6E-409C-BE32-E72D297353CC}">
                <c16:uniqueId val="{000002BB-DBE9-4B73-8742-74A0F2DCF0F9}"/>
              </c:ext>
            </c:extLst>
          </c:dPt>
          <c:dPt>
            <c:idx val="349"/>
            <c:invertIfNegative val="1"/>
            <c:bubble3D val="0"/>
            <c:spPr>
              <a:solidFill>
                <a:srgbClr val="AEABAB"/>
              </a:solidFill>
            </c:spPr>
            <c:extLst>
              <c:ext xmlns:c16="http://schemas.microsoft.com/office/drawing/2014/chart" uri="{C3380CC4-5D6E-409C-BE32-E72D297353CC}">
                <c16:uniqueId val="{000002BD-DBE9-4B73-8742-74A0F2DCF0F9}"/>
              </c:ext>
            </c:extLst>
          </c:dPt>
          <c:dPt>
            <c:idx val="350"/>
            <c:invertIfNegative val="1"/>
            <c:bubble3D val="0"/>
            <c:spPr>
              <a:solidFill>
                <a:srgbClr val="AEABAB"/>
              </a:solidFill>
            </c:spPr>
            <c:extLst>
              <c:ext xmlns:c16="http://schemas.microsoft.com/office/drawing/2014/chart" uri="{C3380CC4-5D6E-409C-BE32-E72D297353CC}">
                <c16:uniqueId val="{000002BF-DBE9-4B73-8742-74A0F2DCF0F9}"/>
              </c:ext>
            </c:extLst>
          </c:dPt>
          <c:dPt>
            <c:idx val="351"/>
            <c:invertIfNegative val="1"/>
            <c:bubble3D val="0"/>
            <c:spPr>
              <a:solidFill>
                <a:srgbClr val="AEABAB"/>
              </a:solidFill>
            </c:spPr>
            <c:extLst>
              <c:ext xmlns:c16="http://schemas.microsoft.com/office/drawing/2014/chart" uri="{C3380CC4-5D6E-409C-BE32-E72D297353CC}">
                <c16:uniqueId val="{000002C1-DBE9-4B73-8742-74A0F2DCF0F9}"/>
              </c:ext>
            </c:extLst>
          </c:dPt>
          <c:dPt>
            <c:idx val="352"/>
            <c:invertIfNegative val="1"/>
            <c:bubble3D val="0"/>
            <c:spPr>
              <a:solidFill>
                <a:srgbClr val="AEABAB"/>
              </a:solidFill>
            </c:spPr>
            <c:extLst>
              <c:ext xmlns:c16="http://schemas.microsoft.com/office/drawing/2014/chart" uri="{C3380CC4-5D6E-409C-BE32-E72D297353CC}">
                <c16:uniqueId val="{000002C3-DBE9-4B73-8742-74A0F2DCF0F9}"/>
              </c:ext>
            </c:extLst>
          </c:dPt>
          <c:dPt>
            <c:idx val="353"/>
            <c:invertIfNegative val="1"/>
            <c:bubble3D val="0"/>
            <c:spPr>
              <a:solidFill>
                <a:srgbClr val="AEABAB"/>
              </a:solidFill>
            </c:spPr>
            <c:extLst>
              <c:ext xmlns:c16="http://schemas.microsoft.com/office/drawing/2014/chart" uri="{C3380CC4-5D6E-409C-BE32-E72D297353CC}">
                <c16:uniqueId val="{000002C5-DBE9-4B73-8742-74A0F2DCF0F9}"/>
              </c:ext>
            </c:extLst>
          </c:dPt>
          <c:dPt>
            <c:idx val="354"/>
            <c:invertIfNegative val="1"/>
            <c:bubble3D val="0"/>
            <c:spPr>
              <a:solidFill>
                <a:srgbClr val="AEABAB"/>
              </a:solidFill>
            </c:spPr>
            <c:extLst>
              <c:ext xmlns:c16="http://schemas.microsoft.com/office/drawing/2014/chart" uri="{C3380CC4-5D6E-409C-BE32-E72D297353CC}">
                <c16:uniqueId val="{000002C7-DBE9-4B73-8742-74A0F2DCF0F9}"/>
              </c:ext>
            </c:extLst>
          </c:dPt>
          <c:dPt>
            <c:idx val="355"/>
            <c:invertIfNegative val="1"/>
            <c:bubble3D val="0"/>
            <c:spPr>
              <a:solidFill>
                <a:srgbClr val="AEABAB"/>
              </a:solidFill>
            </c:spPr>
            <c:extLst>
              <c:ext xmlns:c16="http://schemas.microsoft.com/office/drawing/2014/chart" uri="{C3380CC4-5D6E-409C-BE32-E72D297353CC}">
                <c16:uniqueId val="{000002C9-DBE9-4B73-8742-74A0F2DCF0F9}"/>
              </c:ext>
            </c:extLst>
          </c:dPt>
          <c:dPt>
            <c:idx val="356"/>
            <c:invertIfNegative val="1"/>
            <c:bubble3D val="0"/>
            <c:spPr>
              <a:solidFill>
                <a:srgbClr val="AEABAB"/>
              </a:solidFill>
            </c:spPr>
            <c:extLst>
              <c:ext xmlns:c16="http://schemas.microsoft.com/office/drawing/2014/chart" uri="{C3380CC4-5D6E-409C-BE32-E72D297353CC}">
                <c16:uniqueId val="{000002CB-DBE9-4B73-8742-74A0F2DCF0F9}"/>
              </c:ext>
            </c:extLst>
          </c:dPt>
          <c:dPt>
            <c:idx val="357"/>
            <c:invertIfNegative val="1"/>
            <c:bubble3D val="0"/>
            <c:spPr>
              <a:solidFill>
                <a:srgbClr val="AEABAB"/>
              </a:solidFill>
            </c:spPr>
            <c:extLst>
              <c:ext xmlns:c16="http://schemas.microsoft.com/office/drawing/2014/chart" uri="{C3380CC4-5D6E-409C-BE32-E72D297353CC}">
                <c16:uniqueId val="{000002CD-DBE9-4B73-8742-74A0F2DCF0F9}"/>
              </c:ext>
            </c:extLst>
          </c:dPt>
          <c:dPt>
            <c:idx val="358"/>
            <c:invertIfNegative val="1"/>
            <c:bubble3D val="0"/>
            <c:spPr>
              <a:solidFill>
                <a:srgbClr val="AEABAB"/>
              </a:solidFill>
            </c:spPr>
            <c:extLst>
              <c:ext xmlns:c16="http://schemas.microsoft.com/office/drawing/2014/chart" uri="{C3380CC4-5D6E-409C-BE32-E72D297353CC}">
                <c16:uniqueId val="{000002CF-DBE9-4B73-8742-74A0F2DCF0F9}"/>
              </c:ext>
            </c:extLst>
          </c:dPt>
          <c:dPt>
            <c:idx val="359"/>
            <c:invertIfNegative val="1"/>
            <c:bubble3D val="0"/>
            <c:spPr>
              <a:solidFill>
                <a:srgbClr val="AEABAB"/>
              </a:solidFill>
            </c:spPr>
            <c:extLst>
              <c:ext xmlns:c16="http://schemas.microsoft.com/office/drawing/2014/chart" uri="{C3380CC4-5D6E-409C-BE32-E72D297353CC}">
                <c16:uniqueId val="{000002D1-DBE9-4B73-8742-74A0F2DCF0F9}"/>
              </c:ext>
            </c:extLst>
          </c:dPt>
          <c:dPt>
            <c:idx val="360"/>
            <c:invertIfNegative val="1"/>
            <c:bubble3D val="0"/>
            <c:spPr>
              <a:solidFill>
                <a:srgbClr val="AEABAB"/>
              </a:solidFill>
            </c:spPr>
            <c:extLst>
              <c:ext xmlns:c16="http://schemas.microsoft.com/office/drawing/2014/chart" uri="{C3380CC4-5D6E-409C-BE32-E72D297353CC}">
                <c16:uniqueId val="{000002D3-DBE9-4B73-8742-74A0F2DCF0F9}"/>
              </c:ext>
            </c:extLst>
          </c:dPt>
          <c:dPt>
            <c:idx val="361"/>
            <c:invertIfNegative val="1"/>
            <c:bubble3D val="0"/>
            <c:spPr>
              <a:solidFill>
                <a:srgbClr val="AEABAB"/>
              </a:solidFill>
            </c:spPr>
            <c:extLst>
              <c:ext xmlns:c16="http://schemas.microsoft.com/office/drawing/2014/chart" uri="{C3380CC4-5D6E-409C-BE32-E72D297353CC}">
                <c16:uniqueId val="{000002D5-DBE9-4B73-8742-74A0F2DCF0F9}"/>
              </c:ext>
            </c:extLst>
          </c:dPt>
          <c:dPt>
            <c:idx val="362"/>
            <c:invertIfNegative val="1"/>
            <c:bubble3D val="0"/>
            <c:spPr>
              <a:solidFill>
                <a:srgbClr val="AEABAB"/>
              </a:solidFill>
            </c:spPr>
            <c:extLst>
              <c:ext xmlns:c16="http://schemas.microsoft.com/office/drawing/2014/chart" uri="{C3380CC4-5D6E-409C-BE32-E72D297353CC}">
                <c16:uniqueId val="{000002D7-DBE9-4B73-8742-74A0F2DCF0F9}"/>
              </c:ext>
            </c:extLst>
          </c:dPt>
          <c:dPt>
            <c:idx val="363"/>
            <c:invertIfNegative val="1"/>
            <c:bubble3D val="0"/>
            <c:spPr>
              <a:solidFill>
                <a:srgbClr val="AEABAB"/>
              </a:solidFill>
            </c:spPr>
            <c:extLst>
              <c:ext xmlns:c16="http://schemas.microsoft.com/office/drawing/2014/chart" uri="{C3380CC4-5D6E-409C-BE32-E72D297353CC}">
                <c16:uniqueId val="{000002D9-DBE9-4B73-8742-74A0F2DCF0F9}"/>
              </c:ext>
            </c:extLst>
          </c:dPt>
          <c:dPt>
            <c:idx val="364"/>
            <c:invertIfNegative val="1"/>
            <c:bubble3D val="0"/>
            <c:spPr>
              <a:solidFill>
                <a:srgbClr val="AEABAB"/>
              </a:solidFill>
            </c:spPr>
            <c:extLst>
              <c:ext xmlns:c16="http://schemas.microsoft.com/office/drawing/2014/chart" uri="{C3380CC4-5D6E-409C-BE32-E72D297353CC}">
                <c16:uniqueId val="{000002DB-DBE9-4B73-8742-74A0F2DCF0F9}"/>
              </c:ext>
            </c:extLst>
          </c:dPt>
          <c:dPt>
            <c:idx val="365"/>
            <c:invertIfNegative val="1"/>
            <c:bubble3D val="0"/>
            <c:spPr>
              <a:solidFill>
                <a:srgbClr val="AEABAB"/>
              </a:solidFill>
            </c:spPr>
            <c:extLst>
              <c:ext xmlns:c16="http://schemas.microsoft.com/office/drawing/2014/chart" uri="{C3380CC4-5D6E-409C-BE32-E72D297353CC}">
                <c16:uniqueId val="{000002DD-DBE9-4B73-8742-74A0F2DCF0F9}"/>
              </c:ext>
            </c:extLst>
          </c:dPt>
          <c:dPt>
            <c:idx val="366"/>
            <c:invertIfNegative val="1"/>
            <c:bubble3D val="0"/>
            <c:spPr>
              <a:solidFill>
                <a:srgbClr val="AEABAB"/>
              </a:solidFill>
            </c:spPr>
            <c:extLst>
              <c:ext xmlns:c16="http://schemas.microsoft.com/office/drawing/2014/chart" uri="{C3380CC4-5D6E-409C-BE32-E72D297353CC}">
                <c16:uniqueId val="{000002DF-DBE9-4B73-8742-74A0F2DCF0F9}"/>
              </c:ext>
            </c:extLst>
          </c:dPt>
          <c:dPt>
            <c:idx val="367"/>
            <c:invertIfNegative val="1"/>
            <c:bubble3D val="0"/>
            <c:spPr>
              <a:solidFill>
                <a:srgbClr val="AEABAB"/>
              </a:solidFill>
            </c:spPr>
            <c:extLst>
              <c:ext xmlns:c16="http://schemas.microsoft.com/office/drawing/2014/chart" uri="{C3380CC4-5D6E-409C-BE32-E72D297353CC}">
                <c16:uniqueId val="{000002E1-DBE9-4B73-8742-74A0F2DCF0F9}"/>
              </c:ext>
            </c:extLst>
          </c:dPt>
          <c:dPt>
            <c:idx val="368"/>
            <c:invertIfNegative val="1"/>
            <c:bubble3D val="0"/>
            <c:spPr>
              <a:solidFill>
                <a:srgbClr val="AEABAB"/>
              </a:solidFill>
            </c:spPr>
            <c:extLst>
              <c:ext xmlns:c16="http://schemas.microsoft.com/office/drawing/2014/chart" uri="{C3380CC4-5D6E-409C-BE32-E72D297353CC}">
                <c16:uniqueId val="{000002E3-DBE9-4B73-8742-74A0F2DCF0F9}"/>
              </c:ext>
            </c:extLst>
          </c:dPt>
          <c:dPt>
            <c:idx val="369"/>
            <c:invertIfNegative val="1"/>
            <c:bubble3D val="0"/>
            <c:spPr>
              <a:solidFill>
                <a:srgbClr val="AEABAB"/>
              </a:solidFill>
            </c:spPr>
            <c:extLst>
              <c:ext xmlns:c16="http://schemas.microsoft.com/office/drawing/2014/chart" uri="{C3380CC4-5D6E-409C-BE32-E72D297353CC}">
                <c16:uniqueId val="{000002E5-DBE9-4B73-8742-74A0F2DCF0F9}"/>
              </c:ext>
            </c:extLst>
          </c:dPt>
          <c:dPt>
            <c:idx val="370"/>
            <c:invertIfNegative val="1"/>
            <c:bubble3D val="0"/>
            <c:spPr>
              <a:solidFill>
                <a:srgbClr val="AEABAB"/>
              </a:solidFill>
            </c:spPr>
            <c:extLst>
              <c:ext xmlns:c16="http://schemas.microsoft.com/office/drawing/2014/chart" uri="{C3380CC4-5D6E-409C-BE32-E72D297353CC}">
                <c16:uniqueId val="{000002E7-DBE9-4B73-8742-74A0F2DCF0F9}"/>
              </c:ext>
            </c:extLst>
          </c:dPt>
          <c:dPt>
            <c:idx val="371"/>
            <c:invertIfNegative val="1"/>
            <c:bubble3D val="0"/>
            <c:spPr>
              <a:solidFill>
                <a:srgbClr val="AEABAB"/>
              </a:solidFill>
            </c:spPr>
            <c:extLst>
              <c:ext xmlns:c16="http://schemas.microsoft.com/office/drawing/2014/chart" uri="{C3380CC4-5D6E-409C-BE32-E72D297353CC}">
                <c16:uniqueId val="{000002E9-DBE9-4B73-8742-74A0F2DCF0F9}"/>
              </c:ext>
            </c:extLst>
          </c:dPt>
          <c:dPt>
            <c:idx val="372"/>
            <c:invertIfNegative val="1"/>
            <c:bubble3D val="0"/>
            <c:spPr>
              <a:solidFill>
                <a:srgbClr val="AEABAB"/>
              </a:solidFill>
            </c:spPr>
            <c:extLst>
              <c:ext xmlns:c16="http://schemas.microsoft.com/office/drawing/2014/chart" uri="{C3380CC4-5D6E-409C-BE32-E72D297353CC}">
                <c16:uniqueId val="{000002EB-DBE9-4B73-8742-74A0F2DCF0F9}"/>
              </c:ext>
            </c:extLst>
          </c:dPt>
          <c:dPt>
            <c:idx val="373"/>
            <c:invertIfNegative val="1"/>
            <c:bubble3D val="0"/>
            <c:spPr>
              <a:solidFill>
                <a:srgbClr val="AEABAB"/>
              </a:solidFill>
            </c:spPr>
            <c:extLst>
              <c:ext xmlns:c16="http://schemas.microsoft.com/office/drawing/2014/chart" uri="{C3380CC4-5D6E-409C-BE32-E72D297353CC}">
                <c16:uniqueId val="{000002ED-DBE9-4B73-8742-74A0F2DCF0F9}"/>
              </c:ext>
            </c:extLst>
          </c:dPt>
          <c:dPt>
            <c:idx val="374"/>
            <c:invertIfNegative val="1"/>
            <c:bubble3D val="0"/>
            <c:spPr>
              <a:solidFill>
                <a:srgbClr val="AEABAB"/>
              </a:solidFill>
            </c:spPr>
            <c:extLst>
              <c:ext xmlns:c16="http://schemas.microsoft.com/office/drawing/2014/chart" uri="{C3380CC4-5D6E-409C-BE32-E72D297353CC}">
                <c16:uniqueId val="{000002EF-DBE9-4B73-8742-74A0F2DCF0F9}"/>
              </c:ext>
            </c:extLst>
          </c:dPt>
          <c:dPt>
            <c:idx val="375"/>
            <c:invertIfNegative val="1"/>
            <c:bubble3D val="0"/>
            <c:spPr>
              <a:solidFill>
                <a:srgbClr val="AEABAB"/>
              </a:solidFill>
            </c:spPr>
            <c:extLst>
              <c:ext xmlns:c16="http://schemas.microsoft.com/office/drawing/2014/chart" uri="{C3380CC4-5D6E-409C-BE32-E72D297353CC}">
                <c16:uniqueId val="{000002F1-DBE9-4B73-8742-74A0F2DCF0F9}"/>
              </c:ext>
            </c:extLst>
          </c:dPt>
          <c:dPt>
            <c:idx val="376"/>
            <c:invertIfNegative val="1"/>
            <c:bubble3D val="0"/>
            <c:spPr>
              <a:solidFill>
                <a:srgbClr val="AEABAB"/>
              </a:solidFill>
            </c:spPr>
            <c:extLst>
              <c:ext xmlns:c16="http://schemas.microsoft.com/office/drawing/2014/chart" uri="{C3380CC4-5D6E-409C-BE32-E72D297353CC}">
                <c16:uniqueId val="{000002F3-DBE9-4B73-8742-74A0F2DCF0F9}"/>
              </c:ext>
            </c:extLst>
          </c:dPt>
          <c:dPt>
            <c:idx val="377"/>
            <c:invertIfNegative val="1"/>
            <c:bubble3D val="0"/>
            <c:spPr>
              <a:solidFill>
                <a:srgbClr val="AEABAB"/>
              </a:solidFill>
            </c:spPr>
            <c:extLst>
              <c:ext xmlns:c16="http://schemas.microsoft.com/office/drawing/2014/chart" uri="{C3380CC4-5D6E-409C-BE32-E72D297353CC}">
                <c16:uniqueId val="{000002F5-DBE9-4B73-8742-74A0F2DCF0F9}"/>
              </c:ext>
            </c:extLst>
          </c:dPt>
          <c:dPt>
            <c:idx val="378"/>
            <c:invertIfNegative val="1"/>
            <c:bubble3D val="0"/>
            <c:spPr>
              <a:solidFill>
                <a:srgbClr val="AEABAB"/>
              </a:solidFill>
            </c:spPr>
            <c:extLst>
              <c:ext xmlns:c16="http://schemas.microsoft.com/office/drawing/2014/chart" uri="{C3380CC4-5D6E-409C-BE32-E72D297353CC}">
                <c16:uniqueId val="{000002F7-DBE9-4B73-8742-74A0F2DCF0F9}"/>
              </c:ext>
            </c:extLst>
          </c:dPt>
          <c:dPt>
            <c:idx val="379"/>
            <c:invertIfNegative val="1"/>
            <c:bubble3D val="0"/>
            <c:spPr>
              <a:solidFill>
                <a:srgbClr val="AEABAB"/>
              </a:solidFill>
            </c:spPr>
            <c:extLst>
              <c:ext xmlns:c16="http://schemas.microsoft.com/office/drawing/2014/chart" uri="{C3380CC4-5D6E-409C-BE32-E72D297353CC}">
                <c16:uniqueId val="{000002F9-DBE9-4B73-8742-74A0F2DCF0F9}"/>
              </c:ext>
            </c:extLst>
          </c:dPt>
          <c:dPt>
            <c:idx val="380"/>
            <c:invertIfNegative val="1"/>
            <c:bubble3D val="0"/>
            <c:spPr>
              <a:solidFill>
                <a:srgbClr val="AEABAB"/>
              </a:solidFill>
            </c:spPr>
            <c:extLst>
              <c:ext xmlns:c16="http://schemas.microsoft.com/office/drawing/2014/chart" uri="{C3380CC4-5D6E-409C-BE32-E72D297353CC}">
                <c16:uniqueId val="{000002FB-DBE9-4B73-8742-74A0F2DCF0F9}"/>
              </c:ext>
            </c:extLst>
          </c:dPt>
          <c:dPt>
            <c:idx val="381"/>
            <c:invertIfNegative val="1"/>
            <c:bubble3D val="0"/>
            <c:spPr>
              <a:solidFill>
                <a:srgbClr val="AEABAB"/>
              </a:solidFill>
            </c:spPr>
            <c:extLst>
              <c:ext xmlns:c16="http://schemas.microsoft.com/office/drawing/2014/chart" uri="{C3380CC4-5D6E-409C-BE32-E72D297353CC}">
                <c16:uniqueId val="{000002FD-DBE9-4B73-8742-74A0F2DCF0F9}"/>
              </c:ext>
            </c:extLst>
          </c:dPt>
          <c:dPt>
            <c:idx val="382"/>
            <c:invertIfNegative val="1"/>
            <c:bubble3D val="0"/>
            <c:spPr>
              <a:solidFill>
                <a:srgbClr val="AEABAB"/>
              </a:solidFill>
            </c:spPr>
            <c:extLst>
              <c:ext xmlns:c16="http://schemas.microsoft.com/office/drawing/2014/chart" uri="{C3380CC4-5D6E-409C-BE32-E72D297353CC}">
                <c16:uniqueId val="{000002FF-DBE9-4B73-8742-74A0F2DCF0F9}"/>
              </c:ext>
            </c:extLst>
          </c:dPt>
          <c:dPt>
            <c:idx val="383"/>
            <c:invertIfNegative val="1"/>
            <c:bubble3D val="0"/>
            <c:spPr>
              <a:solidFill>
                <a:srgbClr val="AEABAB"/>
              </a:solidFill>
            </c:spPr>
            <c:extLst>
              <c:ext xmlns:c16="http://schemas.microsoft.com/office/drawing/2014/chart" uri="{C3380CC4-5D6E-409C-BE32-E72D297353CC}">
                <c16:uniqueId val="{00000301-DBE9-4B73-8742-74A0F2DCF0F9}"/>
              </c:ext>
            </c:extLst>
          </c:dPt>
          <c:dPt>
            <c:idx val="384"/>
            <c:invertIfNegative val="1"/>
            <c:bubble3D val="0"/>
            <c:spPr>
              <a:solidFill>
                <a:srgbClr val="AEABAB"/>
              </a:solidFill>
            </c:spPr>
            <c:extLst>
              <c:ext xmlns:c16="http://schemas.microsoft.com/office/drawing/2014/chart" uri="{C3380CC4-5D6E-409C-BE32-E72D297353CC}">
                <c16:uniqueId val="{00000303-DBE9-4B73-8742-74A0F2DCF0F9}"/>
              </c:ext>
            </c:extLst>
          </c:dPt>
          <c:dPt>
            <c:idx val="385"/>
            <c:invertIfNegative val="1"/>
            <c:bubble3D val="0"/>
            <c:spPr>
              <a:solidFill>
                <a:srgbClr val="AEABAB"/>
              </a:solidFill>
            </c:spPr>
            <c:extLst>
              <c:ext xmlns:c16="http://schemas.microsoft.com/office/drawing/2014/chart" uri="{C3380CC4-5D6E-409C-BE32-E72D297353CC}">
                <c16:uniqueId val="{00000305-DBE9-4B73-8742-74A0F2DCF0F9}"/>
              </c:ext>
            </c:extLst>
          </c:dPt>
          <c:dPt>
            <c:idx val="386"/>
            <c:invertIfNegative val="1"/>
            <c:bubble3D val="0"/>
            <c:spPr>
              <a:solidFill>
                <a:srgbClr val="AEABAB"/>
              </a:solidFill>
            </c:spPr>
            <c:extLst>
              <c:ext xmlns:c16="http://schemas.microsoft.com/office/drawing/2014/chart" uri="{C3380CC4-5D6E-409C-BE32-E72D297353CC}">
                <c16:uniqueId val="{00000307-DBE9-4B73-8742-74A0F2DCF0F9}"/>
              </c:ext>
            </c:extLst>
          </c:dPt>
          <c:dPt>
            <c:idx val="387"/>
            <c:invertIfNegative val="1"/>
            <c:bubble3D val="0"/>
            <c:spPr>
              <a:solidFill>
                <a:srgbClr val="AEABAB"/>
              </a:solidFill>
            </c:spPr>
            <c:extLst>
              <c:ext xmlns:c16="http://schemas.microsoft.com/office/drawing/2014/chart" uri="{C3380CC4-5D6E-409C-BE32-E72D297353CC}">
                <c16:uniqueId val="{00000309-DBE9-4B73-8742-74A0F2DCF0F9}"/>
              </c:ext>
            </c:extLst>
          </c:dPt>
          <c:dPt>
            <c:idx val="388"/>
            <c:invertIfNegative val="1"/>
            <c:bubble3D val="0"/>
            <c:spPr>
              <a:solidFill>
                <a:srgbClr val="AEABAB"/>
              </a:solidFill>
            </c:spPr>
            <c:extLst>
              <c:ext xmlns:c16="http://schemas.microsoft.com/office/drawing/2014/chart" uri="{C3380CC4-5D6E-409C-BE32-E72D297353CC}">
                <c16:uniqueId val="{0000030B-DBE9-4B73-8742-74A0F2DCF0F9}"/>
              </c:ext>
            </c:extLst>
          </c:dPt>
          <c:dPt>
            <c:idx val="389"/>
            <c:invertIfNegative val="1"/>
            <c:bubble3D val="0"/>
            <c:spPr>
              <a:solidFill>
                <a:srgbClr val="AEABAB"/>
              </a:solidFill>
            </c:spPr>
            <c:extLst>
              <c:ext xmlns:c16="http://schemas.microsoft.com/office/drawing/2014/chart" uri="{C3380CC4-5D6E-409C-BE32-E72D297353CC}">
                <c16:uniqueId val="{0000030D-DBE9-4B73-8742-74A0F2DCF0F9}"/>
              </c:ext>
            </c:extLst>
          </c:dPt>
          <c:dPt>
            <c:idx val="390"/>
            <c:invertIfNegative val="1"/>
            <c:bubble3D val="0"/>
            <c:spPr>
              <a:solidFill>
                <a:srgbClr val="AEABAB"/>
              </a:solidFill>
            </c:spPr>
            <c:extLst>
              <c:ext xmlns:c16="http://schemas.microsoft.com/office/drawing/2014/chart" uri="{C3380CC4-5D6E-409C-BE32-E72D297353CC}">
                <c16:uniqueId val="{0000030F-DBE9-4B73-8742-74A0F2DCF0F9}"/>
              </c:ext>
            </c:extLst>
          </c:dPt>
          <c:dPt>
            <c:idx val="391"/>
            <c:invertIfNegative val="1"/>
            <c:bubble3D val="0"/>
            <c:spPr>
              <a:solidFill>
                <a:srgbClr val="AEABAB"/>
              </a:solidFill>
            </c:spPr>
            <c:extLst>
              <c:ext xmlns:c16="http://schemas.microsoft.com/office/drawing/2014/chart" uri="{C3380CC4-5D6E-409C-BE32-E72D297353CC}">
                <c16:uniqueId val="{00000311-DBE9-4B73-8742-74A0F2DCF0F9}"/>
              </c:ext>
            </c:extLst>
          </c:dPt>
          <c:dPt>
            <c:idx val="392"/>
            <c:invertIfNegative val="1"/>
            <c:bubble3D val="0"/>
            <c:spPr>
              <a:solidFill>
                <a:srgbClr val="AEABAB"/>
              </a:solidFill>
            </c:spPr>
            <c:extLst>
              <c:ext xmlns:c16="http://schemas.microsoft.com/office/drawing/2014/chart" uri="{C3380CC4-5D6E-409C-BE32-E72D297353CC}">
                <c16:uniqueId val="{00000313-DBE9-4B73-8742-74A0F2DCF0F9}"/>
              </c:ext>
            </c:extLst>
          </c:dPt>
          <c:dPt>
            <c:idx val="393"/>
            <c:invertIfNegative val="1"/>
            <c:bubble3D val="0"/>
            <c:spPr>
              <a:solidFill>
                <a:srgbClr val="AEABAB"/>
              </a:solidFill>
            </c:spPr>
            <c:extLst>
              <c:ext xmlns:c16="http://schemas.microsoft.com/office/drawing/2014/chart" uri="{C3380CC4-5D6E-409C-BE32-E72D297353CC}">
                <c16:uniqueId val="{00000315-DBE9-4B73-8742-74A0F2DCF0F9}"/>
              </c:ext>
            </c:extLst>
          </c:dPt>
          <c:dPt>
            <c:idx val="394"/>
            <c:invertIfNegative val="1"/>
            <c:bubble3D val="0"/>
            <c:spPr>
              <a:solidFill>
                <a:srgbClr val="AEABAB"/>
              </a:solidFill>
            </c:spPr>
            <c:extLst>
              <c:ext xmlns:c16="http://schemas.microsoft.com/office/drawing/2014/chart" uri="{C3380CC4-5D6E-409C-BE32-E72D297353CC}">
                <c16:uniqueId val="{00000317-DBE9-4B73-8742-74A0F2DCF0F9}"/>
              </c:ext>
            </c:extLst>
          </c:dPt>
          <c:dPt>
            <c:idx val="395"/>
            <c:invertIfNegative val="1"/>
            <c:bubble3D val="0"/>
            <c:spPr>
              <a:solidFill>
                <a:srgbClr val="AEABAB"/>
              </a:solidFill>
            </c:spPr>
            <c:extLst>
              <c:ext xmlns:c16="http://schemas.microsoft.com/office/drawing/2014/chart" uri="{C3380CC4-5D6E-409C-BE32-E72D297353CC}">
                <c16:uniqueId val="{00000319-DBE9-4B73-8742-74A0F2DCF0F9}"/>
              </c:ext>
            </c:extLst>
          </c:dPt>
          <c:dPt>
            <c:idx val="396"/>
            <c:invertIfNegative val="1"/>
            <c:bubble3D val="0"/>
            <c:spPr>
              <a:solidFill>
                <a:srgbClr val="AEABAB"/>
              </a:solidFill>
            </c:spPr>
            <c:extLst>
              <c:ext xmlns:c16="http://schemas.microsoft.com/office/drawing/2014/chart" uri="{C3380CC4-5D6E-409C-BE32-E72D297353CC}">
                <c16:uniqueId val="{0000031B-DBE9-4B73-8742-74A0F2DCF0F9}"/>
              </c:ext>
            </c:extLst>
          </c:dPt>
          <c:dPt>
            <c:idx val="397"/>
            <c:invertIfNegative val="1"/>
            <c:bubble3D val="0"/>
            <c:spPr>
              <a:solidFill>
                <a:srgbClr val="AEABAB"/>
              </a:solidFill>
            </c:spPr>
            <c:extLst>
              <c:ext xmlns:c16="http://schemas.microsoft.com/office/drawing/2014/chart" uri="{C3380CC4-5D6E-409C-BE32-E72D297353CC}">
                <c16:uniqueId val="{0000031D-DBE9-4B73-8742-74A0F2DCF0F9}"/>
              </c:ext>
            </c:extLst>
          </c:dPt>
          <c:dPt>
            <c:idx val="398"/>
            <c:invertIfNegative val="1"/>
            <c:bubble3D val="0"/>
            <c:spPr>
              <a:solidFill>
                <a:srgbClr val="AEABAB"/>
              </a:solidFill>
            </c:spPr>
            <c:extLst>
              <c:ext xmlns:c16="http://schemas.microsoft.com/office/drawing/2014/chart" uri="{C3380CC4-5D6E-409C-BE32-E72D297353CC}">
                <c16:uniqueId val="{0000031F-DBE9-4B73-8742-74A0F2DCF0F9}"/>
              </c:ext>
            </c:extLst>
          </c:dPt>
          <c:dPt>
            <c:idx val="399"/>
            <c:invertIfNegative val="1"/>
            <c:bubble3D val="0"/>
            <c:spPr>
              <a:solidFill>
                <a:srgbClr val="AEABAB"/>
              </a:solidFill>
            </c:spPr>
            <c:extLst>
              <c:ext xmlns:c16="http://schemas.microsoft.com/office/drawing/2014/chart" uri="{C3380CC4-5D6E-409C-BE32-E72D297353CC}">
                <c16:uniqueId val="{00000321-DBE9-4B73-8742-74A0F2DCF0F9}"/>
              </c:ext>
            </c:extLst>
          </c:dPt>
          <c:dPt>
            <c:idx val="400"/>
            <c:invertIfNegative val="1"/>
            <c:bubble3D val="0"/>
            <c:spPr>
              <a:solidFill>
                <a:srgbClr val="AEABAB"/>
              </a:solidFill>
            </c:spPr>
            <c:extLst>
              <c:ext xmlns:c16="http://schemas.microsoft.com/office/drawing/2014/chart" uri="{C3380CC4-5D6E-409C-BE32-E72D297353CC}">
                <c16:uniqueId val="{00000323-DBE9-4B73-8742-74A0F2DCF0F9}"/>
              </c:ext>
            </c:extLst>
          </c:dPt>
          <c:dPt>
            <c:idx val="401"/>
            <c:invertIfNegative val="1"/>
            <c:bubble3D val="0"/>
            <c:spPr>
              <a:solidFill>
                <a:srgbClr val="AEABAB"/>
              </a:solidFill>
            </c:spPr>
            <c:extLst>
              <c:ext xmlns:c16="http://schemas.microsoft.com/office/drawing/2014/chart" uri="{C3380CC4-5D6E-409C-BE32-E72D297353CC}">
                <c16:uniqueId val="{00000325-DBE9-4B73-8742-74A0F2DCF0F9}"/>
              </c:ext>
            </c:extLst>
          </c:dPt>
          <c:dPt>
            <c:idx val="402"/>
            <c:invertIfNegative val="1"/>
            <c:bubble3D val="0"/>
            <c:spPr>
              <a:solidFill>
                <a:srgbClr val="AEABAB"/>
              </a:solidFill>
            </c:spPr>
            <c:extLst>
              <c:ext xmlns:c16="http://schemas.microsoft.com/office/drawing/2014/chart" uri="{C3380CC4-5D6E-409C-BE32-E72D297353CC}">
                <c16:uniqueId val="{00000327-DBE9-4B73-8742-74A0F2DCF0F9}"/>
              </c:ext>
            </c:extLst>
          </c:dPt>
          <c:dPt>
            <c:idx val="403"/>
            <c:invertIfNegative val="1"/>
            <c:bubble3D val="0"/>
            <c:spPr>
              <a:solidFill>
                <a:srgbClr val="AEABAB"/>
              </a:solidFill>
            </c:spPr>
            <c:extLst>
              <c:ext xmlns:c16="http://schemas.microsoft.com/office/drawing/2014/chart" uri="{C3380CC4-5D6E-409C-BE32-E72D297353CC}">
                <c16:uniqueId val="{00000329-DBE9-4B73-8742-74A0F2DCF0F9}"/>
              </c:ext>
            </c:extLst>
          </c:dPt>
          <c:dPt>
            <c:idx val="404"/>
            <c:invertIfNegative val="1"/>
            <c:bubble3D val="0"/>
            <c:spPr>
              <a:solidFill>
                <a:srgbClr val="AEABAB"/>
              </a:solidFill>
            </c:spPr>
            <c:extLst>
              <c:ext xmlns:c16="http://schemas.microsoft.com/office/drawing/2014/chart" uri="{C3380CC4-5D6E-409C-BE32-E72D297353CC}">
                <c16:uniqueId val="{0000032B-DBE9-4B73-8742-74A0F2DCF0F9}"/>
              </c:ext>
            </c:extLst>
          </c:dPt>
          <c:dPt>
            <c:idx val="405"/>
            <c:invertIfNegative val="1"/>
            <c:bubble3D val="0"/>
            <c:spPr>
              <a:solidFill>
                <a:srgbClr val="AEABAB"/>
              </a:solidFill>
            </c:spPr>
            <c:extLst>
              <c:ext xmlns:c16="http://schemas.microsoft.com/office/drawing/2014/chart" uri="{C3380CC4-5D6E-409C-BE32-E72D297353CC}">
                <c16:uniqueId val="{0000032D-DBE9-4B73-8742-74A0F2DCF0F9}"/>
              </c:ext>
            </c:extLst>
          </c:dPt>
          <c:dPt>
            <c:idx val="406"/>
            <c:invertIfNegative val="1"/>
            <c:bubble3D val="0"/>
            <c:spPr>
              <a:solidFill>
                <a:srgbClr val="AEABAB"/>
              </a:solidFill>
            </c:spPr>
            <c:extLst>
              <c:ext xmlns:c16="http://schemas.microsoft.com/office/drawing/2014/chart" uri="{C3380CC4-5D6E-409C-BE32-E72D297353CC}">
                <c16:uniqueId val="{0000032F-DBE9-4B73-8742-74A0F2DCF0F9}"/>
              </c:ext>
            </c:extLst>
          </c:dPt>
          <c:dPt>
            <c:idx val="407"/>
            <c:invertIfNegative val="1"/>
            <c:bubble3D val="0"/>
            <c:spPr>
              <a:solidFill>
                <a:srgbClr val="AEABAB"/>
              </a:solidFill>
            </c:spPr>
            <c:extLst>
              <c:ext xmlns:c16="http://schemas.microsoft.com/office/drawing/2014/chart" uri="{C3380CC4-5D6E-409C-BE32-E72D297353CC}">
                <c16:uniqueId val="{00000331-DBE9-4B73-8742-74A0F2DCF0F9}"/>
              </c:ext>
            </c:extLst>
          </c:dPt>
          <c:dPt>
            <c:idx val="408"/>
            <c:invertIfNegative val="1"/>
            <c:bubble3D val="0"/>
            <c:spPr>
              <a:solidFill>
                <a:srgbClr val="AEABAB"/>
              </a:solidFill>
            </c:spPr>
            <c:extLst>
              <c:ext xmlns:c16="http://schemas.microsoft.com/office/drawing/2014/chart" uri="{C3380CC4-5D6E-409C-BE32-E72D297353CC}">
                <c16:uniqueId val="{00000333-DBE9-4B73-8742-74A0F2DCF0F9}"/>
              </c:ext>
            </c:extLst>
          </c:dPt>
          <c:dPt>
            <c:idx val="409"/>
            <c:invertIfNegative val="1"/>
            <c:bubble3D val="0"/>
            <c:spPr>
              <a:solidFill>
                <a:srgbClr val="AEABAB"/>
              </a:solidFill>
            </c:spPr>
            <c:extLst>
              <c:ext xmlns:c16="http://schemas.microsoft.com/office/drawing/2014/chart" uri="{C3380CC4-5D6E-409C-BE32-E72D297353CC}">
                <c16:uniqueId val="{00000335-DBE9-4B73-8742-74A0F2DCF0F9}"/>
              </c:ext>
            </c:extLst>
          </c:dPt>
          <c:dPt>
            <c:idx val="410"/>
            <c:invertIfNegative val="1"/>
            <c:bubble3D val="0"/>
            <c:spPr>
              <a:solidFill>
                <a:srgbClr val="AEABAB"/>
              </a:solidFill>
            </c:spPr>
            <c:extLst>
              <c:ext xmlns:c16="http://schemas.microsoft.com/office/drawing/2014/chart" uri="{C3380CC4-5D6E-409C-BE32-E72D297353CC}">
                <c16:uniqueId val="{00000337-DBE9-4B73-8742-74A0F2DCF0F9}"/>
              </c:ext>
            </c:extLst>
          </c:dPt>
          <c:dPt>
            <c:idx val="411"/>
            <c:invertIfNegative val="1"/>
            <c:bubble3D val="0"/>
            <c:spPr>
              <a:solidFill>
                <a:srgbClr val="AEABAB"/>
              </a:solidFill>
            </c:spPr>
            <c:extLst>
              <c:ext xmlns:c16="http://schemas.microsoft.com/office/drawing/2014/chart" uri="{C3380CC4-5D6E-409C-BE32-E72D297353CC}">
                <c16:uniqueId val="{00000339-DBE9-4B73-8742-74A0F2DCF0F9}"/>
              </c:ext>
            </c:extLst>
          </c:dPt>
          <c:dPt>
            <c:idx val="412"/>
            <c:invertIfNegative val="1"/>
            <c:bubble3D val="0"/>
            <c:spPr>
              <a:solidFill>
                <a:srgbClr val="AEABAB"/>
              </a:solidFill>
            </c:spPr>
            <c:extLst>
              <c:ext xmlns:c16="http://schemas.microsoft.com/office/drawing/2014/chart" uri="{C3380CC4-5D6E-409C-BE32-E72D297353CC}">
                <c16:uniqueId val="{0000033B-DBE9-4B73-8742-74A0F2DCF0F9}"/>
              </c:ext>
            </c:extLst>
          </c:dPt>
          <c:dPt>
            <c:idx val="413"/>
            <c:invertIfNegative val="1"/>
            <c:bubble3D val="0"/>
            <c:spPr>
              <a:solidFill>
                <a:srgbClr val="AEABAB"/>
              </a:solidFill>
            </c:spPr>
            <c:extLst>
              <c:ext xmlns:c16="http://schemas.microsoft.com/office/drawing/2014/chart" uri="{C3380CC4-5D6E-409C-BE32-E72D297353CC}">
                <c16:uniqueId val="{0000033D-DBE9-4B73-8742-74A0F2DCF0F9}"/>
              </c:ext>
            </c:extLst>
          </c:dPt>
          <c:dPt>
            <c:idx val="414"/>
            <c:invertIfNegative val="1"/>
            <c:bubble3D val="0"/>
            <c:spPr>
              <a:solidFill>
                <a:srgbClr val="AEABAB"/>
              </a:solidFill>
            </c:spPr>
            <c:extLst>
              <c:ext xmlns:c16="http://schemas.microsoft.com/office/drawing/2014/chart" uri="{C3380CC4-5D6E-409C-BE32-E72D297353CC}">
                <c16:uniqueId val="{0000033F-DBE9-4B73-8742-74A0F2DCF0F9}"/>
              </c:ext>
            </c:extLst>
          </c:dPt>
          <c:dPt>
            <c:idx val="415"/>
            <c:invertIfNegative val="1"/>
            <c:bubble3D val="0"/>
            <c:spPr>
              <a:solidFill>
                <a:srgbClr val="AEABAB"/>
              </a:solidFill>
            </c:spPr>
            <c:extLst>
              <c:ext xmlns:c16="http://schemas.microsoft.com/office/drawing/2014/chart" uri="{C3380CC4-5D6E-409C-BE32-E72D297353CC}">
                <c16:uniqueId val="{00000341-DBE9-4B73-8742-74A0F2DCF0F9}"/>
              </c:ext>
            </c:extLst>
          </c:dPt>
          <c:dPt>
            <c:idx val="416"/>
            <c:invertIfNegative val="1"/>
            <c:bubble3D val="0"/>
            <c:spPr>
              <a:solidFill>
                <a:srgbClr val="AEABAB"/>
              </a:solidFill>
            </c:spPr>
            <c:extLst>
              <c:ext xmlns:c16="http://schemas.microsoft.com/office/drawing/2014/chart" uri="{C3380CC4-5D6E-409C-BE32-E72D297353CC}">
                <c16:uniqueId val="{00000343-DBE9-4B73-8742-74A0F2DCF0F9}"/>
              </c:ext>
            </c:extLst>
          </c:dPt>
          <c:dPt>
            <c:idx val="417"/>
            <c:invertIfNegative val="1"/>
            <c:bubble3D val="0"/>
            <c:spPr>
              <a:solidFill>
                <a:srgbClr val="AEABAB"/>
              </a:solidFill>
            </c:spPr>
            <c:extLst>
              <c:ext xmlns:c16="http://schemas.microsoft.com/office/drawing/2014/chart" uri="{C3380CC4-5D6E-409C-BE32-E72D297353CC}">
                <c16:uniqueId val="{00000345-DBE9-4B73-8742-74A0F2DCF0F9}"/>
              </c:ext>
            </c:extLst>
          </c:dPt>
          <c:dPt>
            <c:idx val="418"/>
            <c:invertIfNegative val="1"/>
            <c:bubble3D val="0"/>
            <c:spPr>
              <a:solidFill>
                <a:srgbClr val="AEABAB"/>
              </a:solidFill>
            </c:spPr>
            <c:extLst>
              <c:ext xmlns:c16="http://schemas.microsoft.com/office/drawing/2014/chart" uri="{C3380CC4-5D6E-409C-BE32-E72D297353CC}">
                <c16:uniqueId val="{00000347-DBE9-4B73-8742-74A0F2DCF0F9}"/>
              </c:ext>
            </c:extLst>
          </c:dPt>
          <c:dPt>
            <c:idx val="419"/>
            <c:invertIfNegative val="1"/>
            <c:bubble3D val="0"/>
            <c:spPr>
              <a:solidFill>
                <a:srgbClr val="AEABAB"/>
              </a:solidFill>
            </c:spPr>
            <c:extLst>
              <c:ext xmlns:c16="http://schemas.microsoft.com/office/drawing/2014/chart" uri="{C3380CC4-5D6E-409C-BE32-E72D297353CC}">
                <c16:uniqueId val="{00000349-DBE9-4B73-8742-74A0F2DCF0F9}"/>
              </c:ext>
            </c:extLst>
          </c:dPt>
          <c:dPt>
            <c:idx val="420"/>
            <c:invertIfNegative val="1"/>
            <c:bubble3D val="0"/>
            <c:spPr>
              <a:solidFill>
                <a:srgbClr val="AEABAB"/>
              </a:solidFill>
            </c:spPr>
            <c:extLst>
              <c:ext xmlns:c16="http://schemas.microsoft.com/office/drawing/2014/chart" uri="{C3380CC4-5D6E-409C-BE32-E72D297353CC}">
                <c16:uniqueId val="{0000034B-DBE9-4B73-8742-74A0F2DCF0F9}"/>
              </c:ext>
            </c:extLst>
          </c:dPt>
          <c:dPt>
            <c:idx val="421"/>
            <c:invertIfNegative val="1"/>
            <c:bubble3D val="0"/>
            <c:spPr>
              <a:solidFill>
                <a:srgbClr val="AEABAB"/>
              </a:solidFill>
            </c:spPr>
            <c:extLst>
              <c:ext xmlns:c16="http://schemas.microsoft.com/office/drawing/2014/chart" uri="{C3380CC4-5D6E-409C-BE32-E72D297353CC}">
                <c16:uniqueId val="{0000034D-DBE9-4B73-8742-74A0F2DCF0F9}"/>
              </c:ext>
            </c:extLst>
          </c:dPt>
          <c:dPt>
            <c:idx val="422"/>
            <c:invertIfNegative val="1"/>
            <c:bubble3D val="0"/>
            <c:spPr>
              <a:solidFill>
                <a:srgbClr val="AEABAB"/>
              </a:solidFill>
            </c:spPr>
            <c:extLst>
              <c:ext xmlns:c16="http://schemas.microsoft.com/office/drawing/2014/chart" uri="{C3380CC4-5D6E-409C-BE32-E72D297353CC}">
                <c16:uniqueId val="{0000034F-DBE9-4B73-8742-74A0F2DCF0F9}"/>
              </c:ext>
            </c:extLst>
          </c:dPt>
          <c:dPt>
            <c:idx val="423"/>
            <c:invertIfNegative val="1"/>
            <c:bubble3D val="0"/>
            <c:spPr>
              <a:solidFill>
                <a:srgbClr val="AEABAB"/>
              </a:solidFill>
            </c:spPr>
            <c:extLst>
              <c:ext xmlns:c16="http://schemas.microsoft.com/office/drawing/2014/chart" uri="{C3380CC4-5D6E-409C-BE32-E72D297353CC}">
                <c16:uniqueId val="{00000351-DBE9-4B73-8742-74A0F2DCF0F9}"/>
              </c:ext>
            </c:extLst>
          </c:dPt>
          <c:dPt>
            <c:idx val="424"/>
            <c:invertIfNegative val="1"/>
            <c:bubble3D val="0"/>
            <c:spPr>
              <a:solidFill>
                <a:srgbClr val="AEABAB"/>
              </a:solidFill>
            </c:spPr>
            <c:extLst>
              <c:ext xmlns:c16="http://schemas.microsoft.com/office/drawing/2014/chart" uri="{C3380CC4-5D6E-409C-BE32-E72D297353CC}">
                <c16:uniqueId val="{00000353-DBE9-4B73-8742-74A0F2DCF0F9}"/>
              </c:ext>
            </c:extLst>
          </c:dPt>
          <c:dPt>
            <c:idx val="425"/>
            <c:invertIfNegative val="1"/>
            <c:bubble3D val="0"/>
            <c:spPr>
              <a:solidFill>
                <a:srgbClr val="AEABAB"/>
              </a:solidFill>
            </c:spPr>
            <c:extLst>
              <c:ext xmlns:c16="http://schemas.microsoft.com/office/drawing/2014/chart" uri="{C3380CC4-5D6E-409C-BE32-E72D297353CC}">
                <c16:uniqueId val="{00000355-DBE9-4B73-8742-74A0F2DCF0F9}"/>
              </c:ext>
            </c:extLst>
          </c:dPt>
          <c:dPt>
            <c:idx val="426"/>
            <c:invertIfNegative val="1"/>
            <c:bubble3D val="0"/>
            <c:spPr>
              <a:solidFill>
                <a:srgbClr val="AEABAB"/>
              </a:solidFill>
            </c:spPr>
            <c:extLst>
              <c:ext xmlns:c16="http://schemas.microsoft.com/office/drawing/2014/chart" uri="{C3380CC4-5D6E-409C-BE32-E72D297353CC}">
                <c16:uniqueId val="{00000357-DBE9-4B73-8742-74A0F2DCF0F9}"/>
              </c:ext>
            </c:extLst>
          </c:dPt>
          <c:dPt>
            <c:idx val="427"/>
            <c:invertIfNegative val="1"/>
            <c:bubble3D val="0"/>
            <c:spPr>
              <a:solidFill>
                <a:srgbClr val="AEABAB"/>
              </a:solidFill>
            </c:spPr>
            <c:extLst>
              <c:ext xmlns:c16="http://schemas.microsoft.com/office/drawing/2014/chart" uri="{C3380CC4-5D6E-409C-BE32-E72D297353CC}">
                <c16:uniqueId val="{00000359-DBE9-4B73-8742-74A0F2DCF0F9}"/>
              </c:ext>
            </c:extLst>
          </c:dPt>
          <c:dPt>
            <c:idx val="428"/>
            <c:invertIfNegative val="1"/>
            <c:bubble3D val="0"/>
            <c:spPr>
              <a:solidFill>
                <a:srgbClr val="AEABAB"/>
              </a:solidFill>
            </c:spPr>
            <c:extLst>
              <c:ext xmlns:c16="http://schemas.microsoft.com/office/drawing/2014/chart" uri="{C3380CC4-5D6E-409C-BE32-E72D297353CC}">
                <c16:uniqueId val="{0000035B-DBE9-4B73-8742-74A0F2DCF0F9}"/>
              </c:ext>
            </c:extLst>
          </c:dPt>
          <c:dPt>
            <c:idx val="429"/>
            <c:invertIfNegative val="1"/>
            <c:bubble3D val="0"/>
            <c:spPr>
              <a:solidFill>
                <a:srgbClr val="AEABAB"/>
              </a:solidFill>
            </c:spPr>
            <c:extLst>
              <c:ext xmlns:c16="http://schemas.microsoft.com/office/drawing/2014/chart" uri="{C3380CC4-5D6E-409C-BE32-E72D297353CC}">
                <c16:uniqueId val="{0000035D-DBE9-4B73-8742-74A0F2DCF0F9}"/>
              </c:ext>
            </c:extLst>
          </c:dPt>
          <c:dPt>
            <c:idx val="430"/>
            <c:invertIfNegative val="1"/>
            <c:bubble3D val="0"/>
            <c:spPr>
              <a:solidFill>
                <a:srgbClr val="AEABAB"/>
              </a:solidFill>
            </c:spPr>
            <c:extLst>
              <c:ext xmlns:c16="http://schemas.microsoft.com/office/drawing/2014/chart" uri="{C3380CC4-5D6E-409C-BE32-E72D297353CC}">
                <c16:uniqueId val="{0000035F-DBE9-4B73-8742-74A0F2DCF0F9}"/>
              </c:ext>
            </c:extLst>
          </c:dPt>
          <c:dPt>
            <c:idx val="431"/>
            <c:invertIfNegative val="1"/>
            <c:bubble3D val="0"/>
            <c:spPr>
              <a:solidFill>
                <a:srgbClr val="AEABAB"/>
              </a:solidFill>
            </c:spPr>
            <c:extLst>
              <c:ext xmlns:c16="http://schemas.microsoft.com/office/drawing/2014/chart" uri="{C3380CC4-5D6E-409C-BE32-E72D297353CC}">
                <c16:uniqueId val="{00000361-DBE9-4B73-8742-74A0F2DCF0F9}"/>
              </c:ext>
            </c:extLst>
          </c:dPt>
          <c:dPt>
            <c:idx val="432"/>
            <c:invertIfNegative val="1"/>
            <c:bubble3D val="0"/>
            <c:spPr>
              <a:solidFill>
                <a:srgbClr val="AEABAB"/>
              </a:solidFill>
            </c:spPr>
            <c:extLst>
              <c:ext xmlns:c16="http://schemas.microsoft.com/office/drawing/2014/chart" uri="{C3380CC4-5D6E-409C-BE32-E72D297353CC}">
                <c16:uniqueId val="{00000363-DBE9-4B73-8742-74A0F2DCF0F9}"/>
              </c:ext>
            </c:extLst>
          </c:dPt>
          <c:dPt>
            <c:idx val="433"/>
            <c:invertIfNegative val="1"/>
            <c:bubble3D val="0"/>
            <c:spPr>
              <a:solidFill>
                <a:srgbClr val="AEABAB"/>
              </a:solidFill>
            </c:spPr>
            <c:extLst>
              <c:ext xmlns:c16="http://schemas.microsoft.com/office/drawing/2014/chart" uri="{C3380CC4-5D6E-409C-BE32-E72D297353CC}">
                <c16:uniqueId val="{00000365-DBE9-4B73-8742-74A0F2DCF0F9}"/>
              </c:ext>
            </c:extLst>
          </c:dPt>
          <c:dPt>
            <c:idx val="434"/>
            <c:invertIfNegative val="1"/>
            <c:bubble3D val="0"/>
            <c:spPr>
              <a:solidFill>
                <a:srgbClr val="AEABAB"/>
              </a:solidFill>
            </c:spPr>
            <c:extLst>
              <c:ext xmlns:c16="http://schemas.microsoft.com/office/drawing/2014/chart" uri="{C3380CC4-5D6E-409C-BE32-E72D297353CC}">
                <c16:uniqueId val="{00000367-DBE9-4B73-8742-74A0F2DCF0F9}"/>
              </c:ext>
            </c:extLst>
          </c:dPt>
          <c:dPt>
            <c:idx val="435"/>
            <c:invertIfNegative val="1"/>
            <c:bubble3D val="0"/>
            <c:spPr>
              <a:solidFill>
                <a:srgbClr val="AEABAB"/>
              </a:solidFill>
            </c:spPr>
            <c:extLst>
              <c:ext xmlns:c16="http://schemas.microsoft.com/office/drawing/2014/chart" uri="{C3380CC4-5D6E-409C-BE32-E72D297353CC}">
                <c16:uniqueId val="{00000369-DBE9-4B73-8742-74A0F2DCF0F9}"/>
              </c:ext>
            </c:extLst>
          </c:dPt>
          <c:dPt>
            <c:idx val="436"/>
            <c:invertIfNegative val="1"/>
            <c:bubble3D val="0"/>
            <c:spPr>
              <a:solidFill>
                <a:srgbClr val="AEABAB"/>
              </a:solidFill>
            </c:spPr>
            <c:extLst>
              <c:ext xmlns:c16="http://schemas.microsoft.com/office/drawing/2014/chart" uri="{C3380CC4-5D6E-409C-BE32-E72D297353CC}">
                <c16:uniqueId val="{0000036B-DBE9-4B73-8742-74A0F2DCF0F9}"/>
              </c:ext>
            </c:extLst>
          </c:dPt>
          <c:dPt>
            <c:idx val="437"/>
            <c:invertIfNegative val="1"/>
            <c:bubble3D val="0"/>
            <c:spPr>
              <a:solidFill>
                <a:srgbClr val="AEABAB"/>
              </a:solidFill>
            </c:spPr>
            <c:extLst>
              <c:ext xmlns:c16="http://schemas.microsoft.com/office/drawing/2014/chart" uri="{C3380CC4-5D6E-409C-BE32-E72D297353CC}">
                <c16:uniqueId val="{0000036D-DBE9-4B73-8742-74A0F2DCF0F9}"/>
              </c:ext>
            </c:extLst>
          </c:dPt>
          <c:dPt>
            <c:idx val="438"/>
            <c:invertIfNegative val="1"/>
            <c:bubble3D val="0"/>
            <c:spPr>
              <a:solidFill>
                <a:srgbClr val="AEABAB"/>
              </a:solidFill>
            </c:spPr>
            <c:extLst>
              <c:ext xmlns:c16="http://schemas.microsoft.com/office/drawing/2014/chart" uri="{C3380CC4-5D6E-409C-BE32-E72D297353CC}">
                <c16:uniqueId val="{0000036F-DBE9-4B73-8742-74A0F2DCF0F9}"/>
              </c:ext>
            </c:extLst>
          </c:dPt>
          <c:dPt>
            <c:idx val="439"/>
            <c:invertIfNegative val="1"/>
            <c:bubble3D val="0"/>
            <c:spPr>
              <a:solidFill>
                <a:srgbClr val="AEABAB"/>
              </a:solidFill>
            </c:spPr>
            <c:extLst>
              <c:ext xmlns:c16="http://schemas.microsoft.com/office/drawing/2014/chart" uri="{C3380CC4-5D6E-409C-BE32-E72D297353CC}">
                <c16:uniqueId val="{00000371-DBE9-4B73-8742-74A0F2DCF0F9}"/>
              </c:ext>
            </c:extLst>
          </c:dPt>
          <c:dPt>
            <c:idx val="440"/>
            <c:invertIfNegative val="1"/>
            <c:bubble3D val="0"/>
            <c:spPr>
              <a:solidFill>
                <a:srgbClr val="AEABAB"/>
              </a:solidFill>
            </c:spPr>
            <c:extLst>
              <c:ext xmlns:c16="http://schemas.microsoft.com/office/drawing/2014/chart" uri="{C3380CC4-5D6E-409C-BE32-E72D297353CC}">
                <c16:uniqueId val="{00000373-DBE9-4B73-8742-74A0F2DCF0F9}"/>
              </c:ext>
            </c:extLst>
          </c:dPt>
          <c:dPt>
            <c:idx val="441"/>
            <c:invertIfNegative val="1"/>
            <c:bubble3D val="0"/>
            <c:spPr>
              <a:solidFill>
                <a:srgbClr val="AEABAB"/>
              </a:solidFill>
            </c:spPr>
            <c:extLst>
              <c:ext xmlns:c16="http://schemas.microsoft.com/office/drawing/2014/chart" uri="{C3380CC4-5D6E-409C-BE32-E72D297353CC}">
                <c16:uniqueId val="{00000375-DBE9-4B73-8742-74A0F2DCF0F9}"/>
              </c:ext>
            </c:extLst>
          </c:dPt>
          <c:dPt>
            <c:idx val="442"/>
            <c:invertIfNegative val="1"/>
            <c:bubble3D val="0"/>
            <c:spPr>
              <a:solidFill>
                <a:srgbClr val="AEABAB"/>
              </a:solidFill>
            </c:spPr>
            <c:extLst>
              <c:ext xmlns:c16="http://schemas.microsoft.com/office/drawing/2014/chart" uri="{C3380CC4-5D6E-409C-BE32-E72D297353CC}">
                <c16:uniqueId val="{00000377-DBE9-4B73-8742-74A0F2DCF0F9}"/>
              </c:ext>
            </c:extLst>
          </c:dPt>
          <c:dPt>
            <c:idx val="443"/>
            <c:invertIfNegative val="1"/>
            <c:bubble3D val="0"/>
            <c:spPr>
              <a:solidFill>
                <a:srgbClr val="AEABAB"/>
              </a:solidFill>
            </c:spPr>
            <c:extLst>
              <c:ext xmlns:c16="http://schemas.microsoft.com/office/drawing/2014/chart" uri="{C3380CC4-5D6E-409C-BE32-E72D297353CC}">
                <c16:uniqueId val="{00000379-DBE9-4B73-8742-74A0F2DCF0F9}"/>
              </c:ext>
            </c:extLst>
          </c:dPt>
          <c:dPt>
            <c:idx val="444"/>
            <c:invertIfNegative val="1"/>
            <c:bubble3D val="0"/>
            <c:spPr>
              <a:solidFill>
                <a:srgbClr val="AEABAB"/>
              </a:solidFill>
            </c:spPr>
            <c:extLst>
              <c:ext xmlns:c16="http://schemas.microsoft.com/office/drawing/2014/chart" uri="{C3380CC4-5D6E-409C-BE32-E72D297353CC}">
                <c16:uniqueId val="{0000037B-DBE9-4B73-8742-74A0F2DCF0F9}"/>
              </c:ext>
            </c:extLst>
          </c:dPt>
          <c:dPt>
            <c:idx val="445"/>
            <c:invertIfNegative val="1"/>
            <c:bubble3D val="0"/>
            <c:spPr>
              <a:solidFill>
                <a:srgbClr val="AEABAB"/>
              </a:solidFill>
            </c:spPr>
            <c:extLst>
              <c:ext xmlns:c16="http://schemas.microsoft.com/office/drawing/2014/chart" uri="{C3380CC4-5D6E-409C-BE32-E72D297353CC}">
                <c16:uniqueId val="{0000037D-DBE9-4B73-8742-74A0F2DCF0F9}"/>
              </c:ext>
            </c:extLst>
          </c:dPt>
          <c:dPt>
            <c:idx val="446"/>
            <c:invertIfNegative val="1"/>
            <c:bubble3D val="0"/>
            <c:spPr>
              <a:solidFill>
                <a:srgbClr val="AEABAB"/>
              </a:solidFill>
            </c:spPr>
            <c:extLst>
              <c:ext xmlns:c16="http://schemas.microsoft.com/office/drawing/2014/chart" uri="{C3380CC4-5D6E-409C-BE32-E72D297353CC}">
                <c16:uniqueId val="{0000037F-DBE9-4B73-8742-74A0F2DCF0F9}"/>
              </c:ext>
            </c:extLst>
          </c:dPt>
          <c:dPt>
            <c:idx val="447"/>
            <c:invertIfNegative val="1"/>
            <c:bubble3D val="0"/>
            <c:spPr>
              <a:solidFill>
                <a:srgbClr val="AEABAB"/>
              </a:solidFill>
            </c:spPr>
            <c:extLst>
              <c:ext xmlns:c16="http://schemas.microsoft.com/office/drawing/2014/chart" uri="{C3380CC4-5D6E-409C-BE32-E72D297353CC}">
                <c16:uniqueId val="{00000381-DBE9-4B73-8742-74A0F2DCF0F9}"/>
              </c:ext>
            </c:extLst>
          </c:dPt>
          <c:dPt>
            <c:idx val="448"/>
            <c:invertIfNegative val="1"/>
            <c:bubble3D val="0"/>
            <c:spPr>
              <a:solidFill>
                <a:srgbClr val="AEABAB"/>
              </a:solidFill>
            </c:spPr>
            <c:extLst>
              <c:ext xmlns:c16="http://schemas.microsoft.com/office/drawing/2014/chart" uri="{C3380CC4-5D6E-409C-BE32-E72D297353CC}">
                <c16:uniqueId val="{00000383-DBE9-4B73-8742-74A0F2DCF0F9}"/>
              </c:ext>
            </c:extLst>
          </c:dPt>
          <c:dPt>
            <c:idx val="449"/>
            <c:invertIfNegative val="1"/>
            <c:bubble3D val="0"/>
            <c:spPr>
              <a:solidFill>
                <a:srgbClr val="AEABAB"/>
              </a:solidFill>
            </c:spPr>
            <c:extLst>
              <c:ext xmlns:c16="http://schemas.microsoft.com/office/drawing/2014/chart" uri="{C3380CC4-5D6E-409C-BE32-E72D297353CC}">
                <c16:uniqueId val="{00000385-DBE9-4B73-8742-74A0F2DCF0F9}"/>
              </c:ext>
            </c:extLst>
          </c:dPt>
          <c:dPt>
            <c:idx val="450"/>
            <c:invertIfNegative val="1"/>
            <c:bubble3D val="0"/>
            <c:spPr>
              <a:solidFill>
                <a:srgbClr val="AEABAB"/>
              </a:solidFill>
            </c:spPr>
            <c:extLst>
              <c:ext xmlns:c16="http://schemas.microsoft.com/office/drawing/2014/chart" uri="{C3380CC4-5D6E-409C-BE32-E72D297353CC}">
                <c16:uniqueId val="{00000387-DBE9-4B73-8742-74A0F2DCF0F9}"/>
              </c:ext>
            </c:extLst>
          </c:dPt>
          <c:dPt>
            <c:idx val="451"/>
            <c:invertIfNegative val="1"/>
            <c:bubble3D val="0"/>
            <c:spPr>
              <a:solidFill>
                <a:srgbClr val="AEABAB"/>
              </a:solidFill>
            </c:spPr>
            <c:extLst>
              <c:ext xmlns:c16="http://schemas.microsoft.com/office/drawing/2014/chart" uri="{C3380CC4-5D6E-409C-BE32-E72D297353CC}">
                <c16:uniqueId val="{00000389-DBE9-4B73-8742-74A0F2DCF0F9}"/>
              </c:ext>
            </c:extLst>
          </c:dPt>
          <c:dPt>
            <c:idx val="452"/>
            <c:invertIfNegative val="1"/>
            <c:bubble3D val="0"/>
            <c:spPr>
              <a:solidFill>
                <a:srgbClr val="AEABAB"/>
              </a:solidFill>
            </c:spPr>
            <c:extLst>
              <c:ext xmlns:c16="http://schemas.microsoft.com/office/drawing/2014/chart" uri="{C3380CC4-5D6E-409C-BE32-E72D297353CC}">
                <c16:uniqueId val="{0000038B-DBE9-4B73-8742-74A0F2DCF0F9}"/>
              </c:ext>
            </c:extLst>
          </c:dPt>
          <c:dPt>
            <c:idx val="453"/>
            <c:invertIfNegative val="1"/>
            <c:bubble3D val="0"/>
            <c:spPr>
              <a:solidFill>
                <a:srgbClr val="AEABAB"/>
              </a:solidFill>
            </c:spPr>
            <c:extLst>
              <c:ext xmlns:c16="http://schemas.microsoft.com/office/drawing/2014/chart" uri="{C3380CC4-5D6E-409C-BE32-E72D297353CC}">
                <c16:uniqueId val="{0000038D-DBE9-4B73-8742-74A0F2DCF0F9}"/>
              </c:ext>
            </c:extLst>
          </c:dPt>
          <c:dPt>
            <c:idx val="454"/>
            <c:invertIfNegative val="1"/>
            <c:bubble3D val="0"/>
            <c:spPr>
              <a:solidFill>
                <a:srgbClr val="AEABAB"/>
              </a:solidFill>
            </c:spPr>
            <c:extLst>
              <c:ext xmlns:c16="http://schemas.microsoft.com/office/drawing/2014/chart" uri="{C3380CC4-5D6E-409C-BE32-E72D297353CC}">
                <c16:uniqueId val="{0000038F-DBE9-4B73-8742-74A0F2DCF0F9}"/>
              </c:ext>
            </c:extLst>
          </c:dPt>
          <c:dPt>
            <c:idx val="455"/>
            <c:invertIfNegative val="1"/>
            <c:bubble3D val="0"/>
            <c:spPr>
              <a:solidFill>
                <a:srgbClr val="AEABAB"/>
              </a:solidFill>
            </c:spPr>
            <c:extLst>
              <c:ext xmlns:c16="http://schemas.microsoft.com/office/drawing/2014/chart" uri="{C3380CC4-5D6E-409C-BE32-E72D297353CC}">
                <c16:uniqueId val="{00000391-DBE9-4B73-8742-74A0F2DCF0F9}"/>
              </c:ext>
            </c:extLst>
          </c:dPt>
          <c:dPt>
            <c:idx val="456"/>
            <c:invertIfNegative val="1"/>
            <c:bubble3D val="0"/>
            <c:spPr>
              <a:solidFill>
                <a:srgbClr val="AEABAB"/>
              </a:solidFill>
            </c:spPr>
            <c:extLst>
              <c:ext xmlns:c16="http://schemas.microsoft.com/office/drawing/2014/chart" uri="{C3380CC4-5D6E-409C-BE32-E72D297353CC}">
                <c16:uniqueId val="{00000393-DBE9-4B73-8742-74A0F2DCF0F9}"/>
              </c:ext>
            </c:extLst>
          </c:dPt>
          <c:dPt>
            <c:idx val="457"/>
            <c:invertIfNegative val="1"/>
            <c:bubble3D val="0"/>
            <c:spPr>
              <a:solidFill>
                <a:srgbClr val="AEABAB"/>
              </a:solidFill>
            </c:spPr>
            <c:extLst>
              <c:ext xmlns:c16="http://schemas.microsoft.com/office/drawing/2014/chart" uri="{C3380CC4-5D6E-409C-BE32-E72D297353CC}">
                <c16:uniqueId val="{00000395-DBE9-4B73-8742-74A0F2DCF0F9}"/>
              </c:ext>
            </c:extLst>
          </c:dPt>
          <c:dPt>
            <c:idx val="458"/>
            <c:invertIfNegative val="1"/>
            <c:bubble3D val="0"/>
            <c:spPr>
              <a:solidFill>
                <a:srgbClr val="AEABAB"/>
              </a:solidFill>
            </c:spPr>
            <c:extLst>
              <c:ext xmlns:c16="http://schemas.microsoft.com/office/drawing/2014/chart" uri="{C3380CC4-5D6E-409C-BE32-E72D297353CC}">
                <c16:uniqueId val="{00000397-DBE9-4B73-8742-74A0F2DCF0F9}"/>
              </c:ext>
            </c:extLst>
          </c:dPt>
          <c:dPt>
            <c:idx val="459"/>
            <c:invertIfNegative val="1"/>
            <c:bubble3D val="0"/>
            <c:spPr>
              <a:solidFill>
                <a:srgbClr val="AEABAB"/>
              </a:solidFill>
            </c:spPr>
            <c:extLst>
              <c:ext xmlns:c16="http://schemas.microsoft.com/office/drawing/2014/chart" uri="{C3380CC4-5D6E-409C-BE32-E72D297353CC}">
                <c16:uniqueId val="{00000399-DBE9-4B73-8742-74A0F2DCF0F9}"/>
              </c:ext>
            </c:extLst>
          </c:dPt>
          <c:dPt>
            <c:idx val="460"/>
            <c:invertIfNegative val="1"/>
            <c:bubble3D val="0"/>
            <c:spPr>
              <a:solidFill>
                <a:srgbClr val="AEABAB"/>
              </a:solidFill>
            </c:spPr>
            <c:extLst>
              <c:ext xmlns:c16="http://schemas.microsoft.com/office/drawing/2014/chart" uri="{C3380CC4-5D6E-409C-BE32-E72D297353CC}">
                <c16:uniqueId val="{0000039B-DBE9-4B73-8742-74A0F2DCF0F9}"/>
              </c:ext>
            </c:extLst>
          </c:dPt>
          <c:dPt>
            <c:idx val="461"/>
            <c:invertIfNegative val="1"/>
            <c:bubble3D val="0"/>
            <c:spPr>
              <a:solidFill>
                <a:srgbClr val="AEABAB"/>
              </a:solidFill>
            </c:spPr>
            <c:extLst>
              <c:ext xmlns:c16="http://schemas.microsoft.com/office/drawing/2014/chart" uri="{C3380CC4-5D6E-409C-BE32-E72D297353CC}">
                <c16:uniqueId val="{0000039D-DBE9-4B73-8742-74A0F2DCF0F9}"/>
              </c:ext>
            </c:extLst>
          </c:dPt>
          <c:dPt>
            <c:idx val="462"/>
            <c:invertIfNegative val="1"/>
            <c:bubble3D val="0"/>
            <c:spPr>
              <a:solidFill>
                <a:srgbClr val="AEABAB"/>
              </a:solidFill>
            </c:spPr>
            <c:extLst>
              <c:ext xmlns:c16="http://schemas.microsoft.com/office/drawing/2014/chart" uri="{C3380CC4-5D6E-409C-BE32-E72D297353CC}">
                <c16:uniqueId val="{0000039F-DBE9-4B73-8742-74A0F2DCF0F9}"/>
              </c:ext>
            </c:extLst>
          </c:dPt>
          <c:dPt>
            <c:idx val="463"/>
            <c:invertIfNegative val="1"/>
            <c:bubble3D val="0"/>
            <c:spPr>
              <a:solidFill>
                <a:srgbClr val="AEABAB"/>
              </a:solidFill>
            </c:spPr>
            <c:extLst>
              <c:ext xmlns:c16="http://schemas.microsoft.com/office/drawing/2014/chart" uri="{C3380CC4-5D6E-409C-BE32-E72D297353CC}">
                <c16:uniqueId val="{000003A1-DBE9-4B73-8742-74A0F2DCF0F9}"/>
              </c:ext>
            </c:extLst>
          </c:dPt>
          <c:dPt>
            <c:idx val="464"/>
            <c:invertIfNegative val="1"/>
            <c:bubble3D val="0"/>
            <c:spPr>
              <a:solidFill>
                <a:srgbClr val="AEABAB"/>
              </a:solidFill>
            </c:spPr>
            <c:extLst>
              <c:ext xmlns:c16="http://schemas.microsoft.com/office/drawing/2014/chart" uri="{C3380CC4-5D6E-409C-BE32-E72D297353CC}">
                <c16:uniqueId val="{000003A3-DBE9-4B73-8742-74A0F2DCF0F9}"/>
              </c:ext>
            </c:extLst>
          </c:dPt>
          <c:dPt>
            <c:idx val="465"/>
            <c:invertIfNegative val="1"/>
            <c:bubble3D val="0"/>
            <c:spPr>
              <a:solidFill>
                <a:srgbClr val="AEABAB"/>
              </a:solidFill>
            </c:spPr>
            <c:extLst>
              <c:ext xmlns:c16="http://schemas.microsoft.com/office/drawing/2014/chart" uri="{C3380CC4-5D6E-409C-BE32-E72D297353CC}">
                <c16:uniqueId val="{000003A5-DBE9-4B73-8742-74A0F2DCF0F9}"/>
              </c:ext>
            </c:extLst>
          </c:dPt>
          <c:dPt>
            <c:idx val="466"/>
            <c:invertIfNegative val="1"/>
            <c:bubble3D val="0"/>
            <c:spPr>
              <a:solidFill>
                <a:srgbClr val="AEABAB"/>
              </a:solidFill>
            </c:spPr>
            <c:extLst>
              <c:ext xmlns:c16="http://schemas.microsoft.com/office/drawing/2014/chart" uri="{C3380CC4-5D6E-409C-BE32-E72D297353CC}">
                <c16:uniqueId val="{000003A7-DBE9-4B73-8742-74A0F2DCF0F9}"/>
              </c:ext>
            </c:extLst>
          </c:dPt>
          <c:dPt>
            <c:idx val="467"/>
            <c:invertIfNegative val="1"/>
            <c:bubble3D val="0"/>
            <c:spPr>
              <a:solidFill>
                <a:srgbClr val="AEABAB"/>
              </a:solidFill>
            </c:spPr>
            <c:extLst>
              <c:ext xmlns:c16="http://schemas.microsoft.com/office/drawing/2014/chart" uri="{C3380CC4-5D6E-409C-BE32-E72D297353CC}">
                <c16:uniqueId val="{000003A9-DBE9-4B73-8742-74A0F2DCF0F9}"/>
              </c:ext>
            </c:extLst>
          </c:dPt>
          <c:dPt>
            <c:idx val="468"/>
            <c:invertIfNegative val="1"/>
            <c:bubble3D val="0"/>
            <c:spPr>
              <a:solidFill>
                <a:srgbClr val="AEABAB"/>
              </a:solidFill>
            </c:spPr>
            <c:extLst>
              <c:ext xmlns:c16="http://schemas.microsoft.com/office/drawing/2014/chart" uri="{C3380CC4-5D6E-409C-BE32-E72D297353CC}">
                <c16:uniqueId val="{000003AB-DBE9-4B73-8742-74A0F2DCF0F9}"/>
              </c:ext>
            </c:extLst>
          </c:dPt>
          <c:dPt>
            <c:idx val="469"/>
            <c:invertIfNegative val="1"/>
            <c:bubble3D val="0"/>
            <c:spPr>
              <a:solidFill>
                <a:srgbClr val="AEABAB"/>
              </a:solidFill>
            </c:spPr>
            <c:extLst>
              <c:ext xmlns:c16="http://schemas.microsoft.com/office/drawing/2014/chart" uri="{C3380CC4-5D6E-409C-BE32-E72D297353CC}">
                <c16:uniqueId val="{000003AD-DBE9-4B73-8742-74A0F2DCF0F9}"/>
              </c:ext>
            </c:extLst>
          </c:dPt>
          <c:dPt>
            <c:idx val="470"/>
            <c:invertIfNegative val="1"/>
            <c:bubble3D val="0"/>
            <c:spPr>
              <a:solidFill>
                <a:srgbClr val="AEABAB"/>
              </a:solidFill>
            </c:spPr>
            <c:extLst>
              <c:ext xmlns:c16="http://schemas.microsoft.com/office/drawing/2014/chart" uri="{C3380CC4-5D6E-409C-BE32-E72D297353CC}">
                <c16:uniqueId val="{000003AF-DBE9-4B73-8742-74A0F2DCF0F9}"/>
              </c:ext>
            </c:extLst>
          </c:dPt>
          <c:dPt>
            <c:idx val="471"/>
            <c:invertIfNegative val="1"/>
            <c:bubble3D val="0"/>
            <c:spPr>
              <a:solidFill>
                <a:srgbClr val="AEABAB"/>
              </a:solidFill>
            </c:spPr>
            <c:extLst>
              <c:ext xmlns:c16="http://schemas.microsoft.com/office/drawing/2014/chart" uri="{C3380CC4-5D6E-409C-BE32-E72D297353CC}">
                <c16:uniqueId val="{000003B1-DBE9-4B73-8742-74A0F2DCF0F9}"/>
              </c:ext>
            </c:extLst>
          </c:dPt>
          <c:dPt>
            <c:idx val="472"/>
            <c:invertIfNegative val="1"/>
            <c:bubble3D val="0"/>
            <c:spPr>
              <a:solidFill>
                <a:srgbClr val="AEABAB"/>
              </a:solidFill>
            </c:spPr>
            <c:extLst>
              <c:ext xmlns:c16="http://schemas.microsoft.com/office/drawing/2014/chart" uri="{C3380CC4-5D6E-409C-BE32-E72D297353CC}">
                <c16:uniqueId val="{000003B3-DBE9-4B73-8742-74A0F2DCF0F9}"/>
              </c:ext>
            </c:extLst>
          </c:dPt>
          <c:dPt>
            <c:idx val="473"/>
            <c:invertIfNegative val="1"/>
            <c:bubble3D val="0"/>
            <c:spPr>
              <a:solidFill>
                <a:srgbClr val="AEABAB"/>
              </a:solidFill>
            </c:spPr>
            <c:extLst>
              <c:ext xmlns:c16="http://schemas.microsoft.com/office/drawing/2014/chart" uri="{C3380CC4-5D6E-409C-BE32-E72D297353CC}">
                <c16:uniqueId val="{000003B5-DBE9-4B73-8742-74A0F2DCF0F9}"/>
              </c:ext>
            </c:extLst>
          </c:dPt>
          <c:dPt>
            <c:idx val="474"/>
            <c:invertIfNegative val="1"/>
            <c:bubble3D val="0"/>
            <c:spPr>
              <a:solidFill>
                <a:srgbClr val="AEABAB"/>
              </a:solidFill>
            </c:spPr>
            <c:extLst>
              <c:ext xmlns:c16="http://schemas.microsoft.com/office/drawing/2014/chart" uri="{C3380CC4-5D6E-409C-BE32-E72D297353CC}">
                <c16:uniqueId val="{000003B7-DBE9-4B73-8742-74A0F2DCF0F9}"/>
              </c:ext>
            </c:extLst>
          </c:dPt>
          <c:dPt>
            <c:idx val="475"/>
            <c:invertIfNegative val="1"/>
            <c:bubble3D val="0"/>
            <c:spPr>
              <a:solidFill>
                <a:srgbClr val="AEABAB"/>
              </a:solidFill>
            </c:spPr>
            <c:extLst>
              <c:ext xmlns:c16="http://schemas.microsoft.com/office/drawing/2014/chart" uri="{C3380CC4-5D6E-409C-BE32-E72D297353CC}">
                <c16:uniqueId val="{000003B9-DBE9-4B73-8742-74A0F2DCF0F9}"/>
              </c:ext>
            </c:extLst>
          </c:dPt>
          <c:dPt>
            <c:idx val="476"/>
            <c:invertIfNegative val="1"/>
            <c:bubble3D val="0"/>
            <c:spPr>
              <a:solidFill>
                <a:srgbClr val="AEABAB"/>
              </a:solidFill>
            </c:spPr>
            <c:extLst>
              <c:ext xmlns:c16="http://schemas.microsoft.com/office/drawing/2014/chart" uri="{C3380CC4-5D6E-409C-BE32-E72D297353CC}">
                <c16:uniqueId val="{000003BB-DBE9-4B73-8742-74A0F2DCF0F9}"/>
              </c:ext>
            </c:extLst>
          </c:dPt>
          <c:dPt>
            <c:idx val="477"/>
            <c:invertIfNegative val="1"/>
            <c:bubble3D val="0"/>
            <c:spPr>
              <a:solidFill>
                <a:srgbClr val="AEABAB"/>
              </a:solidFill>
            </c:spPr>
            <c:extLst>
              <c:ext xmlns:c16="http://schemas.microsoft.com/office/drawing/2014/chart" uri="{C3380CC4-5D6E-409C-BE32-E72D297353CC}">
                <c16:uniqueId val="{000003BD-DBE9-4B73-8742-74A0F2DCF0F9}"/>
              </c:ext>
            </c:extLst>
          </c:dPt>
          <c:dPt>
            <c:idx val="478"/>
            <c:invertIfNegative val="1"/>
            <c:bubble3D val="0"/>
            <c:spPr>
              <a:solidFill>
                <a:srgbClr val="AEABAB"/>
              </a:solidFill>
            </c:spPr>
            <c:extLst>
              <c:ext xmlns:c16="http://schemas.microsoft.com/office/drawing/2014/chart" uri="{C3380CC4-5D6E-409C-BE32-E72D297353CC}">
                <c16:uniqueId val="{000003BF-DBE9-4B73-8742-74A0F2DCF0F9}"/>
              </c:ext>
            </c:extLst>
          </c:dPt>
          <c:dPt>
            <c:idx val="479"/>
            <c:invertIfNegative val="1"/>
            <c:bubble3D val="0"/>
            <c:spPr>
              <a:solidFill>
                <a:srgbClr val="AEABAB"/>
              </a:solidFill>
            </c:spPr>
            <c:extLst>
              <c:ext xmlns:c16="http://schemas.microsoft.com/office/drawing/2014/chart" uri="{C3380CC4-5D6E-409C-BE32-E72D297353CC}">
                <c16:uniqueId val="{000003C1-DBE9-4B73-8742-74A0F2DCF0F9}"/>
              </c:ext>
            </c:extLst>
          </c:dPt>
          <c:dPt>
            <c:idx val="480"/>
            <c:invertIfNegative val="1"/>
            <c:bubble3D val="0"/>
            <c:spPr>
              <a:solidFill>
                <a:srgbClr val="AEABAB"/>
              </a:solidFill>
            </c:spPr>
            <c:extLst>
              <c:ext xmlns:c16="http://schemas.microsoft.com/office/drawing/2014/chart" uri="{C3380CC4-5D6E-409C-BE32-E72D297353CC}">
                <c16:uniqueId val="{000003C3-DBE9-4B73-8742-74A0F2DCF0F9}"/>
              </c:ext>
            </c:extLst>
          </c:dPt>
          <c:dPt>
            <c:idx val="481"/>
            <c:invertIfNegative val="1"/>
            <c:bubble3D val="0"/>
            <c:spPr>
              <a:solidFill>
                <a:srgbClr val="AEABAB"/>
              </a:solidFill>
            </c:spPr>
            <c:extLst>
              <c:ext xmlns:c16="http://schemas.microsoft.com/office/drawing/2014/chart" uri="{C3380CC4-5D6E-409C-BE32-E72D297353CC}">
                <c16:uniqueId val="{000003C5-DBE9-4B73-8742-74A0F2DCF0F9}"/>
              </c:ext>
            </c:extLst>
          </c:dPt>
          <c:dPt>
            <c:idx val="482"/>
            <c:invertIfNegative val="1"/>
            <c:bubble3D val="0"/>
            <c:spPr>
              <a:solidFill>
                <a:srgbClr val="AEABAB"/>
              </a:solidFill>
            </c:spPr>
            <c:extLst>
              <c:ext xmlns:c16="http://schemas.microsoft.com/office/drawing/2014/chart" uri="{C3380CC4-5D6E-409C-BE32-E72D297353CC}">
                <c16:uniqueId val="{000003C7-DBE9-4B73-8742-74A0F2DCF0F9}"/>
              </c:ext>
            </c:extLst>
          </c:dPt>
          <c:dPt>
            <c:idx val="483"/>
            <c:invertIfNegative val="1"/>
            <c:bubble3D val="0"/>
            <c:spPr>
              <a:solidFill>
                <a:srgbClr val="AEABAB"/>
              </a:solidFill>
            </c:spPr>
            <c:extLst>
              <c:ext xmlns:c16="http://schemas.microsoft.com/office/drawing/2014/chart" uri="{C3380CC4-5D6E-409C-BE32-E72D297353CC}">
                <c16:uniqueId val="{000003C9-DBE9-4B73-8742-74A0F2DCF0F9}"/>
              </c:ext>
            </c:extLst>
          </c:dPt>
          <c:dPt>
            <c:idx val="484"/>
            <c:invertIfNegative val="1"/>
            <c:bubble3D val="0"/>
            <c:spPr>
              <a:solidFill>
                <a:srgbClr val="AEABAB"/>
              </a:solidFill>
            </c:spPr>
            <c:extLst>
              <c:ext xmlns:c16="http://schemas.microsoft.com/office/drawing/2014/chart" uri="{C3380CC4-5D6E-409C-BE32-E72D297353CC}">
                <c16:uniqueId val="{000003CB-DBE9-4B73-8742-74A0F2DCF0F9}"/>
              </c:ext>
            </c:extLst>
          </c:dPt>
          <c:dPt>
            <c:idx val="485"/>
            <c:invertIfNegative val="1"/>
            <c:bubble3D val="0"/>
            <c:spPr>
              <a:solidFill>
                <a:srgbClr val="AEABAB"/>
              </a:solidFill>
            </c:spPr>
            <c:extLst>
              <c:ext xmlns:c16="http://schemas.microsoft.com/office/drawing/2014/chart" uri="{C3380CC4-5D6E-409C-BE32-E72D297353CC}">
                <c16:uniqueId val="{000003CD-DBE9-4B73-8742-74A0F2DCF0F9}"/>
              </c:ext>
            </c:extLst>
          </c:dPt>
          <c:dPt>
            <c:idx val="486"/>
            <c:invertIfNegative val="1"/>
            <c:bubble3D val="0"/>
            <c:spPr>
              <a:solidFill>
                <a:srgbClr val="AEABAB"/>
              </a:solidFill>
            </c:spPr>
            <c:extLst>
              <c:ext xmlns:c16="http://schemas.microsoft.com/office/drawing/2014/chart" uri="{C3380CC4-5D6E-409C-BE32-E72D297353CC}">
                <c16:uniqueId val="{000003CF-DBE9-4B73-8742-74A0F2DCF0F9}"/>
              </c:ext>
            </c:extLst>
          </c:dPt>
          <c:dPt>
            <c:idx val="487"/>
            <c:invertIfNegative val="1"/>
            <c:bubble3D val="0"/>
            <c:spPr>
              <a:solidFill>
                <a:srgbClr val="AEABAB"/>
              </a:solidFill>
            </c:spPr>
            <c:extLst>
              <c:ext xmlns:c16="http://schemas.microsoft.com/office/drawing/2014/chart" uri="{C3380CC4-5D6E-409C-BE32-E72D297353CC}">
                <c16:uniqueId val="{000003D1-DBE9-4B73-8742-74A0F2DCF0F9}"/>
              </c:ext>
            </c:extLst>
          </c:dPt>
          <c:dPt>
            <c:idx val="488"/>
            <c:invertIfNegative val="1"/>
            <c:bubble3D val="0"/>
            <c:spPr>
              <a:solidFill>
                <a:srgbClr val="AEABAB"/>
              </a:solidFill>
            </c:spPr>
            <c:extLst>
              <c:ext xmlns:c16="http://schemas.microsoft.com/office/drawing/2014/chart" uri="{C3380CC4-5D6E-409C-BE32-E72D297353CC}">
                <c16:uniqueId val="{000003D3-DBE9-4B73-8742-74A0F2DCF0F9}"/>
              </c:ext>
            </c:extLst>
          </c:dPt>
          <c:dPt>
            <c:idx val="489"/>
            <c:invertIfNegative val="1"/>
            <c:bubble3D val="0"/>
            <c:spPr>
              <a:solidFill>
                <a:srgbClr val="AEABAB"/>
              </a:solidFill>
            </c:spPr>
            <c:extLst>
              <c:ext xmlns:c16="http://schemas.microsoft.com/office/drawing/2014/chart" uri="{C3380CC4-5D6E-409C-BE32-E72D297353CC}">
                <c16:uniqueId val="{000003D5-DBE9-4B73-8742-74A0F2DCF0F9}"/>
              </c:ext>
            </c:extLst>
          </c:dPt>
          <c:dPt>
            <c:idx val="490"/>
            <c:invertIfNegative val="1"/>
            <c:bubble3D val="0"/>
            <c:spPr>
              <a:solidFill>
                <a:srgbClr val="AEABAB"/>
              </a:solidFill>
            </c:spPr>
            <c:extLst>
              <c:ext xmlns:c16="http://schemas.microsoft.com/office/drawing/2014/chart" uri="{C3380CC4-5D6E-409C-BE32-E72D297353CC}">
                <c16:uniqueId val="{000003D7-DBE9-4B73-8742-74A0F2DCF0F9}"/>
              </c:ext>
            </c:extLst>
          </c:dPt>
          <c:dPt>
            <c:idx val="491"/>
            <c:invertIfNegative val="1"/>
            <c:bubble3D val="0"/>
            <c:spPr>
              <a:solidFill>
                <a:srgbClr val="AEABAB"/>
              </a:solidFill>
            </c:spPr>
            <c:extLst>
              <c:ext xmlns:c16="http://schemas.microsoft.com/office/drawing/2014/chart" uri="{C3380CC4-5D6E-409C-BE32-E72D297353CC}">
                <c16:uniqueId val="{000003D9-DBE9-4B73-8742-74A0F2DCF0F9}"/>
              </c:ext>
            </c:extLst>
          </c:dPt>
          <c:dPt>
            <c:idx val="492"/>
            <c:invertIfNegative val="1"/>
            <c:bubble3D val="0"/>
            <c:spPr>
              <a:solidFill>
                <a:srgbClr val="AEABAB"/>
              </a:solidFill>
            </c:spPr>
            <c:extLst>
              <c:ext xmlns:c16="http://schemas.microsoft.com/office/drawing/2014/chart" uri="{C3380CC4-5D6E-409C-BE32-E72D297353CC}">
                <c16:uniqueId val="{000003DB-DBE9-4B73-8742-74A0F2DCF0F9}"/>
              </c:ext>
            </c:extLst>
          </c:dPt>
          <c:dPt>
            <c:idx val="493"/>
            <c:invertIfNegative val="1"/>
            <c:bubble3D val="0"/>
            <c:spPr>
              <a:solidFill>
                <a:srgbClr val="AEABAB"/>
              </a:solidFill>
            </c:spPr>
            <c:extLst>
              <c:ext xmlns:c16="http://schemas.microsoft.com/office/drawing/2014/chart" uri="{C3380CC4-5D6E-409C-BE32-E72D297353CC}">
                <c16:uniqueId val="{000003DD-DBE9-4B73-8742-74A0F2DCF0F9}"/>
              </c:ext>
            </c:extLst>
          </c:dPt>
          <c:dPt>
            <c:idx val="494"/>
            <c:invertIfNegative val="1"/>
            <c:bubble3D val="0"/>
            <c:spPr>
              <a:solidFill>
                <a:srgbClr val="AEABAB"/>
              </a:solidFill>
            </c:spPr>
            <c:extLst>
              <c:ext xmlns:c16="http://schemas.microsoft.com/office/drawing/2014/chart" uri="{C3380CC4-5D6E-409C-BE32-E72D297353CC}">
                <c16:uniqueId val="{000003DF-DBE9-4B73-8742-74A0F2DCF0F9}"/>
              </c:ext>
            </c:extLst>
          </c:dPt>
          <c:dPt>
            <c:idx val="495"/>
            <c:invertIfNegative val="1"/>
            <c:bubble3D val="0"/>
            <c:spPr>
              <a:solidFill>
                <a:srgbClr val="AEABAB"/>
              </a:solidFill>
            </c:spPr>
            <c:extLst>
              <c:ext xmlns:c16="http://schemas.microsoft.com/office/drawing/2014/chart" uri="{C3380CC4-5D6E-409C-BE32-E72D297353CC}">
                <c16:uniqueId val="{000003E1-DBE9-4B73-8742-74A0F2DCF0F9}"/>
              </c:ext>
            </c:extLst>
          </c:dPt>
          <c:dPt>
            <c:idx val="496"/>
            <c:invertIfNegative val="1"/>
            <c:bubble3D val="0"/>
            <c:spPr>
              <a:solidFill>
                <a:srgbClr val="AEABAB"/>
              </a:solidFill>
            </c:spPr>
            <c:extLst>
              <c:ext xmlns:c16="http://schemas.microsoft.com/office/drawing/2014/chart" uri="{C3380CC4-5D6E-409C-BE32-E72D297353CC}">
                <c16:uniqueId val="{000003E3-DBE9-4B73-8742-74A0F2DCF0F9}"/>
              </c:ext>
            </c:extLst>
          </c:dPt>
          <c:dPt>
            <c:idx val="497"/>
            <c:invertIfNegative val="1"/>
            <c:bubble3D val="0"/>
            <c:spPr>
              <a:solidFill>
                <a:srgbClr val="AEABAB"/>
              </a:solidFill>
            </c:spPr>
            <c:extLst>
              <c:ext xmlns:c16="http://schemas.microsoft.com/office/drawing/2014/chart" uri="{C3380CC4-5D6E-409C-BE32-E72D297353CC}">
                <c16:uniqueId val="{000003E5-DBE9-4B73-8742-74A0F2DCF0F9}"/>
              </c:ext>
            </c:extLst>
          </c:dPt>
          <c:dPt>
            <c:idx val="498"/>
            <c:invertIfNegative val="1"/>
            <c:bubble3D val="0"/>
            <c:spPr>
              <a:solidFill>
                <a:srgbClr val="AEABAB"/>
              </a:solidFill>
            </c:spPr>
            <c:extLst>
              <c:ext xmlns:c16="http://schemas.microsoft.com/office/drawing/2014/chart" uri="{C3380CC4-5D6E-409C-BE32-E72D297353CC}">
                <c16:uniqueId val="{000003E7-DBE9-4B73-8742-74A0F2DCF0F9}"/>
              </c:ext>
            </c:extLst>
          </c:dPt>
          <c:dPt>
            <c:idx val="499"/>
            <c:invertIfNegative val="1"/>
            <c:bubble3D val="0"/>
            <c:spPr>
              <a:solidFill>
                <a:srgbClr val="AEABAB"/>
              </a:solidFill>
            </c:spPr>
            <c:extLst>
              <c:ext xmlns:c16="http://schemas.microsoft.com/office/drawing/2014/chart" uri="{C3380CC4-5D6E-409C-BE32-E72D297353CC}">
                <c16:uniqueId val="{000003E9-DBE9-4B73-8742-74A0F2DCF0F9}"/>
              </c:ext>
            </c:extLst>
          </c:dPt>
          <c:dPt>
            <c:idx val="500"/>
            <c:invertIfNegative val="1"/>
            <c:bubble3D val="0"/>
            <c:spPr>
              <a:solidFill>
                <a:srgbClr val="AEABAB"/>
              </a:solidFill>
            </c:spPr>
            <c:extLst>
              <c:ext xmlns:c16="http://schemas.microsoft.com/office/drawing/2014/chart" uri="{C3380CC4-5D6E-409C-BE32-E72D297353CC}">
                <c16:uniqueId val="{000003EB-DBE9-4B73-8742-74A0F2DCF0F9}"/>
              </c:ext>
            </c:extLst>
          </c:dPt>
          <c:dPt>
            <c:idx val="501"/>
            <c:invertIfNegative val="1"/>
            <c:bubble3D val="0"/>
            <c:spPr>
              <a:solidFill>
                <a:srgbClr val="AEABAB"/>
              </a:solidFill>
            </c:spPr>
            <c:extLst>
              <c:ext xmlns:c16="http://schemas.microsoft.com/office/drawing/2014/chart" uri="{C3380CC4-5D6E-409C-BE32-E72D297353CC}">
                <c16:uniqueId val="{000003ED-DBE9-4B73-8742-74A0F2DCF0F9}"/>
              </c:ext>
            </c:extLst>
          </c:dPt>
          <c:dPt>
            <c:idx val="502"/>
            <c:invertIfNegative val="1"/>
            <c:bubble3D val="0"/>
            <c:spPr>
              <a:solidFill>
                <a:srgbClr val="AEABAB"/>
              </a:solidFill>
            </c:spPr>
            <c:extLst>
              <c:ext xmlns:c16="http://schemas.microsoft.com/office/drawing/2014/chart" uri="{C3380CC4-5D6E-409C-BE32-E72D297353CC}">
                <c16:uniqueId val="{000003EF-DBE9-4B73-8742-74A0F2DCF0F9}"/>
              </c:ext>
            </c:extLst>
          </c:dPt>
          <c:dPt>
            <c:idx val="503"/>
            <c:invertIfNegative val="1"/>
            <c:bubble3D val="0"/>
            <c:spPr>
              <a:solidFill>
                <a:srgbClr val="AEABAB"/>
              </a:solidFill>
            </c:spPr>
            <c:extLst>
              <c:ext xmlns:c16="http://schemas.microsoft.com/office/drawing/2014/chart" uri="{C3380CC4-5D6E-409C-BE32-E72D297353CC}">
                <c16:uniqueId val="{000003F1-DBE9-4B73-8742-74A0F2DCF0F9}"/>
              </c:ext>
            </c:extLst>
          </c:dPt>
          <c:dPt>
            <c:idx val="504"/>
            <c:invertIfNegative val="1"/>
            <c:bubble3D val="0"/>
            <c:spPr>
              <a:solidFill>
                <a:srgbClr val="AEABAB"/>
              </a:solidFill>
            </c:spPr>
            <c:extLst>
              <c:ext xmlns:c16="http://schemas.microsoft.com/office/drawing/2014/chart" uri="{C3380CC4-5D6E-409C-BE32-E72D297353CC}">
                <c16:uniqueId val="{000003F3-DBE9-4B73-8742-74A0F2DCF0F9}"/>
              </c:ext>
            </c:extLst>
          </c:dPt>
          <c:dPt>
            <c:idx val="505"/>
            <c:invertIfNegative val="1"/>
            <c:bubble3D val="0"/>
            <c:spPr>
              <a:solidFill>
                <a:srgbClr val="AEABAB"/>
              </a:solidFill>
            </c:spPr>
            <c:extLst>
              <c:ext xmlns:c16="http://schemas.microsoft.com/office/drawing/2014/chart" uri="{C3380CC4-5D6E-409C-BE32-E72D297353CC}">
                <c16:uniqueId val="{000003F5-DBE9-4B73-8742-74A0F2DCF0F9}"/>
              </c:ext>
            </c:extLst>
          </c:dPt>
          <c:dPt>
            <c:idx val="506"/>
            <c:invertIfNegative val="1"/>
            <c:bubble3D val="0"/>
            <c:spPr>
              <a:solidFill>
                <a:srgbClr val="AEABAB"/>
              </a:solidFill>
            </c:spPr>
            <c:extLst>
              <c:ext xmlns:c16="http://schemas.microsoft.com/office/drawing/2014/chart" uri="{C3380CC4-5D6E-409C-BE32-E72D297353CC}">
                <c16:uniqueId val="{000003F7-DBE9-4B73-8742-74A0F2DCF0F9}"/>
              </c:ext>
            </c:extLst>
          </c:dPt>
          <c:dPt>
            <c:idx val="507"/>
            <c:invertIfNegative val="1"/>
            <c:bubble3D val="0"/>
            <c:spPr>
              <a:solidFill>
                <a:srgbClr val="AEABAB"/>
              </a:solidFill>
            </c:spPr>
            <c:extLst>
              <c:ext xmlns:c16="http://schemas.microsoft.com/office/drawing/2014/chart" uri="{C3380CC4-5D6E-409C-BE32-E72D297353CC}">
                <c16:uniqueId val="{000003F9-DBE9-4B73-8742-74A0F2DCF0F9}"/>
              </c:ext>
            </c:extLst>
          </c:dPt>
          <c:dPt>
            <c:idx val="508"/>
            <c:invertIfNegative val="1"/>
            <c:bubble3D val="0"/>
            <c:spPr>
              <a:solidFill>
                <a:srgbClr val="AEABAB"/>
              </a:solidFill>
            </c:spPr>
            <c:extLst>
              <c:ext xmlns:c16="http://schemas.microsoft.com/office/drawing/2014/chart" uri="{C3380CC4-5D6E-409C-BE32-E72D297353CC}">
                <c16:uniqueId val="{000003FB-DBE9-4B73-8742-74A0F2DCF0F9}"/>
              </c:ext>
            </c:extLst>
          </c:dPt>
          <c:dPt>
            <c:idx val="509"/>
            <c:invertIfNegative val="1"/>
            <c:bubble3D val="0"/>
            <c:spPr>
              <a:solidFill>
                <a:srgbClr val="AEABAB"/>
              </a:solidFill>
            </c:spPr>
            <c:extLst>
              <c:ext xmlns:c16="http://schemas.microsoft.com/office/drawing/2014/chart" uri="{C3380CC4-5D6E-409C-BE32-E72D297353CC}">
                <c16:uniqueId val="{000003FD-DBE9-4B73-8742-74A0F2DCF0F9}"/>
              </c:ext>
            </c:extLst>
          </c:dPt>
          <c:dPt>
            <c:idx val="510"/>
            <c:invertIfNegative val="1"/>
            <c:bubble3D val="0"/>
            <c:spPr>
              <a:solidFill>
                <a:srgbClr val="AEABAB"/>
              </a:solidFill>
            </c:spPr>
            <c:extLst>
              <c:ext xmlns:c16="http://schemas.microsoft.com/office/drawing/2014/chart" uri="{C3380CC4-5D6E-409C-BE32-E72D297353CC}">
                <c16:uniqueId val="{000003FF-DBE9-4B73-8742-74A0F2DCF0F9}"/>
              </c:ext>
            </c:extLst>
          </c:dPt>
          <c:dPt>
            <c:idx val="511"/>
            <c:invertIfNegative val="1"/>
            <c:bubble3D val="0"/>
            <c:spPr>
              <a:solidFill>
                <a:srgbClr val="AEABAB"/>
              </a:solidFill>
            </c:spPr>
            <c:extLst>
              <c:ext xmlns:c16="http://schemas.microsoft.com/office/drawing/2014/chart" uri="{C3380CC4-5D6E-409C-BE32-E72D297353CC}">
                <c16:uniqueId val="{00000401-DBE9-4B73-8742-74A0F2DCF0F9}"/>
              </c:ext>
            </c:extLst>
          </c:dPt>
          <c:dPt>
            <c:idx val="512"/>
            <c:invertIfNegative val="1"/>
            <c:bubble3D val="0"/>
            <c:spPr>
              <a:solidFill>
                <a:srgbClr val="AEABAB"/>
              </a:solidFill>
            </c:spPr>
            <c:extLst>
              <c:ext xmlns:c16="http://schemas.microsoft.com/office/drawing/2014/chart" uri="{C3380CC4-5D6E-409C-BE32-E72D297353CC}">
                <c16:uniqueId val="{00000403-DBE9-4B73-8742-74A0F2DCF0F9}"/>
              </c:ext>
            </c:extLst>
          </c:dPt>
          <c:dPt>
            <c:idx val="513"/>
            <c:invertIfNegative val="1"/>
            <c:bubble3D val="0"/>
            <c:spPr>
              <a:solidFill>
                <a:srgbClr val="AEABAB"/>
              </a:solidFill>
            </c:spPr>
            <c:extLst>
              <c:ext xmlns:c16="http://schemas.microsoft.com/office/drawing/2014/chart" uri="{C3380CC4-5D6E-409C-BE32-E72D297353CC}">
                <c16:uniqueId val="{00000405-DBE9-4B73-8742-74A0F2DCF0F9}"/>
              </c:ext>
            </c:extLst>
          </c:dPt>
          <c:dPt>
            <c:idx val="514"/>
            <c:invertIfNegative val="1"/>
            <c:bubble3D val="0"/>
            <c:spPr>
              <a:solidFill>
                <a:srgbClr val="AEABAB"/>
              </a:solidFill>
            </c:spPr>
            <c:extLst>
              <c:ext xmlns:c16="http://schemas.microsoft.com/office/drawing/2014/chart" uri="{C3380CC4-5D6E-409C-BE32-E72D297353CC}">
                <c16:uniqueId val="{00000407-DBE9-4B73-8742-74A0F2DCF0F9}"/>
              </c:ext>
            </c:extLst>
          </c:dPt>
          <c:dPt>
            <c:idx val="515"/>
            <c:invertIfNegative val="1"/>
            <c:bubble3D val="0"/>
            <c:spPr>
              <a:solidFill>
                <a:srgbClr val="AEABAB"/>
              </a:solidFill>
            </c:spPr>
            <c:extLst>
              <c:ext xmlns:c16="http://schemas.microsoft.com/office/drawing/2014/chart" uri="{C3380CC4-5D6E-409C-BE32-E72D297353CC}">
                <c16:uniqueId val="{00000409-DBE9-4B73-8742-74A0F2DCF0F9}"/>
              </c:ext>
            </c:extLst>
          </c:dPt>
          <c:dPt>
            <c:idx val="516"/>
            <c:invertIfNegative val="1"/>
            <c:bubble3D val="0"/>
            <c:spPr>
              <a:solidFill>
                <a:srgbClr val="AEABAB"/>
              </a:solidFill>
            </c:spPr>
            <c:extLst>
              <c:ext xmlns:c16="http://schemas.microsoft.com/office/drawing/2014/chart" uri="{C3380CC4-5D6E-409C-BE32-E72D297353CC}">
                <c16:uniqueId val="{0000040B-DBE9-4B73-8742-74A0F2DCF0F9}"/>
              </c:ext>
            </c:extLst>
          </c:dPt>
          <c:dPt>
            <c:idx val="517"/>
            <c:invertIfNegative val="1"/>
            <c:bubble3D val="0"/>
            <c:spPr>
              <a:solidFill>
                <a:srgbClr val="AEABAB"/>
              </a:solidFill>
            </c:spPr>
            <c:extLst>
              <c:ext xmlns:c16="http://schemas.microsoft.com/office/drawing/2014/chart" uri="{C3380CC4-5D6E-409C-BE32-E72D297353CC}">
                <c16:uniqueId val="{0000040D-DBE9-4B73-8742-74A0F2DCF0F9}"/>
              </c:ext>
            </c:extLst>
          </c:dPt>
          <c:dPt>
            <c:idx val="518"/>
            <c:invertIfNegative val="1"/>
            <c:bubble3D val="0"/>
            <c:spPr>
              <a:solidFill>
                <a:srgbClr val="AEABAB"/>
              </a:solidFill>
            </c:spPr>
            <c:extLst>
              <c:ext xmlns:c16="http://schemas.microsoft.com/office/drawing/2014/chart" uri="{C3380CC4-5D6E-409C-BE32-E72D297353CC}">
                <c16:uniqueId val="{0000040F-DBE9-4B73-8742-74A0F2DCF0F9}"/>
              </c:ext>
            </c:extLst>
          </c:dPt>
          <c:dPt>
            <c:idx val="519"/>
            <c:invertIfNegative val="1"/>
            <c:bubble3D val="0"/>
            <c:spPr>
              <a:solidFill>
                <a:srgbClr val="AEABAB"/>
              </a:solidFill>
            </c:spPr>
            <c:extLst>
              <c:ext xmlns:c16="http://schemas.microsoft.com/office/drawing/2014/chart" uri="{C3380CC4-5D6E-409C-BE32-E72D297353CC}">
                <c16:uniqueId val="{00000411-DBE9-4B73-8742-74A0F2DCF0F9}"/>
              </c:ext>
            </c:extLst>
          </c:dPt>
          <c:dPt>
            <c:idx val="520"/>
            <c:invertIfNegative val="1"/>
            <c:bubble3D val="0"/>
            <c:spPr>
              <a:solidFill>
                <a:srgbClr val="AEABAB"/>
              </a:solidFill>
            </c:spPr>
            <c:extLst>
              <c:ext xmlns:c16="http://schemas.microsoft.com/office/drawing/2014/chart" uri="{C3380CC4-5D6E-409C-BE32-E72D297353CC}">
                <c16:uniqueId val="{00000413-DBE9-4B73-8742-74A0F2DCF0F9}"/>
              </c:ext>
            </c:extLst>
          </c:dPt>
          <c:dPt>
            <c:idx val="521"/>
            <c:invertIfNegative val="1"/>
            <c:bubble3D val="0"/>
            <c:spPr>
              <a:solidFill>
                <a:srgbClr val="AEABAB"/>
              </a:solidFill>
            </c:spPr>
            <c:extLst>
              <c:ext xmlns:c16="http://schemas.microsoft.com/office/drawing/2014/chart" uri="{C3380CC4-5D6E-409C-BE32-E72D297353CC}">
                <c16:uniqueId val="{00000415-DBE9-4B73-8742-74A0F2DCF0F9}"/>
              </c:ext>
            </c:extLst>
          </c:dPt>
          <c:dPt>
            <c:idx val="522"/>
            <c:invertIfNegative val="1"/>
            <c:bubble3D val="0"/>
            <c:spPr>
              <a:solidFill>
                <a:srgbClr val="AEABAB"/>
              </a:solidFill>
            </c:spPr>
            <c:extLst>
              <c:ext xmlns:c16="http://schemas.microsoft.com/office/drawing/2014/chart" uri="{C3380CC4-5D6E-409C-BE32-E72D297353CC}">
                <c16:uniqueId val="{00000417-DBE9-4B73-8742-74A0F2DCF0F9}"/>
              </c:ext>
            </c:extLst>
          </c:dPt>
          <c:dPt>
            <c:idx val="523"/>
            <c:invertIfNegative val="1"/>
            <c:bubble3D val="0"/>
            <c:spPr>
              <a:solidFill>
                <a:srgbClr val="AEABAB"/>
              </a:solidFill>
            </c:spPr>
            <c:extLst>
              <c:ext xmlns:c16="http://schemas.microsoft.com/office/drawing/2014/chart" uri="{C3380CC4-5D6E-409C-BE32-E72D297353CC}">
                <c16:uniqueId val="{00000419-DBE9-4B73-8742-74A0F2DCF0F9}"/>
              </c:ext>
            </c:extLst>
          </c:dPt>
          <c:dPt>
            <c:idx val="524"/>
            <c:invertIfNegative val="1"/>
            <c:bubble3D val="0"/>
            <c:spPr>
              <a:solidFill>
                <a:srgbClr val="AEABAB"/>
              </a:solidFill>
            </c:spPr>
            <c:extLst>
              <c:ext xmlns:c16="http://schemas.microsoft.com/office/drawing/2014/chart" uri="{C3380CC4-5D6E-409C-BE32-E72D297353CC}">
                <c16:uniqueId val="{0000041B-DBE9-4B73-8742-74A0F2DCF0F9}"/>
              </c:ext>
            </c:extLst>
          </c:dPt>
          <c:dPt>
            <c:idx val="525"/>
            <c:invertIfNegative val="1"/>
            <c:bubble3D val="0"/>
            <c:spPr>
              <a:solidFill>
                <a:srgbClr val="AEABAB"/>
              </a:solidFill>
            </c:spPr>
            <c:extLst>
              <c:ext xmlns:c16="http://schemas.microsoft.com/office/drawing/2014/chart" uri="{C3380CC4-5D6E-409C-BE32-E72D297353CC}">
                <c16:uniqueId val="{0000041D-DBE9-4B73-8742-74A0F2DCF0F9}"/>
              </c:ext>
            </c:extLst>
          </c:dPt>
          <c:dPt>
            <c:idx val="526"/>
            <c:invertIfNegative val="1"/>
            <c:bubble3D val="0"/>
            <c:spPr>
              <a:solidFill>
                <a:srgbClr val="AEABAB"/>
              </a:solidFill>
            </c:spPr>
            <c:extLst>
              <c:ext xmlns:c16="http://schemas.microsoft.com/office/drawing/2014/chart" uri="{C3380CC4-5D6E-409C-BE32-E72D297353CC}">
                <c16:uniqueId val="{0000041F-DBE9-4B73-8742-74A0F2DCF0F9}"/>
              </c:ext>
            </c:extLst>
          </c:dPt>
          <c:dPt>
            <c:idx val="527"/>
            <c:invertIfNegative val="1"/>
            <c:bubble3D val="0"/>
            <c:spPr>
              <a:solidFill>
                <a:srgbClr val="AEABAB"/>
              </a:solidFill>
            </c:spPr>
            <c:extLst>
              <c:ext xmlns:c16="http://schemas.microsoft.com/office/drawing/2014/chart" uri="{C3380CC4-5D6E-409C-BE32-E72D297353CC}">
                <c16:uniqueId val="{00000421-DBE9-4B73-8742-74A0F2DCF0F9}"/>
              </c:ext>
            </c:extLst>
          </c:dPt>
          <c:dPt>
            <c:idx val="528"/>
            <c:invertIfNegative val="1"/>
            <c:bubble3D val="0"/>
            <c:spPr>
              <a:solidFill>
                <a:srgbClr val="AEABAB"/>
              </a:solidFill>
            </c:spPr>
            <c:extLst>
              <c:ext xmlns:c16="http://schemas.microsoft.com/office/drawing/2014/chart" uri="{C3380CC4-5D6E-409C-BE32-E72D297353CC}">
                <c16:uniqueId val="{00000423-DBE9-4B73-8742-74A0F2DCF0F9}"/>
              </c:ext>
            </c:extLst>
          </c:dPt>
          <c:dPt>
            <c:idx val="529"/>
            <c:invertIfNegative val="1"/>
            <c:bubble3D val="0"/>
            <c:spPr>
              <a:solidFill>
                <a:srgbClr val="AEABAB"/>
              </a:solidFill>
            </c:spPr>
            <c:extLst>
              <c:ext xmlns:c16="http://schemas.microsoft.com/office/drawing/2014/chart" uri="{C3380CC4-5D6E-409C-BE32-E72D297353CC}">
                <c16:uniqueId val="{00000425-DBE9-4B73-8742-74A0F2DCF0F9}"/>
              </c:ext>
            </c:extLst>
          </c:dPt>
          <c:dPt>
            <c:idx val="530"/>
            <c:invertIfNegative val="1"/>
            <c:bubble3D val="0"/>
            <c:spPr>
              <a:solidFill>
                <a:srgbClr val="AEABAB"/>
              </a:solidFill>
            </c:spPr>
            <c:extLst>
              <c:ext xmlns:c16="http://schemas.microsoft.com/office/drawing/2014/chart" uri="{C3380CC4-5D6E-409C-BE32-E72D297353CC}">
                <c16:uniqueId val="{00000427-DBE9-4B73-8742-74A0F2DCF0F9}"/>
              </c:ext>
            </c:extLst>
          </c:dPt>
          <c:dPt>
            <c:idx val="531"/>
            <c:invertIfNegative val="1"/>
            <c:bubble3D val="0"/>
            <c:spPr>
              <a:solidFill>
                <a:srgbClr val="AEABAB"/>
              </a:solidFill>
            </c:spPr>
            <c:extLst>
              <c:ext xmlns:c16="http://schemas.microsoft.com/office/drawing/2014/chart" uri="{C3380CC4-5D6E-409C-BE32-E72D297353CC}">
                <c16:uniqueId val="{00000429-DBE9-4B73-8742-74A0F2DCF0F9}"/>
              </c:ext>
            </c:extLst>
          </c:dPt>
          <c:dPt>
            <c:idx val="532"/>
            <c:invertIfNegative val="1"/>
            <c:bubble3D val="0"/>
            <c:spPr>
              <a:solidFill>
                <a:srgbClr val="AEABAB"/>
              </a:solidFill>
            </c:spPr>
            <c:extLst>
              <c:ext xmlns:c16="http://schemas.microsoft.com/office/drawing/2014/chart" uri="{C3380CC4-5D6E-409C-BE32-E72D297353CC}">
                <c16:uniqueId val="{0000042B-DBE9-4B73-8742-74A0F2DCF0F9}"/>
              </c:ext>
            </c:extLst>
          </c:dPt>
          <c:dPt>
            <c:idx val="533"/>
            <c:invertIfNegative val="1"/>
            <c:bubble3D val="0"/>
            <c:spPr>
              <a:solidFill>
                <a:srgbClr val="AEABAB"/>
              </a:solidFill>
            </c:spPr>
            <c:extLst>
              <c:ext xmlns:c16="http://schemas.microsoft.com/office/drawing/2014/chart" uri="{C3380CC4-5D6E-409C-BE32-E72D297353CC}">
                <c16:uniqueId val="{0000042D-DBE9-4B73-8742-74A0F2DCF0F9}"/>
              </c:ext>
            </c:extLst>
          </c:dPt>
          <c:dPt>
            <c:idx val="534"/>
            <c:invertIfNegative val="1"/>
            <c:bubble3D val="0"/>
            <c:spPr>
              <a:solidFill>
                <a:srgbClr val="AEABAB"/>
              </a:solidFill>
            </c:spPr>
            <c:extLst>
              <c:ext xmlns:c16="http://schemas.microsoft.com/office/drawing/2014/chart" uri="{C3380CC4-5D6E-409C-BE32-E72D297353CC}">
                <c16:uniqueId val="{0000042F-DBE9-4B73-8742-74A0F2DCF0F9}"/>
              </c:ext>
            </c:extLst>
          </c:dPt>
          <c:dPt>
            <c:idx val="535"/>
            <c:invertIfNegative val="1"/>
            <c:bubble3D val="0"/>
            <c:spPr>
              <a:solidFill>
                <a:srgbClr val="AEABAB"/>
              </a:solidFill>
            </c:spPr>
            <c:extLst>
              <c:ext xmlns:c16="http://schemas.microsoft.com/office/drawing/2014/chart" uri="{C3380CC4-5D6E-409C-BE32-E72D297353CC}">
                <c16:uniqueId val="{00000431-DBE9-4B73-8742-74A0F2DCF0F9}"/>
              </c:ext>
            </c:extLst>
          </c:dPt>
          <c:dPt>
            <c:idx val="536"/>
            <c:invertIfNegative val="1"/>
            <c:bubble3D val="0"/>
            <c:spPr>
              <a:solidFill>
                <a:srgbClr val="AEABAB"/>
              </a:solidFill>
            </c:spPr>
            <c:extLst>
              <c:ext xmlns:c16="http://schemas.microsoft.com/office/drawing/2014/chart" uri="{C3380CC4-5D6E-409C-BE32-E72D297353CC}">
                <c16:uniqueId val="{00000433-DBE9-4B73-8742-74A0F2DCF0F9}"/>
              </c:ext>
            </c:extLst>
          </c:dPt>
          <c:dPt>
            <c:idx val="537"/>
            <c:invertIfNegative val="1"/>
            <c:bubble3D val="0"/>
            <c:spPr>
              <a:solidFill>
                <a:srgbClr val="AEABAB"/>
              </a:solidFill>
            </c:spPr>
            <c:extLst>
              <c:ext xmlns:c16="http://schemas.microsoft.com/office/drawing/2014/chart" uri="{C3380CC4-5D6E-409C-BE32-E72D297353CC}">
                <c16:uniqueId val="{00000435-DBE9-4B73-8742-74A0F2DCF0F9}"/>
              </c:ext>
            </c:extLst>
          </c:dPt>
          <c:dPt>
            <c:idx val="538"/>
            <c:invertIfNegative val="1"/>
            <c:bubble3D val="0"/>
            <c:spPr>
              <a:solidFill>
                <a:srgbClr val="AEABAB"/>
              </a:solidFill>
            </c:spPr>
            <c:extLst>
              <c:ext xmlns:c16="http://schemas.microsoft.com/office/drawing/2014/chart" uri="{C3380CC4-5D6E-409C-BE32-E72D297353CC}">
                <c16:uniqueId val="{00000437-DBE9-4B73-8742-74A0F2DCF0F9}"/>
              </c:ext>
            </c:extLst>
          </c:dPt>
          <c:dPt>
            <c:idx val="539"/>
            <c:invertIfNegative val="1"/>
            <c:bubble3D val="0"/>
            <c:spPr>
              <a:solidFill>
                <a:srgbClr val="AEABAB"/>
              </a:solidFill>
            </c:spPr>
            <c:extLst>
              <c:ext xmlns:c16="http://schemas.microsoft.com/office/drawing/2014/chart" uri="{C3380CC4-5D6E-409C-BE32-E72D297353CC}">
                <c16:uniqueId val="{00000439-DBE9-4B73-8742-74A0F2DCF0F9}"/>
              </c:ext>
            </c:extLst>
          </c:dPt>
          <c:dPt>
            <c:idx val="540"/>
            <c:invertIfNegative val="1"/>
            <c:bubble3D val="0"/>
            <c:spPr>
              <a:solidFill>
                <a:srgbClr val="AEABAB"/>
              </a:solidFill>
            </c:spPr>
            <c:extLst>
              <c:ext xmlns:c16="http://schemas.microsoft.com/office/drawing/2014/chart" uri="{C3380CC4-5D6E-409C-BE32-E72D297353CC}">
                <c16:uniqueId val="{0000043B-DBE9-4B73-8742-74A0F2DCF0F9}"/>
              </c:ext>
            </c:extLst>
          </c:dPt>
          <c:dPt>
            <c:idx val="541"/>
            <c:invertIfNegative val="1"/>
            <c:bubble3D val="0"/>
            <c:spPr>
              <a:solidFill>
                <a:srgbClr val="AEABAB"/>
              </a:solidFill>
            </c:spPr>
            <c:extLst>
              <c:ext xmlns:c16="http://schemas.microsoft.com/office/drawing/2014/chart" uri="{C3380CC4-5D6E-409C-BE32-E72D297353CC}">
                <c16:uniqueId val="{0000043D-DBE9-4B73-8742-74A0F2DCF0F9}"/>
              </c:ext>
            </c:extLst>
          </c:dPt>
          <c:dPt>
            <c:idx val="542"/>
            <c:invertIfNegative val="1"/>
            <c:bubble3D val="0"/>
            <c:spPr>
              <a:solidFill>
                <a:srgbClr val="AEABAB"/>
              </a:solidFill>
            </c:spPr>
            <c:extLst>
              <c:ext xmlns:c16="http://schemas.microsoft.com/office/drawing/2014/chart" uri="{C3380CC4-5D6E-409C-BE32-E72D297353CC}">
                <c16:uniqueId val="{0000043F-DBE9-4B73-8742-74A0F2DCF0F9}"/>
              </c:ext>
            </c:extLst>
          </c:dPt>
          <c:dPt>
            <c:idx val="543"/>
            <c:invertIfNegative val="1"/>
            <c:bubble3D val="0"/>
            <c:spPr>
              <a:solidFill>
                <a:srgbClr val="AEABAB"/>
              </a:solidFill>
            </c:spPr>
            <c:extLst>
              <c:ext xmlns:c16="http://schemas.microsoft.com/office/drawing/2014/chart" uri="{C3380CC4-5D6E-409C-BE32-E72D297353CC}">
                <c16:uniqueId val="{00000441-DBE9-4B73-8742-74A0F2DCF0F9}"/>
              </c:ext>
            </c:extLst>
          </c:dPt>
          <c:dPt>
            <c:idx val="544"/>
            <c:invertIfNegative val="1"/>
            <c:bubble3D val="0"/>
            <c:spPr>
              <a:solidFill>
                <a:srgbClr val="AEABAB"/>
              </a:solidFill>
            </c:spPr>
            <c:extLst>
              <c:ext xmlns:c16="http://schemas.microsoft.com/office/drawing/2014/chart" uri="{C3380CC4-5D6E-409C-BE32-E72D297353CC}">
                <c16:uniqueId val="{00000443-DBE9-4B73-8742-74A0F2DCF0F9}"/>
              </c:ext>
            </c:extLst>
          </c:dPt>
          <c:dPt>
            <c:idx val="545"/>
            <c:invertIfNegative val="1"/>
            <c:bubble3D val="0"/>
            <c:spPr>
              <a:solidFill>
                <a:srgbClr val="AEABAB"/>
              </a:solidFill>
            </c:spPr>
            <c:extLst>
              <c:ext xmlns:c16="http://schemas.microsoft.com/office/drawing/2014/chart" uri="{C3380CC4-5D6E-409C-BE32-E72D297353CC}">
                <c16:uniqueId val="{00000445-DBE9-4B73-8742-74A0F2DCF0F9}"/>
              </c:ext>
            </c:extLst>
          </c:dPt>
          <c:dPt>
            <c:idx val="546"/>
            <c:invertIfNegative val="1"/>
            <c:bubble3D val="0"/>
            <c:spPr>
              <a:solidFill>
                <a:srgbClr val="AEABAB"/>
              </a:solidFill>
            </c:spPr>
            <c:extLst>
              <c:ext xmlns:c16="http://schemas.microsoft.com/office/drawing/2014/chart" uri="{C3380CC4-5D6E-409C-BE32-E72D297353CC}">
                <c16:uniqueId val="{00000447-DBE9-4B73-8742-74A0F2DCF0F9}"/>
              </c:ext>
            </c:extLst>
          </c:dPt>
          <c:dPt>
            <c:idx val="547"/>
            <c:invertIfNegative val="1"/>
            <c:bubble3D val="0"/>
            <c:spPr>
              <a:solidFill>
                <a:srgbClr val="AEABAB"/>
              </a:solidFill>
            </c:spPr>
            <c:extLst>
              <c:ext xmlns:c16="http://schemas.microsoft.com/office/drawing/2014/chart" uri="{C3380CC4-5D6E-409C-BE32-E72D297353CC}">
                <c16:uniqueId val="{00000449-DBE9-4B73-8742-74A0F2DCF0F9}"/>
              </c:ext>
            </c:extLst>
          </c:dPt>
          <c:dPt>
            <c:idx val="548"/>
            <c:invertIfNegative val="1"/>
            <c:bubble3D val="0"/>
            <c:spPr>
              <a:solidFill>
                <a:srgbClr val="AEABAB"/>
              </a:solidFill>
            </c:spPr>
            <c:extLst>
              <c:ext xmlns:c16="http://schemas.microsoft.com/office/drawing/2014/chart" uri="{C3380CC4-5D6E-409C-BE32-E72D297353CC}">
                <c16:uniqueId val="{0000044B-DBE9-4B73-8742-74A0F2DCF0F9}"/>
              </c:ext>
            </c:extLst>
          </c:dPt>
          <c:dPt>
            <c:idx val="549"/>
            <c:invertIfNegative val="1"/>
            <c:bubble3D val="0"/>
            <c:spPr>
              <a:solidFill>
                <a:srgbClr val="AEABAB"/>
              </a:solidFill>
            </c:spPr>
            <c:extLst>
              <c:ext xmlns:c16="http://schemas.microsoft.com/office/drawing/2014/chart" uri="{C3380CC4-5D6E-409C-BE32-E72D297353CC}">
                <c16:uniqueId val="{0000044D-DBE9-4B73-8742-74A0F2DCF0F9}"/>
              </c:ext>
            </c:extLst>
          </c:dPt>
          <c:dPt>
            <c:idx val="550"/>
            <c:invertIfNegative val="1"/>
            <c:bubble3D val="0"/>
            <c:spPr>
              <a:solidFill>
                <a:srgbClr val="AEABAB"/>
              </a:solidFill>
            </c:spPr>
            <c:extLst>
              <c:ext xmlns:c16="http://schemas.microsoft.com/office/drawing/2014/chart" uri="{C3380CC4-5D6E-409C-BE32-E72D297353CC}">
                <c16:uniqueId val="{0000044F-DBE9-4B73-8742-74A0F2DCF0F9}"/>
              </c:ext>
            </c:extLst>
          </c:dPt>
          <c:dPt>
            <c:idx val="551"/>
            <c:invertIfNegative val="1"/>
            <c:bubble3D val="0"/>
            <c:spPr>
              <a:solidFill>
                <a:srgbClr val="AEABAB"/>
              </a:solidFill>
            </c:spPr>
            <c:extLst>
              <c:ext xmlns:c16="http://schemas.microsoft.com/office/drawing/2014/chart" uri="{C3380CC4-5D6E-409C-BE32-E72D297353CC}">
                <c16:uniqueId val="{00000451-DBE9-4B73-8742-74A0F2DCF0F9}"/>
              </c:ext>
            </c:extLst>
          </c:dPt>
          <c:dPt>
            <c:idx val="552"/>
            <c:invertIfNegative val="1"/>
            <c:bubble3D val="0"/>
            <c:spPr>
              <a:solidFill>
                <a:srgbClr val="AEABAB"/>
              </a:solidFill>
            </c:spPr>
            <c:extLst>
              <c:ext xmlns:c16="http://schemas.microsoft.com/office/drawing/2014/chart" uri="{C3380CC4-5D6E-409C-BE32-E72D297353CC}">
                <c16:uniqueId val="{00000453-DBE9-4B73-8742-74A0F2DCF0F9}"/>
              </c:ext>
            </c:extLst>
          </c:dPt>
          <c:dPt>
            <c:idx val="553"/>
            <c:invertIfNegative val="1"/>
            <c:bubble3D val="0"/>
            <c:spPr>
              <a:solidFill>
                <a:srgbClr val="AEABAB"/>
              </a:solidFill>
            </c:spPr>
            <c:extLst>
              <c:ext xmlns:c16="http://schemas.microsoft.com/office/drawing/2014/chart" uri="{C3380CC4-5D6E-409C-BE32-E72D297353CC}">
                <c16:uniqueId val="{00000455-DBE9-4B73-8742-74A0F2DCF0F9}"/>
              </c:ext>
            </c:extLst>
          </c:dPt>
          <c:dPt>
            <c:idx val="554"/>
            <c:invertIfNegative val="1"/>
            <c:bubble3D val="0"/>
            <c:spPr>
              <a:solidFill>
                <a:srgbClr val="AEABAB"/>
              </a:solidFill>
            </c:spPr>
            <c:extLst>
              <c:ext xmlns:c16="http://schemas.microsoft.com/office/drawing/2014/chart" uri="{C3380CC4-5D6E-409C-BE32-E72D297353CC}">
                <c16:uniqueId val="{00000457-DBE9-4B73-8742-74A0F2DCF0F9}"/>
              </c:ext>
            </c:extLst>
          </c:dPt>
          <c:dPt>
            <c:idx val="555"/>
            <c:invertIfNegative val="1"/>
            <c:bubble3D val="0"/>
            <c:spPr>
              <a:solidFill>
                <a:srgbClr val="AEABAB"/>
              </a:solidFill>
            </c:spPr>
            <c:extLst>
              <c:ext xmlns:c16="http://schemas.microsoft.com/office/drawing/2014/chart" uri="{C3380CC4-5D6E-409C-BE32-E72D297353CC}">
                <c16:uniqueId val="{00000459-DBE9-4B73-8742-74A0F2DCF0F9}"/>
              </c:ext>
            </c:extLst>
          </c:dPt>
          <c:dPt>
            <c:idx val="556"/>
            <c:invertIfNegative val="1"/>
            <c:bubble3D val="0"/>
            <c:spPr>
              <a:solidFill>
                <a:srgbClr val="AEABAB"/>
              </a:solidFill>
            </c:spPr>
            <c:extLst>
              <c:ext xmlns:c16="http://schemas.microsoft.com/office/drawing/2014/chart" uri="{C3380CC4-5D6E-409C-BE32-E72D297353CC}">
                <c16:uniqueId val="{0000045B-DBE9-4B73-8742-74A0F2DCF0F9}"/>
              </c:ext>
            </c:extLst>
          </c:dPt>
          <c:dPt>
            <c:idx val="557"/>
            <c:invertIfNegative val="1"/>
            <c:bubble3D val="0"/>
            <c:spPr>
              <a:solidFill>
                <a:srgbClr val="AEABAB"/>
              </a:solidFill>
            </c:spPr>
            <c:extLst>
              <c:ext xmlns:c16="http://schemas.microsoft.com/office/drawing/2014/chart" uri="{C3380CC4-5D6E-409C-BE32-E72D297353CC}">
                <c16:uniqueId val="{0000045D-DBE9-4B73-8742-74A0F2DCF0F9}"/>
              </c:ext>
            </c:extLst>
          </c:dPt>
          <c:dPt>
            <c:idx val="558"/>
            <c:invertIfNegative val="1"/>
            <c:bubble3D val="0"/>
            <c:spPr>
              <a:solidFill>
                <a:srgbClr val="AEABAB"/>
              </a:solidFill>
            </c:spPr>
            <c:extLst>
              <c:ext xmlns:c16="http://schemas.microsoft.com/office/drawing/2014/chart" uri="{C3380CC4-5D6E-409C-BE32-E72D297353CC}">
                <c16:uniqueId val="{0000045F-DBE9-4B73-8742-74A0F2DCF0F9}"/>
              </c:ext>
            </c:extLst>
          </c:dPt>
          <c:dPt>
            <c:idx val="559"/>
            <c:invertIfNegative val="1"/>
            <c:bubble3D val="0"/>
            <c:spPr>
              <a:solidFill>
                <a:srgbClr val="AEABAB"/>
              </a:solidFill>
            </c:spPr>
            <c:extLst>
              <c:ext xmlns:c16="http://schemas.microsoft.com/office/drawing/2014/chart" uri="{C3380CC4-5D6E-409C-BE32-E72D297353CC}">
                <c16:uniqueId val="{00000461-DBE9-4B73-8742-74A0F2DCF0F9}"/>
              </c:ext>
            </c:extLst>
          </c:dPt>
          <c:dPt>
            <c:idx val="560"/>
            <c:invertIfNegative val="1"/>
            <c:bubble3D val="0"/>
            <c:spPr>
              <a:solidFill>
                <a:srgbClr val="AEABAB"/>
              </a:solidFill>
            </c:spPr>
            <c:extLst>
              <c:ext xmlns:c16="http://schemas.microsoft.com/office/drawing/2014/chart" uri="{C3380CC4-5D6E-409C-BE32-E72D297353CC}">
                <c16:uniqueId val="{00000463-DBE9-4B73-8742-74A0F2DCF0F9}"/>
              </c:ext>
            </c:extLst>
          </c:dPt>
          <c:dPt>
            <c:idx val="561"/>
            <c:invertIfNegative val="1"/>
            <c:bubble3D val="0"/>
            <c:spPr>
              <a:solidFill>
                <a:srgbClr val="AEABAB"/>
              </a:solidFill>
            </c:spPr>
            <c:extLst>
              <c:ext xmlns:c16="http://schemas.microsoft.com/office/drawing/2014/chart" uri="{C3380CC4-5D6E-409C-BE32-E72D297353CC}">
                <c16:uniqueId val="{00000465-DBE9-4B73-8742-74A0F2DCF0F9}"/>
              </c:ext>
            </c:extLst>
          </c:dPt>
          <c:dPt>
            <c:idx val="562"/>
            <c:invertIfNegative val="1"/>
            <c:bubble3D val="0"/>
            <c:spPr>
              <a:solidFill>
                <a:srgbClr val="AEABAB"/>
              </a:solidFill>
            </c:spPr>
            <c:extLst>
              <c:ext xmlns:c16="http://schemas.microsoft.com/office/drawing/2014/chart" uri="{C3380CC4-5D6E-409C-BE32-E72D297353CC}">
                <c16:uniqueId val="{00000467-DBE9-4B73-8742-74A0F2DCF0F9}"/>
              </c:ext>
            </c:extLst>
          </c:dPt>
          <c:dPt>
            <c:idx val="563"/>
            <c:invertIfNegative val="1"/>
            <c:bubble3D val="0"/>
            <c:spPr>
              <a:solidFill>
                <a:srgbClr val="AEABAB"/>
              </a:solidFill>
            </c:spPr>
            <c:extLst>
              <c:ext xmlns:c16="http://schemas.microsoft.com/office/drawing/2014/chart" uri="{C3380CC4-5D6E-409C-BE32-E72D297353CC}">
                <c16:uniqueId val="{00000469-DBE9-4B73-8742-74A0F2DCF0F9}"/>
              </c:ext>
            </c:extLst>
          </c:dPt>
          <c:dPt>
            <c:idx val="564"/>
            <c:invertIfNegative val="1"/>
            <c:bubble3D val="0"/>
            <c:spPr>
              <a:solidFill>
                <a:srgbClr val="AEABAB"/>
              </a:solidFill>
            </c:spPr>
            <c:extLst>
              <c:ext xmlns:c16="http://schemas.microsoft.com/office/drawing/2014/chart" uri="{C3380CC4-5D6E-409C-BE32-E72D297353CC}">
                <c16:uniqueId val="{0000046B-DBE9-4B73-8742-74A0F2DCF0F9}"/>
              </c:ext>
            </c:extLst>
          </c:dPt>
          <c:dPt>
            <c:idx val="565"/>
            <c:invertIfNegative val="1"/>
            <c:bubble3D val="0"/>
            <c:spPr>
              <a:solidFill>
                <a:srgbClr val="AEABAB"/>
              </a:solidFill>
            </c:spPr>
            <c:extLst>
              <c:ext xmlns:c16="http://schemas.microsoft.com/office/drawing/2014/chart" uri="{C3380CC4-5D6E-409C-BE32-E72D297353CC}">
                <c16:uniqueId val="{0000046D-DBE9-4B73-8742-74A0F2DCF0F9}"/>
              </c:ext>
            </c:extLst>
          </c:dPt>
          <c:dPt>
            <c:idx val="566"/>
            <c:invertIfNegative val="1"/>
            <c:bubble3D val="0"/>
            <c:spPr>
              <a:solidFill>
                <a:srgbClr val="AEABAB"/>
              </a:solidFill>
            </c:spPr>
            <c:extLst>
              <c:ext xmlns:c16="http://schemas.microsoft.com/office/drawing/2014/chart" uri="{C3380CC4-5D6E-409C-BE32-E72D297353CC}">
                <c16:uniqueId val="{0000046F-DBE9-4B73-8742-74A0F2DCF0F9}"/>
              </c:ext>
            </c:extLst>
          </c:dPt>
          <c:dPt>
            <c:idx val="567"/>
            <c:invertIfNegative val="1"/>
            <c:bubble3D val="0"/>
            <c:spPr>
              <a:solidFill>
                <a:srgbClr val="AEABAB"/>
              </a:solidFill>
            </c:spPr>
            <c:extLst>
              <c:ext xmlns:c16="http://schemas.microsoft.com/office/drawing/2014/chart" uri="{C3380CC4-5D6E-409C-BE32-E72D297353CC}">
                <c16:uniqueId val="{00000471-DBE9-4B73-8742-74A0F2DCF0F9}"/>
              </c:ext>
            </c:extLst>
          </c:dPt>
          <c:dPt>
            <c:idx val="568"/>
            <c:invertIfNegative val="1"/>
            <c:bubble3D val="0"/>
            <c:spPr>
              <a:solidFill>
                <a:srgbClr val="AEABAB"/>
              </a:solidFill>
            </c:spPr>
            <c:extLst>
              <c:ext xmlns:c16="http://schemas.microsoft.com/office/drawing/2014/chart" uri="{C3380CC4-5D6E-409C-BE32-E72D297353CC}">
                <c16:uniqueId val="{00000473-DBE9-4B73-8742-74A0F2DCF0F9}"/>
              </c:ext>
            </c:extLst>
          </c:dPt>
          <c:dPt>
            <c:idx val="569"/>
            <c:invertIfNegative val="1"/>
            <c:bubble3D val="0"/>
            <c:spPr>
              <a:solidFill>
                <a:srgbClr val="AEABAB"/>
              </a:solidFill>
            </c:spPr>
            <c:extLst>
              <c:ext xmlns:c16="http://schemas.microsoft.com/office/drawing/2014/chart" uri="{C3380CC4-5D6E-409C-BE32-E72D297353CC}">
                <c16:uniqueId val="{00000475-DBE9-4B73-8742-74A0F2DCF0F9}"/>
              </c:ext>
            </c:extLst>
          </c:dPt>
          <c:dPt>
            <c:idx val="570"/>
            <c:invertIfNegative val="1"/>
            <c:bubble3D val="0"/>
            <c:spPr>
              <a:solidFill>
                <a:srgbClr val="AEABAB"/>
              </a:solidFill>
            </c:spPr>
            <c:extLst>
              <c:ext xmlns:c16="http://schemas.microsoft.com/office/drawing/2014/chart" uri="{C3380CC4-5D6E-409C-BE32-E72D297353CC}">
                <c16:uniqueId val="{00000477-DBE9-4B73-8742-74A0F2DCF0F9}"/>
              </c:ext>
            </c:extLst>
          </c:dPt>
          <c:dPt>
            <c:idx val="571"/>
            <c:invertIfNegative val="1"/>
            <c:bubble3D val="0"/>
            <c:spPr>
              <a:solidFill>
                <a:srgbClr val="AEABAB"/>
              </a:solidFill>
            </c:spPr>
            <c:extLst>
              <c:ext xmlns:c16="http://schemas.microsoft.com/office/drawing/2014/chart" uri="{C3380CC4-5D6E-409C-BE32-E72D297353CC}">
                <c16:uniqueId val="{00000479-DBE9-4B73-8742-74A0F2DCF0F9}"/>
              </c:ext>
            </c:extLst>
          </c:dPt>
          <c:dPt>
            <c:idx val="572"/>
            <c:invertIfNegative val="1"/>
            <c:bubble3D val="0"/>
            <c:spPr>
              <a:solidFill>
                <a:srgbClr val="AEABAB"/>
              </a:solidFill>
            </c:spPr>
            <c:extLst>
              <c:ext xmlns:c16="http://schemas.microsoft.com/office/drawing/2014/chart" uri="{C3380CC4-5D6E-409C-BE32-E72D297353CC}">
                <c16:uniqueId val="{0000047B-DBE9-4B73-8742-74A0F2DCF0F9}"/>
              </c:ext>
            </c:extLst>
          </c:dPt>
          <c:dPt>
            <c:idx val="573"/>
            <c:invertIfNegative val="1"/>
            <c:bubble3D val="0"/>
            <c:spPr>
              <a:solidFill>
                <a:srgbClr val="AEABAB"/>
              </a:solidFill>
            </c:spPr>
            <c:extLst>
              <c:ext xmlns:c16="http://schemas.microsoft.com/office/drawing/2014/chart" uri="{C3380CC4-5D6E-409C-BE32-E72D297353CC}">
                <c16:uniqueId val="{0000047D-DBE9-4B73-8742-74A0F2DCF0F9}"/>
              </c:ext>
            </c:extLst>
          </c:dPt>
          <c:dPt>
            <c:idx val="574"/>
            <c:invertIfNegative val="1"/>
            <c:bubble3D val="0"/>
            <c:spPr>
              <a:solidFill>
                <a:srgbClr val="AEABAB"/>
              </a:solidFill>
            </c:spPr>
            <c:extLst>
              <c:ext xmlns:c16="http://schemas.microsoft.com/office/drawing/2014/chart" uri="{C3380CC4-5D6E-409C-BE32-E72D297353CC}">
                <c16:uniqueId val="{0000047F-DBE9-4B73-8742-74A0F2DCF0F9}"/>
              </c:ext>
            </c:extLst>
          </c:dPt>
          <c:dPt>
            <c:idx val="575"/>
            <c:invertIfNegative val="1"/>
            <c:bubble3D val="0"/>
            <c:spPr>
              <a:solidFill>
                <a:srgbClr val="AEABAB"/>
              </a:solidFill>
            </c:spPr>
            <c:extLst>
              <c:ext xmlns:c16="http://schemas.microsoft.com/office/drawing/2014/chart" uri="{C3380CC4-5D6E-409C-BE32-E72D297353CC}">
                <c16:uniqueId val="{00000481-DBE9-4B73-8742-74A0F2DCF0F9}"/>
              </c:ext>
            </c:extLst>
          </c:dPt>
          <c:dPt>
            <c:idx val="576"/>
            <c:invertIfNegative val="1"/>
            <c:bubble3D val="0"/>
            <c:spPr>
              <a:solidFill>
                <a:srgbClr val="AEABAB"/>
              </a:solidFill>
            </c:spPr>
            <c:extLst>
              <c:ext xmlns:c16="http://schemas.microsoft.com/office/drawing/2014/chart" uri="{C3380CC4-5D6E-409C-BE32-E72D297353CC}">
                <c16:uniqueId val="{00000483-DBE9-4B73-8742-74A0F2DCF0F9}"/>
              </c:ext>
            </c:extLst>
          </c:dPt>
          <c:dPt>
            <c:idx val="577"/>
            <c:invertIfNegative val="1"/>
            <c:bubble3D val="0"/>
            <c:spPr>
              <a:solidFill>
                <a:srgbClr val="AEABAB"/>
              </a:solidFill>
            </c:spPr>
            <c:extLst>
              <c:ext xmlns:c16="http://schemas.microsoft.com/office/drawing/2014/chart" uri="{C3380CC4-5D6E-409C-BE32-E72D297353CC}">
                <c16:uniqueId val="{00000485-DBE9-4B73-8742-74A0F2DCF0F9}"/>
              </c:ext>
            </c:extLst>
          </c:dPt>
          <c:dPt>
            <c:idx val="578"/>
            <c:invertIfNegative val="1"/>
            <c:bubble3D val="0"/>
            <c:spPr>
              <a:solidFill>
                <a:srgbClr val="AEABAB"/>
              </a:solidFill>
            </c:spPr>
            <c:extLst>
              <c:ext xmlns:c16="http://schemas.microsoft.com/office/drawing/2014/chart" uri="{C3380CC4-5D6E-409C-BE32-E72D297353CC}">
                <c16:uniqueId val="{00000487-DBE9-4B73-8742-74A0F2DCF0F9}"/>
              </c:ext>
            </c:extLst>
          </c:dPt>
          <c:dPt>
            <c:idx val="579"/>
            <c:invertIfNegative val="1"/>
            <c:bubble3D val="0"/>
            <c:spPr>
              <a:solidFill>
                <a:srgbClr val="AEABAB"/>
              </a:solidFill>
            </c:spPr>
            <c:extLst>
              <c:ext xmlns:c16="http://schemas.microsoft.com/office/drawing/2014/chart" uri="{C3380CC4-5D6E-409C-BE32-E72D297353CC}">
                <c16:uniqueId val="{00000489-DBE9-4B73-8742-74A0F2DCF0F9}"/>
              </c:ext>
            </c:extLst>
          </c:dPt>
          <c:dPt>
            <c:idx val="580"/>
            <c:invertIfNegative val="1"/>
            <c:bubble3D val="0"/>
            <c:spPr>
              <a:solidFill>
                <a:srgbClr val="AEABAB"/>
              </a:solidFill>
            </c:spPr>
            <c:extLst>
              <c:ext xmlns:c16="http://schemas.microsoft.com/office/drawing/2014/chart" uri="{C3380CC4-5D6E-409C-BE32-E72D297353CC}">
                <c16:uniqueId val="{0000048B-DBE9-4B73-8742-74A0F2DCF0F9}"/>
              </c:ext>
            </c:extLst>
          </c:dPt>
          <c:dPt>
            <c:idx val="581"/>
            <c:invertIfNegative val="1"/>
            <c:bubble3D val="0"/>
            <c:spPr>
              <a:solidFill>
                <a:srgbClr val="AEABAB"/>
              </a:solidFill>
            </c:spPr>
            <c:extLst>
              <c:ext xmlns:c16="http://schemas.microsoft.com/office/drawing/2014/chart" uri="{C3380CC4-5D6E-409C-BE32-E72D297353CC}">
                <c16:uniqueId val="{0000048D-DBE9-4B73-8742-74A0F2DCF0F9}"/>
              </c:ext>
            </c:extLst>
          </c:dPt>
          <c:dPt>
            <c:idx val="582"/>
            <c:invertIfNegative val="1"/>
            <c:bubble3D val="0"/>
            <c:spPr>
              <a:solidFill>
                <a:srgbClr val="AEABAB"/>
              </a:solidFill>
            </c:spPr>
            <c:extLst>
              <c:ext xmlns:c16="http://schemas.microsoft.com/office/drawing/2014/chart" uri="{C3380CC4-5D6E-409C-BE32-E72D297353CC}">
                <c16:uniqueId val="{0000048F-DBE9-4B73-8742-74A0F2DCF0F9}"/>
              </c:ext>
            </c:extLst>
          </c:dPt>
          <c:dPt>
            <c:idx val="583"/>
            <c:invertIfNegative val="1"/>
            <c:bubble3D val="0"/>
            <c:spPr>
              <a:solidFill>
                <a:srgbClr val="AEABAB"/>
              </a:solidFill>
            </c:spPr>
            <c:extLst>
              <c:ext xmlns:c16="http://schemas.microsoft.com/office/drawing/2014/chart" uri="{C3380CC4-5D6E-409C-BE32-E72D297353CC}">
                <c16:uniqueId val="{00000491-DBE9-4B73-8742-74A0F2DCF0F9}"/>
              </c:ext>
            </c:extLst>
          </c:dPt>
          <c:dPt>
            <c:idx val="584"/>
            <c:invertIfNegative val="1"/>
            <c:bubble3D val="0"/>
            <c:spPr>
              <a:solidFill>
                <a:srgbClr val="AEABAB"/>
              </a:solidFill>
            </c:spPr>
            <c:extLst>
              <c:ext xmlns:c16="http://schemas.microsoft.com/office/drawing/2014/chart" uri="{C3380CC4-5D6E-409C-BE32-E72D297353CC}">
                <c16:uniqueId val="{00000493-DBE9-4B73-8742-74A0F2DCF0F9}"/>
              </c:ext>
            </c:extLst>
          </c:dPt>
          <c:dPt>
            <c:idx val="585"/>
            <c:invertIfNegative val="1"/>
            <c:bubble3D val="0"/>
            <c:spPr>
              <a:solidFill>
                <a:srgbClr val="AEABAB"/>
              </a:solidFill>
            </c:spPr>
            <c:extLst>
              <c:ext xmlns:c16="http://schemas.microsoft.com/office/drawing/2014/chart" uri="{C3380CC4-5D6E-409C-BE32-E72D297353CC}">
                <c16:uniqueId val="{00000495-DBE9-4B73-8742-74A0F2DCF0F9}"/>
              </c:ext>
            </c:extLst>
          </c:dPt>
          <c:dPt>
            <c:idx val="586"/>
            <c:invertIfNegative val="1"/>
            <c:bubble3D val="0"/>
            <c:spPr>
              <a:solidFill>
                <a:srgbClr val="AEABAB"/>
              </a:solidFill>
            </c:spPr>
            <c:extLst>
              <c:ext xmlns:c16="http://schemas.microsoft.com/office/drawing/2014/chart" uri="{C3380CC4-5D6E-409C-BE32-E72D297353CC}">
                <c16:uniqueId val="{00000497-DBE9-4B73-8742-74A0F2DCF0F9}"/>
              </c:ext>
            </c:extLst>
          </c:dPt>
          <c:dPt>
            <c:idx val="587"/>
            <c:invertIfNegative val="1"/>
            <c:bubble3D val="0"/>
            <c:spPr>
              <a:solidFill>
                <a:srgbClr val="AEABAB"/>
              </a:solidFill>
            </c:spPr>
            <c:extLst>
              <c:ext xmlns:c16="http://schemas.microsoft.com/office/drawing/2014/chart" uri="{C3380CC4-5D6E-409C-BE32-E72D297353CC}">
                <c16:uniqueId val="{00000499-DBE9-4B73-8742-74A0F2DCF0F9}"/>
              </c:ext>
            </c:extLst>
          </c:dPt>
          <c:dPt>
            <c:idx val="588"/>
            <c:invertIfNegative val="1"/>
            <c:bubble3D val="0"/>
            <c:spPr>
              <a:solidFill>
                <a:srgbClr val="AEABAB"/>
              </a:solidFill>
            </c:spPr>
            <c:extLst>
              <c:ext xmlns:c16="http://schemas.microsoft.com/office/drawing/2014/chart" uri="{C3380CC4-5D6E-409C-BE32-E72D297353CC}">
                <c16:uniqueId val="{0000049B-DBE9-4B73-8742-74A0F2DCF0F9}"/>
              </c:ext>
            </c:extLst>
          </c:dPt>
          <c:dPt>
            <c:idx val="589"/>
            <c:invertIfNegative val="1"/>
            <c:bubble3D val="0"/>
            <c:spPr>
              <a:solidFill>
                <a:srgbClr val="AEABAB"/>
              </a:solidFill>
            </c:spPr>
            <c:extLst>
              <c:ext xmlns:c16="http://schemas.microsoft.com/office/drawing/2014/chart" uri="{C3380CC4-5D6E-409C-BE32-E72D297353CC}">
                <c16:uniqueId val="{0000049D-DBE9-4B73-8742-74A0F2DCF0F9}"/>
              </c:ext>
            </c:extLst>
          </c:dPt>
          <c:dPt>
            <c:idx val="590"/>
            <c:invertIfNegative val="1"/>
            <c:bubble3D val="0"/>
            <c:spPr>
              <a:solidFill>
                <a:srgbClr val="AEABAB"/>
              </a:solidFill>
            </c:spPr>
            <c:extLst>
              <c:ext xmlns:c16="http://schemas.microsoft.com/office/drawing/2014/chart" uri="{C3380CC4-5D6E-409C-BE32-E72D297353CC}">
                <c16:uniqueId val="{0000049F-DBE9-4B73-8742-74A0F2DCF0F9}"/>
              </c:ext>
            </c:extLst>
          </c:dPt>
          <c:dPt>
            <c:idx val="591"/>
            <c:invertIfNegative val="1"/>
            <c:bubble3D val="0"/>
            <c:spPr>
              <a:solidFill>
                <a:srgbClr val="AEABAB"/>
              </a:solidFill>
            </c:spPr>
            <c:extLst>
              <c:ext xmlns:c16="http://schemas.microsoft.com/office/drawing/2014/chart" uri="{C3380CC4-5D6E-409C-BE32-E72D297353CC}">
                <c16:uniqueId val="{000004A1-DBE9-4B73-8742-74A0F2DCF0F9}"/>
              </c:ext>
            </c:extLst>
          </c:dPt>
          <c:dPt>
            <c:idx val="592"/>
            <c:invertIfNegative val="1"/>
            <c:bubble3D val="0"/>
            <c:spPr>
              <a:solidFill>
                <a:srgbClr val="AEABAB"/>
              </a:solidFill>
            </c:spPr>
            <c:extLst>
              <c:ext xmlns:c16="http://schemas.microsoft.com/office/drawing/2014/chart" uri="{C3380CC4-5D6E-409C-BE32-E72D297353CC}">
                <c16:uniqueId val="{000004A3-DBE9-4B73-8742-74A0F2DCF0F9}"/>
              </c:ext>
            </c:extLst>
          </c:dPt>
          <c:dPt>
            <c:idx val="593"/>
            <c:invertIfNegative val="1"/>
            <c:bubble3D val="0"/>
            <c:spPr>
              <a:solidFill>
                <a:srgbClr val="AEABAB"/>
              </a:solidFill>
            </c:spPr>
            <c:extLst>
              <c:ext xmlns:c16="http://schemas.microsoft.com/office/drawing/2014/chart" uri="{C3380CC4-5D6E-409C-BE32-E72D297353CC}">
                <c16:uniqueId val="{000004A5-DBE9-4B73-8742-74A0F2DCF0F9}"/>
              </c:ext>
            </c:extLst>
          </c:dPt>
          <c:dPt>
            <c:idx val="594"/>
            <c:invertIfNegative val="1"/>
            <c:bubble3D val="0"/>
            <c:spPr>
              <a:solidFill>
                <a:srgbClr val="AEABAB"/>
              </a:solidFill>
            </c:spPr>
            <c:extLst>
              <c:ext xmlns:c16="http://schemas.microsoft.com/office/drawing/2014/chart" uri="{C3380CC4-5D6E-409C-BE32-E72D297353CC}">
                <c16:uniqueId val="{000004A7-DBE9-4B73-8742-74A0F2DCF0F9}"/>
              </c:ext>
            </c:extLst>
          </c:dPt>
          <c:dPt>
            <c:idx val="595"/>
            <c:invertIfNegative val="1"/>
            <c:bubble3D val="0"/>
            <c:spPr>
              <a:solidFill>
                <a:srgbClr val="AEABAB"/>
              </a:solidFill>
            </c:spPr>
            <c:extLst>
              <c:ext xmlns:c16="http://schemas.microsoft.com/office/drawing/2014/chart" uri="{C3380CC4-5D6E-409C-BE32-E72D297353CC}">
                <c16:uniqueId val="{000004A9-DBE9-4B73-8742-74A0F2DCF0F9}"/>
              </c:ext>
            </c:extLst>
          </c:dPt>
          <c:dPt>
            <c:idx val="596"/>
            <c:invertIfNegative val="1"/>
            <c:bubble3D val="0"/>
            <c:spPr>
              <a:solidFill>
                <a:srgbClr val="AEABAB"/>
              </a:solidFill>
            </c:spPr>
            <c:extLst>
              <c:ext xmlns:c16="http://schemas.microsoft.com/office/drawing/2014/chart" uri="{C3380CC4-5D6E-409C-BE32-E72D297353CC}">
                <c16:uniqueId val="{000004AB-DBE9-4B73-8742-74A0F2DCF0F9}"/>
              </c:ext>
            </c:extLst>
          </c:dPt>
          <c:dPt>
            <c:idx val="597"/>
            <c:invertIfNegative val="1"/>
            <c:bubble3D val="0"/>
            <c:spPr>
              <a:solidFill>
                <a:srgbClr val="AEABAB"/>
              </a:solidFill>
            </c:spPr>
            <c:extLst>
              <c:ext xmlns:c16="http://schemas.microsoft.com/office/drawing/2014/chart" uri="{C3380CC4-5D6E-409C-BE32-E72D297353CC}">
                <c16:uniqueId val="{000004AD-DBE9-4B73-8742-74A0F2DCF0F9}"/>
              </c:ext>
            </c:extLst>
          </c:dPt>
          <c:dPt>
            <c:idx val="598"/>
            <c:invertIfNegative val="1"/>
            <c:bubble3D val="0"/>
            <c:spPr>
              <a:solidFill>
                <a:srgbClr val="AEABAB"/>
              </a:solidFill>
            </c:spPr>
            <c:extLst>
              <c:ext xmlns:c16="http://schemas.microsoft.com/office/drawing/2014/chart" uri="{C3380CC4-5D6E-409C-BE32-E72D297353CC}">
                <c16:uniqueId val="{000004AF-DBE9-4B73-8742-74A0F2DCF0F9}"/>
              </c:ext>
            </c:extLst>
          </c:dPt>
          <c:dPt>
            <c:idx val="599"/>
            <c:invertIfNegative val="1"/>
            <c:bubble3D val="0"/>
            <c:spPr>
              <a:solidFill>
                <a:srgbClr val="AEABAB"/>
              </a:solidFill>
            </c:spPr>
            <c:extLst>
              <c:ext xmlns:c16="http://schemas.microsoft.com/office/drawing/2014/chart" uri="{C3380CC4-5D6E-409C-BE32-E72D297353CC}">
                <c16:uniqueId val="{000004B1-DBE9-4B73-8742-74A0F2DCF0F9}"/>
              </c:ext>
            </c:extLst>
          </c:dPt>
          <c:dPt>
            <c:idx val="600"/>
            <c:invertIfNegative val="1"/>
            <c:bubble3D val="0"/>
            <c:spPr>
              <a:solidFill>
                <a:srgbClr val="AEABAB"/>
              </a:solidFill>
            </c:spPr>
            <c:extLst>
              <c:ext xmlns:c16="http://schemas.microsoft.com/office/drawing/2014/chart" uri="{C3380CC4-5D6E-409C-BE32-E72D297353CC}">
                <c16:uniqueId val="{000004B3-DBE9-4B73-8742-74A0F2DCF0F9}"/>
              </c:ext>
            </c:extLst>
          </c:dPt>
          <c:dPt>
            <c:idx val="601"/>
            <c:invertIfNegative val="1"/>
            <c:bubble3D val="0"/>
            <c:spPr>
              <a:solidFill>
                <a:srgbClr val="AEABAB"/>
              </a:solidFill>
            </c:spPr>
            <c:extLst>
              <c:ext xmlns:c16="http://schemas.microsoft.com/office/drawing/2014/chart" uri="{C3380CC4-5D6E-409C-BE32-E72D297353CC}">
                <c16:uniqueId val="{000004B5-DBE9-4B73-8742-74A0F2DCF0F9}"/>
              </c:ext>
            </c:extLst>
          </c:dPt>
          <c:dPt>
            <c:idx val="602"/>
            <c:invertIfNegative val="1"/>
            <c:bubble3D val="0"/>
            <c:spPr>
              <a:solidFill>
                <a:srgbClr val="AEABAB"/>
              </a:solidFill>
            </c:spPr>
            <c:extLst>
              <c:ext xmlns:c16="http://schemas.microsoft.com/office/drawing/2014/chart" uri="{C3380CC4-5D6E-409C-BE32-E72D297353CC}">
                <c16:uniqueId val="{000004B7-DBE9-4B73-8742-74A0F2DCF0F9}"/>
              </c:ext>
            </c:extLst>
          </c:dPt>
          <c:dPt>
            <c:idx val="603"/>
            <c:invertIfNegative val="1"/>
            <c:bubble3D val="0"/>
            <c:spPr>
              <a:solidFill>
                <a:srgbClr val="AEABAB"/>
              </a:solidFill>
            </c:spPr>
            <c:extLst>
              <c:ext xmlns:c16="http://schemas.microsoft.com/office/drawing/2014/chart" uri="{C3380CC4-5D6E-409C-BE32-E72D297353CC}">
                <c16:uniqueId val="{000004B9-DBE9-4B73-8742-74A0F2DCF0F9}"/>
              </c:ext>
            </c:extLst>
          </c:dPt>
          <c:dPt>
            <c:idx val="604"/>
            <c:invertIfNegative val="1"/>
            <c:bubble3D val="0"/>
            <c:spPr>
              <a:solidFill>
                <a:srgbClr val="AEABAB"/>
              </a:solidFill>
            </c:spPr>
            <c:extLst>
              <c:ext xmlns:c16="http://schemas.microsoft.com/office/drawing/2014/chart" uri="{C3380CC4-5D6E-409C-BE32-E72D297353CC}">
                <c16:uniqueId val="{000004BB-DBE9-4B73-8742-74A0F2DCF0F9}"/>
              </c:ext>
            </c:extLst>
          </c:dPt>
          <c:dPt>
            <c:idx val="605"/>
            <c:invertIfNegative val="1"/>
            <c:bubble3D val="0"/>
            <c:spPr>
              <a:solidFill>
                <a:srgbClr val="AEABAB"/>
              </a:solidFill>
            </c:spPr>
            <c:extLst>
              <c:ext xmlns:c16="http://schemas.microsoft.com/office/drawing/2014/chart" uri="{C3380CC4-5D6E-409C-BE32-E72D297353CC}">
                <c16:uniqueId val="{000004BD-DBE9-4B73-8742-74A0F2DCF0F9}"/>
              </c:ext>
            </c:extLst>
          </c:dPt>
          <c:dPt>
            <c:idx val="606"/>
            <c:invertIfNegative val="1"/>
            <c:bubble3D val="0"/>
            <c:spPr>
              <a:solidFill>
                <a:srgbClr val="AEABAB"/>
              </a:solidFill>
            </c:spPr>
            <c:extLst>
              <c:ext xmlns:c16="http://schemas.microsoft.com/office/drawing/2014/chart" uri="{C3380CC4-5D6E-409C-BE32-E72D297353CC}">
                <c16:uniqueId val="{000004BF-DBE9-4B73-8742-74A0F2DCF0F9}"/>
              </c:ext>
            </c:extLst>
          </c:dPt>
          <c:dPt>
            <c:idx val="607"/>
            <c:invertIfNegative val="1"/>
            <c:bubble3D val="0"/>
            <c:spPr>
              <a:solidFill>
                <a:srgbClr val="AEABAB"/>
              </a:solidFill>
            </c:spPr>
            <c:extLst>
              <c:ext xmlns:c16="http://schemas.microsoft.com/office/drawing/2014/chart" uri="{C3380CC4-5D6E-409C-BE32-E72D297353CC}">
                <c16:uniqueId val="{000004C1-DBE9-4B73-8742-74A0F2DCF0F9}"/>
              </c:ext>
            </c:extLst>
          </c:dPt>
          <c:dPt>
            <c:idx val="608"/>
            <c:invertIfNegative val="1"/>
            <c:bubble3D val="0"/>
            <c:spPr>
              <a:solidFill>
                <a:srgbClr val="AEABAB"/>
              </a:solidFill>
            </c:spPr>
            <c:extLst>
              <c:ext xmlns:c16="http://schemas.microsoft.com/office/drawing/2014/chart" uri="{C3380CC4-5D6E-409C-BE32-E72D297353CC}">
                <c16:uniqueId val="{000004C3-DBE9-4B73-8742-74A0F2DCF0F9}"/>
              </c:ext>
            </c:extLst>
          </c:dPt>
          <c:dPt>
            <c:idx val="609"/>
            <c:invertIfNegative val="1"/>
            <c:bubble3D val="0"/>
            <c:spPr>
              <a:solidFill>
                <a:srgbClr val="AEABAB"/>
              </a:solidFill>
            </c:spPr>
            <c:extLst>
              <c:ext xmlns:c16="http://schemas.microsoft.com/office/drawing/2014/chart" uri="{C3380CC4-5D6E-409C-BE32-E72D297353CC}">
                <c16:uniqueId val="{000004C5-DBE9-4B73-8742-74A0F2DCF0F9}"/>
              </c:ext>
            </c:extLst>
          </c:dPt>
          <c:dPt>
            <c:idx val="610"/>
            <c:invertIfNegative val="1"/>
            <c:bubble3D val="0"/>
            <c:spPr>
              <a:solidFill>
                <a:srgbClr val="AEABAB"/>
              </a:solidFill>
            </c:spPr>
            <c:extLst>
              <c:ext xmlns:c16="http://schemas.microsoft.com/office/drawing/2014/chart" uri="{C3380CC4-5D6E-409C-BE32-E72D297353CC}">
                <c16:uniqueId val="{000004C7-DBE9-4B73-8742-74A0F2DCF0F9}"/>
              </c:ext>
            </c:extLst>
          </c:dPt>
          <c:dPt>
            <c:idx val="611"/>
            <c:invertIfNegative val="1"/>
            <c:bubble3D val="0"/>
            <c:spPr>
              <a:solidFill>
                <a:srgbClr val="AEABAB"/>
              </a:solidFill>
            </c:spPr>
            <c:extLst>
              <c:ext xmlns:c16="http://schemas.microsoft.com/office/drawing/2014/chart" uri="{C3380CC4-5D6E-409C-BE32-E72D297353CC}">
                <c16:uniqueId val="{000004C9-DBE9-4B73-8742-74A0F2DCF0F9}"/>
              </c:ext>
            </c:extLst>
          </c:dPt>
          <c:dPt>
            <c:idx val="612"/>
            <c:invertIfNegative val="1"/>
            <c:bubble3D val="0"/>
            <c:spPr>
              <a:solidFill>
                <a:srgbClr val="AEABAB"/>
              </a:solidFill>
            </c:spPr>
            <c:extLst>
              <c:ext xmlns:c16="http://schemas.microsoft.com/office/drawing/2014/chart" uri="{C3380CC4-5D6E-409C-BE32-E72D297353CC}">
                <c16:uniqueId val="{000004CB-DBE9-4B73-8742-74A0F2DCF0F9}"/>
              </c:ext>
            </c:extLst>
          </c:dPt>
          <c:dPt>
            <c:idx val="613"/>
            <c:invertIfNegative val="1"/>
            <c:bubble3D val="0"/>
            <c:spPr>
              <a:solidFill>
                <a:srgbClr val="AEABAB"/>
              </a:solidFill>
            </c:spPr>
            <c:extLst>
              <c:ext xmlns:c16="http://schemas.microsoft.com/office/drawing/2014/chart" uri="{C3380CC4-5D6E-409C-BE32-E72D297353CC}">
                <c16:uniqueId val="{000004CD-DBE9-4B73-8742-74A0F2DCF0F9}"/>
              </c:ext>
            </c:extLst>
          </c:dPt>
          <c:dPt>
            <c:idx val="614"/>
            <c:invertIfNegative val="1"/>
            <c:bubble3D val="0"/>
            <c:spPr>
              <a:solidFill>
                <a:srgbClr val="AEABAB"/>
              </a:solidFill>
            </c:spPr>
            <c:extLst>
              <c:ext xmlns:c16="http://schemas.microsoft.com/office/drawing/2014/chart" uri="{C3380CC4-5D6E-409C-BE32-E72D297353CC}">
                <c16:uniqueId val="{000004CF-DBE9-4B73-8742-74A0F2DCF0F9}"/>
              </c:ext>
            </c:extLst>
          </c:dPt>
          <c:dPt>
            <c:idx val="615"/>
            <c:invertIfNegative val="1"/>
            <c:bubble3D val="0"/>
            <c:spPr>
              <a:solidFill>
                <a:srgbClr val="AEABAB"/>
              </a:solidFill>
            </c:spPr>
            <c:extLst>
              <c:ext xmlns:c16="http://schemas.microsoft.com/office/drawing/2014/chart" uri="{C3380CC4-5D6E-409C-BE32-E72D297353CC}">
                <c16:uniqueId val="{000004D1-DBE9-4B73-8742-74A0F2DCF0F9}"/>
              </c:ext>
            </c:extLst>
          </c:dPt>
          <c:dPt>
            <c:idx val="616"/>
            <c:invertIfNegative val="1"/>
            <c:bubble3D val="0"/>
            <c:spPr>
              <a:solidFill>
                <a:srgbClr val="AEABAB"/>
              </a:solidFill>
            </c:spPr>
            <c:extLst>
              <c:ext xmlns:c16="http://schemas.microsoft.com/office/drawing/2014/chart" uri="{C3380CC4-5D6E-409C-BE32-E72D297353CC}">
                <c16:uniqueId val="{000004D3-DBE9-4B73-8742-74A0F2DCF0F9}"/>
              </c:ext>
            </c:extLst>
          </c:dPt>
          <c:dPt>
            <c:idx val="617"/>
            <c:invertIfNegative val="1"/>
            <c:bubble3D val="0"/>
            <c:spPr>
              <a:solidFill>
                <a:srgbClr val="AEABAB"/>
              </a:solidFill>
            </c:spPr>
            <c:extLst>
              <c:ext xmlns:c16="http://schemas.microsoft.com/office/drawing/2014/chart" uri="{C3380CC4-5D6E-409C-BE32-E72D297353CC}">
                <c16:uniqueId val="{000004D5-DBE9-4B73-8742-74A0F2DCF0F9}"/>
              </c:ext>
            </c:extLst>
          </c:dPt>
          <c:dPt>
            <c:idx val="618"/>
            <c:invertIfNegative val="1"/>
            <c:bubble3D val="0"/>
            <c:spPr>
              <a:solidFill>
                <a:srgbClr val="AEABAB"/>
              </a:solidFill>
            </c:spPr>
            <c:extLst>
              <c:ext xmlns:c16="http://schemas.microsoft.com/office/drawing/2014/chart" uri="{C3380CC4-5D6E-409C-BE32-E72D297353CC}">
                <c16:uniqueId val="{000004D7-DBE9-4B73-8742-74A0F2DCF0F9}"/>
              </c:ext>
            </c:extLst>
          </c:dPt>
          <c:dPt>
            <c:idx val="619"/>
            <c:invertIfNegative val="1"/>
            <c:bubble3D val="0"/>
            <c:spPr>
              <a:solidFill>
                <a:srgbClr val="AEABAB"/>
              </a:solidFill>
            </c:spPr>
            <c:extLst>
              <c:ext xmlns:c16="http://schemas.microsoft.com/office/drawing/2014/chart" uri="{C3380CC4-5D6E-409C-BE32-E72D297353CC}">
                <c16:uniqueId val="{000004D9-DBE9-4B73-8742-74A0F2DCF0F9}"/>
              </c:ext>
            </c:extLst>
          </c:dPt>
          <c:dPt>
            <c:idx val="620"/>
            <c:invertIfNegative val="1"/>
            <c:bubble3D val="0"/>
            <c:spPr>
              <a:solidFill>
                <a:srgbClr val="AEABAB"/>
              </a:solidFill>
            </c:spPr>
            <c:extLst>
              <c:ext xmlns:c16="http://schemas.microsoft.com/office/drawing/2014/chart" uri="{C3380CC4-5D6E-409C-BE32-E72D297353CC}">
                <c16:uniqueId val="{000004DB-DBE9-4B73-8742-74A0F2DCF0F9}"/>
              </c:ext>
            </c:extLst>
          </c:dPt>
          <c:dPt>
            <c:idx val="621"/>
            <c:invertIfNegative val="1"/>
            <c:bubble3D val="0"/>
            <c:spPr>
              <a:solidFill>
                <a:srgbClr val="AEABAB"/>
              </a:solidFill>
            </c:spPr>
            <c:extLst>
              <c:ext xmlns:c16="http://schemas.microsoft.com/office/drawing/2014/chart" uri="{C3380CC4-5D6E-409C-BE32-E72D297353CC}">
                <c16:uniqueId val="{000004DD-DBE9-4B73-8742-74A0F2DCF0F9}"/>
              </c:ext>
            </c:extLst>
          </c:dPt>
          <c:dPt>
            <c:idx val="622"/>
            <c:invertIfNegative val="1"/>
            <c:bubble3D val="0"/>
            <c:spPr>
              <a:solidFill>
                <a:srgbClr val="AEABAB"/>
              </a:solidFill>
            </c:spPr>
            <c:extLst>
              <c:ext xmlns:c16="http://schemas.microsoft.com/office/drawing/2014/chart" uri="{C3380CC4-5D6E-409C-BE32-E72D297353CC}">
                <c16:uniqueId val="{000004DF-DBE9-4B73-8742-74A0F2DCF0F9}"/>
              </c:ext>
            </c:extLst>
          </c:dPt>
          <c:dPt>
            <c:idx val="623"/>
            <c:invertIfNegative val="1"/>
            <c:bubble3D val="0"/>
            <c:spPr>
              <a:solidFill>
                <a:srgbClr val="AEABAB"/>
              </a:solidFill>
            </c:spPr>
            <c:extLst>
              <c:ext xmlns:c16="http://schemas.microsoft.com/office/drawing/2014/chart" uri="{C3380CC4-5D6E-409C-BE32-E72D297353CC}">
                <c16:uniqueId val="{000004E1-DBE9-4B73-8742-74A0F2DCF0F9}"/>
              </c:ext>
            </c:extLst>
          </c:dPt>
          <c:dPt>
            <c:idx val="624"/>
            <c:invertIfNegative val="1"/>
            <c:bubble3D val="0"/>
            <c:spPr>
              <a:solidFill>
                <a:srgbClr val="AEABAB"/>
              </a:solidFill>
            </c:spPr>
            <c:extLst>
              <c:ext xmlns:c16="http://schemas.microsoft.com/office/drawing/2014/chart" uri="{C3380CC4-5D6E-409C-BE32-E72D297353CC}">
                <c16:uniqueId val="{000004E3-DBE9-4B73-8742-74A0F2DCF0F9}"/>
              </c:ext>
            </c:extLst>
          </c:dPt>
          <c:dPt>
            <c:idx val="625"/>
            <c:invertIfNegative val="1"/>
            <c:bubble3D val="0"/>
            <c:spPr>
              <a:solidFill>
                <a:srgbClr val="AEABAB"/>
              </a:solidFill>
            </c:spPr>
            <c:extLst>
              <c:ext xmlns:c16="http://schemas.microsoft.com/office/drawing/2014/chart" uri="{C3380CC4-5D6E-409C-BE32-E72D297353CC}">
                <c16:uniqueId val="{000004E5-DBE9-4B73-8742-74A0F2DCF0F9}"/>
              </c:ext>
            </c:extLst>
          </c:dPt>
          <c:dPt>
            <c:idx val="626"/>
            <c:invertIfNegative val="1"/>
            <c:bubble3D val="0"/>
            <c:spPr>
              <a:solidFill>
                <a:srgbClr val="AEABAB"/>
              </a:solidFill>
            </c:spPr>
            <c:extLst>
              <c:ext xmlns:c16="http://schemas.microsoft.com/office/drawing/2014/chart" uri="{C3380CC4-5D6E-409C-BE32-E72D297353CC}">
                <c16:uniqueId val="{000004E7-DBE9-4B73-8742-74A0F2DCF0F9}"/>
              </c:ext>
            </c:extLst>
          </c:dPt>
          <c:dPt>
            <c:idx val="627"/>
            <c:invertIfNegative val="1"/>
            <c:bubble3D val="0"/>
            <c:spPr>
              <a:solidFill>
                <a:srgbClr val="AEABAB"/>
              </a:solidFill>
            </c:spPr>
            <c:extLst>
              <c:ext xmlns:c16="http://schemas.microsoft.com/office/drawing/2014/chart" uri="{C3380CC4-5D6E-409C-BE32-E72D297353CC}">
                <c16:uniqueId val="{000004E9-DBE9-4B73-8742-74A0F2DCF0F9}"/>
              </c:ext>
            </c:extLst>
          </c:dPt>
          <c:dPt>
            <c:idx val="628"/>
            <c:invertIfNegative val="1"/>
            <c:bubble3D val="0"/>
            <c:spPr>
              <a:solidFill>
                <a:srgbClr val="AEABAB"/>
              </a:solidFill>
            </c:spPr>
            <c:extLst>
              <c:ext xmlns:c16="http://schemas.microsoft.com/office/drawing/2014/chart" uri="{C3380CC4-5D6E-409C-BE32-E72D297353CC}">
                <c16:uniqueId val="{000004EB-DBE9-4B73-8742-74A0F2DCF0F9}"/>
              </c:ext>
            </c:extLst>
          </c:dPt>
          <c:dPt>
            <c:idx val="629"/>
            <c:invertIfNegative val="1"/>
            <c:bubble3D val="0"/>
            <c:spPr>
              <a:solidFill>
                <a:srgbClr val="AEABAB"/>
              </a:solidFill>
            </c:spPr>
            <c:extLst>
              <c:ext xmlns:c16="http://schemas.microsoft.com/office/drawing/2014/chart" uri="{C3380CC4-5D6E-409C-BE32-E72D297353CC}">
                <c16:uniqueId val="{000004ED-DBE9-4B73-8742-74A0F2DCF0F9}"/>
              </c:ext>
            </c:extLst>
          </c:dPt>
          <c:dPt>
            <c:idx val="630"/>
            <c:invertIfNegative val="1"/>
            <c:bubble3D val="0"/>
            <c:spPr>
              <a:solidFill>
                <a:srgbClr val="AEABAB"/>
              </a:solidFill>
            </c:spPr>
            <c:extLst>
              <c:ext xmlns:c16="http://schemas.microsoft.com/office/drawing/2014/chart" uri="{C3380CC4-5D6E-409C-BE32-E72D297353CC}">
                <c16:uniqueId val="{000004EF-DBE9-4B73-8742-74A0F2DCF0F9}"/>
              </c:ext>
            </c:extLst>
          </c:dPt>
          <c:dPt>
            <c:idx val="631"/>
            <c:invertIfNegative val="1"/>
            <c:bubble3D val="0"/>
            <c:spPr>
              <a:solidFill>
                <a:srgbClr val="AEABAB"/>
              </a:solidFill>
            </c:spPr>
            <c:extLst>
              <c:ext xmlns:c16="http://schemas.microsoft.com/office/drawing/2014/chart" uri="{C3380CC4-5D6E-409C-BE32-E72D297353CC}">
                <c16:uniqueId val="{000004F1-DBE9-4B73-8742-74A0F2DCF0F9}"/>
              </c:ext>
            </c:extLst>
          </c:dPt>
          <c:dPt>
            <c:idx val="632"/>
            <c:invertIfNegative val="1"/>
            <c:bubble3D val="0"/>
            <c:spPr>
              <a:solidFill>
                <a:srgbClr val="AEABAB"/>
              </a:solidFill>
            </c:spPr>
            <c:extLst>
              <c:ext xmlns:c16="http://schemas.microsoft.com/office/drawing/2014/chart" uri="{C3380CC4-5D6E-409C-BE32-E72D297353CC}">
                <c16:uniqueId val="{000004F3-DBE9-4B73-8742-74A0F2DCF0F9}"/>
              </c:ext>
            </c:extLst>
          </c:dPt>
          <c:dPt>
            <c:idx val="633"/>
            <c:invertIfNegative val="1"/>
            <c:bubble3D val="0"/>
            <c:spPr>
              <a:solidFill>
                <a:srgbClr val="AEABAB"/>
              </a:solidFill>
            </c:spPr>
            <c:extLst>
              <c:ext xmlns:c16="http://schemas.microsoft.com/office/drawing/2014/chart" uri="{C3380CC4-5D6E-409C-BE32-E72D297353CC}">
                <c16:uniqueId val="{000004F5-DBE9-4B73-8742-74A0F2DCF0F9}"/>
              </c:ext>
            </c:extLst>
          </c:dPt>
          <c:dPt>
            <c:idx val="634"/>
            <c:invertIfNegative val="1"/>
            <c:bubble3D val="0"/>
            <c:spPr>
              <a:solidFill>
                <a:srgbClr val="AEABAB"/>
              </a:solidFill>
            </c:spPr>
            <c:extLst>
              <c:ext xmlns:c16="http://schemas.microsoft.com/office/drawing/2014/chart" uri="{C3380CC4-5D6E-409C-BE32-E72D297353CC}">
                <c16:uniqueId val="{000004F7-DBE9-4B73-8742-74A0F2DCF0F9}"/>
              </c:ext>
            </c:extLst>
          </c:dPt>
          <c:dPt>
            <c:idx val="635"/>
            <c:invertIfNegative val="1"/>
            <c:bubble3D val="0"/>
            <c:spPr>
              <a:solidFill>
                <a:srgbClr val="AEABAB"/>
              </a:solidFill>
            </c:spPr>
            <c:extLst>
              <c:ext xmlns:c16="http://schemas.microsoft.com/office/drawing/2014/chart" uri="{C3380CC4-5D6E-409C-BE32-E72D297353CC}">
                <c16:uniqueId val="{000004F9-DBE9-4B73-8742-74A0F2DCF0F9}"/>
              </c:ext>
            </c:extLst>
          </c:dPt>
          <c:dPt>
            <c:idx val="636"/>
            <c:invertIfNegative val="1"/>
            <c:bubble3D val="0"/>
            <c:spPr>
              <a:solidFill>
                <a:srgbClr val="AEABAB"/>
              </a:solidFill>
            </c:spPr>
            <c:extLst>
              <c:ext xmlns:c16="http://schemas.microsoft.com/office/drawing/2014/chart" uri="{C3380CC4-5D6E-409C-BE32-E72D297353CC}">
                <c16:uniqueId val="{000004FB-DBE9-4B73-8742-74A0F2DCF0F9}"/>
              </c:ext>
            </c:extLst>
          </c:dPt>
          <c:dPt>
            <c:idx val="637"/>
            <c:invertIfNegative val="1"/>
            <c:bubble3D val="0"/>
            <c:spPr>
              <a:solidFill>
                <a:srgbClr val="AEABAB"/>
              </a:solidFill>
            </c:spPr>
            <c:extLst>
              <c:ext xmlns:c16="http://schemas.microsoft.com/office/drawing/2014/chart" uri="{C3380CC4-5D6E-409C-BE32-E72D297353CC}">
                <c16:uniqueId val="{000004FD-DBE9-4B73-8742-74A0F2DCF0F9}"/>
              </c:ext>
            </c:extLst>
          </c:dPt>
          <c:dPt>
            <c:idx val="638"/>
            <c:invertIfNegative val="1"/>
            <c:bubble3D val="0"/>
            <c:spPr>
              <a:solidFill>
                <a:srgbClr val="AEABAB"/>
              </a:solidFill>
            </c:spPr>
            <c:extLst>
              <c:ext xmlns:c16="http://schemas.microsoft.com/office/drawing/2014/chart" uri="{C3380CC4-5D6E-409C-BE32-E72D297353CC}">
                <c16:uniqueId val="{000004FF-DBE9-4B73-8742-74A0F2DCF0F9}"/>
              </c:ext>
            </c:extLst>
          </c:dPt>
          <c:dPt>
            <c:idx val="639"/>
            <c:invertIfNegative val="1"/>
            <c:bubble3D val="0"/>
            <c:spPr>
              <a:solidFill>
                <a:srgbClr val="AEABAB"/>
              </a:solidFill>
            </c:spPr>
            <c:extLst>
              <c:ext xmlns:c16="http://schemas.microsoft.com/office/drawing/2014/chart" uri="{C3380CC4-5D6E-409C-BE32-E72D297353CC}">
                <c16:uniqueId val="{00000501-DBE9-4B73-8742-74A0F2DCF0F9}"/>
              </c:ext>
            </c:extLst>
          </c:dPt>
          <c:dPt>
            <c:idx val="640"/>
            <c:invertIfNegative val="1"/>
            <c:bubble3D val="0"/>
            <c:spPr>
              <a:solidFill>
                <a:srgbClr val="AEABAB"/>
              </a:solidFill>
            </c:spPr>
            <c:extLst>
              <c:ext xmlns:c16="http://schemas.microsoft.com/office/drawing/2014/chart" uri="{C3380CC4-5D6E-409C-BE32-E72D297353CC}">
                <c16:uniqueId val="{00000503-DBE9-4B73-8742-74A0F2DCF0F9}"/>
              </c:ext>
            </c:extLst>
          </c:dPt>
          <c:dPt>
            <c:idx val="641"/>
            <c:invertIfNegative val="1"/>
            <c:bubble3D val="0"/>
            <c:spPr>
              <a:solidFill>
                <a:srgbClr val="AEABAB"/>
              </a:solidFill>
            </c:spPr>
            <c:extLst>
              <c:ext xmlns:c16="http://schemas.microsoft.com/office/drawing/2014/chart" uri="{C3380CC4-5D6E-409C-BE32-E72D297353CC}">
                <c16:uniqueId val="{00000505-DBE9-4B73-8742-74A0F2DCF0F9}"/>
              </c:ext>
            </c:extLst>
          </c:dPt>
          <c:dPt>
            <c:idx val="642"/>
            <c:invertIfNegative val="1"/>
            <c:bubble3D val="0"/>
            <c:spPr>
              <a:solidFill>
                <a:srgbClr val="AEABAB"/>
              </a:solidFill>
            </c:spPr>
            <c:extLst>
              <c:ext xmlns:c16="http://schemas.microsoft.com/office/drawing/2014/chart" uri="{C3380CC4-5D6E-409C-BE32-E72D297353CC}">
                <c16:uniqueId val="{00000507-DBE9-4B73-8742-74A0F2DCF0F9}"/>
              </c:ext>
            </c:extLst>
          </c:dPt>
          <c:dPt>
            <c:idx val="643"/>
            <c:invertIfNegative val="1"/>
            <c:bubble3D val="0"/>
            <c:spPr>
              <a:solidFill>
                <a:srgbClr val="AEABAB"/>
              </a:solidFill>
            </c:spPr>
            <c:extLst>
              <c:ext xmlns:c16="http://schemas.microsoft.com/office/drawing/2014/chart" uri="{C3380CC4-5D6E-409C-BE32-E72D297353CC}">
                <c16:uniqueId val="{00000509-DBE9-4B73-8742-74A0F2DCF0F9}"/>
              </c:ext>
            </c:extLst>
          </c:dPt>
          <c:dPt>
            <c:idx val="644"/>
            <c:invertIfNegative val="1"/>
            <c:bubble3D val="0"/>
            <c:spPr>
              <a:solidFill>
                <a:srgbClr val="AEABAB"/>
              </a:solidFill>
            </c:spPr>
            <c:extLst>
              <c:ext xmlns:c16="http://schemas.microsoft.com/office/drawing/2014/chart" uri="{C3380CC4-5D6E-409C-BE32-E72D297353CC}">
                <c16:uniqueId val="{0000050B-DBE9-4B73-8742-74A0F2DCF0F9}"/>
              </c:ext>
            </c:extLst>
          </c:dPt>
          <c:dPt>
            <c:idx val="645"/>
            <c:invertIfNegative val="1"/>
            <c:bubble3D val="0"/>
            <c:spPr>
              <a:solidFill>
                <a:srgbClr val="AEABAB"/>
              </a:solidFill>
            </c:spPr>
            <c:extLst>
              <c:ext xmlns:c16="http://schemas.microsoft.com/office/drawing/2014/chart" uri="{C3380CC4-5D6E-409C-BE32-E72D297353CC}">
                <c16:uniqueId val="{0000050D-DBE9-4B73-8742-74A0F2DCF0F9}"/>
              </c:ext>
            </c:extLst>
          </c:dPt>
          <c:dPt>
            <c:idx val="646"/>
            <c:invertIfNegative val="1"/>
            <c:bubble3D val="0"/>
            <c:spPr>
              <a:solidFill>
                <a:srgbClr val="AEABAB"/>
              </a:solidFill>
            </c:spPr>
            <c:extLst>
              <c:ext xmlns:c16="http://schemas.microsoft.com/office/drawing/2014/chart" uri="{C3380CC4-5D6E-409C-BE32-E72D297353CC}">
                <c16:uniqueId val="{0000050F-DBE9-4B73-8742-74A0F2DCF0F9}"/>
              </c:ext>
            </c:extLst>
          </c:dPt>
          <c:dPt>
            <c:idx val="647"/>
            <c:invertIfNegative val="1"/>
            <c:bubble3D val="0"/>
            <c:spPr>
              <a:solidFill>
                <a:srgbClr val="AEABAB"/>
              </a:solidFill>
            </c:spPr>
            <c:extLst>
              <c:ext xmlns:c16="http://schemas.microsoft.com/office/drawing/2014/chart" uri="{C3380CC4-5D6E-409C-BE32-E72D297353CC}">
                <c16:uniqueId val="{00000511-DBE9-4B73-8742-74A0F2DCF0F9}"/>
              </c:ext>
            </c:extLst>
          </c:dPt>
          <c:dPt>
            <c:idx val="648"/>
            <c:invertIfNegative val="1"/>
            <c:bubble3D val="0"/>
            <c:spPr>
              <a:solidFill>
                <a:srgbClr val="AEABAB"/>
              </a:solidFill>
            </c:spPr>
            <c:extLst>
              <c:ext xmlns:c16="http://schemas.microsoft.com/office/drawing/2014/chart" uri="{C3380CC4-5D6E-409C-BE32-E72D297353CC}">
                <c16:uniqueId val="{00000513-DBE9-4B73-8742-74A0F2DCF0F9}"/>
              </c:ext>
            </c:extLst>
          </c:dPt>
          <c:dPt>
            <c:idx val="649"/>
            <c:invertIfNegative val="1"/>
            <c:bubble3D val="0"/>
            <c:spPr>
              <a:solidFill>
                <a:srgbClr val="AEABAB"/>
              </a:solidFill>
            </c:spPr>
            <c:extLst>
              <c:ext xmlns:c16="http://schemas.microsoft.com/office/drawing/2014/chart" uri="{C3380CC4-5D6E-409C-BE32-E72D297353CC}">
                <c16:uniqueId val="{00000515-DBE9-4B73-8742-74A0F2DCF0F9}"/>
              </c:ext>
            </c:extLst>
          </c:dPt>
          <c:dPt>
            <c:idx val="650"/>
            <c:invertIfNegative val="1"/>
            <c:bubble3D val="0"/>
            <c:spPr>
              <a:solidFill>
                <a:srgbClr val="AEABAB"/>
              </a:solidFill>
            </c:spPr>
            <c:extLst>
              <c:ext xmlns:c16="http://schemas.microsoft.com/office/drawing/2014/chart" uri="{C3380CC4-5D6E-409C-BE32-E72D297353CC}">
                <c16:uniqueId val="{00000517-DBE9-4B73-8742-74A0F2DCF0F9}"/>
              </c:ext>
            </c:extLst>
          </c:dPt>
          <c:dPt>
            <c:idx val="651"/>
            <c:invertIfNegative val="1"/>
            <c:bubble3D val="0"/>
            <c:spPr>
              <a:solidFill>
                <a:srgbClr val="AEABAB"/>
              </a:solidFill>
            </c:spPr>
            <c:extLst>
              <c:ext xmlns:c16="http://schemas.microsoft.com/office/drawing/2014/chart" uri="{C3380CC4-5D6E-409C-BE32-E72D297353CC}">
                <c16:uniqueId val="{00000519-DBE9-4B73-8742-74A0F2DCF0F9}"/>
              </c:ext>
            </c:extLst>
          </c:dPt>
          <c:dPt>
            <c:idx val="652"/>
            <c:invertIfNegative val="1"/>
            <c:bubble3D val="0"/>
            <c:spPr>
              <a:solidFill>
                <a:srgbClr val="AEABAB"/>
              </a:solidFill>
            </c:spPr>
            <c:extLst>
              <c:ext xmlns:c16="http://schemas.microsoft.com/office/drawing/2014/chart" uri="{C3380CC4-5D6E-409C-BE32-E72D297353CC}">
                <c16:uniqueId val="{0000051B-DBE9-4B73-8742-74A0F2DCF0F9}"/>
              </c:ext>
            </c:extLst>
          </c:dPt>
          <c:dPt>
            <c:idx val="653"/>
            <c:invertIfNegative val="1"/>
            <c:bubble3D val="0"/>
            <c:spPr>
              <a:solidFill>
                <a:srgbClr val="AEABAB"/>
              </a:solidFill>
            </c:spPr>
            <c:extLst>
              <c:ext xmlns:c16="http://schemas.microsoft.com/office/drawing/2014/chart" uri="{C3380CC4-5D6E-409C-BE32-E72D297353CC}">
                <c16:uniqueId val="{0000051D-DBE9-4B73-8742-74A0F2DCF0F9}"/>
              </c:ext>
            </c:extLst>
          </c:dPt>
          <c:dPt>
            <c:idx val="654"/>
            <c:invertIfNegative val="1"/>
            <c:bubble3D val="0"/>
            <c:spPr>
              <a:solidFill>
                <a:srgbClr val="AEABAB"/>
              </a:solidFill>
            </c:spPr>
            <c:extLst>
              <c:ext xmlns:c16="http://schemas.microsoft.com/office/drawing/2014/chart" uri="{C3380CC4-5D6E-409C-BE32-E72D297353CC}">
                <c16:uniqueId val="{0000051F-DBE9-4B73-8742-74A0F2DCF0F9}"/>
              </c:ext>
            </c:extLst>
          </c:dPt>
          <c:dPt>
            <c:idx val="655"/>
            <c:invertIfNegative val="1"/>
            <c:bubble3D val="0"/>
            <c:spPr>
              <a:solidFill>
                <a:srgbClr val="AEABAB"/>
              </a:solidFill>
            </c:spPr>
            <c:extLst>
              <c:ext xmlns:c16="http://schemas.microsoft.com/office/drawing/2014/chart" uri="{C3380CC4-5D6E-409C-BE32-E72D297353CC}">
                <c16:uniqueId val="{00000521-DBE9-4B73-8742-74A0F2DCF0F9}"/>
              </c:ext>
            </c:extLst>
          </c:dPt>
          <c:dPt>
            <c:idx val="656"/>
            <c:invertIfNegative val="1"/>
            <c:bubble3D val="0"/>
            <c:spPr>
              <a:solidFill>
                <a:srgbClr val="AEABAB"/>
              </a:solidFill>
            </c:spPr>
            <c:extLst>
              <c:ext xmlns:c16="http://schemas.microsoft.com/office/drawing/2014/chart" uri="{C3380CC4-5D6E-409C-BE32-E72D297353CC}">
                <c16:uniqueId val="{00000523-DBE9-4B73-8742-74A0F2DCF0F9}"/>
              </c:ext>
            </c:extLst>
          </c:dPt>
          <c:dPt>
            <c:idx val="657"/>
            <c:invertIfNegative val="1"/>
            <c:bubble3D val="0"/>
            <c:spPr>
              <a:solidFill>
                <a:srgbClr val="AEABAB"/>
              </a:solidFill>
            </c:spPr>
            <c:extLst>
              <c:ext xmlns:c16="http://schemas.microsoft.com/office/drawing/2014/chart" uri="{C3380CC4-5D6E-409C-BE32-E72D297353CC}">
                <c16:uniqueId val="{00000525-DBE9-4B73-8742-74A0F2DCF0F9}"/>
              </c:ext>
            </c:extLst>
          </c:dPt>
          <c:dPt>
            <c:idx val="658"/>
            <c:invertIfNegative val="1"/>
            <c:bubble3D val="0"/>
            <c:spPr>
              <a:solidFill>
                <a:srgbClr val="AEABAB"/>
              </a:solidFill>
            </c:spPr>
            <c:extLst>
              <c:ext xmlns:c16="http://schemas.microsoft.com/office/drawing/2014/chart" uri="{C3380CC4-5D6E-409C-BE32-E72D297353CC}">
                <c16:uniqueId val="{00000527-DBE9-4B73-8742-74A0F2DCF0F9}"/>
              </c:ext>
            </c:extLst>
          </c:dPt>
          <c:dPt>
            <c:idx val="659"/>
            <c:invertIfNegative val="1"/>
            <c:bubble3D val="0"/>
            <c:spPr>
              <a:solidFill>
                <a:srgbClr val="AEABAB"/>
              </a:solidFill>
            </c:spPr>
            <c:extLst>
              <c:ext xmlns:c16="http://schemas.microsoft.com/office/drawing/2014/chart" uri="{C3380CC4-5D6E-409C-BE32-E72D297353CC}">
                <c16:uniqueId val="{00000529-DBE9-4B73-8742-74A0F2DCF0F9}"/>
              </c:ext>
            </c:extLst>
          </c:dPt>
          <c:dPt>
            <c:idx val="660"/>
            <c:invertIfNegative val="1"/>
            <c:bubble3D val="0"/>
            <c:spPr>
              <a:solidFill>
                <a:srgbClr val="AEABAB"/>
              </a:solidFill>
            </c:spPr>
            <c:extLst>
              <c:ext xmlns:c16="http://schemas.microsoft.com/office/drawing/2014/chart" uri="{C3380CC4-5D6E-409C-BE32-E72D297353CC}">
                <c16:uniqueId val="{0000052B-DBE9-4B73-8742-74A0F2DCF0F9}"/>
              </c:ext>
            </c:extLst>
          </c:dPt>
          <c:dPt>
            <c:idx val="661"/>
            <c:invertIfNegative val="1"/>
            <c:bubble3D val="0"/>
            <c:spPr>
              <a:solidFill>
                <a:srgbClr val="AEABAB"/>
              </a:solidFill>
            </c:spPr>
            <c:extLst>
              <c:ext xmlns:c16="http://schemas.microsoft.com/office/drawing/2014/chart" uri="{C3380CC4-5D6E-409C-BE32-E72D297353CC}">
                <c16:uniqueId val="{0000052D-DBE9-4B73-8742-74A0F2DCF0F9}"/>
              </c:ext>
            </c:extLst>
          </c:dPt>
          <c:dPt>
            <c:idx val="662"/>
            <c:invertIfNegative val="1"/>
            <c:bubble3D val="0"/>
            <c:spPr>
              <a:solidFill>
                <a:srgbClr val="AEABAB"/>
              </a:solidFill>
            </c:spPr>
            <c:extLst>
              <c:ext xmlns:c16="http://schemas.microsoft.com/office/drawing/2014/chart" uri="{C3380CC4-5D6E-409C-BE32-E72D297353CC}">
                <c16:uniqueId val="{0000052F-DBE9-4B73-8742-74A0F2DCF0F9}"/>
              </c:ext>
            </c:extLst>
          </c:dPt>
          <c:dPt>
            <c:idx val="663"/>
            <c:invertIfNegative val="1"/>
            <c:bubble3D val="0"/>
            <c:spPr>
              <a:solidFill>
                <a:srgbClr val="AEABAB"/>
              </a:solidFill>
            </c:spPr>
            <c:extLst>
              <c:ext xmlns:c16="http://schemas.microsoft.com/office/drawing/2014/chart" uri="{C3380CC4-5D6E-409C-BE32-E72D297353CC}">
                <c16:uniqueId val="{00000531-DBE9-4B73-8742-74A0F2DCF0F9}"/>
              </c:ext>
            </c:extLst>
          </c:dPt>
          <c:dPt>
            <c:idx val="664"/>
            <c:invertIfNegative val="1"/>
            <c:bubble3D val="0"/>
            <c:spPr>
              <a:solidFill>
                <a:srgbClr val="AEABAB"/>
              </a:solidFill>
            </c:spPr>
            <c:extLst>
              <c:ext xmlns:c16="http://schemas.microsoft.com/office/drawing/2014/chart" uri="{C3380CC4-5D6E-409C-BE32-E72D297353CC}">
                <c16:uniqueId val="{00000533-DBE9-4B73-8742-74A0F2DCF0F9}"/>
              </c:ext>
            </c:extLst>
          </c:dPt>
          <c:dPt>
            <c:idx val="665"/>
            <c:invertIfNegative val="1"/>
            <c:bubble3D val="0"/>
            <c:spPr>
              <a:solidFill>
                <a:srgbClr val="AEABAB"/>
              </a:solidFill>
            </c:spPr>
            <c:extLst>
              <c:ext xmlns:c16="http://schemas.microsoft.com/office/drawing/2014/chart" uri="{C3380CC4-5D6E-409C-BE32-E72D297353CC}">
                <c16:uniqueId val="{00000535-DBE9-4B73-8742-74A0F2DCF0F9}"/>
              </c:ext>
            </c:extLst>
          </c:dPt>
          <c:dPt>
            <c:idx val="666"/>
            <c:invertIfNegative val="1"/>
            <c:bubble3D val="0"/>
            <c:spPr>
              <a:solidFill>
                <a:srgbClr val="AEABAB"/>
              </a:solidFill>
            </c:spPr>
            <c:extLst>
              <c:ext xmlns:c16="http://schemas.microsoft.com/office/drawing/2014/chart" uri="{C3380CC4-5D6E-409C-BE32-E72D297353CC}">
                <c16:uniqueId val="{00000537-DBE9-4B73-8742-74A0F2DCF0F9}"/>
              </c:ext>
            </c:extLst>
          </c:dPt>
          <c:dPt>
            <c:idx val="667"/>
            <c:invertIfNegative val="1"/>
            <c:bubble3D val="0"/>
            <c:spPr>
              <a:solidFill>
                <a:srgbClr val="AEABAB"/>
              </a:solidFill>
            </c:spPr>
            <c:extLst>
              <c:ext xmlns:c16="http://schemas.microsoft.com/office/drawing/2014/chart" uri="{C3380CC4-5D6E-409C-BE32-E72D297353CC}">
                <c16:uniqueId val="{00000539-DBE9-4B73-8742-74A0F2DCF0F9}"/>
              </c:ext>
            </c:extLst>
          </c:dPt>
          <c:dPt>
            <c:idx val="668"/>
            <c:invertIfNegative val="1"/>
            <c:bubble3D val="0"/>
            <c:spPr>
              <a:solidFill>
                <a:srgbClr val="AEABAB"/>
              </a:solidFill>
            </c:spPr>
            <c:extLst>
              <c:ext xmlns:c16="http://schemas.microsoft.com/office/drawing/2014/chart" uri="{C3380CC4-5D6E-409C-BE32-E72D297353CC}">
                <c16:uniqueId val="{0000053B-DBE9-4B73-8742-74A0F2DCF0F9}"/>
              </c:ext>
            </c:extLst>
          </c:dPt>
          <c:dPt>
            <c:idx val="669"/>
            <c:invertIfNegative val="1"/>
            <c:bubble3D val="0"/>
            <c:spPr>
              <a:solidFill>
                <a:srgbClr val="AEABAB"/>
              </a:solidFill>
            </c:spPr>
            <c:extLst>
              <c:ext xmlns:c16="http://schemas.microsoft.com/office/drawing/2014/chart" uri="{C3380CC4-5D6E-409C-BE32-E72D297353CC}">
                <c16:uniqueId val="{0000053D-DBE9-4B73-8742-74A0F2DCF0F9}"/>
              </c:ext>
            </c:extLst>
          </c:dPt>
          <c:dPt>
            <c:idx val="670"/>
            <c:invertIfNegative val="1"/>
            <c:bubble3D val="0"/>
            <c:spPr>
              <a:solidFill>
                <a:srgbClr val="AEABAB"/>
              </a:solidFill>
            </c:spPr>
            <c:extLst>
              <c:ext xmlns:c16="http://schemas.microsoft.com/office/drawing/2014/chart" uri="{C3380CC4-5D6E-409C-BE32-E72D297353CC}">
                <c16:uniqueId val="{0000053F-DBE9-4B73-8742-74A0F2DCF0F9}"/>
              </c:ext>
            </c:extLst>
          </c:dPt>
          <c:dPt>
            <c:idx val="671"/>
            <c:invertIfNegative val="1"/>
            <c:bubble3D val="0"/>
            <c:spPr>
              <a:solidFill>
                <a:srgbClr val="AEABAB"/>
              </a:solidFill>
            </c:spPr>
            <c:extLst>
              <c:ext xmlns:c16="http://schemas.microsoft.com/office/drawing/2014/chart" uri="{C3380CC4-5D6E-409C-BE32-E72D297353CC}">
                <c16:uniqueId val="{00000541-DBE9-4B73-8742-74A0F2DCF0F9}"/>
              </c:ext>
            </c:extLst>
          </c:dPt>
          <c:dPt>
            <c:idx val="672"/>
            <c:invertIfNegative val="1"/>
            <c:bubble3D val="0"/>
            <c:spPr>
              <a:solidFill>
                <a:srgbClr val="AEABAB"/>
              </a:solidFill>
            </c:spPr>
            <c:extLst>
              <c:ext xmlns:c16="http://schemas.microsoft.com/office/drawing/2014/chart" uri="{C3380CC4-5D6E-409C-BE32-E72D297353CC}">
                <c16:uniqueId val="{00000543-DBE9-4B73-8742-74A0F2DCF0F9}"/>
              </c:ext>
            </c:extLst>
          </c:dPt>
          <c:dPt>
            <c:idx val="673"/>
            <c:invertIfNegative val="1"/>
            <c:bubble3D val="0"/>
            <c:spPr>
              <a:solidFill>
                <a:srgbClr val="AEABAB"/>
              </a:solidFill>
            </c:spPr>
            <c:extLst>
              <c:ext xmlns:c16="http://schemas.microsoft.com/office/drawing/2014/chart" uri="{C3380CC4-5D6E-409C-BE32-E72D297353CC}">
                <c16:uniqueId val="{00000545-DBE9-4B73-8742-74A0F2DCF0F9}"/>
              </c:ext>
            </c:extLst>
          </c:dPt>
          <c:dPt>
            <c:idx val="674"/>
            <c:invertIfNegative val="1"/>
            <c:bubble3D val="0"/>
            <c:spPr>
              <a:solidFill>
                <a:srgbClr val="AEABAB"/>
              </a:solidFill>
            </c:spPr>
            <c:extLst>
              <c:ext xmlns:c16="http://schemas.microsoft.com/office/drawing/2014/chart" uri="{C3380CC4-5D6E-409C-BE32-E72D297353CC}">
                <c16:uniqueId val="{00000547-DBE9-4B73-8742-74A0F2DCF0F9}"/>
              </c:ext>
            </c:extLst>
          </c:dPt>
          <c:dPt>
            <c:idx val="675"/>
            <c:invertIfNegative val="1"/>
            <c:bubble3D val="0"/>
            <c:spPr>
              <a:solidFill>
                <a:srgbClr val="AEABAB"/>
              </a:solidFill>
            </c:spPr>
            <c:extLst>
              <c:ext xmlns:c16="http://schemas.microsoft.com/office/drawing/2014/chart" uri="{C3380CC4-5D6E-409C-BE32-E72D297353CC}">
                <c16:uniqueId val="{00000549-DBE9-4B73-8742-74A0F2DCF0F9}"/>
              </c:ext>
            </c:extLst>
          </c:dPt>
          <c:dPt>
            <c:idx val="676"/>
            <c:invertIfNegative val="1"/>
            <c:bubble3D val="0"/>
            <c:spPr>
              <a:solidFill>
                <a:srgbClr val="AEABAB"/>
              </a:solidFill>
            </c:spPr>
            <c:extLst>
              <c:ext xmlns:c16="http://schemas.microsoft.com/office/drawing/2014/chart" uri="{C3380CC4-5D6E-409C-BE32-E72D297353CC}">
                <c16:uniqueId val="{0000054B-DBE9-4B73-8742-74A0F2DCF0F9}"/>
              </c:ext>
            </c:extLst>
          </c:dPt>
          <c:dPt>
            <c:idx val="677"/>
            <c:invertIfNegative val="1"/>
            <c:bubble3D val="0"/>
            <c:spPr>
              <a:solidFill>
                <a:srgbClr val="AEABAB"/>
              </a:solidFill>
            </c:spPr>
            <c:extLst>
              <c:ext xmlns:c16="http://schemas.microsoft.com/office/drawing/2014/chart" uri="{C3380CC4-5D6E-409C-BE32-E72D297353CC}">
                <c16:uniqueId val="{0000054D-DBE9-4B73-8742-74A0F2DCF0F9}"/>
              </c:ext>
            </c:extLst>
          </c:dPt>
          <c:dPt>
            <c:idx val="678"/>
            <c:invertIfNegative val="1"/>
            <c:bubble3D val="0"/>
            <c:spPr>
              <a:solidFill>
                <a:srgbClr val="AEABAB"/>
              </a:solidFill>
            </c:spPr>
            <c:extLst>
              <c:ext xmlns:c16="http://schemas.microsoft.com/office/drawing/2014/chart" uri="{C3380CC4-5D6E-409C-BE32-E72D297353CC}">
                <c16:uniqueId val="{0000054F-DBE9-4B73-8742-74A0F2DCF0F9}"/>
              </c:ext>
            </c:extLst>
          </c:dPt>
          <c:dPt>
            <c:idx val="679"/>
            <c:invertIfNegative val="1"/>
            <c:bubble3D val="0"/>
            <c:spPr>
              <a:solidFill>
                <a:srgbClr val="AEABAB"/>
              </a:solidFill>
            </c:spPr>
            <c:extLst>
              <c:ext xmlns:c16="http://schemas.microsoft.com/office/drawing/2014/chart" uri="{C3380CC4-5D6E-409C-BE32-E72D297353CC}">
                <c16:uniqueId val="{00000551-DBE9-4B73-8742-74A0F2DCF0F9}"/>
              </c:ext>
            </c:extLst>
          </c:dPt>
          <c:dPt>
            <c:idx val="680"/>
            <c:invertIfNegative val="1"/>
            <c:bubble3D val="0"/>
            <c:spPr>
              <a:solidFill>
                <a:srgbClr val="AEABAB"/>
              </a:solidFill>
            </c:spPr>
            <c:extLst>
              <c:ext xmlns:c16="http://schemas.microsoft.com/office/drawing/2014/chart" uri="{C3380CC4-5D6E-409C-BE32-E72D297353CC}">
                <c16:uniqueId val="{00000553-DBE9-4B73-8742-74A0F2DCF0F9}"/>
              </c:ext>
            </c:extLst>
          </c:dPt>
          <c:dPt>
            <c:idx val="681"/>
            <c:invertIfNegative val="1"/>
            <c:bubble3D val="0"/>
            <c:spPr>
              <a:solidFill>
                <a:srgbClr val="AEABAB"/>
              </a:solidFill>
            </c:spPr>
            <c:extLst>
              <c:ext xmlns:c16="http://schemas.microsoft.com/office/drawing/2014/chart" uri="{C3380CC4-5D6E-409C-BE32-E72D297353CC}">
                <c16:uniqueId val="{00000555-DBE9-4B73-8742-74A0F2DCF0F9}"/>
              </c:ext>
            </c:extLst>
          </c:dPt>
          <c:dPt>
            <c:idx val="682"/>
            <c:invertIfNegative val="1"/>
            <c:bubble3D val="0"/>
            <c:spPr>
              <a:solidFill>
                <a:srgbClr val="AEABAB"/>
              </a:solidFill>
            </c:spPr>
            <c:extLst>
              <c:ext xmlns:c16="http://schemas.microsoft.com/office/drawing/2014/chart" uri="{C3380CC4-5D6E-409C-BE32-E72D297353CC}">
                <c16:uniqueId val="{00000557-DBE9-4B73-8742-74A0F2DCF0F9}"/>
              </c:ext>
            </c:extLst>
          </c:dPt>
          <c:dPt>
            <c:idx val="683"/>
            <c:invertIfNegative val="1"/>
            <c:bubble3D val="0"/>
            <c:spPr>
              <a:solidFill>
                <a:srgbClr val="AEABAB"/>
              </a:solidFill>
            </c:spPr>
            <c:extLst>
              <c:ext xmlns:c16="http://schemas.microsoft.com/office/drawing/2014/chart" uri="{C3380CC4-5D6E-409C-BE32-E72D297353CC}">
                <c16:uniqueId val="{00000559-DBE9-4B73-8742-74A0F2DCF0F9}"/>
              </c:ext>
            </c:extLst>
          </c:dPt>
          <c:dPt>
            <c:idx val="684"/>
            <c:invertIfNegative val="1"/>
            <c:bubble3D val="0"/>
            <c:spPr>
              <a:solidFill>
                <a:srgbClr val="AEABAB"/>
              </a:solidFill>
            </c:spPr>
            <c:extLst>
              <c:ext xmlns:c16="http://schemas.microsoft.com/office/drawing/2014/chart" uri="{C3380CC4-5D6E-409C-BE32-E72D297353CC}">
                <c16:uniqueId val="{0000055B-DBE9-4B73-8742-74A0F2DCF0F9}"/>
              </c:ext>
            </c:extLst>
          </c:dPt>
          <c:dPt>
            <c:idx val="685"/>
            <c:invertIfNegative val="1"/>
            <c:bubble3D val="0"/>
            <c:spPr>
              <a:solidFill>
                <a:srgbClr val="AEABAB"/>
              </a:solidFill>
            </c:spPr>
            <c:extLst>
              <c:ext xmlns:c16="http://schemas.microsoft.com/office/drawing/2014/chart" uri="{C3380CC4-5D6E-409C-BE32-E72D297353CC}">
                <c16:uniqueId val="{0000055D-DBE9-4B73-8742-74A0F2DCF0F9}"/>
              </c:ext>
            </c:extLst>
          </c:dPt>
          <c:dPt>
            <c:idx val="686"/>
            <c:invertIfNegative val="1"/>
            <c:bubble3D val="0"/>
            <c:spPr>
              <a:solidFill>
                <a:srgbClr val="AEABAB"/>
              </a:solidFill>
            </c:spPr>
            <c:extLst>
              <c:ext xmlns:c16="http://schemas.microsoft.com/office/drawing/2014/chart" uri="{C3380CC4-5D6E-409C-BE32-E72D297353CC}">
                <c16:uniqueId val="{0000055F-DBE9-4B73-8742-74A0F2DCF0F9}"/>
              </c:ext>
            </c:extLst>
          </c:dPt>
          <c:dPt>
            <c:idx val="687"/>
            <c:invertIfNegative val="1"/>
            <c:bubble3D val="0"/>
            <c:spPr>
              <a:solidFill>
                <a:srgbClr val="AEABAB"/>
              </a:solidFill>
            </c:spPr>
            <c:extLst>
              <c:ext xmlns:c16="http://schemas.microsoft.com/office/drawing/2014/chart" uri="{C3380CC4-5D6E-409C-BE32-E72D297353CC}">
                <c16:uniqueId val="{00000561-DBE9-4B73-8742-74A0F2DCF0F9}"/>
              </c:ext>
            </c:extLst>
          </c:dPt>
          <c:dPt>
            <c:idx val="688"/>
            <c:invertIfNegative val="1"/>
            <c:bubble3D val="0"/>
            <c:spPr>
              <a:solidFill>
                <a:srgbClr val="AEABAB"/>
              </a:solidFill>
            </c:spPr>
            <c:extLst>
              <c:ext xmlns:c16="http://schemas.microsoft.com/office/drawing/2014/chart" uri="{C3380CC4-5D6E-409C-BE32-E72D297353CC}">
                <c16:uniqueId val="{00000563-DBE9-4B73-8742-74A0F2DCF0F9}"/>
              </c:ext>
            </c:extLst>
          </c:dPt>
          <c:dPt>
            <c:idx val="689"/>
            <c:invertIfNegative val="1"/>
            <c:bubble3D val="0"/>
            <c:spPr>
              <a:solidFill>
                <a:srgbClr val="AEABAB"/>
              </a:solidFill>
            </c:spPr>
            <c:extLst>
              <c:ext xmlns:c16="http://schemas.microsoft.com/office/drawing/2014/chart" uri="{C3380CC4-5D6E-409C-BE32-E72D297353CC}">
                <c16:uniqueId val="{00000565-DBE9-4B73-8742-74A0F2DCF0F9}"/>
              </c:ext>
            </c:extLst>
          </c:dPt>
          <c:dPt>
            <c:idx val="690"/>
            <c:invertIfNegative val="1"/>
            <c:bubble3D val="0"/>
            <c:spPr>
              <a:solidFill>
                <a:srgbClr val="AEABAB"/>
              </a:solidFill>
            </c:spPr>
            <c:extLst>
              <c:ext xmlns:c16="http://schemas.microsoft.com/office/drawing/2014/chart" uri="{C3380CC4-5D6E-409C-BE32-E72D297353CC}">
                <c16:uniqueId val="{00000567-DBE9-4B73-8742-74A0F2DCF0F9}"/>
              </c:ext>
            </c:extLst>
          </c:dPt>
          <c:dPt>
            <c:idx val="691"/>
            <c:invertIfNegative val="1"/>
            <c:bubble3D val="0"/>
            <c:spPr>
              <a:solidFill>
                <a:srgbClr val="AEABAB"/>
              </a:solidFill>
            </c:spPr>
            <c:extLst>
              <c:ext xmlns:c16="http://schemas.microsoft.com/office/drawing/2014/chart" uri="{C3380CC4-5D6E-409C-BE32-E72D297353CC}">
                <c16:uniqueId val="{00000569-DBE9-4B73-8742-74A0F2DCF0F9}"/>
              </c:ext>
            </c:extLst>
          </c:dPt>
          <c:dPt>
            <c:idx val="692"/>
            <c:invertIfNegative val="1"/>
            <c:bubble3D val="0"/>
            <c:spPr>
              <a:solidFill>
                <a:srgbClr val="AEABAB"/>
              </a:solidFill>
            </c:spPr>
            <c:extLst>
              <c:ext xmlns:c16="http://schemas.microsoft.com/office/drawing/2014/chart" uri="{C3380CC4-5D6E-409C-BE32-E72D297353CC}">
                <c16:uniqueId val="{0000056B-DBE9-4B73-8742-74A0F2DCF0F9}"/>
              </c:ext>
            </c:extLst>
          </c:dPt>
          <c:dPt>
            <c:idx val="693"/>
            <c:invertIfNegative val="1"/>
            <c:bubble3D val="0"/>
            <c:spPr>
              <a:solidFill>
                <a:srgbClr val="AEABAB"/>
              </a:solidFill>
            </c:spPr>
            <c:extLst>
              <c:ext xmlns:c16="http://schemas.microsoft.com/office/drawing/2014/chart" uri="{C3380CC4-5D6E-409C-BE32-E72D297353CC}">
                <c16:uniqueId val="{0000056D-DBE9-4B73-8742-74A0F2DCF0F9}"/>
              </c:ext>
            </c:extLst>
          </c:dPt>
          <c:dPt>
            <c:idx val="694"/>
            <c:invertIfNegative val="1"/>
            <c:bubble3D val="0"/>
            <c:spPr>
              <a:solidFill>
                <a:srgbClr val="AEABAB"/>
              </a:solidFill>
            </c:spPr>
            <c:extLst>
              <c:ext xmlns:c16="http://schemas.microsoft.com/office/drawing/2014/chart" uri="{C3380CC4-5D6E-409C-BE32-E72D297353CC}">
                <c16:uniqueId val="{0000056F-DBE9-4B73-8742-74A0F2DCF0F9}"/>
              </c:ext>
            </c:extLst>
          </c:dPt>
          <c:dPt>
            <c:idx val="695"/>
            <c:invertIfNegative val="1"/>
            <c:bubble3D val="0"/>
            <c:spPr>
              <a:solidFill>
                <a:srgbClr val="AEABAB"/>
              </a:solidFill>
            </c:spPr>
            <c:extLst>
              <c:ext xmlns:c16="http://schemas.microsoft.com/office/drawing/2014/chart" uri="{C3380CC4-5D6E-409C-BE32-E72D297353CC}">
                <c16:uniqueId val="{00000571-DBE9-4B73-8742-74A0F2DCF0F9}"/>
              </c:ext>
            </c:extLst>
          </c:dPt>
          <c:dPt>
            <c:idx val="696"/>
            <c:invertIfNegative val="1"/>
            <c:bubble3D val="0"/>
            <c:spPr>
              <a:solidFill>
                <a:srgbClr val="AEABAB"/>
              </a:solidFill>
            </c:spPr>
            <c:extLst>
              <c:ext xmlns:c16="http://schemas.microsoft.com/office/drawing/2014/chart" uri="{C3380CC4-5D6E-409C-BE32-E72D297353CC}">
                <c16:uniqueId val="{00000573-DBE9-4B73-8742-74A0F2DCF0F9}"/>
              </c:ext>
            </c:extLst>
          </c:dPt>
          <c:dPt>
            <c:idx val="697"/>
            <c:invertIfNegative val="1"/>
            <c:bubble3D val="0"/>
            <c:spPr>
              <a:solidFill>
                <a:srgbClr val="AEABAB"/>
              </a:solidFill>
            </c:spPr>
            <c:extLst>
              <c:ext xmlns:c16="http://schemas.microsoft.com/office/drawing/2014/chart" uri="{C3380CC4-5D6E-409C-BE32-E72D297353CC}">
                <c16:uniqueId val="{00000575-DBE9-4B73-8742-74A0F2DCF0F9}"/>
              </c:ext>
            </c:extLst>
          </c:dPt>
          <c:dPt>
            <c:idx val="698"/>
            <c:invertIfNegative val="1"/>
            <c:bubble3D val="0"/>
            <c:spPr>
              <a:solidFill>
                <a:srgbClr val="AEABAB"/>
              </a:solidFill>
            </c:spPr>
            <c:extLst>
              <c:ext xmlns:c16="http://schemas.microsoft.com/office/drawing/2014/chart" uri="{C3380CC4-5D6E-409C-BE32-E72D297353CC}">
                <c16:uniqueId val="{00000577-DBE9-4B73-8742-74A0F2DCF0F9}"/>
              </c:ext>
            </c:extLst>
          </c:dPt>
          <c:dPt>
            <c:idx val="699"/>
            <c:invertIfNegative val="1"/>
            <c:bubble3D val="0"/>
            <c:spPr>
              <a:solidFill>
                <a:srgbClr val="AEABAB"/>
              </a:solidFill>
            </c:spPr>
            <c:extLst>
              <c:ext xmlns:c16="http://schemas.microsoft.com/office/drawing/2014/chart" uri="{C3380CC4-5D6E-409C-BE32-E72D297353CC}">
                <c16:uniqueId val="{00000579-DBE9-4B73-8742-74A0F2DCF0F9}"/>
              </c:ext>
            </c:extLst>
          </c:dPt>
          <c:dPt>
            <c:idx val="700"/>
            <c:invertIfNegative val="1"/>
            <c:bubble3D val="0"/>
            <c:spPr>
              <a:solidFill>
                <a:srgbClr val="AEABAB"/>
              </a:solidFill>
            </c:spPr>
            <c:extLst>
              <c:ext xmlns:c16="http://schemas.microsoft.com/office/drawing/2014/chart" uri="{C3380CC4-5D6E-409C-BE32-E72D297353CC}">
                <c16:uniqueId val="{0000057B-DBE9-4B73-8742-74A0F2DCF0F9}"/>
              </c:ext>
            </c:extLst>
          </c:dPt>
          <c:dPt>
            <c:idx val="701"/>
            <c:invertIfNegative val="1"/>
            <c:bubble3D val="0"/>
            <c:spPr>
              <a:solidFill>
                <a:srgbClr val="AEABAB"/>
              </a:solidFill>
            </c:spPr>
            <c:extLst>
              <c:ext xmlns:c16="http://schemas.microsoft.com/office/drawing/2014/chart" uri="{C3380CC4-5D6E-409C-BE32-E72D297353CC}">
                <c16:uniqueId val="{0000057D-DBE9-4B73-8742-74A0F2DCF0F9}"/>
              </c:ext>
            </c:extLst>
          </c:dPt>
          <c:dPt>
            <c:idx val="702"/>
            <c:invertIfNegative val="1"/>
            <c:bubble3D val="0"/>
            <c:spPr>
              <a:solidFill>
                <a:srgbClr val="AEABAB"/>
              </a:solidFill>
            </c:spPr>
            <c:extLst>
              <c:ext xmlns:c16="http://schemas.microsoft.com/office/drawing/2014/chart" uri="{C3380CC4-5D6E-409C-BE32-E72D297353CC}">
                <c16:uniqueId val="{0000057F-DBE9-4B73-8742-74A0F2DCF0F9}"/>
              </c:ext>
            </c:extLst>
          </c:dPt>
          <c:dPt>
            <c:idx val="703"/>
            <c:invertIfNegative val="1"/>
            <c:bubble3D val="0"/>
            <c:spPr>
              <a:solidFill>
                <a:srgbClr val="AEABAB"/>
              </a:solidFill>
            </c:spPr>
            <c:extLst>
              <c:ext xmlns:c16="http://schemas.microsoft.com/office/drawing/2014/chart" uri="{C3380CC4-5D6E-409C-BE32-E72D297353CC}">
                <c16:uniqueId val="{00000581-DBE9-4B73-8742-74A0F2DCF0F9}"/>
              </c:ext>
            </c:extLst>
          </c:dPt>
          <c:dPt>
            <c:idx val="704"/>
            <c:invertIfNegative val="1"/>
            <c:bubble3D val="0"/>
            <c:spPr>
              <a:solidFill>
                <a:srgbClr val="AEABAB"/>
              </a:solidFill>
            </c:spPr>
            <c:extLst>
              <c:ext xmlns:c16="http://schemas.microsoft.com/office/drawing/2014/chart" uri="{C3380CC4-5D6E-409C-BE32-E72D297353CC}">
                <c16:uniqueId val="{00000583-DBE9-4B73-8742-74A0F2DCF0F9}"/>
              </c:ext>
            </c:extLst>
          </c:dPt>
          <c:dPt>
            <c:idx val="705"/>
            <c:invertIfNegative val="1"/>
            <c:bubble3D val="0"/>
            <c:spPr>
              <a:solidFill>
                <a:srgbClr val="AEABAB"/>
              </a:solidFill>
            </c:spPr>
            <c:extLst>
              <c:ext xmlns:c16="http://schemas.microsoft.com/office/drawing/2014/chart" uri="{C3380CC4-5D6E-409C-BE32-E72D297353CC}">
                <c16:uniqueId val="{00000585-DBE9-4B73-8742-74A0F2DCF0F9}"/>
              </c:ext>
            </c:extLst>
          </c:dPt>
          <c:dPt>
            <c:idx val="706"/>
            <c:invertIfNegative val="1"/>
            <c:bubble3D val="0"/>
            <c:spPr>
              <a:solidFill>
                <a:srgbClr val="AEABAB"/>
              </a:solidFill>
            </c:spPr>
            <c:extLst>
              <c:ext xmlns:c16="http://schemas.microsoft.com/office/drawing/2014/chart" uri="{C3380CC4-5D6E-409C-BE32-E72D297353CC}">
                <c16:uniqueId val="{00000587-DBE9-4B73-8742-74A0F2DCF0F9}"/>
              </c:ext>
            </c:extLst>
          </c:dPt>
          <c:dPt>
            <c:idx val="707"/>
            <c:invertIfNegative val="1"/>
            <c:bubble3D val="0"/>
            <c:spPr>
              <a:solidFill>
                <a:srgbClr val="AEABAB"/>
              </a:solidFill>
            </c:spPr>
            <c:extLst>
              <c:ext xmlns:c16="http://schemas.microsoft.com/office/drawing/2014/chart" uri="{C3380CC4-5D6E-409C-BE32-E72D297353CC}">
                <c16:uniqueId val="{00000589-DBE9-4B73-8742-74A0F2DCF0F9}"/>
              </c:ext>
            </c:extLst>
          </c:dPt>
          <c:dPt>
            <c:idx val="708"/>
            <c:invertIfNegative val="1"/>
            <c:bubble3D val="0"/>
            <c:spPr>
              <a:solidFill>
                <a:srgbClr val="AEABAB"/>
              </a:solidFill>
            </c:spPr>
            <c:extLst>
              <c:ext xmlns:c16="http://schemas.microsoft.com/office/drawing/2014/chart" uri="{C3380CC4-5D6E-409C-BE32-E72D297353CC}">
                <c16:uniqueId val="{0000058B-DBE9-4B73-8742-74A0F2DCF0F9}"/>
              </c:ext>
            </c:extLst>
          </c:dPt>
          <c:dPt>
            <c:idx val="709"/>
            <c:invertIfNegative val="1"/>
            <c:bubble3D val="0"/>
            <c:spPr>
              <a:solidFill>
                <a:srgbClr val="AEABAB"/>
              </a:solidFill>
            </c:spPr>
            <c:extLst>
              <c:ext xmlns:c16="http://schemas.microsoft.com/office/drawing/2014/chart" uri="{C3380CC4-5D6E-409C-BE32-E72D297353CC}">
                <c16:uniqueId val="{0000058D-DBE9-4B73-8742-74A0F2DCF0F9}"/>
              </c:ext>
            </c:extLst>
          </c:dPt>
          <c:dPt>
            <c:idx val="710"/>
            <c:invertIfNegative val="1"/>
            <c:bubble3D val="0"/>
            <c:spPr>
              <a:solidFill>
                <a:srgbClr val="AEABAB"/>
              </a:solidFill>
            </c:spPr>
            <c:extLst>
              <c:ext xmlns:c16="http://schemas.microsoft.com/office/drawing/2014/chart" uri="{C3380CC4-5D6E-409C-BE32-E72D297353CC}">
                <c16:uniqueId val="{0000058F-DBE9-4B73-8742-74A0F2DCF0F9}"/>
              </c:ext>
            </c:extLst>
          </c:dPt>
          <c:dPt>
            <c:idx val="711"/>
            <c:invertIfNegative val="1"/>
            <c:bubble3D val="0"/>
            <c:spPr>
              <a:solidFill>
                <a:srgbClr val="AEABAB"/>
              </a:solidFill>
            </c:spPr>
            <c:extLst>
              <c:ext xmlns:c16="http://schemas.microsoft.com/office/drawing/2014/chart" uri="{C3380CC4-5D6E-409C-BE32-E72D297353CC}">
                <c16:uniqueId val="{00000591-DBE9-4B73-8742-74A0F2DCF0F9}"/>
              </c:ext>
            </c:extLst>
          </c:dPt>
          <c:dPt>
            <c:idx val="712"/>
            <c:invertIfNegative val="1"/>
            <c:bubble3D val="0"/>
            <c:spPr>
              <a:solidFill>
                <a:srgbClr val="AEABAB"/>
              </a:solidFill>
            </c:spPr>
            <c:extLst>
              <c:ext xmlns:c16="http://schemas.microsoft.com/office/drawing/2014/chart" uri="{C3380CC4-5D6E-409C-BE32-E72D297353CC}">
                <c16:uniqueId val="{00000593-DBE9-4B73-8742-74A0F2DCF0F9}"/>
              </c:ext>
            </c:extLst>
          </c:dPt>
          <c:dPt>
            <c:idx val="713"/>
            <c:invertIfNegative val="1"/>
            <c:bubble3D val="0"/>
            <c:spPr>
              <a:solidFill>
                <a:srgbClr val="AEABAB"/>
              </a:solidFill>
            </c:spPr>
            <c:extLst>
              <c:ext xmlns:c16="http://schemas.microsoft.com/office/drawing/2014/chart" uri="{C3380CC4-5D6E-409C-BE32-E72D297353CC}">
                <c16:uniqueId val="{00000595-DBE9-4B73-8742-74A0F2DCF0F9}"/>
              </c:ext>
            </c:extLst>
          </c:dPt>
          <c:dPt>
            <c:idx val="714"/>
            <c:invertIfNegative val="1"/>
            <c:bubble3D val="0"/>
            <c:spPr>
              <a:solidFill>
                <a:srgbClr val="AEABAB"/>
              </a:solidFill>
            </c:spPr>
            <c:extLst>
              <c:ext xmlns:c16="http://schemas.microsoft.com/office/drawing/2014/chart" uri="{C3380CC4-5D6E-409C-BE32-E72D297353CC}">
                <c16:uniqueId val="{00000597-DBE9-4B73-8742-74A0F2DCF0F9}"/>
              </c:ext>
            </c:extLst>
          </c:dPt>
          <c:dPt>
            <c:idx val="715"/>
            <c:invertIfNegative val="1"/>
            <c:bubble3D val="0"/>
            <c:spPr>
              <a:solidFill>
                <a:srgbClr val="AEABAB"/>
              </a:solidFill>
            </c:spPr>
            <c:extLst>
              <c:ext xmlns:c16="http://schemas.microsoft.com/office/drawing/2014/chart" uri="{C3380CC4-5D6E-409C-BE32-E72D297353CC}">
                <c16:uniqueId val="{00000599-DBE9-4B73-8742-74A0F2DCF0F9}"/>
              </c:ext>
            </c:extLst>
          </c:dPt>
          <c:dPt>
            <c:idx val="716"/>
            <c:invertIfNegative val="1"/>
            <c:bubble3D val="0"/>
            <c:spPr>
              <a:solidFill>
                <a:srgbClr val="AEABAB"/>
              </a:solidFill>
            </c:spPr>
            <c:extLst>
              <c:ext xmlns:c16="http://schemas.microsoft.com/office/drawing/2014/chart" uri="{C3380CC4-5D6E-409C-BE32-E72D297353CC}">
                <c16:uniqueId val="{0000059B-DBE9-4B73-8742-74A0F2DCF0F9}"/>
              </c:ext>
            </c:extLst>
          </c:dPt>
          <c:dPt>
            <c:idx val="717"/>
            <c:invertIfNegative val="1"/>
            <c:bubble3D val="0"/>
            <c:spPr>
              <a:solidFill>
                <a:srgbClr val="AEABAB"/>
              </a:solidFill>
            </c:spPr>
            <c:extLst>
              <c:ext xmlns:c16="http://schemas.microsoft.com/office/drawing/2014/chart" uri="{C3380CC4-5D6E-409C-BE32-E72D297353CC}">
                <c16:uniqueId val="{0000059D-DBE9-4B73-8742-74A0F2DCF0F9}"/>
              </c:ext>
            </c:extLst>
          </c:dPt>
          <c:dPt>
            <c:idx val="718"/>
            <c:invertIfNegative val="1"/>
            <c:bubble3D val="0"/>
            <c:spPr>
              <a:solidFill>
                <a:srgbClr val="AEABAB"/>
              </a:solidFill>
            </c:spPr>
            <c:extLst>
              <c:ext xmlns:c16="http://schemas.microsoft.com/office/drawing/2014/chart" uri="{C3380CC4-5D6E-409C-BE32-E72D297353CC}">
                <c16:uniqueId val="{0000059F-DBE9-4B73-8742-74A0F2DCF0F9}"/>
              </c:ext>
            </c:extLst>
          </c:dPt>
          <c:dPt>
            <c:idx val="719"/>
            <c:invertIfNegative val="1"/>
            <c:bubble3D val="0"/>
            <c:spPr>
              <a:solidFill>
                <a:srgbClr val="AEABAB"/>
              </a:solidFill>
            </c:spPr>
            <c:extLst>
              <c:ext xmlns:c16="http://schemas.microsoft.com/office/drawing/2014/chart" uri="{C3380CC4-5D6E-409C-BE32-E72D297353CC}">
                <c16:uniqueId val="{000005A1-DBE9-4B73-8742-74A0F2DCF0F9}"/>
              </c:ext>
            </c:extLst>
          </c:dPt>
          <c:dPt>
            <c:idx val="720"/>
            <c:invertIfNegative val="1"/>
            <c:bubble3D val="0"/>
            <c:spPr>
              <a:solidFill>
                <a:srgbClr val="AEABAB"/>
              </a:solidFill>
            </c:spPr>
            <c:extLst>
              <c:ext xmlns:c16="http://schemas.microsoft.com/office/drawing/2014/chart" uri="{C3380CC4-5D6E-409C-BE32-E72D297353CC}">
                <c16:uniqueId val="{000005A3-DBE9-4B73-8742-74A0F2DCF0F9}"/>
              </c:ext>
            </c:extLst>
          </c:dPt>
          <c:dPt>
            <c:idx val="721"/>
            <c:invertIfNegative val="1"/>
            <c:bubble3D val="0"/>
            <c:spPr>
              <a:solidFill>
                <a:srgbClr val="AEABAB"/>
              </a:solidFill>
            </c:spPr>
            <c:extLst>
              <c:ext xmlns:c16="http://schemas.microsoft.com/office/drawing/2014/chart" uri="{C3380CC4-5D6E-409C-BE32-E72D297353CC}">
                <c16:uniqueId val="{000005A5-DBE9-4B73-8742-74A0F2DCF0F9}"/>
              </c:ext>
            </c:extLst>
          </c:dPt>
          <c:dPt>
            <c:idx val="722"/>
            <c:invertIfNegative val="1"/>
            <c:bubble3D val="0"/>
            <c:spPr>
              <a:solidFill>
                <a:srgbClr val="AEABAB"/>
              </a:solidFill>
            </c:spPr>
            <c:extLst>
              <c:ext xmlns:c16="http://schemas.microsoft.com/office/drawing/2014/chart" uri="{C3380CC4-5D6E-409C-BE32-E72D297353CC}">
                <c16:uniqueId val="{000005A7-DBE9-4B73-8742-74A0F2DCF0F9}"/>
              </c:ext>
            </c:extLst>
          </c:dPt>
          <c:dPt>
            <c:idx val="723"/>
            <c:invertIfNegative val="1"/>
            <c:bubble3D val="0"/>
            <c:spPr>
              <a:solidFill>
                <a:srgbClr val="AEABAB"/>
              </a:solidFill>
            </c:spPr>
            <c:extLst>
              <c:ext xmlns:c16="http://schemas.microsoft.com/office/drawing/2014/chart" uri="{C3380CC4-5D6E-409C-BE32-E72D297353CC}">
                <c16:uniqueId val="{000005A9-DBE9-4B73-8742-74A0F2DCF0F9}"/>
              </c:ext>
            </c:extLst>
          </c:dPt>
          <c:dPt>
            <c:idx val="724"/>
            <c:invertIfNegative val="1"/>
            <c:bubble3D val="0"/>
            <c:spPr>
              <a:solidFill>
                <a:srgbClr val="AEABAB"/>
              </a:solidFill>
            </c:spPr>
            <c:extLst>
              <c:ext xmlns:c16="http://schemas.microsoft.com/office/drawing/2014/chart" uri="{C3380CC4-5D6E-409C-BE32-E72D297353CC}">
                <c16:uniqueId val="{000005AB-DBE9-4B73-8742-74A0F2DCF0F9}"/>
              </c:ext>
            </c:extLst>
          </c:dPt>
          <c:dPt>
            <c:idx val="725"/>
            <c:invertIfNegative val="1"/>
            <c:bubble3D val="0"/>
            <c:spPr>
              <a:solidFill>
                <a:srgbClr val="AEABAB"/>
              </a:solidFill>
            </c:spPr>
            <c:extLst>
              <c:ext xmlns:c16="http://schemas.microsoft.com/office/drawing/2014/chart" uri="{C3380CC4-5D6E-409C-BE32-E72D297353CC}">
                <c16:uniqueId val="{000005AD-DBE9-4B73-8742-74A0F2DCF0F9}"/>
              </c:ext>
            </c:extLst>
          </c:dPt>
          <c:dPt>
            <c:idx val="726"/>
            <c:invertIfNegative val="1"/>
            <c:bubble3D val="0"/>
            <c:spPr>
              <a:solidFill>
                <a:srgbClr val="AEABAB"/>
              </a:solidFill>
            </c:spPr>
            <c:extLst>
              <c:ext xmlns:c16="http://schemas.microsoft.com/office/drawing/2014/chart" uri="{C3380CC4-5D6E-409C-BE32-E72D297353CC}">
                <c16:uniqueId val="{000005AF-DBE9-4B73-8742-74A0F2DCF0F9}"/>
              </c:ext>
            </c:extLst>
          </c:dPt>
          <c:dPt>
            <c:idx val="727"/>
            <c:invertIfNegative val="1"/>
            <c:bubble3D val="0"/>
            <c:spPr>
              <a:solidFill>
                <a:srgbClr val="AEABAB"/>
              </a:solidFill>
            </c:spPr>
            <c:extLst>
              <c:ext xmlns:c16="http://schemas.microsoft.com/office/drawing/2014/chart" uri="{C3380CC4-5D6E-409C-BE32-E72D297353CC}">
                <c16:uniqueId val="{000005B1-DBE9-4B73-8742-74A0F2DCF0F9}"/>
              </c:ext>
            </c:extLst>
          </c:dPt>
          <c:dPt>
            <c:idx val="728"/>
            <c:invertIfNegative val="1"/>
            <c:bubble3D val="0"/>
            <c:spPr>
              <a:solidFill>
                <a:srgbClr val="AEABAB"/>
              </a:solidFill>
            </c:spPr>
            <c:extLst>
              <c:ext xmlns:c16="http://schemas.microsoft.com/office/drawing/2014/chart" uri="{C3380CC4-5D6E-409C-BE32-E72D297353CC}">
                <c16:uniqueId val="{000005B3-DBE9-4B73-8742-74A0F2DCF0F9}"/>
              </c:ext>
            </c:extLst>
          </c:dPt>
          <c:dPt>
            <c:idx val="729"/>
            <c:invertIfNegative val="1"/>
            <c:bubble3D val="0"/>
            <c:spPr>
              <a:solidFill>
                <a:srgbClr val="AEABAB"/>
              </a:solidFill>
            </c:spPr>
            <c:extLst>
              <c:ext xmlns:c16="http://schemas.microsoft.com/office/drawing/2014/chart" uri="{C3380CC4-5D6E-409C-BE32-E72D297353CC}">
                <c16:uniqueId val="{000005B5-DBE9-4B73-8742-74A0F2DCF0F9}"/>
              </c:ext>
            </c:extLst>
          </c:dPt>
          <c:dPt>
            <c:idx val="730"/>
            <c:invertIfNegative val="1"/>
            <c:bubble3D val="0"/>
            <c:spPr>
              <a:solidFill>
                <a:srgbClr val="AEABAB"/>
              </a:solidFill>
            </c:spPr>
            <c:extLst>
              <c:ext xmlns:c16="http://schemas.microsoft.com/office/drawing/2014/chart" uri="{C3380CC4-5D6E-409C-BE32-E72D297353CC}">
                <c16:uniqueId val="{000005B7-DBE9-4B73-8742-74A0F2DCF0F9}"/>
              </c:ext>
            </c:extLst>
          </c:dPt>
          <c:dPt>
            <c:idx val="731"/>
            <c:invertIfNegative val="1"/>
            <c:bubble3D val="0"/>
            <c:spPr>
              <a:solidFill>
                <a:srgbClr val="AEABAB"/>
              </a:solidFill>
            </c:spPr>
            <c:extLst>
              <c:ext xmlns:c16="http://schemas.microsoft.com/office/drawing/2014/chart" uri="{C3380CC4-5D6E-409C-BE32-E72D297353CC}">
                <c16:uniqueId val="{000005B9-DBE9-4B73-8742-74A0F2DCF0F9}"/>
              </c:ext>
            </c:extLst>
          </c:dPt>
          <c:dPt>
            <c:idx val="732"/>
            <c:invertIfNegative val="1"/>
            <c:bubble3D val="0"/>
            <c:spPr>
              <a:solidFill>
                <a:srgbClr val="AEABAB"/>
              </a:solidFill>
            </c:spPr>
            <c:extLst>
              <c:ext xmlns:c16="http://schemas.microsoft.com/office/drawing/2014/chart" uri="{C3380CC4-5D6E-409C-BE32-E72D297353CC}">
                <c16:uniqueId val="{000005BB-DBE9-4B73-8742-74A0F2DCF0F9}"/>
              </c:ext>
            </c:extLst>
          </c:dPt>
          <c:dPt>
            <c:idx val="733"/>
            <c:invertIfNegative val="1"/>
            <c:bubble3D val="0"/>
            <c:spPr>
              <a:solidFill>
                <a:srgbClr val="AEABAB"/>
              </a:solidFill>
            </c:spPr>
            <c:extLst>
              <c:ext xmlns:c16="http://schemas.microsoft.com/office/drawing/2014/chart" uri="{C3380CC4-5D6E-409C-BE32-E72D297353CC}">
                <c16:uniqueId val="{000005BD-DBE9-4B73-8742-74A0F2DCF0F9}"/>
              </c:ext>
            </c:extLst>
          </c:dPt>
          <c:dPt>
            <c:idx val="734"/>
            <c:invertIfNegative val="1"/>
            <c:bubble3D val="0"/>
            <c:spPr>
              <a:solidFill>
                <a:srgbClr val="AEABAB"/>
              </a:solidFill>
            </c:spPr>
            <c:extLst>
              <c:ext xmlns:c16="http://schemas.microsoft.com/office/drawing/2014/chart" uri="{C3380CC4-5D6E-409C-BE32-E72D297353CC}">
                <c16:uniqueId val="{000005BF-DBE9-4B73-8742-74A0F2DCF0F9}"/>
              </c:ext>
            </c:extLst>
          </c:dPt>
          <c:dPt>
            <c:idx val="735"/>
            <c:invertIfNegative val="1"/>
            <c:bubble3D val="0"/>
            <c:spPr>
              <a:solidFill>
                <a:srgbClr val="AEABAB"/>
              </a:solidFill>
            </c:spPr>
            <c:extLst>
              <c:ext xmlns:c16="http://schemas.microsoft.com/office/drawing/2014/chart" uri="{C3380CC4-5D6E-409C-BE32-E72D297353CC}">
                <c16:uniqueId val="{000005C1-DBE9-4B73-8742-74A0F2DCF0F9}"/>
              </c:ext>
            </c:extLst>
          </c:dPt>
          <c:dPt>
            <c:idx val="736"/>
            <c:invertIfNegative val="1"/>
            <c:bubble3D val="0"/>
            <c:spPr>
              <a:solidFill>
                <a:srgbClr val="AEABAB"/>
              </a:solidFill>
            </c:spPr>
            <c:extLst>
              <c:ext xmlns:c16="http://schemas.microsoft.com/office/drawing/2014/chart" uri="{C3380CC4-5D6E-409C-BE32-E72D297353CC}">
                <c16:uniqueId val="{000005C3-DBE9-4B73-8742-74A0F2DCF0F9}"/>
              </c:ext>
            </c:extLst>
          </c:dPt>
          <c:dPt>
            <c:idx val="737"/>
            <c:invertIfNegative val="1"/>
            <c:bubble3D val="0"/>
            <c:spPr>
              <a:solidFill>
                <a:srgbClr val="AEABAB"/>
              </a:solidFill>
            </c:spPr>
            <c:extLst>
              <c:ext xmlns:c16="http://schemas.microsoft.com/office/drawing/2014/chart" uri="{C3380CC4-5D6E-409C-BE32-E72D297353CC}">
                <c16:uniqueId val="{000005C5-DBE9-4B73-8742-74A0F2DCF0F9}"/>
              </c:ext>
            </c:extLst>
          </c:dPt>
          <c:dPt>
            <c:idx val="738"/>
            <c:invertIfNegative val="1"/>
            <c:bubble3D val="0"/>
            <c:spPr>
              <a:solidFill>
                <a:srgbClr val="AEABAB"/>
              </a:solidFill>
            </c:spPr>
            <c:extLst>
              <c:ext xmlns:c16="http://schemas.microsoft.com/office/drawing/2014/chart" uri="{C3380CC4-5D6E-409C-BE32-E72D297353CC}">
                <c16:uniqueId val="{000005C7-DBE9-4B73-8742-74A0F2DCF0F9}"/>
              </c:ext>
            </c:extLst>
          </c:dPt>
          <c:dPt>
            <c:idx val="739"/>
            <c:invertIfNegative val="1"/>
            <c:bubble3D val="0"/>
            <c:spPr>
              <a:solidFill>
                <a:srgbClr val="AEABAB"/>
              </a:solidFill>
            </c:spPr>
            <c:extLst>
              <c:ext xmlns:c16="http://schemas.microsoft.com/office/drawing/2014/chart" uri="{C3380CC4-5D6E-409C-BE32-E72D297353CC}">
                <c16:uniqueId val="{000005C9-DBE9-4B73-8742-74A0F2DCF0F9}"/>
              </c:ext>
            </c:extLst>
          </c:dPt>
          <c:dPt>
            <c:idx val="740"/>
            <c:invertIfNegative val="1"/>
            <c:bubble3D val="0"/>
            <c:spPr>
              <a:solidFill>
                <a:srgbClr val="AEABAB"/>
              </a:solidFill>
            </c:spPr>
            <c:extLst>
              <c:ext xmlns:c16="http://schemas.microsoft.com/office/drawing/2014/chart" uri="{C3380CC4-5D6E-409C-BE32-E72D297353CC}">
                <c16:uniqueId val="{000005CB-DBE9-4B73-8742-74A0F2DCF0F9}"/>
              </c:ext>
            </c:extLst>
          </c:dPt>
          <c:dPt>
            <c:idx val="741"/>
            <c:invertIfNegative val="1"/>
            <c:bubble3D val="0"/>
            <c:spPr>
              <a:solidFill>
                <a:srgbClr val="AEABAB"/>
              </a:solidFill>
            </c:spPr>
            <c:extLst>
              <c:ext xmlns:c16="http://schemas.microsoft.com/office/drawing/2014/chart" uri="{C3380CC4-5D6E-409C-BE32-E72D297353CC}">
                <c16:uniqueId val="{000005CD-DBE9-4B73-8742-74A0F2DCF0F9}"/>
              </c:ext>
            </c:extLst>
          </c:dPt>
          <c:dPt>
            <c:idx val="742"/>
            <c:invertIfNegative val="1"/>
            <c:bubble3D val="0"/>
            <c:spPr>
              <a:solidFill>
                <a:srgbClr val="AEABAB"/>
              </a:solidFill>
            </c:spPr>
            <c:extLst>
              <c:ext xmlns:c16="http://schemas.microsoft.com/office/drawing/2014/chart" uri="{C3380CC4-5D6E-409C-BE32-E72D297353CC}">
                <c16:uniqueId val="{000005CF-DBE9-4B73-8742-74A0F2DCF0F9}"/>
              </c:ext>
            </c:extLst>
          </c:dPt>
          <c:dPt>
            <c:idx val="743"/>
            <c:invertIfNegative val="1"/>
            <c:bubble3D val="0"/>
            <c:spPr>
              <a:solidFill>
                <a:srgbClr val="AEABAB"/>
              </a:solidFill>
            </c:spPr>
            <c:extLst>
              <c:ext xmlns:c16="http://schemas.microsoft.com/office/drawing/2014/chart" uri="{C3380CC4-5D6E-409C-BE32-E72D297353CC}">
                <c16:uniqueId val="{000005D1-DBE9-4B73-8742-74A0F2DCF0F9}"/>
              </c:ext>
            </c:extLst>
          </c:dPt>
          <c:dPt>
            <c:idx val="744"/>
            <c:invertIfNegative val="1"/>
            <c:bubble3D val="0"/>
            <c:spPr>
              <a:solidFill>
                <a:srgbClr val="AEABAB"/>
              </a:solidFill>
            </c:spPr>
            <c:extLst>
              <c:ext xmlns:c16="http://schemas.microsoft.com/office/drawing/2014/chart" uri="{C3380CC4-5D6E-409C-BE32-E72D297353CC}">
                <c16:uniqueId val="{000005D3-DBE9-4B73-8742-74A0F2DCF0F9}"/>
              </c:ext>
            </c:extLst>
          </c:dPt>
          <c:dPt>
            <c:idx val="745"/>
            <c:invertIfNegative val="1"/>
            <c:bubble3D val="0"/>
            <c:spPr>
              <a:solidFill>
                <a:srgbClr val="AEABAB"/>
              </a:solidFill>
            </c:spPr>
            <c:extLst>
              <c:ext xmlns:c16="http://schemas.microsoft.com/office/drawing/2014/chart" uri="{C3380CC4-5D6E-409C-BE32-E72D297353CC}">
                <c16:uniqueId val="{000005D5-DBE9-4B73-8742-74A0F2DCF0F9}"/>
              </c:ext>
            </c:extLst>
          </c:dPt>
          <c:dPt>
            <c:idx val="746"/>
            <c:invertIfNegative val="1"/>
            <c:bubble3D val="0"/>
            <c:spPr>
              <a:solidFill>
                <a:srgbClr val="AEABAB"/>
              </a:solidFill>
            </c:spPr>
            <c:extLst>
              <c:ext xmlns:c16="http://schemas.microsoft.com/office/drawing/2014/chart" uri="{C3380CC4-5D6E-409C-BE32-E72D297353CC}">
                <c16:uniqueId val="{000005D7-DBE9-4B73-8742-74A0F2DCF0F9}"/>
              </c:ext>
            </c:extLst>
          </c:dPt>
          <c:dPt>
            <c:idx val="747"/>
            <c:invertIfNegative val="1"/>
            <c:bubble3D val="0"/>
            <c:spPr>
              <a:solidFill>
                <a:srgbClr val="AEABAB"/>
              </a:solidFill>
            </c:spPr>
            <c:extLst>
              <c:ext xmlns:c16="http://schemas.microsoft.com/office/drawing/2014/chart" uri="{C3380CC4-5D6E-409C-BE32-E72D297353CC}">
                <c16:uniqueId val="{000005D9-DBE9-4B73-8742-74A0F2DCF0F9}"/>
              </c:ext>
            </c:extLst>
          </c:dPt>
          <c:dPt>
            <c:idx val="748"/>
            <c:invertIfNegative val="1"/>
            <c:bubble3D val="0"/>
            <c:spPr>
              <a:solidFill>
                <a:srgbClr val="AEABAB"/>
              </a:solidFill>
            </c:spPr>
            <c:extLst>
              <c:ext xmlns:c16="http://schemas.microsoft.com/office/drawing/2014/chart" uri="{C3380CC4-5D6E-409C-BE32-E72D297353CC}">
                <c16:uniqueId val="{000005DB-DBE9-4B73-8742-74A0F2DCF0F9}"/>
              </c:ext>
            </c:extLst>
          </c:dPt>
          <c:dPt>
            <c:idx val="749"/>
            <c:invertIfNegative val="1"/>
            <c:bubble3D val="0"/>
            <c:spPr>
              <a:solidFill>
                <a:srgbClr val="AEABAB"/>
              </a:solidFill>
            </c:spPr>
            <c:extLst>
              <c:ext xmlns:c16="http://schemas.microsoft.com/office/drawing/2014/chart" uri="{C3380CC4-5D6E-409C-BE32-E72D297353CC}">
                <c16:uniqueId val="{000005DD-DBE9-4B73-8742-74A0F2DCF0F9}"/>
              </c:ext>
            </c:extLst>
          </c:dPt>
          <c:dPt>
            <c:idx val="750"/>
            <c:invertIfNegative val="1"/>
            <c:bubble3D val="0"/>
            <c:spPr>
              <a:solidFill>
                <a:srgbClr val="AEABAB"/>
              </a:solidFill>
            </c:spPr>
            <c:extLst>
              <c:ext xmlns:c16="http://schemas.microsoft.com/office/drawing/2014/chart" uri="{C3380CC4-5D6E-409C-BE32-E72D297353CC}">
                <c16:uniqueId val="{000005DF-DBE9-4B73-8742-74A0F2DCF0F9}"/>
              </c:ext>
            </c:extLst>
          </c:dPt>
          <c:dPt>
            <c:idx val="751"/>
            <c:invertIfNegative val="1"/>
            <c:bubble3D val="0"/>
            <c:spPr>
              <a:solidFill>
                <a:srgbClr val="AEABAB"/>
              </a:solidFill>
            </c:spPr>
            <c:extLst>
              <c:ext xmlns:c16="http://schemas.microsoft.com/office/drawing/2014/chart" uri="{C3380CC4-5D6E-409C-BE32-E72D297353CC}">
                <c16:uniqueId val="{000005E1-DBE9-4B73-8742-74A0F2DCF0F9}"/>
              </c:ext>
            </c:extLst>
          </c:dPt>
          <c:dPt>
            <c:idx val="752"/>
            <c:invertIfNegative val="1"/>
            <c:bubble3D val="0"/>
            <c:spPr>
              <a:solidFill>
                <a:srgbClr val="AEABAB"/>
              </a:solidFill>
            </c:spPr>
            <c:extLst>
              <c:ext xmlns:c16="http://schemas.microsoft.com/office/drawing/2014/chart" uri="{C3380CC4-5D6E-409C-BE32-E72D297353CC}">
                <c16:uniqueId val="{000005E3-DBE9-4B73-8742-74A0F2DCF0F9}"/>
              </c:ext>
            </c:extLst>
          </c:dPt>
          <c:dPt>
            <c:idx val="753"/>
            <c:invertIfNegative val="1"/>
            <c:bubble3D val="0"/>
            <c:spPr>
              <a:solidFill>
                <a:srgbClr val="AEABAB"/>
              </a:solidFill>
            </c:spPr>
            <c:extLst>
              <c:ext xmlns:c16="http://schemas.microsoft.com/office/drawing/2014/chart" uri="{C3380CC4-5D6E-409C-BE32-E72D297353CC}">
                <c16:uniqueId val="{000005E5-DBE9-4B73-8742-74A0F2DCF0F9}"/>
              </c:ext>
            </c:extLst>
          </c:dPt>
          <c:dPt>
            <c:idx val="754"/>
            <c:invertIfNegative val="1"/>
            <c:bubble3D val="0"/>
            <c:spPr>
              <a:solidFill>
                <a:srgbClr val="AEABAB"/>
              </a:solidFill>
            </c:spPr>
            <c:extLst>
              <c:ext xmlns:c16="http://schemas.microsoft.com/office/drawing/2014/chart" uri="{C3380CC4-5D6E-409C-BE32-E72D297353CC}">
                <c16:uniqueId val="{000005E7-DBE9-4B73-8742-74A0F2DCF0F9}"/>
              </c:ext>
            </c:extLst>
          </c:dPt>
          <c:dPt>
            <c:idx val="755"/>
            <c:invertIfNegative val="1"/>
            <c:bubble3D val="0"/>
            <c:spPr>
              <a:solidFill>
                <a:srgbClr val="AEABAB"/>
              </a:solidFill>
            </c:spPr>
            <c:extLst>
              <c:ext xmlns:c16="http://schemas.microsoft.com/office/drawing/2014/chart" uri="{C3380CC4-5D6E-409C-BE32-E72D297353CC}">
                <c16:uniqueId val="{000005E9-DBE9-4B73-8742-74A0F2DCF0F9}"/>
              </c:ext>
            </c:extLst>
          </c:dPt>
          <c:dPt>
            <c:idx val="756"/>
            <c:invertIfNegative val="1"/>
            <c:bubble3D val="0"/>
            <c:spPr>
              <a:solidFill>
                <a:srgbClr val="AEABAB"/>
              </a:solidFill>
            </c:spPr>
            <c:extLst>
              <c:ext xmlns:c16="http://schemas.microsoft.com/office/drawing/2014/chart" uri="{C3380CC4-5D6E-409C-BE32-E72D297353CC}">
                <c16:uniqueId val="{000005EB-DBE9-4B73-8742-74A0F2DCF0F9}"/>
              </c:ext>
            </c:extLst>
          </c:dPt>
          <c:dPt>
            <c:idx val="757"/>
            <c:invertIfNegative val="1"/>
            <c:bubble3D val="0"/>
            <c:spPr>
              <a:solidFill>
                <a:srgbClr val="AEABAB"/>
              </a:solidFill>
            </c:spPr>
            <c:extLst>
              <c:ext xmlns:c16="http://schemas.microsoft.com/office/drawing/2014/chart" uri="{C3380CC4-5D6E-409C-BE32-E72D297353CC}">
                <c16:uniqueId val="{000005ED-DBE9-4B73-8742-74A0F2DCF0F9}"/>
              </c:ext>
            </c:extLst>
          </c:dPt>
          <c:dPt>
            <c:idx val="758"/>
            <c:invertIfNegative val="1"/>
            <c:bubble3D val="0"/>
            <c:spPr>
              <a:solidFill>
                <a:srgbClr val="AEABAB"/>
              </a:solidFill>
            </c:spPr>
            <c:extLst>
              <c:ext xmlns:c16="http://schemas.microsoft.com/office/drawing/2014/chart" uri="{C3380CC4-5D6E-409C-BE32-E72D297353CC}">
                <c16:uniqueId val="{000005EF-DBE9-4B73-8742-74A0F2DCF0F9}"/>
              </c:ext>
            </c:extLst>
          </c:dPt>
          <c:dPt>
            <c:idx val="759"/>
            <c:invertIfNegative val="1"/>
            <c:bubble3D val="0"/>
            <c:spPr>
              <a:solidFill>
                <a:srgbClr val="AEABAB"/>
              </a:solidFill>
            </c:spPr>
            <c:extLst>
              <c:ext xmlns:c16="http://schemas.microsoft.com/office/drawing/2014/chart" uri="{C3380CC4-5D6E-409C-BE32-E72D297353CC}">
                <c16:uniqueId val="{000005F1-DBE9-4B73-8742-74A0F2DCF0F9}"/>
              </c:ext>
            </c:extLst>
          </c:dPt>
          <c:dPt>
            <c:idx val="760"/>
            <c:invertIfNegative val="1"/>
            <c:bubble3D val="0"/>
            <c:spPr>
              <a:solidFill>
                <a:srgbClr val="AEABAB"/>
              </a:solidFill>
            </c:spPr>
            <c:extLst>
              <c:ext xmlns:c16="http://schemas.microsoft.com/office/drawing/2014/chart" uri="{C3380CC4-5D6E-409C-BE32-E72D297353CC}">
                <c16:uniqueId val="{000005F3-DBE9-4B73-8742-74A0F2DCF0F9}"/>
              </c:ext>
            </c:extLst>
          </c:dPt>
          <c:dPt>
            <c:idx val="761"/>
            <c:invertIfNegative val="1"/>
            <c:bubble3D val="0"/>
            <c:spPr>
              <a:solidFill>
                <a:srgbClr val="AEABAB"/>
              </a:solidFill>
            </c:spPr>
            <c:extLst>
              <c:ext xmlns:c16="http://schemas.microsoft.com/office/drawing/2014/chart" uri="{C3380CC4-5D6E-409C-BE32-E72D297353CC}">
                <c16:uniqueId val="{000005F5-DBE9-4B73-8742-74A0F2DCF0F9}"/>
              </c:ext>
            </c:extLst>
          </c:dPt>
          <c:dPt>
            <c:idx val="762"/>
            <c:invertIfNegative val="1"/>
            <c:bubble3D val="0"/>
            <c:spPr>
              <a:solidFill>
                <a:srgbClr val="AEABAB"/>
              </a:solidFill>
            </c:spPr>
            <c:extLst>
              <c:ext xmlns:c16="http://schemas.microsoft.com/office/drawing/2014/chart" uri="{C3380CC4-5D6E-409C-BE32-E72D297353CC}">
                <c16:uniqueId val="{000005F7-DBE9-4B73-8742-74A0F2DCF0F9}"/>
              </c:ext>
            </c:extLst>
          </c:dPt>
          <c:dPt>
            <c:idx val="763"/>
            <c:invertIfNegative val="1"/>
            <c:bubble3D val="0"/>
            <c:spPr>
              <a:solidFill>
                <a:srgbClr val="AEABAB"/>
              </a:solidFill>
            </c:spPr>
            <c:extLst>
              <c:ext xmlns:c16="http://schemas.microsoft.com/office/drawing/2014/chart" uri="{C3380CC4-5D6E-409C-BE32-E72D297353CC}">
                <c16:uniqueId val="{000005F9-DBE9-4B73-8742-74A0F2DCF0F9}"/>
              </c:ext>
            </c:extLst>
          </c:dPt>
          <c:dPt>
            <c:idx val="764"/>
            <c:invertIfNegative val="1"/>
            <c:bubble3D val="0"/>
            <c:spPr>
              <a:solidFill>
                <a:srgbClr val="AEABAB"/>
              </a:solidFill>
            </c:spPr>
            <c:extLst>
              <c:ext xmlns:c16="http://schemas.microsoft.com/office/drawing/2014/chart" uri="{C3380CC4-5D6E-409C-BE32-E72D297353CC}">
                <c16:uniqueId val="{000005FB-DBE9-4B73-8742-74A0F2DCF0F9}"/>
              </c:ext>
            </c:extLst>
          </c:dPt>
          <c:dPt>
            <c:idx val="765"/>
            <c:invertIfNegative val="1"/>
            <c:bubble3D val="0"/>
            <c:spPr>
              <a:solidFill>
                <a:srgbClr val="AEABAB"/>
              </a:solidFill>
            </c:spPr>
            <c:extLst>
              <c:ext xmlns:c16="http://schemas.microsoft.com/office/drawing/2014/chart" uri="{C3380CC4-5D6E-409C-BE32-E72D297353CC}">
                <c16:uniqueId val="{000005FD-DBE9-4B73-8742-74A0F2DCF0F9}"/>
              </c:ext>
            </c:extLst>
          </c:dPt>
          <c:dPt>
            <c:idx val="766"/>
            <c:invertIfNegative val="1"/>
            <c:bubble3D val="0"/>
            <c:spPr>
              <a:solidFill>
                <a:srgbClr val="AEABAB"/>
              </a:solidFill>
            </c:spPr>
            <c:extLst>
              <c:ext xmlns:c16="http://schemas.microsoft.com/office/drawing/2014/chart" uri="{C3380CC4-5D6E-409C-BE32-E72D297353CC}">
                <c16:uniqueId val="{000005FF-DBE9-4B73-8742-74A0F2DCF0F9}"/>
              </c:ext>
            </c:extLst>
          </c:dPt>
          <c:dPt>
            <c:idx val="767"/>
            <c:invertIfNegative val="1"/>
            <c:bubble3D val="0"/>
            <c:spPr>
              <a:solidFill>
                <a:srgbClr val="AEABAB"/>
              </a:solidFill>
            </c:spPr>
            <c:extLst>
              <c:ext xmlns:c16="http://schemas.microsoft.com/office/drawing/2014/chart" uri="{C3380CC4-5D6E-409C-BE32-E72D297353CC}">
                <c16:uniqueId val="{00000601-DBE9-4B73-8742-74A0F2DCF0F9}"/>
              </c:ext>
            </c:extLst>
          </c:dPt>
          <c:dPt>
            <c:idx val="768"/>
            <c:invertIfNegative val="1"/>
            <c:bubble3D val="0"/>
            <c:spPr>
              <a:solidFill>
                <a:srgbClr val="AEABAB"/>
              </a:solidFill>
            </c:spPr>
            <c:extLst>
              <c:ext xmlns:c16="http://schemas.microsoft.com/office/drawing/2014/chart" uri="{C3380CC4-5D6E-409C-BE32-E72D297353CC}">
                <c16:uniqueId val="{00000603-DBE9-4B73-8742-74A0F2DCF0F9}"/>
              </c:ext>
            </c:extLst>
          </c:dPt>
          <c:dPt>
            <c:idx val="769"/>
            <c:invertIfNegative val="1"/>
            <c:bubble3D val="0"/>
            <c:spPr>
              <a:solidFill>
                <a:srgbClr val="AEABAB"/>
              </a:solidFill>
            </c:spPr>
            <c:extLst>
              <c:ext xmlns:c16="http://schemas.microsoft.com/office/drawing/2014/chart" uri="{C3380CC4-5D6E-409C-BE32-E72D297353CC}">
                <c16:uniqueId val="{00000605-DBE9-4B73-8742-74A0F2DCF0F9}"/>
              </c:ext>
            </c:extLst>
          </c:dPt>
          <c:dPt>
            <c:idx val="770"/>
            <c:invertIfNegative val="1"/>
            <c:bubble3D val="0"/>
            <c:spPr>
              <a:solidFill>
                <a:srgbClr val="AEABAB"/>
              </a:solidFill>
            </c:spPr>
            <c:extLst>
              <c:ext xmlns:c16="http://schemas.microsoft.com/office/drawing/2014/chart" uri="{C3380CC4-5D6E-409C-BE32-E72D297353CC}">
                <c16:uniqueId val="{00000607-DBE9-4B73-8742-74A0F2DCF0F9}"/>
              </c:ext>
            </c:extLst>
          </c:dPt>
          <c:dPt>
            <c:idx val="771"/>
            <c:invertIfNegative val="1"/>
            <c:bubble3D val="0"/>
            <c:spPr>
              <a:solidFill>
                <a:srgbClr val="AEABAB"/>
              </a:solidFill>
            </c:spPr>
            <c:extLst>
              <c:ext xmlns:c16="http://schemas.microsoft.com/office/drawing/2014/chart" uri="{C3380CC4-5D6E-409C-BE32-E72D297353CC}">
                <c16:uniqueId val="{00000609-DBE9-4B73-8742-74A0F2DCF0F9}"/>
              </c:ext>
            </c:extLst>
          </c:dPt>
          <c:dPt>
            <c:idx val="772"/>
            <c:invertIfNegative val="1"/>
            <c:bubble3D val="0"/>
            <c:spPr>
              <a:solidFill>
                <a:srgbClr val="AEABAB"/>
              </a:solidFill>
            </c:spPr>
            <c:extLst>
              <c:ext xmlns:c16="http://schemas.microsoft.com/office/drawing/2014/chart" uri="{C3380CC4-5D6E-409C-BE32-E72D297353CC}">
                <c16:uniqueId val="{0000060B-DBE9-4B73-8742-74A0F2DCF0F9}"/>
              </c:ext>
            </c:extLst>
          </c:dPt>
          <c:dPt>
            <c:idx val="773"/>
            <c:invertIfNegative val="1"/>
            <c:bubble3D val="0"/>
            <c:spPr>
              <a:solidFill>
                <a:srgbClr val="AEABAB"/>
              </a:solidFill>
            </c:spPr>
            <c:extLst>
              <c:ext xmlns:c16="http://schemas.microsoft.com/office/drawing/2014/chart" uri="{C3380CC4-5D6E-409C-BE32-E72D297353CC}">
                <c16:uniqueId val="{0000060D-DBE9-4B73-8742-74A0F2DCF0F9}"/>
              </c:ext>
            </c:extLst>
          </c:dPt>
          <c:dPt>
            <c:idx val="774"/>
            <c:invertIfNegative val="1"/>
            <c:bubble3D val="0"/>
            <c:spPr>
              <a:solidFill>
                <a:srgbClr val="AEABAB"/>
              </a:solidFill>
            </c:spPr>
            <c:extLst>
              <c:ext xmlns:c16="http://schemas.microsoft.com/office/drawing/2014/chart" uri="{C3380CC4-5D6E-409C-BE32-E72D297353CC}">
                <c16:uniqueId val="{0000060F-DBE9-4B73-8742-74A0F2DCF0F9}"/>
              </c:ext>
            </c:extLst>
          </c:dPt>
          <c:dPt>
            <c:idx val="775"/>
            <c:invertIfNegative val="1"/>
            <c:bubble3D val="0"/>
            <c:spPr>
              <a:solidFill>
                <a:srgbClr val="AEABAB"/>
              </a:solidFill>
            </c:spPr>
            <c:extLst>
              <c:ext xmlns:c16="http://schemas.microsoft.com/office/drawing/2014/chart" uri="{C3380CC4-5D6E-409C-BE32-E72D297353CC}">
                <c16:uniqueId val="{00000611-DBE9-4B73-8742-74A0F2DCF0F9}"/>
              </c:ext>
            </c:extLst>
          </c:dPt>
          <c:dPt>
            <c:idx val="776"/>
            <c:invertIfNegative val="1"/>
            <c:bubble3D val="0"/>
            <c:spPr>
              <a:solidFill>
                <a:srgbClr val="AEABAB"/>
              </a:solidFill>
            </c:spPr>
            <c:extLst>
              <c:ext xmlns:c16="http://schemas.microsoft.com/office/drawing/2014/chart" uri="{C3380CC4-5D6E-409C-BE32-E72D297353CC}">
                <c16:uniqueId val="{00000613-DBE9-4B73-8742-74A0F2DCF0F9}"/>
              </c:ext>
            </c:extLst>
          </c:dPt>
          <c:dPt>
            <c:idx val="777"/>
            <c:invertIfNegative val="1"/>
            <c:bubble3D val="0"/>
            <c:spPr>
              <a:solidFill>
                <a:srgbClr val="AEABAB"/>
              </a:solidFill>
            </c:spPr>
            <c:extLst>
              <c:ext xmlns:c16="http://schemas.microsoft.com/office/drawing/2014/chart" uri="{C3380CC4-5D6E-409C-BE32-E72D297353CC}">
                <c16:uniqueId val="{00000615-DBE9-4B73-8742-74A0F2DCF0F9}"/>
              </c:ext>
            </c:extLst>
          </c:dPt>
          <c:dPt>
            <c:idx val="778"/>
            <c:invertIfNegative val="1"/>
            <c:bubble3D val="0"/>
            <c:spPr>
              <a:solidFill>
                <a:srgbClr val="AEABAB"/>
              </a:solidFill>
            </c:spPr>
            <c:extLst>
              <c:ext xmlns:c16="http://schemas.microsoft.com/office/drawing/2014/chart" uri="{C3380CC4-5D6E-409C-BE32-E72D297353CC}">
                <c16:uniqueId val="{00000617-DBE9-4B73-8742-74A0F2DCF0F9}"/>
              </c:ext>
            </c:extLst>
          </c:dPt>
          <c:dPt>
            <c:idx val="779"/>
            <c:invertIfNegative val="1"/>
            <c:bubble3D val="0"/>
            <c:spPr>
              <a:solidFill>
                <a:srgbClr val="AEABAB"/>
              </a:solidFill>
            </c:spPr>
            <c:extLst>
              <c:ext xmlns:c16="http://schemas.microsoft.com/office/drawing/2014/chart" uri="{C3380CC4-5D6E-409C-BE32-E72D297353CC}">
                <c16:uniqueId val="{00000619-DBE9-4B73-8742-74A0F2DCF0F9}"/>
              </c:ext>
            </c:extLst>
          </c:dPt>
          <c:dPt>
            <c:idx val="780"/>
            <c:invertIfNegative val="1"/>
            <c:bubble3D val="0"/>
            <c:spPr>
              <a:solidFill>
                <a:srgbClr val="AEABAB"/>
              </a:solidFill>
            </c:spPr>
            <c:extLst>
              <c:ext xmlns:c16="http://schemas.microsoft.com/office/drawing/2014/chart" uri="{C3380CC4-5D6E-409C-BE32-E72D297353CC}">
                <c16:uniqueId val="{0000061B-DBE9-4B73-8742-74A0F2DCF0F9}"/>
              </c:ext>
            </c:extLst>
          </c:dPt>
          <c:dPt>
            <c:idx val="781"/>
            <c:invertIfNegative val="1"/>
            <c:bubble3D val="0"/>
            <c:spPr>
              <a:solidFill>
                <a:srgbClr val="AEABAB"/>
              </a:solidFill>
            </c:spPr>
            <c:extLst>
              <c:ext xmlns:c16="http://schemas.microsoft.com/office/drawing/2014/chart" uri="{C3380CC4-5D6E-409C-BE32-E72D297353CC}">
                <c16:uniqueId val="{0000061D-DBE9-4B73-8742-74A0F2DCF0F9}"/>
              </c:ext>
            </c:extLst>
          </c:dPt>
          <c:dPt>
            <c:idx val="782"/>
            <c:invertIfNegative val="1"/>
            <c:bubble3D val="0"/>
            <c:spPr>
              <a:solidFill>
                <a:srgbClr val="AEABAB"/>
              </a:solidFill>
            </c:spPr>
            <c:extLst>
              <c:ext xmlns:c16="http://schemas.microsoft.com/office/drawing/2014/chart" uri="{C3380CC4-5D6E-409C-BE32-E72D297353CC}">
                <c16:uniqueId val="{0000061F-DBE9-4B73-8742-74A0F2DCF0F9}"/>
              </c:ext>
            </c:extLst>
          </c:dPt>
          <c:dPt>
            <c:idx val="783"/>
            <c:invertIfNegative val="1"/>
            <c:bubble3D val="0"/>
            <c:spPr>
              <a:solidFill>
                <a:srgbClr val="AEABAB"/>
              </a:solidFill>
            </c:spPr>
            <c:extLst>
              <c:ext xmlns:c16="http://schemas.microsoft.com/office/drawing/2014/chart" uri="{C3380CC4-5D6E-409C-BE32-E72D297353CC}">
                <c16:uniqueId val="{00000621-DBE9-4B73-8742-74A0F2DCF0F9}"/>
              </c:ext>
            </c:extLst>
          </c:dPt>
          <c:dPt>
            <c:idx val="784"/>
            <c:invertIfNegative val="1"/>
            <c:bubble3D val="0"/>
            <c:spPr>
              <a:solidFill>
                <a:srgbClr val="AEABAB"/>
              </a:solidFill>
            </c:spPr>
            <c:extLst>
              <c:ext xmlns:c16="http://schemas.microsoft.com/office/drawing/2014/chart" uri="{C3380CC4-5D6E-409C-BE32-E72D297353CC}">
                <c16:uniqueId val="{00000623-DBE9-4B73-8742-74A0F2DCF0F9}"/>
              </c:ext>
            </c:extLst>
          </c:dPt>
          <c:dPt>
            <c:idx val="785"/>
            <c:invertIfNegative val="1"/>
            <c:bubble3D val="0"/>
            <c:spPr>
              <a:solidFill>
                <a:srgbClr val="AEABAB"/>
              </a:solidFill>
            </c:spPr>
            <c:extLst>
              <c:ext xmlns:c16="http://schemas.microsoft.com/office/drawing/2014/chart" uri="{C3380CC4-5D6E-409C-BE32-E72D297353CC}">
                <c16:uniqueId val="{00000625-DBE9-4B73-8742-74A0F2DCF0F9}"/>
              </c:ext>
            </c:extLst>
          </c:dPt>
          <c:dPt>
            <c:idx val="786"/>
            <c:invertIfNegative val="1"/>
            <c:bubble3D val="0"/>
            <c:spPr>
              <a:solidFill>
                <a:srgbClr val="AEABAB"/>
              </a:solidFill>
            </c:spPr>
            <c:extLst>
              <c:ext xmlns:c16="http://schemas.microsoft.com/office/drawing/2014/chart" uri="{C3380CC4-5D6E-409C-BE32-E72D297353CC}">
                <c16:uniqueId val="{00000627-DBE9-4B73-8742-74A0F2DCF0F9}"/>
              </c:ext>
            </c:extLst>
          </c:dPt>
          <c:dPt>
            <c:idx val="787"/>
            <c:invertIfNegative val="1"/>
            <c:bubble3D val="0"/>
            <c:spPr>
              <a:solidFill>
                <a:srgbClr val="AEABAB"/>
              </a:solidFill>
            </c:spPr>
            <c:extLst>
              <c:ext xmlns:c16="http://schemas.microsoft.com/office/drawing/2014/chart" uri="{C3380CC4-5D6E-409C-BE32-E72D297353CC}">
                <c16:uniqueId val="{00000629-DBE9-4B73-8742-74A0F2DCF0F9}"/>
              </c:ext>
            </c:extLst>
          </c:dPt>
          <c:dPt>
            <c:idx val="788"/>
            <c:invertIfNegative val="1"/>
            <c:bubble3D val="0"/>
            <c:spPr>
              <a:solidFill>
                <a:srgbClr val="AEABAB"/>
              </a:solidFill>
            </c:spPr>
            <c:extLst>
              <c:ext xmlns:c16="http://schemas.microsoft.com/office/drawing/2014/chart" uri="{C3380CC4-5D6E-409C-BE32-E72D297353CC}">
                <c16:uniqueId val="{0000062B-DBE9-4B73-8742-74A0F2DCF0F9}"/>
              </c:ext>
            </c:extLst>
          </c:dPt>
          <c:dPt>
            <c:idx val="789"/>
            <c:invertIfNegative val="1"/>
            <c:bubble3D val="0"/>
            <c:spPr>
              <a:solidFill>
                <a:srgbClr val="AEABAB"/>
              </a:solidFill>
            </c:spPr>
            <c:extLst>
              <c:ext xmlns:c16="http://schemas.microsoft.com/office/drawing/2014/chart" uri="{C3380CC4-5D6E-409C-BE32-E72D297353CC}">
                <c16:uniqueId val="{0000062D-DBE9-4B73-8742-74A0F2DCF0F9}"/>
              </c:ext>
            </c:extLst>
          </c:dPt>
          <c:dPt>
            <c:idx val="790"/>
            <c:invertIfNegative val="1"/>
            <c:bubble3D val="0"/>
            <c:spPr>
              <a:solidFill>
                <a:srgbClr val="AEABAB"/>
              </a:solidFill>
            </c:spPr>
            <c:extLst>
              <c:ext xmlns:c16="http://schemas.microsoft.com/office/drawing/2014/chart" uri="{C3380CC4-5D6E-409C-BE32-E72D297353CC}">
                <c16:uniqueId val="{0000062F-DBE9-4B73-8742-74A0F2DCF0F9}"/>
              </c:ext>
            </c:extLst>
          </c:dPt>
          <c:dPt>
            <c:idx val="791"/>
            <c:invertIfNegative val="1"/>
            <c:bubble3D val="0"/>
            <c:spPr>
              <a:solidFill>
                <a:srgbClr val="AEABAB"/>
              </a:solidFill>
            </c:spPr>
            <c:extLst>
              <c:ext xmlns:c16="http://schemas.microsoft.com/office/drawing/2014/chart" uri="{C3380CC4-5D6E-409C-BE32-E72D297353CC}">
                <c16:uniqueId val="{00000631-DBE9-4B73-8742-74A0F2DCF0F9}"/>
              </c:ext>
            </c:extLst>
          </c:dPt>
          <c:dPt>
            <c:idx val="792"/>
            <c:invertIfNegative val="1"/>
            <c:bubble3D val="0"/>
            <c:spPr>
              <a:solidFill>
                <a:srgbClr val="AEABAB"/>
              </a:solidFill>
            </c:spPr>
            <c:extLst>
              <c:ext xmlns:c16="http://schemas.microsoft.com/office/drawing/2014/chart" uri="{C3380CC4-5D6E-409C-BE32-E72D297353CC}">
                <c16:uniqueId val="{00000633-DBE9-4B73-8742-74A0F2DCF0F9}"/>
              </c:ext>
            </c:extLst>
          </c:dPt>
          <c:dPt>
            <c:idx val="793"/>
            <c:invertIfNegative val="1"/>
            <c:bubble3D val="0"/>
            <c:spPr>
              <a:solidFill>
                <a:srgbClr val="AEABAB"/>
              </a:solidFill>
            </c:spPr>
            <c:extLst>
              <c:ext xmlns:c16="http://schemas.microsoft.com/office/drawing/2014/chart" uri="{C3380CC4-5D6E-409C-BE32-E72D297353CC}">
                <c16:uniqueId val="{00000635-DBE9-4B73-8742-74A0F2DCF0F9}"/>
              </c:ext>
            </c:extLst>
          </c:dPt>
          <c:dPt>
            <c:idx val="794"/>
            <c:invertIfNegative val="1"/>
            <c:bubble3D val="0"/>
            <c:spPr>
              <a:solidFill>
                <a:srgbClr val="AEABAB"/>
              </a:solidFill>
            </c:spPr>
            <c:extLst>
              <c:ext xmlns:c16="http://schemas.microsoft.com/office/drawing/2014/chart" uri="{C3380CC4-5D6E-409C-BE32-E72D297353CC}">
                <c16:uniqueId val="{00000637-DBE9-4B73-8742-74A0F2DCF0F9}"/>
              </c:ext>
            </c:extLst>
          </c:dPt>
          <c:dPt>
            <c:idx val="795"/>
            <c:invertIfNegative val="1"/>
            <c:bubble3D val="0"/>
            <c:spPr>
              <a:solidFill>
                <a:srgbClr val="AEABAB"/>
              </a:solidFill>
            </c:spPr>
            <c:extLst>
              <c:ext xmlns:c16="http://schemas.microsoft.com/office/drawing/2014/chart" uri="{C3380CC4-5D6E-409C-BE32-E72D297353CC}">
                <c16:uniqueId val="{00000639-DBE9-4B73-8742-74A0F2DCF0F9}"/>
              </c:ext>
            </c:extLst>
          </c:dPt>
          <c:dPt>
            <c:idx val="796"/>
            <c:invertIfNegative val="1"/>
            <c:bubble3D val="0"/>
            <c:spPr>
              <a:solidFill>
                <a:srgbClr val="AEABAB"/>
              </a:solidFill>
            </c:spPr>
            <c:extLst>
              <c:ext xmlns:c16="http://schemas.microsoft.com/office/drawing/2014/chart" uri="{C3380CC4-5D6E-409C-BE32-E72D297353CC}">
                <c16:uniqueId val="{0000063B-DBE9-4B73-8742-74A0F2DCF0F9}"/>
              </c:ext>
            </c:extLst>
          </c:dPt>
          <c:dPt>
            <c:idx val="797"/>
            <c:invertIfNegative val="1"/>
            <c:bubble3D val="0"/>
            <c:spPr>
              <a:solidFill>
                <a:srgbClr val="AEABAB"/>
              </a:solidFill>
            </c:spPr>
            <c:extLst>
              <c:ext xmlns:c16="http://schemas.microsoft.com/office/drawing/2014/chart" uri="{C3380CC4-5D6E-409C-BE32-E72D297353CC}">
                <c16:uniqueId val="{0000063D-DBE9-4B73-8742-74A0F2DCF0F9}"/>
              </c:ext>
            </c:extLst>
          </c:dPt>
          <c:dPt>
            <c:idx val="798"/>
            <c:invertIfNegative val="1"/>
            <c:bubble3D val="0"/>
            <c:spPr>
              <a:solidFill>
                <a:srgbClr val="AEABAB"/>
              </a:solidFill>
            </c:spPr>
            <c:extLst>
              <c:ext xmlns:c16="http://schemas.microsoft.com/office/drawing/2014/chart" uri="{C3380CC4-5D6E-409C-BE32-E72D297353CC}">
                <c16:uniqueId val="{0000063F-DBE9-4B73-8742-74A0F2DCF0F9}"/>
              </c:ext>
            </c:extLst>
          </c:dPt>
          <c:dPt>
            <c:idx val="799"/>
            <c:invertIfNegative val="1"/>
            <c:bubble3D val="0"/>
            <c:spPr>
              <a:solidFill>
                <a:srgbClr val="AEABAB"/>
              </a:solidFill>
            </c:spPr>
            <c:extLst>
              <c:ext xmlns:c16="http://schemas.microsoft.com/office/drawing/2014/chart" uri="{C3380CC4-5D6E-409C-BE32-E72D297353CC}">
                <c16:uniqueId val="{00000641-DBE9-4B73-8742-74A0F2DCF0F9}"/>
              </c:ext>
            </c:extLst>
          </c:dPt>
          <c:dPt>
            <c:idx val="800"/>
            <c:invertIfNegative val="1"/>
            <c:bubble3D val="0"/>
            <c:spPr>
              <a:solidFill>
                <a:srgbClr val="AEABAB"/>
              </a:solidFill>
            </c:spPr>
            <c:extLst>
              <c:ext xmlns:c16="http://schemas.microsoft.com/office/drawing/2014/chart" uri="{C3380CC4-5D6E-409C-BE32-E72D297353CC}">
                <c16:uniqueId val="{00000643-DBE9-4B73-8742-74A0F2DCF0F9}"/>
              </c:ext>
            </c:extLst>
          </c:dPt>
          <c:dPt>
            <c:idx val="801"/>
            <c:invertIfNegative val="1"/>
            <c:bubble3D val="0"/>
            <c:spPr>
              <a:solidFill>
                <a:srgbClr val="AEABAB"/>
              </a:solidFill>
            </c:spPr>
            <c:extLst>
              <c:ext xmlns:c16="http://schemas.microsoft.com/office/drawing/2014/chart" uri="{C3380CC4-5D6E-409C-BE32-E72D297353CC}">
                <c16:uniqueId val="{00000645-DBE9-4B73-8742-74A0F2DCF0F9}"/>
              </c:ext>
            </c:extLst>
          </c:dPt>
          <c:dPt>
            <c:idx val="802"/>
            <c:invertIfNegative val="1"/>
            <c:bubble3D val="0"/>
            <c:spPr>
              <a:solidFill>
                <a:srgbClr val="AEABAB"/>
              </a:solidFill>
            </c:spPr>
            <c:extLst>
              <c:ext xmlns:c16="http://schemas.microsoft.com/office/drawing/2014/chart" uri="{C3380CC4-5D6E-409C-BE32-E72D297353CC}">
                <c16:uniqueId val="{00000647-DBE9-4B73-8742-74A0F2DCF0F9}"/>
              </c:ext>
            </c:extLst>
          </c:dPt>
          <c:dPt>
            <c:idx val="803"/>
            <c:invertIfNegative val="1"/>
            <c:bubble3D val="0"/>
            <c:spPr>
              <a:solidFill>
                <a:srgbClr val="AEABAB"/>
              </a:solidFill>
            </c:spPr>
            <c:extLst>
              <c:ext xmlns:c16="http://schemas.microsoft.com/office/drawing/2014/chart" uri="{C3380CC4-5D6E-409C-BE32-E72D297353CC}">
                <c16:uniqueId val="{00000649-DBE9-4B73-8742-74A0F2DCF0F9}"/>
              </c:ext>
            </c:extLst>
          </c:dPt>
          <c:dPt>
            <c:idx val="804"/>
            <c:invertIfNegative val="1"/>
            <c:bubble3D val="0"/>
            <c:spPr>
              <a:solidFill>
                <a:srgbClr val="AEABAB"/>
              </a:solidFill>
            </c:spPr>
            <c:extLst>
              <c:ext xmlns:c16="http://schemas.microsoft.com/office/drawing/2014/chart" uri="{C3380CC4-5D6E-409C-BE32-E72D297353CC}">
                <c16:uniqueId val="{0000064B-DBE9-4B73-8742-74A0F2DCF0F9}"/>
              </c:ext>
            </c:extLst>
          </c:dPt>
          <c:dPt>
            <c:idx val="805"/>
            <c:invertIfNegative val="1"/>
            <c:bubble3D val="0"/>
            <c:spPr>
              <a:solidFill>
                <a:srgbClr val="AEABAB"/>
              </a:solidFill>
            </c:spPr>
            <c:extLst>
              <c:ext xmlns:c16="http://schemas.microsoft.com/office/drawing/2014/chart" uri="{C3380CC4-5D6E-409C-BE32-E72D297353CC}">
                <c16:uniqueId val="{0000064D-DBE9-4B73-8742-74A0F2DCF0F9}"/>
              </c:ext>
            </c:extLst>
          </c:dPt>
          <c:dPt>
            <c:idx val="806"/>
            <c:invertIfNegative val="1"/>
            <c:bubble3D val="0"/>
            <c:spPr>
              <a:solidFill>
                <a:srgbClr val="AEABAB"/>
              </a:solidFill>
            </c:spPr>
            <c:extLst>
              <c:ext xmlns:c16="http://schemas.microsoft.com/office/drawing/2014/chart" uri="{C3380CC4-5D6E-409C-BE32-E72D297353CC}">
                <c16:uniqueId val="{0000064F-DBE9-4B73-8742-74A0F2DCF0F9}"/>
              </c:ext>
            </c:extLst>
          </c:dPt>
          <c:dPt>
            <c:idx val="807"/>
            <c:invertIfNegative val="1"/>
            <c:bubble3D val="0"/>
            <c:spPr>
              <a:solidFill>
                <a:srgbClr val="AEABAB"/>
              </a:solidFill>
            </c:spPr>
            <c:extLst>
              <c:ext xmlns:c16="http://schemas.microsoft.com/office/drawing/2014/chart" uri="{C3380CC4-5D6E-409C-BE32-E72D297353CC}">
                <c16:uniqueId val="{00000651-DBE9-4B73-8742-74A0F2DCF0F9}"/>
              </c:ext>
            </c:extLst>
          </c:dPt>
          <c:dPt>
            <c:idx val="808"/>
            <c:invertIfNegative val="1"/>
            <c:bubble3D val="0"/>
            <c:spPr>
              <a:solidFill>
                <a:srgbClr val="AEABAB"/>
              </a:solidFill>
            </c:spPr>
            <c:extLst>
              <c:ext xmlns:c16="http://schemas.microsoft.com/office/drawing/2014/chart" uri="{C3380CC4-5D6E-409C-BE32-E72D297353CC}">
                <c16:uniqueId val="{00000653-DBE9-4B73-8742-74A0F2DCF0F9}"/>
              </c:ext>
            </c:extLst>
          </c:dPt>
          <c:dPt>
            <c:idx val="809"/>
            <c:invertIfNegative val="1"/>
            <c:bubble3D val="0"/>
            <c:spPr>
              <a:solidFill>
                <a:srgbClr val="AEABAB"/>
              </a:solidFill>
            </c:spPr>
            <c:extLst>
              <c:ext xmlns:c16="http://schemas.microsoft.com/office/drawing/2014/chart" uri="{C3380CC4-5D6E-409C-BE32-E72D297353CC}">
                <c16:uniqueId val="{00000655-DBE9-4B73-8742-74A0F2DCF0F9}"/>
              </c:ext>
            </c:extLst>
          </c:dPt>
          <c:dPt>
            <c:idx val="810"/>
            <c:invertIfNegative val="1"/>
            <c:bubble3D val="0"/>
            <c:spPr>
              <a:solidFill>
                <a:srgbClr val="AEABAB"/>
              </a:solidFill>
            </c:spPr>
            <c:extLst>
              <c:ext xmlns:c16="http://schemas.microsoft.com/office/drawing/2014/chart" uri="{C3380CC4-5D6E-409C-BE32-E72D297353CC}">
                <c16:uniqueId val="{00000657-DBE9-4B73-8742-74A0F2DCF0F9}"/>
              </c:ext>
            </c:extLst>
          </c:dPt>
          <c:dPt>
            <c:idx val="811"/>
            <c:invertIfNegative val="1"/>
            <c:bubble3D val="0"/>
            <c:spPr>
              <a:solidFill>
                <a:srgbClr val="AEABAB"/>
              </a:solidFill>
            </c:spPr>
            <c:extLst>
              <c:ext xmlns:c16="http://schemas.microsoft.com/office/drawing/2014/chart" uri="{C3380CC4-5D6E-409C-BE32-E72D297353CC}">
                <c16:uniqueId val="{00000659-DBE9-4B73-8742-74A0F2DCF0F9}"/>
              </c:ext>
            </c:extLst>
          </c:dPt>
          <c:dPt>
            <c:idx val="812"/>
            <c:invertIfNegative val="1"/>
            <c:bubble3D val="0"/>
            <c:spPr>
              <a:solidFill>
                <a:srgbClr val="AEABAB"/>
              </a:solidFill>
            </c:spPr>
            <c:extLst>
              <c:ext xmlns:c16="http://schemas.microsoft.com/office/drawing/2014/chart" uri="{C3380CC4-5D6E-409C-BE32-E72D297353CC}">
                <c16:uniqueId val="{0000065B-DBE9-4B73-8742-74A0F2DCF0F9}"/>
              </c:ext>
            </c:extLst>
          </c:dPt>
          <c:dPt>
            <c:idx val="813"/>
            <c:invertIfNegative val="1"/>
            <c:bubble3D val="0"/>
            <c:spPr>
              <a:solidFill>
                <a:srgbClr val="AEABAB"/>
              </a:solidFill>
            </c:spPr>
            <c:extLst>
              <c:ext xmlns:c16="http://schemas.microsoft.com/office/drawing/2014/chart" uri="{C3380CC4-5D6E-409C-BE32-E72D297353CC}">
                <c16:uniqueId val="{0000065D-DBE9-4B73-8742-74A0F2DCF0F9}"/>
              </c:ext>
            </c:extLst>
          </c:dPt>
          <c:dPt>
            <c:idx val="814"/>
            <c:invertIfNegative val="1"/>
            <c:bubble3D val="0"/>
            <c:spPr>
              <a:solidFill>
                <a:srgbClr val="AEABAB"/>
              </a:solidFill>
            </c:spPr>
            <c:extLst>
              <c:ext xmlns:c16="http://schemas.microsoft.com/office/drawing/2014/chart" uri="{C3380CC4-5D6E-409C-BE32-E72D297353CC}">
                <c16:uniqueId val="{0000065F-DBE9-4B73-8742-74A0F2DCF0F9}"/>
              </c:ext>
            </c:extLst>
          </c:dPt>
          <c:dPt>
            <c:idx val="815"/>
            <c:invertIfNegative val="1"/>
            <c:bubble3D val="0"/>
            <c:spPr>
              <a:solidFill>
                <a:srgbClr val="AEABAB"/>
              </a:solidFill>
            </c:spPr>
            <c:extLst>
              <c:ext xmlns:c16="http://schemas.microsoft.com/office/drawing/2014/chart" uri="{C3380CC4-5D6E-409C-BE32-E72D297353CC}">
                <c16:uniqueId val="{00000661-DBE9-4B73-8742-74A0F2DCF0F9}"/>
              </c:ext>
            </c:extLst>
          </c:dPt>
          <c:dPt>
            <c:idx val="816"/>
            <c:invertIfNegative val="1"/>
            <c:bubble3D val="0"/>
            <c:spPr>
              <a:solidFill>
                <a:srgbClr val="AEABAB"/>
              </a:solidFill>
            </c:spPr>
            <c:extLst>
              <c:ext xmlns:c16="http://schemas.microsoft.com/office/drawing/2014/chart" uri="{C3380CC4-5D6E-409C-BE32-E72D297353CC}">
                <c16:uniqueId val="{00000663-DBE9-4B73-8742-74A0F2DCF0F9}"/>
              </c:ext>
            </c:extLst>
          </c:dPt>
          <c:dPt>
            <c:idx val="817"/>
            <c:invertIfNegative val="1"/>
            <c:bubble3D val="0"/>
            <c:spPr>
              <a:solidFill>
                <a:srgbClr val="AEABAB"/>
              </a:solidFill>
            </c:spPr>
            <c:extLst>
              <c:ext xmlns:c16="http://schemas.microsoft.com/office/drawing/2014/chart" uri="{C3380CC4-5D6E-409C-BE32-E72D297353CC}">
                <c16:uniqueId val="{00000665-DBE9-4B73-8742-74A0F2DCF0F9}"/>
              </c:ext>
            </c:extLst>
          </c:dPt>
          <c:dPt>
            <c:idx val="818"/>
            <c:invertIfNegative val="1"/>
            <c:bubble3D val="0"/>
            <c:spPr>
              <a:solidFill>
                <a:srgbClr val="AEABAB"/>
              </a:solidFill>
            </c:spPr>
            <c:extLst>
              <c:ext xmlns:c16="http://schemas.microsoft.com/office/drawing/2014/chart" uri="{C3380CC4-5D6E-409C-BE32-E72D297353CC}">
                <c16:uniqueId val="{00000667-DBE9-4B73-8742-74A0F2DCF0F9}"/>
              </c:ext>
            </c:extLst>
          </c:dPt>
          <c:dPt>
            <c:idx val="819"/>
            <c:invertIfNegative val="1"/>
            <c:bubble3D val="0"/>
            <c:spPr>
              <a:solidFill>
                <a:srgbClr val="AEABAB"/>
              </a:solidFill>
            </c:spPr>
            <c:extLst>
              <c:ext xmlns:c16="http://schemas.microsoft.com/office/drawing/2014/chart" uri="{C3380CC4-5D6E-409C-BE32-E72D297353CC}">
                <c16:uniqueId val="{00000669-DBE9-4B73-8742-74A0F2DCF0F9}"/>
              </c:ext>
            </c:extLst>
          </c:dPt>
          <c:dPt>
            <c:idx val="820"/>
            <c:invertIfNegative val="1"/>
            <c:bubble3D val="0"/>
            <c:spPr>
              <a:solidFill>
                <a:srgbClr val="AEABAB"/>
              </a:solidFill>
            </c:spPr>
            <c:extLst>
              <c:ext xmlns:c16="http://schemas.microsoft.com/office/drawing/2014/chart" uri="{C3380CC4-5D6E-409C-BE32-E72D297353CC}">
                <c16:uniqueId val="{0000066B-DBE9-4B73-8742-74A0F2DCF0F9}"/>
              </c:ext>
            </c:extLst>
          </c:dPt>
          <c:dPt>
            <c:idx val="821"/>
            <c:invertIfNegative val="1"/>
            <c:bubble3D val="0"/>
            <c:spPr>
              <a:solidFill>
                <a:srgbClr val="AEABAB"/>
              </a:solidFill>
            </c:spPr>
            <c:extLst>
              <c:ext xmlns:c16="http://schemas.microsoft.com/office/drawing/2014/chart" uri="{C3380CC4-5D6E-409C-BE32-E72D297353CC}">
                <c16:uniqueId val="{0000066D-DBE9-4B73-8742-74A0F2DCF0F9}"/>
              </c:ext>
            </c:extLst>
          </c:dPt>
          <c:dPt>
            <c:idx val="822"/>
            <c:invertIfNegative val="1"/>
            <c:bubble3D val="0"/>
            <c:spPr>
              <a:solidFill>
                <a:srgbClr val="AEABAB"/>
              </a:solidFill>
            </c:spPr>
            <c:extLst>
              <c:ext xmlns:c16="http://schemas.microsoft.com/office/drawing/2014/chart" uri="{C3380CC4-5D6E-409C-BE32-E72D297353CC}">
                <c16:uniqueId val="{0000066F-DBE9-4B73-8742-74A0F2DCF0F9}"/>
              </c:ext>
            </c:extLst>
          </c:dPt>
          <c:dPt>
            <c:idx val="823"/>
            <c:invertIfNegative val="1"/>
            <c:bubble3D val="0"/>
            <c:spPr>
              <a:solidFill>
                <a:srgbClr val="AEABAB"/>
              </a:solidFill>
            </c:spPr>
            <c:extLst>
              <c:ext xmlns:c16="http://schemas.microsoft.com/office/drawing/2014/chart" uri="{C3380CC4-5D6E-409C-BE32-E72D297353CC}">
                <c16:uniqueId val="{00000671-DBE9-4B73-8742-74A0F2DCF0F9}"/>
              </c:ext>
            </c:extLst>
          </c:dPt>
          <c:dPt>
            <c:idx val="824"/>
            <c:invertIfNegative val="1"/>
            <c:bubble3D val="0"/>
            <c:spPr>
              <a:solidFill>
                <a:srgbClr val="AEABAB"/>
              </a:solidFill>
            </c:spPr>
            <c:extLst>
              <c:ext xmlns:c16="http://schemas.microsoft.com/office/drawing/2014/chart" uri="{C3380CC4-5D6E-409C-BE32-E72D297353CC}">
                <c16:uniqueId val="{00000673-DBE9-4B73-8742-74A0F2DCF0F9}"/>
              </c:ext>
            </c:extLst>
          </c:dPt>
          <c:dPt>
            <c:idx val="825"/>
            <c:invertIfNegative val="1"/>
            <c:bubble3D val="0"/>
            <c:spPr>
              <a:solidFill>
                <a:srgbClr val="AEABAB"/>
              </a:solidFill>
            </c:spPr>
            <c:extLst>
              <c:ext xmlns:c16="http://schemas.microsoft.com/office/drawing/2014/chart" uri="{C3380CC4-5D6E-409C-BE32-E72D297353CC}">
                <c16:uniqueId val="{00000675-DBE9-4B73-8742-74A0F2DCF0F9}"/>
              </c:ext>
            </c:extLst>
          </c:dPt>
          <c:dPt>
            <c:idx val="826"/>
            <c:invertIfNegative val="1"/>
            <c:bubble3D val="0"/>
            <c:spPr>
              <a:solidFill>
                <a:srgbClr val="AEABAB"/>
              </a:solidFill>
            </c:spPr>
            <c:extLst>
              <c:ext xmlns:c16="http://schemas.microsoft.com/office/drawing/2014/chart" uri="{C3380CC4-5D6E-409C-BE32-E72D297353CC}">
                <c16:uniqueId val="{00000677-DBE9-4B73-8742-74A0F2DCF0F9}"/>
              </c:ext>
            </c:extLst>
          </c:dPt>
          <c:dPt>
            <c:idx val="827"/>
            <c:invertIfNegative val="1"/>
            <c:bubble3D val="0"/>
            <c:spPr>
              <a:solidFill>
                <a:srgbClr val="AEABAB"/>
              </a:solidFill>
            </c:spPr>
            <c:extLst>
              <c:ext xmlns:c16="http://schemas.microsoft.com/office/drawing/2014/chart" uri="{C3380CC4-5D6E-409C-BE32-E72D297353CC}">
                <c16:uniqueId val="{00000679-DBE9-4B73-8742-74A0F2DCF0F9}"/>
              </c:ext>
            </c:extLst>
          </c:dPt>
          <c:dPt>
            <c:idx val="828"/>
            <c:invertIfNegative val="1"/>
            <c:bubble3D val="0"/>
            <c:spPr>
              <a:solidFill>
                <a:srgbClr val="AEABAB"/>
              </a:solidFill>
            </c:spPr>
            <c:extLst>
              <c:ext xmlns:c16="http://schemas.microsoft.com/office/drawing/2014/chart" uri="{C3380CC4-5D6E-409C-BE32-E72D297353CC}">
                <c16:uniqueId val="{0000067B-DBE9-4B73-8742-74A0F2DCF0F9}"/>
              </c:ext>
            </c:extLst>
          </c:dPt>
          <c:dPt>
            <c:idx val="829"/>
            <c:invertIfNegative val="1"/>
            <c:bubble3D val="0"/>
            <c:spPr>
              <a:solidFill>
                <a:srgbClr val="AEABAB"/>
              </a:solidFill>
            </c:spPr>
            <c:extLst>
              <c:ext xmlns:c16="http://schemas.microsoft.com/office/drawing/2014/chart" uri="{C3380CC4-5D6E-409C-BE32-E72D297353CC}">
                <c16:uniqueId val="{0000067D-DBE9-4B73-8742-74A0F2DCF0F9}"/>
              </c:ext>
            </c:extLst>
          </c:dPt>
          <c:dPt>
            <c:idx val="830"/>
            <c:invertIfNegative val="1"/>
            <c:bubble3D val="0"/>
            <c:spPr>
              <a:solidFill>
                <a:srgbClr val="AEABAB"/>
              </a:solidFill>
            </c:spPr>
            <c:extLst>
              <c:ext xmlns:c16="http://schemas.microsoft.com/office/drawing/2014/chart" uri="{C3380CC4-5D6E-409C-BE32-E72D297353CC}">
                <c16:uniqueId val="{0000067F-DBE9-4B73-8742-74A0F2DCF0F9}"/>
              </c:ext>
            </c:extLst>
          </c:dPt>
          <c:dPt>
            <c:idx val="831"/>
            <c:invertIfNegative val="1"/>
            <c:bubble3D val="0"/>
            <c:spPr>
              <a:solidFill>
                <a:srgbClr val="AEABAB"/>
              </a:solidFill>
            </c:spPr>
            <c:extLst>
              <c:ext xmlns:c16="http://schemas.microsoft.com/office/drawing/2014/chart" uri="{C3380CC4-5D6E-409C-BE32-E72D297353CC}">
                <c16:uniqueId val="{00000681-DBE9-4B73-8742-74A0F2DCF0F9}"/>
              </c:ext>
            </c:extLst>
          </c:dPt>
          <c:dPt>
            <c:idx val="832"/>
            <c:invertIfNegative val="1"/>
            <c:bubble3D val="0"/>
            <c:spPr>
              <a:solidFill>
                <a:srgbClr val="AEABAB"/>
              </a:solidFill>
            </c:spPr>
            <c:extLst>
              <c:ext xmlns:c16="http://schemas.microsoft.com/office/drawing/2014/chart" uri="{C3380CC4-5D6E-409C-BE32-E72D297353CC}">
                <c16:uniqueId val="{00000683-DBE9-4B73-8742-74A0F2DCF0F9}"/>
              </c:ext>
            </c:extLst>
          </c:dPt>
          <c:dPt>
            <c:idx val="833"/>
            <c:invertIfNegative val="1"/>
            <c:bubble3D val="0"/>
            <c:spPr>
              <a:solidFill>
                <a:srgbClr val="AEABAB"/>
              </a:solidFill>
            </c:spPr>
            <c:extLst>
              <c:ext xmlns:c16="http://schemas.microsoft.com/office/drawing/2014/chart" uri="{C3380CC4-5D6E-409C-BE32-E72D297353CC}">
                <c16:uniqueId val="{00000685-DBE9-4B73-8742-74A0F2DCF0F9}"/>
              </c:ext>
            </c:extLst>
          </c:dPt>
          <c:dPt>
            <c:idx val="834"/>
            <c:invertIfNegative val="1"/>
            <c:bubble3D val="0"/>
            <c:spPr>
              <a:solidFill>
                <a:srgbClr val="AEABAB"/>
              </a:solidFill>
            </c:spPr>
            <c:extLst>
              <c:ext xmlns:c16="http://schemas.microsoft.com/office/drawing/2014/chart" uri="{C3380CC4-5D6E-409C-BE32-E72D297353CC}">
                <c16:uniqueId val="{00000687-DBE9-4B73-8742-74A0F2DCF0F9}"/>
              </c:ext>
            </c:extLst>
          </c:dPt>
          <c:dPt>
            <c:idx val="835"/>
            <c:invertIfNegative val="1"/>
            <c:bubble3D val="0"/>
            <c:spPr>
              <a:solidFill>
                <a:srgbClr val="AEABAB"/>
              </a:solidFill>
            </c:spPr>
            <c:extLst>
              <c:ext xmlns:c16="http://schemas.microsoft.com/office/drawing/2014/chart" uri="{C3380CC4-5D6E-409C-BE32-E72D297353CC}">
                <c16:uniqueId val="{00000689-DBE9-4B73-8742-74A0F2DCF0F9}"/>
              </c:ext>
            </c:extLst>
          </c:dPt>
          <c:dPt>
            <c:idx val="836"/>
            <c:invertIfNegative val="1"/>
            <c:bubble3D val="0"/>
            <c:spPr>
              <a:solidFill>
                <a:srgbClr val="AEABAB"/>
              </a:solidFill>
            </c:spPr>
            <c:extLst>
              <c:ext xmlns:c16="http://schemas.microsoft.com/office/drawing/2014/chart" uri="{C3380CC4-5D6E-409C-BE32-E72D297353CC}">
                <c16:uniqueId val="{0000068B-DBE9-4B73-8742-74A0F2DCF0F9}"/>
              </c:ext>
            </c:extLst>
          </c:dPt>
          <c:dPt>
            <c:idx val="837"/>
            <c:invertIfNegative val="1"/>
            <c:bubble3D val="0"/>
            <c:spPr>
              <a:solidFill>
                <a:srgbClr val="AEABAB"/>
              </a:solidFill>
            </c:spPr>
            <c:extLst>
              <c:ext xmlns:c16="http://schemas.microsoft.com/office/drawing/2014/chart" uri="{C3380CC4-5D6E-409C-BE32-E72D297353CC}">
                <c16:uniqueId val="{0000068D-DBE9-4B73-8742-74A0F2DCF0F9}"/>
              </c:ext>
            </c:extLst>
          </c:dPt>
          <c:dPt>
            <c:idx val="838"/>
            <c:invertIfNegative val="1"/>
            <c:bubble3D val="0"/>
            <c:spPr>
              <a:solidFill>
                <a:srgbClr val="AEABAB"/>
              </a:solidFill>
            </c:spPr>
            <c:extLst>
              <c:ext xmlns:c16="http://schemas.microsoft.com/office/drawing/2014/chart" uri="{C3380CC4-5D6E-409C-BE32-E72D297353CC}">
                <c16:uniqueId val="{0000068F-DBE9-4B73-8742-74A0F2DCF0F9}"/>
              </c:ext>
            </c:extLst>
          </c:dPt>
          <c:dPt>
            <c:idx val="839"/>
            <c:invertIfNegative val="1"/>
            <c:bubble3D val="0"/>
            <c:spPr>
              <a:solidFill>
                <a:srgbClr val="AEABAB"/>
              </a:solidFill>
            </c:spPr>
            <c:extLst>
              <c:ext xmlns:c16="http://schemas.microsoft.com/office/drawing/2014/chart" uri="{C3380CC4-5D6E-409C-BE32-E72D297353CC}">
                <c16:uniqueId val="{00000691-DBE9-4B73-8742-74A0F2DCF0F9}"/>
              </c:ext>
            </c:extLst>
          </c:dPt>
          <c:dPt>
            <c:idx val="840"/>
            <c:invertIfNegative val="1"/>
            <c:bubble3D val="0"/>
            <c:spPr>
              <a:solidFill>
                <a:srgbClr val="AEABAB"/>
              </a:solidFill>
            </c:spPr>
            <c:extLst>
              <c:ext xmlns:c16="http://schemas.microsoft.com/office/drawing/2014/chart" uri="{C3380CC4-5D6E-409C-BE32-E72D297353CC}">
                <c16:uniqueId val="{00000693-DBE9-4B73-8742-74A0F2DCF0F9}"/>
              </c:ext>
            </c:extLst>
          </c:dPt>
          <c:dPt>
            <c:idx val="841"/>
            <c:invertIfNegative val="1"/>
            <c:bubble3D val="0"/>
            <c:spPr>
              <a:solidFill>
                <a:srgbClr val="AEABAB"/>
              </a:solidFill>
            </c:spPr>
            <c:extLst>
              <c:ext xmlns:c16="http://schemas.microsoft.com/office/drawing/2014/chart" uri="{C3380CC4-5D6E-409C-BE32-E72D297353CC}">
                <c16:uniqueId val="{00000695-DBE9-4B73-8742-74A0F2DCF0F9}"/>
              </c:ext>
            </c:extLst>
          </c:dPt>
          <c:dPt>
            <c:idx val="842"/>
            <c:invertIfNegative val="1"/>
            <c:bubble3D val="0"/>
            <c:spPr>
              <a:solidFill>
                <a:srgbClr val="AEABAB"/>
              </a:solidFill>
            </c:spPr>
            <c:extLst>
              <c:ext xmlns:c16="http://schemas.microsoft.com/office/drawing/2014/chart" uri="{C3380CC4-5D6E-409C-BE32-E72D297353CC}">
                <c16:uniqueId val="{00000697-DBE9-4B73-8742-74A0F2DCF0F9}"/>
              </c:ext>
            </c:extLst>
          </c:dPt>
          <c:dPt>
            <c:idx val="843"/>
            <c:invertIfNegative val="1"/>
            <c:bubble3D val="0"/>
            <c:spPr>
              <a:solidFill>
                <a:srgbClr val="AEABAB"/>
              </a:solidFill>
            </c:spPr>
            <c:extLst>
              <c:ext xmlns:c16="http://schemas.microsoft.com/office/drawing/2014/chart" uri="{C3380CC4-5D6E-409C-BE32-E72D297353CC}">
                <c16:uniqueId val="{00000699-DBE9-4B73-8742-74A0F2DCF0F9}"/>
              </c:ext>
            </c:extLst>
          </c:dPt>
          <c:dPt>
            <c:idx val="844"/>
            <c:invertIfNegative val="1"/>
            <c:bubble3D val="0"/>
            <c:spPr>
              <a:solidFill>
                <a:srgbClr val="AEABAB"/>
              </a:solidFill>
            </c:spPr>
            <c:extLst>
              <c:ext xmlns:c16="http://schemas.microsoft.com/office/drawing/2014/chart" uri="{C3380CC4-5D6E-409C-BE32-E72D297353CC}">
                <c16:uniqueId val="{0000069B-DBE9-4B73-8742-74A0F2DCF0F9}"/>
              </c:ext>
            </c:extLst>
          </c:dPt>
          <c:dPt>
            <c:idx val="845"/>
            <c:invertIfNegative val="1"/>
            <c:bubble3D val="0"/>
            <c:spPr>
              <a:solidFill>
                <a:srgbClr val="AEABAB"/>
              </a:solidFill>
            </c:spPr>
            <c:extLst>
              <c:ext xmlns:c16="http://schemas.microsoft.com/office/drawing/2014/chart" uri="{C3380CC4-5D6E-409C-BE32-E72D297353CC}">
                <c16:uniqueId val="{0000069D-DBE9-4B73-8742-74A0F2DCF0F9}"/>
              </c:ext>
            </c:extLst>
          </c:dPt>
          <c:dPt>
            <c:idx val="846"/>
            <c:invertIfNegative val="1"/>
            <c:bubble3D val="0"/>
            <c:spPr>
              <a:solidFill>
                <a:srgbClr val="AEABAB"/>
              </a:solidFill>
            </c:spPr>
            <c:extLst>
              <c:ext xmlns:c16="http://schemas.microsoft.com/office/drawing/2014/chart" uri="{C3380CC4-5D6E-409C-BE32-E72D297353CC}">
                <c16:uniqueId val="{0000069F-DBE9-4B73-8742-74A0F2DCF0F9}"/>
              </c:ext>
            </c:extLst>
          </c:dPt>
          <c:dPt>
            <c:idx val="847"/>
            <c:invertIfNegative val="1"/>
            <c:bubble3D val="0"/>
            <c:spPr>
              <a:solidFill>
                <a:srgbClr val="AEABAB"/>
              </a:solidFill>
            </c:spPr>
            <c:extLst>
              <c:ext xmlns:c16="http://schemas.microsoft.com/office/drawing/2014/chart" uri="{C3380CC4-5D6E-409C-BE32-E72D297353CC}">
                <c16:uniqueId val="{000006A1-DBE9-4B73-8742-74A0F2DCF0F9}"/>
              </c:ext>
            </c:extLst>
          </c:dPt>
          <c:dPt>
            <c:idx val="848"/>
            <c:invertIfNegative val="1"/>
            <c:bubble3D val="0"/>
            <c:spPr>
              <a:solidFill>
                <a:srgbClr val="AEABAB"/>
              </a:solidFill>
            </c:spPr>
            <c:extLst>
              <c:ext xmlns:c16="http://schemas.microsoft.com/office/drawing/2014/chart" uri="{C3380CC4-5D6E-409C-BE32-E72D297353CC}">
                <c16:uniqueId val="{000006A3-DBE9-4B73-8742-74A0F2DCF0F9}"/>
              </c:ext>
            </c:extLst>
          </c:dPt>
          <c:dPt>
            <c:idx val="849"/>
            <c:invertIfNegative val="1"/>
            <c:bubble3D val="0"/>
            <c:spPr>
              <a:solidFill>
                <a:srgbClr val="AEABAB"/>
              </a:solidFill>
            </c:spPr>
            <c:extLst>
              <c:ext xmlns:c16="http://schemas.microsoft.com/office/drawing/2014/chart" uri="{C3380CC4-5D6E-409C-BE32-E72D297353CC}">
                <c16:uniqueId val="{000006A5-DBE9-4B73-8742-74A0F2DCF0F9}"/>
              </c:ext>
            </c:extLst>
          </c:dPt>
          <c:dPt>
            <c:idx val="850"/>
            <c:invertIfNegative val="1"/>
            <c:bubble3D val="0"/>
            <c:spPr>
              <a:solidFill>
                <a:srgbClr val="AEABAB"/>
              </a:solidFill>
            </c:spPr>
            <c:extLst>
              <c:ext xmlns:c16="http://schemas.microsoft.com/office/drawing/2014/chart" uri="{C3380CC4-5D6E-409C-BE32-E72D297353CC}">
                <c16:uniqueId val="{000006A7-DBE9-4B73-8742-74A0F2DCF0F9}"/>
              </c:ext>
            </c:extLst>
          </c:dPt>
          <c:dPt>
            <c:idx val="851"/>
            <c:invertIfNegative val="1"/>
            <c:bubble3D val="0"/>
            <c:spPr>
              <a:solidFill>
                <a:srgbClr val="AEABAB"/>
              </a:solidFill>
            </c:spPr>
            <c:extLst>
              <c:ext xmlns:c16="http://schemas.microsoft.com/office/drawing/2014/chart" uri="{C3380CC4-5D6E-409C-BE32-E72D297353CC}">
                <c16:uniqueId val="{000006A9-DBE9-4B73-8742-74A0F2DCF0F9}"/>
              </c:ext>
            </c:extLst>
          </c:dPt>
          <c:dPt>
            <c:idx val="852"/>
            <c:invertIfNegative val="1"/>
            <c:bubble3D val="0"/>
            <c:spPr>
              <a:solidFill>
                <a:srgbClr val="AEABAB"/>
              </a:solidFill>
            </c:spPr>
            <c:extLst>
              <c:ext xmlns:c16="http://schemas.microsoft.com/office/drawing/2014/chart" uri="{C3380CC4-5D6E-409C-BE32-E72D297353CC}">
                <c16:uniqueId val="{000006AB-DBE9-4B73-8742-74A0F2DCF0F9}"/>
              </c:ext>
            </c:extLst>
          </c:dPt>
          <c:dPt>
            <c:idx val="853"/>
            <c:invertIfNegative val="1"/>
            <c:bubble3D val="0"/>
            <c:spPr>
              <a:solidFill>
                <a:srgbClr val="AEABAB"/>
              </a:solidFill>
            </c:spPr>
            <c:extLst>
              <c:ext xmlns:c16="http://schemas.microsoft.com/office/drawing/2014/chart" uri="{C3380CC4-5D6E-409C-BE32-E72D297353CC}">
                <c16:uniqueId val="{000006AD-DBE9-4B73-8742-74A0F2DCF0F9}"/>
              </c:ext>
            </c:extLst>
          </c:dPt>
          <c:dPt>
            <c:idx val="854"/>
            <c:invertIfNegative val="1"/>
            <c:bubble3D val="0"/>
            <c:spPr>
              <a:solidFill>
                <a:srgbClr val="AEABAB"/>
              </a:solidFill>
            </c:spPr>
            <c:extLst>
              <c:ext xmlns:c16="http://schemas.microsoft.com/office/drawing/2014/chart" uri="{C3380CC4-5D6E-409C-BE32-E72D297353CC}">
                <c16:uniqueId val="{000006AF-DBE9-4B73-8742-74A0F2DCF0F9}"/>
              </c:ext>
            </c:extLst>
          </c:dPt>
          <c:dPt>
            <c:idx val="855"/>
            <c:invertIfNegative val="1"/>
            <c:bubble3D val="0"/>
            <c:spPr>
              <a:solidFill>
                <a:srgbClr val="AEABAB"/>
              </a:solidFill>
            </c:spPr>
            <c:extLst>
              <c:ext xmlns:c16="http://schemas.microsoft.com/office/drawing/2014/chart" uri="{C3380CC4-5D6E-409C-BE32-E72D297353CC}">
                <c16:uniqueId val="{000006B1-DBE9-4B73-8742-74A0F2DCF0F9}"/>
              </c:ext>
            </c:extLst>
          </c:dPt>
          <c:dPt>
            <c:idx val="856"/>
            <c:invertIfNegative val="1"/>
            <c:bubble3D val="0"/>
            <c:spPr>
              <a:solidFill>
                <a:srgbClr val="AEABAB"/>
              </a:solidFill>
            </c:spPr>
            <c:extLst>
              <c:ext xmlns:c16="http://schemas.microsoft.com/office/drawing/2014/chart" uri="{C3380CC4-5D6E-409C-BE32-E72D297353CC}">
                <c16:uniqueId val="{000006B3-DBE9-4B73-8742-74A0F2DCF0F9}"/>
              </c:ext>
            </c:extLst>
          </c:dPt>
          <c:dPt>
            <c:idx val="857"/>
            <c:invertIfNegative val="1"/>
            <c:bubble3D val="0"/>
            <c:spPr>
              <a:solidFill>
                <a:srgbClr val="AEABAB"/>
              </a:solidFill>
            </c:spPr>
            <c:extLst>
              <c:ext xmlns:c16="http://schemas.microsoft.com/office/drawing/2014/chart" uri="{C3380CC4-5D6E-409C-BE32-E72D297353CC}">
                <c16:uniqueId val="{000006B5-DBE9-4B73-8742-74A0F2DCF0F9}"/>
              </c:ext>
            </c:extLst>
          </c:dPt>
          <c:dPt>
            <c:idx val="858"/>
            <c:invertIfNegative val="1"/>
            <c:bubble3D val="0"/>
            <c:spPr>
              <a:solidFill>
                <a:srgbClr val="AEABAB"/>
              </a:solidFill>
            </c:spPr>
            <c:extLst>
              <c:ext xmlns:c16="http://schemas.microsoft.com/office/drawing/2014/chart" uri="{C3380CC4-5D6E-409C-BE32-E72D297353CC}">
                <c16:uniqueId val="{000006B7-DBE9-4B73-8742-74A0F2DCF0F9}"/>
              </c:ext>
            </c:extLst>
          </c:dPt>
          <c:dPt>
            <c:idx val="859"/>
            <c:invertIfNegative val="1"/>
            <c:bubble3D val="0"/>
            <c:spPr>
              <a:solidFill>
                <a:srgbClr val="AEABAB"/>
              </a:solidFill>
            </c:spPr>
            <c:extLst>
              <c:ext xmlns:c16="http://schemas.microsoft.com/office/drawing/2014/chart" uri="{C3380CC4-5D6E-409C-BE32-E72D297353CC}">
                <c16:uniqueId val="{000006B9-DBE9-4B73-8742-74A0F2DCF0F9}"/>
              </c:ext>
            </c:extLst>
          </c:dPt>
          <c:dPt>
            <c:idx val="860"/>
            <c:invertIfNegative val="1"/>
            <c:bubble3D val="0"/>
            <c:spPr>
              <a:solidFill>
                <a:srgbClr val="AEABAB"/>
              </a:solidFill>
            </c:spPr>
            <c:extLst>
              <c:ext xmlns:c16="http://schemas.microsoft.com/office/drawing/2014/chart" uri="{C3380CC4-5D6E-409C-BE32-E72D297353CC}">
                <c16:uniqueId val="{000006BB-DBE9-4B73-8742-74A0F2DCF0F9}"/>
              </c:ext>
            </c:extLst>
          </c:dPt>
          <c:dPt>
            <c:idx val="861"/>
            <c:invertIfNegative val="1"/>
            <c:bubble3D val="0"/>
            <c:spPr>
              <a:solidFill>
                <a:srgbClr val="AEABAB"/>
              </a:solidFill>
            </c:spPr>
            <c:extLst>
              <c:ext xmlns:c16="http://schemas.microsoft.com/office/drawing/2014/chart" uri="{C3380CC4-5D6E-409C-BE32-E72D297353CC}">
                <c16:uniqueId val="{000006BD-DBE9-4B73-8742-74A0F2DCF0F9}"/>
              </c:ext>
            </c:extLst>
          </c:dPt>
          <c:dPt>
            <c:idx val="862"/>
            <c:invertIfNegative val="1"/>
            <c:bubble3D val="0"/>
            <c:spPr>
              <a:solidFill>
                <a:srgbClr val="AEABAB"/>
              </a:solidFill>
            </c:spPr>
            <c:extLst>
              <c:ext xmlns:c16="http://schemas.microsoft.com/office/drawing/2014/chart" uri="{C3380CC4-5D6E-409C-BE32-E72D297353CC}">
                <c16:uniqueId val="{000006BF-DBE9-4B73-8742-74A0F2DCF0F9}"/>
              </c:ext>
            </c:extLst>
          </c:dPt>
          <c:dPt>
            <c:idx val="863"/>
            <c:invertIfNegative val="1"/>
            <c:bubble3D val="0"/>
            <c:spPr>
              <a:solidFill>
                <a:srgbClr val="AEABAB"/>
              </a:solidFill>
            </c:spPr>
            <c:extLst>
              <c:ext xmlns:c16="http://schemas.microsoft.com/office/drawing/2014/chart" uri="{C3380CC4-5D6E-409C-BE32-E72D297353CC}">
                <c16:uniqueId val="{000006C1-DBE9-4B73-8742-74A0F2DCF0F9}"/>
              </c:ext>
            </c:extLst>
          </c:dPt>
          <c:dPt>
            <c:idx val="864"/>
            <c:invertIfNegative val="1"/>
            <c:bubble3D val="0"/>
            <c:spPr>
              <a:solidFill>
                <a:srgbClr val="AEABAB"/>
              </a:solidFill>
            </c:spPr>
            <c:extLst>
              <c:ext xmlns:c16="http://schemas.microsoft.com/office/drawing/2014/chart" uri="{C3380CC4-5D6E-409C-BE32-E72D297353CC}">
                <c16:uniqueId val="{000006C3-DBE9-4B73-8742-74A0F2DCF0F9}"/>
              </c:ext>
            </c:extLst>
          </c:dPt>
          <c:dPt>
            <c:idx val="865"/>
            <c:invertIfNegative val="1"/>
            <c:bubble3D val="0"/>
            <c:spPr>
              <a:solidFill>
                <a:srgbClr val="AEABAB"/>
              </a:solidFill>
            </c:spPr>
            <c:extLst>
              <c:ext xmlns:c16="http://schemas.microsoft.com/office/drawing/2014/chart" uri="{C3380CC4-5D6E-409C-BE32-E72D297353CC}">
                <c16:uniqueId val="{000006C5-DBE9-4B73-8742-74A0F2DCF0F9}"/>
              </c:ext>
            </c:extLst>
          </c:dPt>
          <c:dPt>
            <c:idx val="866"/>
            <c:invertIfNegative val="1"/>
            <c:bubble3D val="0"/>
            <c:spPr>
              <a:solidFill>
                <a:srgbClr val="AEABAB"/>
              </a:solidFill>
            </c:spPr>
            <c:extLst>
              <c:ext xmlns:c16="http://schemas.microsoft.com/office/drawing/2014/chart" uri="{C3380CC4-5D6E-409C-BE32-E72D297353CC}">
                <c16:uniqueId val="{000006C7-DBE9-4B73-8742-74A0F2DCF0F9}"/>
              </c:ext>
            </c:extLst>
          </c:dPt>
          <c:dPt>
            <c:idx val="867"/>
            <c:invertIfNegative val="1"/>
            <c:bubble3D val="0"/>
            <c:spPr>
              <a:solidFill>
                <a:srgbClr val="AEABAB"/>
              </a:solidFill>
            </c:spPr>
            <c:extLst>
              <c:ext xmlns:c16="http://schemas.microsoft.com/office/drawing/2014/chart" uri="{C3380CC4-5D6E-409C-BE32-E72D297353CC}">
                <c16:uniqueId val="{000006C9-DBE9-4B73-8742-74A0F2DCF0F9}"/>
              </c:ext>
            </c:extLst>
          </c:dPt>
          <c:dPt>
            <c:idx val="868"/>
            <c:invertIfNegative val="1"/>
            <c:bubble3D val="0"/>
            <c:spPr>
              <a:solidFill>
                <a:srgbClr val="AEABAB"/>
              </a:solidFill>
            </c:spPr>
            <c:extLst>
              <c:ext xmlns:c16="http://schemas.microsoft.com/office/drawing/2014/chart" uri="{C3380CC4-5D6E-409C-BE32-E72D297353CC}">
                <c16:uniqueId val="{000006CB-DBE9-4B73-8742-74A0F2DCF0F9}"/>
              </c:ext>
            </c:extLst>
          </c:dPt>
          <c:dPt>
            <c:idx val="869"/>
            <c:invertIfNegative val="1"/>
            <c:bubble3D val="0"/>
            <c:spPr>
              <a:solidFill>
                <a:srgbClr val="AEABAB"/>
              </a:solidFill>
            </c:spPr>
            <c:extLst>
              <c:ext xmlns:c16="http://schemas.microsoft.com/office/drawing/2014/chart" uri="{C3380CC4-5D6E-409C-BE32-E72D297353CC}">
                <c16:uniqueId val="{000006CD-DBE9-4B73-8742-74A0F2DCF0F9}"/>
              </c:ext>
            </c:extLst>
          </c:dPt>
          <c:dPt>
            <c:idx val="870"/>
            <c:invertIfNegative val="1"/>
            <c:bubble3D val="0"/>
            <c:spPr>
              <a:solidFill>
                <a:srgbClr val="AEABAB"/>
              </a:solidFill>
            </c:spPr>
            <c:extLst>
              <c:ext xmlns:c16="http://schemas.microsoft.com/office/drawing/2014/chart" uri="{C3380CC4-5D6E-409C-BE32-E72D297353CC}">
                <c16:uniqueId val="{000006CF-DBE9-4B73-8742-74A0F2DCF0F9}"/>
              </c:ext>
            </c:extLst>
          </c:dPt>
          <c:dPt>
            <c:idx val="871"/>
            <c:invertIfNegative val="1"/>
            <c:bubble3D val="0"/>
            <c:spPr>
              <a:solidFill>
                <a:srgbClr val="AEABAB"/>
              </a:solidFill>
            </c:spPr>
            <c:extLst>
              <c:ext xmlns:c16="http://schemas.microsoft.com/office/drawing/2014/chart" uri="{C3380CC4-5D6E-409C-BE32-E72D297353CC}">
                <c16:uniqueId val="{000006D1-DBE9-4B73-8742-74A0F2DCF0F9}"/>
              </c:ext>
            </c:extLst>
          </c:dPt>
          <c:dPt>
            <c:idx val="872"/>
            <c:invertIfNegative val="1"/>
            <c:bubble3D val="0"/>
            <c:spPr>
              <a:solidFill>
                <a:srgbClr val="AEABAB"/>
              </a:solidFill>
            </c:spPr>
            <c:extLst>
              <c:ext xmlns:c16="http://schemas.microsoft.com/office/drawing/2014/chart" uri="{C3380CC4-5D6E-409C-BE32-E72D297353CC}">
                <c16:uniqueId val="{000006D3-DBE9-4B73-8742-74A0F2DCF0F9}"/>
              </c:ext>
            </c:extLst>
          </c:dPt>
          <c:dPt>
            <c:idx val="873"/>
            <c:invertIfNegative val="1"/>
            <c:bubble3D val="0"/>
            <c:spPr>
              <a:solidFill>
                <a:srgbClr val="AEABAB"/>
              </a:solidFill>
            </c:spPr>
            <c:extLst>
              <c:ext xmlns:c16="http://schemas.microsoft.com/office/drawing/2014/chart" uri="{C3380CC4-5D6E-409C-BE32-E72D297353CC}">
                <c16:uniqueId val="{000006D5-DBE9-4B73-8742-74A0F2DCF0F9}"/>
              </c:ext>
            </c:extLst>
          </c:dPt>
          <c:dPt>
            <c:idx val="874"/>
            <c:invertIfNegative val="1"/>
            <c:bubble3D val="0"/>
            <c:spPr>
              <a:solidFill>
                <a:srgbClr val="AEABAB"/>
              </a:solidFill>
            </c:spPr>
            <c:extLst>
              <c:ext xmlns:c16="http://schemas.microsoft.com/office/drawing/2014/chart" uri="{C3380CC4-5D6E-409C-BE32-E72D297353CC}">
                <c16:uniqueId val="{000006D7-DBE9-4B73-8742-74A0F2DCF0F9}"/>
              </c:ext>
            </c:extLst>
          </c:dPt>
          <c:dPt>
            <c:idx val="875"/>
            <c:invertIfNegative val="1"/>
            <c:bubble3D val="0"/>
            <c:spPr>
              <a:solidFill>
                <a:srgbClr val="AEABAB"/>
              </a:solidFill>
            </c:spPr>
            <c:extLst>
              <c:ext xmlns:c16="http://schemas.microsoft.com/office/drawing/2014/chart" uri="{C3380CC4-5D6E-409C-BE32-E72D297353CC}">
                <c16:uniqueId val="{000006D9-DBE9-4B73-8742-74A0F2DCF0F9}"/>
              </c:ext>
            </c:extLst>
          </c:dPt>
          <c:dPt>
            <c:idx val="876"/>
            <c:invertIfNegative val="1"/>
            <c:bubble3D val="0"/>
            <c:spPr>
              <a:solidFill>
                <a:srgbClr val="AEABAB"/>
              </a:solidFill>
            </c:spPr>
            <c:extLst>
              <c:ext xmlns:c16="http://schemas.microsoft.com/office/drawing/2014/chart" uri="{C3380CC4-5D6E-409C-BE32-E72D297353CC}">
                <c16:uniqueId val="{000006DB-DBE9-4B73-8742-74A0F2DCF0F9}"/>
              </c:ext>
            </c:extLst>
          </c:dPt>
          <c:dPt>
            <c:idx val="877"/>
            <c:invertIfNegative val="1"/>
            <c:bubble3D val="0"/>
            <c:spPr>
              <a:solidFill>
                <a:srgbClr val="AEABAB"/>
              </a:solidFill>
            </c:spPr>
            <c:extLst>
              <c:ext xmlns:c16="http://schemas.microsoft.com/office/drawing/2014/chart" uri="{C3380CC4-5D6E-409C-BE32-E72D297353CC}">
                <c16:uniqueId val="{000006DD-DBE9-4B73-8742-74A0F2DCF0F9}"/>
              </c:ext>
            </c:extLst>
          </c:dPt>
          <c:dPt>
            <c:idx val="878"/>
            <c:invertIfNegative val="1"/>
            <c:bubble3D val="0"/>
            <c:spPr>
              <a:solidFill>
                <a:srgbClr val="AEABAB"/>
              </a:solidFill>
            </c:spPr>
            <c:extLst>
              <c:ext xmlns:c16="http://schemas.microsoft.com/office/drawing/2014/chart" uri="{C3380CC4-5D6E-409C-BE32-E72D297353CC}">
                <c16:uniqueId val="{000006DF-DBE9-4B73-8742-74A0F2DCF0F9}"/>
              </c:ext>
            </c:extLst>
          </c:dPt>
          <c:dPt>
            <c:idx val="879"/>
            <c:invertIfNegative val="1"/>
            <c:bubble3D val="0"/>
            <c:spPr>
              <a:solidFill>
                <a:srgbClr val="AEABAB"/>
              </a:solidFill>
            </c:spPr>
            <c:extLst>
              <c:ext xmlns:c16="http://schemas.microsoft.com/office/drawing/2014/chart" uri="{C3380CC4-5D6E-409C-BE32-E72D297353CC}">
                <c16:uniqueId val="{000006E1-DBE9-4B73-8742-74A0F2DCF0F9}"/>
              </c:ext>
            </c:extLst>
          </c:dPt>
          <c:dPt>
            <c:idx val="880"/>
            <c:invertIfNegative val="1"/>
            <c:bubble3D val="0"/>
            <c:spPr>
              <a:solidFill>
                <a:srgbClr val="AEABAB"/>
              </a:solidFill>
            </c:spPr>
            <c:extLst>
              <c:ext xmlns:c16="http://schemas.microsoft.com/office/drawing/2014/chart" uri="{C3380CC4-5D6E-409C-BE32-E72D297353CC}">
                <c16:uniqueId val="{000006E3-DBE9-4B73-8742-74A0F2DCF0F9}"/>
              </c:ext>
            </c:extLst>
          </c:dPt>
          <c:dPt>
            <c:idx val="881"/>
            <c:invertIfNegative val="1"/>
            <c:bubble3D val="0"/>
            <c:spPr>
              <a:solidFill>
                <a:srgbClr val="AEABAB"/>
              </a:solidFill>
            </c:spPr>
            <c:extLst>
              <c:ext xmlns:c16="http://schemas.microsoft.com/office/drawing/2014/chart" uri="{C3380CC4-5D6E-409C-BE32-E72D297353CC}">
                <c16:uniqueId val="{000006E5-DBE9-4B73-8742-74A0F2DCF0F9}"/>
              </c:ext>
            </c:extLst>
          </c:dPt>
          <c:dPt>
            <c:idx val="882"/>
            <c:invertIfNegative val="1"/>
            <c:bubble3D val="0"/>
            <c:spPr>
              <a:solidFill>
                <a:srgbClr val="AEABAB"/>
              </a:solidFill>
            </c:spPr>
            <c:extLst>
              <c:ext xmlns:c16="http://schemas.microsoft.com/office/drawing/2014/chart" uri="{C3380CC4-5D6E-409C-BE32-E72D297353CC}">
                <c16:uniqueId val="{000006E7-DBE9-4B73-8742-74A0F2DCF0F9}"/>
              </c:ext>
            </c:extLst>
          </c:dPt>
          <c:dPt>
            <c:idx val="883"/>
            <c:invertIfNegative val="1"/>
            <c:bubble3D val="0"/>
            <c:spPr>
              <a:solidFill>
                <a:srgbClr val="AEABAB"/>
              </a:solidFill>
            </c:spPr>
            <c:extLst>
              <c:ext xmlns:c16="http://schemas.microsoft.com/office/drawing/2014/chart" uri="{C3380CC4-5D6E-409C-BE32-E72D297353CC}">
                <c16:uniqueId val="{000006E9-DBE9-4B73-8742-74A0F2DCF0F9}"/>
              </c:ext>
            </c:extLst>
          </c:dPt>
          <c:dPt>
            <c:idx val="884"/>
            <c:invertIfNegative val="1"/>
            <c:bubble3D val="0"/>
            <c:spPr>
              <a:solidFill>
                <a:srgbClr val="AEABAB"/>
              </a:solidFill>
            </c:spPr>
            <c:extLst>
              <c:ext xmlns:c16="http://schemas.microsoft.com/office/drawing/2014/chart" uri="{C3380CC4-5D6E-409C-BE32-E72D297353CC}">
                <c16:uniqueId val="{000006EB-DBE9-4B73-8742-74A0F2DCF0F9}"/>
              </c:ext>
            </c:extLst>
          </c:dPt>
          <c:dPt>
            <c:idx val="885"/>
            <c:invertIfNegative val="1"/>
            <c:bubble3D val="0"/>
            <c:spPr>
              <a:solidFill>
                <a:srgbClr val="AEABAB"/>
              </a:solidFill>
            </c:spPr>
            <c:extLst>
              <c:ext xmlns:c16="http://schemas.microsoft.com/office/drawing/2014/chart" uri="{C3380CC4-5D6E-409C-BE32-E72D297353CC}">
                <c16:uniqueId val="{000006ED-DBE9-4B73-8742-74A0F2DCF0F9}"/>
              </c:ext>
            </c:extLst>
          </c:dPt>
          <c:dPt>
            <c:idx val="886"/>
            <c:invertIfNegative val="1"/>
            <c:bubble3D val="0"/>
            <c:spPr>
              <a:solidFill>
                <a:srgbClr val="AEABAB"/>
              </a:solidFill>
            </c:spPr>
            <c:extLst>
              <c:ext xmlns:c16="http://schemas.microsoft.com/office/drawing/2014/chart" uri="{C3380CC4-5D6E-409C-BE32-E72D297353CC}">
                <c16:uniqueId val="{000006EF-DBE9-4B73-8742-74A0F2DCF0F9}"/>
              </c:ext>
            </c:extLst>
          </c:dPt>
          <c:dPt>
            <c:idx val="887"/>
            <c:invertIfNegative val="1"/>
            <c:bubble3D val="0"/>
            <c:spPr>
              <a:solidFill>
                <a:srgbClr val="AEABAB"/>
              </a:solidFill>
            </c:spPr>
            <c:extLst>
              <c:ext xmlns:c16="http://schemas.microsoft.com/office/drawing/2014/chart" uri="{C3380CC4-5D6E-409C-BE32-E72D297353CC}">
                <c16:uniqueId val="{000006F1-DBE9-4B73-8742-74A0F2DCF0F9}"/>
              </c:ext>
            </c:extLst>
          </c:dPt>
          <c:dPt>
            <c:idx val="888"/>
            <c:invertIfNegative val="1"/>
            <c:bubble3D val="0"/>
            <c:spPr>
              <a:solidFill>
                <a:srgbClr val="AEABAB"/>
              </a:solidFill>
            </c:spPr>
            <c:extLst>
              <c:ext xmlns:c16="http://schemas.microsoft.com/office/drawing/2014/chart" uri="{C3380CC4-5D6E-409C-BE32-E72D297353CC}">
                <c16:uniqueId val="{000006F3-DBE9-4B73-8742-74A0F2DCF0F9}"/>
              </c:ext>
            </c:extLst>
          </c:dPt>
          <c:dPt>
            <c:idx val="889"/>
            <c:invertIfNegative val="1"/>
            <c:bubble3D val="0"/>
            <c:spPr>
              <a:solidFill>
                <a:srgbClr val="AEABAB"/>
              </a:solidFill>
            </c:spPr>
            <c:extLst>
              <c:ext xmlns:c16="http://schemas.microsoft.com/office/drawing/2014/chart" uri="{C3380CC4-5D6E-409C-BE32-E72D297353CC}">
                <c16:uniqueId val="{000006F5-DBE9-4B73-8742-74A0F2DCF0F9}"/>
              </c:ext>
            </c:extLst>
          </c:dPt>
          <c:dPt>
            <c:idx val="890"/>
            <c:invertIfNegative val="1"/>
            <c:bubble3D val="0"/>
            <c:spPr>
              <a:solidFill>
                <a:srgbClr val="AEABAB"/>
              </a:solidFill>
            </c:spPr>
            <c:extLst>
              <c:ext xmlns:c16="http://schemas.microsoft.com/office/drawing/2014/chart" uri="{C3380CC4-5D6E-409C-BE32-E72D297353CC}">
                <c16:uniqueId val="{000006F7-DBE9-4B73-8742-74A0F2DCF0F9}"/>
              </c:ext>
            </c:extLst>
          </c:dPt>
          <c:dPt>
            <c:idx val="891"/>
            <c:invertIfNegative val="1"/>
            <c:bubble3D val="0"/>
            <c:spPr>
              <a:solidFill>
                <a:srgbClr val="AEABAB"/>
              </a:solidFill>
            </c:spPr>
            <c:extLst>
              <c:ext xmlns:c16="http://schemas.microsoft.com/office/drawing/2014/chart" uri="{C3380CC4-5D6E-409C-BE32-E72D297353CC}">
                <c16:uniqueId val="{000006F9-DBE9-4B73-8742-74A0F2DCF0F9}"/>
              </c:ext>
            </c:extLst>
          </c:dPt>
          <c:dPt>
            <c:idx val="892"/>
            <c:invertIfNegative val="1"/>
            <c:bubble3D val="0"/>
            <c:spPr>
              <a:solidFill>
                <a:srgbClr val="AEABAB"/>
              </a:solidFill>
            </c:spPr>
            <c:extLst>
              <c:ext xmlns:c16="http://schemas.microsoft.com/office/drawing/2014/chart" uri="{C3380CC4-5D6E-409C-BE32-E72D297353CC}">
                <c16:uniqueId val="{000006FB-DBE9-4B73-8742-74A0F2DCF0F9}"/>
              </c:ext>
            </c:extLst>
          </c:dPt>
          <c:dPt>
            <c:idx val="893"/>
            <c:invertIfNegative val="1"/>
            <c:bubble3D val="0"/>
            <c:spPr>
              <a:solidFill>
                <a:srgbClr val="AEABAB"/>
              </a:solidFill>
            </c:spPr>
            <c:extLst>
              <c:ext xmlns:c16="http://schemas.microsoft.com/office/drawing/2014/chart" uri="{C3380CC4-5D6E-409C-BE32-E72D297353CC}">
                <c16:uniqueId val="{000006FD-DBE9-4B73-8742-74A0F2DCF0F9}"/>
              </c:ext>
            </c:extLst>
          </c:dPt>
          <c:dPt>
            <c:idx val="894"/>
            <c:invertIfNegative val="1"/>
            <c:bubble3D val="0"/>
            <c:spPr>
              <a:solidFill>
                <a:srgbClr val="AEABAB"/>
              </a:solidFill>
            </c:spPr>
            <c:extLst>
              <c:ext xmlns:c16="http://schemas.microsoft.com/office/drawing/2014/chart" uri="{C3380CC4-5D6E-409C-BE32-E72D297353CC}">
                <c16:uniqueId val="{000006FF-DBE9-4B73-8742-74A0F2DCF0F9}"/>
              </c:ext>
            </c:extLst>
          </c:dPt>
          <c:dPt>
            <c:idx val="895"/>
            <c:invertIfNegative val="1"/>
            <c:bubble3D val="0"/>
            <c:spPr>
              <a:solidFill>
                <a:srgbClr val="AEABAB"/>
              </a:solidFill>
            </c:spPr>
            <c:extLst>
              <c:ext xmlns:c16="http://schemas.microsoft.com/office/drawing/2014/chart" uri="{C3380CC4-5D6E-409C-BE32-E72D297353CC}">
                <c16:uniqueId val="{00000701-DBE9-4B73-8742-74A0F2DCF0F9}"/>
              </c:ext>
            </c:extLst>
          </c:dPt>
          <c:dPt>
            <c:idx val="896"/>
            <c:invertIfNegative val="1"/>
            <c:bubble3D val="0"/>
            <c:spPr>
              <a:solidFill>
                <a:srgbClr val="AEABAB"/>
              </a:solidFill>
            </c:spPr>
            <c:extLst>
              <c:ext xmlns:c16="http://schemas.microsoft.com/office/drawing/2014/chart" uri="{C3380CC4-5D6E-409C-BE32-E72D297353CC}">
                <c16:uniqueId val="{00000703-DBE9-4B73-8742-74A0F2DCF0F9}"/>
              </c:ext>
            </c:extLst>
          </c:dPt>
          <c:dPt>
            <c:idx val="897"/>
            <c:invertIfNegative val="1"/>
            <c:bubble3D val="0"/>
            <c:spPr>
              <a:solidFill>
                <a:srgbClr val="AEABAB"/>
              </a:solidFill>
            </c:spPr>
            <c:extLst>
              <c:ext xmlns:c16="http://schemas.microsoft.com/office/drawing/2014/chart" uri="{C3380CC4-5D6E-409C-BE32-E72D297353CC}">
                <c16:uniqueId val="{00000705-DBE9-4B73-8742-74A0F2DCF0F9}"/>
              </c:ext>
            </c:extLst>
          </c:dPt>
          <c:dPt>
            <c:idx val="898"/>
            <c:invertIfNegative val="1"/>
            <c:bubble3D val="0"/>
            <c:spPr>
              <a:solidFill>
                <a:srgbClr val="AEABAB"/>
              </a:solidFill>
            </c:spPr>
            <c:extLst>
              <c:ext xmlns:c16="http://schemas.microsoft.com/office/drawing/2014/chart" uri="{C3380CC4-5D6E-409C-BE32-E72D297353CC}">
                <c16:uniqueId val="{00000707-DBE9-4B73-8742-74A0F2DCF0F9}"/>
              </c:ext>
            </c:extLst>
          </c:dPt>
          <c:dPt>
            <c:idx val="899"/>
            <c:invertIfNegative val="1"/>
            <c:bubble3D val="0"/>
            <c:spPr>
              <a:solidFill>
                <a:srgbClr val="AEABAB"/>
              </a:solidFill>
            </c:spPr>
            <c:extLst>
              <c:ext xmlns:c16="http://schemas.microsoft.com/office/drawing/2014/chart" uri="{C3380CC4-5D6E-409C-BE32-E72D297353CC}">
                <c16:uniqueId val="{00000709-DBE9-4B73-8742-74A0F2DCF0F9}"/>
              </c:ext>
            </c:extLst>
          </c:dPt>
          <c:dPt>
            <c:idx val="900"/>
            <c:invertIfNegative val="1"/>
            <c:bubble3D val="0"/>
            <c:spPr>
              <a:solidFill>
                <a:srgbClr val="AEABAB"/>
              </a:solidFill>
            </c:spPr>
            <c:extLst>
              <c:ext xmlns:c16="http://schemas.microsoft.com/office/drawing/2014/chart" uri="{C3380CC4-5D6E-409C-BE32-E72D297353CC}">
                <c16:uniqueId val="{0000070B-DBE9-4B73-8742-74A0F2DCF0F9}"/>
              </c:ext>
            </c:extLst>
          </c:dPt>
          <c:dPt>
            <c:idx val="901"/>
            <c:invertIfNegative val="1"/>
            <c:bubble3D val="0"/>
            <c:spPr>
              <a:solidFill>
                <a:srgbClr val="AEABAB"/>
              </a:solidFill>
            </c:spPr>
            <c:extLst>
              <c:ext xmlns:c16="http://schemas.microsoft.com/office/drawing/2014/chart" uri="{C3380CC4-5D6E-409C-BE32-E72D297353CC}">
                <c16:uniqueId val="{0000070D-DBE9-4B73-8742-74A0F2DCF0F9}"/>
              </c:ext>
            </c:extLst>
          </c:dPt>
          <c:dPt>
            <c:idx val="902"/>
            <c:invertIfNegative val="1"/>
            <c:bubble3D val="0"/>
            <c:spPr>
              <a:solidFill>
                <a:srgbClr val="AEABAB"/>
              </a:solidFill>
            </c:spPr>
            <c:extLst>
              <c:ext xmlns:c16="http://schemas.microsoft.com/office/drawing/2014/chart" uri="{C3380CC4-5D6E-409C-BE32-E72D297353CC}">
                <c16:uniqueId val="{0000070F-DBE9-4B73-8742-74A0F2DCF0F9}"/>
              </c:ext>
            </c:extLst>
          </c:dPt>
          <c:dPt>
            <c:idx val="903"/>
            <c:invertIfNegative val="1"/>
            <c:bubble3D val="0"/>
            <c:spPr>
              <a:solidFill>
                <a:srgbClr val="AEABAB"/>
              </a:solidFill>
            </c:spPr>
            <c:extLst>
              <c:ext xmlns:c16="http://schemas.microsoft.com/office/drawing/2014/chart" uri="{C3380CC4-5D6E-409C-BE32-E72D297353CC}">
                <c16:uniqueId val="{00000711-DBE9-4B73-8742-74A0F2DCF0F9}"/>
              </c:ext>
            </c:extLst>
          </c:dPt>
          <c:dPt>
            <c:idx val="904"/>
            <c:invertIfNegative val="1"/>
            <c:bubble3D val="0"/>
            <c:spPr>
              <a:solidFill>
                <a:srgbClr val="AEABAB"/>
              </a:solidFill>
            </c:spPr>
            <c:extLst>
              <c:ext xmlns:c16="http://schemas.microsoft.com/office/drawing/2014/chart" uri="{C3380CC4-5D6E-409C-BE32-E72D297353CC}">
                <c16:uniqueId val="{00000713-DBE9-4B73-8742-74A0F2DCF0F9}"/>
              </c:ext>
            </c:extLst>
          </c:dPt>
          <c:dPt>
            <c:idx val="905"/>
            <c:invertIfNegative val="1"/>
            <c:bubble3D val="0"/>
            <c:spPr>
              <a:solidFill>
                <a:srgbClr val="AEABAB"/>
              </a:solidFill>
            </c:spPr>
            <c:extLst>
              <c:ext xmlns:c16="http://schemas.microsoft.com/office/drawing/2014/chart" uri="{C3380CC4-5D6E-409C-BE32-E72D297353CC}">
                <c16:uniqueId val="{00000715-DBE9-4B73-8742-74A0F2DCF0F9}"/>
              </c:ext>
            </c:extLst>
          </c:dPt>
          <c:dPt>
            <c:idx val="906"/>
            <c:invertIfNegative val="1"/>
            <c:bubble3D val="0"/>
            <c:spPr>
              <a:solidFill>
                <a:srgbClr val="AEABAB"/>
              </a:solidFill>
            </c:spPr>
            <c:extLst>
              <c:ext xmlns:c16="http://schemas.microsoft.com/office/drawing/2014/chart" uri="{C3380CC4-5D6E-409C-BE32-E72D297353CC}">
                <c16:uniqueId val="{00000717-DBE9-4B73-8742-74A0F2DCF0F9}"/>
              </c:ext>
            </c:extLst>
          </c:dPt>
          <c:dPt>
            <c:idx val="907"/>
            <c:invertIfNegative val="1"/>
            <c:bubble3D val="0"/>
            <c:spPr>
              <a:solidFill>
                <a:srgbClr val="AEABAB"/>
              </a:solidFill>
            </c:spPr>
            <c:extLst>
              <c:ext xmlns:c16="http://schemas.microsoft.com/office/drawing/2014/chart" uri="{C3380CC4-5D6E-409C-BE32-E72D297353CC}">
                <c16:uniqueId val="{00000719-DBE9-4B73-8742-74A0F2DCF0F9}"/>
              </c:ext>
            </c:extLst>
          </c:dPt>
          <c:dPt>
            <c:idx val="908"/>
            <c:invertIfNegative val="1"/>
            <c:bubble3D val="0"/>
            <c:spPr>
              <a:solidFill>
                <a:srgbClr val="AEABAB"/>
              </a:solidFill>
            </c:spPr>
            <c:extLst>
              <c:ext xmlns:c16="http://schemas.microsoft.com/office/drawing/2014/chart" uri="{C3380CC4-5D6E-409C-BE32-E72D297353CC}">
                <c16:uniqueId val="{0000071B-DBE9-4B73-8742-74A0F2DCF0F9}"/>
              </c:ext>
            </c:extLst>
          </c:dPt>
          <c:dPt>
            <c:idx val="909"/>
            <c:invertIfNegative val="1"/>
            <c:bubble3D val="0"/>
            <c:spPr>
              <a:solidFill>
                <a:srgbClr val="AEABAB"/>
              </a:solidFill>
            </c:spPr>
            <c:extLst>
              <c:ext xmlns:c16="http://schemas.microsoft.com/office/drawing/2014/chart" uri="{C3380CC4-5D6E-409C-BE32-E72D297353CC}">
                <c16:uniqueId val="{0000071D-DBE9-4B73-8742-74A0F2DCF0F9}"/>
              </c:ext>
            </c:extLst>
          </c:dPt>
          <c:dPt>
            <c:idx val="910"/>
            <c:invertIfNegative val="1"/>
            <c:bubble3D val="0"/>
            <c:spPr>
              <a:solidFill>
                <a:srgbClr val="AEABAB"/>
              </a:solidFill>
            </c:spPr>
            <c:extLst>
              <c:ext xmlns:c16="http://schemas.microsoft.com/office/drawing/2014/chart" uri="{C3380CC4-5D6E-409C-BE32-E72D297353CC}">
                <c16:uniqueId val="{0000071F-DBE9-4B73-8742-74A0F2DCF0F9}"/>
              </c:ext>
            </c:extLst>
          </c:dPt>
          <c:dPt>
            <c:idx val="911"/>
            <c:invertIfNegative val="1"/>
            <c:bubble3D val="0"/>
            <c:spPr>
              <a:solidFill>
                <a:srgbClr val="AEABAB"/>
              </a:solidFill>
            </c:spPr>
            <c:extLst>
              <c:ext xmlns:c16="http://schemas.microsoft.com/office/drawing/2014/chart" uri="{C3380CC4-5D6E-409C-BE32-E72D297353CC}">
                <c16:uniqueId val="{00000721-DBE9-4B73-8742-74A0F2DCF0F9}"/>
              </c:ext>
            </c:extLst>
          </c:dPt>
          <c:dPt>
            <c:idx val="912"/>
            <c:invertIfNegative val="1"/>
            <c:bubble3D val="0"/>
            <c:spPr>
              <a:solidFill>
                <a:srgbClr val="AEABAB"/>
              </a:solidFill>
            </c:spPr>
            <c:extLst>
              <c:ext xmlns:c16="http://schemas.microsoft.com/office/drawing/2014/chart" uri="{C3380CC4-5D6E-409C-BE32-E72D297353CC}">
                <c16:uniqueId val="{00000723-DBE9-4B73-8742-74A0F2DCF0F9}"/>
              </c:ext>
            </c:extLst>
          </c:dPt>
          <c:dPt>
            <c:idx val="913"/>
            <c:invertIfNegative val="1"/>
            <c:bubble3D val="0"/>
            <c:spPr>
              <a:solidFill>
                <a:srgbClr val="AEABAB"/>
              </a:solidFill>
            </c:spPr>
            <c:extLst>
              <c:ext xmlns:c16="http://schemas.microsoft.com/office/drawing/2014/chart" uri="{C3380CC4-5D6E-409C-BE32-E72D297353CC}">
                <c16:uniqueId val="{00000725-DBE9-4B73-8742-74A0F2DCF0F9}"/>
              </c:ext>
            </c:extLst>
          </c:dPt>
          <c:dPt>
            <c:idx val="914"/>
            <c:invertIfNegative val="1"/>
            <c:bubble3D val="0"/>
            <c:spPr>
              <a:solidFill>
                <a:srgbClr val="AEABAB"/>
              </a:solidFill>
            </c:spPr>
            <c:extLst>
              <c:ext xmlns:c16="http://schemas.microsoft.com/office/drawing/2014/chart" uri="{C3380CC4-5D6E-409C-BE32-E72D297353CC}">
                <c16:uniqueId val="{00000727-DBE9-4B73-8742-74A0F2DCF0F9}"/>
              </c:ext>
            </c:extLst>
          </c:dPt>
          <c:dPt>
            <c:idx val="915"/>
            <c:invertIfNegative val="1"/>
            <c:bubble3D val="0"/>
            <c:spPr>
              <a:solidFill>
                <a:srgbClr val="AEABAB"/>
              </a:solidFill>
            </c:spPr>
            <c:extLst>
              <c:ext xmlns:c16="http://schemas.microsoft.com/office/drawing/2014/chart" uri="{C3380CC4-5D6E-409C-BE32-E72D297353CC}">
                <c16:uniqueId val="{00000729-DBE9-4B73-8742-74A0F2DCF0F9}"/>
              </c:ext>
            </c:extLst>
          </c:dPt>
          <c:dPt>
            <c:idx val="916"/>
            <c:invertIfNegative val="1"/>
            <c:bubble3D val="0"/>
            <c:spPr>
              <a:solidFill>
                <a:srgbClr val="AEABAB"/>
              </a:solidFill>
            </c:spPr>
            <c:extLst>
              <c:ext xmlns:c16="http://schemas.microsoft.com/office/drawing/2014/chart" uri="{C3380CC4-5D6E-409C-BE32-E72D297353CC}">
                <c16:uniqueId val="{0000072B-DBE9-4B73-8742-74A0F2DCF0F9}"/>
              </c:ext>
            </c:extLst>
          </c:dPt>
          <c:dPt>
            <c:idx val="917"/>
            <c:invertIfNegative val="1"/>
            <c:bubble3D val="0"/>
            <c:spPr>
              <a:solidFill>
                <a:srgbClr val="AEABAB"/>
              </a:solidFill>
            </c:spPr>
            <c:extLst>
              <c:ext xmlns:c16="http://schemas.microsoft.com/office/drawing/2014/chart" uri="{C3380CC4-5D6E-409C-BE32-E72D297353CC}">
                <c16:uniqueId val="{0000072D-DBE9-4B73-8742-74A0F2DCF0F9}"/>
              </c:ext>
            </c:extLst>
          </c:dPt>
          <c:dPt>
            <c:idx val="918"/>
            <c:invertIfNegative val="1"/>
            <c:bubble3D val="0"/>
            <c:spPr>
              <a:solidFill>
                <a:srgbClr val="AEABAB"/>
              </a:solidFill>
            </c:spPr>
            <c:extLst>
              <c:ext xmlns:c16="http://schemas.microsoft.com/office/drawing/2014/chart" uri="{C3380CC4-5D6E-409C-BE32-E72D297353CC}">
                <c16:uniqueId val="{0000072F-DBE9-4B73-8742-74A0F2DCF0F9}"/>
              </c:ext>
            </c:extLst>
          </c:dPt>
          <c:dPt>
            <c:idx val="919"/>
            <c:invertIfNegative val="1"/>
            <c:bubble3D val="0"/>
            <c:spPr>
              <a:solidFill>
                <a:srgbClr val="AEABAB"/>
              </a:solidFill>
            </c:spPr>
            <c:extLst>
              <c:ext xmlns:c16="http://schemas.microsoft.com/office/drawing/2014/chart" uri="{C3380CC4-5D6E-409C-BE32-E72D297353CC}">
                <c16:uniqueId val="{00000731-DBE9-4B73-8742-74A0F2DCF0F9}"/>
              </c:ext>
            </c:extLst>
          </c:dPt>
          <c:dPt>
            <c:idx val="920"/>
            <c:invertIfNegative val="1"/>
            <c:bubble3D val="0"/>
            <c:spPr>
              <a:solidFill>
                <a:srgbClr val="AEABAB"/>
              </a:solidFill>
            </c:spPr>
            <c:extLst>
              <c:ext xmlns:c16="http://schemas.microsoft.com/office/drawing/2014/chart" uri="{C3380CC4-5D6E-409C-BE32-E72D297353CC}">
                <c16:uniqueId val="{00000733-DBE9-4B73-8742-74A0F2DCF0F9}"/>
              </c:ext>
            </c:extLst>
          </c:dPt>
          <c:dPt>
            <c:idx val="921"/>
            <c:invertIfNegative val="1"/>
            <c:bubble3D val="0"/>
            <c:spPr>
              <a:solidFill>
                <a:srgbClr val="AEABAB"/>
              </a:solidFill>
            </c:spPr>
            <c:extLst>
              <c:ext xmlns:c16="http://schemas.microsoft.com/office/drawing/2014/chart" uri="{C3380CC4-5D6E-409C-BE32-E72D297353CC}">
                <c16:uniqueId val="{00000735-DBE9-4B73-8742-74A0F2DCF0F9}"/>
              </c:ext>
            </c:extLst>
          </c:dPt>
          <c:dPt>
            <c:idx val="922"/>
            <c:invertIfNegative val="1"/>
            <c:bubble3D val="0"/>
            <c:spPr>
              <a:solidFill>
                <a:srgbClr val="AEABAB"/>
              </a:solidFill>
            </c:spPr>
            <c:extLst>
              <c:ext xmlns:c16="http://schemas.microsoft.com/office/drawing/2014/chart" uri="{C3380CC4-5D6E-409C-BE32-E72D297353CC}">
                <c16:uniqueId val="{00000737-DBE9-4B73-8742-74A0F2DCF0F9}"/>
              </c:ext>
            </c:extLst>
          </c:dPt>
          <c:dPt>
            <c:idx val="923"/>
            <c:invertIfNegative val="1"/>
            <c:bubble3D val="0"/>
            <c:spPr>
              <a:solidFill>
                <a:srgbClr val="AEABAB"/>
              </a:solidFill>
            </c:spPr>
            <c:extLst>
              <c:ext xmlns:c16="http://schemas.microsoft.com/office/drawing/2014/chart" uri="{C3380CC4-5D6E-409C-BE32-E72D297353CC}">
                <c16:uniqueId val="{00000739-DBE9-4B73-8742-74A0F2DCF0F9}"/>
              </c:ext>
            </c:extLst>
          </c:dPt>
          <c:dPt>
            <c:idx val="924"/>
            <c:invertIfNegative val="1"/>
            <c:bubble3D val="0"/>
            <c:spPr>
              <a:solidFill>
                <a:srgbClr val="AEABAB"/>
              </a:solidFill>
            </c:spPr>
            <c:extLst>
              <c:ext xmlns:c16="http://schemas.microsoft.com/office/drawing/2014/chart" uri="{C3380CC4-5D6E-409C-BE32-E72D297353CC}">
                <c16:uniqueId val="{0000073B-DBE9-4B73-8742-74A0F2DCF0F9}"/>
              </c:ext>
            </c:extLst>
          </c:dPt>
          <c:dPt>
            <c:idx val="925"/>
            <c:invertIfNegative val="1"/>
            <c:bubble3D val="0"/>
            <c:spPr>
              <a:solidFill>
                <a:srgbClr val="AEABAB"/>
              </a:solidFill>
            </c:spPr>
            <c:extLst>
              <c:ext xmlns:c16="http://schemas.microsoft.com/office/drawing/2014/chart" uri="{C3380CC4-5D6E-409C-BE32-E72D297353CC}">
                <c16:uniqueId val="{0000073D-DBE9-4B73-8742-74A0F2DCF0F9}"/>
              </c:ext>
            </c:extLst>
          </c:dPt>
          <c:cat>
            <c:strRef>
              <c:f>Sheet1!$A$2:$A$927</c:f>
              <c:strCache>
                <c:ptCount val="926"/>
                <c:pt idx="0">
                  <c:v>Private Lab</c:v>
                </c:pt>
                <c:pt idx="1">
                  <c:v>Private Lab</c:v>
                </c:pt>
                <c:pt idx="2">
                  <c:v>Private Lab</c:v>
                </c:pt>
                <c:pt idx="3">
                  <c:v>Private Lab</c:v>
                </c:pt>
                <c:pt idx="4">
                  <c:v>Private Lab</c:v>
                </c:pt>
                <c:pt idx="5">
                  <c:v>Private Lab</c:v>
                </c:pt>
                <c:pt idx="6">
                  <c:v>Soignon</c:v>
                </c:pt>
                <c:pt idx="7">
                  <c:v>Caprice Des</c:v>
                </c:pt>
                <c:pt idx="8">
                  <c:v>Mini Babybe</c:v>
                </c:pt>
                <c:pt idx="9">
                  <c:v>Private Lab</c:v>
                </c:pt>
                <c:pt idx="10">
                  <c:v>St Moret</c:v>
                </c:pt>
                <c:pt idx="11">
                  <c:v>La Vache Qu</c:v>
                </c:pt>
                <c:pt idx="12">
                  <c:v>Private Lab</c:v>
                </c:pt>
                <c:pt idx="13">
                  <c:v>Le Rustique</c:v>
                </c:pt>
                <c:pt idx="14">
                  <c:v>Coeur De Li</c:v>
                </c:pt>
                <c:pt idx="15">
                  <c:v>Kiri</c:v>
                </c:pt>
                <c:pt idx="16">
                  <c:v>Galbani</c:v>
                </c:pt>
                <c:pt idx="17">
                  <c:v>President</c:v>
                </c:pt>
                <c:pt idx="18">
                  <c:v>Private Lab</c:v>
                </c:pt>
                <c:pt idx="19">
                  <c:v>Paysan Bret</c:v>
                </c:pt>
                <c:pt idx="20">
                  <c:v>President</c:v>
                </c:pt>
                <c:pt idx="21">
                  <c:v>Private Lab</c:v>
                </c:pt>
                <c:pt idx="22">
                  <c:v>Philadelphi</c:v>
                </c:pt>
                <c:pt idx="23">
                  <c:v>Coeur De Li</c:v>
                </c:pt>
                <c:pt idx="24">
                  <c:v>Private Lab</c:v>
                </c:pt>
                <c:pt idx="25">
                  <c:v>Private Lab</c:v>
                </c:pt>
                <c:pt idx="26">
                  <c:v>Private Lab</c:v>
                </c:pt>
                <c:pt idx="27">
                  <c:v>Private Lab</c:v>
                </c:pt>
                <c:pt idx="28">
                  <c:v>Private Lab</c:v>
                </c:pt>
                <c:pt idx="29">
                  <c:v>Ficello</c:v>
                </c:pt>
                <c:pt idx="30">
                  <c:v>Leerdammer</c:v>
                </c:pt>
                <c:pt idx="31">
                  <c:v>Caprice Des</c:v>
                </c:pt>
                <c:pt idx="32">
                  <c:v>Salakis</c:v>
                </c:pt>
                <c:pt idx="33">
                  <c:v>Soignon</c:v>
                </c:pt>
                <c:pt idx="34">
                  <c:v>La Vache Qu</c:v>
                </c:pt>
                <c:pt idx="35">
                  <c:v>Boursin</c:v>
                </c:pt>
                <c:pt idx="36">
                  <c:v>Soignon</c:v>
                </c:pt>
                <c:pt idx="37">
                  <c:v>President</c:v>
                </c:pt>
                <c:pt idx="38">
                  <c:v>Petit Billy</c:v>
                </c:pt>
                <c:pt idx="39">
                  <c:v>St Moret</c:v>
                </c:pt>
                <c:pt idx="40">
                  <c:v>Private Lab</c:v>
                </c:pt>
                <c:pt idx="41">
                  <c:v>St Moret</c:v>
                </c:pt>
                <c:pt idx="42">
                  <c:v>Private Lab</c:v>
                </c:pt>
                <c:pt idx="43">
                  <c:v>Chaussee Au</c:v>
                </c:pt>
                <c:pt idx="44">
                  <c:v>Private Lab</c:v>
                </c:pt>
                <c:pt idx="45">
                  <c:v>Private Lab</c:v>
                </c:pt>
                <c:pt idx="46">
                  <c:v>Tartare</c:v>
                </c:pt>
                <c:pt idx="47">
                  <c:v>Private Lab</c:v>
                </c:pt>
                <c:pt idx="48">
                  <c:v>Private Lab</c:v>
                </c:pt>
                <c:pt idx="49">
                  <c:v>President</c:v>
                </c:pt>
                <c:pt idx="50">
                  <c:v>Soignon</c:v>
                </c:pt>
                <c:pt idx="51">
                  <c:v>Entremont</c:v>
                </c:pt>
                <c:pt idx="52">
                  <c:v>Private Lab</c:v>
                </c:pt>
                <c:pt idx="53">
                  <c:v>Private Lab</c:v>
                </c:pt>
                <c:pt idx="54">
                  <c:v>Boursin</c:v>
                </c:pt>
                <c:pt idx="55">
                  <c:v>Caprice Des</c:v>
                </c:pt>
                <c:pt idx="56">
                  <c:v>All Others</c:v>
                </c:pt>
                <c:pt idx="57">
                  <c:v>Kiri</c:v>
                </c:pt>
                <c:pt idx="58">
                  <c:v>Aperivrais</c:v>
                </c:pt>
                <c:pt idx="59">
                  <c:v>All Others</c:v>
                </c:pt>
                <c:pt idx="60">
                  <c:v>Le Brebiou</c:v>
                </c:pt>
                <c:pt idx="61">
                  <c:v>Private Lab</c:v>
                </c:pt>
                <c:pt idx="62">
                  <c:v>Private Lab</c:v>
                </c:pt>
                <c:pt idx="63">
                  <c:v>Apericube</c:v>
                </c:pt>
                <c:pt idx="64">
                  <c:v>Richesmonts</c:v>
                </c:pt>
                <c:pt idx="65">
                  <c:v>Private Lab</c:v>
                </c:pt>
                <c:pt idx="66">
                  <c:v>President</c:v>
                </c:pt>
                <c:pt idx="67">
                  <c:v>Private Lab</c:v>
                </c:pt>
                <c:pt idx="68">
                  <c:v>Private Lab</c:v>
                </c:pt>
                <c:pt idx="69">
                  <c:v>Private Lab</c:v>
                </c:pt>
                <c:pt idx="70">
                  <c:v>Carre Frais</c:v>
                </c:pt>
                <c:pt idx="71">
                  <c:v>Chavroux</c:v>
                </c:pt>
                <c:pt idx="72">
                  <c:v>Private Lab</c:v>
                </c:pt>
                <c:pt idx="73">
                  <c:v>Private Lab</c:v>
                </c:pt>
                <c:pt idx="74">
                  <c:v>President</c:v>
                </c:pt>
                <c:pt idx="75">
                  <c:v>Boursin</c:v>
                </c:pt>
                <c:pt idx="76">
                  <c:v>Etorki</c:v>
                </c:pt>
                <c:pt idx="77">
                  <c:v>President</c:v>
                </c:pt>
                <c:pt idx="78">
                  <c:v>Private Lab</c:v>
                </c:pt>
                <c:pt idx="79">
                  <c:v>President</c:v>
                </c:pt>
                <c:pt idx="80">
                  <c:v>Istara</c:v>
                </c:pt>
                <c:pt idx="81">
                  <c:v>Private Lab</c:v>
                </c:pt>
                <c:pt idx="82">
                  <c:v>Lou Perac</c:v>
                </c:pt>
                <c:pt idx="83">
                  <c:v>All Others</c:v>
                </c:pt>
                <c:pt idx="84">
                  <c:v>Paysan Bret</c:v>
                </c:pt>
                <c:pt idx="85">
                  <c:v>Private Lab</c:v>
                </c:pt>
                <c:pt idx="86">
                  <c:v>Tartare</c:v>
                </c:pt>
                <c:pt idx="87">
                  <c:v>Boursin</c:v>
                </c:pt>
                <c:pt idx="88">
                  <c:v>Lepetit</c:v>
                </c:pt>
                <c:pt idx="89">
                  <c:v>Aperivrais</c:v>
                </c:pt>
                <c:pt idx="90">
                  <c:v>Private Lab</c:v>
                </c:pt>
                <c:pt idx="91">
                  <c:v>Private Lab</c:v>
                </c:pt>
                <c:pt idx="92">
                  <c:v>Saint Albra</c:v>
                </c:pt>
                <c:pt idx="93">
                  <c:v>Salakis</c:v>
                </c:pt>
                <c:pt idx="94">
                  <c:v>Saint Agur</c:v>
                </c:pt>
                <c:pt idx="95">
                  <c:v>Casa Azzurr</c:v>
                </c:pt>
                <c:pt idx="96">
                  <c:v>Private Lab</c:v>
                </c:pt>
                <c:pt idx="97">
                  <c:v>Private Lab</c:v>
                </c:pt>
                <c:pt idx="98">
                  <c:v>Juraflore</c:v>
                </c:pt>
                <c:pt idx="99">
                  <c:v>Private Lab</c:v>
                </c:pt>
                <c:pt idx="100">
                  <c:v>Apericube</c:v>
                </c:pt>
                <c:pt idx="101">
                  <c:v>Tartare</c:v>
                </c:pt>
                <c:pt idx="102">
                  <c:v>Private Lab</c:v>
                </c:pt>
                <c:pt idx="103">
                  <c:v>Societe</c:v>
                </c:pt>
                <c:pt idx="104">
                  <c:v>Apericube</c:v>
                </c:pt>
                <c:pt idx="105">
                  <c:v>Private Lab</c:v>
                </c:pt>
                <c:pt idx="106">
                  <c:v>Private Lab</c:v>
                </c:pt>
                <c:pt idx="107">
                  <c:v>Private Lab</c:v>
                </c:pt>
                <c:pt idx="108">
                  <c:v>Private Lab</c:v>
                </c:pt>
                <c:pt idx="109">
                  <c:v>Private Lab</c:v>
                </c:pt>
                <c:pt idx="110">
                  <c:v>President</c:v>
                </c:pt>
                <c:pt idx="111">
                  <c:v>Private Lab</c:v>
                </c:pt>
                <c:pt idx="112">
                  <c:v>Private Lab</c:v>
                </c:pt>
                <c:pt idx="113">
                  <c:v>Babybel</c:v>
                </c:pt>
                <c:pt idx="114">
                  <c:v>L'Ortolan</c:v>
                </c:pt>
                <c:pt idx="115">
                  <c:v>La Vache Qu</c:v>
                </c:pt>
                <c:pt idx="116">
                  <c:v>Saint Agur</c:v>
                </c:pt>
                <c:pt idx="117">
                  <c:v>President</c:v>
                </c:pt>
                <c:pt idx="118">
                  <c:v>St Moret</c:v>
                </c:pt>
                <c:pt idx="119">
                  <c:v>Mini Babybe</c:v>
                </c:pt>
                <c:pt idx="120">
                  <c:v>Private Lab</c:v>
                </c:pt>
                <c:pt idx="121">
                  <c:v>Galbani</c:v>
                </c:pt>
                <c:pt idx="122">
                  <c:v>Private Lab</c:v>
                </c:pt>
                <c:pt idx="123">
                  <c:v>All Others</c:v>
                </c:pt>
                <c:pt idx="124">
                  <c:v>Leerdammer</c:v>
                </c:pt>
                <c:pt idx="125">
                  <c:v>Private Lab</c:v>
                </c:pt>
                <c:pt idx="126">
                  <c:v>Private Lab</c:v>
                </c:pt>
                <c:pt idx="127">
                  <c:v>Private Lab</c:v>
                </c:pt>
                <c:pt idx="128">
                  <c:v>Private Lab</c:v>
                </c:pt>
                <c:pt idx="129">
                  <c:v>Private Lab</c:v>
                </c:pt>
                <c:pt idx="130">
                  <c:v>All Others</c:v>
                </c:pt>
                <c:pt idx="131">
                  <c:v>Islos</c:v>
                </c:pt>
                <c:pt idx="132">
                  <c:v>Private Lab</c:v>
                </c:pt>
                <c:pt idx="133">
                  <c:v>Casa Azzurr</c:v>
                </c:pt>
                <c:pt idx="134">
                  <c:v>Private Lab</c:v>
                </c:pt>
                <c:pt idx="135">
                  <c:v>Kiri</c:v>
                </c:pt>
                <c:pt idx="136">
                  <c:v>Carre Frais</c:v>
                </c:pt>
                <c:pt idx="137">
                  <c:v>Violife</c:v>
                </c:pt>
                <c:pt idx="138">
                  <c:v>Fol Epi</c:v>
                </c:pt>
                <c:pt idx="139">
                  <c:v>Private Lab</c:v>
                </c:pt>
                <c:pt idx="140">
                  <c:v>Private Lab</c:v>
                </c:pt>
                <c:pt idx="141">
                  <c:v>Private Lab</c:v>
                </c:pt>
                <c:pt idx="142">
                  <c:v>Private Lab</c:v>
                </c:pt>
                <c:pt idx="143">
                  <c:v>Private Lab</c:v>
                </c:pt>
                <c:pt idx="144">
                  <c:v>Private Lab</c:v>
                </c:pt>
                <c:pt idx="145">
                  <c:v>Private Lab</c:v>
                </c:pt>
                <c:pt idx="146">
                  <c:v>Private Lab</c:v>
                </c:pt>
                <c:pt idx="147">
                  <c:v>Soignon</c:v>
                </c:pt>
                <c:pt idx="148">
                  <c:v>Private Lab</c:v>
                </c:pt>
                <c:pt idx="149">
                  <c:v>All Others</c:v>
                </c:pt>
                <c:pt idx="150">
                  <c:v>Private Lab</c:v>
                </c:pt>
                <c:pt idx="151">
                  <c:v>Private Lab</c:v>
                </c:pt>
                <c:pt idx="152">
                  <c:v>Private Lab</c:v>
                </c:pt>
                <c:pt idx="153">
                  <c:v>Private Lab</c:v>
                </c:pt>
                <c:pt idx="154">
                  <c:v>Private Lab</c:v>
                </c:pt>
                <c:pt idx="155">
                  <c:v>Private Lab</c:v>
                </c:pt>
                <c:pt idx="156">
                  <c:v>Soignon</c:v>
                </c:pt>
                <c:pt idx="157">
                  <c:v>Private Lab</c:v>
                </c:pt>
                <c:pt idx="158">
                  <c:v>Private Lab</c:v>
                </c:pt>
                <c:pt idx="159">
                  <c:v>Private Lab</c:v>
                </c:pt>
                <c:pt idx="160">
                  <c:v>Private Lab</c:v>
                </c:pt>
                <c:pt idx="161">
                  <c:v>Private Lab</c:v>
                </c:pt>
                <c:pt idx="162">
                  <c:v>Galbani</c:v>
                </c:pt>
                <c:pt idx="163">
                  <c:v>Private Lab</c:v>
                </c:pt>
                <c:pt idx="164">
                  <c:v>Private Lab</c:v>
                </c:pt>
                <c:pt idx="165">
                  <c:v>Private Lab</c:v>
                </c:pt>
                <c:pt idx="166">
                  <c:v>Private Lab</c:v>
                </c:pt>
                <c:pt idx="167">
                  <c:v>Private Lab</c:v>
                </c:pt>
                <c:pt idx="168">
                  <c:v>Private Lab</c:v>
                </c:pt>
                <c:pt idx="169">
                  <c:v>Private Lab</c:v>
                </c:pt>
                <c:pt idx="170">
                  <c:v>Pochat</c:v>
                </c:pt>
                <c:pt idx="171">
                  <c:v>Private Lab</c:v>
                </c:pt>
                <c:pt idx="172">
                  <c:v>All Others</c:v>
                </c:pt>
                <c:pt idx="173">
                  <c:v>Apericube</c:v>
                </c:pt>
                <c:pt idx="174">
                  <c:v>President</c:v>
                </c:pt>
                <c:pt idx="175">
                  <c:v>Paysan Bret</c:v>
                </c:pt>
                <c:pt idx="176">
                  <c:v>Private Lab</c:v>
                </c:pt>
                <c:pt idx="177">
                  <c:v>Violife</c:v>
                </c:pt>
                <c:pt idx="178">
                  <c:v>Private Lab</c:v>
                </c:pt>
                <c:pt idx="179">
                  <c:v>P'Tit Louis</c:v>
                </c:pt>
                <c:pt idx="180">
                  <c:v>Istara</c:v>
                </c:pt>
                <c:pt idx="181">
                  <c:v>Fauquet</c:v>
                </c:pt>
                <c:pt idx="182">
                  <c:v>Private Lab</c:v>
                </c:pt>
                <c:pt idx="183">
                  <c:v>Port Salut</c:v>
                </c:pt>
                <c:pt idx="184">
                  <c:v>Private Lab</c:v>
                </c:pt>
                <c:pt idx="185">
                  <c:v>All Others</c:v>
                </c:pt>
                <c:pt idx="186">
                  <c:v>All Others</c:v>
                </c:pt>
                <c:pt idx="187">
                  <c:v>Paysan Bret</c:v>
                </c:pt>
                <c:pt idx="188">
                  <c:v>Private Lab</c:v>
                </c:pt>
                <c:pt idx="189">
                  <c:v>Entremont</c:v>
                </c:pt>
                <c:pt idx="190">
                  <c:v>Galbani</c:v>
                </c:pt>
                <c:pt idx="191">
                  <c:v>Lactalis: A</c:v>
                </c:pt>
                <c:pt idx="192">
                  <c:v>Private Lab</c:v>
                </c:pt>
                <c:pt idx="193">
                  <c:v>Private Lab</c:v>
                </c:pt>
                <c:pt idx="194">
                  <c:v>Societe</c:v>
                </c:pt>
                <c:pt idx="195">
                  <c:v>All Others</c:v>
                </c:pt>
                <c:pt idx="196">
                  <c:v>Private Lab</c:v>
                </c:pt>
                <c:pt idx="197">
                  <c:v>All Others</c:v>
                </c:pt>
                <c:pt idx="198">
                  <c:v>Private Lab</c:v>
                </c:pt>
                <c:pt idx="199">
                  <c:v>Private Lab</c:v>
                </c:pt>
                <c:pt idx="200">
                  <c:v>Lou Perac</c:v>
                </c:pt>
                <c:pt idx="201">
                  <c:v>Leerdammer</c:v>
                </c:pt>
                <c:pt idx="202">
                  <c:v>Private Lab</c:v>
                </c:pt>
                <c:pt idx="203">
                  <c:v>President</c:v>
                </c:pt>
                <c:pt idx="204">
                  <c:v>All Others</c:v>
                </c:pt>
                <c:pt idx="205">
                  <c:v>President</c:v>
                </c:pt>
                <c:pt idx="206">
                  <c:v>Private Lab</c:v>
                </c:pt>
                <c:pt idx="207">
                  <c:v>Private Lab</c:v>
                </c:pt>
                <c:pt idx="208">
                  <c:v>All Others</c:v>
                </c:pt>
                <c:pt idx="209">
                  <c:v>Private Lab</c:v>
                </c:pt>
                <c:pt idx="210">
                  <c:v>Private Lab</c:v>
                </c:pt>
                <c:pt idx="211">
                  <c:v>President</c:v>
                </c:pt>
                <c:pt idx="212">
                  <c:v>Private Lab</c:v>
                </c:pt>
                <c:pt idx="213">
                  <c:v>Private Lab</c:v>
                </c:pt>
                <c:pt idx="214">
                  <c:v>All Others</c:v>
                </c:pt>
                <c:pt idx="215">
                  <c:v>President</c:v>
                </c:pt>
                <c:pt idx="216">
                  <c:v>All Others</c:v>
                </c:pt>
                <c:pt idx="217">
                  <c:v>Entremont</c:v>
                </c:pt>
                <c:pt idx="218">
                  <c:v>Bresse Bleu</c:v>
                </c:pt>
                <c:pt idx="219">
                  <c:v>All Others</c:v>
                </c:pt>
                <c:pt idx="220">
                  <c:v>La Vache Qu</c:v>
                </c:pt>
                <c:pt idx="221">
                  <c:v>Richesmonts</c:v>
                </c:pt>
                <c:pt idx="222">
                  <c:v>All Others</c:v>
                </c:pt>
                <c:pt idx="223">
                  <c:v>Societe</c:v>
                </c:pt>
                <c:pt idx="224">
                  <c:v>Private Lab</c:v>
                </c:pt>
                <c:pt idx="225">
                  <c:v>Cousteron</c:v>
                </c:pt>
                <c:pt idx="226">
                  <c:v>All Others</c:v>
                </c:pt>
                <c:pt idx="227">
                  <c:v>All Others</c:v>
                </c:pt>
                <c:pt idx="228">
                  <c:v>All Others</c:v>
                </c:pt>
                <c:pt idx="229">
                  <c:v>Private Lab</c:v>
                </c:pt>
                <c:pt idx="230">
                  <c:v>St Moret</c:v>
                </c:pt>
                <c:pt idx="231">
                  <c:v>Kiri</c:v>
                </c:pt>
                <c:pt idx="232">
                  <c:v>Casa Azzurr</c:v>
                </c:pt>
                <c:pt idx="233">
                  <c:v>All Others</c:v>
                </c:pt>
                <c:pt idx="234">
                  <c:v>Private Lab</c:v>
                </c:pt>
                <c:pt idx="235">
                  <c:v>Soignon</c:v>
                </c:pt>
                <c:pt idx="236">
                  <c:v>Soignon</c:v>
                </c:pt>
                <c:pt idx="237">
                  <c:v>All Others</c:v>
                </c:pt>
                <c:pt idx="238">
                  <c:v>Apericube</c:v>
                </c:pt>
                <c:pt idx="239">
                  <c:v>All Others</c:v>
                </c:pt>
                <c:pt idx="240">
                  <c:v>Soignon</c:v>
                </c:pt>
                <c:pt idx="241">
                  <c:v>Private Lab</c:v>
                </c:pt>
                <c:pt idx="242">
                  <c:v>All Others</c:v>
                </c:pt>
                <c:pt idx="243">
                  <c:v>All Others</c:v>
                </c:pt>
                <c:pt idx="244">
                  <c:v>President</c:v>
                </c:pt>
                <c:pt idx="245">
                  <c:v>Private Lab</c:v>
                </c:pt>
                <c:pt idx="246">
                  <c:v>Paysan Bret</c:v>
                </c:pt>
                <c:pt idx="247">
                  <c:v>All Others</c:v>
                </c:pt>
                <c:pt idx="248">
                  <c:v>All Others</c:v>
                </c:pt>
                <c:pt idx="249">
                  <c:v>Paysan Bret</c:v>
                </c:pt>
                <c:pt idx="250">
                  <c:v>Juraflore</c:v>
                </c:pt>
                <c:pt idx="251">
                  <c:v>All Others</c:v>
                </c:pt>
                <c:pt idx="252">
                  <c:v>All Others</c:v>
                </c:pt>
                <c:pt idx="253">
                  <c:v>Paysan Bret</c:v>
                </c:pt>
                <c:pt idx="254">
                  <c:v>Private Lab</c:v>
                </c:pt>
                <c:pt idx="255">
                  <c:v>All Others</c:v>
                </c:pt>
                <c:pt idx="256">
                  <c:v>Private Lab</c:v>
                </c:pt>
                <c:pt idx="257">
                  <c:v>Private Lab</c:v>
                </c:pt>
                <c:pt idx="258">
                  <c:v>All Others</c:v>
                </c:pt>
                <c:pt idx="259">
                  <c:v>Triballat N</c:v>
                </c:pt>
                <c:pt idx="260">
                  <c:v>All Others</c:v>
                </c:pt>
                <c:pt idx="261">
                  <c:v>All Others</c:v>
                </c:pt>
                <c:pt idx="262">
                  <c:v>All Others</c:v>
                </c:pt>
                <c:pt idx="263">
                  <c:v>All Others</c:v>
                </c:pt>
                <c:pt idx="264">
                  <c:v>Private Lab</c:v>
                </c:pt>
                <c:pt idx="265">
                  <c:v>Lactalis: A</c:v>
                </c:pt>
                <c:pt idx="266">
                  <c:v>Private Lab</c:v>
                </c:pt>
                <c:pt idx="267">
                  <c:v>Richesmonts</c:v>
                </c:pt>
                <c:pt idx="268">
                  <c:v>Private Lab</c:v>
                </c:pt>
                <c:pt idx="269">
                  <c:v>Apericube</c:v>
                </c:pt>
                <c:pt idx="270">
                  <c:v>Richesmonts</c:v>
                </c:pt>
                <c:pt idx="271">
                  <c:v>Boursin</c:v>
                </c:pt>
                <c:pt idx="272">
                  <c:v>All Others</c:v>
                </c:pt>
                <c:pt idx="273">
                  <c:v>All Others</c:v>
                </c:pt>
                <c:pt idx="274">
                  <c:v>Private Lab</c:v>
                </c:pt>
                <c:pt idx="275">
                  <c:v>Boursin</c:v>
                </c:pt>
                <c:pt idx="276">
                  <c:v>Private Lab</c:v>
                </c:pt>
                <c:pt idx="277">
                  <c:v>All Others</c:v>
                </c:pt>
                <c:pt idx="278">
                  <c:v>All Others</c:v>
                </c:pt>
                <c:pt idx="279">
                  <c:v>Galbani</c:v>
                </c:pt>
                <c:pt idx="280">
                  <c:v>Entremont</c:v>
                </c:pt>
                <c:pt idx="281">
                  <c:v>Private Lab</c:v>
                </c:pt>
                <c:pt idx="282">
                  <c:v>Private Lab</c:v>
                </c:pt>
                <c:pt idx="283">
                  <c:v>All Others</c:v>
                </c:pt>
                <c:pt idx="284">
                  <c:v>P'Tit Louis</c:v>
                </c:pt>
                <c:pt idx="285">
                  <c:v>Salakis</c:v>
                </c:pt>
                <c:pt idx="286">
                  <c:v>Richesmonts</c:v>
                </c:pt>
                <c:pt idx="287">
                  <c:v>All Others</c:v>
                </c:pt>
                <c:pt idx="288">
                  <c:v>St Moret</c:v>
                </c:pt>
                <c:pt idx="289">
                  <c:v>Private Lab</c:v>
                </c:pt>
                <c:pt idx="290">
                  <c:v>All Others</c:v>
                </c:pt>
                <c:pt idx="291">
                  <c:v>Soignon</c:v>
                </c:pt>
                <c:pt idx="292">
                  <c:v>Le Rustique</c:v>
                </c:pt>
                <c:pt idx="293">
                  <c:v>Violife</c:v>
                </c:pt>
                <c:pt idx="294">
                  <c:v>All Others</c:v>
                </c:pt>
                <c:pt idx="295">
                  <c:v>All Others</c:v>
                </c:pt>
                <c:pt idx="296">
                  <c:v>Private Lab</c:v>
                </c:pt>
                <c:pt idx="297">
                  <c:v>All Others</c:v>
                </c:pt>
                <c:pt idx="298">
                  <c:v>All Others</c:v>
                </c:pt>
                <c:pt idx="299">
                  <c:v>All Others</c:v>
                </c:pt>
                <c:pt idx="300">
                  <c:v>All Others</c:v>
                </c:pt>
                <c:pt idx="301">
                  <c:v>Vieux Pane</c:v>
                </c:pt>
                <c:pt idx="302">
                  <c:v>Milleret: A</c:v>
                </c:pt>
                <c:pt idx="303">
                  <c:v>All Others</c:v>
                </c:pt>
                <c:pt idx="304">
                  <c:v>Private Lab</c:v>
                </c:pt>
                <c:pt idx="305">
                  <c:v>Private Lab</c:v>
                </c:pt>
                <c:pt idx="306">
                  <c:v>Soignon</c:v>
                </c:pt>
                <c:pt idx="307">
                  <c:v>All Others</c:v>
                </c:pt>
                <c:pt idx="308">
                  <c:v>Richesmonts</c:v>
                </c:pt>
                <c:pt idx="309">
                  <c:v>All Others</c:v>
                </c:pt>
                <c:pt idx="310">
                  <c:v>Entremont</c:v>
                </c:pt>
                <c:pt idx="311">
                  <c:v>Carre Frais</c:v>
                </c:pt>
                <c:pt idx="312">
                  <c:v>Private Lab</c:v>
                </c:pt>
                <c:pt idx="313">
                  <c:v>All Others</c:v>
                </c:pt>
                <c:pt idx="314">
                  <c:v>Port Salut</c:v>
                </c:pt>
                <c:pt idx="315">
                  <c:v>Entremont</c:v>
                </c:pt>
                <c:pt idx="316">
                  <c:v>Galbani</c:v>
                </c:pt>
                <c:pt idx="317">
                  <c:v>All Others</c:v>
                </c:pt>
                <c:pt idx="318">
                  <c:v>All Others</c:v>
                </c:pt>
                <c:pt idx="319">
                  <c:v>Paysan Bret</c:v>
                </c:pt>
                <c:pt idx="320">
                  <c:v>All Others</c:v>
                </c:pt>
                <c:pt idx="321">
                  <c:v>Soignon</c:v>
                </c:pt>
                <c:pt idx="322">
                  <c:v>Coeur De Li</c:v>
                </c:pt>
                <c:pt idx="323">
                  <c:v>Private Lab</c:v>
                </c:pt>
                <c:pt idx="324">
                  <c:v>All Others</c:v>
                </c:pt>
                <c:pt idx="325">
                  <c:v>All Others</c:v>
                </c:pt>
                <c:pt idx="326">
                  <c:v>Fauquet</c:v>
                </c:pt>
                <c:pt idx="327">
                  <c:v>Private Lab</c:v>
                </c:pt>
                <c:pt idx="328">
                  <c:v>Eurial Autr</c:v>
                </c:pt>
                <c:pt idx="329">
                  <c:v>Private Lab</c:v>
                </c:pt>
                <c:pt idx="330">
                  <c:v>Soignon</c:v>
                </c:pt>
                <c:pt idx="331">
                  <c:v>Savencia: A</c:v>
                </c:pt>
                <c:pt idx="332">
                  <c:v>Milleret: A</c:v>
                </c:pt>
                <c:pt idx="333">
                  <c:v>All Others</c:v>
                </c:pt>
                <c:pt idx="334">
                  <c:v>Pochat</c:v>
                </c:pt>
                <c:pt idx="335">
                  <c:v>Lactalis: A</c:v>
                </c:pt>
                <c:pt idx="336">
                  <c:v>Paysan Bret</c:v>
                </c:pt>
                <c:pt idx="337">
                  <c:v>All Others</c:v>
                </c:pt>
                <c:pt idx="338">
                  <c:v>Boursin</c:v>
                </c:pt>
                <c:pt idx="339">
                  <c:v>Lactalis: A</c:v>
                </c:pt>
                <c:pt idx="340">
                  <c:v>Private Lab</c:v>
                </c:pt>
                <c:pt idx="341">
                  <c:v>Galbani</c:v>
                </c:pt>
                <c:pt idx="342">
                  <c:v>Entremont</c:v>
                </c:pt>
                <c:pt idx="343">
                  <c:v>Pave D'Affi</c:v>
                </c:pt>
                <c:pt idx="344">
                  <c:v>Casa Azzurr</c:v>
                </c:pt>
                <c:pt idx="345">
                  <c:v>Casa Azzurr</c:v>
                </c:pt>
                <c:pt idx="346">
                  <c:v>All Others</c:v>
                </c:pt>
                <c:pt idx="347">
                  <c:v>Istara</c:v>
                </c:pt>
                <c:pt idx="348">
                  <c:v>President</c:v>
                </c:pt>
                <c:pt idx="349">
                  <c:v>Apericube</c:v>
                </c:pt>
                <c:pt idx="350">
                  <c:v>La Vache Qu</c:v>
                </c:pt>
                <c:pt idx="351">
                  <c:v>Boursin</c:v>
                </c:pt>
                <c:pt idx="352">
                  <c:v>Violife</c:v>
                </c:pt>
                <c:pt idx="353">
                  <c:v>Mini Babybe</c:v>
                </c:pt>
                <c:pt idx="354">
                  <c:v>Eurial Autr</c:v>
                </c:pt>
                <c:pt idx="355">
                  <c:v>Private Lab</c:v>
                </c:pt>
                <c:pt idx="356">
                  <c:v>Port Salut</c:v>
                </c:pt>
                <c:pt idx="357">
                  <c:v>Etoile Du V</c:v>
                </c:pt>
                <c:pt idx="358">
                  <c:v>Casa Azzurr</c:v>
                </c:pt>
                <c:pt idx="359">
                  <c:v>Private Lab</c:v>
                </c:pt>
                <c:pt idx="360">
                  <c:v>All Others</c:v>
                </c:pt>
                <c:pt idx="361">
                  <c:v>O'Tapas Ape</c:v>
                </c:pt>
                <c:pt idx="362">
                  <c:v>Lou Perac</c:v>
                </c:pt>
                <c:pt idx="363">
                  <c:v>Kiri</c:v>
                </c:pt>
                <c:pt idx="364">
                  <c:v>All Others</c:v>
                </c:pt>
                <c:pt idx="365">
                  <c:v>All Others</c:v>
                </c:pt>
                <c:pt idx="366">
                  <c:v>All Others</c:v>
                </c:pt>
                <c:pt idx="367">
                  <c:v>Private Lab</c:v>
                </c:pt>
                <c:pt idx="368">
                  <c:v>Private Lab</c:v>
                </c:pt>
                <c:pt idx="369">
                  <c:v>All Others</c:v>
                </c:pt>
                <c:pt idx="370">
                  <c:v>All Others</c:v>
                </c:pt>
                <c:pt idx="371">
                  <c:v>Entremont</c:v>
                </c:pt>
                <c:pt idx="372">
                  <c:v>All Others</c:v>
                </c:pt>
                <c:pt idx="373">
                  <c:v>Private Lab</c:v>
                </c:pt>
                <c:pt idx="374">
                  <c:v>Lactalis: A</c:v>
                </c:pt>
                <c:pt idx="375">
                  <c:v>All Others</c:v>
                </c:pt>
                <c:pt idx="376">
                  <c:v>Fauquet</c:v>
                </c:pt>
                <c:pt idx="377">
                  <c:v>Entremont</c:v>
                </c:pt>
                <c:pt idx="378">
                  <c:v>All Others</c:v>
                </c:pt>
                <c:pt idx="379">
                  <c:v>La Pointe P</c:v>
                </c:pt>
                <c:pt idx="380">
                  <c:v>Lactalis: A</c:v>
                </c:pt>
                <c:pt idx="381">
                  <c:v>La Belle Et</c:v>
                </c:pt>
                <c:pt idx="382">
                  <c:v>Entremont</c:v>
                </c:pt>
                <c:pt idx="383">
                  <c:v>Mini Babybe</c:v>
                </c:pt>
                <c:pt idx="384">
                  <c:v>All Others</c:v>
                </c:pt>
                <c:pt idx="385">
                  <c:v>Juraflore</c:v>
                </c:pt>
                <c:pt idx="386">
                  <c:v>All Others</c:v>
                </c:pt>
                <c:pt idx="387">
                  <c:v>All Others</c:v>
                </c:pt>
                <c:pt idx="388">
                  <c:v>Private Lab</c:v>
                </c:pt>
                <c:pt idx="389">
                  <c:v>Private Lab</c:v>
                </c:pt>
                <c:pt idx="390">
                  <c:v>All Others</c:v>
                </c:pt>
                <c:pt idx="391">
                  <c:v>Private Lab</c:v>
                </c:pt>
                <c:pt idx="392">
                  <c:v>President</c:v>
                </c:pt>
                <c:pt idx="393">
                  <c:v>All Others</c:v>
                </c:pt>
                <c:pt idx="394">
                  <c:v>Private Lab</c:v>
                </c:pt>
                <c:pt idx="395">
                  <c:v>Private Lab</c:v>
                </c:pt>
                <c:pt idx="396">
                  <c:v>All Others</c:v>
                </c:pt>
                <c:pt idx="397">
                  <c:v>Chaussee Au</c:v>
                </c:pt>
                <c:pt idx="398">
                  <c:v>All Others</c:v>
                </c:pt>
                <c:pt idx="399">
                  <c:v>All Others</c:v>
                </c:pt>
                <c:pt idx="400">
                  <c:v>President</c:v>
                </c:pt>
                <c:pt idx="401">
                  <c:v>All Others</c:v>
                </c:pt>
                <c:pt idx="402">
                  <c:v>All Others</c:v>
                </c:pt>
                <c:pt idx="403">
                  <c:v>All Others</c:v>
                </c:pt>
                <c:pt idx="404">
                  <c:v>All Others</c:v>
                </c:pt>
                <c:pt idx="405">
                  <c:v>All Others</c:v>
                </c:pt>
                <c:pt idx="406">
                  <c:v>Richesmonts</c:v>
                </c:pt>
                <c:pt idx="407">
                  <c:v>All Others</c:v>
                </c:pt>
                <c:pt idx="408">
                  <c:v>Lactalis: A</c:v>
                </c:pt>
                <c:pt idx="409">
                  <c:v>All Others</c:v>
                </c:pt>
                <c:pt idx="410">
                  <c:v>Pave D'Affi</c:v>
                </c:pt>
                <c:pt idx="411">
                  <c:v>All Others</c:v>
                </c:pt>
                <c:pt idx="412">
                  <c:v>Richesmonts</c:v>
                </c:pt>
                <c:pt idx="413">
                  <c:v>La Vache Qu</c:v>
                </c:pt>
                <c:pt idx="414">
                  <c:v>All Others</c:v>
                </c:pt>
                <c:pt idx="415">
                  <c:v>La Belle Et</c:v>
                </c:pt>
                <c:pt idx="416">
                  <c:v>Private Lab</c:v>
                </c:pt>
                <c:pt idx="417">
                  <c:v>All Others</c:v>
                </c:pt>
                <c:pt idx="418">
                  <c:v>President</c:v>
                </c:pt>
                <c:pt idx="419">
                  <c:v>Pave D'Affi</c:v>
                </c:pt>
                <c:pt idx="420">
                  <c:v>Nurishh</c:v>
                </c:pt>
                <c:pt idx="421">
                  <c:v>All Others</c:v>
                </c:pt>
                <c:pt idx="422">
                  <c:v>Richesmonts</c:v>
                </c:pt>
                <c:pt idx="423">
                  <c:v>Private Lab</c:v>
                </c:pt>
                <c:pt idx="424">
                  <c:v>Private Lab</c:v>
                </c:pt>
                <c:pt idx="425">
                  <c:v>Chaussee Au</c:v>
                </c:pt>
                <c:pt idx="426">
                  <c:v>Etoile Du V</c:v>
                </c:pt>
                <c:pt idx="427">
                  <c:v>All Others</c:v>
                </c:pt>
                <c:pt idx="428">
                  <c:v>All Others</c:v>
                </c:pt>
                <c:pt idx="429">
                  <c:v>Lactalis: A</c:v>
                </c:pt>
                <c:pt idx="430">
                  <c:v>All Others</c:v>
                </c:pt>
                <c:pt idx="431">
                  <c:v>All Others</c:v>
                </c:pt>
                <c:pt idx="432">
                  <c:v>Lactalis: A</c:v>
                </c:pt>
                <c:pt idx="433">
                  <c:v>All Others</c:v>
                </c:pt>
                <c:pt idx="434">
                  <c:v>Violife</c:v>
                </c:pt>
                <c:pt idx="435">
                  <c:v>All Others</c:v>
                </c:pt>
                <c:pt idx="436">
                  <c:v>All Others</c:v>
                </c:pt>
                <c:pt idx="437">
                  <c:v>Private Lab</c:v>
                </c:pt>
                <c:pt idx="438">
                  <c:v>All Others</c:v>
                </c:pt>
                <c:pt idx="439">
                  <c:v>Lactalis: A</c:v>
                </c:pt>
                <c:pt idx="440">
                  <c:v>All Others</c:v>
                </c:pt>
                <c:pt idx="441">
                  <c:v>Lactalis: A</c:v>
                </c:pt>
                <c:pt idx="442">
                  <c:v>All Others</c:v>
                </c:pt>
                <c:pt idx="443">
                  <c:v>All Others</c:v>
                </c:pt>
                <c:pt idx="444">
                  <c:v>Private Lab</c:v>
                </c:pt>
                <c:pt idx="445">
                  <c:v>Mini Babybe</c:v>
                </c:pt>
                <c:pt idx="446">
                  <c:v>La Belle Et</c:v>
                </c:pt>
                <c:pt idx="447">
                  <c:v>Private Lab</c:v>
                </c:pt>
                <c:pt idx="448">
                  <c:v>All Others</c:v>
                </c:pt>
                <c:pt idx="449">
                  <c:v>All Others</c:v>
                </c:pt>
                <c:pt idx="450">
                  <c:v>All Others</c:v>
                </c:pt>
                <c:pt idx="451">
                  <c:v>La Vache Qu</c:v>
                </c:pt>
                <c:pt idx="452">
                  <c:v>All Others</c:v>
                </c:pt>
                <c:pt idx="453">
                  <c:v>Savencia: A</c:v>
                </c:pt>
                <c:pt idx="454">
                  <c:v>All Others</c:v>
                </c:pt>
                <c:pt idx="455">
                  <c:v>All Others</c:v>
                </c:pt>
                <c:pt idx="456">
                  <c:v>All Others</c:v>
                </c:pt>
                <c:pt idx="457">
                  <c:v>All Others</c:v>
                </c:pt>
                <c:pt idx="458">
                  <c:v>All Others</c:v>
                </c:pt>
                <c:pt idx="459">
                  <c:v>All Others</c:v>
                </c:pt>
                <c:pt idx="460">
                  <c:v>All Others</c:v>
                </c:pt>
                <c:pt idx="461">
                  <c:v>All Others</c:v>
                </c:pt>
                <c:pt idx="462">
                  <c:v>All Others</c:v>
                </c:pt>
                <c:pt idx="463">
                  <c:v>All Others</c:v>
                </c:pt>
                <c:pt idx="464">
                  <c:v>All Others</c:v>
                </c:pt>
                <c:pt idx="465">
                  <c:v>All Others</c:v>
                </c:pt>
                <c:pt idx="466">
                  <c:v>P'Tit Louis</c:v>
                </c:pt>
                <c:pt idx="467">
                  <c:v>All Others</c:v>
                </c:pt>
                <c:pt idx="468">
                  <c:v>La Pointe P</c:v>
                </c:pt>
                <c:pt idx="469">
                  <c:v>All Others</c:v>
                </c:pt>
                <c:pt idx="470">
                  <c:v>Boursin</c:v>
                </c:pt>
                <c:pt idx="471">
                  <c:v>All Others</c:v>
                </c:pt>
                <c:pt idx="472">
                  <c:v>All Others</c:v>
                </c:pt>
                <c:pt idx="473">
                  <c:v>All Others</c:v>
                </c:pt>
                <c:pt idx="474">
                  <c:v>La Vache Qu</c:v>
                </c:pt>
                <c:pt idx="475">
                  <c:v>All Others</c:v>
                </c:pt>
                <c:pt idx="476">
                  <c:v>Entremont</c:v>
                </c:pt>
                <c:pt idx="477">
                  <c:v>Leerdammer</c:v>
                </c:pt>
                <c:pt idx="478">
                  <c:v>Societe</c:v>
                </c:pt>
                <c:pt idx="479">
                  <c:v>All Others</c:v>
                </c:pt>
                <c:pt idx="480">
                  <c:v>All Others</c:v>
                </c:pt>
                <c:pt idx="481">
                  <c:v>Private Lab</c:v>
                </c:pt>
                <c:pt idx="482">
                  <c:v>All Others</c:v>
                </c:pt>
                <c:pt idx="483">
                  <c:v>Private Lab</c:v>
                </c:pt>
                <c:pt idx="484">
                  <c:v>All Others</c:v>
                </c:pt>
                <c:pt idx="485">
                  <c:v>Lactalis: A</c:v>
                </c:pt>
                <c:pt idx="486">
                  <c:v>All Others</c:v>
                </c:pt>
                <c:pt idx="487">
                  <c:v>All Others</c:v>
                </c:pt>
                <c:pt idx="488">
                  <c:v>Leerdammer</c:v>
                </c:pt>
                <c:pt idx="489">
                  <c:v>Private Lab</c:v>
                </c:pt>
                <c:pt idx="490">
                  <c:v>Lactalis: A</c:v>
                </c:pt>
                <c:pt idx="491">
                  <c:v>All Others</c:v>
                </c:pt>
                <c:pt idx="492">
                  <c:v>Richesmonts</c:v>
                </c:pt>
                <c:pt idx="493">
                  <c:v>All Others</c:v>
                </c:pt>
                <c:pt idx="494">
                  <c:v>All Others</c:v>
                </c:pt>
                <c:pt idx="495">
                  <c:v>All Others</c:v>
                </c:pt>
                <c:pt idx="496">
                  <c:v>All Others</c:v>
                </c:pt>
                <c:pt idx="497">
                  <c:v>Paysan Bret</c:v>
                </c:pt>
                <c:pt idx="498">
                  <c:v>All Others</c:v>
                </c:pt>
                <c:pt idx="499">
                  <c:v>La Belle Et</c:v>
                </c:pt>
                <c:pt idx="500">
                  <c:v>President</c:v>
                </c:pt>
                <c:pt idx="501">
                  <c:v>All Others</c:v>
                </c:pt>
                <c:pt idx="502">
                  <c:v>All Others</c:v>
                </c:pt>
                <c:pt idx="503">
                  <c:v>Etoile Du V</c:v>
                </c:pt>
                <c:pt idx="504">
                  <c:v>Milleret: A</c:v>
                </c:pt>
                <c:pt idx="505">
                  <c:v>Apericube</c:v>
                </c:pt>
                <c:pt idx="506">
                  <c:v>Lactalis: A</c:v>
                </c:pt>
                <c:pt idx="507">
                  <c:v>Lou Perac</c:v>
                </c:pt>
                <c:pt idx="508">
                  <c:v>All Others</c:v>
                </c:pt>
                <c:pt idx="509">
                  <c:v>Lactalis: A</c:v>
                </c:pt>
                <c:pt idx="510">
                  <c:v>All Others</c:v>
                </c:pt>
                <c:pt idx="511">
                  <c:v>All Others</c:v>
                </c:pt>
                <c:pt idx="512">
                  <c:v>Galbani</c:v>
                </c:pt>
                <c:pt idx="513">
                  <c:v>All Others</c:v>
                </c:pt>
                <c:pt idx="514">
                  <c:v>All Others</c:v>
                </c:pt>
                <c:pt idx="515">
                  <c:v>All Others</c:v>
                </c:pt>
                <c:pt idx="516">
                  <c:v>Pave D'Affi</c:v>
                </c:pt>
                <c:pt idx="517">
                  <c:v>Lactalis: A</c:v>
                </c:pt>
                <c:pt idx="518">
                  <c:v>All Others</c:v>
                </c:pt>
                <c:pt idx="519">
                  <c:v>Private Lab</c:v>
                </c:pt>
                <c:pt idx="520">
                  <c:v>Savencia: A</c:v>
                </c:pt>
                <c:pt idx="521">
                  <c:v>Private Lab</c:v>
                </c:pt>
                <c:pt idx="522">
                  <c:v>La Pointe P</c:v>
                </c:pt>
                <c:pt idx="523">
                  <c:v>All Others</c:v>
                </c:pt>
                <c:pt idx="524">
                  <c:v>Lactalis: A</c:v>
                </c:pt>
                <c:pt idx="525">
                  <c:v>Ficello</c:v>
                </c:pt>
                <c:pt idx="526">
                  <c:v>All Others</c:v>
                </c:pt>
                <c:pt idx="527">
                  <c:v>All Others</c:v>
                </c:pt>
                <c:pt idx="528">
                  <c:v>All Others</c:v>
                </c:pt>
                <c:pt idx="529">
                  <c:v>Violife</c:v>
                </c:pt>
                <c:pt idx="530">
                  <c:v>Chavroux</c:v>
                </c:pt>
                <c:pt idx="531">
                  <c:v>All Others</c:v>
                </c:pt>
                <c:pt idx="532">
                  <c:v>Private Lab</c:v>
                </c:pt>
                <c:pt idx="533">
                  <c:v>All Others</c:v>
                </c:pt>
                <c:pt idx="534">
                  <c:v>All Others</c:v>
                </c:pt>
                <c:pt idx="535">
                  <c:v>All Others</c:v>
                </c:pt>
                <c:pt idx="536">
                  <c:v>All Others</c:v>
                </c:pt>
                <c:pt idx="537">
                  <c:v>Private Lab</c:v>
                </c:pt>
                <c:pt idx="538">
                  <c:v>Kiri</c:v>
                </c:pt>
                <c:pt idx="539">
                  <c:v>All Others</c:v>
                </c:pt>
                <c:pt idx="540">
                  <c:v>Societe</c:v>
                </c:pt>
                <c:pt idx="541">
                  <c:v>All Others</c:v>
                </c:pt>
                <c:pt idx="542">
                  <c:v>All Others</c:v>
                </c:pt>
                <c:pt idx="543">
                  <c:v>All Others</c:v>
                </c:pt>
                <c:pt idx="544">
                  <c:v>Leerdammer</c:v>
                </c:pt>
                <c:pt idx="545">
                  <c:v>All Others</c:v>
                </c:pt>
                <c:pt idx="546">
                  <c:v>Richesmonts</c:v>
                </c:pt>
                <c:pt idx="547">
                  <c:v>All Others</c:v>
                </c:pt>
                <c:pt idx="548">
                  <c:v>Leerdammer</c:v>
                </c:pt>
                <c:pt idx="549">
                  <c:v>Mini Babybe</c:v>
                </c:pt>
                <c:pt idx="550">
                  <c:v>All Others</c:v>
                </c:pt>
                <c:pt idx="551">
                  <c:v>All Others</c:v>
                </c:pt>
                <c:pt idx="552">
                  <c:v>All Others</c:v>
                </c:pt>
                <c:pt idx="553">
                  <c:v>La Belle Et</c:v>
                </c:pt>
                <c:pt idx="554">
                  <c:v>All Others</c:v>
                </c:pt>
                <c:pt idx="555">
                  <c:v>Etoile Du V</c:v>
                </c:pt>
                <c:pt idx="556">
                  <c:v>All Others</c:v>
                </c:pt>
                <c:pt idx="557">
                  <c:v>All Others</c:v>
                </c:pt>
                <c:pt idx="558">
                  <c:v>All Others</c:v>
                </c:pt>
                <c:pt idx="559">
                  <c:v>All Others</c:v>
                </c:pt>
                <c:pt idx="560">
                  <c:v>Societe</c:v>
                </c:pt>
                <c:pt idx="561">
                  <c:v>All Others</c:v>
                </c:pt>
                <c:pt idx="562">
                  <c:v>All Others</c:v>
                </c:pt>
                <c:pt idx="563">
                  <c:v>All Others</c:v>
                </c:pt>
                <c:pt idx="564">
                  <c:v>All Others</c:v>
                </c:pt>
                <c:pt idx="565">
                  <c:v>All Others</c:v>
                </c:pt>
                <c:pt idx="566">
                  <c:v>All Others</c:v>
                </c:pt>
                <c:pt idx="567">
                  <c:v>All Others</c:v>
                </c:pt>
                <c:pt idx="568">
                  <c:v>All Others</c:v>
                </c:pt>
                <c:pt idx="569">
                  <c:v>All Others</c:v>
                </c:pt>
                <c:pt idx="570">
                  <c:v>All Others</c:v>
                </c:pt>
                <c:pt idx="571">
                  <c:v>All Others</c:v>
                </c:pt>
                <c:pt idx="572">
                  <c:v>Triballat R</c:v>
                </c:pt>
                <c:pt idx="573">
                  <c:v>Pochat</c:v>
                </c:pt>
                <c:pt idx="574">
                  <c:v>Leerdammer</c:v>
                </c:pt>
                <c:pt idx="575">
                  <c:v>All Others</c:v>
                </c:pt>
                <c:pt idx="576">
                  <c:v>L'Ortolan</c:v>
                </c:pt>
                <c:pt idx="577">
                  <c:v>Lactalis: A</c:v>
                </c:pt>
                <c:pt idx="578">
                  <c:v>All Others</c:v>
                </c:pt>
                <c:pt idx="579">
                  <c:v>Philadelphi</c:v>
                </c:pt>
                <c:pt idx="580">
                  <c:v>Etoile Du V</c:v>
                </c:pt>
                <c:pt idx="581">
                  <c:v>Triballat R</c:v>
                </c:pt>
                <c:pt idx="582">
                  <c:v>Lactalis: A</c:v>
                </c:pt>
                <c:pt idx="583">
                  <c:v>All Others</c:v>
                </c:pt>
                <c:pt idx="584">
                  <c:v>Savencia: A</c:v>
                </c:pt>
                <c:pt idx="585">
                  <c:v>All Others</c:v>
                </c:pt>
                <c:pt idx="586">
                  <c:v>All Others</c:v>
                </c:pt>
                <c:pt idx="587">
                  <c:v>Etoile Du V</c:v>
                </c:pt>
                <c:pt idx="588">
                  <c:v>Private Lab</c:v>
                </c:pt>
                <c:pt idx="589">
                  <c:v>Private Lab</c:v>
                </c:pt>
                <c:pt idx="590">
                  <c:v>All Others</c:v>
                </c:pt>
                <c:pt idx="591">
                  <c:v>All Others</c:v>
                </c:pt>
                <c:pt idx="592">
                  <c:v>All Others</c:v>
                </c:pt>
                <c:pt idx="593">
                  <c:v>All Others</c:v>
                </c:pt>
                <c:pt idx="594">
                  <c:v>All Others</c:v>
                </c:pt>
                <c:pt idx="595">
                  <c:v>All Others</c:v>
                </c:pt>
                <c:pt idx="596">
                  <c:v>All Others</c:v>
                </c:pt>
                <c:pt idx="597">
                  <c:v>Eurial Autr</c:v>
                </c:pt>
                <c:pt idx="598">
                  <c:v>Raguin</c:v>
                </c:pt>
                <c:pt idx="599">
                  <c:v>All Others</c:v>
                </c:pt>
                <c:pt idx="600">
                  <c:v>All Others</c:v>
                </c:pt>
                <c:pt idx="601">
                  <c:v>Etoile Du Q</c:v>
                </c:pt>
                <c:pt idx="602">
                  <c:v>All Others</c:v>
                </c:pt>
                <c:pt idx="603">
                  <c:v>All Others</c:v>
                </c:pt>
                <c:pt idx="604">
                  <c:v>Savencia: A</c:v>
                </c:pt>
                <c:pt idx="605">
                  <c:v>All Others</c:v>
                </c:pt>
                <c:pt idx="606">
                  <c:v>All Others</c:v>
                </c:pt>
                <c:pt idx="607">
                  <c:v>All Others</c:v>
                </c:pt>
                <c:pt idx="608">
                  <c:v>Savencia: A</c:v>
                </c:pt>
                <c:pt idx="609">
                  <c:v>Triballat R</c:v>
                </c:pt>
                <c:pt idx="610">
                  <c:v>All Others</c:v>
                </c:pt>
                <c:pt idx="611">
                  <c:v>All Others</c:v>
                </c:pt>
                <c:pt idx="612">
                  <c:v>All Others</c:v>
                </c:pt>
                <c:pt idx="613">
                  <c:v>St Moret</c:v>
                </c:pt>
                <c:pt idx="614">
                  <c:v>Lactalis: A</c:v>
                </c:pt>
                <c:pt idx="615">
                  <c:v>All Others</c:v>
                </c:pt>
                <c:pt idx="616">
                  <c:v>Nurishh</c:v>
                </c:pt>
                <c:pt idx="617">
                  <c:v>All Others</c:v>
                </c:pt>
                <c:pt idx="618">
                  <c:v>All Others</c:v>
                </c:pt>
                <c:pt idx="619">
                  <c:v>All Others</c:v>
                </c:pt>
                <c:pt idx="620">
                  <c:v>Savencia: A</c:v>
                </c:pt>
                <c:pt idx="621">
                  <c:v>All Others</c:v>
                </c:pt>
                <c:pt idx="622">
                  <c:v>All Others</c:v>
                </c:pt>
                <c:pt idx="623">
                  <c:v>All Others</c:v>
                </c:pt>
                <c:pt idx="624">
                  <c:v>All Others</c:v>
                </c:pt>
                <c:pt idx="625">
                  <c:v>La Belle Et</c:v>
                </c:pt>
                <c:pt idx="626">
                  <c:v>All Others</c:v>
                </c:pt>
                <c:pt idx="627">
                  <c:v>All Others</c:v>
                </c:pt>
                <c:pt idx="628">
                  <c:v>All Others</c:v>
                </c:pt>
                <c:pt idx="629">
                  <c:v>All Others</c:v>
                </c:pt>
                <c:pt idx="630">
                  <c:v>All Others</c:v>
                </c:pt>
                <c:pt idx="631">
                  <c:v>Lactalis: A</c:v>
                </c:pt>
                <c:pt idx="632">
                  <c:v>Ficello</c:v>
                </c:pt>
                <c:pt idx="633">
                  <c:v>All Others</c:v>
                </c:pt>
                <c:pt idx="634">
                  <c:v>Lactalis: A</c:v>
                </c:pt>
                <c:pt idx="635">
                  <c:v>All Others</c:v>
                </c:pt>
                <c:pt idx="636">
                  <c:v>All Others</c:v>
                </c:pt>
                <c:pt idx="637">
                  <c:v>Triballat N</c:v>
                </c:pt>
                <c:pt idx="638">
                  <c:v>All Others</c:v>
                </c:pt>
                <c:pt idx="639">
                  <c:v>All Others</c:v>
                </c:pt>
                <c:pt idx="640">
                  <c:v>All Others</c:v>
                </c:pt>
                <c:pt idx="641">
                  <c:v>Etoile Du V</c:v>
                </c:pt>
                <c:pt idx="642">
                  <c:v>Nurishh</c:v>
                </c:pt>
                <c:pt idx="643">
                  <c:v>All Others</c:v>
                </c:pt>
                <c:pt idx="644">
                  <c:v>All Others</c:v>
                </c:pt>
                <c:pt idx="645">
                  <c:v>All Others</c:v>
                </c:pt>
                <c:pt idx="646">
                  <c:v>All Others</c:v>
                </c:pt>
                <c:pt idx="647">
                  <c:v>All Others</c:v>
                </c:pt>
                <c:pt idx="648">
                  <c:v>Lactalis: A</c:v>
                </c:pt>
                <c:pt idx="649">
                  <c:v>All Others</c:v>
                </c:pt>
                <c:pt idx="650">
                  <c:v>All Others</c:v>
                </c:pt>
                <c:pt idx="651">
                  <c:v>All Others</c:v>
                </c:pt>
                <c:pt idx="652">
                  <c:v>All Others</c:v>
                </c:pt>
                <c:pt idx="653">
                  <c:v>Saint Albra</c:v>
                </c:pt>
                <c:pt idx="654">
                  <c:v>Private Lab</c:v>
                </c:pt>
                <c:pt idx="655">
                  <c:v>All Others</c:v>
                </c:pt>
                <c:pt idx="656">
                  <c:v>All Others</c:v>
                </c:pt>
                <c:pt idx="657">
                  <c:v>All Others</c:v>
                </c:pt>
                <c:pt idx="658">
                  <c:v>All Others</c:v>
                </c:pt>
                <c:pt idx="659">
                  <c:v>All Others</c:v>
                </c:pt>
                <c:pt idx="660">
                  <c:v>All Others</c:v>
                </c:pt>
                <c:pt idx="661">
                  <c:v>All Others</c:v>
                </c:pt>
                <c:pt idx="662">
                  <c:v>Savencia: A</c:v>
                </c:pt>
                <c:pt idx="663">
                  <c:v>All Others</c:v>
                </c:pt>
                <c:pt idx="664">
                  <c:v>All Others</c:v>
                </c:pt>
                <c:pt idx="665">
                  <c:v>All Others</c:v>
                </c:pt>
                <c:pt idx="666">
                  <c:v>All Others</c:v>
                </c:pt>
                <c:pt idx="667">
                  <c:v>Saint Agur</c:v>
                </c:pt>
                <c:pt idx="668">
                  <c:v>Private Lab</c:v>
                </c:pt>
                <c:pt idx="669">
                  <c:v>All Others</c:v>
                </c:pt>
                <c:pt idx="670">
                  <c:v>All Others</c:v>
                </c:pt>
                <c:pt idx="671">
                  <c:v>Private Lab</c:v>
                </c:pt>
                <c:pt idx="672">
                  <c:v>All Others</c:v>
                </c:pt>
                <c:pt idx="673">
                  <c:v>Raguin</c:v>
                </c:pt>
                <c:pt idx="674">
                  <c:v>All Others</c:v>
                </c:pt>
                <c:pt idx="675">
                  <c:v>All Others</c:v>
                </c:pt>
                <c:pt idx="676">
                  <c:v>La Belle Et</c:v>
                </c:pt>
                <c:pt idx="677">
                  <c:v>All Others</c:v>
                </c:pt>
                <c:pt idx="678">
                  <c:v>Private Lab</c:v>
                </c:pt>
                <c:pt idx="679">
                  <c:v>All Others</c:v>
                </c:pt>
                <c:pt idx="680">
                  <c:v>Tartare</c:v>
                </c:pt>
                <c:pt idx="681">
                  <c:v>Lactalis: A</c:v>
                </c:pt>
                <c:pt idx="682">
                  <c:v>All Others</c:v>
                </c:pt>
                <c:pt idx="683">
                  <c:v>Private Lab</c:v>
                </c:pt>
                <c:pt idx="684">
                  <c:v>Private Lab</c:v>
                </c:pt>
                <c:pt idx="685">
                  <c:v>Parmareggio</c:v>
                </c:pt>
                <c:pt idx="686">
                  <c:v>All Others</c:v>
                </c:pt>
                <c:pt idx="687">
                  <c:v>All Others</c:v>
                </c:pt>
                <c:pt idx="688">
                  <c:v>Juraflore</c:v>
                </c:pt>
                <c:pt idx="689">
                  <c:v>All Others</c:v>
                </c:pt>
                <c:pt idx="690">
                  <c:v>All Others</c:v>
                </c:pt>
                <c:pt idx="691">
                  <c:v>La Pointe P</c:v>
                </c:pt>
                <c:pt idx="692">
                  <c:v>All Others</c:v>
                </c:pt>
                <c:pt idx="693">
                  <c:v>All Others</c:v>
                </c:pt>
                <c:pt idx="694">
                  <c:v>All Others</c:v>
                </c:pt>
                <c:pt idx="695">
                  <c:v>Paysan Bret</c:v>
                </c:pt>
                <c:pt idx="696">
                  <c:v>Etoile Du V</c:v>
                </c:pt>
                <c:pt idx="697">
                  <c:v>All Others</c:v>
                </c:pt>
                <c:pt idx="698">
                  <c:v>All Others</c:v>
                </c:pt>
                <c:pt idx="699">
                  <c:v>All Others</c:v>
                </c:pt>
                <c:pt idx="700">
                  <c:v>Lactalis: A</c:v>
                </c:pt>
                <c:pt idx="701">
                  <c:v>All Others</c:v>
                </c:pt>
                <c:pt idx="702">
                  <c:v>All Others</c:v>
                </c:pt>
                <c:pt idx="703">
                  <c:v>Eurial Autr</c:v>
                </c:pt>
                <c:pt idx="704">
                  <c:v>Apericube</c:v>
                </c:pt>
                <c:pt idx="705">
                  <c:v>Societe</c:v>
                </c:pt>
                <c:pt idx="706">
                  <c:v>La Belle Et</c:v>
                </c:pt>
                <c:pt idx="707">
                  <c:v>All Others</c:v>
                </c:pt>
                <c:pt idx="708">
                  <c:v>Raguin</c:v>
                </c:pt>
                <c:pt idx="709">
                  <c:v>All Others</c:v>
                </c:pt>
                <c:pt idx="710">
                  <c:v>All Others</c:v>
                </c:pt>
                <c:pt idx="711">
                  <c:v>All Others</c:v>
                </c:pt>
                <c:pt idx="712">
                  <c:v>All Others</c:v>
                </c:pt>
                <c:pt idx="713">
                  <c:v>All Others</c:v>
                </c:pt>
                <c:pt idx="714">
                  <c:v>La Belle Et</c:v>
                </c:pt>
                <c:pt idx="715">
                  <c:v>All Others</c:v>
                </c:pt>
                <c:pt idx="716">
                  <c:v>All Others</c:v>
                </c:pt>
                <c:pt idx="717">
                  <c:v>O'Tapas Ape</c:v>
                </c:pt>
                <c:pt idx="718">
                  <c:v>Mini Babybe</c:v>
                </c:pt>
                <c:pt idx="719">
                  <c:v>All Others</c:v>
                </c:pt>
                <c:pt idx="720">
                  <c:v>Private Lab</c:v>
                </c:pt>
                <c:pt idx="721">
                  <c:v>All Others</c:v>
                </c:pt>
                <c:pt idx="722">
                  <c:v>All Others</c:v>
                </c:pt>
                <c:pt idx="723">
                  <c:v>All Others</c:v>
                </c:pt>
                <c:pt idx="724">
                  <c:v>All Others</c:v>
                </c:pt>
                <c:pt idx="725">
                  <c:v>Corsica</c:v>
                </c:pt>
                <c:pt idx="726">
                  <c:v>All Others</c:v>
                </c:pt>
                <c:pt idx="727">
                  <c:v>All Others</c:v>
                </c:pt>
                <c:pt idx="728">
                  <c:v>All Others</c:v>
                </c:pt>
                <c:pt idx="729">
                  <c:v>All Others</c:v>
                </c:pt>
                <c:pt idx="730">
                  <c:v>All Others</c:v>
                </c:pt>
                <c:pt idx="731">
                  <c:v>All Others</c:v>
                </c:pt>
                <c:pt idx="732">
                  <c:v>All Others</c:v>
                </c:pt>
                <c:pt idx="733">
                  <c:v>All Others</c:v>
                </c:pt>
                <c:pt idx="734">
                  <c:v>All Others</c:v>
                </c:pt>
                <c:pt idx="735">
                  <c:v>All Others</c:v>
                </c:pt>
                <c:pt idx="736">
                  <c:v>Boursin</c:v>
                </c:pt>
                <c:pt idx="737">
                  <c:v>O'Tapas Ape</c:v>
                </c:pt>
                <c:pt idx="738">
                  <c:v>All Others</c:v>
                </c:pt>
                <c:pt idx="739">
                  <c:v>All Others</c:v>
                </c:pt>
                <c:pt idx="740">
                  <c:v>All Others</c:v>
                </c:pt>
                <c:pt idx="741">
                  <c:v>Soignon</c:v>
                </c:pt>
                <c:pt idx="742">
                  <c:v>All Others</c:v>
                </c:pt>
                <c:pt idx="743">
                  <c:v>Etoile Du Q</c:v>
                </c:pt>
                <c:pt idx="744">
                  <c:v>All Others</c:v>
                </c:pt>
                <c:pt idx="745">
                  <c:v>All Others</c:v>
                </c:pt>
                <c:pt idx="746">
                  <c:v>All Others</c:v>
                </c:pt>
                <c:pt idx="747">
                  <c:v>All Others</c:v>
                </c:pt>
                <c:pt idx="748">
                  <c:v>La Belle Et</c:v>
                </c:pt>
                <c:pt idx="749">
                  <c:v>All Others</c:v>
                </c:pt>
                <c:pt idx="750">
                  <c:v>All Others</c:v>
                </c:pt>
                <c:pt idx="751">
                  <c:v>All Others</c:v>
                </c:pt>
                <c:pt idx="752">
                  <c:v>All Others</c:v>
                </c:pt>
                <c:pt idx="753">
                  <c:v>Raguin</c:v>
                </c:pt>
                <c:pt idx="754">
                  <c:v>All Others</c:v>
                </c:pt>
                <c:pt idx="755">
                  <c:v>All Others</c:v>
                </c:pt>
                <c:pt idx="756">
                  <c:v>All Others</c:v>
                </c:pt>
                <c:pt idx="757">
                  <c:v>All Others</c:v>
                </c:pt>
                <c:pt idx="758">
                  <c:v>Lactalis: A</c:v>
                </c:pt>
                <c:pt idx="759">
                  <c:v>All Others</c:v>
                </c:pt>
                <c:pt idx="760">
                  <c:v>Private Lab</c:v>
                </c:pt>
                <c:pt idx="761">
                  <c:v>All Others</c:v>
                </c:pt>
                <c:pt idx="762">
                  <c:v>All Others</c:v>
                </c:pt>
                <c:pt idx="763">
                  <c:v>All Others</c:v>
                </c:pt>
                <c:pt idx="764">
                  <c:v>Pave D'Affi</c:v>
                </c:pt>
                <c:pt idx="765">
                  <c:v>All Others</c:v>
                </c:pt>
                <c:pt idx="766">
                  <c:v>All Others</c:v>
                </c:pt>
                <c:pt idx="767">
                  <c:v>All Others</c:v>
                </c:pt>
                <c:pt idx="768">
                  <c:v>All Others</c:v>
                </c:pt>
                <c:pt idx="769">
                  <c:v>All Others</c:v>
                </c:pt>
                <c:pt idx="770">
                  <c:v>All Others</c:v>
                </c:pt>
                <c:pt idx="771">
                  <c:v>All Others</c:v>
                </c:pt>
                <c:pt idx="772">
                  <c:v>All Others</c:v>
                </c:pt>
                <c:pt idx="773">
                  <c:v>All Others</c:v>
                </c:pt>
                <c:pt idx="774">
                  <c:v>All Others</c:v>
                </c:pt>
                <c:pt idx="775">
                  <c:v>All Others</c:v>
                </c:pt>
                <c:pt idx="776">
                  <c:v>All Others</c:v>
                </c:pt>
                <c:pt idx="777">
                  <c:v>Savencia: A</c:v>
                </c:pt>
                <c:pt idx="778">
                  <c:v>La Belle Et</c:v>
                </c:pt>
                <c:pt idx="779">
                  <c:v>La Belle Et</c:v>
                </c:pt>
                <c:pt idx="780">
                  <c:v>Private Lab</c:v>
                </c:pt>
                <c:pt idx="781">
                  <c:v>All Others</c:v>
                </c:pt>
                <c:pt idx="782">
                  <c:v>All Others</c:v>
                </c:pt>
                <c:pt idx="783">
                  <c:v>All Others</c:v>
                </c:pt>
                <c:pt idx="784">
                  <c:v>Lactalis: A</c:v>
                </c:pt>
                <c:pt idx="785">
                  <c:v>All Others</c:v>
                </c:pt>
                <c:pt idx="786">
                  <c:v>All Others</c:v>
                </c:pt>
                <c:pt idx="787">
                  <c:v>All Others</c:v>
                </c:pt>
                <c:pt idx="788">
                  <c:v>All Others</c:v>
                </c:pt>
                <c:pt idx="789">
                  <c:v>All Others</c:v>
                </c:pt>
                <c:pt idx="790">
                  <c:v>All Others</c:v>
                </c:pt>
                <c:pt idx="791">
                  <c:v>Private Lab</c:v>
                </c:pt>
                <c:pt idx="792">
                  <c:v>All Others</c:v>
                </c:pt>
                <c:pt idx="793">
                  <c:v>Nurishh</c:v>
                </c:pt>
                <c:pt idx="794">
                  <c:v>All Others</c:v>
                </c:pt>
                <c:pt idx="795">
                  <c:v>All Others</c:v>
                </c:pt>
                <c:pt idx="796">
                  <c:v>All Others</c:v>
                </c:pt>
                <c:pt idx="797">
                  <c:v>All Others</c:v>
                </c:pt>
                <c:pt idx="798">
                  <c:v>All Others</c:v>
                </c:pt>
                <c:pt idx="799">
                  <c:v>All Others</c:v>
                </c:pt>
                <c:pt idx="800">
                  <c:v>All Others</c:v>
                </c:pt>
                <c:pt idx="801">
                  <c:v>All Others</c:v>
                </c:pt>
                <c:pt idx="802">
                  <c:v>La Belle Et</c:v>
                </c:pt>
                <c:pt idx="803">
                  <c:v>Eurial Autr</c:v>
                </c:pt>
                <c:pt idx="804">
                  <c:v>Lactalis: A</c:v>
                </c:pt>
                <c:pt idx="805">
                  <c:v>All Others</c:v>
                </c:pt>
                <c:pt idx="806">
                  <c:v>All Others</c:v>
                </c:pt>
                <c:pt idx="807">
                  <c:v>All Others</c:v>
                </c:pt>
                <c:pt idx="808">
                  <c:v>Private Lab</c:v>
                </c:pt>
                <c:pt idx="809">
                  <c:v>All Others</c:v>
                </c:pt>
                <c:pt idx="810">
                  <c:v>All Others</c:v>
                </c:pt>
                <c:pt idx="811">
                  <c:v>La Belle Et</c:v>
                </c:pt>
                <c:pt idx="812">
                  <c:v>All Others</c:v>
                </c:pt>
                <c:pt idx="813">
                  <c:v>All Others</c:v>
                </c:pt>
                <c:pt idx="814">
                  <c:v>All Others</c:v>
                </c:pt>
                <c:pt idx="815">
                  <c:v>All Others</c:v>
                </c:pt>
                <c:pt idx="816">
                  <c:v>All Others</c:v>
                </c:pt>
                <c:pt idx="817">
                  <c:v>La Belle Et</c:v>
                </c:pt>
                <c:pt idx="818">
                  <c:v>All Others</c:v>
                </c:pt>
                <c:pt idx="819">
                  <c:v>Pave D'Affi</c:v>
                </c:pt>
                <c:pt idx="820">
                  <c:v>All Others</c:v>
                </c:pt>
                <c:pt idx="821">
                  <c:v>All Others</c:v>
                </c:pt>
                <c:pt idx="822">
                  <c:v>All Others</c:v>
                </c:pt>
                <c:pt idx="823">
                  <c:v>Private Lab</c:v>
                </c:pt>
                <c:pt idx="824">
                  <c:v>Private Lab</c:v>
                </c:pt>
                <c:pt idx="825">
                  <c:v>All Others</c:v>
                </c:pt>
                <c:pt idx="826">
                  <c:v>Lactalis: A</c:v>
                </c:pt>
                <c:pt idx="827">
                  <c:v>All Others</c:v>
                </c:pt>
                <c:pt idx="828">
                  <c:v>All Others</c:v>
                </c:pt>
                <c:pt idx="829">
                  <c:v>All Others</c:v>
                </c:pt>
                <c:pt idx="830">
                  <c:v>All Others</c:v>
                </c:pt>
                <c:pt idx="831">
                  <c:v>Private Lab</c:v>
                </c:pt>
                <c:pt idx="832">
                  <c:v>All Others</c:v>
                </c:pt>
                <c:pt idx="833">
                  <c:v>All Others</c:v>
                </c:pt>
                <c:pt idx="834">
                  <c:v>All Others</c:v>
                </c:pt>
                <c:pt idx="835">
                  <c:v>All Others</c:v>
                </c:pt>
                <c:pt idx="836">
                  <c:v>All Others</c:v>
                </c:pt>
                <c:pt idx="837">
                  <c:v>All Others</c:v>
                </c:pt>
                <c:pt idx="838">
                  <c:v>All Others</c:v>
                </c:pt>
                <c:pt idx="839">
                  <c:v>All Others</c:v>
                </c:pt>
                <c:pt idx="840">
                  <c:v>All Others</c:v>
                </c:pt>
                <c:pt idx="841">
                  <c:v>Caprice Des</c:v>
                </c:pt>
                <c:pt idx="842">
                  <c:v>Private Lab</c:v>
                </c:pt>
                <c:pt idx="843">
                  <c:v>All Others</c:v>
                </c:pt>
                <c:pt idx="844">
                  <c:v>All Others</c:v>
                </c:pt>
                <c:pt idx="845">
                  <c:v>All Others</c:v>
                </c:pt>
                <c:pt idx="846">
                  <c:v>All Others</c:v>
                </c:pt>
                <c:pt idx="847">
                  <c:v>All Others</c:v>
                </c:pt>
                <c:pt idx="848">
                  <c:v>All Others</c:v>
                </c:pt>
                <c:pt idx="849">
                  <c:v>All Others</c:v>
                </c:pt>
                <c:pt idx="850">
                  <c:v>All Others</c:v>
                </c:pt>
                <c:pt idx="851">
                  <c:v>All Others</c:v>
                </c:pt>
                <c:pt idx="852">
                  <c:v>All Others</c:v>
                </c:pt>
                <c:pt idx="853">
                  <c:v>All Others</c:v>
                </c:pt>
                <c:pt idx="854">
                  <c:v>All Others</c:v>
                </c:pt>
                <c:pt idx="855">
                  <c:v>All Others</c:v>
                </c:pt>
                <c:pt idx="856">
                  <c:v>All Others</c:v>
                </c:pt>
                <c:pt idx="857">
                  <c:v>All Others</c:v>
                </c:pt>
                <c:pt idx="858">
                  <c:v>All Others</c:v>
                </c:pt>
                <c:pt idx="859">
                  <c:v>All Others</c:v>
                </c:pt>
                <c:pt idx="860">
                  <c:v>All Others</c:v>
                </c:pt>
                <c:pt idx="861">
                  <c:v>All Others</c:v>
                </c:pt>
                <c:pt idx="862">
                  <c:v>All Others</c:v>
                </c:pt>
                <c:pt idx="863">
                  <c:v>All Others</c:v>
                </c:pt>
                <c:pt idx="864">
                  <c:v>Private Lab</c:v>
                </c:pt>
                <c:pt idx="865">
                  <c:v>Private Lab</c:v>
                </c:pt>
                <c:pt idx="866">
                  <c:v>All Others</c:v>
                </c:pt>
                <c:pt idx="867">
                  <c:v>All Others</c:v>
                </c:pt>
                <c:pt idx="868">
                  <c:v>All Others</c:v>
                </c:pt>
                <c:pt idx="869">
                  <c:v>All Others</c:v>
                </c:pt>
                <c:pt idx="870">
                  <c:v>All Others</c:v>
                </c:pt>
                <c:pt idx="871">
                  <c:v>La Belle Et</c:v>
                </c:pt>
                <c:pt idx="872">
                  <c:v>All Others</c:v>
                </c:pt>
                <c:pt idx="873">
                  <c:v>All Others</c:v>
                </c:pt>
                <c:pt idx="874">
                  <c:v>Nurishh</c:v>
                </c:pt>
                <c:pt idx="875">
                  <c:v>All Others</c:v>
                </c:pt>
                <c:pt idx="876">
                  <c:v>All Others</c:v>
                </c:pt>
                <c:pt idx="877">
                  <c:v>Etoile Du V</c:v>
                </c:pt>
                <c:pt idx="878">
                  <c:v>All Others</c:v>
                </c:pt>
                <c:pt idx="879">
                  <c:v>All Others</c:v>
                </c:pt>
                <c:pt idx="880">
                  <c:v>All Others</c:v>
                </c:pt>
                <c:pt idx="881">
                  <c:v>All Others</c:v>
                </c:pt>
                <c:pt idx="882">
                  <c:v>All Others</c:v>
                </c:pt>
                <c:pt idx="883">
                  <c:v>All Others</c:v>
                </c:pt>
                <c:pt idx="884">
                  <c:v>All Others</c:v>
                </c:pt>
                <c:pt idx="885">
                  <c:v>All Others</c:v>
                </c:pt>
                <c:pt idx="886">
                  <c:v>Private Lab</c:v>
                </c:pt>
                <c:pt idx="887">
                  <c:v>All Others</c:v>
                </c:pt>
                <c:pt idx="888">
                  <c:v>All Others</c:v>
                </c:pt>
                <c:pt idx="889">
                  <c:v>All Others</c:v>
                </c:pt>
                <c:pt idx="890">
                  <c:v>All Others</c:v>
                </c:pt>
                <c:pt idx="891">
                  <c:v>All Others</c:v>
                </c:pt>
                <c:pt idx="892">
                  <c:v>Carre Frais</c:v>
                </c:pt>
                <c:pt idx="893">
                  <c:v>All Others</c:v>
                </c:pt>
                <c:pt idx="894">
                  <c:v>All Others</c:v>
                </c:pt>
                <c:pt idx="895">
                  <c:v>All Others</c:v>
                </c:pt>
                <c:pt idx="896">
                  <c:v>Triballat R</c:v>
                </c:pt>
                <c:pt idx="897">
                  <c:v>All Others</c:v>
                </c:pt>
                <c:pt idx="898">
                  <c:v>Private Lab</c:v>
                </c:pt>
                <c:pt idx="899">
                  <c:v>All Others</c:v>
                </c:pt>
                <c:pt idx="900">
                  <c:v>All Others</c:v>
                </c:pt>
                <c:pt idx="901">
                  <c:v>All Others</c:v>
                </c:pt>
                <c:pt idx="902">
                  <c:v>All Others</c:v>
                </c:pt>
                <c:pt idx="903">
                  <c:v>Aperivrais</c:v>
                </c:pt>
                <c:pt idx="904">
                  <c:v>All Others</c:v>
                </c:pt>
                <c:pt idx="905">
                  <c:v>Pave D'Affi</c:v>
                </c:pt>
                <c:pt idx="906">
                  <c:v>Corsica</c:v>
                </c:pt>
                <c:pt idx="907">
                  <c:v>All Others</c:v>
                </c:pt>
                <c:pt idx="908">
                  <c:v>All Others</c:v>
                </c:pt>
                <c:pt idx="909">
                  <c:v>All Others</c:v>
                </c:pt>
                <c:pt idx="910">
                  <c:v>All Others</c:v>
                </c:pt>
                <c:pt idx="911">
                  <c:v>All Others</c:v>
                </c:pt>
                <c:pt idx="912">
                  <c:v>All Others</c:v>
                </c:pt>
                <c:pt idx="913">
                  <c:v>All Others</c:v>
                </c:pt>
                <c:pt idx="914">
                  <c:v>All Others</c:v>
                </c:pt>
                <c:pt idx="915">
                  <c:v>All Others</c:v>
                </c:pt>
                <c:pt idx="916">
                  <c:v>All Others</c:v>
                </c:pt>
                <c:pt idx="917">
                  <c:v>All Others</c:v>
                </c:pt>
                <c:pt idx="918">
                  <c:v>All Others</c:v>
                </c:pt>
                <c:pt idx="919">
                  <c:v>All Others</c:v>
                </c:pt>
                <c:pt idx="920">
                  <c:v>All Others</c:v>
                </c:pt>
                <c:pt idx="921">
                  <c:v>All Others</c:v>
                </c:pt>
                <c:pt idx="922">
                  <c:v>All Others</c:v>
                </c:pt>
                <c:pt idx="923">
                  <c:v>All Others</c:v>
                </c:pt>
                <c:pt idx="924">
                  <c:v>All Others</c:v>
                </c:pt>
                <c:pt idx="925">
                  <c:v>All Others</c:v>
                </c:pt>
              </c:strCache>
            </c:strRef>
          </c:cat>
          <c:val>
            <c:numRef>
              <c:f>Sheet1!$C$2:$C$927</c:f>
              <c:numCache>
                <c:formatCode>General</c:formatCode>
                <c:ptCount val="926"/>
                <c:pt idx="0">
                  <c:v>8.1817124272944033E-2</c:v>
                </c:pt>
                <c:pt idx="1">
                  <c:v>0.10215025168826133</c:v>
                </c:pt>
                <c:pt idx="2">
                  <c:v>0.12094282398694149</c:v>
                </c:pt>
                <c:pt idx="3">
                  <c:v>0.13970249229909687</c:v>
                </c:pt>
                <c:pt idx="4">
                  <c:v>0.15604325800124777</c:v>
                </c:pt>
                <c:pt idx="5">
                  <c:v>0.17072936001269587</c:v>
                </c:pt>
                <c:pt idx="6">
                  <c:v>0.18511386626250426</c:v>
                </c:pt>
                <c:pt idx="7">
                  <c:v>0.19878697913163809</c:v>
                </c:pt>
                <c:pt idx="8">
                  <c:v>0.21234966023016688</c:v>
                </c:pt>
                <c:pt idx="9">
                  <c:v>0.22590221735250032</c:v>
                </c:pt>
                <c:pt idx="10">
                  <c:v>0.25239782056793986</c:v>
                </c:pt>
                <c:pt idx="11">
                  <c:v>0.26420817713940303</c:v>
                </c:pt>
                <c:pt idx="12">
                  <c:v>0.27573533473320821</c:v>
                </c:pt>
                <c:pt idx="13">
                  <c:v>0.28723335025514041</c:v>
                </c:pt>
                <c:pt idx="14">
                  <c:v>0.29790309770861784</c:v>
                </c:pt>
                <c:pt idx="15">
                  <c:v>0.32857724336801264</c:v>
                </c:pt>
                <c:pt idx="16">
                  <c:v>0.33852322227361242</c:v>
                </c:pt>
                <c:pt idx="17">
                  <c:v>0.34818010399600285</c:v>
                </c:pt>
                <c:pt idx="18">
                  <c:v>0.35772066850891548</c:v>
                </c:pt>
                <c:pt idx="19">
                  <c:v>0.36693506565928385</c:v>
                </c:pt>
                <c:pt idx="20">
                  <c:v>0.37612717644423188</c:v>
                </c:pt>
                <c:pt idx="21">
                  <c:v>0.39339453917405148</c:v>
                </c:pt>
                <c:pt idx="22">
                  <c:v>0.4013280682188668</c:v>
                </c:pt>
                <c:pt idx="23">
                  <c:v>0.40915947660089946</c:v>
                </c:pt>
                <c:pt idx="24">
                  <c:v>0.41692814101276643</c:v>
                </c:pt>
                <c:pt idx="25">
                  <c:v>0.43197093977104861</c:v>
                </c:pt>
                <c:pt idx="26">
                  <c:v>0.43922244730727861</c:v>
                </c:pt>
                <c:pt idx="27">
                  <c:v>0.44646152009847168</c:v>
                </c:pt>
                <c:pt idx="28">
                  <c:v>0.46051890574039417</c:v>
                </c:pt>
                <c:pt idx="29">
                  <c:v>0.46732280501089085</c:v>
                </c:pt>
                <c:pt idx="30">
                  <c:v>0.47404717212875408</c:v>
                </c:pt>
                <c:pt idx="31">
                  <c:v>0.48698451577204854</c:v>
                </c:pt>
                <c:pt idx="32">
                  <c:v>0.49320949297544153</c:v>
                </c:pt>
                <c:pt idx="33">
                  <c:v>0.49922070916653155</c:v>
                </c:pt>
                <c:pt idx="34">
                  <c:v>0.50485042295410709</c:v>
                </c:pt>
                <c:pt idx="35">
                  <c:v>0.51047999630821705</c:v>
                </c:pt>
                <c:pt idx="36">
                  <c:v>0.5215079427210535</c:v>
                </c:pt>
                <c:pt idx="37">
                  <c:v>0.52692569985357984</c:v>
                </c:pt>
                <c:pt idx="38">
                  <c:v>0.53221078140567635</c:v>
                </c:pt>
                <c:pt idx="39">
                  <c:v>0.53732830030006296</c:v>
                </c:pt>
                <c:pt idx="40">
                  <c:v>0.54242729899924058</c:v>
                </c:pt>
                <c:pt idx="41">
                  <c:v>0.54741621913925664</c:v>
                </c:pt>
                <c:pt idx="42">
                  <c:v>0.55233328841164664</c:v>
                </c:pt>
                <c:pt idx="43">
                  <c:v>0.55710747301622032</c:v>
                </c:pt>
                <c:pt idx="44">
                  <c:v>0.56651180855646976</c:v>
                </c:pt>
                <c:pt idx="45">
                  <c:v>0.57107239811556332</c:v>
                </c:pt>
                <c:pt idx="46">
                  <c:v>0.58012511379153486</c:v>
                </c:pt>
                <c:pt idx="47">
                  <c:v>0.58458912768195359</c:v>
                </c:pt>
                <c:pt idx="48">
                  <c:v>0.58904923922425501</c:v>
                </c:pt>
                <c:pt idx="49">
                  <c:v>0.59771972054046763</c:v>
                </c:pt>
                <c:pt idx="50">
                  <c:v>0.6017410115475289</c:v>
                </c:pt>
                <c:pt idx="51">
                  <c:v>0.60551515667753208</c:v>
                </c:pt>
                <c:pt idx="52">
                  <c:v>0.60923818402608987</c:v>
                </c:pt>
                <c:pt idx="53">
                  <c:v>0.6129472659059666</c:v>
                </c:pt>
                <c:pt idx="54">
                  <c:v>0.61665280290472912</c:v>
                </c:pt>
                <c:pt idx="55">
                  <c:v>0.62035247999797627</c:v>
                </c:pt>
                <c:pt idx="56">
                  <c:v>0.62404518648466267</c:v>
                </c:pt>
                <c:pt idx="57">
                  <c:v>0.63133132576459916</c:v>
                </c:pt>
                <c:pt idx="58">
                  <c:v>0.6349183198962336</c:v>
                </c:pt>
                <c:pt idx="59">
                  <c:v>0.63848033389324566</c:v>
                </c:pt>
                <c:pt idx="60">
                  <c:v>0.64204160742289407</c:v>
                </c:pt>
                <c:pt idx="61">
                  <c:v>0.64553379619863105</c:v>
                </c:pt>
                <c:pt idx="62">
                  <c:v>0.6489983280927818</c:v>
                </c:pt>
                <c:pt idx="63">
                  <c:v>0.65244769742821707</c:v>
                </c:pt>
                <c:pt idx="64">
                  <c:v>0.65588523630807305</c:v>
                </c:pt>
                <c:pt idx="65">
                  <c:v>0.65930987233134053</c:v>
                </c:pt>
                <c:pt idx="66">
                  <c:v>0.6627264270470018</c:v>
                </c:pt>
                <c:pt idx="67">
                  <c:v>0.66926486451209022</c:v>
                </c:pt>
                <c:pt idx="68">
                  <c:v>0.67248543368773439</c:v>
                </c:pt>
                <c:pt idx="69">
                  <c:v>0.675625696198905</c:v>
                </c:pt>
                <c:pt idx="70">
                  <c:v>0.67868150713058983</c:v>
                </c:pt>
                <c:pt idx="71">
                  <c:v>0.6817232449268068</c:v>
                </c:pt>
                <c:pt idx="72">
                  <c:v>0.68475911005082968</c:v>
                </c:pt>
                <c:pt idx="73">
                  <c:v>0.68774209133618946</c:v>
                </c:pt>
                <c:pt idx="74">
                  <c:v>0.69071888929350722</c:v>
                </c:pt>
                <c:pt idx="75">
                  <c:v>0.69369412120490659</c:v>
                </c:pt>
                <c:pt idx="76">
                  <c:v>0.69666415282252259</c:v>
                </c:pt>
                <c:pt idx="77">
                  <c:v>0.69963203538256036</c:v>
                </c:pt>
                <c:pt idx="78">
                  <c:v>0.70256548195463142</c:v>
                </c:pt>
                <c:pt idx="79">
                  <c:v>0.70548668953740534</c:v>
                </c:pt>
                <c:pt idx="80">
                  <c:v>0.70834610639535511</c:v>
                </c:pt>
                <c:pt idx="81">
                  <c:v>0.71116406133650323</c:v>
                </c:pt>
                <c:pt idx="82">
                  <c:v>0.7139129187570612</c:v>
                </c:pt>
                <c:pt idx="83">
                  <c:v>0.7166097221730704</c:v>
                </c:pt>
                <c:pt idx="84">
                  <c:v>0.72197308474328947</c:v>
                </c:pt>
                <c:pt idx="85">
                  <c:v>0.72451345378984033</c:v>
                </c:pt>
                <c:pt idx="86">
                  <c:v>0.7270399837566992</c:v>
                </c:pt>
                <c:pt idx="87">
                  <c:v>0.72953184793537507</c:v>
                </c:pt>
                <c:pt idx="88">
                  <c:v>0.73201286894828987</c:v>
                </c:pt>
                <c:pt idx="89">
                  <c:v>0.73448088497118658</c:v>
                </c:pt>
                <c:pt idx="90">
                  <c:v>0.73688954870488754</c:v>
                </c:pt>
                <c:pt idx="91">
                  <c:v>0.73929639957021553</c:v>
                </c:pt>
                <c:pt idx="92">
                  <c:v>0.74168426638434248</c:v>
                </c:pt>
                <c:pt idx="93">
                  <c:v>0.74636008372966622</c:v>
                </c:pt>
                <c:pt idx="94">
                  <c:v>0.74867229095036014</c:v>
                </c:pt>
                <c:pt idx="95">
                  <c:v>0.75098331086993653</c:v>
                </c:pt>
                <c:pt idx="96">
                  <c:v>0.75327844904123165</c:v>
                </c:pt>
                <c:pt idx="97">
                  <c:v>0.7555621142239507</c:v>
                </c:pt>
                <c:pt idx="98">
                  <c:v>0.75784342182667297</c:v>
                </c:pt>
                <c:pt idx="99">
                  <c:v>0.76010549004462047</c:v>
                </c:pt>
                <c:pt idx="100">
                  <c:v>0.76456376744075116</c:v>
                </c:pt>
                <c:pt idx="101">
                  <c:v>0.76672527678627489</c:v>
                </c:pt>
                <c:pt idx="102">
                  <c:v>0.76883742589645188</c:v>
                </c:pt>
                <c:pt idx="103">
                  <c:v>0.7709291993874513</c:v>
                </c:pt>
                <c:pt idx="104">
                  <c:v>0.77293094651594019</c:v>
                </c:pt>
                <c:pt idx="105">
                  <c:v>0.7749253825931034</c:v>
                </c:pt>
                <c:pt idx="106">
                  <c:v>0.77691493328789074</c:v>
                </c:pt>
                <c:pt idx="107">
                  <c:v>0.77889973903376764</c:v>
                </c:pt>
                <c:pt idx="108">
                  <c:v>0.78087228876810921</c:v>
                </c:pt>
                <c:pt idx="109">
                  <c:v>0.78282541187305532</c:v>
                </c:pt>
                <c:pt idx="110">
                  <c:v>0.78475723590239921</c:v>
                </c:pt>
                <c:pt idx="111">
                  <c:v>0.78666603735451868</c:v>
                </c:pt>
                <c:pt idx="112">
                  <c:v>0.78857385577237959</c:v>
                </c:pt>
                <c:pt idx="113">
                  <c:v>0.79047724840829714</c:v>
                </c:pt>
                <c:pt idx="114">
                  <c:v>0.7923745811274</c:v>
                </c:pt>
                <c:pt idx="115">
                  <c:v>0.79425924504569012</c:v>
                </c:pt>
                <c:pt idx="116">
                  <c:v>0.7961150477590383</c:v>
                </c:pt>
                <c:pt idx="117">
                  <c:v>0.7979472321168235</c:v>
                </c:pt>
                <c:pt idx="118">
                  <c:v>0.79977922071886898</c:v>
                </c:pt>
                <c:pt idx="119">
                  <c:v>0.8016070686614617</c:v>
                </c:pt>
                <c:pt idx="120">
                  <c:v>0.80343159301203737</c:v>
                </c:pt>
                <c:pt idx="121">
                  <c:v>0.80525185754749262</c:v>
                </c:pt>
                <c:pt idx="122">
                  <c:v>0.80705080598510737</c:v>
                </c:pt>
                <c:pt idx="123">
                  <c:v>0.80884388175052802</c:v>
                </c:pt>
                <c:pt idx="124">
                  <c:v>0.81063543828118545</c:v>
                </c:pt>
                <c:pt idx="125">
                  <c:v>0.81235086285129865</c:v>
                </c:pt>
                <c:pt idx="126">
                  <c:v>0.81572635992831655</c:v>
                </c:pt>
                <c:pt idx="127">
                  <c:v>0.81736986128629119</c:v>
                </c:pt>
                <c:pt idx="128">
                  <c:v>0.81901014118567816</c:v>
                </c:pt>
                <c:pt idx="129">
                  <c:v>0.82062051301247119</c:v>
                </c:pt>
                <c:pt idx="130">
                  <c:v>0.82221923737274616</c:v>
                </c:pt>
                <c:pt idx="131">
                  <c:v>0.82379605411240164</c:v>
                </c:pt>
                <c:pt idx="132">
                  <c:v>0.82535473365720857</c:v>
                </c:pt>
                <c:pt idx="133">
                  <c:v>0.82690585958379492</c:v>
                </c:pt>
                <c:pt idx="134">
                  <c:v>0.82845347467374353</c:v>
                </c:pt>
                <c:pt idx="135">
                  <c:v>0.83147853918760095</c:v>
                </c:pt>
                <c:pt idx="136">
                  <c:v>0.83297460242902899</c:v>
                </c:pt>
                <c:pt idx="137">
                  <c:v>0.83592463717226828</c:v>
                </c:pt>
                <c:pt idx="138">
                  <c:v>0.83738476221320468</c:v>
                </c:pt>
                <c:pt idx="139">
                  <c:v>0.83884318503031663</c:v>
                </c:pt>
                <c:pt idx="140">
                  <c:v>0.84028018536059912</c:v>
                </c:pt>
                <c:pt idx="141">
                  <c:v>0.84170092519779949</c:v>
                </c:pt>
                <c:pt idx="142">
                  <c:v>0.84309384218659078</c:v>
                </c:pt>
                <c:pt idx="143">
                  <c:v>0.84447684372160514</c:v>
                </c:pt>
                <c:pt idx="144">
                  <c:v>0.84584412521960162</c:v>
                </c:pt>
                <c:pt idx="145">
                  <c:v>0.84719338867841731</c:v>
                </c:pt>
                <c:pt idx="146">
                  <c:v>0.84853092381508322</c:v>
                </c:pt>
                <c:pt idx="147">
                  <c:v>0.84982449051036602</c:v>
                </c:pt>
                <c:pt idx="148">
                  <c:v>0.8511015073345165</c:v>
                </c:pt>
                <c:pt idx="149">
                  <c:v>0.85236327648876031</c:v>
                </c:pt>
                <c:pt idx="150">
                  <c:v>0.85358969470973178</c:v>
                </c:pt>
                <c:pt idx="151">
                  <c:v>0.85601640201597096</c:v>
                </c:pt>
                <c:pt idx="152">
                  <c:v>0.85834746987663868</c:v>
                </c:pt>
                <c:pt idx="153">
                  <c:v>0.85949703269194055</c:v>
                </c:pt>
                <c:pt idx="154">
                  <c:v>0.86177426346860353</c:v>
                </c:pt>
                <c:pt idx="155">
                  <c:v>0.86290883394757234</c:v>
                </c:pt>
                <c:pt idx="156">
                  <c:v>0.86404201285856475</c:v>
                </c:pt>
                <c:pt idx="157">
                  <c:v>0.86517197882208874</c:v>
                </c:pt>
                <c:pt idx="158">
                  <c:v>0.86627656037283196</c:v>
                </c:pt>
                <c:pt idx="159">
                  <c:v>0.86736870292297874</c:v>
                </c:pt>
                <c:pt idx="160">
                  <c:v>0.86845258117645829</c:v>
                </c:pt>
                <c:pt idx="161">
                  <c:v>0.86948850352924623</c:v>
                </c:pt>
                <c:pt idx="162">
                  <c:v>0.87051991498889958</c:v>
                </c:pt>
                <c:pt idx="163">
                  <c:v>0.87150471956024211</c:v>
                </c:pt>
                <c:pt idx="164">
                  <c:v>0.87247688937524837</c:v>
                </c:pt>
                <c:pt idx="165">
                  <c:v>0.87344533132007929</c:v>
                </c:pt>
                <c:pt idx="166">
                  <c:v>0.87440634305791687</c:v>
                </c:pt>
                <c:pt idx="167">
                  <c:v>0.8753333273415056</c:v>
                </c:pt>
                <c:pt idx="168">
                  <c:v>0.87623750182584792</c:v>
                </c:pt>
                <c:pt idx="169">
                  <c:v>0.87713818249579079</c:v>
                </c:pt>
                <c:pt idx="170">
                  <c:v>0.87802904558982664</c:v>
                </c:pt>
                <c:pt idx="171">
                  <c:v>0.87978803006760498</c:v>
                </c:pt>
                <c:pt idx="172">
                  <c:v>0.88065184908063143</c:v>
                </c:pt>
                <c:pt idx="173">
                  <c:v>0.88150691866320074</c:v>
                </c:pt>
                <c:pt idx="174">
                  <c:v>0.8823377783674281</c:v>
                </c:pt>
                <c:pt idx="175">
                  <c:v>0.88315938648517012</c:v>
                </c:pt>
                <c:pt idx="176">
                  <c:v>0.88397796464450473</c:v>
                </c:pt>
                <c:pt idx="177">
                  <c:v>0.88478795508464547</c:v>
                </c:pt>
                <c:pt idx="178">
                  <c:v>0.88558667254750945</c:v>
                </c:pt>
                <c:pt idx="179">
                  <c:v>0.88716548514459903</c:v>
                </c:pt>
                <c:pt idx="180">
                  <c:v>0.88795073801701241</c:v>
                </c:pt>
                <c:pt idx="181">
                  <c:v>0.88873430568783962</c:v>
                </c:pt>
                <c:pt idx="182">
                  <c:v>0.88949501249270579</c:v>
                </c:pt>
                <c:pt idx="183">
                  <c:v>0.89025460008540747</c:v>
                </c:pt>
                <c:pt idx="184">
                  <c:v>0.8917615873482283</c:v>
                </c:pt>
                <c:pt idx="185">
                  <c:v>0.89323983256177497</c:v>
                </c:pt>
                <c:pt idx="186">
                  <c:v>0.89397101429440762</c:v>
                </c:pt>
                <c:pt idx="187">
                  <c:v>0.89470205559357485</c:v>
                </c:pt>
                <c:pt idx="188">
                  <c:v>0.89542759445422981</c:v>
                </c:pt>
                <c:pt idx="189">
                  <c:v>0.89614718404261862</c:v>
                </c:pt>
                <c:pt idx="190">
                  <c:v>0.89685735182213966</c:v>
                </c:pt>
                <c:pt idx="191">
                  <c:v>0.8975623959079494</c:v>
                </c:pt>
                <c:pt idx="192">
                  <c:v>0.89825628617215003</c:v>
                </c:pt>
                <c:pt idx="193">
                  <c:v>0.89894545702079764</c:v>
                </c:pt>
                <c:pt idx="194">
                  <c:v>0.89963123618847518</c:v>
                </c:pt>
                <c:pt idx="195">
                  <c:v>0.9003096106825168</c:v>
                </c:pt>
                <c:pt idx="196">
                  <c:v>0.90098593825240969</c:v>
                </c:pt>
                <c:pt idx="197">
                  <c:v>0.9016599507979014</c:v>
                </c:pt>
                <c:pt idx="198">
                  <c:v>0.90233351650963922</c:v>
                </c:pt>
                <c:pt idx="199">
                  <c:v>0.9029814807750588</c:v>
                </c:pt>
                <c:pt idx="200">
                  <c:v>0.90362806623918057</c:v>
                </c:pt>
                <c:pt idx="201">
                  <c:v>0.90491189195862853</c:v>
                </c:pt>
                <c:pt idx="202">
                  <c:v>0.90554697464525724</c:v>
                </c:pt>
                <c:pt idx="203">
                  <c:v>0.90618005296333282</c:v>
                </c:pt>
                <c:pt idx="204">
                  <c:v>0.90681102903498523</c:v>
                </c:pt>
                <c:pt idx="205">
                  <c:v>0.90744193276212515</c:v>
                </c:pt>
                <c:pt idx="206">
                  <c:v>0.90806765747327944</c:v>
                </c:pt>
                <c:pt idx="207">
                  <c:v>0.90868689671166292</c:v>
                </c:pt>
                <c:pt idx="208">
                  <c:v>0.90929553535118024</c:v>
                </c:pt>
                <c:pt idx="209">
                  <c:v>0.90988687939664215</c:v>
                </c:pt>
                <c:pt idx="210">
                  <c:v>0.91046942720049173</c:v>
                </c:pt>
                <c:pt idx="211">
                  <c:v>0.91104763433358915</c:v>
                </c:pt>
                <c:pt idx="212">
                  <c:v>0.91162021561694706</c:v>
                </c:pt>
                <c:pt idx="213">
                  <c:v>0.91218852006294626</c:v>
                </c:pt>
                <c:pt idx="214">
                  <c:v>0.91275253490490815</c:v>
                </c:pt>
                <c:pt idx="215">
                  <c:v>0.91331168564229193</c:v>
                </c:pt>
                <c:pt idx="216">
                  <c:v>0.91387012995678862</c:v>
                </c:pt>
                <c:pt idx="217">
                  <c:v>0.91442263776569788</c:v>
                </c:pt>
                <c:pt idx="218">
                  <c:v>0.91497326036172166</c:v>
                </c:pt>
                <c:pt idx="219">
                  <c:v>0.91552165304453548</c:v>
                </c:pt>
                <c:pt idx="220">
                  <c:v>0.91661208485973888</c:v>
                </c:pt>
                <c:pt idx="221">
                  <c:v>0.91715492403732579</c:v>
                </c:pt>
                <c:pt idx="222">
                  <c:v>0.91769621844679206</c:v>
                </c:pt>
                <c:pt idx="223">
                  <c:v>0.91821391152293363</c:v>
                </c:pt>
                <c:pt idx="224">
                  <c:v>0.9187295832082838</c:v>
                </c:pt>
                <c:pt idx="225">
                  <c:v>0.91924492721554785</c:v>
                </c:pt>
                <c:pt idx="226">
                  <c:v>0.91975867113241694</c:v>
                </c:pt>
                <c:pt idx="227">
                  <c:v>0.92025627371187158</c:v>
                </c:pt>
                <c:pt idx="228">
                  <c:v>0.92075172723374799</c:v>
                </c:pt>
                <c:pt idx="229">
                  <c:v>0.92124570407645678</c:v>
                </c:pt>
                <c:pt idx="230">
                  <c:v>0.9222236486857871</c:v>
                </c:pt>
                <c:pt idx="231">
                  <c:v>0.92270671427378181</c:v>
                </c:pt>
                <c:pt idx="232">
                  <c:v>0.92365352520936472</c:v>
                </c:pt>
                <c:pt idx="233">
                  <c:v>0.92459293572687129</c:v>
                </c:pt>
                <c:pt idx="234">
                  <c:v>0.92506125580098753</c:v>
                </c:pt>
                <c:pt idx="235">
                  <c:v>0.92552748213979974</c:v>
                </c:pt>
                <c:pt idx="236">
                  <c:v>0.9259930701446778</c:v>
                </c:pt>
                <c:pt idx="237">
                  <c:v>0.92645463664577088</c:v>
                </c:pt>
                <c:pt idx="238">
                  <c:v>0.92691610101343447</c:v>
                </c:pt>
                <c:pt idx="239">
                  <c:v>0.92737694406940219</c:v>
                </c:pt>
                <c:pt idx="240">
                  <c:v>0.92783746795840283</c:v>
                </c:pt>
                <c:pt idx="241">
                  <c:v>0.92829754075809001</c:v>
                </c:pt>
                <c:pt idx="242">
                  <c:v>0.92875400484326953</c:v>
                </c:pt>
                <c:pt idx="243">
                  <c:v>0.92920849860437238</c:v>
                </c:pt>
                <c:pt idx="244">
                  <c:v>0.93010726001695321</c:v>
                </c:pt>
                <c:pt idx="245">
                  <c:v>0.93097576014549666</c:v>
                </c:pt>
                <c:pt idx="246">
                  <c:v>0.93140093735678453</c:v>
                </c:pt>
                <c:pt idx="247">
                  <c:v>0.93182232286450373</c:v>
                </c:pt>
                <c:pt idx="248">
                  <c:v>0.93224148697013209</c:v>
                </c:pt>
                <c:pt idx="249">
                  <c:v>0.9326594254746069</c:v>
                </c:pt>
                <c:pt idx="250">
                  <c:v>0.93306298869888504</c:v>
                </c:pt>
                <c:pt idx="251">
                  <c:v>0.93345927066075451</c:v>
                </c:pt>
                <c:pt idx="252">
                  <c:v>0.93384685851444105</c:v>
                </c:pt>
                <c:pt idx="253">
                  <c:v>0.93423305905571075</c:v>
                </c:pt>
                <c:pt idx="254">
                  <c:v>0.93461917448578924</c:v>
                </c:pt>
                <c:pt idx="255">
                  <c:v>0.93500514097128307</c:v>
                </c:pt>
                <c:pt idx="256">
                  <c:v>0.9353905329562362</c:v>
                </c:pt>
                <c:pt idx="257">
                  <c:v>0.93577521000718311</c:v>
                </c:pt>
                <c:pt idx="258">
                  <c:v>0.93615396331922129</c:v>
                </c:pt>
                <c:pt idx="259">
                  <c:v>0.93653219745299299</c:v>
                </c:pt>
                <c:pt idx="260">
                  <c:v>0.93690320564663032</c:v>
                </c:pt>
                <c:pt idx="261">
                  <c:v>0.93727066044803431</c:v>
                </c:pt>
                <c:pt idx="262">
                  <c:v>0.93799659507572841</c:v>
                </c:pt>
                <c:pt idx="263">
                  <c:v>0.93835369184516126</c:v>
                </c:pt>
                <c:pt idx="264">
                  <c:v>0.93870914596860355</c:v>
                </c:pt>
                <c:pt idx="265">
                  <c:v>0.93906317873515255</c:v>
                </c:pt>
                <c:pt idx="266">
                  <c:v>0.93941540714444771</c:v>
                </c:pt>
                <c:pt idx="267">
                  <c:v>0.93976670784175864</c:v>
                </c:pt>
                <c:pt idx="268">
                  <c:v>0.94011083792120942</c:v>
                </c:pt>
                <c:pt idx="269">
                  <c:v>0.94045420199993923</c:v>
                </c:pt>
                <c:pt idx="270">
                  <c:v>0.94079688093357972</c:v>
                </c:pt>
                <c:pt idx="271">
                  <c:v>0.9411361000972972</c:v>
                </c:pt>
                <c:pt idx="272">
                  <c:v>0.9414688295326844</c:v>
                </c:pt>
                <c:pt idx="273">
                  <c:v>0.94179940565493381</c:v>
                </c:pt>
                <c:pt idx="274">
                  <c:v>0.94212842424238386</c:v>
                </c:pt>
                <c:pt idx="275">
                  <c:v>0.9424558214616412</c:v>
                </c:pt>
                <c:pt idx="276">
                  <c:v>0.94277931207722165</c:v>
                </c:pt>
                <c:pt idx="277">
                  <c:v>0.9431027899261234</c:v>
                </c:pt>
                <c:pt idx="278">
                  <c:v>0.9434245655512008</c:v>
                </c:pt>
                <c:pt idx="279">
                  <c:v>0.94374320057332228</c:v>
                </c:pt>
                <c:pt idx="280">
                  <c:v>0.94405847795895026</c:v>
                </c:pt>
                <c:pt idx="281">
                  <c:v>0.94437325318855003</c:v>
                </c:pt>
                <c:pt idx="282">
                  <c:v>0.94468780712905265</c:v>
                </c:pt>
                <c:pt idx="283">
                  <c:v>0.94498711765520815</c:v>
                </c:pt>
                <c:pt idx="284">
                  <c:v>0.94528461105743111</c:v>
                </c:pt>
                <c:pt idx="285">
                  <c:v>0.94558092141409622</c:v>
                </c:pt>
                <c:pt idx="286">
                  <c:v>0.94587607000300122</c:v>
                </c:pt>
                <c:pt idx="287">
                  <c:v>0.94616965254598773</c:v>
                </c:pt>
                <c:pt idx="288">
                  <c:v>0.94646039237518764</c:v>
                </c:pt>
                <c:pt idx="289">
                  <c:v>0.94674474460948665</c:v>
                </c:pt>
                <c:pt idx="290">
                  <c:v>0.94702179004801956</c:v>
                </c:pt>
                <c:pt idx="291">
                  <c:v>0.94729666940673607</c:v>
                </c:pt>
                <c:pt idx="292">
                  <c:v>0.94757032316429901</c:v>
                </c:pt>
                <c:pt idx="293">
                  <c:v>0.94784138103052984</c:v>
                </c:pt>
                <c:pt idx="294">
                  <c:v>0.94810951107178276</c:v>
                </c:pt>
                <c:pt idx="295">
                  <c:v>0.94837625380061885</c:v>
                </c:pt>
                <c:pt idx="296">
                  <c:v>0.9486392686592795</c:v>
                </c:pt>
                <c:pt idx="297">
                  <c:v>0.94890200690656878</c:v>
                </c:pt>
                <c:pt idx="298">
                  <c:v>0.94916398340869668</c:v>
                </c:pt>
                <c:pt idx="299">
                  <c:v>0.94942579394400162</c:v>
                </c:pt>
                <c:pt idx="300">
                  <c:v>0.9496861192890198</c:v>
                </c:pt>
                <c:pt idx="301">
                  <c:v>0.94994439345432968</c:v>
                </c:pt>
                <c:pt idx="302">
                  <c:v>0.95020255697509093</c:v>
                </c:pt>
                <c:pt idx="303">
                  <c:v>0.95046014173975191</c:v>
                </c:pt>
                <c:pt idx="304">
                  <c:v>0.95096939604128428</c:v>
                </c:pt>
                <c:pt idx="305">
                  <c:v>0.95121934633209304</c:v>
                </c:pt>
                <c:pt idx="306">
                  <c:v>0.95146764546579221</c:v>
                </c:pt>
                <c:pt idx="307">
                  <c:v>0.95171513178761524</c:v>
                </c:pt>
                <c:pt idx="308">
                  <c:v>0.9519608775855779</c:v>
                </c:pt>
                <c:pt idx="309">
                  <c:v>0.95220497648199043</c:v>
                </c:pt>
                <c:pt idx="310">
                  <c:v>0.95244580710866023</c:v>
                </c:pt>
                <c:pt idx="311">
                  <c:v>0.95268511850056681</c:v>
                </c:pt>
                <c:pt idx="312">
                  <c:v>0.95292390220308776</c:v>
                </c:pt>
                <c:pt idx="313">
                  <c:v>0.95316213268286587</c:v>
                </c:pt>
                <c:pt idx="314">
                  <c:v>0.95339854603871144</c:v>
                </c:pt>
                <c:pt idx="315">
                  <c:v>0.95363399338253674</c:v>
                </c:pt>
                <c:pt idx="316">
                  <c:v>0.95386935561517083</c:v>
                </c:pt>
                <c:pt idx="317">
                  <c:v>0.95410133893351357</c:v>
                </c:pt>
                <c:pt idx="318">
                  <c:v>0.95433242432878895</c:v>
                </c:pt>
                <c:pt idx="319">
                  <c:v>0.95455988398731839</c:v>
                </c:pt>
                <c:pt idx="320">
                  <c:v>0.95478568397761909</c:v>
                </c:pt>
                <c:pt idx="321">
                  <c:v>0.9550107222227584</c:v>
                </c:pt>
                <c:pt idx="322">
                  <c:v>0.95523235602024903</c:v>
                </c:pt>
                <c:pt idx="323">
                  <c:v>0.95545366639521301</c:v>
                </c:pt>
                <c:pt idx="324">
                  <c:v>0.95567442780299361</c:v>
                </c:pt>
                <c:pt idx="325">
                  <c:v>0.95589448704344671</c:v>
                </c:pt>
                <c:pt idx="326">
                  <c:v>0.95611092054715396</c:v>
                </c:pt>
                <c:pt idx="327">
                  <c:v>0.9563269114726668</c:v>
                </c:pt>
                <c:pt idx="328">
                  <c:v>0.95654283430922671</c:v>
                </c:pt>
                <c:pt idx="329">
                  <c:v>0.95675656127705322</c:v>
                </c:pt>
                <c:pt idx="330">
                  <c:v>0.95696904136592842</c:v>
                </c:pt>
                <c:pt idx="331">
                  <c:v>0.95718135548798067</c:v>
                </c:pt>
                <c:pt idx="332">
                  <c:v>0.95739066944054252</c:v>
                </c:pt>
                <c:pt idx="333">
                  <c:v>0.95801650479624545</c:v>
                </c:pt>
                <c:pt idx="334">
                  <c:v>0.9582248867812635</c:v>
                </c:pt>
                <c:pt idx="335">
                  <c:v>0.95843141334231297</c:v>
                </c:pt>
                <c:pt idx="336">
                  <c:v>0.9586367100466493</c:v>
                </c:pt>
                <c:pt idx="337">
                  <c:v>0.95884111308347786</c:v>
                </c:pt>
                <c:pt idx="338">
                  <c:v>0.95904531610900712</c:v>
                </c:pt>
                <c:pt idx="339">
                  <c:v>0.95924650194280769</c:v>
                </c:pt>
                <c:pt idx="340">
                  <c:v>0.95944747925418972</c:v>
                </c:pt>
                <c:pt idx="341">
                  <c:v>0.95964392439463941</c:v>
                </c:pt>
                <c:pt idx="342">
                  <c:v>0.95984012271263464</c:v>
                </c:pt>
                <c:pt idx="343">
                  <c:v>0.96023058306902476</c:v>
                </c:pt>
                <c:pt idx="344">
                  <c:v>0.9606168346770092</c:v>
                </c:pt>
                <c:pt idx="345">
                  <c:v>0.96080939874713944</c:v>
                </c:pt>
                <c:pt idx="346">
                  <c:v>0.9610006818938418</c:v>
                </c:pt>
                <c:pt idx="347">
                  <c:v>0.96119132245105043</c:v>
                </c:pt>
                <c:pt idx="348">
                  <c:v>0.96138158000789864</c:v>
                </c:pt>
                <c:pt idx="349">
                  <c:v>0.96157154393113708</c:v>
                </c:pt>
                <c:pt idx="350">
                  <c:v>0.96175813319564374</c:v>
                </c:pt>
                <c:pt idx="351">
                  <c:v>0.96194375219257056</c:v>
                </c:pt>
                <c:pt idx="352">
                  <c:v>0.96212924352271056</c:v>
                </c:pt>
                <c:pt idx="353">
                  <c:v>0.96231382416310451</c:v>
                </c:pt>
                <c:pt idx="354">
                  <c:v>0.96249816649216302</c:v>
                </c:pt>
                <c:pt idx="355">
                  <c:v>0.96268226199876705</c:v>
                </c:pt>
                <c:pt idx="356">
                  <c:v>0.96286391906974267</c:v>
                </c:pt>
                <c:pt idx="357">
                  <c:v>0.96304529952934681</c:v>
                </c:pt>
                <c:pt idx="358">
                  <c:v>0.96322652253324725</c:v>
                </c:pt>
                <c:pt idx="359">
                  <c:v>0.96340687314743767</c:v>
                </c:pt>
                <c:pt idx="360">
                  <c:v>0.96358352568036965</c:v>
                </c:pt>
                <c:pt idx="361">
                  <c:v>0.9637600250131575</c:v>
                </c:pt>
                <c:pt idx="362">
                  <c:v>0.96393638816803939</c:v>
                </c:pt>
                <c:pt idx="363">
                  <c:v>0.96411010010931486</c:v>
                </c:pt>
                <c:pt idx="364">
                  <c:v>0.964283543950338</c:v>
                </c:pt>
                <c:pt idx="365">
                  <c:v>0.96445632817962923</c:v>
                </c:pt>
                <c:pt idx="366">
                  <c:v>0.96480119447088397</c:v>
                </c:pt>
                <c:pt idx="367">
                  <c:v>0.96497201688721757</c:v>
                </c:pt>
                <c:pt idx="368">
                  <c:v>0.96514236268088038</c:v>
                </c:pt>
                <c:pt idx="369">
                  <c:v>0.96531161479573602</c:v>
                </c:pt>
                <c:pt idx="370">
                  <c:v>0.96547804973016238</c:v>
                </c:pt>
                <c:pt idx="371">
                  <c:v>0.96580704703981457</c:v>
                </c:pt>
                <c:pt idx="372">
                  <c:v>0.96597125206103096</c:v>
                </c:pt>
                <c:pt idx="373">
                  <c:v>0.96613238031268489</c:v>
                </c:pt>
                <c:pt idx="374">
                  <c:v>0.96645191751343329</c:v>
                </c:pt>
                <c:pt idx="375">
                  <c:v>0.96661064988505441</c:v>
                </c:pt>
                <c:pt idx="376">
                  <c:v>0.9667674629993136</c:v>
                </c:pt>
                <c:pt idx="377">
                  <c:v>0.966923973968844</c:v>
                </c:pt>
                <c:pt idx="378">
                  <c:v>0.96707947637075842</c:v>
                </c:pt>
                <c:pt idx="379">
                  <c:v>0.96723376168263842</c:v>
                </c:pt>
                <c:pt idx="380">
                  <c:v>0.96738406379076947</c:v>
                </c:pt>
                <c:pt idx="381">
                  <c:v>0.9675329615642454</c:v>
                </c:pt>
                <c:pt idx="382">
                  <c:v>0.96768082523674803</c:v>
                </c:pt>
                <c:pt idx="383">
                  <c:v>0.96782709732997485</c:v>
                </c:pt>
                <c:pt idx="384">
                  <c:v>0.96797319068970011</c:v>
                </c:pt>
                <c:pt idx="385">
                  <c:v>0.96811867975996779</c:v>
                </c:pt>
                <c:pt idx="386">
                  <c:v>0.96826368795200501</c:v>
                </c:pt>
                <c:pt idx="387">
                  <c:v>0.96840427036209897</c:v>
                </c:pt>
                <c:pt idx="388">
                  <c:v>0.9685446995720487</c:v>
                </c:pt>
                <c:pt idx="389">
                  <c:v>0.96868435427015831</c:v>
                </c:pt>
                <c:pt idx="390">
                  <c:v>0.96882391960151715</c:v>
                </c:pt>
                <c:pt idx="391">
                  <c:v>0.96896324236598108</c:v>
                </c:pt>
                <c:pt idx="392">
                  <c:v>0.96910087992885885</c:v>
                </c:pt>
                <c:pt idx="393">
                  <c:v>0.96923757701307367</c:v>
                </c:pt>
                <c:pt idx="394">
                  <c:v>0.96937335915198297</c:v>
                </c:pt>
                <c:pt idx="395">
                  <c:v>0.9695091072464157</c:v>
                </c:pt>
                <c:pt idx="396">
                  <c:v>0.96964480001857423</c:v>
                </c:pt>
                <c:pt idx="397">
                  <c:v>0.96978006297921704</c:v>
                </c:pt>
                <c:pt idx="398">
                  <c:v>0.96991523657310907</c:v>
                </c:pt>
                <c:pt idx="399">
                  <c:v>0.9700502399446187</c:v>
                </c:pt>
                <c:pt idx="400">
                  <c:v>0.97018489861580393</c:v>
                </c:pt>
                <c:pt idx="401">
                  <c:v>0.97031875298623216</c:v>
                </c:pt>
                <c:pt idx="402">
                  <c:v>0.97045107535521846</c:v>
                </c:pt>
                <c:pt idx="403">
                  <c:v>0.97058181891160766</c:v>
                </c:pt>
                <c:pt idx="404">
                  <c:v>0.97071080492189821</c:v>
                </c:pt>
                <c:pt idx="405">
                  <c:v>0.97083960794312762</c:v>
                </c:pt>
                <c:pt idx="406">
                  <c:v>0.97096819393081946</c:v>
                </c:pt>
                <c:pt idx="407">
                  <c:v>0.97109663522948619</c:v>
                </c:pt>
                <c:pt idx="408">
                  <c:v>0.97122405093829878</c:v>
                </c:pt>
                <c:pt idx="409">
                  <c:v>0.97135076447978375</c:v>
                </c:pt>
                <c:pt idx="410">
                  <c:v>0.97160338300643712</c:v>
                </c:pt>
                <c:pt idx="411">
                  <c:v>0.97197117825260593</c:v>
                </c:pt>
                <c:pt idx="412">
                  <c:v>0.97209314258962098</c:v>
                </c:pt>
                <c:pt idx="413">
                  <c:v>0.97221428985920033</c:v>
                </c:pt>
                <c:pt idx="414">
                  <c:v>0.97233451792791459</c:v>
                </c:pt>
                <c:pt idx="415">
                  <c:v>0.97245466088543764</c:v>
                </c:pt>
                <c:pt idx="416">
                  <c:v>0.97257469745397163</c:v>
                </c:pt>
                <c:pt idx="417">
                  <c:v>0.97269341054348213</c:v>
                </c:pt>
                <c:pt idx="418">
                  <c:v>0.9728118853216573</c:v>
                </c:pt>
                <c:pt idx="419">
                  <c:v>0.97292861532041242</c:v>
                </c:pt>
                <c:pt idx="420">
                  <c:v>0.97304266006108464</c:v>
                </c:pt>
                <c:pt idx="421">
                  <c:v>0.97315642393482582</c:v>
                </c:pt>
                <c:pt idx="422">
                  <c:v>0.97326981757488529</c:v>
                </c:pt>
                <c:pt idx="423">
                  <c:v>0.97338290055909682</c:v>
                </c:pt>
                <c:pt idx="424">
                  <c:v>0.97349551968731618</c:v>
                </c:pt>
                <c:pt idx="425">
                  <c:v>0.97360812604885683</c:v>
                </c:pt>
                <c:pt idx="426">
                  <c:v>0.97371957915375651</c:v>
                </c:pt>
                <c:pt idx="427">
                  <c:v>0.97383101098085834</c:v>
                </c:pt>
                <c:pt idx="428">
                  <c:v>0.97394183000738344</c:v>
                </c:pt>
                <c:pt idx="429">
                  <c:v>0.97405202772221267</c:v>
                </c:pt>
                <c:pt idx="430">
                  <c:v>0.97416222118148232</c:v>
                </c:pt>
                <c:pt idx="431">
                  <c:v>0.97427209121822533</c:v>
                </c:pt>
                <c:pt idx="432">
                  <c:v>0.97438196125496834</c:v>
                </c:pt>
                <c:pt idx="433">
                  <c:v>0.97448745657648272</c:v>
                </c:pt>
                <c:pt idx="434">
                  <c:v>0.97459234760853952</c:v>
                </c:pt>
                <c:pt idx="435">
                  <c:v>0.97469682585131889</c:v>
                </c:pt>
                <c:pt idx="436">
                  <c:v>0.97480100620492904</c:v>
                </c:pt>
                <c:pt idx="437">
                  <c:v>0.97490468014695142</c:v>
                </c:pt>
                <c:pt idx="438">
                  <c:v>0.97500786895518388</c:v>
                </c:pt>
                <c:pt idx="439">
                  <c:v>0.97511104074117805</c:v>
                </c:pt>
                <c:pt idx="440">
                  <c:v>0.97521405081590895</c:v>
                </c:pt>
                <c:pt idx="441">
                  <c:v>0.97531682683486398</c:v>
                </c:pt>
                <c:pt idx="442">
                  <c:v>0.97541895600876571</c:v>
                </c:pt>
                <c:pt idx="443">
                  <c:v>0.97552100007147624</c:v>
                </c:pt>
                <c:pt idx="444">
                  <c:v>0.97562270368942194</c:v>
                </c:pt>
                <c:pt idx="445">
                  <c:v>0.97572408814040057</c:v>
                </c:pt>
                <c:pt idx="446">
                  <c:v>0.97582543003578359</c:v>
                </c:pt>
                <c:pt idx="447">
                  <c:v>0.97592670384221358</c:v>
                </c:pt>
                <c:pt idx="448">
                  <c:v>0.97602792232636926</c:v>
                </c:pt>
                <c:pt idx="449">
                  <c:v>0.9761286003544607</c:v>
                </c:pt>
                <c:pt idx="450">
                  <c:v>0.97622893368222774</c:v>
                </c:pt>
                <c:pt idx="451">
                  <c:v>0.97632898614306374</c:v>
                </c:pt>
                <c:pt idx="452">
                  <c:v>0.97642805131408161</c:v>
                </c:pt>
                <c:pt idx="453">
                  <c:v>0.97652652070676105</c:v>
                </c:pt>
                <c:pt idx="454">
                  <c:v>0.97662498584388091</c:v>
                </c:pt>
                <c:pt idx="455">
                  <c:v>0.97672306372508066</c:v>
                </c:pt>
                <c:pt idx="456">
                  <c:v>0.97682074583924128</c:v>
                </c:pt>
                <c:pt idx="457">
                  <c:v>0.97691825773101948</c:v>
                </c:pt>
                <c:pt idx="458">
                  <c:v>0.97701475679962213</c:v>
                </c:pt>
                <c:pt idx="459">
                  <c:v>0.97711102606800859</c:v>
                </c:pt>
                <c:pt idx="460">
                  <c:v>0.97720705702505961</c:v>
                </c:pt>
                <c:pt idx="461">
                  <c:v>0.97730225814799621</c:v>
                </c:pt>
                <c:pt idx="462">
                  <c:v>0.97739699115938117</c:v>
                </c:pt>
                <c:pt idx="463">
                  <c:v>0.97749171565964699</c:v>
                </c:pt>
                <c:pt idx="464">
                  <c:v>0.97767930923621005</c:v>
                </c:pt>
                <c:pt idx="465">
                  <c:v>0.97777277409084584</c:v>
                </c:pt>
                <c:pt idx="466">
                  <c:v>0.97786568997829826</c:v>
                </c:pt>
                <c:pt idx="467">
                  <c:v>0.97795655894160194</c:v>
                </c:pt>
                <c:pt idx="468">
                  <c:v>0.97804722363804664</c:v>
                </c:pt>
                <c:pt idx="469">
                  <c:v>0.97813777343438324</c:v>
                </c:pt>
                <c:pt idx="470">
                  <c:v>0.97831772402597494</c:v>
                </c:pt>
                <c:pt idx="471">
                  <c:v>0.97840726525469557</c:v>
                </c:pt>
                <c:pt idx="472">
                  <c:v>0.97849620219395861</c:v>
                </c:pt>
                <c:pt idx="473">
                  <c:v>0.9785850582775899</c:v>
                </c:pt>
                <c:pt idx="474">
                  <c:v>0.97867365051652844</c:v>
                </c:pt>
                <c:pt idx="475">
                  <c:v>0.9787615363325799</c:v>
                </c:pt>
                <c:pt idx="476">
                  <c:v>0.97884891999260315</c:v>
                </c:pt>
                <c:pt idx="477">
                  <c:v>0.97893490357353086</c:v>
                </c:pt>
                <c:pt idx="478">
                  <c:v>0.97902029988723915</c:v>
                </c:pt>
                <c:pt idx="479">
                  <c:v>0.97919037332509007</c:v>
                </c:pt>
                <c:pt idx="480">
                  <c:v>0.97927487597129059</c:v>
                </c:pt>
                <c:pt idx="481">
                  <c:v>0.97935833174983922</c:v>
                </c:pt>
                <c:pt idx="482">
                  <c:v>0.97944135771687213</c:v>
                </c:pt>
                <c:pt idx="483">
                  <c:v>0.97952368577213711</c:v>
                </c:pt>
                <c:pt idx="484">
                  <c:v>0.97968583110252605</c:v>
                </c:pt>
                <c:pt idx="485">
                  <c:v>0.97976644842284755</c:v>
                </c:pt>
                <c:pt idx="486">
                  <c:v>0.97984702318757344</c:v>
                </c:pt>
                <c:pt idx="487">
                  <c:v>0.97992699791840121</c:v>
                </c:pt>
                <c:pt idx="488">
                  <c:v>0.98000640665980743</c:v>
                </c:pt>
                <c:pt idx="489">
                  <c:v>0.98008564092327155</c:v>
                </c:pt>
                <c:pt idx="490">
                  <c:v>0.98024312641594136</c:v>
                </c:pt>
                <c:pt idx="491">
                  <c:v>0.98032167978987583</c:v>
                </c:pt>
                <c:pt idx="492">
                  <c:v>0.98039947992976795</c:v>
                </c:pt>
                <c:pt idx="493">
                  <c:v>0.98047688004706135</c:v>
                </c:pt>
                <c:pt idx="494">
                  <c:v>0.98055423760875915</c:v>
                </c:pt>
                <c:pt idx="495">
                  <c:v>0.98070719093049652</c:v>
                </c:pt>
                <c:pt idx="496">
                  <c:v>0.98078311862418188</c:v>
                </c:pt>
                <c:pt idx="497">
                  <c:v>0.98085893567331872</c:v>
                </c:pt>
                <c:pt idx="498">
                  <c:v>0.98108255256156474</c:v>
                </c:pt>
                <c:pt idx="499">
                  <c:v>0.98115658227568592</c:v>
                </c:pt>
                <c:pt idx="500">
                  <c:v>0.98123038644515037</c:v>
                </c:pt>
                <c:pt idx="501">
                  <c:v>0.98137761178371885</c:v>
                </c:pt>
                <c:pt idx="502">
                  <c:v>0.9814511435973714</c:v>
                </c:pt>
                <c:pt idx="503">
                  <c:v>0.98152466264434535</c:v>
                </c:pt>
                <c:pt idx="504">
                  <c:v>0.98159811360236626</c:v>
                </c:pt>
                <c:pt idx="505">
                  <c:v>0.98167150498255329</c:v>
                </c:pt>
                <c:pt idx="506">
                  <c:v>0.98174483252934697</c:v>
                </c:pt>
                <c:pt idx="507">
                  <c:v>0.98181702809729743</c:v>
                </c:pt>
                <c:pt idx="508">
                  <c:v>0.98188895130943599</c:v>
                </c:pt>
                <c:pt idx="509">
                  <c:v>0.98196008724305583</c:v>
                </c:pt>
                <c:pt idx="510">
                  <c:v>0.98203016354234496</c:v>
                </c:pt>
                <c:pt idx="511">
                  <c:v>0.98210003557477521</c:v>
                </c:pt>
                <c:pt idx="512">
                  <c:v>0.98216986505160986</c:v>
                </c:pt>
                <c:pt idx="513">
                  <c:v>0.9822396094172533</c:v>
                </c:pt>
                <c:pt idx="514">
                  <c:v>0.98230931973842017</c:v>
                </c:pt>
                <c:pt idx="515">
                  <c:v>0.98244674452331993</c:v>
                </c:pt>
                <c:pt idx="516">
                  <c:v>0.98251429302022986</c:v>
                </c:pt>
                <c:pt idx="517">
                  <c:v>0.98258180321710376</c:v>
                </c:pt>
                <c:pt idx="518">
                  <c:v>0.98264855166881626</c:v>
                </c:pt>
                <c:pt idx="519">
                  <c:v>0.98271438943078271</c:v>
                </c:pt>
                <c:pt idx="520">
                  <c:v>0.98278018038159409</c:v>
                </c:pt>
                <c:pt idx="521">
                  <c:v>0.98284583941005899</c:v>
                </c:pt>
                <c:pt idx="522">
                  <c:v>0.98291124310495026</c:v>
                </c:pt>
                <c:pt idx="523">
                  <c:v>0.98297628082171928</c:v>
                </c:pt>
                <c:pt idx="524">
                  <c:v>0.98304131002736916</c:v>
                </c:pt>
                <c:pt idx="525">
                  <c:v>0.98310599878825422</c:v>
                </c:pt>
                <c:pt idx="526">
                  <c:v>0.98317063222686496</c:v>
                </c:pt>
                <c:pt idx="527">
                  <c:v>0.98329866924737341</c:v>
                </c:pt>
                <c:pt idx="528">
                  <c:v>0.98336195367360335</c:v>
                </c:pt>
                <c:pt idx="529">
                  <c:v>0.98342517001088037</c:v>
                </c:pt>
                <c:pt idx="530">
                  <c:v>0.983488254425811</c:v>
                </c:pt>
                <c:pt idx="531">
                  <c:v>0.98355107499604888</c:v>
                </c:pt>
                <c:pt idx="532">
                  <c:v>0.98361388279960804</c:v>
                </c:pt>
                <c:pt idx="533">
                  <c:v>0.9836761458915434</c:v>
                </c:pt>
                <c:pt idx="534">
                  <c:v>0.98373786852741452</c:v>
                </c:pt>
                <c:pt idx="535">
                  <c:v>0.98379946349649883</c:v>
                </c:pt>
                <c:pt idx="536">
                  <c:v>0.98386091377655804</c:v>
                </c:pt>
                <c:pt idx="537">
                  <c:v>0.9839221427675201</c:v>
                </c:pt>
                <c:pt idx="538">
                  <c:v>0.98398331218064827</c:v>
                </c:pt>
                <c:pt idx="539">
                  <c:v>0.98404440073814481</c:v>
                </c:pt>
                <c:pt idx="540">
                  <c:v>0.98410545525116488</c:v>
                </c:pt>
                <c:pt idx="541">
                  <c:v>0.98416596505256115</c:v>
                </c:pt>
                <c:pt idx="542">
                  <c:v>0.98422644506504053</c:v>
                </c:pt>
                <c:pt idx="543">
                  <c:v>0.98428646122152774</c:v>
                </c:pt>
                <c:pt idx="544">
                  <c:v>0.98434628587783468</c:v>
                </c:pt>
                <c:pt idx="545">
                  <c:v>0.98440576157825765</c:v>
                </c:pt>
                <c:pt idx="546">
                  <c:v>0.98446520323420417</c:v>
                </c:pt>
                <c:pt idx="547">
                  <c:v>0.9845839120681551</c:v>
                </c:pt>
                <c:pt idx="548">
                  <c:v>0.98464258772338065</c:v>
                </c:pt>
                <c:pt idx="549">
                  <c:v>0.98470119954521274</c:v>
                </c:pt>
                <c:pt idx="550">
                  <c:v>0.98475914324419378</c:v>
                </c:pt>
                <c:pt idx="551">
                  <c:v>0.98481705715425794</c:v>
                </c:pt>
                <c:pt idx="552">
                  <c:v>0.98487407314125475</c:v>
                </c:pt>
                <c:pt idx="553">
                  <c:v>0.98493108061713242</c:v>
                </c:pt>
                <c:pt idx="554">
                  <c:v>0.98498777318160258</c:v>
                </c:pt>
                <c:pt idx="555">
                  <c:v>0.98504428275701161</c:v>
                </c:pt>
                <c:pt idx="556">
                  <c:v>0.98510066466563384</c:v>
                </c:pt>
                <c:pt idx="557">
                  <c:v>0.98515699976310089</c:v>
                </c:pt>
                <c:pt idx="558">
                  <c:v>0.98521279440450371</c:v>
                </c:pt>
                <c:pt idx="559">
                  <c:v>0.98526830817897548</c:v>
                </c:pt>
                <c:pt idx="560">
                  <c:v>0.98532288998590345</c:v>
                </c:pt>
                <c:pt idx="561">
                  <c:v>0.98537735689272321</c:v>
                </c:pt>
                <c:pt idx="562">
                  <c:v>0.98543113865445375</c:v>
                </c:pt>
                <c:pt idx="563">
                  <c:v>0.98548469912708714</c:v>
                </c:pt>
                <c:pt idx="564">
                  <c:v>0.98553811491069543</c:v>
                </c:pt>
                <c:pt idx="565">
                  <c:v>0.98564423154390568</c:v>
                </c:pt>
                <c:pt idx="566">
                  <c:v>0.98569698771578196</c:v>
                </c:pt>
                <c:pt idx="567">
                  <c:v>0.98574954387635894</c:v>
                </c:pt>
                <c:pt idx="568">
                  <c:v>0.98580195534791082</c:v>
                </c:pt>
                <c:pt idx="569">
                  <c:v>0.98585429021939064</c:v>
                </c:pt>
                <c:pt idx="570">
                  <c:v>0.9859579811836513</c:v>
                </c:pt>
                <c:pt idx="571">
                  <c:v>0.98600908619841798</c:v>
                </c:pt>
                <c:pt idx="572">
                  <c:v>0.98605981246838381</c:v>
                </c:pt>
                <c:pt idx="573">
                  <c:v>0.98611048341607532</c:v>
                </c:pt>
                <c:pt idx="574">
                  <c:v>0.98616109904149252</c:v>
                </c:pt>
                <c:pt idx="575">
                  <c:v>0.98621134443322789</c:v>
                </c:pt>
                <c:pt idx="576">
                  <c:v>0.98626146215817645</c:v>
                </c:pt>
                <c:pt idx="577">
                  <c:v>0.98631155434976769</c:v>
                </c:pt>
                <c:pt idx="578">
                  <c:v>0.98641117274352852</c:v>
                </c:pt>
                <c:pt idx="579">
                  <c:v>0.98646076277909156</c:v>
                </c:pt>
                <c:pt idx="580">
                  <c:v>0.98651010173664044</c:v>
                </c:pt>
                <c:pt idx="581">
                  <c:v>0.98655936834967684</c:v>
                </c:pt>
                <c:pt idx="582">
                  <c:v>0.98660850729592642</c:v>
                </c:pt>
                <c:pt idx="583">
                  <c:v>0.98670641069918419</c:v>
                </c:pt>
                <c:pt idx="584">
                  <c:v>0.98680299062341859</c:v>
                </c:pt>
                <c:pt idx="585">
                  <c:v>0.98685058480154753</c:v>
                </c:pt>
                <c:pt idx="586">
                  <c:v>0.98689803854621094</c:v>
                </c:pt>
                <c:pt idx="587">
                  <c:v>0.98694545399083833</c:v>
                </c:pt>
                <c:pt idx="588">
                  <c:v>0.98708684495724885</c:v>
                </c:pt>
                <c:pt idx="589">
                  <c:v>0.98713373696805029</c:v>
                </c:pt>
                <c:pt idx="590">
                  <c:v>0.98718054812322009</c:v>
                </c:pt>
                <c:pt idx="591">
                  <c:v>0.98727314058814586</c:v>
                </c:pt>
                <c:pt idx="592">
                  <c:v>0.98731825377505078</c:v>
                </c:pt>
                <c:pt idx="593">
                  <c:v>0.98736305630610777</c:v>
                </c:pt>
                <c:pt idx="594">
                  <c:v>0.98740772691481837</c:v>
                </c:pt>
                <c:pt idx="595">
                  <c:v>0.98745223155670614</c:v>
                </c:pt>
                <c:pt idx="596">
                  <c:v>0.98749656172065192</c:v>
                </c:pt>
                <c:pt idx="597">
                  <c:v>0.98754044930640339</c:v>
                </c:pt>
                <c:pt idx="598">
                  <c:v>0.98758429859211883</c:v>
                </c:pt>
                <c:pt idx="599">
                  <c:v>0.98762803297772606</c:v>
                </c:pt>
                <c:pt idx="600">
                  <c:v>0.98775865737844759</c:v>
                </c:pt>
                <c:pt idx="601">
                  <c:v>0.98784540696009637</c:v>
                </c:pt>
                <c:pt idx="602">
                  <c:v>0.98788846471173342</c:v>
                </c:pt>
                <c:pt idx="603">
                  <c:v>0.98793143309661968</c:v>
                </c:pt>
                <c:pt idx="604">
                  <c:v>0.98797437594814863</c:v>
                </c:pt>
                <c:pt idx="605">
                  <c:v>0.9880169272881979</c:v>
                </c:pt>
                <c:pt idx="606">
                  <c:v>0.98805918499463752</c:v>
                </c:pt>
                <c:pt idx="607">
                  <c:v>0.98814315569589295</c:v>
                </c:pt>
                <c:pt idx="608">
                  <c:v>0.9883098800083695</c:v>
                </c:pt>
                <c:pt idx="609">
                  <c:v>0.98835145682527936</c:v>
                </c:pt>
                <c:pt idx="610">
                  <c:v>0.9883929229976407</c:v>
                </c:pt>
                <c:pt idx="611">
                  <c:v>0.98843410404751142</c:v>
                </c:pt>
                <c:pt idx="612">
                  <c:v>0.9884752042417505</c:v>
                </c:pt>
                <c:pt idx="613">
                  <c:v>0.98851547885743474</c:v>
                </c:pt>
                <c:pt idx="614">
                  <c:v>0.98855573219532122</c:v>
                </c:pt>
                <c:pt idx="615">
                  <c:v>0.98863593672636529</c:v>
                </c:pt>
                <c:pt idx="616">
                  <c:v>0.98867570918602132</c:v>
                </c:pt>
                <c:pt idx="617">
                  <c:v>0.98871529865661623</c:v>
                </c:pt>
                <c:pt idx="618">
                  <c:v>0.98875482429381778</c:v>
                </c:pt>
                <c:pt idx="619">
                  <c:v>0.988794081830767</c:v>
                </c:pt>
                <c:pt idx="620">
                  <c:v>0.9888331989342507</c:v>
                </c:pt>
                <c:pt idx="621">
                  <c:v>0.98887197984852904</c:v>
                </c:pt>
                <c:pt idx="622">
                  <c:v>0.98902550767080721</c:v>
                </c:pt>
                <c:pt idx="623">
                  <c:v>0.9890630629839321</c:v>
                </c:pt>
                <c:pt idx="624">
                  <c:v>0.98910061829705698</c:v>
                </c:pt>
                <c:pt idx="625">
                  <c:v>0.98913816509906272</c:v>
                </c:pt>
                <c:pt idx="626">
                  <c:v>0.98921268420253339</c:v>
                </c:pt>
                <c:pt idx="627">
                  <c:v>0.98924963522620057</c:v>
                </c:pt>
                <c:pt idx="628">
                  <c:v>0.9892863649607706</c:v>
                </c:pt>
                <c:pt idx="629">
                  <c:v>0.98935893501796246</c:v>
                </c:pt>
                <c:pt idx="630">
                  <c:v>0.98943047097418102</c:v>
                </c:pt>
                <c:pt idx="631">
                  <c:v>0.98946563466283266</c:v>
                </c:pt>
                <c:pt idx="632">
                  <c:v>0.98950070047361438</c:v>
                </c:pt>
                <c:pt idx="633">
                  <c:v>0.98953562585093058</c:v>
                </c:pt>
                <c:pt idx="634">
                  <c:v>0.98960524680534678</c:v>
                </c:pt>
                <c:pt idx="635">
                  <c:v>0.98963996791580411</c:v>
                </c:pt>
                <c:pt idx="636">
                  <c:v>0.98967408048124417</c:v>
                </c:pt>
                <c:pt idx="637">
                  <c:v>0.98974214815642059</c:v>
                </c:pt>
                <c:pt idx="638">
                  <c:v>0.98977603517720392</c:v>
                </c:pt>
                <c:pt idx="639">
                  <c:v>0.98980986687571293</c:v>
                </c:pt>
                <c:pt idx="640">
                  <c:v>0.98991089811524802</c:v>
                </c:pt>
                <c:pt idx="641">
                  <c:v>0.99001115484294289</c:v>
                </c:pt>
                <c:pt idx="642">
                  <c:v>0.99004434820751785</c:v>
                </c:pt>
                <c:pt idx="643">
                  <c:v>0.9900773713497103</c:v>
                </c:pt>
                <c:pt idx="644">
                  <c:v>0.99011008809161438</c:v>
                </c:pt>
                <c:pt idx="645">
                  <c:v>0.99014263035557648</c:v>
                </c:pt>
                <c:pt idx="646">
                  <c:v>0.9901749981415966</c:v>
                </c:pt>
                <c:pt idx="647">
                  <c:v>0.99023938475775275</c:v>
                </c:pt>
                <c:pt idx="648">
                  <c:v>0.99030343518470365</c:v>
                </c:pt>
                <c:pt idx="649">
                  <c:v>0.99033536890364859</c:v>
                </c:pt>
                <c:pt idx="650">
                  <c:v>0.99039841076298363</c:v>
                </c:pt>
                <c:pt idx="651">
                  <c:v>0.99042991041485329</c:v>
                </c:pt>
                <c:pt idx="652">
                  <c:v>0.99049273524065062</c:v>
                </c:pt>
                <c:pt idx="653">
                  <c:v>0.99055516855496839</c:v>
                </c:pt>
                <c:pt idx="654">
                  <c:v>0.99058615328413124</c:v>
                </c:pt>
                <c:pt idx="655">
                  <c:v>0.99061696779091168</c:v>
                </c:pt>
                <c:pt idx="656">
                  <c:v>0.99067820103743331</c:v>
                </c:pt>
                <c:pt idx="657">
                  <c:v>0.99070873042172314</c:v>
                </c:pt>
                <c:pt idx="658">
                  <c:v>0.99073915767258347</c:v>
                </c:pt>
                <c:pt idx="659">
                  <c:v>0.99076898063398622</c:v>
                </c:pt>
                <c:pt idx="660">
                  <c:v>0.99079877380647197</c:v>
                </c:pt>
                <c:pt idx="661">
                  <c:v>0.99082856697895771</c:v>
                </c:pt>
                <c:pt idx="662">
                  <c:v>0.99085830057360968</c:v>
                </c:pt>
                <c:pt idx="663">
                  <c:v>0.99088768946793715</c:v>
                </c:pt>
                <c:pt idx="664">
                  <c:v>0.99091700176219255</c:v>
                </c:pt>
                <c:pt idx="665">
                  <c:v>0.99094624596749492</c:v>
                </c:pt>
                <c:pt idx="666">
                  <c:v>0.99103291043795239</c:v>
                </c:pt>
                <c:pt idx="667">
                  <c:v>0.99106157163159492</c:v>
                </c:pt>
                <c:pt idx="668">
                  <c:v>0.99109022431411842</c:v>
                </c:pt>
                <c:pt idx="669">
                  <c:v>0.99114703603425636</c:v>
                </c:pt>
                <c:pt idx="670">
                  <c:v>0.99117537806093192</c:v>
                </c:pt>
                <c:pt idx="671">
                  <c:v>0.99120350305406979</c:v>
                </c:pt>
                <c:pt idx="672">
                  <c:v>0.99123141952478921</c:v>
                </c:pt>
                <c:pt idx="673">
                  <c:v>0.99131442421402438</c:v>
                </c:pt>
                <c:pt idx="674">
                  <c:v>0.99134174916196482</c:v>
                </c:pt>
                <c:pt idx="675">
                  <c:v>0.9913687251540213</c:v>
                </c:pt>
                <c:pt idx="676">
                  <c:v>0.99139564156824389</c:v>
                </c:pt>
                <c:pt idx="677">
                  <c:v>0.99142244308235838</c:v>
                </c:pt>
                <c:pt idx="678">
                  <c:v>0.99144915948528167</c:v>
                </c:pt>
                <c:pt idx="679">
                  <c:v>0.99147574822141815</c:v>
                </c:pt>
                <c:pt idx="680">
                  <c:v>0.99150231993531635</c:v>
                </c:pt>
                <c:pt idx="681">
                  <c:v>0.99155537825192153</c:v>
                </c:pt>
                <c:pt idx="682">
                  <c:v>0.99158172867672256</c:v>
                </c:pt>
                <c:pt idx="683">
                  <c:v>0.99160805782372574</c:v>
                </c:pt>
                <c:pt idx="684">
                  <c:v>0.99166052036199248</c:v>
                </c:pt>
                <c:pt idx="685">
                  <c:v>0.99168673035332799</c:v>
                </c:pt>
                <c:pt idx="686">
                  <c:v>0.99171291906686565</c:v>
                </c:pt>
                <c:pt idx="687">
                  <c:v>0.99173906096924813</c:v>
                </c:pt>
                <c:pt idx="688">
                  <c:v>0.99176516031603501</c:v>
                </c:pt>
                <c:pt idx="689">
                  <c:v>0.99179122561834543</c:v>
                </c:pt>
                <c:pt idx="690">
                  <c:v>0.99181726538729853</c:v>
                </c:pt>
                <c:pt idx="691">
                  <c:v>0.99184328813401335</c:v>
                </c:pt>
                <c:pt idx="692">
                  <c:v>0.9918692342806561</c:v>
                </c:pt>
                <c:pt idx="693">
                  <c:v>0.99192055207340091</c:v>
                </c:pt>
                <c:pt idx="694">
                  <c:v>0.99194612373080226</c:v>
                </c:pt>
                <c:pt idx="695">
                  <c:v>0.99197169113264405</c:v>
                </c:pt>
                <c:pt idx="696">
                  <c:v>0.99199723725668809</c:v>
                </c:pt>
                <c:pt idx="697">
                  <c:v>0.99204797203777306</c:v>
                </c:pt>
                <c:pt idx="698">
                  <c:v>0.99207324155044563</c:v>
                </c:pt>
                <c:pt idx="699">
                  <c:v>0.9921484628212438</c:v>
                </c:pt>
                <c:pt idx="700">
                  <c:v>0.99217332805575809</c:v>
                </c:pt>
                <c:pt idx="701">
                  <c:v>0.99219809115684288</c:v>
                </c:pt>
                <c:pt idx="702">
                  <c:v>0.99229591370446901</c:v>
                </c:pt>
                <c:pt idx="703">
                  <c:v>0.99234467816147731</c:v>
                </c:pt>
                <c:pt idx="704">
                  <c:v>0.99236899442880822</c:v>
                </c:pt>
                <c:pt idx="705">
                  <c:v>0.9923932553738648</c:v>
                </c:pt>
                <c:pt idx="706">
                  <c:v>0.99244127085239031</c:v>
                </c:pt>
                <c:pt idx="707">
                  <c:v>0.99246522539715853</c:v>
                </c:pt>
                <c:pt idx="708">
                  <c:v>0.99248913738633115</c:v>
                </c:pt>
                <c:pt idx="709">
                  <c:v>0.99251276850857273</c:v>
                </c:pt>
                <c:pt idx="710">
                  <c:v>0.99253630175294449</c:v>
                </c:pt>
                <c:pt idx="711">
                  <c:v>0.99255975414168451</c:v>
                </c:pt>
                <c:pt idx="712">
                  <c:v>0.99258316397482893</c:v>
                </c:pt>
                <c:pt idx="713">
                  <c:v>0.99260648869678214</c:v>
                </c:pt>
                <c:pt idx="714">
                  <c:v>0.99262979214093761</c:v>
                </c:pt>
                <c:pt idx="715">
                  <c:v>0.99267632668473593</c:v>
                </c:pt>
                <c:pt idx="716">
                  <c:v>0.99272238886142306</c:v>
                </c:pt>
                <c:pt idx="717">
                  <c:v>0.99274513908283557</c:v>
                </c:pt>
                <c:pt idx="718">
                  <c:v>0.99285734116621804</c:v>
                </c:pt>
                <c:pt idx="719">
                  <c:v>0.99287938070918391</c:v>
                </c:pt>
                <c:pt idx="720">
                  <c:v>0.99290141599659021</c:v>
                </c:pt>
                <c:pt idx="721">
                  <c:v>0.9929233661728053</c:v>
                </c:pt>
                <c:pt idx="722">
                  <c:v>0.99294531209346082</c:v>
                </c:pt>
                <c:pt idx="723">
                  <c:v>0.99296711758065082</c:v>
                </c:pt>
                <c:pt idx="724">
                  <c:v>0.99301056258820797</c:v>
                </c:pt>
                <c:pt idx="725">
                  <c:v>0.99303212550850295</c:v>
                </c:pt>
                <c:pt idx="726">
                  <c:v>0.99307508112671061</c:v>
                </c:pt>
                <c:pt idx="727">
                  <c:v>0.99318022323678157</c:v>
                </c:pt>
                <c:pt idx="728">
                  <c:v>0.99320093930072395</c:v>
                </c:pt>
                <c:pt idx="729">
                  <c:v>0.99326284067009663</c:v>
                </c:pt>
                <c:pt idx="730">
                  <c:v>0.99332439308358533</c:v>
                </c:pt>
                <c:pt idx="731">
                  <c:v>0.99334440272464064</c:v>
                </c:pt>
                <c:pt idx="732">
                  <c:v>0.99340398055849299</c:v>
                </c:pt>
                <c:pt idx="733">
                  <c:v>0.99342368379925994</c:v>
                </c:pt>
                <c:pt idx="734">
                  <c:v>0.99346278813606492</c:v>
                </c:pt>
                <c:pt idx="735">
                  <c:v>0.99352120845771674</c:v>
                </c:pt>
                <c:pt idx="736">
                  <c:v>0.99356009576098414</c:v>
                </c:pt>
                <c:pt idx="737">
                  <c:v>0.99363763631174307</c:v>
                </c:pt>
                <c:pt idx="738">
                  <c:v>0.99365684590760095</c:v>
                </c:pt>
                <c:pt idx="739">
                  <c:v>0.99371408743925449</c:v>
                </c:pt>
                <c:pt idx="740">
                  <c:v>0.99373302893486004</c:v>
                </c:pt>
                <c:pt idx="741">
                  <c:v>0.9938085140503512</c:v>
                </c:pt>
                <c:pt idx="742">
                  <c:v>0.99382715340122785</c:v>
                </c:pt>
                <c:pt idx="743">
                  <c:v>0.99384578849654492</c:v>
                </c:pt>
                <c:pt idx="744">
                  <c:v>0.99399265211255083</c:v>
                </c:pt>
                <c:pt idx="745">
                  <c:v>0.99401067015173161</c:v>
                </c:pt>
                <c:pt idx="746">
                  <c:v>0.99404616577402893</c:v>
                </c:pt>
                <c:pt idx="747">
                  <c:v>0.99406375825725368</c:v>
                </c:pt>
                <c:pt idx="748">
                  <c:v>0.99408119754033419</c:v>
                </c:pt>
                <c:pt idx="749">
                  <c:v>0.99409854745666393</c:v>
                </c:pt>
                <c:pt idx="750">
                  <c:v>0.99411586758407677</c:v>
                </c:pt>
                <c:pt idx="751">
                  <c:v>0.9941676279550159</c:v>
                </c:pt>
                <c:pt idx="752">
                  <c:v>0.99421903937007094</c:v>
                </c:pt>
                <c:pt idx="753">
                  <c:v>0.99425312640215369</c:v>
                </c:pt>
                <c:pt idx="754">
                  <c:v>0.9942870304451753</c:v>
                </c:pt>
                <c:pt idx="755">
                  <c:v>0.99435397465262765</c:v>
                </c:pt>
                <c:pt idx="756">
                  <c:v>0.99437052877931953</c:v>
                </c:pt>
                <c:pt idx="757">
                  <c:v>0.99446890880524808</c:v>
                </c:pt>
                <c:pt idx="758">
                  <c:v>0.99453329542140434</c:v>
                </c:pt>
                <c:pt idx="759">
                  <c:v>0.9945492920697937</c:v>
                </c:pt>
                <c:pt idx="760">
                  <c:v>0.99456522914034917</c:v>
                </c:pt>
                <c:pt idx="761">
                  <c:v>0.99461290417410975</c:v>
                </c:pt>
                <c:pt idx="762">
                  <c:v>0.99462859867777031</c:v>
                </c:pt>
                <c:pt idx="763">
                  <c:v>0.99464418679244182</c:v>
                </c:pt>
                <c:pt idx="764">
                  <c:v>0.99467523535499813</c:v>
                </c:pt>
                <c:pt idx="765">
                  <c:v>0.99470611369517192</c:v>
                </c:pt>
                <c:pt idx="766">
                  <c:v>0.9947215060541037</c:v>
                </c:pt>
                <c:pt idx="767">
                  <c:v>0.9947368218129633</c:v>
                </c:pt>
                <c:pt idx="768">
                  <c:v>0.99475211629402516</c:v>
                </c:pt>
                <c:pt idx="769">
                  <c:v>0.99478258610048109</c:v>
                </c:pt>
                <c:pt idx="770">
                  <c:v>0.99482811633222301</c:v>
                </c:pt>
                <c:pt idx="771">
                  <c:v>0.99487318696353244</c:v>
                </c:pt>
                <c:pt idx="772">
                  <c:v>0.99488811121091247</c:v>
                </c:pt>
                <c:pt idx="773">
                  <c:v>0.99491788310560048</c:v>
                </c:pt>
                <c:pt idx="774">
                  <c:v>0.99494755712241856</c:v>
                </c:pt>
                <c:pt idx="775">
                  <c:v>0.99497710347244983</c:v>
                </c:pt>
                <c:pt idx="776">
                  <c:v>0.99499185324188788</c:v>
                </c:pt>
                <c:pt idx="777">
                  <c:v>0.99502125915845363</c:v>
                </c:pt>
                <c:pt idx="778">
                  <c:v>0.99503591530558133</c:v>
                </c:pt>
                <c:pt idx="779">
                  <c:v>0.99505055868603032</c:v>
                </c:pt>
                <c:pt idx="780">
                  <c:v>0.9950797305468202</c:v>
                </c:pt>
                <c:pt idx="781">
                  <c:v>0.99512311597654346</c:v>
                </c:pt>
                <c:pt idx="782">
                  <c:v>0.99515190483697291</c:v>
                </c:pt>
                <c:pt idx="783">
                  <c:v>0.99516627160605042</c:v>
                </c:pt>
                <c:pt idx="784">
                  <c:v>0.99520880592386152</c:v>
                </c:pt>
                <c:pt idx="785">
                  <c:v>0.99522289182600809</c:v>
                </c:pt>
                <c:pt idx="786">
                  <c:v>0.9952369734725951</c:v>
                </c:pt>
                <c:pt idx="787">
                  <c:v>0.9953761260146764</c:v>
                </c:pt>
                <c:pt idx="788">
                  <c:v>0.99538983317202201</c:v>
                </c:pt>
                <c:pt idx="789">
                  <c:v>0.99543064824377048</c:v>
                </c:pt>
                <c:pt idx="790">
                  <c:v>0.99552338539772134</c:v>
                </c:pt>
                <c:pt idx="791">
                  <c:v>0.99554941239999573</c:v>
                </c:pt>
                <c:pt idx="792">
                  <c:v>0.99557534577995976</c:v>
                </c:pt>
                <c:pt idx="793">
                  <c:v>0.9955882741699057</c:v>
                </c:pt>
                <c:pt idx="794">
                  <c:v>0.9956011642598156</c:v>
                </c:pt>
                <c:pt idx="795">
                  <c:v>0.99562692316183765</c:v>
                </c:pt>
                <c:pt idx="796">
                  <c:v>0.99565245226364341</c:v>
                </c:pt>
                <c:pt idx="797">
                  <c:v>0.99572776290119258</c:v>
                </c:pt>
                <c:pt idx="798">
                  <c:v>0.99576479903605108</c:v>
                </c:pt>
                <c:pt idx="799">
                  <c:v>0.99577712313653943</c:v>
                </c:pt>
                <c:pt idx="800">
                  <c:v>0.99580157558177629</c:v>
                </c:pt>
                <c:pt idx="801">
                  <c:v>0.99585008044965129</c:v>
                </c:pt>
                <c:pt idx="802">
                  <c:v>0.99588617185028716</c:v>
                </c:pt>
                <c:pt idx="803">
                  <c:v>0.99592188025056261</c:v>
                </c:pt>
                <c:pt idx="804">
                  <c:v>0.99593372772838007</c:v>
                </c:pt>
                <c:pt idx="805">
                  <c:v>0.99594551988392332</c:v>
                </c:pt>
                <c:pt idx="806">
                  <c:v>0.99595730778390701</c:v>
                </c:pt>
                <c:pt idx="807">
                  <c:v>0.99596902333937809</c:v>
                </c:pt>
                <c:pt idx="808">
                  <c:v>0.995980692083694</c:v>
                </c:pt>
                <c:pt idx="809">
                  <c:v>0.99599226295014009</c:v>
                </c:pt>
                <c:pt idx="810">
                  <c:v>0.99600375721651402</c:v>
                </c:pt>
                <c:pt idx="811">
                  <c:v>0.99607188021396453</c:v>
                </c:pt>
                <c:pt idx="812">
                  <c:v>0.99608304254669278</c:v>
                </c:pt>
                <c:pt idx="813">
                  <c:v>0.9960941921127423</c:v>
                </c:pt>
                <c:pt idx="814">
                  <c:v>0.99613830524315039</c:v>
                </c:pt>
                <c:pt idx="815">
                  <c:v>0.99614929309793665</c:v>
                </c:pt>
                <c:pt idx="816">
                  <c:v>0.99619298492794828</c:v>
                </c:pt>
                <c:pt idx="817">
                  <c:v>0.99620378553811384</c:v>
                </c:pt>
                <c:pt idx="818">
                  <c:v>0.99624666030068987</c:v>
                </c:pt>
                <c:pt idx="819">
                  <c:v>0.9962786365752303</c:v>
                </c:pt>
                <c:pt idx="820">
                  <c:v>0.9963314906249765</c:v>
                </c:pt>
                <c:pt idx="821">
                  <c:v>0.99637326745318577</c:v>
                </c:pt>
                <c:pt idx="822">
                  <c:v>0.99639402607272376</c:v>
                </c:pt>
                <c:pt idx="823">
                  <c:v>0.99644553536564862</c:v>
                </c:pt>
                <c:pt idx="824">
                  <c:v>0.99647601793878315</c:v>
                </c:pt>
                <c:pt idx="825">
                  <c:v>0.9964962658911739</c:v>
                </c:pt>
                <c:pt idx="826">
                  <c:v>0.99652646334181805</c:v>
                </c:pt>
                <c:pt idx="827">
                  <c:v>0.99655639269220975</c:v>
                </c:pt>
                <c:pt idx="828">
                  <c:v>0.99656630814598657</c:v>
                </c:pt>
                <c:pt idx="829">
                  <c:v>0.99668315304484989</c:v>
                </c:pt>
                <c:pt idx="830">
                  <c:v>0.99669277060945749</c:v>
                </c:pt>
                <c:pt idx="831">
                  <c:v>0.99671194616083891</c:v>
                </c:pt>
                <c:pt idx="832">
                  <c:v>0.99675000788555146</c:v>
                </c:pt>
                <c:pt idx="833">
                  <c:v>0.99675947225001482</c:v>
                </c:pt>
                <c:pt idx="834">
                  <c:v>0.99676891533668044</c:v>
                </c:pt>
                <c:pt idx="835">
                  <c:v>0.9967971850188434</c:v>
                </c:pt>
                <c:pt idx="836">
                  <c:v>0.99681587969199448</c:v>
                </c:pt>
                <c:pt idx="837">
                  <c:v>0.99687151262213403</c:v>
                </c:pt>
                <c:pt idx="838">
                  <c:v>0.99688984131716274</c:v>
                </c:pt>
                <c:pt idx="839">
                  <c:v>0.99690812320103639</c:v>
                </c:pt>
                <c:pt idx="840">
                  <c:v>0.99693542687117909</c:v>
                </c:pt>
                <c:pt idx="841">
                  <c:v>0.99694446142412685</c:v>
                </c:pt>
                <c:pt idx="842">
                  <c:v>0.99701592503583292</c:v>
                </c:pt>
                <c:pt idx="843">
                  <c:v>0.99702466169961146</c:v>
                </c:pt>
                <c:pt idx="844">
                  <c:v>0.99703337708559214</c:v>
                </c:pt>
                <c:pt idx="845">
                  <c:v>0.99706784286247585</c:v>
                </c:pt>
                <c:pt idx="846">
                  <c:v>0.99711891383276607</c:v>
                </c:pt>
                <c:pt idx="847">
                  <c:v>0.99718530481747547</c:v>
                </c:pt>
                <c:pt idx="848">
                  <c:v>0.99721773643688894</c:v>
                </c:pt>
                <c:pt idx="849">
                  <c:v>0.99722579221113772</c:v>
                </c:pt>
                <c:pt idx="850">
                  <c:v>0.99724185269292054</c:v>
                </c:pt>
                <c:pt idx="851">
                  <c:v>0.99727376087850805</c:v>
                </c:pt>
                <c:pt idx="852">
                  <c:v>0.99730523925257986</c:v>
                </c:pt>
                <c:pt idx="853">
                  <c:v>0.99732089545620428</c:v>
                </c:pt>
                <c:pt idx="854">
                  <c:v>0.99732867036352202</c:v>
                </c:pt>
                <c:pt idx="855">
                  <c:v>0.99740515979106936</c:v>
                </c:pt>
                <c:pt idx="856">
                  <c:v>0.99742775681233764</c:v>
                </c:pt>
                <c:pt idx="857">
                  <c:v>0.99743521680824787</c:v>
                </c:pt>
                <c:pt idx="858">
                  <c:v>0.99744265552636036</c:v>
                </c:pt>
                <c:pt idx="859">
                  <c:v>0.99745009424447284</c:v>
                </c:pt>
                <c:pt idx="860">
                  <c:v>0.99746489508062564</c:v>
                </c:pt>
                <c:pt idx="861">
                  <c:v>0.99750127585931181</c:v>
                </c:pt>
                <c:pt idx="862">
                  <c:v>0.99752982215284625</c:v>
                </c:pt>
                <c:pt idx="863">
                  <c:v>0.99755807906833049</c:v>
                </c:pt>
                <c:pt idx="864">
                  <c:v>0.99756507946380812</c:v>
                </c:pt>
                <c:pt idx="865">
                  <c:v>0.99757902918804875</c:v>
                </c:pt>
                <c:pt idx="866">
                  <c:v>0.99762042301589737</c:v>
                </c:pt>
                <c:pt idx="867">
                  <c:v>0.99762722765563527</c:v>
                </c:pt>
                <c:pt idx="868">
                  <c:v>0.99764075607947933</c:v>
                </c:pt>
                <c:pt idx="869">
                  <c:v>0.997667574615832</c:v>
                </c:pt>
                <c:pt idx="870">
                  <c:v>0.99776485670739379</c:v>
                </c:pt>
                <c:pt idx="871">
                  <c:v>0.99789355759519383</c:v>
                </c:pt>
                <c:pt idx="872">
                  <c:v>0.99789952388969816</c:v>
                </c:pt>
                <c:pt idx="873">
                  <c:v>0.99799915505013759</c:v>
                </c:pt>
                <c:pt idx="874">
                  <c:v>0.99806111599734415</c:v>
                </c:pt>
                <c:pt idx="875">
                  <c:v>0.9980943689397529</c:v>
                </c:pt>
                <c:pt idx="876">
                  <c:v>0.99810531849450301</c:v>
                </c:pt>
                <c:pt idx="877">
                  <c:v>0.9981587513003497</c:v>
                </c:pt>
                <c:pt idx="878">
                  <c:v>0.99817952694212586</c:v>
                </c:pt>
                <c:pt idx="879">
                  <c:v>0.99828592869782662</c:v>
                </c:pt>
                <c:pt idx="880">
                  <c:v>0.99834411496370257</c:v>
                </c:pt>
                <c:pt idx="881">
                  <c:v>0.9983583498104337</c:v>
                </c:pt>
                <c:pt idx="882">
                  <c:v>0.99840486307643417</c:v>
                </c:pt>
                <c:pt idx="883">
                  <c:v>0.99851112865422909</c:v>
                </c:pt>
                <c:pt idx="884">
                  <c:v>0.99851539698046865</c:v>
                </c:pt>
                <c:pt idx="885">
                  <c:v>0.99859104380722308</c:v>
                </c:pt>
                <c:pt idx="886">
                  <c:v>0.99862774375287633</c:v>
                </c:pt>
                <c:pt idx="887">
                  <c:v>0.99863579527156554</c:v>
                </c:pt>
                <c:pt idx="888">
                  <c:v>0.9986477874384081</c:v>
                </c:pt>
                <c:pt idx="889">
                  <c:v>0.99865177489771662</c:v>
                </c:pt>
                <c:pt idx="890">
                  <c:v>0.99865972002741676</c:v>
                </c:pt>
                <c:pt idx="891">
                  <c:v>0.99869827965259794</c:v>
                </c:pt>
                <c:pt idx="892">
                  <c:v>0.99877899485078947</c:v>
                </c:pt>
                <c:pt idx="893">
                  <c:v>0.99879648094502516</c:v>
                </c:pt>
                <c:pt idx="894">
                  <c:v>0.99884111325369984</c:v>
                </c:pt>
                <c:pt idx="895">
                  <c:v>0.99893521644226968</c:v>
                </c:pt>
                <c:pt idx="896">
                  <c:v>0.99895077476802441</c:v>
                </c:pt>
                <c:pt idx="897">
                  <c:v>0.99895387281538472</c:v>
                </c:pt>
                <c:pt idx="898">
                  <c:v>0.99896312865742964</c:v>
                </c:pt>
                <c:pt idx="899">
                  <c:v>0.99903507314736617</c:v>
                </c:pt>
                <c:pt idx="900">
                  <c:v>0.99906377689660431</c:v>
                </c:pt>
                <c:pt idx="901">
                  <c:v>0.99910552819145604</c:v>
                </c:pt>
                <c:pt idx="902">
                  <c:v>0.99916908922905745</c:v>
                </c:pt>
                <c:pt idx="903">
                  <c:v>0.99921184483596548</c:v>
                </c:pt>
                <c:pt idx="904">
                  <c:v>0.99921675575169866</c:v>
                </c:pt>
                <c:pt idx="905">
                  <c:v>0.99922651374977189</c:v>
                </c:pt>
                <c:pt idx="906">
                  <c:v>0.99924342534346677</c:v>
                </c:pt>
                <c:pt idx="907">
                  <c:v>0.99924818305905583</c:v>
                </c:pt>
                <c:pt idx="908">
                  <c:v>0.9993268385664198</c:v>
                </c:pt>
                <c:pt idx="909">
                  <c:v>0.9993310728481829</c:v>
                </c:pt>
                <c:pt idx="910">
                  <c:v>0.99933943927827962</c:v>
                </c:pt>
                <c:pt idx="911">
                  <c:v>0.99934773761942342</c:v>
                </c:pt>
                <c:pt idx="912">
                  <c:v>0.9993559636160545</c:v>
                </c:pt>
                <c:pt idx="913">
                  <c:v>0.99938943784756051</c:v>
                </c:pt>
                <c:pt idx="914">
                  <c:v>0.99939898306765562</c:v>
                </c:pt>
                <c:pt idx="915">
                  <c:v>0.99942326954606975</c:v>
                </c:pt>
                <c:pt idx="916">
                  <c:v>0.99946403355110325</c:v>
                </c:pt>
                <c:pt idx="917">
                  <c:v>0.99948422192566011</c:v>
                </c:pt>
                <c:pt idx="918">
                  <c:v>0.9994858730827697</c:v>
                </c:pt>
                <c:pt idx="919">
                  <c:v>0.99952614344289437</c:v>
                </c:pt>
                <c:pt idx="920">
                  <c:v>0.9995417273020063</c:v>
                </c:pt>
                <c:pt idx="921">
                  <c:v>0.99970388539907373</c:v>
                </c:pt>
                <c:pt idx="922">
                  <c:v>0.99972073315937526</c:v>
                </c:pt>
                <c:pt idx="923">
                  <c:v>0.99978731138870502</c:v>
                </c:pt>
                <c:pt idx="924">
                  <c:v>0.99982672638135772</c:v>
                </c:pt>
                <c:pt idx="925">
                  <c:v>0.999977007211690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455</c:f>
              <c:strCache>
                <c:ptCount val="1454"/>
                <c:pt idx="0">
                  <c:v>Private Lab</c:v>
                </c:pt>
                <c:pt idx="1">
                  <c:v>Private Lab</c:v>
                </c:pt>
                <c:pt idx="2">
                  <c:v>Private Lab</c:v>
                </c:pt>
                <c:pt idx="3">
                  <c:v>Private Lab</c:v>
                </c:pt>
                <c:pt idx="4">
                  <c:v>Private Lab</c:v>
                </c:pt>
                <c:pt idx="5">
                  <c:v>Caprice Des</c:v>
                </c:pt>
                <c:pt idx="6">
                  <c:v>Private Lab</c:v>
                </c:pt>
                <c:pt idx="7">
                  <c:v>Private Lab</c:v>
                </c:pt>
                <c:pt idx="8">
                  <c:v>Private Lab</c:v>
                </c:pt>
                <c:pt idx="9">
                  <c:v>Private Lab</c:v>
                </c:pt>
                <c:pt idx="10">
                  <c:v>Private Lab</c:v>
                </c:pt>
                <c:pt idx="11">
                  <c:v>Private Lab</c:v>
                </c:pt>
                <c:pt idx="12">
                  <c:v>Private Lab</c:v>
                </c:pt>
                <c:pt idx="13">
                  <c:v>Private Lab</c:v>
                </c:pt>
                <c:pt idx="14">
                  <c:v>Coeur De Li</c:v>
                </c:pt>
                <c:pt idx="15">
                  <c:v>Private Lab</c:v>
                </c:pt>
                <c:pt idx="16">
                  <c:v>Mini Babybe</c:v>
                </c:pt>
                <c:pt idx="17">
                  <c:v>President</c:v>
                </c:pt>
                <c:pt idx="18">
                  <c:v>Soignon</c:v>
                </c:pt>
                <c:pt idx="19">
                  <c:v>Entremont</c:v>
                </c:pt>
                <c:pt idx="20">
                  <c:v>Private Lab</c:v>
                </c:pt>
                <c:pt idx="21">
                  <c:v>Private Lab</c:v>
                </c:pt>
                <c:pt idx="22">
                  <c:v>Richesmonts</c:v>
                </c:pt>
                <c:pt idx="23">
                  <c:v>Private Lab</c:v>
                </c:pt>
                <c:pt idx="24">
                  <c:v>Chaussee Au</c:v>
                </c:pt>
                <c:pt idx="25">
                  <c:v>Caprice Des</c:v>
                </c:pt>
                <c:pt idx="26">
                  <c:v>President</c:v>
                </c:pt>
                <c:pt idx="27">
                  <c:v>President</c:v>
                </c:pt>
                <c:pt idx="28">
                  <c:v>La Vache Qu</c:v>
                </c:pt>
                <c:pt idx="29">
                  <c:v>President</c:v>
                </c:pt>
                <c:pt idx="30">
                  <c:v>Private Lab</c:v>
                </c:pt>
                <c:pt idx="31">
                  <c:v>Private Lab</c:v>
                </c:pt>
                <c:pt idx="32">
                  <c:v>Entremont</c:v>
                </c:pt>
                <c:pt idx="33">
                  <c:v>President</c:v>
                </c:pt>
                <c:pt idx="34">
                  <c:v>Private Lab</c:v>
                </c:pt>
                <c:pt idx="35">
                  <c:v>Soignon</c:v>
                </c:pt>
                <c:pt idx="36">
                  <c:v>Private Lab</c:v>
                </c:pt>
                <c:pt idx="37">
                  <c:v>Le Rustique</c:v>
                </c:pt>
                <c:pt idx="38">
                  <c:v>Private Lab</c:v>
                </c:pt>
                <c:pt idx="39">
                  <c:v>Private Lab</c:v>
                </c:pt>
                <c:pt idx="40">
                  <c:v>St Moret</c:v>
                </c:pt>
                <c:pt idx="41">
                  <c:v>Private Lab</c:v>
                </c:pt>
                <c:pt idx="42">
                  <c:v>St Moret</c:v>
                </c:pt>
                <c:pt idx="43">
                  <c:v>Private Lab</c:v>
                </c:pt>
                <c:pt idx="44">
                  <c:v>Private Lab</c:v>
                </c:pt>
                <c:pt idx="45">
                  <c:v>President</c:v>
                </c:pt>
                <c:pt idx="46">
                  <c:v>La Vache Qu</c:v>
                </c:pt>
                <c:pt idx="47">
                  <c:v>Leerdammer</c:v>
                </c:pt>
                <c:pt idx="48">
                  <c:v>Private Lab</c:v>
                </c:pt>
                <c:pt idx="49">
                  <c:v>President</c:v>
                </c:pt>
                <c:pt idx="50">
                  <c:v>Private Lab</c:v>
                </c:pt>
                <c:pt idx="51">
                  <c:v>Societe</c:v>
                </c:pt>
                <c:pt idx="52">
                  <c:v>Private Lab</c:v>
                </c:pt>
                <c:pt idx="53">
                  <c:v>Private Lab</c:v>
                </c:pt>
                <c:pt idx="54">
                  <c:v>Private Lab</c:v>
                </c:pt>
                <c:pt idx="55">
                  <c:v>President</c:v>
                </c:pt>
                <c:pt idx="56">
                  <c:v>Private Lab</c:v>
                </c:pt>
                <c:pt idx="57">
                  <c:v>Private Lab</c:v>
                </c:pt>
                <c:pt idx="58">
                  <c:v>Chaussee Au</c:v>
                </c:pt>
                <c:pt idx="59">
                  <c:v>St Moret</c:v>
                </c:pt>
                <c:pt idx="60">
                  <c:v>Saint Agur</c:v>
                </c:pt>
                <c:pt idx="61">
                  <c:v>Private Lab</c:v>
                </c:pt>
                <c:pt idx="62">
                  <c:v>Tartare</c:v>
                </c:pt>
                <c:pt idx="63">
                  <c:v>Private Lab</c:v>
                </c:pt>
                <c:pt idx="64">
                  <c:v>Private Lab</c:v>
                </c:pt>
                <c:pt idx="65">
                  <c:v>Galbani</c:v>
                </c:pt>
                <c:pt idx="66">
                  <c:v>Mini Babybe</c:v>
                </c:pt>
                <c:pt idx="67">
                  <c:v>Private Lab</c:v>
                </c:pt>
                <c:pt idx="68">
                  <c:v>La Vache Qu</c:v>
                </c:pt>
                <c:pt idx="69">
                  <c:v>Leerdammer</c:v>
                </c:pt>
                <c:pt idx="70">
                  <c:v>Coeur De Li</c:v>
                </c:pt>
                <c:pt idx="71">
                  <c:v>Entremont</c:v>
                </c:pt>
                <c:pt idx="72">
                  <c:v>Private Lab</c:v>
                </c:pt>
                <c:pt idx="73">
                  <c:v>Entremont</c:v>
                </c:pt>
                <c:pt idx="74">
                  <c:v>St Moret</c:v>
                </c:pt>
                <c:pt idx="75">
                  <c:v>Private Lab</c:v>
                </c:pt>
                <c:pt idx="76">
                  <c:v>Entremont</c:v>
                </c:pt>
                <c:pt idx="77">
                  <c:v>Soignon</c:v>
                </c:pt>
                <c:pt idx="78">
                  <c:v>Leerdammer</c:v>
                </c:pt>
                <c:pt idx="79">
                  <c:v>Private Lab</c:v>
                </c:pt>
                <c:pt idx="80">
                  <c:v>President</c:v>
                </c:pt>
                <c:pt idx="81">
                  <c:v>Entremont</c:v>
                </c:pt>
                <c:pt idx="82">
                  <c:v>Salakis</c:v>
                </c:pt>
                <c:pt idx="83">
                  <c:v>Entremont</c:v>
                </c:pt>
                <c:pt idx="84">
                  <c:v>Kiri</c:v>
                </c:pt>
                <c:pt idx="85">
                  <c:v>Private Lab</c:v>
                </c:pt>
                <c:pt idx="86">
                  <c:v>Private Lab</c:v>
                </c:pt>
                <c:pt idx="87">
                  <c:v>All Others</c:v>
                </c:pt>
                <c:pt idx="88">
                  <c:v>Private Lab</c:v>
                </c:pt>
                <c:pt idx="89">
                  <c:v>Private Lab</c:v>
                </c:pt>
                <c:pt idx="90">
                  <c:v>Bresse Bleu</c:v>
                </c:pt>
                <c:pt idx="91">
                  <c:v>Private Lab</c:v>
                </c:pt>
                <c:pt idx="92">
                  <c:v>Juraflore</c:v>
                </c:pt>
                <c:pt idx="93">
                  <c:v>Private Lab</c:v>
                </c:pt>
                <c:pt idx="94">
                  <c:v>Private Lab</c:v>
                </c:pt>
                <c:pt idx="95">
                  <c:v>Private Lab</c:v>
                </c:pt>
                <c:pt idx="96">
                  <c:v>Apericube</c:v>
                </c:pt>
                <c:pt idx="97">
                  <c:v>Private Lab</c:v>
                </c:pt>
                <c:pt idx="98">
                  <c:v>President</c:v>
                </c:pt>
                <c:pt idx="99">
                  <c:v>President</c:v>
                </c:pt>
                <c:pt idx="100">
                  <c:v>Kiri</c:v>
                </c:pt>
                <c:pt idx="101">
                  <c:v>Saint Agur</c:v>
                </c:pt>
                <c:pt idx="102">
                  <c:v>Saint Albra</c:v>
                </c:pt>
                <c:pt idx="103">
                  <c:v>Private Lab</c:v>
                </c:pt>
                <c:pt idx="104">
                  <c:v>Private Lab</c:v>
                </c:pt>
                <c:pt idx="105">
                  <c:v>Entremont</c:v>
                </c:pt>
                <c:pt idx="106">
                  <c:v>Galbani</c:v>
                </c:pt>
                <c:pt idx="107">
                  <c:v>Private Lab</c:v>
                </c:pt>
                <c:pt idx="108">
                  <c:v>L'Ortolan</c:v>
                </c:pt>
                <c:pt idx="109">
                  <c:v>President</c:v>
                </c:pt>
                <c:pt idx="110">
                  <c:v>Private Lab</c:v>
                </c:pt>
                <c:pt idx="111">
                  <c:v>Private Lab</c:v>
                </c:pt>
                <c:pt idx="112">
                  <c:v>Apericube</c:v>
                </c:pt>
                <c:pt idx="113">
                  <c:v>Private Lab</c:v>
                </c:pt>
                <c:pt idx="114">
                  <c:v>Galbani</c:v>
                </c:pt>
                <c:pt idx="115">
                  <c:v>Private Lab</c:v>
                </c:pt>
                <c:pt idx="116">
                  <c:v>Private Lab</c:v>
                </c:pt>
                <c:pt idx="117">
                  <c:v>Leerdammer</c:v>
                </c:pt>
                <c:pt idx="118">
                  <c:v>Richesmonts</c:v>
                </c:pt>
                <c:pt idx="119">
                  <c:v>Private Lab</c:v>
                </c:pt>
                <c:pt idx="120">
                  <c:v>Private Lab</c:v>
                </c:pt>
                <c:pt idx="121">
                  <c:v>Paysan Bret</c:v>
                </c:pt>
                <c:pt idx="122">
                  <c:v>Istara</c:v>
                </c:pt>
                <c:pt idx="123">
                  <c:v>Private Lab</c:v>
                </c:pt>
                <c:pt idx="124">
                  <c:v>Richesmonts</c:v>
                </c:pt>
                <c:pt idx="125">
                  <c:v>Parmareggio</c:v>
                </c:pt>
                <c:pt idx="126">
                  <c:v>Paysan Bret</c:v>
                </c:pt>
                <c:pt idx="127">
                  <c:v>Private Lab</c:v>
                </c:pt>
                <c:pt idx="128">
                  <c:v>Apericube</c:v>
                </c:pt>
                <c:pt idx="129">
                  <c:v>Private Lab</c:v>
                </c:pt>
                <c:pt idx="130">
                  <c:v>Private Lab</c:v>
                </c:pt>
                <c:pt idx="131">
                  <c:v>Saint Albra</c:v>
                </c:pt>
                <c:pt idx="132">
                  <c:v>Pochat</c:v>
                </c:pt>
                <c:pt idx="133">
                  <c:v>Tartare</c:v>
                </c:pt>
                <c:pt idx="134">
                  <c:v>Ficello</c:v>
                </c:pt>
                <c:pt idx="135">
                  <c:v>L'Ortolan</c:v>
                </c:pt>
                <c:pt idx="136">
                  <c:v>Leerdammer</c:v>
                </c:pt>
                <c:pt idx="137">
                  <c:v>Boursin</c:v>
                </c:pt>
                <c:pt idx="138">
                  <c:v>Private Lab</c:v>
                </c:pt>
                <c:pt idx="139">
                  <c:v>President</c:v>
                </c:pt>
                <c:pt idx="140">
                  <c:v>Entremont</c:v>
                </c:pt>
                <c:pt idx="141">
                  <c:v>Boursin</c:v>
                </c:pt>
                <c:pt idx="142">
                  <c:v>Private Lab</c:v>
                </c:pt>
                <c:pt idx="143">
                  <c:v>Casa Azzurr</c:v>
                </c:pt>
                <c:pt idx="144">
                  <c:v>Kiri</c:v>
                </c:pt>
                <c:pt idx="145">
                  <c:v>Lou Perac</c:v>
                </c:pt>
                <c:pt idx="146">
                  <c:v>Leerdammer</c:v>
                </c:pt>
                <c:pt idx="147">
                  <c:v>Galbani</c:v>
                </c:pt>
                <c:pt idx="148">
                  <c:v>Private Lab</c:v>
                </c:pt>
                <c:pt idx="149">
                  <c:v>Private Lab</c:v>
                </c:pt>
                <c:pt idx="150">
                  <c:v>President</c:v>
                </c:pt>
                <c:pt idx="151">
                  <c:v>All Others</c:v>
                </c:pt>
                <c:pt idx="152">
                  <c:v>President</c:v>
                </c:pt>
                <c:pt idx="153">
                  <c:v>Private Lab</c:v>
                </c:pt>
                <c:pt idx="154">
                  <c:v>Private Lab</c:v>
                </c:pt>
                <c:pt idx="155">
                  <c:v>St Moret</c:v>
                </c:pt>
                <c:pt idx="156">
                  <c:v>Caprice Des</c:v>
                </c:pt>
                <c:pt idx="157">
                  <c:v>Lepetit</c:v>
                </c:pt>
                <c:pt idx="158">
                  <c:v>Carre Frais</c:v>
                </c:pt>
                <c:pt idx="159">
                  <c:v>Galbani</c:v>
                </c:pt>
                <c:pt idx="160">
                  <c:v>Apericube</c:v>
                </c:pt>
                <c:pt idx="161">
                  <c:v>Galbani</c:v>
                </c:pt>
                <c:pt idx="162">
                  <c:v>Kiri</c:v>
                </c:pt>
                <c:pt idx="163">
                  <c:v>Entremont</c:v>
                </c:pt>
                <c:pt idx="164">
                  <c:v>Islos</c:v>
                </c:pt>
                <c:pt idx="165">
                  <c:v>Boursin</c:v>
                </c:pt>
                <c:pt idx="166">
                  <c:v>Private Lab</c:v>
                </c:pt>
                <c:pt idx="167">
                  <c:v>Private Lab</c:v>
                </c:pt>
                <c:pt idx="168">
                  <c:v>Coeur De Li</c:v>
                </c:pt>
                <c:pt idx="169">
                  <c:v>Private Lab</c:v>
                </c:pt>
                <c:pt idx="170">
                  <c:v>President</c:v>
                </c:pt>
                <c:pt idx="171">
                  <c:v>Salakis</c:v>
                </c:pt>
                <c:pt idx="172">
                  <c:v>President</c:v>
                </c:pt>
                <c:pt idx="173">
                  <c:v>Port Salut</c:v>
                </c:pt>
                <c:pt idx="174">
                  <c:v>Leerdammer</c:v>
                </c:pt>
                <c:pt idx="175">
                  <c:v>Entremont</c:v>
                </c:pt>
                <c:pt idx="176">
                  <c:v>Private Lab</c:v>
                </c:pt>
                <c:pt idx="177">
                  <c:v>President</c:v>
                </c:pt>
                <c:pt idx="178">
                  <c:v>Carre Frais</c:v>
                </c:pt>
                <c:pt idx="179">
                  <c:v>Richesmonts</c:v>
                </c:pt>
                <c:pt idx="180">
                  <c:v>Boursin</c:v>
                </c:pt>
                <c:pt idx="181">
                  <c:v>Private Lab</c:v>
                </c:pt>
                <c:pt idx="182">
                  <c:v>Entremont</c:v>
                </c:pt>
                <c:pt idx="183">
                  <c:v>Private Lab</c:v>
                </c:pt>
                <c:pt idx="184">
                  <c:v>Entremont</c:v>
                </c:pt>
                <c:pt idx="185">
                  <c:v>Apericube</c:v>
                </c:pt>
                <c:pt idx="186">
                  <c:v>Philadelphi</c:v>
                </c:pt>
                <c:pt idx="187">
                  <c:v>Soignon</c:v>
                </c:pt>
                <c:pt idx="188">
                  <c:v>Private Lab</c:v>
                </c:pt>
                <c:pt idx="189">
                  <c:v>Private Lab</c:v>
                </c:pt>
                <c:pt idx="190">
                  <c:v>Coeur De Li</c:v>
                </c:pt>
                <c:pt idx="191">
                  <c:v>Coeur De Li</c:v>
                </c:pt>
                <c:pt idx="192">
                  <c:v>All Others</c:v>
                </c:pt>
                <c:pt idx="193">
                  <c:v>Galbani</c:v>
                </c:pt>
                <c:pt idx="194">
                  <c:v>President</c:v>
                </c:pt>
                <c:pt idx="195">
                  <c:v>Galbani</c:v>
                </c:pt>
                <c:pt idx="196">
                  <c:v>St Moret</c:v>
                </c:pt>
                <c:pt idx="197">
                  <c:v>Private Lab</c:v>
                </c:pt>
                <c:pt idx="198">
                  <c:v>President</c:v>
                </c:pt>
                <c:pt idx="199">
                  <c:v>President</c:v>
                </c:pt>
                <c:pt idx="200">
                  <c:v>Private Lab</c:v>
                </c:pt>
                <c:pt idx="201">
                  <c:v>Pave D'Affi</c:v>
                </c:pt>
                <c:pt idx="202">
                  <c:v>Private Lab</c:v>
                </c:pt>
                <c:pt idx="203">
                  <c:v>Richesmonts</c:v>
                </c:pt>
                <c:pt idx="204">
                  <c:v>Mini Babybe</c:v>
                </c:pt>
                <c:pt idx="205">
                  <c:v>Societe</c:v>
                </c:pt>
                <c:pt idx="206">
                  <c:v>Kiri</c:v>
                </c:pt>
                <c:pt idx="207">
                  <c:v>Le Rustique</c:v>
                </c:pt>
                <c:pt idx="208">
                  <c:v>Private Lab</c:v>
                </c:pt>
                <c:pt idx="209">
                  <c:v>Istara</c:v>
                </c:pt>
                <c:pt idx="210">
                  <c:v>Vieux Pane</c:v>
                </c:pt>
                <c:pt idx="211">
                  <c:v>President</c:v>
                </c:pt>
                <c:pt idx="212">
                  <c:v>Private Lab</c:v>
                </c:pt>
                <c:pt idx="213">
                  <c:v>Private Lab</c:v>
                </c:pt>
                <c:pt idx="214">
                  <c:v>Saint Agur</c:v>
                </c:pt>
                <c:pt idx="215">
                  <c:v>Petit Billy</c:v>
                </c:pt>
                <c:pt idx="216">
                  <c:v>Apericube</c:v>
                </c:pt>
                <c:pt idx="217">
                  <c:v>Entremont</c:v>
                </c:pt>
                <c:pt idx="218">
                  <c:v>Private Lab</c:v>
                </c:pt>
                <c:pt idx="219">
                  <c:v>Private Lab</c:v>
                </c:pt>
                <c:pt idx="220">
                  <c:v>Private Lab</c:v>
                </c:pt>
                <c:pt idx="221">
                  <c:v>Private Lab</c:v>
                </c:pt>
                <c:pt idx="222">
                  <c:v>Private Lab</c:v>
                </c:pt>
                <c:pt idx="223">
                  <c:v>Private Lab</c:v>
                </c:pt>
                <c:pt idx="224">
                  <c:v>Private Lab</c:v>
                </c:pt>
                <c:pt idx="225">
                  <c:v>Private Lab</c:v>
                </c:pt>
                <c:pt idx="226">
                  <c:v>All Others</c:v>
                </c:pt>
                <c:pt idx="227">
                  <c:v>President</c:v>
                </c:pt>
                <c:pt idx="228">
                  <c:v>Saint Agur</c:v>
                </c:pt>
                <c:pt idx="229">
                  <c:v>Private Lab</c:v>
                </c:pt>
                <c:pt idx="230">
                  <c:v>Apericube</c:v>
                </c:pt>
                <c:pt idx="231">
                  <c:v>Private Lab</c:v>
                </c:pt>
                <c:pt idx="232">
                  <c:v>Babybel</c:v>
                </c:pt>
                <c:pt idx="233">
                  <c:v>President</c:v>
                </c:pt>
                <c:pt idx="234">
                  <c:v>Le Rustique</c:v>
                </c:pt>
                <c:pt idx="235">
                  <c:v>Pochat</c:v>
                </c:pt>
                <c:pt idx="236">
                  <c:v>Private Lab</c:v>
                </c:pt>
                <c:pt idx="237">
                  <c:v>Aperivrais</c:v>
                </c:pt>
                <c:pt idx="238">
                  <c:v>Entremont</c:v>
                </c:pt>
                <c:pt idx="239">
                  <c:v>Private Lab</c:v>
                </c:pt>
                <c:pt idx="240">
                  <c:v>Cousteron</c:v>
                </c:pt>
                <c:pt idx="241">
                  <c:v>Private Lab</c:v>
                </c:pt>
                <c:pt idx="242">
                  <c:v>Soignon</c:v>
                </c:pt>
                <c:pt idx="243">
                  <c:v>Private Lab</c:v>
                </c:pt>
                <c:pt idx="244">
                  <c:v>Private Lab</c:v>
                </c:pt>
                <c:pt idx="245">
                  <c:v>Private Lab</c:v>
                </c:pt>
                <c:pt idx="246">
                  <c:v>Ficello</c:v>
                </c:pt>
                <c:pt idx="247">
                  <c:v>Saint Agur</c:v>
                </c:pt>
                <c:pt idx="248">
                  <c:v>Soignon</c:v>
                </c:pt>
                <c:pt idx="249">
                  <c:v>Apericube</c:v>
                </c:pt>
                <c:pt idx="250">
                  <c:v>Private Lab</c:v>
                </c:pt>
                <c:pt idx="251">
                  <c:v>Private Lab</c:v>
                </c:pt>
                <c:pt idx="252">
                  <c:v>Etorki</c:v>
                </c:pt>
                <c:pt idx="253">
                  <c:v>Philadelphi</c:v>
                </c:pt>
                <c:pt idx="254">
                  <c:v>Private Lab</c:v>
                </c:pt>
                <c:pt idx="255">
                  <c:v>Private Lab</c:v>
                </c:pt>
                <c:pt idx="256">
                  <c:v>Private Lab</c:v>
                </c:pt>
                <c:pt idx="257">
                  <c:v>Soignon</c:v>
                </c:pt>
                <c:pt idx="258">
                  <c:v>Private Lab</c:v>
                </c:pt>
                <c:pt idx="259">
                  <c:v>Societe</c:v>
                </c:pt>
                <c:pt idx="260">
                  <c:v>Private Lab</c:v>
                </c:pt>
                <c:pt idx="261">
                  <c:v>Private Lab</c:v>
                </c:pt>
                <c:pt idx="262">
                  <c:v>All Others</c:v>
                </c:pt>
                <c:pt idx="263">
                  <c:v>Richesmonts</c:v>
                </c:pt>
                <c:pt idx="264">
                  <c:v>Casa Azzurr</c:v>
                </c:pt>
                <c:pt idx="265">
                  <c:v>All Others</c:v>
                </c:pt>
                <c:pt idx="266">
                  <c:v>St Moret</c:v>
                </c:pt>
                <c:pt idx="267">
                  <c:v>Lactalis: A</c:v>
                </c:pt>
                <c:pt idx="268">
                  <c:v>Societe</c:v>
                </c:pt>
                <c:pt idx="269">
                  <c:v>Private Lab</c:v>
                </c:pt>
                <c:pt idx="270">
                  <c:v>Private Lab</c:v>
                </c:pt>
                <c:pt idx="271">
                  <c:v>Private Lab</c:v>
                </c:pt>
                <c:pt idx="272">
                  <c:v>Leerdammer</c:v>
                </c:pt>
                <c:pt idx="273">
                  <c:v>Private Lab</c:v>
                </c:pt>
                <c:pt idx="274">
                  <c:v>Private Lab</c:v>
                </c:pt>
                <c:pt idx="275">
                  <c:v>Tartare</c:v>
                </c:pt>
                <c:pt idx="276">
                  <c:v>Private Lab</c:v>
                </c:pt>
                <c:pt idx="277">
                  <c:v>Private Lab</c:v>
                </c:pt>
                <c:pt idx="278">
                  <c:v>Boursin</c:v>
                </c:pt>
                <c:pt idx="279">
                  <c:v>Private Lab</c:v>
                </c:pt>
                <c:pt idx="280">
                  <c:v>Private Lab</c:v>
                </c:pt>
                <c:pt idx="281">
                  <c:v>President</c:v>
                </c:pt>
                <c:pt idx="282">
                  <c:v>All Others</c:v>
                </c:pt>
                <c:pt idx="283">
                  <c:v>Richesmonts</c:v>
                </c:pt>
                <c:pt idx="284">
                  <c:v>Caprice Des</c:v>
                </c:pt>
                <c:pt idx="285">
                  <c:v>Private Lab</c:v>
                </c:pt>
                <c:pt idx="286">
                  <c:v>Coeur De Li</c:v>
                </c:pt>
                <c:pt idx="287">
                  <c:v>Casa Azzurr</c:v>
                </c:pt>
                <c:pt idx="288">
                  <c:v>Apericube</c:v>
                </c:pt>
                <c:pt idx="289">
                  <c:v>Private Lab</c:v>
                </c:pt>
                <c:pt idx="290">
                  <c:v>All Others</c:v>
                </c:pt>
                <c:pt idx="291">
                  <c:v>La Vache Qu</c:v>
                </c:pt>
                <c:pt idx="292">
                  <c:v>Soignon</c:v>
                </c:pt>
                <c:pt idx="293">
                  <c:v>Parmareggio</c:v>
                </c:pt>
                <c:pt idx="294">
                  <c:v>Private Lab</c:v>
                </c:pt>
                <c:pt idx="295">
                  <c:v>La Vache Qu</c:v>
                </c:pt>
                <c:pt idx="296">
                  <c:v>P'Tit Louis</c:v>
                </c:pt>
                <c:pt idx="297">
                  <c:v>Private Lab</c:v>
                </c:pt>
                <c:pt idx="298">
                  <c:v>Entremont</c:v>
                </c:pt>
                <c:pt idx="299">
                  <c:v>All Others</c:v>
                </c:pt>
                <c:pt idx="300">
                  <c:v>Pave D'Affi</c:v>
                </c:pt>
                <c:pt idx="301">
                  <c:v>Casa Azzurr</c:v>
                </c:pt>
                <c:pt idx="302">
                  <c:v>Fol Epi</c:v>
                </c:pt>
                <c:pt idx="303">
                  <c:v>Ficello</c:v>
                </c:pt>
                <c:pt idx="304">
                  <c:v>All Others</c:v>
                </c:pt>
                <c:pt idx="305">
                  <c:v>Leerdammer</c:v>
                </c:pt>
                <c:pt idx="306">
                  <c:v>Private Lab</c:v>
                </c:pt>
                <c:pt idx="307">
                  <c:v>Private Lab</c:v>
                </c:pt>
                <c:pt idx="308">
                  <c:v>Soignon</c:v>
                </c:pt>
                <c:pt idx="309">
                  <c:v>Chavroux</c:v>
                </c:pt>
                <c:pt idx="310">
                  <c:v>Private Lab</c:v>
                </c:pt>
                <c:pt idx="311">
                  <c:v>Private Lab</c:v>
                </c:pt>
                <c:pt idx="312">
                  <c:v>Private Lab</c:v>
                </c:pt>
                <c:pt idx="313">
                  <c:v>Paysan Bret</c:v>
                </c:pt>
                <c:pt idx="314">
                  <c:v>President</c:v>
                </c:pt>
                <c:pt idx="315">
                  <c:v>Richesmonts</c:v>
                </c:pt>
                <c:pt idx="316">
                  <c:v>President</c:v>
                </c:pt>
                <c:pt idx="317">
                  <c:v>Lactalis: A</c:v>
                </c:pt>
                <c:pt idx="318">
                  <c:v>Boursin</c:v>
                </c:pt>
                <c:pt idx="319">
                  <c:v>Bresse Bleu</c:v>
                </c:pt>
                <c:pt idx="320">
                  <c:v>All Others</c:v>
                </c:pt>
                <c:pt idx="321">
                  <c:v>Le Brebiou</c:v>
                </c:pt>
                <c:pt idx="322">
                  <c:v>Private Lab</c:v>
                </c:pt>
                <c:pt idx="323">
                  <c:v>Private Lab</c:v>
                </c:pt>
                <c:pt idx="324">
                  <c:v>St Moret</c:v>
                </c:pt>
                <c:pt idx="325">
                  <c:v>Boursin</c:v>
                </c:pt>
                <c:pt idx="326">
                  <c:v>Galbani</c:v>
                </c:pt>
                <c:pt idx="327">
                  <c:v>Private Lab</c:v>
                </c:pt>
                <c:pt idx="328">
                  <c:v>Apericube</c:v>
                </c:pt>
                <c:pt idx="329">
                  <c:v>Savencia: A</c:v>
                </c:pt>
                <c:pt idx="330">
                  <c:v>Private Lab</c:v>
                </c:pt>
                <c:pt idx="331">
                  <c:v>Private Lab</c:v>
                </c:pt>
                <c:pt idx="332">
                  <c:v>Soignon</c:v>
                </c:pt>
                <c:pt idx="333">
                  <c:v>Boursin</c:v>
                </c:pt>
                <c:pt idx="334">
                  <c:v>Savencia: A</c:v>
                </c:pt>
                <c:pt idx="335">
                  <c:v>Private Lab</c:v>
                </c:pt>
                <c:pt idx="336">
                  <c:v>Salakis</c:v>
                </c:pt>
                <c:pt idx="337">
                  <c:v>Private Lab</c:v>
                </c:pt>
                <c:pt idx="338">
                  <c:v>Casa Azzurr</c:v>
                </c:pt>
                <c:pt idx="339">
                  <c:v>Pave D'Affi</c:v>
                </c:pt>
                <c:pt idx="340">
                  <c:v>Private Lab</c:v>
                </c:pt>
                <c:pt idx="341">
                  <c:v>Soignon</c:v>
                </c:pt>
                <c:pt idx="342">
                  <c:v>President</c:v>
                </c:pt>
                <c:pt idx="343">
                  <c:v>Entremont</c:v>
                </c:pt>
                <c:pt idx="344">
                  <c:v>Le Rustique</c:v>
                </c:pt>
                <c:pt idx="345">
                  <c:v>Aperivrais</c:v>
                </c:pt>
                <c:pt idx="346">
                  <c:v>Milleret: A</c:v>
                </c:pt>
                <c:pt idx="347">
                  <c:v>Boursin</c:v>
                </c:pt>
                <c:pt idx="348">
                  <c:v>Galbani</c:v>
                </c:pt>
                <c:pt idx="349">
                  <c:v>Aperivrais</c:v>
                </c:pt>
                <c:pt idx="350">
                  <c:v>Private Lab</c:v>
                </c:pt>
                <c:pt idx="351">
                  <c:v>Private Lab</c:v>
                </c:pt>
                <c:pt idx="352">
                  <c:v>Paysan Bret</c:v>
                </c:pt>
                <c:pt idx="353">
                  <c:v>All Others</c:v>
                </c:pt>
                <c:pt idx="354">
                  <c:v>Soignon</c:v>
                </c:pt>
                <c:pt idx="355">
                  <c:v>Private Lab</c:v>
                </c:pt>
                <c:pt idx="356">
                  <c:v>Private Lab</c:v>
                </c:pt>
                <c:pt idx="357">
                  <c:v>Paysan Bret</c:v>
                </c:pt>
                <c:pt idx="358">
                  <c:v>All Others</c:v>
                </c:pt>
                <c:pt idx="359">
                  <c:v>Casa Azzurr</c:v>
                </c:pt>
                <c:pt idx="360">
                  <c:v>Private Lab</c:v>
                </c:pt>
                <c:pt idx="361">
                  <c:v>Private Lab</c:v>
                </c:pt>
                <c:pt idx="362">
                  <c:v>Private Lab</c:v>
                </c:pt>
                <c:pt idx="363">
                  <c:v>President</c:v>
                </c:pt>
                <c:pt idx="364">
                  <c:v>All Others</c:v>
                </c:pt>
                <c:pt idx="365">
                  <c:v>Salakis</c:v>
                </c:pt>
                <c:pt idx="366">
                  <c:v>Private Lab</c:v>
                </c:pt>
                <c:pt idx="367">
                  <c:v>Casa Azzurr</c:v>
                </c:pt>
                <c:pt idx="368">
                  <c:v>Savencia: A</c:v>
                </c:pt>
                <c:pt idx="369">
                  <c:v>Private Lab</c:v>
                </c:pt>
                <c:pt idx="370">
                  <c:v>Les Mousque</c:v>
                </c:pt>
                <c:pt idx="371">
                  <c:v>Galbani</c:v>
                </c:pt>
                <c:pt idx="372">
                  <c:v>Fauquet</c:v>
                </c:pt>
                <c:pt idx="373">
                  <c:v>Private Lab</c:v>
                </c:pt>
                <c:pt idx="374">
                  <c:v>La Vache Qu</c:v>
                </c:pt>
                <c:pt idx="375">
                  <c:v>Societe</c:v>
                </c:pt>
                <c:pt idx="376">
                  <c:v>Entremont</c:v>
                </c:pt>
                <c:pt idx="377">
                  <c:v>Carre Frais</c:v>
                </c:pt>
                <c:pt idx="378">
                  <c:v>Private Lab</c:v>
                </c:pt>
                <c:pt idx="379">
                  <c:v>Galbani</c:v>
                </c:pt>
                <c:pt idx="380">
                  <c:v>Private Lab</c:v>
                </c:pt>
                <c:pt idx="381">
                  <c:v>Private Lab</c:v>
                </c:pt>
                <c:pt idx="382">
                  <c:v>Soignon</c:v>
                </c:pt>
                <c:pt idx="383">
                  <c:v>Paysan Bret</c:v>
                </c:pt>
                <c:pt idx="384">
                  <c:v>Private Lab</c:v>
                </c:pt>
                <c:pt idx="385">
                  <c:v>Private Lab</c:v>
                </c:pt>
                <c:pt idx="386">
                  <c:v>Lou Perac</c:v>
                </c:pt>
                <c:pt idx="387">
                  <c:v>Tartare</c:v>
                </c:pt>
                <c:pt idx="388">
                  <c:v>Richesmonts</c:v>
                </c:pt>
                <c:pt idx="389">
                  <c:v>Boursin</c:v>
                </c:pt>
                <c:pt idx="390">
                  <c:v>Private Lab</c:v>
                </c:pt>
                <c:pt idx="391">
                  <c:v>Societe</c:v>
                </c:pt>
                <c:pt idx="392">
                  <c:v>Casa Azzurr</c:v>
                </c:pt>
                <c:pt idx="393">
                  <c:v>L'Ortolan</c:v>
                </c:pt>
                <c:pt idx="394">
                  <c:v>Pave D'Affi</c:v>
                </c:pt>
                <c:pt idx="395">
                  <c:v>Chavroux</c:v>
                </c:pt>
                <c:pt idx="396">
                  <c:v>Galbani</c:v>
                </c:pt>
                <c:pt idx="397">
                  <c:v>Galbani</c:v>
                </c:pt>
                <c:pt idx="398">
                  <c:v>Lactalis: A</c:v>
                </c:pt>
                <c:pt idx="399">
                  <c:v>Private Lab</c:v>
                </c:pt>
                <c:pt idx="400">
                  <c:v>Galbani</c:v>
                </c:pt>
                <c:pt idx="401">
                  <c:v>Private Lab</c:v>
                </c:pt>
                <c:pt idx="402">
                  <c:v>Private Lab</c:v>
                </c:pt>
                <c:pt idx="403">
                  <c:v>Entremont</c:v>
                </c:pt>
                <c:pt idx="404">
                  <c:v>All Others</c:v>
                </c:pt>
                <c:pt idx="405">
                  <c:v>All Others</c:v>
                </c:pt>
                <c:pt idx="406">
                  <c:v>Private Lab</c:v>
                </c:pt>
                <c:pt idx="407">
                  <c:v>Private Lab</c:v>
                </c:pt>
                <c:pt idx="408">
                  <c:v>Eurial Autr</c:v>
                </c:pt>
                <c:pt idx="409">
                  <c:v>Private Lab</c:v>
                </c:pt>
                <c:pt idx="410">
                  <c:v>Caprice Des</c:v>
                </c:pt>
                <c:pt idx="411">
                  <c:v>All Others</c:v>
                </c:pt>
                <c:pt idx="412">
                  <c:v>Private Lab</c:v>
                </c:pt>
                <c:pt idx="413">
                  <c:v>Private Lab</c:v>
                </c:pt>
                <c:pt idx="414">
                  <c:v>Boursin</c:v>
                </c:pt>
                <c:pt idx="415">
                  <c:v>Private Lab</c:v>
                </c:pt>
                <c:pt idx="416">
                  <c:v>Private Lab</c:v>
                </c:pt>
                <c:pt idx="417">
                  <c:v>Private Lab</c:v>
                </c:pt>
                <c:pt idx="418">
                  <c:v>Private Lab</c:v>
                </c:pt>
                <c:pt idx="419">
                  <c:v>Private Lab</c:v>
                </c:pt>
                <c:pt idx="420">
                  <c:v>President</c:v>
                </c:pt>
                <c:pt idx="421">
                  <c:v>Boursin</c:v>
                </c:pt>
                <c:pt idx="422">
                  <c:v>Paysan Bret</c:v>
                </c:pt>
                <c:pt idx="423">
                  <c:v>Casa Azzurr</c:v>
                </c:pt>
                <c:pt idx="424">
                  <c:v>All Others</c:v>
                </c:pt>
                <c:pt idx="425">
                  <c:v>Boursin</c:v>
                </c:pt>
                <c:pt idx="426">
                  <c:v>Boursin</c:v>
                </c:pt>
                <c:pt idx="427">
                  <c:v>Societe</c:v>
                </c:pt>
                <c:pt idx="428">
                  <c:v>All Others</c:v>
                </c:pt>
                <c:pt idx="429">
                  <c:v>Private Lab</c:v>
                </c:pt>
                <c:pt idx="430">
                  <c:v>Casa Azzurr</c:v>
                </c:pt>
                <c:pt idx="431">
                  <c:v>Richesmonts</c:v>
                </c:pt>
                <c:pt idx="432">
                  <c:v>Mini Babybe</c:v>
                </c:pt>
                <c:pt idx="433">
                  <c:v>Private Lab</c:v>
                </c:pt>
                <c:pt idx="434">
                  <c:v>St Moret</c:v>
                </c:pt>
                <c:pt idx="435">
                  <c:v>President</c:v>
                </c:pt>
                <c:pt idx="436">
                  <c:v>Leerdammer</c:v>
                </c:pt>
                <c:pt idx="437">
                  <c:v>Private Lab</c:v>
                </c:pt>
                <c:pt idx="438">
                  <c:v>Private Lab</c:v>
                </c:pt>
                <c:pt idx="439">
                  <c:v>All Others</c:v>
                </c:pt>
                <c:pt idx="440">
                  <c:v>Tartare</c:v>
                </c:pt>
                <c:pt idx="441">
                  <c:v>Private Lab</c:v>
                </c:pt>
                <c:pt idx="442">
                  <c:v>Les Mousque</c:v>
                </c:pt>
                <c:pt idx="443">
                  <c:v>Savencia: A</c:v>
                </c:pt>
                <c:pt idx="444">
                  <c:v>Richesmonts</c:v>
                </c:pt>
                <c:pt idx="445">
                  <c:v>St Moret</c:v>
                </c:pt>
                <c:pt idx="446">
                  <c:v>La Belle Et</c:v>
                </c:pt>
                <c:pt idx="447">
                  <c:v>Mini Babybe</c:v>
                </c:pt>
                <c:pt idx="448">
                  <c:v>Salakis</c:v>
                </c:pt>
                <c:pt idx="449">
                  <c:v>Juraflore</c:v>
                </c:pt>
                <c:pt idx="450">
                  <c:v>Private Lab</c:v>
                </c:pt>
                <c:pt idx="451">
                  <c:v>Eurial Autr</c:v>
                </c:pt>
                <c:pt idx="452">
                  <c:v>Etorki</c:v>
                </c:pt>
                <c:pt idx="453">
                  <c:v>Private Lab</c:v>
                </c:pt>
                <c:pt idx="454">
                  <c:v>Lactalis: A</c:v>
                </c:pt>
                <c:pt idx="455">
                  <c:v>Galbani</c:v>
                </c:pt>
                <c:pt idx="456">
                  <c:v>President</c:v>
                </c:pt>
                <c:pt idx="457">
                  <c:v>Private Lab</c:v>
                </c:pt>
                <c:pt idx="458">
                  <c:v>Lou Perac</c:v>
                </c:pt>
                <c:pt idx="459">
                  <c:v>Savencia: A</c:v>
                </c:pt>
                <c:pt idx="460">
                  <c:v>Private Lab</c:v>
                </c:pt>
                <c:pt idx="461">
                  <c:v>Saint Agur</c:v>
                </c:pt>
                <c:pt idx="462">
                  <c:v>Paysan Bret</c:v>
                </c:pt>
                <c:pt idx="463">
                  <c:v>Private Lab</c:v>
                </c:pt>
                <c:pt idx="464">
                  <c:v>Salakis</c:v>
                </c:pt>
                <c:pt idx="465">
                  <c:v>Lou Perac</c:v>
                </c:pt>
                <c:pt idx="466">
                  <c:v>Private Lab</c:v>
                </c:pt>
                <c:pt idx="467">
                  <c:v>Pave D'Affi</c:v>
                </c:pt>
                <c:pt idx="468">
                  <c:v>Entremont</c:v>
                </c:pt>
                <c:pt idx="469">
                  <c:v>Kiri</c:v>
                </c:pt>
                <c:pt idx="470">
                  <c:v>Caprice Des</c:v>
                </c:pt>
                <c:pt idx="471">
                  <c:v>Private Lab</c:v>
                </c:pt>
                <c:pt idx="472">
                  <c:v>Casa Azzurr</c:v>
                </c:pt>
                <c:pt idx="473">
                  <c:v>Caprice Des</c:v>
                </c:pt>
                <c:pt idx="474">
                  <c:v>Aperivrais</c:v>
                </c:pt>
                <c:pt idx="475">
                  <c:v>President</c:v>
                </c:pt>
                <c:pt idx="476">
                  <c:v>Apericube</c:v>
                </c:pt>
                <c:pt idx="477">
                  <c:v>Vieux Pane</c:v>
                </c:pt>
                <c:pt idx="478">
                  <c:v>All Others</c:v>
                </c:pt>
                <c:pt idx="479">
                  <c:v>Boursin</c:v>
                </c:pt>
                <c:pt idx="480">
                  <c:v>Vieux Pane</c:v>
                </c:pt>
                <c:pt idx="481">
                  <c:v>Aperivrais</c:v>
                </c:pt>
                <c:pt idx="482">
                  <c:v>Private Lab</c:v>
                </c:pt>
                <c:pt idx="483">
                  <c:v>La Vache Qu</c:v>
                </c:pt>
                <c:pt idx="484">
                  <c:v>Tartare</c:v>
                </c:pt>
                <c:pt idx="485">
                  <c:v>St Moret</c:v>
                </c:pt>
                <c:pt idx="486">
                  <c:v>Paysan Bret</c:v>
                </c:pt>
                <c:pt idx="487">
                  <c:v>Etoile Du V</c:v>
                </c:pt>
                <c:pt idx="488">
                  <c:v>All Others</c:v>
                </c:pt>
                <c:pt idx="489">
                  <c:v>Tartare</c:v>
                </c:pt>
                <c:pt idx="490">
                  <c:v>Le Rustique</c:v>
                </c:pt>
                <c:pt idx="491">
                  <c:v>Private Lab</c:v>
                </c:pt>
                <c:pt idx="492">
                  <c:v>Soignon</c:v>
                </c:pt>
                <c:pt idx="493">
                  <c:v>St Moret</c:v>
                </c:pt>
                <c:pt idx="494">
                  <c:v>Istara</c:v>
                </c:pt>
                <c:pt idx="495">
                  <c:v>Private Lab</c:v>
                </c:pt>
                <c:pt idx="496">
                  <c:v>Private Lab</c:v>
                </c:pt>
                <c:pt idx="497">
                  <c:v>Juraflore</c:v>
                </c:pt>
                <c:pt idx="498">
                  <c:v>Pochat</c:v>
                </c:pt>
                <c:pt idx="499">
                  <c:v>Tartare</c:v>
                </c:pt>
                <c:pt idx="500">
                  <c:v>Entremont</c:v>
                </c:pt>
                <c:pt idx="501">
                  <c:v>All Others</c:v>
                </c:pt>
                <c:pt idx="502">
                  <c:v>La Belle Et</c:v>
                </c:pt>
                <c:pt idx="503">
                  <c:v>Private Lab</c:v>
                </c:pt>
                <c:pt idx="504">
                  <c:v>Private Lab</c:v>
                </c:pt>
                <c:pt idx="505">
                  <c:v>Kiri</c:v>
                </c:pt>
                <c:pt idx="506">
                  <c:v>Private Lab</c:v>
                </c:pt>
                <c:pt idx="507">
                  <c:v>L'Ortolan</c:v>
                </c:pt>
                <c:pt idx="508">
                  <c:v>All Others</c:v>
                </c:pt>
                <c:pt idx="509">
                  <c:v>All Others</c:v>
                </c:pt>
                <c:pt idx="510">
                  <c:v>Soignon</c:v>
                </c:pt>
                <c:pt idx="511">
                  <c:v>Bresse Bleu</c:v>
                </c:pt>
                <c:pt idx="512">
                  <c:v>Entremont</c:v>
                </c:pt>
                <c:pt idx="513">
                  <c:v>Casa Azzurr</c:v>
                </c:pt>
                <c:pt idx="514">
                  <c:v>L'Ortolan</c:v>
                </c:pt>
                <c:pt idx="515">
                  <c:v>Le Coq Crem</c:v>
                </c:pt>
                <c:pt idx="516">
                  <c:v>Soignon</c:v>
                </c:pt>
                <c:pt idx="517">
                  <c:v>All Others</c:v>
                </c:pt>
                <c:pt idx="518">
                  <c:v>Kiri</c:v>
                </c:pt>
                <c:pt idx="519">
                  <c:v>All Others</c:v>
                </c:pt>
                <c:pt idx="520">
                  <c:v>Savencia: A</c:v>
                </c:pt>
                <c:pt idx="521">
                  <c:v>Galbani</c:v>
                </c:pt>
                <c:pt idx="522">
                  <c:v>St Moret</c:v>
                </c:pt>
                <c:pt idx="523">
                  <c:v>Private Lab</c:v>
                </c:pt>
                <c:pt idx="524">
                  <c:v>Entremont</c:v>
                </c:pt>
                <c:pt idx="525">
                  <c:v>Private Lab</c:v>
                </c:pt>
                <c:pt idx="526">
                  <c:v>Les Mousque</c:v>
                </c:pt>
                <c:pt idx="527">
                  <c:v>President</c:v>
                </c:pt>
                <c:pt idx="528">
                  <c:v>Soignon</c:v>
                </c:pt>
                <c:pt idx="529">
                  <c:v>All Others</c:v>
                </c:pt>
                <c:pt idx="530">
                  <c:v>Galbani</c:v>
                </c:pt>
                <c:pt idx="531">
                  <c:v>Apericube</c:v>
                </c:pt>
                <c:pt idx="532">
                  <c:v>All Others</c:v>
                </c:pt>
                <c:pt idx="533">
                  <c:v>Casa Azzurr</c:v>
                </c:pt>
                <c:pt idx="534">
                  <c:v>Paysan Bret</c:v>
                </c:pt>
                <c:pt idx="535">
                  <c:v>Mini Babybe</c:v>
                </c:pt>
                <c:pt idx="536">
                  <c:v>Coeur De Li</c:v>
                </c:pt>
                <c:pt idx="537">
                  <c:v>All Others</c:v>
                </c:pt>
                <c:pt idx="538">
                  <c:v>Soignon</c:v>
                </c:pt>
                <c:pt idx="539">
                  <c:v>All Others</c:v>
                </c:pt>
                <c:pt idx="540">
                  <c:v>Pochat</c:v>
                </c:pt>
                <c:pt idx="541">
                  <c:v>Lactalis: A</c:v>
                </c:pt>
                <c:pt idx="542">
                  <c:v>Private Lab</c:v>
                </c:pt>
                <c:pt idx="543">
                  <c:v>All Others</c:v>
                </c:pt>
                <c:pt idx="544">
                  <c:v>All Others</c:v>
                </c:pt>
                <c:pt idx="545">
                  <c:v>Private Lab</c:v>
                </c:pt>
                <c:pt idx="546">
                  <c:v>All Others</c:v>
                </c:pt>
                <c:pt idx="547">
                  <c:v>All Others</c:v>
                </c:pt>
                <c:pt idx="548">
                  <c:v>Leerdammer</c:v>
                </c:pt>
                <c:pt idx="549">
                  <c:v>Casa Azzurr</c:v>
                </c:pt>
                <c:pt idx="550">
                  <c:v>Private Lab</c:v>
                </c:pt>
                <c:pt idx="551">
                  <c:v>Islos</c:v>
                </c:pt>
                <c:pt idx="552">
                  <c:v>Corsica</c:v>
                </c:pt>
                <c:pt idx="553">
                  <c:v>Eurial Autr</c:v>
                </c:pt>
                <c:pt idx="554">
                  <c:v>All Others</c:v>
                </c:pt>
                <c:pt idx="555">
                  <c:v>Entremont</c:v>
                </c:pt>
                <c:pt idx="556">
                  <c:v>Fol Epi</c:v>
                </c:pt>
                <c:pt idx="557">
                  <c:v>Private Lab</c:v>
                </c:pt>
                <c:pt idx="558">
                  <c:v>Les Mousque</c:v>
                </c:pt>
                <c:pt idx="559">
                  <c:v>Le Saint Am</c:v>
                </c:pt>
                <c:pt idx="560">
                  <c:v>Soignon</c:v>
                </c:pt>
                <c:pt idx="561">
                  <c:v>Richesmonts</c:v>
                </c:pt>
                <c:pt idx="562">
                  <c:v>Les Mousque</c:v>
                </c:pt>
                <c:pt idx="563">
                  <c:v>Raguin</c:v>
                </c:pt>
                <c:pt idx="564">
                  <c:v>Boursin</c:v>
                </c:pt>
                <c:pt idx="565">
                  <c:v>Paysan Bret</c:v>
                </c:pt>
                <c:pt idx="566">
                  <c:v>Mini Babybe</c:v>
                </c:pt>
                <c:pt idx="567">
                  <c:v>Casa Azzurr</c:v>
                </c:pt>
                <c:pt idx="568">
                  <c:v>Entremont</c:v>
                </c:pt>
                <c:pt idx="569">
                  <c:v>All Others</c:v>
                </c:pt>
                <c:pt idx="570">
                  <c:v>Societe</c:v>
                </c:pt>
                <c:pt idx="571">
                  <c:v>Kiri</c:v>
                </c:pt>
                <c:pt idx="572">
                  <c:v>Lactalis: A</c:v>
                </c:pt>
                <c:pt idx="573">
                  <c:v>All Others</c:v>
                </c:pt>
                <c:pt idx="574">
                  <c:v>All Others</c:v>
                </c:pt>
                <c:pt idx="575">
                  <c:v>Kiri</c:v>
                </c:pt>
                <c:pt idx="576">
                  <c:v>Milleret: A</c:v>
                </c:pt>
                <c:pt idx="577">
                  <c:v>Paysan Bret</c:v>
                </c:pt>
                <c:pt idx="578">
                  <c:v>All Others</c:v>
                </c:pt>
                <c:pt idx="579">
                  <c:v>Savencia: A</c:v>
                </c:pt>
                <c:pt idx="580">
                  <c:v>All Others</c:v>
                </c:pt>
                <c:pt idx="581">
                  <c:v>Raguin</c:v>
                </c:pt>
                <c:pt idx="582">
                  <c:v>All Others</c:v>
                </c:pt>
                <c:pt idx="583">
                  <c:v>All Others</c:v>
                </c:pt>
                <c:pt idx="584">
                  <c:v>Milleret: A</c:v>
                </c:pt>
                <c:pt idx="585">
                  <c:v>La Belle Et</c:v>
                </c:pt>
                <c:pt idx="586">
                  <c:v>All Others</c:v>
                </c:pt>
                <c:pt idx="587">
                  <c:v>La Belle Et</c:v>
                </c:pt>
                <c:pt idx="588">
                  <c:v>All Others</c:v>
                </c:pt>
                <c:pt idx="589">
                  <c:v>Soignon</c:v>
                </c:pt>
                <c:pt idx="590">
                  <c:v>Private Lab</c:v>
                </c:pt>
                <c:pt idx="591">
                  <c:v>Private Lab</c:v>
                </c:pt>
                <c:pt idx="592">
                  <c:v>Entremont</c:v>
                </c:pt>
                <c:pt idx="593">
                  <c:v>P'Tit Louis</c:v>
                </c:pt>
                <c:pt idx="594">
                  <c:v>Etoile Du Q</c:v>
                </c:pt>
                <c:pt idx="595">
                  <c:v>Galbani</c:v>
                </c:pt>
                <c:pt idx="596">
                  <c:v>Private Lab</c:v>
                </c:pt>
                <c:pt idx="597">
                  <c:v>Violife</c:v>
                </c:pt>
                <c:pt idx="598">
                  <c:v>Private Lab</c:v>
                </c:pt>
                <c:pt idx="599">
                  <c:v>Etoile Du V</c:v>
                </c:pt>
                <c:pt idx="600">
                  <c:v>Bresse Bleu</c:v>
                </c:pt>
                <c:pt idx="601">
                  <c:v>La Belle Et</c:v>
                </c:pt>
                <c:pt idx="602">
                  <c:v>Saint Albra</c:v>
                </c:pt>
                <c:pt idx="603">
                  <c:v>Salakis</c:v>
                </c:pt>
                <c:pt idx="604">
                  <c:v>Mini Babybe</c:v>
                </c:pt>
                <c:pt idx="605">
                  <c:v>All Others</c:v>
                </c:pt>
                <c:pt idx="606">
                  <c:v>Savencia: A</c:v>
                </c:pt>
                <c:pt idx="607">
                  <c:v>All Others</c:v>
                </c:pt>
                <c:pt idx="608">
                  <c:v>All Others</c:v>
                </c:pt>
                <c:pt idx="609">
                  <c:v>Private Lab</c:v>
                </c:pt>
                <c:pt idx="610">
                  <c:v>Lactalis: A</c:v>
                </c:pt>
                <c:pt idx="611">
                  <c:v>Triballat N</c:v>
                </c:pt>
                <c:pt idx="612">
                  <c:v>Le Brebiou</c:v>
                </c:pt>
                <c:pt idx="613">
                  <c:v>Galbani</c:v>
                </c:pt>
                <c:pt idx="614">
                  <c:v>Etoile Du V</c:v>
                </c:pt>
                <c:pt idx="615">
                  <c:v>Caprice Des</c:v>
                </c:pt>
                <c:pt idx="616">
                  <c:v>All Others</c:v>
                </c:pt>
                <c:pt idx="617">
                  <c:v>Raguin</c:v>
                </c:pt>
                <c:pt idx="618">
                  <c:v>Raguin</c:v>
                </c:pt>
                <c:pt idx="619">
                  <c:v>All Others</c:v>
                </c:pt>
                <c:pt idx="620">
                  <c:v>Boursin</c:v>
                </c:pt>
                <c:pt idx="621">
                  <c:v>All Others</c:v>
                </c:pt>
                <c:pt idx="622">
                  <c:v>All Others</c:v>
                </c:pt>
                <c:pt idx="623">
                  <c:v>All Others</c:v>
                </c:pt>
                <c:pt idx="624">
                  <c:v>Saint Agur</c:v>
                </c:pt>
                <c:pt idx="625">
                  <c:v>Lactalis: A</c:v>
                </c:pt>
                <c:pt idx="626">
                  <c:v>L'Ortolan</c:v>
                </c:pt>
                <c:pt idx="627">
                  <c:v>Paysan Bret</c:v>
                </c:pt>
                <c:pt idx="628">
                  <c:v>All Others</c:v>
                </c:pt>
                <c:pt idx="629">
                  <c:v>Etorki</c:v>
                </c:pt>
                <c:pt idx="630">
                  <c:v>All Others</c:v>
                </c:pt>
                <c:pt idx="631">
                  <c:v>Galbani</c:v>
                </c:pt>
                <c:pt idx="632">
                  <c:v>Saint Agur</c:v>
                </c:pt>
                <c:pt idx="633">
                  <c:v>Paysan Bret</c:v>
                </c:pt>
                <c:pt idx="634">
                  <c:v>Paysan Bret</c:v>
                </c:pt>
                <c:pt idx="635">
                  <c:v>Pochat</c:v>
                </c:pt>
                <c:pt idx="636">
                  <c:v>President</c:v>
                </c:pt>
                <c:pt idx="637">
                  <c:v>Entremont</c:v>
                </c:pt>
                <c:pt idx="638">
                  <c:v>Entremont</c:v>
                </c:pt>
                <c:pt idx="639">
                  <c:v>All Others</c:v>
                </c:pt>
                <c:pt idx="640">
                  <c:v>Eurial Autr</c:v>
                </c:pt>
                <c:pt idx="641">
                  <c:v>All Others</c:v>
                </c:pt>
                <c:pt idx="642">
                  <c:v>Lactalis: A</c:v>
                </c:pt>
                <c:pt idx="643">
                  <c:v>Islos</c:v>
                </c:pt>
                <c:pt idx="644">
                  <c:v>Milleret: A</c:v>
                </c:pt>
                <c:pt idx="645">
                  <c:v>All Others</c:v>
                </c:pt>
                <c:pt idx="646">
                  <c:v>Lactalis: A</c:v>
                </c:pt>
                <c:pt idx="647">
                  <c:v>Savencia: A</c:v>
                </c:pt>
                <c:pt idx="648">
                  <c:v>Milleret: A</c:v>
                </c:pt>
                <c:pt idx="649">
                  <c:v>All Others</c:v>
                </c:pt>
                <c:pt idx="650">
                  <c:v>Savencia: A</c:v>
                </c:pt>
                <c:pt idx="651">
                  <c:v>All Others</c:v>
                </c:pt>
                <c:pt idx="652">
                  <c:v>Salakis</c:v>
                </c:pt>
                <c:pt idx="653">
                  <c:v>All Others</c:v>
                </c:pt>
                <c:pt idx="654">
                  <c:v>All Others</c:v>
                </c:pt>
                <c:pt idx="655">
                  <c:v>Milleret: A</c:v>
                </c:pt>
                <c:pt idx="656">
                  <c:v>Private Lab</c:v>
                </c:pt>
                <c:pt idx="657">
                  <c:v>Savencia: A</c:v>
                </c:pt>
                <c:pt idx="658">
                  <c:v>Carre Frais</c:v>
                </c:pt>
                <c:pt idx="659">
                  <c:v>All Others</c:v>
                </c:pt>
                <c:pt idx="660">
                  <c:v>Apericube</c:v>
                </c:pt>
                <c:pt idx="661">
                  <c:v>All Others</c:v>
                </c:pt>
                <c:pt idx="662">
                  <c:v>All Others</c:v>
                </c:pt>
                <c:pt idx="663">
                  <c:v>Milleret: A</c:v>
                </c:pt>
                <c:pt idx="664">
                  <c:v>Istara</c:v>
                </c:pt>
                <c:pt idx="665">
                  <c:v>Entremont</c:v>
                </c:pt>
                <c:pt idx="666">
                  <c:v>Entremont</c:v>
                </c:pt>
                <c:pt idx="667">
                  <c:v>All Others</c:v>
                </c:pt>
                <c:pt idx="668">
                  <c:v>All Others</c:v>
                </c:pt>
                <c:pt idx="669">
                  <c:v>Pochat</c:v>
                </c:pt>
                <c:pt idx="670">
                  <c:v>All Others</c:v>
                </c:pt>
                <c:pt idx="671">
                  <c:v>Galbani</c:v>
                </c:pt>
                <c:pt idx="672">
                  <c:v>All Others</c:v>
                </c:pt>
                <c:pt idx="673">
                  <c:v>Paysan Bret</c:v>
                </c:pt>
                <c:pt idx="674">
                  <c:v>All Others</c:v>
                </c:pt>
                <c:pt idx="675">
                  <c:v>All Others</c:v>
                </c:pt>
                <c:pt idx="676">
                  <c:v>Nurishh</c:v>
                </c:pt>
                <c:pt idx="677">
                  <c:v>Lactalis: A</c:v>
                </c:pt>
                <c:pt idx="678">
                  <c:v>All Others</c:v>
                </c:pt>
                <c:pt idx="679">
                  <c:v>All Others</c:v>
                </c:pt>
                <c:pt idx="680">
                  <c:v>Private Lab</c:v>
                </c:pt>
                <c:pt idx="681">
                  <c:v>All Others</c:v>
                </c:pt>
                <c:pt idx="682">
                  <c:v>Entremont</c:v>
                </c:pt>
                <c:pt idx="683">
                  <c:v>Entremont</c:v>
                </c:pt>
                <c:pt idx="684">
                  <c:v>La Belle Et</c:v>
                </c:pt>
                <c:pt idx="685">
                  <c:v>Entremont</c:v>
                </c:pt>
                <c:pt idx="686">
                  <c:v>All Others</c:v>
                </c:pt>
                <c:pt idx="687">
                  <c:v>Richesmonts</c:v>
                </c:pt>
                <c:pt idx="688">
                  <c:v>Triballat N</c:v>
                </c:pt>
                <c:pt idx="689">
                  <c:v>Savencia: A</c:v>
                </c:pt>
                <c:pt idx="690">
                  <c:v>All Others</c:v>
                </c:pt>
                <c:pt idx="691">
                  <c:v>Etoile Du V</c:v>
                </c:pt>
                <c:pt idx="692">
                  <c:v>All Others</c:v>
                </c:pt>
                <c:pt idx="693">
                  <c:v>All Others</c:v>
                </c:pt>
                <c:pt idx="694">
                  <c:v>All Others</c:v>
                </c:pt>
                <c:pt idx="695">
                  <c:v>Casa Azzurr</c:v>
                </c:pt>
                <c:pt idx="696">
                  <c:v>Chavroux</c:v>
                </c:pt>
                <c:pt idx="697">
                  <c:v>Triballat N</c:v>
                </c:pt>
                <c:pt idx="698">
                  <c:v>Casa Azzurr</c:v>
                </c:pt>
                <c:pt idx="699">
                  <c:v>All Others</c:v>
                </c:pt>
                <c:pt idx="700">
                  <c:v>All Others</c:v>
                </c:pt>
                <c:pt idx="701">
                  <c:v>All Others</c:v>
                </c:pt>
                <c:pt idx="702">
                  <c:v>All Others</c:v>
                </c:pt>
                <c:pt idx="703">
                  <c:v>Fol Epi</c:v>
                </c:pt>
                <c:pt idx="704">
                  <c:v>All Others</c:v>
                </c:pt>
                <c:pt idx="705">
                  <c:v>Boursin</c:v>
                </c:pt>
                <c:pt idx="706">
                  <c:v>Apericube</c:v>
                </c:pt>
                <c:pt idx="707">
                  <c:v>All Others</c:v>
                </c:pt>
                <c:pt idx="708">
                  <c:v>All Others</c:v>
                </c:pt>
                <c:pt idx="709">
                  <c:v>Savencia: A</c:v>
                </c:pt>
                <c:pt idx="710">
                  <c:v>President</c:v>
                </c:pt>
                <c:pt idx="711">
                  <c:v>Lactalis: A</c:v>
                </c:pt>
                <c:pt idx="712">
                  <c:v>All Others</c:v>
                </c:pt>
                <c:pt idx="713">
                  <c:v>Casa Azzurr</c:v>
                </c:pt>
                <c:pt idx="714">
                  <c:v>Private Lab</c:v>
                </c:pt>
                <c:pt idx="715">
                  <c:v>All Others</c:v>
                </c:pt>
                <c:pt idx="716">
                  <c:v>All Others</c:v>
                </c:pt>
                <c:pt idx="717">
                  <c:v>All Others</c:v>
                </c:pt>
                <c:pt idx="718">
                  <c:v>All Others</c:v>
                </c:pt>
                <c:pt idx="719">
                  <c:v>Violife</c:v>
                </c:pt>
                <c:pt idx="720">
                  <c:v>Lactalis: A</c:v>
                </c:pt>
                <c:pt idx="721">
                  <c:v>Casa Azzurr</c:v>
                </c:pt>
                <c:pt idx="722">
                  <c:v>Richesmonts</c:v>
                </c:pt>
                <c:pt idx="723">
                  <c:v>All Others</c:v>
                </c:pt>
                <c:pt idx="724">
                  <c:v>All Others</c:v>
                </c:pt>
                <c:pt idx="725">
                  <c:v>All Others</c:v>
                </c:pt>
                <c:pt idx="726">
                  <c:v>Nurishh</c:v>
                </c:pt>
                <c:pt idx="727">
                  <c:v>President</c:v>
                </c:pt>
                <c:pt idx="728">
                  <c:v>Aperivrais</c:v>
                </c:pt>
                <c:pt idx="729">
                  <c:v>Entremont</c:v>
                </c:pt>
                <c:pt idx="730">
                  <c:v>All Others</c:v>
                </c:pt>
                <c:pt idx="731">
                  <c:v>All Others</c:v>
                </c:pt>
                <c:pt idx="732">
                  <c:v>All Others</c:v>
                </c:pt>
                <c:pt idx="733">
                  <c:v>All Others</c:v>
                </c:pt>
                <c:pt idx="734">
                  <c:v>Fauquet</c:v>
                </c:pt>
                <c:pt idx="735">
                  <c:v>All Others</c:v>
                </c:pt>
                <c:pt idx="736">
                  <c:v>All Others</c:v>
                </c:pt>
                <c:pt idx="737">
                  <c:v>Boursin</c:v>
                </c:pt>
                <c:pt idx="738">
                  <c:v>Tartare</c:v>
                </c:pt>
                <c:pt idx="739">
                  <c:v>Etoile Du V</c:v>
                </c:pt>
                <c:pt idx="740">
                  <c:v>All Others</c:v>
                </c:pt>
                <c:pt idx="741">
                  <c:v>Etoile Du V</c:v>
                </c:pt>
                <c:pt idx="742">
                  <c:v>All Others</c:v>
                </c:pt>
                <c:pt idx="743">
                  <c:v>All Others</c:v>
                </c:pt>
                <c:pt idx="744">
                  <c:v>L'Ortolan</c:v>
                </c:pt>
                <c:pt idx="745">
                  <c:v>All Others</c:v>
                </c:pt>
                <c:pt idx="746">
                  <c:v>All Others</c:v>
                </c:pt>
                <c:pt idx="747">
                  <c:v>All Others</c:v>
                </c:pt>
                <c:pt idx="748">
                  <c:v>All Others</c:v>
                </c:pt>
                <c:pt idx="749">
                  <c:v>Pave D'Affi</c:v>
                </c:pt>
                <c:pt idx="750">
                  <c:v>All Others</c:v>
                </c:pt>
                <c:pt idx="751">
                  <c:v>All Others</c:v>
                </c:pt>
                <c:pt idx="752">
                  <c:v>All Others</c:v>
                </c:pt>
                <c:pt idx="753">
                  <c:v>Private Lab</c:v>
                </c:pt>
                <c:pt idx="754">
                  <c:v>All Others</c:v>
                </c:pt>
                <c:pt idx="755">
                  <c:v>La Belle Et</c:v>
                </c:pt>
                <c:pt idx="756">
                  <c:v>Entremont</c:v>
                </c:pt>
                <c:pt idx="757">
                  <c:v>All Others</c:v>
                </c:pt>
                <c:pt idx="758">
                  <c:v>Triballat N</c:v>
                </c:pt>
                <c:pt idx="759">
                  <c:v>All Others</c:v>
                </c:pt>
                <c:pt idx="760">
                  <c:v>Tartare</c:v>
                </c:pt>
                <c:pt idx="761">
                  <c:v>President</c:v>
                </c:pt>
                <c:pt idx="762">
                  <c:v>All Others</c:v>
                </c:pt>
                <c:pt idx="763">
                  <c:v>All Others</c:v>
                </c:pt>
                <c:pt idx="764">
                  <c:v>Pochat</c:v>
                </c:pt>
                <c:pt idx="765">
                  <c:v>Entremont</c:v>
                </c:pt>
                <c:pt idx="766">
                  <c:v>Boursin</c:v>
                </c:pt>
                <c:pt idx="767">
                  <c:v>All Others</c:v>
                </c:pt>
                <c:pt idx="768">
                  <c:v>All Others</c:v>
                </c:pt>
                <c:pt idx="769">
                  <c:v>Violife</c:v>
                </c:pt>
                <c:pt idx="770">
                  <c:v>All Others</c:v>
                </c:pt>
                <c:pt idx="771">
                  <c:v>Les Mousque</c:v>
                </c:pt>
                <c:pt idx="772">
                  <c:v>Lactalis: A</c:v>
                </c:pt>
                <c:pt idx="773">
                  <c:v>All Others</c:v>
                </c:pt>
                <c:pt idx="774">
                  <c:v>Mini Babybe</c:v>
                </c:pt>
                <c:pt idx="775">
                  <c:v>All Others</c:v>
                </c:pt>
                <c:pt idx="776">
                  <c:v>All Others</c:v>
                </c:pt>
                <c:pt idx="777">
                  <c:v>All Others</c:v>
                </c:pt>
                <c:pt idx="778">
                  <c:v>All Others</c:v>
                </c:pt>
                <c:pt idx="779">
                  <c:v>All Others</c:v>
                </c:pt>
                <c:pt idx="780">
                  <c:v>Les Mousque</c:v>
                </c:pt>
                <c:pt idx="781">
                  <c:v>All Others</c:v>
                </c:pt>
                <c:pt idx="782">
                  <c:v>All Others</c:v>
                </c:pt>
                <c:pt idx="783">
                  <c:v>Savencia: A</c:v>
                </c:pt>
                <c:pt idx="784">
                  <c:v>All Others</c:v>
                </c:pt>
                <c:pt idx="785">
                  <c:v>All Others</c:v>
                </c:pt>
                <c:pt idx="786">
                  <c:v>All Others</c:v>
                </c:pt>
                <c:pt idx="787">
                  <c:v>Milleret: A</c:v>
                </c:pt>
                <c:pt idx="788">
                  <c:v>Lactalis: A</c:v>
                </c:pt>
                <c:pt idx="789">
                  <c:v>All Others</c:v>
                </c:pt>
                <c:pt idx="790">
                  <c:v>All Others</c:v>
                </c:pt>
                <c:pt idx="791">
                  <c:v>All Others</c:v>
                </c:pt>
                <c:pt idx="792">
                  <c:v>All Others</c:v>
                </c:pt>
                <c:pt idx="793">
                  <c:v>All Others</c:v>
                </c:pt>
                <c:pt idx="794">
                  <c:v>All Others</c:v>
                </c:pt>
                <c:pt idx="795">
                  <c:v>All Others</c:v>
                </c:pt>
                <c:pt idx="796">
                  <c:v>All Others</c:v>
                </c:pt>
                <c:pt idx="797">
                  <c:v>Savencia: A</c:v>
                </c:pt>
                <c:pt idx="798">
                  <c:v>All Others</c:v>
                </c:pt>
                <c:pt idx="799">
                  <c:v>All Others</c:v>
                </c:pt>
                <c:pt idx="800">
                  <c:v>Etoile Du V</c:v>
                </c:pt>
                <c:pt idx="801">
                  <c:v>All Others</c:v>
                </c:pt>
                <c:pt idx="802">
                  <c:v>Aperivrais</c:v>
                </c:pt>
                <c:pt idx="803">
                  <c:v>All Others</c:v>
                </c:pt>
                <c:pt idx="804">
                  <c:v>All Others</c:v>
                </c:pt>
                <c:pt idx="805">
                  <c:v>All Others</c:v>
                </c:pt>
                <c:pt idx="806">
                  <c:v>All Others</c:v>
                </c:pt>
                <c:pt idx="807">
                  <c:v>Chavroux</c:v>
                </c:pt>
                <c:pt idx="808">
                  <c:v>Entremont</c:v>
                </c:pt>
                <c:pt idx="809">
                  <c:v>Apericube</c:v>
                </c:pt>
                <c:pt idx="810">
                  <c:v>Paysan Bret</c:v>
                </c:pt>
                <c:pt idx="811">
                  <c:v>All Others</c:v>
                </c:pt>
                <c:pt idx="812">
                  <c:v>All Others</c:v>
                </c:pt>
                <c:pt idx="813">
                  <c:v>All Others</c:v>
                </c:pt>
                <c:pt idx="814">
                  <c:v>All Others</c:v>
                </c:pt>
                <c:pt idx="815">
                  <c:v>Soignon</c:v>
                </c:pt>
                <c:pt idx="816">
                  <c:v>All Others</c:v>
                </c:pt>
                <c:pt idx="817">
                  <c:v>Boursin</c:v>
                </c:pt>
                <c:pt idx="818">
                  <c:v>All Others</c:v>
                </c:pt>
                <c:pt idx="819">
                  <c:v>All Others</c:v>
                </c:pt>
                <c:pt idx="820">
                  <c:v>La Belle Et</c:v>
                </c:pt>
                <c:pt idx="821">
                  <c:v>All Others</c:v>
                </c:pt>
                <c:pt idx="822">
                  <c:v>Nurishh</c:v>
                </c:pt>
                <c:pt idx="823">
                  <c:v>All Others</c:v>
                </c:pt>
                <c:pt idx="824">
                  <c:v>Nurishh</c:v>
                </c:pt>
                <c:pt idx="825">
                  <c:v>Apericube</c:v>
                </c:pt>
                <c:pt idx="826">
                  <c:v>All Others</c:v>
                </c:pt>
                <c:pt idx="827">
                  <c:v>Nurishh</c:v>
                </c:pt>
                <c:pt idx="828">
                  <c:v>All Others</c:v>
                </c:pt>
                <c:pt idx="829">
                  <c:v>All Others</c:v>
                </c:pt>
                <c:pt idx="830">
                  <c:v>Chaussee Au</c:v>
                </c:pt>
                <c:pt idx="831">
                  <c:v>All Others</c:v>
                </c:pt>
                <c:pt idx="832">
                  <c:v>Nurishh</c:v>
                </c:pt>
                <c:pt idx="833">
                  <c:v>All Others</c:v>
                </c:pt>
                <c:pt idx="834">
                  <c:v>All Others</c:v>
                </c:pt>
                <c:pt idx="835">
                  <c:v>Aperivrais</c:v>
                </c:pt>
                <c:pt idx="836">
                  <c:v>Milleret: A</c:v>
                </c:pt>
                <c:pt idx="837">
                  <c:v>La Belle Et</c:v>
                </c:pt>
                <c:pt idx="838">
                  <c:v>All Others</c:v>
                </c:pt>
                <c:pt idx="839">
                  <c:v>Entremont</c:v>
                </c:pt>
                <c:pt idx="840">
                  <c:v>La Belle Et</c:v>
                </c:pt>
                <c:pt idx="841">
                  <c:v>All Others</c:v>
                </c:pt>
                <c:pt idx="842">
                  <c:v>La Belle Et</c:v>
                </c:pt>
                <c:pt idx="843">
                  <c:v>All Others</c:v>
                </c:pt>
                <c:pt idx="844">
                  <c:v>Boursin</c:v>
                </c:pt>
                <c:pt idx="845">
                  <c:v>All Others</c:v>
                </c:pt>
                <c:pt idx="846">
                  <c:v>All Others</c:v>
                </c:pt>
                <c:pt idx="847">
                  <c:v>All Others</c:v>
                </c:pt>
                <c:pt idx="848">
                  <c:v>All Others</c:v>
                </c:pt>
                <c:pt idx="849">
                  <c:v>All Others</c:v>
                </c:pt>
                <c:pt idx="850">
                  <c:v>All Others</c:v>
                </c:pt>
                <c:pt idx="851">
                  <c:v>All Others</c:v>
                </c:pt>
                <c:pt idx="852">
                  <c:v>La Belle Et</c:v>
                </c:pt>
                <c:pt idx="853">
                  <c:v>La Belle Et</c:v>
                </c:pt>
                <c:pt idx="854">
                  <c:v>All Others</c:v>
                </c:pt>
                <c:pt idx="855">
                  <c:v>All Others</c:v>
                </c:pt>
                <c:pt idx="856">
                  <c:v>Boursin</c:v>
                </c:pt>
                <c:pt idx="857">
                  <c:v>All Others</c:v>
                </c:pt>
                <c:pt idx="858">
                  <c:v>Savencia: A</c:v>
                </c:pt>
                <c:pt idx="859">
                  <c:v>All Others</c:v>
                </c:pt>
                <c:pt idx="860">
                  <c:v>All Others</c:v>
                </c:pt>
                <c:pt idx="861">
                  <c:v>Chavroux</c:v>
                </c:pt>
                <c:pt idx="862">
                  <c:v>Salakis</c:v>
                </c:pt>
                <c:pt idx="863">
                  <c:v>All Others</c:v>
                </c:pt>
                <c:pt idx="864">
                  <c:v>All Others</c:v>
                </c:pt>
                <c:pt idx="865">
                  <c:v>All Others</c:v>
                </c:pt>
                <c:pt idx="866">
                  <c:v>All Others</c:v>
                </c:pt>
                <c:pt idx="867">
                  <c:v>Societe</c:v>
                </c:pt>
                <c:pt idx="868">
                  <c:v>All Others</c:v>
                </c:pt>
                <c:pt idx="869">
                  <c:v>All Others</c:v>
                </c:pt>
                <c:pt idx="870">
                  <c:v>All Others</c:v>
                </c:pt>
                <c:pt idx="871">
                  <c:v>Boursin</c:v>
                </c:pt>
                <c:pt idx="872">
                  <c:v>All Others</c:v>
                </c:pt>
                <c:pt idx="873">
                  <c:v>All Others</c:v>
                </c:pt>
                <c:pt idx="874">
                  <c:v>All Others</c:v>
                </c:pt>
                <c:pt idx="875">
                  <c:v>All Others</c:v>
                </c:pt>
                <c:pt idx="876">
                  <c:v>All Others</c:v>
                </c:pt>
                <c:pt idx="877">
                  <c:v>All Others</c:v>
                </c:pt>
                <c:pt idx="878">
                  <c:v>All Others</c:v>
                </c:pt>
                <c:pt idx="879">
                  <c:v>All Others</c:v>
                </c:pt>
                <c:pt idx="880">
                  <c:v>All Others</c:v>
                </c:pt>
                <c:pt idx="881">
                  <c:v>All Others</c:v>
                </c:pt>
                <c:pt idx="882">
                  <c:v>All Others</c:v>
                </c:pt>
                <c:pt idx="883">
                  <c:v>All Others</c:v>
                </c:pt>
                <c:pt idx="884">
                  <c:v>All Others</c:v>
                </c:pt>
                <c:pt idx="885">
                  <c:v>Etoile Du V</c:v>
                </c:pt>
                <c:pt idx="886">
                  <c:v>Lactalis: A</c:v>
                </c:pt>
                <c:pt idx="887">
                  <c:v>President</c:v>
                </c:pt>
                <c:pt idx="888">
                  <c:v>All Others</c:v>
                </c:pt>
                <c:pt idx="889">
                  <c:v>All Others</c:v>
                </c:pt>
                <c:pt idx="890">
                  <c:v>All Others</c:v>
                </c:pt>
                <c:pt idx="891">
                  <c:v>All Others</c:v>
                </c:pt>
                <c:pt idx="892">
                  <c:v>All Others</c:v>
                </c:pt>
                <c:pt idx="893">
                  <c:v>All Others</c:v>
                </c:pt>
                <c:pt idx="894">
                  <c:v>All Others</c:v>
                </c:pt>
                <c:pt idx="895">
                  <c:v>All Others</c:v>
                </c:pt>
                <c:pt idx="896">
                  <c:v>Milleret: A</c:v>
                </c:pt>
                <c:pt idx="897">
                  <c:v>All Others</c:v>
                </c:pt>
                <c:pt idx="898">
                  <c:v>All Others</c:v>
                </c:pt>
                <c:pt idx="899">
                  <c:v>All Others</c:v>
                </c:pt>
                <c:pt idx="900">
                  <c:v>All Others</c:v>
                </c:pt>
                <c:pt idx="901">
                  <c:v>L'Ortolan</c:v>
                </c:pt>
                <c:pt idx="902">
                  <c:v>All Others</c:v>
                </c:pt>
                <c:pt idx="903">
                  <c:v>All Others</c:v>
                </c:pt>
                <c:pt idx="904">
                  <c:v>Chavroux</c:v>
                </c:pt>
                <c:pt idx="905">
                  <c:v>All Others</c:v>
                </c:pt>
                <c:pt idx="906">
                  <c:v>La Belle Et</c:v>
                </c:pt>
                <c:pt idx="907">
                  <c:v>Lactalis: A</c:v>
                </c:pt>
                <c:pt idx="908">
                  <c:v>All Others</c:v>
                </c:pt>
                <c:pt idx="909">
                  <c:v>All Others</c:v>
                </c:pt>
                <c:pt idx="910">
                  <c:v>All Others</c:v>
                </c:pt>
                <c:pt idx="911">
                  <c:v>All Others</c:v>
                </c:pt>
                <c:pt idx="912">
                  <c:v>Salakis</c:v>
                </c:pt>
                <c:pt idx="913">
                  <c:v>All Others</c:v>
                </c:pt>
                <c:pt idx="914">
                  <c:v>All Others</c:v>
                </c:pt>
                <c:pt idx="915">
                  <c:v>All Others</c:v>
                </c:pt>
                <c:pt idx="916">
                  <c:v>All Others</c:v>
                </c:pt>
                <c:pt idx="917">
                  <c:v>All Others</c:v>
                </c:pt>
                <c:pt idx="918">
                  <c:v>All Others</c:v>
                </c:pt>
                <c:pt idx="919">
                  <c:v>All Others</c:v>
                </c:pt>
                <c:pt idx="920">
                  <c:v>All Others</c:v>
                </c:pt>
                <c:pt idx="921">
                  <c:v>Entremont</c:v>
                </c:pt>
                <c:pt idx="922">
                  <c:v>Petit Billy</c:v>
                </c:pt>
                <c:pt idx="923">
                  <c:v>All Others</c:v>
                </c:pt>
                <c:pt idx="924">
                  <c:v>La Vache Qu</c:v>
                </c:pt>
                <c:pt idx="925">
                  <c:v>All Others</c:v>
                </c:pt>
                <c:pt idx="926">
                  <c:v>All Others</c:v>
                </c:pt>
                <c:pt idx="927">
                  <c:v>All Others</c:v>
                </c:pt>
                <c:pt idx="928">
                  <c:v>All Others</c:v>
                </c:pt>
                <c:pt idx="929">
                  <c:v>All Others</c:v>
                </c:pt>
                <c:pt idx="930">
                  <c:v>All Others</c:v>
                </c:pt>
                <c:pt idx="931">
                  <c:v>Lactalis: A</c:v>
                </c:pt>
                <c:pt idx="932">
                  <c:v>Private Lab</c:v>
                </c:pt>
                <c:pt idx="933">
                  <c:v>All Others</c:v>
                </c:pt>
                <c:pt idx="934">
                  <c:v>All Others</c:v>
                </c:pt>
                <c:pt idx="935">
                  <c:v>All Others</c:v>
                </c:pt>
                <c:pt idx="936">
                  <c:v>Lactalis: A</c:v>
                </c:pt>
                <c:pt idx="937">
                  <c:v>All Others</c:v>
                </c:pt>
                <c:pt idx="938">
                  <c:v>All Others</c:v>
                </c:pt>
                <c:pt idx="939">
                  <c:v>Chavroux</c:v>
                </c:pt>
                <c:pt idx="940">
                  <c:v>All Others</c:v>
                </c:pt>
                <c:pt idx="941">
                  <c:v>All Others</c:v>
                </c:pt>
                <c:pt idx="942">
                  <c:v>All Others</c:v>
                </c:pt>
                <c:pt idx="943">
                  <c:v>Entremont</c:v>
                </c:pt>
                <c:pt idx="944">
                  <c:v>All Others</c:v>
                </c:pt>
                <c:pt idx="945">
                  <c:v>All Others</c:v>
                </c:pt>
                <c:pt idx="946">
                  <c:v>All Others</c:v>
                </c:pt>
                <c:pt idx="947">
                  <c:v>All Others</c:v>
                </c:pt>
                <c:pt idx="948">
                  <c:v>All Others</c:v>
                </c:pt>
                <c:pt idx="949">
                  <c:v>All Others</c:v>
                </c:pt>
                <c:pt idx="950">
                  <c:v>Galbani</c:v>
                </c:pt>
                <c:pt idx="951">
                  <c:v>All Others</c:v>
                </c:pt>
                <c:pt idx="952">
                  <c:v>All Others</c:v>
                </c:pt>
                <c:pt idx="953">
                  <c:v>All Others</c:v>
                </c:pt>
                <c:pt idx="954">
                  <c:v>All Others</c:v>
                </c:pt>
                <c:pt idx="955">
                  <c:v>Private Lab</c:v>
                </c:pt>
                <c:pt idx="956">
                  <c:v>La Belle Et</c:v>
                </c:pt>
                <c:pt idx="957">
                  <c:v>Lactalis: A</c:v>
                </c:pt>
                <c:pt idx="958">
                  <c:v>All Others</c:v>
                </c:pt>
                <c:pt idx="959">
                  <c:v>All Others</c:v>
                </c:pt>
                <c:pt idx="960">
                  <c:v>La Belle Et</c:v>
                </c:pt>
                <c:pt idx="961">
                  <c:v>All Others</c:v>
                </c:pt>
                <c:pt idx="962">
                  <c:v>All Others</c:v>
                </c:pt>
                <c:pt idx="963">
                  <c:v>Lactalis: A</c:v>
                </c:pt>
                <c:pt idx="964">
                  <c:v>All Others</c:v>
                </c:pt>
                <c:pt idx="965">
                  <c:v>All Others</c:v>
                </c:pt>
                <c:pt idx="966">
                  <c:v>Mini Babybe</c:v>
                </c:pt>
                <c:pt idx="967">
                  <c:v>All Others</c:v>
                </c:pt>
                <c:pt idx="968">
                  <c:v>All Others</c:v>
                </c:pt>
                <c:pt idx="969">
                  <c:v>All Others</c:v>
                </c:pt>
                <c:pt idx="970">
                  <c:v>All Others</c:v>
                </c:pt>
                <c:pt idx="971">
                  <c:v>All Others</c:v>
                </c:pt>
                <c:pt idx="972">
                  <c:v>All Others</c:v>
                </c:pt>
                <c:pt idx="973">
                  <c:v>All Others</c:v>
                </c:pt>
                <c:pt idx="974">
                  <c:v>All Others</c:v>
                </c:pt>
                <c:pt idx="975">
                  <c:v>All Others</c:v>
                </c:pt>
                <c:pt idx="976">
                  <c:v>All Others</c:v>
                </c:pt>
                <c:pt idx="977">
                  <c:v>All Others</c:v>
                </c:pt>
                <c:pt idx="978">
                  <c:v>All Others</c:v>
                </c:pt>
                <c:pt idx="979">
                  <c:v>All Others</c:v>
                </c:pt>
                <c:pt idx="980">
                  <c:v>All Others</c:v>
                </c:pt>
                <c:pt idx="981">
                  <c:v>All Others</c:v>
                </c:pt>
                <c:pt idx="982">
                  <c:v>All Others</c:v>
                </c:pt>
                <c:pt idx="983">
                  <c:v>All Others</c:v>
                </c:pt>
                <c:pt idx="984">
                  <c:v>All Others</c:v>
                </c:pt>
                <c:pt idx="985">
                  <c:v>All Others</c:v>
                </c:pt>
                <c:pt idx="986">
                  <c:v>All Others</c:v>
                </c:pt>
                <c:pt idx="987">
                  <c:v>All Others</c:v>
                </c:pt>
                <c:pt idx="988">
                  <c:v>All Others</c:v>
                </c:pt>
                <c:pt idx="989">
                  <c:v>All Others</c:v>
                </c:pt>
                <c:pt idx="990">
                  <c:v>All Others</c:v>
                </c:pt>
                <c:pt idx="991">
                  <c:v>All Others</c:v>
                </c:pt>
                <c:pt idx="992">
                  <c:v>All Others</c:v>
                </c:pt>
                <c:pt idx="993">
                  <c:v>All Others</c:v>
                </c:pt>
                <c:pt idx="994">
                  <c:v>All Others</c:v>
                </c:pt>
                <c:pt idx="995">
                  <c:v>All Others</c:v>
                </c:pt>
                <c:pt idx="996">
                  <c:v>All Others</c:v>
                </c:pt>
                <c:pt idx="997">
                  <c:v>All Others</c:v>
                </c:pt>
                <c:pt idx="998">
                  <c:v>Lactalis: A</c:v>
                </c:pt>
                <c:pt idx="999">
                  <c:v>All Others</c:v>
                </c:pt>
                <c:pt idx="1000">
                  <c:v>All Others</c:v>
                </c:pt>
                <c:pt idx="1001">
                  <c:v>All Others</c:v>
                </c:pt>
                <c:pt idx="1002">
                  <c:v>All Others</c:v>
                </c:pt>
                <c:pt idx="1003">
                  <c:v>Corsica</c:v>
                </c:pt>
                <c:pt idx="1004">
                  <c:v>All Others</c:v>
                </c:pt>
                <c:pt idx="1005">
                  <c:v>All Others</c:v>
                </c:pt>
                <c:pt idx="1006">
                  <c:v>All Others</c:v>
                </c:pt>
                <c:pt idx="1007">
                  <c:v>All Others</c:v>
                </c:pt>
                <c:pt idx="1008">
                  <c:v>Rians</c:v>
                </c:pt>
                <c:pt idx="1009">
                  <c:v>Lactalis: A</c:v>
                </c:pt>
                <c:pt idx="1010">
                  <c:v>All Others</c:v>
                </c:pt>
                <c:pt idx="1011">
                  <c:v>All Others</c:v>
                </c:pt>
                <c:pt idx="1012">
                  <c:v>All Others</c:v>
                </c:pt>
                <c:pt idx="1013">
                  <c:v>Savencia: A</c:v>
                </c:pt>
                <c:pt idx="1014">
                  <c:v>All Others</c:v>
                </c:pt>
                <c:pt idx="1015">
                  <c:v>All Others</c:v>
                </c:pt>
                <c:pt idx="1016">
                  <c:v>All Others</c:v>
                </c:pt>
                <c:pt idx="1017">
                  <c:v>La Belle Et</c:v>
                </c:pt>
                <c:pt idx="1018">
                  <c:v>La Belle Et</c:v>
                </c:pt>
                <c:pt idx="1019">
                  <c:v>All Others</c:v>
                </c:pt>
                <c:pt idx="1020">
                  <c:v>All Others</c:v>
                </c:pt>
                <c:pt idx="1021">
                  <c:v>All Others</c:v>
                </c:pt>
                <c:pt idx="1022">
                  <c:v>All Others</c:v>
                </c:pt>
                <c:pt idx="1023">
                  <c:v>All Others</c:v>
                </c:pt>
                <c:pt idx="1024">
                  <c:v>All Others</c:v>
                </c:pt>
                <c:pt idx="1025">
                  <c:v>All Others</c:v>
                </c:pt>
                <c:pt idx="1026">
                  <c:v>Raguin</c:v>
                </c:pt>
                <c:pt idx="1027">
                  <c:v>Paysan Bret</c:v>
                </c:pt>
                <c:pt idx="1028">
                  <c:v>Richesmonts</c:v>
                </c:pt>
                <c:pt idx="1029">
                  <c:v>All Others</c:v>
                </c:pt>
                <c:pt idx="1030">
                  <c:v>Mini Babybe</c:v>
                </c:pt>
                <c:pt idx="1031">
                  <c:v>Paysan Bret</c:v>
                </c:pt>
                <c:pt idx="1032">
                  <c:v>All Others</c:v>
                </c:pt>
                <c:pt idx="1033">
                  <c:v>All Others</c:v>
                </c:pt>
                <c:pt idx="1034">
                  <c:v>All Others</c:v>
                </c:pt>
                <c:pt idx="1035">
                  <c:v>All Others</c:v>
                </c:pt>
                <c:pt idx="1036">
                  <c:v>All Others</c:v>
                </c:pt>
                <c:pt idx="1037">
                  <c:v>Etoile Du V</c:v>
                </c:pt>
                <c:pt idx="1038">
                  <c:v>All Others</c:v>
                </c:pt>
                <c:pt idx="1039">
                  <c:v>All Others</c:v>
                </c:pt>
                <c:pt idx="1040">
                  <c:v>All Others</c:v>
                </c:pt>
                <c:pt idx="1041">
                  <c:v>All Others</c:v>
                </c:pt>
                <c:pt idx="1042">
                  <c:v>Entremont</c:v>
                </c:pt>
                <c:pt idx="1043">
                  <c:v>All Others</c:v>
                </c:pt>
                <c:pt idx="1044">
                  <c:v>All Others</c:v>
                </c:pt>
                <c:pt idx="1045">
                  <c:v>All Others</c:v>
                </c:pt>
                <c:pt idx="1046">
                  <c:v>All Others</c:v>
                </c:pt>
                <c:pt idx="1047">
                  <c:v>Kiri</c:v>
                </c:pt>
                <c:pt idx="1048">
                  <c:v>All Others</c:v>
                </c:pt>
                <c:pt idx="1049">
                  <c:v>All Others</c:v>
                </c:pt>
                <c:pt idx="1050">
                  <c:v>All Others</c:v>
                </c:pt>
                <c:pt idx="1051">
                  <c:v>All Others</c:v>
                </c:pt>
                <c:pt idx="1052">
                  <c:v>All Others</c:v>
                </c:pt>
                <c:pt idx="1053">
                  <c:v>All Others</c:v>
                </c:pt>
                <c:pt idx="1054">
                  <c:v>All Others</c:v>
                </c:pt>
                <c:pt idx="1055">
                  <c:v>All Others</c:v>
                </c:pt>
                <c:pt idx="1056">
                  <c:v>All Others</c:v>
                </c:pt>
                <c:pt idx="1057">
                  <c:v>Raguin</c:v>
                </c:pt>
                <c:pt idx="1058">
                  <c:v>Lactalis: A</c:v>
                </c:pt>
                <c:pt idx="1059">
                  <c:v>All Others</c:v>
                </c:pt>
                <c:pt idx="1060">
                  <c:v>All Others</c:v>
                </c:pt>
                <c:pt idx="1061">
                  <c:v>All Others</c:v>
                </c:pt>
                <c:pt idx="1062">
                  <c:v>All Others</c:v>
                </c:pt>
                <c:pt idx="1063">
                  <c:v>All Others</c:v>
                </c:pt>
                <c:pt idx="1064">
                  <c:v>All Others</c:v>
                </c:pt>
                <c:pt idx="1065">
                  <c:v>Private Lab</c:v>
                </c:pt>
                <c:pt idx="1066">
                  <c:v>All Others</c:v>
                </c:pt>
                <c:pt idx="1067">
                  <c:v>Savencia: A</c:v>
                </c:pt>
                <c:pt idx="1068">
                  <c:v>All Others</c:v>
                </c:pt>
                <c:pt idx="1069">
                  <c:v>All Others</c:v>
                </c:pt>
                <c:pt idx="1070">
                  <c:v>La Belle Et</c:v>
                </c:pt>
                <c:pt idx="1071">
                  <c:v>All Others</c:v>
                </c:pt>
                <c:pt idx="1072">
                  <c:v>All Others</c:v>
                </c:pt>
                <c:pt idx="1073">
                  <c:v>All Others</c:v>
                </c:pt>
                <c:pt idx="1074">
                  <c:v>All Others</c:v>
                </c:pt>
                <c:pt idx="1075">
                  <c:v>All Others</c:v>
                </c:pt>
                <c:pt idx="1076">
                  <c:v>Raguin</c:v>
                </c:pt>
                <c:pt idx="1077">
                  <c:v>All Others</c:v>
                </c:pt>
                <c:pt idx="1078">
                  <c:v>All Others</c:v>
                </c:pt>
                <c:pt idx="1079">
                  <c:v>Fol Epi</c:v>
                </c:pt>
                <c:pt idx="1080">
                  <c:v>All Others</c:v>
                </c:pt>
                <c:pt idx="1081">
                  <c:v>Casa Azzurr</c:v>
                </c:pt>
                <c:pt idx="1082">
                  <c:v>All Others</c:v>
                </c:pt>
                <c:pt idx="1083">
                  <c:v>All Others</c:v>
                </c:pt>
                <c:pt idx="1084">
                  <c:v>All Others</c:v>
                </c:pt>
                <c:pt idx="1085">
                  <c:v>All Others</c:v>
                </c:pt>
                <c:pt idx="1086">
                  <c:v>All Others</c:v>
                </c:pt>
                <c:pt idx="1087">
                  <c:v>All Others</c:v>
                </c:pt>
                <c:pt idx="1088">
                  <c:v>All Others</c:v>
                </c:pt>
                <c:pt idx="1089">
                  <c:v>All Others</c:v>
                </c:pt>
                <c:pt idx="1090">
                  <c:v>All Others</c:v>
                </c:pt>
                <c:pt idx="1091">
                  <c:v>All Others</c:v>
                </c:pt>
                <c:pt idx="1092">
                  <c:v>All Others</c:v>
                </c:pt>
                <c:pt idx="1093">
                  <c:v>Pave D'Affi</c:v>
                </c:pt>
                <c:pt idx="1094">
                  <c:v>Savencia: A</c:v>
                </c:pt>
                <c:pt idx="1095">
                  <c:v>All Others</c:v>
                </c:pt>
                <c:pt idx="1096">
                  <c:v>All Others</c:v>
                </c:pt>
                <c:pt idx="1097">
                  <c:v>All Others</c:v>
                </c:pt>
                <c:pt idx="1098">
                  <c:v>All Others</c:v>
                </c:pt>
                <c:pt idx="1099">
                  <c:v>All Others</c:v>
                </c:pt>
                <c:pt idx="1100">
                  <c:v>All Others</c:v>
                </c:pt>
                <c:pt idx="1101">
                  <c:v>All Others</c:v>
                </c:pt>
                <c:pt idx="1102">
                  <c:v>Richesmonts</c:v>
                </c:pt>
                <c:pt idx="1103">
                  <c:v>All Others</c:v>
                </c:pt>
                <c:pt idx="1104">
                  <c:v>All Others</c:v>
                </c:pt>
                <c:pt idx="1105">
                  <c:v>All Others</c:v>
                </c:pt>
                <c:pt idx="1106">
                  <c:v>All Others</c:v>
                </c:pt>
                <c:pt idx="1107">
                  <c:v>All Others</c:v>
                </c:pt>
                <c:pt idx="1108">
                  <c:v>All Others</c:v>
                </c:pt>
                <c:pt idx="1109">
                  <c:v>Violife</c:v>
                </c:pt>
                <c:pt idx="1110">
                  <c:v>All Others</c:v>
                </c:pt>
                <c:pt idx="1111">
                  <c:v>All Others</c:v>
                </c:pt>
                <c:pt idx="1112">
                  <c:v>All Others</c:v>
                </c:pt>
                <c:pt idx="1113">
                  <c:v>All Others</c:v>
                </c:pt>
                <c:pt idx="1114">
                  <c:v>All Others</c:v>
                </c:pt>
                <c:pt idx="1115">
                  <c:v>All Others</c:v>
                </c:pt>
                <c:pt idx="1116">
                  <c:v>All Others</c:v>
                </c:pt>
                <c:pt idx="1117">
                  <c:v>All Others</c:v>
                </c:pt>
                <c:pt idx="1118">
                  <c:v>All Others</c:v>
                </c:pt>
                <c:pt idx="1119">
                  <c:v>All Others</c:v>
                </c:pt>
                <c:pt idx="1120">
                  <c:v>Other Suppl</c:v>
                </c:pt>
                <c:pt idx="1121">
                  <c:v>All Others</c:v>
                </c:pt>
                <c:pt idx="1122">
                  <c:v>All Others</c:v>
                </c:pt>
                <c:pt idx="1123">
                  <c:v>All Others</c:v>
                </c:pt>
                <c:pt idx="1124">
                  <c:v>Juraflore</c:v>
                </c:pt>
                <c:pt idx="1125">
                  <c:v>All Others</c:v>
                </c:pt>
                <c:pt idx="1126">
                  <c:v>All Others</c:v>
                </c:pt>
                <c:pt idx="1127">
                  <c:v>All Others</c:v>
                </c:pt>
                <c:pt idx="1128">
                  <c:v>All Others</c:v>
                </c:pt>
                <c:pt idx="1129">
                  <c:v>All Others</c:v>
                </c:pt>
                <c:pt idx="1130">
                  <c:v>All Others</c:v>
                </c:pt>
                <c:pt idx="1131">
                  <c:v>Milleret</c:v>
                </c:pt>
                <c:pt idx="1132">
                  <c:v>All Others</c:v>
                </c:pt>
                <c:pt idx="1133">
                  <c:v>All Others</c:v>
                </c:pt>
                <c:pt idx="1134">
                  <c:v>All Others</c:v>
                </c:pt>
                <c:pt idx="1135">
                  <c:v>All Others</c:v>
                </c:pt>
                <c:pt idx="1136">
                  <c:v>All Others</c:v>
                </c:pt>
                <c:pt idx="1137">
                  <c:v>All Others</c:v>
                </c:pt>
                <c:pt idx="1138">
                  <c:v>All Others</c:v>
                </c:pt>
                <c:pt idx="1139">
                  <c:v>Paysan Bret</c:v>
                </c:pt>
                <c:pt idx="1140">
                  <c:v>All Others</c:v>
                </c:pt>
                <c:pt idx="1141">
                  <c:v>All Others</c:v>
                </c:pt>
                <c:pt idx="1142">
                  <c:v>Limiano</c:v>
                </c:pt>
                <c:pt idx="1143">
                  <c:v>All Others</c:v>
                </c:pt>
                <c:pt idx="1144">
                  <c:v>All Others</c:v>
                </c:pt>
                <c:pt idx="1145">
                  <c:v>All Others</c:v>
                </c:pt>
                <c:pt idx="1146">
                  <c:v>All Others</c:v>
                </c:pt>
                <c:pt idx="1147">
                  <c:v>All Others</c:v>
                </c:pt>
                <c:pt idx="1148">
                  <c:v>All Others</c:v>
                </c:pt>
                <c:pt idx="1149">
                  <c:v>All Others</c:v>
                </c:pt>
                <c:pt idx="1150">
                  <c:v>All Others</c:v>
                </c:pt>
                <c:pt idx="1151">
                  <c:v>All Others</c:v>
                </c:pt>
                <c:pt idx="1152">
                  <c:v>All Others</c:v>
                </c:pt>
                <c:pt idx="1153">
                  <c:v>All Others</c:v>
                </c:pt>
                <c:pt idx="1154">
                  <c:v>Etoile Du V</c:v>
                </c:pt>
                <c:pt idx="1155">
                  <c:v>All Others</c:v>
                </c:pt>
                <c:pt idx="1156">
                  <c:v>All Others</c:v>
                </c:pt>
                <c:pt idx="1157">
                  <c:v>All Others</c:v>
                </c:pt>
                <c:pt idx="1158">
                  <c:v>All Others</c:v>
                </c:pt>
                <c:pt idx="1159">
                  <c:v>All Others</c:v>
                </c:pt>
                <c:pt idx="1160">
                  <c:v>All Others</c:v>
                </c:pt>
                <c:pt idx="1161">
                  <c:v>La Table M</c:v>
                </c:pt>
                <c:pt idx="1162">
                  <c:v>All Others</c:v>
                </c:pt>
                <c:pt idx="1163">
                  <c:v>All Others</c:v>
                </c:pt>
                <c:pt idx="1164">
                  <c:v>All Others</c:v>
                </c:pt>
                <c:pt idx="1165">
                  <c:v>All Others</c:v>
                </c:pt>
                <c:pt idx="1166">
                  <c:v>All Others</c:v>
                </c:pt>
                <c:pt idx="1167">
                  <c:v>All Others</c:v>
                </c:pt>
                <c:pt idx="1168">
                  <c:v>All Others</c:v>
                </c:pt>
                <c:pt idx="1169">
                  <c:v>All Others</c:v>
                </c:pt>
                <c:pt idx="1170">
                  <c:v>All Others</c:v>
                </c:pt>
                <c:pt idx="1171">
                  <c:v>Baillon</c:v>
                </c:pt>
                <c:pt idx="1172">
                  <c:v>All Others</c:v>
                </c:pt>
                <c:pt idx="1173">
                  <c:v>All Others</c:v>
                </c:pt>
                <c:pt idx="1174">
                  <c:v>All Others</c:v>
                </c:pt>
                <c:pt idx="1175">
                  <c:v>All Others</c:v>
                </c:pt>
                <c:pt idx="1176">
                  <c:v>All Others</c:v>
                </c:pt>
                <c:pt idx="1177">
                  <c:v>All Others</c:v>
                </c:pt>
                <c:pt idx="1178">
                  <c:v>All Others</c:v>
                </c:pt>
                <c:pt idx="1179">
                  <c:v>All Others</c:v>
                </c:pt>
                <c:pt idx="1180">
                  <c:v>All Others</c:v>
                </c:pt>
                <c:pt idx="1181">
                  <c:v>All Others</c:v>
                </c:pt>
                <c:pt idx="1182">
                  <c:v>All Others</c:v>
                </c:pt>
                <c:pt idx="1183">
                  <c:v>All Others</c:v>
                </c:pt>
                <c:pt idx="1184">
                  <c:v>All Others</c:v>
                </c:pt>
                <c:pt idx="1185">
                  <c:v>All Others</c:v>
                </c:pt>
                <c:pt idx="1186">
                  <c:v>All Others</c:v>
                </c:pt>
                <c:pt idx="1187">
                  <c:v>All Others</c:v>
                </c:pt>
                <c:pt idx="1188">
                  <c:v>All Others</c:v>
                </c:pt>
                <c:pt idx="1189">
                  <c:v>All Others</c:v>
                </c:pt>
                <c:pt idx="1190">
                  <c:v>All Others</c:v>
                </c:pt>
                <c:pt idx="1191">
                  <c:v>All Others</c:v>
                </c:pt>
                <c:pt idx="1192">
                  <c:v>All Others</c:v>
                </c:pt>
                <c:pt idx="1193">
                  <c:v>All Others</c:v>
                </c:pt>
                <c:pt idx="1194">
                  <c:v>All Others</c:v>
                </c:pt>
                <c:pt idx="1195">
                  <c:v>All Others</c:v>
                </c:pt>
                <c:pt idx="1196">
                  <c:v>All Others</c:v>
                </c:pt>
                <c:pt idx="1197">
                  <c:v>All Others</c:v>
                </c:pt>
                <c:pt idx="1198">
                  <c:v>All Others</c:v>
                </c:pt>
                <c:pt idx="1199">
                  <c:v>Raguin</c:v>
                </c:pt>
                <c:pt idx="1200">
                  <c:v>All Others</c:v>
                </c:pt>
                <c:pt idx="1201">
                  <c:v>All Others</c:v>
                </c:pt>
                <c:pt idx="1202">
                  <c:v>All Others</c:v>
                </c:pt>
                <c:pt idx="1203">
                  <c:v>Etoile Du V</c:v>
                </c:pt>
                <c:pt idx="1204">
                  <c:v>All Others</c:v>
                </c:pt>
                <c:pt idx="1205">
                  <c:v>All Others</c:v>
                </c:pt>
                <c:pt idx="1206">
                  <c:v>All Others</c:v>
                </c:pt>
                <c:pt idx="1207">
                  <c:v>All Others</c:v>
                </c:pt>
                <c:pt idx="1208">
                  <c:v>All Others</c:v>
                </c:pt>
                <c:pt idx="1209">
                  <c:v>Raguin</c:v>
                </c:pt>
                <c:pt idx="1210">
                  <c:v>All Others</c:v>
                </c:pt>
                <c:pt idx="1211">
                  <c:v>All Others</c:v>
                </c:pt>
                <c:pt idx="1212">
                  <c:v>All Others</c:v>
                </c:pt>
                <c:pt idx="1213">
                  <c:v>All Others</c:v>
                </c:pt>
                <c:pt idx="1214">
                  <c:v>All Others</c:v>
                </c:pt>
                <c:pt idx="1215">
                  <c:v>All Others</c:v>
                </c:pt>
                <c:pt idx="1216">
                  <c:v>All Others</c:v>
                </c:pt>
                <c:pt idx="1217">
                  <c:v>All Others</c:v>
                </c:pt>
                <c:pt idx="1218">
                  <c:v>All Others</c:v>
                </c:pt>
                <c:pt idx="1219">
                  <c:v>All Others</c:v>
                </c:pt>
                <c:pt idx="1220">
                  <c:v>All Others</c:v>
                </c:pt>
                <c:pt idx="1221">
                  <c:v>All Others</c:v>
                </c:pt>
                <c:pt idx="1222">
                  <c:v>All Others</c:v>
                </c:pt>
                <c:pt idx="1223">
                  <c:v>All Others</c:v>
                </c:pt>
                <c:pt idx="1224">
                  <c:v>All Others</c:v>
                </c:pt>
                <c:pt idx="1225">
                  <c:v>All Others</c:v>
                </c:pt>
                <c:pt idx="1226">
                  <c:v>All Others</c:v>
                </c:pt>
                <c:pt idx="1227">
                  <c:v>All Others</c:v>
                </c:pt>
                <c:pt idx="1228">
                  <c:v>All Others</c:v>
                </c:pt>
                <c:pt idx="1229">
                  <c:v>All Others</c:v>
                </c:pt>
                <c:pt idx="1230">
                  <c:v>All Others</c:v>
                </c:pt>
                <c:pt idx="1231">
                  <c:v>All Others</c:v>
                </c:pt>
                <c:pt idx="1232">
                  <c:v>All Others</c:v>
                </c:pt>
                <c:pt idx="1233">
                  <c:v>All Others</c:v>
                </c:pt>
                <c:pt idx="1234">
                  <c:v>All Others</c:v>
                </c:pt>
                <c:pt idx="1235">
                  <c:v>Other Suppl</c:v>
                </c:pt>
                <c:pt idx="1236">
                  <c:v>All Others</c:v>
                </c:pt>
                <c:pt idx="1237">
                  <c:v>All Others</c:v>
                </c:pt>
                <c:pt idx="1238">
                  <c:v>Lindahls Pr</c:v>
                </c:pt>
                <c:pt idx="1239">
                  <c:v>Pave D'Affi</c:v>
                </c:pt>
                <c:pt idx="1240">
                  <c:v>Raguin</c:v>
                </c:pt>
                <c:pt idx="1241">
                  <c:v>All Others</c:v>
                </c:pt>
                <c:pt idx="1242">
                  <c:v>All Others</c:v>
                </c:pt>
                <c:pt idx="1243">
                  <c:v>All Others</c:v>
                </c:pt>
                <c:pt idx="1244">
                  <c:v>Lactalis: A</c:v>
                </c:pt>
                <c:pt idx="1245">
                  <c:v>All Others</c:v>
                </c:pt>
                <c:pt idx="1246">
                  <c:v>All Others</c:v>
                </c:pt>
                <c:pt idx="1247">
                  <c:v>All Others</c:v>
                </c:pt>
                <c:pt idx="1248">
                  <c:v>All Others</c:v>
                </c:pt>
                <c:pt idx="1249">
                  <c:v>All Others</c:v>
                </c:pt>
                <c:pt idx="1250">
                  <c:v>Gillot</c:v>
                </c:pt>
                <c:pt idx="1251">
                  <c:v>All Others</c:v>
                </c:pt>
                <c:pt idx="1252">
                  <c:v>All Others</c:v>
                </c:pt>
                <c:pt idx="1253">
                  <c:v>All Others</c:v>
                </c:pt>
                <c:pt idx="1254">
                  <c:v>All Others</c:v>
                </c:pt>
                <c:pt idx="1255">
                  <c:v>All Others</c:v>
                </c:pt>
                <c:pt idx="1256">
                  <c:v>All Others</c:v>
                </c:pt>
                <c:pt idx="1257">
                  <c:v>Limiano</c:v>
                </c:pt>
                <c:pt idx="1258">
                  <c:v>All Others</c:v>
                </c:pt>
                <c:pt idx="1259">
                  <c:v>All Others</c:v>
                </c:pt>
                <c:pt idx="1260">
                  <c:v>All Others</c:v>
                </c:pt>
                <c:pt idx="1261">
                  <c:v>All Others</c:v>
                </c:pt>
                <c:pt idx="1262">
                  <c:v>All Others</c:v>
                </c:pt>
                <c:pt idx="1263">
                  <c:v>All Others</c:v>
                </c:pt>
                <c:pt idx="1264">
                  <c:v>All Others</c:v>
                </c:pt>
                <c:pt idx="1265">
                  <c:v>Other Suppl</c:v>
                </c:pt>
                <c:pt idx="1266">
                  <c:v>All Others</c:v>
                </c:pt>
                <c:pt idx="1267">
                  <c:v>All Others</c:v>
                </c:pt>
                <c:pt idx="1268">
                  <c:v>All Others</c:v>
                </c:pt>
                <c:pt idx="1269">
                  <c:v>Raguin</c:v>
                </c:pt>
                <c:pt idx="1270">
                  <c:v>All Others</c:v>
                </c:pt>
                <c:pt idx="1271">
                  <c:v>All Others</c:v>
                </c:pt>
                <c:pt idx="1272">
                  <c:v>All Others</c:v>
                </c:pt>
                <c:pt idx="1273">
                  <c:v>Raguin</c:v>
                </c:pt>
                <c:pt idx="1274">
                  <c:v>Lincet</c:v>
                </c:pt>
                <c:pt idx="1275">
                  <c:v>All Others</c:v>
                </c:pt>
                <c:pt idx="1276">
                  <c:v>All Others</c:v>
                </c:pt>
                <c:pt idx="1277">
                  <c:v>Raguin</c:v>
                </c:pt>
                <c:pt idx="1278">
                  <c:v>All Others</c:v>
                </c:pt>
                <c:pt idx="1279">
                  <c:v>All Others</c:v>
                </c:pt>
                <c:pt idx="1280">
                  <c:v>Dodin</c:v>
                </c:pt>
                <c:pt idx="1281">
                  <c:v>All Others</c:v>
                </c:pt>
                <c:pt idx="1282">
                  <c:v>All Others</c:v>
                </c:pt>
                <c:pt idx="1283">
                  <c:v>Other Suppl</c:v>
                </c:pt>
                <c:pt idx="1284">
                  <c:v>Savencia: A</c:v>
                </c:pt>
                <c:pt idx="1285">
                  <c:v>All Others</c:v>
                </c:pt>
                <c:pt idx="1286">
                  <c:v>All Others</c:v>
                </c:pt>
                <c:pt idx="1287">
                  <c:v>All Others</c:v>
                </c:pt>
                <c:pt idx="1288">
                  <c:v>All Others</c:v>
                </c:pt>
                <c:pt idx="1289">
                  <c:v>All Others</c:v>
                </c:pt>
                <c:pt idx="1290">
                  <c:v>All Others</c:v>
                </c:pt>
                <c:pt idx="1291">
                  <c:v>All Others</c:v>
                </c:pt>
                <c:pt idx="1292">
                  <c:v>All Others</c:v>
                </c:pt>
                <c:pt idx="1293">
                  <c:v>All Others</c:v>
                </c:pt>
                <c:pt idx="1294">
                  <c:v>All Others</c:v>
                </c:pt>
                <c:pt idx="1295">
                  <c:v>Pave D'Affi</c:v>
                </c:pt>
                <c:pt idx="1296">
                  <c:v>All Others</c:v>
                </c:pt>
                <c:pt idx="1297">
                  <c:v>All Others</c:v>
                </c:pt>
                <c:pt idx="1298">
                  <c:v>All Others</c:v>
                </c:pt>
                <c:pt idx="1299">
                  <c:v>All Others</c:v>
                </c:pt>
                <c:pt idx="1300">
                  <c:v>All Others</c:v>
                </c:pt>
                <c:pt idx="1301">
                  <c:v>All Others</c:v>
                </c:pt>
                <c:pt idx="1302">
                  <c:v>All Others</c:v>
                </c:pt>
                <c:pt idx="1303">
                  <c:v>All Others</c:v>
                </c:pt>
                <c:pt idx="1304">
                  <c:v>All Others</c:v>
                </c:pt>
                <c:pt idx="1305">
                  <c:v>All Others</c:v>
                </c:pt>
                <c:pt idx="1306">
                  <c:v>All Others</c:v>
                </c:pt>
                <c:pt idx="1307">
                  <c:v>All Others</c:v>
                </c:pt>
                <c:pt idx="1308">
                  <c:v>All Others</c:v>
                </c:pt>
                <c:pt idx="1309">
                  <c:v>All Others</c:v>
                </c:pt>
                <c:pt idx="1310">
                  <c:v>Gillot</c:v>
                </c:pt>
                <c:pt idx="1311">
                  <c:v>All Others</c:v>
                </c:pt>
                <c:pt idx="1312">
                  <c:v>All Others</c:v>
                </c:pt>
                <c:pt idx="1313">
                  <c:v>All Others</c:v>
                </c:pt>
                <c:pt idx="1314">
                  <c:v>All Others</c:v>
                </c:pt>
                <c:pt idx="1315">
                  <c:v>All Others</c:v>
                </c:pt>
                <c:pt idx="1316">
                  <c:v>Other Suppl</c:v>
                </c:pt>
                <c:pt idx="1317">
                  <c:v>All Others</c:v>
                </c:pt>
                <c:pt idx="1318">
                  <c:v>All Others</c:v>
                </c:pt>
                <c:pt idx="1319">
                  <c:v>All Others</c:v>
                </c:pt>
                <c:pt idx="1320">
                  <c:v>All Others</c:v>
                </c:pt>
                <c:pt idx="1321">
                  <c:v>All Others</c:v>
                </c:pt>
                <c:pt idx="1322">
                  <c:v>All Others</c:v>
                </c:pt>
                <c:pt idx="1323">
                  <c:v>All Others</c:v>
                </c:pt>
                <c:pt idx="1324">
                  <c:v>All Others</c:v>
                </c:pt>
                <c:pt idx="1325">
                  <c:v>All Others</c:v>
                </c:pt>
                <c:pt idx="1326">
                  <c:v>All Others</c:v>
                </c:pt>
                <c:pt idx="1327">
                  <c:v>All Others</c:v>
                </c:pt>
                <c:pt idx="1328">
                  <c:v>All Others</c:v>
                </c:pt>
                <c:pt idx="1329">
                  <c:v>All Others</c:v>
                </c:pt>
                <c:pt idx="1330">
                  <c:v>All Others</c:v>
                </c:pt>
                <c:pt idx="1331">
                  <c:v>All Others</c:v>
                </c:pt>
                <c:pt idx="1332">
                  <c:v>All Others</c:v>
                </c:pt>
                <c:pt idx="1333">
                  <c:v>All Others</c:v>
                </c:pt>
                <c:pt idx="1334">
                  <c:v>All Others</c:v>
                </c:pt>
                <c:pt idx="1335">
                  <c:v>All Others</c:v>
                </c:pt>
                <c:pt idx="1336">
                  <c:v>All Others</c:v>
                </c:pt>
                <c:pt idx="1337">
                  <c:v>All Others</c:v>
                </c:pt>
                <c:pt idx="1338">
                  <c:v>All Others</c:v>
                </c:pt>
                <c:pt idx="1339">
                  <c:v>All Others</c:v>
                </c:pt>
                <c:pt idx="1340">
                  <c:v>All Others</c:v>
                </c:pt>
                <c:pt idx="1341">
                  <c:v>All Others</c:v>
                </c:pt>
                <c:pt idx="1342">
                  <c:v>All Others</c:v>
                </c:pt>
                <c:pt idx="1343">
                  <c:v>All Others</c:v>
                </c:pt>
                <c:pt idx="1344">
                  <c:v>All Others</c:v>
                </c:pt>
                <c:pt idx="1345">
                  <c:v>All Others</c:v>
                </c:pt>
                <c:pt idx="1346">
                  <c:v>All Others</c:v>
                </c:pt>
                <c:pt idx="1347">
                  <c:v>All Others</c:v>
                </c:pt>
                <c:pt idx="1348">
                  <c:v>All Others</c:v>
                </c:pt>
                <c:pt idx="1349">
                  <c:v>All Others</c:v>
                </c:pt>
                <c:pt idx="1350">
                  <c:v>All Others</c:v>
                </c:pt>
                <c:pt idx="1351">
                  <c:v>All Others</c:v>
                </c:pt>
                <c:pt idx="1352">
                  <c:v>Caprice Des</c:v>
                </c:pt>
                <c:pt idx="1353">
                  <c:v>All Others</c:v>
                </c:pt>
                <c:pt idx="1354">
                  <c:v>All Others</c:v>
                </c:pt>
                <c:pt idx="1355">
                  <c:v>All Others</c:v>
                </c:pt>
                <c:pt idx="1356">
                  <c:v>All Others</c:v>
                </c:pt>
                <c:pt idx="1357">
                  <c:v>All Others</c:v>
                </c:pt>
                <c:pt idx="1358">
                  <c:v>All Others</c:v>
                </c:pt>
                <c:pt idx="1359">
                  <c:v>All Others</c:v>
                </c:pt>
                <c:pt idx="1360">
                  <c:v>All Others</c:v>
                </c:pt>
                <c:pt idx="1361">
                  <c:v>All Others</c:v>
                </c:pt>
                <c:pt idx="1362">
                  <c:v>All Others</c:v>
                </c:pt>
                <c:pt idx="1363">
                  <c:v>All Others</c:v>
                </c:pt>
                <c:pt idx="1364">
                  <c:v>All Others</c:v>
                </c:pt>
                <c:pt idx="1365">
                  <c:v>Other Suppl</c:v>
                </c:pt>
                <c:pt idx="1366">
                  <c:v>All Others</c:v>
                </c:pt>
                <c:pt idx="1367">
                  <c:v>All Others</c:v>
                </c:pt>
                <c:pt idx="1368">
                  <c:v>All Others</c:v>
                </c:pt>
                <c:pt idx="1369">
                  <c:v>All Others</c:v>
                </c:pt>
                <c:pt idx="1370">
                  <c:v>All Others</c:v>
                </c:pt>
                <c:pt idx="1371">
                  <c:v>All Others</c:v>
                </c:pt>
                <c:pt idx="1372">
                  <c:v>All Others</c:v>
                </c:pt>
                <c:pt idx="1373">
                  <c:v>All Others</c:v>
                </c:pt>
                <c:pt idx="1374">
                  <c:v>All Others</c:v>
                </c:pt>
                <c:pt idx="1375">
                  <c:v>All Others</c:v>
                </c:pt>
                <c:pt idx="1376">
                  <c:v>All Others</c:v>
                </c:pt>
                <c:pt idx="1377">
                  <c:v>All Others</c:v>
                </c:pt>
                <c:pt idx="1378">
                  <c:v>All Others</c:v>
                </c:pt>
                <c:pt idx="1379">
                  <c:v>All Others</c:v>
                </c:pt>
                <c:pt idx="1380">
                  <c:v>Private Lab</c:v>
                </c:pt>
                <c:pt idx="1381">
                  <c:v>All Others</c:v>
                </c:pt>
                <c:pt idx="1382">
                  <c:v>All Others</c:v>
                </c:pt>
                <c:pt idx="1383">
                  <c:v>All Others</c:v>
                </c:pt>
                <c:pt idx="1384">
                  <c:v>Richesmonts</c:v>
                </c:pt>
                <c:pt idx="1385">
                  <c:v>All Others</c:v>
                </c:pt>
                <c:pt idx="1386">
                  <c:v>Lactalis: A</c:v>
                </c:pt>
                <c:pt idx="1387">
                  <c:v>Lactalis: A</c:v>
                </c:pt>
                <c:pt idx="1388">
                  <c:v>All Others</c:v>
                </c:pt>
                <c:pt idx="1389">
                  <c:v>Milleret: A</c:v>
                </c:pt>
                <c:pt idx="1390">
                  <c:v>Lactalis: A</c:v>
                </c:pt>
                <c:pt idx="1391">
                  <c:v>All Others</c:v>
                </c:pt>
                <c:pt idx="1392">
                  <c:v>All Others</c:v>
                </c:pt>
                <c:pt idx="1393">
                  <c:v>All Others</c:v>
                </c:pt>
                <c:pt idx="1394">
                  <c:v>All Others</c:v>
                </c:pt>
                <c:pt idx="1395">
                  <c:v>All Others</c:v>
                </c:pt>
                <c:pt idx="1396">
                  <c:v>All Others</c:v>
                </c:pt>
                <c:pt idx="1397">
                  <c:v>All Others</c:v>
                </c:pt>
                <c:pt idx="1398">
                  <c:v>All Others</c:v>
                </c:pt>
                <c:pt idx="1399">
                  <c:v>All Others</c:v>
                </c:pt>
                <c:pt idx="1400">
                  <c:v>La Vache Qu</c:v>
                </c:pt>
                <c:pt idx="1401">
                  <c:v>All Others</c:v>
                </c:pt>
                <c:pt idx="1402">
                  <c:v>All Others</c:v>
                </c:pt>
                <c:pt idx="1403">
                  <c:v>Savencia: A</c:v>
                </c:pt>
                <c:pt idx="1404">
                  <c:v>All Others</c:v>
                </c:pt>
                <c:pt idx="1405">
                  <c:v>All Others</c:v>
                </c:pt>
                <c:pt idx="1406">
                  <c:v>Raguin</c:v>
                </c:pt>
                <c:pt idx="1407">
                  <c:v>All Others</c:v>
                </c:pt>
                <c:pt idx="1408">
                  <c:v>Private Lab</c:v>
                </c:pt>
                <c:pt idx="1409">
                  <c:v>All Others</c:v>
                </c:pt>
                <c:pt idx="1410">
                  <c:v>All Others</c:v>
                </c:pt>
                <c:pt idx="1411">
                  <c:v>Private Lab</c:v>
                </c:pt>
                <c:pt idx="1412">
                  <c:v>Lactalis: A</c:v>
                </c:pt>
                <c:pt idx="1413">
                  <c:v>All Others</c:v>
                </c:pt>
                <c:pt idx="1414">
                  <c:v>All Others</c:v>
                </c:pt>
                <c:pt idx="1415">
                  <c:v>All Others</c:v>
                </c:pt>
                <c:pt idx="1416">
                  <c:v>Etoile Du V</c:v>
                </c:pt>
                <c:pt idx="1417">
                  <c:v>All Others</c:v>
                </c:pt>
                <c:pt idx="1418">
                  <c:v>All Others</c:v>
                </c:pt>
                <c:pt idx="1419">
                  <c:v>All Others</c:v>
                </c:pt>
                <c:pt idx="1420">
                  <c:v>All Others</c:v>
                </c:pt>
                <c:pt idx="1421">
                  <c:v>Private Lab</c:v>
                </c:pt>
                <c:pt idx="1422">
                  <c:v>Other Suppl</c:v>
                </c:pt>
                <c:pt idx="1423">
                  <c:v>All Others</c:v>
                </c:pt>
                <c:pt idx="1424">
                  <c:v>All Others</c:v>
                </c:pt>
                <c:pt idx="1425">
                  <c:v>All Others</c:v>
                </c:pt>
                <c:pt idx="1426">
                  <c:v>All Others</c:v>
                </c:pt>
                <c:pt idx="1427">
                  <c:v>All Others</c:v>
                </c:pt>
                <c:pt idx="1428">
                  <c:v>All Others</c:v>
                </c:pt>
                <c:pt idx="1429">
                  <c:v>All Others</c:v>
                </c:pt>
                <c:pt idx="1430">
                  <c:v>All Others</c:v>
                </c:pt>
                <c:pt idx="1431">
                  <c:v>Private Lab</c:v>
                </c:pt>
                <c:pt idx="1432">
                  <c:v>All Others</c:v>
                </c:pt>
                <c:pt idx="1433">
                  <c:v>All Others</c:v>
                </c:pt>
                <c:pt idx="1434">
                  <c:v>Gillot</c:v>
                </c:pt>
                <c:pt idx="1435">
                  <c:v>Private Lab</c:v>
                </c:pt>
                <c:pt idx="1436">
                  <c:v>All Others</c:v>
                </c:pt>
                <c:pt idx="1437">
                  <c:v>Private Lab</c:v>
                </c:pt>
                <c:pt idx="1438">
                  <c:v>Pave D'Affi</c:v>
                </c:pt>
                <c:pt idx="1439">
                  <c:v>All Others</c:v>
                </c:pt>
                <c:pt idx="1440">
                  <c:v>All Others</c:v>
                </c:pt>
                <c:pt idx="1441">
                  <c:v>All Others</c:v>
                </c:pt>
                <c:pt idx="1442">
                  <c:v>All Others</c:v>
                </c:pt>
                <c:pt idx="1443">
                  <c:v>All Others</c:v>
                </c:pt>
                <c:pt idx="1444">
                  <c:v>All Others</c:v>
                </c:pt>
                <c:pt idx="1445">
                  <c:v>Private Lab</c:v>
                </c:pt>
                <c:pt idx="1446">
                  <c:v>O'Tapas Ape</c:v>
                </c:pt>
                <c:pt idx="1447">
                  <c:v>All Others</c:v>
                </c:pt>
                <c:pt idx="1448">
                  <c:v>O'Tapas Ape</c:v>
                </c:pt>
                <c:pt idx="1449">
                  <c:v>Private Lab</c:v>
                </c:pt>
                <c:pt idx="1450">
                  <c:v>All Others</c:v>
                </c:pt>
                <c:pt idx="1451">
                  <c:v>All Others</c:v>
                </c:pt>
                <c:pt idx="1452">
                  <c:v>All Others</c:v>
                </c:pt>
                <c:pt idx="1453">
                  <c:v>All Others</c:v>
                </c:pt>
              </c:strCache>
            </c:strRef>
          </c:cat>
          <c:val>
            <c:numRef>
              <c:f>Sheet1!$B$2:$B$1455</c:f>
              <c:numCache>
                <c:formatCode>General</c:formatCode>
                <c:ptCount val="1454"/>
                <c:pt idx="0">
                  <c:v>1</c:v>
                </c:pt>
                <c:pt idx="1">
                  <c:v>1</c:v>
                </c:pt>
                <c:pt idx="2">
                  <c:v>1</c:v>
                </c:pt>
                <c:pt idx="3">
                  <c:v>1</c:v>
                </c:pt>
                <c:pt idx="4">
                  <c:v>1</c:v>
                </c:pt>
                <c:pt idx="5">
                  <c:v>1</c:v>
                </c:pt>
                <c:pt idx="6">
                  <c:v>0.99</c:v>
                </c:pt>
                <c:pt idx="7">
                  <c:v>1</c:v>
                </c:pt>
                <c:pt idx="8">
                  <c:v>0.99</c:v>
                </c:pt>
                <c:pt idx="9">
                  <c:v>1</c:v>
                </c:pt>
                <c:pt idx="10">
                  <c:v>1</c:v>
                </c:pt>
                <c:pt idx="11">
                  <c:v>1</c:v>
                </c:pt>
                <c:pt idx="12">
                  <c:v>0.81</c:v>
                </c:pt>
                <c:pt idx="13">
                  <c:v>1</c:v>
                </c:pt>
                <c:pt idx="14">
                  <c:v>1</c:v>
                </c:pt>
                <c:pt idx="15">
                  <c:v>0.99</c:v>
                </c:pt>
                <c:pt idx="16">
                  <c:v>1</c:v>
                </c:pt>
                <c:pt idx="17">
                  <c:v>1</c:v>
                </c:pt>
                <c:pt idx="18">
                  <c:v>1</c:v>
                </c:pt>
                <c:pt idx="19">
                  <c:v>0.96</c:v>
                </c:pt>
                <c:pt idx="20">
                  <c:v>1</c:v>
                </c:pt>
                <c:pt idx="21">
                  <c:v>0.99</c:v>
                </c:pt>
                <c:pt idx="22">
                  <c:v>0.99</c:v>
                </c:pt>
                <c:pt idx="23">
                  <c:v>0.98</c:v>
                </c:pt>
                <c:pt idx="24">
                  <c:v>1</c:v>
                </c:pt>
                <c:pt idx="25">
                  <c:v>0.99</c:v>
                </c:pt>
                <c:pt idx="26">
                  <c:v>1</c:v>
                </c:pt>
                <c:pt idx="27">
                  <c:v>1</c:v>
                </c:pt>
                <c:pt idx="28">
                  <c:v>0.98</c:v>
                </c:pt>
                <c:pt idx="29">
                  <c:v>0.99</c:v>
                </c:pt>
                <c:pt idx="30">
                  <c:v>1</c:v>
                </c:pt>
                <c:pt idx="31">
                  <c:v>1</c:v>
                </c:pt>
                <c:pt idx="32">
                  <c:v>0.99</c:v>
                </c:pt>
                <c:pt idx="33">
                  <c:v>1</c:v>
                </c:pt>
                <c:pt idx="34">
                  <c:v>1</c:v>
                </c:pt>
                <c:pt idx="35">
                  <c:v>0.99</c:v>
                </c:pt>
                <c:pt idx="36">
                  <c:v>0.99</c:v>
                </c:pt>
                <c:pt idx="37">
                  <c:v>1</c:v>
                </c:pt>
                <c:pt idx="38">
                  <c:v>1</c:v>
                </c:pt>
                <c:pt idx="39">
                  <c:v>1</c:v>
                </c:pt>
                <c:pt idx="40">
                  <c:v>0.98</c:v>
                </c:pt>
                <c:pt idx="41">
                  <c:v>0.97</c:v>
                </c:pt>
                <c:pt idx="42">
                  <c:v>0.99</c:v>
                </c:pt>
                <c:pt idx="43">
                  <c:v>0.99</c:v>
                </c:pt>
                <c:pt idx="44">
                  <c:v>0.98</c:v>
                </c:pt>
                <c:pt idx="45">
                  <c:v>1</c:v>
                </c:pt>
                <c:pt idx="46">
                  <c:v>1</c:v>
                </c:pt>
                <c:pt idx="47">
                  <c:v>0.99</c:v>
                </c:pt>
                <c:pt idx="48">
                  <c:v>1</c:v>
                </c:pt>
                <c:pt idx="49">
                  <c:v>1</c:v>
                </c:pt>
                <c:pt idx="50">
                  <c:v>0.95</c:v>
                </c:pt>
                <c:pt idx="51">
                  <c:v>1</c:v>
                </c:pt>
                <c:pt idx="52">
                  <c:v>0.98</c:v>
                </c:pt>
                <c:pt idx="53">
                  <c:v>0.99</c:v>
                </c:pt>
                <c:pt idx="54">
                  <c:v>1</c:v>
                </c:pt>
                <c:pt idx="55">
                  <c:v>0.99</c:v>
                </c:pt>
                <c:pt idx="56">
                  <c:v>0.96</c:v>
                </c:pt>
                <c:pt idx="57">
                  <c:v>1</c:v>
                </c:pt>
                <c:pt idx="58">
                  <c:v>0.98</c:v>
                </c:pt>
                <c:pt idx="59">
                  <c:v>1</c:v>
                </c:pt>
                <c:pt idx="60">
                  <c:v>0.99</c:v>
                </c:pt>
                <c:pt idx="61">
                  <c:v>1</c:v>
                </c:pt>
                <c:pt idx="62">
                  <c:v>1</c:v>
                </c:pt>
                <c:pt idx="63">
                  <c:v>0.99</c:v>
                </c:pt>
                <c:pt idx="64">
                  <c:v>0.92</c:v>
                </c:pt>
                <c:pt idx="65">
                  <c:v>1</c:v>
                </c:pt>
                <c:pt idx="66">
                  <c:v>1</c:v>
                </c:pt>
                <c:pt idx="67">
                  <c:v>0.95</c:v>
                </c:pt>
                <c:pt idx="68">
                  <c:v>0.97</c:v>
                </c:pt>
                <c:pt idx="69">
                  <c:v>0.99</c:v>
                </c:pt>
                <c:pt idx="70">
                  <c:v>1</c:v>
                </c:pt>
                <c:pt idx="71">
                  <c:v>0.98</c:v>
                </c:pt>
                <c:pt idx="72">
                  <c:v>0.89</c:v>
                </c:pt>
                <c:pt idx="73">
                  <c:v>0.92</c:v>
                </c:pt>
                <c:pt idx="74">
                  <c:v>1</c:v>
                </c:pt>
                <c:pt idx="75">
                  <c:v>1</c:v>
                </c:pt>
                <c:pt idx="76">
                  <c:v>0.97</c:v>
                </c:pt>
                <c:pt idx="77">
                  <c:v>0.95</c:v>
                </c:pt>
                <c:pt idx="78">
                  <c:v>0.97</c:v>
                </c:pt>
                <c:pt idx="79">
                  <c:v>0.98</c:v>
                </c:pt>
                <c:pt idx="80">
                  <c:v>0.99</c:v>
                </c:pt>
                <c:pt idx="81">
                  <c:v>0.98</c:v>
                </c:pt>
                <c:pt idx="82">
                  <c:v>0.99</c:v>
                </c:pt>
                <c:pt idx="83">
                  <c:v>0.99</c:v>
                </c:pt>
                <c:pt idx="84">
                  <c:v>0.99</c:v>
                </c:pt>
                <c:pt idx="85">
                  <c:v>1</c:v>
                </c:pt>
                <c:pt idx="86">
                  <c:v>0.99</c:v>
                </c:pt>
                <c:pt idx="87">
                  <c:v>0.99</c:v>
                </c:pt>
                <c:pt idx="88">
                  <c:v>1</c:v>
                </c:pt>
                <c:pt idx="89">
                  <c:v>0.98</c:v>
                </c:pt>
                <c:pt idx="90">
                  <c:v>0.96</c:v>
                </c:pt>
                <c:pt idx="91">
                  <c:v>1</c:v>
                </c:pt>
                <c:pt idx="92">
                  <c:v>0.97</c:v>
                </c:pt>
                <c:pt idx="93">
                  <c:v>0.97</c:v>
                </c:pt>
                <c:pt idx="94">
                  <c:v>0.99</c:v>
                </c:pt>
                <c:pt idx="95">
                  <c:v>1</c:v>
                </c:pt>
                <c:pt idx="96">
                  <c:v>0.98</c:v>
                </c:pt>
                <c:pt idx="97">
                  <c:v>1</c:v>
                </c:pt>
                <c:pt idx="98">
                  <c:v>0.81</c:v>
                </c:pt>
                <c:pt idx="99">
                  <c:v>0.97</c:v>
                </c:pt>
                <c:pt idx="100">
                  <c:v>0.89</c:v>
                </c:pt>
                <c:pt idx="101">
                  <c:v>1</c:v>
                </c:pt>
                <c:pt idx="102">
                  <c:v>1</c:v>
                </c:pt>
                <c:pt idx="103">
                  <c:v>0.99</c:v>
                </c:pt>
                <c:pt idx="104">
                  <c:v>0.99</c:v>
                </c:pt>
                <c:pt idx="105">
                  <c:v>0.95</c:v>
                </c:pt>
                <c:pt idx="106">
                  <c:v>0.98</c:v>
                </c:pt>
                <c:pt idx="107">
                  <c:v>0.99</c:v>
                </c:pt>
                <c:pt idx="108">
                  <c:v>0.93</c:v>
                </c:pt>
                <c:pt idx="109">
                  <c:v>0.99</c:v>
                </c:pt>
                <c:pt idx="110">
                  <c:v>1</c:v>
                </c:pt>
                <c:pt idx="111">
                  <c:v>0.99</c:v>
                </c:pt>
                <c:pt idx="112">
                  <c:v>0.98</c:v>
                </c:pt>
                <c:pt idx="113">
                  <c:v>0.92</c:v>
                </c:pt>
                <c:pt idx="114">
                  <c:v>0.97</c:v>
                </c:pt>
                <c:pt idx="115">
                  <c:v>0.98</c:v>
                </c:pt>
                <c:pt idx="116">
                  <c:v>0.91</c:v>
                </c:pt>
                <c:pt idx="117">
                  <c:v>0.98</c:v>
                </c:pt>
                <c:pt idx="118">
                  <c:v>0.97</c:v>
                </c:pt>
                <c:pt idx="119">
                  <c:v>0.99</c:v>
                </c:pt>
                <c:pt idx="120">
                  <c:v>0.99</c:v>
                </c:pt>
                <c:pt idx="121">
                  <c:v>0.98</c:v>
                </c:pt>
                <c:pt idx="122">
                  <c:v>0.97</c:v>
                </c:pt>
                <c:pt idx="123">
                  <c:v>0.99</c:v>
                </c:pt>
                <c:pt idx="124">
                  <c:v>0.97</c:v>
                </c:pt>
                <c:pt idx="125">
                  <c:v>0.98</c:v>
                </c:pt>
                <c:pt idx="126">
                  <c:v>1</c:v>
                </c:pt>
                <c:pt idx="127">
                  <c:v>1</c:v>
                </c:pt>
                <c:pt idx="128">
                  <c:v>0.96</c:v>
                </c:pt>
                <c:pt idx="129">
                  <c:v>0.99</c:v>
                </c:pt>
                <c:pt idx="130">
                  <c:v>0.77</c:v>
                </c:pt>
                <c:pt idx="131">
                  <c:v>0.99</c:v>
                </c:pt>
                <c:pt idx="132">
                  <c:v>0.72</c:v>
                </c:pt>
                <c:pt idx="133">
                  <c:v>0.99</c:v>
                </c:pt>
                <c:pt idx="134">
                  <c:v>0.71</c:v>
                </c:pt>
                <c:pt idx="135">
                  <c:v>0.84</c:v>
                </c:pt>
                <c:pt idx="136">
                  <c:v>0.98</c:v>
                </c:pt>
                <c:pt idx="137">
                  <c:v>0.99</c:v>
                </c:pt>
                <c:pt idx="138">
                  <c:v>1</c:v>
                </c:pt>
                <c:pt idx="139">
                  <c:v>0.96</c:v>
                </c:pt>
                <c:pt idx="140">
                  <c:v>0.94</c:v>
                </c:pt>
                <c:pt idx="141">
                  <c:v>0.99</c:v>
                </c:pt>
                <c:pt idx="142">
                  <c:v>0.98</c:v>
                </c:pt>
                <c:pt idx="143">
                  <c:v>0.96</c:v>
                </c:pt>
                <c:pt idx="144">
                  <c:v>0.96</c:v>
                </c:pt>
                <c:pt idx="145">
                  <c:v>0.99</c:v>
                </c:pt>
                <c:pt idx="146">
                  <c:v>0.99</c:v>
                </c:pt>
                <c:pt idx="147">
                  <c:v>0.99</c:v>
                </c:pt>
                <c:pt idx="148">
                  <c:v>1</c:v>
                </c:pt>
                <c:pt idx="149">
                  <c:v>0.9</c:v>
                </c:pt>
                <c:pt idx="150">
                  <c:v>0.89</c:v>
                </c:pt>
                <c:pt idx="151">
                  <c:v>0.72</c:v>
                </c:pt>
                <c:pt idx="152">
                  <c:v>0.92</c:v>
                </c:pt>
                <c:pt idx="153">
                  <c:v>1</c:v>
                </c:pt>
                <c:pt idx="154">
                  <c:v>1</c:v>
                </c:pt>
                <c:pt idx="155">
                  <c:v>0.88</c:v>
                </c:pt>
                <c:pt idx="156">
                  <c:v>0.97</c:v>
                </c:pt>
                <c:pt idx="157">
                  <c:v>0.96</c:v>
                </c:pt>
                <c:pt idx="158">
                  <c:v>0.99</c:v>
                </c:pt>
                <c:pt idx="159">
                  <c:v>0.95</c:v>
                </c:pt>
                <c:pt idx="160">
                  <c:v>0.96</c:v>
                </c:pt>
                <c:pt idx="161">
                  <c:v>0.98</c:v>
                </c:pt>
                <c:pt idx="162">
                  <c:v>0.99</c:v>
                </c:pt>
                <c:pt idx="163">
                  <c:v>0.98</c:v>
                </c:pt>
                <c:pt idx="164">
                  <c:v>0.96</c:v>
                </c:pt>
                <c:pt idx="165">
                  <c:v>1</c:v>
                </c:pt>
                <c:pt idx="166">
                  <c:v>1</c:v>
                </c:pt>
                <c:pt idx="167">
                  <c:v>0.97</c:v>
                </c:pt>
                <c:pt idx="168">
                  <c:v>0.99</c:v>
                </c:pt>
                <c:pt idx="169">
                  <c:v>0.98</c:v>
                </c:pt>
                <c:pt idx="170">
                  <c:v>0.99</c:v>
                </c:pt>
                <c:pt idx="171">
                  <c:v>1</c:v>
                </c:pt>
                <c:pt idx="172">
                  <c:v>0.99</c:v>
                </c:pt>
                <c:pt idx="173">
                  <c:v>0.99</c:v>
                </c:pt>
                <c:pt idx="174">
                  <c:v>0.93</c:v>
                </c:pt>
                <c:pt idx="175">
                  <c:v>0.89</c:v>
                </c:pt>
                <c:pt idx="176">
                  <c:v>0.99</c:v>
                </c:pt>
                <c:pt idx="177">
                  <c:v>0.95</c:v>
                </c:pt>
                <c:pt idx="178">
                  <c:v>0.97</c:v>
                </c:pt>
                <c:pt idx="179">
                  <c:v>0.98</c:v>
                </c:pt>
                <c:pt idx="180">
                  <c:v>0.98</c:v>
                </c:pt>
                <c:pt idx="181">
                  <c:v>0.96</c:v>
                </c:pt>
                <c:pt idx="182">
                  <c:v>0.88</c:v>
                </c:pt>
                <c:pt idx="183">
                  <c:v>0.97</c:v>
                </c:pt>
                <c:pt idx="184">
                  <c:v>0.91</c:v>
                </c:pt>
                <c:pt idx="185">
                  <c:v>0.91</c:v>
                </c:pt>
                <c:pt idx="186">
                  <c:v>0.92</c:v>
                </c:pt>
                <c:pt idx="187">
                  <c:v>0.95</c:v>
                </c:pt>
                <c:pt idx="188">
                  <c:v>0.96</c:v>
                </c:pt>
                <c:pt idx="189">
                  <c:v>0.81</c:v>
                </c:pt>
                <c:pt idx="190">
                  <c:v>0.98</c:v>
                </c:pt>
                <c:pt idx="191">
                  <c:v>0.95</c:v>
                </c:pt>
                <c:pt idx="192">
                  <c:v>0.98</c:v>
                </c:pt>
                <c:pt idx="193">
                  <c:v>0.91</c:v>
                </c:pt>
                <c:pt idx="194">
                  <c:v>0.99</c:v>
                </c:pt>
                <c:pt idx="195">
                  <c:v>0.96</c:v>
                </c:pt>
                <c:pt idx="196">
                  <c:v>0.97</c:v>
                </c:pt>
                <c:pt idx="197">
                  <c:v>0.91</c:v>
                </c:pt>
                <c:pt idx="198">
                  <c:v>0.99</c:v>
                </c:pt>
                <c:pt idx="199">
                  <c:v>0.83</c:v>
                </c:pt>
                <c:pt idx="200">
                  <c:v>0.99</c:v>
                </c:pt>
                <c:pt idx="201">
                  <c:v>1</c:v>
                </c:pt>
                <c:pt idx="202">
                  <c:v>0.96</c:v>
                </c:pt>
                <c:pt idx="203">
                  <c:v>0.94</c:v>
                </c:pt>
                <c:pt idx="204">
                  <c:v>0.9</c:v>
                </c:pt>
                <c:pt idx="205">
                  <c:v>0.98</c:v>
                </c:pt>
                <c:pt idx="206">
                  <c:v>0.99</c:v>
                </c:pt>
                <c:pt idx="207">
                  <c:v>0.96</c:v>
                </c:pt>
                <c:pt idx="208">
                  <c:v>0.99</c:v>
                </c:pt>
                <c:pt idx="209">
                  <c:v>0.8</c:v>
                </c:pt>
                <c:pt idx="210">
                  <c:v>0.99</c:v>
                </c:pt>
                <c:pt idx="211">
                  <c:v>0.99</c:v>
                </c:pt>
                <c:pt idx="212">
                  <c:v>0.95</c:v>
                </c:pt>
                <c:pt idx="213">
                  <c:v>0.96</c:v>
                </c:pt>
                <c:pt idx="214">
                  <c:v>0.91</c:v>
                </c:pt>
                <c:pt idx="215">
                  <c:v>0.94</c:v>
                </c:pt>
                <c:pt idx="216">
                  <c:v>0.93</c:v>
                </c:pt>
                <c:pt idx="217">
                  <c:v>0.38</c:v>
                </c:pt>
                <c:pt idx="218">
                  <c:v>0.97</c:v>
                </c:pt>
                <c:pt idx="219">
                  <c:v>0.99</c:v>
                </c:pt>
                <c:pt idx="220">
                  <c:v>0.99</c:v>
                </c:pt>
                <c:pt idx="221">
                  <c:v>1</c:v>
                </c:pt>
                <c:pt idx="222">
                  <c:v>0.97</c:v>
                </c:pt>
                <c:pt idx="223">
                  <c:v>0.86</c:v>
                </c:pt>
                <c:pt idx="224">
                  <c:v>0.95</c:v>
                </c:pt>
                <c:pt idx="225">
                  <c:v>0.91</c:v>
                </c:pt>
                <c:pt idx="226">
                  <c:v>0.49</c:v>
                </c:pt>
                <c:pt idx="227">
                  <c:v>0.99</c:v>
                </c:pt>
                <c:pt idx="228">
                  <c:v>0.91</c:v>
                </c:pt>
                <c:pt idx="229">
                  <c:v>0.98</c:v>
                </c:pt>
                <c:pt idx="230">
                  <c:v>0.96</c:v>
                </c:pt>
                <c:pt idx="231">
                  <c:v>0.88</c:v>
                </c:pt>
                <c:pt idx="232">
                  <c:v>0.99</c:v>
                </c:pt>
                <c:pt idx="233">
                  <c:v>1</c:v>
                </c:pt>
                <c:pt idx="234">
                  <c:v>0.97</c:v>
                </c:pt>
                <c:pt idx="235">
                  <c:v>0.84</c:v>
                </c:pt>
                <c:pt idx="236">
                  <c:v>0.85</c:v>
                </c:pt>
                <c:pt idx="237">
                  <c:v>0.99</c:v>
                </c:pt>
                <c:pt idx="238">
                  <c:v>0.95</c:v>
                </c:pt>
                <c:pt idx="239">
                  <c:v>0.85</c:v>
                </c:pt>
                <c:pt idx="240">
                  <c:v>0.97</c:v>
                </c:pt>
                <c:pt idx="241">
                  <c:v>0.75</c:v>
                </c:pt>
                <c:pt idx="242">
                  <c:v>0.99</c:v>
                </c:pt>
                <c:pt idx="243">
                  <c:v>0.99</c:v>
                </c:pt>
                <c:pt idx="244">
                  <c:v>0.91</c:v>
                </c:pt>
                <c:pt idx="245">
                  <c:v>0.88</c:v>
                </c:pt>
                <c:pt idx="246">
                  <c:v>0.96</c:v>
                </c:pt>
                <c:pt idx="247">
                  <c:v>0.85</c:v>
                </c:pt>
                <c:pt idx="248">
                  <c:v>0.95</c:v>
                </c:pt>
                <c:pt idx="249">
                  <c:v>0.91</c:v>
                </c:pt>
                <c:pt idx="250">
                  <c:v>0.92</c:v>
                </c:pt>
                <c:pt idx="251">
                  <c:v>0.98</c:v>
                </c:pt>
                <c:pt idx="252">
                  <c:v>0.91</c:v>
                </c:pt>
                <c:pt idx="253">
                  <c:v>0.98</c:v>
                </c:pt>
                <c:pt idx="254">
                  <c:v>0.98</c:v>
                </c:pt>
                <c:pt idx="255">
                  <c:v>0.64</c:v>
                </c:pt>
                <c:pt idx="256">
                  <c:v>0.91</c:v>
                </c:pt>
                <c:pt idx="257">
                  <c:v>0.91</c:v>
                </c:pt>
                <c:pt idx="258">
                  <c:v>0.93</c:v>
                </c:pt>
                <c:pt idx="259">
                  <c:v>0.93</c:v>
                </c:pt>
                <c:pt idx="260">
                  <c:v>0.86</c:v>
                </c:pt>
                <c:pt idx="261">
                  <c:v>0.79</c:v>
                </c:pt>
                <c:pt idx="262">
                  <c:v>0.74</c:v>
                </c:pt>
                <c:pt idx="263">
                  <c:v>0.97</c:v>
                </c:pt>
                <c:pt idx="264">
                  <c:v>0.93</c:v>
                </c:pt>
                <c:pt idx="265">
                  <c:v>0.89</c:v>
                </c:pt>
                <c:pt idx="266">
                  <c:v>0.9</c:v>
                </c:pt>
                <c:pt idx="267">
                  <c:v>0.85</c:v>
                </c:pt>
                <c:pt idx="268">
                  <c:v>0.92</c:v>
                </c:pt>
                <c:pt idx="269">
                  <c:v>0.91</c:v>
                </c:pt>
                <c:pt idx="270">
                  <c:v>0.94</c:v>
                </c:pt>
                <c:pt idx="271">
                  <c:v>0.99</c:v>
                </c:pt>
                <c:pt idx="272">
                  <c:v>0.89</c:v>
                </c:pt>
                <c:pt idx="273">
                  <c:v>0.83</c:v>
                </c:pt>
                <c:pt idx="274">
                  <c:v>0.95</c:v>
                </c:pt>
                <c:pt idx="275">
                  <c:v>0.96</c:v>
                </c:pt>
                <c:pt idx="276">
                  <c:v>0.95</c:v>
                </c:pt>
                <c:pt idx="277">
                  <c:v>0.91</c:v>
                </c:pt>
                <c:pt idx="278">
                  <c:v>0.95</c:v>
                </c:pt>
                <c:pt idx="279">
                  <c:v>0.98</c:v>
                </c:pt>
                <c:pt idx="280">
                  <c:v>0.93</c:v>
                </c:pt>
                <c:pt idx="281">
                  <c:v>0.97</c:v>
                </c:pt>
                <c:pt idx="282">
                  <c:v>0.96</c:v>
                </c:pt>
                <c:pt idx="283">
                  <c:v>0.96</c:v>
                </c:pt>
                <c:pt idx="284">
                  <c:v>0.9</c:v>
                </c:pt>
                <c:pt idx="285">
                  <c:v>0.93</c:v>
                </c:pt>
                <c:pt idx="286">
                  <c:v>0.94</c:v>
                </c:pt>
                <c:pt idx="287">
                  <c:v>0.97</c:v>
                </c:pt>
                <c:pt idx="288">
                  <c:v>0.94</c:v>
                </c:pt>
                <c:pt idx="289">
                  <c:v>0.86</c:v>
                </c:pt>
                <c:pt idx="290">
                  <c:v>0.95</c:v>
                </c:pt>
                <c:pt idx="291">
                  <c:v>0.97</c:v>
                </c:pt>
                <c:pt idx="292">
                  <c:v>0.93</c:v>
                </c:pt>
                <c:pt idx="293">
                  <c:v>0.62</c:v>
                </c:pt>
                <c:pt idx="294">
                  <c:v>0.95</c:v>
                </c:pt>
                <c:pt idx="295">
                  <c:v>0.89</c:v>
                </c:pt>
                <c:pt idx="296">
                  <c:v>0.93</c:v>
                </c:pt>
                <c:pt idx="297">
                  <c:v>0.78</c:v>
                </c:pt>
                <c:pt idx="298">
                  <c:v>0.98</c:v>
                </c:pt>
                <c:pt idx="299">
                  <c:v>0.96</c:v>
                </c:pt>
                <c:pt idx="300">
                  <c:v>0.93</c:v>
                </c:pt>
                <c:pt idx="301">
                  <c:v>0.9</c:v>
                </c:pt>
                <c:pt idx="302">
                  <c:v>0.94</c:v>
                </c:pt>
                <c:pt idx="303">
                  <c:v>0.91</c:v>
                </c:pt>
                <c:pt idx="304">
                  <c:v>0.9</c:v>
                </c:pt>
                <c:pt idx="305">
                  <c:v>0.87</c:v>
                </c:pt>
                <c:pt idx="306">
                  <c:v>0.91</c:v>
                </c:pt>
                <c:pt idx="307">
                  <c:v>0.92</c:v>
                </c:pt>
                <c:pt idx="308">
                  <c:v>0.86</c:v>
                </c:pt>
                <c:pt idx="309">
                  <c:v>0.99</c:v>
                </c:pt>
                <c:pt idx="310">
                  <c:v>0.97</c:v>
                </c:pt>
                <c:pt idx="311">
                  <c:v>0.63</c:v>
                </c:pt>
                <c:pt idx="312">
                  <c:v>0.87</c:v>
                </c:pt>
                <c:pt idx="313">
                  <c:v>0.71</c:v>
                </c:pt>
                <c:pt idx="314">
                  <c:v>0.96</c:v>
                </c:pt>
                <c:pt idx="315">
                  <c:v>0.93</c:v>
                </c:pt>
                <c:pt idx="316">
                  <c:v>0.98</c:v>
                </c:pt>
                <c:pt idx="317">
                  <c:v>0.62</c:v>
                </c:pt>
                <c:pt idx="318">
                  <c:v>0.97</c:v>
                </c:pt>
                <c:pt idx="319">
                  <c:v>0.77</c:v>
                </c:pt>
                <c:pt idx="320">
                  <c:v>0.56000000000000005</c:v>
                </c:pt>
                <c:pt idx="321">
                  <c:v>0.89</c:v>
                </c:pt>
                <c:pt idx="322">
                  <c:v>0.86</c:v>
                </c:pt>
                <c:pt idx="323">
                  <c:v>0.68</c:v>
                </c:pt>
                <c:pt idx="324">
                  <c:v>0.95</c:v>
                </c:pt>
                <c:pt idx="325">
                  <c:v>0.98</c:v>
                </c:pt>
                <c:pt idx="326">
                  <c:v>0.87</c:v>
                </c:pt>
                <c:pt idx="327">
                  <c:v>0.91</c:v>
                </c:pt>
                <c:pt idx="328">
                  <c:v>0.87</c:v>
                </c:pt>
                <c:pt idx="329">
                  <c:v>0.74</c:v>
                </c:pt>
                <c:pt idx="330">
                  <c:v>0.9</c:v>
                </c:pt>
                <c:pt idx="331">
                  <c:v>0.74</c:v>
                </c:pt>
                <c:pt idx="332">
                  <c:v>0.87</c:v>
                </c:pt>
                <c:pt idx="333">
                  <c:v>0.96</c:v>
                </c:pt>
                <c:pt idx="334">
                  <c:v>0.79</c:v>
                </c:pt>
                <c:pt idx="335">
                  <c:v>0.8</c:v>
                </c:pt>
                <c:pt idx="336">
                  <c:v>0.9</c:v>
                </c:pt>
                <c:pt idx="337">
                  <c:v>0.72</c:v>
                </c:pt>
                <c:pt idx="338">
                  <c:v>0.8</c:v>
                </c:pt>
                <c:pt idx="339">
                  <c:v>0.98</c:v>
                </c:pt>
                <c:pt idx="340">
                  <c:v>0.97</c:v>
                </c:pt>
                <c:pt idx="341">
                  <c:v>0.86</c:v>
                </c:pt>
                <c:pt idx="342">
                  <c:v>0.87</c:v>
                </c:pt>
                <c:pt idx="343">
                  <c:v>0.42</c:v>
                </c:pt>
                <c:pt idx="344">
                  <c:v>0.94</c:v>
                </c:pt>
                <c:pt idx="345">
                  <c:v>0.97</c:v>
                </c:pt>
                <c:pt idx="346">
                  <c:v>0.8</c:v>
                </c:pt>
                <c:pt idx="347">
                  <c:v>0.99</c:v>
                </c:pt>
                <c:pt idx="348">
                  <c:v>0.57999999999999996</c:v>
                </c:pt>
                <c:pt idx="349">
                  <c:v>0.98</c:v>
                </c:pt>
                <c:pt idx="350">
                  <c:v>0.87</c:v>
                </c:pt>
                <c:pt idx="351">
                  <c:v>0.77</c:v>
                </c:pt>
                <c:pt idx="352">
                  <c:v>0.67</c:v>
                </c:pt>
                <c:pt idx="353">
                  <c:v>0.95</c:v>
                </c:pt>
                <c:pt idx="354">
                  <c:v>0.98</c:v>
                </c:pt>
                <c:pt idx="355">
                  <c:v>0.85</c:v>
                </c:pt>
                <c:pt idx="356">
                  <c:v>0.94</c:v>
                </c:pt>
                <c:pt idx="357">
                  <c:v>0.53</c:v>
                </c:pt>
                <c:pt idx="358">
                  <c:v>0.98</c:v>
                </c:pt>
                <c:pt idx="359">
                  <c:v>0.83</c:v>
                </c:pt>
                <c:pt idx="360">
                  <c:v>0.7</c:v>
                </c:pt>
                <c:pt idx="361">
                  <c:v>0.94</c:v>
                </c:pt>
                <c:pt idx="362">
                  <c:v>0.94</c:v>
                </c:pt>
                <c:pt idx="363">
                  <c:v>0.97</c:v>
                </c:pt>
                <c:pt idx="364">
                  <c:v>0.95</c:v>
                </c:pt>
                <c:pt idx="365">
                  <c:v>0.97</c:v>
                </c:pt>
                <c:pt idx="366">
                  <c:v>0.66</c:v>
                </c:pt>
                <c:pt idx="367">
                  <c:v>0.89</c:v>
                </c:pt>
                <c:pt idx="368">
                  <c:v>0.88</c:v>
                </c:pt>
                <c:pt idx="369">
                  <c:v>0.74</c:v>
                </c:pt>
                <c:pt idx="370">
                  <c:v>0.92</c:v>
                </c:pt>
                <c:pt idx="371">
                  <c:v>0.94</c:v>
                </c:pt>
                <c:pt idx="372">
                  <c:v>0.56999999999999995</c:v>
                </c:pt>
                <c:pt idx="373">
                  <c:v>0.79</c:v>
                </c:pt>
                <c:pt idx="374">
                  <c:v>0.87</c:v>
                </c:pt>
                <c:pt idx="375">
                  <c:v>0.87</c:v>
                </c:pt>
                <c:pt idx="376">
                  <c:v>0.39</c:v>
                </c:pt>
                <c:pt idx="377">
                  <c:v>0.79</c:v>
                </c:pt>
                <c:pt idx="378">
                  <c:v>0.54</c:v>
                </c:pt>
                <c:pt idx="379">
                  <c:v>0.56999999999999995</c:v>
                </c:pt>
                <c:pt idx="380">
                  <c:v>0.7</c:v>
                </c:pt>
                <c:pt idx="381">
                  <c:v>0.78</c:v>
                </c:pt>
                <c:pt idx="382">
                  <c:v>0.82</c:v>
                </c:pt>
                <c:pt idx="383">
                  <c:v>0.42</c:v>
                </c:pt>
                <c:pt idx="384">
                  <c:v>0.94</c:v>
                </c:pt>
                <c:pt idx="385">
                  <c:v>0.7</c:v>
                </c:pt>
                <c:pt idx="386">
                  <c:v>0.77</c:v>
                </c:pt>
                <c:pt idx="387">
                  <c:v>0.96</c:v>
                </c:pt>
                <c:pt idx="388">
                  <c:v>0.89</c:v>
                </c:pt>
                <c:pt idx="389">
                  <c:v>0.99</c:v>
                </c:pt>
                <c:pt idx="390">
                  <c:v>0.75</c:v>
                </c:pt>
                <c:pt idx="391">
                  <c:v>0.78</c:v>
                </c:pt>
                <c:pt idx="392">
                  <c:v>0.95</c:v>
                </c:pt>
                <c:pt idx="393">
                  <c:v>0.69</c:v>
                </c:pt>
                <c:pt idx="394">
                  <c:v>0.8</c:v>
                </c:pt>
                <c:pt idx="395">
                  <c:v>0.85</c:v>
                </c:pt>
                <c:pt idx="396">
                  <c:v>0.85</c:v>
                </c:pt>
                <c:pt idx="397">
                  <c:v>0.87</c:v>
                </c:pt>
                <c:pt idx="398">
                  <c:v>0.59</c:v>
                </c:pt>
                <c:pt idx="399">
                  <c:v>0.8</c:v>
                </c:pt>
                <c:pt idx="400">
                  <c:v>0.9</c:v>
                </c:pt>
                <c:pt idx="401">
                  <c:v>0.74</c:v>
                </c:pt>
                <c:pt idx="402">
                  <c:v>0.74</c:v>
                </c:pt>
                <c:pt idx="403">
                  <c:v>0.39</c:v>
                </c:pt>
                <c:pt idx="404">
                  <c:v>0.76</c:v>
                </c:pt>
                <c:pt idx="405">
                  <c:v>0.75</c:v>
                </c:pt>
                <c:pt idx="406">
                  <c:v>0.84</c:v>
                </c:pt>
                <c:pt idx="407">
                  <c:v>0.79</c:v>
                </c:pt>
                <c:pt idx="408">
                  <c:v>0.41</c:v>
                </c:pt>
                <c:pt idx="409">
                  <c:v>0.77</c:v>
                </c:pt>
                <c:pt idx="410">
                  <c:v>0.9</c:v>
                </c:pt>
                <c:pt idx="411">
                  <c:v>0.43</c:v>
                </c:pt>
                <c:pt idx="412">
                  <c:v>0.9</c:v>
                </c:pt>
                <c:pt idx="413">
                  <c:v>0.82</c:v>
                </c:pt>
                <c:pt idx="414">
                  <c:v>0.87</c:v>
                </c:pt>
                <c:pt idx="415">
                  <c:v>0.93</c:v>
                </c:pt>
                <c:pt idx="416">
                  <c:v>0.51</c:v>
                </c:pt>
                <c:pt idx="417">
                  <c:v>0.89</c:v>
                </c:pt>
                <c:pt idx="418">
                  <c:v>0.81</c:v>
                </c:pt>
                <c:pt idx="419">
                  <c:v>0.56999999999999995</c:v>
                </c:pt>
                <c:pt idx="420">
                  <c:v>0.95</c:v>
                </c:pt>
                <c:pt idx="421">
                  <c:v>0.88</c:v>
                </c:pt>
                <c:pt idx="422">
                  <c:v>0.56999999999999995</c:v>
                </c:pt>
                <c:pt idx="423">
                  <c:v>0.21</c:v>
                </c:pt>
                <c:pt idx="424">
                  <c:v>0.24</c:v>
                </c:pt>
                <c:pt idx="425">
                  <c:v>0.9</c:v>
                </c:pt>
                <c:pt idx="426">
                  <c:v>0.96</c:v>
                </c:pt>
                <c:pt idx="427">
                  <c:v>0.76</c:v>
                </c:pt>
                <c:pt idx="428">
                  <c:v>0.19</c:v>
                </c:pt>
                <c:pt idx="429">
                  <c:v>0.82</c:v>
                </c:pt>
                <c:pt idx="430">
                  <c:v>0.68</c:v>
                </c:pt>
                <c:pt idx="431">
                  <c:v>0.94</c:v>
                </c:pt>
                <c:pt idx="432">
                  <c:v>0.81</c:v>
                </c:pt>
                <c:pt idx="433">
                  <c:v>0.87</c:v>
                </c:pt>
                <c:pt idx="434">
                  <c:v>0.89</c:v>
                </c:pt>
                <c:pt idx="435">
                  <c:v>0.85</c:v>
                </c:pt>
                <c:pt idx="436">
                  <c:v>0.97</c:v>
                </c:pt>
                <c:pt idx="437">
                  <c:v>0.78</c:v>
                </c:pt>
                <c:pt idx="438">
                  <c:v>0.63</c:v>
                </c:pt>
                <c:pt idx="439">
                  <c:v>0.56000000000000005</c:v>
                </c:pt>
                <c:pt idx="440">
                  <c:v>0.92</c:v>
                </c:pt>
                <c:pt idx="441">
                  <c:v>0.91</c:v>
                </c:pt>
                <c:pt idx="442">
                  <c:v>0.9</c:v>
                </c:pt>
                <c:pt idx="443">
                  <c:v>0.68</c:v>
                </c:pt>
                <c:pt idx="444">
                  <c:v>0.72</c:v>
                </c:pt>
                <c:pt idx="445">
                  <c:v>0.91</c:v>
                </c:pt>
                <c:pt idx="446">
                  <c:v>0.06</c:v>
                </c:pt>
                <c:pt idx="447">
                  <c:v>0.85</c:v>
                </c:pt>
                <c:pt idx="448">
                  <c:v>0.57999999999999996</c:v>
                </c:pt>
                <c:pt idx="449">
                  <c:v>0.8</c:v>
                </c:pt>
                <c:pt idx="450">
                  <c:v>0.63</c:v>
                </c:pt>
                <c:pt idx="451">
                  <c:v>0.78</c:v>
                </c:pt>
                <c:pt idx="452">
                  <c:v>0.45</c:v>
                </c:pt>
                <c:pt idx="453">
                  <c:v>0.65</c:v>
                </c:pt>
                <c:pt idx="454">
                  <c:v>0.63</c:v>
                </c:pt>
                <c:pt idx="455">
                  <c:v>0.44</c:v>
                </c:pt>
                <c:pt idx="456">
                  <c:v>0.56999999999999995</c:v>
                </c:pt>
                <c:pt idx="457">
                  <c:v>0.68</c:v>
                </c:pt>
                <c:pt idx="458">
                  <c:v>0.76</c:v>
                </c:pt>
                <c:pt idx="459">
                  <c:v>0.87</c:v>
                </c:pt>
                <c:pt idx="460">
                  <c:v>0.64</c:v>
                </c:pt>
                <c:pt idx="461">
                  <c:v>0.87</c:v>
                </c:pt>
                <c:pt idx="462">
                  <c:v>0.24</c:v>
                </c:pt>
                <c:pt idx="463">
                  <c:v>0.59</c:v>
                </c:pt>
                <c:pt idx="464">
                  <c:v>0.95</c:v>
                </c:pt>
                <c:pt idx="465">
                  <c:v>0.54</c:v>
                </c:pt>
                <c:pt idx="466">
                  <c:v>0.6</c:v>
                </c:pt>
                <c:pt idx="467">
                  <c:v>0.49</c:v>
                </c:pt>
                <c:pt idx="468">
                  <c:v>0.95</c:v>
                </c:pt>
                <c:pt idx="469">
                  <c:v>0.87</c:v>
                </c:pt>
                <c:pt idx="470">
                  <c:v>0.85</c:v>
                </c:pt>
                <c:pt idx="471">
                  <c:v>0.76</c:v>
                </c:pt>
                <c:pt idx="472">
                  <c:v>0.34</c:v>
                </c:pt>
                <c:pt idx="473">
                  <c:v>0.84</c:v>
                </c:pt>
                <c:pt idx="474">
                  <c:v>0.89</c:v>
                </c:pt>
                <c:pt idx="475">
                  <c:v>0.95</c:v>
                </c:pt>
                <c:pt idx="476">
                  <c:v>0.79</c:v>
                </c:pt>
                <c:pt idx="477">
                  <c:v>0.62</c:v>
                </c:pt>
                <c:pt idx="478">
                  <c:v>0.01</c:v>
                </c:pt>
                <c:pt idx="479">
                  <c:v>0.83</c:v>
                </c:pt>
                <c:pt idx="480">
                  <c:v>0.94</c:v>
                </c:pt>
                <c:pt idx="481">
                  <c:v>0.89</c:v>
                </c:pt>
                <c:pt idx="482">
                  <c:v>0.81</c:v>
                </c:pt>
                <c:pt idx="483">
                  <c:v>0.69</c:v>
                </c:pt>
                <c:pt idx="484">
                  <c:v>0.83</c:v>
                </c:pt>
                <c:pt idx="485">
                  <c:v>0.66</c:v>
                </c:pt>
                <c:pt idx="486">
                  <c:v>0.55000000000000004</c:v>
                </c:pt>
                <c:pt idx="487">
                  <c:v>0.44</c:v>
                </c:pt>
                <c:pt idx="488">
                  <c:v>7.0000000000000007E-2</c:v>
                </c:pt>
                <c:pt idx="489">
                  <c:v>0.9</c:v>
                </c:pt>
                <c:pt idx="490">
                  <c:v>0.61</c:v>
                </c:pt>
                <c:pt idx="491">
                  <c:v>0.7</c:v>
                </c:pt>
                <c:pt idx="492">
                  <c:v>0.74</c:v>
                </c:pt>
                <c:pt idx="493">
                  <c:v>0.2</c:v>
                </c:pt>
                <c:pt idx="494">
                  <c:v>0.41</c:v>
                </c:pt>
                <c:pt idx="495">
                  <c:v>0.41</c:v>
                </c:pt>
                <c:pt idx="496">
                  <c:v>0.46</c:v>
                </c:pt>
                <c:pt idx="497">
                  <c:v>0.4</c:v>
                </c:pt>
                <c:pt idx="498">
                  <c:v>0.46</c:v>
                </c:pt>
                <c:pt idx="499">
                  <c:v>0.86</c:v>
                </c:pt>
                <c:pt idx="500">
                  <c:v>0.7</c:v>
                </c:pt>
                <c:pt idx="501">
                  <c:v>0.94</c:v>
                </c:pt>
                <c:pt idx="502">
                  <c:v>0.06</c:v>
                </c:pt>
                <c:pt idx="503">
                  <c:v>0.37</c:v>
                </c:pt>
                <c:pt idx="504">
                  <c:v>0.75</c:v>
                </c:pt>
                <c:pt idx="505">
                  <c:v>0.6</c:v>
                </c:pt>
                <c:pt idx="506">
                  <c:v>0.45</c:v>
                </c:pt>
                <c:pt idx="507">
                  <c:v>0.26</c:v>
                </c:pt>
                <c:pt idx="508">
                  <c:v>0.39</c:v>
                </c:pt>
                <c:pt idx="509">
                  <c:v>0.44</c:v>
                </c:pt>
                <c:pt idx="510">
                  <c:v>0.93</c:v>
                </c:pt>
                <c:pt idx="511">
                  <c:v>0.56000000000000005</c:v>
                </c:pt>
                <c:pt idx="512">
                  <c:v>0.68</c:v>
                </c:pt>
                <c:pt idx="513">
                  <c:v>0.31</c:v>
                </c:pt>
                <c:pt idx="514">
                  <c:v>0.46</c:v>
                </c:pt>
                <c:pt idx="515">
                  <c:v>0.59</c:v>
                </c:pt>
                <c:pt idx="516">
                  <c:v>0.88</c:v>
                </c:pt>
                <c:pt idx="517">
                  <c:v>0.31</c:v>
                </c:pt>
                <c:pt idx="518">
                  <c:v>0.68</c:v>
                </c:pt>
                <c:pt idx="519">
                  <c:v>0.24</c:v>
                </c:pt>
                <c:pt idx="520">
                  <c:v>0.43</c:v>
                </c:pt>
                <c:pt idx="521">
                  <c:v>0.33</c:v>
                </c:pt>
                <c:pt idx="522">
                  <c:v>0.84</c:v>
                </c:pt>
                <c:pt idx="523">
                  <c:v>0.44</c:v>
                </c:pt>
                <c:pt idx="524">
                  <c:v>0.93</c:v>
                </c:pt>
                <c:pt idx="525">
                  <c:v>0.56000000000000005</c:v>
                </c:pt>
                <c:pt idx="526">
                  <c:v>0.73</c:v>
                </c:pt>
                <c:pt idx="527">
                  <c:v>0.46</c:v>
                </c:pt>
                <c:pt idx="528">
                  <c:v>0.75</c:v>
                </c:pt>
                <c:pt idx="529">
                  <c:v>0.19</c:v>
                </c:pt>
                <c:pt idx="530">
                  <c:v>0.48</c:v>
                </c:pt>
                <c:pt idx="531">
                  <c:v>0.8</c:v>
                </c:pt>
                <c:pt idx="532">
                  <c:v>0.4</c:v>
                </c:pt>
                <c:pt idx="533">
                  <c:v>0.84</c:v>
                </c:pt>
                <c:pt idx="534">
                  <c:v>0.5</c:v>
                </c:pt>
                <c:pt idx="535">
                  <c:v>0.73</c:v>
                </c:pt>
                <c:pt idx="536">
                  <c:v>0.82</c:v>
                </c:pt>
                <c:pt idx="537">
                  <c:v>0.9</c:v>
                </c:pt>
                <c:pt idx="538">
                  <c:v>0.68</c:v>
                </c:pt>
                <c:pt idx="539">
                  <c:v>0.36</c:v>
                </c:pt>
                <c:pt idx="540">
                  <c:v>0.36</c:v>
                </c:pt>
                <c:pt idx="541">
                  <c:v>0.11</c:v>
                </c:pt>
                <c:pt idx="542">
                  <c:v>0.94</c:v>
                </c:pt>
                <c:pt idx="543">
                  <c:v>0.06</c:v>
                </c:pt>
                <c:pt idx="544">
                  <c:v>0.1</c:v>
                </c:pt>
                <c:pt idx="545">
                  <c:v>0.7</c:v>
                </c:pt>
                <c:pt idx="546">
                  <c:v>0.11</c:v>
                </c:pt>
                <c:pt idx="547">
                  <c:v>0.18</c:v>
                </c:pt>
                <c:pt idx="548">
                  <c:v>0.92</c:v>
                </c:pt>
                <c:pt idx="549">
                  <c:v>0.81</c:v>
                </c:pt>
                <c:pt idx="550">
                  <c:v>0.43</c:v>
                </c:pt>
                <c:pt idx="551">
                  <c:v>0.71</c:v>
                </c:pt>
                <c:pt idx="552">
                  <c:v>0.24</c:v>
                </c:pt>
                <c:pt idx="553">
                  <c:v>0.53</c:v>
                </c:pt>
                <c:pt idx="554">
                  <c:v>0.24</c:v>
                </c:pt>
                <c:pt idx="555">
                  <c:v>0.39</c:v>
                </c:pt>
                <c:pt idx="556">
                  <c:v>0.92</c:v>
                </c:pt>
                <c:pt idx="557">
                  <c:v>0.27</c:v>
                </c:pt>
                <c:pt idx="558">
                  <c:v>0.89</c:v>
                </c:pt>
                <c:pt idx="559">
                  <c:v>0.35</c:v>
                </c:pt>
                <c:pt idx="560">
                  <c:v>0.7</c:v>
                </c:pt>
                <c:pt idx="561">
                  <c:v>0.74</c:v>
                </c:pt>
                <c:pt idx="562">
                  <c:v>0.82</c:v>
                </c:pt>
                <c:pt idx="563">
                  <c:v>0.05</c:v>
                </c:pt>
                <c:pt idx="564">
                  <c:v>0.86</c:v>
                </c:pt>
                <c:pt idx="565">
                  <c:v>0.22</c:v>
                </c:pt>
                <c:pt idx="566">
                  <c:v>0.89</c:v>
                </c:pt>
                <c:pt idx="567">
                  <c:v>0.3</c:v>
                </c:pt>
                <c:pt idx="568">
                  <c:v>0.32</c:v>
                </c:pt>
                <c:pt idx="569">
                  <c:v>0.21</c:v>
                </c:pt>
                <c:pt idx="570">
                  <c:v>0.75</c:v>
                </c:pt>
                <c:pt idx="571">
                  <c:v>0.94</c:v>
                </c:pt>
                <c:pt idx="572">
                  <c:v>0.09</c:v>
                </c:pt>
                <c:pt idx="573">
                  <c:v>0.21</c:v>
                </c:pt>
                <c:pt idx="574">
                  <c:v>0.17</c:v>
                </c:pt>
                <c:pt idx="575">
                  <c:v>0.83</c:v>
                </c:pt>
                <c:pt idx="576">
                  <c:v>0.13</c:v>
                </c:pt>
                <c:pt idx="577">
                  <c:v>0.22</c:v>
                </c:pt>
                <c:pt idx="578">
                  <c:v>0.04</c:v>
                </c:pt>
                <c:pt idx="579">
                  <c:v>0.12</c:v>
                </c:pt>
                <c:pt idx="580">
                  <c:v>0.13</c:v>
                </c:pt>
                <c:pt idx="581">
                  <c:v>7.0000000000000007E-2</c:v>
                </c:pt>
                <c:pt idx="582">
                  <c:v>0.28000000000000003</c:v>
                </c:pt>
                <c:pt idx="583">
                  <c:v>0.12</c:v>
                </c:pt>
                <c:pt idx="584">
                  <c:v>0.3</c:v>
                </c:pt>
                <c:pt idx="585">
                  <c:v>0.1</c:v>
                </c:pt>
                <c:pt idx="586">
                  <c:v>0.39</c:v>
                </c:pt>
                <c:pt idx="587">
                  <c:v>0.1</c:v>
                </c:pt>
                <c:pt idx="588">
                  <c:v>0.18</c:v>
                </c:pt>
                <c:pt idx="589">
                  <c:v>0.47</c:v>
                </c:pt>
                <c:pt idx="590">
                  <c:v>0.65</c:v>
                </c:pt>
                <c:pt idx="591">
                  <c:v>0.47</c:v>
                </c:pt>
                <c:pt idx="592">
                  <c:v>0.93</c:v>
                </c:pt>
                <c:pt idx="593">
                  <c:v>0.35</c:v>
                </c:pt>
                <c:pt idx="594">
                  <c:v>0.19</c:v>
                </c:pt>
                <c:pt idx="595">
                  <c:v>0.54</c:v>
                </c:pt>
                <c:pt idx="596">
                  <c:v>0.34</c:v>
                </c:pt>
                <c:pt idx="597">
                  <c:v>0.27</c:v>
                </c:pt>
                <c:pt idx="598">
                  <c:v>0.48</c:v>
                </c:pt>
                <c:pt idx="599">
                  <c:v>0.24</c:v>
                </c:pt>
                <c:pt idx="600">
                  <c:v>0.13</c:v>
                </c:pt>
                <c:pt idx="601">
                  <c:v>0.04</c:v>
                </c:pt>
                <c:pt idx="602">
                  <c:v>0.37</c:v>
                </c:pt>
                <c:pt idx="603">
                  <c:v>0.42</c:v>
                </c:pt>
                <c:pt idx="604">
                  <c:v>0.77</c:v>
                </c:pt>
                <c:pt idx="605">
                  <c:v>0.17</c:v>
                </c:pt>
                <c:pt idx="606">
                  <c:v>0.56000000000000005</c:v>
                </c:pt>
                <c:pt idx="607">
                  <c:v>0.13</c:v>
                </c:pt>
                <c:pt idx="608">
                  <c:v>0.18</c:v>
                </c:pt>
                <c:pt idx="609">
                  <c:v>0.4</c:v>
                </c:pt>
                <c:pt idx="610">
                  <c:v>0.28999999999999998</c:v>
                </c:pt>
                <c:pt idx="611">
                  <c:v>0.6</c:v>
                </c:pt>
                <c:pt idx="612">
                  <c:v>0.91</c:v>
                </c:pt>
                <c:pt idx="613">
                  <c:v>0.36</c:v>
                </c:pt>
                <c:pt idx="614">
                  <c:v>0.09</c:v>
                </c:pt>
                <c:pt idx="615">
                  <c:v>0.11</c:v>
                </c:pt>
                <c:pt idx="616">
                  <c:v>0.21</c:v>
                </c:pt>
                <c:pt idx="617">
                  <c:v>7.0000000000000007E-2</c:v>
                </c:pt>
                <c:pt idx="618">
                  <c:v>0.04</c:v>
                </c:pt>
                <c:pt idx="619">
                  <c:v>0.17</c:v>
                </c:pt>
                <c:pt idx="620">
                  <c:v>0.88</c:v>
                </c:pt>
                <c:pt idx="621">
                  <c:v>0.24</c:v>
                </c:pt>
                <c:pt idx="622">
                  <c:v>0.13</c:v>
                </c:pt>
                <c:pt idx="623">
                  <c:v>0.11</c:v>
                </c:pt>
                <c:pt idx="624">
                  <c:v>0.75</c:v>
                </c:pt>
                <c:pt idx="625">
                  <c:v>0.4</c:v>
                </c:pt>
                <c:pt idx="626">
                  <c:v>0.24</c:v>
                </c:pt>
                <c:pt idx="627">
                  <c:v>0.19</c:v>
                </c:pt>
                <c:pt idx="628">
                  <c:v>0.3</c:v>
                </c:pt>
                <c:pt idx="629">
                  <c:v>0.43</c:v>
                </c:pt>
                <c:pt idx="630">
                  <c:v>0.12</c:v>
                </c:pt>
                <c:pt idx="631">
                  <c:v>0.28000000000000003</c:v>
                </c:pt>
                <c:pt idx="632">
                  <c:v>0.86</c:v>
                </c:pt>
                <c:pt idx="633">
                  <c:v>0.06</c:v>
                </c:pt>
                <c:pt idx="634">
                  <c:v>0.09</c:v>
                </c:pt>
                <c:pt idx="635">
                  <c:v>0.12</c:v>
                </c:pt>
                <c:pt idx="636">
                  <c:v>0.42</c:v>
                </c:pt>
                <c:pt idx="637">
                  <c:v>0.3</c:v>
                </c:pt>
                <c:pt idx="638">
                  <c:v>0.95</c:v>
                </c:pt>
                <c:pt idx="639">
                  <c:v>0.02</c:v>
                </c:pt>
                <c:pt idx="640">
                  <c:v>0.53</c:v>
                </c:pt>
                <c:pt idx="641">
                  <c:v>0.09</c:v>
                </c:pt>
                <c:pt idx="642">
                  <c:v>0.18</c:v>
                </c:pt>
                <c:pt idx="643">
                  <c:v>0.56000000000000005</c:v>
                </c:pt>
                <c:pt idx="644">
                  <c:v>0.28000000000000003</c:v>
                </c:pt>
                <c:pt idx="645">
                  <c:v>0.05</c:v>
                </c:pt>
                <c:pt idx="646">
                  <c:v>0.19</c:v>
                </c:pt>
                <c:pt idx="647">
                  <c:v>0.31</c:v>
                </c:pt>
                <c:pt idx="648">
                  <c:v>0.24</c:v>
                </c:pt>
                <c:pt idx="649">
                  <c:v>0.24</c:v>
                </c:pt>
                <c:pt idx="650">
                  <c:v>0.22</c:v>
                </c:pt>
                <c:pt idx="651">
                  <c:v>0.27</c:v>
                </c:pt>
                <c:pt idx="652">
                  <c:v>0.43</c:v>
                </c:pt>
                <c:pt idx="653">
                  <c:v>0.17</c:v>
                </c:pt>
                <c:pt idx="654">
                  <c:v>0.33</c:v>
                </c:pt>
                <c:pt idx="655">
                  <c:v>0.27</c:v>
                </c:pt>
                <c:pt idx="656">
                  <c:v>0.26</c:v>
                </c:pt>
                <c:pt idx="657">
                  <c:v>0.17</c:v>
                </c:pt>
                <c:pt idx="658">
                  <c:v>0.26</c:v>
                </c:pt>
                <c:pt idx="659">
                  <c:v>0.13</c:v>
                </c:pt>
                <c:pt idx="660">
                  <c:v>0.5</c:v>
                </c:pt>
                <c:pt idx="661">
                  <c:v>0.24</c:v>
                </c:pt>
                <c:pt idx="662">
                  <c:v>0.05</c:v>
                </c:pt>
                <c:pt idx="663">
                  <c:v>0.12</c:v>
                </c:pt>
                <c:pt idx="664">
                  <c:v>0.16</c:v>
                </c:pt>
                <c:pt idx="665">
                  <c:v>0.39</c:v>
                </c:pt>
                <c:pt idx="666">
                  <c:v>0.94</c:v>
                </c:pt>
                <c:pt idx="667">
                  <c:v>0.26</c:v>
                </c:pt>
                <c:pt idx="668">
                  <c:v>7.0000000000000007E-2</c:v>
                </c:pt>
                <c:pt idx="669">
                  <c:v>0.19</c:v>
                </c:pt>
                <c:pt idx="670">
                  <c:v>0.15</c:v>
                </c:pt>
                <c:pt idx="671">
                  <c:v>0.56000000000000005</c:v>
                </c:pt>
                <c:pt idx="672">
                  <c:v>0.03</c:v>
                </c:pt>
                <c:pt idx="673">
                  <c:v>0.11</c:v>
                </c:pt>
                <c:pt idx="674">
                  <c:v>0.24</c:v>
                </c:pt>
                <c:pt idx="675">
                  <c:v>0.02</c:v>
                </c:pt>
                <c:pt idx="676">
                  <c:v>0.81</c:v>
                </c:pt>
                <c:pt idx="677">
                  <c:v>0.06</c:v>
                </c:pt>
                <c:pt idx="678">
                  <c:v>0.16</c:v>
                </c:pt>
                <c:pt idx="679">
                  <c:v>0.05</c:v>
                </c:pt>
                <c:pt idx="680">
                  <c:v>0.67</c:v>
                </c:pt>
                <c:pt idx="681">
                  <c:v>0.13</c:v>
                </c:pt>
                <c:pt idx="682">
                  <c:v>0.25</c:v>
                </c:pt>
                <c:pt idx="683">
                  <c:v>0.9</c:v>
                </c:pt>
                <c:pt idx="684">
                  <c:v>0.02</c:v>
                </c:pt>
                <c:pt idx="685">
                  <c:v>0.28999999999999998</c:v>
                </c:pt>
                <c:pt idx="686">
                  <c:v>0.04</c:v>
                </c:pt>
                <c:pt idx="687">
                  <c:v>0.23</c:v>
                </c:pt>
                <c:pt idx="688">
                  <c:v>0.53</c:v>
                </c:pt>
                <c:pt idx="689">
                  <c:v>0.28000000000000003</c:v>
                </c:pt>
                <c:pt idx="690">
                  <c:v>0.08</c:v>
                </c:pt>
                <c:pt idx="691">
                  <c:v>7.0000000000000007E-2</c:v>
                </c:pt>
                <c:pt idx="692">
                  <c:v>0.17</c:v>
                </c:pt>
                <c:pt idx="693">
                  <c:v>0.16</c:v>
                </c:pt>
                <c:pt idx="694">
                  <c:v>7.0000000000000007E-2</c:v>
                </c:pt>
                <c:pt idx="695">
                  <c:v>0.15</c:v>
                </c:pt>
                <c:pt idx="696">
                  <c:v>0.82</c:v>
                </c:pt>
                <c:pt idx="697">
                  <c:v>0.23</c:v>
                </c:pt>
                <c:pt idx="698">
                  <c:v>0.26</c:v>
                </c:pt>
                <c:pt idx="699">
                  <c:v>0.03</c:v>
                </c:pt>
                <c:pt idx="700">
                  <c:v>0.14000000000000001</c:v>
                </c:pt>
                <c:pt idx="701">
                  <c:v>7.0000000000000007E-2</c:v>
                </c:pt>
                <c:pt idx="702">
                  <c:v>7.0000000000000007E-2</c:v>
                </c:pt>
                <c:pt idx="703">
                  <c:v>0.85</c:v>
                </c:pt>
                <c:pt idx="704">
                  <c:v>0.24</c:v>
                </c:pt>
                <c:pt idx="705">
                  <c:v>0.67</c:v>
                </c:pt>
                <c:pt idx="706">
                  <c:v>0.67</c:v>
                </c:pt>
                <c:pt idx="707">
                  <c:v>0.21</c:v>
                </c:pt>
                <c:pt idx="708">
                  <c:v>0.23</c:v>
                </c:pt>
                <c:pt idx="709">
                  <c:v>0.14000000000000001</c:v>
                </c:pt>
                <c:pt idx="710">
                  <c:v>0.35</c:v>
                </c:pt>
                <c:pt idx="711">
                  <c:v>0.36</c:v>
                </c:pt>
                <c:pt idx="712">
                  <c:v>0.08</c:v>
                </c:pt>
                <c:pt idx="713">
                  <c:v>0.25</c:v>
                </c:pt>
                <c:pt idx="714">
                  <c:v>0.22</c:v>
                </c:pt>
                <c:pt idx="715">
                  <c:v>0.21</c:v>
                </c:pt>
                <c:pt idx="716">
                  <c:v>0.31</c:v>
                </c:pt>
                <c:pt idx="717">
                  <c:v>0.16</c:v>
                </c:pt>
                <c:pt idx="718">
                  <c:v>0.1</c:v>
                </c:pt>
                <c:pt idx="719">
                  <c:v>0.26</c:v>
                </c:pt>
                <c:pt idx="720">
                  <c:v>0.1</c:v>
                </c:pt>
                <c:pt idx="721">
                  <c:v>0.3</c:v>
                </c:pt>
                <c:pt idx="722">
                  <c:v>0.31</c:v>
                </c:pt>
                <c:pt idx="723">
                  <c:v>0.01</c:v>
                </c:pt>
                <c:pt idx="724">
                  <c:v>0.18</c:v>
                </c:pt>
                <c:pt idx="725">
                  <c:v>0.1</c:v>
                </c:pt>
                <c:pt idx="726">
                  <c:v>0.25</c:v>
                </c:pt>
                <c:pt idx="727">
                  <c:v>0.18</c:v>
                </c:pt>
                <c:pt idx="728">
                  <c:v>0.28000000000000003</c:v>
                </c:pt>
                <c:pt idx="729">
                  <c:v>0.33</c:v>
                </c:pt>
                <c:pt idx="730">
                  <c:v>0.2</c:v>
                </c:pt>
                <c:pt idx="731">
                  <c:v>0.12</c:v>
                </c:pt>
                <c:pt idx="732">
                  <c:v>0.2</c:v>
                </c:pt>
                <c:pt idx="733">
                  <c:v>0.13</c:v>
                </c:pt>
                <c:pt idx="734">
                  <c:v>0.08</c:v>
                </c:pt>
                <c:pt idx="735">
                  <c:v>0.18</c:v>
                </c:pt>
                <c:pt idx="736">
                  <c:v>0.14000000000000001</c:v>
                </c:pt>
                <c:pt idx="737">
                  <c:v>0.83</c:v>
                </c:pt>
                <c:pt idx="738">
                  <c:v>0.49</c:v>
                </c:pt>
                <c:pt idx="739">
                  <c:v>0.04</c:v>
                </c:pt>
                <c:pt idx="740">
                  <c:v>0.13</c:v>
                </c:pt>
                <c:pt idx="741">
                  <c:v>7.0000000000000007E-2</c:v>
                </c:pt>
                <c:pt idx="742">
                  <c:v>0.15</c:v>
                </c:pt>
                <c:pt idx="743">
                  <c:v>0.03</c:v>
                </c:pt>
                <c:pt idx="744">
                  <c:v>0.11</c:v>
                </c:pt>
                <c:pt idx="745">
                  <c:v>0.16</c:v>
                </c:pt>
                <c:pt idx="746">
                  <c:v>0.04</c:v>
                </c:pt>
                <c:pt idx="747">
                  <c:v>0.1</c:v>
                </c:pt>
                <c:pt idx="748">
                  <c:v>0.15</c:v>
                </c:pt>
                <c:pt idx="749">
                  <c:v>0.86</c:v>
                </c:pt>
                <c:pt idx="750">
                  <c:v>7.0000000000000007E-2</c:v>
                </c:pt>
                <c:pt idx="751">
                  <c:v>0.06</c:v>
                </c:pt>
                <c:pt idx="752">
                  <c:v>0.13</c:v>
                </c:pt>
                <c:pt idx="753">
                  <c:v>0.31</c:v>
                </c:pt>
                <c:pt idx="754">
                  <c:v>0.04</c:v>
                </c:pt>
                <c:pt idx="755">
                  <c:v>0.05</c:v>
                </c:pt>
                <c:pt idx="756">
                  <c:v>0.5</c:v>
                </c:pt>
                <c:pt idx="757">
                  <c:v>0.05</c:v>
                </c:pt>
                <c:pt idx="758">
                  <c:v>0.25</c:v>
                </c:pt>
                <c:pt idx="759">
                  <c:v>0.03</c:v>
                </c:pt>
                <c:pt idx="760">
                  <c:v>0.61</c:v>
                </c:pt>
                <c:pt idx="761">
                  <c:v>0.31</c:v>
                </c:pt>
                <c:pt idx="762">
                  <c:v>0.14000000000000001</c:v>
                </c:pt>
                <c:pt idx="763">
                  <c:v>0.06</c:v>
                </c:pt>
                <c:pt idx="764">
                  <c:v>0.13</c:v>
                </c:pt>
                <c:pt idx="765">
                  <c:v>0.84</c:v>
                </c:pt>
                <c:pt idx="766">
                  <c:v>0.28999999999999998</c:v>
                </c:pt>
                <c:pt idx="767">
                  <c:v>0.15</c:v>
                </c:pt>
                <c:pt idx="768">
                  <c:v>0.1</c:v>
                </c:pt>
                <c:pt idx="769">
                  <c:v>0.21</c:v>
                </c:pt>
                <c:pt idx="770">
                  <c:v>0.12</c:v>
                </c:pt>
                <c:pt idx="771">
                  <c:v>0.56999999999999995</c:v>
                </c:pt>
                <c:pt idx="772">
                  <c:v>0.05</c:v>
                </c:pt>
                <c:pt idx="773">
                  <c:v>0.18</c:v>
                </c:pt>
                <c:pt idx="774">
                  <c:v>0.59</c:v>
                </c:pt>
                <c:pt idx="775">
                  <c:v>7.0000000000000007E-2</c:v>
                </c:pt>
                <c:pt idx="776">
                  <c:v>0.1</c:v>
                </c:pt>
                <c:pt idx="777">
                  <c:v>0.04</c:v>
                </c:pt>
                <c:pt idx="778">
                  <c:v>0.08</c:v>
                </c:pt>
                <c:pt idx="779">
                  <c:v>0.1</c:v>
                </c:pt>
                <c:pt idx="780">
                  <c:v>0.46</c:v>
                </c:pt>
                <c:pt idx="781">
                  <c:v>0.12</c:v>
                </c:pt>
                <c:pt idx="782">
                  <c:v>0.12</c:v>
                </c:pt>
                <c:pt idx="783">
                  <c:v>0.41</c:v>
                </c:pt>
                <c:pt idx="784">
                  <c:v>0.12</c:v>
                </c:pt>
                <c:pt idx="785">
                  <c:v>0.15</c:v>
                </c:pt>
                <c:pt idx="786">
                  <c:v>7.0000000000000007E-2</c:v>
                </c:pt>
                <c:pt idx="787">
                  <c:v>0.16</c:v>
                </c:pt>
                <c:pt idx="788">
                  <c:v>0.26</c:v>
                </c:pt>
                <c:pt idx="789">
                  <c:v>0.16</c:v>
                </c:pt>
                <c:pt idx="790">
                  <c:v>7.0000000000000007E-2</c:v>
                </c:pt>
                <c:pt idx="791">
                  <c:v>0.68</c:v>
                </c:pt>
                <c:pt idx="792">
                  <c:v>0.05</c:v>
                </c:pt>
                <c:pt idx="793">
                  <c:v>0.06</c:v>
                </c:pt>
                <c:pt idx="794">
                  <c:v>0.12</c:v>
                </c:pt>
                <c:pt idx="795">
                  <c:v>0.08</c:v>
                </c:pt>
                <c:pt idx="796">
                  <c:v>0.03</c:v>
                </c:pt>
                <c:pt idx="797">
                  <c:v>0.04</c:v>
                </c:pt>
                <c:pt idx="798">
                  <c:v>0.02</c:v>
                </c:pt>
                <c:pt idx="799">
                  <c:v>0.17</c:v>
                </c:pt>
                <c:pt idx="800">
                  <c:v>0.06</c:v>
                </c:pt>
                <c:pt idx="801">
                  <c:v>0.08</c:v>
                </c:pt>
                <c:pt idx="802">
                  <c:v>0.8</c:v>
                </c:pt>
                <c:pt idx="803">
                  <c:v>0.03</c:v>
                </c:pt>
                <c:pt idx="804">
                  <c:v>0.03</c:v>
                </c:pt>
                <c:pt idx="805">
                  <c:v>0.09</c:v>
                </c:pt>
                <c:pt idx="806">
                  <c:v>0.11</c:v>
                </c:pt>
                <c:pt idx="807">
                  <c:v>0.25</c:v>
                </c:pt>
                <c:pt idx="808">
                  <c:v>0.86</c:v>
                </c:pt>
                <c:pt idx="809">
                  <c:v>0.24</c:v>
                </c:pt>
                <c:pt idx="810">
                  <c:v>0.06</c:v>
                </c:pt>
                <c:pt idx="811">
                  <c:v>0.06</c:v>
                </c:pt>
                <c:pt idx="812">
                  <c:v>7.0000000000000007E-2</c:v>
                </c:pt>
                <c:pt idx="813">
                  <c:v>0.05</c:v>
                </c:pt>
                <c:pt idx="814">
                  <c:v>0.02</c:v>
                </c:pt>
                <c:pt idx="815">
                  <c:v>0.56000000000000005</c:v>
                </c:pt>
                <c:pt idx="816">
                  <c:v>0.15</c:v>
                </c:pt>
                <c:pt idx="817">
                  <c:v>0.8</c:v>
                </c:pt>
                <c:pt idx="818">
                  <c:v>7.0000000000000007E-2</c:v>
                </c:pt>
                <c:pt idx="819">
                  <c:v>0.28000000000000003</c:v>
                </c:pt>
                <c:pt idx="820">
                  <c:v>0.04</c:v>
                </c:pt>
                <c:pt idx="821">
                  <c:v>0.13</c:v>
                </c:pt>
                <c:pt idx="822">
                  <c:v>0.17</c:v>
                </c:pt>
                <c:pt idx="823">
                  <c:v>0.04</c:v>
                </c:pt>
                <c:pt idx="824">
                  <c:v>0.7</c:v>
                </c:pt>
                <c:pt idx="825">
                  <c:v>0.23</c:v>
                </c:pt>
                <c:pt idx="826">
                  <c:v>0.01</c:v>
                </c:pt>
                <c:pt idx="827">
                  <c:v>0.14000000000000001</c:v>
                </c:pt>
                <c:pt idx="828">
                  <c:v>0.04</c:v>
                </c:pt>
                <c:pt idx="829">
                  <c:v>7.0000000000000007E-2</c:v>
                </c:pt>
                <c:pt idx="830">
                  <c:v>0.3</c:v>
                </c:pt>
                <c:pt idx="831">
                  <c:v>0.15</c:v>
                </c:pt>
                <c:pt idx="832">
                  <c:v>0.14000000000000001</c:v>
                </c:pt>
                <c:pt idx="833">
                  <c:v>0.04</c:v>
                </c:pt>
                <c:pt idx="834">
                  <c:v>0.03</c:v>
                </c:pt>
                <c:pt idx="835">
                  <c:v>0.72</c:v>
                </c:pt>
                <c:pt idx="836">
                  <c:v>0.14000000000000001</c:v>
                </c:pt>
                <c:pt idx="837">
                  <c:v>0.04</c:v>
                </c:pt>
                <c:pt idx="838">
                  <c:v>0.28000000000000003</c:v>
                </c:pt>
                <c:pt idx="839">
                  <c:v>0.28000000000000003</c:v>
                </c:pt>
                <c:pt idx="840">
                  <c:v>0.04</c:v>
                </c:pt>
                <c:pt idx="841">
                  <c:v>7.0000000000000007E-2</c:v>
                </c:pt>
                <c:pt idx="842">
                  <c:v>0.04</c:v>
                </c:pt>
                <c:pt idx="843">
                  <c:v>0.05</c:v>
                </c:pt>
                <c:pt idx="844">
                  <c:v>0.7</c:v>
                </c:pt>
                <c:pt idx="845">
                  <c:v>0.01</c:v>
                </c:pt>
                <c:pt idx="846">
                  <c:v>0.08</c:v>
                </c:pt>
                <c:pt idx="847">
                  <c:v>0.08</c:v>
                </c:pt>
                <c:pt idx="848">
                  <c:v>0.01</c:v>
                </c:pt>
                <c:pt idx="849">
                  <c:v>0.12</c:v>
                </c:pt>
                <c:pt idx="850">
                  <c:v>0.11</c:v>
                </c:pt>
                <c:pt idx="851">
                  <c:v>0.15</c:v>
                </c:pt>
                <c:pt idx="852">
                  <c:v>0.05</c:v>
                </c:pt>
                <c:pt idx="853">
                  <c:v>0.05</c:v>
                </c:pt>
                <c:pt idx="854">
                  <c:v>0.05</c:v>
                </c:pt>
                <c:pt idx="855">
                  <c:v>0.04</c:v>
                </c:pt>
                <c:pt idx="856">
                  <c:v>0.4</c:v>
                </c:pt>
                <c:pt idx="857">
                  <c:v>0.05</c:v>
                </c:pt>
                <c:pt idx="858">
                  <c:v>0.06</c:v>
                </c:pt>
                <c:pt idx="859">
                  <c:v>0.04</c:v>
                </c:pt>
                <c:pt idx="860">
                  <c:v>0.05</c:v>
                </c:pt>
                <c:pt idx="861">
                  <c:v>0.28000000000000003</c:v>
                </c:pt>
                <c:pt idx="862">
                  <c:v>0.24</c:v>
                </c:pt>
                <c:pt idx="863">
                  <c:v>0.04</c:v>
                </c:pt>
                <c:pt idx="864">
                  <c:v>0.06</c:v>
                </c:pt>
                <c:pt idx="865">
                  <c:v>0.06</c:v>
                </c:pt>
                <c:pt idx="866">
                  <c:v>0.03</c:v>
                </c:pt>
                <c:pt idx="867">
                  <c:v>0.36</c:v>
                </c:pt>
                <c:pt idx="868">
                  <c:v>7.0000000000000007E-2</c:v>
                </c:pt>
                <c:pt idx="869">
                  <c:v>0.06</c:v>
                </c:pt>
                <c:pt idx="870">
                  <c:v>0.03</c:v>
                </c:pt>
                <c:pt idx="871">
                  <c:v>0.7</c:v>
                </c:pt>
                <c:pt idx="872">
                  <c:v>0.08</c:v>
                </c:pt>
                <c:pt idx="873">
                  <c:v>0.01</c:v>
                </c:pt>
                <c:pt idx="874">
                  <c:v>0.02</c:v>
                </c:pt>
                <c:pt idx="875">
                  <c:v>0.1</c:v>
                </c:pt>
                <c:pt idx="876">
                  <c:v>0.05</c:v>
                </c:pt>
                <c:pt idx="877">
                  <c:v>0.1</c:v>
                </c:pt>
                <c:pt idx="878">
                  <c:v>0.08</c:v>
                </c:pt>
                <c:pt idx="879">
                  <c:v>7.0000000000000007E-2</c:v>
                </c:pt>
                <c:pt idx="880">
                  <c:v>0.11</c:v>
                </c:pt>
                <c:pt idx="881">
                  <c:v>0.12</c:v>
                </c:pt>
                <c:pt idx="882">
                  <c:v>0.09</c:v>
                </c:pt>
                <c:pt idx="883">
                  <c:v>0.13</c:v>
                </c:pt>
                <c:pt idx="884">
                  <c:v>0.1</c:v>
                </c:pt>
                <c:pt idx="885">
                  <c:v>0.09</c:v>
                </c:pt>
                <c:pt idx="886">
                  <c:v>0.12</c:v>
                </c:pt>
                <c:pt idx="887">
                  <c:v>0.37</c:v>
                </c:pt>
                <c:pt idx="888">
                  <c:v>0.08</c:v>
                </c:pt>
                <c:pt idx="889">
                  <c:v>0.13</c:v>
                </c:pt>
                <c:pt idx="890">
                  <c:v>0.06</c:v>
                </c:pt>
                <c:pt idx="891">
                  <c:v>0.14000000000000001</c:v>
                </c:pt>
                <c:pt idx="892">
                  <c:v>0.06</c:v>
                </c:pt>
                <c:pt idx="893">
                  <c:v>0.04</c:v>
                </c:pt>
                <c:pt idx="894">
                  <c:v>0.16</c:v>
                </c:pt>
                <c:pt idx="895">
                  <c:v>0.03</c:v>
                </c:pt>
                <c:pt idx="896">
                  <c:v>0.16</c:v>
                </c:pt>
                <c:pt idx="897">
                  <c:v>0.01</c:v>
                </c:pt>
                <c:pt idx="898">
                  <c:v>0.04</c:v>
                </c:pt>
                <c:pt idx="899">
                  <c:v>0.04</c:v>
                </c:pt>
                <c:pt idx="900">
                  <c:v>0.08</c:v>
                </c:pt>
                <c:pt idx="901">
                  <c:v>0.16</c:v>
                </c:pt>
                <c:pt idx="902">
                  <c:v>0.44</c:v>
                </c:pt>
                <c:pt idx="903">
                  <c:v>0.01</c:v>
                </c:pt>
                <c:pt idx="904">
                  <c:v>0.73</c:v>
                </c:pt>
                <c:pt idx="905">
                  <c:v>0.02</c:v>
                </c:pt>
                <c:pt idx="906">
                  <c:v>0.08</c:v>
                </c:pt>
                <c:pt idx="907">
                  <c:v>0.15</c:v>
                </c:pt>
                <c:pt idx="908">
                  <c:v>0.1</c:v>
                </c:pt>
                <c:pt idx="909">
                  <c:v>0.09</c:v>
                </c:pt>
                <c:pt idx="910">
                  <c:v>0.05</c:v>
                </c:pt>
                <c:pt idx="911">
                  <c:v>0.04</c:v>
                </c:pt>
                <c:pt idx="912">
                  <c:v>0.23</c:v>
                </c:pt>
                <c:pt idx="913">
                  <c:v>0.02</c:v>
                </c:pt>
                <c:pt idx="914">
                  <c:v>0.05</c:v>
                </c:pt>
                <c:pt idx="915">
                  <c:v>0.02</c:v>
                </c:pt>
                <c:pt idx="916">
                  <c:v>0.11</c:v>
                </c:pt>
                <c:pt idx="917">
                  <c:v>0.02</c:v>
                </c:pt>
                <c:pt idx="918">
                  <c:v>7.0000000000000007E-2</c:v>
                </c:pt>
                <c:pt idx="919">
                  <c:v>0.1</c:v>
                </c:pt>
                <c:pt idx="920">
                  <c:v>0.03</c:v>
                </c:pt>
                <c:pt idx="921">
                  <c:v>0.39</c:v>
                </c:pt>
                <c:pt idx="922">
                  <c:v>0.14000000000000001</c:v>
                </c:pt>
                <c:pt idx="923">
                  <c:v>0.04</c:v>
                </c:pt>
                <c:pt idx="924">
                  <c:v>0.25</c:v>
                </c:pt>
                <c:pt idx="925">
                  <c:v>0.04</c:v>
                </c:pt>
                <c:pt idx="926">
                  <c:v>0.06</c:v>
                </c:pt>
                <c:pt idx="927">
                  <c:v>0.03</c:v>
                </c:pt>
                <c:pt idx="928">
                  <c:v>0.01</c:v>
                </c:pt>
                <c:pt idx="929">
                  <c:v>0.08</c:v>
                </c:pt>
                <c:pt idx="930">
                  <c:v>0.04</c:v>
                </c:pt>
                <c:pt idx="931">
                  <c:v>0.15</c:v>
                </c:pt>
                <c:pt idx="932">
                  <c:v>0.16</c:v>
                </c:pt>
                <c:pt idx="933">
                  <c:v>0.06</c:v>
                </c:pt>
                <c:pt idx="934">
                  <c:v>0.02</c:v>
                </c:pt>
                <c:pt idx="935">
                  <c:v>0.12</c:v>
                </c:pt>
                <c:pt idx="936">
                  <c:v>0.04</c:v>
                </c:pt>
                <c:pt idx="937">
                  <c:v>0.04</c:v>
                </c:pt>
                <c:pt idx="938">
                  <c:v>0.11</c:v>
                </c:pt>
                <c:pt idx="939">
                  <c:v>0.66</c:v>
                </c:pt>
                <c:pt idx="940">
                  <c:v>0.03</c:v>
                </c:pt>
                <c:pt idx="941">
                  <c:v>0.05</c:v>
                </c:pt>
                <c:pt idx="942">
                  <c:v>0.02</c:v>
                </c:pt>
                <c:pt idx="943">
                  <c:v>0.4</c:v>
                </c:pt>
                <c:pt idx="944">
                  <c:v>0.01</c:v>
                </c:pt>
                <c:pt idx="945">
                  <c:v>7.0000000000000007E-2</c:v>
                </c:pt>
                <c:pt idx="946">
                  <c:v>7.0000000000000007E-2</c:v>
                </c:pt>
                <c:pt idx="947">
                  <c:v>0.12</c:v>
                </c:pt>
                <c:pt idx="948">
                  <c:v>0.06</c:v>
                </c:pt>
                <c:pt idx="949">
                  <c:v>0.08</c:v>
                </c:pt>
                <c:pt idx="950">
                  <c:v>0.12</c:v>
                </c:pt>
                <c:pt idx="951">
                  <c:v>0.15</c:v>
                </c:pt>
                <c:pt idx="952">
                  <c:v>0.04</c:v>
                </c:pt>
                <c:pt idx="953">
                  <c:v>0.11</c:v>
                </c:pt>
                <c:pt idx="954">
                  <c:v>0.1</c:v>
                </c:pt>
                <c:pt idx="955">
                  <c:v>0.16</c:v>
                </c:pt>
                <c:pt idx="956">
                  <c:v>0.03</c:v>
                </c:pt>
                <c:pt idx="957">
                  <c:v>0.02</c:v>
                </c:pt>
                <c:pt idx="958">
                  <c:v>0.14000000000000001</c:v>
                </c:pt>
                <c:pt idx="959">
                  <c:v>0.08</c:v>
                </c:pt>
                <c:pt idx="960">
                  <c:v>0.04</c:v>
                </c:pt>
                <c:pt idx="961">
                  <c:v>0.11</c:v>
                </c:pt>
                <c:pt idx="962">
                  <c:v>7.0000000000000007E-2</c:v>
                </c:pt>
                <c:pt idx="963">
                  <c:v>0.13</c:v>
                </c:pt>
                <c:pt idx="964">
                  <c:v>0.02</c:v>
                </c:pt>
                <c:pt idx="965">
                  <c:v>0.02</c:v>
                </c:pt>
                <c:pt idx="966">
                  <c:v>0.31</c:v>
                </c:pt>
                <c:pt idx="967">
                  <c:v>0.12</c:v>
                </c:pt>
                <c:pt idx="968">
                  <c:v>0.02</c:v>
                </c:pt>
                <c:pt idx="969">
                  <c:v>0.02</c:v>
                </c:pt>
                <c:pt idx="970">
                  <c:v>0.03</c:v>
                </c:pt>
                <c:pt idx="971">
                  <c:v>0.05</c:v>
                </c:pt>
                <c:pt idx="972">
                  <c:v>0.01</c:v>
                </c:pt>
                <c:pt idx="973">
                  <c:v>0.12</c:v>
                </c:pt>
                <c:pt idx="974">
                  <c:v>0.01</c:v>
                </c:pt>
                <c:pt idx="975">
                  <c:v>0.1</c:v>
                </c:pt>
                <c:pt idx="976">
                  <c:v>0.06</c:v>
                </c:pt>
                <c:pt idx="977">
                  <c:v>0.01</c:v>
                </c:pt>
                <c:pt idx="978">
                  <c:v>0.08</c:v>
                </c:pt>
                <c:pt idx="979">
                  <c:v>0.02</c:v>
                </c:pt>
                <c:pt idx="980">
                  <c:v>0.03</c:v>
                </c:pt>
                <c:pt idx="981">
                  <c:v>7.0000000000000007E-2</c:v>
                </c:pt>
                <c:pt idx="982">
                  <c:v>0.09</c:v>
                </c:pt>
                <c:pt idx="983">
                  <c:v>7.0000000000000007E-2</c:v>
                </c:pt>
                <c:pt idx="984">
                  <c:v>0.08</c:v>
                </c:pt>
                <c:pt idx="985">
                  <c:v>0.06</c:v>
                </c:pt>
                <c:pt idx="986">
                  <c:v>0.09</c:v>
                </c:pt>
                <c:pt idx="987">
                  <c:v>0.01</c:v>
                </c:pt>
                <c:pt idx="988">
                  <c:v>0.09</c:v>
                </c:pt>
                <c:pt idx="989">
                  <c:v>7.0000000000000007E-2</c:v>
                </c:pt>
                <c:pt idx="990">
                  <c:v>0.03</c:v>
                </c:pt>
                <c:pt idx="991">
                  <c:v>0.11</c:v>
                </c:pt>
                <c:pt idx="992">
                  <c:v>0.14000000000000001</c:v>
                </c:pt>
                <c:pt idx="993">
                  <c:v>7.0000000000000007E-2</c:v>
                </c:pt>
                <c:pt idx="994">
                  <c:v>0.06</c:v>
                </c:pt>
                <c:pt idx="995">
                  <c:v>0.03</c:v>
                </c:pt>
                <c:pt idx="996">
                  <c:v>0.02</c:v>
                </c:pt>
                <c:pt idx="997">
                  <c:v>0.02</c:v>
                </c:pt>
                <c:pt idx="998">
                  <c:v>0.14000000000000001</c:v>
                </c:pt>
                <c:pt idx="999">
                  <c:v>0.02</c:v>
                </c:pt>
                <c:pt idx="1000">
                  <c:v>0.11</c:v>
                </c:pt>
                <c:pt idx="1001">
                  <c:v>0.05</c:v>
                </c:pt>
                <c:pt idx="1002">
                  <c:v>0.01</c:v>
                </c:pt>
                <c:pt idx="1003">
                  <c:v>0.06</c:v>
                </c:pt>
                <c:pt idx="1004">
                  <c:v>0.03</c:v>
                </c:pt>
                <c:pt idx="1005">
                  <c:v>0.06</c:v>
                </c:pt>
                <c:pt idx="1006">
                  <c:v>0.12</c:v>
                </c:pt>
                <c:pt idx="1007">
                  <c:v>0.05</c:v>
                </c:pt>
                <c:pt idx="1008">
                  <c:v>0.26</c:v>
                </c:pt>
                <c:pt idx="1009">
                  <c:v>0.18</c:v>
                </c:pt>
                <c:pt idx="1010">
                  <c:v>0.08</c:v>
                </c:pt>
                <c:pt idx="1011">
                  <c:v>0.05</c:v>
                </c:pt>
                <c:pt idx="1012">
                  <c:v>0.1</c:v>
                </c:pt>
                <c:pt idx="1013">
                  <c:v>0.26</c:v>
                </c:pt>
                <c:pt idx="1014">
                  <c:v>0.09</c:v>
                </c:pt>
                <c:pt idx="1015">
                  <c:v>0.1</c:v>
                </c:pt>
                <c:pt idx="1016">
                  <c:v>0.06</c:v>
                </c:pt>
                <c:pt idx="1017">
                  <c:v>0.03</c:v>
                </c:pt>
                <c:pt idx="1018">
                  <c:v>0.03</c:v>
                </c:pt>
                <c:pt idx="1019">
                  <c:v>0.01</c:v>
                </c:pt>
                <c:pt idx="1020">
                  <c:v>7.0000000000000007E-2</c:v>
                </c:pt>
                <c:pt idx="1021">
                  <c:v>0.02</c:v>
                </c:pt>
                <c:pt idx="1022">
                  <c:v>0.04</c:v>
                </c:pt>
                <c:pt idx="1023">
                  <c:v>0.09</c:v>
                </c:pt>
                <c:pt idx="1024">
                  <c:v>0.11</c:v>
                </c:pt>
                <c:pt idx="1025">
                  <c:v>0.01</c:v>
                </c:pt>
                <c:pt idx="1026">
                  <c:v>0.01</c:v>
                </c:pt>
                <c:pt idx="1027">
                  <c:v>0.03</c:v>
                </c:pt>
                <c:pt idx="1028">
                  <c:v>0.21</c:v>
                </c:pt>
                <c:pt idx="1029">
                  <c:v>0.36</c:v>
                </c:pt>
                <c:pt idx="1030">
                  <c:v>0.09</c:v>
                </c:pt>
                <c:pt idx="1031">
                  <c:v>0.03</c:v>
                </c:pt>
                <c:pt idx="1032">
                  <c:v>0.08</c:v>
                </c:pt>
                <c:pt idx="1033">
                  <c:v>0.14000000000000001</c:v>
                </c:pt>
                <c:pt idx="1034">
                  <c:v>0.08</c:v>
                </c:pt>
                <c:pt idx="1035">
                  <c:v>0.03</c:v>
                </c:pt>
                <c:pt idx="1036">
                  <c:v>0.1</c:v>
                </c:pt>
                <c:pt idx="1037">
                  <c:v>0.01</c:v>
                </c:pt>
                <c:pt idx="1038">
                  <c:v>0.01</c:v>
                </c:pt>
                <c:pt idx="1039">
                  <c:v>7.0000000000000007E-2</c:v>
                </c:pt>
                <c:pt idx="1040">
                  <c:v>0.03</c:v>
                </c:pt>
                <c:pt idx="1041">
                  <c:v>0.05</c:v>
                </c:pt>
                <c:pt idx="1042">
                  <c:v>0.34</c:v>
                </c:pt>
                <c:pt idx="1043">
                  <c:v>0.11</c:v>
                </c:pt>
                <c:pt idx="1044">
                  <c:v>7.0000000000000007E-2</c:v>
                </c:pt>
                <c:pt idx="1045">
                  <c:v>0.1</c:v>
                </c:pt>
                <c:pt idx="1046">
                  <c:v>0.02</c:v>
                </c:pt>
                <c:pt idx="1047">
                  <c:v>0.38</c:v>
                </c:pt>
                <c:pt idx="1048">
                  <c:v>0.05</c:v>
                </c:pt>
                <c:pt idx="1049">
                  <c:v>0.06</c:v>
                </c:pt>
                <c:pt idx="1050">
                  <c:v>0.11</c:v>
                </c:pt>
                <c:pt idx="1051">
                  <c:v>0.01</c:v>
                </c:pt>
                <c:pt idx="1052">
                  <c:v>0.02</c:v>
                </c:pt>
                <c:pt idx="1053">
                  <c:v>0.08</c:v>
                </c:pt>
                <c:pt idx="1054">
                  <c:v>0.06</c:v>
                </c:pt>
                <c:pt idx="1055">
                  <c:v>0.09</c:v>
                </c:pt>
                <c:pt idx="1056">
                  <c:v>0.12</c:v>
                </c:pt>
                <c:pt idx="1057">
                  <c:v>0.03</c:v>
                </c:pt>
                <c:pt idx="1058">
                  <c:v>0.01</c:v>
                </c:pt>
                <c:pt idx="1059">
                  <c:v>7.0000000000000007E-2</c:v>
                </c:pt>
                <c:pt idx="1060">
                  <c:v>7.0000000000000007E-2</c:v>
                </c:pt>
                <c:pt idx="1061">
                  <c:v>0.11</c:v>
                </c:pt>
                <c:pt idx="1062">
                  <c:v>0.12</c:v>
                </c:pt>
                <c:pt idx="1063">
                  <c:v>0.01</c:v>
                </c:pt>
                <c:pt idx="1064">
                  <c:v>0.01</c:v>
                </c:pt>
                <c:pt idx="1065">
                  <c:v>0.12</c:v>
                </c:pt>
                <c:pt idx="1066">
                  <c:v>0.1</c:v>
                </c:pt>
                <c:pt idx="1067">
                  <c:v>0.18</c:v>
                </c:pt>
                <c:pt idx="1068">
                  <c:v>0.11</c:v>
                </c:pt>
                <c:pt idx="1069">
                  <c:v>0.13</c:v>
                </c:pt>
                <c:pt idx="1070">
                  <c:v>0.03</c:v>
                </c:pt>
                <c:pt idx="1071">
                  <c:v>0.05</c:v>
                </c:pt>
                <c:pt idx="1072">
                  <c:v>7.0000000000000007E-2</c:v>
                </c:pt>
                <c:pt idx="1073">
                  <c:v>0.01</c:v>
                </c:pt>
                <c:pt idx="1074">
                  <c:v>0.01</c:v>
                </c:pt>
                <c:pt idx="1075">
                  <c:v>0.06</c:v>
                </c:pt>
                <c:pt idx="1076">
                  <c:v>0.02</c:v>
                </c:pt>
                <c:pt idx="1077">
                  <c:v>0.01</c:v>
                </c:pt>
                <c:pt idx="1078">
                  <c:v>7.0000000000000007E-2</c:v>
                </c:pt>
                <c:pt idx="1079">
                  <c:v>0.15</c:v>
                </c:pt>
                <c:pt idx="1080">
                  <c:v>0.08</c:v>
                </c:pt>
                <c:pt idx="1081">
                  <c:v>0.06</c:v>
                </c:pt>
                <c:pt idx="1082">
                  <c:v>0.01</c:v>
                </c:pt>
                <c:pt idx="1083">
                  <c:v>0.06</c:v>
                </c:pt>
                <c:pt idx="1084">
                  <c:v>0.02</c:v>
                </c:pt>
                <c:pt idx="1085">
                  <c:v>0.02</c:v>
                </c:pt>
                <c:pt idx="1086">
                  <c:v>0.01</c:v>
                </c:pt>
                <c:pt idx="1087">
                  <c:v>0.05</c:v>
                </c:pt>
                <c:pt idx="1088">
                  <c:v>0.1</c:v>
                </c:pt>
                <c:pt idx="1089">
                  <c:v>0.05</c:v>
                </c:pt>
                <c:pt idx="1090">
                  <c:v>0.01</c:v>
                </c:pt>
                <c:pt idx="1091">
                  <c:v>0.01</c:v>
                </c:pt>
                <c:pt idx="1092">
                  <c:v>0.05</c:v>
                </c:pt>
                <c:pt idx="1093">
                  <c:v>0.15</c:v>
                </c:pt>
                <c:pt idx="1094">
                  <c:v>0.2</c:v>
                </c:pt>
                <c:pt idx="1095">
                  <c:v>0.01</c:v>
                </c:pt>
                <c:pt idx="1096">
                  <c:v>0.02</c:v>
                </c:pt>
                <c:pt idx="1097">
                  <c:v>0.02</c:v>
                </c:pt>
                <c:pt idx="1098">
                  <c:v>0.03</c:v>
                </c:pt>
                <c:pt idx="1099">
                  <c:v>0.06</c:v>
                </c:pt>
                <c:pt idx="1100">
                  <c:v>0.02</c:v>
                </c:pt>
                <c:pt idx="1101">
                  <c:v>0.04</c:v>
                </c:pt>
                <c:pt idx="1102">
                  <c:v>0.1</c:v>
                </c:pt>
                <c:pt idx="1103">
                  <c:v>0.02</c:v>
                </c:pt>
                <c:pt idx="1104">
                  <c:v>0.02</c:v>
                </c:pt>
                <c:pt idx="1105">
                  <c:v>0.01</c:v>
                </c:pt>
                <c:pt idx="1106">
                  <c:v>0.01</c:v>
                </c:pt>
                <c:pt idx="1107">
                  <c:v>0.02</c:v>
                </c:pt>
                <c:pt idx="1108">
                  <c:v>0.01</c:v>
                </c:pt>
                <c:pt idx="1109">
                  <c:v>0.12</c:v>
                </c:pt>
                <c:pt idx="1110">
                  <c:v>0.01</c:v>
                </c:pt>
                <c:pt idx="1111">
                  <c:v>0.04</c:v>
                </c:pt>
                <c:pt idx="1112">
                  <c:v>0.04</c:v>
                </c:pt>
                <c:pt idx="1113">
                  <c:v>0.11</c:v>
                </c:pt>
                <c:pt idx="1114">
                  <c:v>0.09</c:v>
                </c:pt>
                <c:pt idx="1115">
                  <c:v>0.01</c:v>
                </c:pt>
                <c:pt idx="1116">
                  <c:v>0.01</c:v>
                </c:pt>
                <c:pt idx="1117">
                  <c:v>0.01</c:v>
                </c:pt>
                <c:pt idx="1118">
                  <c:v>0.11</c:v>
                </c:pt>
                <c:pt idx="1119">
                  <c:v>0.01</c:v>
                </c:pt>
                <c:pt idx="1120">
                  <c:v>0.04</c:v>
                </c:pt>
                <c:pt idx="1121">
                  <c:v>0.01</c:v>
                </c:pt>
                <c:pt idx="1122">
                  <c:v>0.09</c:v>
                </c:pt>
                <c:pt idx="1123">
                  <c:v>0.01</c:v>
                </c:pt>
                <c:pt idx="1124">
                  <c:v>0.01</c:v>
                </c:pt>
                <c:pt idx="1125">
                  <c:v>0.01</c:v>
                </c:pt>
                <c:pt idx="1126">
                  <c:v>0.03</c:v>
                </c:pt>
                <c:pt idx="1127">
                  <c:v>0.01</c:v>
                </c:pt>
                <c:pt idx="1128">
                  <c:v>0.02</c:v>
                </c:pt>
                <c:pt idx="1129">
                  <c:v>7.0000000000000007E-2</c:v>
                </c:pt>
                <c:pt idx="1130">
                  <c:v>0.1</c:v>
                </c:pt>
                <c:pt idx="1131">
                  <c:v>0.11</c:v>
                </c:pt>
                <c:pt idx="1132">
                  <c:v>0.06</c:v>
                </c:pt>
                <c:pt idx="1133">
                  <c:v>0.06</c:v>
                </c:pt>
                <c:pt idx="1134">
                  <c:v>0.02</c:v>
                </c:pt>
                <c:pt idx="1135">
                  <c:v>0.03</c:v>
                </c:pt>
                <c:pt idx="1136">
                  <c:v>0.17</c:v>
                </c:pt>
                <c:pt idx="1137">
                  <c:v>0.02</c:v>
                </c:pt>
                <c:pt idx="1138">
                  <c:v>0.03</c:v>
                </c:pt>
                <c:pt idx="1139">
                  <c:v>0.13</c:v>
                </c:pt>
                <c:pt idx="1140">
                  <c:v>0.05</c:v>
                </c:pt>
                <c:pt idx="1141">
                  <c:v>0.11</c:v>
                </c:pt>
                <c:pt idx="1142">
                  <c:v>0.01</c:v>
                </c:pt>
                <c:pt idx="1143">
                  <c:v>0.01</c:v>
                </c:pt>
                <c:pt idx="1144">
                  <c:v>0.02</c:v>
                </c:pt>
                <c:pt idx="1145">
                  <c:v>0.01</c:v>
                </c:pt>
                <c:pt idx="1146">
                  <c:v>0.01</c:v>
                </c:pt>
                <c:pt idx="1147">
                  <c:v>0.06</c:v>
                </c:pt>
                <c:pt idx="1148">
                  <c:v>0.01</c:v>
                </c:pt>
                <c:pt idx="1149">
                  <c:v>0.01</c:v>
                </c:pt>
                <c:pt idx="1150">
                  <c:v>0.01</c:v>
                </c:pt>
                <c:pt idx="1151">
                  <c:v>0.01</c:v>
                </c:pt>
                <c:pt idx="1152">
                  <c:v>0.11</c:v>
                </c:pt>
                <c:pt idx="1153">
                  <c:v>7.0000000000000007E-2</c:v>
                </c:pt>
                <c:pt idx="1154">
                  <c:v>0.03</c:v>
                </c:pt>
                <c:pt idx="1155">
                  <c:v>0.03</c:v>
                </c:pt>
                <c:pt idx="1156">
                  <c:v>0.01</c:v>
                </c:pt>
                <c:pt idx="1157">
                  <c:v>0.09</c:v>
                </c:pt>
                <c:pt idx="1158">
                  <c:v>0.05</c:v>
                </c:pt>
                <c:pt idx="1159">
                  <c:v>0.01</c:v>
                </c:pt>
                <c:pt idx="1160">
                  <c:v>0.01</c:v>
                </c:pt>
                <c:pt idx="1161">
                  <c:v>0.02</c:v>
                </c:pt>
                <c:pt idx="1162">
                  <c:v>0.02</c:v>
                </c:pt>
                <c:pt idx="1163">
                  <c:v>0.03</c:v>
                </c:pt>
                <c:pt idx="1164">
                  <c:v>0.02</c:v>
                </c:pt>
                <c:pt idx="1165">
                  <c:v>0.04</c:v>
                </c:pt>
                <c:pt idx="1166">
                  <c:v>0.11</c:v>
                </c:pt>
                <c:pt idx="1167">
                  <c:v>0.04</c:v>
                </c:pt>
                <c:pt idx="1168">
                  <c:v>0.1</c:v>
                </c:pt>
                <c:pt idx="1169">
                  <c:v>0.01</c:v>
                </c:pt>
                <c:pt idx="1170">
                  <c:v>0.12</c:v>
                </c:pt>
                <c:pt idx="1171">
                  <c:v>0.02</c:v>
                </c:pt>
                <c:pt idx="1172">
                  <c:v>0.01</c:v>
                </c:pt>
                <c:pt idx="1173">
                  <c:v>0.01</c:v>
                </c:pt>
                <c:pt idx="1174">
                  <c:v>0.01</c:v>
                </c:pt>
                <c:pt idx="1175">
                  <c:v>0.03</c:v>
                </c:pt>
                <c:pt idx="1176">
                  <c:v>0.06</c:v>
                </c:pt>
                <c:pt idx="1177">
                  <c:v>0.01</c:v>
                </c:pt>
                <c:pt idx="1178">
                  <c:v>7.0000000000000007E-2</c:v>
                </c:pt>
                <c:pt idx="1179">
                  <c:v>0.01</c:v>
                </c:pt>
                <c:pt idx="1180">
                  <c:v>0.02</c:v>
                </c:pt>
                <c:pt idx="1181">
                  <c:v>0.02</c:v>
                </c:pt>
                <c:pt idx="1182">
                  <c:v>0.05</c:v>
                </c:pt>
                <c:pt idx="1183">
                  <c:v>0.02</c:v>
                </c:pt>
                <c:pt idx="1184">
                  <c:v>0.06</c:v>
                </c:pt>
                <c:pt idx="1185">
                  <c:v>0.28000000000000003</c:v>
                </c:pt>
                <c:pt idx="1186">
                  <c:v>0.02</c:v>
                </c:pt>
                <c:pt idx="1187">
                  <c:v>0.01</c:v>
                </c:pt>
                <c:pt idx="1188">
                  <c:v>0.04</c:v>
                </c:pt>
                <c:pt idx="1189">
                  <c:v>0.01</c:v>
                </c:pt>
                <c:pt idx="1190">
                  <c:v>0.02</c:v>
                </c:pt>
                <c:pt idx="1191">
                  <c:v>0.11</c:v>
                </c:pt>
                <c:pt idx="1192">
                  <c:v>0.01</c:v>
                </c:pt>
                <c:pt idx="1193">
                  <c:v>0.02</c:v>
                </c:pt>
                <c:pt idx="1194">
                  <c:v>0.01</c:v>
                </c:pt>
                <c:pt idx="1195">
                  <c:v>0.03</c:v>
                </c:pt>
                <c:pt idx="1196">
                  <c:v>0.01</c:v>
                </c:pt>
                <c:pt idx="1197">
                  <c:v>0.01</c:v>
                </c:pt>
                <c:pt idx="1198">
                  <c:v>0.01</c:v>
                </c:pt>
                <c:pt idx="1199">
                  <c:v>0.02</c:v>
                </c:pt>
                <c:pt idx="1200">
                  <c:v>0.01</c:v>
                </c:pt>
                <c:pt idx="1201">
                  <c:v>0.04</c:v>
                </c:pt>
                <c:pt idx="1202">
                  <c:v>0.02</c:v>
                </c:pt>
                <c:pt idx="1203">
                  <c:v>0.1</c:v>
                </c:pt>
                <c:pt idx="1204">
                  <c:v>0.1</c:v>
                </c:pt>
                <c:pt idx="1205">
                  <c:v>0.05</c:v>
                </c:pt>
                <c:pt idx="1206">
                  <c:v>0.04</c:v>
                </c:pt>
                <c:pt idx="1207">
                  <c:v>0.01</c:v>
                </c:pt>
                <c:pt idx="1208">
                  <c:v>0.04</c:v>
                </c:pt>
                <c:pt idx="1209">
                  <c:v>0.01</c:v>
                </c:pt>
                <c:pt idx="1210">
                  <c:v>0.02</c:v>
                </c:pt>
                <c:pt idx="1211">
                  <c:v>0.02</c:v>
                </c:pt>
                <c:pt idx="1212">
                  <c:v>7.0000000000000007E-2</c:v>
                </c:pt>
                <c:pt idx="1213">
                  <c:v>0.01</c:v>
                </c:pt>
                <c:pt idx="1214">
                  <c:v>0.01</c:v>
                </c:pt>
                <c:pt idx="1215">
                  <c:v>0.01</c:v>
                </c:pt>
                <c:pt idx="1216">
                  <c:v>0.02</c:v>
                </c:pt>
                <c:pt idx="1217">
                  <c:v>0.02</c:v>
                </c:pt>
                <c:pt idx="1218">
                  <c:v>0.02</c:v>
                </c:pt>
                <c:pt idx="1219">
                  <c:v>0.02</c:v>
                </c:pt>
                <c:pt idx="1220">
                  <c:v>0.03</c:v>
                </c:pt>
                <c:pt idx="1221">
                  <c:v>0.05</c:v>
                </c:pt>
                <c:pt idx="1222">
                  <c:v>0.18</c:v>
                </c:pt>
                <c:pt idx="1223">
                  <c:v>0.01</c:v>
                </c:pt>
                <c:pt idx="1224">
                  <c:v>0.01</c:v>
                </c:pt>
                <c:pt idx="1225">
                  <c:v>7.0000000000000007E-2</c:v>
                </c:pt>
                <c:pt idx="1226">
                  <c:v>0.02</c:v>
                </c:pt>
                <c:pt idx="1227">
                  <c:v>0.01</c:v>
                </c:pt>
                <c:pt idx="1228">
                  <c:v>0.02</c:v>
                </c:pt>
                <c:pt idx="1229">
                  <c:v>0.01</c:v>
                </c:pt>
                <c:pt idx="1230">
                  <c:v>0.01</c:v>
                </c:pt>
                <c:pt idx="1231">
                  <c:v>0.03</c:v>
                </c:pt>
                <c:pt idx="1232">
                  <c:v>0.01</c:v>
                </c:pt>
                <c:pt idx="1233">
                  <c:v>0.01</c:v>
                </c:pt>
                <c:pt idx="1234">
                  <c:v>0.01</c:v>
                </c:pt>
                <c:pt idx="1235">
                  <c:v>0.01</c:v>
                </c:pt>
                <c:pt idx="1236">
                  <c:v>0.03</c:v>
                </c:pt>
                <c:pt idx="1237">
                  <c:v>0.01</c:v>
                </c:pt>
                <c:pt idx="1238">
                  <c:v>0.1</c:v>
                </c:pt>
                <c:pt idx="1239">
                  <c:v>0.09</c:v>
                </c:pt>
                <c:pt idx="1240">
                  <c:v>0.02</c:v>
                </c:pt>
                <c:pt idx="1241">
                  <c:v>0.05</c:v>
                </c:pt>
                <c:pt idx="1242">
                  <c:v>0.06</c:v>
                </c:pt>
                <c:pt idx="1243">
                  <c:v>0.02</c:v>
                </c:pt>
                <c:pt idx="1244">
                  <c:v>0.02</c:v>
                </c:pt>
                <c:pt idx="1245">
                  <c:v>0.03</c:v>
                </c:pt>
                <c:pt idx="1246">
                  <c:v>0.01</c:v>
                </c:pt>
                <c:pt idx="1247">
                  <c:v>0.02</c:v>
                </c:pt>
                <c:pt idx="1248">
                  <c:v>0.01</c:v>
                </c:pt>
                <c:pt idx="1249">
                  <c:v>0.03</c:v>
                </c:pt>
                <c:pt idx="1250">
                  <c:v>0.04</c:v>
                </c:pt>
                <c:pt idx="1251">
                  <c:v>0.04</c:v>
                </c:pt>
                <c:pt idx="1252">
                  <c:v>0.01</c:v>
                </c:pt>
                <c:pt idx="1253">
                  <c:v>0.01</c:v>
                </c:pt>
                <c:pt idx="1254">
                  <c:v>0.01</c:v>
                </c:pt>
                <c:pt idx="1255">
                  <c:v>0.03</c:v>
                </c:pt>
                <c:pt idx="1256">
                  <c:v>0.01</c:v>
                </c:pt>
                <c:pt idx="1257">
                  <c:v>0.01</c:v>
                </c:pt>
                <c:pt idx="1258">
                  <c:v>0.03</c:v>
                </c:pt>
                <c:pt idx="1259">
                  <c:v>0.01</c:v>
                </c:pt>
                <c:pt idx="1260">
                  <c:v>0.01</c:v>
                </c:pt>
                <c:pt idx="1261">
                  <c:v>0.01</c:v>
                </c:pt>
                <c:pt idx="1262">
                  <c:v>0.06</c:v>
                </c:pt>
                <c:pt idx="1263">
                  <c:v>0.01</c:v>
                </c:pt>
                <c:pt idx="1264">
                  <c:v>0.01</c:v>
                </c:pt>
                <c:pt idx="1265">
                  <c:v>0.03</c:v>
                </c:pt>
                <c:pt idx="1266">
                  <c:v>0.05</c:v>
                </c:pt>
                <c:pt idx="1267">
                  <c:v>0.05</c:v>
                </c:pt>
                <c:pt idx="1268">
                  <c:v>0.01</c:v>
                </c:pt>
                <c:pt idx="1269">
                  <c:v>0.01</c:v>
                </c:pt>
                <c:pt idx="1270">
                  <c:v>0.01</c:v>
                </c:pt>
                <c:pt idx="1271">
                  <c:v>7.0000000000000007E-2</c:v>
                </c:pt>
                <c:pt idx="1272">
                  <c:v>0.01</c:v>
                </c:pt>
                <c:pt idx="1273">
                  <c:v>0.01</c:v>
                </c:pt>
                <c:pt idx="1274">
                  <c:v>0.03</c:v>
                </c:pt>
                <c:pt idx="1275">
                  <c:v>0.01</c:v>
                </c:pt>
                <c:pt idx="1276">
                  <c:v>0.01</c:v>
                </c:pt>
                <c:pt idx="1277">
                  <c:v>0.01</c:v>
                </c:pt>
                <c:pt idx="1278">
                  <c:v>0.01</c:v>
                </c:pt>
                <c:pt idx="1279">
                  <c:v>0.01</c:v>
                </c:pt>
                <c:pt idx="1280">
                  <c:v>0.08</c:v>
                </c:pt>
                <c:pt idx="1281">
                  <c:v>0.01</c:v>
                </c:pt>
                <c:pt idx="1282">
                  <c:v>0.01</c:v>
                </c:pt>
                <c:pt idx="1283">
                  <c:v>0.02</c:v>
                </c:pt>
                <c:pt idx="1284">
                  <c:v>0.01</c:v>
                </c:pt>
                <c:pt idx="1285">
                  <c:v>0.01</c:v>
                </c:pt>
                <c:pt idx="1286">
                  <c:v>0.01</c:v>
                </c:pt>
                <c:pt idx="1287">
                  <c:v>0.03</c:v>
                </c:pt>
                <c:pt idx="1288">
                  <c:v>0.01</c:v>
                </c:pt>
                <c:pt idx="1289">
                  <c:v>0.02</c:v>
                </c:pt>
                <c:pt idx="1290">
                  <c:v>0.05</c:v>
                </c:pt>
                <c:pt idx="1291">
                  <c:v>0.01</c:v>
                </c:pt>
                <c:pt idx="1292">
                  <c:v>0.02</c:v>
                </c:pt>
                <c:pt idx="1293">
                  <c:v>0.01</c:v>
                </c:pt>
                <c:pt idx="1294">
                  <c:v>0.02</c:v>
                </c:pt>
                <c:pt idx="1295">
                  <c:v>7.0000000000000007E-2</c:v>
                </c:pt>
                <c:pt idx="1296">
                  <c:v>0.01</c:v>
                </c:pt>
                <c:pt idx="1297">
                  <c:v>0.01</c:v>
                </c:pt>
                <c:pt idx="1298">
                  <c:v>0.01</c:v>
                </c:pt>
                <c:pt idx="1299">
                  <c:v>0.01</c:v>
                </c:pt>
                <c:pt idx="1300">
                  <c:v>0.05</c:v>
                </c:pt>
                <c:pt idx="1301">
                  <c:v>0.01</c:v>
                </c:pt>
                <c:pt idx="1302">
                  <c:v>0.01</c:v>
                </c:pt>
                <c:pt idx="1303">
                  <c:v>0.01</c:v>
                </c:pt>
                <c:pt idx="1304">
                  <c:v>0.05</c:v>
                </c:pt>
                <c:pt idx="1305">
                  <c:v>0.01</c:v>
                </c:pt>
                <c:pt idx="1306">
                  <c:v>0.02</c:v>
                </c:pt>
                <c:pt idx="1307">
                  <c:v>0.01</c:v>
                </c:pt>
                <c:pt idx="1308">
                  <c:v>0.01</c:v>
                </c:pt>
                <c:pt idx="1309">
                  <c:v>0.01</c:v>
                </c:pt>
                <c:pt idx="1310">
                  <c:v>0.03</c:v>
                </c:pt>
                <c:pt idx="1311">
                  <c:v>0.03</c:v>
                </c:pt>
                <c:pt idx="1312">
                  <c:v>0.01</c:v>
                </c:pt>
                <c:pt idx="1313">
                  <c:v>0.02</c:v>
                </c:pt>
                <c:pt idx="1314">
                  <c:v>0.02</c:v>
                </c:pt>
                <c:pt idx="1315">
                  <c:v>0.03</c:v>
                </c:pt>
                <c:pt idx="1316">
                  <c:v>0.03</c:v>
                </c:pt>
                <c:pt idx="1317">
                  <c:v>0.05</c:v>
                </c:pt>
                <c:pt idx="1318">
                  <c:v>0.01</c:v>
                </c:pt>
                <c:pt idx="1319">
                  <c:v>0.04</c:v>
                </c:pt>
                <c:pt idx="1320">
                  <c:v>0.02</c:v>
                </c:pt>
                <c:pt idx="1321">
                  <c:v>0.02</c:v>
                </c:pt>
                <c:pt idx="1322">
                  <c:v>0.02</c:v>
                </c:pt>
                <c:pt idx="1323">
                  <c:v>0.02</c:v>
                </c:pt>
                <c:pt idx="1324">
                  <c:v>0.01</c:v>
                </c:pt>
                <c:pt idx="1325">
                  <c:v>0.02</c:v>
                </c:pt>
                <c:pt idx="1326">
                  <c:v>0.01</c:v>
                </c:pt>
                <c:pt idx="1327">
                  <c:v>0.01</c:v>
                </c:pt>
                <c:pt idx="1328">
                  <c:v>0.01</c:v>
                </c:pt>
                <c:pt idx="1329">
                  <c:v>0.01</c:v>
                </c:pt>
                <c:pt idx="1330">
                  <c:v>0.04</c:v>
                </c:pt>
                <c:pt idx="1331">
                  <c:v>0.01</c:v>
                </c:pt>
                <c:pt idx="1332">
                  <c:v>0.04</c:v>
                </c:pt>
                <c:pt idx="1333">
                  <c:v>0.01</c:v>
                </c:pt>
                <c:pt idx="1334">
                  <c:v>0.01</c:v>
                </c:pt>
                <c:pt idx="1335">
                  <c:v>0.01</c:v>
                </c:pt>
                <c:pt idx="1336">
                  <c:v>0.01</c:v>
                </c:pt>
                <c:pt idx="1337">
                  <c:v>0.02</c:v>
                </c:pt>
                <c:pt idx="1338">
                  <c:v>0.01</c:v>
                </c:pt>
                <c:pt idx="1339">
                  <c:v>0.02</c:v>
                </c:pt>
                <c:pt idx="1340">
                  <c:v>0.01</c:v>
                </c:pt>
                <c:pt idx="1341">
                  <c:v>0.02</c:v>
                </c:pt>
                <c:pt idx="1342">
                  <c:v>0.01</c:v>
                </c:pt>
                <c:pt idx="1343">
                  <c:v>0.01</c:v>
                </c:pt>
                <c:pt idx="1344">
                  <c:v>0.04</c:v>
                </c:pt>
                <c:pt idx="1345">
                  <c:v>0.02</c:v>
                </c:pt>
                <c:pt idx="1346">
                  <c:v>0.01</c:v>
                </c:pt>
                <c:pt idx="1347">
                  <c:v>0.01</c:v>
                </c:pt>
                <c:pt idx="1348">
                  <c:v>0.01</c:v>
                </c:pt>
                <c:pt idx="1349">
                  <c:v>0.01</c:v>
                </c:pt>
                <c:pt idx="1350">
                  <c:v>0.01</c:v>
                </c:pt>
                <c:pt idx="1351">
                  <c:v>0.01</c:v>
                </c:pt>
                <c:pt idx="1352">
                  <c:v>0.04</c:v>
                </c:pt>
                <c:pt idx="1353">
                  <c:v>0.01</c:v>
                </c:pt>
                <c:pt idx="1354">
                  <c:v>0.01</c:v>
                </c:pt>
                <c:pt idx="1355">
                  <c:v>0.02</c:v>
                </c:pt>
                <c:pt idx="1356">
                  <c:v>0.01</c:v>
                </c:pt>
                <c:pt idx="1357">
                  <c:v>0.01</c:v>
                </c:pt>
                <c:pt idx="1358">
                  <c:v>0.01</c:v>
                </c:pt>
                <c:pt idx="1359">
                  <c:v>0.02</c:v>
                </c:pt>
                <c:pt idx="1360">
                  <c:v>0.01</c:v>
                </c:pt>
                <c:pt idx="1361">
                  <c:v>0.02</c:v>
                </c:pt>
                <c:pt idx="1362">
                  <c:v>0.01</c:v>
                </c:pt>
                <c:pt idx="1363">
                  <c:v>0.02</c:v>
                </c:pt>
                <c:pt idx="1364">
                  <c:v>0.01</c:v>
                </c:pt>
                <c:pt idx="1365">
                  <c:v>0.04</c:v>
                </c:pt>
                <c:pt idx="1366">
                  <c:v>0.01</c:v>
                </c:pt>
                <c:pt idx="1367">
                  <c:v>0.04</c:v>
                </c:pt>
                <c:pt idx="1368">
                  <c:v>0.01</c:v>
                </c:pt>
                <c:pt idx="1369">
                  <c:v>0.01</c:v>
                </c:pt>
                <c:pt idx="1370">
                  <c:v>0.01</c:v>
                </c:pt>
                <c:pt idx="1371">
                  <c:v>0.01</c:v>
                </c:pt>
                <c:pt idx="1372">
                  <c:v>0.01</c:v>
                </c:pt>
                <c:pt idx="1373">
                  <c:v>0.01</c:v>
                </c:pt>
                <c:pt idx="1374">
                  <c:v>0.01</c:v>
                </c:pt>
                <c:pt idx="1375">
                  <c:v>0.02</c:v>
                </c:pt>
                <c:pt idx="1376">
                  <c:v>0.01</c:v>
                </c:pt>
                <c:pt idx="1377">
                  <c:v>0.01</c:v>
                </c:pt>
                <c:pt idx="1378">
                  <c:v>0.01</c:v>
                </c:pt>
                <c:pt idx="1379">
                  <c:v>0.01</c:v>
                </c:pt>
                <c:pt idx="1380">
                  <c:v>0.02</c:v>
                </c:pt>
                <c:pt idx="1381">
                  <c:v>0.01</c:v>
                </c:pt>
                <c:pt idx="1382">
                  <c:v>0.02</c:v>
                </c:pt>
                <c:pt idx="1383">
                  <c:v>0.05</c:v>
                </c:pt>
                <c:pt idx="1384">
                  <c:v>0.02</c:v>
                </c:pt>
                <c:pt idx="1385">
                  <c:v>0.01</c:v>
                </c:pt>
                <c:pt idx="1386">
                  <c:v>0.01</c:v>
                </c:pt>
                <c:pt idx="1387">
                  <c:v>0.01</c:v>
                </c:pt>
                <c:pt idx="1388">
                  <c:v>0.02</c:v>
                </c:pt>
                <c:pt idx="1389">
                  <c:v>0.02</c:v>
                </c:pt>
                <c:pt idx="1390">
                  <c:v>0.01</c:v>
                </c:pt>
                <c:pt idx="1391">
                  <c:v>0.02</c:v>
                </c:pt>
                <c:pt idx="1392">
                  <c:v>0.01</c:v>
                </c:pt>
                <c:pt idx="1393">
                  <c:v>0.01</c:v>
                </c:pt>
                <c:pt idx="1394">
                  <c:v>0.01</c:v>
                </c:pt>
                <c:pt idx="1395">
                  <c:v>0.01</c:v>
                </c:pt>
                <c:pt idx="1396">
                  <c:v>0.01</c:v>
                </c:pt>
                <c:pt idx="1397">
                  <c:v>0.01</c:v>
                </c:pt>
                <c:pt idx="1398">
                  <c:v>0.01</c:v>
                </c:pt>
                <c:pt idx="1399">
                  <c:v>0.01</c:v>
                </c:pt>
                <c:pt idx="1400">
                  <c:v>0.12</c:v>
                </c:pt>
                <c:pt idx="1401">
                  <c:v>0.01</c:v>
                </c:pt>
                <c:pt idx="1402">
                  <c:v>0.02</c:v>
                </c:pt>
                <c:pt idx="1403">
                  <c:v>0.01</c:v>
                </c:pt>
                <c:pt idx="1404">
                  <c:v>0.02</c:v>
                </c:pt>
                <c:pt idx="1405">
                  <c:v>0.01</c:v>
                </c:pt>
                <c:pt idx="1406">
                  <c:v>0.01</c:v>
                </c:pt>
                <c:pt idx="1407">
                  <c:v>0.01</c:v>
                </c:pt>
                <c:pt idx="1408">
                  <c:v>0.02</c:v>
                </c:pt>
                <c:pt idx="1409">
                  <c:v>0.01</c:v>
                </c:pt>
                <c:pt idx="1410">
                  <c:v>0.04</c:v>
                </c:pt>
                <c:pt idx="1411">
                  <c:v>0.01</c:v>
                </c:pt>
                <c:pt idx="1412">
                  <c:v>0.01</c:v>
                </c:pt>
                <c:pt idx="1413">
                  <c:v>0.01</c:v>
                </c:pt>
                <c:pt idx="1414">
                  <c:v>0.01</c:v>
                </c:pt>
                <c:pt idx="1415">
                  <c:v>0.01</c:v>
                </c:pt>
                <c:pt idx="1416">
                  <c:v>0.01</c:v>
                </c:pt>
                <c:pt idx="1417">
                  <c:v>0.04</c:v>
                </c:pt>
                <c:pt idx="1418">
                  <c:v>0.04</c:v>
                </c:pt>
                <c:pt idx="1419">
                  <c:v>0.01</c:v>
                </c:pt>
                <c:pt idx="1420">
                  <c:v>0.01</c:v>
                </c:pt>
                <c:pt idx="1421">
                  <c:v>0.01</c:v>
                </c:pt>
                <c:pt idx="1422">
                  <c:v>0.01</c:v>
                </c:pt>
                <c:pt idx="1423">
                  <c:v>0.01</c:v>
                </c:pt>
                <c:pt idx="1424">
                  <c:v>0.01</c:v>
                </c:pt>
                <c:pt idx="1425">
                  <c:v>0.01</c:v>
                </c:pt>
                <c:pt idx="1426">
                  <c:v>0.01</c:v>
                </c:pt>
                <c:pt idx="1427">
                  <c:v>0.01</c:v>
                </c:pt>
                <c:pt idx="1428">
                  <c:v>0.02</c:v>
                </c:pt>
                <c:pt idx="1429">
                  <c:v>0.01</c:v>
                </c:pt>
                <c:pt idx="1430">
                  <c:v>0.01</c:v>
                </c:pt>
                <c:pt idx="1431">
                  <c:v>0.01</c:v>
                </c:pt>
                <c:pt idx="1432">
                  <c:v>0.01</c:v>
                </c:pt>
                <c:pt idx="1433">
                  <c:v>0.01</c:v>
                </c:pt>
                <c:pt idx="1434">
                  <c:v>0.01</c:v>
                </c:pt>
                <c:pt idx="1435">
                  <c:v>0.01</c:v>
                </c:pt>
                <c:pt idx="1436">
                  <c:v>0.01</c:v>
                </c:pt>
                <c:pt idx="1437">
                  <c:v>0.01</c:v>
                </c:pt>
                <c:pt idx="1438">
                  <c:v>0.01</c:v>
                </c:pt>
                <c:pt idx="1439">
                  <c:v>0.01</c:v>
                </c:pt>
                <c:pt idx="1440">
                  <c:v>0.03</c:v>
                </c:pt>
                <c:pt idx="1441">
                  <c:v>0.01</c:v>
                </c:pt>
                <c:pt idx="1442">
                  <c:v>0.01</c:v>
                </c:pt>
                <c:pt idx="1443">
                  <c:v>0.01</c:v>
                </c:pt>
                <c:pt idx="1444">
                  <c:v>0.01</c:v>
                </c:pt>
                <c:pt idx="1445">
                  <c:v>0.02</c:v>
                </c:pt>
                <c:pt idx="1446">
                  <c:v>0.02</c:v>
                </c:pt>
                <c:pt idx="1447">
                  <c:v>0.01</c:v>
                </c:pt>
                <c:pt idx="1448">
                  <c:v>0.02</c:v>
                </c:pt>
                <c:pt idx="1449">
                  <c:v>0.01</c:v>
                </c:pt>
                <c:pt idx="1450">
                  <c:v>0.01</c:v>
                </c:pt>
                <c:pt idx="1451">
                  <c:v>0.01</c:v>
                </c:pt>
                <c:pt idx="1452">
                  <c:v>0.01</c:v>
                </c:pt>
                <c:pt idx="145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00A097"/>
              </a:solidFill>
            </c:spPr>
            <c:extLst>
              <c:ext xmlns:c16="http://schemas.microsoft.com/office/drawing/2014/chart" uri="{C3380CC4-5D6E-409C-BE32-E72D297353CC}">
                <c16:uniqueId val="{00000119-2993-41DE-A2CB-63102DE87051}"/>
              </c:ext>
            </c:extLst>
          </c:dPt>
          <c:dPt>
            <c:idx val="140"/>
            <c:invertIfNegative val="1"/>
            <c:bubble3D val="0"/>
            <c:spPr>
              <a:solidFill>
                <a:srgbClr val="00A097"/>
              </a:solidFill>
            </c:spPr>
            <c:extLst>
              <c:ext xmlns:c16="http://schemas.microsoft.com/office/drawing/2014/chart" uri="{C3380CC4-5D6E-409C-BE32-E72D297353CC}">
                <c16:uniqueId val="{0000011B-2993-41DE-A2CB-63102DE87051}"/>
              </c:ext>
            </c:extLst>
          </c:dPt>
          <c:dPt>
            <c:idx val="141"/>
            <c:invertIfNegative val="1"/>
            <c:bubble3D val="0"/>
            <c:spPr>
              <a:solidFill>
                <a:srgbClr val="00A097"/>
              </a:solidFill>
            </c:spPr>
            <c:extLst>
              <c:ext xmlns:c16="http://schemas.microsoft.com/office/drawing/2014/chart" uri="{C3380CC4-5D6E-409C-BE32-E72D297353CC}">
                <c16:uniqueId val="{0000011D-2993-41DE-A2CB-63102DE87051}"/>
              </c:ext>
            </c:extLst>
          </c:dPt>
          <c:dPt>
            <c:idx val="142"/>
            <c:invertIfNegative val="1"/>
            <c:bubble3D val="0"/>
            <c:spPr>
              <a:solidFill>
                <a:srgbClr val="00A097"/>
              </a:solidFill>
            </c:spPr>
            <c:extLst>
              <c:ext xmlns:c16="http://schemas.microsoft.com/office/drawing/2014/chart" uri="{C3380CC4-5D6E-409C-BE32-E72D297353CC}">
                <c16:uniqueId val="{0000011F-2993-41DE-A2CB-63102DE87051}"/>
              </c:ext>
            </c:extLst>
          </c:dPt>
          <c:dPt>
            <c:idx val="143"/>
            <c:invertIfNegative val="1"/>
            <c:bubble3D val="0"/>
            <c:spPr>
              <a:solidFill>
                <a:srgbClr val="00A097"/>
              </a:solidFill>
            </c:spPr>
            <c:extLst>
              <c:ext xmlns:c16="http://schemas.microsoft.com/office/drawing/2014/chart" uri="{C3380CC4-5D6E-409C-BE32-E72D297353CC}">
                <c16:uniqueId val="{00000121-2993-41DE-A2CB-63102DE87051}"/>
              </c:ext>
            </c:extLst>
          </c:dPt>
          <c:dPt>
            <c:idx val="144"/>
            <c:invertIfNegative val="1"/>
            <c:bubble3D val="0"/>
            <c:spPr>
              <a:solidFill>
                <a:srgbClr val="00A097"/>
              </a:solidFill>
            </c:spPr>
            <c:extLst>
              <c:ext xmlns:c16="http://schemas.microsoft.com/office/drawing/2014/chart" uri="{C3380CC4-5D6E-409C-BE32-E72D297353CC}">
                <c16:uniqueId val="{00000123-2993-41DE-A2CB-63102DE87051}"/>
              </c:ext>
            </c:extLst>
          </c:dPt>
          <c:dPt>
            <c:idx val="145"/>
            <c:invertIfNegative val="1"/>
            <c:bubble3D val="0"/>
            <c:spPr>
              <a:solidFill>
                <a:srgbClr val="00A097"/>
              </a:solidFill>
            </c:spPr>
            <c:extLst>
              <c:ext xmlns:c16="http://schemas.microsoft.com/office/drawing/2014/chart" uri="{C3380CC4-5D6E-409C-BE32-E72D297353CC}">
                <c16:uniqueId val="{00000125-2993-41DE-A2CB-63102DE87051}"/>
              </c:ext>
            </c:extLst>
          </c:dPt>
          <c:dPt>
            <c:idx val="146"/>
            <c:invertIfNegative val="1"/>
            <c:bubble3D val="0"/>
            <c:spPr>
              <a:solidFill>
                <a:srgbClr val="00A097"/>
              </a:solidFill>
            </c:spPr>
            <c:extLst>
              <c:ext xmlns:c16="http://schemas.microsoft.com/office/drawing/2014/chart" uri="{C3380CC4-5D6E-409C-BE32-E72D297353CC}">
                <c16:uniqueId val="{00000127-2993-41DE-A2CB-63102DE87051}"/>
              </c:ext>
            </c:extLst>
          </c:dPt>
          <c:dPt>
            <c:idx val="147"/>
            <c:invertIfNegative val="1"/>
            <c:bubble3D val="0"/>
            <c:spPr>
              <a:solidFill>
                <a:srgbClr val="00A097"/>
              </a:solidFill>
            </c:spPr>
            <c:extLst>
              <c:ext xmlns:c16="http://schemas.microsoft.com/office/drawing/2014/chart" uri="{C3380CC4-5D6E-409C-BE32-E72D297353CC}">
                <c16:uniqueId val="{00000129-2993-41DE-A2CB-63102DE87051}"/>
              </c:ext>
            </c:extLst>
          </c:dPt>
          <c:dPt>
            <c:idx val="148"/>
            <c:invertIfNegative val="1"/>
            <c:bubble3D val="0"/>
            <c:spPr>
              <a:solidFill>
                <a:srgbClr val="00A097"/>
              </a:solidFill>
            </c:spPr>
            <c:extLst>
              <c:ext xmlns:c16="http://schemas.microsoft.com/office/drawing/2014/chart" uri="{C3380CC4-5D6E-409C-BE32-E72D297353CC}">
                <c16:uniqueId val="{0000012B-2993-41DE-A2CB-63102DE87051}"/>
              </c:ext>
            </c:extLst>
          </c:dPt>
          <c:dPt>
            <c:idx val="149"/>
            <c:invertIfNegative val="1"/>
            <c:bubble3D val="0"/>
            <c:spPr>
              <a:solidFill>
                <a:srgbClr val="00A097"/>
              </a:solidFill>
            </c:spPr>
            <c:extLst>
              <c:ext xmlns:c16="http://schemas.microsoft.com/office/drawing/2014/chart" uri="{C3380CC4-5D6E-409C-BE32-E72D297353CC}">
                <c16:uniqueId val="{0000012D-2993-41DE-A2CB-63102DE87051}"/>
              </c:ext>
            </c:extLst>
          </c:dPt>
          <c:dPt>
            <c:idx val="150"/>
            <c:invertIfNegative val="1"/>
            <c:bubble3D val="0"/>
            <c:spPr>
              <a:solidFill>
                <a:srgbClr val="00A097"/>
              </a:solidFill>
            </c:spPr>
            <c:extLst>
              <c:ext xmlns:c16="http://schemas.microsoft.com/office/drawing/2014/chart" uri="{C3380CC4-5D6E-409C-BE32-E72D297353CC}">
                <c16:uniqueId val="{0000012F-2993-41DE-A2CB-63102DE87051}"/>
              </c:ext>
            </c:extLst>
          </c:dPt>
          <c:dPt>
            <c:idx val="151"/>
            <c:invertIfNegative val="1"/>
            <c:bubble3D val="0"/>
            <c:spPr>
              <a:solidFill>
                <a:srgbClr val="00A097"/>
              </a:solidFill>
            </c:spPr>
            <c:extLst>
              <c:ext xmlns:c16="http://schemas.microsoft.com/office/drawing/2014/chart" uri="{C3380CC4-5D6E-409C-BE32-E72D297353CC}">
                <c16:uniqueId val="{00000131-2993-41DE-A2CB-63102DE87051}"/>
              </c:ext>
            </c:extLst>
          </c:dPt>
          <c:dPt>
            <c:idx val="152"/>
            <c:invertIfNegative val="1"/>
            <c:bubble3D val="0"/>
            <c:spPr>
              <a:solidFill>
                <a:srgbClr val="00A097"/>
              </a:solidFill>
            </c:spPr>
            <c:extLst>
              <c:ext xmlns:c16="http://schemas.microsoft.com/office/drawing/2014/chart" uri="{C3380CC4-5D6E-409C-BE32-E72D297353CC}">
                <c16:uniqueId val="{00000133-2993-41DE-A2CB-63102DE87051}"/>
              </c:ext>
            </c:extLst>
          </c:dPt>
          <c:dPt>
            <c:idx val="153"/>
            <c:invertIfNegative val="1"/>
            <c:bubble3D val="0"/>
            <c:spPr>
              <a:solidFill>
                <a:srgbClr val="00A097"/>
              </a:solidFill>
            </c:spPr>
            <c:extLst>
              <c:ext xmlns:c16="http://schemas.microsoft.com/office/drawing/2014/chart" uri="{C3380CC4-5D6E-409C-BE32-E72D297353CC}">
                <c16:uniqueId val="{00000135-2993-41DE-A2CB-63102DE87051}"/>
              </c:ext>
            </c:extLst>
          </c:dPt>
          <c:dPt>
            <c:idx val="154"/>
            <c:invertIfNegative val="1"/>
            <c:bubble3D val="0"/>
            <c:spPr>
              <a:solidFill>
                <a:srgbClr val="00A097"/>
              </a:solidFill>
            </c:spPr>
            <c:extLst>
              <c:ext xmlns:c16="http://schemas.microsoft.com/office/drawing/2014/chart" uri="{C3380CC4-5D6E-409C-BE32-E72D297353CC}">
                <c16:uniqueId val="{00000137-2993-41DE-A2CB-63102DE87051}"/>
              </c:ext>
            </c:extLst>
          </c:dPt>
          <c:dPt>
            <c:idx val="155"/>
            <c:invertIfNegative val="1"/>
            <c:bubble3D val="0"/>
            <c:spPr>
              <a:solidFill>
                <a:srgbClr val="00A097"/>
              </a:solidFill>
            </c:spPr>
            <c:extLst>
              <c:ext xmlns:c16="http://schemas.microsoft.com/office/drawing/2014/chart" uri="{C3380CC4-5D6E-409C-BE32-E72D297353CC}">
                <c16:uniqueId val="{00000139-2993-41DE-A2CB-63102DE87051}"/>
              </c:ext>
            </c:extLst>
          </c:dPt>
          <c:dPt>
            <c:idx val="156"/>
            <c:invertIfNegative val="1"/>
            <c:bubble3D val="0"/>
            <c:spPr>
              <a:solidFill>
                <a:srgbClr val="00A097"/>
              </a:solidFill>
            </c:spPr>
            <c:extLst>
              <c:ext xmlns:c16="http://schemas.microsoft.com/office/drawing/2014/chart" uri="{C3380CC4-5D6E-409C-BE32-E72D297353CC}">
                <c16:uniqueId val="{0000013B-2993-41DE-A2CB-63102DE87051}"/>
              </c:ext>
            </c:extLst>
          </c:dPt>
          <c:dPt>
            <c:idx val="157"/>
            <c:invertIfNegative val="1"/>
            <c:bubble3D val="0"/>
            <c:spPr>
              <a:solidFill>
                <a:srgbClr val="00A097"/>
              </a:solidFill>
            </c:spPr>
            <c:extLst>
              <c:ext xmlns:c16="http://schemas.microsoft.com/office/drawing/2014/chart" uri="{C3380CC4-5D6E-409C-BE32-E72D297353CC}">
                <c16:uniqueId val="{0000013D-2993-41DE-A2CB-63102DE87051}"/>
              </c:ext>
            </c:extLst>
          </c:dPt>
          <c:dPt>
            <c:idx val="158"/>
            <c:invertIfNegative val="1"/>
            <c:bubble3D val="0"/>
            <c:spPr>
              <a:solidFill>
                <a:srgbClr val="00A097"/>
              </a:solidFill>
            </c:spPr>
            <c:extLst>
              <c:ext xmlns:c16="http://schemas.microsoft.com/office/drawing/2014/chart" uri="{C3380CC4-5D6E-409C-BE32-E72D297353CC}">
                <c16:uniqueId val="{0000013F-2993-41DE-A2CB-63102DE87051}"/>
              </c:ext>
            </c:extLst>
          </c:dPt>
          <c:dPt>
            <c:idx val="159"/>
            <c:invertIfNegative val="1"/>
            <c:bubble3D val="0"/>
            <c:spPr>
              <a:solidFill>
                <a:srgbClr val="00A097"/>
              </a:solidFill>
            </c:spPr>
            <c:extLst>
              <c:ext xmlns:c16="http://schemas.microsoft.com/office/drawing/2014/chart" uri="{C3380CC4-5D6E-409C-BE32-E72D297353CC}">
                <c16:uniqueId val="{00000141-2993-41DE-A2CB-63102DE87051}"/>
              </c:ext>
            </c:extLst>
          </c:dPt>
          <c:dPt>
            <c:idx val="160"/>
            <c:invertIfNegative val="1"/>
            <c:bubble3D val="0"/>
            <c:spPr>
              <a:solidFill>
                <a:srgbClr val="00A097"/>
              </a:solidFill>
            </c:spPr>
            <c:extLst>
              <c:ext xmlns:c16="http://schemas.microsoft.com/office/drawing/2014/chart" uri="{C3380CC4-5D6E-409C-BE32-E72D297353CC}">
                <c16:uniqueId val="{00000143-2993-41DE-A2CB-63102DE87051}"/>
              </c:ext>
            </c:extLst>
          </c:dPt>
          <c:dPt>
            <c:idx val="161"/>
            <c:invertIfNegative val="1"/>
            <c:bubble3D val="0"/>
            <c:spPr>
              <a:solidFill>
                <a:srgbClr val="00A097"/>
              </a:solidFill>
            </c:spPr>
            <c:extLst>
              <c:ext xmlns:c16="http://schemas.microsoft.com/office/drawing/2014/chart" uri="{C3380CC4-5D6E-409C-BE32-E72D297353CC}">
                <c16:uniqueId val="{00000145-2993-41DE-A2CB-63102DE87051}"/>
              </c:ext>
            </c:extLst>
          </c:dPt>
          <c:dPt>
            <c:idx val="162"/>
            <c:invertIfNegative val="1"/>
            <c:bubble3D val="0"/>
            <c:spPr>
              <a:solidFill>
                <a:srgbClr val="00A097"/>
              </a:solidFill>
            </c:spPr>
            <c:extLst>
              <c:ext xmlns:c16="http://schemas.microsoft.com/office/drawing/2014/chart" uri="{C3380CC4-5D6E-409C-BE32-E72D297353CC}">
                <c16:uniqueId val="{00000147-2993-41DE-A2CB-63102DE87051}"/>
              </c:ext>
            </c:extLst>
          </c:dPt>
          <c:dPt>
            <c:idx val="163"/>
            <c:invertIfNegative val="1"/>
            <c:bubble3D val="0"/>
            <c:spPr>
              <a:solidFill>
                <a:srgbClr val="00A097"/>
              </a:solidFill>
            </c:spPr>
            <c:extLst>
              <c:ext xmlns:c16="http://schemas.microsoft.com/office/drawing/2014/chart" uri="{C3380CC4-5D6E-409C-BE32-E72D297353CC}">
                <c16:uniqueId val="{00000149-2993-41DE-A2CB-63102DE87051}"/>
              </c:ext>
            </c:extLst>
          </c:dPt>
          <c:dPt>
            <c:idx val="164"/>
            <c:invertIfNegative val="1"/>
            <c:bubble3D val="0"/>
            <c:spPr>
              <a:solidFill>
                <a:srgbClr val="00A097"/>
              </a:solidFill>
            </c:spPr>
            <c:extLst>
              <c:ext xmlns:c16="http://schemas.microsoft.com/office/drawing/2014/chart" uri="{C3380CC4-5D6E-409C-BE32-E72D297353CC}">
                <c16:uniqueId val="{0000014B-2993-41DE-A2CB-63102DE87051}"/>
              </c:ext>
            </c:extLst>
          </c:dPt>
          <c:dPt>
            <c:idx val="165"/>
            <c:invertIfNegative val="1"/>
            <c:bubble3D val="0"/>
            <c:spPr>
              <a:solidFill>
                <a:srgbClr val="00A097"/>
              </a:solidFill>
            </c:spPr>
            <c:extLst>
              <c:ext xmlns:c16="http://schemas.microsoft.com/office/drawing/2014/chart" uri="{C3380CC4-5D6E-409C-BE32-E72D297353CC}">
                <c16:uniqueId val="{0000014D-2993-41DE-A2CB-63102DE87051}"/>
              </c:ext>
            </c:extLst>
          </c:dPt>
          <c:dPt>
            <c:idx val="166"/>
            <c:invertIfNegative val="1"/>
            <c:bubble3D val="0"/>
            <c:spPr>
              <a:solidFill>
                <a:srgbClr val="00A097"/>
              </a:solidFill>
            </c:spPr>
            <c:extLst>
              <c:ext xmlns:c16="http://schemas.microsoft.com/office/drawing/2014/chart" uri="{C3380CC4-5D6E-409C-BE32-E72D297353CC}">
                <c16:uniqueId val="{0000014F-2993-41DE-A2CB-63102DE87051}"/>
              </c:ext>
            </c:extLst>
          </c:dPt>
          <c:dPt>
            <c:idx val="167"/>
            <c:invertIfNegative val="1"/>
            <c:bubble3D val="0"/>
            <c:spPr>
              <a:solidFill>
                <a:srgbClr val="00A097"/>
              </a:solidFill>
            </c:spPr>
            <c:extLst>
              <c:ext xmlns:c16="http://schemas.microsoft.com/office/drawing/2014/chart" uri="{C3380CC4-5D6E-409C-BE32-E72D297353CC}">
                <c16:uniqueId val="{00000151-2993-41DE-A2CB-63102DE87051}"/>
              </c:ext>
            </c:extLst>
          </c:dPt>
          <c:dPt>
            <c:idx val="168"/>
            <c:invertIfNegative val="1"/>
            <c:bubble3D val="0"/>
            <c:spPr>
              <a:solidFill>
                <a:srgbClr val="00A097"/>
              </a:solidFill>
            </c:spPr>
            <c:extLst>
              <c:ext xmlns:c16="http://schemas.microsoft.com/office/drawing/2014/chart" uri="{C3380CC4-5D6E-409C-BE32-E72D297353CC}">
                <c16:uniqueId val="{00000153-2993-41DE-A2CB-63102DE87051}"/>
              </c:ext>
            </c:extLst>
          </c:dPt>
          <c:dPt>
            <c:idx val="169"/>
            <c:invertIfNegative val="1"/>
            <c:bubble3D val="0"/>
            <c:spPr>
              <a:solidFill>
                <a:srgbClr val="00A097"/>
              </a:solidFill>
            </c:spPr>
            <c:extLst>
              <c:ext xmlns:c16="http://schemas.microsoft.com/office/drawing/2014/chart" uri="{C3380CC4-5D6E-409C-BE32-E72D297353CC}">
                <c16:uniqueId val="{00000155-2993-41DE-A2CB-63102DE87051}"/>
              </c:ext>
            </c:extLst>
          </c:dPt>
          <c:dPt>
            <c:idx val="170"/>
            <c:invertIfNegative val="1"/>
            <c:bubble3D val="0"/>
            <c:spPr>
              <a:solidFill>
                <a:srgbClr val="00A097"/>
              </a:solidFill>
            </c:spPr>
            <c:extLst>
              <c:ext xmlns:c16="http://schemas.microsoft.com/office/drawing/2014/chart" uri="{C3380CC4-5D6E-409C-BE32-E72D297353CC}">
                <c16:uniqueId val="{00000157-2993-41DE-A2CB-63102DE87051}"/>
              </c:ext>
            </c:extLst>
          </c:dPt>
          <c:dPt>
            <c:idx val="171"/>
            <c:invertIfNegative val="1"/>
            <c:bubble3D val="0"/>
            <c:spPr>
              <a:solidFill>
                <a:srgbClr val="00A097"/>
              </a:solidFill>
            </c:spPr>
            <c:extLst>
              <c:ext xmlns:c16="http://schemas.microsoft.com/office/drawing/2014/chart" uri="{C3380CC4-5D6E-409C-BE32-E72D297353CC}">
                <c16:uniqueId val="{00000159-2993-41DE-A2CB-63102DE87051}"/>
              </c:ext>
            </c:extLst>
          </c:dPt>
          <c:dPt>
            <c:idx val="172"/>
            <c:invertIfNegative val="1"/>
            <c:bubble3D val="0"/>
            <c:spPr>
              <a:solidFill>
                <a:srgbClr val="00A097"/>
              </a:solidFill>
            </c:spPr>
            <c:extLst>
              <c:ext xmlns:c16="http://schemas.microsoft.com/office/drawing/2014/chart" uri="{C3380CC4-5D6E-409C-BE32-E72D297353CC}">
                <c16:uniqueId val="{0000015B-2993-41DE-A2CB-63102DE87051}"/>
              </c:ext>
            </c:extLst>
          </c:dPt>
          <c:dPt>
            <c:idx val="173"/>
            <c:invertIfNegative val="1"/>
            <c:bubble3D val="0"/>
            <c:spPr>
              <a:solidFill>
                <a:srgbClr val="00A097"/>
              </a:solidFill>
            </c:spPr>
            <c:extLst>
              <c:ext xmlns:c16="http://schemas.microsoft.com/office/drawing/2014/chart" uri="{C3380CC4-5D6E-409C-BE32-E72D297353CC}">
                <c16:uniqueId val="{0000015D-2993-41DE-A2CB-63102DE87051}"/>
              </c:ext>
            </c:extLst>
          </c:dPt>
          <c:dPt>
            <c:idx val="174"/>
            <c:invertIfNegative val="1"/>
            <c:bubble3D val="0"/>
            <c:spPr>
              <a:solidFill>
                <a:srgbClr val="00A097"/>
              </a:solidFill>
            </c:spPr>
            <c:extLst>
              <c:ext xmlns:c16="http://schemas.microsoft.com/office/drawing/2014/chart" uri="{C3380CC4-5D6E-409C-BE32-E72D297353CC}">
                <c16:uniqueId val="{0000015F-2993-41DE-A2CB-63102DE87051}"/>
              </c:ext>
            </c:extLst>
          </c:dPt>
          <c:dPt>
            <c:idx val="175"/>
            <c:invertIfNegative val="1"/>
            <c:bubble3D val="0"/>
            <c:spPr>
              <a:solidFill>
                <a:srgbClr val="00A097"/>
              </a:solidFill>
            </c:spPr>
            <c:extLst>
              <c:ext xmlns:c16="http://schemas.microsoft.com/office/drawing/2014/chart" uri="{C3380CC4-5D6E-409C-BE32-E72D297353CC}">
                <c16:uniqueId val="{00000161-2993-41DE-A2CB-63102DE87051}"/>
              </c:ext>
            </c:extLst>
          </c:dPt>
          <c:dPt>
            <c:idx val="176"/>
            <c:invertIfNegative val="1"/>
            <c:bubble3D val="0"/>
            <c:spPr>
              <a:solidFill>
                <a:srgbClr val="00A097"/>
              </a:solidFill>
            </c:spPr>
            <c:extLst>
              <c:ext xmlns:c16="http://schemas.microsoft.com/office/drawing/2014/chart" uri="{C3380CC4-5D6E-409C-BE32-E72D297353CC}">
                <c16:uniqueId val="{00000163-2993-41DE-A2CB-63102DE87051}"/>
              </c:ext>
            </c:extLst>
          </c:dPt>
          <c:dPt>
            <c:idx val="177"/>
            <c:invertIfNegative val="1"/>
            <c:bubble3D val="0"/>
            <c:spPr>
              <a:solidFill>
                <a:srgbClr val="00A097"/>
              </a:solidFill>
            </c:spPr>
            <c:extLst>
              <c:ext xmlns:c16="http://schemas.microsoft.com/office/drawing/2014/chart" uri="{C3380CC4-5D6E-409C-BE32-E72D297353CC}">
                <c16:uniqueId val="{00000165-2993-41DE-A2CB-63102DE87051}"/>
              </c:ext>
            </c:extLst>
          </c:dPt>
          <c:dPt>
            <c:idx val="178"/>
            <c:invertIfNegative val="1"/>
            <c:bubble3D val="0"/>
            <c:spPr>
              <a:solidFill>
                <a:srgbClr val="00A097"/>
              </a:solidFill>
            </c:spPr>
            <c:extLst>
              <c:ext xmlns:c16="http://schemas.microsoft.com/office/drawing/2014/chart" uri="{C3380CC4-5D6E-409C-BE32-E72D297353CC}">
                <c16:uniqueId val="{00000167-2993-41DE-A2CB-63102DE87051}"/>
              </c:ext>
            </c:extLst>
          </c:dPt>
          <c:dPt>
            <c:idx val="179"/>
            <c:invertIfNegative val="1"/>
            <c:bubble3D val="0"/>
            <c:spPr>
              <a:solidFill>
                <a:srgbClr val="00A097"/>
              </a:solidFill>
            </c:spPr>
            <c:extLst>
              <c:ext xmlns:c16="http://schemas.microsoft.com/office/drawing/2014/chart" uri="{C3380CC4-5D6E-409C-BE32-E72D297353CC}">
                <c16:uniqueId val="{00000169-2993-41DE-A2CB-63102DE87051}"/>
              </c:ext>
            </c:extLst>
          </c:dPt>
          <c:dPt>
            <c:idx val="180"/>
            <c:invertIfNegative val="1"/>
            <c:bubble3D val="0"/>
            <c:spPr>
              <a:solidFill>
                <a:srgbClr val="00A097"/>
              </a:solidFill>
            </c:spPr>
            <c:extLst>
              <c:ext xmlns:c16="http://schemas.microsoft.com/office/drawing/2014/chart" uri="{C3380CC4-5D6E-409C-BE32-E72D297353CC}">
                <c16:uniqueId val="{0000016B-2993-41DE-A2CB-63102DE87051}"/>
              </c:ext>
            </c:extLst>
          </c:dPt>
          <c:dPt>
            <c:idx val="181"/>
            <c:invertIfNegative val="1"/>
            <c:bubble3D val="0"/>
            <c:spPr>
              <a:solidFill>
                <a:srgbClr val="00A097"/>
              </a:solidFill>
            </c:spPr>
            <c:extLst>
              <c:ext xmlns:c16="http://schemas.microsoft.com/office/drawing/2014/chart" uri="{C3380CC4-5D6E-409C-BE32-E72D297353CC}">
                <c16:uniqueId val="{0000016D-2993-41DE-A2CB-63102DE87051}"/>
              </c:ext>
            </c:extLst>
          </c:dPt>
          <c:dPt>
            <c:idx val="182"/>
            <c:invertIfNegative val="1"/>
            <c:bubble3D val="0"/>
            <c:spPr>
              <a:solidFill>
                <a:srgbClr val="00A097"/>
              </a:solidFill>
            </c:spPr>
            <c:extLst>
              <c:ext xmlns:c16="http://schemas.microsoft.com/office/drawing/2014/chart" uri="{C3380CC4-5D6E-409C-BE32-E72D297353CC}">
                <c16:uniqueId val="{0000016F-2993-41DE-A2CB-63102DE87051}"/>
              </c:ext>
            </c:extLst>
          </c:dPt>
          <c:dPt>
            <c:idx val="183"/>
            <c:invertIfNegative val="1"/>
            <c:bubble3D val="0"/>
            <c:spPr>
              <a:solidFill>
                <a:srgbClr val="00A097"/>
              </a:solidFill>
            </c:spPr>
            <c:extLst>
              <c:ext xmlns:c16="http://schemas.microsoft.com/office/drawing/2014/chart" uri="{C3380CC4-5D6E-409C-BE32-E72D297353CC}">
                <c16:uniqueId val="{00000171-2993-41DE-A2CB-63102DE87051}"/>
              </c:ext>
            </c:extLst>
          </c:dPt>
          <c:dPt>
            <c:idx val="184"/>
            <c:invertIfNegative val="1"/>
            <c:bubble3D val="0"/>
            <c:spPr>
              <a:solidFill>
                <a:srgbClr val="00A097"/>
              </a:solidFill>
            </c:spPr>
            <c:extLst>
              <c:ext xmlns:c16="http://schemas.microsoft.com/office/drawing/2014/chart" uri="{C3380CC4-5D6E-409C-BE32-E72D297353CC}">
                <c16:uniqueId val="{00000173-2993-41DE-A2CB-63102DE87051}"/>
              </c:ext>
            </c:extLst>
          </c:dPt>
          <c:dPt>
            <c:idx val="185"/>
            <c:invertIfNegative val="1"/>
            <c:bubble3D val="0"/>
            <c:spPr>
              <a:solidFill>
                <a:srgbClr val="00A097"/>
              </a:solidFill>
            </c:spPr>
            <c:extLst>
              <c:ext xmlns:c16="http://schemas.microsoft.com/office/drawing/2014/chart" uri="{C3380CC4-5D6E-409C-BE32-E72D297353CC}">
                <c16:uniqueId val="{00000175-2993-41DE-A2CB-63102DE87051}"/>
              </c:ext>
            </c:extLst>
          </c:dPt>
          <c:dPt>
            <c:idx val="186"/>
            <c:invertIfNegative val="1"/>
            <c:bubble3D val="0"/>
            <c:spPr>
              <a:solidFill>
                <a:srgbClr val="00A097"/>
              </a:solidFill>
            </c:spPr>
            <c:extLst>
              <c:ext xmlns:c16="http://schemas.microsoft.com/office/drawing/2014/chart" uri="{C3380CC4-5D6E-409C-BE32-E72D297353CC}">
                <c16:uniqueId val="{00000177-2993-41DE-A2CB-63102DE87051}"/>
              </c:ext>
            </c:extLst>
          </c:dPt>
          <c:dPt>
            <c:idx val="187"/>
            <c:invertIfNegative val="1"/>
            <c:bubble3D val="0"/>
            <c:spPr>
              <a:solidFill>
                <a:srgbClr val="00A097"/>
              </a:solidFill>
            </c:spPr>
            <c:extLst>
              <c:ext xmlns:c16="http://schemas.microsoft.com/office/drawing/2014/chart" uri="{C3380CC4-5D6E-409C-BE32-E72D297353CC}">
                <c16:uniqueId val="{00000179-2993-41DE-A2CB-63102DE87051}"/>
              </c:ext>
            </c:extLst>
          </c:dPt>
          <c:dPt>
            <c:idx val="188"/>
            <c:invertIfNegative val="1"/>
            <c:bubble3D val="0"/>
            <c:spPr>
              <a:solidFill>
                <a:srgbClr val="00A097"/>
              </a:solidFill>
            </c:spPr>
            <c:extLst>
              <c:ext xmlns:c16="http://schemas.microsoft.com/office/drawing/2014/chart" uri="{C3380CC4-5D6E-409C-BE32-E72D297353CC}">
                <c16:uniqueId val="{0000017B-2993-41DE-A2CB-63102DE87051}"/>
              </c:ext>
            </c:extLst>
          </c:dPt>
          <c:dPt>
            <c:idx val="189"/>
            <c:invertIfNegative val="1"/>
            <c:bubble3D val="0"/>
            <c:spPr>
              <a:solidFill>
                <a:srgbClr val="00A097"/>
              </a:solidFill>
            </c:spPr>
            <c:extLst>
              <c:ext xmlns:c16="http://schemas.microsoft.com/office/drawing/2014/chart" uri="{C3380CC4-5D6E-409C-BE32-E72D297353CC}">
                <c16:uniqueId val="{0000017D-2993-41DE-A2CB-63102DE87051}"/>
              </c:ext>
            </c:extLst>
          </c:dPt>
          <c:dPt>
            <c:idx val="190"/>
            <c:invertIfNegative val="1"/>
            <c:bubble3D val="0"/>
            <c:spPr>
              <a:solidFill>
                <a:srgbClr val="00A097"/>
              </a:solidFill>
            </c:spPr>
            <c:extLst>
              <c:ext xmlns:c16="http://schemas.microsoft.com/office/drawing/2014/chart" uri="{C3380CC4-5D6E-409C-BE32-E72D297353CC}">
                <c16:uniqueId val="{0000017F-2993-41DE-A2CB-63102DE87051}"/>
              </c:ext>
            </c:extLst>
          </c:dPt>
          <c:dPt>
            <c:idx val="191"/>
            <c:invertIfNegative val="1"/>
            <c:bubble3D val="0"/>
            <c:spPr>
              <a:solidFill>
                <a:srgbClr val="00A097"/>
              </a:solidFill>
            </c:spPr>
            <c:extLst>
              <c:ext xmlns:c16="http://schemas.microsoft.com/office/drawing/2014/chart" uri="{C3380CC4-5D6E-409C-BE32-E72D297353CC}">
                <c16:uniqueId val="{00000181-2993-41DE-A2CB-63102DE87051}"/>
              </c:ext>
            </c:extLst>
          </c:dPt>
          <c:dPt>
            <c:idx val="192"/>
            <c:invertIfNegative val="1"/>
            <c:bubble3D val="0"/>
            <c:spPr>
              <a:solidFill>
                <a:srgbClr val="00A097"/>
              </a:solidFill>
            </c:spPr>
            <c:extLst>
              <c:ext xmlns:c16="http://schemas.microsoft.com/office/drawing/2014/chart" uri="{C3380CC4-5D6E-409C-BE32-E72D297353CC}">
                <c16:uniqueId val="{00000183-2993-41DE-A2CB-63102DE87051}"/>
              </c:ext>
            </c:extLst>
          </c:dPt>
          <c:dPt>
            <c:idx val="193"/>
            <c:invertIfNegative val="1"/>
            <c:bubble3D val="0"/>
            <c:spPr>
              <a:solidFill>
                <a:srgbClr val="00A097"/>
              </a:solidFill>
            </c:spPr>
            <c:extLst>
              <c:ext xmlns:c16="http://schemas.microsoft.com/office/drawing/2014/chart" uri="{C3380CC4-5D6E-409C-BE32-E72D297353CC}">
                <c16:uniqueId val="{00000185-2993-41DE-A2CB-63102DE87051}"/>
              </c:ext>
            </c:extLst>
          </c:dPt>
          <c:dPt>
            <c:idx val="194"/>
            <c:invertIfNegative val="1"/>
            <c:bubble3D val="0"/>
            <c:spPr>
              <a:solidFill>
                <a:srgbClr val="00A097"/>
              </a:solidFill>
            </c:spPr>
            <c:extLst>
              <c:ext xmlns:c16="http://schemas.microsoft.com/office/drawing/2014/chart" uri="{C3380CC4-5D6E-409C-BE32-E72D297353CC}">
                <c16:uniqueId val="{00000187-2993-41DE-A2CB-63102DE87051}"/>
              </c:ext>
            </c:extLst>
          </c:dPt>
          <c:dPt>
            <c:idx val="195"/>
            <c:invertIfNegative val="1"/>
            <c:bubble3D val="0"/>
            <c:spPr>
              <a:solidFill>
                <a:srgbClr val="00A097"/>
              </a:solidFill>
            </c:spPr>
            <c:extLst>
              <c:ext xmlns:c16="http://schemas.microsoft.com/office/drawing/2014/chart" uri="{C3380CC4-5D6E-409C-BE32-E72D297353CC}">
                <c16:uniqueId val="{00000189-2993-41DE-A2CB-63102DE87051}"/>
              </c:ext>
            </c:extLst>
          </c:dPt>
          <c:dPt>
            <c:idx val="196"/>
            <c:invertIfNegative val="1"/>
            <c:bubble3D val="0"/>
            <c:spPr>
              <a:solidFill>
                <a:srgbClr val="00A097"/>
              </a:solidFill>
            </c:spPr>
            <c:extLst>
              <c:ext xmlns:c16="http://schemas.microsoft.com/office/drawing/2014/chart" uri="{C3380CC4-5D6E-409C-BE32-E72D297353CC}">
                <c16:uniqueId val="{0000018B-2993-41DE-A2CB-63102DE87051}"/>
              </c:ext>
            </c:extLst>
          </c:dPt>
          <c:dPt>
            <c:idx val="197"/>
            <c:invertIfNegative val="1"/>
            <c:bubble3D val="0"/>
            <c:spPr>
              <a:solidFill>
                <a:srgbClr val="00A097"/>
              </a:solidFill>
            </c:spPr>
            <c:extLst>
              <c:ext xmlns:c16="http://schemas.microsoft.com/office/drawing/2014/chart" uri="{C3380CC4-5D6E-409C-BE32-E72D297353CC}">
                <c16:uniqueId val="{0000018D-2993-41DE-A2CB-63102DE87051}"/>
              </c:ext>
            </c:extLst>
          </c:dPt>
          <c:dPt>
            <c:idx val="198"/>
            <c:invertIfNegative val="1"/>
            <c:bubble3D val="0"/>
            <c:spPr>
              <a:solidFill>
                <a:srgbClr val="00A097"/>
              </a:solidFill>
            </c:spPr>
            <c:extLst>
              <c:ext xmlns:c16="http://schemas.microsoft.com/office/drawing/2014/chart" uri="{C3380CC4-5D6E-409C-BE32-E72D297353CC}">
                <c16:uniqueId val="{0000018F-2993-41DE-A2CB-63102DE87051}"/>
              </c:ext>
            </c:extLst>
          </c:dPt>
          <c:dPt>
            <c:idx val="199"/>
            <c:invertIfNegative val="1"/>
            <c:bubble3D val="0"/>
            <c:spPr>
              <a:solidFill>
                <a:srgbClr val="00A097"/>
              </a:solidFill>
            </c:spPr>
            <c:extLst>
              <c:ext xmlns:c16="http://schemas.microsoft.com/office/drawing/2014/chart" uri="{C3380CC4-5D6E-409C-BE32-E72D297353CC}">
                <c16:uniqueId val="{00000191-2993-41DE-A2CB-63102DE87051}"/>
              </c:ext>
            </c:extLst>
          </c:dPt>
          <c:dPt>
            <c:idx val="200"/>
            <c:invertIfNegative val="1"/>
            <c:bubble3D val="0"/>
            <c:spPr>
              <a:solidFill>
                <a:srgbClr val="00A097"/>
              </a:solidFill>
            </c:spPr>
            <c:extLst>
              <c:ext xmlns:c16="http://schemas.microsoft.com/office/drawing/2014/chart" uri="{C3380CC4-5D6E-409C-BE32-E72D297353CC}">
                <c16:uniqueId val="{00000193-2993-41DE-A2CB-63102DE87051}"/>
              </c:ext>
            </c:extLst>
          </c:dPt>
          <c:dPt>
            <c:idx val="201"/>
            <c:invertIfNegative val="1"/>
            <c:bubble3D val="0"/>
            <c:spPr>
              <a:solidFill>
                <a:srgbClr val="00A097"/>
              </a:solidFill>
            </c:spPr>
            <c:extLst>
              <c:ext xmlns:c16="http://schemas.microsoft.com/office/drawing/2014/chart" uri="{C3380CC4-5D6E-409C-BE32-E72D297353CC}">
                <c16:uniqueId val="{00000195-2993-41DE-A2CB-63102DE87051}"/>
              </c:ext>
            </c:extLst>
          </c:dPt>
          <c:dPt>
            <c:idx val="202"/>
            <c:invertIfNegative val="1"/>
            <c:bubble3D val="0"/>
            <c:spPr>
              <a:solidFill>
                <a:srgbClr val="00A097"/>
              </a:solidFill>
            </c:spPr>
            <c:extLst>
              <c:ext xmlns:c16="http://schemas.microsoft.com/office/drawing/2014/chart" uri="{C3380CC4-5D6E-409C-BE32-E72D297353CC}">
                <c16:uniqueId val="{00000197-2993-41DE-A2CB-63102DE87051}"/>
              </c:ext>
            </c:extLst>
          </c:dPt>
          <c:dPt>
            <c:idx val="203"/>
            <c:invertIfNegative val="1"/>
            <c:bubble3D val="0"/>
            <c:spPr>
              <a:solidFill>
                <a:srgbClr val="00A097"/>
              </a:solidFill>
            </c:spPr>
            <c:extLst>
              <c:ext xmlns:c16="http://schemas.microsoft.com/office/drawing/2014/chart" uri="{C3380CC4-5D6E-409C-BE32-E72D297353CC}">
                <c16:uniqueId val="{00000199-2993-41DE-A2CB-63102DE87051}"/>
              </c:ext>
            </c:extLst>
          </c:dPt>
          <c:dPt>
            <c:idx val="204"/>
            <c:invertIfNegative val="1"/>
            <c:bubble3D val="0"/>
            <c:spPr>
              <a:solidFill>
                <a:srgbClr val="00A097"/>
              </a:solidFill>
            </c:spPr>
            <c:extLst>
              <c:ext xmlns:c16="http://schemas.microsoft.com/office/drawing/2014/chart" uri="{C3380CC4-5D6E-409C-BE32-E72D297353CC}">
                <c16:uniqueId val="{0000019B-2993-41DE-A2CB-63102DE87051}"/>
              </c:ext>
            </c:extLst>
          </c:dPt>
          <c:dPt>
            <c:idx val="205"/>
            <c:invertIfNegative val="1"/>
            <c:bubble3D val="0"/>
            <c:spPr>
              <a:solidFill>
                <a:srgbClr val="00A097"/>
              </a:solidFill>
            </c:spPr>
            <c:extLst>
              <c:ext xmlns:c16="http://schemas.microsoft.com/office/drawing/2014/chart" uri="{C3380CC4-5D6E-409C-BE32-E72D297353CC}">
                <c16:uniqueId val="{0000019D-2993-41DE-A2CB-63102DE87051}"/>
              </c:ext>
            </c:extLst>
          </c:dPt>
          <c:dPt>
            <c:idx val="206"/>
            <c:invertIfNegative val="1"/>
            <c:bubble3D val="0"/>
            <c:spPr>
              <a:solidFill>
                <a:srgbClr val="00A097"/>
              </a:solidFill>
            </c:spPr>
            <c:extLst>
              <c:ext xmlns:c16="http://schemas.microsoft.com/office/drawing/2014/chart" uri="{C3380CC4-5D6E-409C-BE32-E72D297353CC}">
                <c16:uniqueId val="{0000019F-2993-41DE-A2CB-63102DE87051}"/>
              </c:ext>
            </c:extLst>
          </c:dPt>
          <c:dPt>
            <c:idx val="207"/>
            <c:invertIfNegative val="1"/>
            <c:bubble3D val="0"/>
            <c:spPr>
              <a:solidFill>
                <a:srgbClr val="00A097"/>
              </a:solidFill>
            </c:spPr>
            <c:extLst>
              <c:ext xmlns:c16="http://schemas.microsoft.com/office/drawing/2014/chart" uri="{C3380CC4-5D6E-409C-BE32-E72D297353CC}">
                <c16:uniqueId val="{000001A1-2993-41DE-A2CB-63102DE87051}"/>
              </c:ext>
            </c:extLst>
          </c:dPt>
          <c:dPt>
            <c:idx val="208"/>
            <c:invertIfNegative val="1"/>
            <c:bubble3D val="0"/>
            <c:spPr>
              <a:solidFill>
                <a:srgbClr val="00A097"/>
              </a:solidFill>
            </c:spPr>
            <c:extLst>
              <c:ext xmlns:c16="http://schemas.microsoft.com/office/drawing/2014/chart" uri="{C3380CC4-5D6E-409C-BE32-E72D297353CC}">
                <c16:uniqueId val="{000001A3-2993-41DE-A2CB-63102DE87051}"/>
              </c:ext>
            </c:extLst>
          </c:dPt>
          <c:dPt>
            <c:idx val="209"/>
            <c:invertIfNegative val="1"/>
            <c:bubble3D val="0"/>
            <c:spPr>
              <a:solidFill>
                <a:srgbClr val="00A097"/>
              </a:solidFill>
            </c:spPr>
            <c:extLst>
              <c:ext xmlns:c16="http://schemas.microsoft.com/office/drawing/2014/chart" uri="{C3380CC4-5D6E-409C-BE32-E72D297353CC}">
                <c16:uniqueId val="{000001A5-2993-41DE-A2CB-63102DE87051}"/>
              </c:ext>
            </c:extLst>
          </c:dPt>
          <c:dPt>
            <c:idx val="210"/>
            <c:invertIfNegative val="1"/>
            <c:bubble3D val="0"/>
            <c:spPr>
              <a:solidFill>
                <a:srgbClr val="00A097"/>
              </a:solidFill>
            </c:spPr>
            <c:extLst>
              <c:ext xmlns:c16="http://schemas.microsoft.com/office/drawing/2014/chart" uri="{C3380CC4-5D6E-409C-BE32-E72D297353CC}">
                <c16:uniqueId val="{000001A7-980B-4B2B-A6BA-FBAB5FE3CDBF}"/>
              </c:ext>
            </c:extLst>
          </c:dPt>
          <c:dPt>
            <c:idx val="211"/>
            <c:invertIfNegative val="1"/>
            <c:bubble3D val="0"/>
            <c:spPr>
              <a:solidFill>
                <a:srgbClr val="00A097"/>
              </a:solidFill>
            </c:spPr>
            <c:extLst>
              <c:ext xmlns:c16="http://schemas.microsoft.com/office/drawing/2014/chart" uri="{C3380CC4-5D6E-409C-BE32-E72D297353CC}">
                <c16:uniqueId val="{000001A9-980B-4B2B-A6BA-FBAB5FE3CDBF}"/>
              </c:ext>
            </c:extLst>
          </c:dPt>
          <c:dPt>
            <c:idx val="212"/>
            <c:invertIfNegative val="1"/>
            <c:bubble3D val="0"/>
            <c:spPr>
              <a:solidFill>
                <a:srgbClr val="00A097"/>
              </a:solidFill>
            </c:spPr>
            <c:extLst>
              <c:ext xmlns:c16="http://schemas.microsoft.com/office/drawing/2014/chart" uri="{C3380CC4-5D6E-409C-BE32-E72D297353CC}">
                <c16:uniqueId val="{000001AB-980B-4B2B-A6BA-FBAB5FE3CDBF}"/>
              </c:ext>
            </c:extLst>
          </c:dPt>
          <c:dPt>
            <c:idx val="213"/>
            <c:invertIfNegative val="1"/>
            <c:bubble3D val="0"/>
            <c:spPr>
              <a:solidFill>
                <a:srgbClr val="00A097"/>
              </a:solidFill>
            </c:spPr>
            <c:extLst>
              <c:ext xmlns:c16="http://schemas.microsoft.com/office/drawing/2014/chart" uri="{C3380CC4-5D6E-409C-BE32-E72D297353CC}">
                <c16:uniqueId val="{000001AD-980B-4B2B-A6BA-FBAB5FE3CDBF}"/>
              </c:ext>
            </c:extLst>
          </c:dPt>
          <c:dPt>
            <c:idx val="214"/>
            <c:invertIfNegative val="1"/>
            <c:bubble3D val="0"/>
            <c:spPr>
              <a:solidFill>
                <a:srgbClr val="00A097"/>
              </a:solidFill>
            </c:spPr>
            <c:extLst>
              <c:ext xmlns:c16="http://schemas.microsoft.com/office/drawing/2014/chart" uri="{C3380CC4-5D6E-409C-BE32-E72D297353CC}">
                <c16:uniqueId val="{000001AF-980B-4B2B-A6BA-FBAB5FE3CDBF}"/>
              </c:ext>
            </c:extLst>
          </c:dPt>
          <c:dPt>
            <c:idx val="215"/>
            <c:invertIfNegative val="1"/>
            <c:bubble3D val="0"/>
            <c:spPr>
              <a:solidFill>
                <a:srgbClr val="00A097"/>
              </a:solidFill>
            </c:spPr>
            <c:extLst>
              <c:ext xmlns:c16="http://schemas.microsoft.com/office/drawing/2014/chart" uri="{C3380CC4-5D6E-409C-BE32-E72D297353CC}">
                <c16:uniqueId val="{000001B1-980B-4B2B-A6BA-FBAB5FE3CDBF}"/>
              </c:ext>
            </c:extLst>
          </c:dPt>
          <c:dPt>
            <c:idx val="216"/>
            <c:invertIfNegative val="1"/>
            <c:bubble3D val="0"/>
            <c:spPr>
              <a:solidFill>
                <a:srgbClr val="00A097"/>
              </a:solidFill>
            </c:spPr>
            <c:extLst>
              <c:ext xmlns:c16="http://schemas.microsoft.com/office/drawing/2014/chart" uri="{C3380CC4-5D6E-409C-BE32-E72D297353CC}">
                <c16:uniqueId val="{000001B3-980B-4B2B-A6BA-FBAB5FE3CDBF}"/>
              </c:ext>
            </c:extLst>
          </c:dPt>
          <c:dPt>
            <c:idx val="217"/>
            <c:invertIfNegative val="1"/>
            <c:bubble3D val="0"/>
            <c:spPr>
              <a:solidFill>
                <a:srgbClr val="00A097"/>
              </a:solidFill>
            </c:spPr>
            <c:extLst>
              <c:ext xmlns:c16="http://schemas.microsoft.com/office/drawing/2014/chart" uri="{C3380CC4-5D6E-409C-BE32-E72D297353CC}">
                <c16:uniqueId val="{000001B5-980B-4B2B-A6BA-FBAB5FE3CDBF}"/>
              </c:ext>
            </c:extLst>
          </c:dPt>
          <c:dPt>
            <c:idx val="218"/>
            <c:invertIfNegative val="1"/>
            <c:bubble3D val="0"/>
            <c:spPr>
              <a:solidFill>
                <a:srgbClr val="00A097"/>
              </a:solidFill>
            </c:spPr>
            <c:extLst>
              <c:ext xmlns:c16="http://schemas.microsoft.com/office/drawing/2014/chart" uri="{C3380CC4-5D6E-409C-BE32-E72D297353CC}">
                <c16:uniqueId val="{000001B7-980B-4B2B-A6BA-FBAB5FE3CDBF}"/>
              </c:ext>
            </c:extLst>
          </c:dPt>
          <c:dPt>
            <c:idx val="219"/>
            <c:invertIfNegative val="1"/>
            <c:bubble3D val="0"/>
            <c:spPr>
              <a:solidFill>
                <a:srgbClr val="00A097"/>
              </a:solidFill>
            </c:spPr>
            <c:extLst>
              <c:ext xmlns:c16="http://schemas.microsoft.com/office/drawing/2014/chart" uri="{C3380CC4-5D6E-409C-BE32-E72D297353CC}">
                <c16:uniqueId val="{000001B9-980B-4B2B-A6BA-FBAB5FE3CDBF}"/>
              </c:ext>
            </c:extLst>
          </c:dPt>
          <c:dPt>
            <c:idx val="220"/>
            <c:invertIfNegative val="1"/>
            <c:bubble3D val="0"/>
            <c:spPr>
              <a:solidFill>
                <a:srgbClr val="00A097"/>
              </a:solidFill>
            </c:spPr>
            <c:extLst>
              <c:ext xmlns:c16="http://schemas.microsoft.com/office/drawing/2014/chart" uri="{C3380CC4-5D6E-409C-BE32-E72D297353CC}">
                <c16:uniqueId val="{000001BB-980B-4B2B-A6BA-FBAB5FE3CDBF}"/>
              </c:ext>
            </c:extLst>
          </c:dPt>
          <c:dPt>
            <c:idx val="221"/>
            <c:invertIfNegative val="1"/>
            <c:bubble3D val="0"/>
            <c:spPr>
              <a:solidFill>
                <a:srgbClr val="00A097"/>
              </a:solidFill>
            </c:spPr>
            <c:extLst>
              <c:ext xmlns:c16="http://schemas.microsoft.com/office/drawing/2014/chart" uri="{C3380CC4-5D6E-409C-BE32-E72D297353CC}">
                <c16:uniqueId val="{000001BD-980B-4B2B-A6BA-FBAB5FE3CDBF}"/>
              </c:ext>
            </c:extLst>
          </c:dPt>
          <c:dPt>
            <c:idx val="222"/>
            <c:invertIfNegative val="1"/>
            <c:bubble3D val="0"/>
            <c:spPr>
              <a:solidFill>
                <a:srgbClr val="00A097"/>
              </a:solidFill>
            </c:spPr>
            <c:extLst>
              <c:ext xmlns:c16="http://schemas.microsoft.com/office/drawing/2014/chart" uri="{C3380CC4-5D6E-409C-BE32-E72D297353CC}">
                <c16:uniqueId val="{000001BF-980B-4B2B-A6BA-FBAB5FE3CDBF}"/>
              </c:ext>
            </c:extLst>
          </c:dPt>
          <c:dPt>
            <c:idx val="223"/>
            <c:invertIfNegative val="1"/>
            <c:bubble3D val="0"/>
            <c:spPr>
              <a:solidFill>
                <a:srgbClr val="00A097"/>
              </a:solidFill>
            </c:spPr>
            <c:extLst>
              <c:ext xmlns:c16="http://schemas.microsoft.com/office/drawing/2014/chart" uri="{C3380CC4-5D6E-409C-BE32-E72D297353CC}">
                <c16:uniqueId val="{000001C1-980B-4B2B-A6BA-FBAB5FE3CDBF}"/>
              </c:ext>
            </c:extLst>
          </c:dPt>
          <c:dPt>
            <c:idx val="224"/>
            <c:invertIfNegative val="1"/>
            <c:bubble3D val="0"/>
            <c:spPr>
              <a:solidFill>
                <a:srgbClr val="00A097"/>
              </a:solidFill>
            </c:spPr>
            <c:extLst>
              <c:ext xmlns:c16="http://schemas.microsoft.com/office/drawing/2014/chart" uri="{C3380CC4-5D6E-409C-BE32-E72D297353CC}">
                <c16:uniqueId val="{000001C3-980B-4B2B-A6BA-FBAB5FE3CDBF}"/>
              </c:ext>
            </c:extLst>
          </c:dPt>
          <c:dPt>
            <c:idx val="225"/>
            <c:invertIfNegative val="1"/>
            <c:bubble3D val="0"/>
            <c:spPr>
              <a:solidFill>
                <a:srgbClr val="00A097"/>
              </a:solidFill>
            </c:spPr>
            <c:extLst>
              <c:ext xmlns:c16="http://schemas.microsoft.com/office/drawing/2014/chart" uri="{C3380CC4-5D6E-409C-BE32-E72D297353CC}">
                <c16:uniqueId val="{000001C5-980B-4B2B-A6BA-FBAB5FE3CDBF}"/>
              </c:ext>
            </c:extLst>
          </c:dPt>
          <c:dPt>
            <c:idx val="226"/>
            <c:invertIfNegative val="1"/>
            <c:bubble3D val="0"/>
            <c:spPr>
              <a:solidFill>
                <a:srgbClr val="00A097"/>
              </a:solidFill>
            </c:spPr>
            <c:extLst>
              <c:ext xmlns:c16="http://schemas.microsoft.com/office/drawing/2014/chart" uri="{C3380CC4-5D6E-409C-BE32-E72D297353CC}">
                <c16:uniqueId val="{000001C7-980B-4B2B-A6BA-FBAB5FE3CDBF}"/>
              </c:ext>
            </c:extLst>
          </c:dPt>
          <c:dPt>
            <c:idx val="227"/>
            <c:invertIfNegative val="1"/>
            <c:bubble3D val="0"/>
            <c:spPr>
              <a:solidFill>
                <a:srgbClr val="00A097"/>
              </a:solidFill>
            </c:spPr>
            <c:extLst>
              <c:ext xmlns:c16="http://schemas.microsoft.com/office/drawing/2014/chart" uri="{C3380CC4-5D6E-409C-BE32-E72D297353CC}">
                <c16:uniqueId val="{000001C9-980B-4B2B-A6BA-FBAB5FE3CDBF}"/>
              </c:ext>
            </c:extLst>
          </c:dPt>
          <c:dPt>
            <c:idx val="228"/>
            <c:invertIfNegative val="1"/>
            <c:bubble3D val="0"/>
            <c:spPr>
              <a:solidFill>
                <a:srgbClr val="00A097"/>
              </a:solidFill>
            </c:spPr>
            <c:extLst>
              <c:ext xmlns:c16="http://schemas.microsoft.com/office/drawing/2014/chart" uri="{C3380CC4-5D6E-409C-BE32-E72D297353CC}">
                <c16:uniqueId val="{000001CB-980B-4B2B-A6BA-FBAB5FE3CDBF}"/>
              </c:ext>
            </c:extLst>
          </c:dPt>
          <c:dPt>
            <c:idx val="229"/>
            <c:invertIfNegative val="1"/>
            <c:bubble3D val="0"/>
            <c:spPr>
              <a:solidFill>
                <a:srgbClr val="00A097"/>
              </a:solidFill>
            </c:spPr>
            <c:extLst>
              <c:ext xmlns:c16="http://schemas.microsoft.com/office/drawing/2014/chart" uri="{C3380CC4-5D6E-409C-BE32-E72D297353CC}">
                <c16:uniqueId val="{000001CD-980B-4B2B-A6BA-FBAB5FE3CDBF}"/>
              </c:ext>
            </c:extLst>
          </c:dPt>
          <c:dPt>
            <c:idx val="230"/>
            <c:invertIfNegative val="1"/>
            <c:bubble3D val="0"/>
            <c:spPr>
              <a:solidFill>
                <a:srgbClr val="00A097"/>
              </a:solidFill>
            </c:spPr>
            <c:extLst>
              <c:ext xmlns:c16="http://schemas.microsoft.com/office/drawing/2014/chart" uri="{C3380CC4-5D6E-409C-BE32-E72D297353CC}">
                <c16:uniqueId val="{000001CF-980B-4B2B-A6BA-FBAB5FE3CDBF}"/>
              </c:ext>
            </c:extLst>
          </c:dPt>
          <c:dPt>
            <c:idx val="231"/>
            <c:invertIfNegative val="1"/>
            <c:bubble3D val="0"/>
            <c:spPr>
              <a:solidFill>
                <a:srgbClr val="00A097"/>
              </a:solidFill>
            </c:spPr>
            <c:extLst>
              <c:ext xmlns:c16="http://schemas.microsoft.com/office/drawing/2014/chart" uri="{C3380CC4-5D6E-409C-BE32-E72D297353CC}">
                <c16:uniqueId val="{000001D1-980B-4B2B-A6BA-FBAB5FE3CDBF}"/>
              </c:ext>
            </c:extLst>
          </c:dPt>
          <c:dPt>
            <c:idx val="232"/>
            <c:invertIfNegative val="1"/>
            <c:bubble3D val="0"/>
            <c:spPr>
              <a:solidFill>
                <a:srgbClr val="00A097"/>
              </a:solidFill>
            </c:spPr>
            <c:extLst>
              <c:ext xmlns:c16="http://schemas.microsoft.com/office/drawing/2014/chart" uri="{C3380CC4-5D6E-409C-BE32-E72D297353CC}">
                <c16:uniqueId val="{000001D3-980B-4B2B-A6BA-FBAB5FE3CDBF}"/>
              </c:ext>
            </c:extLst>
          </c:dPt>
          <c:dPt>
            <c:idx val="233"/>
            <c:invertIfNegative val="1"/>
            <c:bubble3D val="0"/>
            <c:spPr>
              <a:solidFill>
                <a:srgbClr val="00A097"/>
              </a:solidFill>
            </c:spPr>
            <c:extLst>
              <c:ext xmlns:c16="http://schemas.microsoft.com/office/drawing/2014/chart" uri="{C3380CC4-5D6E-409C-BE32-E72D297353CC}">
                <c16:uniqueId val="{000001D5-980B-4B2B-A6BA-FBAB5FE3CDBF}"/>
              </c:ext>
            </c:extLst>
          </c:dPt>
          <c:dPt>
            <c:idx val="234"/>
            <c:invertIfNegative val="1"/>
            <c:bubble3D val="0"/>
            <c:spPr>
              <a:solidFill>
                <a:srgbClr val="00A097"/>
              </a:solidFill>
            </c:spPr>
            <c:extLst>
              <c:ext xmlns:c16="http://schemas.microsoft.com/office/drawing/2014/chart" uri="{C3380CC4-5D6E-409C-BE32-E72D297353CC}">
                <c16:uniqueId val="{000001D7-980B-4B2B-A6BA-FBAB5FE3CDBF}"/>
              </c:ext>
            </c:extLst>
          </c:dPt>
          <c:dPt>
            <c:idx val="235"/>
            <c:invertIfNegative val="1"/>
            <c:bubble3D val="0"/>
            <c:spPr>
              <a:solidFill>
                <a:srgbClr val="00A097"/>
              </a:solidFill>
            </c:spPr>
            <c:extLst>
              <c:ext xmlns:c16="http://schemas.microsoft.com/office/drawing/2014/chart" uri="{C3380CC4-5D6E-409C-BE32-E72D297353CC}">
                <c16:uniqueId val="{000001D9-980B-4B2B-A6BA-FBAB5FE3CDBF}"/>
              </c:ext>
            </c:extLst>
          </c:dPt>
          <c:dPt>
            <c:idx val="236"/>
            <c:invertIfNegative val="1"/>
            <c:bubble3D val="0"/>
            <c:spPr>
              <a:solidFill>
                <a:srgbClr val="00A097"/>
              </a:solidFill>
            </c:spPr>
            <c:extLst>
              <c:ext xmlns:c16="http://schemas.microsoft.com/office/drawing/2014/chart" uri="{C3380CC4-5D6E-409C-BE32-E72D297353CC}">
                <c16:uniqueId val="{000001DB-980B-4B2B-A6BA-FBAB5FE3CDBF}"/>
              </c:ext>
            </c:extLst>
          </c:dPt>
          <c:dPt>
            <c:idx val="237"/>
            <c:invertIfNegative val="1"/>
            <c:bubble3D val="0"/>
            <c:spPr>
              <a:solidFill>
                <a:srgbClr val="00A097"/>
              </a:solidFill>
            </c:spPr>
            <c:extLst>
              <c:ext xmlns:c16="http://schemas.microsoft.com/office/drawing/2014/chart" uri="{C3380CC4-5D6E-409C-BE32-E72D297353CC}">
                <c16:uniqueId val="{000001DD-980B-4B2B-A6BA-FBAB5FE3CDBF}"/>
              </c:ext>
            </c:extLst>
          </c:dPt>
          <c:dPt>
            <c:idx val="238"/>
            <c:invertIfNegative val="1"/>
            <c:bubble3D val="0"/>
            <c:spPr>
              <a:solidFill>
                <a:srgbClr val="00A097"/>
              </a:solidFill>
            </c:spPr>
            <c:extLst>
              <c:ext xmlns:c16="http://schemas.microsoft.com/office/drawing/2014/chart" uri="{C3380CC4-5D6E-409C-BE32-E72D297353CC}">
                <c16:uniqueId val="{000001DF-980B-4B2B-A6BA-FBAB5FE3CDBF}"/>
              </c:ext>
            </c:extLst>
          </c:dPt>
          <c:dPt>
            <c:idx val="239"/>
            <c:invertIfNegative val="1"/>
            <c:bubble3D val="0"/>
            <c:spPr>
              <a:solidFill>
                <a:srgbClr val="00A097"/>
              </a:solidFill>
            </c:spPr>
            <c:extLst>
              <c:ext xmlns:c16="http://schemas.microsoft.com/office/drawing/2014/chart" uri="{C3380CC4-5D6E-409C-BE32-E72D297353CC}">
                <c16:uniqueId val="{000001E1-980B-4B2B-A6BA-FBAB5FE3CDBF}"/>
              </c:ext>
            </c:extLst>
          </c:dPt>
          <c:dPt>
            <c:idx val="240"/>
            <c:invertIfNegative val="1"/>
            <c:bubble3D val="0"/>
            <c:spPr>
              <a:solidFill>
                <a:srgbClr val="00A097"/>
              </a:solidFill>
            </c:spPr>
            <c:extLst>
              <c:ext xmlns:c16="http://schemas.microsoft.com/office/drawing/2014/chart" uri="{C3380CC4-5D6E-409C-BE32-E72D297353CC}">
                <c16:uniqueId val="{000001E3-980B-4B2B-A6BA-FBAB5FE3CDBF}"/>
              </c:ext>
            </c:extLst>
          </c:dPt>
          <c:dPt>
            <c:idx val="241"/>
            <c:invertIfNegative val="1"/>
            <c:bubble3D val="0"/>
            <c:spPr>
              <a:solidFill>
                <a:srgbClr val="00A097"/>
              </a:solidFill>
            </c:spPr>
            <c:extLst>
              <c:ext xmlns:c16="http://schemas.microsoft.com/office/drawing/2014/chart" uri="{C3380CC4-5D6E-409C-BE32-E72D297353CC}">
                <c16:uniqueId val="{000001E5-980B-4B2B-A6BA-FBAB5FE3CDBF}"/>
              </c:ext>
            </c:extLst>
          </c:dPt>
          <c:dPt>
            <c:idx val="242"/>
            <c:invertIfNegative val="1"/>
            <c:bubble3D val="0"/>
            <c:spPr>
              <a:solidFill>
                <a:srgbClr val="00A097"/>
              </a:solidFill>
            </c:spPr>
            <c:extLst>
              <c:ext xmlns:c16="http://schemas.microsoft.com/office/drawing/2014/chart" uri="{C3380CC4-5D6E-409C-BE32-E72D297353CC}">
                <c16:uniqueId val="{000001E7-980B-4B2B-A6BA-FBAB5FE3CDBF}"/>
              </c:ext>
            </c:extLst>
          </c:dPt>
          <c:dPt>
            <c:idx val="243"/>
            <c:invertIfNegative val="1"/>
            <c:bubble3D val="0"/>
            <c:spPr>
              <a:solidFill>
                <a:srgbClr val="00A097"/>
              </a:solidFill>
            </c:spPr>
            <c:extLst>
              <c:ext xmlns:c16="http://schemas.microsoft.com/office/drawing/2014/chart" uri="{C3380CC4-5D6E-409C-BE32-E72D297353CC}">
                <c16:uniqueId val="{000001E9-980B-4B2B-A6BA-FBAB5FE3CDBF}"/>
              </c:ext>
            </c:extLst>
          </c:dPt>
          <c:dPt>
            <c:idx val="244"/>
            <c:invertIfNegative val="1"/>
            <c:bubble3D val="0"/>
            <c:spPr>
              <a:solidFill>
                <a:srgbClr val="00A097"/>
              </a:solidFill>
            </c:spPr>
            <c:extLst>
              <c:ext xmlns:c16="http://schemas.microsoft.com/office/drawing/2014/chart" uri="{C3380CC4-5D6E-409C-BE32-E72D297353CC}">
                <c16:uniqueId val="{000001EB-980B-4B2B-A6BA-FBAB5FE3CDBF}"/>
              </c:ext>
            </c:extLst>
          </c:dPt>
          <c:dPt>
            <c:idx val="245"/>
            <c:invertIfNegative val="1"/>
            <c:bubble3D val="0"/>
            <c:spPr>
              <a:solidFill>
                <a:srgbClr val="00A097"/>
              </a:solidFill>
            </c:spPr>
            <c:extLst>
              <c:ext xmlns:c16="http://schemas.microsoft.com/office/drawing/2014/chart" uri="{C3380CC4-5D6E-409C-BE32-E72D297353CC}">
                <c16:uniqueId val="{000001ED-980B-4B2B-A6BA-FBAB5FE3CDBF}"/>
              </c:ext>
            </c:extLst>
          </c:dPt>
          <c:dPt>
            <c:idx val="246"/>
            <c:invertIfNegative val="1"/>
            <c:bubble3D val="0"/>
            <c:spPr>
              <a:solidFill>
                <a:srgbClr val="00A097"/>
              </a:solidFill>
            </c:spPr>
            <c:extLst>
              <c:ext xmlns:c16="http://schemas.microsoft.com/office/drawing/2014/chart" uri="{C3380CC4-5D6E-409C-BE32-E72D297353CC}">
                <c16:uniqueId val="{000001EF-980B-4B2B-A6BA-FBAB5FE3CDBF}"/>
              </c:ext>
            </c:extLst>
          </c:dPt>
          <c:dPt>
            <c:idx val="247"/>
            <c:invertIfNegative val="1"/>
            <c:bubble3D val="0"/>
            <c:spPr>
              <a:solidFill>
                <a:srgbClr val="00A097"/>
              </a:solidFill>
            </c:spPr>
            <c:extLst>
              <c:ext xmlns:c16="http://schemas.microsoft.com/office/drawing/2014/chart" uri="{C3380CC4-5D6E-409C-BE32-E72D297353CC}">
                <c16:uniqueId val="{000001F1-980B-4B2B-A6BA-FBAB5FE3CDBF}"/>
              </c:ext>
            </c:extLst>
          </c:dPt>
          <c:dPt>
            <c:idx val="248"/>
            <c:invertIfNegative val="1"/>
            <c:bubble3D val="0"/>
            <c:spPr>
              <a:solidFill>
                <a:srgbClr val="00A097"/>
              </a:solidFill>
            </c:spPr>
            <c:extLst>
              <c:ext xmlns:c16="http://schemas.microsoft.com/office/drawing/2014/chart" uri="{C3380CC4-5D6E-409C-BE32-E72D297353CC}">
                <c16:uniqueId val="{000001F3-980B-4B2B-A6BA-FBAB5FE3CDBF}"/>
              </c:ext>
            </c:extLst>
          </c:dPt>
          <c:dPt>
            <c:idx val="249"/>
            <c:invertIfNegative val="1"/>
            <c:bubble3D val="0"/>
            <c:spPr>
              <a:solidFill>
                <a:srgbClr val="00A097"/>
              </a:solidFill>
            </c:spPr>
            <c:extLst>
              <c:ext xmlns:c16="http://schemas.microsoft.com/office/drawing/2014/chart" uri="{C3380CC4-5D6E-409C-BE32-E72D297353CC}">
                <c16:uniqueId val="{000001F5-980B-4B2B-A6BA-FBAB5FE3CDBF}"/>
              </c:ext>
            </c:extLst>
          </c:dPt>
          <c:dPt>
            <c:idx val="250"/>
            <c:invertIfNegative val="1"/>
            <c:bubble3D val="0"/>
            <c:spPr>
              <a:solidFill>
                <a:srgbClr val="00A097"/>
              </a:solidFill>
            </c:spPr>
            <c:extLst>
              <c:ext xmlns:c16="http://schemas.microsoft.com/office/drawing/2014/chart" uri="{C3380CC4-5D6E-409C-BE32-E72D297353CC}">
                <c16:uniqueId val="{000001F7-980B-4B2B-A6BA-FBAB5FE3CDBF}"/>
              </c:ext>
            </c:extLst>
          </c:dPt>
          <c:dPt>
            <c:idx val="251"/>
            <c:invertIfNegative val="1"/>
            <c:bubble3D val="0"/>
            <c:spPr>
              <a:solidFill>
                <a:srgbClr val="00A097"/>
              </a:solidFill>
            </c:spPr>
            <c:extLst>
              <c:ext xmlns:c16="http://schemas.microsoft.com/office/drawing/2014/chart" uri="{C3380CC4-5D6E-409C-BE32-E72D297353CC}">
                <c16:uniqueId val="{000001F9-980B-4B2B-A6BA-FBAB5FE3CDBF}"/>
              </c:ext>
            </c:extLst>
          </c:dPt>
          <c:dPt>
            <c:idx val="252"/>
            <c:invertIfNegative val="1"/>
            <c:bubble3D val="0"/>
            <c:spPr>
              <a:solidFill>
                <a:srgbClr val="00A097"/>
              </a:solidFill>
            </c:spPr>
            <c:extLst>
              <c:ext xmlns:c16="http://schemas.microsoft.com/office/drawing/2014/chart" uri="{C3380CC4-5D6E-409C-BE32-E72D297353CC}">
                <c16:uniqueId val="{000001FB-980B-4B2B-A6BA-FBAB5FE3CDBF}"/>
              </c:ext>
            </c:extLst>
          </c:dPt>
          <c:dPt>
            <c:idx val="253"/>
            <c:invertIfNegative val="1"/>
            <c:bubble3D val="0"/>
            <c:spPr>
              <a:solidFill>
                <a:srgbClr val="00A097"/>
              </a:solidFill>
            </c:spPr>
            <c:extLst>
              <c:ext xmlns:c16="http://schemas.microsoft.com/office/drawing/2014/chart" uri="{C3380CC4-5D6E-409C-BE32-E72D297353CC}">
                <c16:uniqueId val="{000001FD-980B-4B2B-A6BA-FBAB5FE3CDBF}"/>
              </c:ext>
            </c:extLst>
          </c:dPt>
          <c:dPt>
            <c:idx val="254"/>
            <c:invertIfNegative val="1"/>
            <c:bubble3D val="0"/>
            <c:spPr>
              <a:solidFill>
                <a:srgbClr val="00A097"/>
              </a:solidFill>
            </c:spPr>
            <c:extLst>
              <c:ext xmlns:c16="http://schemas.microsoft.com/office/drawing/2014/chart" uri="{C3380CC4-5D6E-409C-BE32-E72D297353CC}">
                <c16:uniqueId val="{000001FF-980B-4B2B-A6BA-FBAB5FE3CDBF}"/>
              </c:ext>
            </c:extLst>
          </c:dPt>
          <c:dPt>
            <c:idx val="255"/>
            <c:invertIfNegative val="1"/>
            <c:bubble3D val="0"/>
            <c:spPr>
              <a:solidFill>
                <a:srgbClr val="00A097"/>
              </a:solidFill>
            </c:spPr>
            <c:extLst>
              <c:ext xmlns:c16="http://schemas.microsoft.com/office/drawing/2014/chart" uri="{C3380CC4-5D6E-409C-BE32-E72D297353CC}">
                <c16:uniqueId val="{00000201-980B-4B2B-A6BA-FBAB5FE3CDBF}"/>
              </c:ext>
            </c:extLst>
          </c:dPt>
          <c:dPt>
            <c:idx val="256"/>
            <c:invertIfNegative val="1"/>
            <c:bubble3D val="0"/>
            <c:spPr>
              <a:solidFill>
                <a:srgbClr val="00A097"/>
              </a:solidFill>
            </c:spPr>
            <c:extLst>
              <c:ext xmlns:c16="http://schemas.microsoft.com/office/drawing/2014/chart" uri="{C3380CC4-5D6E-409C-BE32-E72D297353CC}">
                <c16:uniqueId val="{00000203-980B-4B2B-A6BA-FBAB5FE3CDBF}"/>
              </c:ext>
            </c:extLst>
          </c:dPt>
          <c:dPt>
            <c:idx val="257"/>
            <c:invertIfNegative val="1"/>
            <c:bubble3D val="0"/>
            <c:spPr>
              <a:solidFill>
                <a:srgbClr val="00A097"/>
              </a:solidFill>
            </c:spPr>
            <c:extLst>
              <c:ext xmlns:c16="http://schemas.microsoft.com/office/drawing/2014/chart" uri="{C3380CC4-5D6E-409C-BE32-E72D297353CC}">
                <c16:uniqueId val="{00000205-980B-4B2B-A6BA-FBAB5FE3CDBF}"/>
              </c:ext>
            </c:extLst>
          </c:dPt>
          <c:dPt>
            <c:idx val="258"/>
            <c:invertIfNegative val="1"/>
            <c:bubble3D val="0"/>
            <c:spPr>
              <a:solidFill>
                <a:srgbClr val="00A097"/>
              </a:solidFill>
            </c:spPr>
            <c:extLst>
              <c:ext xmlns:c16="http://schemas.microsoft.com/office/drawing/2014/chart" uri="{C3380CC4-5D6E-409C-BE32-E72D297353CC}">
                <c16:uniqueId val="{00000207-980B-4B2B-A6BA-FBAB5FE3CDBF}"/>
              </c:ext>
            </c:extLst>
          </c:dPt>
          <c:dPt>
            <c:idx val="259"/>
            <c:invertIfNegative val="1"/>
            <c:bubble3D val="0"/>
            <c:spPr>
              <a:solidFill>
                <a:srgbClr val="00A097"/>
              </a:solidFill>
            </c:spPr>
            <c:extLst>
              <c:ext xmlns:c16="http://schemas.microsoft.com/office/drawing/2014/chart" uri="{C3380CC4-5D6E-409C-BE32-E72D297353CC}">
                <c16:uniqueId val="{00000209-980B-4B2B-A6BA-FBAB5FE3CDBF}"/>
              </c:ext>
            </c:extLst>
          </c:dPt>
          <c:dPt>
            <c:idx val="260"/>
            <c:invertIfNegative val="1"/>
            <c:bubble3D val="0"/>
            <c:spPr>
              <a:solidFill>
                <a:srgbClr val="00A097"/>
              </a:solidFill>
            </c:spPr>
            <c:extLst>
              <c:ext xmlns:c16="http://schemas.microsoft.com/office/drawing/2014/chart" uri="{C3380CC4-5D6E-409C-BE32-E72D297353CC}">
                <c16:uniqueId val="{0000020B-980B-4B2B-A6BA-FBAB5FE3CDBF}"/>
              </c:ext>
            </c:extLst>
          </c:dPt>
          <c:dPt>
            <c:idx val="261"/>
            <c:invertIfNegative val="1"/>
            <c:bubble3D val="0"/>
            <c:spPr>
              <a:solidFill>
                <a:srgbClr val="7ECAC4"/>
              </a:solidFill>
            </c:spPr>
            <c:extLst>
              <c:ext xmlns:c16="http://schemas.microsoft.com/office/drawing/2014/chart" uri="{C3380CC4-5D6E-409C-BE32-E72D297353CC}">
                <c16:uniqueId val="{0000020D-980B-4B2B-A6BA-FBAB5FE3CDBF}"/>
              </c:ext>
            </c:extLst>
          </c:dPt>
          <c:dPt>
            <c:idx val="262"/>
            <c:invertIfNegative val="1"/>
            <c:bubble3D val="0"/>
            <c:spPr>
              <a:solidFill>
                <a:srgbClr val="7ECAC4"/>
              </a:solidFill>
            </c:spPr>
            <c:extLst>
              <c:ext xmlns:c16="http://schemas.microsoft.com/office/drawing/2014/chart" uri="{C3380CC4-5D6E-409C-BE32-E72D297353CC}">
                <c16:uniqueId val="{0000020F-980B-4B2B-A6BA-FBAB5FE3CDBF}"/>
              </c:ext>
            </c:extLst>
          </c:dPt>
          <c:dPt>
            <c:idx val="263"/>
            <c:invertIfNegative val="1"/>
            <c:bubble3D val="0"/>
            <c:spPr>
              <a:solidFill>
                <a:srgbClr val="7ECAC4"/>
              </a:solidFill>
            </c:spPr>
            <c:extLst>
              <c:ext xmlns:c16="http://schemas.microsoft.com/office/drawing/2014/chart" uri="{C3380CC4-5D6E-409C-BE32-E72D297353CC}">
                <c16:uniqueId val="{00000211-980B-4B2B-A6BA-FBAB5FE3CDBF}"/>
              </c:ext>
            </c:extLst>
          </c:dPt>
          <c:dPt>
            <c:idx val="264"/>
            <c:invertIfNegative val="1"/>
            <c:bubble3D val="0"/>
            <c:spPr>
              <a:solidFill>
                <a:srgbClr val="7ECAC4"/>
              </a:solidFill>
            </c:spPr>
            <c:extLst>
              <c:ext xmlns:c16="http://schemas.microsoft.com/office/drawing/2014/chart" uri="{C3380CC4-5D6E-409C-BE32-E72D297353CC}">
                <c16:uniqueId val="{00000213-980B-4B2B-A6BA-FBAB5FE3CDBF}"/>
              </c:ext>
            </c:extLst>
          </c:dPt>
          <c:dPt>
            <c:idx val="265"/>
            <c:invertIfNegative val="1"/>
            <c:bubble3D val="0"/>
            <c:spPr>
              <a:solidFill>
                <a:srgbClr val="7ECAC4"/>
              </a:solidFill>
            </c:spPr>
            <c:extLst>
              <c:ext xmlns:c16="http://schemas.microsoft.com/office/drawing/2014/chart" uri="{C3380CC4-5D6E-409C-BE32-E72D297353CC}">
                <c16:uniqueId val="{00000215-980B-4B2B-A6BA-FBAB5FE3CDBF}"/>
              </c:ext>
            </c:extLst>
          </c:dPt>
          <c:dPt>
            <c:idx val="266"/>
            <c:invertIfNegative val="1"/>
            <c:bubble3D val="0"/>
            <c:spPr>
              <a:solidFill>
                <a:srgbClr val="7ECAC4"/>
              </a:solidFill>
            </c:spPr>
            <c:extLst>
              <c:ext xmlns:c16="http://schemas.microsoft.com/office/drawing/2014/chart" uri="{C3380CC4-5D6E-409C-BE32-E72D297353CC}">
                <c16:uniqueId val="{00000217-980B-4B2B-A6BA-FBAB5FE3CDBF}"/>
              </c:ext>
            </c:extLst>
          </c:dPt>
          <c:dPt>
            <c:idx val="267"/>
            <c:invertIfNegative val="1"/>
            <c:bubble3D val="0"/>
            <c:spPr>
              <a:solidFill>
                <a:srgbClr val="7ECAC4"/>
              </a:solidFill>
            </c:spPr>
            <c:extLst>
              <c:ext xmlns:c16="http://schemas.microsoft.com/office/drawing/2014/chart" uri="{C3380CC4-5D6E-409C-BE32-E72D297353CC}">
                <c16:uniqueId val="{00000219-980B-4B2B-A6BA-FBAB5FE3CDBF}"/>
              </c:ext>
            </c:extLst>
          </c:dPt>
          <c:dPt>
            <c:idx val="268"/>
            <c:invertIfNegative val="1"/>
            <c:bubble3D val="0"/>
            <c:spPr>
              <a:solidFill>
                <a:srgbClr val="7ECAC4"/>
              </a:solidFill>
            </c:spPr>
            <c:extLst>
              <c:ext xmlns:c16="http://schemas.microsoft.com/office/drawing/2014/chart" uri="{C3380CC4-5D6E-409C-BE32-E72D297353CC}">
                <c16:uniqueId val="{0000021B-980B-4B2B-A6BA-FBAB5FE3CDBF}"/>
              </c:ext>
            </c:extLst>
          </c:dPt>
          <c:dPt>
            <c:idx val="269"/>
            <c:invertIfNegative val="1"/>
            <c:bubble3D val="0"/>
            <c:spPr>
              <a:solidFill>
                <a:srgbClr val="7ECAC4"/>
              </a:solidFill>
            </c:spPr>
            <c:extLst>
              <c:ext xmlns:c16="http://schemas.microsoft.com/office/drawing/2014/chart" uri="{C3380CC4-5D6E-409C-BE32-E72D297353CC}">
                <c16:uniqueId val="{0000021D-980B-4B2B-A6BA-FBAB5FE3CDBF}"/>
              </c:ext>
            </c:extLst>
          </c:dPt>
          <c:dPt>
            <c:idx val="270"/>
            <c:invertIfNegative val="1"/>
            <c:bubble3D val="0"/>
            <c:spPr>
              <a:solidFill>
                <a:srgbClr val="7ECAC4"/>
              </a:solidFill>
            </c:spPr>
            <c:extLst>
              <c:ext xmlns:c16="http://schemas.microsoft.com/office/drawing/2014/chart" uri="{C3380CC4-5D6E-409C-BE32-E72D297353CC}">
                <c16:uniqueId val="{0000021F-980B-4B2B-A6BA-FBAB5FE3CDBF}"/>
              </c:ext>
            </c:extLst>
          </c:dPt>
          <c:dPt>
            <c:idx val="271"/>
            <c:invertIfNegative val="1"/>
            <c:bubble3D val="0"/>
            <c:spPr>
              <a:solidFill>
                <a:srgbClr val="7ECAC4"/>
              </a:solidFill>
            </c:spPr>
            <c:extLst>
              <c:ext xmlns:c16="http://schemas.microsoft.com/office/drawing/2014/chart" uri="{C3380CC4-5D6E-409C-BE32-E72D297353CC}">
                <c16:uniqueId val="{00000221-980B-4B2B-A6BA-FBAB5FE3CDBF}"/>
              </c:ext>
            </c:extLst>
          </c:dPt>
          <c:dPt>
            <c:idx val="272"/>
            <c:invertIfNegative val="1"/>
            <c:bubble3D val="0"/>
            <c:spPr>
              <a:solidFill>
                <a:srgbClr val="7ECAC4"/>
              </a:solidFill>
            </c:spPr>
            <c:extLst>
              <c:ext xmlns:c16="http://schemas.microsoft.com/office/drawing/2014/chart" uri="{C3380CC4-5D6E-409C-BE32-E72D297353CC}">
                <c16:uniqueId val="{00000223-980B-4B2B-A6BA-FBAB5FE3CDBF}"/>
              </c:ext>
            </c:extLst>
          </c:dPt>
          <c:dPt>
            <c:idx val="273"/>
            <c:invertIfNegative val="1"/>
            <c:bubble3D val="0"/>
            <c:spPr>
              <a:solidFill>
                <a:srgbClr val="7ECAC4"/>
              </a:solidFill>
            </c:spPr>
            <c:extLst>
              <c:ext xmlns:c16="http://schemas.microsoft.com/office/drawing/2014/chart" uri="{C3380CC4-5D6E-409C-BE32-E72D297353CC}">
                <c16:uniqueId val="{00000225-980B-4B2B-A6BA-FBAB5FE3CDBF}"/>
              </c:ext>
            </c:extLst>
          </c:dPt>
          <c:dPt>
            <c:idx val="274"/>
            <c:invertIfNegative val="1"/>
            <c:bubble3D val="0"/>
            <c:spPr>
              <a:solidFill>
                <a:srgbClr val="7ECAC4"/>
              </a:solidFill>
            </c:spPr>
            <c:extLst>
              <c:ext xmlns:c16="http://schemas.microsoft.com/office/drawing/2014/chart" uri="{C3380CC4-5D6E-409C-BE32-E72D297353CC}">
                <c16:uniqueId val="{00000227-980B-4B2B-A6BA-FBAB5FE3CDBF}"/>
              </c:ext>
            </c:extLst>
          </c:dPt>
          <c:dPt>
            <c:idx val="275"/>
            <c:invertIfNegative val="1"/>
            <c:bubble3D val="0"/>
            <c:spPr>
              <a:solidFill>
                <a:srgbClr val="7ECAC4"/>
              </a:solidFill>
            </c:spPr>
            <c:extLst>
              <c:ext xmlns:c16="http://schemas.microsoft.com/office/drawing/2014/chart" uri="{C3380CC4-5D6E-409C-BE32-E72D297353CC}">
                <c16:uniqueId val="{00000229-980B-4B2B-A6BA-FBAB5FE3CDBF}"/>
              </c:ext>
            </c:extLst>
          </c:dPt>
          <c:dPt>
            <c:idx val="276"/>
            <c:invertIfNegative val="1"/>
            <c:bubble3D val="0"/>
            <c:spPr>
              <a:solidFill>
                <a:srgbClr val="7ECAC4"/>
              </a:solidFill>
            </c:spPr>
            <c:extLst>
              <c:ext xmlns:c16="http://schemas.microsoft.com/office/drawing/2014/chart" uri="{C3380CC4-5D6E-409C-BE32-E72D297353CC}">
                <c16:uniqueId val="{0000022B-980B-4B2B-A6BA-FBAB5FE3CDBF}"/>
              </c:ext>
            </c:extLst>
          </c:dPt>
          <c:dPt>
            <c:idx val="277"/>
            <c:invertIfNegative val="1"/>
            <c:bubble3D val="0"/>
            <c:spPr>
              <a:solidFill>
                <a:srgbClr val="7ECAC4"/>
              </a:solidFill>
            </c:spPr>
            <c:extLst>
              <c:ext xmlns:c16="http://schemas.microsoft.com/office/drawing/2014/chart" uri="{C3380CC4-5D6E-409C-BE32-E72D297353CC}">
                <c16:uniqueId val="{0000022D-980B-4B2B-A6BA-FBAB5FE3CDBF}"/>
              </c:ext>
            </c:extLst>
          </c:dPt>
          <c:dPt>
            <c:idx val="278"/>
            <c:invertIfNegative val="1"/>
            <c:bubble3D val="0"/>
            <c:spPr>
              <a:solidFill>
                <a:srgbClr val="7ECAC4"/>
              </a:solidFill>
            </c:spPr>
            <c:extLst>
              <c:ext xmlns:c16="http://schemas.microsoft.com/office/drawing/2014/chart" uri="{C3380CC4-5D6E-409C-BE32-E72D297353CC}">
                <c16:uniqueId val="{0000022F-980B-4B2B-A6BA-FBAB5FE3CDBF}"/>
              </c:ext>
            </c:extLst>
          </c:dPt>
          <c:dPt>
            <c:idx val="279"/>
            <c:invertIfNegative val="1"/>
            <c:bubble3D val="0"/>
            <c:spPr>
              <a:solidFill>
                <a:srgbClr val="7ECAC4"/>
              </a:solidFill>
            </c:spPr>
            <c:extLst>
              <c:ext xmlns:c16="http://schemas.microsoft.com/office/drawing/2014/chart" uri="{C3380CC4-5D6E-409C-BE32-E72D297353CC}">
                <c16:uniqueId val="{00000231-980B-4B2B-A6BA-FBAB5FE3CDBF}"/>
              </c:ext>
            </c:extLst>
          </c:dPt>
          <c:dPt>
            <c:idx val="280"/>
            <c:invertIfNegative val="1"/>
            <c:bubble3D val="0"/>
            <c:spPr>
              <a:solidFill>
                <a:srgbClr val="7ECAC4"/>
              </a:solidFill>
            </c:spPr>
            <c:extLst>
              <c:ext xmlns:c16="http://schemas.microsoft.com/office/drawing/2014/chart" uri="{C3380CC4-5D6E-409C-BE32-E72D297353CC}">
                <c16:uniqueId val="{00000233-980B-4B2B-A6BA-FBAB5FE3CDBF}"/>
              </c:ext>
            </c:extLst>
          </c:dPt>
          <c:dPt>
            <c:idx val="281"/>
            <c:invertIfNegative val="1"/>
            <c:bubble3D val="0"/>
            <c:spPr>
              <a:solidFill>
                <a:srgbClr val="7ECAC4"/>
              </a:solidFill>
            </c:spPr>
            <c:extLst>
              <c:ext xmlns:c16="http://schemas.microsoft.com/office/drawing/2014/chart" uri="{C3380CC4-5D6E-409C-BE32-E72D297353CC}">
                <c16:uniqueId val="{00000235-980B-4B2B-A6BA-FBAB5FE3CDBF}"/>
              </c:ext>
            </c:extLst>
          </c:dPt>
          <c:dPt>
            <c:idx val="282"/>
            <c:invertIfNegative val="1"/>
            <c:bubble3D val="0"/>
            <c:spPr>
              <a:solidFill>
                <a:srgbClr val="7ECAC4"/>
              </a:solidFill>
            </c:spPr>
            <c:extLst>
              <c:ext xmlns:c16="http://schemas.microsoft.com/office/drawing/2014/chart" uri="{C3380CC4-5D6E-409C-BE32-E72D297353CC}">
                <c16:uniqueId val="{00000237-980B-4B2B-A6BA-FBAB5FE3CDBF}"/>
              </c:ext>
            </c:extLst>
          </c:dPt>
          <c:dPt>
            <c:idx val="283"/>
            <c:invertIfNegative val="1"/>
            <c:bubble3D val="0"/>
            <c:spPr>
              <a:solidFill>
                <a:srgbClr val="7ECAC4"/>
              </a:solidFill>
            </c:spPr>
            <c:extLst>
              <c:ext xmlns:c16="http://schemas.microsoft.com/office/drawing/2014/chart" uri="{C3380CC4-5D6E-409C-BE32-E72D297353CC}">
                <c16:uniqueId val="{00000239-980B-4B2B-A6BA-FBAB5FE3CDBF}"/>
              </c:ext>
            </c:extLst>
          </c:dPt>
          <c:dPt>
            <c:idx val="284"/>
            <c:invertIfNegative val="1"/>
            <c:bubble3D val="0"/>
            <c:spPr>
              <a:solidFill>
                <a:srgbClr val="7ECAC4"/>
              </a:solidFill>
            </c:spPr>
            <c:extLst>
              <c:ext xmlns:c16="http://schemas.microsoft.com/office/drawing/2014/chart" uri="{C3380CC4-5D6E-409C-BE32-E72D297353CC}">
                <c16:uniqueId val="{0000023B-980B-4B2B-A6BA-FBAB5FE3CDBF}"/>
              </c:ext>
            </c:extLst>
          </c:dPt>
          <c:dPt>
            <c:idx val="285"/>
            <c:invertIfNegative val="1"/>
            <c:bubble3D val="0"/>
            <c:spPr>
              <a:solidFill>
                <a:srgbClr val="7ECAC4"/>
              </a:solidFill>
            </c:spPr>
            <c:extLst>
              <c:ext xmlns:c16="http://schemas.microsoft.com/office/drawing/2014/chart" uri="{C3380CC4-5D6E-409C-BE32-E72D297353CC}">
                <c16:uniqueId val="{0000023D-980B-4B2B-A6BA-FBAB5FE3CDBF}"/>
              </c:ext>
            </c:extLst>
          </c:dPt>
          <c:dPt>
            <c:idx val="286"/>
            <c:invertIfNegative val="1"/>
            <c:bubble3D val="0"/>
            <c:spPr>
              <a:solidFill>
                <a:srgbClr val="7ECAC4"/>
              </a:solidFill>
            </c:spPr>
            <c:extLst>
              <c:ext xmlns:c16="http://schemas.microsoft.com/office/drawing/2014/chart" uri="{C3380CC4-5D6E-409C-BE32-E72D297353CC}">
                <c16:uniqueId val="{0000023F-980B-4B2B-A6BA-FBAB5FE3CDBF}"/>
              </c:ext>
            </c:extLst>
          </c:dPt>
          <c:dPt>
            <c:idx val="287"/>
            <c:invertIfNegative val="1"/>
            <c:bubble3D val="0"/>
            <c:spPr>
              <a:solidFill>
                <a:srgbClr val="7ECAC4"/>
              </a:solidFill>
            </c:spPr>
            <c:extLst>
              <c:ext xmlns:c16="http://schemas.microsoft.com/office/drawing/2014/chart" uri="{C3380CC4-5D6E-409C-BE32-E72D297353CC}">
                <c16:uniqueId val="{00000241-980B-4B2B-A6BA-FBAB5FE3CDBF}"/>
              </c:ext>
            </c:extLst>
          </c:dPt>
          <c:dPt>
            <c:idx val="288"/>
            <c:invertIfNegative val="1"/>
            <c:bubble3D val="0"/>
            <c:spPr>
              <a:solidFill>
                <a:srgbClr val="7ECAC4"/>
              </a:solidFill>
            </c:spPr>
            <c:extLst>
              <c:ext xmlns:c16="http://schemas.microsoft.com/office/drawing/2014/chart" uri="{C3380CC4-5D6E-409C-BE32-E72D297353CC}">
                <c16:uniqueId val="{00000243-980B-4B2B-A6BA-FBAB5FE3CDBF}"/>
              </c:ext>
            </c:extLst>
          </c:dPt>
          <c:dPt>
            <c:idx val="289"/>
            <c:invertIfNegative val="1"/>
            <c:bubble3D val="0"/>
            <c:spPr>
              <a:solidFill>
                <a:srgbClr val="7ECAC4"/>
              </a:solidFill>
            </c:spPr>
            <c:extLst>
              <c:ext xmlns:c16="http://schemas.microsoft.com/office/drawing/2014/chart" uri="{C3380CC4-5D6E-409C-BE32-E72D297353CC}">
                <c16:uniqueId val="{00000245-980B-4B2B-A6BA-FBAB5FE3CDBF}"/>
              </c:ext>
            </c:extLst>
          </c:dPt>
          <c:dPt>
            <c:idx val="290"/>
            <c:invertIfNegative val="1"/>
            <c:bubble3D val="0"/>
            <c:spPr>
              <a:solidFill>
                <a:srgbClr val="7ECAC4"/>
              </a:solidFill>
            </c:spPr>
            <c:extLst>
              <c:ext xmlns:c16="http://schemas.microsoft.com/office/drawing/2014/chart" uri="{C3380CC4-5D6E-409C-BE32-E72D297353CC}">
                <c16:uniqueId val="{00000247-980B-4B2B-A6BA-FBAB5FE3CDBF}"/>
              </c:ext>
            </c:extLst>
          </c:dPt>
          <c:dPt>
            <c:idx val="291"/>
            <c:invertIfNegative val="1"/>
            <c:bubble3D val="0"/>
            <c:spPr>
              <a:solidFill>
                <a:srgbClr val="7ECAC4"/>
              </a:solidFill>
            </c:spPr>
            <c:extLst>
              <c:ext xmlns:c16="http://schemas.microsoft.com/office/drawing/2014/chart" uri="{C3380CC4-5D6E-409C-BE32-E72D297353CC}">
                <c16:uniqueId val="{00000249-980B-4B2B-A6BA-FBAB5FE3CDBF}"/>
              </c:ext>
            </c:extLst>
          </c:dPt>
          <c:dPt>
            <c:idx val="292"/>
            <c:invertIfNegative val="1"/>
            <c:bubble3D val="0"/>
            <c:spPr>
              <a:solidFill>
                <a:srgbClr val="7ECAC4"/>
              </a:solidFill>
            </c:spPr>
            <c:extLst>
              <c:ext xmlns:c16="http://schemas.microsoft.com/office/drawing/2014/chart" uri="{C3380CC4-5D6E-409C-BE32-E72D297353CC}">
                <c16:uniqueId val="{0000024B-980B-4B2B-A6BA-FBAB5FE3CDBF}"/>
              </c:ext>
            </c:extLst>
          </c:dPt>
          <c:dPt>
            <c:idx val="293"/>
            <c:invertIfNegative val="1"/>
            <c:bubble3D val="0"/>
            <c:spPr>
              <a:solidFill>
                <a:srgbClr val="7ECAC4"/>
              </a:solidFill>
            </c:spPr>
            <c:extLst>
              <c:ext xmlns:c16="http://schemas.microsoft.com/office/drawing/2014/chart" uri="{C3380CC4-5D6E-409C-BE32-E72D297353CC}">
                <c16:uniqueId val="{0000024D-980B-4B2B-A6BA-FBAB5FE3CDBF}"/>
              </c:ext>
            </c:extLst>
          </c:dPt>
          <c:dPt>
            <c:idx val="294"/>
            <c:invertIfNegative val="1"/>
            <c:bubble3D val="0"/>
            <c:spPr>
              <a:solidFill>
                <a:srgbClr val="7ECAC4"/>
              </a:solidFill>
            </c:spPr>
            <c:extLst>
              <c:ext xmlns:c16="http://schemas.microsoft.com/office/drawing/2014/chart" uri="{C3380CC4-5D6E-409C-BE32-E72D297353CC}">
                <c16:uniqueId val="{0000024F-980B-4B2B-A6BA-FBAB5FE3CDBF}"/>
              </c:ext>
            </c:extLst>
          </c:dPt>
          <c:dPt>
            <c:idx val="295"/>
            <c:invertIfNegative val="1"/>
            <c:bubble3D val="0"/>
            <c:spPr>
              <a:solidFill>
                <a:srgbClr val="7ECAC4"/>
              </a:solidFill>
            </c:spPr>
            <c:extLst>
              <c:ext xmlns:c16="http://schemas.microsoft.com/office/drawing/2014/chart" uri="{C3380CC4-5D6E-409C-BE32-E72D297353CC}">
                <c16:uniqueId val="{00000251-980B-4B2B-A6BA-FBAB5FE3CDBF}"/>
              </c:ext>
            </c:extLst>
          </c:dPt>
          <c:dPt>
            <c:idx val="296"/>
            <c:invertIfNegative val="1"/>
            <c:bubble3D val="0"/>
            <c:spPr>
              <a:solidFill>
                <a:srgbClr val="7ECAC4"/>
              </a:solidFill>
            </c:spPr>
            <c:extLst>
              <c:ext xmlns:c16="http://schemas.microsoft.com/office/drawing/2014/chart" uri="{C3380CC4-5D6E-409C-BE32-E72D297353CC}">
                <c16:uniqueId val="{00000253-980B-4B2B-A6BA-FBAB5FE3CDBF}"/>
              </c:ext>
            </c:extLst>
          </c:dPt>
          <c:dPt>
            <c:idx val="297"/>
            <c:invertIfNegative val="1"/>
            <c:bubble3D val="0"/>
            <c:spPr>
              <a:solidFill>
                <a:srgbClr val="7ECAC4"/>
              </a:solidFill>
            </c:spPr>
            <c:extLst>
              <c:ext xmlns:c16="http://schemas.microsoft.com/office/drawing/2014/chart" uri="{C3380CC4-5D6E-409C-BE32-E72D297353CC}">
                <c16:uniqueId val="{00000255-980B-4B2B-A6BA-FBAB5FE3CDBF}"/>
              </c:ext>
            </c:extLst>
          </c:dPt>
          <c:dPt>
            <c:idx val="298"/>
            <c:invertIfNegative val="1"/>
            <c:bubble3D val="0"/>
            <c:spPr>
              <a:solidFill>
                <a:srgbClr val="7ECAC4"/>
              </a:solidFill>
            </c:spPr>
            <c:extLst>
              <c:ext xmlns:c16="http://schemas.microsoft.com/office/drawing/2014/chart" uri="{C3380CC4-5D6E-409C-BE32-E72D297353CC}">
                <c16:uniqueId val="{00000257-980B-4B2B-A6BA-FBAB5FE3CDBF}"/>
              </c:ext>
            </c:extLst>
          </c:dPt>
          <c:dPt>
            <c:idx val="299"/>
            <c:invertIfNegative val="1"/>
            <c:bubble3D val="0"/>
            <c:spPr>
              <a:solidFill>
                <a:srgbClr val="7ECAC4"/>
              </a:solidFill>
            </c:spPr>
            <c:extLst>
              <c:ext xmlns:c16="http://schemas.microsoft.com/office/drawing/2014/chart" uri="{C3380CC4-5D6E-409C-BE32-E72D297353CC}">
                <c16:uniqueId val="{00000259-980B-4B2B-A6BA-FBAB5FE3CDBF}"/>
              </c:ext>
            </c:extLst>
          </c:dPt>
          <c:dPt>
            <c:idx val="300"/>
            <c:invertIfNegative val="1"/>
            <c:bubble3D val="0"/>
            <c:spPr>
              <a:solidFill>
                <a:srgbClr val="7ECAC4"/>
              </a:solidFill>
            </c:spPr>
            <c:extLst>
              <c:ext xmlns:c16="http://schemas.microsoft.com/office/drawing/2014/chart" uri="{C3380CC4-5D6E-409C-BE32-E72D297353CC}">
                <c16:uniqueId val="{0000025B-980B-4B2B-A6BA-FBAB5FE3CDBF}"/>
              </c:ext>
            </c:extLst>
          </c:dPt>
          <c:dPt>
            <c:idx val="301"/>
            <c:invertIfNegative val="1"/>
            <c:bubble3D val="0"/>
            <c:spPr>
              <a:solidFill>
                <a:srgbClr val="7ECAC4"/>
              </a:solidFill>
            </c:spPr>
            <c:extLst>
              <c:ext xmlns:c16="http://schemas.microsoft.com/office/drawing/2014/chart" uri="{C3380CC4-5D6E-409C-BE32-E72D297353CC}">
                <c16:uniqueId val="{0000025D-980B-4B2B-A6BA-FBAB5FE3CDBF}"/>
              </c:ext>
            </c:extLst>
          </c:dPt>
          <c:dPt>
            <c:idx val="302"/>
            <c:invertIfNegative val="1"/>
            <c:bubble3D val="0"/>
            <c:spPr>
              <a:solidFill>
                <a:srgbClr val="7ECAC4"/>
              </a:solidFill>
            </c:spPr>
            <c:extLst>
              <c:ext xmlns:c16="http://schemas.microsoft.com/office/drawing/2014/chart" uri="{C3380CC4-5D6E-409C-BE32-E72D297353CC}">
                <c16:uniqueId val="{0000025F-980B-4B2B-A6BA-FBAB5FE3CDBF}"/>
              </c:ext>
            </c:extLst>
          </c:dPt>
          <c:dPt>
            <c:idx val="303"/>
            <c:invertIfNegative val="1"/>
            <c:bubble3D val="0"/>
            <c:spPr>
              <a:solidFill>
                <a:srgbClr val="7ECAC4"/>
              </a:solidFill>
            </c:spPr>
            <c:extLst>
              <c:ext xmlns:c16="http://schemas.microsoft.com/office/drawing/2014/chart" uri="{C3380CC4-5D6E-409C-BE32-E72D297353CC}">
                <c16:uniqueId val="{00000261-980B-4B2B-A6BA-FBAB5FE3CDBF}"/>
              </c:ext>
            </c:extLst>
          </c:dPt>
          <c:dPt>
            <c:idx val="304"/>
            <c:invertIfNegative val="1"/>
            <c:bubble3D val="0"/>
            <c:spPr>
              <a:solidFill>
                <a:srgbClr val="7ECAC4"/>
              </a:solidFill>
            </c:spPr>
            <c:extLst>
              <c:ext xmlns:c16="http://schemas.microsoft.com/office/drawing/2014/chart" uri="{C3380CC4-5D6E-409C-BE32-E72D297353CC}">
                <c16:uniqueId val="{00000263-980B-4B2B-A6BA-FBAB5FE3CDBF}"/>
              </c:ext>
            </c:extLst>
          </c:dPt>
          <c:dPt>
            <c:idx val="305"/>
            <c:invertIfNegative val="1"/>
            <c:bubble3D val="0"/>
            <c:spPr>
              <a:solidFill>
                <a:srgbClr val="7ECAC4"/>
              </a:solidFill>
            </c:spPr>
            <c:extLst>
              <c:ext xmlns:c16="http://schemas.microsoft.com/office/drawing/2014/chart" uri="{C3380CC4-5D6E-409C-BE32-E72D297353CC}">
                <c16:uniqueId val="{00000265-980B-4B2B-A6BA-FBAB5FE3CDBF}"/>
              </c:ext>
            </c:extLst>
          </c:dPt>
          <c:dPt>
            <c:idx val="306"/>
            <c:invertIfNegative val="1"/>
            <c:bubble3D val="0"/>
            <c:spPr>
              <a:solidFill>
                <a:srgbClr val="7ECAC4"/>
              </a:solidFill>
            </c:spPr>
            <c:extLst>
              <c:ext xmlns:c16="http://schemas.microsoft.com/office/drawing/2014/chart" uri="{C3380CC4-5D6E-409C-BE32-E72D297353CC}">
                <c16:uniqueId val="{00000267-980B-4B2B-A6BA-FBAB5FE3CDBF}"/>
              </c:ext>
            </c:extLst>
          </c:dPt>
          <c:dPt>
            <c:idx val="307"/>
            <c:invertIfNegative val="1"/>
            <c:bubble3D val="0"/>
            <c:spPr>
              <a:solidFill>
                <a:srgbClr val="7ECAC4"/>
              </a:solidFill>
            </c:spPr>
            <c:extLst>
              <c:ext xmlns:c16="http://schemas.microsoft.com/office/drawing/2014/chart" uri="{C3380CC4-5D6E-409C-BE32-E72D297353CC}">
                <c16:uniqueId val="{00000269-980B-4B2B-A6BA-FBAB5FE3CDBF}"/>
              </c:ext>
            </c:extLst>
          </c:dPt>
          <c:dPt>
            <c:idx val="308"/>
            <c:invertIfNegative val="1"/>
            <c:bubble3D val="0"/>
            <c:spPr>
              <a:solidFill>
                <a:srgbClr val="7ECAC4"/>
              </a:solidFill>
            </c:spPr>
            <c:extLst>
              <c:ext xmlns:c16="http://schemas.microsoft.com/office/drawing/2014/chart" uri="{C3380CC4-5D6E-409C-BE32-E72D297353CC}">
                <c16:uniqueId val="{0000026B-980B-4B2B-A6BA-FBAB5FE3CDBF}"/>
              </c:ext>
            </c:extLst>
          </c:dPt>
          <c:dPt>
            <c:idx val="309"/>
            <c:invertIfNegative val="1"/>
            <c:bubble3D val="0"/>
            <c:spPr>
              <a:solidFill>
                <a:srgbClr val="7ECAC4"/>
              </a:solidFill>
            </c:spPr>
            <c:extLst>
              <c:ext xmlns:c16="http://schemas.microsoft.com/office/drawing/2014/chart" uri="{C3380CC4-5D6E-409C-BE32-E72D297353CC}">
                <c16:uniqueId val="{0000026D-980B-4B2B-A6BA-FBAB5FE3CDBF}"/>
              </c:ext>
            </c:extLst>
          </c:dPt>
          <c:dPt>
            <c:idx val="310"/>
            <c:invertIfNegative val="1"/>
            <c:bubble3D val="0"/>
            <c:spPr>
              <a:solidFill>
                <a:srgbClr val="7ECAC4"/>
              </a:solidFill>
            </c:spPr>
            <c:extLst>
              <c:ext xmlns:c16="http://schemas.microsoft.com/office/drawing/2014/chart" uri="{C3380CC4-5D6E-409C-BE32-E72D297353CC}">
                <c16:uniqueId val="{0000026F-980B-4B2B-A6BA-FBAB5FE3CDBF}"/>
              </c:ext>
            </c:extLst>
          </c:dPt>
          <c:dPt>
            <c:idx val="311"/>
            <c:invertIfNegative val="1"/>
            <c:bubble3D val="0"/>
            <c:spPr>
              <a:solidFill>
                <a:srgbClr val="7ECAC4"/>
              </a:solidFill>
            </c:spPr>
            <c:extLst>
              <c:ext xmlns:c16="http://schemas.microsoft.com/office/drawing/2014/chart" uri="{C3380CC4-5D6E-409C-BE32-E72D297353CC}">
                <c16:uniqueId val="{00000271-980B-4B2B-A6BA-FBAB5FE3CDBF}"/>
              </c:ext>
            </c:extLst>
          </c:dPt>
          <c:dPt>
            <c:idx val="312"/>
            <c:invertIfNegative val="1"/>
            <c:bubble3D val="0"/>
            <c:spPr>
              <a:solidFill>
                <a:srgbClr val="7ECAC4"/>
              </a:solidFill>
            </c:spPr>
            <c:extLst>
              <c:ext xmlns:c16="http://schemas.microsoft.com/office/drawing/2014/chart" uri="{C3380CC4-5D6E-409C-BE32-E72D297353CC}">
                <c16:uniqueId val="{00000273-980B-4B2B-A6BA-FBAB5FE3CDBF}"/>
              </c:ext>
            </c:extLst>
          </c:dPt>
          <c:dPt>
            <c:idx val="313"/>
            <c:invertIfNegative val="1"/>
            <c:bubble3D val="0"/>
            <c:spPr>
              <a:solidFill>
                <a:srgbClr val="7ECAC4"/>
              </a:solidFill>
            </c:spPr>
            <c:extLst>
              <c:ext xmlns:c16="http://schemas.microsoft.com/office/drawing/2014/chart" uri="{C3380CC4-5D6E-409C-BE32-E72D297353CC}">
                <c16:uniqueId val="{00000275-980B-4B2B-A6BA-FBAB5FE3CDBF}"/>
              </c:ext>
            </c:extLst>
          </c:dPt>
          <c:dPt>
            <c:idx val="314"/>
            <c:invertIfNegative val="1"/>
            <c:bubble3D val="0"/>
            <c:spPr>
              <a:solidFill>
                <a:srgbClr val="7ECAC4"/>
              </a:solidFill>
            </c:spPr>
            <c:extLst>
              <c:ext xmlns:c16="http://schemas.microsoft.com/office/drawing/2014/chart" uri="{C3380CC4-5D6E-409C-BE32-E72D297353CC}">
                <c16:uniqueId val="{00000277-980B-4B2B-A6BA-FBAB5FE3CDBF}"/>
              </c:ext>
            </c:extLst>
          </c:dPt>
          <c:dPt>
            <c:idx val="315"/>
            <c:invertIfNegative val="1"/>
            <c:bubble3D val="0"/>
            <c:spPr>
              <a:solidFill>
                <a:srgbClr val="7ECAC4"/>
              </a:solidFill>
            </c:spPr>
            <c:extLst>
              <c:ext xmlns:c16="http://schemas.microsoft.com/office/drawing/2014/chart" uri="{C3380CC4-5D6E-409C-BE32-E72D297353CC}">
                <c16:uniqueId val="{00000279-980B-4B2B-A6BA-FBAB5FE3CDBF}"/>
              </c:ext>
            </c:extLst>
          </c:dPt>
          <c:dPt>
            <c:idx val="316"/>
            <c:invertIfNegative val="1"/>
            <c:bubble3D val="0"/>
            <c:spPr>
              <a:solidFill>
                <a:srgbClr val="7ECAC4"/>
              </a:solidFill>
            </c:spPr>
            <c:extLst>
              <c:ext xmlns:c16="http://schemas.microsoft.com/office/drawing/2014/chart" uri="{C3380CC4-5D6E-409C-BE32-E72D297353CC}">
                <c16:uniqueId val="{0000027B-980B-4B2B-A6BA-FBAB5FE3CDBF}"/>
              </c:ext>
            </c:extLst>
          </c:dPt>
          <c:dPt>
            <c:idx val="317"/>
            <c:invertIfNegative val="1"/>
            <c:bubble3D val="0"/>
            <c:spPr>
              <a:solidFill>
                <a:srgbClr val="7ECAC4"/>
              </a:solidFill>
            </c:spPr>
            <c:extLst>
              <c:ext xmlns:c16="http://schemas.microsoft.com/office/drawing/2014/chart" uri="{C3380CC4-5D6E-409C-BE32-E72D297353CC}">
                <c16:uniqueId val="{0000027D-980B-4B2B-A6BA-FBAB5FE3CDBF}"/>
              </c:ext>
            </c:extLst>
          </c:dPt>
          <c:dPt>
            <c:idx val="318"/>
            <c:invertIfNegative val="1"/>
            <c:bubble3D val="0"/>
            <c:spPr>
              <a:solidFill>
                <a:srgbClr val="7ECAC4"/>
              </a:solidFill>
            </c:spPr>
            <c:extLst>
              <c:ext xmlns:c16="http://schemas.microsoft.com/office/drawing/2014/chart" uri="{C3380CC4-5D6E-409C-BE32-E72D297353CC}">
                <c16:uniqueId val="{0000027F-980B-4B2B-A6BA-FBAB5FE3CDBF}"/>
              </c:ext>
            </c:extLst>
          </c:dPt>
          <c:dPt>
            <c:idx val="319"/>
            <c:invertIfNegative val="1"/>
            <c:bubble3D val="0"/>
            <c:spPr>
              <a:solidFill>
                <a:srgbClr val="7ECAC4"/>
              </a:solidFill>
            </c:spPr>
            <c:extLst>
              <c:ext xmlns:c16="http://schemas.microsoft.com/office/drawing/2014/chart" uri="{C3380CC4-5D6E-409C-BE32-E72D297353CC}">
                <c16:uniqueId val="{00000281-980B-4B2B-A6BA-FBAB5FE3CDBF}"/>
              </c:ext>
            </c:extLst>
          </c:dPt>
          <c:dPt>
            <c:idx val="320"/>
            <c:invertIfNegative val="1"/>
            <c:bubble3D val="0"/>
            <c:spPr>
              <a:solidFill>
                <a:srgbClr val="7ECAC4"/>
              </a:solidFill>
            </c:spPr>
            <c:extLst>
              <c:ext xmlns:c16="http://schemas.microsoft.com/office/drawing/2014/chart" uri="{C3380CC4-5D6E-409C-BE32-E72D297353CC}">
                <c16:uniqueId val="{00000283-980B-4B2B-A6BA-FBAB5FE3CDBF}"/>
              </c:ext>
            </c:extLst>
          </c:dPt>
          <c:dPt>
            <c:idx val="321"/>
            <c:invertIfNegative val="1"/>
            <c:bubble3D val="0"/>
            <c:spPr>
              <a:solidFill>
                <a:srgbClr val="7ECAC4"/>
              </a:solidFill>
            </c:spPr>
            <c:extLst>
              <c:ext xmlns:c16="http://schemas.microsoft.com/office/drawing/2014/chart" uri="{C3380CC4-5D6E-409C-BE32-E72D297353CC}">
                <c16:uniqueId val="{00000285-980B-4B2B-A6BA-FBAB5FE3CDBF}"/>
              </c:ext>
            </c:extLst>
          </c:dPt>
          <c:dPt>
            <c:idx val="322"/>
            <c:invertIfNegative val="1"/>
            <c:bubble3D val="0"/>
            <c:spPr>
              <a:solidFill>
                <a:srgbClr val="7ECAC4"/>
              </a:solidFill>
            </c:spPr>
            <c:extLst>
              <c:ext xmlns:c16="http://schemas.microsoft.com/office/drawing/2014/chart" uri="{C3380CC4-5D6E-409C-BE32-E72D297353CC}">
                <c16:uniqueId val="{00000287-980B-4B2B-A6BA-FBAB5FE3CDBF}"/>
              </c:ext>
            </c:extLst>
          </c:dPt>
          <c:dPt>
            <c:idx val="323"/>
            <c:invertIfNegative val="1"/>
            <c:bubble3D val="0"/>
            <c:spPr>
              <a:solidFill>
                <a:srgbClr val="7ECAC4"/>
              </a:solidFill>
            </c:spPr>
            <c:extLst>
              <c:ext xmlns:c16="http://schemas.microsoft.com/office/drawing/2014/chart" uri="{C3380CC4-5D6E-409C-BE32-E72D297353CC}">
                <c16:uniqueId val="{00000289-980B-4B2B-A6BA-FBAB5FE3CDBF}"/>
              </c:ext>
            </c:extLst>
          </c:dPt>
          <c:dPt>
            <c:idx val="324"/>
            <c:invertIfNegative val="1"/>
            <c:bubble3D val="0"/>
            <c:spPr>
              <a:solidFill>
                <a:srgbClr val="7ECAC4"/>
              </a:solidFill>
            </c:spPr>
            <c:extLst>
              <c:ext xmlns:c16="http://schemas.microsoft.com/office/drawing/2014/chart" uri="{C3380CC4-5D6E-409C-BE32-E72D297353CC}">
                <c16:uniqueId val="{0000028B-980B-4B2B-A6BA-FBAB5FE3CDBF}"/>
              </c:ext>
            </c:extLst>
          </c:dPt>
          <c:dPt>
            <c:idx val="325"/>
            <c:invertIfNegative val="1"/>
            <c:bubble3D val="0"/>
            <c:spPr>
              <a:solidFill>
                <a:srgbClr val="7ECAC4"/>
              </a:solidFill>
            </c:spPr>
            <c:extLst>
              <c:ext xmlns:c16="http://schemas.microsoft.com/office/drawing/2014/chart" uri="{C3380CC4-5D6E-409C-BE32-E72D297353CC}">
                <c16:uniqueId val="{0000028D-980B-4B2B-A6BA-FBAB5FE3CDBF}"/>
              </c:ext>
            </c:extLst>
          </c:dPt>
          <c:dPt>
            <c:idx val="326"/>
            <c:invertIfNegative val="1"/>
            <c:bubble3D val="0"/>
            <c:spPr>
              <a:solidFill>
                <a:srgbClr val="7ECAC4"/>
              </a:solidFill>
            </c:spPr>
            <c:extLst>
              <c:ext xmlns:c16="http://schemas.microsoft.com/office/drawing/2014/chart" uri="{C3380CC4-5D6E-409C-BE32-E72D297353CC}">
                <c16:uniqueId val="{0000028F-980B-4B2B-A6BA-FBAB5FE3CDBF}"/>
              </c:ext>
            </c:extLst>
          </c:dPt>
          <c:dPt>
            <c:idx val="327"/>
            <c:invertIfNegative val="1"/>
            <c:bubble3D val="0"/>
            <c:spPr>
              <a:solidFill>
                <a:srgbClr val="7ECAC4"/>
              </a:solidFill>
            </c:spPr>
            <c:extLst>
              <c:ext xmlns:c16="http://schemas.microsoft.com/office/drawing/2014/chart" uri="{C3380CC4-5D6E-409C-BE32-E72D297353CC}">
                <c16:uniqueId val="{00000291-980B-4B2B-A6BA-FBAB5FE3CDBF}"/>
              </c:ext>
            </c:extLst>
          </c:dPt>
          <c:dPt>
            <c:idx val="328"/>
            <c:invertIfNegative val="1"/>
            <c:bubble3D val="0"/>
            <c:spPr>
              <a:solidFill>
                <a:srgbClr val="7ECAC4"/>
              </a:solidFill>
            </c:spPr>
            <c:extLst>
              <c:ext xmlns:c16="http://schemas.microsoft.com/office/drawing/2014/chart" uri="{C3380CC4-5D6E-409C-BE32-E72D297353CC}">
                <c16:uniqueId val="{00000293-980B-4B2B-A6BA-FBAB5FE3CDBF}"/>
              </c:ext>
            </c:extLst>
          </c:dPt>
          <c:dPt>
            <c:idx val="329"/>
            <c:invertIfNegative val="1"/>
            <c:bubble3D val="0"/>
            <c:spPr>
              <a:solidFill>
                <a:srgbClr val="7ECAC4"/>
              </a:solidFill>
            </c:spPr>
            <c:extLst>
              <c:ext xmlns:c16="http://schemas.microsoft.com/office/drawing/2014/chart" uri="{C3380CC4-5D6E-409C-BE32-E72D297353CC}">
                <c16:uniqueId val="{00000295-980B-4B2B-A6BA-FBAB5FE3CDBF}"/>
              </c:ext>
            </c:extLst>
          </c:dPt>
          <c:dPt>
            <c:idx val="330"/>
            <c:invertIfNegative val="1"/>
            <c:bubble3D val="0"/>
            <c:spPr>
              <a:solidFill>
                <a:srgbClr val="7ECAC4"/>
              </a:solidFill>
            </c:spPr>
            <c:extLst>
              <c:ext xmlns:c16="http://schemas.microsoft.com/office/drawing/2014/chart" uri="{C3380CC4-5D6E-409C-BE32-E72D297353CC}">
                <c16:uniqueId val="{00000297-980B-4B2B-A6BA-FBAB5FE3CDBF}"/>
              </c:ext>
            </c:extLst>
          </c:dPt>
          <c:dPt>
            <c:idx val="331"/>
            <c:invertIfNegative val="1"/>
            <c:bubble3D val="0"/>
            <c:spPr>
              <a:solidFill>
                <a:srgbClr val="7ECAC4"/>
              </a:solidFill>
            </c:spPr>
            <c:extLst>
              <c:ext xmlns:c16="http://schemas.microsoft.com/office/drawing/2014/chart" uri="{C3380CC4-5D6E-409C-BE32-E72D297353CC}">
                <c16:uniqueId val="{00000299-980B-4B2B-A6BA-FBAB5FE3CDBF}"/>
              </c:ext>
            </c:extLst>
          </c:dPt>
          <c:dPt>
            <c:idx val="332"/>
            <c:invertIfNegative val="1"/>
            <c:bubble3D val="0"/>
            <c:spPr>
              <a:solidFill>
                <a:srgbClr val="7ECAC4"/>
              </a:solidFill>
            </c:spPr>
            <c:extLst>
              <c:ext xmlns:c16="http://schemas.microsoft.com/office/drawing/2014/chart" uri="{C3380CC4-5D6E-409C-BE32-E72D297353CC}">
                <c16:uniqueId val="{0000029B-980B-4B2B-A6BA-FBAB5FE3CDBF}"/>
              </c:ext>
            </c:extLst>
          </c:dPt>
          <c:dPt>
            <c:idx val="333"/>
            <c:invertIfNegative val="1"/>
            <c:bubble3D val="0"/>
            <c:spPr>
              <a:solidFill>
                <a:srgbClr val="7ECAC4"/>
              </a:solidFill>
            </c:spPr>
            <c:extLst>
              <c:ext xmlns:c16="http://schemas.microsoft.com/office/drawing/2014/chart" uri="{C3380CC4-5D6E-409C-BE32-E72D297353CC}">
                <c16:uniqueId val="{0000029D-980B-4B2B-A6BA-FBAB5FE3CDBF}"/>
              </c:ext>
            </c:extLst>
          </c:dPt>
          <c:dPt>
            <c:idx val="334"/>
            <c:invertIfNegative val="1"/>
            <c:bubble3D val="0"/>
            <c:spPr>
              <a:solidFill>
                <a:srgbClr val="7ECAC4"/>
              </a:solidFill>
            </c:spPr>
            <c:extLst>
              <c:ext xmlns:c16="http://schemas.microsoft.com/office/drawing/2014/chart" uri="{C3380CC4-5D6E-409C-BE32-E72D297353CC}">
                <c16:uniqueId val="{0000029F-980B-4B2B-A6BA-FBAB5FE3CDBF}"/>
              </c:ext>
            </c:extLst>
          </c:dPt>
          <c:dPt>
            <c:idx val="335"/>
            <c:invertIfNegative val="1"/>
            <c:bubble3D val="0"/>
            <c:spPr>
              <a:solidFill>
                <a:srgbClr val="7ECAC4"/>
              </a:solidFill>
            </c:spPr>
            <c:extLst>
              <c:ext xmlns:c16="http://schemas.microsoft.com/office/drawing/2014/chart" uri="{C3380CC4-5D6E-409C-BE32-E72D297353CC}">
                <c16:uniqueId val="{000002A1-980B-4B2B-A6BA-FBAB5FE3CDBF}"/>
              </c:ext>
            </c:extLst>
          </c:dPt>
          <c:dPt>
            <c:idx val="336"/>
            <c:invertIfNegative val="1"/>
            <c:bubble3D val="0"/>
            <c:spPr>
              <a:solidFill>
                <a:srgbClr val="7ECAC4"/>
              </a:solidFill>
            </c:spPr>
            <c:extLst>
              <c:ext xmlns:c16="http://schemas.microsoft.com/office/drawing/2014/chart" uri="{C3380CC4-5D6E-409C-BE32-E72D297353CC}">
                <c16:uniqueId val="{000002A3-980B-4B2B-A6BA-FBAB5FE3CDBF}"/>
              </c:ext>
            </c:extLst>
          </c:dPt>
          <c:dPt>
            <c:idx val="337"/>
            <c:invertIfNegative val="1"/>
            <c:bubble3D val="0"/>
            <c:spPr>
              <a:solidFill>
                <a:srgbClr val="7ECAC4"/>
              </a:solidFill>
            </c:spPr>
            <c:extLst>
              <c:ext xmlns:c16="http://schemas.microsoft.com/office/drawing/2014/chart" uri="{C3380CC4-5D6E-409C-BE32-E72D297353CC}">
                <c16:uniqueId val="{000002A5-980B-4B2B-A6BA-FBAB5FE3CDBF}"/>
              </c:ext>
            </c:extLst>
          </c:dPt>
          <c:dPt>
            <c:idx val="338"/>
            <c:invertIfNegative val="1"/>
            <c:bubble3D val="0"/>
            <c:spPr>
              <a:solidFill>
                <a:srgbClr val="7ECAC4"/>
              </a:solidFill>
            </c:spPr>
            <c:extLst>
              <c:ext xmlns:c16="http://schemas.microsoft.com/office/drawing/2014/chart" uri="{C3380CC4-5D6E-409C-BE32-E72D297353CC}">
                <c16:uniqueId val="{000002A7-980B-4B2B-A6BA-FBAB5FE3CDBF}"/>
              </c:ext>
            </c:extLst>
          </c:dPt>
          <c:dPt>
            <c:idx val="339"/>
            <c:invertIfNegative val="1"/>
            <c:bubble3D val="0"/>
            <c:spPr>
              <a:solidFill>
                <a:srgbClr val="7ECAC4"/>
              </a:solidFill>
            </c:spPr>
            <c:extLst>
              <c:ext xmlns:c16="http://schemas.microsoft.com/office/drawing/2014/chart" uri="{C3380CC4-5D6E-409C-BE32-E72D297353CC}">
                <c16:uniqueId val="{000002A9-980B-4B2B-A6BA-FBAB5FE3CDBF}"/>
              </c:ext>
            </c:extLst>
          </c:dPt>
          <c:dPt>
            <c:idx val="340"/>
            <c:invertIfNegative val="1"/>
            <c:bubble3D val="0"/>
            <c:spPr>
              <a:solidFill>
                <a:srgbClr val="7ECAC4"/>
              </a:solidFill>
            </c:spPr>
            <c:extLst>
              <c:ext xmlns:c16="http://schemas.microsoft.com/office/drawing/2014/chart" uri="{C3380CC4-5D6E-409C-BE32-E72D297353CC}">
                <c16:uniqueId val="{000002AB-980B-4B2B-A6BA-FBAB5FE3CDBF}"/>
              </c:ext>
            </c:extLst>
          </c:dPt>
          <c:dPt>
            <c:idx val="341"/>
            <c:invertIfNegative val="1"/>
            <c:bubble3D val="0"/>
            <c:spPr>
              <a:solidFill>
                <a:srgbClr val="7ECAC4"/>
              </a:solidFill>
            </c:spPr>
            <c:extLst>
              <c:ext xmlns:c16="http://schemas.microsoft.com/office/drawing/2014/chart" uri="{C3380CC4-5D6E-409C-BE32-E72D297353CC}">
                <c16:uniqueId val="{000002AD-980B-4B2B-A6BA-FBAB5FE3CDBF}"/>
              </c:ext>
            </c:extLst>
          </c:dPt>
          <c:dPt>
            <c:idx val="342"/>
            <c:invertIfNegative val="1"/>
            <c:bubble3D val="0"/>
            <c:spPr>
              <a:solidFill>
                <a:srgbClr val="7ECAC4"/>
              </a:solidFill>
            </c:spPr>
            <c:extLst>
              <c:ext xmlns:c16="http://schemas.microsoft.com/office/drawing/2014/chart" uri="{C3380CC4-5D6E-409C-BE32-E72D297353CC}">
                <c16:uniqueId val="{000002AF-980B-4B2B-A6BA-FBAB5FE3CDBF}"/>
              </c:ext>
            </c:extLst>
          </c:dPt>
          <c:dPt>
            <c:idx val="343"/>
            <c:invertIfNegative val="1"/>
            <c:bubble3D val="0"/>
            <c:spPr>
              <a:solidFill>
                <a:srgbClr val="7ECAC4"/>
              </a:solidFill>
            </c:spPr>
            <c:extLst>
              <c:ext xmlns:c16="http://schemas.microsoft.com/office/drawing/2014/chart" uri="{C3380CC4-5D6E-409C-BE32-E72D297353CC}">
                <c16:uniqueId val="{000002B1-980B-4B2B-A6BA-FBAB5FE3CDBF}"/>
              </c:ext>
            </c:extLst>
          </c:dPt>
          <c:dPt>
            <c:idx val="344"/>
            <c:invertIfNegative val="1"/>
            <c:bubble3D val="0"/>
            <c:spPr>
              <a:solidFill>
                <a:srgbClr val="7ECAC4"/>
              </a:solidFill>
            </c:spPr>
            <c:extLst>
              <c:ext xmlns:c16="http://schemas.microsoft.com/office/drawing/2014/chart" uri="{C3380CC4-5D6E-409C-BE32-E72D297353CC}">
                <c16:uniqueId val="{000002B3-980B-4B2B-A6BA-FBAB5FE3CDBF}"/>
              </c:ext>
            </c:extLst>
          </c:dPt>
          <c:dPt>
            <c:idx val="345"/>
            <c:invertIfNegative val="1"/>
            <c:bubble3D val="0"/>
            <c:spPr>
              <a:solidFill>
                <a:srgbClr val="7ECAC4"/>
              </a:solidFill>
            </c:spPr>
            <c:extLst>
              <c:ext xmlns:c16="http://schemas.microsoft.com/office/drawing/2014/chart" uri="{C3380CC4-5D6E-409C-BE32-E72D297353CC}">
                <c16:uniqueId val="{000002B5-980B-4B2B-A6BA-FBAB5FE3CDBF}"/>
              </c:ext>
            </c:extLst>
          </c:dPt>
          <c:dPt>
            <c:idx val="346"/>
            <c:invertIfNegative val="1"/>
            <c:bubble3D val="0"/>
            <c:spPr>
              <a:solidFill>
                <a:srgbClr val="7ECAC4"/>
              </a:solidFill>
            </c:spPr>
            <c:extLst>
              <c:ext xmlns:c16="http://schemas.microsoft.com/office/drawing/2014/chart" uri="{C3380CC4-5D6E-409C-BE32-E72D297353CC}">
                <c16:uniqueId val="{000002B7-980B-4B2B-A6BA-FBAB5FE3CDBF}"/>
              </c:ext>
            </c:extLst>
          </c:dPt>
          <c:dPt>
            <c:idx val="347"/>
            <c:invertIfNegative val="1"/>
            <c:bubble3D val="0"/>
            <c:spPr>
              <a:solidFill>
                <a:srgbClr val="7ECAC4"/>
              </a:solidFill>
            </c:spPr>
            <c:extLst>
              <c:ext xmlns:c16="http://schemas.microsoft.com/office/drawing/2014/chart" uri="{C3380CC4-5D6E-409C-BE32-E72D297353CC}">
                <c16:uniqueId val="{000002B9-980B-4B2B-A6BA-FBAB5FE3CDBF}"/>
              </c:ext>
            </c:extLst>
          </c:dPt>
          <c:dPt>
            <c:idx val="348"/>
            <c:invertIfNegative val="1"/>
            <c:bubble3D val="0"/>
            <c:spPr>
              <a:solidFill>
                <a:srgbClr val="7ECAC4"/>
              </a:solidFill>
            </c:spPr>
            <c:extLst>
              <c:ext xmlns:c16="http://schemas.microsoft.com/office/drawing/2014/chart" uri="{C3380CC4-5D6E-409C-BE32-E72D297353CC}">
                <c16:uniqueId val="{000002BB-980B-4B2B-A6BA-FBAB5FE3CDBF}"/>
              </c:ext>
            </c:extLst>
          </c:dPt>
          <c:dPt>
            <c:idx val="349"/>
            <c:invertIfNegative val="1"/>
            <c:bubble3D val="0"/>
            <c:spPr>
              <a:solidFill>
                <a:srgbClr val="7ECAC4"/>
              </a:solidFill>
            </c:spPr>
            <c:extLst>
              <c:ext xmlns:c16="http://schemas.microsoft.com/office/drawing/2014/chart" uri="{C3380CC4-5D6E-409C-BE32-E72D297353CC}">
                <c16:uniqueId val="{000002BD-980B-4B2B-A6BA-FBAB5FE3CDBF}"/>
              </c:ext>
            </c:extLst>
          </c:dPt>
          <c:dPt>
            <c:idx val="350"/>
            <c:invertIfNegative val="1"/>
            <c:bubble3D val="0"/>
            <c:spPr>
              <a:solidFill>
                <a:srgbClr val="7ECAC4"/>
              </a:solidFill>
            </c:spPr>
            <c:extLst>
              <c:ext xmlns:c16="http://schemas.microsoft.com/office/drawing/2014/chart" uri="{C3380CC4-5D6E-409C-BE32-E72D297353CC}">
                <c16:uniqueId val="{000002BF-980B-4B2B-A6BA-FBAB5FE3CDBF}"/>
              </c:ext>
            </c:extLst>
          </c:dPt>
          <c:dPt>
            <c:idx val="351"/>
            <c:invertIfNegative val="1"/>
            <c:bubble3D val="0"/>
            <c:spPr>
              <a:solidFill>
                <a:srgbClr val="7ECAC4"/>
              </a:solidFill>
            </c:spPr>
            <c:extLst>
              <c:ext xmlns:c16="http://schemas.microsoft.com/office/drawing/2014/chart" uri="{C3380CC4-5D6E-409C-BE32-E72D297353CC}">
                <c16:uniqueId val="{000002C1-980B-4B2B-A6BA-FBAB5FE3CDBF}"/>
              </c:ext>
            </c:extLst>
          </c:dPt>
          <c:dPt>
            <c:idx val="352"/>
            <c:invertIfNegative val="1"/>
            <c:bubble3D val="0"/>
            <c:spPr>
              <a:solidFill>
                <a:srgbClr val="7ECAC4"/>
              </a:solidFill>
            </c:spPr>
            <c:extLst>
              <c:ext xmlns:c16="http://schemas.microsoft.com/office/drawing/2014/chart" uri="{C3380CC4-5D6E-409C-BE32-E72D297353CC}">
                <c16:uniqueId val="{000002C3-980B-4B2B-A6BA-FBAB5FE3CDBF}"/>
              </c:ext>
            </c:extLst>
          </c:dPt>
          <c:dPt>
            <c:idx val="353"/>
            <c:invertIfNegative val="1"/>
            <c:bubble3D val="0"/>
            <c:spPr>
              <a:solidFill>
                <a:srgbClr val="7ECAC4"/>
              </a:solidFill>
            </c:spPr>
            <c:extLst>
              <c:ext xmlns:c16="http://schemas.microsoft.com/office/drawing/2014/chart" uri="{C3380CC4-5D6E-409C-BE32-E72D297353CC}">
                <c16:uniqueId val="{000002C5-980B-4B2B-A6BA-FBAB5FE3CDBF}"/>
              </c:ext>
            </c:extLst>
          </c:dPt>
          <c:dPt>
            <c:idx val="354"/>
            <c:invertIfNegative val="1"/>
            <c:bubble3D val="0"/>
            <c:spPr>
              <a:solidFill>
                <a:srgbClr val="7ECAC4"/>
              </a:solidFill>
            </c:spPr>
            <c:extLst>
              <c:ext xmlns:c16="http://schemas.microsoft.com/office/drawing/2014/chart" uri="{C3380CC4-5D6E-409C-BE32-E72D297353CC}">
                <c16:uniqueId val="{000002C7-980B-4B2B-A6BA-FBAB5FE3CDBF}"/>
              </c:ext>
            </c:extLst>
          </c:dPt>
          <c:dPt>
            <c:idx val="355"/>
            <c:invertIfNegative val="1"/>
            <c:bubble3D val="0"/>
            <c:spPr>
              <a:solidFill>
                <a:srgbClr val="7ECAC4"/>
              </a:solidFill>
            </c:spPr>
            <c:extLst>
              <c:ext xmlns:c16="http://schemas.microsoft.com/office/drawing/2014/chart" uri="{C3380CC4-5D6E-409C-BE32-E72D297353CC}">
                <c16:uniqueId val="{000002C9-980B-4B2B-A6BA-FBAB5FE3CDBF}"/>
              </c:ext>
            </c:extLst>
          </c:dPt>
          <c:dPt>
            <c:idx val="356"/>
            <c:invertIfNegative val="1"/>
            <c:bubble3D val="0"/>
            <c:spPr>
              <a:solidFill>
                <a:srgbClr val="7ECAC4"/>
              </a:solidFill>
            </c:spPr>
            <c:extLst>
              <c:ext xmlns:c16="http://schemas.microsoft.com/office/drawing/2014/chart" uri="{C3380CC4-5D6E-409C-BE32-E72D297353CC}">
                <c16:uniqueId val="{000002CB-980B-4B2B-A6BA-FBAB5FE3CDBF}"/>
              </c:ext>
            </c:extLst>
          </c:dPt>
          <c:dPt>
            <c:idx val="357"/>
            <c:invertIfNegative val="1"/>
            <c:bubble3D val="0"/>
            <c:spPr>
              <a:solidFill>
                <a:srgbClr val="7ECAC4"/>
              </a:solidFill>
            </c:spPr>
            <c:extLst>
              <c:ext xmlns:c16="http://schemas.microsoft.com/office/drawing/2014/chart" uri="{C3380CC4-5D6E-409C-BE32-E72D297353CC}">
                <c16:uniqueId val="{000002CD-980B-4B2B-A6BA-FBAB5FE3CDBF}"/>
              </c:ext>
            </c:extLst>
          </c:dPt>
          <c:dPt>
            <c:idx val="358"/>
            <c:invertIfNegative val="1"/>
            <c:bubble3D val="0"/>
            <c:spPr>
              <a:solidFill>
                <a:srgbClr val="7ECAC4"/>
              </a:solidFill>
            </c:spPr>
            <c:extLst>
              <c:ext xmlns:c16="http://schemas.microsoft.com/office/drawing/2014/chart" uri="{C3380CC4-5D6E-409C-BE32-E72D297353CC}">
                <c16:uniqueId val="{000002CF-980B-4B2B-A6BA-FBAB5FE3CDBF}"/>
              </c:ext>
            </c:extLst>
          </c:dPt>
          <c:dPt>
            <c:idx val="359"/>
            <c:invertIfNegative val="1"/>
            <c:bubble3D val="0"/>
            <c:spPr>
              <a:solidFill>
                <a:srgbClr val="7ECAC4"/>
              </a:solidFill>
            </c:spPr>
            <c:extLst>
              <c:ext xmlns:c16="http://schemas.microsoft.com/office/drawing/2014/chart" uri="{C3380CC4-5D6E-409C-BE32-E72D297353CC}">
                <c16:uniqueId val="{000002D1-980B-4B2B-A6BA-FBAB5FE3CDBF}"/>
              </c:ext>
            </c:extLst>
          </c:dPt>
          <c:dPt>
            <c:idx val="360"/>
            <c:invertIfNegative val="1"/>
            <c:bubble3D val="0"/>
            <c:spPr>
              <a:solidFill>
                <a:srgbClr val="7ECAC4"/>
              </a:solidFill>
            </c:spPr>
            <c:extLst>
              <c:ext xmlns:c16="http://schemas.microsoft.com/office/drawing/2014/chart" uri="{C3380CC4-5D6E-409C-BE32-E72D297353CC}">
                <c16:uniqueId val="{000002D3-980B-4B2B-A6BA-FBAB5FE3CDBF}"/>
              </c:ext>
            </c:extLst>
          </c:dPt>
          <c:dPt>
            <c:idx val="361"/>
            <c:invertIfNegative val="1"/>
            <c:bubble3D val="0"/>
            <c:spPr>
              <a:solidFill>
                <a:srgbClr val="7ECAC4"/>
              </a:solidFill>
            </c:spPr>
            <c:extLst>
              <c:ext xmlns:c16="http://schemas.microsoft.com/office/drawing/2014/chart" uri="{C3380CC4-5D6E-409C-BE32-E72D297353CC}">
                <c16:uniqueId val="{000002D5-980B-4B2B-A6BA-FBAB5FE3CDBF}"/>
              </c:ext>
            </c:extLst>
          </c:dPt>
          <c:dPt>
            <c:idx val="362"/>
            <c:invertIfNegative val="1"/>
            <c:bubble3D val="0"/>
            <c:spPr>
              <a:solidFill>
                <a:srgbClr val="7ECAC4"/>
              </a:solidFill>
            </c:spPr>
            <c:extLst>
              <c:ext xmlns:c16="http://schemas.microsoft.com/office/drawing/2014/chart" uri="{C3380CC4-5D6E-409C-BE32-E72D297353CC}">
                <c16:uniqueId val="{000002D7-980B-4B2B-A6BA-FBAB5FE3CDBF}"/>
              </c:ext>
            </c:extLst>
          </c:dPt>
          <c:dPt>
            <c:idx val="363"/>
            <c:invertIfNegative val="1"/>
            <c:bubble3D val="0"/>
            <c:spPr>
              <a:solidFill>
                <a:srgbClr val="7ECAC4"/>
              </a:solidFill>
            </c:spPr>
            <c:extLst>
              <c:ext xmlns:c16="http://schemas.microsoft.com/office/drawing/2014/chart" uri="{C3380CC4-5D6E-409C-BE32-E72D297353CC}">
                <c16:uniqueId val="{000002D9-980B-4B2B-A6BA-FBAB5FE3CDBF}"/>
              </c:ext>
            </c:extLst>
          </c:dPt>
          <c:dPt>
            <c:idx val="364"/>
            <c:invertIfNegative val="1"/>
            <c:bubble3D val="0"/>
            <c:spPr>
              <a:solidFill>
                <a:srgbClr val="7ECAC4"/>
              </a:solidFill>
            </c:spPr>
            <c:extLst>
              <c:ext xmlns:c16="http://schemas.microsoft.com/office/drawing/2014/chart" uri="{C3380CC4-5D6E-409C-BE32-E72D297353CC}">
                <c16:uniqueId val="{000002DB-980B-4B2B-A6BA-FBAB5FE3CDBF}"/>
              </c:ext>
            </c:extLst>
          </c:dPt>
          <c:dPt>
            <c:idx val="365"/>
            <c:invertIfNegative val="1"/>
            <c:bubble3D val="0"/>
            <c:spPr>
              <a:solidFill>
                <a:srgbClr val="7ECAC4"/>
              </a:solidFill>
            </c:spPr>
            <c:extLst>
              <c:ext xmlns:c16="http://schemas.microsoft.com/office/drawing/2014/chart" uri="{C3380CC4-5D6E-409C-BE32-E72D297353CC}">
                <c16:uniqueId val="{000002DD-980B-4B2B-A6BA-FBAB5FE3CDBF}"/>
              </c:ext>
            </c:extLst>
          </c:dPt>
          <c:dPt>
            <c:idx val="366"/>
            <c:invertIfNegative val="1"/>
            <c:bubble3D val="0"/>
            <c:spPr>
              <a:solidFill>
                <a:srgbClr val="7ECAC4"/>
              </a:solidFill>
            </c:spPr>
            <c:extLst>
              <c:ext xmlns:c16="http://schemas.microsoft.com/office/drawing/2014/chart" uri="{C3380CC4-5D6E-409C-BE32-E72D297353CC}">
                <c16:uniqueId val="{000002DF-980B-4B2B-A6BA-FBAB5FE3CDBF}"/>
              </c:ext>
            </c:extLst>
          </c:dPt>
          <c:dPt>
            <c:idx val="367"/>
            <c:invertIfNegative val="1"/>
            <c:bubble3D val="0"/>
            <c:spPr>
              <a:solidFill>
                <a:srgbClr val="7ECAC4"/>
              </a:solidFill>
            </c:spPr>
            <c:extLst>
              <c:ext xmlns:c16="http://schemas.microsoft.com/office/drawing/2014/chart" uri="{C3380CC4-5D6E-409C-BE32-E72D297353CC}">
                <c16:uniqueId val="{000002E1-980B-4B2B-A6BA-FBAB5FE3CDBF}"/>
              </c:ext>
            </c:extLst>
          </c:dPt>
          <c:dPt>
            <c:idx val="368"/>
            <c:invertIfNegative val="1"/>
            <c:bubble3D val="0"/>
            <c:spPr>
              <a:solidFill>
                <a:srgbClr val="7ECAC4"/>
              </a:solidFill>
            </c:spPr>
            <c:extLst>
              <c:ext xmlns:c16="http://schemas.microsoft.com/office/drawing/2014/chart" uri="{C3380CC4-5D6E-409C-BE32-E72D297353CC}">
                <c16:uniqueId val="{000002E3-980B-4B2B-A6BA-FBAB5FE3CDBF}"/>
              </c:ext>
            </c:extLst>
          </c:dPt>
          <c:dPt>
            <c:idx val="369"/>
            <c:invertIfNegative val="1"/>
            <c:bubble3D val="0"/>
            <c:spPr>
              <a:solidFill>
                <a:srgbClr val="7ECAC4"/>
              </a:solidFill>
            </c:spPr>
            <c:extLst>
              <c:ext xmlns:c16="http://schemas.microsoft.com/office/drawing/2014/chart" uri="{C3380CC4-5D6E-409C-BE32-E72D297353CC}">
                <c16:uniqueId val="{000002E5-980B-4B2B-A6BA-FBAB5FE3CDBF}"/>
              </c:ext>
            </c:extLst>
          </c:dPt>
          <c:dPt>
            <c:idx val="370"/>
            <c:invertIfNegative val="1"/>
            <c:bubble3D val="0"/>
            <c:spPr>
              <a:solidFill>
                <a:srgbClr val="7ECAC4"/>
              </a:solidFill>
            </c:spPr>
            <c:extLst>
              <c:ext xmlns:c16="http://schemas.microsoft.com/office/drawing/2014/chart" uri="{C3380CC4-5D6E-409C-BE32-E72D297353CC}">
                <c16:uniqueId val="{000002E7-980B-4B2B-A6BA-FBAB5FE3CDBF}"/>
              </c:ext>
            </c:extLst>
          </c:dPt>
          <c:dPt>
            <c:idx val="371"/>
            <c:invertIfNegative val="1"/>
            <c:bubble3D val="0"/>
            <c:spPr>
              <a:solidFill>
                <a:srgbClr val="7ECAC4"/>
              </a:solidFill>
            </c:spPr>
            <c:extLst>
              <c:ext xmlns:c16="http://schemas.microsoft.com/office/drawing/2014/chart" uri="{C3380CC4-5D6E-409C-BE32-E72D297353CC}">
                <c16:uniqueId val="{000002E9-980B-4B2B-A6BA-FBAB5FE3CDBF}"/>
              </c:ext>
            </c:extLst>
          </c:dPt>
          <c:dPt>
            <c:idx val="372"/>
            <c:invertIfNegative val="1"/>
            <c:bubble3D val="0"/>
            <c:spPr>
              <a:solidFill>
                <a:srgbClr val="7ECAC4"/>
              </a:solidFill>
            </c:spPr>
            <c:extLst>
              <c:ext xmlns:c16="http://schemas.microsoft.com/office/drawing/2014/chart" uri="{C3380CC4-5D6E-409C-BE32-E72D297353CC}">
                <c16:uniqueId val="{000002EB-980B-4B2B-A6BA-FBAB5FE3CDBF}"/>
              </c:ext>
            </c:extLst>
          </c:dPt>
          <c:dPt>
            <c:idx val="373"/>
            <c:invertIfNegative val="1"/>
            <c:bubble3D val="0"/>
            <c:spPr>
              <a:solidFill>
                <a:srgbClr val="7ECAC4"/>
              </a:solidFill>
            </c:spPr>
            <c:extLst>
              <c:ext xmlns:c16="http://schemas.microsoft.com/office/drawing/2014/chart" uri="{C3380CC4-5D6E-409C-BE32-E72D297353CC}">
                <c16:uniqueId val="{000002ED-980B-4B2B-A6BA-FBAB5FE3CDBF}"/>
              </c:ext>
            </c:extLst>
          </c:dPt>
          <c:dPt>
            <c:idx val="374"/>
            <c:invertIfNegative val="1"/>
            <c:bubble3D val="0"/>
            <c:spPr>
              <a:solidFill>
                <a:srgbClr val="7ECAC4"/>
              </a:solidFill>
            </c:spPr>
            <c:extLst>
              <c:ext xmlns:c16="http://schemas.microsoft.com/office/drawing/2014/chart" uri="{C3380CC4-5D6E-409C-BE32-E72D297353CC}">
                <c16:uniqueId val="{000002EF-980B-4B2B-A6BA-FBAB5FE3CDBF}"/>
              </c:ext>
            </c:extLst>
          </c:dPt>
          <c:dPt>
            <c:idx val="375"/>
            <c:invertIfNegative val="1"/>
            <c:bubble3D val="0"/>
            <c:spPr>
              <a:solidFill>
                <a:srgbClr val="7ECAC4"/>
              </a:solidFill>
            </c:spPr>
            <c:extLst>
              <c:ext xmlns:c16="http://schemas.microsoft.com/office/drawing/2014/chart" uri="{C3380CC4-5D6E-409C-BE32-E72D297353CC}">
                <c16:uniqueId val="{000002F1-980B-4B2B-A6BA-FBAB5FE3CDBF}"/>
              </c:ext>
            </c:extLst>
          </c:dPt>
          <c:dPt>
            <c:idx val="376"/>
            <c:invertIfNegative val="1"/>
            <c:bubble3D val="0"/>
            <c:spPr>
              <a:solidFill>
                <a:srgbClr val="7ECAC4"/>
              </a:solidFill>
            </c:spPr>
            <c:extLst>
              <c:ext xmlns:c16="http://schemas.microsoft.com/office/drawing/2014/chart" uri="{C3380CC4-5D6E-409C-BE32-E72D297353CC}">
                <c16:uniqueId val="{000002F3-980B-4B2B-A6BA-FBAB5FE3CDBF}"/>
              </c:ext>
            </c:extLst>
          </c:dPt>
          <c:dPt>
            <c:idx val="377"/>
            <c:invertIfNegative val="1"/>
            <c:bubble3D val="0"/>
            <c:spPr>
              <a:solidFill>
                <a:srgbClr val="7ECAC4"/>
              </a:solidFill>
            </c:spPr>
            <c:extLst>
              <c:ext xmlns:c16="http://schemas.microsoft.com/office/drawing/2014/chart" uri="{C3380CC4-5D6E-409C-BE32-E72D297353CC}">
                <c16:uniqueId val="{000002F5-980B-4B2B-A6BA-FBAB5FE3CDBF}"/>
              </c:ext>
            </c:extLst>
          </c:dPt>
          <c:dPt>
            <c:idx val="378"/>
            <c:invertIfNegative val="1"/>
            <c:bubble3D val="0"/>
            <c:spPr>
              <a:solidFill>
                <a:srgbClr val="7ECAC4"/>
              </a:solidFill>
            </c:spPr>
            <c:extLst>
              <c:ext xmlns:c16="http://schemas.microsoft.com/office/drawing/2014/chart" uri="{C3380CC4-5D6E-409C-BE32-E72D297353CC}">
                <c16:uniqueId val="{000002F7-980B-4B2B-A6BA-FBAB5FE3CDBF}"/>
              </c:ext>
            </c:extLst>
          </c:dPt>
          <c:dPt>
            <c:idx val="379"/>
            <c:invertIfNegative val="1"/>
            <c:bubble3D val="0"/>
            <c:spPr>
              <a:solidFill>
                <a:srgbClr val="7ECAC4"/>
              </a:solidFill>
            </c:spPr>
            <c:extLst>
              <c:ext xmlns:c16="http://schemas.microsoft.com/office/drawing/2014/chart" uri="{C3380CC4-5D6E-409C-BE32-E72D297353CC}">
                <c16:uniqueId val="{000002F9-980B-4B2B-A6BA-FBAB5FE3CDBF}"/>
              </c:ext>
            </c:extLst>
          </c:dPt>
          <c:dPt>
            <c:idx val="380"/>
            <c:invertIfNegative val="1"/>
            <c:bubble3D val="0"/>
            <c:spPr>
              <a:solidFill>
                <a:srgbClr val="7ECAC4"/>
              </a:solidFill>
            </c:spPr>
            <c:extLst>
              <c:ext xmlns:c16="http://schemas.microsoft.com/office/drawing/2014/chart" uri="{C3380CC4-5D6E-409C-BE32-E72D297353CC}">
                <c16:uniqueId val="{000002FB-980B-4B2B-A6BA-FBAB5FE3CDBF}"/>
              </c:ext>
            </c:extLst>
          </c:dPt>
          <c:dPt>
            <c:idx val="381"/>
            <c:invertIfNegative val="1"/>
            <c:bubble3D val="0"/>
            <c:spPr>
              <a:solidFill>
                <a:srgbClr val="7ECAC4"/>
              </a:solidFill>
            </c:spPr>
            <c:extLst>
              <c:ext xmlns:c16="http://schemas.microsoft.com/office/drawing/2014/chart" uri="{C3380CC4-5D6E-409C-BE32-E72D297353CC}">
                <c16:uniqueId val="{000002FD-980B-4B2B-A6BA-FBAB5FE3CDBF}"/>
              </c:ext>
            </c:extLst>
          </c:dPt>
          <c:dPt>
            <c:idx val="382"/>
            <c:invertIfNegative val="1"/>
            <c:bubble3D val="0"/>
            <c:spPr>
              <a:solidFill>
                <a:srgbClr val="7ECAC4"/>
              </a:solidFill>
            </c:spPr>
            <c:extLst>
              <c:ext xmlns:c16="http://schemas.microsoft.com/office/drawing/2014/chart" uri="{C3380CC4-5D6E-409C-BE32-E72D297353CC}">
                <c16:uniqueId val="{000002FF-980B-4B2B-A6BA-FBAB5FE3CDBF}"/>
              </c:ext>
            </c:extLst>
          </c:dPt>
          <c:dPt>
            <c:idx val="383"/>
            <c:invertIfNegative val="1"/>
            <c:bubble3D val="0"/>
            <c:spPr>
              <a:solidFill>
                <a:srgbClr val="7ECAC4"/>
              </a:solidFill>
            </c:spPr>
            <c:extLst>
              <c:ext xmlns:c16="http://schemas.microsoft.com/office/drawing/2014/chart" uri="{C3380CC4-5D6E-409C-BE32-E72D297353CC}">
                <c16:uniqueId val="{00000301-980B-4B2B-A6BA-FBAB5FE3CDBF}"/>
              </c:ext>
            </c:extLst>
          </c:dPt>
          <c:dPt>
            <c:idx val="384"/>
            <c:invertIfNegative val="1"/>
            <c:bubble3D val="0"/>
            <c:spPr>
              <a:solidFill>
                <a:srgbClr val="7ECAC4"/>
              </a:solidFill>
            </c:spPr>
            <c:extLst>
              <c:ext xmlns:c16="http://schemas.microsoft.com/office/drawing/2014/chart" uri="{C3380CC4-5D6E-409C-BE32-E72D297353CC}">
                <c16:uniqueId val="{00000303-980B-4B2B-A6BA-FBAB5FE3CDBF}"/>
              </c:ext>
            </c:extLst>
          </c:dPt>
          <c:dPt>
            <c:idx val="385"/>
            <c:invertIfNegative val="1"/>
            <c:bubble3D val="0"/>
            <c:spPr>
              <a:solidFill>
                <a:srgbClr val="7ECAC4"/>
              </a:solidFill>
            </c:spPr>
            <c:extLst>
              <c:ext xmlns:c16="http://schemas.microsoft.com/office/drawing/2014/chart" uri="{C3380CC4-5D6E-409C-BE32-E72D297353CC}">
                <c16:uniqueId val="{00000305-980B-4B2B-A6BA-FBAB5FE3CDBF}"/>
              </c:ext>
            </c:extLst>
          </c:dPt>
          <c:dPt>
            <c:idx val="386"/>
            <c:invertIfNegative val="1"/>
            <c:bubble3D val="0"/>
            <c:spPr>
              <a:solidFill>
                <a:srgbClr val="7ECAC4"/>
              </a:solidFill>
            </c:spPr>
            <c:extLst>
              <c:ext xmlns:c16="http://schemas.microsoft.com/office/drawing/2014/chart" uri="{C3380CC4-5D6E-409C-BE32-E72D297353CC}">
                <c16:uniqueId val="{00000307-980B-4B2B-A6BA-FBAB5FE3CDBF}"/>
              </c:ext>
            </c:extLst>
          </c:dPt>
          <c:dPt>
            <c:idx val="387"/>
            <c:invertIfNegative val="1"/>
            <c:bubble3D val="0"/>
            <c:spPr>
              <a:solidFill>
                <a:srgbClr val="7ECAC4"/>
              </a:solidFill>
            </c:spPr>
            <c:extLst>
              <c:ext xmlns:c16="http://schemas.microsoft.com/office/drawing/2014/chart" uri="{C3380CC4-5D6E-409C-BE32-E72D297353CC}">
                <c16:uniqueId val="{00000309-980B-4B2B-A6BA-FBAB5FE3CDBF}"/>
              </c:ext>
            </c:extLst>
          </c:dPt>
          <c:dPt>
            <c:idx val="388"/>
            <c:invertIfNegative val="1"/>
            <c:bubble3D val="0"/>
            <c:spPr>
              <a:solidFill>
                <a:srgbClr val="7ECAC4"/>
              </a:solidFill>
            </c:spPr>
            <c:extLst>
              <c:ext xmlns:c16="http://schemas.microsoft.com/office/drawing/2014/chart" uri="{C3380CC4-5D6E-409C-BE32-E72D297353CC}">
                <c16:uniqueId val="{0000030B-980B-4B2B-A6BA-FBAB5FE3CDBF}"/>
              </c:ext>
            </c:extLst>
          </c:dPt>
          <c:dPt>
            <c:idx val="389"/>
            <c:invertIfNegative val="1"/>
            <c:bubble3D val="0"/>
            <c:spPr>
              <a:solidFill>
                <a:srgbClr val="7ECAC4"/>
              </a:solidFill>
            </c:spPr>
            <c:extLst>
              <c:ext xmlns:c16="http://schemas.microsoft.com/office/drawing/2014/chart" uri="{C3380CC4-5D6E-409C-BE32-E72D297353CC}">
                <c16:uniqueId val="{0000030D-980B-4B2B-A6BA-FBAB5FE3CDBF}"/>
              </c:ext>
            </c:extLst>
          </c:dPt>
          <c:dPt>
            <c:idx val="390"/>
            <c:invertIfNegative val="1"/>
            <c:bubble3D val="0"/>
            <c:spPr>
              <a:solidFill>
                <a:srgbClr val="7ECAC4"/>
              </a:solidFill>
            </c:spPr>
            <c:extLst>
              <c:ext xmlns:c16="http://schemas.microsoft.com/office/drawing/2014/chart" uri="{C3380CC4-5D6E-409C-BE32-E72D297353CC}">
                <c16:uniqueId val="{0000030F-980B-4B2B-A6BA-FBAB5FE3CDBF}"/>
              </c:ext>
            </c:extLst>
          </c:dPt>
          <c:dPt>
            <c:idx val="391"/>
            <c:invertIfNegative val="1"/>
            <c:bubble3D val="0"/>
            <c:spPr>
              <a:solidFill>
                <a:srgbClr val="7ECAC4"/>
              </a:solidFill>
            </c:spPr>
            <c:extLst>
              <c:ext xmlns:c16="http://schemas.microsoft.com/office/drawing/2014/chart" uri="{C3380CC4-5D6E-409C-BE32-E72D297353CC}">
                <c16:uniqueId val="{00000311-980B-4B2B-A6BA-FBAB5FE3CDBF}"/>
              </c:ext>
            </c:extLst>
          </c:dPt>
          <c:dPt>
            <c:idx val="392"/>
            <c:invertIfNegative val="1"/>
            <c:bubble3D val="0"/>
            <c:spPr>
              <a:solidFill>
                <a:srgbClr val="7ECAC4"/>
              </a:solidFill>
            </c:spPr>
            <c:extLst>
              <c:ext xmlns:c16="http://schemas.microsoft.com/office/drawing/2014/chart" uri="{C3380CC4-5D6E-409C-BE32-E72D297353CC}">
                <c16:uniqueId val="{00000313-980B-4B2B-A6BA-FBAB5FE3CDBF}"/>
              </c:ext>
            </c:extLst>
          </c:dPt>
          <c:dPt>
            <c:idx val="393"/>
            <c:invertIfNegative val="1"/>
            <c:bubble3D val="0"/>
            <c:spPr>
              <a:solidFill>
                <a:srgbClr val="7ECAC4"/>
              </a:solidFill>
            </c:spPr>
            <c:extLst>
              <c:ext xmlns:c16="http://schemas.microsoft.com/office/drawing/2014/chart" uri="{C3380CC4-5D6E-409C-BE32-E72D297353CC}">
                <c16:uniqueId val="{00000315-980B-4B2B-A6BA-FBAB5FE3CDBF}"/>
              </c:ext>
            </c:extLst>
          </c:dPt>
          <c:dPt>
            <c:idx val="394"/>
            <c:invertIfNegative val="1"/>
            <c:bubble3D val="0"/>
            <c:spPr>
              <a:solidFill>
                <a:srgbClr val="7ECAC4"/>
              </a:solidFill>
            </c:spPr>
            <c:extLst>
              <c:ext xmlns:c16="http://schemas.microsoft.com/office/drawing/2014/chart" uri="{C3380CC4-5D6E-409C-BE32-E72D297353CC}">
                <c16:uniqueId val="{00000317-980B-4B2B-A6BA-FBAB5FE3CDBF}"/>
              </c:ext>
            </c:extLst>
          </c:dPt>
          <c:dPt>
            <c:idx val="395"/>
            <c:invertIfNegative val="1"/>
            <c:bubble3D val="0"/>
            <c:spPr>
              <a:solidFill>
                <a:srgbClr val="7ECAC4"/>
              </a:solidFill>
            </c:spPr>
            <c:extLst>
              <c:ext xmlns:c16="http://schemas.microsoft.com/office/drawing/2014/chart" uri="{C3380CC4-5D6E-409C-BE32-E72D297353CC}">
                <c16:uniqueId val="{00000319-980B-4B2B-A6BA-FBAB5FE3CDBF}"/>
              </c:ext>
            </c:extLst>
          </c:dPt>
          <c:dPt>
            <c:idx val="396"/>
            <c:invertIfNegative val="1"/>
            <c:bubble3D val="0"/>
            <c:spPr>
              <a:solidFill>
                <a:srgbClr val="7ECAC4"/>
              </a:solidFill>
            </c:spPr>
            <c:extLst>
              <c:ext xmlns:c16="http://schemas.microsoft.com/office/drawing/2014/chart" uri="{C3380CC4-5D6E-409C-BE32-E72D297353CC}">
                <c16:uniqueId val="{0000031B-980B-4B2B-A6BA-FBAB5FE3CDBF}"/>
              </c:ext>
            </c:extLst>
          </c:dPt>
          <c:dPt>
            <c:idx val="397"/>
            <c:invertIfNegative val="1"/>
            <c:bubble3D val="0"/>
            <c:spPr>
              <a:solidFill>
                <a:srgbClr val="7ECAC4"/>
              </a:solidFill>
            </c:spPr>
            <c:extLst>
              <c:ext xmlns:c16="http://schemas.microsoft.com/office/drawing/2014/chart" uri="{C3380CC4-5D6E-409C-BE32-E72D297353CC}">
                <c16:uniqueId val="{0000031D-980B-4B2B-A6BA-FBAB5FE3CDBF}"/>
              </c:ext>
            </c:extLst>
          </c:dPt>
          <c:dPt>
            <c:idx val="398"/>
            <c:invertIfNegative val="1"/>
            <c:bubble3D val="0"/>
            <c:spPr>
              <a:solidFill>
                <a:srgbClr val="7ECAC4"/>
              </a:solidFill>
            </c:spPr>
            <c:extLst>
              <c:ext xmlns:c16="http://schemas.microsoft.com/office/drawing/2014/chart" uri="{C3380CC4-5D6E-409C-BE32-E72D297353CC}">
                <c16:uniqueId val="{0000031F-980B-4B2B-A6BA-FBAB5FE3CDBF}"/>
              </c:ext>
            </c:extLst>
          </c:dPt>
          <c:dPt>
            <c:idx val="399"/>
            <c:invertIfNegative val="1"/>
            <c:bubble3D val="0"/>
            <c:spPr>
              <a:solidFill>
                <a:srgbClr val="7ECAC4"/>
              </a:solidFill>
            </c:spPr>
            <c:extLst>
              <c:ext xmlns:c16="http://schemas.microsoft.com/office/drawing/2014/chart" uri="{C3380CC4-5D6E-409C-BE32-E72D297353CC}">
                <c16:uniqueId val="{00000321-980B-4B2B-A6BA-FBAB5FE3CDBF}"/>
              </c:ext>
            </c:extLst>
          </c:dPt>
          <c:dPt>
            <c:idx val="400"/>
            <c:invertIfNegative val="1"/>
            <c:bubble3D val="0"/>
            <c:spPr>
              <a:solidFill>
                <a:srgbClr val="7ECAC4"/>
              </a:solidFill>
            </c:spPr>
            <c:extLst>
              <c:ext xmlns:c16="http://schemas.microsoft.com/office/drawing/2014/chart" uri="{C3380CC4-5D6E-409C-BE32-E72D297353CC}">
                <c16:uniqueId val="{00000323-980B-4B2B-A6BA-FBAB5FE3CDBF}"/>
              </c:ext>
            </c:extLst>
          </c:dPt>
          <c:dPt>
            <c:idx val="401"/>
            <c:invertIfNegative val="1"/>
            <c:bubble3D val="0"/>
            <c:spPr>
              <a:solidFill>
                <a:srgbClr val="7ECAC4"/>
              </a:solidFill>
            </c:spPr>
            <c:extLst>
              <c:ext xmlns:c16="http://schemas.microsoft.com/office/drawing/2014/chart" uri="{C3380CC4-5D6E-409C-BE32-E72D297353CC}">
                <c16:uniqueId val="{00000325-980B-4B2B-A6BA-FBAB5FE3CDBF}"/>
              </c:ext>
            </c:extLst>
          </c:dPt>
          <c:dPt>
            <c:idx val="402"/>
            <c:invertIfNegative val="1"/>
            <c:bubble3D val="0"/>
            <c:spPr>
              <a:solidFill>
                <a:srgbClr val="7ECAC4"/>
              </a:solidFill>
            </c:spPr>
            <c:extLst>
              <c:ext xmlns:c16="http://schemas.microsoft.com/office/drawing/2014/chart" uri="{C3380CC4-5D6E-409C-BE32-E72D297353CC}">
                <c16:uniqueId val="{00000327-980B-4B2B-A6BA-FBAB5FE3CDBF}"/>
              </c:ext>
            </c:extLst>
          </c:dPt>
          <c:dPt>
            <c:idx val="403"/>
            <c:invertIfNegative val="1"/>
            <c:bubble3D val="0"/>
            <c:spPr>
              <a:solidFill>
                <a:srgbClr val="7ECAC4"/>
              </a:solidFill>
            </c:spPr>
            <c:extLst>
              <c:ext xmlns:c16="http://schemas.microsoft.com/office/drawing/2014/chart" uri="{C3380CC4-5D6E-409C-BE32-E72D297353CC}">
                <c16:uniqueId val="{00000329-980B-4B2B-A6BA-FBAB5FE3CDBF}"/>
              </c:ext>
            </c:extLst>
          </c:dPt>
          <c:dPt>
            <c:idx val="404"/>
            <c:invertIfNegative val="1"/>
            <c:bubble3D val="0"/>
            <c:spPr>
              <a:solidFill>
                <a:srgbClr val="7ECAC4"/>
              </a:solidFill>
            </c:spPr>
            <c:extLst>
              <c:ext xmlns:c16="http://schemas.microsoft.com/office/drawing/2014/chart" uri="{C3380CC4-5D6E-409C-BE32-E72D297353CC}">
                <c16:uniqueId val="{0000032B-980B-4B2B-A6BA-FBAB5FE3CDBF}"/>
              </c:ext>
            </c:extLst>
          </c:dPt>
          <c:dPt>
            <c:idx val="405"/>
            <c:invertIfNegative val="1"/>
            <c:bubble3D val="0"/>
            <c:spPr>
              <a:solidFill>
                <a:srgbClr val="7ECAC4"/>
              </a:solidFill>
            </c:spPr>
            <c:extLst>
              <c:ext xmlns:c16="http://schemas.microsoft.com/office/drawing/2014/chart" uri="{C3380CC4-5D6E-409C-BE32-E72D297353CC}">
                <c16:uniqueId val="{0000032D-980B-4B2B-A6BA-FBAB5FE3CDBF}"/>
              </c:ext>
            </c:extLst>
          </c:dPt>
          <c:dPt>
            <c:idx val="406"/>
            <c:invertIfNegative val="1"/>
            <c:bubble3D val="0"/>
            <c:spPr>
              <a:solidFill>
                <a:srgbClr val="7ECAC4"/>
              </a:solidFill>
            </c:spPr>
            <c:extLst>
              <c:ext xmlns:c16="http://schemas.microsoft.com/office/drawing/2014/chart" uri="{C3380CC4-5D6E-409C-BE32-E72D297353CC}">
                <c16:uniqueId val="{0000032F-980B-4B2B-A6BA-FBAB5FE3CDBF}"/>
              </c:ext>
            </c:extLst>
          </c:dPt>
          <c:dPt>
            <c:idx val="407"/>
            <c:invertIfNegative val="1"/>
            <c:bubble3D val="0"/>
            <c:spPr>
              <a:solidFill>
                <a:srgbClr val="7ECAC4"/>
              </a:solidFill>
            </c:spPr>
            <c:extLst>
              <c:ext xmlns:c16="http://schemas.microsoft.com/office/drawing/2014/chart" uri="{C3380CC4-5D6E-409C-BE32-E72D297353CC}">
                <c16:uniqueId val="{00000331-980B-4B2B-A6BA-FBAB5FE3CDBF}"/>
              </c:ext>
            </c:extLst>
          </c:dPt>
          <c:dPt>
            <c:idx val="408"/>
            <c:invertIfNegative val="1"/>
            <c:bubble3D val="0"/>
            <c:spPr>
              <a:solidFill>
                <a:srgbClr val="7ECAC4"/>
              </a:solidFill>
            </c:spPr>
            <c:extLst>
              <c:ext xmlns:c16="http://schemas.microsoft.com/office/drawing/2014/chart" uri="{C3380CC4-5D6E-409C-BE32-E72D297353CC}">
                <c16:uniqueId val="{00000333-980B-4B2B-A6BA-FBAB5FE3CDBF}"/>
              </c:ext>
            </c:extLst>
          </c:dPt>
          <c:dPt>
            <c:idx val="409"/>
            <c:invertIfNegative val="1"/>
            <c:bubble3D val="0"/>
            <c:spPr>
              <a:solidFill>
                <a:srgbClr val="7ECAC4"/>
              </a:solidFill>
            </c:spPr>
            <c:extLst>
              <c:ext xmlns:c16="http://schemas.microsoft.com/office/drawing/2014/chart" uri="{C3380CC4-5D6E-409C-BE32-E72D297353CC}">
                <c16:uniqueId val="{00000335-980B-4B2B-A6BA-FBAB5FE3CDBF}"/>
              </c:ext>
            </c:extLst>
          </c:dPt>
          <c:dPt>
            <c:idx val="410"/>
            <c:invertIfNegative val="1"/>
            <c:bubble3D val="0"/>
            <c:spPr>
              <a:solidFill>
                <a:srgbClr val="7ECAC4"/>
              </a:solidFill>
            </c:spPr>
            <c:extLst>
              <c:ext xmlns:c16="http://schemas.microsoft.com/office/drawing/2014/chart" uri="{C3380CC4-5D6E-409C-BE32-E72D297353CC}">
                <c16:uniqueId val="{00000337-980B-4B2B-A6BA-FBAB5FE3CDBF}"/>
              </c:ext>
            </c:extLst>
          </c:dPt>
          <c:dPt>
            <c:idx val="411"/>
            <c:invertIfNegative val="1"/>
            <c:bubble3D val="0"/>
            <c:spPr>
              <a:solidFill>
                <a:srgbClr val="7ECAC4"/>
              </a:solidFill>
            </c:spPr>
            <c:extLst>
              <c:ext xmlns:c16="http://schemas.microsoft.com/office/drawing/2014/chart" uri="{C3380CC4-5D6E-409C-BE32-E72D297353CC}">
                <c16:uniqueId val="{00000339-980B-4B2B-A6BA-FBAB5FE3CDBF}"/>
              </c:ext>
            </c:extLst>
          </c:dPt>
          <c:dPt>
            <c:idx val="412"/>
            <c:invertIfNegative val="1"/>
            <c:bubble3D val="0"/>
            <c:spPr>
              <a:solidFill>
                <a:srgbClr val="7ECAC4"/>
              </a:solidFill>
            </c:spPr>
            <c:extLst>
              <c:ext xmlns:c16="http://schemas.microsoft.com/office/drawing/2014/chart" uri="{C3380CC4-5D6E-409C-BE32-E72D297353CC}">
                <c16:uniqueId val="{0000033B-980B-4B2B-A6BA-FBAB5FE3CDBF}"/>
              </c:ext>
            </c:extLst>
          </c:dPt>
          <c:dPt>
            <c:idx val="413"/>
            <c:invertIfNegative val="1"/>
            <c:bubble3D val="0"/>
            <c:spPr>
              <a:solidFill>
                <a:srgbClr val="7ECAC4"/>
              </a:solidFill>
            </c:spPr>
            <c:extLst>
              <c:ext xmlns:c16="http://schemas.microsoft.com/office/drawing/2014/chart" uri="{C3380CC4-5D6E-409C-BE32-E72D297353CC}">
                <c16:uniqueId val="{0000033D-980B-4B2B-A6BA-FBAB5FE3CDBF}"/>
              </c:ext>
            </c:extLst>
          </c:dPt>
          <c:dPt>
            <c:idx val="414"/>
            <c:invertIfNegative val="1"/>
            <c:bubble3D val="0"/>
            <c:spPr>
              <a:solidFill>
                <a:srgbClr val="7ECAC4"/>
              </a:solidFill>
            </c:spPr>
            <c:extLst>
              <c:ext xmlns:c16="http://schemas.microsoft.com/office/drawing/2014/chart" uri="{C3380CC4-5D6E-409C-BE32-E72D297353CC}">
                <c16:uniqueId val="{0000033F-980B-4B2B-A6BA-FBAB5FE3CDBF}"/>
              </c:ext>
            </c:extLst>
          </c:dPt>
          <c:dPt>
            <c:idx val="415"/>
            <c:invertIfNegative val="1"/>
            <c:bubble3D val="0"/>
            <c:spPr>
              <a:solidFill>
                <a:srgbClr val="7ECAC4"/>
              </a:solidFill>
            </c:spPr>
            <c:extLst>
              <c:ext xmlns:c16="http://schemas.microsoft.com/office/drawing/2014/chart" uri="{C3380CC4-5D6E-409C-BE32-E72D297353CC}">
                <c16:uniqueId val="{00000341-980B-4B2B-A6BA-FBAB5FE3CDBF}"/>
              </c:ext>
            </c:extLst>
          </c:dPt>
          <c:dPt>
            <c:idx val="416"/>
            <c:invertIfNegative val="1"/>
            <c:bubble3D val="0"/>
            <c:spPr>
              <a:solidFill>
                <a:srgbClr val="7ECAC4"/>
              </a:solidFill>
            </c:spPr>
            <c:extLst>
              <c:ext xmlns:c16="http://schemas.microsoft.com/office/drawing/2014/chart" uri="{C3380CC4-5D6E-409C-BE32-E72D297353CC}">
                <c16:uniqueId val="{00000343-980B-4B2B-A6BA-FBAB5FE3CDBF}"/>
              </c:ext>
            </c:extLst>
          </c:dPt>
          <c:dPt>
            <c:idx val="417"/>
            <c:invertIfNegative val="1"/>
            <c:bubble3D val="0"/>
            <c:spPr>
              <a:solidFill>
                <a:srgbClr val="7ECAC4"/>
              </a:solidFill>
            </c:spPr>
            <c:extLst>
              <c:ext xmlns:c16="http://schemas.microsoft.com/office/drawing/2014/chart" uri="{C3380CC4-5D6E-409C-BE32-E72D297353CC}">
                <c16:uniqueId val="{00000345-980B-4B2B-A6BA-FBAB5FE3CDBF}"/>
              </c:ext>
            </c:extLst>
          </c:dPt>
          <c:dPt>
            <c:idx val="418"/>
            <c:invertIfNegative val="1"/>
            <c:bubble3D val="0"/>
            <c:spPr>
              <a:solidFill>
                <a:srgbClr val="7ECAC4"/>
              </a:solidFill>
            </c:spPr>
            <c:extLst>
              <c:ext xmlns:c16="http://schemas.microsoft.com/office/drawing/2014/chart" uri="{C3380CC4-5D6E-409C-BE32-E72D297353CC}">
                <c16:uniqueId val="{00000347-980B-4B2B-A6BA-FBAB5FE3CDBF}"/>
              </c:ext>
            </c:extLst>
          </c:dPt>
          <c:dPt>
            <c:idx val="419"/>
            <c:invertIfNegative val="1"/>
            <c:bubble3D val="0"/>
            <c:spPr>
              <a:solidFill>
                <a:srgbClr val="7ECAC4"/>
              </a:solidFill>
            </c:spPr>
            <c:extLst>
              <c:ext xmlns:c16="http://schemas.microsoft.com/office/drawing/2014/chart" uri="{C3380CC4-5D6E-409C-BE32-E72D297353CC}">
                <c16:uniqueId val="{00000349-980B-4B2B-A6BA-FBAB5FE3CDBF}"/>
              </c:ext>
            </c:extLst>
          </c:dPt>
          <c:dPt>
            <c:idx val="420"/>
            <c:invertIfNegative val="1"/>
            <c:bubble3D val="0"/>
            <c:spPr>
              <a:solidFill>
                <a:srgbClr val="7ECAC4"/>
              </a:solidFill>
            </c:spPr>
            <c:extLst>
              <c:ext xmlns:c16="http://schemas.microsoft.com/office/drawing/2014/chart" uri="{C3380CC4-5D6E-409C-BE32-E72D297353CC}">
                <c16:uniqueId val="{0000034B-980B-4B2B-A6BA-FBAB5FE3CDBF}"/>
              </c:ext>
            </c:extLst>
          </c:dPt>
          <c:dPt>
            <c:idx val="421"/>
            <c:invertIfNegative val="1"/>
            <c:bubble3D val="0"/>
            <c:spPr>
              <a:solidFill>
                <a:srgbClr val="7ECAC4"/>
              </a:solidFill>
            </c:spPr>
            <c:extLst>
              <c:ext xmlns:c16="http://schemas.microsoft.com/office/drawing/2014/chart" uri="{C3380CC4-5D6E-409C-BE32-E72D297353CC}">
                <c16:uniqueId val="{0000034D-980B-4B2B-A6BA-FBAB5FE3CDBF}"/>
              </c:ext>
            </c:extLst>
          </c:dPt>
          <c:dPt>
            <c:idx val="422"/>
            <c:invertIfNegative val="1"/>
            <c:bubble3D val="0"/>
            <c:spPr>
              <a:solidFill>
                <a:srgbClr val="7ECAC4"/>
              </a:solidFill>
            </c:spPr>
            <c:extLst>
              <c:ext xmlns:c16="http://schemas.microsoft.com/office/drawing/2014/chart" uri="{C3380CC4-5D6E-409C-BE32-E72D297353CC}">
                <c16:uniqueId val="{0000034F-980B-4B2B-A6BA-FBAB5FE3CDBF}"/>
              </c:ext>
            </c:extLst>
          </c:dPt>
          <c:dPt>
            <c:idx val="423"/>
            <c:invertIfNegative val="1"/>
            <c:bubble3D val="0"/>
            <c:spPr>
              <a:solidFill>
                <a:srgbClr val="7ECAC4"/>
              </a:solidFill>
            </c:spPr>
            <c:extLst>
              <c:ext xmlns:c16="http://schemas.microsoft.com/office/drawing/2014/chart" uri="{C3380CC4-5D6E-409C-BE32-E72D297353CC}">
                <c16:uniqueId val="{00000351-980B-4B2B-A6BA-FBAB5FE3CDBF}"/>
              </c:ext>
            </c:extLst>
          </c:dPt>
          <c:dPt>
            <c:idx val="424"/>
            <c:invertIfNegative val="1"/>
            <c:bubble3D val="0"/>
            <c:spPr>
              <a:solidFill>
                <a:srgbClr val="7ECAC4"/>
              </a:solidFill>
            </c:spPr>
            <c:extLst>
              <c:ext xmlns:c16="http://schemas.microsoft.com/office/drawing/2014/chart" uri="{C3380CC4-5D6E-409C-BE32-E72D297353CC}">
                <c16:uniqueId val="{00000353-980B-4B2B-A6BA-FBAB5FE3CDBF}"/>
              </c:ext>
            </c:extLst>
          </c:dPt>
          <c:dPt>
            <c:idx val="425"/>
            <c:invertIfNegative val="1"/>
            <c:bubble3D val="0"/>
            <c:spPr>
              <a:solidFill>
                <a:srgbClr val="7ECAC4"/>
              </a:solidFill>
            </c:spPr>
            <c:extLst>
              <c:ext xmlns:c16="http://schemas.microsoft.com/office/drawing/2014/chart" uri="{C3380CC4-5D6E-409C-BE32-E72D297353CC}">
                <c16:uniqueId val="{00000355-980B-4B2B-A6BA-FBAB5FE3CDBF}"/>
              </c:ext>
            </c:extLst>
          </c:dPt>
          <c:dPt>
            <c:idx val="426"/>
            <c:invertIfNegative val="1"/>
            <c:bubble3D val="0"/>
            <c:spPr>
              <a:solidFill>
                <a:srgbClr val="7ECAC4"/>
              </a:solidFill>
            </c:spPr>
            <c:extLst>
              <c:ext xmlns:c16="http://schemas.microsoft.com/office/drawing/2014/chart" uri="{C3380CC4-5D6E-409C-BE32-E72D297353CC}">
                <c16:uniqueId val="{00000357-980B-4B2B-A6BA-FBAB5FE3CDBF}"/>
              </c:ext>
            </c:extLst>
          </c:dPt>
          <c:dPt>
            <c:idx val="427"/>
            <c:invertIfNegative val="1"/>
            <c:bubble3D val="0"/>
            <c:spPr>
              <a:solidFill>
                <a:srgbClr val="7ECAC4"/>
              </a:solidFill>
            </c:spPr>
            <c:extLst>
              <c:ext xmlns:c16="http://schemas.microsoft.com/office/drawing/2014/chart" uri="{C3380CC4-5D6E-409C-BE32-E72D297353CC}">
                <c16:uniqueId val="{00000359-980B-4B2B-A6BA-FBAB5FE3CDBF}"/>
              </c:ext>
            </c:extLst>
          </c:dPt>
          <c:dPt>
            <c:idx val="428"/>
            <c:invertIfNegative val="1"/>
            <c:bubble3D val="0"/>
            <c:spPr>
              <a:solidFill>
                <a:srgbClr val="7ECAC4"/>
              </a:solidFill>
            </c:spPr>
            <c:extLst>
              <c:ext xmlns:c16="http://schemas.microsoft.com/office/drawing/2014/chart" uri="{C3380CC4-5D6E-409C-BE32-E72D297353CC}">
                <c16:uniqueId val="{0000035B-980B-4B2B-A6BA-FBAB5FE3CDBF}"/>
              </c:ext>
            </c:extLst>
          </c:dPt>
          <c:dPt>
            <c:idx val="429"/>
            <c:invertIfNegative val="1"/>
            <c:bubble3D val="0"/>
            <c:spPr>
              <a:solidFill>
                <a:srgbClr val="7ECAC4"/>
              </a:solidFill>
            </c:spPr>
            <c:extLst>
              <c:ext xmlns:c16="http://schemas.microsoft.com/office/drawing/2014/chart" uri="{C3380CC4-5D6E-409C-BE32-E72D297353CC}">
                <c16:uniqueId val="{0000035D-980B-4B2B-A6BA-FBAB5FE3CDBF}"/>
              </c:ext>
            </c:extLst>
          </c:dPt>
          <c:dPt>
            <c:idx val="430"/>
            <c:invertIfNegative val="1"/>
            <c:bubble3D val="0"/>
            <c:spPr>
              <a:solidFill>
                <a:srgbClr val="7ECAC4"/>
              </a:solidFill>
            </c:spPr>
            <c:extLst>
              <c:ext xmlns:c16="http://schemas.microsoft.com/office/drawing/2014/chart" uri="{C3380CC4-5D6E-409C-BE32-E72D297353CC}">
                <c16:uniqueId val="{0000035F-980B-4B2B-A6BA-FBAB5FE3CDBF}"/>
              </c:ext>
            </c:extLst>
          </c:dPt>
          <c:dPt>
            <c:idx val="431"/>
            <c:invertIfNegative val="1"/>
            <c:bubble3D val="0"/>
            <c:spPr>
              <a:solidFill>
                <a:srgbClr val="7ECAC4"/>
              </a:solidFill>
            </c:spPr>
            <c:extLst>
              <c:ext xmlns:c16="http://schemas.microsoft.com/office/drawing/2014/chart" uri="{C3380CC4-5D6E-409C-BE32-E72D297353CC}">
                <c16:uniqueId val="{00000361-980B-4B2B-A6BA-FBAB5FE3CDBF}"/>
              </c:ext>
            </c:extLst>
          </c:dPt>
          <c:dPt>
            <c:idx val="432"/>
            <c:invertIfNegative val="1"/>
            <c:bubble3D val="0"/>
            <c:spPr>
              <a:solidFill>
                <a:srgbClr val="7ECAC4"/>
              </a:solidFill>
            </c:spPr>
            <c:extLst>
              <c:ext xmlns:c16="http://schemas.microsoft.com/office/drawing/2014/chart" uri="{C3380CC4-5D6E-409C-BE32-E72D297353CC}">
                <c16:uniqueId val="{00000363-980B-4B2B-A6BA-FBAB5FE3CDBF}"/>
              </c:ext>
            </c:extLst>
          </c:dPt>
          <c:dPt>
            <c:idx val="433"/>
            <c:invertIfNegative val="1"/>
            <c:bubble3D val="0"/>
            <c:spPr>
              <a:solidFill>
                <a:srgbClr val="7ECAC4"/>
              </a:solidFill>
            </c:spPr>
            <c:extLst>
              <c:ext xmlns:c16="http://schemas.microsoft.com/office/drawing/2014/chart" uri="{C3380CC4-5D6E-409C-BE32-E72D297353CC}">
                <c16:uniqueId val="{00000365-980B-4B2B-A6BA-FBAB5FE3CDBF}"/>
              </c:ext>
            </c:extLst>
          </c:dPt>
          <c:dPt>
            <c:idx val="434"/>
            <c:invertIfNegative val="1"/>
            <c:bubble3D val="0"/>
            <c:spPr>
              <a:solidFill>
                <a:srgbClr val="7ECAC4"/>
              </a:solidFill>
            </c:spPr>
            <c:extLst>
              <c:ext xmlns:c16="http://schemas.microsoft.com/office/drawing/2014/chart" uri="{C3380CC4-5D6E-409C-BE32-E72D297353CC}">
                <c16:uniqueId val="{00000367-980B-4B2B-A6BA-FBAB5FE3CDBF}"/>
              </c:ext>
            </c:extLst>
          </c:dPt>
          <c:dPt>
            <c:idx val="435"/>
            <c:invertIfNegative val="1"/>
            <c:bubble3D val="0"/>
            <c:spPr>
              <a:solidFill>
                <a:srgbClr val="7ECAC4"/>
              </a:solidFill>
            </c:spPr>
            <c:extLst>
              <c:ext xmlns:c16="http://schemas.microsoft.com/office/drawing/2014/chart" uri="{C3380CC4-5D6E-409C-BE32-E72D297353CC}">
                <c16:uniqueId val="{00000369-980B-4B2B-A6BA-FBAB5FE3CDBF}"/>
              </c:ext>
            </c:extLst>
          </c:dPt>
          <c:dPt>
            <c:idx val="436"/>
            <c:invertIfNegative val="1"/>
            <c:bubble3D val="0"/>
            <c:spPr>
              <a:solidFill>
                <a:srgbClr val="7ECAC4"/>
              </a:solidFill>
            </c:spPr>
            <c:extLst>
              <c:ext xmlns:c16="http://schemas.microsoft.com/office/drawing/2014/chart" uri="{C3380CC4-5D6E-409C-BE32-E72D297353CC}">
                <c16:uniqueId val="{0000036B-980B-4B2B-A6BA-FBAB5FE3CDBF}"/>
              </c:ext>
            </c:extLst>
          </c:dPt>
          <c:dPt>
            <c:idx val="437"/>
            <c:invertIfNegative val="1"/>
            <c:bubble3D val="0"/>
            <c:spPr>
              <a:solidFill>
                <a:srgbClr val="7ECAC4"/>
              </a:solidFill>
            </c:spPr>
            <c:extLst>
              <c:ext xmlns:c16="http://schemas.microsoft.com/office/drawing/2014/chart" uri="{C3380CC4-5D6E-409C-BE32-E72D297353CC}">
                <c16:uniqueId val="{0000036D-980B-4B2B-A6BA-FBAB5FE3CDBF}"/>
              </c:ext>
            </c:extLst>
          </c:dPt>
          <c:dPt>
            <c:idx val="438"/>
            <c:invertIfNegative val="1"/>
            <c:bubble3D val="0"/>
            <c:spPr>
              <a:solidFill>
                <a:srgbClr val="7ECAC4"/>
              </a:solidFill>
            </c:spPr>
            <c:extLst>
              <c:ext xmlns:c16="http://schemas.microsoft.com/office/drawing/2014/chart" uri="{C3380CC4-5D6E-409C-BE32-E72D297353CC}">
                <c16:uniqueId val="{0000036F-980B-4B2B-A6BA-FBAB5FE3CDBF}"/>
              </c:ext>
            </c:extLst>
          </c:dPt>
          <c:dPt>
            <c:idx val="439"/>
            <c:invertIfNegative val="1"/>
            <c:bubble3D val="0"/>
            <c:spPr>
              <a:solidFill>
                <a:srgbClr val="7ECAC4"/>
              </a:solidFill>
            </c:spPr>
            <c:extLst>
              <c:ext xmlns:c16="http://schemas.microsoft.com/office/drawing/2014/chart" uri="{C3380CC4-5D6E-409C-BE32-E72D297353CC}">
                <c16:uniqueId val="{00000371-980B-4B2B-A6BA-FBAB5FE3CDBF}"/>
              </c:ext>
            </c:extLst>
          </c:dPt>
          <c:dPt>
            <c:idx val="440"/>
            <c:invertIfNegative val="1"/>
            <c:bubble3D val="0"/>
            <c:spPr>
              <a:solidFill>
                <a:srgbClr val="7ECAC4"/>
              </a:solidFill>
            </c:spPr>
            <c:extLst>
              <c:ext xmlns:c16="http://schemas.microsoft.com/office/drawing/2014/chart" uri="{C3380CC4-5D6E-409C-BE32-E72D297353CC}">
                <c16:uniqueId val="{00000373-980B-4B2B-A6BA-FBAB5FE3CDBF}"/>
              </c:ext>
            </c:extLst>
          </c:dPt>
          <c:dPt>
            <c:idx val="441"/>
            <c:invertIfNegative val="1"/>
            <c:bubble3D val="0"/>
            <c:spPr>
              <a:solidFill>
                <a:srgbClr val="7ECAC4"/>
              </a:solidFill>
            </c:spPr>
            <c:extLst>
              <c:ext xmlns:c16="http://schemas.microsoft.com/office/drawing/2014/chart" uri="{C3380CC4-5D6E-409C-BE32-E72D297353CC}">
                <c16:uniqueId val="{00000375-980B-4B2B-A6BA-FBAB5FE3CDBF}"/>
              </c:ext>
            </c:extLst>
          </c:dPt>
          <c:dPt>
            <c:idx val="442"/>
            <c:invertIfNegative val="1"/>
            <c:bubble3D val="0"/>
            <c:spPr>
              <a:solidFill>
                <a:srgbClr val="7ECAC4"/>
              </a:solidFill>
            </c:spPr>
            <c:extLst>
              <c:ext xmlns:c16="http://schemas.microsoft.com/office/drawing/2014/chart" uri="{C3380CC4-5D6E-409C-BE32-E72D297353CC}">
                <c16:uniqueId val="{00000377-980B-4B2B-A6BA-FBAB5FE3CDBF}"/>
              </c:ext>
            </c:extLst>
          </c:dPt>
          <c:dPt>
            <c:idx val="443"/>
            <c:invertIfNegative val="1"/>
            <c:bubble3D val="0"/>
            <c:spPr>
              <a:solidFill>
                <a:srgbClr val="7ECAC4"/>
              </a:solidFill>
            </c:spPr>
            <c:extLst>
              <c:ext xmlns:c16="http://schemas.microsoft.com/office/drawing/2014/chart" uri="{C3380CC4-5D6E-409C-BE32-E72D297353CC}">
                <c16:uniqueId val="{00000379-980B-4B2B-A6BA-FBAB5FE3CDBF}"/>
              </c:ext>
            </c:extLst>
          </c:dPt>
          <c:dPt>
            <c:idx val="444"/>
            <c:invertIfNegative val="1"/>
            <c:bubble3D val="0"/>
            <c:spPr>
              <a:solidFill>
                <a:srgbClr val="7ECAC4"/>
              </a:solidFill>
            </c:spPr>
            <c:extLst>
              <c:ext xmlns:c16="http://schemas.microsoft.com/office/drawing/2014/chart" uri="{C3380CC4-5D6E-409C-BE32-E72D297353CC}">
                <c16:uniqueId val="{0000037B-980B-4B2B-A6BA-FBAB5FE3CDBF}"/>
              </c:ext>
            </c:extLst>
          </c:dPt>
          <c:dPt>
            <c:idx val="445"/>
            <c:invertIfNegative val="1"/>
            <c:bubble3D val="0"/>
            <c:spPr>
              <a:solidFill>
                <a:srgbClr val="7ECAC4"/>
              </a:solidFill>
            </c:spPr>
            <c:extLst>
              <c:ext xmlns:c16="http://schemas.microsoft.com/office/drawing/2014/chart" uri="{C3380CC4-5D6E-409C-BE32-E72D297353CC}">
                <c16:uniqueId val="{0000037D-980B-4B2B-A6BA-FBAB5FE3CDBF}"/>
              </c:ext>
            </c:extLst>
          </c:dPt>
          <c:dPt>
            <c:idx val="446"/>
            <c:invertIfNegative val="1"/>
            <c:bubble3D val="0"/>
            <c:spPr>
              <a:solidFill>
                <a:srgbClr val="7ECAC4"/>
              </a:solidFill>
            </c:spPr>
            <c:extLst>
              <c:ext xmlns:c16="http://schemas.microsoft.com/office/drawing/2014/chart" uri="{C3380CC4-5D6E-409C-BE32-E72D297353CC}">
                <c16:uniqueId val="{0000037F-980B-4B2B-A6BA-FBAB5FE3CDBF}"/>
              </c:ext>
            </c:extLst>
          </c:dPt>
          <c:dPt>
            <c:idx val="447"/>
            <c:invertIfNegative val="1"/>
            <c:bubble3D val="0"/>
            <c:spPr>
              <a:solidFill>
                <a:srgbClr val="7ECAC4"/>
              </a:solidFill>
            </c:spPr>
            <c:extLst>
              <c:ext xmlns:c16="http://schemas.microsoft.com/office/drawing/2014/chart" uri="{C3380CC4-5D6E-409C-BE32-E72D297353CC}">
                <c16:uniqueId val="{00000381-980B-4B2B-A6BA-FBAB5FE3CDBF}"/>
              </c:ext>
            </c:extLst>
          </c:dPt>
          <c:dPt>
            <c:idx val="448"/>
            <c:invertIfNegative val="1"/>
            <c:bubble3D val="0"/>
            <c:spPr>
              <a:solidFill>
                <a:srgbClr val="7ECAC4"/>
              </a:solidFill>
            </c:spPr>
            <c:extLst>
              <c:ext xmlns:c16="http://schemas.microsoft.com/office/drawing/2014/chart" uri="{C3380CC4-5D6E-409C-BE32-E72D297353CC}">
                <c16:uniqueId val="{00000383-980B-4B2B-A6BA-FBAB5FE3CDBF}"/>
              </c:ext>
            </c:extLst>
          </c:dPt>
          <c:dPt>
            <c:idx val="449"/>
            <c:invertIfNegative val="1"/>
            <c:bubble3D val="0"/>
            <c:spPr>
              <a:solidFill>
                <a:srgbClr val="7ECAC4"/>
              </a:solidFill>
            </c:spPr>
            <c:extLst>
              <c:ext xmlns:c16="http://schemas.microsoft.com/office/drawing/2014/chart" uri="{C3380CC4-5D6E-409C-BE32-E72D297353CC}">
                <c16:uniqueId val="{00000385-980B-4B2B-A6BA-FBAB5FE3CDBF}"/>
              </c:ext>
            </c:extLst>
          </c:dPt>
          <c:dPt>
            <c:idx val="450"/>
            <c:invertIfNegative val="1"/>
            <c:bubble3D val="0"/>
            <c:spPr>
              <a:solidFill>
                <a:srgbClr val="7ECAC4"/>
              </a:solidFill>
            </c:spPr>
            <c:extLst>
              <c:ext xmlns:c16="http://schemas.microsoft.com/office/drawing/2014/chart" uri="{C3380CC4-5D6E-409C-BE32-E72D297353CC}">
                <c16:uniqueId val="{00000387-980B-4B2B-A6BA-FBAB5FE3CDBF}"/>
              </c:ext>
            </c:extLst>
          </c:dPt>
          <c:dPt>
            <c:idx val="451"/>
            <c:invertIfNegative val="1"/>
            <c:bubble3D val="0"/>
            <c:spPr>
              <a:solidFill>
                <a:srgbClr val="7ECAC4"/>
              </a:solidFill>
            </c:spPr>
            <c:extLst>
              <c:ext xmlns:c16="http://schemas.microsoft.com/office/drawing/2014/chart" uri="{C3380CC4-5D6E-409C-BE32-E72D297353CC}">
                <c16:uniqueId val="{00000389-980B-4B2B-A6BA-FBAB5FE3CDBF}"/>
              </c:ext>
            </c:extLst>
          </c:dPt>
          <c:dPt>
            <c:idx val="452"/>
            <c:invertIfNegative val="1"/>
            <c:bubble3D val="0"/>
            <c:spPr>
              <a:solidFill>
                <a:srgbClr val="7ECAC4"/>
              </a:solidFill>
            </c:spPr>
            <c:extLst>
              <c:ext xmlns:c16="http://schemas.microsoft.com/office/drawing/2014/chart" uri="{C3380CC4-5D6E-409C-BE32-E72D297353CC}">
                <c16:uniqueId val="{0000038B-980B-4B2B-A6BA-FBAB5FE3CDBF}"/>
              </c:ext>
            </c:extLst>
          </c:dPt>
          <c:dPt>
            <c:idx val="453"/>
            <c:invertIfNegative val="1"/>
            <c:bubble3D val="0"/>
            <c:spPr>
              <a:solidFill>
                <a:srgbClr val="7ECAC4"/>
              </a:solidFill>
            </c:spPr>
            <c:extLst>
              <c:ext xmlns:c16="http://schemas.microsoft.com/office/drawing/2014/chart" uri="{C3380CC4-5D6E-409C-BE32-E72D297353CC}">
                <c16:uniqueId val="{0000038D-980B-4B2B-A6BA-FBAB5FE3CDBF}"/>
              </c:ext>
            </c:extLst>
          </c:dPt>
          <c:dPt>
            <c:idx val="454"/>
            <c:invertIfNegative val="1"/>
            <c:bubble3D val="0"/>
            <c:spPr>
              <a:solidFill>
                <a:srgbClr val="7ECAC4"/>
              </a:solidFill>
            </c:spPr>
            <c:extLst>
              <c:ext xmlns:c16="http://schemas.microsoft.com/office/drawing/2014/chart" uri="{C3380CC4-5D6E-409C-BE32-E72D297353CC}">
                <c16:uniqueId val="{0000038F-980B-4B2B-A6BA-FBAB5FE3CDBF}"/>
              </c:ext>
            </c:extLst>
          </c:dPt>
          <c:dPt>
            <c:idx val="455"/>
            <c:invertIfNegative val="1"/>
            <c:bubble3D val="0"/>
            <c:spPr>
              <a:solidFill>
                <a:srgbClr val="7ECAC4"/>
              </a:solidFill>
            </c:spPr>
            <c:extLst>
              <c:ext xmlns:c16="http://schemas.microsoft.com/office/drawing/2014/chart" uri="{C3380CC4-5D6E-409C-BE32-E72D297353CC}">
                <c16:uniqueId val="{00000391-980B-4B2B-A6BA-FBAB5FE3CDBF}"/>
              </c:ext>
            </c:extLst>
          </c:dPt>
          <c:dPt>
            <c:idx val="456"/>
            <c:invertIfNegative val="1"/>
            <c:bubble3D val="0"/>
            <c:spPr>
              <a:solidFill>
                <a:srgbClr val="7ECAC4"/>
              </a:solidFill>
            </c:spPr>
            <c:extLst>
              <c:ext xmlns:c16="http://schemas.microsoft.com/office/drawing/2014/chart" uri="{C3380CC4-5D6E-409C-BE32-E72D297353CC}">
                <c16:uniqueId val="{00000393-980B-4B2B-A6BA-FBAB5FE3CDBF}"/>
              </c:ext>
            </c:extLst>
          </c:dPt>
          <c:dPt>
            <c:idx val="457"/>
            <c:invertIfNegative val="1"/>
            <c:bubble3D val="0"/>
            <c:spPr>
              <a:solidFill>
                <a:srgbClr val="7ECAC4"/>
              </a:solidFill>
            </c:spPr>
            <c:extLst>
              <c:ext xmlns:c16="http://schemas.microsoft.com/office/drawing/2014/chart" uri="{C3380CC4-5D6E-409C-BE32-E72D297353CC}">
                <c16:uniqueId val="{00000395-980B-4B2B-A6BA-FBAB5FE3CDBF}"/>
              </c:ext>
            </c:extLst>
          </c:dPt>
          <c:dPt>
            <c:idx val="458"/>
            <c:invertIfNegative val="1"/>
            <c:bubble3D val="0"/>
            <c:spPr>
              <a:solidFill>
                <a:srgbClr val="7ECAC4"/>
              </a:solidFill>
            </c:spPr>
            <c:extLst>
              <c:ext xmlns:c16="http://schemas.microsoft.com/office/drawing/2014/chart" uri="{C3380CC4-5D6E-409C-BE32-E72D297353CC}">
                <c16:uniqueId val="{00000397-980B-4B2B-A6BA-FBAB5FE3CDBF}"/>
              </c:ext>
            </c:extLst>
          </c:dPt>
          <c:dPt>
            <c:idx val="459"/>
            <c:invertIfNegative val="1"/>
            <c:bubble3D val="0"/>
            <c:spPr>
              <a:solidFill>
                <a:srgbClr val="7ECAC4"/>
              </a:solidFill>
            </c:spPr>
            <c:extLst>
              <c:ext xmlns:c16="http://schemas.microsoft.com/office/drawing/2014/chart" uri="{C3380CC4-5D6E-409C-BE32-E72D297353CC}">
                <c16:uniqueId val="{00000399-980B-4B2B-A6BA-FBAB5FE3CDBF}"/>
              </c:ext>
            </c:extLst>
          </c:dPt>
          <c:dPt>
            <c:idx val="460"/>
            <c:invertIfNegative val="1"/>
            <c:bubble3D val="0"/>
            <c:spPr>
              <a:solidFill>
                <a:srgbClr val="7ECAC4"/>
              </a:solidFill>
            </c:spPr>
            <c:extLst>
              <c:ext xmlns:c16="http://schemas.microsoft.com/office/drawing/2014/chart" uri="{C3380CC4-5D6E-409C-BE32-E72D297353CC}">
                <c16:uniqueId val="{0000039B-980B-4B2B-A6BA-FBAB5FE3CDBF}"/>
              </c:ext>
            </c:extLst>
          </c:dPt>
          <c:dPt>
            <c:idx val="461"/>
            <c:invertIfNegative val="1"/>
            <c:bubble3D val="0"/>
            <c:spPr>
              <a:solidFill>
                <a:srgbClr val="7ECAC4"/>
              </a:solidFill>
            </c:spPr>
            <c:extLst>
              <c:ext xmlns:c16="http://schemas.microsoft.com/office/drawing/2014/chart" uri="{C3380CC4-5D6E-409C-BE32-E72D297353CC}">
                <c16:uniqueId val="{0000039D-980B-4B2B-A6BA-FBAB5FE3CDBF}"/>
              </c:ext>
            </c:extLst>
          </c:dPt>
          <c:dPt>
            <c:idx val="462"/>
            <c:invertIfNegative val="1"/>
            <c:bubble3D val="0"/>
            <c:spPr>
              <a:solidFill>
                <a:srgbClr val="7ECAC4"/>
              </a:solidFill>
            </c:spPr>
            <c:extLst>
              <c:ext xmlns:c16="http://schemas.microsoft.com/office/drawing/2014/chart" uri="{C3380CC4-5D6E-409C-BE32-E72D297353CC}">
                <c16:uniqueId val="{0000039F-980B-4B2B-A6BA-FBAB5FE3CDBF}"/>
              </c:ext>
            </c:extLst>
          </c:dPt>
          <c:dPt>
            <c:idx val="463"/>
            <c:invertIfNegative val="1"/>
            <c:bubble3D val="0"/>
            <c:spPr>
              <a:solidFill>
                <a:srgbClr val="7ECAC4"/>
              </a:solidFill>
            </c:spPr>
            <c:extLst>
              <c:ext xmlns:c16="http://schemas.microsoft.com/office/drawing/2014/chart" uri="{C3380CC4-5D6E-409C-BE32-E72D297353CC}">
                <c16:uniqueId val="{000003A1-980B-4B2B-A6BA-FBAB5FE3CDBF}"/>
              </c:ext>
            </c:extLst>
          </c:dPt>
          <c:dPt>
            <c:idx val="464"/>
            <c:invertIfNegative val="1"/>
            <c:bubble3D val="0"/>
            <c:spPr>
              <a:solidFill>
                <a:srgbClr val="7ECAC4"/>
              </a:solidFill>
            </c:spPr>
            <c:extLst>
              <c:ext xmlns:c16="http://schemas.microsoft.com/office/drawing/2014/chart" uri="{C3380CC4-5D6E-409C-BE32-E72D297353CC}">
                <c16:uniqueId val="{000003A3-980B-4B2B-A6BA-FBAB5FE3CDBF}"/>
              </c:ext>
            </c:extLst>
          </c:dPt>
          <c:dPt>
            <c:idx val="465"/>
            <c:invertIfNegative val="1"/>
            <c:bubble3D val="0"/>
            <c:spPr>
              <a:solidFill>
                <a:srgbClr val="7ECAC4"/>
              </a:solidFill>
            </c:spPr>
            <c:extLst>
              <c:ext xmlns:c16="http://schemas.microsoft.com/office/drawing/2014/chart" uri="{C3380CC4-5D6E-409C-BE32-E72D297353CC}">
                <c16:uniqueId val="{000003A5-980B-4B2B-A6BA-FBAB5FE3CDBF}"/>
              </c:ext>
            </c:extLst>
          </c:dPt>
          <c:dPt>
            <c:idx val="466"/>
            <c:invertIfNegative val="1"/>
            <c:bubble3D val="0"/>
            <c:spPr>
              <a:solidFill>
                <a:srgbClr val="7ECAC4"/>
              </a:solidFill>
            </c:spPr>
            <c:extLst>
              <c:ext xmlns:c16="http://schemas.microsoft.com/office/drawing/2014/chart" uri="{C3380CC4-5D6E-409C-BE32-E72D297353CC}">
                <c16:uniqueId val="{000003A7-980B-4B2B-A6BA-FBAB5FE3CDBF}"/>
              </c:ext>
            </c:extLst>
          </c:dPt>
          <c:dPt>
            <c:idx val="467"/>
            <c:invertIfNegative val="1"/>
            <c:bubble3D val="0"/>
            <c:spPr>
              <a:solidFill>
                <a:srgbClr val="7ECAC4"/>
              </a:solidFill>
            </c:spPr>
            <c:extLst>
              <c:ext xmlns:c16="http://schemas.microsoft.com/office/drawing/2014/chart" uri="{C3380CC4-5D6E-409C-BE32-E72D297353CC}">
                <c16:uniqueId val="{000003A9-980B-4B2B-A6BA-FBAB5FE3CDBF}"/>
              </c:ext>
            </c:extLst>
          </c:dPt>
          <c:dPt>
            <c:idx val="468"/>
            <c:invertIfNegative val="1"/>
            <c:bubble3D val="0"/>
            <c:spPr>
              <a:solidFill>
                <a:srgbClr val="7ECAC4"/>
              </a:solidFill>
            </c:spPr>
            <c:extLst>
              <c:ext xmlns:c16="http://schemas.microsoft.com/office/drawing/2014/chart" uri="{C3380CC4-5D6E-409C-BE32-E72D297353CC}">
                <c16:uniqueId val="{000003AB-980B-4B2B-A6BA-FBAB5FE3CDBF}"/>
              </c:ext>
            </c:extLst>
          </c:dPt>
          <c:dPt>
            <c:idx val="469"/>
            <c:invertIfNegative val="1"/>
            <c:bubble3D val="0"/>
            <c:spPr>
              <a:solidFill>
                <a:srgbClr val="7ECAC4"/>
              </a:solidFill>
            </c:spPr>
            <c:extLst>
              <c:ext xmlns:c16="http://schemas.microsoft.com/office/drawing/2014/chart" uri="{C3380CC4-5D6E-409C-BE32-E72D297353CC}">
                <c16:uniqueId val="{000003AD-980B-4B2B-A6BA-FBAB5FE3CDBF}"/>
              </c:ext>
            </c:extLst>
          </c:dPt>
          <c:dPt>
            <c:idx val="470"/>
            <c:invertIfNegative val="1"/>
            <c:bubble3D val="0"/>
            <c:spPr>
              <a:solidFill>
                <a:srgbClr val="7ECAC4"/>
              </a:solidFill>
            </c:spPr>
            <c:extLst>
              <c:ext xmlns:c16="http://schemas.microsoft.com/office/drawing/2014/chart" uri="{C3380CC4-5D6E-409C-BE32-E72D297353CC}">
                <c16:uniqueId val="{000003AF-980B-4B2B-A6BA-FBAB5FE3CDBF}"/>
              </c:ext>
            </c:extLst>
          </c:dPt>
          <c:dPt>
            <c:idx val="471"/>
            <c:invertIfNegative val="1"/>
            <c:bubble3D val="0"/>
            <c:spPr>
              <a:solidFill>
                <a:srgbClr val="7ECAC4"/>
              </a:solidFill>
            </c:spPr>
            <c:extLst>
              <c:ext xmlns:c16="http://schemas.microsoft.com/office/drawing/2014/chart" uri="{C3380CC4-5D6E-409C-BE32-E72D297353CC}">
                <c16:uniqueId val="{000003B1-980B-4B2B-A6BA-FBAB5FE3CDBF}"/>
              </c:ext>
            </c:extLst>
          </c:dPt>
          <c:dPt>
            <c:idx val="472"/>
            <c:invertIfNegative val="1"/>
            <c:bubble3D val="0"/>
            <c:spPr>
              <a:solidFill>
                <a:srgbClr val="7ECAC4"/>
              </a:solidFill>
            </c:spPr>
            <c:extLst>
              <c:ext xmlns:c16="http://schemas.microsoft.com/office/drawing/2014/chart" uri="{C3380CC4-5D6E-409C-BE32-E72D297353CC}">
                <c16:uniqueId val="{000003B3-980B-4B2B-A6BA-FBAB5FE3CDBF}"/>
              </c:ext>
            </c:extLst>
          </c:dPt>
          <c:dPt>
            <c:idx val="473"/>
            <c:invertIfNegative val="1"/>
            <c:bubble3D val="0"/>
            <c:spPr>
              <a:solidFill>
                <a:srgbClr val="7ECAC4"/>
              </a:solidFill>
            </c:spPr>
            <c:extLst>
              <c:ext xmlns:c16="http://schemas.microsoft.com/office/drawing/2014/chart" uri="{C3380CC4-5D6E-409C-BE32-E72D297353CC}">
                <c16:uniqueId val="{000003B5-980B-4B2B-A6BA-FBAB5FE3CDBF}"/>
              </c:ext>
            </c:extLst>
          </c:dPt>
          <c:dPt>
            <c:idx val="474"/>
            <c:invertIfNegative val="1"/>
            <c:bubble3D val="0"/>
            <c:spPr>
              <a:solidFill>
                <a:srgbClr val="7ECAC4"/>
              </a:solidFill>
            </c:spPr>
            <c:extLst>
              <c:ext xmlns:c16="http://schemas.microsoft.com/office/drawing/2014/chart" uri="{C3380CC4-5D6E-409C-BE32-E72D297353CC}">
                <c16:uniqueId val="{000003B7-980B-4B2B-A6BA-FBAB5FE3CDBF}"/>
              </c:ext>
            </c:extLst>
          </c:dPt>
          <c:dPt>
            <c:idx val="475"/>
            <c:invertIfNegative val="1"/>
            <c:bubble3D val="0"/>
            <c:spPr>
              <a:solidFill>
                <a:srgbClr val="7ECAC4"/>
              </a:solidFill>
            </c:spPr>
            <c:extLst>
              <c:ext xmlns:c16="http://schemas.microsoft.com/office/drawing/2014/chart" uri="{C3380CC4-5D6E-409C-BE32-E72D297353CC}">
                <c16:uniqueId val="{000003B9-980B-4B2B-A6BA-FBAB5FE3CDBF}"/>
              </c:ext>
            </c:extLst>
          </c:dPt>
          <c:dPt>
            <c:idx val="476"/>
            <c:invertIfNegative val="1"/>
            <c:bubble3D val="0"/>
            <c:spPr>
              <a:solidFill>
                <a:srgbClr val="7ECAC4"/>
              </a:solidFill>
            </c:spPr>
            <c:extLst>
              <c:ext xmlns:c16="http://schemas.microsoft.com/office/drawing/2014/chart" uri="{C3380CC4-5D6E-409C-BE32-E72D297353CC}">
                <c16:uniqueId val="{000003BB-980B-4B2B-A6BA-FBAB5FE3CDBF}"/>
              </c:ext>
            </c:extLst>
          </c:dPt>
          <c:dPt>
            <c:idx val="477"/>
            <c:invertIfNegative val="1"/>
            <c:bubble3D val="0"/>
            <c:spPr>
              <a:solidFill>
                <a:srgbClr val="7ECAC4"/>
              </a:solidFill>
            </c:spPr>
            <c:extLst>
              <c:ext xmlns:c16="http://schemas.microsoft.com/office/drawing/2014/chart" uri="{C3380CC4-5D6E-409C-BE32-E72D297353CC}">
                <c16:uniqueId val="{000003BD-980B-4B2B-A6BA-FBAB5FE3CDBF}"/>
              </c:ext>
            </c:extLst>
          </c:dPt>
          <c:dPt>
            <c:idx val="478"/>
            <c:invertIfNegative val="1"/>
            <c:bubble3D val="0"/>
            <c:spPr>
              <a:solidFill>
                <a:srgbClr val="7ECAC4"/>
              </a:solidFill>
            </c:spPr>
            <c:extLst>
              <c:ext xmlns:c16="http://schemas.microsoft.com/office/drawing/2014/chart" uri="{C3380CC4-5D6E-409C-BE32-E72D297353CC}">
                <c16:uniqueId val="{000003BF-980B-4B2B-A6BA-FBAB5FE3CDBF}"/>
              </c:ext>
            </c:extLst>
          </c:dPt>
          <c:dPt>
            <c:idx val="479"/>
            <c:invertIfNegative val="1"/>
            <c:bubble3D val="0"/>
            <c:spPr>
              <a:solidFill>
                <a:srgbClr val="7ECAC4"/>
              </a:solidFill>
            </c:spPr>
            <c:extLst>
              <c:ext xmlns:c16="http://schemas.microsoft.com/office/drawing/2014/chart" uri="{C3380CC4-5D6E-409C-BE32-E72D297353CC}">
                <c16:uniqueId val="{000003C1-980B-4B2B-A6BA-FBAB5FE3CDBF}"/>
              </c:ext>
            </c:extLst>
          </c:dPt>
          <c:dPt>
            <c:idx val="480"/>
            <c:invertIfNegative val="1"/>
            <c:bubble3D val="0"/>
            <c:spPr>
              <a:solidFill>
                <a:srgbClr val="7ECAC4"/>
              </a:solidFill>
            </c:spPr>
            <c:extLst>
              <c:ext xmlns:c16="http://schemas.microsoft.com/office/drawing/2014/chart" uri="{C3380CC4-5D6E-409C-BE32-E72D297353CC}">
                <c16:uniqueId val="{000003C3-980B-4B2B-A6BA-FBAB5FE3CDBF}"/>
              </c:ext>
            </c:extLst>
          </c:dPt>
          <c:dPt>
            <c:idx val="481"/>
            <c:invertIfNegative val="1"/>
            <c:bubble3D val="0"/>
            <c:spPr>
              <a:solidFill>
                <a:srgbClr val="7ECAC4"/>
              </a:solidFill>
            </c:spPr>
            <c:extLst>
              <c:ext xmlns:c16="http://schemas.microsoft.com/office/drawing/2014/chart" uri="{C3380CC4-5D6E-409C-BE32-E72D297353CC}">
                <c16:uniqueId val="{000003C5-980B-4B2B-A6BA-FBAB5FE3CDBF}"/>
              </c:ext>
            </c:extLst>
          </c:dPt>
          <c:dPt>
            <c:idx val="482"/>
            <c:invertIfNegative val="1"/>
            <c:bubble3D val="0"/>
            <c:spPr>
              <a:solidFill>
                <a:srgbClr val="7ECAC4"/>
              </a:solidFill>
            </c:spPr>
            <c:extLst>
              <c:ext xmlns:c16="http://schemas.microsoft.com/office/drawing/2014/chart" uri="{C3380CC4-5D6E-409C-BE32-E72D297353CC}">
                <c16:uniqueId val="{000003C7-980B-4B2B-A6BA-FBAB5FE3CDBF}"/>
              </c:ext>
            </c:extLst>
          </c:dPt>
          <c:dPt>
            <c:idx val="483"/>
            <c:invertIfNegative val="1"/>
            <c:bubble3D val="0"/>
            <c:spPr>
              <a:solidFill>
                <a:srgbClr val="7ECAC4"/>
              </a:solidFill>
            </c:spPr>
            <c:extLst>
              <c:ext xmlns:c16="http://schemas.microsoft.com/office/drawing/2014/chart" uri="{C3380CC4-5D6E-409C-BE32-E72D297353CC}">
                <c16:uniqueId val="{000003C9-980B-4B2B-A6BA-FBAB5FE3CDBF}"/>
              </c:ext>
            </c:extLst>
          </c:dPt>
          <c:dPt>
            <c:idx val="484"/>
            <c:invertIfNegative val="1"/>
            <c:bubble3D val="0"/>
            <c:spPr>
              <a:solidFill>
                <a:srgbClr val="7ECAC4"/>
              </a:solidFill>
            </c:spPr>
            <c:extLst>
              <c:ext xmlns:c16="http://schemas.microsoft.com/office/drawing/2014/chart" uri="{C3380CC4-5D6E-409C-BE32-E72D297353CC}">
                <c16:uniqueId val="{000003CB-980B-4B2B-A6BA-FBAB5FE3CDBF}"/>
              </c:ext>
            </c:extLst>
          </c:dPt>
          <c:dPt>
            <c:idx val="485"/>
            <c:invertIfNegative val="1"/>
            <c:bubble3D val="0"/>
            <c:spPr>
              <a:solidFill>
                <a:srgbClr val="7ECAC4"/>
              </a:solidFill>
            </c:spPr>
            <c:extLst>
              <c:ext xmlns:c16="http://schemas.microsoft.com/office/drawing/2014/chart" uri="{C3380CC4-5D6E-409C-BE32-E72D297353CC}">
                <c16:uniqueId val="{000003CD-980B-4B2B-A6BA-FBAB5FE3CDBF}"/>
              </c:ext>
            </c:extLst>
          </c:dPt>
          <c:dPt>
            <c:idx val="486"/>
            <c:invertIfNegative val="1"/>
            <c:bubble3D val="0"/>
            <c:spPr>
              <a:solidFill>
                <a:srgbClr val="7ECAC4"/>
              </a:solidFill>
            </c:spPr>
            <c:extLst>
              <c:ext xmlns:c16="http://schemas.microsoft.com/office/drawing/2014/chart" uri="{C3380CC4-5D6E-409C-BE32-E72D297353CC}">
                <c16:uniqueId val="{000003CF-980B-4B2B-A6BA-FBAB5FE3CDBF}"/>
              </c:ext>
            </c:extLst>
          </c:dPt>
          <c:dPt>
            <c:idx val="487"/>
            <c:invertIfNegative val="1"/>
            <c:bubble3D val="0"/>
            <c:spPr>
              <a:solidFill>
                <a:srgbClr val="7ECAC4"/>
              </a:solidFill>
            </c:spPr>
            <c:extLst>
              <c:ext xmlns:c16="http://schemas.microsoft.com/office/drawing/2014/chart" uri="{C3380CC4-5D6E-409C-BE32-E72D297353CC}">
                <c16:uniqueId val="{000003D1-980B-4B2B-A6BA-FBAB5FE3CDBF}"/>
              </c:ext>
            </c:extLst>
          </c:dPt>
          <c:dPt>
            <c:idx val="488"/>
            <c:invertIfNegative val="1"/>
            <c:bubble3D val="0"/>
            <c:spPr>
              <a:solidFill>
                <a:srgbClr val="7ECAC4"/>
              </a:solidFill>
            </c:spPr>
            <c:extLst>
              <c:ext xmlns:c16="http://schemas.microsoft.com/office/drawing/2014/chart" uri="{C3380CC4-5D6E-409C-BE32-E72D297353CC}">
                <c16:uniqueId val="{000003D3-980B-4B2B-A6BA-FBAB5FE3CDBF}"/>
              </c:ext>
            </c:extLst>
          </c:dPt>
          <c:dPt>
            <c:idx val="489"/>
            <c:invertIfNegative val="1"/>
            <c:bubble3D val="0"/>
            <c:spPr>
              <a:solidFill>
                <a:srgbClr val="7ECAC4"/>
              </a:solidFill>
            </c:spPr>
            <c:extLst>
              <c:ext xmlns:c16="http://schemas.microsoft.com/office/drawing/2014/chart" uri="{C3380CC4-5D6E-409C-BE32-E72D297353CC}">
                <c16:uniqueId val="{000003D5-980B-4B2B-A6BA-FBAB5FE3CDBF}"/>
              </c:ext>
            </c:extLst>
          </c:dPt>
          <c:dPt>
            <c:idx val="490"/>
            <c:invertIfNegative val="1"/>
            <c:bubble3D val="0"/>
            <c:spPr>
              <a:solidFill>
                <a:srgbClr val="7ECAC4"/>
              </a:solidFill>
            </c:spPr>
            <c:extLst>
              <c:ext xmlns:c16="http://schemas.microsoft.com/office/drawing/2014/chart" uri="{C3380CC4-5D6E-409C-BE32-E72D297353CC}">
                <c16:uniqueId val="{000003D7-980B-4B2B-A6BA-FBAB5FE3CDBF}"/>
              </c:ext>
            </c:extLst>
          </c:dPt>
          <c:dPt>
            <c:idx val="491"/>
            <c:invertIfNegative val="1"/>
            <c:bubble3D val="0"/>
            <c:spPr>
              <a:solidFill>
                <a:srgbClr val="7ECAC4"/>
              </a:solidFill>
            </c:spPr>
            <c:extLst>
              <c:ext xmlns:c16="http://schemas.microsoft.com/office/drawing/2014/chart" uri="{C3380CC4-5D6E-409C-BE32-E72D297353CC}">
                <c16:uniqueId val="{000003D9-980B-4B2B-A6BA-FBAB5FE3CDBF}"/>
              </c:ext>
            </c:extLst>
          </c:dPt>
          <c:dPt>
            <c:idx val="492"/>
            <c:invertIfNegative val="1"/>
            <c:bubble3D val="0"/>
            <c:spPr>
              <a:solidFill>
                <a:srgbClr val="7ECAC4"/>
              </a:solidFill>
            </c:spPr>
            <c:extLst>
              <c:ext xmlns:c16="http://schemas.microsoft.com/office/drawing/2014/chart" uri="{C3380CC4-5D6E-409C-BE32-E72D297353CC}">
                <c16:uniqueId val="{000003DB-980B-4B2B-A6BA-FBAB5FE3CDBF}"/>
              </c:ext>
            </c:extLst>
          </c:dPt>
          <c:dPt>
            <c:idx val="493"/>
            <c:invertIfNegative val="1"/>
            <c:bubble3D val="0"/>
            <c:spPr>
              <a:solidFill>
                <a:srgbClr val="7ECAC4"/>
              </a:solidFill>
            </c:spPr>
            <c:extLst>
              <c:ext xmlns:c16="http://schemas.microsoft.com/office/drawing/2014/chart" uri="{C3380CC4-5D6E-409C-BE32-E72D297353CC}">
                <c16:uniqueId val="{000003DD-980B-4B2B-A6BA-FBAB5FE3CDBF}"/>
              </c:ext>
            </c:extLst>
          </c:dPt>
          <c:dPt>
            <c:idx val="494"/>
            <c:invertIfNegative val="1"/>
            <c:bubble3D val="0"/>
            <c:spPr>
              <a:solidFill>
                <a:srgbClr val="7ECAC4"/>
              </a:solidFill>
            </c:spPr>
            <c:extLst>
              <c:ext xmlns:c16="http://schemas.microsoft.com/office/drawing/2014/chart" uri="{C3380CC4-5D6E-409C-BE32-E72D297353CC}">
                <c16:uniqueId val="{000003DF-980B-4B2B-A6BA-FBAB5FE3CDBF}"/>
              </c:ext>
            </c:extLst>
          </c:dPt>
          <c:dPt>
            <c:idx val="495"/>
            <c:invertIfNegative val="1"/>
            <c:bubble3D val="0"/>
            <c:spPr>
              <a:solidFill>
                <a:srgbClr val="AEABAB"/>
              </a:solidFill>
            </c:spPr>
            <c:extLst>
              <c:ext xmlns:c16="http://schemas.microsoft.com/office/drawing/2014/chart" uri="{C3380CC4-5D6E-409C-BE32-E72D297353CC}">
                <c16:uniqueId val="{000003E1-980B-4B2B-A6BA-FBAB5FE3CDBF}"/>
              </c:ext>
            </c:extLst>
          </c:dPt>
          <c:dPt>
            <c:idx val="496"/>
            <c:invertIfNegative val="1"/>
            <c:bubble3D val="0"/>
            <c:spPr>
              <a:solidFill>
                <a:srgbClr val="AEABAB"/>
              </a:solidFill>
            </c:spPr>
            <c:extLst>
              <c:ext xmlns:c16="http://schemas.microsoft.com/office/drawing/2014/chart" uri="{C3380CC4-5D6E-409C-BE32-E72D297353CC}">
                <c16:uniqueId val="{000003E3-980B-4B2B-A6BA-FBAB5FE3CDBF}"/>
              </c:ext>
            </c:extLst>
          </c:dPt>
          <c:dPt>
            <c:idx val="497"/>
            <c:invertIfNegative val="1"/>
            <c:bubble3D val="0"/>
            <c:spPr>
              <a:solidFill>
                <a:srgbClr val="AEABAB"/>
              </a:solidFill>
            </c:spPr>
            <c:extLst>
              <c:ext xmlns:c16="http://schemas.microsoft.com/office/drawing/2014/chart" uri="{C3380CC4-5D6E-409C-BE32-E72D297353CC}">
                <c16:uniqueId val="{000003E5-980B-4B2B-A6BA-FBAB5FE3CDBF}"/>
              </c:ext>
            </c:extLst>
          </c:dPt>
          <c:dPt>
            <c:idx val="498"/>
            <c:invertIfNegative val="1"/>
            <c:bubble3D val="0"/>
            <c:spPr>
              <a:solidFill>
                <a:srgbClr val="AEABAB"/>
              </a:solidFill>
            </c:spPr>
            <c:extLst>
              <c:ext xmlns:c16="http://schemas.microsoft.com/office/drawing/2014/chart" uri="{C3380CC4-5D6E-409C-BE32-E72D297353CC}">
                <c16:uniqueId val="{000003E7-980B-4B2B-A6BA-FBAB5FE3CDBF}"/>
              </c:ext>
            </c:extLst>
          </c:dPt>
          <c:dPt>
            <c:idx val="499"/>
            <c:invertIfNegative val="1"/>
            <c:bubble3D val="0"/>
            <c:spPr>
              <a:solidFill>
                <a:srgbClr val="AEABAB"/>
              </a:solidFill>
            </c:spPr>
            <c:extLst>
              <c:ext xmlns:c16="http://schemas.microsoft.com/office/drawing/2014/chart" uri="{C3380CC4-5D6E-409C-BE32-E72D297353CC}">
                <c16:uniqueId val="{000003E9-980B-4B2B-A6BA-FBAB5FE3CDBF}"/>
              </c:ext>
            </c:extLst>
          </c:dPt>
          <c:dPt>
            <c:idx val="500"/>
            <c:invertIfNegative val="1"/>
            <c:bubble3D val="0"/>
            <c:spPr>
              <a:solidFill>
                <a:srgbClr val="AEABAB"/>
              </a:solidFill>
            </c:spPr>
            <c:extLst>
              <c:ext xmlns:c16="http://schemas.microsoft.com/office/drawing/2014/chart" uri="{C3380CC4-5D6E-409C-BE32-E72D297353CC}">
                <c16:uniqueId val="{000003EB-980B-4B2B-A6BA-FBAB5FE3CDBF}"/>
              </c:ext>
            </c:extLst>
          </c:dPt>
          <c:dPt>
            <c:idx val="501"/>
            <c:invertIfNegative val="1"/>
            <c:bubble3D val="0"/>
            <c:spPr>
              <a:solidFill>
                <a:srgbClr val="AEABAB"/>
              </a:solidFill>
            </c:spPr>
            <c:extLst>
              <c:ext xmlns:c16="http://schemas.microsoft.com/office/drawing/2014/chart" uri="{C3380CC4-5D6E-409C-BE32-E72D297353CC}">
                <c16:uniqueId val="{000003ED-980B-4B2B-A6BA-FBAB5FE3CDBF}"/>
              </c:ext>
            </c:extLst>
          </c:dPt>
          <c:dPt>
            <c:idx val="502"/>
            <c:invertIfNegative val="1"/>
            <c:bubble3D val="0"/>
            <c:spPr>
              <a:solidFill>
                <a:srgbClr val="AEABAB"/>
              </a:solidFill>
            </c:spPr>
            <c:extLst>
              <c:ext xmlns:c16="http://schemas.microsoft.com/office/drawing/2014/chart" uri="{C3380CC4-5D6E-409C-BE32-E72D297353CC}">
                <c16:uniqueId val="{000003EF-980B-4B2B-A6BA-FBAB5FE3CDBF}"/>
              </c:ext>
            </c:extLst>
          </c:dPt>
          <c:dPt>
            <c:idx val="503"/>
            <c:invertIfNegative val="1"/>
            <c:bubble3D val="0"/>
            <c:spPr>
              <a:solidFill>
                <a:srgbClr val="AEABAB"/>
              </a:solidFill>
            </c:spPr>
            <c:extLst>
              <c:ext xmlns:c16="http://schemas.microsoft.com/office/drawing/2014/chart" uri="{C3380CC4-5D6E-409C-BE32-E72D297353CC}">
                <c16:uniqueId val="{000003F1-980B-4B2B-A6BA-FBAB5FE3CDBF}"/>
              </c:ext>
            </c:extLst>
          </c:dPt>
          <c:dPt>
            <c:idx val="504"/>
            <c:invertIfNegative val="1"/>
            <c:bubble3D val="0"/>
            <c:spPr>
              <a:solidFill>
                <a:srgbClr val="AEABAB"/>
              </a:solidFill>
            </c:spPr>
            <c:extLst>
              <c:ext xmlns:c16="http://schemas.microsoft.com/office/drawing/2014/chart" uri="{C3380CC4-5D6E-409C-BE32-E72D297353CC}">
                <c16:uniqueId val="{000003F3-980B-4B2B-A6BA-FBAB5FE3CDBF}"/>
              </c:ext>
            </c:extLst>
          </c:dPt>
          <c:dPt>
            <c:idx val="505"/>
            <c:invertIfNegative val="1"/>
            <c:bubble3D val="0"/>
            <c:spPr>
              <a:solidFill>
                <a:srgbClr val="AEABAB"/>
              </a:solidFill>
            </c:spPr>
            <c:extLst>
              <c:ext xmlns:c16="http://schemas.microsoft.com/office/drawing/2014/chart" uri="{C3380CC4-5D6E-409C-BE32-E72D297353CC}">
                <c16:uniqueId val="{000003F5-980B-4B2B-A6BA-FBAB5FE3CDBF}"/>
              </c:ext>
            </c:extLst>
          </c:dPt>
          <c:dPt>
            <c:idx val="506"/>
            <c:invertIfNegative val="1"/>
            <c:bubble3D val="0"/>
            <c:spPr>
              <a:solidFill>
                <a:srgbClr val="AEABAB"/>
              </a:solidFill>
            </c:spPr>
            <c:extLst>
              <c:ext xmlns:c16="http://schemas.microsoft.com/office/drawing/2014/chart" uri="{C3380CC4-5D6E-409C-BE32-E72D297353CC}">
                <c16:uniqueId val="{000003F7-980B-4B2B-A6BA-FBAB5FE3CDBF}"/>
              </c:ext>
            </c:extLst>
          </c:dPt>
          <c:dPt>
            <c:idx val="507"/>
            <c:invertIfNegative val="1"/>
            <c:bubble3D val="0"/>
            <c:spPr>
              <a:solidFill>
                <a:srgbClr val="AEABAB"/>
              </a:solidFill>
            </c:spPr>
            <c:extLst>
              <c:ext xmlns:c16="http://schemas.microsoft.com/office/drawing/2014/chart" uri="{C3380CC4-5D6E-409C-BE32-E72D297353CC}">
                <c16:uniqueId val="{000003F9-980B-4B2B-A6BA-FBAB5FE3CDBF}"/>
              </c:ext>
            </c:extLst>
          </c:dPt>
          <c:dPt>
            <c:idx val="508"/>
            <c:invertIfNegative val="1"/>
            <c:bubble3D val="0"/>
            <c:spPr>
              <a:solidFill>
                <a:srgbClr val="AEABAB"/>
              </a:solidFill>
            </c:spPr>
            <c:extLst>
              <c:ext xmlns:c16="http://schemas.microsoft.com/office/drawing/2014/chart" uri="{C3380CC4-5D6E-409C-BE32-E72D297353CC}">
                <c16:uniqueId val="{000003FB-980B-4B2B-A6BA-FBAB5FE3CDBF}"/>
              </c:ext>
            </c:extLst>
          </c:dPt>
          <c:dPt>
            <c:idx val="509"/>
            <c:invertIfNegative val="1"/>
            <c:bubble3D val="0"/>
            <c:spPr>
              <a:solidFill>
                <a:srgbClr val="AEABAB"/>
              </a:solidFill>
            </c:spPr>
            <c:extLst>
              <c:ext xmlns:c16="http://schemas.microsoft.com/office/drawing/2014/chart" uri="{C3380CC4-5D6E-409C-BE32-E72D297353CC}">
                <c16:uniqueId val="{000003FD-980B-4B2B-A6BA-FBAB5FE3CDBF}"/>
              </c:ext>
            </c:extLst>
          </c:dPt>
          <c:dPt>
            <c:idx val="510"/>
            <c:invertIfNegative val="1"/>
            <c:bubble3D val="0"/>
            <c:spPr>
              <a:solidFill>
                <a:srgbClr val="AEABAB"/>
              </a:solidFill>
            </c:spPr>
            <c:extLst>
              <c:ext xmlns:c16="http://schemas.microsoft.com/office/drawing/2014/chart" uri="{C3380CC4-5D6E-409C-BE32-E72D297353CC}">
                <c16:uniqueId val="{000003FF-980B-4B2B-A6BA-FBAB5FE3CDBF}"/>
              </c:ext>
            </c:extLst>
          </c:dPt>
          <c:dPt>
            <c:idx val="511"/>
            <c:invertIfNegative val="1"/>
            <c:bubble3D val="0"/>
            <c:spPr>
              <a:solidFill>
                <a:srgbClr val="AEABAB"/>
              </a:solidFill>
            </c:spPr>
            <c:extLst>
              <c:ext xmlns:c16="http://schemas.microsoft.com/office/drawing/2014/chart" uri="{C3380CC4-5D6E-409C-BE32-E72D297353CC}">
                <c16:uniqueId val="{00000401-980B-4B2B-A6BA-FBAB5FE3CDBF}"/>
              </c:ext>
            </c:extLst>
          </c:dPt>
          <c:dPt>
            <c:idx val="512"/>
            <c:invertIfNegative val="1"/>
            <c:bubble3D val="0"/>
            <c:spPr>
              <a:solidFill>
                <a:srgbClr val="AEABAB"/>
              </a:solidFill>
            </c:spPr>
            <c:extLst>
              <c:ext xmlns:c16="http://schemas.microsoft.com/office/drawing/2014/chart" uri="{C3380CC4-5D6E-409C-BE32-E72D297353CC}">
                <c16:uniqueId val="{00000403-980B-4B2B-A6BA-FBAB5FE3CDBF}"/>
              </c:ext>
            </c:extLst>
          </c:dPt>
          <c:dPt>
            <c:idx val="513"/>
            <c:invertIfNegative val="1"/>
            <c:bubble3D val="0"/>
            <c:spPr>
              <a:solidFill>
                <a:srgbClr val="AEABAB"/>
              </a:solidFill>
            </c:spPr>
            <c:extLst>
              <c:ext xmlns:c16="http://schemas.microsoft.com/office/drawing/2014/chart" uri="{C3380CC4-5D6E-409C-BE32-E72D297353CC}">
                <c16:uniqueId val="{00000405-980B-4B2B-A6BA-FBAB5FE3CDBF}"/>
              </c:ext>
            </c:extLst>
          </c:dPt>
          <c:dPt>
            <c:idx val="514"/>
            <c:invertIfNegative val="1"/>
            <c:bubble3D val="0"/>
            <c:spPr>
              <a:solidFill>
                <a:srgbClr val="AEABAB"/>
              </a:solidFill>
            </c:spPr>
            <c:extLst>
              <c:ext xmlns:c16="http://schemas.microsoft.com/office/drawing/2014/chart" uri="{C3380CC4-5D6E-409C-BE32-E72D297353CC}">
                <c16:uniqueId val="{00000407-980B-4B2B-A6BA-FBAB5FE3CDBF}"/>
              </c:ext>
            </c:extLst>
          </c:dPt>
          <c:dPt>
            <c:idx val="515"/>
            <c:invertIfNegative val="1"/>
            <c:bubble3D val="0"/>
            <c:spPr>
              <a:solidFill>
                <a:srgbClr val="AEABAB"/>
              </a:solidFill>
            </c:spPr>
            <c:extLst>
              <c:ext xmlns:c16="http://schemas.microsoft.com/office/drawing/2014/chart" uri="{C3380CC4-5D6E-409C-BE32-E72D297353CC}">
                <c16:uniqueId val="{00000409-980B-4B2B-A6BA-FBAB5FE3CDBF}"/>
              </c:ext>
            </c:extLst>
          </c:dPt>
          <c:dPt>
            <c:idx val="516"/>
            <c:invertIfNegative val="1"/>
            <c:bubble3D val="0"/>
            <c:spPr>
              <a:solidFill>
                <a:srgbClr val="AEABAB"/>
              </a:solidFill>
            </c:spPr>
            <c:extLst>
              <c:ext xmlns:c16="http://schemas.microsoft.com/office/drawing/2014/chart" uri="{C3380CC4-5D6E-409C-BE32-E72D297353CC}">
                <c16:uniqueId val="{0000040B-980B-4B2B-A6BA-FBAB5FE3CDBF}"/>
              </c:ext>
            </c:extLst>
          </c:dPt>
          <c:dPt>
            <c:idx val="517"/>
            <c:invertIfNegative val="1"/>
            <c:bubble3D val="0"/>
            <c:spPr>
              <a:solidFill>
                <a:srgbClr val="AEABAB"/>
              </a:solidFill>
            </c:spPr>
            <c:extLst>
              <c:ext xmlns:c16="http://schemas.microsoft.com/office/drawing/2014/chart" uri="{C3380CC4-5D6E-409C-BE32-E72D297353CC}">
                <c16:uniqueId val="{0000040D-980B-4B2B-A6BA-FBAB5FE3CDBF}"/>
              </c:ext>
            </c:extLst>
          </c:dPt>
          <c:dPt>
            <c:idx val="518"/>
            <c:invertIfNegative val="1"/>
            <c:bubble3D val="0"/>
            <c:spPr>
              <a:solidFill>
                <a:srgbClr val="AEABAB"/>
              </a:solidFill>
            </c:spPr>
            <c:extLst>
              <c:ext xmlns:c16="http://schemas.microsoft.com/office/drawing/2014/chart" uri="{C3380CC4-5D6E-409C-BE32-E72D297353CC}">
                <c16:uniqueId val="{0000040F-980B-4B2B-A6BA-FBAB5FE3CDBF}"/>
              </c:ext>
            </c:extLst>
          </c:dPt>
          <c:dPt>
            <c:idx val="519"/>
            <c:invertIfNegative val="1"/>
            <c:bubble3D val="0"/>
            <c:spPr>
              <a:solidFill>
                <a:srgbClr val="AEABAB"/>
              </a:solidFill>
            </c:spPr>
            <c:extLst>
              <c:ext xmlns:c16="http://schemas.microsoft.com/office/drawing/2014/chart" uri="{C3380CC4-5D6E-409C-BE32-E72D297353CC}">
                <c16:uniqueId val="{00000411-980B-4B2B-A6BA-FBAB5FE3CDBF}"/>
              </c:ext>
            </c:extLst>
          </c:dPt>
          <c:dPt>
            <c:idx val="520"/>
            <c:invertIfNegative val="1"/>
            <c:bubble3D val="0"/>
            <c:spPr>
              <a:solidFill>
                <a:srgbClr val="AEABAB"/>
              </a:solidFill>
            </c:spPr>
            <c:extLst>
              <c:ext xmlns:c16="http://schemas.microsoft.com/office/drawing/2014/chart" uri="{C3380CC4-5D6E-409C-BE32-E72D297353CC}">
                <c16:uniqueId val="{00000413-980B-4B2B-A6BA-FBAB5FE3CDBF}"/>
              </c:ext>
            </c:extLst>
          </c:dPt>
          <c:dPt>
            <c:idx val="521"/>
            <c:invertIfNegative val="1"/>
            <c:bubble3D val="0"/>
            <c:spPr>
              <a:solidFill>
                <a:srgbClr val="AEABAB"/>
              </a:solidFill>
            </c:spPr>
            <c:extLst>
              <c:ext xmlns:c16="http://schemas.microsoft.com/office/drawing/2014/chart" uri="{C3380CC4-5D6E-409C-BE32-E72D297353CC}">
                <c16:uniqueId val="{00000415-980B-4B2B-A6BA-FBAB5FE3CDBF}"/>
              </c:ext>
            </c:extLst>
          </c:dPt>
          <c:dPt>
            <c:idx val="522"/>
            <c:invertIfNegative val="1"/>
            <c:bubble3D val="0"/>
            <c:spPr>
              <a:solidFill>
                <a:srgbClr val="AEABAB"/>
              </a:solidFill>
            </c:spPr>
            <c:extLst>
              <c:ext xmlns:c16="http://schemas.microsoft.com/office/drawing/2014/chart" uri="{C3380CC4-5D6E-409C-BE32-E72D297353CC}">
                <c16:uniqueId val="{00000417-980B-4B2B-A6BA-FBAB5FE3CDBF}"/>
              </c:ext>
            </c:extLst>
          </c:dPt>
          <c:dPt>
            <c:idx val="523"/>
            <c:invertIfNegative val="1"/>
            <c:bubble3D val="0"/>
            <c:spPr>
              <a:solidFill>
                <a:srgbClr val="AEABAB"/>
              </a:solidFill>
            </c:spPr>
            <c:extLst>
              <c:ext xmlns:c16="http://schemas.microsoft.com/office/drawing/2014/chart" uri="{C3380CC4-5D6E-409C-BE32-E72D297353CC}">
                <c16:uniqueId val="{00000419-980B-4B2B-A6BA-FBAB5FE3CDBF}"/>
              </c:ext>
            </c:extLst>
          </c:dPt>
          <c:dPt>
            <c:idx val="524"/>
            <c:invertIfNegative val="1"/>
            <c:bubble3D val="0"/>
            <c:spPr>
              <a:solidFill>
                <a:srgbClr val="AEABAB"/>
              </a:solidFill>
            </c:spPr>
            <c:extLst>
              <c:ext xmlns:c16="http://schemas.microsoft.com/office/drawing/2014/chart" uri="{C3380CC4-5D6E-409C-BE32-E72D297353CC}">
                <c16:uniqueId val="{0000041B-980B-4B2B-A6BA-FBAB5FE3CDBF}"/>
              </c:ext>
            </c:extLst>
          </c:dPt>
          <c:dPt>
            <c:idx val="525"/>
            <c:invertIfNegative val="1"/>
            <c:bubble3D val="0"/>
            <c:spPr>
              <a:solidFill>
                <a:srgbClr val="AEABAB"/>
              </a:solidFill>
            </c:spPr>
            <c:extLst>
              <c:ext xmlns:c16="http://schemas.microsoft.com/office/drawing/2014/chart" uri="{C3380CC4-5D6E-409C-BE32-E72D297353CC}">
                <c16:uniqueId val="{0000041D-980B-4B2B-A6BA-FBAB5FE3CDBF}"/>
              </c:ext>
            </c:extLst>
          </c:dPt>
          <c:dPt>
            <c:idx val="526"/>
            <c:invertIfNegative val="1"/>
            <c:bubble3D val="0"/>
            <c:spPr>
              <a:solidFill>
                <a:srgbClr val="AEABAB"/>
              </a:solidFill>
            </c:spPr>
            <c:extLst>
              <c:ext xmlns:c16="http://schemas.microsoft.com/office/drawing/2014/chart" uri="{C3380CC4-5D6E-409C-BE32-E72D297353CC}">
                <c16:uniqueId val="{0000041F-980B-4B2B-A6BA-FBAB5FE3CDBF}"/>
              </c:ext>
            </c:extLst>
          </c:dPt>
          <c:dPt>
            <c:idx val="527"/>
            <c:invertIfNegative val="1"/>
            <c:bubble3D val="0"/>
            <c:spPr>
              <a:solidFill>
                <a:srgbClr val="AEABAB"/>
              </a:solidFill>
            </c:spPr>
            <c:extLst>
              <c:ext xmlns:c16="http://schemas.microsoft.com/office/drawing/2014/chart" uri="{C3380CC4-5D6E-409C-BE32-E72D297353CC}">
                <c16:uniqueId val="{00000421-980B-4B2B-A6BA-FBAB5FE3CDBF}"/>
              </c:ext>
            </c:extLst>
          </c:dPt>
          <c:dPt>
            <c:idx val="528"/>
            <c:invertIfNegative val="1"/>
            <c:bubble3D val="0"/>
            <c:spPr>
              <a:solidFill>
                <a:srgbClr val="AEABAB"/>
              </a:solidFill>
            </c:spPr>
            <c:extLst>
              <c:ext xmlns:c16="http://schemas.microsoft.com/office/drawing/2014/chart" uri="{C3380CC4-5D6E-409C-BE32-E72D297353CC}">
                <c16:uniqueId val="{00000423-980B-4B2B-A6BA-FBAB5FE3CDBF}"/>
              </c:ext>
            </c:extLst>
          </c:dPt>
          <c:dPt>
            <c:idx val="529"/>
            <c:invertIfNegative val="1"/>
            <c:bubble3D val="0"/>
            <c:spPr>
              <a:solidFill>
                <a:srgbClr val="AEABAB"/>
              </a:solidFill>
            </c:spPr>
            <c:extLst>
              <c:ext xmlns:c16="http://schemas.microsoft.com/office/drawing/2014/chart" uri="{C3380CC4-5D6E-409C-BE32-E72D297353CC}">
                <c16:uniqueId val="{00000425-980B-4B2B-A6BA-FBAB5FE3CDBF}"/>
              </c:ext>
            </c:extLst>
          </c:dPt>
          <c:dPt>
            <c:idx val="530"/>
            <c:invertIfNegative val="1"/>
            <c:bubble3D val="0"/>
            <c:spPr>
              <a:solidFill>
                <a:srgbClr val="AEABAB"/>
              </a:solidFill>
            </c:spPr>
            <c:extLst>
              <c:ext xmlns:c16="http://schemas.microsoft.com/office/drawing/2014/chart" uri="{C3380CC4-5D6E-409C-BE32-E72D297353CC}">
                <c16:uniqueId val="{00000427-980B-4B2B-A6BA-FBAB5FE3CDBF}"/>
              </c:ext>
            </c:extLst>
          </c:dPt>
          <c:dPt>
            <c:idx val="531"/>
            <c:invertIfNegative val="1"/>
            <c:bubble3D val="0"/>
            <c:spPr>
              <a:solidFill>
                <a:srgbClr val="AEABAB"/>
              </a:solidFill>
            </c:spPr>
            <c:extLst>
              <c:ext xmlns:c16="http://schemas.microsoft.com/office/drawing/2014/chart" uri="{C3380CC4-5D6E-409C-BE32-E72D297353CC}">
                <c16:uniqueId val="{00000429-980B-4B2B-A6BA-FBAB5FE3CDBF}"/>
              </c:ext>
            </c:extLst>
          </c:dPt>
          <c:dPt>
            <c:idx val="532"/>
            <c:invertIfNegative val="1"/>
            <c:bubble3D val="0"/>
            <c:spPr>
              <a:solidFill>
                <a:srgbClr val="AEABAB"/>
              </a:solidFill>
            </c:spPr>
            <c:extLst>
              <c:ext xmlns:c16="http://schemas.microsoft.com/office/drawing/2014/chart" uri="{C3380CC4-5D6E-409C-BE32-E72D297353CC}">
                <c16:uniqueId val="{0000042B-980B-4B2B-A6BA-FBAB5FE3CDBF}"/>
              </c:ext>
            </c:extLst>
          </c:dPt>
          <c:dPt>
            <c:idx val="533"/>
            <c:invertIfNegative val="1"/>
            <c:bubble3D val="0"/>
            <c:spPr>
              <a:solidFill>
                <a:srgbClr val="AEABAB"/>
              </a:solidFill>
            </c:spPr>
            <c:extLst>
              <c:ext xmlns:c16="http://schemas.microsoft.com/office/drawing/2014/chart" uri="{C3380CC4-5D6E-409C-BE32-E72D297353CC}">
                <c16:uniqueId val="{0000042D-980B-4B2B-A6BA-FBAB5FE3CDBF}"/>
              </c:ext>
            </c:extLst>
          </c:dPt>
          <c:dPt>
            <c:idx val="534"/>
            <c:invertIfNegative val="1"/>
            <c:bubble3D val="0"/>
            <c:spPr>
              <a:solidFill>
                <a:srgbClr val="AEABAB"/>
              </a:solidFill>
            </c:spPr>
            <c:extLst>
              <c:ext xmlns:c16="http://schemas.microsoft.com/office/drawing/2014/chart" uri="{C3380CC4-5D6E-409C-BE32-E72D297353CC}">
                <c16:uniqueId val="{0000042F-980B-4B2B-A6BA-FBAB5FE3CDBF}"/>
              </c:ext>
            </c:extLst>
          </c:dPt>
          <c:dPt>
            <c:idx val="535"/>
            <c:invertIfNegative val="1"/>
            <c:bubble3D val="0"/>
            <c:spPr>
              <a:solidFill>
                <a:srgbClr val="AEABAB"/>
              </a:solidFill>
            </c:spPr>
            <c:extLst>
              <c:ext xmlns:c16="http://schemas.microsoft.com/office/drawing/2014/chart" uri="{C3380CC4-5D6E-409C-BE32-E72D297353CC}">
                <c16:uniqueId val="{00000431-980B-4B2B-A6BA-FBAB5FE3CDBF}"/>
              </c:ext>
            </c:extLst>
          </c:dPt>
          <c:dPt>
            <c:idx val="536"/>
            <c:invertIfNegative val="1"/>
            <c:bubble3D val="0"/>
            <c:spPr>
              <a:solidFill>
                <a:srgbClr val="AEABAB"/>
              </a:solidFill>
            </c:spPr>
            <c:extLst>
              <c:ext xmlns:c16="http://schemas.microsoft.com/office/drawing/2014/chart" uri="{C3380CC4-5D6E-409C-BE32-E72D297353CC}">
                <c16:uniqueId val="{00000433-980B-4B2B-A6BA-FBAB5FE3CDBF}"/>
              </c:ext>
            </c:extLst>
          </c:dPt>
          <c:dPt>
            <c:idx val="537"/>
            <c:invertIfNegative val="1"/>
            <c:bubble3D val="0"/>
            <c:spPr>
              <a:solidFill>
                <a:srgbClr val="AEABAB"/>
              </a:solidFill>
            </c:spPr>
            <c:extLst>
              <c:ext xmlns:c16="http://schemas.microsoft.com/office/drawing/2014/chart" uri="{C3380CC4-5D6E-409C-BE32-E72D297353CC}">
                <c16:uniqueId val="{00000435-980B-4B2B-A6BA-FBAB5FE3CDBF}"/>
              </c:ext>
            </c:extLst>
          </c:dPt>
          <c:dPt>
            <c:idx val="538"/>
            <c:invertIfNegative val="1"/>
            <c:bubble3D val="0"/>
            <c:spPr>
              <a:solidFill>
                <a:srgbClr val="AEABAB"/>
              </a:solidFill>
            </c:spPr>
            <c:extLst>
              <c:ext xmlns:c16="http://schemas.microsoft.com/office/drawing/2014/chart" uri="{C3380CC4-5D6E-409C-BE32-E72D297353CC}">
                <c16:uniqueId val="{00000437-980B-4B2B-A6BA-FBAB5FE3CDBF}"/>
              </c:ext>
            </c:extLst>
          </c:dPt>
          <c:dPt>
            <c:idx val="539"/>
            <c:invertIfNegative val="1"/>
            <c:bubble3D val="0"/>
            <c:spPr>
              <a:solidFill>
                <a:srgbClr val="AEABAB"/>
              </a:solidFill>
            </c:spPr>
            <c:extLst>
              <c:ext xmlns:c16="http://schemas.microsoft.com/office/drawing/2014/chart" uri="{C3380CC4-5D6E-409C-BE32-E72D297353CC}">
                <c16:uniqueId val="{00000439-980B-4B2B-A6BA-FBAB5FE3CDBF}"/>
              </c:ext>
            </c:extLst>
          </c:dPt>
          <c:dPt>
            <c:idx val="540"/>
            <c:invertIfNegative val="1"/>
            <c:bubble3D val="0"/>
            <c:spPr>
              <a:solidFill>
                <a:srgbClr val="AEABAB"/>
              </a:solidFill>
            </c:spPr>
            <c:extLst>
              <c:ext xmlns:c16="http://schemas.microsoft.com/office/drawing/2014/chart" uri="{C3380CC4-5D6E-409C-BE32-E72D297353CC}">
                <c16:uniqueId val="{0000043B-980B-4B2B-A6BA-FBAB5FE3CDBF}"/>
              </c:ext>
            </c:extLst>
          </c:dPt>
          <c:dPt>
            <c:idx val="541"/>
            <c:invertIfNegative val="1"/>
            <c:bubble3D val="0"/>
            <c:spPr>
              <a:solidFill>
                <a:srgbClr val="AEABAB"/>
              </a:solidFill>
            </c:spPr>
            <c:extLst>
              <c:ext xmlns:c16="http://schemas.microsoft.com/office/drawing/2014/chart" uri="{C3380CC4-5D6E-409C-BE32-E72D297353CC}">
                <c16:uniqueId val="{0000043D-980B-4B2B-A6BA-FBAB5FE3CDBF}"/>
              </c:ext>
            </c:extLst>
          </c:dPt>
          <c:dPt>
            <c:idx val="542"/>
            <c:invertIfNegative val="1"/>
            <c:bubble3D val="0"/>
            <c:spPr>
              <a:solidFill>
                <a:srgbClr val="AEABAB"/>
              </a:solidFill>
            </c:spPr>
            <c:extLst>
              <c:ext xmlns:c16="http://schemas.microsoft.com/office/drawing/2014/chart" uri="{C3380CC4-5D6E-409C-BE32-E72D297353CC}">
                <c16:uniqueId val="{0000043F-980B-4B2B-A6BA-FBAB5FE3CDBF}"/>
              </c:ext>
            </c:extLst>
          </c:dPt>
          <c:dPt>
            <c:idx val="543"/>
            <c:invertIfNegative val="1"/>
            <c:bubble3D val="0"/>
            <c:spPr>
              <a:solidFill>
                <a:srgbClr val="AEABAB"/>
              </a:solidFill>
            </c:spPr>
            <c:extLst>
              <c:ext xmlns:c16="http://schemas.microsoft.com/office/drawing/2014/chart" uri="{C3380CC4-5D6E-409C-BE32-E72D297353CC}">
                <c16:uniqueId val="{00000441-980B-4B2B-A6BA-FBAB5FE3CDBF}"/>
              </c:ext>
            </c:extLst>
          </c:dPt>
          <c:dPt>
            <c:idx val="544"/>
            <c:invertIfNegative val="1"/>
            <c:bubble3D val="0"/>
            <c:spPr>
              <a:solidFill>
                <a:srgbClr val="AEABAB"/>
              </a:solidFill>
            </c:spPr>
            <c:extLst>
              <c:ext xmlns:c16="http://schemas.microsoft.com/office/drawing/2014/chart" uri="{C3380CC4-5D6E-409C-BE32-E72D297353CC}">
                <c16:uniqueId val="{00000443-980B-4B2B-A6BA-FBAB5FE3CDBF}"/>
              </c:ext>
            </c:extLst>
          </c:dPt>
          <c:dPt>
            <c:idx val="545"/>
            <c:invertIfNegative val="1"/>
            <c:bubble3D val="0"/>
            <c:spPr>
              <a:solidFill>
                <a:srgbClr val="AEABAB"/>
              </a:solidFill>
            </c:spPr>
            <c:extLst>
              <c:ext xmlns:c16="http://schemas.microsoft.com/office/drawing/2014/chart" uri="{C3380CC4-5D6E-409C-BE32-E72D297353CC}">
                <c16:uniqueId val="{00000445-980B-4B2B-A6BA-FBAB5FE3CDBF}"/>
              </c:ext>
            </c:extLst>
          </c:dPt>
          <c:dPt>
            <c:idx val="546"/>
            <c:invertIfNegative val="1"/>
            <c:bubble3D val="0"/>
            <c:spPr>
              <a:solidFill>
                <a:srgbClr val="AEABAB"/>
              </a:solidFill>
            </c:spPr>
            <c:extLst>
              <c:ext xmlns:c16="http://schemas.microsoft.com/office/drawing/2014/chart" uri="{C3380CC4-5D6E-409C-BE32-E72D297353CC}">
                <c16:uniqueId val="{00000447-980B-4B2B-A6BA-FBAB5FE3CDBF}"/>
              </c:ext>
            </c:extLst>
          </c:dPt>
          <c:dPt>
            <c:idx val="547"/>
            <c:invertIfNegative val="1"/>
            <c:bubble3D val="0"/>
            <c:spPr>
              <a:solidFill>
                <a:srgbClr val="AEABAB"/>
              </a:solidFill>
            </c:spPr>
            <c:extLst>
              <c:ext xmlns:c16="http://schemas.microsoft.com/office/drawing/2014/chart" uri="{C3380CC4-5D6E-409C-BE32-E72D297353CC}">
                <c16:uniqueId val="{00000449-980B-4B2B-A6BA-FBAB5FE3CDBF}"/>
              </c:ext>
            </c:extLst>
          </c:dPt>
          <c:dPt>
            <c:idx val="548"/>
            <c:invertIfNegative val="1"/>
            <c:bubble3D val="0"/>
            <c:spPr>
              <a:solidFill>
                <a:srgbClr val="AEABAB"/>
              </a:solidFill>
            </c:spPr>
            <c:extLst>
              <c:ext xmlns:c16="http://schemas.microsoft.com/office/drawing/2014/chart" uri="{C3380CC4-5D6E-409C-BE32-E72D297353CC}">
                <c16:uniqueId val="{0000044B-980B-4B2B-A6BA-FBAB5FE3CDBF}"/>
              </c:ext>
            </c:extLst>
          </c:dPt>
          <c:dPt>
            <c:idx val="549"/>
            <c:invertIfNegative val="1"/>
            <c:bubble3D val="0"/>
            <c:spPr>
              <a:solidFill>
                <a:srgbClr val="AEABAB"/>
              </a:solidFill>
            </c:spPr>
            <c:extLst>
              <c:ext xmlns:c16="http://schemas.microsoft.com/office/drawing/2014/chart" uri="{C3380CC4-5D6E-409C-BE32-E72D297353CC}">
                <c16:uniqueId val="{0000044D-980B-4B2B-A6BA-FBAB5FE3CDBF}"/>
              </c:ext>
            </c:extLst>
          </c:dPt>
          <c:dPt>
            <c:idx val="550"/>
            <c:invertIfNegative val="1"/>
            <c:bubble3D val="0"/>
            <c:spPr>
              <a:solidFill>
                <a:srgbClr val="AEABAB"/>
              </a:solidFill>
            </c:spPr>
            <c:extLst>
              <c:ext xmlns:c16="http://schemas.microsoft.com/office/drawing/2014/chart" uri="{C3380CC4-5D6E-409C-BE32-E72D297353CC}">
                <c16:uniqueId val="{0000044F-980B-4B2B-A6BA-FBAB5FE3CDBF}"/>
              </c:ext>
            </c:extLst>
          </c:dPt>
          <c:dPt>
            <c:idx val="551"/>
            <c:invertIfNegative val="1"/>
            <c:bubble3D val="0"/>
            <c:spPr>
              <a:solidFill>
                <a:srgbClr val="AEABAB"/>
              </a:solidFill>
            </c:spPr>
            <c:extLst>
              <c:ext xmlns:c16="http://schemas.microsoft.com/office/drawing/2014/chart" uri="{C3380CC4-5D6E-409C-BE32-E72D297353CC}">
                <c16:uniqueId val="{00000451-980B-4B2B-A6BA-FBAB5FE3CDBF}"/>
              </c:ext>
            </c:extLst>
          </c:dPt>
          <c:dPt>
            <c:idx val="552"/>
            <c:invertIfNegative val="1"/>
            <c:bubble3D val="0"/>
            <c:spPr>
              <a:solidFill>
                <a:srgbClr val="AEABAB"/>
              </a:solidFill>
            </c:spPr>
            <c:extLst>
              <c:ext xmlns:c16="http://schemas.microsoft.com/office/drawing/2014/chart" uri="{C3380CC4-5D6E-409C-BE32-E72D297353CC}">
                <c16:uniqueId val="{00000453-980B-4B2B-A6BA-FBAB5FE3CDBF}"/>
              </c:ext>
            </c:extLst>
          </c:dPt>
          <c:dPt>
            <c:idx val="553"/>
            <c:invertIfNegative val="1"/>
            <c:bubble3D val="0"/>
            <c:spPr>
              <a:solidFill>
                <a:srgbClr val="AEABAB"/>
              </a:solidFill>
            </c:spPr>
            <c:extLst>
              <c:ext xmlns:c16="http://schemas.microsoft.com/office/drawing/2014/chart" uri="{C3380CC4-5D6E-409C-BE32-E72D297353CC}">
                <c16:uniqueId val="{00000455-980B-4B2B-A6BA-FBAB5FE3CDBF}"/>
              </c:ext>
            </c:extLst>
          </c:dPt>
          <c:dPt>
            <c:idx val="554"/>
            <c:invertIfNegative val="1"/>
            <c:bubble3D val="0"/>
            <c:spPr>
              <a:solidFill>
                <a:srgbClr val="AEABAB"/>
              </a:solidFill>
            </c:spPr>
            <c:extLst>
              <c:ext xmlns:c16="http://schemas.microsoft.com/office/drawing/2014/chart" uri="{C3380CC4-5D6E-409C-BE32-E72D297353CC}">
                <c16:uniqueId val="{00000457-980B-4B2B-A6BA-FBAB5FE3CDBF}"/>
              </c:ext>
            </c:extLst>
          </c:dPt>
          <c:dPt>
            <c:idx val="555"/>
            <c:invertIfNegative val="1"/>
            <c:bubble3D val="0"/>
            <c:spPr>
              <a:solidFill>
                <a:srgbClr val="AEABAB"/>
              </a:solidFill>
            </c:spPr>
            <c:extLst>
              <c:ext xmlns:c16="http://schemas.microsoft.com/office/drawing/2014/chart" uri="{C3380CC4-5D6E-409C-BE32-E72D297353CC}">
                <c16:uniqueId val="{00000459-980B-4B2B-A6BA-FBAB5FE3CDBF}"/>
              </c:ext>
            </c:extLst>
          </c:dPt>
          <c:dPt>
            <c:idx val="556"/>
            <c:invertIfNegative val="1"/>
            <c:bubble3D val="0"/>
            <c:spPr>
              <a:solidFill>
                <a:srgbClr val="AEABAB"/>
              </a:solidFill>
            </c:spPr>
            <c:extLst>
              <c:ext xmlns:c16="http://schemas.microsoft.com/office/drawing/2014/chart" uri="{C3380CC4-5D6E-409C-BE32-E72D297353CC}">
                <c16:uniqueId val="{0000045B-980B-4B2B-A6BA-FBAB5FE3CDBF}"/>
              </c:ext>
            </c:extLst>
          </c:dPt>
          <c:dPt>
            <c:idx val="557"/>
            <c:invertIfNegative val="1"/>
            <c:bubble3D val="0"/>
            <c:spPr>
              <a:solidFill>
                <a:srgbClr val="AEABAB"/>
              </a:solidFill>
            </c:spPr>
            <c:extLst>
              <c:ext xmlns:c16="http://schemas.microsoft.com/office/drawing/2014/chart" uri="{C3380CC4-5D6E-409C-BE32-E72D297353CC}">
                <c16:uniqueId val="{0000045D-980B-4B2B-A6BA-FBAB5FE3CDBF}"/>
              </c:ext>
            </c:extLst>
          </c:dPt>
          <c:dPt>
            <c:idx val="558"/>
            <c:invertIfNegative val="1"/>
            <c:bubble3D val="0"/>
            <c:spPr>
              <a:solidFill>
                <a:srgbClr val="AEABAB"/>
              </a:solidFill>
            </c:spPr>
            <c:extLst>
              <c:ext xmlns:c16="http://schemas.microsoft.com/office/drawing/2014/chart" uri="{C3380CC4-5D6E-409C-BE32-E72D297353CC}">
                <c16:uniqueId val="{0000045F-980B-4B2B-A6BA-FBAB5FE3CDBF}"/>
              </c:ext>
            </c:extLst>
          </c:dPt>
          <c:dPt>
            <c:idx val="559"/>
            <c:invertIfNegative val="1"/>
            <c:bubble3D val="0"/>
            <c:spPr>
              <a:solidFill>
                <a:srgbClr val="AEABAB"/>
              </a:solidFill>
            </c:spPr>
            <c:extLst>
              <c:ext xmlns:c16="http://schemas.microsoft.com/office/drawing/2014/chart" uri="{C3380CC4-5D6E-409C-BE32-E72D297353CC}">
                <c16:uniqueId val="{00000461-980B-4B2B-A6BA-FBAB5FE3CDBF}"/>
              </c:ext>
            </c:extLst>
          </c:dPt>
          <c:dPt>
            <c:idx val="560"/>
            <c:invertIfNegative val="1"/>
            <c:bubble3D val="0"/>
            <c:spPr>
              <a:solidFill>
                <a:srgbClr val="AEABAB"/>
              </a:solidFill>
            </c:spPr>
            <c:extLst>
              <c:ext xmlns:c16="http://schemas.microsoft.com/office/drawing/2014/chart" uri="{C3380CC4-5D6E-409C-BE32-E72D297353CC}">
                <c16:uniqueId val="{00000463-980B-4B2B-A6BA-FBAB5FE3CDBF}"/>
              </c:ext>
            </c:extLst>
          </c:dPt>
          <c:dPt>
            <c:idx val="561"/>
            <c:invertIfNegative val="1"/>
            <c:bubble3D val="0"/>
            <c:spPr>
              <a:solidFill>
                <a:srgbClr val="AEABAB"/>
              </a:solidFill>
            </c:spPr>
            <c:extLst>
              <c:ext xmlns:c16="http://schemas.microsoft.com/office/drawing/2014/chart" uri="{C3380CC4-5D6E-409C-BE32-E72D297353CC}">
                <c16:uniqueId val="{00000465-980B-4B2B-A6BA-FBAB5FE3CDBF}"/>
              </c:ext>
            </c:extLst>
          </c:dPt>
          <c:dPt>
            <c:idx val="562"/>
            <c:invertIfNegative val="1"/>
            <c:bubble3D val="0"/>
            <c:spPr>
              <a:solidFill>
                <a:srgbClr val="AEABAB"/>
              </a:solidFill>
            </c:spPr>
            <c:extLst>
              <c:ext xmlns:c16="http://schemas.microsoft.com/office/drawing/2014/chart" uri="{C3380CC4-5D6E-409C-BE32-E72D297353CC}">
                <c16:uniqueId val="{00000467-980B-4B2B-A6BA-FBAB5FE3CDBF}"/>
              </c:ext>
            </c:extLst>
          </c:dPt>
          <c:dPt>
            <c:idx val="563"/>
            <c:invertIfNegative val="1"/>
            <c:bubble3D val="0"/>
            <c:spPr>
              <a:solidFill>
                <a:srgbClr val="AEABAB"/>
              </a:solidFill>
            </c:spPr>
            <c:extLst>
              <c:ext xmlns:c16="http://schemas.microsoft.com/office/drawing/2014/chart" uri="{C3380CC4-5D6E-409C-BE32-E72D297353CC}">
                <c16:uniqueId val="{00000469-980B-4B2B-A6BA-FBAB5FE3CDBF}"/>
              </c:ext>
            </c:extLst>
          </c:dPt>
          <c:dPt>
            <c:idx val="564"/>
            <c:invertIfNegative val="1"/>
            <c:bubble3D val="0"/>
            <c:spPr>
              <a:solidFill>
                <a:srgbClr val="AEABAB"/>
              </a:solidFill>
            </c:spPr>
            <c:extLst>
              <c:ext xmlns:c16="http://schemas.microsoft.com/office/drawing/2014/chart" uri="{C3380CC4-5D6E-409C-BE32-E72D297353CC}">
                <c16:uniqueId val="{0000046B-980B-4B2B-A6BA-FBAB5FE3CDBF}"/>
              </c:ext>
            </c:extLst>
          </c:dPt>
          <c:dPt>
            <c:idx val="565"/>
            <c:invertIfNegative val="1"/>
            <c:bubble3D val="0"/>
            <c:spPr>
              <a:solidFill>
                <a:srgbClr val="AEABAB"/>
              </a:solidFill>
            </c:spPr>
            <c:extLst>
              <c:ext xmlns:c16="http://schemas.microsoft.com/office/drawing/2014/chart" uri="{C3380CC4-5D6E-409C-BE32-E72D297353CC}">
                <c16:uniqueId val="{0000046D-980B-4B2B-A6BA-FBAB5FE3CDBF}"/>
              </c:ext>
            </c:extLst>
          </c:dPt>
          <c:dPt>
            <c:idx val="566"/>
            <c:invertIfNegative val="1"/>
            <c:bubble3D val="0"/>
            <c:spPr>
              <a:solidFill>
                <a:srgbClr val="AEABAB"/>
              </a:solidFill>
            </c:spPr>
            <c:extLst>
              <c:ext xmlns:c16="http://schemas.microsoft.com/office/drawing/2014/chart" uri="{C3380CC4-5D6E-409C-BE32-E72D297353CC}">
                <c16:uniqueId val="{0000046F-980B-4B2B-A6BA-FBAB5FE3CDBF}"/>
              </c:ext>
            </c:extLst>
          </c:dPt>
          <c:dPt>
            <c:idx val="567"/>
            <c:invertIfNegative val="1"/>
            <c:bubble3D val="0"/>
            <c:spPr>
              <a:solidFill>
                <a:srgbClr val="AEABAB"/>
              </a:solidFill>
            </c:spPr>
            <c:extLst>
              <c:ext xmlns:c16="http://schemas.microsoft.com/office/drawing/2014/chart" uri="{C3380CC4-5D6E-409C-BE32-E72D297353CC}">
                <c16:uniqueId val="{00000471-980B-4B2B-A6BA-FBAB5FE3CDBF}"/>
              </c:ext>
            </c:extLst>
          </c:dPt>
          <c:dPt>
            <c:idx val="568"/>
            <c:invertIfNegative val="1"/>
            <c:bubble3D val="0"/>
            <c:spPr>
              <a:solidFill>
                <a:srgbClr val="AEABAB"/>
              </a:solidFill>
            </c:spPr>
            <c:extLst>
              <c:ext xmlns:c16="http://schemas.microsoft.com/office/drawing/2014/chart" uri="{C3380CC4-5D6E-409C-BE32-E72D297353CC}">
                <c16:uniqueId val="{00000473-980B-4B2B-A6BA-FBAB5FE3CDBF}"/>
              </c:ext>
            </c:extLst>
          </c:dPt>
          <c:dPt>
            <c:idx val="569"/>
            <c:invertIfNegative val="1"/>
            <c:bubble3D val="0"/>
            <c:spPr>
              <a:solidFill>
                <a:srgbClr val="AEABAB"/>
              </a:solidFill>
            </c:spPr>
            <c:extLst>
              <c:ext xmlns:c16="http://schemas.microsoft.com/office/drawing/2014/chart" uri="{C3380CC4-5D6E-409C-BE32-E72D297353CC}">
                <c16:uniqueId val="{00000475-980B-4B2B-A6BA-FBAB5FE3CDBF}"/>
              </c:ext>
            </c:extLst>
          </c:dPt>
          <c:dPt>
            <c:idx val="570"/>
            <c:invertIfNegative val="1"/>
            <c:bubble3D val="0"/>
            <c:spPr>
              <a:solidFill>
                <a:srgbClr val="AEABAB"/>
              </a:solidFill>
            </c:spPr>
            <c:extLst>
              <c:ext xmlns:c16="http://schemas.microsoft.com/office/drawing/2014/chart" uri="{C3380CC4-5D6E-409C-BE32-E72D297353CC}">
                <c16:uniqueId val="{00000477-980B-4B2B-A6BA-FBAB5FE3CDBF}"/>
              </c:ext>
            </c:extLst>
          </c:dPt>
          <c:dPt>
            <c:idx val="571"/>
            <c:invertIfNegative val="1"/>
            <c:bubble3D val="0"/>
            <c:spPr>
              <a:solidFill>
                <a:srgbClr val="AEABAB"/>
              </a:solidFill>
            </c:spPr>
            <c:extLst>
              <c:ext xmlns:c16="http://schemas.microsoft.com/office/drawing/2014/chart" uri="{C3380CC4-5D6E-409C-BE32-E72D297353CC}">
                <c16:uniqueId val="{00000479-980B-4B2B-A6BA-FBAB5FE3CDBF}"/>
              </c:ext>
            </c:extLst>
          </c:dPt>
          <c:dPt>
            <c:idx val="572"/>
            <c:invertIfNegative val="1"/>
            <c:bubble3D val="0"/>
            <c:spPr>
              <a:solidFill>
                <a:srgbClr val="AEABAB"/>
              </a:solidFill>
            </c:spPr>
            <c:extLst>
              <c:ext xmlns:c16="http://schemas.microsoft.com/office/drawing/2014/chart" uri="{C3380CC4-5D6E-409C-BE32-E72D297353CC}">
                <c16:uniqueId val="{0000047B-980B-4B2B-A6BA-FBAB5FE3CDBF}"/>
              </c:ext>
            </c:extLst>
          </c:dPt>
          <c:dPt>
            <c:idx val="573"/>
            <c:invertIfNegative val="1"/>
            <c:bubble3D val="0"/>
            <c:spPr>
              <a:solidFill>
                <a:srgbClr val="AEABAB"/>
              </a:solidFill>
            </c:spPr>
            <c:extLst>
              <c:ext xmlns:c16="http://schemas.microsoft.com/office/drawing/2014/chart" uri="{C3380CC4-5D6E-409C-BE32-E72D297353CC}">
                <c16:uniqueId val="{0000047D-980B-4B2B-A6BA-FBAB5FE3CDBF}"/>
              </c:ext>
            </c:extLst>
          </c:dPt>
          <c:dPt>
            <c:idx val="574"/>
            <c:invertIfNegative val="1"/>
            <c:bubble3D val="0"/>
            <c:spPr>
              <a:solidFill>
                <a:srgbClr val="AEABAB"/>
              </a:solidFill>
            </c:spPr>
            <c:extLst>
              <c:ext xmlns:c16="http://schemas.microsoft.com/office/drawing/2014/chart" uri="{C3380CC4-5D6E-409C-BE32-E72D297353CC}">
                <c16:uniqueId val="{0000047F-980B-4B2B-A6BA-FBAB5FE3CDBF}"/>
              </c:ext>
            </c:extLst>
          </c:dPt>
          <c:dPt>
            <c:idx val="575"/>
            <c:invertIfNegative val="1"/>
            <c:bubble3D val="0"/>
            <c:spPr>
              <a:solidFill>
                <a:srgbClr val="AEABAB"/>
              </a:solidFill>
            </c:spPr>
            <c:extLst>
              <c:ext xmlns:c16="http://schemas.microsoft.com/office/drawing/2014/chart" uri="{C3380CC4-5D6E-409C-BE32-E72D297353CC}">
                <c16:uniqueId val="{00000481-980B-4B2B-A6BA-FBAB5FE3CDBF}"/>
              </c:ext>
            </c:extLst>
          </c:dPt>
          <c:dPt>
            <c:idx val="576"/>
            <c:invertIfNegative val="1"/>
            <c:bubble3D val="0"/>
            <c:spPr>
              <a:solidFill>
                <a:srgbClr val="AEABAB"/>
              </a:solidFill>
            </c:spPr>
            <c:extLst>
              <c:ext xmlns:c16="http://schemas.microsoft.com/office/drawing/2014/chart" uri="{C3380CC4-5D6E-409C-BE32-E72D297353CC}">
                <c16:uniqueId val="{00000483-980B-4B2B-A6BA-FBAB5FE3CDBF}"/>
              </c:ext>
            </c:extLst>
          </c:dPt>
          <c:dPt>
            <c:idx val="577"/>
            <c:invertIfNegative val="1"/>
            <c:bubble3D val="0"/>
            <c:spPr>
              <a:solidFill>
                <a:srgbClr val="AEABAB"/>
              </a:solidFill>
            </c:spPr>
            <c:extLst>
              <c:ext xmlns:c16="http://schemas.microsoft.com/office/drawing/2014/chart" uri="{C3380CC4-5D6E-409C-BE32-E72D297353CC}">
                <c16:uniqueId val="{00000485-980B-4B2B-A6BA-FBAB5FE3CDBF}"/>
              </c:ext>
            </c:extLst>
          </c:dPt>
          <c:dPt>
            <c:idx val="578"/>
            <c:invertIfNegative val="1"/>
            <c:bubble3D val="0"/>
            <c:spPr>
              <a:solidFill>
                <a:srgbClr val="AEABAB"/>
              </a:solidFill>
            </c:spPr>
            <c:extLst>
              <c:ext xmlns:c16="http://schemas.microsoft.com/office/drawing/2014/chart" uri="{C3380CC4-5D6E-409C-BE32-E72D297353CC}">
                <c16:uniqueId val="{00000487-980B-4B2B-A6BA-FBAB5FE3CDBF}"/>
              </c:ext>
            </c:extLst>
          </c:dPt>
          <c:dPt>
            <c:idx val="579"/>
            <c:invertIfNegative val="1"/>
            <c:bubble3D val="0"/>
            <c:spPr>
              <a:solidFill>
                <a:srgbClr val="AEABAB"/>
              </a:solidFill>
            </c:spPr>
            <c:extLst>
              <c:ext xmlns:c16="http://schemas.microsoft.com/office/drawing/2014/chart" uri="{C3380CC4-5D6E-409C-BE32-E72D297353CC}">
                <c16:uniqueId val="{00000489-980B-4B2B-A6BA-FBAB5FE3CDBF}"/>
              </c:ext>
            </c:extLst>
          </c:dPt>
          <c:dPt>
            <c:idx val="580"/>
            <c:invertIfNegative val="1"/>
            <c:bubble3D val="0"/>
            <c:spPr>
              <a:solidFill>
                <a:srgbClr val="AEABAB"/>
              </a:solidFill>
            </c:spPr>
            <c:extLst>
              <c:ext xmlns:c16="http://schemas.microsoft.com/office/drawing/2014/chart" uri="{C3380CC4-5D6E-409C-BE32-E72D297353CC}">
                <c16:uniqueId val="{0000048B-980B-4B2B-A6BA-FBAB5FE3CDBF}"/>
              </c:ext>
            </c:extLst>
          </c:dPt>
          <c:dPt>
            <c:idx val="581"/>
            <c:invertIfNegative val="1"/>
            <c:bubble3D val="0"/>
            <c:spPr>
              <a:solidFill>
                <a:srgbClr val="AEABAB"/>
              </a:solidFill>
            </c:spPr>
            <c:extLst>
              <c:ext xmlns:c16="http://schemas.microsoft.com/office/drawing/2014/chart" uri="{C3380CC4-5D6E-409C-BE32-E72D297353CC}">
                <c16:uniqueId val="{0000048D-980B-4B2B-A6BA-FBAB5FE3CDBF}"/>
              </c:ext>
            </c:extLst>
          </c:dPt>
          <c:dPt>
            <c:idx val="582"/>
            <c:invertIfNegative val="1"/>
            <c:bubble3D val="0"/>
            <c:spPr>
              <a:solidFill>
                <a:srgbClr val="AEABAB"/>
              </a:solidFill>
            </c:spPr>
            <c:extLst>
              <c:ext xmlns:c16="http://schemas.microsoft.com/office/drawing/2014/chart" uri="{C3380CC4-5D6E-409C-BE32-E72D297353CC}">
                <c16:uniqueId val="{0000048F-980B-4B2B-A6BA-FBAB5FE3CDBF}"/>
              </c:ext>
            </c:extLst>
          </c:dPt>
          <c:dPt>
            <c:idx val="583"/>
            <c:invertIfNegative val="1"/>
            <c:bubble3D val="0"/>
            <c:spPr>
              <a:solidFill>
                <a:srgbClr val="AEABAB"/>
              </a:solidFill>
            </c:spPr>
            <c:extLst>
              <c:ext xmlns:c16="http://schemas.microsoft.com/office/drawing/2014/chart" uri="{C3380CC4-5D6E-409C-BE32-E72D297353CC}">
                <c16:uniqueId val="{00000491-980B-4B2B-A6BA-FBAB5FE3CDBF}"/>
              </c:ext>
            </c:extLst>
          </c:dPt>
          <c:dPt>
            <c:idx val="584"/>
            <c:invertIfNegative val="1"/>
            <c:bubble3D val="0"/>
            <c:spPr>
              <a:solidFill>
                <a:srgbClr val="AEABAB"/>
              </a:solidFill>
            </c:spPr>
            <c:extLst>
              <c:ext xmlns:c16="http://schemas.microsoft.com/office/drawing/2014/chart" uri="{C3380CC4-5D6E-409C-BE32-E72D297353CC}">
                <c16:uniqueId val="{00000493-980B-4B2B-A6BA-FBAB5FE3CDBF}"/>
              </c:ext>
            </c:extLst>
          </c:dPt>
          <c:dPt>
            <c:idx val="585"/>
            <c:invertIfNegative val="1"/>
            <c:bubble3D val="0"/>
            <c:spPr>
              <a:solidFill>
                <a:srgbClr val="AEABAB"/>
              </a:solidFill>
            </c:spPr>
            <c:extLst>
              <c:ext xmlns:c16="http://schemas.microsoft.com/office/drawing/2014/chart" uri="{C3380CC4-5D6E-409C-BE32-E72D297353CC}">
                <c16:uniqueId val="{00000495-980B-4B2B-A6BA-FBAB5FE3CDBF}"/>
              </c:ext>
            </c:extLst>
          </c:dPt>
          <c:dPt>
            <c:idx val="586"/>
            <c:invertIfNegative val="1"/>
            <c:bubble3D val="0"/>
            <c:spPr>
              <a:solidFill>
                <a:srgbClr val="AEABAB"/>
              </a:solidFill>
            </c:spPr>
            <c:extLst>
              <c:ext xmlns:c16="http://schemas.microsoft.com/office/drawing/2014/chart" uri="{C3380CC4-5D6E-409C-BE32-E72D297353CC}">
                <c16:uniqueId val="{00000497-980B-4B2B-A6BA-FBAB5FE3CDBF}"/>
              </c:ext>
            </c:extLst>
          </c:dPt>
          <c:dPt>
            <c:idx val="587"/>
            <c:invertIfNegative val="1"/>
            <c:bubble3D val="0"/>
            <c:spPr>
              <a:solidFill>
                <a:srgbClr val="AEABAB"/>
              </a:solidFill>
            </c:spPr>
            <c:extLst>
              <c:ext xmlns:c16="http://schemas.microsoft.com/office/drawing/2014/chart" uri="{C3380CC4-5D6E-409C-BE32-E72D297353CC}">
                <c16:uniqueId val="{00000499-980B-4B2B-A6BA-FBAB5FE3CDBF}"/>
              </c:ext>
            </c:extLst>
          </c:dPt>
          <c:dPt>
            <c:idx val="588"/>
            <c:invertIfNegative val="1"/>
            <c:bubble3D val="0"/>
            <c:spPr>
              <a:solidFill>
                <a:srgbClr val="AEABAB"/>
              </a:solidFill>
            </c:spPr>
            <c:extLst>
              <c:ext xmlns:c16="http://schemas.microsoft.com/office/drawing/2014/chart" uri="{C3380CC4-5D6E-409C-BE32-E72D297353CC}">
                <c16:uniqueId val="{0000049B-980B-4B2B-A6BA-FBAB5FE3CDBF}"/>
              </c:ext>
            </c:extLst>
          </c:dPt>
          <c:dPt>
            <c:idx val="589"/>
            <c:invertIfNegative val="1"/>
            <c:bubble3D val="0"/>
            <c:spPr>
              <a:solidFill>
                <a:srgbClr val="AEABAB"/>
              </a:solidFill>
            </c:spPr>
            <c:extLst>
              <c:ext xmlns:c16="http://schemas.microsoft.com/office/drawing/2014/chart" uri="{C3380CC4-5D6E-409C-BE32-E72D297353CC}">
                <c16:uniqueId val="{0000049D-980B-4B2B-A6BA-FBAB5FE3CDBF}"/>
              </c:ext>
            </c:extLst>
          </c:dPt>
          <c:dPt>
            <c:idx val="590"/>
            <c:invertIfNegative val="1"/>
            <c:bubble3D val="0"/>
            <c:spPr>
              <a:solidFill>
                <a:srgbClr val="AEABAB"/>
              </a:solidFill>
            </c:spPr>
            <c:extLst>
              <c:ext xmlns:c16="http://schemas.microsoft.com/office/drawing/2014/chart" uri="{C3380CC4-5D6E-409C-BE32-E72D297353CC}">
                <c16:uniqueId val="{0000049F-980B-4B2B-A6BA-FBAB5FE3CDBF}"/>
              </c:ext>
            </c:extLst>
          </c:dPt>
          <c:dPt>
            <c:idx val="591"/>
            <c:invertIfNegative val="1"/>
            <c:bubble3D val="0"/>
            <c:spPr>
              <a:solidFill>
                <a:srgbClr val="AEABAB"/>
              </a:solidFill>
            </c:spPr>
            <c:extLst>
              <c:ext xmlns:c16="http://schemas.microsoft.com/office/drawing/2014/chart" uri="{C3380CC4-5D6E-409C-BE32-E72D297353CC}">
                <c16:uniqueId val="{000004A1-980B-4B2B-A6BA-FBAB5FE3CDBF}"/>
              </c:ext>
            </c:extLst>
          </c:dPt>
          <c:dPt>
            <c:idx val="592"/>
            <c:invertIfNegative val="1"/>
            <c:bubble3D val="0"/>
            <c:spPr>
              <a:solidFill>
                <a:srgbClr val="AEABAB"/>
              </a:solidFill>
            </c:spPr>
            <c:extLst>
              <c:ext xmlns:c16="http://schemas.microsoft.com/office/drawing/2014/chart" uri="{C3380CC4-5D6E-409C-BE32-E72D297353CC}">
                <c16:uniqueId val="{000004A3-980B-4B2B-A6BA-FBAB5FE3CDBF}"/>
              </c:ext>
            </c:extLst>
          </c:dPt>
          <c:dPt>
            <c:idx val="593"/>
            <c:invertIfNegative val="1"/>
            <c:bubble3D val="0"/>
            <c:spPr>
              <a:solidFill>
                <a:srgbClr val="AEABAB"/>
              </a:solidFill>
            </c:spPr>
            <c:extLst>
              <c:ext xmlns:c16="http://schemas.microsoft.com/office/drawing/2014/chart" uri="{C3380CC4-5D6E-409C-BE32-E72D297353CC}">
                <c16:uniqueId val="{000004A5-980B-4B2B-A6BA-FBAB5FE3CDBF}"/>
              </c:ext>
            </c:extLst>
          </c:dPt>
          <c:dPt>
            <c:idx val="594"/>
            <c:invertIfNegative val="1"/>
            <c:bubble3D val="0"/>
            <c:spPr>
              <a:solidFill>
                <a:srgbClr val="AEABAB"/>
              </a:solidFill>
            </c:spPr>
            <c:extLst>
              <c:ext xmlns:c16="http://schemas.microsoft.com/office/drawing/2014/chart" uri="{C3380CC4-5D6E-409C-BE32-E72D297353CC}">
                <c16:uniqueId val="{000004A7-980B-4B2B-A6BA-FBAB5FE3CDBF}"/>
              </c:ext>
            </c:extLst>
          </c:dPt>
          <c:dPt>
            <c:idx val="595"/>
            <c:invertIfNegative val="1"/>
            <c:bubble3D val="0"/>
            <c:spPr>
              <a:solidFill>
                <a:srgbClr val="AEABAB"/>
              </a:solidFill>
            </c:spPr>
            <c:extLst>
              <c:ext xmlns:c16="http://schemas.microsoft.com/office/drawing/2014/chart" uri="{C3380CC4-5D6E-409C-BE32-E72D297353CC}">
                <c16:uniqueId val="{000004A9-980B-4B2B-A6BA-FBAB5FE3CDBF}"/>
              </c:ext>
            </c:extLst>
          </c:dPt>
          <c:dPt>
            <c:idx val="596"/>
            <c:invertIfNegative val="1"/>
            <c:bubble3D val="0"/>
            <c:spPr>
              <a:solidFill>
                <a:srgbClr val="AEABAB"/>
              </a:solidFill>
            </c:spPr>
            <c:extLst>
              <c:ext xmlns:c16="http://schemas.microsoft.com/office/drawing/2014/chart" uri="{C3380CC4-5D6E-409C-BE32-E72D297353CC}">
                <c16:uniqueId val="{000004AB-980B-4B2B-A6BA-FBAB5FE3CDBF}"/>
              </c:ext>
            </c:extLst>
          </c:dPt>
          <c:dPt>
            <c:idx val="597"/>
            <c:invertIfNegative val="1"/>
            <c:bubble3D val="0"/>
            <c:spPr>
              <a:solidFill>
                <a:srgbClr val="AEABAB"/>
              </a:solidFill>
            </c:spPr>
            <c:extLst>
              <c:ext xmlns:c16="http://schemas.microsoft.com/office/drawing/2014/chart" uri="{C3380CC4-5D6E-409C-BE32-E72D297353CC}">
                <c16:uniqueId val="{000004AD-980B-4B2B-A6BA-FBAB5FE3CDBF}"/>
              </c:ext>
            </c:extLst>
          </c:dPt>
          <c:dPt>
            <c:idx val="598"/>
            <c:invertIfNegative val="1"/>
            <c:bubble3D val="0"/>
            <c:spPr>
              <a:solidFill>
                <a:srgbClr val="AEABAB"/>
              </a:solidFill>
            </c:spPr>
            <c:extLst>
              <c:ext xmlns:c16="http://schemas.microsoft.com/office/drawing/2014/chart" uri="{C3380CC4-5D6E-409C-BE32-E72D297353CC}">
                <c16:uniqueId val="{000004AF-980B-4B2B-A6BA-FBAB5FE3CDBF}"/>
              </c:ext>
            </c:extLst>
          </c:dPt>
          <c:dPt>
            <c:idx val="599"/>
            <c:invertIfNegative val="1"/>
            <c:bubble3D val="0"/>
            <c:spPr>
              <a:solidFill>
                <a:srgbClr val="AEABAB"/>
              </a:solidFill>
            </c:spPr>
            <c:extLst>
              <c:ext xmlns:c16="http://schemas.microsoft.com/office/drawing/2014/chart" uri="{C3380CC4-5D6E-409C-BE32-E72D297353CC}">
                <c16:uniqueId val="{000004B1-980B-4B2B-A6BA-FBAB5FE3CDBF}"/>
              </c:ext>
            </c:extLst>
          </c:dPt>
          <c:dPt>
            <c:idx val="600"/>
            <c:invertIfNegative val="1"/>
            <c:bubble3D val="0"/>
            <c:spPr>
              <a:solidFill>
                <a:srgbClr val="AEABAB"/>
              </a:solidFill>
            </c:spPr>
            <c:extLst>
              <c:ext xmlns:c16="http://schemas.microsoft.com/office/drawing/2014/chart" uri="{C3380CC4-5D6E-409C-BE32-E72D297353CC}">
                <c16:uniqueId val="{000004B3-980B-4B2B-A6BA-FBAB5FE3CDBF}"/>
              </c:ext>
            </c:extLst>
          </c:dPt>
          <c:dPt>
            <c:idx val="601"/>
            <c:invertIfNegative val="1"/>
            <c:bubble3D val="0"/>
            <c:spPr>
              <a:solidFill>
                <a:srgbClr val="AEABAB"/>
              </a:solidFill>
            </c:spPr>
            <c:extLst>
              <c:ext xmlns:c16="http://schemas.microsoft.com/office/drawing/2014/chart" uri="{C3380CC4-5D6E-409C-BE32-E72D297353CC}">
                <c16:uniqueId val="{000004B5-980B-4B2B-A6BA-FBAB5FE3CDBF}"/>
              </c:ext>
            </c:extLst>
          </c:dPt>
          <c:dPt>
            <c:idx val="602"/>
            <c:invertIfNegative val="1"/>
            <c:bubble3D val="0"/>
            <c:spPr>
              <a:solidFill>
                <a:srgbClr val="AEABAB"/>
              </a:solidFill>
            </c:spPr>
            <c:extLst>
              <c:ext xmlns:c16="http://schemas.microsoft.com/office/drawing/2014/chart" uri="{C3380CC4-5D6E-409C-BE32-E72D297353CC}">
                <c16:uniqueId val="{000004B7-980B-4B2B-A6BA-FBAB5FE3CDBF}"/>
              </c:ext>
            </c:extLst>
          </c:dPt>
          <c:dPt>
            <c:idx val="603"/>
            <c:invertIfNegative val="1"/>
            <c:bubble3D val="0"/>
            <c:spPr>
              <a:solidFill>
                <a:srgbClr val="AEABAB"/>
              </a:solidFill>
            </c:spPr>
            <c:extLst>
              <c:ext xmlns:c16="http://schemas.microsoft.com/office/drawing/2014/chart" uri="{C3380CC4-5D6E-409C-BE32-E72D297353CC}">
                <c16:uniqueId val="{000004B9-980B-4B2B-A6BA-FBAB5FE3CDBF}"/>
              </c:ext>
            </c:extLst>
          </c:dPt>
          <c:dPt>
            <c:idx val="604"/>
            <c:invertIfNegative val="1"/>
            <c:bubble3D val="0"/>
            <c:spPr>
              <a:solidFill>
                <a:srgbClr val="AEABAB"/>
              </a:solidFill>
            </c:spPr>
            <c:extLst>
              <c:ext xmlns:c16="http://schemas.microsoft.com/office/drawing/2014/chart" uri="{C3380CC4-5D6E-409C-BE32-E72D297353CC}">
                <c16:uniqueId val="{000004BB-980B-4B2B-A6BA-FBAB5FE3CDBF}"/>
              </c:ext>
            </c:extLst>
          </c:dPt>
          <c:dPt>
            <c:idx val="605"/>
            <c:invertIfNegative val="1"/>
            <c:bubble3D val="0"/>
            <c:spPr>
              <a:solidFill>
                <a:srgbClr val="AEABAB"/>
              </a:solidFill>
            </c:spPr>
            <c:extLst>
              <c:ext xmlns:c16="http://schemas.microsoft.com/office/drawing/2014/chart" uri="{C3380CC4-5D6E-409C-BE32-E72D297353CC}">
                <c16:uniqueId val="{000004BD-980B-4B2B-A6BA-FBAB5FE3CDBF}"/>
              </c:ext>
            </c:extLst>
          </c:dPt>
          <c:dPt>
            <c:idx val="606"/>
            <c:invertIfNegative val="1"/>
            <c:bubble3D val="0"/>
            <c:spPr>
              <a:solidFill>
                <a:srgbClr val="AEABAB"/>
              </a:solidFill>
            </c:spPr>
            <c:extLst>
              <c:ext xmlns:c16="http://schemas.microsoft.com/office/drawing/2014/chart" uri="{C3380CC4-5D6E-409C-BE32-E72D297353CC}">
                <c16:uniqueId val="{000004BF-980B-4B2B-A6BA-FBAB5FE3CDBF}"/>
              </c:ext>
            </c:extLst>
          </c:dPt>
          <c:dPt>
            <c:idx val="607"/>
            <c:invertIfNegative val="1"/>
            <c:bubble3D val="0"/>
            <c:spPr>
              <a:solidFill>
                <a:srgbClr val="AEABAB"/>
              </a:solidFill>
            </c:spPr>
            <c:extLst>
              <c:ext xmlns:c16="http://schemas.microsoft.com/office/drawing/2014/chart" uri="{C3380CC4-5D6E-409C-BE32-E72D297353CC}">
                <c16:uniqueId val="{000004C1-980B-4B2B-A6BA-FBAB5FE3CDBF}"/>
              </c:ext>
            </c:extLst>
          </c:dPt>
          <c:dPt>
            <c:idx val="608"/>
            <c:invertIfNegative val="1"/>
            <c:bubble3D val="0"/>
            <c:spPr>
              <a:solidFill>
                <a:srgbClr val="AEABAB"/>
              </a:solidFill>
            </c:spPr>
            <c:extLst>
              <c:ext xmlns:c16="http://schemas.microsoft.com/office/drawing/2014/chart" uri="{C3380CC4-5D6E-409C-BE32-E72D297353CC}">
                <c16:uniqueId val="{000004C3-980B-4B2B-A6BA-FBAB5FE3CDBF}"/>
              </c:ext>
            </c:extLst>
          </c:dPt>
          <c:dPt>
            <c:idx val="609"/>
            <c:invertIfNegative val="1"/>
            <c:bubble3D val="0"/>
            <c:spPr>
              <a:solidFill>
                <a:srgbClr val="AEABAB"/>
              </a:solidFill>
            </c:spPr>
            <c:extLst>
              <c:ext xmlns:c16="http://schemas.microsoft.com/office/drawing/2014/chart" uri="{C3380CC4-5D6E-409C-BE32-E72D297353CC}">
                <c16:uniqueId val="{000004C5-980B-4B2B-A6BA-FBAB5FE3CDBF}"/>
              </c:ext>
            </c:extLst>
          </c:dPt>
          <c:dPt>
            <c:idx val="610"/>
            <c:invertIfNegative val="1"/>
            <c:bubble3D val="0"/>
            <c:spPr>
              <a:solidFill>
                <a:srgbClr val="AEABAB"/>
              </a:solidFill>
            </c:spPr>
            <c:extLst>
              <c:ext xmlns:c16="http://schemas.microsoft.com/office/drawing/2014/chart" uri="{C3380CC4-5D6E-409C-BE32-E72D297353CC}">
                <c16:uniqueId val="{000004C7-980B-4B2B-A6BA-FBAB5FE3CDBF}"/>
              </c:ext>
            </c:extLst>
          </c:dPt>
          <c:dPt>
            <c:idx val="611"/>
            <c:invertIfNegative val="1"/>
            <c:bubble3D val="0"/>
            <c:spPr>
              <a:solidFill>
                <a:srgbClr val="AEABAB"/>
              </a:solidFill>
            </c:spPr>
            <c:extLst>
              <c:ext xmlns:c16="http://schemas.microsoft.com/office/drawing/2014/chart" uri="{C3380CC4-5D6E-409C-BE32-E72D297353CC}">
                <c16:uniqueId val="{000004C9-980B-4B2B-A6BA-FBAB5FE3CDBF}"/>
              </c:ext>
            </c:extLst>
          </c:dPt>
          <c:dPt>
            <c:idx val="612"/>
            <c:invertIfNegative val="1"/>
            <c:bubble3D val="0"/>
            <c:spPr>
              <a:solidFill>
                <a:srgbClr val="AEABAB"/>
              </a:solidFill>
            </c:spPr>
            <c:extLst>
              <c:ext xmlns:c16="http://schemas.microsoft.com/office/drawing/2014/chart" uri="{C3380CC4-5D6E-409C-BE32-E72D297353CC}">
                <c16:uniqueId val="{000004CB-980B-4B2B-A6BA-FBAB5FE3CDBF}"/>
              </c:ext>
            </c:extLst>
          </c:dPt>
          <c:dPt>
            <c:idx val="613"/>
            <c:invertIfNegative val="1"/>
            <c:bubble3D val="0"/>
            <c:spPr>
              <a:solidFill>
                <a:srgbClr val="AEABAB"/>
              </a:solidFill>
            </c:spPr>
            <c:extLst>
              <c:ext xmlns:c16="http://schemas.microsoft.com/office/drawing/2014/chart" uri="{C3380CC4-5D6E-409C-BE32-E72D297353CC}">
                <c16:uniqueId val="{000004CD-980B-4B2B-A6BA-FBAB5FE3CDBF}"/>
              </c:ext>
            </c:extLst>
          </c:dPt>
          <c:dPt>
            <c:idx val="614"/>
            <c:invertIfNegative val="1"/>
            <c:bubble3D val="0"/>
            <c:spPr>
              <a:solidFill>
                <a:srgbClr val="AEABAB"/>
              </a:solidFill>
            </c:spPr>
            <c:extLst>
              <c:ext xmlns:c16="http://schemas.microsoft.com/office/drawing/2014/chart" uri="{C3380CC4-5D6E-409C-BE32-E72D297353CC}">
                <c16:uniqueId val="{000004CF-980B-4B2B-A6BA-FBAB5FE3CDBF}"/>
              </c:ext>
            </c:extLst>
          </c:dPt>
          <c:dPt>
            <c:idx val="615"/>
            <c:invertIfNegative val="1"/>
            <c:bubble3D val="0"/>
            <c:spPr>
              <a:solidFill>
                <a:srgbClr val="AEABAB"/>
              </a:solidFill>
            </c:spPr>
            <c:extLst>
              <c:ext xmlns:c16="http://schemas.microsoft.com/office/drawing/2014/chart" uri="{C3380CC4-5D6E-409C-BE32-E72D297353CC}">
                <c16:uniqueId val="{000004D1-980B-4B2B-A6BA-FBAB5FE3CDBF}"/>
              </c:ext>
            </c:extLst>
          </c:dPt>
          <c:dPt>
            <c:idx val="616"/>
            <c:invertIfNegative val="1"/>
            <c:bubble3D val="0"/>
            <c:spPr>
              <a:solidFill>
                <a:srgbClr val="AEABAB"/>
              </a:solidFill>
            </c:spPr>
            <c:extLst>
              <c:ext xmlns:c16="http://schemas.microsoft.com/office/drawing/2014/chart" uri="{C3380CC4-5D6E-409C-BE32-E72D297353CC}">
                <c16:uniqueId val="{000004D3-980B-4B2B-A6BA-FBAB5FE3CDBF}"/>
              </c:ext>
            </c:extLst>
          </c:dPt>
          <c:dPt>
            <c:idx val="617"/>
            <c:invertIfNegative val="1"/>
            <c:bubble3D val="0"/>
            <c:spPr>
              <a:solidFill>
                <a:srgbClr val="AEABAB"/>
              </a:solidFill>
            </c:spPr>
            <c:extLst>
              <c:ext xmlns:c16="http://schemas.microsoft.com/office/drawing/2014/chart" uri="{C3380CC4-5D6E-409C-BE32-E72D297353CC}">
                <c16:uniqueId val="{000004D5-980B-4B2B-A6BA-FBAB5FE3CDBF}"/>
              </c:ext>
            </c:extLst>
          </c:dPt>
          <c:dPt>
            <c:idx val="618"/>
            <c:invertIfNegative val="1"/>
            <c:bubble3D val="0"/>
            <c:spPr>
              <a:solidFill>
                <a:srgbClr val="AEABAB"/>
              </a:solidFill>
            </c:spPr>
            <c:extLst>
              <c:ext xmlns:c16="http://schemas.microsoft.com/office/drawing/2014/chart" uri="{C3380CC4-5D6E-409C-BE32-E72D297353CC}">
                <c16:uniqueId val="{000004D7-980B-4B2B-A6BA-FBAB5FE3CDBF}"/>
              </c:ext>
            </c:extLst>
          </c:dPt>
          <c:dPt>
            <c:idx val="619"/>
            <c:invertIfNegative val="1"/>
            <c:bubble3D val="0"/>
            <c:spPr>
              <a:solidFill>
                <a:srgbClr val="AEABAB"/>
              </a:solidFill>
            </c:spPr>
            <c:extLst>
              <c:ext xmlns:c16="http://schemas.microsoft.com/office/drawing/2014/chart" uri="{C3380CC4-5D6E-409C-BE32-E72D297353CC}">
                <c16:uniqueId val="{000004D9-980B-4B2B-A6BA-FBAB5FE3CDBF}"/>
              </c:ext>
            </c:extLst>
          </c:dPt>
          <c:dPt>
            <c:idx val="620"/>
            <c:invertIfNegative val="1"/>
            <c:bubble3D val="0"/>
            <c:spPr>
              <a:solidFill>
                <a:srgbClr val="AEABAB"/>
              </a:solidFill>
            </c:spPr>
            <c:extLst>
              <c:ext xmlns:c16="http://schemas.microsoft.com/office/drawing/2014/chart" uri="{C3380CC4-5D6E-409C-BE32-E72D297353CC}">
                <c16:uniqueId val="{000004DB-980B-4B2B-A6BA-FBAB5FE3CDBF}"/>
              </c:ext>
            </c:extLst>
          </c:dPt>
          <c:dPt>
            <c:idx val="621"/>
            <c:invertIfNegative val="1"/>
            <c:bubble3D val="0"/>
            <c:spPr>
              <a:solidFill>
                <a:srgbClr val="AEABAB"/>
              </a:solidFill>
            </c:spPr>
            <c:extLst>
              <c:ext xmlns:c16="http://schemas.microsoft.com/office/drawing/2014/chart" uri="{C3380CC4-5D6E-409C-BE32-E72D297353CC}">
                <c16:uniqueId val="{000004DD-980B-4B2B-A6BA-FBAB5FE3CDBF}"/>
              </c:ext>
            </c:extLst>
          </c:dPt>
          <c:dPt>
            <c:idx val="622"/>
            <c:invertIfNegative val="1"/>
            <c:bubble3D val="0"/>
            <c:spPr>
              <a:solidFill>
                <a:srgbClr val="AEABAB"/>
              </a:solidFill>
            </c:spPr>
            <c:extLst>
              <c:ext xmlns:c16="http://schemas.microsoft.com/office/drawing/2014/chart" uri="{C3380CC4-5D6E-409C-BE32-E72D297353CC}">
                <c16:uniqueId val="{000004DF-980B-4B2B-A6BA-FBAB5FE3CDBF}"/>
              </c:ext>
            </c:extLst>
          </c:dPt>
          <c:dPt>
            <c:idx val="623"/>
            <c:invertIfNegative val="1"/>
            <c:bubble3D val="0"/>
            <c:spPr>
              <a:solidFill>
                <a:srgbClr val="AEABAB"/>
              </a:solidFill>
            </c:spPr>
            <c:extLst>
              <c:ext xmlns:c16="http://schemas.microsoft.com/office/drawing/2014/chart" uri="{C3380CC4-5D6E-409C-BE32-E72D297353CC}">
                <c16:uniqueId val="{000004E1-980B-4B2B-A6BA-FBAB5FE3CDBF}"/>
              </c:ext>
            </c:extLst>
          </c:dPt>
          <c:dPt>
            <c:idx val="624"/>
            <c:invertIfNegative val="1"/>
            <c:bubble3D val="0"/>
            <c:spPr>
              <a:solidFill>
                <a:srgbClr val="AEABAB"/>
              </a:solidFill>
            </c:spPr>
            <c:extLst>
              <c:ext xmlns:c16="http://schemas.microsoft.com/office/drawing/2014/chart" uri="{C3380CC4-5D6E-409C-BE32-E72D297353CC}">
                <c16:uniqueId val="{000004E3-980B-4B2B-A6BA-FBAB5FE3CDBF}"/>
              </c:ext>
            </c:extLst>
          </c:dPt>
          <c:dPt>
            <c:idx val="625"/>
            <c:invertIfNegative val="1"/>
            <c:bubble3D val="0"/>
            <c:spPr>
              <a:solidFill>
                <a:srgbClr val="AEABAB"/>
              </a:solidFill>
            </c:spPr>
            <c:extLst>
              <c:ext xmlns:c16="http://schemas.microsoft.com/office/drawing/2014/chart" uri="{C3380CC4-5D6E-409C-BE32-E72D297353CC}">
                <c16:uniqueId val="{000004E5-980B-4B2B-A6BA-FBAB5FE3CDBF}"/>
              </c:ext>
            </c:extLst>
          </c:dPt>
          <c:dPt>
            <c:idx val="626"/>
            <c:invertIfNegative val="1"/>
            <c:bubble3D val="0"/>
            <c:spPr>
              <a:solidFill>
                <a:srgbClr val="AEABAB"/>
              </a:solidFill>
            </c:spPr>
            <c:extLst>
              <c:ext xmlns:c16="http://schemas.microsoft.com/office/drawing/2014/chart" uri="{C3380CC4-5D6E-409C-BE32-E72D297353CC}">
                <c16:uniqueId val="{000004E7-980B-4B2B-A6BA-FBAB5FE3CDBF}"/>
              </c:ext>
            </c:extLst>
          </c:dPt>
          <c:dPt>
            <c:idx val="627"/>
            <c:invertIfNegative val="1"/>
            <c:bubble3D val="0"/>
            <c:spPr>
              <a:solidFill>
                <a:srgbClr val="AEABAB"/>
              </a:solidFill>
            </c:spPr>
            <c:extLst>
              <c:ext xmlns:c16="http://schemas.microsoft.com/office/drawing/2014/chart" uri="{C3380CC4-5D6E-409C-BE32-E72D297353CC}">
                <c16:uniqueId val="{000004E9-980B-4B2B-A6BA-FBAB5FE3CDBF}"/>
              </c:ext>
            </c:extLst>
          </c:dPt>
          <c:dPt>
            <c:idx val="628"/>
            <c:invertIfNegative val="1"/>
            <c:bubble3D val="0"/>
            <c:spPr>
              <a:solidFill>
                <a:srgbClr val="AEABAB"/>
              </a:solidFill>
            </c:spPr>
            <c:extLst>
              <c:ext xmlns:c16="http://schemas.microsoft.com/office/drawing/2014/chart" uri="{C3380CC4-5D6E-409C-BE32-E72D297353CC}">
                <c16:uniqueId val="{000004EB-980B-4B2B-A6BA-FBAB5FE3CDBF}"/>
              </c:ext>
            </c:extLst>
          </c:dPt>
          <c:dPt>
            <c:idx val="629"/>
            <c:invertIfNegative val="1"/>
            <c:bubble3D val="0"/>
            <c:spPr>
              <a:solidFill>
                <a:srgbClr val="AEABAB"/>
              </a:solidFill>
            </c:spPr>
            <c:extLst>
              <c:ext xmlns:c16="http://schemas.microsoft.com/office/drawing/2014/chart" uri="{C3380CC4-5D6E-409C-BE32-E72D297353CC}">
                <c16:uniqueId val="{000004ED-980B-4B2B-A6BA-FBAB5FE3CDBF}"/>
              </c:ext>
            </c:extLst>
          </c:dPt>
          <c:dPt>
            <c:idx val="630"/>
            <c:invertIfNegative val="1"/>
            <c:bubble3D val="0"/>
            <c:spPr>
              <a:solidFill>
                <a:srgbClr val="AEABAB"/>
              </a:solidFill>
            </c:spPr>
            <c:extLst>
              <c:ext xmlns:c16="http://schemas.microsoft.com/office/drawing/2014/chart" uri="{C3380CC4-5D6E-409C-BE32-E72D297353CC}">
                <c16:uniqueId val="{000004EF-980B-4B2B-A6BA-FBAB5FE3CDBF}"/>
              </c:ext>
            </c:extLst>
          </c:dPt>
          <c:dPt>
            <c:idx val="631"/>
            <c:invertIfNegative val="1"/>
            <c:bubble3D val="0"/>
            <c:spPr>
              <a:solidFill>
                <a:srgbClr val="AEABAB"/>
              </a:solidFill>
            </c:spPr>
            <c:extLst>
              <c:ext xmlns:c16="http://schemas.microsoft.com/office/drawing/2014/chart" uri="{C3380CC4-5D6E-409C-BE32-E72D297353CC}">
                <c16:uniqueId val="{000004F1-980B-4B2B-A6BA-FBAB5FE3CDBF}"/>
              </c:ext>
            </c:extLst>
          </c:dPt>
          <c:dPt>
            <c:idx val="632"/>
            <c:invertIfNegative val="1"/>
            <c:bubble3D val="0"/>
            <c:spPr>
              <a:solidFill>
                <a:srgbClr val="AEABAB"/>
              </a:solidFill>
            </c:spPr>
            <c:extLst>
              <c:ext xmlns:c16="http://schemas.microsoft.com/office/drawing/2014/chart" uri="{C3380CC4-5D6E-409C-BE32-E72D297353CC}">
                <c16:uniqueId val="{000004F3-980B-4B2B-A6BA-FBAB5FE3CDBF}"/>
              </c:ext>
            </c:extLst>
          </c:dPt>
          <c:dPt>
            <c:idx val="633"/>
            <c:invertIfNegative val="1"/>
            <c:bubble3D val="0"/>
            <c:spPr>
              <a:solidFill>
                <a:srgbClr val="AEABAB"/>
              </a:solidFill>
            </c:spPr>
            <c:extLst>
              <c:ext xmlns:c16="http://schemas.microsoft.com/office/drawing/2014/chart" uri="{C3380CC4-5D6E-409C-BE32-E72D297353CC}">
                <c16:uniqueId val="{000004F5-980B-4B2B-A6BA-FBAB5FE3CDBF}"/>
              </c:ext>
            </c:extLst>
          </c:dPt>
          <c:dPt>
            <c:idx val="634"/>
            <c:invertIfNegative val="1"/>
            <c:bubble3D val="0"/>
            <c:spPr>
              <a:solidFill>
                <a:srgbClr val="AEABAB"/>
              </a:solidFill>
            </c:spPr>
            <c:extLst>
              <c:ext xmlns:c16="http://schemas.microsoft.com/office/drawing/2014/chart" uri="{C3380CC4-5D6E-409C-BE32-E72D297353CC}">
                <c16:uniqueId val="{000004F7-980B-4B2B-A6BA-FBAB5FE3CDBF}"/>
              </c:ext>
            </c:extLst>
          </c:dPt>
          <c:dPt>
            <c:idx val="635"/>
            <c:invertIfNegative val="1"/>
            <c:bubble3D val="0"/>
            <c:spPr>
              <a:solidFill>
                <a:srgbClr val="AEABAB"/>
              </a:solidFill>
            </c:spPr>
            <c:extLst>
              <c:ext xmlns:c16="http://schemas.microsoft.com/office/drawing/2014/chart" uri="{C3380CC4-5D6E-409C-BE32-E72D297353CC}">
                <c16:uniqueId val="{000004F9-980B-4B2B-A6BA-FBAB5FE3CDBF}"/>
              </c:ext>
            </c:extLst>
          </c:dPt>
          <c:dPt>
            <c:idx val="636"/>
            <c:invertIfNegative val="1"/>
            <c:bubble3D val="0"/>
            <c:spPr>
              <a:solidFill>
                <a:srgbClr val="AEABAB"/>
              </a:solidFill>
            </c:spPr>
            <c:extLst>
              <c:ext xmlns:c16="http://schemas.microsoft.com/office/drawing/2014/chart" uri="{C3380CC4-5D6E-409C-BE32-E72D297353CC}">
                <c16:uniqueId val="{000004FB-980B-4B2B-A6BA-FBAB5FE3CDBF}"/>
              </c:ext>
            </c:extLst>
          </c:dPt>
          <c:dPt>
            <c:idx val="637"/>
            <c:invertIfNegative val="1"/>
            <c:bubble3D val="0"/>
            <c:spPr>
              <a:solidFill>
                <a:srgbClr val="AEABAB"/>
              </a:solidFill>
            </c:spPr>
            <c:extLst>
              <c:ext xmlns:c16="http://schemas.microsoft.com/office/drawing/2014/chart" uri="{C3380CC4-5D6E-409C-BE32-E72D297353CC}">
                <c16:uniqueId val="{000004FD-980B-4B2B-A6BA-FBAB5FE3CDBF}"/>
              </c:ext>
            </c:extLst>
          </c:dPt>
          <c:dPt>
            <c:idx val="638"/>
            <c:invertIfNegative val="1"/>
            <c:bubble3D val="0"/>
            <c:spPr>
              <a:solidFill>
                <a:srgbClr val="AEABAB"/>
              </a:solidFill>
            </c:spPr>
            <c:extLst>
              <c:ext xmlns:c16="http://schemas.microsoft.com/office/drawing/2014/chart" uri="{C3380CC4-5D6E-409C-BE32-E72D297353CC}">
                <c16:uniqueId val="{000004FF-980B-4B2B-A6BA-FBAB5FE3CDBF}"/>
              </c:ext>
            </c:extLst>
          </c:dPt>
          <c:dPt>
            <c:idx val="639"/>
            <c:invertIfNegative val="1"/>
            <c:bubble3D val="0"/>
            <c:spPr>
              <a:solidFill>
                <a:srgbClr val="AEABAB"/>
              </a:solidFill>
            </c:spPr>
            <c:extLst>
              <c:ext xmlns:c16="http://schemas.microsoft.com/office/drawing/2014/chart" uri="{C3380CC4-5D6E-409C-BE32-E72D297353CC}">
                <c16:uniqueId val="{00000501-980B-4B2B-A6BA-FBAB5FE3CDBF}"/>
              </c:ext>
            </c:extLst>
          </c:dPt>
          <c:dPt>
            <c:idx val="640"/>
            <c:invertIfNegative val="1"/>
            <c:bubble3D val="0"/>
            <c:spPr>
              <a:solidFill>
                <a:srgbClr val="AEABAB"/>
              </a:solidFill>
            </c:spPr>
            <c:extLst>
              <c:ext xmlns:c16="http://schemas.microsoft.com/office/drawing/2014/chart" uri="{C3380CC4-5D6E-409C-BE32-E72D297353CC}">
                <c16:uniqueId val="{00000503-980B-4B2B-A6BA-FBAB5FE3CDBF}"/>
              </c:ext>
            </c:extLst>
          </c:dPt>
          <c:dPt>
            <c:idx val="641"/>
            <c:invertIfNegative val="1"/>
            <c:bubble3D val="0"/>
            <c:spPr>
              <a:solidFill>
                <a:srgbClr val="AEABAB"/>
              </a:solidFill>
            </c:spPr>
            <c:extLst>
              <c:ext xmlns:c16="http://schemas.microsoft.com/office/drawing/2014/chart" uri="{C3380CC4-5D6E-409C-BE32-E72D297353CC}">
                <c16:uniqueId val="{00000505-980B-4B2B-A6BA-FBAB5FE3CDBF}"/>
              </c:ext>
            </c:extLst>
          </c:dPt>
          <c:dPt>
            <c:idx val="642"/>
            <c:invertIfNegative val="1"/>
            <c:bubble3D val="0"/>
            <c:spPr>
              <a:solidFill>
                <a:srgbClr val="AEABAB"/>
              </a:solidFill>
            </c:spPr>
            <c:extLst>
              <c:ext xmlns:c16="http://schemas.microsoft.com/office/drawing/2014/chart" uri="{C3380CC4-5D6E-409C-BE32-E72D297353CC}">
                <c16:uniqueId val="{00000507-980B-4B2B-A6BA-FBAB5FE3CDBF}"/>
              </c:ext>
            </c:extLst>
          </c:dPt>
          <c:dPt>
            <c:idx val="643"/>
            <c:invertIfNegative val="1"/>
            <c:bubble3D val="0"/>
            <c:spPr>
              <a:solidFill>
                <a:srgbClr val="AEABAB"/>
              </a:solidFill>
            </c:spPr>
            <c:extLst>
              <c:ext xmlns:c16="http://schemas.microsoft.com/office/drawing/2014/chart" uri="{C3380CC4-5D6E-409C-BE32-E72D297353CC}">
                <c16:uniqueId val="{00000509-980B-4B2B-A6BA-FBAB5FE3CDBF}"/>
              </c:ext>
            </c:extLst>
          </c:dPt>
          <c:dPt>
            <c:idx val="644"/>
            <c:invertIfNegative val="1"/>
            <c:bubble3D val="0"/>
            <c:spPr>
              <a:solidFill>
                <a:srgbClr val="AEABAB"/>
              </a:solidFill>
            </c:spPr>
            <c:extLst>
              <c:ext xmlns:c16="http://schemas.microsoft.com/office/drawing/2014/chart" uri="{C3380CC4-5D6E-409C-BE32-E72D297353CC}">
                <c16:uniqueId val="{0000050B-980B-4B2B-A6BA-FBAB5FE3CDBF}"/>
              </c:ext>
            </c:extLst>
          </c:dPt>
          <c:dPt>
            <c:idx val="645"/>
            <c:invertIfNegative val="1"/>
            <c:bubble3D val="0"/>
            <c:spPr>
              <a:solidFill>
                <a:srgbClr val="AEABAB"/>
              </a:solidFill>
            </c:spPr>
            <c:extLst>
              <c:ext xmlns:c16="http://schemas.microsoft.com/office/drawing/2014/chart" uri="{C3380CC4-5D6E-409C-BE32-E72D297353CC}">
                <c16:uniqueId val="{0000050D-980B-4B2B-A6BA-FBAB5FE3CDBF}"/>
              </c:ext>
            </c:extLst>
          </c:dPt>
          <c:dPt>
            <c:idx val="646"/>
            <c:invertIfNegative val="1"/>
            <c:bubble3D val="0"/>
            <c:spPr>
              <a:solidFill>
                <a:srgbClr val="AEABAB"/>
              </a:solidFill>
            </c:spPr>
            <c:extLst>
              <c:ext xmlns:c16="http://schemas.microsoft.com/office/drawing/2014/chart" uri="{C3380CC4-5D6E-409C-BE32-E72D297353CC}">
                <c16:uniqueId val="{0000050F-980B-4B2B-A6BA-FBAB5FE3CDBF}"/>
              </c:ext>
            </c:extLst>
          </c:dPt>
          <c:dPt>
            <c:idx val="647"/>
            <c:invertIfNegative val="1"/>
            <c:bubble3D val="0"/>
            <c:spPr>
              <a:solidFill>
                <a:srgbClr val="AEABAB"/>
              </a:solidFill>
            </c:spPr>
            <c:extLst>
              <c:ext xmlns:c16="http://schemas.microsoft.com/office/drawing/2014/chart" uri="{C3380CC4-5D6E-409C-BE32-E72D297353CC}">
                <c16:uniqueId val="{00000511-980B-4B2B-A6BA-FBAB5FE3CDBF}"/>
              </c:ext>
            </c:extLst>
          </c:dPt>
          <c:dPt>
            <c:idx val="648"/>
            <c:invertIfNegative val="1"/>
            <c:bubble3D val="0"/>
            <c:spPr>
              <a:solidFill>
                <a:srgbClr val="AEABAB"/>
              </a:solidFill>
            </c:spPr>
            <c:extLst>
              <c:ext xmlns:c16="http://schemas.microsoft.com/office/drawing/2014/chart" uri="{C3380CC4-5D6E-409C-BE32-E72D297353CC}">
                <c16:uniqueId val="{00000513-980B-4B2B-A6BA-FBAB5FE3CDBF}"/>
              </c:ext>
            </c:extLst>
          </c:dPt>
          <c:dPt>
            <c:idx val="649"/>
            <c:invertIfNegative val="1"/>
            <c:bubble3D val="0"/>
            <c:spPr>
              <a:solidFill>
                <a:srgbClr val="AEABAB"/>
              </a:solidFill>
            </c:spPr>
            <c:extLst>
              <c:ext xmlns:c16="http://schemas.microsoft.com/office/drawing/2014/chart" uri="{C3380CC4-5D6E-409C-BE32-E72D297353CC}">
                <c16:uniqueId val="{00000515-980B-4B2B-A6BA-FBAB5FE3CDBF}"/>
              </c:ext>
            </c:extLst>
          </c:dPt>
          <c:dPt>
            <c:idx val="650"/>
            <c:invertIfNegative val="1"/>
            <c:bubble3D val="0"/>
            <c:spPr>
              <a:solidFill>
                <a:srgbClr val="AEABAB"/>
              </a:solidFill>
            </c:spPr>
            <c:extLst>
              <c:ext xmlns:c16="http://schemas.microsoft.com/office/drawing/2014/chart" uri="{C3380CC4-5D6E-409C-BE32-E72D297353CC}">
                <c16:uniqueId val="{00000517-980B-4B2B-A6BA-FBAB5FE3CDBF}"/>
              </c:ext>
            </c:extLst>
          </c:dPt>
          <c:dPt>
            <c:idx val="651"/>
            <c:invertIfNegative val="1"/>
            <c:bubble3D val="0"/>
            <c:spPr>
              <a:solidFill>
                <a:srgbClr val="AEABAB"/>
              </a:solidFill>
            </c:spPr>
            <c:extLst>
              <c:ext xmlns:c16="http://schemas.microsoft.com/office/drawing/2014/chart" uri="{C3380CC4-5D6E-409C-BE32-E72D297353CC}">
                <c16:uniqueId val="{00000519-980B-4B2B-A6BA-FBAB5FE3CDBF}"/>
              </c:ext>
            </c:extLst>
          </c:dPt>
          <c:dPt>
            <c:idx val="652"/>
            <c:invertIfNegative val="1"/>
            <c:bubble3D val="0"/>
            <c:spPr>
              <a:solidFill>
                <a:srgbClr val="AEABAB"/>
              </a:solidFill>
            </c:spPr>
            <c:extLst>
              <c:ext xmlns:c16="http://schemas.microsoft.com/office/drawing/2014/chart" uri="{C3380CC4-5D6E-409C-BE32-E72D297353CC}">
                <c16:uniqueId val="{0000051B-980B-4B2B-A6BA-FBAB5FE3CDBF}"/>
              </c:ext>
            </c:extLst>
          </c:dPt>
          <c:dPt>
            <c:idx val="653"/>
            <c:invertIfNegative val="1"/>
            <c:bubble3D val="0"/>
            <c:spPr>
              <a:solidFill>
                <a:srgbClr val="AEABAB"/>
              </a:solidFill>
            </c:spPr>
            <c:extLst>
              <c:ext xmlns:c16="http://schemas.microsoft.com/office/drawing/2014/chart" uri="{C3380CC4-5D6E-409C-BE32-E72D297353CC}">
                <c16:uniqueId val="{0000051D-980B-4B2B-A6BA-FBAB5FE3CDBF}"/>
              </c:ext>
            </c:extLst>
          </c:dPt>
          <c:dPt>
            <c:idx val="654"/>
            <c:invertIfNegative val="1"/>
            <c:bubble3D val="0"/>
            <c:spPr>
              <a:solidFill>
                <a:srgbClr val="AEABAB"/>
              </a:solidFill>
            </c:spPr>
            <c:extLst>
              <c:ext xmlns:c16="http://schemas.microsoft.com/office/drawing/2014/chart" uri="{C3380CC4-5D6E-409C-BE32-E72D297353CC}">
                <c16:uniqueId val="{0000051F-980B-4B2B-A6BA-FBAB5FE3CDBF}"/>
              </c:ext>
            </c:extLst>
          </c:dPt>
          <c:dPt>
            <c:idx val="655"/>
            <c:invertIfNegative val="1"/>
            <c:bubble3D val="0"/>
            <c:spPr>
              <a:solidFill>
                <a:srgbClr val="AEABAB"/>
              </a:solidFill>
            </c:spPr>
            <c:extLst>
              <c:ext xmlns:c16="http://schemas.microsoft.com/office/drawing/2014/chart" uri="{C3380CC4-5D6E-409C-BE32-E72D297353CC}">
                <c16:uniqueId val="{00000521-980B-4B2B-A6BA-FBAB5FE3CDBF}"/>
              </c:ext>
            </c:extLst>
          </c:dPt>
          <c:dPt>
            <c:idx val="656"/>
            <c:invertIfNegative val="1"/>
            <c:bubble3D val="0"/>
            <c:spPr>
              <a:solidFill>
                <a:srgbClr val="AEABAB"/>
              </a:solidFill>
            </c:spPr>
            <c:extLst>
              <c:ext xmlns:c16="http://schemas.microsoft.com/office/drawing/2014/chart" uri="{C3380CC4-5D6E-409C-BE32-E72D297353CC}">
                <c16:uniqueId val="{00000523-980B-4B2B-A6BA-FBAB5FE3CDBF}"/>
              </c:ext>
            </c:extLst>
          </c:dPt>
          <c:dPt>
            <c:idx val="657"/>
            <c:invertIfNegative val="1"/>
            <c:bubble3D val="0"/>
            <c:spPr>
              <a:solidFill>
                <a:srgbClr val="AEABAB"/>
              </a:solidFill>
            </c:spPr>
            <c:extLst>
              <c:ext xmlns:c16="http://schemas.microsoft.com/office/drawing/2014/chart" uri="{C3380CC4-5D6E-409C-BE32-E72D297353CC}">
                <c16:uniqueId val="{00000525-980B-4B2B-A6BA-FBAB5FE3CDBF}"/>
              </c:ext>
            </c:extLst>
          </c:dPt>
          <c:dPt>
            <c:idx val="658"/>
            <c:invertIfNegative val="1"/>
            <c:bubble3D val="0"/>
            <c:spPr>
              <a:solidFill>
                <a:srgbClr val="AEABAB"/>
              </a:solidFill>
            </c:spPr>
            <c:extLst>
              <c:ext xmlns:c16="http://schemas.microsoft.com/office/drawing/2014/chart" uri="{C3380CC4-5D6E-409C-BE32-E72D297353CC}">
                <c16:uniqueId val="{00000527-980B-4B2B-A6BA-FBAB5FE3CDBF}"/>
              </c:ext>
            </c:extLst>
          </c:dPt>
          <c:dPt>
            <c:idx val="659"/>
            <c:invertIfNegative val="1"/>
            <c:bubble3D val="0"/>
            <c:spPr>
              <a:solidFill>
                <a:srgbClr val="AEABAB"/>
              </a:solidFill>
            </c:spPr>
            <c:extLst>
              <c:ext xmlns:c16="http://schemas.microsoft.com/office/drawing/2014/chart" uri="{C3380CC4-5D6E-409C-BE32-E72D297353CC}">
                <c16:uniqueId val="{00000529-980B-4B2B-A6BA-FBAB5FE3CDBF}"/>
              </c:ext>
            </c:extLst>
          </c:dPt>
          <c:dPt>
            <c:idx val="660"/>
            <c:invertIfNegative val="1"/>
            <c:bubble3D val="0"/>
            <c:spPr>
              <a:solidFill>
                <a:srgbClr val="AEABAB"/>
              </a:solidFill>
            </c:spPr>
            <c:extLst>
              <c:ext xmlns:c16="http://schemas.microsoft.com/office/drawing/2014/chart" uri="{C3380CC4-5D6E-409C-BE32-E72D297353CC}">
                <c16:uniqueId val="{0000052B-980B-4B2B-A6BA-FBAB5FE3CDBF}"/>
              </c:ext>
            </c:extLst>
          </c:dPt>
          <c:dPt>
            <c:idx val="661"/>
            <c:invertIfNegative val="1"/>
            <c:bubble3D val="0"/>
            <c:spPr>
              <a:solidFill>
                <a:srgbClr val="AEABAB"/>
              </a:solidFill>
            </c:spPr>
            <c:extLst>
              <c:ext xmlns:c16="http://schemas.microsoft.com/office/drawing/2014/chart" uri="{C3380CC4-5D6E-409C-BE32-E72D297353CC}">
                <c16:uniqueId val="{0000052D-980B-4B2B-A6BA-FBAB5FE3CDBF}"/>
              </c:ext>
            </c:extLst>
          </c:dPt>
          <c:dPt>
            <c:idx val="662"/>
            <c:invertIfNegative val="1"/>
            <c:bubble3D val="0"/>
            <c:spPr>
              <a:solidFill>
                <a:srgbClr val="AEABAB"/>
              </a:solidFill>
            </c:spPr>
            <c:extLst>
              <c:ext xmlns:c16="http://schemas.microsoft.com/office/drawing/2014/chart" uri="{C3380CC4-5D6E-409C-BE32-E72D297353CC}">
                <c16:uniqueId val="{0000052F-980B-4B2B-A6BA-FBAB5FE3CDBF}"/>
              </c:ext>
            </c:extLst>
          </c:dPt>
          <c:dPt>
            <c:idx val="663"/>
            <c:invertIfNegative val="1"/>
            <c:bubble3D val="0"/>
            <c:spPr>
              <a:solidFill>
                <a:srgbClr val="AEABAB"/>
              </a:solidFill>
            </c:spPr>
            <c:extLst>
              <c:ext xmlns:c16="http://schemas.microsoft.com/office/drawing/2014/chart" uri="{C3380CC4-5D6E-409C-BE32-E72D297353CC}">
                <c16:uniqueId val="{00000531-980B-4B2B-A6BA-FBAB5FE3CDBF}"/>
              </c:ext>
            </c:extLst>
          </c:dPt>
          <c:dPt>
            <c:idx val="664"/>
            <c:invertIfNegative val="1"/>
            <c:bubble3D val="0"/>
            <c:spPr>
              <a:solidFill>
                <a:srgbClr val="AEABAB"/>
              </a:solidFill>
            </c:spPr>
            <c:extLst>
              <c:ext xmlns:c16="http://schemas.microsoft.com/office/drawing/2014/chart" uri="{C3380CC4-5D6E-409C-BE32-E72D297353CC}">
                <c16:uniqueId val="{00000533-980B-4B2B-A6BA-FBAB5FE3CDBF}"/>
              </c:ext>
            </c:extLst>
          </c:dPt>
          <c:dPt>
            <c:idx val="665"/>
            <c:invertIfNegative val="1"/>
            <c:bubble3D val="0"/>
            <c:spPr>
              <a:solidFill>
                <a:srgbClr val="AEABAB"/>
              </a:solidFill>
            </c:spPr>
            <c:extLst>
              <c:ext xmlns:c16="http://schemas.microsoft.com/office/drawing/2014/chart" uri="{C3380CC4-5D6E-409C-BE32-E72D297353CC}">
                <c16:uniqueId val="{00000535-980B-4B2B-A6BA-FBAB5FE3CDBF}"/>
              </c:ext>
            </c:extLst>
          </c:dPt>
          <c:dPt>
            <c:idx val="666"/>
            <c:invertIfNegative val="1"/>
            <c:bubble3D val="0"/>
            <c:spPr>
              <a:solidFill>
                <a:srgbClr val="AEABAB"/>
              </a:solidFill>
            </c:spPr>
            <c:extLst>
              <c:ext xmlns:c16="http://schemas.microsoft.com/office/drawing/2014/chart" uri="{C3380CC4-5D6E-409C-BE32-E72D297353CC}">
                <c16:uniqueId val="{00000537-980B-4B2B-A6BA-FBAB5FE3CDBF}"/>
              </c:ext>
            </c:extLst>
          </c:dPt>
          <c:dPt>
            <c:idx val="667"/>
            <c:invertIfNegative val="1"/>
            <c:bubble3D val="0"/>
            <c:spPr>
              <a:solidFill>
                <a:srgbClr val="AEABAB"/>
              </a:solidFill>
            </c:spPr>
            <c:extLst>
              <c:ext xmlns:c16="http://schemas.microsoft.com/office/drawing/2014/chart" uri="{C3380CC4-5D6E-409C-BE32-E72D297353CC}">
                <c16:uniqueId val="{00000539-980B-4B2B-A6BA-FBAB5FE3CDBF}"/>
              </c:ext>
            </c:extLst>
          </c:dPt>
          <c:dPt>
            <c:idx val="668"/>
            <c:invertIfNegative val="1"/>
            <c:bubble3D val="0"/>
            <c:spPr>
              <a:solidFill>
                <a:srgbClr val="AEABAB"/>
              </a:solidFill>
            </c:spPr>
            <c:extLst>
              <c:ext xmlns:c16="http://schemas.microsoft.com/office/drawing/2014/chart" uri="{C3380CC4-5D6E-409C-BE32-E72D297353CC}">
                <c16:uniqueId val="{0000053B-980B-4B2B-A6BA-FBAB5FE3CDBF}"/>
              </c:ext>
            </c:extLst>
          </c:dPt>
          <c:dPt>
            <c:idx val="669"/>
            <c:invertIfNegative val="1"/>
            <c:bubble3D val="0"/>
            <c:spPr>
              <a:solidFill>
                <a:srgbClr val="AEABAB"/>
              </a:solidFill>
            </c:spPr>
            <c:extLst>
              <c:ext xmlns:c16="http://schemas.microsoft.com/office/drawing/2014/chart" uri="{C3380CC4-5D6E-409C-BE32-E72D297353CC}">
                <c16:uniqueId val="{0000053D-980B-4B2B-A6BA-FBAB5FE3CDBF}"/>
              </c:ext>
            </c:extLst>
          </c:dPt>
          <c:dPt>
            <c:idx val="670"/>
            <c:invertIfNegative val="1"/>
            <c:bubble3D val="0"/>
            <c:spPr>
              <a:solidFill>
                <a:srgbClr val="AEABAB"/>
              </a:solidFill>
            </c:spPr>
            <c:extLst>
              <c:ext xmlns:c16="http://schemas.microsoft.com/office/drawing/2014/chart" uri="{C3380CC4-5D6E-409C-BE32-E72D297353CC}">
                <c16:uniqueId val="{0000053F-980B-4B2B-A6BA-FBAB5FE3CDBF}"/>
              </c:ext>
            </c:extLst>
          </c:dPt>
          <c:dPt>
            <c:idx val="671"/>
            <c:invertIfNegative val="1"/>
            <c:bubble3D val="0"/>
            <c:spPr>
              <a:solidFill>
                <a:srgbClr val="AEABAB"/>
              </a:solidFill>
            </c:spPr>
            <c:extLst>
              <c:ext xmlns:c16="http://schemas.microsoft.com/office/drawing/2014/chart" uri="{C3380CC4-5D6E-409C-BE32-E72D297353CC}">
                <c16:uniqueId val="{00000541-980B-4B2B-A6BA-FBAB5FE3CDBF}"/>
              </c:ext>
            </c:extLst>
          </c:dPt>
          <c:dPt>
            <c:idx val="672"/>
            <c:invertIfNegative val="1"/>
            <c:bubble3D val="0"/>
            <c:spPr>
              <a:solidFill>
                <a:srgbClr val="AEABAB"/>
              </a:solidFill>
            </c:spPr>
            <c:extLst>
              <c:ext xmlns:c16="http://schemas.microsoft.com/office/drawing/2014/chart" uri="{C3380CC4-5D6E-409C-BE32-E72D297353CC}">
                <c16:uniqueId val="{00000543-980B-4B2B-A6BA-FBAB5FE3CDBF}"/>
              </c:ext>
            </c:extLst>
          </c:dPt>
          <c:dPt>
            <c:idx val="673"/>
            <c:invertIfNegative val="1"/>
            <c:bubble3D val="0"/>
            <c:spPr>
              <a:solidFill>
                <a:srgbClr val="AEABAB"/>
              </a:solidFill>
            </c:spPr>
            <c:extLst>
              <c:ext xmlns:c16="http://schemas.microsoft.com/office/drawing/2014/chart" uri="{C3380CC4-5D6E-409C-BE32-E72D297353CC}">
                <c16:uniqueId val="{00000545-980B-4B2B-A6BA-FBAB5FE3CDBF}"/>
              </c:ext>
            </c:extLst>
          </c:dPt>
          <c:dPt>
            <c:idx val="674"/>
            <c:invertIfNegative val="1"/>
            <c:bubble3D val="0"/>
            <c:spPr>
              <a:solidFill>
                <a:srgbClr val="AEABAB"/>
              </a:solidFill>
            </c:spPr>
            <c:extLst>
              <c:ext xmlns:c16="http://schemas.microsoft.com/office/drawing/2014/chart" uri="{C3380CC4-5D6E-409C-BE32-E72D297353CC}">
                <c16:uniqueId val="{00000547-980B-4B2B-A6BA-FBAB5FE3CDBF}"/>
              </c:ext>
            </c:extLst>
          </c:dPt>
          <c:dPt>
            <c:idx val="675"/>
            <c:invertIfNegative val="1"/>
            <c:bubble3D val="0"/>
            <c:spPr>
              <a:solidFill>
                <a:srgbClr val="AEABAB"/>
              </a:solidFill>
            </c:spPr>
            <c:extLst>
              <c:ext xmlns:c16="http://schemas.microsoft.com/office/drawing/2014/chart" uri="{C3380CC4-5D6E-409C-BE32-E72D297353CC}">
                <c16:uniqueId val="{00000549-980B-4B2B-A6BA-FBAB5FE3CDBF}"/>
              </c:ext>
            </c:extLst>
          </c:dPt>
          <c:dPt>
            <c:idx val="676"/>
            <c:invertIfNegative val="1"/>
            <c:bubble3D val="0"/>
            <c:spPr>
              <a:solidFill>
                <a:srgbClr val="AEABAB"/>
              </a:solidFill>
            </c:spPr>
            <c:extLst>
              <c:ext xmlns:c16="http://schemas.microsoft.com/office/drawing/2014/chart" uri="{C3380CC4-5D6E-409C-BE32-E72D297353CC}">
                <c16:uniqueId val="{0000054B-980B-4B2B-A6BA-FBAB5FE3CDBF}"/>
              </c:ext>
            </c:extLst>
          </c:dPt>
          <c:dPt>
            <c:idx val="677"/>
            <c:invertIfNegative val="1"/>
            <c:bubble3D val="0"/>
            <c:spPr>
              <a:solidFill>
                <a:srgbClr val="AEABAB"/>
              </a:solidFill>
            </c:spPr>
            <c:extLst>
              <c:ext xmlns:c16="http://schemas.microsoft.com/office/drawing/2014/chart" uri="{C3380CC4-5D6E-409C-BE32-E72D297353CC}">
                <c16:uniqueId val="{0000054D-980B-4B2B-A6BA-FBAB5FE3CDBF}"/>
              </c:ext>
            </c:extLst>
          </c:dPt>
          <c:dPt>
            <c:idx val="678"/>
            <c:invertIfNegative val="1"/>
            <c:bubble3D val="0"/>
            <c:spPr>
              <a:solidFill>
                <a:srgbClr val="AEABAB"/>
              </a:solidFill>
            </c:spPr>
            <c:extLst>
              <c:ext xmlns:c16="http://schemas.microsoft.com/office/drawing/2014/chart" uri="{C3380CC4-5D6E-409C-BE32-E72D297353CC}">
                <c16:uniqueId val="{0000054F-980B-4B2B-A6BA-FBAB5FE3CDBF}"/>
              </c:ext>
            </c:extLst>
          </c:dPt>
          <c:dPt>
            <c:idx val="679"/>
            <c:invertIfNegative val="1"/>
            <c:bubble3D val="0"/>
            <c:spPr>
              <a:solidFill>
                <a:srgbClr val="AEABAB"/>
              </a:solidFill>
            </c:spPr>
            <c:extLst>
              <c:ext xmlns:c16="http://schemas.microsoft.com/office/drawing/2014/chart" uri="{C3380CC4-5D6E-409C-BE32-E72D297353CC}">
                <c16:uniqueId val="{00000551-980B-4B2B-A6BA-FBAB5FE3CDBF}"/>
              </c:ext>
            </c:extLst>
          </c:dPt>
          <c:dPt>
            <c:idx val="680"/>
            <c:invertIfNegative val="1"/>
            <c:bubble3D val="0"/>
            <c:spPr>
              <a:solidFill>
                <a:srgbClr val="AEABAB"/>
              </a:solidFill>
            </c:spPr>
            <c:extLst>
              <c:ext xmlns:c16="http://schemas.microsoft.com/office/drawing/2014/chart" uri="{C3380CC4-5D6E-409C-BE32-E72D297353CC}">
                <c16:uniqueId val="{00000553-980B-4B2B-A6BA-FBAB5FE3CDBF}"/>
              </c:ext>
            </c:extLst>
          </c:dPt>
          <c:dPt>
            <c:idx val="681"/>
            <c:invertIfNegative val="1"/>
            <c:bubble3D val="0"/>
            <c:spPr>
              <a:solidFill>
                <a:srgbClr val="AEABAB"/>
              </a:solidFill>
            </c:spPr>
            <c:extLst>
              <c:ext xmlns:c16="http://schemas.microsoft.com/office/drawing/2014/chart" uri="{C3380CC4-5D6E-409C-BE32-E72D297353CC}">
                <c16:uniqueId val="{00000555-980B-4B2B-A6BA-FBAB5FE3CDBF}"/>
              </c:ext>
            </c:extLst>
          </c:dPt>
          <c:dPt>
            <c:idx val="682"/>
            <c:invertIfNegative val="1"/>
            <c:bubble3D val="0"/>
            <c:spPr>
              <a:solidFill>
                <a:srgbClr val="AEABAB"/>
              </a:solidFill>
            </c:spPr>
            <c:extLst>
              <c:ext xmlns:c16="http://schemas.microsoft.com/office/drawing/2014/chart" uri="{C3380CC4-5D6E-409C-BE32-E72D297353CC}">
                <c16:uniqueId val="{00000557-980B-4B2B-A6BA-FBAB5FE3CDBF}"/>
              </c:ext>
            </c:extLst>
          </c:dPt>
          <c:dPt>
            <c:idx val="683"/>
            <c:invertIfNegative val="1"/>
            <c:bubble3D val="0"/>
            <c:spPr>
              <a:solidFill>
                <a:srgbClr val="AEABAB"/>
              </a:solidFill>
            </c:spPr>
            <c:extLst>
              <c:ext xmlns:c16="http://schemas.microsoft.com/office/drawing/2014/chart" uri="{C3380CC4-5D6E-409C-BE32-E72D297353CC}">
                <c16:uniqueId val="{00000559-980B-4B2B-A6BA-FBAB5FE3CDBF}"/>
              </c:ext>
            </c:extLst>
          </c:dPt>
          <c:dPt>
            <c:idx val="684"/>
            <c:invertIfNegative val="1"/>
            <c:bubble3D val="0"/>
            <c:spPr>
              <a:solidFill>
                <a:srgbClr val="AEABAB"/>
              </a:solidFill>
            </c:spPr>
            <c:extLst>
              <c:ext xmlns:c16="http://schemas.microsoft.com/office/drawing/2014/chart" uri="{C3380CC4-5D6E-409C-BE32-E72D297353CC}">
                <c16:uniqueId val="{0000055B-980B-4B2B-A6BA-FBAB5FE3CDBF}"/>
              </c:ext>
            </c:extLst>
          </c:dPt>
          <c:dPt>
            <c:idx val="685"/>
            <c:invertIfNegative val="1"/>
            <c:bubble3D val="0"/>
            <c:spPr>
              <a:solidFill>
                <a:srgbClr val="AEABAB"/>
              </a:solidFill>
            </c:spPr>
            <c:extLst>
              <c:ext xmlns:c16="http://schemas.microsoft.com/office/drawing/2014/chart" uri="{C3380CC4-5D6E-409C-BE32-E72D297353CC}">
                <c16:uniqueId val="{0000055D-980B-4B2B-A6BA-FBAB5FE3CDBF}"/>
              </c:ext>
            </c:extLst>
          </c:dPt>
          <c:dPt>
            <c:idx val="686"/>
            <c:invertIfNegative val="1"/>
            <c:bubble3D val="0"/>
            <c:spPr>
              <a:solidFill>
                <a:srgbClr val="AEABAB"/>
              </a:solidFill>
            </c:spPr>
            <c:extLst>
              <c:ext xmlns:c16="http://schemas.microsoft.com/office/drawing/2014/chart" uri="{C3380CC4-5D6E-409C-BE32-E72D297353CC}">
                <c16:uniqueId val="{0000055F-980B-4B2B-A6BA-FBAB5FE3CDBF}"/>
              </c:ext>
            </c:extLst>
          </c:dPt>
          <c:dPt>
            <c:idx val="687"/>
            <c:invertIfNegative val="1"/>
            <c:bubble3D val="0"/>
            <c:spPr>
              <a:solidFill>
                <a:srgbClr val="AEABAB"/>
              </a:solidFill>
            </c:spPr>
            <c:extLst>
              <c:ext xmlns:c16="http://schemas.microsoft.com/office/drawing/2014/chart" uri="{C3380CC4-5D6E-409C-BE32-E72D297353CC}">
                <c16:uniqueId val="{00000561-980B-4B2B-A6BA-FBAB5FE3CDBF}"/>
              </c:ext>
            </c:extLst>
          </c:dPt>
          <c:dPt>
            <c:idx val="688"/>
            <c:invertIfNegative val="1"/>
            <c:bubble3D val="0"/>
            <c:spPr>
              <a:solidFill>
                <a:srgbClr val="AEABAB"/>
              </a:solidFill>
            </c:spPr>
            <c:extLst>
              <c:ext xmlns:c16="http://schemas.microsoft.com/office/drawing/2014/chart" uri="{C3380CC4-5D6E-409C-BE32-E72D297353CC}">
                <c16:uniqueId val="{00000563-980B-4B2B-A6BA-FBAB5FE3CDBF}"/>
              </c:ext>
            </c:extLst>
          </c:dPt>
          <c:dPt>
            <c:idx val="689"/>
            <c:invertIfNegative val="1"/>
            <c:bubble3D val="0"/>
            <c:spPr>
              <a:solidFill>
                <a:srgbClr val="AEABAB"/>
              </a:solidFill>
            </c:spPr>
            <c:extLst>
              <c:ext xmlns:c16="http://schemas.microsoft.com/office/drawing/2014/chart" uri="{C3380CC4-5D6E-409C-BE32-E72D297353CC}">
                <c16:uniqueId val="{00000565-980B-4B2B-A6BA-FBAB5FE3CDBF}"/>
              </c:ext>
            </c:extLst>
          </c:dPt>
          <c:dPt>
            <c:idx val="690"/>
            <c:invertIfNegative val="1"/>
            <c:bubble3D val="0"/>
            <c:spPr>
              <a:solidFill>
                <a:srgbClr val="AEABAB"/>
              </a:solidFill>
            </c:spPr>
            <c:extLst>
              <c:ext xmlns:c16="http://schemas.microsoft.com/office/drawing/2014/chart" uri="{C3380CC4-5D6E-409C-BE32-E72D297353CC}">
                <c16:uniqueId val="{00000567-980B-4B2B-A6BA-FBAB5FE3CDBF}"/>
              </c:ext>
            </c:extLst>
          </c:dPt>
          <c:dPt>
            <c:idx val="691"/>
            <c:invertIfNegative val="1"/>
            <c:bubble3D val="0"/>
            <c:spPr>
              <a:solidFill>
                <a:srgbClr val="AEABAB"/>
              </a:solidFill>
            </c:spPr>
            <c:extLst>
              <c:ext xmlns:c16="http://schemas.microsoft.com/office/drawing/2014/chart" uri="{C3380CC4-5D6E-409C-BE32-E72D297353CC}">
                <c16:uniqueId val="{00000569-980B-4B2B-A6BA-FBAB5FE3CDBF}"/>
              </c:ext>
            </c:extLst>
          </c:dPt>
          <c:dPt>
            <c:idx val="692"/>
            <c:invertIfNegative val="1"/>
            <c:bubble3D val="0"/>
            <c:spPr>
              <a:solidFill>
                <a:srgbClr val="AEABAB"/>
              </a:solidFill>
            </c:spPr>
            <c:extLst>
              <c:ext xmlns:c16="http://schemas.microsoft.com/office/drawing/2014/chart" uri="{C3380CC4-5D6E-409C-BE32-E72D297353CC}">
                <c16:uniqueId val="{0000056B-980B-4B2B-A6BA-FBAB5FE3CDBF}"/>
              </c:ext>
            </c:extLst>
          </c:dPt>
          <c:dPt>
            <c:idx val="693"/>
            <c:invertIfNegative val="1"/>
            <c:bubble3D val="0"/>
            <c:spPr>
              <a:solidFill>
                <a:srgbClr val="AEABAB"/>
              </a:solidFill>
            </c:spPr>
            <c:extLst>
              <c:ext xmlns:c16="http://schemas.microsoft.com/office/drawing/2014/chart" uri="{C3380CC4-5D6E-409C-BE32-E72D297353CC}">
                <c16:uniqueId val="{0000056D-980B-4B2B-A6BA-FBAB5FE3CDBF}"/>
              </c:ext>
            </c:extLst>
          </c:dPt>
          <c:dPt>
            <c:idx val="694"/>
            <c:invertIfNegative val="1"/>
            <c:bubble3D val="0"/>
            <c:spPr>
              <a:solidFill>
                <a:srgbClr val="AEABAB"/>
              </a:solidFill>
            </c:spPr>
            <c:extLst>
              <c:ext xmlns:c16="http://schemas.microsoft.com/office/drawing/2014/chart" uri="{C3380CC4-5D6E-409C-BE32-E72D297353CC}">
                <c16:uniqueId val="{0000056F-980B-4B2B-A6BA-FBAB5FE3CDBF}"/>
              </c:ext>
            </c:extLst>
          </c:dPt>
          <c:dPt>
            <c:idx val="695"/>
            <c:invertIfNegative val="1"/>
            <c:bubble3D val="0"/>
            <c:spPr>
              <a:solidFill>
                <a:srgbClr val="AEABAB"/>
              </a:solidFill>
            </c:spPr>
            <c:extLst>
              <c:ext xmlns:c16="http://schemas.microsoft.com/office/drawing/2014/chart" uri="{C3380CC4-5D6E-409C-BE32-E72D297353CC}">
                <c16:uniqueId val="{00000571-980B-4B2B-A6BA-FBAB5FE3CDBF}"/>
              </c:ext>
            </c:extLst>
          </c:dPt>
          <c:dPt>
            <c:idx val="696"/>
            <c:invertIfNegative val="1"/>
            <c:bubble3D val="0"/>
            <c:spPr>
              <a:solidFill>
                <a:srgbClr val="AEABAB"/>
              </a:solidFill>
            </c:spPr>
            <c:extLst>
              <c:ext xmlns:c16="http://schemas.microsoft.com/office/drawing/2014/chart" uri="{C3380CC4-5D6E-409C-BE32-E72D297353CC}">
                <c16:uniqueId val="{00000573-980B-4B2B-A6BA-FBAB5FE3CDBF}"/>
              </c:ext>
            </c:extLst>
          </c:dPt>
          <c:dPt>
            <c:idx val="697"/>
            <c:invertIfNegative val="1"/>
            <c:bubble3D val="0"/>
            <c:spPr>
              <a:solidFill>
                <a:srgbClr val="AEABAB"/>
              </a:solidFill>
            </c:spPr>
            <c:extLst>
              <c:ext xmlns:c16="http://schemas.microsoft.com/office/drawing/2014/chart" uri="{C3380CC4-5D6E-409C-BE32-E72D297353CC}">
                <c16:uniqueId val="{00000575-980B-4B2B-A6BA-FBAB5FE3CDBF}"/>
              </c:ext>
            </c:extLst>
          </c:dPt>
          <c:dPt>
            <c:idx val="698"/>
            <c:invertIfNegative val="1"/>
            <c:bubble3D val="0"/>
            <c:spPr>
              <a:solidFill>
                <a:srgbClr val="AEABAB"/>
              </a:solidFill>
            </c:spPr>
            <c:extLst>
              <c:ext xmlns:c16="http://schemas.microsoft.com/office/drawing/2014/chart" uri="{C3380CC4-5D6E-409C-BE32-E72D297353CC}">
                <c16:uniqueId val="{00000577-980B-4B2B-A6BA-FBAB5FE3CDBF}"/>
              </c:ext>
            </c:extLst>
          </c:dPt>
          <c:dPt>
            <c:idx val="699"/>
            <c:invertIfNegative val="1"/>
            <c:bubble3D val="0"/>
            <c:spPr>
              <a:solidFill>
                <a:srgbClr val="AEABAB"/>
              </a:solidFill>
            </c:spPr>
            <c:extLst>
              <c:ext xmlns:c16="http://schemas.microsoft.com/office/drawing/2014/chart" uri="{C3380CC4-5D6E-409C-BE32-E72D297353CC}">
                <c16:uniqueId val="{00000579-980B-4B2B-A6BA-FBAB5FE3CDBF}"/>
              </c:ext>
            </c:extLst>
          </c:dPt>
          <c:dPt>
            <c:idx val="700"/>
            <c:invertIfNegative val="1"/>
            <c:bubble3D val="0"/>
            <c:spPr>
              <a:solidFill>
                <a:srgbClr val="AEABAB"/>
              </a:solidFill>
            </c:spPr>
            <c:extLst>
              <c:ext xmlns:c16="http://schemas.microsoft.com/office/drawing/2014/chart" uri="{C3380CC4-5D6E-409C-BE32-E72D297353CC}">
                <c16:uniqueId val="{0000057B-980B-4B2B-A6BA-FBAB5FE3CDBF}"/>
              </c:ext>
            </c:extLst>
          </c:dPt>
          <c:dPt>
            <c:idx val="701"/>
            <c:invertIfNegative val="1"/>
            <c:bubble3D val="0"/>
            <c:spPr>
              <a:solidFill>
                <a:srgbClr val="AEABAB"/>
              </a:solidFill>
            </c:spPr>
            <c:extLst>
              <c:ext xmlns:c16="http://schemas.microsoft.com/office/drawing/2014/chart" uri="{C3380CC4-5D6E-409C-BE32-E72D297353CC}">
                <c16:uniqueId val="{0000057D-980B-4B2B-A6BA-FBAB5FE3CDBF}"/>
              </c:ext>
            </c:extLst>
          </c:dPt>
          <c:dPt>
            <c:idx val="702"/>
            <c:invertIfNegative val="1"/>
            <c:bubble3D val="0"/>
            <c:spPr>
              <a:solidFill>
                <a:srgbClr val="AEABAB"/>
              </a:solidFill>
            </c:spPr>
            <c:extLst>
              <c:ext xmlns:c16="http://schemas.microsoft.com/office/drawing/2014/chart" uri="{C3380CC4-5D6E-409C-BE32-E72D297353CC}">
                <c16:uniqueId val="{0000057F-980B-4B2B-A6BA-FBAB5FE3CDBF}"/>
              </c:ext>
            </c:extLst>
          </c:dPt>
          <c:dPt>
            <c:idx val="703"/>
            <c:invertIfNegative val="1"/>
            <c:bubble3D val="0"/>
            <c:spPr>
              <a:solidFill>
                <a:srgbClr val="AEABAB"/>
              </a:solidFill>
            </c:spPr>
            <c:extLst>
              <c:ext xmlns:c16="http://schemas.microsoft.com/office/drawing/2014/chart" uri="{C3380CC4-5D6E-409C-BE32-E72D297353CC}">
                <c16:uniqueId val="{00000581-980B-4B2B-A6BA-FBAB5FE3CDBF}"/>
              </c:ext>
            </c:extLst>
          </c:dPt>
          <c:dPt>
            <c:idx val="704"/>
            <c:invertIfNegative val="1"/>
            <c:bubble3D val="0"/>
            <c:spPr>
              <a:solidFill>
                <a:srgbClr val="AEABAB"/>
              </a:solidFill>
            </c:spPr>
            <c:extLst>
              <c:ext xmlns:c16="http://schemas.microsoft.com/office/drawing/2014/chart" uri="{C3380CC4-5D6E-409C-BE32-E72D297353CC}">
                <c16:uniqueId val="{00000583-980B-4B2B-A6BA-FBAB5FE3CDBF}"/>
              </c:ext>
            </c:extLst>
          </c:dPt>
          <c:dPt>
            <c:idx val="705"/>
            <c:invertIfNegative val="1"/>
            <c:bubble3D val="0"/>
            <c:spPr>
              <a:solidFill>
                <a:srgbClr val="AEABAB"/>
              </a:solidFill>
            </c:spPr>
            <c:extLst>
              <c:ext xmlns:c16="http://schemas.microsoft.com/office/drawing/2014/chart" uri="{C3380CC4-5D6E-409C-BE32-E72D297353CC}">
                <c16:uniqueId val="{00000585-980B-4B2B-A6BA-FBAB5FE3CDBF}"/>
              </c:ext>
            </c:extLst>
          </c:dPt>
          <c:dPt>
            <c:idx val="706"/>
            <c:invertIfNegative val="1"/>
            <c:bubble3D val="0"/>
            <c:spPr>
              <a:solidFill>
                <a:srgbClr val="AEABAB"/>
              </a:solidFill>
            </c:spPr>
            <c:extLst>
              <c:ext xmlns:c16="http://schemas.microsoft.com/office/drawing/2014/chart" uri="{C3380CC4-5D6E-409C-BE32-E72D297353CC}">
                <c16:uniqueId val="{00000587-980B-4B2B-A6BA-FBAB5FE3CDBF}"/>
              </c:ext>
            </c:extLst>
          </c:dPt>
          <c:dPt>
            <c:idx val="707"/>
            <c:invertIfNegative val="1"/>
            <c:bubble3D val="0"/>
            <c:spPr>
              <a:solidFill>
                <a:srgbClr val="AEABAB"/>
              </a:solidFill>
            </c:spPr>
            <c:extLst>
              <c:ext xmlns:c16="http://schemas.microsoft.com/office/drawing/2014/chart" uri="{C3380CC4-5D6E-409C-BE32-E72D297353CC}">
                <c16:uniqueId val="{00000589-980B-4B2B-A6BA-FBAB5FE3CDBF}"/>
              </c:ext>
            </c:extLst>
          </c:dPt>
          <c:dPt>
            <c:idx val="708"/>
            <c:invertIfNegative val="1"/>
            <c:bubble3D val="0"/>
            <c:spPr>
              <a:solidFill>
                <a:srgbClr val="AEABAB"/>
              </a:solidFill>
            </c:spPr>
            <c:extLst>
              <c:ext xmlns:c16="http://schemas.microsoft.com/office/drawing/2014/chart" uri="{C3380CC4-5D6E-409C-BE32-E72D297353CC}">
                <c16:uniqueId val="{0000058B-980B-4B2B-A6BA-FBAB5FE3CDBF}"/>
              </c:ext>
            </c:extLst>
          </c:dPt>
          <c:dPt>
            <c:idx val="709"/>
            <c:invertIfNegative val="1"/>
            <c:bubble3D val="0"/>
            <c:spPr>
              <a:solidFill>
                <a:srgbClr val="AEABAB"/>
              </a:solidFill>
            </c:spPr>
            <c:extLst>
              <c:ext xmlns:c16="http://schemas.microsoft.com/office/drawing/2014/chart" uri="{C3380CC4-5D6E-409C-BE32-E72D297353CC}">
                <c16:uniqueId val="{0000058D-980B-4B2B-A6BA-FBAB5FE3CDBF}"/>
              </c:ext>
            </c:extLst>
          </c:dPt>
          <c:dPt>
            <c:idx val="710"/>
            <c:invertIfNegative val="1"/>
            <c:bubble3D val="0"/>
            <c:spPr>
              <a:solidFill>
                <a:srgbClr val="AEABAB"/>
              </a:solidFill>
            </c:spPr>
            <c:extLst>
              <c:ext xmlns:c16="http://schemas.microsoft.com/office/drawing/2014/chart" uri="{C3380CC4-5D6E-409C-BE32-E72D297353CC}">
                <c16:uniqueId val="{0000058F-980B-4B2B-A6BA-FBAB5FE3CDBF}"/>
              </c:ext>
            </c:extLst>
          </c:dPt>
          <c:dPt>
            <c:idx val="711"/>
            <c:invertIfNegative val="1"/>
            <c:bubble3D val="0"/>
            <c:spPr>
              <a:solidFill>
                <a:srgbClr val="AEABAB"/>
              </a:solidFill>
            </c:spPr>
            <c:extLst>
              <c:ext xmlns:c16="http://schemas.microsoft.com/office/drawing/2014/chart" uri="{C3380CC4-5D6E-409C-BE32-E72D297353CC}">
                <c16:uniqueId val="{00000591-980B-4B2B-A6BA-FBAB5FE3CDBF}"/>
              </c:ext>
            </c:extLst>
          </c:dPt>
          <c:dPt>
            <c:idx val="712"/>
            <c:invertIfNegative val="1"/>
            <c:bubble3D val="0"/>
            <c:spPr>
              <a:solidFill>
                <a:srgbClr val="AEABAB"/>
              </a:solidFill>
            </c:spPr>
            <c:extLst>
              <c:ext xmlns:c16="http://schemas.microsoft.com/office/drawing/2014/chart" uri="{C3380CC4-5D6E-409C-BE32-E72D297353CC}">
                <c16:uniqueId val="{00000593-980B-4B2B-A6BA-FBAB5FE3CDBF}"/>
              </c:ext>
            </c:extLst>
          </c:dPt>
          <c:dPt>
            <c:idx val="713"/>
            <c:invertIfNegative val="1"/>
            <c:bubble3D val="0"/>
            <c:spPr>
              <a:solidFill>
                <a:srgbClr val="AEABAB"/>
              </a:solidFill>
            </c:spPr>
            <c:extLst>
              <c:ext xmlns:c16="http://schemas.microsoft.com/office/drawing/2014/chart" uri="{C3380CC4-5D6E-409C-BE32-E72D297353CC}">
                <c16:uniqueId val="{00000595-980B-4B2B-A6BA-FBAB5FE3CDBF}"/>
              </c:ext>
            </c:extLst>
          </c:dPt>
          <c:dPt>
            <c:idx val="714"/>
            <c:invertIfNegative val="1"/>
            <c:bubble3D val="0"/>
            <c:spPr>
              <a:solidFill>
                <a:srgbClr val="AEABAB"/>
              </a:solidFill>
            </c:spPr>
            <c:extLst>
              <c:ext xmlns:c16="http://schemas.microsoft.com/office/drawing/2014/chart" uri="{C3380CC4-5D6E-409C-BE32-E72D297353CC}">
                <c16:uniqueId val="{00000597-980B-4B2B-A6BA-FBAB5FE3CDBF}"/>
              </c:ext>
            </c:extLst>
          </c:dPt>
          <c:dPt>
            <c:idx val="715"/>
            <c:invertIfNegative val="1"/>
            <c:bubble3D val="0"/>
            <c:spPr>
              <a:solidFill>
                <a:srgbClr val="AEABAB"/>
              </a:solidFill>
            </c:spPr>
            <c:extLst>
              <c:ext xmlns:c16="http://schemas.microsoft.com/office/drawing/2014/chart" uri="{C3380CC4-5D6E-409C-BE32-E72D297353CC}">
                <c16:uniqueId val="{00000599-980B-4B2B-A6BA-FBAB5FE3CDBF}"/>
              </c:ext>
            </c:extLst>
          </c:dPt>
          <c:dPt>
            <c:idx val="716"/>
            <c:invertIfNegative val="1"/>
            <c:bubble3D val="0"/>
            <c:spPr>
              <a:solidFill>
                <a:srgbClr val="AEABAB"/>
              </a:solidFill>
            </c:spPr>
            <c:extLst>
              <c:ext xmlns:c16="http://schemas.microsoft.com/office/drawing/2014/chart" uri="{C3380CC4-5D6E-409C-BE32-E72D297353CC}">
                <c16:uniqueId val="{0000059B-980B-4B2B-A6BA-FBAB5FE3CDBF}"/>
              </c:ext>
            </c:extLst>
          </c:dPt>
          <c:dPt>
            <c:idx val="717"/>
            <c:invertIfNegative val="1"/>
            <c:bubble3D val="0"/>
            <c:spPr>
              <a:solidFill>
                <a:srgbClr val="AEABAB"/>
              </a:solidFill>
            </c:spPr>
            <c:extLst>
              <c:ext xmlns:c16="http://schemas.microsoft.com/office/drawing/2014/chart" uri="{C3380CC4-5D6E-409C-BE32-E72D297353CC}">
                <c16:uniqueId val="{0000059D-980B-4B2B-A6BA-FBAB5FE3CDBF}"/>
              </c:ext>
            </c:extLst>
          </c:dPt>
          <c:dPt>
            <c:idx val="718"/>
            <c:invertIfNegative val="1"/>
            <c:bubble3D val="0"/>
            <c:spPr>
              <a:solidFill>
                <a:srgbClr val="AEABAB"/>
              </a:solidFill>
            </c:spPr>
            <c:extLst>
              <c:ext xmlns:c16="http://schemas.microsoft.com/office/drawing/2014/chart" uri="{C3380CC4-5D6E-409C-BE32-E72D297353CC}">
                <c16:uniqueId val="{0000059F-980B-4B2B-A6BA-FBAB5FE3CDBF}"/>
              </c:ext>
            </c:extLst>
          </c:dPt>
          <c:dPt>
            <c:idx val="719"/>
            <c:invertIfNegative val="1"/>
            <c:bubble3D val="0"/>
            <c:spPr>
              <a:solidFill>
                <a:srgbClr val="AEABAB"/>
              </a:solidFill>
            </c:spPr>
            <c:extLst>
              <c:ext xmlns:c16="http://schemas.microsoft.com/office/drawing/2014/chart" uri="{C3380CC4-5D6E-409C-BE32-E72D297353CC}">
                <c16:uniqueId val="{000005A1-980B-4B2B-A6BA-FBAB5FE3CDBF}"/>
              </c:ext>
            </c:extLst>
          </c:dPt>
          <c:dPt>
            <c:idx val="720"/>
            <c:invertIfNegative val="1"/>
            <c:bubble3D val="0"/>
            <c:spPr>
              <a:solidFill>
                <a:srgbClr val="AEABAB"/>
              </a:solidFill>
            </c:spPr>
            <c:extLst>
              <c:ext xmlns:c16="http://schemas.microsoft.com/office/drawing/2014/chart" uri="{C3380CC4-5D6E-409C-BE32-E72D297353CC}">
                <c16:uniqueId val="{000005A3-980B-4B2B-A6BA-FBAB5FE3CDBF}"/>
              </c:ext>
            </c:extLst>
          </c:dPt>
          <c:dPt>
            <c:idx val="721"/>
            <c:invertIfNegative val="1"/>
            <c:bubble3D val="0"/>
            <c:spPr>
              <a:solidFill>
                <a:srgbClr val="AEABAB"/>
              </a:solidFill>
            </c:spPr>
            <c:extLst>
              <c:ext xmlns:c16="http://schemas.microsoft.com/office/drawing/2014/chart" uri="{C3380CC4-5D6E-409C-BE32-E72D297353CC}">
                <c16:uniqueId val="{000005A5-980B-4B2B-A6BA-FBAB5FE3CDBF}"/>
              </c:ext>
            </c:extLst>
          </c:dPt>
          <c:dPt>
            <c:idx val="722"/>
            <c:invertIfNegative val="1"/>
            <c:bubble3D val="0"/>
            <c:spPr>
              <a:solidFill>
                <a:srgbClr val="AEABAB"/>
              </a:solidFill>
            </c:spPr>
            <c:extLst>
              <c:ext xmlns:c16="http://schemas.microsoft.com/office/drawing/2014/chart" uri="{C3380CC4-5D6E-409C-BE32-E72D297353CC}">
                <c16:uniqueId val="{000005A7-980B-4B2B-A6BA-FBAB5FE3CDBF}"/>
              </c:ext>
            </c:extLst>
          </c:dPt>
          <c:dPt>
            <c:idx val="723"/>
            <c:invertIfNegative val="1"/>
            <c:bubble3D val="0"/>
            <c:spPr>
              <a:solidFill>
                <a:srgbClr val="AEABAB"/>
              </a:solidFill>
            </c:spPr>
            <c:extLst>
              <c:ext xmlns:c16="http://schemas.microsoft.com/office/drawing/2014/chart" uri="{C3380CC4-5D6E-409C-BE32-E72D297353CC}">
                <c16:uniqueId val="{000005A9-980B-4B2B-A6BA-FBAB5FE3CDBF}"/>
              </c:ext>
            </c:extLst>
          </c:dPt>
          <c:dPt>
            <c:idx val="724"/>
            <c:invertIfNegative val="1"/>
            <c:bubble3D val="0"/>
            <c:spPr>
              <a:solidFill>
                <a:srgbClr val="AEABAB"/>
              </a:solidFill>
            </c:spPr>
            <c:extLst>
              <c:ext xmlns:c16="http://schemas.microsoft.com/office/drawing/2014/chart" uri="{C3380CC4-5D6E-409C-BE32-E72D297353CC}">
                <c16:uniqueId val="{000005AB-980B-4B2B-A6BA-FBAB5FE3CDBF}"/>
              </c:ext>
            </c:extLst>
          </c:dPt>
          <c:dPt>
            <c:idx val="725"/>
            <c:invertIfNegative val="1"/>
            <c:bubble3D val="0"/>
            <c:spPr>
              <a:solidFill>
                <a:srgbClr val="AEABAB"/>
              </a:solidFill>
            </c:spPr>
            <c:extLst>
              <c:ext xmlns:c16="http://schemas.microsoft.com/office/drawing/2014/chart" uri="{C3380CC4-5D6E-409C-BE32-E72D297353CC}">
                <c16:uniqueId val="{000005AD-980B-4B2B-A6BA-FBAB5FE3CDBF}"/>
              </c:ext>
            </c:extLst>
          </c:dPt>
          <c:dPt>
            <c:idx val="726"/>
            <c:invertIfNegative val="1"/>
            <c:bubble3D val="0"/>
            <c:spPr>
              <a:solidFill>
                <a:srgbClr val="AEABAB"/>
              </a:solidFill>
            </c:spPr>
            <c:extLst>
              <c:ext xmlns:c16="http://schemas.microsoft.com/office/drawing/2014/chart" uri="{C3380CC4-5D6E-409C-BE32-E72D297353CC}">
                <c16:uniqueId val="{000005AF-980B-4B2B-A6BA-FBAB5FE3CDBF}"/>
              </c:ext>
            </c:extLst>
          </c:dPt>
          <c:dPt>
            <c:idx val="727"/>
            <c:invertIfNegative val="1"/>
            <c:bubble3D val="0"/>
            <c:spPr>
              <a:solidFill>
                <a:srgbClr val="AEABAB"/>
              </a:solidFill>
            </c:spPr>
            <c:extLst>
              <c:ext xmlns:c16="http://schemas.microsoft.com/office/drawing/2014/chart" uri="{C3380CC4-5D6E-409C-BE32-E72D297353CC}">
                <c16:uniqueId val="{000005B1-980B-4B2B-A6BA-FBAB5FE3CDBF}"/>
              </c:ext>
            </c:extLst>
          </c:dPt>
          <c:dPt>
            <c:idx val="728"/>
            <c:invertIfNegative val="1"/>
            <c:bubble3D val="0"/>
            <c:spPr>
              <a:solidFill>
                <a:srgbClr val="AEABAB"/>
              </a:solidFill>
            </c:spPr>
            <c:extLst>
              <c:ext xmlns:c16="http://schemas.microsoft.com/office/drawing/2014/chart" uri="{C3380CC4-5D6E-409C-BE32-E72D297353CC}">
                <c16:uniqueId val="{000005B3-980B-4B2B-A6BA-FBAB5FE3CDBF}"/>
              </c:ext>
            </c:extLst>
          </c:dPt>
          <c:dPt>
            <c:idx val="729"/>
            <c:invertIfNegative val="1"/>
            <c:bubble3D val="0"/>
            <c:spPr>
              <a:solidFill>
                <a:srgbClr val="AEABAB"/>
              </a:solidFill>
            </c:spPr>
            <c:extLst>
              <c:ext xmlns:c16="http://schemas.microsoft.com/office/drawing/2014/chart" uri="{C3380CC4-5D6E-409C-BE32-E72D297353CC}">
                <c16:uniqueId val="{000005B5-980B-4B2B-A6BA-FBAB5FE3CDBF}"/>
              </c:ext>
            </c:extLst>
          </c:dPt>
          <c:dPt>
            <c:idx val="730"/>
            <c:invertIfNegative val="1"/>
            <c:bubble3D val="0"/>
            <c:spPr>
              <a:solidFill>
                <a:srgbClr val="AEABAB"/>
              </a:solidFill>
            </c:spPr>
            <c:extLst>
              <c:ext xmlns:c16="http://schemas.microsoft.com/office/drawing/2014/chart" uri="{C3380CC4-5D6E-409C-BE32-E72D297353CC}">
                <c16:uniqueId val="{000005B7-980B-4B2B-A6BA-FBAB5FE3CDBF}"/>
              </c:ext>
            </c:extLst>
          </c:dPt>
          <c:dPt>
            <c:idx val="731"/>
            <c:invertIfNegative val="1"/>
            <c:bubble3D val="0"/>
            <c:spPr>
              <a:solidFill>
                <a:srgbClr val="AEABAB"/>
              </a:solidFill>
            </c:spPr>
            <c:extLst>
              <c:ext xmlns:c16="http://schemas.microsoft.com/office/drawing/2014/chart" uri="{C3380CC4-5D6E-409C-BE32-E72D297353CC}">
                <c16:uniqueId val="{000005B9-980B-4B2B-A6BA-FBAB5FE3CDBF}"/>
              </c:ext>
            </c:extLst>
          </c:dPt>
          <c:dPt>
            <c:idx val="732"/>
            <c:invertIfNegative val="1"/>
            <c:bubble3D val="0"/>
            <c:spPr>
              <a:solidFill>
                <a:srgbClr val="AEABAB"/>
              </a:solidFill>
            </c:spPr>
            <c:extLst>
              <c:ext xmlns:c16="http://schemas.microsoft.com/office/drawing/2014/chart" uri="{C3380CC4-5D6E-409C-BE32-E72D297353CC}">
                <c16:uniqueId val="{000005BB-980B-4B2B-A6BA-FBAB5FE3CDBF}"/>
              </c:ext>
            </c:extLst>
          </c:dPt>
          <c:dPt>
            <c:idx val="733"/>
            <c:invertIfNegative val="1"/>
            <c:bubble3D val="0"/>
            <c:spPr>
              <a:solidFill>
                <a:srgbClr val="AEABAB"/>
              </a:solidFill>
            </c:spPr>
            <c:extLst>
              <c:ext xmlns:c16="http://schemas.microsoft.com/office/drawing/2014/chart" uri="{C3380CC4-5D6E-409C-BE32-E72D297353CC}">
                <c16:uniqueId val="{000005BD-980B-4B2B-A6BA-FBAB5FE3CDBF}"/>
              </c:ext>
            </c:extLst>
          </c:dPt>
          <c:dPt>
            <c:idx val="734"/>
            <c:invertIfNegative val="1"/>
            <c:bubble3D val="0"/>
            <c:spPr>
              <a:solidFill>
                <a:srgbClr val="AEABAB"/>
              </a:solidFill>
            </c:spPr>
            <c:extLst>
              <c:ext xmlns:c16="http://schemas.microsoft.com/office/drawing/2014/chart" uri="{C3380CC4-5D6E-409C-BE32-E72D297353CC}">
                <c16:uniqueId val="{000005BF-980B-4B2B-A6BA-FBAB5FE3CDBF}"/>
              </c:ext>
            </c:extLst>
          </c:dPt>
          <c:dPt>
            <c:idx val="735"/>
            <c:invertIfNegative val="1"/>
            <c:bubble3D val="0"/>
            <c:spPr>
              <a:solidFill>
                <a:srgbClr val="AEABAB"/>
              </a:solidFill>
            </c:spPr>
            <c:extLst>
              <c:ext xmlns:c16="http://schemas.microsoft.com/office/drawing/2014/chart" uri="{C3380CC4-5D6E-409C-BE32-E72D297353CC}">
                <c16:uniqueId val="{000005C1-980B-4B2B-A6BA-FBAB5FE3CDBF}"/>
              </c:ext>
            </c:extLst>
          </c:dPt>
          <c:dPt>
            <c:idx val="736"/>
            <c:invertIfNegative val="1"/>
            <c:bubble3D val="0"/>
            <c:spPr>
              <a:solidFill>
                <a:srgbClr val="AEABAB"/>
              </a:solidFill>
            </c:spPr>
            <c:extLst>
              <c:ext xmlns:c16="http://schemas.microsoft.com/office/drawing/2014/chart" uri="{C3380CC4-5D6E-409C-BE32-E72D297353CC}">
                <c16:uniqueId val="{000005C3-980B-4B2B-A6BA-FBAB5FE3CDBF}"/>
              </c:ext>
            </c:extLst>
          </c:dPt>
          <c:dPt>
            <c:idx val="737"/>
            <c:invertIfNegative val="1"/>
            <c:bubble3D val="0"/>
            <c:spPr>
              <a:solidFill>
                <a:srgbClr val="AEABAB"/>
              </a:solidFill>
            </c:spPr>
            <c:extLst>
              <c:ext xmlns:c16="http://schemas.microsoft.com/office/drawing/2014/chart" uri="{C3380CC4-5D6E-409C-BE32-E72D297353CC}">
                <c16:uniqueId val="{000005C5-980B-4B2B-A6BA-FBAB5FE3CDBF}"/>
              </c:ext>
            </c:extLst>
          </c:dPt>
          <c:dPt>
            <c:idx val="738"/>
            <c:invertIfNegative val="1"/>
            <c:bubble3D val="0"/>
            <c:spPr>
              <a:solidFill>
                <a:srgbClr val="AEABAB"/>
              </a:solidFill>
            </c:spPr>
            <c:extLst>
              <c:ext xmlns:c16="http://schemas.microsoft.com/office/drawing/2014/chart" uri="{C3380CC4-5D6E-409C-BE32-E72D297353CC}">
                <c16:uniqueId val="{000005C7-980B-4B2B-A6BA-FBAB5FE3CDBF}"/>
              </c:ext>
            </c:extLst>
          </c:dPt>
          <c:dPt>
            <c:idx val="739"/>
            <c:invertIfNegative val="1"/>
            <c:bubble3D val="0"/>
            <c:spPr>
              <a:solidFill>
                <a:srgbClr val="AEABAB"/>
              </a:solidFill>
            </c:spPr>
            <c:extLst>
              <c:ext xmlns:c16="http://schemas.microsoft.com/office/drawing/2014/chart" uri="{C3380CC4-5D6E-409C-BE32-E72D297353CC}">
                <c16:uniqueId val="{000005C9-980B-4B2B-A6BA-FBAB5FE3CDBF}"/>
              </c:ext>
            </c:extLst>
          </c:dPt>
          <c:dPt>
            <c:idx val="740"/>
            <c:invertIfNegative val="1"/>
            <c:bubble3D val="0"/>
            <c:spPr>
              <a:solidFill>
                <a:srgbClr val="AEABAB"/>
              </a:solidFill>
            </c:spPr>
            <c:extLst>
              <c:ext xmlns:c16="http://schemas.microsoft.com/office/drawing/2014/chart" uri="{C3380CC4-5D6E-409C-BE32-E72D297353CC}">
                <c16:uniqueId val="{000005CB-980B-4B2B-A6BA-FBAB5FE3CDBF}"/>
              </c:ext>
            </c:extLst>
          </c:dPt>
          <c:dPt>
            <c:idx val="741"/>
            <c:invertIfNegative val="1"/>
            <c:bubble3D val="0"/>
            <c:spPr>
              <a:solidFill>
                <a:srgbClr val="AEABAB"/>
              </a:solidFill>
            </c:spPr>
            <c:extLst>
              <c:ext xmlns:c16="http://schemas.microsoft.com/office/drawing/2014/chart" uri="{C3380CC4-5D6E-409C-BE32-E72D297353CC}">
                <c16:uniqueId val="{000005CD-980B-4B2B-A6BA-FBAB5FE3CDBF}"/>
              </c:ext>
            </c:extLst>
          </c:dPt>
          <c:dPt>
            <c:idx val="742"/>
            <c:invertIfNegative val="1"/>
            <c:bubble3D val="0"/>
            <c:spPr>
              <a:solidFill>
                <a:srgbClr val="AEABAB"/>
              </a:solidFill>
            </c:spPr>
            <c:extLst>
              <c:ext xmlns:c16="http://schemas.microsoft.com/office/drawing/2014/chart" uri="{C3380CC4-5D6E-409C-BE32-E72D297353CC}">
                <c16:uniqueId val="{000005CF-980B-4B2B-A6BA-FBAB5FE3CDBF}"/>
              </c:ext>
            </c:extLst>
          </c:dPt>
          <c:dPt>
            <c:idx val="743"/>
            <c:invertIfNegative val="1"/>
            <c:bubble3D val="0"/>
            <c:spPr>
              <a:solidFill>
                <a:srgbClr val="AEABAB"/>
              </a:solidFill>
            </c:spPr>
            <c:extLst>
              <c:ext xmlns:c16="http://schemas.microsoft.com/office/drawing/2014/chart" uri="{C3380CC4-5D6E-409C-BE32-E72D297353CC}">
                <c16:uniqueId val="{000005D1-980B-4B2B-A6BA-FBAB5FE3CDBF}"/>
              </c:ext>
            </c:extLst>
          </c:dPt>
          <c:dPt>
            <c:idx val="744"/>
            <c:invertIfNegative val="1"/>
            <c:bubble3D val="0"/>
            <c:spPr>
              <a:solidFill>
                <a:srgbClr val="AEABAB"/>
              </a:solidFill>
            </c:spPr>
            <c:extLst>
              <c:ext xmlns:c16="http://schemas.microsoft.com/office/drawing/2014/chart" uri="{C3380CC4-5D6E-409C-BE32-E72D297353CC}">
                <c16:uniqueId val="{000005D3-980B-4B2B-A6BA-FBAB5FE3CDBF}"/>
              </c:ext>
            </c:extLst>
          </c:dPt>
          <c:dPt>
            <c:idx val="745"/>
            <c:invertIfNegative val="1"/>
            <c:bubble3D val="0"/>
            <c:spPr>
              <a:solidFill>
                <a:srgbClr val="AEABAB"/>
              </a:solidFill>
            </c:spPr>
            <c:extLst>
              <c:ext xmlns:c16="http://schemas.microsoft.com/office/drawing/2014/chart" uri="{C3380CC4-5D6E-409C-BE32-E72D297353CC}">
                <c16:uniqueId val="{000005D5-980B-4B2B-A6BA-FBAB5FE3CDBF}"/>
              </c:ext>
            </c:extLst>
          </c:dPt>
          <c:dPt>
            <c:idx val="746"/>
            <c:invertIfNegative val="1"/>
            <c:bubble3D val="0"/>
            <c:spPr>
              <a:solidFill>
                <a:srgbClr val="AEABAB"/>
              </a:solidFill>
            </c:spPr>
            <c:extLst>
              <c:ext xmlns:c16="http://schemas.microsoft.com/office/drawing/2014/chart" uri="{C3380CC4-5D6E-409C-BE32-E72D297353CC}">
                <c16:uniqueId val="{000005D7-980B-4B2B-A6BA-FBAB5FE3CDBF}"/>
              </c:ext>
            </c:extLst>
          </c:dPt>
          <c:dPt>
            <c:idx val="747"/>
            <c:invertIfNegative val="1"/>
            <c:bubble3D val="0"/>
            <c:spPr>
              <a:solidFill>
                <a:srgbClr val="AEABAB"/>
              </a:solidFill>
            </c:spPr>
            <c:extLst>
              <c:ext xmlns:c16="http://schemas.microsoft.com/office/drawing/2014/chart" uri="{C3380CC4-5D6E-409C-BE32-E72D297353CC}">
                <c16:uniqueId val="{000005D9-980B-4B2B-A6BA-FBAB5FE3CDBF}"/>
              </c:ext>
            </c:extLst>
          </c:dPt>
          <c:dPt>
            <c:idx val="748"/>
            <c:invertIfNegative val="1"/>
            <c:bubble3D val="0"/>
            <c:spPr>
              <a:solidFill>
                <a:srgbClr val="AEABAB"/>
              </a:solidFill>
            </c:spPr>
            <c:extLst>
              <c:ext xmlns:c16="http://schemas.microsoft.com/office/drawing/2014/chart" uri="{C3380CC4-5D6E-409C-BE32-E72D297353CC}">
                <c16:uniqueId val="{000005DB-980B-4B2B-A6BA-FBAB5FE3CDBF}"/>
              </c:ext>
            </c:extLst>
          </c:dPt>
          <c:dPt>
            <c:idx val="749"/>
            <c:invertIfNegative val="1"/>
            <c:bubble3D val="0"/>
            <c:spPr>
              <a:solidFill>
                <a:srgbClr val="AEABAB"/>
              </a:solidFill>
            </c:spPr>
            <c:extLst>
              <c:ext xmlns:c16="http://schemas.microsoft.com/office/drawing/2014/chart" uri="{C3380CC4-5D6E-409C-BE32-E72D297353CC}">
                <c16:uniqueId val="{000005DD-980B-4B2B-A6BA-FBAB5FE3CDBF}"/>
              </c:ext>
            </c:extLst>
          </c:dPt>
          <c:dPt>
            <c:idx val="750"/>
            <c:invertIfNegative val="1"/>
            <c:bubble3D val="0"/>
            <c:spPr>
              <a:solidFill>
                <a:srgbClr val="AEABAB"/>
              </a:solidFill>
            </c:spPr>
            <c:extLst>
              <c:ext xmlns:c16="http://schemas.microsoft.com/office/drawing/2014/chart" uri="{C3380CC4-5D6E-409C-BE32-E72D297353CC}">
                <c16:uniqueId val="{000005DF-980B-4B2B-A6BA-FBAB5FE3CDBF}"/>
              </c:ext>
            </c:extLst>
          </c:dPt>
          <c:dPt>
            <c:idx val="751"/>
            <c:invertIfNegative val="1"/>
            <c:bubble3D val="0"/>
            <c:spPr>
              <a:solidFill>
                <a:srgbClr val="AEABAB"/>
              </a:solidFill>
            </c:spPr>
            <c:extLst>
              <c:ext xmlns:c16="http://schemas.microsoft.com/office/drawing/2014/chart" uri="{C3380CC4-5D6E-409C-BE32-E72D297353CC}">
                <c16:uniqueId val="{000005E1-980B-4B2B-A6BA-FBAB5FE3CDBF}"/>
              </c:ext>
            </c:extLst>
          </c:dPt>
          <c:dPt>
            <c:idx val="752"/>
            <c:invertIfNegative val="1"/>
            <c:bubble3D val="0"/>
            <c:spPr>
              <a:solidFill>
                <a:srgbClr val="AEABAB"/>
              </a:solidFill>
            </c:spPr>
            <c:extLst>
              <c:ext xmlns:c16="http://schemas.microsoft.com/office/drawing/2014/chart" uri="{C3380CC4-5D6E-409C-BE32-E72D297353CC}">
                <c16:uniqueId val="{000005E3-980B-4B2B-A6BA-FBAB5FE3CDBF}"/>
              </c:ext>
            </c:extLst>
          </c:dPt>
          <c:dPt>
            <c:idx val="753"/>
            <c:invertIfNegative val="1"/>
            <c:bubble3D val="0"/>
            <c:spPr>
              <a:solidFill>
                <a:srgbClr val="AEABAB"/>
              </a:solidFill>
            </c:spPr>
            <c:extLst>
              <c:ext xmlns:c16="http://schemas.microsoft.com/office/drawing/2014/chart" uri="{C3380CC4-5D6E-409C-BE32-E72D297353CC}">
                <c16:uniqueId val="{000005E5-980B-4B2B-A6BA-FBAB5FE3CDBF}"/>
              </c:ext>
            </c:extLst>
          </c:dPt>
          <c:dPt>
            <c:idx val="754"/>
            <c:invertIfNegative val="1"/>
            <c:bubble3D val="0"/>
            <c:spPr>
              <a:solidFill>
                <a:srgbClr val="AEABAB"/>
              </a:solidFill>
            </c:spPr>
            <c:extLst>
              <c:ext xmlns:c16="http://schemas.microsoft.com/office/drawing/2014/chart" uri="{C3380CC4-5D6E-409C-BE32-E72D297353CC}">
                <c16:uniqueId val="{000005E7-980B-4B2B-A6BA-FBAB5FE3CDBF}"/>
              </c:ext>
            </c:extLst>
          </c:dPt>
          <c:dPt>
            <c:idx val="755"/>
            <c:invertIfNegative val="1"/>
            <c:bubble3D val="0"/>
            <c:spPr>
              <a:solidFill>
                <a:srgbClr val="AEABAB"/>
              </a:solidFill>
            </c:spPr>
            <c:extLst>
              <c:ext xmlns:c16="http://schemas.microsoft.com/office/drawing/2014/chart" uri="{C3380CC4-5D6E-409C-BE32-E72D297353CC}">
                <c16:uniqueId val="{000005E9-980B-4B2B-A6BA-FBAB5FE3CDBF}"/>
              </c:ext>
            </c:extLst>
          </c:dPt>
          <c:dPt>
            <c:idx val="756"/>
            <c:invertIfNegative val="1"/>
            <c:bubble3D val="0"/>
            <c:spPr>
              <a:solidFill>
                <a:srgbClr val="AEABAB"/>
              </a:solidFill>
            </c:spPr>
            <c:extLst>
              <c:ext xmlns:c16="http://schemas.microsoft.com/office/drawing/2014/chart" uri="{C3380CC4-5D6E-409C-BE32-E72D297353CC}">
                <c16:uniqueId val="{000005EB-980B-4B2B-A6BA-FBAB5FE3CDBF}"/>
              </c:ext>
            </c:extLst>
          </c:dPt>
          <c:dPt>
            <c:idx val="757"/>
            <c:invertIfNegative val="1"/>
            <c:bubble3D val="0"/>
            <c:spPr>
              <a:solidFill>
                <a:srgbClr val="AEABAB"/>
              </a:solidFill>
            </c:spPr>
            <c:extLst>
              <c:ext xmlns:c16="http://schemas.microsoft.com/office/drawing/2014/chart" uri="{C3380CC4-5D6E-409C-BE32-E72D297353CC}">
                <c16:uniqueId val="{000005ED-980B-4B2B-A6BA-FBAB5FE3CDBF}"/>
              </c:ext>
            </c:extLst>
          </c:dPt>
          <c:dPt>
            <c:idx val="758"/>
            <c:invertIfNegative val="1"/>
            <c:bubble3D val="0"/>
            <c:spPr>
              <a:solidFill>
                <a:srgbClr val="AEABAB"/>
              </a:solidFill>
            </c:spPr>
            <c:extLst>
              <c:ext xmlns:c16="http://schemas.microsoft.com/office/drawing/2014/chart" uri="{C3380CC4-5D6E-409C-BE32-E72D297353CC}">
                <c16:uniqueId val="{000005EF-980B-4B2B-A6BA-FBAB5FE3CDBF}"/>
              </c:ext>
            </c:extLst>
          </c:dPt>
          <c:dPt>
            <c:idx val="759"/>
            <c:invertIfNegative val="1"/>
            <c:bubble3D val="0"/>
            <c:spPr>
              <a:solidFill>
                <a:srgbClr val="AEABAB"/>
              </a:solidFill>
            </c:spPr>
            <c:extLst>
              <c:ext xmlns:c16="http://schemas.microsoft.com/office/drawing/2014/chart" uri="{C3380CC4-5D6E-409C-BE32-E72D297353CC}">
                <c16:uniqueId val="{000005F1-980B-4B2B-A6BA-FBAB5FE3CDBF}"/>
              </c:ext>
            </c:extLst>
          </c:dPt>
          <c:dPt>
            <c:idx val="760"/>
            <c:invertIfNegative val="1"/>
            <c:bubble3D val="0"/>
            <c:spPr>
              <a:solidFill>
                <a:srgbClr val="AEABAB"/>
              </a:solidFill>
            </c:spPr>
            <c:extLst>
              <c:ext xmlns:c16="http://schemas.microsoft.com/office/drawing/2014/chart" uri="{C3380CC4-5D6E-409C-BE32-E72D297353CC}">
                <c16:uniqueId val="{000005F3-980B-4B2B-A6BA-FBAB5FE3CDBF}"/>
              </c:ext>
            </c:extLst>
          </c:dPt>
          <c:dPt>
            <c:idx val="761"/>
            <c:invertIfNegative val="1"/>
            <c:bubble3D val="0"/>
            <c:spPr>
              <a:solidFill>
                <a:srgbClr val="AEABAB"/>
              </a:solidFill>
            </c:spPr>
            <c:extLst>
              <c:ext xmlns:c16="http://schemas.microsoft.com/office/drawing/2014/chart" uri="{C3380CC4-5D6E-409C-BE32-E72D297353CC}">
                <c16:uniqueId val="{000005F5-980B-4B2B-A6BA-FBAB5FE3CDBF}"/>
              </c:ext>
            </c:extLst>
          </c:dPt>
          <c:dPt>
            <c:idx val="762"/>
            <c:invertIfNegative val="1"/>
            <c:bubble3D val="0"/>
            <c:spPr>
              <a:solidFill>
                <a:srgbClr val="AEABAB"/>
              </a:solidFill>
            </c:spPr>
            <c:extLst>
              <c:ext xmlns:c16="http://schemas.microsoft.com/office/drawing/2014/chart" uri="{C3380CC4-5D6E-409C-BE32-E72D297353CC}">
                <c16:uniqueId val="{000005F7-980B-4B2B-A6BA-FBAB5FE3CDBF}"/>
              </c:ext>
            </c:extLst>
          </c:dPt>
          <c:dPt>
            <c:idx val="763"/>
            <c:invertIfNegative val="1"/>
            <c:bubble3D val="0"/>
            <c:spPr>
              <a:solidFill>
                <a:srgbClr val="AEABAB"/>
              </a:solidFill>
            </c:spPr>
            <c:extLst>
              <c:ext xmlns:c16="http://schemas.microsoft.com/office/drawing/2014/chart" uri="{C3380CC4-5D6E-409C-BE32-E72D297353CC}">
                <c16:uniqueId val="{000005F9-980B-4B2B-A6BA-FBAB5FE3CDBF}"/>
              </c:ext>
            </c:extLst>
          </c:dPt>
          <c:dPt>
            <c:idx val="764"/>
            <c:invertIfNegative val="1"/>
            <c:bubble3D val="0"/>
            <c:spPr>
              <a:solidFill>
                <a:srgbClr val="AEABAB"/>
              </a:solidFill>
            </c:spPr>
            <c:extLst>
              <c:ext xmlns:c16="http://schemas.microsoft.com/office/drawing/2014/chart" uri="{C3380CC4-5D6E-409C-BE32-E72D297353CC}">
                <c16:uniqueId val="{000005FB-980B-4B2B-A6BA-FBAB5FE3CDBF}"/>
              </c:ext>
            </c:extLst>
          </c:dPt>
          <c:dPt>
            <c:idx val="765"/>
            <c:invertIfNegative val="1"/>
            <c:bubble3D val="0"/>
            <c:spPr>
              <a:solidFill>
                <a:srgbClr val="AEABAB"/>
              </a:solidFill>
            </c:spPr>
            <c:extLst>
              <c:ext xmlns:c16="http://schemas.microsoft.com/office/drawing/2014/chart" uri="{C3380CC4-5D6E-409C-BE32-E72D297353CC}">
                <c16:uniqueId val="{000005FD-980B-4B2B-A6BA-FBAB5FE3CDBF}"/>
              </c:ext>
            </c:extLst>
          </c:dPt>
          <c:dPt>
            <c:idx val="766"/>
            <c:invertIfNegative val="1"/>
            <c:bubble3D val="0"/>
            <c:spPr>
              <a:solidFill>
                <a:srgbClr val="AEABAB"/>
              </a:solidFill>
            </c:spPr>
            <c:extLst>
              <c:ext xmlns:c16="http://schemas.microsoft.com/office/drawing/2014/chart" uri="{C3380CC4-5D6E-409C-BE32-E72D297353CC}">
                <c16:uniqueId val="{000005FF-980B-4B2B-A6BA-FBAB5FE3CDBF}"/>
              </c:ext>
            </c:extLst>
          </c:dPt>
          <c:dPt>
            <c:idx val="767"/>
            <c:invertIfNegative val="1"/>
            <c:bubble3D val="0"/>
            <c:spPr>
              <a:solidFill>
                <a:srgbClr val="AEABAB"/>
              </a:solidFill>
            </c:spPr>
            <c:extLst>
              <c:ext xmlns:c16="http://schemas.microsoft.com/office/drawing/2014/chart" uri="{C3380CC4-5D6E-409C-BE32-E72D297353CC}">
                <c16:uniqueId val="{00000601-980B-4B2B-A6BA-FBAB5FE3CDBF}"/>
              </c:ext>
            </c:extLst>
          </c:dPt>
          <c:dPt>
            <c:idx val="768"/>
            <c:invertIfNegative val="1"/>
            <c:bubble3D val="0"/>
            <c:spPr>
              <a:solidFill>
                <a:srgbClr val="AEABAB"/>
              </a:solidFill>
            </c:spPr>
            <c:extLst>
              <c:ext xmlns:c16="http://schemas.microsoft.com/office/drawing/2014/chart" uri="{C3380CC4-5D6E-409C-BE32-E72D297353CC}">
                <c16:uniqueId val="{00000603-980B-4B2B-A6BA-FBAB5FE3CDBF}"/>
              </c:ext>
            </c:extLst>
          </c:dPt>
          <c:dPt>
            <c:idx val="769"/>
            <c:invertIfNegative val="1"/>
            <c:bubble3D val="0"/>
            <c:spPr>
              <a:solidFill>
                <a:srgbClr val="AEABAB"/>
              </a:solidFill>
            </c:spPr>
            <c:extLst>
              <c:ext xmlns:c16="http://schemas.microsoft.com/office/drawing/2014/chart" uri="{C3380CC4-5D6E-409C-BE32-E72D297353CC}">
                <c16:uniqueId val="{00000605-980B-4B2B-A6BA-FBAB5FE3CDBF}"/>
              </c:ext>
            </c:extLst>
          </c:dPt>
          <c:dPt>
            <c:idx val="770"/>
            <c:invertIfNegative val="1"/>
            <c:bubble3D val="0"/>
            <c:spPr>
              <a:solidFill>
                <a:srgbClr val="AEABAB"/>
              </a:solidFill>
            </c:spPr>
            <c:extLst>
              <c:ext xmlns:c16="http://schemas.microsoft.com/office/drawing/2014/chart" uri="{C3380CC4-5D6E-409C-BE32-E72D297353CC}">
                <c16:uniqueId val="{00000607-980B-4B2B-A6BA-FBAB5FE3CDBF}"/>
              </c:ext>
            </c:extLst>
          </c:dPt>
          <c:dPt>
            <c:idx val="771"/>
            <c:invertIfNegative val="1"/>
            <c:bubble3D val="0"/>
            <c:spPr>
              <a:solidFill>
                <a:srgbClr val="AEABAB"/>
              </a:solidFill>
            </c:spPr>
            <c:extLst>
              <c:ext xmlns:c16="http://schemas.microsoft.com/office/drawing/2014/chart" uri="{C3380CC4-5D6E-409C-BE32-E72D297353CC}">
                <c16:uniqueId val="{00000609-980B-4B2B-A6BA-FBAB5FE3CDBF}"/>
              </c:ext>
            </c:extLst>
          </c:dPt>
          <c:dPt>
            <c:idx val="772"/>
            <c:invertIfNegative val="1"/>
            <c:bubble3D val="0"/>
            <c:spPr>
              <a:solidFill>
                <a:srgbClr val="AEABAB"/>
              </a:solidFill>
            </c:spPr>
            <c:extLst>
              <c:ext xmlns:c16="http://schemas.microsoft.com/office/drawing/2014/chart" uri="{C3380CC4-5D6E-409C-BE32-E72D297353CC}">
                <c16:uniqueId val="{0000060B-980B-4B2B-A6BA-FBAB5FE3CDBF}"/>
              </c:ext>
            </c:extLst>
          </c:dPt>
          <c:dPt>
            <c:idx val="773"/>
            <c:invertIfNegative val="1"/>
            <c:bubble3D val="0"/>
            <c:spPr>
              <a:solidFill>
                <a:srgbClr val="AEABAB"/>
              </a:solidFill>
            </c:spPr>
            <c:extLst>
              <c:ext xmlns:c16="http://schemas.microsoft.com/office/drawing/2014/chart" uri="{C3380CC4-5D6E-409C-BE32-E72D297353CC}">
                <c16:uniqueId val="{0000060D-980B-4B2B-A6BA-FBAB5FE3CDBF}"/>
              </c:ext>
            </c:extLst>
          </c:dPt>
          <c:dPt>
            <c:idx val="774"/>
            <c:invertIfNegative val="1"/>
            <c:bubble3D val="0"/>
            <c:spPr>
              <a:solidFill>
                <a:srgbClr val="AEABAB"/>
              </a:solidFill>
            </c:spPr>
            <c:extLst>
              <c:ext xmlns:c16="http://schemas.microsoft.com/office/drawing/2014/chart" uri="{C3380CC4-5D6E-409C-BE32-E72D297353CC}">
                <c16:uniqueId val="{0000060F-980B-4B2B-A6BA-FBAB5FE3CDBF}"/>
              </c:ext>
            </c:extLst>
          </c:dPt>
          <c:dPt>
            <c:idx val="775"/>
            <c:invertIfNegative val="1"/>
            <c:bubble3D val="0"/>
            <c:spPr>
              <a:solidFill>
                <a:srgbClr val="AEABAB"/>
              </a:solidFill>
            </c:spPr>
            <c:extLst>
              <c:ext xmlns:c16="http://schemas.microsoft.com/office/drawing/2014/chart" uri="{C3380CC4-5D6E-409C-BE32-E72D297353CC}">
                <c16:uniqueId val="{00000611-980B-4B2B-A6BA-FBAB5FE3CDBF}"/>
              </c:ext>
            </c:extLst>
          </c:dPt>
          <c:dPt>
            <c:idx val="776"/>
            <c:invertIfNegative val="1"/>
            <c:bubble3D val="0"/>
            <c:spPr>
              <a:solidFill>
                <a:srgbClr val="AEABAB"/>
              </a:solidFill>
            </c:spPr>
            <c:extLst>
              <c:ext xmlns:c16="http://schemas.microsoft.com/office/drawing/2014/chart" uri="{C3380CC4-5D6E-409C-BE32-E72D297353CC}">
                <c16:uniqueId val="{00000613-980B-4B2B-A6BA-FBAB5FE3CDBF}"/>
              </c:ext>
            </c:extLst>
          </c:dPt>
          <c:dPt>
            <c:idx val="777"/>
            <c:invertIfNegative val="1"/>
            <c:bubble3D val="0"/>
            <c:spPr>
              <a:solidFill>
                <a:srgbClr val="AEABAB"/>
              </a:solidFill>
            </c:spPr>
            <c:extLst>
              <c:ext xmlns:c16="http://schemas.microsoft.com/office/drawing/2014/chart" uri="{C3380CC4-5D6E-409C-BE32-E72D297353CC}">
                <c16:uniqueId val="{00000615-980B-4B2B-A6BA-FBAB5FE3CDBF}"/>
              </c:ext>
            </c:extLst>
          </c:dPt>
          <c:dPt>
            <c:idx val="778"/>
            <c:invertIfNegative val="1"/>
            <c:bubble3D val="0"/>
            <c:spPr>
              <a:solidFill>
                <a:srgbClr val="AEABAB"/>
              </a:solidFill>
            </c:spPr>
            <c:extLst>
              <c:ext xmlns:c16="http://schemas.microsoft.com/office/drawing/2014/chart" uri="{C3380CC4-5D6E-409C-BE32-E72D297353CC}">
                <c16:uniqueId val="{00000617-980B-4B2B-A6BA-FBAB5FE3CDBF}"/>
              </c:ext>
            </c:extLst>
          </c:dPt>
          <c:dPt>
            <c:idx val="779"/>
            <c:invertIfNegative val="1"/>
            <c:bubble3D val="0"/>
            <c:spPr>
              <a:solidFill>
                <a:srgbClr val="AEABAB"/>
              </a:solidFill>
            </c:spPr>
            <c:extLst>
              <c:ext xmlns:c16="http://schemas.microsoft.com/office/drawing/2014/chart" uri="{C3380CC4-5D6E-409C-BE32-E72D297353CC}">
                <c16:uniqueId val="{00000619-980B-4B2B-A6BA-FBAB5FE3CDBF}"/>
              </c:ext>
            </c:extLst>
          </c:dPt>
          <c:dPt>
            <c:idx val="780"/>
            <c:invertIfNegative val="1"/>
            <c:bubble3D val="0"/>
            <c:spPr>
              <a:solidFill>
                <a:srgbClr val="AEABAB"/>
              </a:solidFill>
            </c:spPr>
            <c:extLst>
              <c:ext xmlns:c16="http://schemas.microsoft.com/office/drawing/2014/chart" uri="{C3380CC4-5D6E-409C-BE32-E72D297353CC}">
                <c16:uniqueId val="{0000061B-980B-4B2B-A6BA-FBAB5FE3CDBF}"/>
              </c:ext>
            </c:extLst>
          </c:dPt>
          <c:dPt>
            <c:idx val="781"/>
            <c:invertIfNegative val="1"/>
            <c:bubble3D val="0"/>
            <c:spPr>
              <a:solidFill>
                <a:srgbClr val="AEABAB"/>
              </a:solidFill>
            </c:spPr>
            <c:extLst>
              <c:ext xmlns:c16="http://schemas.microsoft.com/office/drawing/2014/chart" uri="{C3380CC4-5D6E-409C-BE32-E72D297353CC}">
                <c16:uniqueId val="{0000061D-980B-4B2B-A6BA-FBAB5FE3CDBF}"/>
              </c:ext>
            </c:extLst>
          </c:dPt>
          <c:dPt>
            <c:idx val="782"/>
            <c:invertIfNegative val="1"/>
            <c:bubble3D val="0"/>
            <c:spPr>
              <a:solidFill>
                <a:srgbClr val="AEABAB"/>
              </a:solidFill>
            </c:spPr>
            <c:extLst>
              <c:ext xmlns:c16="http://schemas.microsoft.com/office/drawing/2014/chart" uri="{C3380CC4-5D6E-409C-BE32-E72D297353CC}">
                <c16:uniqueId val="{0000061F-980B-4B2B-A6BA-FBAB5FE3CDBF}"/>
              </c:ext>
            </c:extLst>
          </c:dPt>
          <c:dPt>
            <c:idx val="783"/>
            <c:invertIfNegative val="1"/>
            <c:bubble3D val="0"/>
            <c:spPr>
              <a:solidFill>
                <a:srgbClr val="AEABAB"/>
              </a:solidFill>
            </c:spPr>
            <c:extLst>
              <c:ext xmlns:c16="http://schemas.microsoft.com/office/drawing/2014/chart" uri="{C3380CC4-5D6E-409C-BE32-E72D297353CC}">
                <c16:uniqueId val="{00000621-980B-4B2B-A6BA-FBAB5FE3CDBF}"/>
              </c:ext>
            </c:extLst>
          </c:dPt>
          <c:dPt>
            <c:idx val="784"/>
            <c:invertIfNegative val="1"/>
            <c:bubble3D val="0"/>
            <c:spPr>
              <a:solidFill>
                <a:srgbClr val="AEABAB"/>
              </a:solidFill>
            </c:spPr>
            <c:extLst>
              <c:ext xmlns:c16="http://schemas.microsoft.com/office/drawing/2014/chart" uri="{C3380CC4-5D6E-409C-BE32-E72D297353CC}">
                <c16:uniqueId val="{00000623-980B-4B2B-A6BA-FBAB5FE3CDBF}"/>
              </c:ext>
            </c:extLst>
          </c:dPt>
          <c:dPt>
            <c:idx val="785"/>
            <c:invertIfNegative val="1"/>
            <c:bubble3D val="0"/>
            <c:spPr>
              <a:solidFill>
                <a:srgbClr val="AEABAB"/>
              </a:solidFill>
            </c:spPr>
            <c:extLst>
              <c:ext xmlns:c16="http://schemas.microsoft.com/office/drawing/2014/chart" uri="{C3380CC4-5D6E-409C-BE32-E72D297353CC}">
                <c16:uniqueId val="{00000625-980B-4B2B-A6BA-FBAB5FE3CDBF}"/>
              </c:ext>
            </c:extLst>
          </c:dPt>
          <c:dPt>
            <c:idx val="786"/>
            <c:invertIfNegative val="1"/>
            <c:bubble3D val="0"/>
            <c:spPr>
              <a:solidFill>
                <a:srgbClr val="AEABAB"/>
              </a:solidFill>
            </c:spPr>
            <c:extLst>
              <c:ext xmlns:c16="http://schemas.microsoft.com/office/drawing/2014/chart" uri="{C3380CC4-5D6E-409C-BE32-E72D297353CC}">
                <c16:uniqueId val="{00000627-980B-4B2B-A6BA-FBAB5FE3CDBF}"/>
              </c:ext>
            </c:extLst>
          </c:dPt>
          <c:dPt>
            <c:idx val="787"/>
            <c:invertIfNegative val="1"/>
            <c:bubble3D val="0"/>
            <c:spPr>
              <a:solidFill>
                <a:srgbClr val="AEABAB"/>
              </a:solidFill>
            </c:spPr>
            <c:extLst>
              <c:ext xmlns:c16="http://schemas.microsoft.com/office/drawing/2014/chart" uri="{C3380CC4-5D6E-409C-BE32-E72D297353CC}">
                <c16:uniqueId val="{00000629-980B-4B2B-A6BA-FBAB5FE3CDBF}"/>
              </c:ext>
            </c:extLst>
          </c:dPt>
          <c:dPt>
            <c:idx val="788"/>
            <c:invertIfNegative val="1"/>
            <c:bubble3D val="0"/>
            <c:spPr>
              <a:solidFill>
                <a:srgbClr val="AEABAB"/>
              </a:solidFill>
            </c:spPr>
            <c:extLst>
              <c:ext xmlns:c16="http://schemas.microsoft.com/office/drawing/2014/chart" uri="{C3380CC4-5D6E-409C-BE32-E72D297353CC}">
                <c16:uniqueId val="{0000062B-980B-4B2B-A6BA-FBAB5FE3CDBF}"/>
              </c:ext>
            </c:extLst>
          </c:dPt>
          <c:dPt>
            <c:idx val="789"/>
            <c:invertIfNegative val="1"/>
            <c:bubble3D val="0"/>
            <c:spPr>
              <a:solidFill>
                <a:srgbClr val="AEABAB"/>
              </a:solidFill>
            </c:spPr>
            <c:extLst>
              <c:ext xmlns:c16="http://schemas.microsoft.com/office/drawing/2014/chart" uri="{C3380CC4-5D6E-409C-BE32-E72D297353CC}">
                <c16:uniqueId val="{0000062D-980B-4B2B-A6BA-FBAB5FE3CDBF}"/>
              </c:ext>
            </c:extLst>
          </c:dPt>
          <c:dPt>
            <c:idx val="790"/>
            <c:invertIfNegative val="1"/>
            <c:bubble3D val="0"/>
            <c:spPr>
              <a:solidFill>
                <a:srgbClr val="AEABAB"/>
              </a:solidFill>
            </c:spPr>
            <c:extLst>
              <c:ext xmlns:c16="http://schemas.microsoft.com/office/drawing/2014/chart" uri="{C3380CC4-5D6E-409C-BE32-E72D297353CC}">
                <c16:uniqueId val="{0000062F-980B-4B2B-A6BA-FBAB5FE3CDBF}"/>
              </c:ext>
            </c:extLst>
          </c:dPt>
          <c:dPt>
            <c:idx val="791"/>
            <c:invertIfNegative val="1"/>
            <c:bubble3D val="0"/>
            <c:spPr>
              <a:solidFill>
                <a:srgbClr val="AEABAB"/>
              </a:solidFill>
            </c:spPr>
            <c:extLst>
              <c:ext xmlns:c16="http://schemas.microsoft.com/office/drawing/2014/chart" uri="{C3380CC4-5D6E-409C-BE32-E72D297353CC}">
                <c16:uniqueId val="{00000631-980B-4B2B-A6BA-FBAB5FE3CDBF}"/>
              </c:ext>
            </c:extLst>
          </c:dPt>
          <c:dPt>
            <c:idx val="792"/>
            <c:invertIfNegative val="1"/>
            <c:bubble3D val="0"/>
            <c:spPr>
              <a:solidFill>
                <a:srgbClr val="AEABAB"/>
              </a:solidFill>
            </c:spPr>
            <c:extLst>
              <c:ext xmlns:c16="http://schemas.microsoft.com/office/drawing/2014/chart" uri="{C3380CC4-5D6E-409C-BE32-E72D297353CC}">
                <c16:uniqueId val="{00000633-980B-4B2B-A6BA-FBAB5FE3CDBF}"/>
              </c:ext>
            </c:extLst>
          </c:dPt>
          <c:dPt>
            <c:idx val="793"/>
            <c:invertIfNegative val="1"/>
            <c:bubble3D val="0"/>
            <c:spPr>
              <a:solidFill>
                <a:srgbClr val="AEABAB"/>
              </a:solidFill>
            </c:spPr>
            <c:extLst>
              <c:ext xmlns:c16="http://schemas.microsoft.com/office/drawing/2014/chart" uri="{C3380CC4-5D6E-409C-BE32-E72D297353CC}">
                <c16:uniqueId val="{00000635-980B-4B2B-A6BA-FBAB5FE3CDBF}"/>
              </c:ext>
            </c:extLst>
          </c:dPt>
          <c:dPt>
            <c:idx val="794"/>
            <c:invertIfNegative val="1"/>
            <c:bubble3D val="0"/>
            <c:spPr>
              <a:solidFill>
                <a:srgbClr val="AEABAB"/>
              </a:solidFill>
            </c:spPr>
            <c:extLst>
              <c:ext xmlns:c16="http://schemas.microsoft.com/office/drawing/2014/chart" uri="{C3380CC4-5D6E-409C-BE32-E72D297353CC}">
                <c16:uniqueId val="{00000637-980B-4B2B-A6BA-FBAB5FE3CDBF}"/>
              </c:ext>
            </c:extLst>
          </c:dPt>
          <c:dPt>
            <c:idx val="795"/>
            <c:invertIfNegative val="1"/>
            <c:bubble3D val="0"/>
            <c:spPr>
              <a:solidFill>
                <a:srgbClr val="AEABAB"/>
              </a:solidFill>
            </c:spPr>
            <c:extLst>
              <c:ext xmlns:c16="http://schemas.microsoft.com/office/drawing/2014/chart" uri="{C3380CC4-5D6E-409C-BE32-E72D297353CC}">
                <c16:uniqueId val="{00000639-980B-4B2B-A6BA-FBAB5FE3CDBF}"/>
              </c:ext>
            </c:extLst>
          </c:dPt>
          <c:dPt>
            <c:idx val="796"/>
            <c:invertIfNegative val="1"/>
            <c:bubble3D val="0"/>
            <c:spPr>
              <a:solidFill>
                <a:srgbClr val="AEABAB"/>
              </a:solidFill>
            </c:spPr>
            <c:extLst>
              <c:ext xmlns:c16="http://schemas.microsoft.com/office/drawing/2014/chart" uri="{C3380CC4-5D6E-409C-BE32-E72D297353CC}">
                <c16:uniqueId val="{0000063B-980B-4B2B-A6BA-FBAB5FE3CDBF}"/>
              </c:ext>
            </c:extLst>
          </c:dPt>
          <c:dPt>
            <c:idx val="797"/>
            <c:invertIfNegative val="1"/>
            <c:bubble3D val="0"/>
            <c:spPr>
              <a:solidFill>
                <a:srgbClr val="AEABAB"/>
              </a:solidFill>
            </c:spPr>
            <c:extLst>
              <c:ext xmlns:c16="http://schemas.microsoft.com/office/drawing/2014/chart" uri="{C3380CC4-5D6E-409C-BE32-E72D297353CC}">
                <c16:uniqueId val="{0000063D-980B-4B2B-A6BA-FBAB5FE3CDBF}"/>
              </c:ext>
            </c:extLst>
          </c:dPt>
          <c:dPt>
            <c:idx val="798"/>
            <c:invertIfNegative val="1"/>
            <c:bubble3D val="0"/>
            <c:spPr>
              <a:solidFill>
                <a:srgbClr val="AEABAB"/>
              </a:solidFill>
            </c:spPr>
            <c:extLst>
              <c:ext xmlns:c16="http://schemas.microsoft.com/office/drawing/2014/chart" uri="{C3380CC4-5D6E-409C-BE32-E72D297353CC}">
                <c16:uniqueId val="{0000063F-980B-4B2B-A6BA-FBAB5FE3CDBF}"/>
              </c:ext>
            </c:extLst>
          </c:dPt>
          <c:dPt>
            <c:idx val="799"/>
            <c:invertIfNegative val="1"/>
            <c:bubble3D val="0"/>
            <c:spPr>
              <a:solidFill>
                <a:srgbClr val="AEABAB"/>
              </a:solidFill>
            </c:spPr>
            <c:extLst>
              <c:ext xmlns:c16="http://schemas.microsoft.com/office/drawing/2014/chart" uri="{C3380CC4-5D6E-409C-BE32-E72D297353CC}">
                <c16:uniqueId val="{00000641-980B-4B2B-A6BA-FBAB5FE3CDBF}"/>
              </c:ext>
            </c:extLst>
          </c:dPt>
          <c:dPt>
            <c:idx val="800"/>
            <c:invertIfNegative val="1"/>
            <c:bubble3D val="0"/>
            <c:spPr>
              <a:solidFill>
                <a:srgbClr val="AEABAB"/>
              </a:solidFill>
            </c:spPr>
            <c:extLst>
              <c:ext xmlns:c16="http://schemas.microsoft.com/office/drawing/2014/chart" uri="{C3380CC4-5D6E-409C-BE32-E72D297353CC}">
                <c16:uniqueId val="{00000643-980B-4B2B-A6BA-FBAB5FE3CDBF}"/>
              </c:ext>
            </c:extLst>
          </c:dPt>
          <c:dPt>
            <c:idx val="801"/>
            <c:invertIfNegative val="1"/>
            <c:bubble3D val="0"/>
            <c:spPr>
              <a:solidFill>
                <a:srgbClr val="AEABAB"/>
              </a:solidFill>
            </c:spPr>
            <c:extLst>
              <c:ext xmlns:c16="http://schemas.microsoft.com/office/drawing/2014/chart" uri="{C3380CC4-5D6E-409C-BE32-E72D297353CC}">
                <c16:uniqueId val="{00000645-980B-4B2B-A6BA-FBAB5FE3CDBF}"/>
              </c:ext>
            </c:extLst>
          </c:dPt>
          <c:dPt>
            <c:idx val="802"/>
            <c:invertIfNegative val="1"/>
            <c:bubble3D val="0"/>
            <c:spPr>
              <a:solidFill>
                <a:srgbClr val="AEABAB"/>
              </a:solidFill>
            </c:spPr>
            <c:extLst>
              <c:ext xmlns:c16="http://schemas.microsoft.com/office/drawing/2014/chart" uri="{C3380CC4-5D6E-409C-BE32-E72D297353CC}">
                <c16:uniqueId val="{00000647-980B-4B2B-A6BA-FBAB5FE3CDBF}"/>
              </c:ext>
            </c:extLst>
          </c:dPt>
          <c:dPt>
            <c:idx val="803"/>
            <c:invertIfNegative val="1"/>
            <c:bubble3D val="0"/>
            <c:spPr>
              <a:solidFill>
                <a:srgbClr val="AEABAB"/>
              </a:solidFill>
            </c:spPr>
            <c:extLst>
              <c:ext xmlns:c16="http://schemas.microsoft.com/office/drawing/2014/chart" uri="{C3380CC4-5D6E-409C-BE32-E72D297353CC}">
                <c16:uniqueId val="{00000649-980B-4B2B-A6BA-FBAB5FE3CDBF}"/>
              </c:ext>
            </c:extLst>
          </c:dPt>
          <c:dPt>
            <c:idx val="804"/>
            <c:invertIfNegative val="1"/>
            <c:bubble3D val="0"/>
            <c:spPr>
              <a:solidFill>
                <a:srgbClr val="AEABAB"/>
              </a:solidFill>
            </c:spPr>
            <c:extLst>
              <c:ext xmlns:c16="http://schemas.microsoft.com/office/drawing/2014/chart" uri="{C3380CC4-5D6E-409C-BE32-E72D297353CC}">
                <c16:uniqueId val="{0000064B-980B-4B2B-A6BA-FBAB5FE3CDBF}"/>
              </c:ext>
            </c:extLst>
          </c:dPt>
          <c:dPt>
            <c:idx val="805"/>
            <c:invertIfNegative val="1"/>
            <c:bubble3D val="0"/>
            <c:spPr>
              <a:solidFill>
                <a:srgbClr val="AEABAB"/>
              </a:solidFill>
            </c:spPr>
            <c:extLst>
              <c:ext xmlns:c16="http://schemas.microsoft.com/office/drawing/2014/chart" uri="{C3380CC4-5D6E-409C-BE32-E72D297353CC}">
                <c16:uniqueId val="{0000064D-980B-4B2B-A6BA-FBAB5FE3CDBF}"/>
              </c:ext>
            </c:extLst>
          </c:dPt>
          <c:dPt>
            <c:idx val="806"/>
            <c:invertIfNegative val="1"/>
            <c:bubble3D val="0"/>
            <c:spPr>
              <a:solidFill>
                <a:srgbClr val="AEABAB"/>
              </a:solidFill>
            </c:spPr>
            <c:extLst>
              <c:ext xmlns:c16="http://schemas.microsoft.com/office/drawing/2014/chart" uri="{C3380CC4-5D6E-409C-BE32-E72D297353CC}">
                <c16:uniqueId val="{0000064F-980B-4B2B-A6BA-FBAB5FE3CDBF}"/>
              </c:ext>
            </c:extLst>
          </c:dPt>
          <c:dPt>
            <c:idx val="807"/>
            <c:invertIfNegative val="1"/>
            <c:bubble3D val="0"/>
            <c:spPr>
              <a:solidFill>
                <a:srgbClr val="AEABAB"/>
              </a:solidFill>
            </c:spPr>
            <c:extLst>
              <c:ext xmlns:c16="http://schemas.microsoft.com/office/drawing/2014/chart" uri="{C3380CC4-5D6E-409C-BE32-E72D297353CC}">
                <c16:uniqueId val="{00000651-980B-4B2B-A6BA-FBAB5FE3CDBF}"/>
              </c:ext>
            </c:extLst>
          </c:dPt>
          <c:dPt>
            <c:idx val="808"/>
            <c:invertIfNegative val="1"/>
            <c:bubble3D val="0"/>
            <c:spPr>
              <a:solidFill>
                <a:srgbClr val="AEABAB"/>
              </a:solidFill>
            </c:spPr>
            <c:extLst>
              <c:ext xmlns:c16="http://schemas.microsoft.com/office/drawing/2014/chart" uri="{C3380CC4-5D6E-409C-BE32-E72D297353CC}">
                <c16:uniqueId val="{00000653-980B-4B2B-A6BA-FBAB5FE3CDBF}"/>
              </c:ext>
            </c:extLst>
          </c:dPt>
          <c:dPt>
            <c:idx val="809"/>
            <c:invertIfNegative val="1"/>
            <c:bubble3D val="0"/>
            <c:spPr>
              <a:solidFill>
                <a:srgbClr val="AEABAB"/>
              </a:solidFill>
            </c:spPr>
            <c:extLst>
              <c:ext xmlns:c16="http://schemas.microsoft.com/office/drawing/2014/chart" uri="{C3380CC4-5D6E-409C-BE32-E72D297353CC}">
                <c16:uniqueId val="{00000655-980B-4B2B-A6BA-FBAB5FE3CDBF}"/>
              </c:ext>
            </c:extLst>
          </c:dPt>
          <c:dPt>
            <c:idx val="810"/>
            <c:invertIfNegative val="1"/>
            <c:bubble3D val="0"/>
            <c:spPr>
              <a:solidFill>
                <a:srgbClr val="AEABAB"/>
              </a:solidFill>
            </c:spPr>
            <c:extLst>
              <c:ext xmlns:c16="http://schemas.microsoft.com/office/drawing/2014/chart" uri="{C3380CC4-5D6E-409C-BE32-E72D297353CC}">
                <c16:uniqueId val="{00000657-980B-4B2B-A6BA-FBAB5FE3CDBF}"/>
              </c:ext>
            </c:extLst>
          </c:dPt>
          <c:dPt>
            <c:idx val="811"/>
            <c:invertIfNegative val="1"/>
            <c:bubble3D val="0"/>
            <c:spPr>
              <a:solidFill>
                <a:srgbClr val="AEABAB"/>
              </a:solidFill>
            </c:spPr>
            <c:extLst>
              <c:ext xmlns:c16="http://schemas.microsoft.com/office/drawing/2014/chart" uri="{C3380CC4-5D6E-409C-BE32-E72D297353CC}">
                <c16:uniqueId val="{00000659-980B-4B2B-A6BA-FBAB5FE3CDBF}"/>
              </c:ext>
            </c:extLst>
          </c:dPt>
          <c:dPt>
            <c:idx val="812"/>
            <c:invertIfNegative val="1"/>
            <c:bubble3D val="0"/>
            <c:spPr>
              <a:solidFill>
                <a:srgbClr val="AEABAB"/>
              </a:solidFill>
            </c:spPr>
            <c:extLst>
              <c:ext xmlns:c16="http://schemas.microsoft.com/office/drawing/2014/chart" uri="{C3380CC4-5D6E-409C-BE32-E72D297353CC}">
                <c16:uniqueId val="{0000065B-980B-4B2B-A6BA-FBAB5FE3CDBF}"/>
              </c:ext>
            </c:extLst>
          </c:dPt>
          <c:dPt>
            <c:idx val="813"/>
            <c:invertIfNegative val="1"/>
            <c:bubble3D val="0"/>
            <c:spPr>
              <a:solidFill>
                <a:srgbClr val="AEABAB"/>
              </a:solidFill>
            </c:spPr>
            <c:extLst>
              <c:ext xmlns:c16="http://schemas.microsoft.com/office/drawing/2014/chart" uri="{C3380CC4-5D6E-409C-BE32-E72D297353CC}">
                <c16:uniqueId val="{0000065D-980B-4B2B-A6BA-FBAB5FE3CDBF}"/>
              </c:ext>
            </c:extLst>
          </c:dPt>
          <c:dPt>
            <c:idx val="814"/>
            <c:invertIfNegative val="1"/>
            <c:bubble3D val="0"/>
            <c:spPr>
              <a:solidFill>
                <a:srgbClr val="AEABAB"/>
              </a:solidFill>
            </c:spPr>
            <c:extLst>
              <c:ext xmlns:c16="http://schemas.microsoft.com/office/drawing/2014/chart" uri="{C3380CC4-5D6E-409C-BE32-E72D297353CC}">
                <c16:uniqueId val="{0000065F-980B-4B2B-A6BA-FBAB5FE3CDBF}"/>
              </c:ext>
            </c:extLst>
          </c:dPt>
          <c:dPt>
            <c:idx val="815"/>
            <c:invertIfNegative val="1"/>
            <c:bubble3D val="0"/>
            <c:spPr>
              <a:solidFill>
                <a:srgbClr val="AEABAB"/>
              </a:solidFill>
            </c:spPr>
            <c:extLst>
              <c:ext xmlns:c16="http://schemas.microsoft.com/office/drawing/2014/chart" uri="{C3380CC4-5D6E-409C-BE32-E72D297353CC}">
                <c16:uniqueId val="{00000661-980B-4B2B-A6BA-FBAB5FE3CDBF}"/>
              </c:ext>
            </c:extLst>
          </c:dPt>
          <c:dPt>
            <c:idx val="816"/>
            <c:invertIfNegative val="1"/>
            <c:bubble3D val="0"/>
            <c:spPr>
              <a:solidFill>
                <a:srgbClr val="AEABAB"/>
              </a:solidFill>
            </c:spPr>
            <c:extLst>
              <c:ext xmlns:c16="http://schemas.microsoft.com/office/drawing/2014/chart" uri="{C3380CC4-5D6E-409C-BE32-E72D297353CC}">
                <c16:uniqueId val="{00000663-980B-4B2B-A6BA-FBAB5FE3CDBF}"/>
              </c:ext>
            </c:extLst>
          </c:dPt>
          <c:dPt>
            <c:idx val="817"/>
            <c:invertIfNegative val="1"/>
            <c:bubble3D val="0"/>
            <c:spPr>
              <a:solidFill>
                <a:srgbClr val="AEABAB"/>
              </a:solidFill>
            </c:spPr>
            <c:extLst>
              <c:ext xmlns:c16="http://schemas.microsoft.com/office/drawing/2014/chart" uri="{C3380CC4-5D6E-409C-BE32-E72D297353CC}">
                <c16:uniqueId val="{00000665-980B-4B2B-A6BA-FBAB5FE3CDBF}"/>
              </c:ext>
            </c:extLst>
          </c:dPt>
          <c:dPt>
            <c:idx val="818"/>
            <c:invertIfNegative val="1"/>
            <c:bubble3D val="0"/>
            <c:spPr>
              <a:solidFill>
                <a:srgbClr val="AEABAB"/>
              </a:solidFill>
            </c:spPr>
            <c:extLst>
              <c:ext xmlns:c16="http://schemas.microsoft.com/office/drawing/2014/chart" uri="{C3380CC4-5D6E-409C-BE32-E72D297353CC}">
                <c16:uniqueId val="{00000667-980B-4B2B-A6BA-FBAB5FE3CDBF}"/>
              </c:ext>
            </c:extLst>
          </c:dPt>
          <c:dPt>
            <c:idx val="819"/>
            <c:invertIfNegative val="1"/>
            <c:bubble3D val="0"/>
            <c:spPr>
              <a:solidFill>
                <a:srgbClr val="AEABAB"/>
              </a:solidFill>
            </c:spPr>
            <c:extLst>
              <c:ext xmlns:c16="http://schemas.microsoft.com/office/drawing/2014/chart" uri="{C3380CC4-5D6E-409C-BE32-E72D297353CC}">
                <c16:uniqueId val="{00000669-980B-4B2B-A6BA-FBAB5FE3CDBF}"/>
              </c:ext>
            </c:extLst>
          </c:dPt>
          <c:dPt>
            <c:idx val="820"/>
            <c:invertIfNegative val="1"/>
            <c:bubble3D val="0"/>
            <c:spPr>
              <a:solidFill>
                <a:srgbClr val="AEABAB"/>
              </a:solidFill>
            </c:spPr>
            <c:extLst>
              <c:ext xmlns:c16="http://schemas.microsoft.com/office/drawing/2014/chart" uri="{C3380CC4-5D6E-409C-BE32-E72D297353CC}">
                <c16:uniqueId val="{0000066B-980B-4B2B-A6BA-FBAB5FE3CDBF}"/>
              </c:ext>
            </c:extLst>
          </c:dPt>
          <c:dPt>
            <c:idx val="821"/>
            <c:invertIfNegative val="1"/>
            <c:bubble3D val="0"/>
            <c:spPr>
              <a:solidFill>
                <a:srgbClr val="AEABAB"/>
              </a:solidFill>
            </c:spPr>
            <c:extLst>
              <c:ext xmlns:c16="http://schemas.microsoft.com/office/drawing/2014/chart" uri="{C3380CC4-5D6E-409C-BE32-E72D297353CC}">
                <c16:uniqueId val="{0000066D-980B-4B2B-A6BA-FBAB5FE3CDBF}"/>
              </c:ext>
            </c:extLst>
          </c:dPt>
          <c:dPt>
            <c:idx val="822"/>
            <c:invertIfNegative val="1"/>
            <c:bubble3D val="0"/>
            <c:spPr>
              <a:solidFill>
                <a:srgbClr val="AEABAB"/>
              </a:solidFill>
            </c:spPr>
            <c:extLst>
              <c:ext xmlns:c16="http://schemas.microsoft.com/office/drawing/2014/chart" uri="{C3380CC4-5D6E-409C-BE32-E72D297353CC}">
                <c16:uniqueId val="{0000066F-980B-4B2B-A6BA-FBAB5FE3CDBF}"/>
              </c:ext>
            </c:extLst>
          </c:dPt>
          <c:dPt>
            <c:idx val="823"/>
            <c:invertIfNegative val="1"/>
            <c:bubble3D val="0"/>
            <c:spPr>
              <a:solidFill>
                <a:srgbClr val="AEABAB"/>
              </a:solidFill>
            </c:spPr>
            <c:extLst>
              <c:ext xmlns:c16="http://schemas.microsoft.com/office/drawing/2014/chart" uri="{C3380CC4-5D6E-409C-BE32-E72D297353CC}">
                <c16:uniqueId val="{00000671-980B-4B2B-A6BA-FBAB5FE3CDBF}"/>
              </c:ext>
            </c:extLst>
          </c:dPt>
          <c:dPt>
            <c:idx val="824"/>
            <c:invertIfNegative val="1"/>
            <c:bubble3D val="0"/>
            <c:spPr>
              <a:solidFill>
                <a:srgbClr val="AEABAB"/>
              </a:solidFill>
            </c:spPr>
            <c:extLst>
              <c:ext xmlns:c16="http://schemas.microsoft.com/office/drawing/2014/chart" uri="{C3380CC4-5D6E-409C-BE32-E72D297353CC}">
                <c16:uniqueId val="{00000673-980B-4B2B-A6BA-FBAB5FE3CDBF}"/>
              </c:ext>
            </c:extLst>
          </c:dPt>
          <c:dPt>
            <c:idx val="825"/>
            <c:invertIfNegative val="1"/>
            <c:bubble3D val="0"/>
            <c:spPr>
              <a:solidFill>
                <a:srgbClr val="AEABAB"/>
              </a:solidFill>
            </c:spPr>
            <c:extLst>
              <c:ext xmlns:c16="http://schemas.microsoft.com/office/drawing/2014/chart" uri="{C3380CC4-5D6E-409C-BE32-E72D297353CC}">
                <c16:uniqueId val="{00000675-980B-4B2B-A6BA-FBAB5FE3CDBF}"/>
              </c:ext>
            </c:extLst>
          </c:dPt>
          <c:dPt>
            <c:idx val="826"/>
            <c:invertIfNegative val="1"/>
            <c:bubble3D val="0"/>
            <c:spPr>
              <a:solidFill>
                <a:srgbClr val="AEABAB"/>
              </a:solidFill>
            </c:spPr>
            <c:extLst>
              <c:ext xmlns:c16="http://schemas.microsoft.com/office/drawing/2014/chart" uri="{C3380CC4-5D6E-409C-BE32-E72D297353CC}">
                <c16:uniqueId val="{00000677-980B-4B2B-A6BA-FBAB5FE3CDBF}"/>
              </c:ext>
            </c:extLst>
          </c:dPt>
          <c:dPt>
            <c:idx val="827"/>
            <c:invertIfNegative val="1"/>
            <c:bubble3D val="0"/>
            <c:spPr>
              <a:solidFill>
                <a:srgbClr val="AEABAB"/>
              </a:solidFill>
            </c:spPr>
            <c:extLst>
              <c:ext xmlns:c16="http://schemas.microsoft.com/office/drawing/2014/chart" uri="{C3380CC4-5D6E-409C-BE32-E72D297353CC}">
                <c16:uniqueId val="{00000679-980B-4B2B-A6BA-FBAB5FE3CDBF}"/>
              </c:ext>
            </c:extLst>
          </c:dPt>
          <c:dPt>
            <c:idx val="828"/>
            <c:invertIfNegative val="1"/>
            <c:bubble3D val="0"/>
            <c:spPr>
              <a:solidFill>
                <a:srgbClr val="AEABAB"/>
              </a:solidFill>
            </c:spPr>
            <c:extLst>
              <c:ext xmlns:c16="http://schemas.microsoft.com/office/drawing/2014/chart" uri="{C3380CC4-5D6E-409C-BE32-E72D297353CC}">
                <c16:uniqueId val="{0000067B-980B-4B2B-A6BA-FBAB5FE3CDBF}"/>
              </c:ext>
            </c:extLst>
          </c:dPt>
          <c:dPt>
            <c:idx val="829"/>
            <c:invertIfNegative val="1"/>
            <c:bubble3D val="0"/>
            <c:spPr>
              <a:solidFill>
                <a:srgbClr val="AEABAB"/>
              </a:solidFill>
            </c:spPr>
            <c:extLst>
              <c:ext xmlns:c16="http://schemas.microsoft.com/office/drawing/2014/chart" uri="{C3380CC4-5D6E-409C-BE32-E72D297353CC}">
                <c16:uniqueId val="{0000067D-980B-4B2B-A6BA-FBAB5FE3CDBF}"/>
              </c:ext>
            </c:extLst>
          </c:dPt>
          <c:dPt>
            <c:idx val="830"/>
            <c:invertIfNegative val="1"/>
            <c:bubble3D val="0"/>
            <c:spPr>
              <a:solidFill>
                <a:srgbClr val="AEABAB"/>
              </a:solidFill>
            </c:spPr>
            <c:extLst>
              <c:ext xmlns:c16="http://schemas.microsoft.com/office/drawing/2014/chart" uri="{C3380CC4-5D6E-409C-BE32-E72D297353CC}">
                <c16:uniqueId val="{0000067F-980B-4B2B-A6BA-FBAB5FE3CDBF}"/>
              </c:ext>
            </c:extLst>
          </c:dPt>
          <c:dPt>
            <c:idx val="831"/>
            <c:invertIfNegative val="1"/>
            <c:bubble3D val="0"/>
            <c:spPr>
              <a:solidFill>
                <a:srgbClr val="AEABAB"/>
              </a:solidFill>
            </c:spPr>
            <c:extLst>
              <c:ext xmlns:c16="http://schemas.microsoft.com/office/drawing/2014/chart" uri="{C3380CC4-5D6E-409C-BE32-E72D297353CC}">
                <c16:uniqueId val="{00000681-980B-4B2B-A6BA-FBAB5FE3CDBF}"/>
              </c:ext>
            </c:extLst>
          </c:dPt>
          <c:dPt>
            <c:idx val="832"/>
            <c:invertIfNegative val="1"/>
            <c:bubble3D val="0"/>
            <c:spPr>
              <a:solidFill>
                <a:srgbClr val="AEABAB"/>
              </a:solidFill>
            </c:spPr>
            <c:extLst>
              <c:ext xmlns:c16="http://schemas.microsoft.com/office/drawing/2014/chart" uri="{C3380CC4-5D6E-409C-BE32-E72D297353CC}">
                <c16:uniqueId val="{00000683-980B-4B2B-A6BA-FBAB5FE3CDBF}"/>
              </c:ext>
            </c:extLst>
          </c:dPt>
          <c:dPt>
            <c:idx val="833"/>
            <c:invertIfNegative val="1"/>
            <c:bubble3D val="0"/>
            <c:spPr>
              <a:solidFill>
                <a:srgbClr val="AEABAB"/>
              </a:solidFill>
            </c:spPr>
            <c:extLst>
              <c:ext xmlns:c16="http://schemas.microsoft.com/office/drawing/2014/chart" uri="{C3380CC4-5D6E-409C-BE32-E72D297353CC}">
                <c16:uniqueId val="{00000685-980B-4B2B-A6BA-FBAB5FE3CDBF}"/>
              </c:ext>
            </c:extLst>
          </c:dPt>
          <c:dPt>
            <c:idx val="834"/>
            <c:invertIfNegative val="1"/>
            <c:bubble3D val="0"/>
            <c:spPr>
              <a:solidFill>
                <a:srgbClr val="AEABAB"/>
              </a:solidFill>
            </c:spPr>
            <c:extLst>
              <c:ext xmlns:c16="http://schemas.microsoft.com/office/drawing/2014/chart" uri="{C3380CC4-5D6E-409C-BE32-E72D297353CC}">
                <c16:uniqueId val="{00000687-980B-4B2B-A6BA-FBAB5FE3CDBF}"/>
              </c:ext>
            </c:extLst>
          </c:dPt>
          <c:dPt>
            <c:idx val="835"/>
            <c:invertIfNegative val="1"/>
            <c:bubble3D val="0"/>
            <c:spPr>
              <a:solidFill>
                <a:srgbClr val="AEABAB"/>
              </a:solidFill>
            </c:spPr>
            <c:extLst>
              <c:ext xmlns:c16="http://schemas.microsoft.com/office/drawing/2014/chart" uri="{C3380CC4-5D6E-409C-BE32-E72D297353CC}">
                <c16:uniqueId val="{00000689-980B-4B2B-A6BA-FBAB5FE3CDBF}"/>
              </c:ext>
            </c:extLst>
          </c:dPt>
          <c:dPt>
            <c:idx val="836"/>
            <c:invertIfNegative val="1"/>
            <c:bubble3D val="0"/>
            <c:spPr>
              <a:solidFill>
                <a:srgbClr val="AEABAB"/>
              </a:solidFill>
            </c:spPr>
            <c:extLst>
              <c:ext xmlns:c16="http://schemas.microsoft.com/office/drawing/2014/chart" uri="{C3380CC4-5D6E-409C-BE32-E72D297353CC}">
                <c16:uniqueId val="{0000068B-980B-4B2B-A6BA-FBAB5FE3CDBF}"/>
              </c:ext>
            </c:extLst>
          </c:dPt>
          <c:dPt>
            <c:idx val="837"/>
            <c:invertIfNegative val="1"/>
            <c:bubble3D val="0"/>
            <c:spPr>
              <a:solidFill>
                <a:srgbClr val="AEABAB"/>
              </a:solidFill>
            </c:spPr>
            <c:extLst>
              <c:ext xmlns:c16="http://schemas.microsoft.com/office/drawing/2014/chart" uri="{C3380CC4-5D6E-409C-BE32-E72D297353CC}">
                <c16:uniqueId val="{0000068D-980B-4B2B-A6BA-FBAB5FE3CDBF}"/>
              </c:ext>
            </c:extLst>
          </c:dPt>
          <c:dPt>
            <c:idx val="838"/>
            <c:invertIfNegative val="1"/>
            <c:bubble3D val="0"/>
            <c:spPr>
              <a:solidFill>
                <a:srgbClr val="AEABAB"/>
              </a:solidFill>
            </c:spPr>
            <c:extLst>
              <c:ext xmlns:c16="http://schemas.microsoft.com/office/drawing/2014/chart" uri="{C3380CC4-5D6E-409C-BE32-E72D297353CC}">
                <c16:uniqueId val="{0000068F-980B-4B2B-A6BA-FBAB5FE3CDBF}"/>
              </c:ext>
            </c:extLst>
          </c:dPt>
          <c:dPt>
            <c:idx val="839"/>
            <c:invertIfNegative val="1"/>
            <c:bubble3D val="0"/>
            <c:spPr>
              <a:solidFill>
                <a:srgbClr val="AEABAB"/>
              </a:solidFill>
            </c:spPr>
            <c:extLst>
              <c:ext xmlns:c16="http://schemas.microsoft.com/office/drawing/2014/chart" uri="{C3380CC4-5D6E-409C-BE32-E72D297353CC}">
                <c16:uniqueId val="{00000691-980B-4B2B-A6BA-FBAB5FE3CDBF}"/>
              </c:ext>
            </c:extLst>
          </c:dPt>
          <c:dPt>
            <c:idx val="840"/>
            <c:invertIfNegative val="1"/>
            <c:bubble3D val="0"/>
            <c:spPr>
              <a:solidFill>
                <a:srgbClr val="AEABAB"/>
              </a:solidFill>
            </c:spPr>
            <c:extLst>
              <c:ext xmlns:c16="http://schemas.microsoft.com/office/drawing/2014/chart" uri="{C3380CC4-5D6E-409C-BE32-E72D297353CC}">
                <c16:uniqueId val="{00000693-980B-4B2B-A6BA-FBAB5FE3CDBF}"/>
              </c:ext>
            </c:extLst>
          </c:dPt>
          <c:dPt>
            <c:idx val="841"/>
            <c:invertIfNegative val="1"/>
            <c:bubble3D val="0"/>
            <c:spPr>
              <a:solidFill>
                <a:srgbClr val="AEABAB"/>
              </a:solidFill>
            </c:spPr>
            <c:extLst>
              <c:ext xmlns:c16="http://schemas.microsoft.com/office/drawing/2014/chart" uri="{C3380CC4-5D6E-409C-BE32-E72D297353CC}">
                <c16:uniqueId val="{00000695-980B-4B2B-A6BA-FBAB5FE3CDBF}"/>
              </c:ext>
            </c:extLst>
          </c:dPt>
          <c:dPt>
            <c:idx val="842"/>
            <c:invertIfNegative val="1"/>
            <c:bubble3D val="0"/>
            <c:spPr>
              <a:solidFill>
                <a:srgbClr val="AEABAB"/>
              </a:solidFill>
            </c:spPr>
            <c:extLst>
              <c:ext xmlns:c16="http://schemas.microsoft.com/office/drawing/2014/chart" uri="{C3380CC4-5D6E-409C-BE32-E72D297353CC}">
                <c16:uniqueId val="{00000697-980B-4B2B-A6BA-FBAB5FE3CDBF}"/>
              </c:ext>
            </c:extLst>
          </c:dPt>
          <c:dPt>
            <c:idx val="843"/>
            <c:invertIfNegative val="1"/>
            <c:bubble3D val="0"/>
            <c:spPr>
              <a:solidFill>
                <a:srgbClr val="AEABAB"/>
              </a:solidFill>
            </c:spPr>
            <c:extLst>
              <c:ext xmlns:c16="http://schemas.microsoft.com/office/drawing/2014/chart" uri="{C3380CC4-5D6E-409C-BE32-E72D297353CC}">
                <c16:uniqueId val="{00000699-980B-4B2B-A6BA-FBAB5FE3CDBF}"/>
              </c:ext>
            </c:extLst>
          </c:dPt>
          <c:dPt>
            <c:idx val="844"/>
            <c:invertIfNegative val="1"/>
            <c:bubble3D val="0"/>
            <c:spPr>
              <a:solidFill>
                <a:srgbClr val="AEABAB"/>
              </a:solidFill>
            </c:spPr>
            <c:extLst>
              <c:ext xmlns:c16="http://schemas.microsoft.com/office/drawing/2014/chart" uri="{C3380CC4-5D6E-409C-BE32-E72D297353CC}">
                <c16:uniqueId val="{0000069B-980B-4B2B-A6BA-FBAB5FE3CDBF}"/>
              </c:ext>
            </c:extLst>
          </c:dPt>
          <c:dPt>
            <c:idx val="845"/>
            <c:invertIfNegative val="1"/>
            <c:bubble3D val="0"/>
            <c:spPr>
              <a:solidFill>
                <a:srgbClr val="AEABAB"/>
              </a:solidFill>
            </c:spPr>
            <c:extLst>
              <c:ext xmlns:c16="http://schemas.microsoft.com/office/drawing/2014/chart" uri="{C3380CC4-5D6E-409C-BE32-E72D297353CC}">
                <c16:uniqueId val="{0000069D-980B-4B2B-A6BA-FBAB5FE3CDBF}"/>
              </c:ext>
            </c:extLst>
          </c:dPt>
          <c:dPt>
            <c:idx val="846"/>
            <c:invertIfNegative val="1"/>
            <c:bubble3D val="0"/>
            <c:spPr>
              <a:solidFill>
                <a:srgbClr val="AEABAB"/>
              </a:solidFill>
            </c:spPr>
            <c:extLst>
              <c:ext xmlns:c16="http://schemas.microsoft.com/office/drawing/2014/chart" uri="{C3380CC4-5D6E-409C-BE32-E72D297353CC}">
                <c16:uniqueId val="{0000069F-980B-4B2B-A6BA-FBAB5FE3CDBF}"/>
              </c:ext>
            </c:extLst>
          </c:dPt>
          <c:dPt>
            <c:idx val="847"/>
            <c:invertIfNegative val="1"/>
            <c:bubble3D val="0"/>
            <c:spPr>
              <a:solidFill>
                <a:srgbClr val="AEABAB"/>
              </a:solidFill>
            </c:spPr>
            <c:extLst>
              <c:ext xmlns:c16="http://schemas.microsoft.com/office/drawing/2014/chart" uri="{C3380CC4-5D6E-409C-BE32-E72D297353CC}">
                <c16:uniqueId val="{000006A1-980B-4B2B-A6BA-FBAB5FE3CDBF}"/>
              </c:ext>
            </c:extLst>
          </c:dPt>
          <c:dPt>
            <c:idx val="848"/>
            <c:invertIfNegative val="1"/>
            <c:bubble3D val="0"/>
            <c:spPr>
              <a:solidFill>
                <a:srgbClr val="AEABAB"/>
              </a:solidFill>
            </c:spPr>
            <c:extLst>
              <c:ext xmlns:c16="http://schemas.microsoft.com/office/drawing/2014/chart" uri="{C3380CC4-5D6E-409C-BE32-E72D297353CC}">
                <c16:uniqueId val="{000006A3-980B-4B2B-A6BA-FBAB5FE3CDBF}"/>
              </c:ext>
            </c:extLst>
          </c:dPt>
          <c:dPt>
            <c:idx val="849"/>
            <c:invertIfNegative val="1"/>
            <c:bubble3D val="0"/>
            <c:spPr>
              <a:solidFill>
                <a:srgbClr val="AEABAB"/>
              </a:solidFill>
            </c:spPr>
            <c:extLst>
              <c:ext xmlns:c16="http://schemas.microsoft.com/office/drawing/2014/chart" uri="{C3380CC4-5D6E-409C-BE32-E72D297353CC}">
                <c16:uniqueId val="{000006A5-980B-4B2B-A6BA-FBAB5FE3CDBF}"/>
              </c:ext>
            </c:extLst>
          </c:dPt>
          <c:dPt>
            <c:idx val="850"/>
            <c:invertIfNegative val="1"/>
            <c:bubble3D val="0"/>
            <c:spPr>
              <a:solidFill>
                <a:srgbClr val="AEABAB"/>
              </a:solidFill>
            </c:spPr>
            <c:extLst>
              <c:ext xmlns:c16="http://schemas.microsoft.com/office/drawing/2014/chart" uri="{C3380CC4-5D6E-409C-BE32-E72D297353CC}">
                <c16:uniqueId val="{000006A7-980B-4B2B-A6BA-FBAB5FE3CDBF}"/>
              </c:ext>
            </c:extLst>
          </c:dPt>
          <c:dPt>
            <c:idx val="851"/>
            <c:invertIfNegative val="1"/>
            <c:bubble3D val="0"/>
            <c:spPr>
              <a:solidFill>
                <a:srgbClr val="AEABAB"/>
              </a:solidFill>
            </c:spPr>
            <c:extLst>
              <c:ext xmlns:c16="http://schemas.microsoft.com/office/drawing/2014/chart" uri="{C3380CC4-5D6E-409C-BE32-E72D297353CC}">
                <c16:uniqueId val="{000006A9-980B-4B2B-A6BA-FBAB5FE3CDBF}"/>
              </c:ext>
            </c:extLst>
          </c:dPt>
          <c:dPt>
            <c:idx val="852"/>
            <c:invertIfNegative val="1"/>
            <c:bubble3D val="0"/>
            <c:spPr>
              <a:solidFill>
                <a:srgbClr val="AEABAB"/>
              </a:solidFill>
            </c:spPr>
            <c:extLst>
              <c:ext xmlns:c16="http://schemas.microsoft.com/office/drawing/2014/chart" uri="{C3380CC4-5D6E-409C-BE32-E72D297353CC}">
                <c16:uniqueId val="{000006AB-980B-4B2B-A6BA-FBAB5FE3CDBF}"/>
              </c:ext>
            </c:extLst>
          </c:dPt>
          <c:dPt>
            <c:idx val="853"/>
            <c:invertIfNegative val="1"/>
            <c:bubble3D val="0"/>
            <c:spPr>
              <a:solidFill>
                <a:srgbClr val="AEABAB"/>
              </a:solidFill>
            </c:spPr>
            <c:extLst>
              <c:ext xmlns:c16="http://schemas.microsoft.com/office/drawing/2014/chart" uri="{C3380CC4-5D6E-409C-BE32-E72D297353CC}">
                <c16:uniqueId val="{000006AD-980B-4B2B-A6BA-FBAB5FE3CDBF}"/>
              </c:ext>
            </c:extLst>
          </c:dPt>
          <c:dPt>
            <c:idx val="854"/>
            <c:invertIfNegative val="1"/>
            <c:bubble3D val="0"/>
            <c:spPr>
              <a:solidFill>
                <a:srgbClr val="AEABAB"/>
              </a:solidFill>
            </c:spPr>
            <c:extLst>
              <c:ext xmlns:c16="http://schemas.microsoft.com/office/drawing/2014/chart" uri="{C3380CC4-5D6E-409C-BE32-E72D297353CC}">
                <c16:uniqueId val="{000006AF-980B-4B2B-A6BA-FBAB5FE3CDBF}"/>
              </c:ext>
            </c:extLst>
          </c:dPt>
          <c:dPt>
            <c:idx val="855"/>
            <c:invertIfNegative val="1"/>
            <c:bubble3D val="0"/>
            <c:spPr>
              <a:solidFill>
                <a:srgbClr val="AEABAB"/>
              </a:solidFill>
            </c:spPr>
            <c:extLst>
              <c:ext xmlns:c16="http://schemas.microsoft.com/office/drawing/2014/chart" uri="{C3380CC4-5D6E-409C-BE32-E72D297353CC}">
                <c16:uniqueId val="{000006B1-980B-4B2B-A6BA-FBAB5FE3CDBF}"/>
              </c:ext>
            </c:extLst>
          </c:dPt>
          <c:dPt>
            <c:idx val="856"/>
            <c:invertIfNegative val="1"/>
            <c:bubble3D val="0"/>
            <c:spPr>
              <a:solidFill>
                <a:srgbClr val="AEABAB"/>
              </a:solidFill>
            </c:spPr>
            <c:extLst>
              <c:ext xmlns:c16="http://schemas.microsoft.com/office/drawing/2014/chart" uri="{C3380CC4-5D6E-409C-BE32-E72D297353CC}">
                <c16:uniqueId val="{000006B3-980B-4B2B-A6BA-FBAB5FE3CDBF}"/>
              </c:ext>
            </c:extLst>
          </c:dPt>
          <c:dPt>
            <c:idx val="857"/>
            <c:invertIfNegative val="1"/>
            <c:bubble3D val="0"/>
            <c:spPr>
              <a:solidFill>
                <a:srgbClr val="AEABAB"/>
              </a:solidFill>
            </c:spPr>
            <c:extLst>
              <c:ext xmlns:c16="http://schemas.microsoft.com/office/drawing/2014/chart" uri="{C3380CC4-5D6E-409C-BE32-E72D297353CC}">
                <c16:uniqueId val="{000006B5-980B-4B2B-A6BA-FBAB5FE3CDBF}"/>
              </c:ext>
            </c:extLst>
          </c:dPt>
          <c:dPt>
            <c:idx val="858"/>
            <c:invertIfNegative val="1"/>
            <c:bubble3D val="0"/>
            <c:spPr>
              <a:solidFill>
                <a:srgbClr val="AEABAB"/>
              </a:solidFill>
            </c:spPr>
            <c:extLst>
              <c:ext xmlns:c16="http://schemas.microsoft.com/office/drawing/2014/chart" uri="{C3380CC4-5D6E-409C-BE32-E72D297353CC}">
                <c16:uniqueId val="{000006B7-980B-4B2B-A6BA-FBAB5FE3CDBF}"/>
              </c:ext>
            </c:extLst>
          </c:dPt>
          <c:dPt>
            <c:idx val="859"/>
            <c:invertIfNegative val="1"/>
            <c:bubble3D val="0"/>
            <c:spPr>
              <a:solidFill>
                <a:srgbClr val="AEABAB"/>
              </a:solidFill>
            </c:spPr>
            <c:extLst>
              <c:ext xmlns:c16="http://schemas.microsoft.com/office/drawing/2014/chart" uri="{C3380CC4-5D6E-409C-BE32-E72D297353CC}">
                <c16:uniqueId val="{000006B9-980B-4B2B-A6BA-FBAB5FE3CDBF}"/>
              </c:ext>
            </c:extLst>
          </c:dPt>
          <c:dPt>
            <c:idx val="860"/>
            <c:invertIfNegative val="1"/>
            <c:bubble3D val="0"/>
            <c:spPr>
              <a:solidFill>
                <a:srgbClr val="AEABAB"/>
              </a:solidFill>
            </c:spPr>
            <c:extLst>
              <c:ext xmlns:c16="http://schemas.microsoft.com/office/drawing/2014/chart" uri="{C3380CC4-5D6E-409C-BE32-E72D297353CC}">
                <c16:uniqueId val="{000006BB-980B-4B2B-A6BA-FBAB5FE3CDBF}"/>
              </c:ext>
            </c:extLst>
          </c:dPt>
          <c:dPt>
            <c:idx val="861"/>
            <c:invertIfNegative val="1"/>
            <c:bubble3D val="0"/>
            <c:spPr>
              <a:solidFill>
                <a:srgbClr val="AEABAB"/>
              </a:solidFill>
            </c:spPr>
            <c:extLst>
              <c:ext xmlns:c16="http://schemas.microsoft.com/office/drawing/2014/chart" uri="{C3380CC4-5D6E-409C-BE32-E72D297353CC}">
                <c16:uniqueId val="{000006BD-980B-4B2B-A6BA-FBAB5FE3CDBF}"/>
              </c:ext>
            </c:extLst>
          </c:dPt>
          <c:dPt>
            <c:idx val="862"/>
            <c:invertIfNegative val="1"/>
            <c:bubble3D val="0"/>
            <c:spPr>
              <a:solidFill>
                <a:srgbClr val="AEABAB"/>
              </a:solidFill>
            </c:spPr>
            <c:extLst>
              <c:ext xmlns:c16="http://schemas.microsoft.com/office/drawing/2014/chart" uri="{C3380CC4-5D6E-409C-BE32-E72D297353CC}">
                <c16:uniqueId val="{000006BF-980B-4B2B-A6BA-FBAB5FE3CDBF}"/>
              </c:ext>
            </c:extLst>
          </c:dPt>
          <c:dPt>
            <c:idx val="863"/>
            <c:invertIfNegative val="1"/>
            <c:bubble3D val="0"/>
            <c:spPr>
              <a:solidFill>
                <a:srgbClr val="AEABAB"/>
              </a:solidFill>
            </c:spPr>
            <c:extLst>
              <c:ext xmlns:c16="http://schemas.microsoft.com/office/drawing/2014/chart" uri="{C3380CC4-5D6E-409C-BE32-E72D297353CC}">
                <c16:uniqueId val="{000006C1-980B-4B2B-A6BA-FBAB5FE3CDBF}"/>
              </c:ext>
            </c:extLst>
          </c:dPt>
          <c:dPt>
            <c:idx val="864"/>
            <c:invertIfNegative val="1"/>
            <c:bubble3D val="0"/>
            <c:spPr>
              <a:solidFill>
                <a:srgbClr val="AEABAB"/>
              </a:solidFill>
            </c:spPr>
            <c:extLst>
              <c:ext xmlns:c16="http://schemas.microsoft.com/office/drawing/2014/chart" uri="{C3380CC4-5D6E-409C-BE32-E72D297353CC}">
                <c16:uniqueId val="{000006C3-980B-4B2B-A6BA-FBAB5FE3CDBF}"/>
              </c:ext>
            </c:extLst>
          </c:dPt>
          <c:dPt>
            <c:idx val="865"/>
            <c:invertIfNegative val="1"/>
            <c:bubble3D val="0"/>
            <c:spPr>
              <a:solidFill>
                <a:srgbClr val="AEABAB"/>
              </a:solidFill>
            </c:spPr>
            <c:extLst>
              <c:ext xmlns:c16="http://schemas.microsoft.com/office/drawing/2014/chart" uri="{C3380CC4-5D6E-409C-BE32-E72D297353CC}">
                <c16:uniqueId val="{000006C5-980B-4B2B-A6BA-FBAB5FE3CDBF}"/>
              </c:ext>
            </c:extLst>
          </c:dPt>
          <c:dPt>
            <c:idx val="866"/>
            <c:invertIfNegative val="1"/>
            <c:bubble3D val="0"/>
            <c:spPr>
              <a:solidFill>
                <a:srgbClr val="AEABAB"/>
              </a:solidFill>
            </c:spPr>
            <c:extLst>
              <c:ext xmlns:c16="http://schemas.microsoft.com/office/drawing/2014/chart" uri="{C3380CC4-5D6E-409C-BE32-E72D297353CC}">
                <c16:uniqueId val="{000006C7-980B-4B2B-A6BA-FBAB5FE3CDBF}"/>
              </c:ext>
            </c:extLst>
          </c:dPt>
          <c:dPt>
            <c:idx val="867"/>
            <c:invertIfNegative val="1"/>
            <c:bubble3D val="0"/>
            <c:spPr>
              <a:solidFill>
                <a:srgbClr val="AEABAB"/>
              </a:solidFill>
            </c:spPr>
            <c:extLst>
              <c:ext xmlns:c16="http://schemas.microsoft.com/office/drawing/2014/chart" uri="{C3380CC4-5D6E-409C-BE32-E72D297353CC}">
                <c16:uniqueId val="{000006C9-980B-4B2B-A6BA-FBAB5FE3CDBF}"/>
              </c:ext>
            </c:extLst>
          </c:dPt>
          <c:dPt>
            <c:idx val="868"/>
            <c:invertIfNegative val="1"/>
            <c:bubble3D val="0"/>
            <c:spPr>
              <a:solidFill>
                <a:srgbClr val="AEABAB"/>
              </a:solidFill>
            </c:spPr>
            <c:extLst>
              <c:ext xmlns:c16="http://schemas.microsoft.com/office/drawing/2014/chart" uri="{C3380CC4-5D6E-409C-BE32-E72D297353CC}">
                <c16:uniqueId val="{000006CB-980B-4B2B-A6BA-FBAB5FE3CDBF}"/>
              </c:ext>
            </c:extLst>
          </c:dPt>
          <c:dPt>
            <c:idx val="869"/>
            <c:invertIfNegative val="1"/>
            <c:bubble3D val="0"/>
            <c:spPr>
              <a:solidFill>
                <a:srgbClr val="AEABAB"/>
              </a:solidFill>
            </c:spPr>
            <c:extLst>
              <c:ext xmlns:c16="http://schemas.microsoft.com/office/drawing/2014/chart" uri="{C3380CC4-5D6E-409C-BE32-E72D297353CC}">
                <c16:uniqueId val="{000006CD-980B-4B2B-A6BA-FBAB5FE3CDBF}"/>
              </c:ext>
            </c:extLst>
          </c:dPt>
          <c:dPt>
            <c:idx val="870"/>
            <c:invertIfNegative val="1"/>
            <c:bubble3D val="0"/>
            <c:spPr>
              <a:solidFill>
                <a:srgbClr val="AEABAB"/>
              </a:solidFill>
            </c:spPr>
            <c:extLst>
              <c:ext xmlns:c16="http://schemas.microsoft.com/office/drawing/2014/chart" uri="{C3380CC4-5D6E-409C-BE32-E72D297353CC}">
                <c16:uniqueId val="{000006CF-980B-4B2B-A6BA-FBAB5FE3CDBF}"/>
              </c:ext>
            </c:extLst>
          </c:dPt>
          <c:dPt>
            <c:idx val="871"/>
            <c:invertIfNegative val="1"/>
            <c:bubble3D val="0"/>
            <c:spPr>
              <a:solidFill>
                <a:srgbClr val="AEABAB"/>
              </a:solidFill>
            </c:spPr>
            <c:extLst>
              <c:ext xmlns:c16="http://schemas.microsoft.com/office/drawing/2014/chart" uri="{C3380CC4-5D6E-409C-BE32-E72D297353CC}">
                <c16:uniqueId val="{000006D1-980B-4B2B-A6BA-FBAB5FE3CDBF}"/>
              </c:ext>
            </c:extLst>
          </c:dPt>
          <c:dPt>
            <c:idx val="872"/>
            <c:invertIfNegative val="1"/>
            <c:bubble3D val="0"/>
            <c:spPr>
              <a:solidFill>
                <a:srgbClr val="AEABAB"/>
              </a:solidFill>
            </c:spPr>
            <c:extLst>
              <c:ext xmlns:c16="http://schemas.microsoft.com/office/drawing/2014/chart" uri="{C3380CC4-5D6E-409C-BE32-E72D297353CC}">
                <c16:uniqueId val="{000006D3-980B-4B2B-A6BA-FBAB5FE3CDBF}"/>
              </c:ext>
            </c:extLst>
          </c:dPt>
          <c:dPt>
            <c:idx val="873"/>
            <c:invertIfNegative val="1"/>
            <c:bubble3D val="0"/>
            <c:spPr>
              <a:solidFill>
                <a:srgbClr val="AEABAB"/>
              </a:solidFill>
            </c:spPr>
            <c:extLst>
              <c:ext xmlns:c16="http://schemas.microsoft.com/office/drawing/2014/chart" uri="{C3380CC4-5D6E-409C-BE32-E72D297353CC}">
                <c16:uniqueId val="{000006D5-980B-4B2B-A6BA-FBAB5FE3CDBF}"/>
              </c:ext>
            </c:extLst>
          </c:dPt>
          <c:dPt>
            <c:idx val="874"/>
            <c:invertIfNegative val="1"/>
            <c:bubble3D val="0"/>
            <c:spPr>
              <a:solidFill>
                <a:srgbClr val="AEABAB"/>
              </a:solidFill>
            </c:spPr>
            <c:extLst>
              <c:ext xmlns:c16="http://schemas.microsoft.com/office/drawing/2014/chart" uri="{C3380CC4-5D6E-409C-BE32-E72D297353CC}">
                <c16:uniqueId val="{000006D7-980B-4B2B-A6BA-FBAB5FE3CDBF}"/>
              </c:ext>
            </c:extLst>
          </c:dPt>
          <c:dPt>
            <c:idx val="875"/>
            <c:invertIfNegative val="1"/>
            <c:bubble3D val="0"/>
            <c:spPr>
              <a:solidFill>
                <a:srgbClr val="AEABAB"/>
              </a:solidFill>
            </c:spPr>
            <c:extLst>
              <c:ext xmlns:c16="http://schemas.microsoft.com/office/drawing/2014/chart" uri="{C3380CC4-5D6E-409C-BE32-E72D297353CC}">
                <c16:uniqueId val="{000006D9-980B-4B2B-A6BA-FBAB5FE3CDBF}"/>
              </c:ext>
            </c:extLst>
          </c:dPt>
          <c:dPt>
            <c:idx val="876"/>
            <c:invertIfNegative val="1"/>
            <c:bubble3D val="0"/>
            <c:spPr>
              <a:solidFill>
                <a:srgbClr val="AEABAB"/>
              </a:solidFill>
            </c:spPr>
            <c:extLst>
              <c:ext xmlns:c16="http://schemas.microsoft.com/office/drawing/2014/chart" uri="{C3380CC4-5D6E-409C-BE32-E72D297353CC}">
                <c16:uniqueId val="{000006DB-980B-4B2B-A6BA-FBAB5FE3CDBF}"/>
              </c:ext>
            </c:extLst>
          </c:dPt>
          <c:dPt>
            <c:idx val="877"/>
            <c:invertIfNegative val="1"/>
            <c:bubble3D val="0"/>
            <c:spPr>
              <a:solidFill>
                <a:srgbClr val="AEABAB"/>
              </a:solidFill>
            </c:spPr>
            <c:extLst>
              <c:ext xmlns:c16="http://schemas.microsoft.com/office/drawing/2014/chart" uri="{C3380CC4-5D6E-409C-BE32-E72D297353CC}">
                <c16:uniqueId val="{000006DD-980B-4B2B-A6BA-FBAB5FE3CDBF}"/>
              </c:ext>
            </c:extLst>
          </c:dPt>
          <c:dPt>
            <c:idx val="878"/>
            <c:invertIfNegative val="1"/>
            <c:bubble3D val="0"/>
            <c:spPr>
              <a:solidFill>
                <a:srgbClr val="AEABAB"/>
              </a:solidFill>
            </c:spPr>
            <c:extLst>
              <c:ext xmlns:c16="http://schemas.microsoft.com/office/drawing/2014/chart" uri="{C3380CC4-5D6E-409C-BE32-E72D297353CC}">
                <c16:uniqueId val="{000006DF-980B-4B2B-A6BA-FBAB5FE3CDBF}"/>
              </c:ext>
            </c:extLst>
          </c:dPt>
          <c:dPt>
            <c:idx val="879"/>
            <c:invertIfNegative val="1"/>
            <c:bubble3D val="0"/>
            <c:spPr>
              <a:solidFill>
                <a:srgbClr val="AEABAB"/>
              </a:solidFill>
            </c:spPr>
            <c:extLst>
              <c:ext xmlns:c16="http://schemas.microsoft.com/office/drawing/2014/chart" uri="{C3380CC4-5D6E-409C-BE32-E72D297353CC}">
                <c16:uniqueId val="{000006E1-980B-4B2B-A6BA-FBAB5FE3CDBF}"/>
              </c:ext>
            </c:extLst>
          </c:dPt>
          <c:dPt>
            <c:idx val="880"/>
            <c:invertIfNegative val="1"/>
            <c:bubble3D val="0"/>
            <c:spPr>
              <a:solidFill>
                <a:srgbClr val="AEABAB"/>
              </a:solidFill>
            </c:spPr>
            <c:extLst>
              <c:ext xmlns:c16="http://schemas.microsoft.com/office/drawing/2014/chart" uri="{C3380CC4-5D6E-409C-BE32-E72D297353CC}">
                <c16:uniqueId val="{000006E3-980B-4B2B-A6BA-FBAB5FE3CDBF}"/>
              </c:ext>
            </c:extLst>
          </c:dPt>
          <c:dPt>
            <c:idx val="881"/>
            <c:invertIfNegative val="1"/>
            <c:bubble3D val="0"/>
            <c:spPr>
              <a:solidFill>
                <a:srgbClr val="AEABAB"/>
              </a:solidFill>
            </c:spPr>
            <c:extLst>
              <c:ext xmlns:c16="http://schemas.microsoft.com/office/drawing/2014/chart" uri="{C3380CC4-5D6E-409C-BE32-E72D297353CC}">
                <c16:uniqueId val="{000006E5-980B-4B2B-A6BA-FBAB5FE3CDBF}"/>
              </c:ext>
            </c:extLst>
          </c:dPt>
          <c:dPt>
            <c:idx val="882"/>
            <c:invertIfNegative val="1"/>
            <c:bubble3D val="0"/>
            <c:spPr>
              <a:solidFill>
                <a:srgbClr val="AEABAB"/>
              </a:solidFill>
            </c:spPr>
            <c:extLst>
              <c:ext xmlns:c16="http://schemas.microsoft.com/office/drawing/2014/chart" uri="{C3380CC4-5D6E-409C-BE32-E72D297353CC}">
                <c16:uniqueId val="{000006E7-980B-4B2B-A6BA-FBAB5FE3CDBF}"/>
              </c:ext>
            </c:extLst>
          </c:dPt>
          <c:dPt>
            <c:idx val="883"/>
            <c:invertIfNegative val="1"/>
            <c:bubble3D val="0"/>
            <c:spPr>
              <a:solidFill>
                <a:srgbClr val="AEABAB"/>
              </a:solidFill>
            </c:spPr>
            <c:extLst>
              <c:ext xmlns:c16="http://schemas.microsoft.com/office/drawing/2014/chart" uri="{C3380CC4-5D6E-409C-BE32-E72D297353CC}">
                <c16:uniqueId val="{000006E9-980B-4B2B-A6BA-FBAB5FE3CDBF}"/>
              </c:ext>
            </c:extLst>
          </c:dPt>
          <c:dPt>
            <c:idx val="884"/>
            <c:invertIfNegative val="1"/>
            <c:bubble3D val="0"/>
            <c:spPr>
              <a:solidFill>
                <a:srgbClr val="AEABAB"/>
              </a:solidFill>
            </c:spPr>
            <c:extLst>
              <c:ext xmlns:c16="http://schemas.microsoft.com/office/drawing/2014/chart" uri="{C3380CC4-5D6E-409C-BE32-E72D297353CC}">
                <c16:uniqueId val="{000006EB-980B-4B2B-A6BA-FBAB5FE3CDBF}"/>
              </c:ext>
            </c:extLst>
          </c:dPt>
          <c:dPt>
            <c:idx val="885"/>
            <c:invertIfNegative val="1"/>
            <c:bubble3D val="0"/>
            <c:spPr>
              <a:solidFill>
                <a:srgbClr val="AEABAB"/>
              </a:solidFill>
            </c:spPr>
            <c:extLst>
              <c:ext xmlns:c16="http://schemas.microsoft.com/office/drawing/2014/chart" uri="{C3380CC4-5D6E-409C-BE32-E72D297353CC}">
                <c16:uniqueId val="{000006ED-980B-4B2B-A6BA-FBAB5FE3CDBF}"/>
              </c:ext>
            </c:extLst>
          </c:dPt>
          <c:dPt>
            <c:idx val="886"/>
            <c:invertIfNegative val="1"/>
            <c:bubble3D val="0"/>
            <c:spPr>
              <a:solidFill>
                <a:srgbClr val="AEABAB"/>
              </a:solidFill>
            </c:spPr>
            <c:extLst>
              <c:ext xmlns:c16="http://schemas.microsoft.com/office/drawing/2014/chart" uri="{C3380CC4-5D6E-409C-BE32-E72D297353CC}">
                <c16:uniqueId val="{000006EF-980B-4B2B-A6BA-FBAB5FE3CDBF}"/>
              </c:ext>
            </c:extLst>
          </c:dPt>
          <c:dPt>
            <c:idx val="887"/>
            <c:invertIfNegative val="1"/>
            <c:bubble3D val="0"/>
            <c:spPr>
              <a:solidFill>
                <a:srgbClr val="AEABAB"/>
              </a:solidFill>
            </c:spPr>
            <c:extLst>
              <c:ext xmlns:c16="http://schemas.microsoft.com/office/drawing/2014/chart" uri="{C3380CC4-5D6E-409C-BE32-E72D297353CC}">
                <c16:uniqueId val="{000006F1-980B-4B2B-A6BA-FBAB5FE3CDBF}"/>
              </c:ext>
            </c:extLst>
          </c:dPt>
          <c:dPt>
            <c:idx val="888"/>
            <c:invertIfNegative val="1"/>
            <c:bubble3D val="0"/>
            <c:spPr>
              <a:solidFill>
                <a:srgbClr val="AEABAB"/>
              </a:solidFill>
            </c:spPr>
            <c:extLst>
              <c:ext xmlns:c16="http://schemas.microsoft.com/office/drawing/2014/chart" uri="{C3380CC4-5D6E-409C-BE32-E72D297353CC}">
                <c16:uniqueId val="{000006F3-980B-4B2B-A6BA-FBAB5FE3CDBF}"/>
              </c:ext>
            </c:extLst>
          </c:dPt>
          <c:dPt>
            <c:idx val="889"/>
            <c:invertIfNegative val="1"/>
            <c:bubble3D val="0"/>
            <c:spPr>
              <a:solidFill>
                <a:srgbClr val="AEABAB"/>
              </a:solidFill>
            </c:spPr>
            <c:extLst>
              <c:ext xmlns:c16="http://schemas.microsoft.com/office/drawing/2014/chart" uri="{C3380CC4-5D6E-409C-BE32-E72D297353CC}">
                <c16:uniqueId val="{000006F5-980B-4B2B-A6BA-FBAB5FE3CDBF}"/>
              </c:ext>
            </c:extLst>
          </c:dPt>
          <c:dPt>
            <c:idx val="890"/>
            <c:invertIfNegative val="1"/>
            <c:bubble3D val="0"/>
            <c:spPr>
              <a:solidFill>
                <a:srgbClr val="AEABAB"/>
              </a:solidFill>
            </c:spPr>
            <c:extLst>
              <c:ext xmlns:c16="http://schemas.microsoft.com/office/drawing/2014/chart" uri="{C3380CC4-5D6E-409C-BE32-E72D297353CC}">
                <c16:uniqueId val="{000006F7-980B-4B2B-A6BA-FBAB5FE3CDBF}"/>
              </c:ext>
            </c:extLst>
          </c:dPt>
          <c:dPt>
            <c:idx val="891"/>
            <c:invertIfNegative val="1"/>
            <c:bubble3D val="0"/>
            <c:spPr>
              <a:solidFill>
                <a:srgbClr val="AEABAB"/>
              </a:solidFill>
            </c:spPr>
            <c:extLst>
              <c:ext xmlns:c16="http://schemas.microsoft.com/office/drawing/2014/chart" uri="{C3380CC4-5D6E-409C-BE32-E72D297353CC}">
                <c16:uniqueId val="{000006F9-980B-4B2B-A6BA-FBAB5FE3CDBF}"/>
              </c:ext>
            </c:extLst>
          </c:dPt>
          <c:dPt>
            <c:idx val="892"/>
            <c:invertIfNegative val="1"/>
            <c:bubble3D val="0"/>
            <c:spPr>
              <a:solidFill>
                <a:srgbClr val="AEABAB"/>
              </a:solidFill>
            </c:spPr>
            <c:extLst>
              <c:ext xmlns:c16="http://schemas.microsoft.com/office/drawing/2014/chart" uri="{C3380CC4-5D6E-409C-BE32-E72D297353CC}">
                <c16:uniqueId val="{000006FB-980B-4B2B-A6BA-FBAB5FE3CDBF}"/>
              </c:ext>
            </c:extLst>
          </c:dPt>
          <c:dPt>
            <c:idx val="893"/>
            <c:invertIfNegative val="1"/>
            <c:bubble3D val="0"/>
            <c:spPr>
              <a:solidFill>
                <a:srgbClr val="AEABAB"/>
              </a:solidFill>
            </c:spPr>
            <c:extLst>
              <c:ext xmlns:c16="http://schemas.microsoft.com/office/drawing/2014/chart" uri="{C3380CC4-5D6E-409C-BE32-E72D297353CC}">
                <c16:uniqueId val="{000006FD-980B-4B2B-A6BA-FBAB5FE3CDBF}"/>
              </c:ext>
            </c:extLst>
          </c:dPt>
          <c:dPt>
            <c:idx val="894"/>
            <c:invertIfNegative val="1"/>
            <c:bubble3D val="0"/>
            <c:spPr>
              <a:solidFill>
                <a:srgbClr val="AEABAB"/>
              </a:solidFill>
            </c:spPr>
            <c:extLst>
              <c:ext xmlns:c16="http://schemas.microsoft.com/office/drawing/2014/chart" uri="{C3380CC4-5D6E-409C-BE32-E72D297353CC}">
                <c16:uniqueId val="{000006FF-980B-4B2B-A6BA-FBAB5FE3CDBF}"/>
              </c:ext>
            </c:extLst>
          </c:dPt>
          <c:dPt>
            <c:idx val="895"/>
            <c:invertIfNegative val="1"/>
            <c:bubble3D val="0"/>
            <c:spPr>
              <a:solidFill>
                <a:srgbClr val="AEABAB"/>
              </a:solidFill>
            </c:spPr>
            <c:extLst>
              <c:ext xmlns:c16="http://schemas.microsoft.com/office/drawing/2014/chart" uri="{C3380CC4-5D6E-409C-BE32-E72D297353CC}">
                <c16:uniqueId val="{00000701-980B-4B2B-A6BA-FBAB5FE3CDBF}"/>
              </c:ext>
            </c:extLst>
          </c:dPt>
          <c:dPt>
            <c:idx val="896"/>
            <c:invertIfNegative val="1"/>
            <c:bubble3D val="0"/>
            <c:spPr>
              <a:solidFill>
                <a:srgbClr val="AEABAB"/>
              </a:solidFill>
            </c:spPr>
            <c:extLst>
              <c:ext xmlns:c16="http://schemas.microsoft.com/office/drawing/2014/chart" uri="{C3380CC4-5D6E-409C-BE32-E72D297353CC}">
                <c16:uniqueId val="{00000703-980B-4B2B-A6BA-FBAB5FE3CDBF}"/>
              </c:ext>
            </c:extLst>
          </c:dPt>
          <c:dPt>
            <c:idx val="897"/>
            <c:invertIfNegative val="1"/>
            <c:bubble3D val="0"/>
            <c:spPr>
              <a:solidFill>
                <a:srgbClr val="AEABAB"/>
              </a:solidFill>
            </c:spPr>
            <c:extLst>
              <c:ext xmlns:c16="http://schemas.microsoft.com/office/drawing/2014/chart" uri="{C3380CC4-5D6E-409C-BE32-E72D297353CC}">
                <c16:uniqueId val="{00000705-980B-4B2B-A6BA-FBAB5FE3CDBF}"/>
              </c:ext>
            </c:extLst>
          </c:dPt>
          <c:dPt>
            <c:idx val="898"/>
            <c:invertIfNegative val="1"/>
            <c:bubble3D val="0"/>
            <c:spPr>
              <a:solidFill>
                <a:srgbClr val="AEABAB"/>
              </a:solidFill>
            </c:spPr>
            <c:extLst>
              <c:ext xmlns:c16="http://schemas.microsoft.com/office/drawing/2014/chart" uri="{C3380CC4-5D6E-409C-BE32-E72D297353CC}">
                <c16:uniqueId val="{00000707-980B-4B2B-A6BA-FBAB5FE3CDBF}"/>
              </c:ext>
            </c:extLst>
          </c:dPt>
          <c:dPt>
            <c:idx val="899"/>
            <c:invertIfNegative val="1"/>
            <c:bubble3D val="0"/>
            <c:spPr>
              <a:solidFill>
                <a:srgbClr val="AEABAB"/>
              </a:solidFill>
            </c:spPr>
            <c:extLst>
              <c:ext xmlns:c16="http://schemas.microsoft.com/office/drawing/2014/chart" uri="{C3380CC4-5D6E-409C-BE32-E72D297353CC}">
                <c16:uniqueId val="{00000709-980B-4B2B-A6BA-FBAB5FE3CDBF}"/>
              </c:ext>
            </c:extLst>
          </c:dPt>
          <c:dPt>
            <c:idx val="900"/>
            <c:invertIfNegative val="1"/>
            <c:bubble3D val="0"/>
            <c:spPr>
              <a:solidFill>
                <a:srgbClr val="AEABAB"/>
              </a:solidFill>
            </c:spPr>
            <c:extLst>
              <c:ext xmlns:c16="http://schemas.microsoft.com/office/drawing/2014/chart" uri="{C3380CC4-5D6E-409C-BE32-E72D297353CC}">
                <c16:uniqueId val="{0000070B-980B-4B2B-A6BA-FBAB5FE3CDBF}"/>
              </c:ext>
            </c:extLst>
          </c:dPt>
          <c:dPt>
            <c:idx val="901"/>
            <c:invertIfNegative val="1"/>
            <c:bubble3D val="0"/>
            <c:spPr>
              <a:solidFill>
                <a:srgbClr val="AEABAB"/>
              </a:solidFill>
            </c:spPr>
            <c:extLst>
              <c:ext xmlns:c16="http://schemas.microsoft.com/office/drawing/2014/chart" uri="{C3380CC4-5D6E-409C-BE32-E72D297353CC}">
                <c16:uniqueId val="{0000070D-980B-4B2B-A6BA-FBAB5FE3CDBF}"/>
              </c:ext>
            </c:extLst>
          </c:dPt>
          <c:dPt>
            <c:idx val="902"/>
            <c:invertIfNegative val="1"/>
            <c:bubble3D val="0"/>
            <c:spPr>
              <a:solidFill>
                <a:srgbClr val="AEABAB"/>
              </a:solidFill>
            </c:spPr>
            <c:extLst>
              <c:ext xmlns:c16="http://schemas.microsoft.com/office/drawing/2014/chart" uri="{C3380CC4-5D6E-409C-BE32-E72D297353CC}">
                <c16:uniqueId val="{0000070F-980B-4B2B-A6BA-FBAB5FE3CDBF}"/>
              </c:ext>
            </c:extLst>
          </c:dPt>
          <c:dPt>
            <c:idx val="903"/>
            <c:invertIfNegative val="1"/>
            <c:bubble3D val="0"/>
            <c:spPr>
              <a:solidFill>
                <a:srgbClr val="AEABAB"/>
              </a:solidFill>
            </c:spPr>
            <c:extLst>
              <c:ext xmlns:c16="http://schemas.microsoft.com/office/drawing/2014/chart" uri="{C3380CC4-5D6E-409C-BE32-E72D297353CC}">
                <c16:uniqueId val="{00000711-980B-4B2B-A6BA-FBAB5FE3CDBF}"/>
              </c:ext>
            </c:extLst>
          </c:dPt>
          <c:dPt>
            <c:idx val="904"/>
            <c:invertIfNegative val="1"/>
            <c:bubble3D val="0"/>
            <c:spPr>
              <a:solidFill>
                <a:srgbClr val="AEABAB"/>
              </a:solidFill>
            </c:spPr>
            <c:extLst>
              <c:ext xmlns:c16="http://schemas.microsoft.com/office/drawing/2014/chart" uri="{C3380CC4-5D6E-409C-BE32-E72D297353CC}">
                <c16:uniqueId val="{00000713-980B-4B2B-A6BA-FBAB5FE3CDBF}"/>
              </c:ext>
            </c:extLst>
          </c:dPt>
          <c:dPt>
            <c:idx val="905"/>
            <c:invertIfNegative val="1"/>
            <c:bubble3D val="0"/>
            <c:spPr>
              <a:solidFill>
                <a:srgbClr val="AEABAB"/>
              </a:solidFill>
            </c:spPr>
            <c:extLst>
              <c:ext xmlns:c16="http://schemas.microsoft.com/office/drawing/2014/chart" uri="{C3380CC4-5D6E-409C-BE32-E72D297353CC}">
                <c16:uniqueId val="{00000715-980B-4B2B-A6BA-FBAB5FE3CDBF}"/>
              </c:ext>
            </c:extLst>
          </c:dPt>
          <c:dPt>
            <c:idx val="906"/>
            <c:invertIfNegative val="1"/>
            <c:bubble3D val="0"/>
            <c:spPr>
              <a:solidFill>
                <a:srgbClr val="AEABAB"/>
              </a:solidFill>
            </c:spPr>
            <c:extLst>
              <c:ext xmlns:c16="http://schemas.microsoft.com/office/drawing/2014/chart" uri="{C3380CC4-5D6E-409C-BE32-E72D297353CC}">
                <c16:uniqueId val="{00000717-980B-4B2B-A6BA-FBAB5FE3CDBF}"/>
              </c:ext>
            </c:extLst>
          </c:dPt>
          <c:dPt>
            <c:idx val="907"/>
            <c:invertIfNegative val="1"/>
            <c:bubble3D val="0"/>
            <c:spPr>
              <a:solidFill>
                <a:srgbClr val="AEABAB"/>
              </a:solidFill>
            </c:spPr>
            <c:extLst>
              <c:ext xmlns:c16="http://schemas.microsoft.com/office/drawing/2014/chart" uri="{C3380CC4-5D6E-409C-BE32-E72D297353CC}">
                <c16:uniqueId val="{00000719-980B-4B2B-A6BA-FBAB5FE3CDBF}"/>
              </c:ext>
            </c:extLst>
          </c:dPt>
          <c:dPt>
            <c:idx val="908"/>
            <c:invertIfNegative val="1"/>
            <c:bubble3D val="0"/>
            <c:spPr>
              <a:solidFill>
                <a:srgbClr val="AEABAB"/>
              </a:solidFill>
            </c:spPr>
            <c:extLst>
              <c:ext xmlns:c16="http://schemas.microsoft.com/office/drawing/2014/chart" uri="{C3380CC4-5D6E-409C-BE32-E72D297353CC}">
                <c16:uniqueId val="{0000071B-980B-4B2B-A6BA-FBAB5FE3CDBF}"/>
              </c:ext>
            </c:extLst>
          </c:dPt>
          <c:dPt>
            <c:idx val="909"/>
            <c:invertIfNegative val="1"/>
            <c:bubble3D val="0"/>
            <c:spPr>
              <a:solidFill>
                <a:srgbClr val="AEABAB"/>
              </a:solidFill>
            </c:spPr>
            <c:extLst>
              <c:ext xmlns:c16="http://schemas.microsoft.com/office/drawing/2014/chart" uri="{C3380CC4-5D6E-409C-BE32-E72D297353CC}">
                <c16:uniqueId val="{0000071D-980B-4B2B-A6BA-FBAB5FE3CDBF}"/>
              </c:ext>
            </c:extLst>
          </c:dPt>
          <c:dPt>
            <c:idx val="910"/>
            <c:invertIfNegative val="1"/>
            <c:bubble3D val="0"/>
            <c:spPr>
              <a:solidFill>
                <a:srgbClr val="AEABAB"/>
              </a:solidFill>
            </c:spPr>
            <c:extLst>
              <c:ext xmlns:c16="http://schemas.microsoft.com/office/drawing/2014/chart" uri="{C3380CC4-5D6E-409C-BE32-E72D297353CC}">
                <c16:uniqueId val="{0000071F-980B-4B2B-A6BA-FBAB5FE3CDBF}"/>
              </c:ext>
            </c:extLst>
          </c:dPt>
          <c:dPt>
            <c:idx val="911"/>
            <c:invertIfNegative val="1"/>
            <c:bubble3D val="0"/>
            <c:spPr>
              <a:solidFill>
                <a:srgbClr val="AEABAB"/>
              </a:solidFill>
            </c:spPr>
            <c:extLst>
              <c:ext xmlns:c16="http://schemas.microsoft.com/office/drawing/2014/chart" uri="{C3380CC4-5D6E-409C-BE32-E72D297353CC}">
                <c16:uniqueId val="{00000721-980B-4B2B-A6BA-FBAB5FE3CDBF}"/>
              </c:ext>
            </c:extLst>
          </c:dPt>
          <c:dPt>
            <c:idx val="912"/>
            <c:invertIfNegative val="1"/>
            <c:bubble3D val="0"/>
            <c:spPr>
              <a:solidFill>
                <a:srgbClr val="AEABAB"/>
              </a:solidFill>
            </c:spPr>
            <c:extLst>
              <c:ext xmlns:c16="http://schemas.microsoft.com/office/drawing/2014/chart" uri="{C3380CC4-5D6E-409C-BE32-E72D297353CC}">
                <c16:uniqueId val="{00000723-980B-4B2B-A6BA-FBAB5FE3CDBF}"/>
              </c:ext>
            </c:extLst>
          </c:dPt>
          <c:dPt>
            <c:idx val="913"/>
            <c:invertIfNegative val="1"/>
            <c:bubble3D val="0"/>
            <c:spPr>
              <a:solidFill>
                <a:srgbClr val="AEABAB"/>
              </a:solidFill>
            </c:spPr>
            <c:extLst>
              <c:ext xmlns:c16="http://schemas.microsoft.com/office/drawing/2014/chart" uri="{C3380CC4-5D6E-409C-BE32-E72D297353CC}">
                <c16:uniqueId val="{00000725-980B-4B2B-A6BA-FBAB5FE3CDBF}"/>
              </c:ext>
            </c:extLst>
          </c:dPt>
          <c:dPt>
            <c:idx val="914"/>
            <c:invertIfNegative val="1"/>
            <c:bubble3D val="0"/>
            <c:spPr>
              <a:solidFill>
                <a:srgbClr val="AEABAB"/>
              </a:solidFill>
            </c:spPr>
            <c:extLst>
              <c:ext xmlns:c16="http://schemas.microsoft.com/office/drawing/2014/chart" uri="{C3380CC4-5D6E-409C-BE32-E72D297353CC}">
                <c16:uniqueId val="{00000727-980B-4B2B-A6BA-FBAB5FE3CDBF}"/>
              </c:ext>
            </c:extLst>
          </c:dPt>
          <c:dPt>
            <c:idx val="915"/>
            <c:invertIfNegative val="1"/>
            <c:bubble3D val="0"/>
            <c:spPr>
              <a:solidFill>
                <a:srgbClr val="AEABAB"/>
              </a:solidFill>
            </c:spPr>
            <c:extLst>
              <c:ext xmlns:c16="http://schemas.microsoft.com/office/drawing/2014/chart" uri="{C3380CC4-5D6E-409C-BE32-E72D297353CC}">
                <c16:uniqueId val="{00000729-980B-4B2B-A6BA-FBAB5FE3CDBF}"/>
              </c:ext>
            </c:extLst>
          </c:dPt>
          <c:dPt>
            <c:idx val="916"/>
            <c:invertIfNegative val="1"/>
            <c:bubble3D val="0"/>
            <c:spPr>
              <a:solidFill>
                <a:srgbClr val="AEABAB"/>
              </a:solidFill>
            </c:spPr>
            <c:extLst>
              <c:ext xmlns:c16="http://schemas.microsoft.com/office/drawing/2014/chart" uri="{C3380CC4-5D6E-409C-BE32-E72D297353CC}">
                <c16:uniqueId val="{0000072B-980B-4B2B-A6BA-FBAB5FE3CDBF}"/>
              </c:ext>
            </c:extLst>
          </c:dPt>
          <c:dPt>
            <c:idx val="917"/>
            <c:invertIfNegative val="1"/>
            <c:bubble3D val="0"/>
            <c:spPr>
              <a:solidFill>
                <a:srgbClr val="AEABAB"/>
              </a:solidFill>
            </c:spPr>
            <c:extLst>
              <c:ext xmlns:c16="http://schemas.microsoft.com/office/drawing/2014/chart" uri="{C3380CC4-5D6E-409C-BE32-E72D297353CC}">
                <c16:uniqueId val="{0000072D-980B-4B2B-A6BA-FBAB5FE3CDBF}"/>
              </c:ext>
            </c:extLst>
          </c:dPt>
          <c:dPt>
            <c:idx val="918"/>
            <c:invertIfNegative val="1"/>
            <c:bubble3D val="0"/>
            <c:spPr>
              <a:solidFill>
                <a:srgbClr val="AEABAB"/>
              </a:solidFill>
            </c:spPr>
            <c:extLst>
              <c:ext xmlns:c16="http://schemas.microsoft.com/office/drawing/2014/chart" uri="{C3380CC4-5D6E-409C-BE32-E72D297353CC}">
                <c16:uniqueId val="{0000072F-980B-4B2B-A6BA-FBAB5FE3CDBF}"/>
              </c:ext>
            </c:extLst>
          </c:dPt>
          <c:dPt>
            <c:idx val="919"/>
            <c:invertIfNegative val="1"/>
            <c:bubble3D val="0"/>
            <c:spPr>
              <a:solidFill>
                <a:srgbClr val="AEABAB"/>
              </a:solidFill>
            </c:spPr>
            <c:extLst>
              <c:ext xmlns:c16="http://schemas.microsoft.com/office/drawing/2014/chart" uri="{C3380CC4-5D6E-409C-BE32-E72D297353CC}">
                <c16:uniqueId val="{00000731-980B-4B2B-A6BA-FBAB5FE3CDBF}"/>
              </c:ext>
            </c:extLst>
          </c:dPt>
          <c:dPt>
            <c:idx val="920"/>
            <c:invertIfNegative val="1"/>
            <c:bubble3D val="0"/>
            <c:spPr>
              <a:solidFill>
                <a:srgbClr val="AEABAB"/>
              </a:solidFill>
            </c:spPr>
            <c:extLst>
              <c:ext xmlns:c16="http://schemas.microsoft.com/office/drawing/2014/chart" uri="{C3380CC4-5D6E-409C-BE32-E72D297353CC}">
                <c16:uniqueId val="{00000733-980B-4B2B-A6BA-FBAB5FE3CDBF}"/>
              </c:ext>
            </c:extLst>
          </c:dPt>
          <c:dPt>
            <c:idx val="921"/>
            <c:invertIfNegative val="1"/>
            <c:bubble3D val="0"/>
            <c:spPr>
              <a:solidFill>
                <a:srgbClr val="AEABAB"/>
              </a:solidFill>
            </c:spPr>
            <c:extLst>
              <c:ext xmlns:c16="http://schemas.microsoft.com/office/drawing/2014/chart" uri="{C3380CC4-5D6E-409C-BE32-E72D297353CC}">
                <c16:uniqueId val="{00000735-980B-4B2B-A6BA-FBAB5FE3CDBF}"/>
              </c:ext>
            </c:extLst>
          </c:dPt>
          <c:dPt>
            <c:idx val="922"/>
            <c:invertIfNegative val="1"/>
            <c:bubble3D val="0"/>
            <c:spPr>
              <a:solidFill>
                <a:srgbClr val="AEABAB"/>
              </a:solidFill>
            </c:spPr>
            <c:extLst>
              <c:ext xmlns:c16="http://schemas.microsoft.com/office/drawing/2014/chart" uri="{C3380CC4-5D6E-409C-BE32-E72D297353CC}">
                <c16:uniqueId val="{00000737-980B-4B2B-A6BA-FBAB5FE3CDBF}"/>
              </c:ext>
            </c:extLst>
          </c:dPt>
          <c:dPt>
            <c:idx val="923"/>
            <c:invertIfNegative val="1"/>
            <c:bubble3D val="0"/>
            <c:spPr>
              <a:solidFill>
                <a:srgbClr val="AEABAB"/>
              </a:solidFill>
            </c:spPr>
            <c:extLst>
              <c:ext xmlns:c16="http://schemas.microsoft.com/office/drawing/2014/chart" uri="{C3380CC4-5D6E-409C-BE32-E72D297353CC}">
                <c16:uniqueId val="{00000739-980B-4B2B-A6BA-FBAB5FE3CDBF}"/>
              </c:ext>
            </c:extLst>
          </c:dPt>
          <c:dPt>
            <c:idx val="924"/>
            <c:invertIfNegative val="1"/>
            <c:bubble3D val="0"/>
            <c:spPr>
              <a:solidFill>
                <a:srgbClr val="AEABAB"/>
              </a:solidFill>
            </c:spPr>
            <c:extLst>
              <c:ext xmlns:c16="http://schemas.microsoft.com/office/drawing/2014/chart" uri="{C3380CC4-5D6E-409C-BE32-E72D297353CC}">
                <c16:uniqueId val="{0000073B-980B-4B2B-A6BA-FBAB5FE3CDBF}"/>
              </c:ext>
            </c:extLst>
          </c:dPt>
          <c:dPt>
            <c:idx val="925"/>
            <c:invertIfNegative val="1"/>
            <c:bubble3D val="0"/>
            <c:spPr>
              <a:solidFill>
                <a:srgbClr val="AEABAB"/>
              </a:solidFill>
            </c:spPr>
            <c:extLst>
              <c:ext xmlns:c16="http://schemas.microsoft.com/office/drawing/2014/chart" uri="{C3380CC4-5D6E-409C-BE32-E72D297353CC}">
                <c16:uniqueId val="{0000073D-980B-4B2B-A6BA-FBAB5FE3CDBF}"/>
              </c:ext>
            </c:extLst>
          </c:dPt>
          <c:dPt>
            <c:idx val="926"/>
            <c:invertIfNegative val="1"/>
            <c:bubble3D val="0"/>
            <c:spPr>
              <a:solidFill>
                <a:srgbClr val="AEABAB"/>
              </a:solidFill>
            </c:spPr>
            <c:extLst>
              <c:ext xmlns:c16="http://schemas.microsoft.com/office/drawing/2014/chart" uri="{C3380CC4-5D6E-409C-BE32-E72D297353CC}">
                <c16:uniqueId val="{0000073F-980B-4B2B-A6BA-FBAB5FE3CDBF}"/>
              </c:ext>
            </c:extLst>
          </c:dPt>
          <c:dPt>
            <c:idx val="927"/>
            <c:invertIfNegative val="1"/>
            <c:bubble3D val="0"/>
            <c:spPr>
              <a:solidFill>
                <a:srgbClr val="AEABAB"/>
              </a:solidFill>
            </c:spPr>
            <c:extLst>
              <c:ext xmlns:c16="http://schemas.microsoft.com/office/drawing/2014/chart" uri="{C3380CC4-5D6E-409C-BE32-E72D297353CC}">
                <c16:uniqueId val="{00000741-980B-4B2B-A6BA-FBAB5FE3CDBF}"/>
              </c:ext>
            </c:extLst>
          </c:dPt>
          <c:dPt>
            <c:idx val="928"/>
            <c:invertIfNegative val="1"/>
            <c:bubble3D val="0"/>
            <c:spPr>
              <a:solidFill>
                <a:srgbClr val="AEABAB"/>
              </a:solidFill>
            </c:spPr>
            <c:extLst>
              <c:ext xmlns:c16="http://schemas.microsoft.com/office/drawing/2014/chart" uri="{C3380CC4-5D6E-409C-BE32-E72D297353CC}">
                <c16:uniqueId val="{00000743-980B-4B2B-A6BA-FBAB5FE3CDBF}"/>
              </c:ext>
            </c:extLst>
          </c:dPt>
          <c:dPt>
            <c:idx val="929"/>
            <c:invertIfNegative val="1"/>
            <c:bubble3D val="0"/>
            <c:spPr>
              <a:solidFill>
                <a:srgbClr val="AEABAB"/>
              </a:solidFill>
            </c:spPr>
            <c:extLst>
              <c:ext xmlns:c16="http://schemas.microsoft.com/office/drawing/2014/chart" uri="{C3380CC4-5D6E-409C-BE32-E72D297353CC}">
                <c16:uniqueId val="{00000745-980B-4B2B-A6BA-FBAB5FE3CDBF}"/>
              </c:ext>
            </c:extLst>
          </c:dPt>
          <c:dPt>
            <c:idx val="930"/>
            <c:invertIfNegative val="1"/>
            <c:bubble3D val="0"/>
            <c:spPr>
              <a:solidFill>
                <a:srgbClr val="AEABAB"/>
              </a:solidFill>
            </c:spPr>
            <c:extLst>
              <c:ext xmlns:c16="http://schemas.microsoft.com/office/drawing/2014/chart" uri="{C3380CC4-5D6E-409C-BE32-E72D297353CC}">
                <c16:uniqueId val="{00000747-980B-4B2B-A6BA-FBAB5FE3CDBF}"/>
              </c:ext>
            </c:extLst>
          </c:dPt>
          <c:dPt>
            <c:idx val="931"/>
            <c:invertIfNegative val="1"/>
            <c:bubble3D val="0"/>
            <c:spPr>
              <a:solidFill>
                <a:srgbClr val="AEABAB"/>
              </a:solidFill>
            </c:spPr>
            <c:extLst>
              <c:ext xmlns:c16="http://schemas.microsoft.com/office/drawing/2014/chart" uri="{C3380CC4-5D6E-409C-BE32-E72D297353CC}">
                <c16:uniqueId val="{00000749-980B-4B2B-A6BA-FBAB5FE3CDBF}"/>
              </c:ext>
            </c:extLst>
          </c:dPt>
          <c:dPt>
            <c:idx val="932"/>
            <c:invertIfNegative val="1"/>
            <c:bubble3D val="0"/>
            <c:spPr>
              <a:solidFill>
                <a:srgbClr val="AEABAB"/>
              </a:solidFill>
            </c:spPr>
            <c:extLst>
              <c:ext xmlns:c16="http://schemas.microsoft.com/office/drawing/2014/chart" uri="{C3380CC4-5D6E-409C-BE32-E72D297353CC}">
                <c16:uniqueId val="{0000074B-980B-4B2B-A6BA-FBAB5FE3CDBF}"/>
              </c:ext>
            </c:extLst>
          </c:dPt>
          <c:dPt>
            <c:idx val="933"/>
            <c:invertIfNegative val="1"/>
            <c:bubble3D val="0"/>
            <c:spPr>
              <a:solidFill>
                <a:srgbClr val="AEABAB"/>
              </a:solidFill>
            </c:spPr>
            <c:extLst>
              <c:ext xmlns:c16="http://schemas.microsoft.com/office/drawing/2014/chart" uri="{C3380CC4-5D6E-409C-BE32-E72D297353CC}">
                <c16:uniqueId val="{0000074D-980B-4B2B-A6BA-FBAB5FE3CDBF}"/>
              </c:ext>
            </c:extLst>
          </c:dPt>
          <c:dPt>
            <c:idx val="934"/>
            <c:invertIfNegative val="1"/>
            <c:bubble3D val="0"/>
            <c:spPr>
              <a:solidFill>
                <a:srgbClr val="AEABAB"/>
              </a:solidFill>
            </c:spPr>
            <c:extLst>
              <c:ext xmlns:c16="http://schemas.microsoft.com/office/drawing/2014/chart" uri="{C3380CC4-5D6E-409C-BE32-E72D297353CC}">
                <c16:uniqueId val="{0000074F-980B-4B2B-A6BA-FBAB5FE3CDBF}"/>
              </c:ext>
            </c:extLst>
          </c:dPt>
          <c:dPt>
            <c:idx val="935"/>
            <c:invertIfNegative val="1"/>
            <c:bubble3D val="0"/>
            <c:spPr>
              <a:solidFill>
                <a:srgbClr val="AEABAB"/>
              </a:solidFill>
            </c:spPr>
            <c:extLst>
              <c:ext xmlns:c16="http://schemas.microsoft.com/office/drawing/2014/chart" uri="{C3380CC4-5D6E-409C-BE32-E72D297353CC}">
                <c16:uniqueId val="{00000751-980B-4B2B-A6BA-FBAB5FE3CDBF}"/>
              </c:ext>
            </c:extLst>
          </c:dPt>
          <c:dPt>
            <c:idx val="936"/>
            <c:invertIfNegative val="1"/>
            <c:bubble3D val="0"/>
            <c:spPr>
              <a:solidFill>
                <a:srgbClr val="AEABAB"/>
              </a:solidFill>
            </c:spPr>
            <c:extLst>
              <c:ext xmlns:c16="http://schemas.microsoft.com/office/drawing/2014/chart" uri="{C3380CC4-5D6E-409C-BE32-E72D297353CC}">
                <c16:uniqueId val="{00000753-980B-4B2B-A6BA-FBAB5FE3CDBF}"/>
              </c:ext>
            </c:extLst>
          </c:dPt>
          <c:dPt>
            <c:idx val="937"/>
            <c:invertIfNegative val="1"/>
            <c:bubble3D val="0"/>
            <c:spPr>
              <a:solidFill>
                <a:srgbClr val="AEABAB"/>
              </a:solidFill>
            </c:spPr>
            <c:extLst>
              <c:ext xmlns:c16="http://schemas.microsoft.com/office/drawing/2014/chart" uri="{C3380CC4-5D6E-409C-BE32-E72D297353CC}">
                <c16:uniqueId val="{00000755-980B-4B2B-A6BA-FBAB5FE3CDBF}"/>
              </c:ext>
            </c:extLst>
          </c:dPt>
          <c:dPt>
            <c:idx val="938"/>
            <c:invertIfNegative val="1"/>
            <c:bubble3D val="0"/>
            <c:spPr>
              <a:solidFill>
                <a:srgbClr val="AEABAB"/>
              </a:solidFill>
            </c:spPr>
            <c:extLst>
              <c:ext xmlns:c16="http://schemas.microsoft.com/office/drawing/2014/chart" uri="{C3380CC4-5D6E-409C-BE32-E72D297353CC}">
                <c16:uniqueId val="{00000757-980B-4B2B-A6BA-FBAB5FE3CDBF}"/>
              </c:ext>
            </c:extLst>
          </c:dPt>
          <c:dPt>
            <c:idx val="939"/>
            <c:invertIfNegative val="1"/>
            <c:bubble3D val="0"/>
            <c:spPr>
              <a:solidFill>
                <a:srgbClr val="AEABAB"/>
              </a:solidFill>
            </c:spPr>
            <c:extLst>
              <c:ext xmlns:c16="http://schemas.microsoft.com/office/drawing/2014/chart" uri="{C3380CC4-5D6E-409C-BE32-E72D297353CC}">
                <c16:uniqueId val="{00000759-980B-4B2B-A6BA-FBAB5FE3CDBF}"/>
              </c:ext>
            </c:extLst>
          </c:dPt>
          <c:dPt>
            <c:idx val="940"/>
            <c:invertIfNegative val="1"/>
            <c:bubble3D val="0"/>
            <c:spPr>
              <a:solidFill>
                <a:srgbClr val="AEABAB"/>
              </a:solidFill>
            </c:spPr>
            <c:extLst>
              <c:ext xmlns:c16="http://schemas.microsoft.com/office/drawing/2014/chart" uri="{C3380CC4-5D6E-409C-BE32-E72D297353CC}">
                <c16:uniqueId val="{0000075B-980B-4B2B-A6BA-FBAB5FE3CDBF}"/>
              </c:ext>
            </c:extLst>
          </c:dPt>
          <c:dPt>
            <c:idx val="941"/>
            <c:invertIfNegative val="1"/>
            <c:bubble3D val="0"/>
            <c:spPr>
              <a:solidFill>
                <a:srgbClr val="AEABAB"/>
              </a:solidFill>
            </c:spPr>
            <c:extLst>
              <c:ext xmlns:c16="http://schemas.microsoft.com/office/drawing/2014/chart" uri="{C3380CC4-5D6E-409C-BE32-E72D297353CC}">
                <c16:uniqueId val="{0000075D-980B-4B2B-A6BA-FBAB5FE3CDBF}"/>
              </c:ext>
            </c:extLst>
          </c:dPt>
          <c:dPt>
            <c:idx val="942"/>
            <c:invertIfNegative val="1"/>
            <c:bubble3D val="0"/>
            <c:spPr>
              <a:solidFill>
                <a:srgbClr val="AEABAB"/>
              </a:solidFill>
            </c:spPr>
            <c:extLst>
              <c:ext xmlns:c16="http://schemas.microsoft.com/office/drawing/2014/chart" uri="{C3380CC4-5D6E-409C-BE32-E72D297353CC}">
                <c16:uniqueId val="{0000075F-980B-4B2B-A6BA-FBAB5FE3CDBF}"/>
              </c:ext>
            </c:extLst>
          </c:dPt>
          <c:dPt>
            <c:idx val="943"/>
            <c:invertIfNegative val="1"/>
            <c:bubble3D val="0"/>
            <c:spPr>
              <a:solidFill>
                <a:srgbClr val="AEABAB"/>
              </a:solidFill>
            </c:spPr>
            <c:extLst>
              <c:ext xmlns:c16="http://schemas.microsoft.com/office/drawing/2014/chart" uri="{C3380CC4-5D6E-409C-BE32-E72D297353CC}">
                <c16:uniqueId val="{00000761-980B-4B2B-A6BA-FBAB5FE3CDBF}"/>
              </c:ext>
            </c:extLst>
          </c:dPt>
          <c:dPt>
            <c:idx val="944"/>
            <c:invertIfNegative val="1"/>
            <c:bubble3D val="0"/>
            <c:spPr>
              <a:solidFill>
                <a:srgbClr val="AEABAB"/>
              </a:solidFill>
            </c:spPr>
            <c:extLst>
              <c:ext xmlns:c16="http://schemas.microsoft.com/office/drawing/2014/chart" uri="{C3380CC4-5D6E-409C-BE32-E72D297353CC}">
                <c16:uniqueId val="{00000763-980B-4B2B-A6BA-FBAB5FE3CDBF}"/>
              </c:ext>
            </c:extLst>
          </c:dPt>
          <c:dPt>
            <c:idx val="945"/>
            <c:invertIfNegative val="1"/>
            <c:bubble3D val="0"/>
            <c:spPr>
              <a:solidFill>
                <a:srgbClr val="AEABAB"/>
              </a:solidFill>
            </c:spPr>
            <c:extLst>
              <c:ext xmlns:c16="http://schemas.microsoft.com/office/drawing/2014/chart" uri="{C3380CC4-5D6E-409C-BE32-E72D297353CC}">
                <c16:uniqueId val="{00000765-980B-4B2B-A6BA-FBAB5FE3CDBF}"/>
              </c:ext>
            </c:extLst>
          </c:dPt>
          <c:dPt>
            <c:idx val="946"/>
            <c:invertIfNegative val="1"/>
            <c:bubble3D val="0"/>
            <c:spPr>
              <a:solidFill>
                <a:srgbClr val="AEABAB"/>
              </a:solidFill>
            </c:spPr>
            <c:extLst>
              <c:ext xmlns:c16="http://schemas.microsoft.com/office/drawing/2014/chart" uri="{C3380CC4-5D6E-409C-BE32-E72D297353CC}">
                <c16:uniqueId val="{00000767-980B-4B2B-A6BA-FBAB5FE3CDBF}"/>
              </c:ext>
            </c:extLst>
          </c:dPt>
          <c:dPt>
            <c:idx val="947"/>
            <c:invertIfNegative val="1"/>
            <c:bubble3D val="0"/>
            <c:spPr>
              <a:solidFill>
                <a:srgbClr val="AEABAB"/>
              </a:solidFill>
            </c:spPr>
            <c:extLst>
              <c:ext xmlns:c16="http://schemas.microsoft.com/office/drawing/2014/chart" uri="{C3380CC4-5D6E-409C-BE32-E72D297353CC}">
                <c16:uniqueId val="{00000769-980B-4B2B-A6BA-FBAB5FE3CDBF}"/>
              </c:ext>
            </c:extLst>
          </c:dPt>
          <c:dPt>
            <c:idx val="948"/>
            <c:invertIfNegative val="1"/>
            <c:bubble3D val="0"/>
            <c:spPr>
              <a:solidFill>
                <a:srgbClr val="AEABAB"/>
              </a:solidFill>
            </c:spPr>
            <c:extLst>
              <c:ext xmlns:c16="http://schemas.microsoft.com/office/drawing/2014/chart" uri="{C3380CC4-5D6E-409C-BE32-E72D297353CC}">
                <c16:uniqueId val="{0000076B-980B-4B2B-A6BA-FBAB5FE3CDBF}"/>
              </c:ext>
            </c:extLst>
          </c:dPt>
          <c:dPt>
            <c:idx val="949"/>
            <c:invertIfNegative val="1"/>
            <c:bubble3D val="0"/>
            <c:spPr>
              <a:solidFill>
                <a:srgbClr val="AEABAB"/>
              </a:solidFill>
            </c:spPr>
            <c:extLst>
              <c:ext xmlns:c16="http://schemas.microsoft.com/office/drawing/2014/chart" uri="{C3380CC4-5D6E-409C-BE32-E72D297353CC}">
                <c16:uniqueId val="{0000076D-980B-4B2B-A6BA-FBAB5FE3CDBF}"/>
              </c:ext>
            </c:extLst>
          </c:dPt>
          <c:dPt>
            <c:idx val="950"/>
            <c:invertIfNegative val="1"/>
            <c:bubble3D val="0"/>
            <c:spPr>
              <a:solidFill>
                <a:srgbClr val="AEABAB"/>
              </a:solidFill>
            </c:spPr>
            <c:extLst>
              <c:ext xmlns:c16="http://schemas.microsoft.com/office/drawing/2014/chart" uri="{C3380CC4-5D6E-409C-BE32-E72D297353CC}">
                <c16:uniqueId val="{0000076F-980B-4B2B-A6BA-FBAB5FE3CDBF}"/>
              </c:ext>
            </c:extLst>
          </c:dPt>
          <c:dPt>
            <c:idx val="951"/>
            <c:invertIfNegative val="1"/>
            <c:bubble3D val="0"/>
            <c:spPr>
              <a:solidFill>
                <a:srgbClr val="AEABAB"/>
              </a:solidFill>
            </c:spPr>
            <c:extLst>
              <c:ext xmlns:c16="http://schemas.microsoft.com/office/drawing/2014/chart" uri="{C3380CC4-5D6E-409C-BE32-E72D297353CC}">
                <c16:uniqueId val="{00000771-980B-4B2B-A6BA-FBAB5FE3CDBF}"/>
              </c:ext>
            </c:extLst>
          </c:dPt>
          <c:dPt>
            <c:idx val="952"/>
            <c:invertIfNegative val="1"/>
            <c:bubble3D val="0"/>
            <c:spPr>
              <a:solidFill>
                <a:srgbClr val="AEABAB"/>
              </a:solidFill>
            </c:spPr>
            <c:extLst>
              <c:ext xmlns:c16="http://schemas.microsoft.com/office/drawing/2014/chart" uri="{C3380CC4-5D6E-409C-BE32-E72D297353CC}">
                <c16:uniqueId val="{00000773-980B-4B2B-A6BA-FBAB5FE3CDBF}"/>
              </c:ext>
            </c:extLst>
          </c:dPt>
          <c:dPt>
            <c:idx val="953"/>
            <c:invertIfNegative val="1"/>
            <c:bubble3D val="0"/>
            <c:spPr>
              <a:solidFill>
                <a:srgbClr val="AEABAB"/>
              </a:solidFill>
            </c:spPr>
            <c:extLst>
              <c:ext xmlns:c16="http://schemas.microsoft.com/office/drawing/2014/chart" uri="{C3380CC4-5D6E-409C-BE32-E72D297353CC}">
                <c16:uniqueId val="{00000775-980B-4B2B-A6BA-FBAB5FE3CDBF}"/>
              </c:ext>
            </c:extLst>
          </c:dPt>
          <c:dPt>
            <c:idx val="954"/>
            <c:invertIfNegative val="1"/>
            <c:bubble3D val="0"/>
            <c:spPr>
              <a:solidFill>
                <a:srgbClr val="AEABAB"/>
              </a:solidFill>
            </c:spPr>
            <c:extLst>
              <c:ext xmlns:c16="http://schemas.microsoft.com/office/drawing/2014/chart" uri="{C3380CC4-5D6E-409C-BE32-E72D297353CC}">
                <c16:uniqueId val="{00000777-980B-4B2B-A6BA-FBAB5FE3CDBF}"/>
              </c:ext>
            </c:extLst>
          </c:dPt>
          <c:dPt>
            <c:idx val="955"/>
            <c:invertIfNegative val="1"/>
            <c:bubble3D val="0"/>
            <c:spPr>
              <a:solidFill>
                <a:srgbClr val="AEABAB"/>
              </a:solidFill>
            </c:spPr>
            <c:extLst>
              <c:ext xmlns:c16="http://schemas.microsoft.com/office/drawing/2014/chart" uri="{C3380CC4-5D6E-409C-BE32-E72D297353CC}">
                <c16:uniqueId val="{00000779-980B-4B2B-A6BA-FBAB5FE3CDBF}"/>
              </c:ext>
            </c:extLst>
          </c:dPt>
          <c:dPt>
            <c:idx val="956"/>
            <c:invertIfNegative val="1"/>
            <c:bubble3D val="0"/>
            <c:spPr>
              <a:solidFill>
                <a:srgbClr val="AEABAB"/>
              </a:solidFill>
            </c:spPr>
            <c:extLst>
              <c:ext xmlns:c16="http://schemas.microsoft.com/office/drawing/2014/chart" uri="{C3380CC4-5D6E-409C-BE32-E72D297353CC}">
                <c16:uniqueId val="{0000077B-980B-4B2B-A6BA-FBAB5FE3CDBF}"/>
              </c:ext>
            </c:extLst>
          </c:dPt>
          <c:dPt>
            <c:idx val="957"/>
            <c:invertIfNegative val="1"/>
            <c:bubble3D val="0"/>
            <c:spPr>
              <a:solidFill>
                <a:srgbClr val="AEABAB"/>
              </a:solidFill>
            </c:spPr>
            <c:extLst>
              <c:ext xmlns:c16="http://schemas.microsoft.com/office/drawing/2014/chart" uri="{C3380CC4-5D6E-409C-BE32-E72D297353CC}">
                <c16:uniqueId val="{0000077D-980B-4B2B-A6BA-FBAB5FE3CDBF}"/>
              </c:ext>
            </c:extLst>
          </c:dPt>
          <c:dPt>
            <c:idx val="958"/>
            <c:invertIfNegative val="1"/>
            <c:bubble3D val="0"/>
            <c:spPr>
              <a:solidFill>
                <a:srgbClr val="AEABAB"/>
              </a:solidFill>
            </c:spPr>
            <c:extLst>
              <c:ext xmlns:c16="http://schemas.microsoft.com/office/drawing/2014/chart" uri="{C3380CC4-5D6E-409C-BE32-E72D297353CC}">
                <c16:uniqueId val="{0000077F-980B-4B2B-A6BA-FBAB5FE3CDBF}"/>
              </c:ext>
            </c:extLst>
          </c:dPt>
          <c:dPt>
            <c:idx val="959"/>
            <c:invertIfNegative val="1"/>
            <c:bubble3D val="0"/>
            <c:spPr>
              <a:solidFill>
                <a:srgbClr val="AEABAB"/>
              </a:solidFill>
            </c:spPr>
            <c:extLst>
              <c:ext xmlns:c16="http://schemas.microsoft.com/office/drawing/2014/chart" uri="{C3380CC4-5D6E-409C-BE32-E72D297353CC}">
                <c16:uniqueId val="{00000781-980B-4B2B-A6BA-FBAB5FE3CDBF}"/>
              </c:ext>
            </c:extLst>
          </c:dPt>
          <c:dPt>
            <c:idx val="960"/>
            <c:invertIfNegative val="1"/>
            <c:bubble3D val="0"/>
            <c:spPr>
              <a:solidFill>
                <a:srgbClr val="AEABAB"/>
              </a:solidFill>
            </c:spPr>
            <c:extLst>
              <c:ext xmlns:c16="http://schemas.microsoft.com/office/drawing/2014/chart" uri="{C3380CC4-5D6E-409C-BE32-E72D297353CC}">
                <c16:uniqueId val="{00000783-980B-4B2B-A6BA-FBAB5FE3CDBF}"/>
              </c:ext>
            </c:extLst>
          </c:dPt>
          <c:dPt>
            <c:idx val="961"/>
            <c:invertIfNegative val="1"/>
            <c:bubble3D val="0"/>
            <c:spPr>
              <a:solidFill>
                <a:srgbClr val="AEABAB"/>
              </a:solidFill>
            </c:spPr>
            <c:extLst>
              <c:ext xmlns:c16="http://schemas.microsoft.com/office/drawing/2014/chart" uri="{C3380CC4-5D6E-409C-BE32-E72D297353CC}">
                <c16:uniqueId val="{00000785-980B-4B2B-A6BA-FBAB5FE3CDBF}"/>
              </c:ext>
            </c:extLst>
          </c:dPt>
          <c:dPt>
            <c:idx val="962"/>
            <c:invertIfNegative val="1"/>
            <c:bubble3D val="0"/>
            <c:spPr>
              <a:solidFill>
                <a:srgbClr val="AEABAB"/>
              </a:solidFill>
            </c:spPr>
            <c:extLst>
              <c:ext xmlns:c16="http://schemas.microsoft.com/office/drawing/2014/chart" uri="{C3380CC4-5D6E-409C-BE32-E72D297353CC}">
                <c16:uniqueId val="{00000787-980B-4B2B-A6BA-FBAB5FE3CDBF}"/>
              </c:ext>
            </c:extLst>
          </c:dPt>
          <c:dPt>
            <c:idx val="963"/>
            <c:invertIfNegative val="1"/>
            <c:bubble3D val="0"/>
            <c:spPr>
              <a:solidFill>
                <a:srgbClr val="AEABAB"/>
              </a:solidFill>
            </c:spPr>
            <c:extLst>
              <c:ext xmlns:c16="http://schemas.microsoft.com/office/drawing/2014/chart" uri="{C3380CC4-5D6E-409C-BE32-E72D297353CC}">
                <c16:uniqueId val="{00000789-980B-4B2B-A6BA-FBAB5FE3CDBF}"/>
              </c:ext>
            </c:extLst>
          </c:dPt>
          <c:dPt>
            <c:idx val="964"/>
            <c:invertIfNegative val="1"/>
            <c:bubble3D val="0"/>
            <c:spPr>
              <a:solidFill>
                <a:srgbClr val="AEABAB"/>
              </a:solidFill>
            </c:spPr>
            <c:extLst>
              <c:ext xmlns:c16="http://schemas.microsoft.com/office/drawing/2014/chart" uri="{C3380CC4-5D6E-409C-BE32-E72D297353CC}">
                <c16:uniqueId val="{0000078B-980B-4B2B-A6BA-FBAB5FE3CDBF}"/>
              </c:ext>
            </c:extLst>
          </c:dPt>
          <c:dPt>
            <c:idx val="965"/>
            <c:invertIfNegative val="1"/>
            <c:bubble3D val="0"/>
            <c:spPr>
              <a:solidFill>
                <a:srgbClr val="AEABAB"/>
              </a:solidFill>
            </c:spPr>
            <c:extLst>
              <c:ext xmlns:c16="http://schemas.microsoft.com/office/drawing/2014/chart" uri="{C3380CC4-5D6E-409C-BE32-E72D297353CC}">
                <c16:uniqueId val="{0000078D-980B-4B2B-A6BA-FBAB5FE3CDBF}"/>
              </c:ext>
            </c:extLst>
          </c:dPt>
          <c:dPt>
            <c:idx val="966"/>
            <c:invertIfNegative val="1"/>
            <c:bubble3D val="0"/>
            <c:spPr>
              <a:solidFill>
                <a:srgbClr val="AEABAB"/>
              </a:solidFill>
            </c:spPr>
            <c:extLst>
              <c:ext xmlns:c16="http://schemas.microsoft.com/office/drawing/2014/chart" uri="{C3380CC4-5D6E-409C-BE32-E72D297353CC}">
                <c16:uniqueId val="{0000078F-980B-4B2B-A6BA-FBAB5FE3CDBF}"/>
              </c:ext>
            </c:extLst>
          </c:dPt>
          <c:dPt>
            <c:idx val="967"/>
            <c:invertIfNegative val="1"/>
            <c:bubble3D val="0"/>
            <c:spPr>
              <a:solidFill>
                <a:srgbClr val="AEABAB"/>
              </a:solidFill>
            </c:spPr>
            <c:extLst>
              <c:ext xmlns:c16="http://schemas.microsoft.com/office/drawing/2014/chart" uri="{C3380CC4-5D6E-409C-BE32-E72D297353CC}">
                <c16:uniqueId val="{00000791-980B-4B2B-A6BA-FBAB5FE3CDBF}"/>
              </c:ext>
            </c:extLst>
          </c:dPt>
          <c:dPt>
            <c:idx val="968"/>
            <c:invertIfNegative val="1"/>
            <c:bubble3D val="0"/>
            <c:spPr>
              <a:solidFill>
                <a:srgbClr val="AEABAB"/>
              </a:solidFill>
            </c:spPr>
            <c:extLst>
              <c:ext xmlns:c16="http://schemas.microsoft.com/office/drawing/2014/chart" uri="{C3380CC4-5D6E-409C-BE32-E72D297353CC}">
                <c16:uniqueId val="{00000793-980B-4B2B-A6BA-FBAB5FE3CDBF}"/>
              </c:ext>
            </c:extLst>
          </c:dPt>
          <c:dPt>
            <c:idx val="969"/>
            <c:invertIfNegative val="1"/>
            <c:bubble3D val="0"/>
            <c:spPr>
              <a:solidFill>
                <a:srgbClr val="AEABAB"/>
              </a:solidFill>
            </c:spPr>
            <c:extLst>
              <c:ext xmlns:c16="http://schemas.microsoft.com/office/drawing/2014/chart" uri="{C3380CC4-5D6E-409C-BE32-E72D297353CC}">
                <c16:uniqueId val="{00000795-980B-4B2B-A6BA-FBAB5FE3CDBF}"/>
              </c:ext>
            </c:extLst>
          </c:dPt>
          <c:dPt>
            <c:idx val="970"/>
            <c:invertIfNegative val="1"/>
            <c:bubble3D val="0"/>
            <c:spPr>
              <a:solidFill>
                <a:srgbClr val="AEABAB"/>
              </a:solidFill>
            </c:spPr>
            <c:extLst>
              <c:ext xmlns:c16="http://schemas.microsoft.com/office/drawing/2014/chart" uri="{C3380CC4-5D6E-409C-BE32-E72D297353CC}">
                <c16:uniqueId val="{00000797-980B-4B2B-A6BA-FBAB5FE3CDBF}"/>
              </c:ext>
            </c:extLst>
          </c:dPt>
          <c:dPt>
            <c:idx val="971"/>
            <c:invertIfNegative val="1"/>
            <c:bubble3D val="0"/>
            <c:spPr>
              <a:solidFill>
                <a:srgbClr val="AEABAB"/>
              </a:solidFill>
            </c:spPr>
            <c:extLst>
              <c:ext xmlns:c16="http://schemas.microsoft.com/office/drawing/2014/chart" uri="{C3380CC4-5D6E-409C-BE32-E72D297353CC}">
                <c16:uniqueId val="{00000799-980B-4B2B-A6BA-FBAB5FE3CDBF}"/>
              </c:ext>
            </c:extLst>
          </c:dPt>
          <c:dPt>
            <c:idx val="972"/>
            <c:invertIfNegative val="1"/>
            <c:bubble3D val="0"/>
            <c:spPr>
              <a:solidFill>
                <a:srgbClr val="AEABAB"/>
              </a:solidFill>
            </c:spPr>
            <c:extLst>
              <c:ext xmlns:c16="http://schemas.microsoft.com/office/drawing/2014/chart" uri="{C3380CC4-5D6E-409C-BE32-E72D297353CC}">
                <c16:uniqueId val="{0000079B-980B-4B2B-A6BA-FBAB5FE3CDBF}"/>
              </c:ext>
            </c:extLst>
          </c:dPt>
          <c:dPt>
            <c:idx val="973"/>
            <c:invertIfNegative val="1"/>
            <c:bubble3D val="0"/>
            <c:spPr>
              <a:solidFill>
                <a:srgbClr val="AEABAB"/>
              </a:solidFill>
            </c:spPr>
            <c:extLst>
              <c:ext xmlns:c16="http://schemas.microsoft.com/office/drawing/2014/chart" uri="{C3380CC4-5D6E-409C-BE32-E72D297353CC}">
                <c16:uniqueId val="{0000079D-980B-4B2B-A6BA-FBAB5FE3CDBF}"/>
              </c:ext>
            </c:extLst>
          </c:dPt>
          <c:dPt>
            <c:idx val="974"/>
            <c:invertIfNegative val="1"/>
            <c:bubble3D val="0"/>
            <c:spPr>
              <a:solidFill>
                <a:srgbClr val="AEABAB"/>
              </a:solidFill>
            </c:spPr>
            <c:extLst>
              <c:ext xmlns:c16="http://schemas.microsoft.com/office/drawing/2014/chart" uri="{C3380CC4-5D6E-409C-BE32-E72D297353CC}">
                <c16:uniqueId val="{0000079F-980B-4B2B-A6BA-FBAB5FE3CDBF}"/>
              </c:ext>
            </c:extLst>
          </c:dPt>
          <c:dPt>
            <c:idx val="975"/>
            <c:invertIfNegative val="1"/>
            <c:bubble3D val="0"/>
            <c:spPr>
              <a:solidFill>
                <a:srgbClr val="AEABAB"/>
              </a:solidFill>
            </c:spPr>
            <c:extLst>
              <c:ext xmlns:c16="http://schemas.microsoft.com/office/drawing/2014/chart" uri="{C3380CC4-5D6E-409C-BE32-E72D297353CC}">
                <c16:uniqueId val="{000007A1-980B-4B2B-A6BA-FBAB5FE3CDBF}"/>
              </c:ext>
            </c:extLst>
          </c:dPt>
          <c:dPt>
            <c:idx val="976"/>
            <c:invertIfNegative val="1"/>
            <c:bubble3D val="0"/>
            <c:spPr>
              <a:solidFill>
                <a:srgbClr val="AEABAB"/>
              </a:solidFill>
            </c:spPr>
            <c:extLst>
              <c:ext xmlns:c16="http://schemas.microsoft.com/office/drawing/2014/chart" uri="{C3380CC4-5D6E-409C-BE32-E72D297353CC}">
                <c16:uniqueId val="{000007A3-980B-4B2B-A6BA-FBAB5FE3CDBF}"/>
              </c:ext>
            </c:extLst>
          </c:dPt>
          <c:dPt>
            <c:idx val="977"/>
            <c:invertIfNegative val="1"/>
            <c:bubble3D val="0"/>
            <c:spPr>
              <a:solidFill>
                <a:srgbClr val="AEABAB"/>
              </a:solidFill>
            </c:spPr>
            <c:extLst>
              <c:ext xmlns:c16="http://schemas.microsoft.com/office/drawing/2014/chart" uri="{C3380CC4-5D6E-409C-BE32-E72D297353CC}">
                <c16:uniqueId val="{000007A5-980B-4B2B-A6BA-FBAB5FE3CDBF}"/>
              </c:ext>
            </c:extLst>
          </c:dPt>
          <c:dPt>
            <c:idx val="978"/>
            <c:invertIfNegative val="1"/>
            <c:bubble3D val="0"/>
            <c:spPr>
              <a:solidFill>
                <a:srgbClr val="AEABAB"/>
              </a:solidFill>
            </c:spPr>
            <c:extLst>
              <c:ext xmlns:c16="http://schemas.microsoft.com/office/drawing/2014/chart" uri="{C3380CC4-5D6E-409C-BE32-E72D297353CC}">
                <c16:uniqueId val="{000007A7-980B-4B2B-A6BA-FBAB5FE3CDBF}"/>
              </c:ext>
            </c:extLst>
          </c:dPt>
          <c:dPt>
            <c:idx val="979"/>
            <c:invertIfNegative val="1"/>
            <c:bubble3D val="0"/>
            <c:spPr>
              <a:solidFill>
                <a:srgbClr val="AEABAB"/>
              </a:solidFill>
            </c:spPr>
            <c:extLst>
              <c:ext xmlns:c16="http://schemas.microsoft.com/office/drawing/2014/chart" uri="{C3380CC4-5D6E-409C-BE32-E72D297353CC}">
                <c16:uniqueId val="{000007A9-980B-4B2B-A6BA-FBAB5FE3CDBF}"/>
              </c:ext>
            </c:extLst>
          </c:dPt>
          <c:dPt>
            <c:idx val="980"/>
            <c:invertIfNegative val="1"/>
            <c:bubble3D val="0"/>
            <c:spPr>
              <a:solidFill>
                <a:srgbClr val="AEABAB"/>
              </a:solidFill>
            </c:spPr>
            <c:extLst>
              <c:ext xmlns:c16="http://schemas.microsoft.com/office/drawing/2014/chart" uri="{C3380CC4-5D6E-409C-BE32-E72D297353CC}">
                <c16:uniqueId val="{000007AB-980B-4B2B-A6BA-FBAB5FE3CDBF}"/>
              </c:ext>
            </c:extLst>
          </c:dPt>
          <c:dPt>
            <c:idx val="981"/>
            <c:invertIfNegative val="1"/>
            <c:bubble3D val="0"/>
            <c:spPr>
              <a:solidFill>
                <a:srgbClr val="AEABAB"/>
              </a:solidFill>
            </c:spPr>
            <c:extLst>
              <c:ext xmlns:c16="http://schemas.microsoft.com/office/drawing/2014/chart" uri="{C3380CC4-5D6E-409C-BE32-E72D297353CC}">
                <c16:uniqueId val="{000007AD-980B-4B2B-A6BA-FBAB5FE3CDBF}"/>
              </c:ext>
            </c:extLst>
          </c:dPt>
          <c:dPt>
            <c:idx val="982"/>
            <c:invertIfNegative val="1"/>
            <c:bubble3D val="0"/>
            <c:spPr>
              <a:solidFill>
                <a:srgbClr val="AEABAB"/>
              </a:solidFill>
            </c:spPr>
            <c:extLst>
              <c:ext xmlns:c16="http://schemas.microsoft.com/office/drawing/2014/chart" uri="{C3380CC4-5D6E-409C-BE32-E72D297353CC}">
                <c16:uniqueId val="{000007AF-980B-4B2B-A6BA-FBAB5FE3CDBF}"/>
              </c:ext>
            </c:extLst>
          </c:dPt>
          <c:dPt>
            <c:idx val="983"/>
            <c:invertIfNegative val="1"/>
            <c:bubble3D val="0"/>
            <c:spPr>
              <a:solidFill>
                <a:srgbClr val="AEABAB"/>
              </a:solidFill>
            </c:spPr>
            <c:extLst>
              <c:ext xmlns:c16="http://schemas.microsoft.com/office/drawing/2014/chart" uri="{C3380CC4-5D6E-409C-BE32-E72D297353CC}">
                <c16:uniqueId val="{000007B1-980B-4B2B-A6BA-FBAB5FE3CDBF}"/>
              </c:ext>
            </c:extLst>
          </c:dPt>
          <c:dPt>
            <c:idx val="984"/>
            <c:invertIfNegative val="1"/>
            <c:bubble3D val="0"/>
            <c:spPr>
              <a:solidFill>
                <a:srgbClr val="AEABAB"/>
              </a:solidFill>
            </c:spPr>
            <c:extLst>
              <c:ext xmlns:c16="http://schemas.microsoft.com/office/drawing/2014/chart" uri="{C3380CC4-5D6E-409C-BE32-E72D297353CC}">
                <c16:uniqueId val="{000007B3-980B-4B2B-A6BA-FBAB5FE3CDBF}"/>
              </c:ext>
            </c:extLst>
          </c:dPt>
          <c:dPt>
            <c:idx val="985"/>
            <c:invertIfNegative val="1"/>
            <c:bubble3D val="0"/>
            <c:spPr>
              <a:solidFill>
                <a:srgbClr val="AEABAB"/>
              </a:solidFill>
            </c:spPr>
            <c:extLst>
              <c:ext xmlns:c16="http://schemas.microsoft.com/office/drawing/2014/chart" uri="{C3380CC4-5D6E-409C-BE32-E72D297353CC}">
                <c16:uniqueId val="{000007B5-980B-4B2B-A6BA-FBAB5FE3CDBF}"/>
              </c:ext>
            </c:extLst>
          </c:dPt>
          <c:dPt>
            <c:idx val="986"/>
            <c:invertIfNegative val="1"/>
            <c:bubble3D val="0"/>
            <c:spPr>
              <a:solidFill>
                <a:srgbClr val="AEABAB"/>
              </a:solidFill>
            </c:spPr>
            <c:extLst>
              <c:ext xmlns:c16="http://schemas.microsoft.com/office/drawing/2014/chart" uri="{C3380CC4-5D6E-409C-BE32-E72D297353CC}">
                <c16:uniqueId val="{000007B7-980B-4B2B-A6BA-FBAB5FE3CDBF}"/>
              </c:ext>
            </c:extLst>
          </c:dPt>
          <c:dPt>
            <c:idx val="987"/>
            <c:invertIfNegative val="1"/>
            <c:bubble3D val="0"/>
            <c:spPr>
              <a:solidFill>
                <a:srgbClr val="AEABAB"/>
              </a:solidFill>
            </c:spPr>
            <c:extLst>
              <c:ext xmlns:c16="http://schemas.microsoft.com/office/drawing/2014/chart" uri="{C3380CC4-5D6E-409C-BE32-E72D297353CC}">
                <c16:uniqueId val="{000007B9-980B-4B2B-A6BA-FBAB5FE3CDBF}"/>
              </c:ext>
            </c:extLst>
          </c:dPt>
          <c:dPt>
            <c:idx val="988"/>
            <c:invertIfNegative val="1"/>
            <c:bubble3D val="0"/>
            <c:spPr>
              <a:solidFill>
                <a:srgbClr val="AEABAB"/>
              </a:solidFill>
            </c:spPr>
            <c:extLst>
              <c:ext xmlns:c16="http://schemas.microsoft.com/office/drawing/2014/chart" uri="{C3380CC4-5D6E-409C-BE32-E72D297353CC}">
                <c16:uniqueId val="{000007BB-980B-4B2B-A6BA-FBAB5FE3CDBF}"/>
              </c:ext>
            </c:extLst>
          </c:dPt>
          <c:dPt>
            <c:idx val="989"/>
            <c:invertIfNegative val="1"/>
            <c:bubble3D val="0"/>
            <c:spPr>
              <a:solidFill>
                <a:srgbClr val="AEABAB"/>
              </a:solidFill>
            </c:spPr>
            <c:extLst>
              <c:ext xmlns:c16="http://schemas.microsoft.com/office/drawing/2014/chart" uri="{C3380CC4-5D6E-409C-BE32-E72D297353CC}">
                <c16:uniqueId val="{000007BD-980B-4B2B-A6BA-FBAB5FE3CDBF}"/>
              </c:ext>
            </c:extLst>
          </c:dPt>
          <c:dPt>
            <c:idx val="990"/>
            <c:invertIfNegative val="1"/>
            <c:bubble3D val="0"/>
            <c:spPr>
              <a:solidFill>
                <a:srgbClr val="AEABAB"/>
              </a:solidFill>
            </c:spPr>
            <c:extLst>
              <c:ext xmlns:c16="http://schemas.microsoft.com/office/drawing/2014/chart" uri="{C3380CC4-5D6E-409C-BE32-E72D297353CC}">
                <c16:uniqueId val="{000007BF-980B-4B2B-A6BA-FBAB5FE3CDBF}"/>
              </c:ext>
            </c:extLst>
          </c:dPt>
          <c:dPt>
            <c:idx val="991"/>
            <c:invertIfNegative val="1"/>
            <c:bubble3D val="0"/>
            <c:spPr>
              <a:solidFill>
                <a:srgbClr val="AEABAB"/>
              </a:solidFill>
            </c:spPr>
            <c:extLst>
              <c:ext xmlns:c16="http://schemas.microsoft.com/office/drawing/2014/chart" uri="{C3380CC4-5D6E-409C-BE32-E72D297353CC}">
                <c16:uniqueId val="{000007C1-980B-4B2B-A6BA-FBAB5FE3CDBF}"/>
              </c:ext>
            </c:extLst>
          </c:dPt>
          <c:dPt>
            <c:idx val="992"/>
            <c:invertIfNegative val="1"/>
            <c:bubble3D val="0"/>
            <c:spPr>
              <a:solidFill>
                <a:srgbClr val="AEABAB"/>
              </a:solidFill>
            </c:spPr>
            <c:extLst>
              <c:ext xmlns:c16="http://schemas.microsoft.com/office/drawing/2014/chart" uri="{C3380CC4-5D6E-409C-BE32-E72D297353CC}">
                <c16:uniqueId val="{000007C3-980B-4B2B-A6BA-FBAB5FE3CDBF}"/>
              </c:ext>
            </c:extLst>
          </c:dPt>
          <c:dPt>
            <c:idx val="993"/>
            <c:invertIfNegative val="1"/>
            <c:bubble3D val="0"/>
            <c:spPr>
              <a:solidFill>
                <a:srgbClr val="AEABAB"/>
              </a:solidFill>
            </c:spPr>
            <c:extLst>
              <c:ext xmlns:c16="http://schemas.microsoft.com/office/drawing/2014/chart" uri="{C3380CC4-5D6E-409C-BE32-E72D297353CC}">
                <c16:uniqueId val="{000007C5-980B-4B2B-A6BA-FBAB5FE3CDBF}"/>
              </c:ext>
            </c:extLst>
          </c:dPt>
          <c:dPt>
            <c:idx val="994"/>
            <c:invertIfNegative val="1"/>
            <c:bubble3D val="0"/>
            <c:spPr>
              <a:solidFill>
                <a:srgbClr val="AEABAB"/>
              </a:solidFill>
            </c:spPr>
            <c:extLst>
              <c:ext xmlns:c16="http://schemas.microsoft.com/office/drawing/2014/chart" uri="{C3380CC4-5D6E-409C-BE32-E72D297353CC}">
                <c16:uniqueId val="{000007C7-980B-4B2B-A6BA-FBAB5FE3CDBF}"/>
              </c:ext>
            </c:extLst>
          </c:dPt>
          <c:dPt>
            <c:idx val="995"/>
            <c:invertIfNegative val="1"/>
            <c:bubble3D val="0"/>
            <c:spPr>
              <a:solidFill>
                <a:srgbClr val="AEABAB"/>
              </a:solidFill>
            </c:spPr>
            <c:extLst>
              <c:ext xmlns:c16="http://schemas.microsoft.com/office/drawing/2014/chart" uri="{C3380CC4-5D6E-409C-BE32-E72D297353CC}">
                <c16:uniqueId val="{000007C9-980B-4B2B-A6BA-FBAB5FE3CDBF}"/>
              </c:ext>
            </c:extLst>
          </c:dPt>
          <c:dPt>
            <c:idx val="996"/>
            <c:invertIfNegative val="1"/>
            <c:bubble3D val="0"/>
            <c:spPr>
              <a:solidFill>
                <a:srgbClr val="AEABAB"/>
              </a:solidFill>
            </c:spPr>
            <c:extLst>
              <c:ext xmlns:c16="http://schemas.microsoft.com/office/drawing/2014/chart" uri="{C3380CC4-5D6E-409C-BE32-E72D297353CC}">
                <c16:uniqueId val="{000007CB-980B-4B2B-A6BA-FBAB5FE3CDBF}"/>
              </c:ext>
            </c:extLst>
          </c:dPt>
          <c:dPt>
            <c:idx val="997"/>
            <c:invertIfNegative val="1"/>
            <c:bubble3D val="0"/>
            <c:spPr>
              <a:solidFill>
                <a:srgbClr val="AEABAB"/>
              </a:solidFill>
            </c:spPr>
            <c:extLst>
              <c:ext xmlns:c16="http://schemas.microsoft.com/office/drawing/2014/chart" uri="{C3380CC4-5D6E-409C-BE32-E72D297353CC}">
                <c16:uniqueId val="{000007CD-980B-4B2B-A6BA-FBAB5FE3CDBF}"/>
              </c:ext>
            </c:extLst>
          </c:dPt>
          <c:dPt>
            <c:idx val="998"/>
            <c:invertIfNegative val="1"/>
            <c:bubble3D val="0"/>
            <c:spPr>
              <a:solidFill>
                <a:srgbClr val="AEABAB"/>
              </a:solidFill>
            </c:spPr>
            <c:extLst>
              <c:ext xmlns:c16="http://schemas.microsoft.com/office/drawing/2014/chart" uri="{C3380CC4-5D6E-409C-BE32-E72D297353CC}">
                <c16:uniqueId val="{000007CF-980B-4B2B-A6BA-FBAB5FE3CDBF}"/>
              </c:ext>
            </c:extLst>
          </c:dPt>
          <c:dPt>
            <c:idx val="999"/>
            <c:invertIfNegative val="1"/>
            <c:bubble3D val="0"/>
            <c:spPr>
              <a:solidFill>
                <a:srgbClr val="AEABAB"/>
              </a:solidFill>
            </c:spPr>
            <c:extLst>
              <c:ext xmlns:c16="http://schemas.microsoft.com/office/drawing/2014/chart" uri="{C3380CC4-5D6E-409C-BE32-E72D297353CC}">
                <c16:uniqueId val="{000007D1-980B-4B2B-A6BA-FBAB5FE3CDBF}"/>
              </c:ext>
            </c:extLst>
          </c:dPt>
          <c:dPt>
            <c:idx val="1000"/>
            <c:invertIfNegative val="1"/>
            <c:bubble3D val="0"/>
            <c:spPr>
              <a:solidFill>
                <a:srgbClr val="AEABAB"/>
              </a:solidFill>
            </c:spPr>
            <c:extLst>
              <c:ext xmlns:c16="http://schemas.microsoft.com/office/drawing/2014/chart" uri="{C3380CC4-5D6E-409C-BE32-E72D297353CC}">
                <c16:uniqueId val="{000007D3-980B-4B2B-A6BA-FBAB5FE3CDBF}"/>
              </c:ext>
            </c:extLst>
          </c:dPt>
          <c:dPt>
            <c:idx val="1001"/>
            <c:invertIfNegative val="1"/>
            <c:bubble3D val="0"/>
            <c:spPr>
              <a:solidFill>
                <a:srgbClr val="AEABAB"/>
              </a:solidFill>
            </c:spPr>
            <c:extLst>
              <c:ext xmlns:c16="http://schemas.microsoft.com/office/drawing/2014/chart" uri="{C3380CC4-5D6E-409C-BE32-E72D297353CC}">
                <c16:uniqueId val="{000007D5-980B-4B2B-A6BA-FBAB5FE3CDBF}"/>
              </c:ext>
            </c:extLst>
          </c:dPt>
          <c:dPt>
            <c:idx val="1002"/>
            <c:invertIfNegative val="1"/>
            <c:bubble3D val="0"/>
            <c:spPr>
              <a:solidFill>
                <a:srgbClr val="AEABAB"/>
              </a:solidFill>
            </c:spPr>
            <c:extLst>
              <c:ext xmlns:c16="http://schemas.microsoft.com/office/drawing/2014/chart" uri="{C3380CC4-5D6E-409C-BE32-E72D297353CC}">
                <c16:uniqueId val="{000007D7-980B-4B2B-A6BA-FBAB5FE3CDBF}"/>
              </c:ext>
            </c:extLst>
          </c:dPt>
          <c:dPt>
            <c:idx val="1003"/>
            <c:invertIfNegative val="1"/>
            <c:bubble3D val="0"/>
            <c:spPr>
              <a:solidFill>
                <a:srgbClr val="AEABAB"/>
              </a:solidFill>
            </c:spPr>
            <c:extLst>
              <c:ext xmlns:c16="http://schemas.microsoft.com/office/drawing/2014/chart" uri="{C3380CC4-5D6E-409C-BE32-E72D297353CC}">
                <c16:uniqueId val="{000007D9-980B-4B2B-A6BA-FBAB5FE3CDBF}"/>
              </c:ext>
            </c:extLst>
          </c:dPt>
          <c:dPt>
            <c:idx val="1004"/>
            <c:invertIfNegative val="1"/>
            <c:bubble3D val="0"/>
            <c:spPr>
              <a:solidFill>
                <a:srgbClr val="AEABAB"/>
              </a:solidFill>
            </c:spPr>
            <c:extLst>
              <c:ext xmlns:c16="http://schemas.microsoft.com/office/drawing/2014/chart" uri="{C3380CC4-5D6E-409C-BE32-E72D297353CC}">
                <c16:uniqueId val="{000007DB-980B-4B2B-A6BA-FBAB5FE3CDBF}"/>
              </c:ext>
            </c:extLst>
          </c:dPt>
          <c:dPt>
            <c:idx val="1005"/>
            <c:invertIfNegative val="1"/>
            <c:bubble3D val="0"/>
            <c:spPr>
              <a:solidFill>
                <a:srgbClr val="AEABAB"/>
              </a:solidFill>
            </c:spPr>
            <c:extLst>
              <c:ext xmlns:c16="http://schemas.microsoft.com/office/drawing/2014/chart" uri="{C3380CC4-5D6E-409C-BE32-E72D297353CC}">
                <c16:uniqueId val="{000007DD-980B-4B2B-A6BA-FBAB5FE3CDBF}"/>
              </c:ext>
            </c:extLst>
          </c:dPt>
          <c:dPt>
            <c:idx val="1006"/>
            <c:invertIfNegative val="1"/>
            <c:bubble3D val="0"/>
            <c:spPr>
              <a:solidFill>
                <a:srgbClr val="AEABAB"/>
              </a:solidFill>
            </c:spPr>
            <c:extLst>
              <c:ext xmlns:c16="http://schemas.microsoft.com/office/drawing/2014/chart" uri="{C3380CC4-5D6E-409C-BE32-E72D297353CC}">
                <c16:uniqueId val="{000007DF-980B-4B2B-A6BA-FBAB5FE3CDBF}"/>
              </c:ext>
            </c:extLst>
          </c:dPt>
          <c:dPt>
            <c:idx val="1007"/>
            <c:invertIfNegative val="1"/>
            <c:bubble3D val="0"/>
            <c:spPr>
              <a:solidFill>
                <a:srgbClr val="AEABAB"/>
              </a:solidFill>
            </c:spPr>
            <c:extLst>
              <c:ext xmlns:c16="http://schemas.microsoft.com/office/drawing/2014/chart" uri="{C3380CC4-5D6E-409C-BE32-E72D297353CC}">
                <c16:uniqueId val="{000007E1-980B-4B2B-A6BA-FBAB5FE3CDBF}"/>
              </c:ext>
            </c:extLst>
          </c:dPt>
          <c:dPt>
            <c:idx val="1008"/>
            <c:invertIfNegative val="1"/>
            <c:bubble3D val="0"/>
            <c:spPr>
              <a:solidFill>
                <a:srgbClr val="AEABAB"/>
              </a:solidFill>
            </c:spPr>
            <c:extLst>
              <c:ext xmlns:c16="http://schemas.microsoft.com/office/drawing/2014/chart" uri="{C3380CC4-5D6E-409C-BE32-E72D297353CC}">
                <c16:uniqueId val="{000007E3-980B-4B2B-A6BA-FBAB5FE3CDBF}"/>
              </c:ext>
            </c:extLst>
          </c:dPt>
          <c:dPt>
            <c:idx val="1009"/>
            <c:invertIfNegative val="1"/>
            <c:bubble3D val="0"/>
            <c:spPr>
              <a:solidFill>
                <a:srgbClr val="AEABAB"/>
              </a:solidFill>
            </c:spPr>
            <c:extLst>
              <c:ext xmlns:c16="http://schemas.microsoft.com/office/drawing/2014/chart" uri="{C3380CC4-5D6E-409C-BE32-E72D297353CC}">
                <c16:uniqueId val="{000007E5-980B-4B2B-A6BA-FBAB5FE3CDBF}"/>
              </c:ext>
            </c:extLst>
          </c:dPt>
          <c:dPt>
            <c:idx val="1010"/>
            <c:invertIfNegative val="1"/>
            <c:bubble3D val="0"/>
            <c:spPr>
              <a:solidFill>
                <a:srgbClr val="AEABAB"/>
              </a:solidFill>
            </c:spPr>
            <c:extLst>
              <c:ext xmlns:c16="http://schemas.microsoft.com/office/drawing/2014/chart" uri="{C3380CC4-5D6E-409C-BE32-E72D297353CC}">
                <c16:uniqueId val="{000007E7-980B-4B2B-A6BA-FBAB5FE3CDBF}"/>
              </c:ext>
            </c:extLst>
          </c:dPt>
          <c:dPt>
            <c:idx val="1011"/>
            <c:invertIfNegative val="1"/>
            <c:bubble3D val="0"/>
            <c:spPr>
              <a:solidFill>
                <a:srgbClr val="AEABAB"/>
              </a:solidFill>
            </c:spPr>
            <c:extLst>
              <c:ext xmlns:c16="http://schemas.microsoft.com/office/drawing/2014/chart" uri="{C3380CC4-5D6E-409C-BE32-E72D297353CC}">
                <c16:uniqueId val="{000007E9-980B-4B2B-A6BA-FBAB5FE3CDBF}"/>
              </c:ext>
            </c:extLst>
          </c:dPt>
          <c:dPt>
            <c:idx val="1012"/>
            <c:invertIfNegative val="1"/>
            <c:bubble3D val="0"/>
            <c:spPr>
              <a:solidFill>
                <a:srgbClr val="AEABAB"/>
              </a:solidFill>
            </c:spPr>
            <c:extLst>
              <c:ext xmlns:c16="http://schemas.microsoft.com/office/drawing/2014/chart" uri="{C3380CC4-5D6E-409C-BE32-E72D297353CC}">
                <c16:uniqueId val="{000007EB-980B-4B2B-A6BA-FBAB5FE3CDBF}"/>
              </c:ext>
            </c:extLst>
          </c:dPt>
          <c:dPt>
            <c:idx val="1013"/>
            <c:invertIfNegative val="1"/>
            <c:bubble3D val="0"/>
            <c:spPr>
              <a:solidFill>
                <a:srgbClr val="AEABAB"/>
              </a:solidFill>
            </c:spPr>
            <c:extLst>
              <c:ext xmlns:c16="http://schemas.microsoft.com/office/drawing/2014/chart" uri="{C3380CC4-5D6E-409C-BE32-E72D297353CC}">
                <c16:uniqueId val="{000007ED-980B-4B2B-A6BA-FBAB5FE3CDBF}"/>
              </c:ext>
            </c:extLst>
          </c:dPt>
          <c:dPt>
            <c:idx val="1014"/>
            <c:invertIfNegative val="1"/>
            <c:bubble3D val="0"/>
            <c:spPr>
              <a:solidFill>
                <a:srgbClr val="AEABAB"/>
              </a:solidFill>
            </c:spPr>
            <c:extLst>
              <c:ext xmlns:c16="http://schemas.microsoft.com/office/drawing/2014/chart" uri="{C3380CC4-5D6E-409C-BE32-E72D297353CC}">
                <c16:uniqueId val="{000007EF-980B-4B2B-A6BA-FBAB5FE3CDBF}"/>
              </c:ext>
            </c:extLst>
          </c:dPt>
          <c:dPt>
            <c:idx val="1015"/>
            <c:invertIfNegative val="1"/>
            <c:bubble3D val="0"/>
            <c:spPr>
              <a:solidFill>
                <a:srgbClr val="AEABAB"/>
              </a:solidFill>
            </c:spPr>
            <c:extLst>
              <c:ext xmlns:c16="http://schemas.microsoft.com/office/drawing/2014/chart" uri="{C3380CC4-5D6E-409C-BE32-E72D297353CC}">
                <c16:uniqueId val="{000007F1-980B-4B2B-A6BA-FBAB5FE3CDBF}"/>
              </c:ext>
            </c:extLst>
          </c:dPt>
          <c:dPt>
            <c:idx val="1016"/>
            <c:invertIfNegative val="1"/>
            <c:bubble3D val="0"/>
            <c:spPr>
              <a:solidFill>
                <a:srgbClr val="AEABAB"/>
              </a:solidFill>
            </c:spPr>
            <c:extLst>
              <c:ext xmlns:c16="http://schemas.microsoft.com/office/drawing/2014/chart" uri="{C3380CC4-5D6E-409C-BE32-E72D297353CC}">
                <c16:uniqueId val="{000007F3-980B-4B2B-A6BA-FBAB5FE3CDBF}"/>
              </c:ext>
            </c:extLst>
          </c:dPt>
          <c:dPt>
            <c:idx val="1017"/>
            <c:invertIfNegative val="1"/>
            <c:bubble3D val="0"/>
            <c:spPr>
              <a:solidFill>
                <a:srgbClr val="AEABAB"/>
              </a:solidFill>
            </c:spPr>
            <c:extLst>
              <c:ext xmlns:c16="http://schemas.microsoft.com/office/drawing/2014/chart" uri="{C3380CC4-5D6E-409C-BE32-E72D297353CC}">
                <c16:uniqueId val="{000007F5-980B-4B2B-A6BA-FBAB5FE3CDBF}"/>
              </c:ext>
            </c:extLst>
          </c:dPt>
          <c:dPt>
            <c:idx val="1018"/>
            <c:invertIfNegative val="1"/>
            <c:bubble3D val="0"/>
            <c:spPr>
              <a:solidFill>
                <a:srgbClr val="AEABAB"/>
              </a:solidFill>
            </c:spPr>
            <c:extLst>
              <c:ext xmlns:c16="http://schemas.microsoft.com/office/drawing/2014/chart" uri="{C3380CC4-5D6E-409C-BE32-E72D297353CC}">
                <c16:uniqueId val="{000007F7-980B-4B2B-A6BA-FBAB5FE3CDBF}"/>
              </c:ext>
            </c:extLst>
          </c:dPt>
          <c:dPt>
            <c:idx val="1019"/>
            <c:invertIfNegative val="1"/>
            <c:bubble3D val="0"/>
            <c:spPr>
              <a:solidFill>
                <a:srgbClr val="AEABAB"/>
              </a:solidFill>
            </c:spPr>
            <c:extLst>
              <c:ext xmlns:c16="http://schemas.microsoft.com/office/drawing/2014/chart" uri="{C3380CC4-5D6E-409C-BE32-E72D297353CC}">
                <c16:uniqueId val="{000007F9-980B-4B2B-A6BA-FBAB5FE3CDBF}"/>
              </c:ext>
            </c:extLst>
          </c:dPt>
          <c:dPt>
            <c:idx val="1020"/>
            <c:invertIfNegative val="1"/>
            <c:bubble3D val="0"/>
            <c:spPr>
              <a:solidFill>
                <a:srgbClr val="AEABAB"/>
              </a:solidFill>
            </c:spPr>
            <c:extLst>
              <c:ext xmlns:c16="http://schemas.microsoft.com/office/drawing/2014/chart" uri="{C3380CC4-5D6E-409C-BE32-E72D297353CC}">
                <c16:uniqueId val="{000007FB-980B-4B2B-A6BA-FBAB5FE3CDBF}"/>
              </c:ext>
            </c:extLst>
          </c:dPt>
          <c:dPt>
            <c:idx val="1021"/>
            <c:invertIfNegative val="1"/>
            <c:bubble3D val="0"/>
            <c:spPr>
              <a:solidFill>
                <a:srgbClr val="AEABAB"/>
              </a:solidFill>
            </c:spPr>
            <c:extLst>
              <c:ext xmlns:c16="http://schemas.microsoft.com/office/drawing/2014/chart" uri="{C3380CC4-5D6E-409C-BE32-E72D297353CC}">
                <c16:uniqueId val="{000007FD-980B-4B2B-A6BA-FBAB5FE3CDBF}"/>
              </c:ext>
            </c:extLst>
          </c:dPt>
          <c:dPt>
            <c:idx val="1022"/>
            <c:invertIfNegative val="1"/>
            <c:bubble3D val="0"/>
            <c:spPr>
              <a:solidFill>
                <a:srgbClr val="AEABAB"/>
              </a:solidFill>
            </c:spPr>
            <c:extLst>
              <c:ext xmlns:c16="http://schemas.microsoft.com/office/drawing/2014/chart" uri="{C3380CC4-5D6E-409C-BE32-E72D297353CC}">
                <c16:uniqueId val="{000007FF-980B-4B2B-A6BA-FBAB5FE3CDBF}"/>
              </c:ext>
            </c:extLst>
          </c:dPt>
          <c:dPt>
            <c:idx val="1023"/>
            <c:invertIfNegative val="1"/>
            <c:bubble3D val="0"/>
            <c:spPr>
              <a:solidFill>
                <a:srgbClr val="AEABAB"/>
              </a:solidFill>
            </c:spPr>
            <c:extLst>
              <c:ext xmlns:c16="http://schemas.microsoft.com/office/drawing/2014/chart" uri="{C3380CC4-5D6E-409C-BE32-E72D297353CC}">
                <c16:uniqueId val="{00000801-980B-4B2B-A6BA-FBAB5FE3CDBF}"/>
              </c:ext>
            </c:extLst>
          </c:dPt>
          <c:dPt>
            <c:idx val="1024"/>
            <c:invertIfNegative val="1"/>
            <c:bubble3D val="0"/>
            <c:spPr>
              <a:solidFill>
                <a:srgbClr val="AEABAB"/>
              </a:solidFill>
            </c:spPr>
            <c:extLst>
              <c:ext xmlns:c16="http://schemas.microsoft.com/office/drawing/2014/chart" uri="{C3380CC4-5D6E-409C-BE32-E72D297353CC}">
                <c16:uniqueId val="{00000803-980B-4B2B-A6BA-FBAB5FE3CDBF}"/>
              </c:ext>
            </c:extLst>
          </c:dPt>
          <c:dPt>
            <c:idx val="1025"/>
            <c:invertIfNegative val="1"/>
            <c:bubble3D val="0"/>
            <c:spPr>
              <a:solidFill>
                <a:srgbClr val="AEABAB"/>
              </a:solidFill>
            </c:spPr>
            <c:extLst>
              <c:ext xmlns:c16="http://schemas.microsoft.com/office/drawing/2014/chart" uri="{C3380CC4-5D6E-409C-BE32-E72D297353CC}">
                <c16:uniqueId val="{00000805-980B-4B2B-A6BA-FBAB5FE3CDBF}"/>
              </c:ext>
            </c:extLst>
          </c:dPt>
          <c:dPt>
            <c:idx val="1026"/>
            <c:invertIfNegative val="1"/>
            <c:bubble3D val="0"/>
            <c:spPr>
              <a:solidFill>
                <a:srgbClr val="AEABAB"/>
              </a:solidFill>
            </c:spPr>
            <c:extLst>
              <c:ext xmlns:c16="http://schemas.microsoft.com/office/drawing/2014/chart" uri="{C3380CC4-5D6E-409C-BE32-E72D297353CC}">
                <c16:uniqueId val="{00000807-980B-4B2B-A6BA-FBAB5FE3CDBF}"/>
              </c:ext>
            </c:extLst>
          </c:dPt>
          <c:dPt>
            <c:idx val="1027"/>
            <c:invertIfNegative val="1"/>
            <c:bubble3D val="0"/>
            <c:spPr>
              <a:solidFill>
                <a:srgbClr val="AEABAB"/>
              </a:solidFill>
            </c:spPr>
            <c:extLst>
              <c:ext xmlns:c16="http://schemas.microsoft.com/office/drawing/2014/chart" uri="{C3380CC4-5D6E-409C-BE32-E72D297353CC}">
                <c16:uniqueId val="{00000809-980B-4B2B-A6BA-FBAB5FE3CDBF}"/>
              </c:ext>
            </c:extLst>
          </c:dPt>
          <c:dPt>
            <c:idx val="1028"/>
            <c:invertIfNegative val="1"/>
            <c:bubble3D val="0"/>
            <c:spPr>
              <a:solidFill>
                <a:srgbClr val="AEABAB"/>
              </a:solidFill>
            </c:spPr>
            <c:extLst>
              <c:ext xmlns:c16="http://schemas.microsoft.com/office/drawing/2014/chart" uri="{C3380CC4-5D6E-409C-BE32-E72D297353CC}">
                <c16:uniqueId val="{0000080B-980B-4B2B-A6BA-FBAB5FE3CDBF}"/>
              </c:ext>
            </c:extLst>
          </c:dPt>
          <c:dPt>
            <c:idx val="1029"/>
            <c:invertIfNegative val="1"/>
            <c:bubble3D val="0"/>
            <c:spPr>
              <a:solidFill>
                <a:srgbClr val="AEABAB"/>
              </a:solidFill>
            </c:spPr>
            <c:extLst>
              <c:ext xmlns:c16="http://schemas.microsoft.com/office/drawing/2014/chart" uri="{C3380CC4-5D6E-409C-BE32-E72D297353CC}">
                <c16:uniqueId val="{0000080D-980B-4B2B-A6BA-FBAB5FE3CDBF}"/>
              </c:ext>
            </c:extLst>
          </c:dPt>
          <c:dPt>
            <c:idx val="1030"/>
            <c:invertIfNegative val="1"/>
            <c:bubble3D val="0"/>
            <c:spPr>
              <a:solidFill>
                <a:srgbClr val="AEABAB"/>
              </a:solidFill>
            </c:spPr>
            <c:extLst>
              <c:ext xmlns:c16="http://schemas.microsoft.com/office/drawing/2014/chart" uri="{C3380CC4-5D6E-409C-BE32-E72D297353CC}">
                <c16:uniqueId val="{0000080F-980B-4B2B-A6BA-FBAB5FE3CDBF}"/>
              </c:ext>
            </c:extLst>
          </c:dPt>
          <c:dPt>
            <c:idx val="1031"/>
            <c:invertIfNegative val="1"/>
            <c:bubble3D val="0"/>
            <c:spPr>
              <a:solidFill>
                <a:srgbClr val="AEABAB"/>
              </a:solidFill>
            </c:spPr>
            <c:extLst>
              <c:ext xmlns:c16="http://schemas.microsoft.com/office/drawing/2014/chart" uri="{C3380CC4-5D6E-409C-BE32-E72D297353CC}">
                <c16:uniqueId val="{00000811-980B-4B2B-A6BA-FBAB5FE3CDBF}"/>
              </c:ext>
            </c:extLst>
          </c:dPt>
          <c:dPt>
            <c:idx val="1032"/>
            <c:invertIfNegative val="1"/>
            <c:bubble3D val="0"/>
            <c:spPr>
              <a:solidFill>
                <a:srgbClr val="AEABAB"/>
              </a:solidFill>
            </c:spPr>
            <c:extLst>
              <c:ext xmlns:c16="http://schemas.microsoft.com/office/drawing/2014/chart" uri="{C3380CC4-5D6E-409C-BE32-E72D297353CC}">
                <c16:uniqueId val="{00000813-980B-4B2B-A6BA-FBAB5FE3CDBF}"/>
              </c:ext>
            </c:extLst>
          </c:dPt>
          <c:dPt>
            <c:idx val="1033"/>
            <c:invertIfNegative val="1"/>
            <c:bubble3D val="0"/>
            <c:spPr>
              <a:solidFill>
                <a:srgbClr val="AEABAB"/>
              </a:solidFill>
            </c:spPr>
            <c:extLst>
              <c:ext xmlns:c16="http://schemas.microsoft.com/office/drawing/2014/chart" uri="{C3380CC4-5D6E-409C-BE32-E72D297353CC}">
                <c16:uniqueId val="{00000815-980B-4B2B-A6BA-FBAB5FE3CDBF}"/>
              </c:ext>
            </c:extLst>
          </c:dPt>
          <c:dPt>
            <c:idx val="1034"/>
            <c:invertIfNegative val="1"/>
            <c:bubble3D val="0"/>
            <c:spPr>
              <a:solidFill>
                <a:srgbClr val="AEABAB"/>
              </a:solidFill>
            </c:spPr>
            <c:extLst>
              <c:ext xmlns:c16="http://schemas.microsoft.com/office/drawing/2014/chart" uri="{C3380CC4-5D6E-409C-BE32-E72D297353CC}">
                <c16:uniqueId val="{00000817-980B-4B2B-A6BA-FBAB5FE3CDBF}"/>
              </c:ext>
            </c:extLst>
          </c:dPt>
          <c:dPt>
            <c:idx val="1035"/>
            <c:invertIfNegative val="1"/>
            <c:bubble3D val="0"/>
            <c:spPr>
              <a:solidFill>
                <a:srgbClr val="AEABAB"/>
              </a:solidFill>
            </c:spPr>
            <c:extLst>
              <c:ext xmlns:c16="http://schemas.microsoft.com/office/drawing/2014/chart" uri="{C3380CC4-5D6E-409C-BE32-E72D297353CC}">
                <c16:uniqueId val="{00000819-980B-4B2B-A6BA-FBAB5FE3CDBF}"/>
              </c:ext>
            </c:extLst>
          </c:dPt>
          <c:dPt>
            <c:idx val="1036"/>
            <c:invertIfNegative val="1"/>
            <c:bubble3D val="0"/>
            <c:spPr>
              <a:solidFill>
                <a:srgbClr val="AEABAB"/>
              </a:solidFill>
            </c:spPr>
            <c:extLst>
              <c:ext xmlns:c16="http://schemas.microsoft.com/office/drawing/2014/chart" uri="{C3380CC4-5D6E-409C-BE32-E72D297353CC}">
                <c16:uniqueId val="{0000081B-980B-4B2B-A6BA-FBAB5FE3CDBF}"/>
              </c:ext>
            </c:extLst>
          </c:dPt>
          <c:dPt>
            <c:idx val="1037"/>
            <c:invertIfNegative val="1"/>
            <c:bubble3D val="0"/>
            <c:spPr>
              <a:solidFill>
                <a:srgbClr val="AEABAB"/>
              </a:solidFill>
            </c:spPr>
            <c:extLst>
              <c:ext xmlns:c16="http://schemas.microsoft.com/office/drawing/2014/chart" uri="{C3380CC4-5D6E-409C-BE32-E72D297353CC}">
                <c16:uniqueId val="{0000081D-980B-4B2B-A6BA-FBAB5FE3CDBF}"/>
              </c:ext>
            </c:extLst>
          </c:dPt>
          <c:dPt>
            <c:idx val="1038"/>
            <c:invertIfNegative val="1"/>
            <c:bubble3D val="0"/>
            <c:spPr>
              <a:solidFill>
                <a:srgbClr val="AEABAB"/>
              </a:solidFill>
            </c:spPr>
            <c:extLst>
              <c:ext xmlns:c16="http://schemas.microsoft.com/office/drawing/2014/chart" uri="{C3380CC4-5D6E-409C-BE32-E72D297353CC}">
                <c16:uniqueId val="{0000081F-980B-4B2B-A6BA-FBAB5FE3CDBF}"/>
              </c:ext>
            </c:extLst>
          </c:dPt>
          <c:dPt>
            <c:idx val="1039"/>
            <c:invertIfNegative val="1"/>
            <c:bubble3D val="0"/>
            <c:spPr>
              <a:solidFill>
                <a:srgbClr val="AEABAB"/>
              </a:solidFill>
            </c:spPr>
            <c:extLst>
              <c:ext xmlns:c16="http://schemas.microsoft.com/office/drawing/2014/chart" uri="{C3380CC4-5D6E-409C-BE32-E72D297353CC}">
                <c16:uniqueId val="{00000821-980B-4B2B-A6BA-FBAB5FE3CDBF}"/>
              </c:ext>
            </c:extLst>
          </c:dPt>
          <c:dPt>
            <c:idx val="1040"/>
            <c:invertIfNegative val="1"/>
            <c:bubble3D val="0"/>
            <c:spPr>
              <a:solidFill>
                <a:srgbClr val="AEABAB"/>
              </a:solidFill>
            </c:spPr>
            <c:extLst>
              <c:ext xmlns:c16="http://schemas.microsoft.com/office/drawing/2014/chart" uri="{C3380CC4-5D6E-409C-BE32-E72D297353CC}">
                <c16:uniqueId val="{00000823-980B-4B2B-A6BA-FBAB5FE3CDBF}"/>
              </c:ext>
            </c:extLst>
          </c:dPt>
          <c:dPt>
            <c:idx val="1041"/>
            <c:invertIfNegative val="1"/>
            <c:bubble3D val="0"/>
            <c:spPr>
              <a:solidFill>
                <a:srgbClr val="AEABAB"/>
              </a:solidFill>
            </c:spPr>
            <c:extLst>
              <c:ext xmlns:c16="http://schemas.microsoft.com/office/drawing/2014/chart" uri="{C3380CC4-5D6E-409C-BE32-E72D297353CC}">
                <c16:uniqueId val="{00000825-980B-4B2B-A6BA-FBAB5FE3CDBF}"/>
              </c:ext>
            </c:extLst>
          </c:dPt>
          <c:dPt>
            <c:idx val="1042"/>
            <c:invertIfNegative val="1"/>
            <c:bubble3D val="0"/>
            <c:spPr>
              <a:solidFill>
                <a:srgbClr val="AEABAB"/>
              </a:solidFill>
            </c:spPr>
            <c:extLst>
              <c:ext xmlns:c16="http://schemas.microsoft.com/office/drawing/2014/chart" uri="{C3380CC4-5D6E-409C-BE32-E72D297353CC}">
                <c16:uniqueId val="{00000827-980B-4B2B-A6BA-FBAB5FE3CDBF}"/>
              </c:ext>
            </c:extLst>
          </c:dPt>
          <c:dPt>
            <c:idx val="1043"/>
            <c:invertIfNegative val="1"/>
            <c:bubble3D val="0"/>
            <c:spPr>
              <a:solidFill>
                <a:srgbClr val="AEABAB"/>
              </a:solidFill>
            </c:spPr>
            <c:extLst>
              <c:ext xmlns:c16="http://schemas.microsoft.com/office/drawing/2014/chart" uri="{C3380CC4-5D6E-409C-BE32-E72D297353CC}">
                <c16:uniqueId val="{00000829-980B-4B2B-A6BA-FBAB5FE3CDBF}"/>
              </c:ext>
            </c:extLst>
          </c:dPt>
          <c:dPt>
            <c:idx val="1044"/>
            <c:invertIfNegative val="1"/>
            <c:bubble3D val="0"/>
            <c:spPr>
              <a:solidFill>
                <a:srgbClr val="AEABAB"/>
              </a:solidFill>
            </c:spPr>
            <c:extLst>
              <c:ext xmlns:c16="http://schemas.microsoft.com/office/drawing/2014/chart" uri="{C3380CC4-5D6E-409C-BE32-E72D297353CC}">
                <c16:uniqueId val="{0000082B-980B-4B2B-A6BA-FBAB5FE3CDBF}"/>
              </c:ext>
            </c:extLst>
          </c:dPt>
          <c:dPt>
            <c:idx val="1045"/>
            <c:invertIfNegative val="1"/>
            <c:bubble3D val="0"/>
            <c:spPr>
              <a:solidFill>
                <a:srgbClr val="AEABAB"/>
              </a:solidFill>
            </c:spPr>
            <c:extLst>
              <c:ext xmlns:c16="http://schemas.microsoft.com/office/drawing/2014/chart" uri="{C3380CC4-5D6E-409C-BE32-E72D297353CC}">
                <c16:uniqueId val="{0000082D-980B-4B2B-A6BA-FBAB5FE3CDBF}"/>
              </c:ext>
            </c:extLst>
          </c:dPt>
          <c:dPt>
            <c:idx val="1046"/>
            <c:invertIfNegative val="1"/>
            <c:bubble3D val="0"/>
            <c:spPr>
              <a:solidFill>
                <a:srgbClr val="AEABAB"/>
              </a:solidFill>
            </c:spPr>
            <c:extLst>
              <c:ext xmlns:c16="http://schemas.microsoft.com/office/drawing/2014/chart" uri="{C3380CC4-5D6E-409C-BE32-E72D297353CC}">
                <c16:uniqueId val="{0000082F-980B-4B2B-A6BA-FBAB5FE3CDBF}"/>
              </c:ext>
            </c:extLst>
          </c:dPt>
          <c:dPt>
            <c:idx val="1047"/>
            <c:invertIfNegative val="1"/>
            <c:bubble3D val="0"/>
            <c:spPr>
              <a:solidFill>
                <a:srgbClr val="AEABAB"/>
              </a:solidFill>
            </c:spPr>
            <c:extLst>
              <c:ext xmlns:c16="http://schemas.microsoft.com/office/drawing/2014/chart" uri="{C3380CC4-5D6E-409C-BE32-E72D297353CC}">
                <c16:uniqueId val="{00000831-980B-4B2B-A6BA-FBAB5FE3CDBF}"/>
              </c:ext>
            </c:extLst>
          </c:dPt>
          <c:dPt>
            <c:idx val="1048"/>
            <c:invertIfNegative val="1"/>
            <c:bubble3D val="0"/>
            <c:spPr>
              <a:solidFill>
                <a:srgbClr val="AEABAB"/>
              </a:solidFill>
            </c:spPr>
            <c:extLst>
              <c:ext xmlns:c16="http://schemas.microsoft.com/office/drawing/2014/chart" uri="{C3380CC4-5D6E-409C-BE32-E72D297353CC}">
                <c16:uniqueId val="{00000833-980B-4B2B-A6BA-FBAB5FE3CDBF}"/>
              </c:ext>
            </c:extLst>
          </c:dPt>
          <c:dPt>
            <c:idx val="1049"/>
            <c:invertIfNegative val="1"/>
            <c:bubble3D val="0"/>
            <c:spPr>
              <a:solidFill>
                <a:srgbClr val="AEABAB"/>
              </a:solidFill>
            </c:spPr>
            <c:extLst>
              <c:ext xmlns:c16="http://schemas.microsoft.com/office/drawing/2014/chart" uri="{C3380CC4-5D6E-409C-BE32-E72D297353CC}">
                <c16:uniqueId val="{00000835-980B-4B2B-A6BA-FBAB5FE3CDBF}"/>
              </c:ext>
            </c:extLst>
          </c:dPt>
          <c:dPt>
            <c:idx val="1050"/>
            <c:invertIfNegative val="1"/>
            <c:bubble3D val="0"/>
            <c:spPr>
              <a:solidFill>
                <a:srgbClr val="AEABAB"/>
              </a:solidFill>
            </c:spPr>
            <c:extLst>
              <c:ext xmlns:c16="http://schemas.microsoft.com/office/drawing/2014/chart" uri="{C3380CC4-5D6E-409C-BE32-E72D297353CC}">
                <c16:uniqueId val="{00000837-980B-4B2B-A6BA-FBAB5FE3CDBF}"/>
              </c:ext>
            </c:extLst>
          </c:dPt>
          <c:dPt>
            <c:idx val="1051"/>
            <c:invertIfNegative val="1"/>
            <c:bubble3D val="0"/>
            <c:spPr>
              <a:solidFill>
                <a:srgbClr val="AEABAB"/>
              </a:solidFill>
            </c:spPr>
            <c:extLst>
              <c:ext xmlns:c16="http://schemas.microsoft.com/office/drawing/2014/chart" uri="{C3380CC4-5D6E-409C-BE32-E72D297353CC}">
                <c16:uniqueId val="{00000839-980B-4B2B-A6BA-FBAB5FE3CDBF}"/>
              </c:ext>
            </c:extLst>
          </c:dPt>
          <c:dPt>
            <c:idx val="1052"/>
            <c:invertIfNegative val="1"/>
            <c:bubble3D val="0"/>
            <c:spPr>
              <a:solidFill>
                <a:srgbClr val="AEABAB"/>
              </a:solidFill>
            </c:spPr>
            <c:extLst>
              <c:ext xmlns:c16="http://schemas.microsoft.com/office/drawing/2014/chart" uri="{C3380CC4-5D6E-409C-BE32-E72D297353CC}">
                <c16:uniqueId val="{0000083B-980B-4B2B-A6BA-FBAB5FE3CDBF}"/>
              </c:ext>
            </c:extLst>
          </c:dPt>
          <c:dPt>
            <c:idx val="1053"/>
            <c:invertIfNegative val="1"/>
            <c:bubble3D val="0"/>
            <c:spPr>
              <a:solidFill>
                <a:srgbClr val="AEABAB"/>
              </a:solidFill>
            </c:spPr>
            <c:extLst>
              <c:ext xmlns:c16="http://schemas.microsoft.com/office/drawing/2014/chart" uri="{C3380CC4-5D6E-409C-BE32-E72D297353CC}">
                <c16:uniqueId val="{0000083D-980B-4B2B-A6BA-FBAB5FE3CDBF}"/>
              </c:ext>
            </c:extLst>
          </c:dPt>
          <c:dPt>
            <c:idx val="1054"/>
            <c:invertIfNegative val="1"/>
            <c:bubble3D val="0"/>
            <c:spPr>
              <a:solidFill>
                <a:srgbClr val="AEABAB"/>
              </a:solidFill>
            </c:spPr>
            <c:extLst>
              <c:ext xmlns:c16="http://schemas.microsoft.com/office/drawing/2014/chart" uri="{C3380CC4-5D6E-409C-BE32-E72D297353CC}">
                <c16:uniqueId val="{0000083F-980B-4B2B-A6BA-FBAB5FE3CDBF}"/>
              </c:ext>
            </c:extLst>
          </c:dPt>
          <c:dPt>
            <c:idx val="1055"/>
            <c:invertIfNegative val="1"/>
            <c:bubble3D val="0"/>
            <c:spPr>
              <a:solidFill>
                <a:srgbClr val="AEABAB"/>
              </a:solidFill>
            </c:spPr>
            <c:extLst>
              <c:ext xmlns:c16="http://schemas.microsoft.com/office/drawing/2014/chart" uri="{C3380CC4-5D6E-409C-BE32-E72D297353CC}">
                <c16:uniqueId val="{00000841-980B-4B2B-A6BA-FBAB5FE3CDBF}"/>
              </c:ext>
            </c:extLst>
          </c:dPt>
          <c:dPt>
            <c:idx val="1056"/>
            <c:invertIfNegative val="1"/>
            <c:bubble3D val="0"/>
            <c:spPr>
              <a:solidFill>
                <a:srgbClr val="AEABAB"/>
              </a:solidFill>
            </c:spPr>
            <c:extLst>
              <c:ext xmlns:c16="http://schemas.microsoft.com/office/drawing/2014/chart" uri="{C3380CC4-5D6E-409C-BE32-E72D297353CC}">
                <c16:uniqueId val="{00000843-980B-4B2B-A6BA-FBAB5FE3CDBF}"/>
              </c:ext>
            </c:extLst>
          </c:dPt>
          <c:dPt>
            <c:idx val="1057"/>
            <c:invertIfNegative val="1"/>
            <c:bubble3D val="0"/>
            <c:spPr>
              <a:solidFill>
                <a:srgbClr val="AEABAB"/>
              </a:solidFill>
            </c:spPr>
            <c:extLst>
              <c:ext xmlns:c16="http://schemas.microsoft.com/office/drawing/2014/chart" uri="{C3380CC4-5D6E-409C-BE32-E72D297353CC}">
                <c16:uniqueId val="{00000845-980B-4B2B-A6BA-FBAB5FE3CDBF}"/>
              </c:ext>
            </c:extLst>
          </c:dPt>
          <c:dPt>
            <c:idx val="1058"/>
            <c:invertIfNegative val="1"/>
            <c:bubble3D val="0"/>
            <c:spPr>
              <a:solidFill>
                <a:srgbClr val="AEABAB"/>
              </a:solidFill>
            </c:spPr>
            <c:extLst>
              <c:ext xmlns:c16="http://schemas.microsoft.com/office/drawing/2014/chart" uri="{C3380CC4-5D6E-409C-BE32-E72D297353CC}">
                <c16:uniqueId val="{00000847-980B-4B2B-A6BA-FBAB5FE3CDBF}"/>
              </c:ext>
            </c:extLst>
          </c:dPt>
          <c:dPt>
            <c:idx val="1059"/>
            <c:invertIfNegative val="1"/>
            <c:bubble3D val="0"/>
            <c:spPr>
              <a:solidFill>
                <a:srgbClr val="AEABAB"/>
              </a:solidFill>
            </c:spPr>
            <c:extLst>
              <c:ext xmlns:c16="http://schemas.microsoft.com/office/drawing/2014/chart" uri="{C3380CC4-5D6E-409C-BE32-E72D297353CC}">
                <c16:uniqueId val="{00000849-980B-4B2B-A6BA-FBAB5FE3CDBF}"/>
              </c:ext>
            </c:extLst>
          </c:dPt>
          <c:dPt>
            <c:idx val="1060"/>
            <c:invertIfNegative val="1"/>
            <c:bubble3D val="0"/>
            <c:spPr>
              <a:solidFill>
                <a:srgbClr val="AEABAB"/>
              </a:solidFill>
            </c:spPr>
            <c:extLst>
              <c:ext xmlns:c16="http://schemas.microsoft.com/office/drawing/2014/chart" uri="{C3380CC4-5D6E-409C-BE32-E72D297353CC}">
                <c16:uniqueId val="{0000084B-980B-4B2B-A6BA-FBAB5FE3CDBF}"/>
              </c:ext>
            </c:extLst>
          </c:dPt>
          <c:dPt>
            <c:idx val="1061"/>
            <c:invertIfNegative val="1"/>
            <c:bubble3D val="0"/>
            <c:spPr>
              <a:solidFill>
                <a:srgbClr val="AEABAB"/>
              </a:solidFill>
            </c:spPr>
            <c:extLst>
              <c:ext xmlns:c16="http://schemas.microsoft.com/office/drawing/2014/chart" uri="{C3380CC4-5D6E-409C-BE32-E72D297353CC}">
                <c16:uniqueId val="{0000084D-980B-4B2B-A6BA-FBAB5FE3CDBF}"/>
              </c:ext>
            </c:extLst>
          </c:dPt>
          <c:dPt>
            <c:idx val="1062"/>
            <c:invertIfNegative val="1"/>
            <c:bubble3D val="0"/>
            <c:spPr>
              <a:solidFill>
                <a:srgbClr val="AEABAB"/>
              </a:solidFill>
            </c:spPr>
            <c:extLst>
              <c:ext xmlns:c16="http://schemas.microsoft.com/office/drawing/2014/chart" uri="{C3380CC4-5D6E-409C-BE32-E72D297353CC}">
                <c16:uniqueId val="{0000084F-980B-4B2B-A6BA-FBAB5FE3CDBF}"/>
              </c:ext>
            </c:extLst>
          </c:dPt>
          <c:dPt>
            <c:idx val="1063"/>
            <c:invertIfNegative val="1"/>
            <c:bubble3D val="0"/>
            <c:spPr>
              <a:solidFill>
                <a:srgbClr val="AEABAB"/>
              </a:solidFill>
            </c:spPr>
            <c:extLst>
              <c:ext xmlns:c16="http://schemas.microsoft.com/office/drawing/2014/chart" uri="{C3380CC4-5D6E-409C-BE32-E72D297353CC}">
                <c16:uniqueId val="{00000851-980B-4B2B-A6BA-FBAB5FE3CDBF}"/>
              </c:ext>
            </c:extLst>
          </c:dPt>
          <c:dPt>
            <c:idx val="1064"/>
            <c:invertIfNegative val="1"/>
            <c:bubble3D val="0"/>
            <c:spPr>
              <a:solidFill>
                <a:srgbClr val="AEABAB"/>
              </a:solidFill>
            </c:spPr>
            <c:extLst>
              <c:ext xmlns:c16="http://schemas.microsoft.com/office/drawing/2014/chart" uri="{C3380CC4-5D6E-409C-BE32-E72D297353CC}">
                <c16:uniqueId val="{00000853-980B-4B2B-A6BA-FBAB5FE3CDBF}"/>
              </c:ext>
            </c:extLst>
          </c:dPt>
          <c:dPt>
            <c:idx val="1065"/>
            <c:invertIfNegative val="1"/>
            <c:bubble3D val="0"/>
            <c:spPr>
              <a:solidFill>
                <a:srgbClr val="AEABAB"/>
              </a:solidFill>
            </c:spPr>
            <c:extLst>
              <c:ext xmlns:c16="http://schemas.microsoft.com/office/drawing/2014/chart" uri="{C3380CC4-5D6E-409C-BE32-E72D297353CC}">
                <c16:uniqueId val="{00000855-980B-4B2B-A6BA-FBAB5FE3CDBF}"/>
              </c:ext>
            </c:extLst>
          </c:dPt>
          <c:dPt>
            <c:idx val="1066"/>
            <c:invertIfNegative val="1"/>
            <c:bubble3D val="0"/>
            <c:spPr>
              <a:solidFill>
                <a:srgbClr val="AEABAB"/>
              </a:solidFill>
            </c:spPr>
            <c:extLst>
              <c:ext xmlns:c16="http://schemas.microsoft.com/office/drawing/2014/chart" uri="{C3380CC4-5D6E-409C-BE32-E72D297353CC}">
                <c16:uniqueId val="{00000857-980B-4B2B-A6BA-FBAB5FE3CDBF}"/>
              </c:ext>
            </c:extLst>
          </c:dPt>
          <c:dPt>
            <c:idx val="1067"/>
            <c:invertIfNegative val="1"/>
            <c:bubble3D val="0"/>
            <c:spPr>
              <a:solidFill>
                <a:srgbClr val="AEABAB"/>
              </a:solidFill>
            </c:spPr>
            <c:extLst>
              <c:ext xmlns:c16="http://schemas.microsoft.com/office/drawing/2014/chart" uri="{C3380CC4-5D6E-409C-BE32-E72D297353CC}">
                <c16:uniqueId val="{00000859-980B-4B2B-A6BA-FBAB5FE3CDBF}"/>
              </c:ext>
            </c:extLst>
          </c:dPt>
          <c:dPt>
            <c:idx val="1068"/>
            <c:invertIfNegative val="1"/>
            <c:bubble3D val="0"/>
            <c:spPr>
              <a:solidFill>
                <a:srgbClr val="AEABAB"/>
              </a:solidFill>
            </c:spPr>
            <c:extLst>
              <c:ext xmlns:c16="http://schemas.microsoft.com/office/drawing/2014/chart" uri="{C3380CC4-5D6E-409C-BE32-E72D297353CC}">
                <c16:uniqueId val="{0000085B-980B-4B2B-A6BA-FBAB5FE3CDBF}"/>
              </c:ext>
            </c:extLst>
          </c:dPt>
          <c:dPt>
            <c:idx val="1069"/>
            <c:invertIfNegative val="1"/>
            <c:bubble3D val="0"/>
            <c:spPr>
              <a:solidFill>
                <a:srgbClr val="AEABAB"/>
              </a:solidFill>
            </c:spPr>
            <c:extLst>
              <c:ext xmlns:c16="http://schemas.microsoft.com/office/drawing/2014/chart" uri="{C3380CC4-5D6E-409C-BE32-E72D297353CC}">
                <c16:uniqueId val="{0000085D-980B-4B2B-A6BA-FBAB5FE3CDBF}"/>
              </c:ext>
            </c:extLst>
          </c:dPt>
          <c:dPt>
            <c:idx val="1070"/>
            <c:invertIfNegative val="1"/>
            <c:bubble3D val="0"/>
            <c:spPr>
              <a:solidFill>
                <a:srgbClr val="AEABAB"/>
              </a:solidFill>
            </c:spPr>
            <c:extLst>
              <c:ext xmlns:c16="http://schemas.microsoft.com/office/drawing/2014/chart" uri="{C3380CC4-5D6E-409C-BE32-E72D297353CC}">
                <c16:uniqueId val="{0000085F-980B-4B2B-A6BA-FBAB5FE3CDBF}"/>
              </c:ext>
            </c:extLst>
          </c:dPt>
          <c:dPt>
            <c:idx val="1071"/>
            <c:invertIfNegative val="1"/>
            <c:bubble3D val="0"/>
            <c:spPr>
              <a:solidFill>
                <a:srgbClr val="AEABAB"/>
              </a:solidFill>
            </c:spPr>
            <c:extLst>
              <c:ext xmlns:c16="http://schemas.microsoft.com/office/drawing/2014/chart" uri="{C3380CC4-5D6E-409C-BE32-E72D297353CC}">
                <c16:uniqueId val="{00000861-980B-4B2B-A6BA-FBAB5FE3CDBF}"/>
              </c:ext>
            </c:extLst>
          </c:dPt>
          <c:dPt>
            <c:idx val="1072"/>
            <c:invertIfNegative val="1"/>
            <c:bubble3D val="0"/>
            <c:spPr>
              <a:solidFill>
                <a:srgbClr val="AEABAB"/>
              </a:solidFill>
            </c:spPr>
            <c:extLst>
              <c:ext xmlns:c16="http://schemas.microsoft.com/office/drawing/2014/chart" uri="{C3380CC4-5D6E-409C-BE32-E72D297353CC}">
                <c16:uniqueId val="{00000863-980B-4B2B-A6BA-FBAB5FE3CDBF}"/>
              </c:ext>
            </c:extLst>
          </c:dPt>
          <c:dPt>
            <c:idx val="1073"/>
            <c:invertIfNegative val="1"/>
            <c:bubble3D val="0"/>
            <c:spPr>
              <a:solidFill>
                <a:srgbClr val="AEABAB"/>
              </a:solidFill>
            </c:spPr>
            <c:extLst>
              <c:ext xmlns:c16="http://schemas.microsoft.com/office/drawing/2014/chart" uri="{C3380CC4-5D6E-409C-BE32-E72D297353CC}">
                <c16:uniqueId val="{00000865-980B-4B2B-A6BA-FBAB5FE3CDBF}"/>
              </c:ext>
            </c:extLst>
          </c:dPt>
          <c:dPt>
            <c:idx val="1074"/>
            <c:invertIfNegative val="1"/>
            <c:bubble3D val="0"/>
            <c:spPr>
              <a:solidFill>
                <a:srgbClr val="AEABAB"/>
              </a:solidFill>
            </c:spPr>
            <c:extLst>
              <c:ext xmlns:c16="http://schemas.microsoft.com/office/drawing/2014/chart" uri="{C3380CC4-5D6E-409C-BE32-E72D297353CC}">
                <c16:uniqueId val="{00000867-980B-4B2B-A6BA-FBAB5FE3CDBF}"/>
              </c:ext>
            </c:extLst>
          </c:dPt>
          <c:dPt>
            <c:idx val="1075"/>
            <c:invertIfNegative val="1"/>
            <c:bubble3D val="0"/>
            <c:spPr>
              <a:solidFill>
                <a:srgbClr val="AEABAB"/>
              </a:solidFill>
            </c:spPr>
            <c:extLst>
              <c:ext xmlns:c16="http://schemas.microsoft.com/office/drawing/2014/chart" uri="{C3380CC4-5D6E-409C-BE32-E72D297353CC}">
                <c16:uniqueId val="{00000869-980B-4B2B-A6BA-FBAB5FE3CDBF}"/>
              </c:ext>
            </c:extLst>
          </c:dPt>
          <c:dPt>
            <c:idx val="1076"/>
            <c:invertIfNegative val="1"/>
            <c:bubble3D val="0"/>
            <c:spPr>
              <a:solidFill>
                <a:srgbClr val="AEABAB"/>
              </a:solidFill>
            </c:spPr>
            <c:extLst>
              <c:ext xmlns:c16="http://schemas.microsoft.com/office/drawing/2014/chart" uri="{C3380CC4-5D6E-409C-BE32-E72D297353CC}">
                <c16:uniqueId val="{0000086B-980B-4B2B-A6BA-FBAB5FE3CDBF}"/>
              </c:ext>
            </c:extLst>
          </c:dPt>
          <c:dPt>
            <c:idx val="1077"/>
            <c:invertIfNegative val="1"/>
            <c:bubble3D val="0"/>
            <c:spPr>
              <a:solidFill>
                <a:srgbClr val="AEABAB"/>
              </a:solidFill>
            </c:spPr>
            <c:extLst>
              <c:ext xmlns:c16="http://schemas.microsoft.com/office/drawing/2014/chart" uri="{C3380CC4-5D6E-409C-BE32-E72D297353CC}">
                <c16:uniqueId val="{0000086D-980B-4B2B-A6BA-FBAB5FE3CDBF}"/>
              </c:ext>
            </c:extLst>
          </c:dPt>
          <c:dPt>
            <c:idx val="1078"/>
            <c:invertIfNegative val="1"/>
            <c:bubble3D val="0"/>
            <c:spPr>
              <a:solidFill>
                <a:srgbClr val="AEABAB"/>
              </a:solidFill>
            </c:spPr>
            <c:extLst>
              <c:ext xmlns:c16="http://schemas.microsoft.com/office/drawing/2014/chart" uri="{C3380CC4-5D6E-409C-BE32-E72D297353CC}">
                <c16:uniqueId val="{0000086F-980B-4B2B-A6BA-FBAB5FE3CDBF}"/>
              </c:ext>
            </c:extLst>
          </c:dPt>
          <c:dPt>
            <c:idx val="1079"/>
            <c:invertIfNegative val="1"/>
            <c:bubble3D val="0"/>
            <c:spPr>
              <a:solidFill>
                <a:srgbClr val="AEABAB"/>
              </a:solidFill>
            </c:spPr>
            <c:extLst>
              <c:ext xmlns:c16="http://schemas.microsoft.com/office/drawing/2014/chart" uri="{C3380CC4-5D6E-409C-BE32-E72D297353CC}">
                <c16:uniqueId val="{00000871-980B-4B2B-A6BA-FBAB5FE3CDBF}"/>
              </c:ext>
            </c:extLst>
          </c:dPt>
          <c:dPt>
            <c:idx val="1080"/>
            <c:invertIfNegative val="1"/>
            <c:bubble3D val="0"/>
            <c:spPr>
              <a:solidFill>
                <a:srgbClr val="AEABAB"/>
              </a:solidFill>
            </c:spPr>
            <c:extLst>
              <c:ext xmlns:c16="http://schemas.microsoft.com/office/drawing/2014/chart" uri="{C3380CC4-5D6E-409C-BE32-E72D297353CC}">
                <c16:uniqueId val="{00000873-980B-4B2B-A6BA-FBAB5FE3CDBF}"/>
              </c:ext>
            </c:extLst>
          </c:dPt>
          <c:dPt>
            <c:idx val="1081"/>
            <c:invertIfNegative val="1"/>
            <c:bubble3D val="0"/>
            <c:spPr>
              <a:solidFill>
                <a:srgbClr val="AEABAB"/>
              </a:solidFill>
            </c:spPr>
            <c:extLst>
              <c:ext xmlns:c16="http://schemas.microsoft.com/office/drawing/2014/chart" uri="{C3380CC4-5D6E-409C-BE32-E72D297353CC}">
                <c16:uniqueId val="{00000875-980B-4B2B-A6BA-FBAB5FE3CDBF}"/>
              </c:ext>
            </c:extLst>
          </c:dPt>
          <c:dPt>
            <c:idx val="1082"/>
            <c:invertIfNegative val="1"/>
            <c:bubble3D val="0"/>
            <c:spPr>
              <a:solidFill>
                <a:srgbClr val="AEABAB"/>
              </a:solidFill>
            </c:spPr>
            <c:extLst>
              <c:ext xmlns:c16="http://schemas.microsoft.com/office/drawing/2014/chart" uri="{C3380CC4-5D6E-409C-BE32-E72D297353CC}">
                <c16:uniqueId val="{00000877-980B-4B2B-A6BA-FBAB5FE3CDBF}"/>
              </c:ext>
            </c:extLst>
          </c:dPt>
          <c:dPt>
            <c:idx val="1083"/>
            <c:invertIfNegative val="1"/>
            <c:bubble3D val="0"/>
            <c:spPr>
              <a:solidFill>
                <a:srgbClr val="AEABAB"/>
              </a:solidFill>
            </c:spPr>
            <c:extLst>
              <c:ext xmlns:c16="http://schemas.microsoft.com/office/drawing/2014/chart" uri="{C3380CC4-5D6E-409C-BE32-E72D297353CC}">
                <c16:uniqueId val="{00000879-980B-4B2B-A6BA-FBAB5FE3CDBF}"/>
              </c:ext>
            </c:extLst>
          </c:dPt>
          <c:dPt>
            <c:idx val="1084"/>
            <c:invertIfNegative val="1"/>
            <c:bubble3D val="0"/>
            <c:spPr>
              <a:solidFill>
                <a:srgbClr val="AEABAB"/>
              </a:solidFill>
            </c:spPr>
            <c:extLst>
              <c:ext xmlns:c16="http://schemas.microsoft.com/office/drawing/2014/chart" uri="{C3380CC4-5D6E-409C-BE32-E72D297353CC}">
                <c16:uniqueId val="{0000087B-980B-4B2B-A6BA-FBAB5FE3CDBF}"/>
              </c:ext>
            </c:extLst>
          </c:dPt>
          <c:dPt>
            <c:idx val="1085"/>
            <c:invertIfNegative val="1"/>
            <c:bubble3D val="0"/>
            <c:spPr>
              <a:solidFill>
                <a:srgbClr val="AEABAB"/>
              </a:solidFill>
            </c:spPr>
            <c:extLst>
              <c:ext xmlns:c16="http://schemas.microsoft.com/office/drawing/2014/chart" uri="{C3380CC4-5D6E-409C-BE32-E72D297353CC}">
                <c16:uniqueId val="{0000087D-980B-4B2B-A6BA-FBAB5FE3CDBF}"/>
              </c:ext>
            </c:extLst>
          </c:dPt>
          <c:dPt>
            <c:idx val="1086"/>
            <c:invertIfNegative val="1"/>
            <c:bubble3D val="0"/>
            <c:spPr>
              <a:solidFill>
                <a:srgbClr val="AEABAB"/>
              </a:solidFill>
            </c:spPr>
            <c:extLst>
              <c:ext xmlns:c16="http://schemas.microsoft.com/office/drawing/2014/chart" uri="{C3380CC4-5D6E-409C-BE32-E72D297353CC}">
                <c16:uniqueId val="{0000087F-980B-4B2B-A6BA-FBAB5FE3CDBF}"/>
              </c:ext>
            </c:extLst>
          </c:dPt>
          <c:dPt>
            <c:idx val="1087"/>
            <c:invertIfNegative val="1"/>
            <c:bubble3D val="0"/>
            <c:spPr>
              <a:solidFill>
                <a:srgbClr val="AEABAB"/>
              </a:solidFill>
            </c:spPr>
            <c:extLst>
              <c:ext xmlns:c16="http://schemas.microsoft.com/office/drawing/2014/chart" uri="{C3380CC4-5D6E-409C-BE32-E72D297353CC}">
                <c16:uniqueId val="{00000881-980B-4B2B-A6BA-FBAB5FE3CDBF}"/>
              </c:ext>
            </c:extLst>
          </c:dPt>
          <c:dPt>
            <c:idx val="1088"/>
            <c:invertIfNegative val="1"/>
            <c:bubble3D val="0"/>
            <c:spPr>
              <a:solidFill>
                <a:srgbClr val="AEABAB"/>
              </a:solidFill>
            </c:spPr>
            <c:extLst>
              <c:ext xmlns:c16="http://schemas.microsoft.com/office/drawing/2014/chart" uri="{C3380CC4-5D6E-409C-BE32-E72D297353CC}">
                <c16:uniqueId val="{00000883-980B-4B2B-A6BA-FBAB5FE3CDBF}"/>
              </c:ext>
            </c:extLst>
          </c:dPt>
          <c:dPt>
            <c:idx val="1089"/>
            <c:invertIfNegative val="1"/>
            <c:bubble3D val="0"/>
            <c:spPr>
              <a:solidFill>
                <a:srgbClr val="AEABAB"/>
              </a:solidFill>
            </c:spPr>
            <c:extLst>
              <c:ext xmlns:c16="http://schemas.microsoft.com/office/drawing/2014/chart" uri="{C3380CC4-5D6E-409C-BE32-E72D297353CC}">
                <c16:uniqueId val="{00000885-980B-4B2B-A6BA-FBAB5FE3CDBF}"/>
              </c:ext>
            </c:extLst>
          </c:dPt>
          <c:dPt>
            <c:idx val="1090"/>
            <c:invertIfNegative val="1"/>
            <c:bubble3D val="0"/>
            <c:spPr>
              <a:solidFill>
                <a:srgbClr val="AEABAB"/>
              </a:solidFill>
            </c:spPr>
            <c:extLst>
              <c:ext xmlns:c16="http://schemas.microsoft.com/office/drawing/2014/chart" uri="{C3380CC4-5D6E-409C-BE32-E72D297353CC}">
                <c16:uniqueId val="{00000887-980B-4B2B-A6BA-FBAB5FE3CDBF}"/>
              </c:ext>
            </c:extLst>
          </c:dPt>
          <c:dPt>
            <c:idx val="1091"/>
            <c:invertIfNegative val="1"/>
            <c:bubble3D val="0"/>
            <c:spPr>
              <a:solidFill>
                <a:srgbClr val="AEABAB"/>
              </a:solidFill>
            </c:spPr>
            <c:extLst>
              <c:ext xmlns:c16="http://schemas.microsoft.com/office/drawing/2014/chart" uri="{C3380CC4-5D6E-409C-BE32-E72D297353CC}">
                <c16:uniqueId val="{00000889-980B-4B2B-A6BA-FBAB5FE3CDBF}"/>
              </c:ext>
            </c:extLst>
          </c:dPt>
          <c:dPt>
            <c:idx val="1092"/>
            <c:invertIfNegative val="1"/>
            <c:bubble3D val="0"/>
            <c:spPr>
              <a:solidFill>
                <a:srgbClr val="AEABAB"/>
              </a:solidFill>
            </c:spPr>
            <c:extLst>
              <c:ext xmlns:c16="http://schemas.microsoft.com/office/drawing/2014/chart" uri="{C3380CC4-5D6E-409C-BE32-E72D297353CC}">
                <c16:uniqueId val="{0000088B-980B-4B2B-A6BA-FBAB5FE3CDBF}"/>
              </c:ext>
            </c:extLst>
          </c:dPt>
          <c:dPt>
            <c:idx val="1093"/>
            <c:invertIfNegative val="1"/>
            <c:bubble3D val="0"/>
            <c:spPr>
              <a:solidFill>
                <a:srgbClr val="AEABAB"/>
              </a:solidFill>
            </c:spPr>
            <c:extLst>
              <c:ext xmlns:c16="http://schemas.microsoft.com/office/drawing/2014/chart" uri="{C3380CC4-5D6E-409C-BE32-E72D297353CC}">
                <c16:uniqueId val="{0000088D-980B-4B2B-A6BA-FBAB5FE3CDBF}"/>
              </c:ext>
            </c:extLst>
          </c:dPt>
          <c:dPt>
            <c:idx val="1094"/>
            <c:invertIfNegative val="1"/>
            <c:bubble3D val="0"/>
            <c:spPr>
              <a:solidFill>
                <a:srgbClr val="AEABAB"/>
              </a:solidFill>
            </c:spPr>
            <c:extLst>
              <c:ext xmlns:c16="http://schemas.microsoft.com/office/drawing/2014/chart" uri="{C3380CC4-5D6E-409C-BE32-E72D297353CC}">
                <c16:uniqueId val="{0000088F-980B-4B2B-A6BA-FBAB5FE3CDBF}"/>
              </c:ext>
            </c:extLst>
          </c:dPt>
          <c:dPt>
            <c:idx val="1095"/>
            <c:invertIfNegative val="1"/>
            <c:bubble3D val="0"/>
            <c:spPr>
              <a:solidFill>
                <a:srgbClr val="AEABAB"/>
              </a:solidFill>
            </c:spPr>
            <c:extLst>
              <c:ext xmlns:c16="http://schemas.microsoft.com/office/drawing/2014/chart" uri="{C3380CC4-5D6E-409C-BE32-E72D297353CC}">
                <c16:uniqueId val="{00000891-980B-4B2B-A6BA-FBAB5FE3CDBF}"/>
              </c:ext>
            </c:extLst>
          </c:dPt>
          <c:dPt>
            <c:idx val="1096"/>
            <c:invertIfNegative val="1"/>
            <c:bubble3D val="0"/>
            <c:spPr>
              <a:solidFill>
                <a:srgbClr val="AEABAB"/>
              </a:solidFill>
            </c:spPr>
            <c:extLst>
              <c:ext xmlns:c16="http://schemas.microsoft.com/office/drawing/2014/chart" uri="{C3380CC4-5D6E-409C-BE32-E72D297353CC}">
                <c16:uniqueId val="{00000893-980B-4B2B-A6BA-FBAB5FE3CDBF}"/>
              </c:ext>
            </c:extLst>
          </c:dPt>
          <c:dPt>
            <c:idx val="1097"/>
            <c:invertIfNegative val="1"/>
            <c:bubble3D val="0"/>
            <c:spPr>
              <a:solidFill>
                <a:srgbClr val="AEABAB"/>
              </a:solidFill>
            </c:spPr>
            <c:extLst>
              <c:ext xmlns:c16="http://schemas.microsoft.com/office/drawing/2014/chart" uri="{C3380CC4-5D6E-409C-BE32-E72D297353CC}">
                <c16:uniqueId val="{00000895-980B-4B2B-A6BA-FBAB5FE3CDBF}"/>
              </c:ext>
            </c:extLst>
          </c:dPt>
          <c:dPt>
            <c:idx val="1098"/>
            <c:invertIfNegative val="1"/>
            <c:bubble3D val="0"/>
            <c:spPr>
              <a:solidFill>
                <a:srgbClr val="AEABAB"/>
              </a:solidFill>
            </c:spPr>
            <c:extLst>
              <c:ext xmlns:c16="http://schemas.microsoft.com/office/drawing/2014/chart" uri="{C3380CC4-5D6E-409C-BE32-E72D297353CC}">
                <c16:uniqueId val="{00000897-980B-4B2B-A6BA-FBAB5FE3CDBF}"/>
              </c:ext>
            </c:extLst>
          </c:dPt>
          <c:dPt>
            <c:idx val="1099"/>
            <c:invertIfNegative val="1"/>
            <c:bubble3D val="0"/>
            <c:spPr>
              <a:solidFill>
                <a:srgbClr val="AEABAB"/>
              </a:solidFill>
            </c:spPr>
            <c:extLst>
              <c:ext xmlns:c16="http://schemas.microsoft.com/office/drawing/2014/chart" uri="{C3380CC4-5D6E-409C-BE32-E72D297353CC}">
                <c16:uniqueId val="{00000899-980B-4B2B-A6BA-FBAB5FE3CDBF}"/>
              </c:ext>
            </c:extLst>
          </c:dPt>
          <c:dPt>
            <c:idx val="1100"/>
            <c:invertIfNegative val="1"/>
            <c:bubble3D val="0"/>
            <c:spPr>
              <a:solidFill>
                <a:srgbClr val="AEABAB"/>
              </a:solidFill>
            </c:spPr>
            <c:extLst>
              <c:ext xmlns:c16="http://schemas.microsoft.com/office/drawing/2014/chart" uri="{C3380CC4-5D6E-409C-BE32-E72D297353CC}">
                <c16:uniqueId val="{0000089B-980B-4B2B-A6BA-FBAB5FE3CDBF}"/>
              </c:ext>
            </c:extLst>
          </c:dPt>
          <c:dPt>
            <c:idx val="1101"/>
            <c:invertIfNegative val="1"/>
            <c:bubble3D val="0"/>
            <c:spPr>
              <a:solidFill>
                <a:srgbClr val="AEABAB"/>
              </a:solidFill>
            </c:spPr>
            <c:extLst>
              <c:ext xmlns:c16="http://schemas.microsoft.com/office/drawing/2014/chart" uri="{C3380CC4-5D6E-409C-BE32-E72D297353CC}">
                <c16:uniqueId val="{0000089D-980B-4B2B-A6BA-FBAB5FE3CDBF}"/>
              </c:ext>
            </c:extLst>
          </c:dPt>
          <c:dPt>
            <c:idx val="1102"/>
            <c:invertIfNegative val="1"/>
            <c:bubble3D val="0"/>
            <c:spPr>
              <a:solidFill>
                <a:srgbClr val="AEABAB"/>
              </a:solidFill>
            </c:spPr>
            <c:extLst>
              <c:ext xmlns:c16="http://schemas.microsoft.com/office/drawing/2014/chart" uri="{C3380CC4-5D6E-409C-BE32-E72D297353CC}">
                <c16:uniqueId val="{0000089F-980B-4B2B-A6BA-FBAB5FE3CDBF}"/>
              </c:ext>
            </c:extLst>
          </c:dPt>
          <c:dPt>
            <c:idx val="1103"/>
            <c:invertIfNegative val="1"/>
            <c:bubble3D val="0"/>
            <c:spPr>
              <a:solidFill>
                <a:srgbClr val="AEABAB"/>
              </a:solidFill>
            </c:spPr>
            <c:extLst>
              <c:ext xmlns:c16="http://schemas.microsoft.com/office/drawing/2014/chart" uri="{C3380CC4-5D6E-409C-BE32-E72D297353CC}">
                <c16:uniqueId val="{000008A1-980B-4B2B-A6BA-FBAB5FE3CDBF}"/>
              </c:ext>
            </c:extLst>
          </c:dPt>
          <c:dPt>
            <c:idx val="1104"/>
            <c:invertIfNegative val="1"/>
            <c:bubble3D val="0"/>
            <c:spPr>
              <a:solidFill>
                <a:srgbClr val="AEABAB"/>
              </a:solidFill>
            </c:spPr>
            <c:extLst>
              <c:ext xmlns:c16="http://schemas.microsoft.com/office/drawing/2014/chart" uri="{C3380CC4-5D6E-409C-BE32-E72D297353CC}">
                <c16:uniqueId val="{000008A3-980B-4B2B-A6BA-FBAB5FE3CDBF}"/>
              </c:ext>
            </c:extLst>
          </c:dPt>
          <c:dPt>
            <c:idx val="1105"/>
            <c:invertIfNegative val="1"/>
            <c:bubble3D val="0"/>
            <c:spPr>
              <a:solidFill>
                <a:srgbClr val="AEABAB"/>
              </a:solidFill>
            </c:spPr>
            <c:extLst>
              <c:ext xmlns:c16="http://schemas.microsoft.com/office/drawing/2014/chart" uri="{C3380CC4-5D6E-409C-BE32-E72D297353CC}">
                <c16:uniqueId val="{000008A5-980B-4B2B-A6BA-FBAB5FE3CDBF}"/>
              </c:ext>
            </c:extLst>
          </c:dPt>
          <c:dPt>
            <c:idx val="1106"/>
            <c:invertIfNegative val="1"/>
            <c:bubble3D val="0"/>
            <c:spPr>
              <a:solidFill>
                <a:srgbClr val="AEABAB"/>
              </a:solidFill>
            </c:spPr>
            <c:extLst>
              <c:ext xmlns:c16="http://schemas.microsoft.com/office/drawing/2014/chart" uri="{C3380CC4-5D6E-409C-BE32-E72D297353CC}">
                <c16:uniqueId val="{000008A7-980B-4B2B-A6BA-FBAB5FE3CDBF}"/>
              </c:ext>
            </c:extLst>
          </c:dPt>
          <c:dPt>
            <c:idx val="1107"/>
            <c:invertIfNegative val="1"/>
            <c:bubble3D val="0"/>
            <c:spPr>
              <a:solidFill>
                <a:srgbClr val="AEABAB"/>
              </a:solidFill>
            </c:spPr>
            <c:extLst>
              <c:ext xmlns:c16="http://schemas.microsoft.com/office/drawing/2014/chart" uri="{C3380CC4-5D6E-409C-BE32-E72D297353CC}">
                <c16:uniqueId val="{000008A9-980B-4B2B-A6BA-FBAB5FE3CDBF}"/>
              </c:ext>
            </c:extLst>
          </c:dPt>
          <c:dPt>
            <c:idx val="1108"/>
            <c:invertIfNegative val="1"/>
            <c:bubble3D val="0"/>
            <c:spPr>
              <a:solidFill>
                <a:srgbClr val="AEABAB"/>
              </a:solidFill>
            </c:spPr>
            <c:extLst>
              <c:ext xmlns:c16="http://schemas.microsoft.com/office/drawing/2014/chart" uri="{C3380CC4-5D6E-409C-BE32-E72D297353CC}">
                <c16:uniqueId val="{000008AB-980B-4B2B-A6BA-FBAB5FE3CDBF}"/>
              </c:ext>
            </c:extLst>
          </c:dPt>
          <c:dPt>
            <c:idx val="1109"/>
            <c:invertIfNegative val="1"/>
            <c:bubble3D val="0"/>
            <c:spPr>
              <a:solidFill>
                <a:srgbClr val="AEABAB"/>
              </a:solidFill>
            </c:spPr>
            <c:extLst>
              <c:ext xmlns:c16="http://schemas.microsoft.com/office/drawing/2014/chart" uri="{C3380CC4-5D6E-409C-BE32-E72D297353CC}">
                <c16:uniqueId val="{000008AD-980B-4B2B-A6BA-FBAB5FE3CDBF}"/>
              </c:ext>
            </c:extLst>
          </c:dPt>
          <c:dPt>
            <c:idx val="1110"/>
            <c:invertIfNegative val="1"/>
            <c:bubble3D val="0"/>
            <c:spPr>
              <a:solidFill>
                <a:srgbClr val="AEABAB"/>
              </a:solidFill>
            </c:spPr>
            <c:extLst>
              <c:ext xmlns:c16="http://schemas.microsoft.com/office/drawing/2014/chart" uri="{C3380CC4-5D6E-409C-BE32-E72D297353CC}">
                <c16:uniqueId val="{000008AF-980B-4B2B-A6BA-FBAB5FE3CDBF}"/>
              </c:ext>
            </c:extLst>
          </c:dPt>
          <c:dPt>
            <c:idx val="1111"/>
            <c:invertIfNegative val="1"/>
            <c:bubble3D val="0"/>
            <c:spPr>
              <a:solidFill>
                <a:srgbClr val="AEABAB"/>
              </a:solidFill>
            </c:spPr>
            <c:extLst>
              <c:ext xmlns:c16="http://schemas.microsoft.com/office/drawing/2014/chart" uri="{C3380CC4-5D6E-409C-BE32-E72D297353CC}">
                <c16:uniqueId val="{000008B1-980B-4B2B-A6BA-FBAB5FE3CDBF}"/>
              </c:ext>
            </c:extLst>
          </c:dPt>
          <c:dPt>
            <c:idx val="1112"/>
            <c:invertIfNegative val="1"/>
            <c:bubble3D val="0"/>
            <c:spPr>
              <a:solidFill>
                <a:srgbClr val="AEABAB"/>
              </a:solidFill>
            </c:spPr>
            <c:extLst>
              <c:ext xmlns:c16="http://schemas.microsoft.com/office/drawing/2014/chart" uri="{C3380CC4-5D6E-409C-BE32-E72D297353CC}">
                <c16:uniqueId val="{000008B3-980B-4B2B-A6BA-FBAB5FE3CDBF}"/>
              </c:ext>
            </c:extLst>
          </c:dPt>
          <c:dPt>
            <c:idx val="1113"/>
            <c:invertIfNegative val="1"/>
            <c:bubble3D val="0"/>
            <c:spPr>
              <a:solidFill>
                <a:srgbClr val="AEABAB"/>
              </a:solidFill>
            </c:spPr>
            <c:extLst>
              <c:ext xmlns:c16="http://schemas.microsoft.com/office/drawing/2014/chart" uri="{C3380CC4-5D6E-409C-BE32-E72D297353CC}">
                <c16:uniqueId val="{000008B5-980B-4B2B-A6BA-FBAB5FE3CDBF}"/>
              </c:ext>
            </c:extLst>
          </c:dPt>
          <c:dPt>
            <c:idx val="1114"/>
            <c:invertIfNegative val="1"/>
            <c:bubble3D val="0"/>
            <c:spPr>
              <a:solidFill>
                <a:srgbClr val="AEABAB"/>
              </a:solidFill>
            </c:spPr>
            <c:extLst>
              <c:ext xmlns:c16="http://schemas.microsoft.com/office/drawing/2014/chart" uri="{C3380CC4-5D6E-409C-BE32-E72D297353CC}">
                <c16:uniqueId val="{000008B7-980B-4B2B-A6BA-FBAB5FE3CDBF}"/>
              </c:ext>
            </c:extLst>
          </c:dPt>
          <c:dPt>
            <c:idx val="1115"/>
            <c:invertIfNegative val="1"/>
            <c:bubble3D val="0"/>
            <c:spPr>
              <a:solidFill>
                <a:srgbClr val="AEABAB"/>
              </a:solidFill>
            </c:spPr>
            <c:extLst>
              <c:ext xmlns:c16="http://schemas.microsoft.com/office/drawing/2014/chart" uri="{C3380CC4-5D6E-409C-BE32-E72D297353CC}">
                <c16:uniqueId val="{000008B9-980B-4B2B-A6BA-FBAB5FE3CDBF}"/>
              </c:ext>
            </c:extLst>
          </c:dPt>
          <c:dPt>
            <c:idx val="1116"/>
            <c:invertIfNegative val="1"/>
            <c:bubble3D val="0"/>
            <c:spPr>
              <a:solidFill>
                <a:srgbClr val="AEABAB"/>
              </a:solidFill>
            </c:spPr>
            <c:extLst>
              <c:ext xmlns:c16="http://schemas.microsoft.com/office/drawing/2014/chart" uri="{C3380CC4-5D6E-409C-BE32-E72D297353CC}">
                <c16:uniqueId val="{000008BB-980B-4B2B-A6BA-FBAB5FE3CDBF}"/>
              </c:ext>
            </c:extLst>
          </c:dPt>
          <c:dPt>
            <c:idx val="1117"/>
            <c:invertIfNegative val="1"/>
            <c:bubble3D val="0"/>
            <c:spPr>
              <a:solidFill>
                <a:srgbClr val="AEABAB"/>
              </a:solidFill>
            </c:spPr>
            <c:extLst>
              <c:ext xmlns:c16="http://schemas.microsoft.com/office/drawing/2014/chart" uri="{C3380CC4-5D6E-409C-BE32-E72D297353CC}">
                <c16:uniqueId val="{000008BD-980B-4B2B-A6BA-FBAB5FE3CDBF}"/>
              </c:ext>
            </c:extLst>
          </c:dPt>
          <c:dPt>
            <c:idx val="1118"/>
            <c:invertIfNegative val="1"/>
            <c:bubble3D val="0"/>
            <c:spPr>
              <a:solidFill>
                <a:srgbClr val="AEABAB"/>
              </a:solidFill>
            </c:spPr>
            <c:extLst>
              <c:ext xmlns:c16="http://schemas.microsoft.com/office/drawing/2014/chart" uri="{C3380CC4-5D6E-409C-BE32-E72D297353CC}">
                <c16:uniqueId val="{000008BF-980B-4B2B-A6BA-FBAB5FE3CDBF}"/>
              </c:ext>
            </c:extLst>
          </c:dPt>
          <c:dPt>
            <c:idx val="1119"/>
            <c:invertIfNegative val="1"/>
            <c:bubble3D val="0"/>
            <c:spPr>
              <a:solidFill>
                <a:srgbClr val="AEABAB"/>
              </a:solidFill>
            </c:spPr>
            <c:extLst>
              <c:ext xmlns:c16="http://schemas.microsoft.com/office/drawing/2014/chart" uri="{C3380CC4-5D6E-409C-BE32-E72D297353CC}">
                <c16:uniqueId val="{000008C1-980B-4B2B-A6BA-FBAB5FE3CDBF}"/>
              </c:ext>
            </c:extLst>
          </c:dPt>
          <c:dPt>
            <c:idx val="1120"/>
            <c:invertIfNegative val="1"/>
            <c:bubble3D val="0"/>
            <c:spPr>
              <a:solidFill>
                <a:srgbClr val="AEABAB"/>
              </a:solidFill>
            </c:spPr>
            <c:extLst>
              <c:ext xmlns:c16="http://schemas.microsoft.com/office/drawing/2014/chart" uri="{C3380CC4-5D6E-409C-BE32-E72D297353CC}">
                <c16:uniqueId val="{000008C3-980B-4B2B-A6BA-FBAB5FE3CDBF}"/>
              </c:ext>
            </c:extLst>
          </c:dPt>
          <c:dPt>
            <c:idx val="1121"/>
            <c:invertIfNegative val="1"/>
            <c:bubble3D val="0"/>
            <c:spPr>
              <a:solidFill>
                <a:srgbClr val="AEABAB"/>
              </a:solidFill>
            </c:spPr>
            <c:extLst>
              <c:ext xmlns:c16="http://schemas.microsoft.com/office/drawing/2014/chart" uri="{C3380CC4-5D6E-409C-BE32-E72D297353CC}">
                <c16:uniqueId val="{000008C5-980B-4B2B-A6BA-FBAB5FE3CDBF}"/>
              </c:ext>
            </c:extLst>
          </c:dPt>
          <c:dPt>
            <c:idx val="1122"/>
            <c:invertIfNegative val="1"/>
            <c:bubble3D val="0"/>
            <c:spPr>
              <a:solidFill>
                <a:srgbClr val="AEABAB"/>
              </a:solidFill>
            </c:spPr>
            <c:extLst>
              <c:ext xmlns:c16="http://schemas.microsoft.com/office/drawing/2014/chart" uri="{C3380CC4-5D6E-409C-BE32-E72D297353CC}">
                <c16:uniqueId val="{000008C7-980B-4B2B-A6BA-FBAB5FE3CDBF}"/>
              </c:ext>
            </c:extLst>
          </c:dPt>
          <c:dPt>
            <c:idx val="1123"/>
            <c:invertIfNegative val="1"/>
            <c:bubble3D val="0"/>
            <c:spPr>
              <a:solidFill>
                <a:srgbClr val="AEABAB"/>
              </a:solidFill>
            </c:spPr>
            <c:extLst>
              <c:ext xmlns:c16="http://schemas.microsoft.com/office/drawing/2014/chart" uri="{C3380CC4-5D6E-409C-BE32-E72D297353CC}">
                <c16:uniqueId val="{000008C9-980B-4B2B-A6BA-FBAB5FE3CDBF}"/>
              </c:ext>
            </c:extLst>
          </c:dPt>
          <c:dPt>
            <c:idx val="1124"/>
            <c:invertIfNegative val="1"/>
            <c:bubble3D val="0"/>
            <c:spPr>
              <a:solidFill>
                <a:srgbClr val="AEABAB"/>
              </a:solidFill>
            </c:spPr>
            <c:extLst>
              <c:ext xmlns:c16="http://schemas.microsoft.com/office/drawing/2014/chart" uri="{C3380CC4-5D6E-409C-BE32-E72D297353CC}">
                <c16:uniqueId val="{000008CB-980B-4B2B-A6BA-FBAB5FE3CDBF}"/>
              </c:ext>
            </c:extLst>
          </c:dPt>
          <c:dPt>
            <c:idx val="1125"/>
            <c:invertIfNegative val="1"/>
            <c:bubble3D val="0"/>
            <c:spPr>
              <a:solidFill>
                <a:srgbClr val="AEABAB"/>
              </a:solidFill>
            </c:spPr>
            <c:extLst>
              <c:ext xmlns:c16="http://schemas.microsoft.com/office/drawing/2014/chart" uri="{C3380CC4-5D6E-409C-BE32-E72D297353CC}">
                <c16:uniqueId val="{000008CD-980B-4B2B-A6BA-FBAB5FE3CDBF}"/>
              </c:ext>
            </c:extLst>
          </c:dPt>
          <c:dPt>
            <c:idx val="1126"/>
            <c:invertIfNegative val="1"/>
            <c:bubble3D val="0"/>
            <c:spPr>
              <a:solidFill>
                <a:srgbClr val="AEABAB"/>
              </a:solidFill>
            </c:spPr>
            <c:extLst>
              <c:ext xmlns:c16="http://schemas.microsoft.com/office/drawing/2014/chart" uri="{C3380CC4-5D6E-409C-BE32-E72D297353CC}">
                <c16:uniqueId val="{000008CF-980B-4B2B-A6BA-FBAB5FE3CDBF}"/>
              </c:ext>
            </c:extLst>
          </c:dPt>
          <c:dPt>
            <c:idx val="1127"/>
            <c:invertIfNegative val="1"/>
            <c:bubble3D val="0"/>
            <c:spPr>
              <a:solidFill>
                <a:srgbClr val="AEABAB"/>
              </a:solidFill>
            </c:spPr>
            <c:extLst>
              <c:ext xmlns:c16="http://schemas.microsoft.com/office/drawing/2014/chart" uri="{C3380CC4-5D6E-409C-BE32-E72D297353CC}">
                <c16:uniqueId val="{000008D1-980B-4B2B-A6BA-FBAB5FE3CDBF}"/>
              </c:ext>
            </c:extLst>
          </c:dPt>
          <c:dPt>
            <c:idx val="1128"/>
            <c:invertIfNegative val="1"/>
            <c:bubble3D val="0"/>
            <c:spPr>
              <a:solidFill>
                <a:srgbClr val="AEABAB"/>
              </a:solidFill>
            </c:spPr>
            <c:extLst>
              <c:ext xmlns:c16="http://schemas.microsoft.com/office/drawing/2014/chart" uri="{C3380CC4-5D6E-409C-BE32-E72D297353CC}">
                <c16:uniqueId val="{000008D3-980B-4B2B-A6BA-FBAB5FE3CDBF}"/>
              </c:ext>
            </c:extLst>
          </c:dPt>
          <c:dPt>
            <c:idx val="1129"/>
            <c:invertIfNegative val="1"/>
            <c:bubble3D val="0"/>
            <c:spPr>
              <a:solidFill>
                <a:srgbClr val="AEABAB"/>
              </a:solidFill>
            </c:spPr>
            <c:extLst>
              <c:ext xmlns:c16="http://schemas.microsoft.com/office/drawing/2014/chart" uri="{C3380CC4-5D6E-409C-BE32-E72D297353CC}">
                <c16:uniqueId val="{000008D5-980B-4B2B-A6BA-FBAB5FE3CDBF}"/>
              </c:ext>
            </c:extLst>
          </c:dPt>
          <c:dPt>
            <c:idx val="1130"/>
            <c:invertIfNegative val="1"/>
            <c:bubble3D val="0"/>
            <c:spPr>
              <a:solidFill>
                <a:srgbClr val="AEABAB"/>
              </a:solidFill>
            </c:spPr>
            <c:extLst>
              <c:ext xmlns:c16="http://schemas.microsoft.com/office/drawing/2014/chart" uri="{C3380CC4-5D6E-409C-BE32-E72D297353CC}">
                <c16:uniqueId val="{000008D7-980B-4B2B-A6BA-FBAB5FE3CDBF}"/>
              </c:ext>
            </c:extLst>
          </c:dPt>
          <c:dPt>
            <c:idx val="1131"/>
            <c:invertIfNegative val="1"/>
            <c:bubble3D val="0"/>
            <c:spPr>
              <a:solidFill>
                <a:srgbClr val="AEABAB"/>
              </a:solidFill>
            </c:spPr>
            <c:extLst>
              <c:ext xmlns:c16="http://schemas.microsoft.com/office/drawing/2014/chart" uri="{C3380CC4-5D6E-409C-BE32-E72D297353CC}">
                <c16:uniqueId val="{000008D9-980B-4B2B-A6BA-FBAB5FE3CDBF}"/>
              </c:ext>
            </c:extLst>
          </c:dPt>
          <c:dPt>
            <c:idx val="1132"/>
            <c:invertIfNegative val="1"/>
            <c:bubble3D val="0"/>
            <c:spPr>
              <a:solidFill>
                <a:srgbClr val="AEABAB"/>
              </a:solidFill>
            </c:spPr>
            <c:extLst>
              <c:ext xmlns:c16="http://schemas.microsoft.com/office/drawing/2014/chart" uri="{C3380CC4-5D6E-409C-BE32-E72D297353CC}">
                <c16:uniqueId val="{000008DB-980B-4B2B-A6BA-FBAB5FE3CDBF}"/>
              </c:ext>
            </c:extLst>
          </c:dPt>
          <c:dPt>
            <c:idx val="1133"/>
            <c:invertIfNegative val="1"/>
            <c:bubble3D val="0"/>
            <c:spPr>
              <a:solidFill>
                <a:srgbClr val="AEABAB"/>
              </a:solidFill>
            </c:spPr>
            <c:extLst>
              <c:ext xmlns:c16="http://schemas.microsoft.com/office/drawing/2014/chart" uri="{C3380CC4-5D6E-409C-BE32-E72D297353CC}">
                <c16:uniqueId val="{000008DD-980B-4B2B-A6BA-FBAB5FE3CDBF}"/>
              </c:ext>
            </c:extLst>
          </c:dPt>
          <c:dPt>
            <c:idx val="1134"/>
            <c:invertIfNegative val="1"/>
            <c:bubble3D val="0"/>
            <c:spPr>
              <a:solidFill>
                <a:srgbClr val="AEABAB"/>
              </a:solidFill>
            </c:spPr>
            <c:extLst>
              <c:ext xmlns:c16="http://schemas.microsoft.com/office/drawing/2014/chart" uri="{C3380CC4-5D6E-409C-BE32-E72D297353CC}">
                <c16:uniqueId val="{000008DF-980B-4B2B-A6BA-FBAB5FE3CDBF}"/>
              </c:ext>
            </c:extLst>
          </c:dPt>
          <c:dPt>
            <c:idx val="1135"/>
            <c:invertIfNegative val="1"/>
            <c:bubble3D val="0"/>
            <c:spPr>
              <a:solidFill>
                <a:srgbClr val="AEABAB"/>
              </a:solidFill>
            </c:spPr>
            <c:extLst>
              <c:ext xmlns:c16="http://schemas.microsoft.com/office/drawing/2014/chart" uri="{C3380CC4-5D6E-409C-BE32-E72D297353CC}">
                <c16:uniqueId val="{000008E1-980B-4B2B-A6BA-FBAB5FE3CDBF}"/>
              </c:ext>
            </c:extLst>
          </c:dPt>
          <c:dPt>
            <c:idx val="1136"/>
            <c:invertIfNegative val="1"/>
            <c:bubble3D val="0"/>
            <c:spPr>
              <a:solidFill>
                <a:srgbClr val="AEABAB"/>
              </a:solidFill>
            </c:spPr>
            <c:extLst>
              <c:ext xmlns:c16="http://schemas.microsoft.com/office/drawing/2014/chart" uri="{C3380CC4-5D6E-409C-BE32-E72D297353CC}">
                <c16:uniqueId val="{000008E3-980B-4B2B-A6BA-FBAB5FE3CDBF}"/>
              </c:ext>
            </c:extLst>
          </c:dPt>
          <c:dPt>
            <c:idx val="1137"/>
            <c:invertIfNegative val="1"/>
            <c:bubble3D val="0"/>
            <c:spPr>
              <a:solidFill>
                <a:srgbClr val="AEABAB"/>
              </a:solidFill>
            </c:spPr>
            <c:extLst>
              <c:ext xmlns:c16="http://schemas.microsoft.com/office/drawing/2014/chart" uri="{C3380CC4-5D6E-409C-BE32-E72D297353CC}">
                <c16:uniqueId val="{000008E5-980B-4B2B-A6BA-FBAB5FE3CDBF}"/>
              </c:ext>
            </c:extLst>
          </c:dPt>
          <c:dPt>
            <c:idx val="1138"/>
            <c:invertIfNegative val="1"/>
            <c:bubble3D val="0"/>
            <c:spPr>
              <a:solidFill>
                <a:srgbClr val="AEABAB"/>
              </a:solidFill>
            </c:spPr>
            <c:extLst>
              <c:ext xmlns:c16="http://schemas.microsoft.com/office/drawing/2014/chart" uri="{C3380CC4-5D6E-409C-BE32-E72D297353CC}">
                <c16:uniqueId val="{000008E7-980B-4B2B-A6BA-FBAB5FE3CDBF}"/>
              </c:ext>
            </c:extLst>
          </c:dPt>
          <c:dPt>
            <c:idx val="1139"/>
            <c:invertIfNegative val="1"/>
            <c:bubble3D val="0"/>
            <c:spPr>
              <a:solidFill>
                <a:srgbClr val="AEABAB"/>
              </a:solidFill>
            </c:spPr>
            <c:extLst>
              <c:ext xmlns:c16="http://schemas.microsoft.com/office/drawing/2014/chart" uri="{C3380CC4-5D6E-409C-BE32-E72D297353CC}">
                <c16:uniqueId val="{000008E9-980B-4B2B-A6BA-FBAB5FE3CDBF}"/>
              </c:ext>
            </c:extLst>
          </c:dPt>
          <c:dPt>
            <c:idx val="1140"/>
            <c:invertIfNegative val="1"/>
            <c:bubble3D val="0"/>
            <c:spPr>
              <a:solidFill>
                <a:srgbClr val="AEABAB"/>
              </a:solidFill>
            </c:spPr>
            <c:extLst>
              <c:ext xmlns:c16="http://schemas.microsoft.com/office/drawing/2014/chart" uri="{C3380CC4-5D6E-409C-BE32-E72D297353CC}">
                <c16:uniqueId val="{000008EB-980B-4B2B-A6BA-FBAB5FE3CDBF}"/>
              </c:ext>
            </c:extLst>
          </c:dPt>
          <c:dPt>
            <c:idx val="1141"/>
            <c:invertIfNegative val="1"/>
            <c:bubble3D val="0"/>
            <c:spPr>
              <a:solidFill>
                <a:srgbClr val="AEABAB"/>
              </a:solidFill>
            </c:spPr>
            <c:extLst>
              <c:ext xmlns:c16="http://schemas.microsoft.com/office/drawing/2014/chart" uri="{C3380CC4-5D6E-409C-BE32-E72D297353CC}">
                <c16:uniqueId val="{000008ED-980B-4B2B-A6BA-FBAB5FE3CDBF}"/>
              </c:ext>
            </c:extLst>
          </c:dPt>
          <c:dPt>
            <c:idx val="1142"/>
            <c:invertIfNegative val="1"/>
            <c:bubble3D val="0"/>
            <c:spPr>
              <a:solidFill>
                <a:srgbClr val="AEABAB"/>
              </a:solidFill>
            </c:spPr>
            <c:extLst>
              <c:ext xmlns:c16="http://schemas.microsoft.com/office/drawing/2014/chart" uri="{C3380CC4-5D6E-409C-BE32-E72D297353CC}">
                <c16:uniqueId val="{000008EF-980B-4B2B-A6BA-FBAB5FE3CDBF}"/>
              </c:ext>
            </c:extLst>
          </c:dPt>
          <c:dPt>
            <c:idx val="1143"/>
            <c:invertIfNegative val="1"/>
            <c:bubble3D val="0"/>
            <c:spPr>
              <a:solidFill>
                <a:srgbClr val="AEABAB"/>
              </a:solidFill>
            </c:spPr>
            <c:extLst>
              <c:ext xmlns:c16="http://schemas.microsoft.com/office/drawing/2014/chart" uri="{C3380CC4-5D6E-409C-BE32-E72D297353CC}">
                <c16:uniqueId val="{000008F1-980B-4B2B-A6BA-FBAB5FE3CDBF}"/>
              </c:ext>
            </c:extLst>
          </c:dPt>
          <c:dPt>
            <c:idx val="1144"/>
            <c:invertIfNegative val="1"/>
            <c:bubble3D val="0"/>
            <c:spPr>
              <a:solidFill>
                <a:srgbClr val="AEABAB"/>
              </a:solidFill>
            </c:spPr>
            <c:extLst>
              <c:ext xmlns:c16="http://schemas.microsoft.com/office/drawing/2014/chart" uri="{C3380CC4-5D6E-409C-BE32-E72D297353CC}">
                <c16:uniqueId val="{000008F3-980B-4B2B-A6BA-FBAB5FE3CDBF}"/>
              </c:ext>
            </c:extLst>
          </c:dPt>
          <c:dPt>
            <c:idx val="1145"/>
            <c:invertIfNegative val="1"/>
            <c:bubble3D val="0"/>
            <c:spPr>
              <a:solidFill>
                <a:srgbClr val="AEABAB"/>
              </a:solidFill>
            </c:spPr>
            <c:extLst>
              <c:ext xmlns:c16="http://schemas.microsoft.com/office/drawing/2014/chart" uri="{C3380CC4-5D6E-409C-BE32-E72D297353CC}">
                <c16:uniqueId val="{000008F5-980B-4B2B-A6BA-FBAB5FE3CDBF}"/>
              </c:ext>
            </c:extLst>
          </c:dPt>
          <c:dPt>
            <c:idx val="1146"/>
            <c:invertIfNegative val="1"/>
            <c:bubble3D val="0"/>
            <c:spPr>
              <a:solidFill>
                <a:srgbClr val="AEABAB"/>
              </a:solidFill>
            </c:spPr>
            <c:extLst>
              <c:ext xmlns:c16="http://schemas.microsoft.com/office/drawing/2014/chart" uri="{C3380CC4-5D6E-409C-BE32-E72D297353CC}">
                <c16:uniqueId val="{000008F7-980B-4B2B-A6BA-FBAB5FE3CDBF}"/>
              </c:ext>
            </c:extLst>
          </c:dPt>
          <c:dPt>
            <c:idx val="1147"/>
            <c:invertIfNegative val="1"/>
            <c:bubble3D val="0"/>
            <c:spPr>
              <a:solidFill>
                <a:srgbClr val="AEABAB"/>
              </a:solidFill>
            </c:spPr>
            <c:extLst>
              <c:ext xmlns:c16="http://schemas.microsoft.com/office/drawing/2014/chart" uri="{C3380CC4-5D6E-409C-BE32-E72D297353CC}">
                <c16:uniqueId val="{000008F9-980B-4B2B-A6BA-FBAB5FE3CDBF}"/>
              </c:ext>
            </c:extLst>
          </c:dPt>
          <c:dPt>
            <c:idx val="1148"/>
            <c:invertIfNegative val="1"/>
            <c:bubble3D val="0"/>
            <c:spPr>
              <a:solidFill>
                <a:srgbClr val="AEABAB"/>
              </a:solidFill>
            </c:spPr>
            <c:extLst>
              <c:ext xmlns:c16="http://schemas.microsoft.com/office/drawing/2014/chart" uri="{C3380CC4-5D6E-409C-BE32-E72D297353CC}">
                <c16:uniqueId val="{000008FB-980B-4B2B-A6BA-FBAB5FE3CDBF}"/>
              </c:ext>
            </c:extLst>
          </c:dPt>
          <c:dPt>
            <c:idx val="1149"/>
            <c:invertIfNegative val="1"/>
            <c:bubble3D val="0"/>
            <c:spPr>
              <a:solidFill>
                <a:srgbClr val="AEABAB"/>
              </a:solidFill>
            </c:spPr>
            <c:extLst>
              <c:ext xmlns:c16="http://schemas.microsoft.com/office/drawing/2014/chart" uri="{C3380CC4-5D6E-409C-BE32-E72D297353CC}">
                <c16:uniqueId val="{000008FD-980B-4B2B-A6BA-FBAB5FE3CDBF}"/>
              </c:ext>
            </c:extLst>
          </c:dPt>
          <c:dPt>
            <c:idx val="1150"/>
            <c:invertIfNegative val="1"/>
            <c:bubble3D val="0"/>
            <c:spPr>
              <a:solidFill>
                <a:srgbClr val="AEABAB"/>
              </a:solidFill>
            </c:spPr>
            <c:extLst>
              <c:ext xmlns:c16="http://schemas.microsoft.com/office/drawing/2014/chart" uri="{C3380CC4-5D6E-409C-BE32-E72D297353CC}">
                <c16:uniqueId val="{000008FF-980B-4B2B-A6BA-FBAB5FE3CDBF}"/>
              </c:ext>
            </c:extLst>
          </c:dPt>
          <c:dPt>
            <c:idx val="1151"/>
            <c:invertIfNegative val="1"/>
            <c:bubble3D val="0"/>
            <c:spPr>
              <a:solidFill>
                <a:srgbClr val="AEABAB"/>
              </a:solidFill>
            </c:spPr>
            <c:extLst>
              <c:ext xmlns:c16="http://schemas.microsoft.com/office/drawing/2014/chart" uri="{C3380CC4-5D6E-409C-BE32-E72D297353CC}">
                <c16:uniqueId val="{00000901-980B-4B2B-A6BA-FBAB5FE3CDBF}"/>
              </c:ext>
            </c:extLst>
          </c:dPt>
          <c:dPt>
            <c:idx val="1152"/>
            <c:invertIfNegative val="1"/>
            <c:bubble3D val="0"/>
            <c:spPr>
              <a:solidFill>
                <a:srgbClr val="AEABAB"/>
              </a:solidFill>
            </c:spPr>
            <c:extLst>
              <c:ext xmlns:c16="http://schemas.microsoft.com/office/drawing/2014/chart" uri="{C3380CC4-5D6E-409C-BE32-E72D297353CC}">
                <c16:uniqueId val="{00000903-980B-4B2B-A6BA-FBAB5FE3CDBF}"/>
              </c:ext>
            </c:extLst>
          </c:dPt>
          <c:dPt>
            <c:idx val="1153"/>
            <c:invertIfNegative val="1"/>
            <c:bubble3D val="0"/>
            <c:spPr>
              <a:solidFill>
                <a:srgbClr val="AEABAB"/>
              </a:solidFill>
            </c:spPr>
            <c:extLst>
              <c:ext xmlns:c16="http://schemas.microsoft.com/office/drawing/2014/chart" uri="{C3380CC4-5D6E-409C-BE32-E72D297353CC}">
                <c16:uniqueId val="{00000905-980B-4B2B-A6BA-FBAB5FE3CDBF}"/>
              </c:ext>
            </c:extLst>
          </c:dPt>
          <c:dPt>
            <c:idx val="1154"/>
            <c:invertIfNegative val="1"/>
            <c:bubble3D val="0"/>
            <c:spPr>
              <a:solidFill>
                <a:srgbClr val="AEABAB"/>
              </a:solidFill>
            </c:spPr>
            <c:extLst>
              <c:ext xmlns:c16="http://schemas.microsoft.com/office/drawing/2014/chart" uri="{C3380CC4-5D6E-409C-BE32-E72D297353CC}">
                <c16:uniqueId val="{00000907-980B-4B2B-A6BA-FBAB5FE3CDBF}"/>
              </c:ext>
            </c:extLst>
          </c:dPt>
          <c:dPt>
            <c:idx val="1155"/>
            <c:invertIfNegative val="1"/>
            <c:bubble3D val="0"/>
            <c:spPr>
              <a:solidFill>
                <a:srgbClr val="AEABAB"/>
              </a:solidFill>
            </c:spPr>
            <c:extLst>
              <c:ext xmlns:c16="http://schemas.microsoft.com/office/drawing/2014/chart" uri="{C3380CC4-5D6E-409C-BE32-E72D297353CC}">
                <c16:uniqueId val="{00000909-980B-4B2B-A6BA-FBAB5FE3CDBF}"/>
              </c:ext>
            </c:extLst>
          </c:dPt>
          <c:dPt>
            <c:idx val="1156"/>
            <c:invertIfNegative val="1"/>
            <c:bubble3D val="0"/>
            <c:spPr>
              <a:solidFill>
                <a:srgbClr val="AEABAB"/>
              </a:solidFill>
            </c:spPr>
            <c:extLst>
              <c:ext xmlns:c16="http://schemas.microsoft.com/office/drawing/2014/chart" uri="{C3380CC4-5D6E-409C-BE32-E72D297353CC}">
                <c16:uniqueId val="{0000090B-980B-4B2B-A6BA-FBAB5FE3CDBF}"/>
              </c:ext>
            </c:extLst>
          </c:dPt>
          <c:dPt>
            <c:idx val="1157"/>
            <c:invertIfNegative val="1"/>
            <c:bubble3D val="0"/>
            <c:spPr>
              <a:solidFill>
                <a:srgbClr val="AEABAB"/>
              </a:solidFill>
            </c:spPr>
            <c:extLst>
              <c:ext xmlns:c16="http://schemas.microsoft.com/office/drawing/2014/chart" uri="{C3380CC4-5D6E-409C-BE32-E72D297353CC}">
                <c16:uniqueId val="{0000090D-980B-4B2B-A6BA-FBAB5FE3CDBF}"/>
              </c:ext>
            </c:extLst>
          </c:dPt>
          <c:dPt>
            <c:idx val="1158"/>
            <c:invertIfNegative val="1"/>
            <c:bubble3D val="0"/>
            <c:spPr>
              <a:solidFill>
                <a:srgbClr val="AEABAB"/>
              </a:solidFill>
            </c:spPr>
            <c:extLst>
              <c:ext xmlns:c16="http://schemas.microsoft.com/office/drawing/2014/chart" uri="{C3380CC4-5D6E-409C-BE32-E72D297353CC}">
                <c16:uniqueId val="{0000090F-980B-4B2B-A6BA-FBAB5FE3CDBF}"/>
              </c:ext>
            </c:extLst>
          </c:dPt>
          <c:dPt>
            <c:idx val="1159"/>
            <c:invertIfNegative val="1"/>
            <c:bubble3D val="0"/>
            <c:spPr>
              <a:solidFill>
                <a:srgbClr val="AEABAB"/>
              </a:solidFill>
            </c:spPr>
            <c:extLst>
              <c:ext xmlns:c16="http://schemas.microsoft.com/office/drawing/2014/chart" uri="{C3380CC4-5D6E-409C-BE32-E72D297353CC}">
                <c16:uniqueId val="{00000911-980B-4B2B-A6BA-FBAB5FE3CDBF}"/>
              </c:ext>
            </c:extLst>
          </c:dPt>
          <c:dPt>
            <c:idx val="1160"/>
            <c:invertIfNegative val="1"/>
            <c:bubble3D val="0"/>
            <c:spPr>
              <a:solidFill>
                <a:srgbClr val="AEABAB"/>
              </a:solidFill>
            </c:spPr>
            <c:extLst>
              <c:ext xmlns:c16="http://schemas.microsoft.com/office/drawing/2014/chart" uri="{C3380CC4-5D6E-409C-BE32-E72D297353CC}">
                <c16:uniqueId val="{00000913-980B-4B2B-A6BA-FBAB5FE3CDBF}"/>
              </c:ext>
            </c:extLst>
          </c:dPt>
          <c:dPt>
            <c:idx val="1161"/>
            <c:invertIfNegative val="1"/>
            <c:bubble3D val="0"/>
            <c:spPr>
              <a:solidFill>
                <a:srgbClr val="AEABAB"/>
              </a:solidFill>
            </c:spPr>
            <c:extLst>
              <c:ext xmlns:c16="http://schemas.microsoft.com/office/drawing/2014/chart" uri="{C3380CC4-5D6E-409C-BE32-E72D297353CC}">
                <c16:uniqueId val="{00000915-980B-4B2B-A6BA-FBAB5FE3CDBF}"/>
              </c:ext>
            </c:extLst>
          </c:dPt>
          <c:dPt>
            <c:idx val="1162"/>
            <c:invertIfNegative val="1"/>
            <c:bubble3D val="0"/>
            <c:spPr>
              <a:solidFill>
                <a:srgbClr val="AEABAB"/>
              </a:solidFill>
            </c:spPr>
            <c:extLst>
              <c:ext xmlns:c16="http://schemas.microsoft.com/office/drawing/2014/chart" uri="{C3380CC4-5D6E-409C-BE32-E72D297353CC}">
                <c16:uniqueId val="{00000917-980B-4B2B-A6BA-FBAB5FE3CDBF}"/>
              </c:ext>
            </c:extLst>
          </c:dPt>
          <c:dPt>
            <c:idx val="1163"/>
            <c:invertIfNegative val="1"/>
            <c:bubble3D val="0"/>
            <c:spPr>
              <a:solidFill>
                <a:srgbClr val="AEABAB"/>
              </a:solidFill>
            </c:spPr>
            <c:extLst>
              <c:ext xmlns:c16="http://schemas.microsoft.com/office/drawing/2014/chart" uri="{C3380CC4-5D6E-409C-BE32-E72D297353CC}">
                <c16:uniqueId val="{00000919-980B-4B2B-A6BA-FBAB5FE3CDBF}"/>
              </c:ext>
            </c:extLst>
          </c:dPt>
          <c:dPt>
            <c:idx val="1164"/>
            <c:invertIfNegative val="1"/>
            <c:bubble3D val="0"/>
            <c:spPr>
              <a:solidFill>
                <a:srgbClr val="AEABAB"/>
              </a:solidFill>
            </c:spPr>
            <c:extLst>
              <c:ext xmlns:c16="http://schemas.microsoft.com/office/drawing/2014/chart" uri="{C3380CC4-5D6E-409C-BE32-E72D297353CC}">
                <c16:uniqueId val="{0000091B-980B-4B2B-A6BA-FBAB5FE3CDBF}"/>
              </c:ext>
            </c:extLst>
          </c:dPt>
          <c:dPt>
            <c:idx val="1165"/>
            <c:invertIfNegative val="1"/>
            <c:bubble3D val="0"/>
            <c:spPr>
              <a:solidFill>
                <a:srgbClr val="AEABAB"/>
              </a:solidFill>
            </c:spPr>
            <c:extLst>
              <c:ext xmlns:c16="http://schemas.microsoft.com/office/drawing/2014/chart" uri="{C3380CC4-5D6E-409C-BE32-E72D297353CC}">
                <c16:uniqueId val="{0000091D-980B-4B2B-A6BA-FBAB5FE3CDBF}"/>
              </c:ext>
            </c:extLst>
          </c:dPt>
          <c:dPt>
            <c:idx val="1166"/>
            <c:invertIfNegative val="1"/>
            <c:bubble3D val="0"/>
            <c:spPr>
              <a:solidFill>
                <a:srgbClr val="AEABAB"/>
              </a:solidFill>
            </c:spPr>
            <c:extLst>
              <c:ext xmlns:c16="http://schemas.microsoft.com/office/drawing/2014/chart" uri="{C3380CC4-5D6E-409C-BE32-E72D297353CC}">
                <c16:uniqueId val="{0000091F-980B-4B2B-A6BA-FBAB5FE3CDBF}"/>
              </c:ext>
            </c:extLst>
          </c:dPt>
          <c:dPt>
            <c:idx val="1167"/>
            <c:invertIfNegative val="1"/>
            <c:bubble3D val="0"/>
            <c:spPr>
              <a:solidFill>
                <a:srgbClr val="AEABAB"/>
              </a:solidFill>
            </c:spPr>
            <c:extLst>
              <c:ext xmlns:c16="http://schemas.microsoft.com/office/drawing/2014/chart" uri="{C3380CC4-5D6E-409C-BE32-E72D297353CC}">
                <c16:uniqueId val="{00000921-980B-4B2B-A6BA-FBAB5FE3CDBF}"/>
              </c:ext>
            </c:extLst>
          </c:dPt>
          <c:dPt>
            <c:idx val="1168"/>
            <c:invertIfNegative val="1"/>
            <c:bubble3D val="0"/>
            <c:spPr>
              <a:solidFill>
                <a:srgbClr val="AEABAB"/>
              </a:solidFill>
            </c:spPr>
            <c:extLst>
              <c:ext xmlns:c16="http://schemas.microsoft.com/office/drawing/2014/chart" uri="{C3380CC4-5D6E-409C-BE32-E72D297353CC}">
                <c16:uniqueId val="{00000923-980B-4B2B-A6BA-FBAB5FE3CDBF}"/>
              </c:ext>
            </c:extLst>
          </c:dPt>
          <c:dPt>
            <c:idx val="1169"/>
            <c:invertIfNegative val="1"/>
            <c:bubble3D val="0"/>
            <c:spPr>
              <a:solidFill>
                <a:srgbClr val="AEABAB"/>
              </a:solidFill>
            </c:spPr>
            <c:extLst>
              <c:ext xmlns:c16="http://schemas.microsoft.com/office/drawing/2014/chart" uri="{C3380CC4-5D6E-409C-BE32-E72D297353CC}">
                <c16:uniqueId val="{00000925-980B-4B2B-A6BA-FBAB5FE3CDBF}"/>
              </c:ext>
            </c:extLst>
          </c:dPt>
          <c:dPt>
            <c:idx val="1170"/>
            <c:invertIfNegative val="1"/>
            <c:bubble3D val="0"/>
            <c:spPr>
              <a:solidFill>
                <a:srgbClr val="AEABAB"/>
              </a:solidFill>
            </c:spPr>
            <c:extLst>
              <c:ext xmlns:c16="http://schemas.microsoft.com/office/drawing/2014/chart" uri="{C3380CC4-5D6E-409C-BE32-E72D297353CC}">
                <c16:uniqueId val="{00000927-980B-4B2B-A6BA-FBAB5FE3CDBF}"/>
              </c:ext>
            </c:extLst>
          </c:dPt>
          <c:dPt>
            <c:idx val="1171"/>
            <c:invertIfNegative val="1"/>
            <c:bubble3D val="0"/>
            <c:spPr>
              <a:solidFill>
                <a:srgbClr val="AEABAB"/>
              </a:solidFill>
            </c:spPr>
            <c:extLst>
              <c:ext xmlns:c16="http://schemas.microsoft.com/office/drawing/2014/chart" uri="{C3380CC4-5D6E-409C-BE32-E72D297353CC}">
                <c16:uniqueId val="{00000929-980B-4B2B-A6BA-FBAB5FE3CDBF}"/>
              </c:ext>
            </c:extLst>
          </c:dPt>
          <c:dPt>
            <c:idx val="1172"/>
            <c:invertIfNegative val="1"/>
            <c:bubble3D val="0"/>
            <c:spPr>
              <a:solidFill>
                <a:srgbClr val="AEABAB"/>
              </a:solidFill>
            </c:spPr>
            <c:extLst>
              <c:ext xmlns:c16="http://schemas.microsoft.com/office/drawing/2014/chart" uri="{C3380CC4-5D6E-409C-BE32-E72D297353CC}">
                <c16:uniqueId val="{0000092B-980B-4B2B-A6BA-FBAB5FE3CDBF}"/>
              </c:ext>
            </c:extLst>
          </c:dPt>
          <c:dPt>
            <c:idx val="1173"/>
            <c:invertIfNegative val="1"/>
            <c:bubble3D val="0"/>
            <c:spPr>
              <a:solidFill>
                <a:srgbClr val="AEABAB"/>
              </a:solidFill>
            </c:spPr>
            <c:extLst>
              <c:ext xmlns:c16="http://schemas.microsoft.com/office/drawing/2014/chart" uri="{C3380CC4-5D6E-409C-BE32-E72D297353CC}">
                <c16:uniqueId val="{0000092D-980B-4B2B-A6BA-FBAB5FE3CDBF}"/>
              </c:ext>
            </c:extLst>
          </c:dPt>
          <c:dPt>
            <c:idx val="1174"/>
            <c:invertIfNegative val="1"/>
            <c:bubble3D val="0"/>
            <c:spPr>
              <a:solidFill>
                <a:srgbClr val="AEABAB"/>
              </a:solidFill>
            </c:spPr>
            <c:extLst>
              <c:ext xmlns:c16="http://schemas.microsoft.com/office/drawing/2014/chart" uri="{C3380CC4-5D6E-409C-BE32-E72D297353CC}">
                <c16:uniqueId val="{0000092F-980B-4B2B-A6BA-FBAB5FE3CDBF}"/>
              </c:ext>
            </c:extLst>
          </c:dPt>
          <c:dPt>
            <c:idx val="1175"/>
            <c:invertIfNegative val="1"/>
            <c:bubble3D val="0"/>
            <c:spPr>
              <a:solidFill>
                <a:srgbClr val="AEABAB"/>
              </a:solidFill>
            </c:spPr>
            <c:extLst>
              <c:ext xmlns:c16="http://schemas.microsoft.com/office/drawing/2014/chart" uri="{C3380CC4-5D6E-409C-BE32-E72D297353CC}">
                <c16:uniqueId val="{00000931-980B-4B2B-A6BA-FBAB5FE3CDBF}"/>
              </c:ext>
            </c:extLst>
          </c:dPt>
          <c:dPt>
            <c:idx val="1176"/>
            <c:invertIfNegative val="1"/>
            <c:bubble3D val="0"/>
            <c:spPr>
              <a:solidFill>
                <a:srgbClr val="AEABAB"/>
              </a:solidFill>
            </c:spPr>
            <c:extLst>
              <c:ext xmlns:c16="http://schemas.microsoft.com/office/drawing/2014/chart" uri="{C3380CC4-5D6E-409C-BE32-E72D297353CC}">
                <c16:uniqueId val="{00000933-980B-4B2B-A6BA-FBAB5FE3CDBF}"/>
              </c:ext>
            </c:extLst>
          </c:dPt>
          <c:dPt>
            <c:idx val="1177"/>
            <c:invertIfNegative val="1"/>
            <c:bubble3D val="0"/>
            <c:spPr>
              <a:solidFill>
                <a:srgbClr val="AEABAB"/>
              </a:solidFill>
            </c:spPr>
            <c:extLst>
              <c:ext xmlns:c16="http://schemas.microsoft.com/office/drawing/2014/chart" uri="{C3380CC4-5D6E-409C-BE32-E72D297353CC}">
                <c16:uniqueId val="{00000935-980B-4B2B-A6BA-FBAB5FE3CDBF}"/>
              </c:ext>
            </c:extLst>
          </c:dPt>
          <c:dPt>
            <c:idx val="1178"/>
            <c:invertIfNegative val="1"/>
            <c:bubble3D val="0"/>
            <c:spPr>
              <a:solidFill>
                <a:srgbClr val="AEABAB"/>
              </a:solidFill>
            </c:spPr>
            <c:extLst>
              <c:ext xmlns:c16="http://schemas.microsoft.com/office/drawing/2014/chart" uri="{C3380CC4-5D6E-409C-BE32-E72D297353CC}">
                <c16:uniqueId val="{00000937-980B-4B2B-A6BA-FBAB5FE3CDBF}"/>
              </c:ext>
            </c:extLst>
          </c:dPt>
          <c:dPt>
            <c:idx val="1179"/>
            <c:invertIfNegative val="1"/>
            <c:bubble3D val="0"/>
            <c:spPr>
              <a:solidFill>
                <a:srgbClr val="AEABAB"/>
              </a:solidFill>
            </c:spPr>
            <c:extLst>
              <c:ext xmlns:c16="http://schemas.microsoft.com/office/drawing/2014/chart" uri="{C3380CC4-5D6E-409C-BE32-E72D297353CC}">
                <c16:uniqueId val="{00000939-980B-4B2B-A6BA-FBAB5FE3CDBF}"/>
              </c:ext>
            </c:extLst>
          </c:dPt>
          <c:dPt>
            <c:idx val="1180"/>
            <c:invertIfNegative val="1"/>
            <c:bubble3D val="0"/>
            <c:spPr>
              <a:solidFill>
                <a:srgbClr val="AEABAB"/>
              </a:solidFill>
            </c:spPr>
            <c:extLst>
              <c:ext xmlns:c16="http://schemas.microsoft.com/office/drawing/2014/chart" uri="{C3380CC4-5D6E-409C-BE32-E72D297353CC}">
                <c16:uniqueId val="{0000093B-980B-4B2B-A6BA-FBAB5FE3CDBF}"/>
              </c:ext>
            </c:extLst>
          </c:dPt>
          <c:dPt>
            <c:idx val="1181"/>
            <c:invertIfNegative val="1"/>
            <c:bubble3D val="0"/>
            <c:spPr>
              <a:solidFill>
                <a:srgbClr val="AEABAB"/>
              </a:solidFill>
            </c:spPr>
            <c:extLst>
              <c:ext xmlns:c16="http://schemas.microsoft.com/office/drawing/2014/chart" uri="{C3380CC4-5D6E-409C-BE32-E72D297353CC}">
                <c16:uniqueId val="{0000093D-980B-4B2B-A6BA-FBAB5FE3CDBF}"/>
              </c:ext>
            </c:extLst>
          </c:dPt>
          <c:dPt>
            <c:idx val="1182"/>
            <c:invertIfNegative val="1"/>
            <c:bubble3D val="0"/>
            <c:spPr>
              <a:solidFill>
                <a:srgbClr val="AEABAB"/>
              </a:solidFill>
            </c:spPr>
            <c:extLst>
              <c:ext xmlns:c16="http://schemas.microsoft.com/office/drawing/2014/chart" uri="{C3380CC4-5D6E-409C-BE32-E72D297353CC}">
                <c16:uniqueId val="{0000093F-980B-4B2B-A6BA-FBAB5FE3CDBF}"/>
              </c:ext>
            </c:extLst>
          </c:dPt>
          <c:dPt>
            <c:idx val="1183"/>
            <c:invertIfNegative val="1"/>
            <c:bubble3D val="0"/>
            <c:spPr>
              <a:solidFill>
                <a:srgbClr val="AEABAB"/>
              </a:solidFill>
            </c:spPr>
            <c:extLst>
              <c:ext xmlns:c16="http://schemas.microsoft.com/office/drawing/2014/chart" uri="{C3380CC4-5D6E-409C-BE32-E72D297353CC}">
                <c16:uniqueId val="{00000941-980B-4B2B-A6BA-FBAB5FE3CDBF}"/>
              </c:ext>
            </c:extLst>
          </c:dPt>
          <c:dPt>
            <c:idx val="1184"/>
            <c:invertIfNegative val="1"/>
            <c:bubble3D val="0"/>
            <c:spPr>
              <a:solidFill>
                <a:srgbClr val="AEABAB"/>
              </a:solidFill>
            </c:spPr>
            <c:extLst>
              <c:ext xmlns:c16="http://schemas.microsoft.com/office/drawing/2014/chart" uri="{C3380CC4-5D6E-409C-BE32-E72D297353CC}">
                <c16:uniqueId val="{00000943-980B-4B2B-A6BA-FBAB5FE3CDBF}"/>
              </c:ext>
            </c:extLst>
          </c:dPt>
          <c:dPt>
            <c:idx val="1185"/>
            <c:invertIfNegative val="1"/>
            <c:bubble3D val="0"/>
            <c:spPr>
              <a:solidFill>
                <a:srgbClr val="AEABAB"/>
              </a:solidFill>
            </c:spPr>
            <c:extLst>
              <c:ext xmlns:c16="http://schemas.microsoft.com/office/drawing/2014/chart" uri="{C3380CC4-5D6E-409C-BE32-E72D297353CC}">
                <c16:uniqueId val="{00000945-980B-4B2B-A6BA-FBAB5FE3CDBF}"/>
              </c:ext>
            </c:extLst>
          </c:dPt>
          <c:dPt>
            <c:idx val="1186"/>
            <c:invertIfNegative val="1"/>
            <c:bubble3D val="0"/>
            <c:spPr>
              <a:solidFill>
                <a:srgbClr val="AEABAB"/>
              </a:solidFill>
            </c:spPr>
            <c:extLst>
              <c:ext xmlns:c16="http://schemas.microsoft.com/office/drawing/2014/chart" uri="{C3380CC4-5D6E-409C-BE32-E72D297353CC}">
                <c16:uniqueId val="{00000947-980B-4B2B-A6BA-FBAB5FE3CDBF}"/>
              </c:ext>
            </c:extLst>
          </c:dPt>
          <c:dPt>
            <c:idx val="1187"/>
            <c:invertIfNegative val="1"/>
            <c:bubble3D val="0"/>
            <c:spPr>
              <a:solidFill>
                <a:srgbClr val="AEABAB"/>
              </a:solidFill>
            </c:spPr>
            <c:extLst>
              <c:ext xmlns:c16="http://schemas.microsoft.com/office/drawing/2014/chart" uri="{C3380CC4-5D6E-409C-BE32-E72D297353CC}">
                <c16:uniqueId val="{00000949-980B-4B2B-A6BA-FBAB5FE3CDBF}"/>
              </c:ext>
            </c:extLst>
          </c:dPt>
          <c:dPt>
            <c:idx val="1188"/>
            <c:invertIfNegative val="1"/>
            <c:bubble3D val="0"/>
            <c:spPr>
              <a:solidFill>
                <a:srgbClr val="AEABAB"/>
              </a:solidFill>
            </c:spPr>
            <c:extLst>
              <c:ext xmlns:c16="http://schemas.microsoft.com/office/drawing/2014/chart" uri="{C3380CC4-5D6E-409C-BE32-E72D297353CC}">
                <c16:uniqueId val="{0000094B-980B-4B2B-A6BA-FBAB5FE3CDBF}"/>
              </c:ext>
            </c:extLst>
          </c:dPt>
          <c:dPt>
            <c:idx val="1189"/>
            <c:invertIfNegative val="1"/>
            <c:bubble3D val="0"/>
            <c:spPr>
              <a:solidFill>
                <a:srgbClr val="AEABAB"/>
              </a:solidFill>
            </c:spPr>
            <c:extLst>
              <c:ext xmlns:c16="http://schemas.microsoft.com/office/drawing/2014/chart" uri="{C3380CC4-5D6E-409C-BE32-E72D297353CC}">
                <c16:uniqueId val="{0000094D-980B-4B2B-A6BA-FBAB5FE3CDBF}"/>
              </c:ext>
            </c:extLst>
          </c:dPt>
          <c:dPt>
            <c:idx val="1190"/>
            <c:invertIfNegative val="1"/>
            <c:bubble3D val="0"/>
            <c:spPr>
              <a:solidFill>
                <a:srgbClr val="AEABAB"/>
              </a:solidFill>
            </c:spPr>
            <c:extLst>
              <c:ext xmlns:c16="http://schemas.microsoft.com/office/drawing/2014/chart" uri="{C3380CC4-5D6E-409C-BE32-E72D297353CC}">
                <c16:uniqueId val="{0000094F-980B-4B2B-A6BA-FBAB5FE3CDBF}"/>
              </c:ext>
            </c:extLst>
          </c:dPt>
          <c:dPt>
            <c:idx val="1191"/>
            <c:invertIfNegative val="1"/>
            <c:bubble3D val="0"/>
            <c:spPr>
              <a:solidFill>
                <a:srgbClr val="AEABAB"/>
              </a:solidFill>
            </c:spPr>
            <c:extLst>
              <c:ext xmlns:c16="http://schemas.microsoft.com/office/drawing/2014/chart" uri="{C3380CC4-5D6E-409C-BE32-E72D297353CC}">
                <c16:uniqueId val="{00000951-980B-4B2B-A6BA-FBAB5FE3CDBF}"/>
              </c:ext>
            </c:extLst>
          </c:dPt>
          <c:dPt>
            <c:idx val="1192"/>
            <c:invertIfNegative val="1"/>
            <c:bubble3D val="0"/>
            <c:spPr>
              <a:solidFill>
                <a:srgbClr val="AEABAB"/>
              </a:solidFill>
            </c:spPr>
            <c:extLst>
              <c:ext xmlns:c16="http://schemas.microsoft.com/office/drawing/2014/chart" uri="{C3380CC4-5D6E-409C-BE32-E72D297353CC}">
                <c16:uniqueId val="{00000953-980B-4B2B-A6BA-FBAB5FE3CDBF}"/>
              </c:ext>
            </c:extLst>
          </c:dPt>
          <c:dPt>
            <c:idx val="1193"/>
            <c:invertIfNegative val="1"/>
            <c:bubble3D val="0"/>
            <c:spPr>
              <a:solidFill>
                <a:srgbClr val="AEABAB"/>
              </a:solidFill>
            </c:spPr>
            <c:extLst>
              <c:ext xmlns:c16="http://schemas.microsoft.com/office/drawing/2014/chart" uri="{C3380CC4-5D6E-409C-BE32-E72D297353CC}">
                <c16:uniqueId val="{00000955-980B-4B2B-A6BA-FBAB5FE3CDBF}"/>
              </c:ext>
            </c:extLst>
          </c:dPt>
          <c:dPt>
            <c:idx val="1194"/>
            <c:invertIfNegative val="1"/>
            <c:bubble3D val="0"/>
            <c:spPr>
              <a:solidFill>
                <a:srgbClr val="AEABAB"/>
              </a:solidFill>
            </c:spPr>
            <c:extLst>
              <c:ext xmlns:c16="http://schemas.microsoft.com/office/drawing/2014/chart" uri="{C3380CC4-5D6E-409C-BE32-E72D297353CC}">
                <c16:uniqueId val="{00000957-980B-4B2B-A6BA-FBAB5FE3CDBF}"/>
              </c:ext>
            </c:extLst>
          </c:dPt>
          <c:dPt>
            <c:idx val="1195"/>
            <c:invertIfNegative val="1"/>
            <c:bubble3D val="0"/>
            <c:spPr>
              <a:solidFill>
                <a:srgbClr val="AEABAB"/>
              </a:solidFill>
            </c:spPr>
            <c:extLst>
              <c:ext xmlns:c16="http://schemas.microsoft.com/office/drawing/2014/chart" uri="{C3380CC4-5D6E-409C-BE32-E72D297353CC}">
                <c16:uniqueId val="{00000959-980B-4B2B-A6BA-FBAB5FE3CDBF}"/>
              </c:ext>
            </c:extLst>
          </c:dPt>
          <c:dPt>
            <c:idx val="1196"/>
            <c:invertIfNegative val="1"/>
            <c:bubble3D val="0"/>
            <c:spPr>
              <a:solidFill>
                <a:srgbClr val="AEABAB"/>
              </a:solidFill>
            </c:spPr>
            <c:extLst>
              <c:ext xmlns:c16="http://schemas.microsoft.com/office/drawing/2014/chart" uri="{C3380CC4-5D6E-409C-BE32-E72D297353CC}">
                <c16:uniqueId val="{0000095B-980B-4B2B-A6BA-FBAB5FE3CDBF}"/>
              </c:ext>
            </c:extLst>
          </c:dPt>
          <c:dPt>
            <c:idx val="1197"/>
            <c:invertIfNegative val="1"/>
            <c:bubble3D val="0"/>
            <c:spPr>
              <a:solidFill>
                <a:srgbClr val="AEABAB"/>
              </a:solidFill>
            </c:spPr>
            <c:extLst>
              <c:ext xmlns:c16="http://schemas.microsoft.com/office/drawing/2014/chart" uri="{C3380CC4-5D6E-409C-BE32-E72D297353CC}">
                <c16:uniqueId val="{0000095D-980B-4B2B-A6BA-FBAB5FE3CDBF}"/>
              </c:ext>
            </c:extLst>
          </c:dPt>
          <c:dPt>
            <c:idx val="1198"/>
            <c:invertIfNegative val="1"/>
            <c:bubble3D val="0"/>
            <c:spPr>
              <a:solidFill>
                <a:srgbClr val="AEABAB"/>
              </a:solidFill>
            </c:spPr>
            <c:extLst>
              <c:ext xmlns:c16="http://schemas.microsoft.com/office/drawing/2014/chart" uri="{C3380CC4-5D6E-409C-BE32-E72D297353CC}">
                <c16:uniqueId val="{0000095F-980B-4B2B-A6BA-FBAB5FE3CDBF}"/>
              </c:ext>
            </c:extLst>
          </c:dPt>
          <c:dPt>
            <c:idx val="1199"/>
            <c:invertIfNegative val="1"/>
            <c:bubble3D val="0"/>
            <c:spPr>
              <a:solidFill>
                <a:srgbClr val="AEABAB"/>
              </a:solidFill>
            </c:spPr>
            <c:extLst>
              <c:ext xmlns:c16="http://schemas.microsoft.com/office/drawing/2014/chart" uri="{C3380CC4-5D6E-409C-BE32-E72D297353CC}">
                <c16:uniqueId val="{00000961-980B-4B2B-A6BA-FBAB5FE3CDBF}"/>
              </c:ext>
            </c:extLst>
          </c:dPt>
          <c:dPt>
            <c:idx val="1200"/>
            <c:invertIfNegative val="1"/>
            <c:bubble3D val="0"/>
            <c:spPr>
              <a:solidFill>
                <a:srgbClr val="AEABAB"/>
              </a:solidFill>
            </c:spPr>
            <c:extLst>
              <c:ext xmlns:c16="http://schemas.microsoft.com/office/drawing/2014/chart" uri="{C3380CC4-5D6E-409C-BE32-E72D297353CC}">
                <c16:uniqueId val="{00000963-980B-4B2B-A6BA-FBAB5FE3CDBF}"/>
              </c:ext>
            </c:extLst>
          </c:dPt>
          <c:dPt>
            <c:idx val="1201"/>
            <c:invertIfNegative val="1"/>
            <c:bubble3D val="0"/>
            <c:spPr>
              <a:solidFill>
                <a:srgbClr val="AEABAB"/>
              </a:solidFill>
            </c:spPr>
            <c:extLst>
              <c:ext xmlns:c16="http://schemas.microsoft.com/office/drawing/2014/chart" uri="{C3380CC4-5D6E-409C-BE32-E72D297353CC}">
                <c16:uniqueId val="{00000965-980B-4B2B-A6BA-FBAB5FE3CDBF}"/>
              </c:ext>
            </c:extLst>
          </c:dPt>
          <c:dPt>
            <c:idx val="1202"/>
            <c:invertIfNegative val="1"/>
            <c:bubble3D val="0"/>
            <c:spPr>
              <a:solidFill>
                <a:srgbClr val="AEABAB"/>
              </a:solidFill>
            </c:spPr>
            <c:extLst>
              <c:ext xmlns:c16="http://schemas.microsoft.com/office/drawing/2014/chart" uri="{C3380CC4-5D6E-409C-BE32-E72D297353CC}">
                <c16:uniqueId val="{00000967-980B-4B2B-A6BA-FBAB5FE3CDBF}"/>
              </c:ext>
            </c:extLst>
          </c:dPt>
          <c:dPt>
            <c:idx val="1203"/>
            <c:invertIfNegative val="1"/>
            <c:bubble3D val="0"/>
            <c:spPr>
              <a:solidFill>
                <a:srgbClr val="AEABAB"/>
              </a:solidFill>
            </c:spPr>
            <c:extLst>
              <c:ext xmlns:c16="http://schemas.microsoft.com/office/drawing/2014/chart" uri="{C3380CC4-5D6E-409C-BE32-E72D297353CC}">
                <c16:uniqueId val="{00000969-980B-4B2B-A6BA-FBAB5FE3CDBF}"/>
              </c:ext>
            </c:extLst>
          </c:dPt>
          <c:dPt>
            <c:idx val="1204"/>
            <c:invertIfNegative val="1"/>
            <c:bubble3D val="0"/>
            <c:spPr>
              <a:solidFill>
                <a:srgbClr val="AEABAB"/>
              </a:solidFill>
            </c:spPr>
            <c:extLst>
              <c:ext xmlns:c16="http://schemas.microsoft.com/office/drawing/2014/chart" uri="{C3380CC4-5D6E-409C-BE32-E72D297353CC}">
                <c16:uniqueId val="{0000096B-980B-4B2B-A6BA-FBAB5FE3CDBF}"/>
              </c:ext>
            </c:extLst>
          </c:dPt>
          <c:dPt>
            <c:idx val="1205"/>
            <c:invertIfNegative val="1"/>
            <c:bubble3D val="0"/>
            <c:spPr>
              <a:solidFill>
                <a:srgbClr val="AEABAB"/>
              </a:solidFill>
            </c:spPr>
            <c:extLst>
              <c:ext xmlns:c16="http://schemas.microsoft.com/office/drawing/2014/chart" uri="{C3380CC4-5D6E-409C-BE32-E72D297353CC}">
                <c16:uniqueId val="{0000096D-980B-4B2B-A6BA-FBAB5FE3CDBF}"/>
              </c:ext>
            </c:extLst>
          </c:dPt>
          <c:dPt>
            <c:idx val="1206"/>
            <c:invertIfNegative val="1"/>
            <c:bubble3D val="0"/>
            <c:spPr>
              <a:solidFill>
                <a:srgbClr val="AEABAB"/>
              </a:solidFill>
            </c:spPr>
            <c:extLst>
              <c:ext xmlns:c16="http://schemas.microsoft.com/office/drawing/2014/chart" uri="{C3380CC4-5D6E-409C-BE32-E72D297353CC}">
                <c16:uniqueId val="{0000096F-980B-4B2B-A6BA-FBAB5FE3CDBF}"/>
              </c:ext>
            </c:extLst>
          </c:dPt>
          <c:dPt>
            <c:idx val="1207"/>
            <c:invertIfNegative val="1"/>
            <c:bubble3D val="0"/>
            <c:spPr>
              <a:solidFill>
                <a:srgbClr val="AEABAB"/>
              </a:solidFill>
            </c:spPr>
            <c:extLst>
              <c:ext xmlns:c16="http://schemas.microsoft.com/office/drawing/2014/chart" uri="{C3380CC4-5D6E-409C-BE32-E72D297353CC}">
                <c16:uniqueId val="{00000971-980B-4B2B-A6BA-FBAB5FE3CDBF}"/>
              </c:ext>
            </c:extLst>
          </c:dPt>
          <c:dPt>
            <c:idx val="1208"/>
            <c:invertIfNegative val="1"/>
            <c:bubble3D val="0"/>
            <c:spPr>
              <a:solidFill>
                <a:srgbClr val="AEABAB"/>
              </a:solidFill>
            </c:spPr>
            <c:extLst>
              <c:ext xmlns:c16="http://schemas.microsoft.com/office/drawing/2014/chart" uri="{C3380CC4-5D6E-409C-BE32-E72D297353CC}">
                <c16:uniqueId val="{00000973-980B-4B2B-A6BA-FBAB5FE3CDBF}"/>
              </c:ext>
            </c:extLst>
          </c:dPt>
          <c:dPt>
            <c:idx val="1209"/>
            <c:invertIfNegative val="1"/>
            <c:bubble3D val="0"/>
            <c:spPr>
              <a:solidFill>
                <a:srgbClr val="AEABAB"/>
              </a:solidFill>
            </c:spPr>
            <c:extLst>
              <c:ext xmlns:c16="http://schemas.microsoft.com/office/drawing/2014/chart" uri="{C3380CC4-5D6E-409C-BE32-E72D297353CC}">
                <c16:uniqueId val="{00000975-980B-4B2B-A6BA-FBAB5FE3CDBF}"/>
              </c:ext>
            </c:extLst>
          </c:dPt>
          <c:dPt>
            <c:idx val="1210"/>
            <c:invertIfNegative val="1"/>
            <c:bubble3D val="0"/>
            <c:spPr>
              <a:solidFill>
                <a:srgbClr val="AEABAB"/>
              </a:solidFill>
            </c:spPr>
            <c:extLst>
              <c:ext xmlns:c16="http://schemas.microsoft.com/office/drawing/2014/chart" uri="{C3380CC4-5D6E-409C-BE32-E72D297353CC}">
                <c16:uniqueId val="{00000977-980B-4B2B-A6BA-FBAB5FE3CDBF}"/>
              </c:ext>
            </c:extLst>
          </c:dPt>
          <c:dPt>
            <c:idx val="1211"/>
            <c:invertIfNegative val="1"/>
            <c:bubble3D val="0"/>
            <c:spPr>
              <a:solidFill>
                <a:srgbClr val="AEABAB"/>
              </a:solidFill>
            </c:spPr>
            <c:extLst>
              <c:ext xmlns:c16="http://schemas.microsoft.com/office/drawing/2014/chart" uri="{C3380CC4-5D6E-409C-BE32-E72D297353CC}">
                <c16:uniqueId val="{00000979-980B-4B2B-A6BA-FBAB5FE3CDBF}"/>
              </c:ext>
            </c:extLst>
          </c:dPt>
          <c:dPt>
            <c:idx val="1212"/>
            <c:invertIfNegative val="1"/>
            <c:bubble3D val="0"/>
            <c:spPr>
              <a:solidFill>
                <a:srgbClr val="AEABAB"/>
              </a:solidFill>
            </c:spPr>
            <c:extLst>
              <c:ext xmlns:c16="http://schemas.microsoft.com/office/drawing/2014/chart" uri="{C3380CC4-5D6E-409C-BE32-E72D297353CC}">
                <c16:uniqueId val="{0000097B-980B-4B2B-A6BA-FBAB5FE3CDBF}"/>
              </c:ext>
            </c:extLst>
          </c:dPt>
          <c:dPt>
            <c:idx val="1213"/>
            <c:invertIfNegative val="1"/>
            <c:bubble3D val="0"/>
            <c:spPr>
              <a:solidFill>
                <a:srgbClr val="AEABAB"/>
              </a:solidFill>
            </c:spPr>
            <c:extLst>
              <c:ext xmlns:c16="http://schemas.microsoft.com/office/drawing/2014/chart" uri="{C3380CC4-5D6E-409C-BE32-E72D297353CC}">
                <c16:uniqueId val="{0000097D-980B-4B2B-A6BA-FBAB5FE3CDBF}"/>
              </c:ext>
            </c:extLst>
          </c:dPt>
          <c:dPt>
            <c:idx val="1214"/>
            <c:invertIfNegative val="1"/>
            <c:bubble3D val="0"/>
            <c:spPr>
              <a:solidFill>
                <a:srgbClr val="AEABAB"/>
              </a:solidFill>
            </c:spPr>
            <c:extLst>
              <c:ext xmlns:c16="http://schemas.microsoft.com/office/drawing/2014/chart" uri="{C3380CC4-5D6E-409C-BE32-E72D297353CC}">
                <c16:uniqueId val="{0000097F-980B-4B2B-A6BA-FBAB5FE3CDBF}"/>
              </c:ext>
            </c:extLst>
          </c:dPt>
          <c:dPt>
            <c:idx val="1215"/>
            <c:invertIfNegative val="1"/>
            <c:bubble3D val="0"/>
            <c:spPr>
              <a:solidFill>
                <a:srgbClr val="AEABAB"/>
              </a:solidFill>
            </c:spPr>
            <c:extLst>
              <c:ext xmlns:c16="http://schemas.microsoft.com/office/drawing/2014/chart" uri="{C3380CC4-5D6E-409C-BE32-E72D297353CC}">
                <c16:uniqueId val="{00000981-980B-4B2B-A6BA-FBAB5FE3CDBF}"/>
              </c:ext>
            </c:extLst>
          </c:dPt>
          <c:dPt>
            <c:idx val="1216"/>
            <c:invertIfNegative val="1"/>
            <c:bubble3D val="0"/>
            <c:spPr>
              <a:solidFill>
                <a:srgbClr val="AEABAB"/>
              </a:solidFill>
            </c:spPr>
            <c:extLst>
              <c:ext xmlns:c16="http://schemas.microsoft.com/office/drawing/2014/chart" uri="{C3380CC4-5D6E-409C-BE32-E72D297353CC}">
                <c16:uniqueId val="{00000983-980B-4B2B-A6BA-FBAB5FE3CDBF}"/>
              </c:ext>
            </c:extLst>
          </c:dPt>
          <c:dPt>
            <c:idx val="1217"/>
            <c:invertIfNegative val="1"/>
            <c:bubble3D val="0"/>
            <c:spPr>
              <a:solidFill>
                <a:srgbClr val="AEABAB"/>
              </a:solidFill>
            </c:spPr>
            <c:extLst>
              <c:ext xmlns:c16="http://schemas.microsoft.com/office/drawing/2014/chart" uri="{C3380CC4-5D6E-409C-BE32-E72D297353CC}">
                <c16:uniqueId val="{00000985-980B-4B2B-A6BA-FBAB5FE3CDBF}"/>
              </c:ext>
            </c:extLst>
          </c:dPt>
          <c:dPt>
            <c:idx val="1218"/>
            <c:invertIfNegative val="1"/>
            <c:bubble3D val="0"/>
            <c:spPr>
              <a:solidFill>
                <a:srgbClr val="AEABAB"/>
              </a:solidFill>
            </c:spPr>
            <c:extLst>
              <c:ext xmlns:c16="http://schemas.microsoft.com/office/drawing/2014/chart" uri="{C3380CC4-5D6E-409C-BE32-E72D297353CC}">
                <c16:uniqueId val="{00000987-980B-4B2B-A6BA-FBAB5FE3CDBF}"/>
              </c:ext>
            </c:extLst>
          </c:dPt>
          <c:dPt>
            <c:idx val="1219"/>
            <c:invertIfNegative val="1"/>
            <c:bubble3D val="0"/>
            <c:spPr>
              <a:solidFill>
                <a:srgbClr val="AEABAB"/>
              </a:solidFill>
            </c:spPr>
            <c:extLst>
              <c:ext xmlns:c16="http://schemas.microsoft.com/office/drawing/2014/chart" uri="{C3380CC4-5D6E-409C-BE32-E72D297353CC}">
                <c16:uniqueId val="{00000989-980B-4B2B-A6BA-FBAB5FE3CDBF}"/>
              </c:ext>
            </c:extLst>
          </c:dPt>
          <c:dPt>
            <c:idx val="1220"/>
            <c:invertIfNegative val="1"/>
            <c:bubble3D val="0"/>
            <c:spPr>
              <a:solidFill>
                <a:srgbClr val="AEABAB"/>
              </a:solidFill>
            </c:spPr>
            <c:extLst>
              <c:ext xmlns:c16="http://schemas.microsoft.com/office/drawing/2014/chart" uri="{C3380CC4-5D6E-409C-BE32-E72D297353CC}">
                <c16:uniqueId val="{0000098B-980B-4B2B-A6BA-FBAB5FE3CDBF}"/>
              </c:ext>
            </c:extLst>
          </c:dPt>
          <c:dPt>
            <c:idx val="1221"/>
            <c:invertIfNegative val="1"/>
            <c:bubble3D val="0"/>
            <c:spPr>
              <a:solidFill>
                <a:srgbClr val="AEABAB"/>
              </a:solidFill>
            </c:spPr>
            <c:extLst>
              <c:ext xmlns:c16="http://schemas.microsoft.com/office/drawing/2014/chart" uri="{C3380CC4-5D6E-409C-BE32-E72D297353CC}">
                <c16:uniqueId val="{0000098D-980B-4B2B-A6BA-FBAB5FE3CDBF}"/>
              </c:ext>
            </c:extLst>
          </c:dPt>
          <c:dPt>
            <c:idx val="1222"/>
            <c:invertIfNegative val="1"/>
            <c:bubble3D val="0"/>
            <c:spPr>
              <a:solidFill>
                <a:srgbClr val="AEABAB"/>
              </a:solidFill>
            </c:spPr>
            <c:extLst>
              <c:ext xmlns:c16="http://schemas.microsoft.com/office/drawing/2014/chart" uri="{C3380CC4-5D6E-409C-BE32-E72D297353CC}">
                <c16:uniqueId val="{0000098F-980B-4B2B-A6BA-FBAB5FE3CDBF}"/>
              </c:ext>
            </c:extLst>
          </c:dPt>
          <c:dPt>
            <c:idx val="1223"/>
            <c:invertIfNegative val="1"/>
            <c:bubble3D val="0"/>
            <c:spPr>
              <a:solidFill>
                <a:srgbClr val="AEABAB"/>
              </a:solidFill>
            </c:spPr>
            <c:extLst>
              <c:ext xmlns:c16="http://schemas.microsoft.com/office/drawing/2014/chart" uri="{C3380CC4-5D6E-409C-BE32-E72D297353CC}">
                <c16:uniqueId val="{00000991-980B-4B2B-A6BA-FBAB5FE3CDBF}"/>
              </c:ext>
            </c:extLst>
          </c:dPt>
          <c:dPt>
            <c:idx val="1224"/>
            <c:invertIfNegative val="1"/>
            <c:bubble3D val="0"/>
            <c:spPr>
              <a:solidFill>
                <a:srgbClr val="AEABAB"/>
              </a:solidFill>
            </c:spPr>
            <c:extLst>
              <c:ext xmlns:c16="http://schemas.microsoft.com/office/drawing/2014/chart" uri="{C3380CC4-5D6E-409C-BE32-E72D297353CC}">
                <c16:uniqueId val="{00000993-980B-4B2B-A6BA-FBAB5FE3CDBF}"/>
              </c:ext>
            </c:extLst>
          </c:dPt>
          <c:dPt>
            <c:idx val="1225"/>
            <c:invertIfNegative val="1"/>
            <c:bubble3D val="0"/>
            <c:spPr>
              <a:solidFill>
                <a:srgbClr val="AEABAB"/>
              </a:solidFill>
            </c:spPr>
            <c:extLst>
              <c:ext xmlns:c16="http://schemas.microsoft.com/office/drawing/2014/chart" uri="{C3380CC4-5D6E-409C-BE32-E72D297353CC}">
                <c16:uniqueId val="{00000995-980B-4B2B-A6BA-FBAB5FE3CDBF}"/>
              </c:ext>
            </c:extLst>
          </c:dPt>
          <c:dPt>
            <c:idx val="1226"/>
            <c:invertIfNegative val="1"/>
            <c:bubble3D val="0"/>
            <c:spPr>
              <a:solidFill>
                <a:srgbClr val="AEABAB"/>
              </a:solidFill>
            </c:spPr>
            <c:extLst>
              <c:ext xmlns:c16="http://schemas.microsoft.com/office/drawing/2014/chart" uri="{C3380CC4-5D6E-409C-BE32-E72D297353CC}">
                <c16:uniqueId val="{00000997-980B-4B2B-A6BA-FBAB5FE3CDBF}"/>
              </c:ext>
            </c:extLst>
          </c:dPt>
          <c:dPt>
            <c:idx val="1227"/>
            <c:invertIfNegative val="1"/>
            <c:bubble3D val="0"/>
            <c:spPr>
              <a:solidFill>
                <a:srgbClr val="AEABAB"/>
              </a:solidFill>
            </c:spPr>
            <c:extLst>
              <c:ext xmlns:c16="http://schemas.microsoft.com/office/drawing/2014/chart" uri="{C3380CC4-5D6E-409C-BE32-E72D297353CC}">
                <c16:uniqueId val="{00000999-980B-4B2B-A6BA-FBAB5FE3CDBF}"/>
              </c:ext>
            </c:extLst>
          </c:dPt>
          <c:dPt>
            <c:idx val="1228"/>
            <c:invertIfNegative val="1"/>
            <c:bubble3D val="0"/>
            <c:spPr>
              <a:solidFill>
                <a:srgbClr val="AEABAB"/>
              </a:solidFill>
            </c:spPr>
            <c:extLst>
              <c:ext xmlns:c16="http://schemas.microsoft.com/office/drawing/2014/chart" uri="{C3380CC4-5D6E-409C-BE32-E72D297353CC}">
                <c16:uniqueId val="{0000099B-980B-4B2B-A6BA-FBAB5FE3CDBF}"/>
              </c:ext>
            </c:extLst>
          </c:dPt>
          <c:dPt>
            <c:idx val="1229"/>
            <c:invertIfNegative val="1"/>
            <c:bubble3D val="0"/>
            <c:spPr>
              <a:solidFill>
                <a:srgbClr val="AEABAB"/>
              </a:solidFill>
            </c:spPr>
            <c:extLst>
              <c:ext xmlns:c16="http://schemas.microsoft.com/office/drawing/2014/chart" uri="{C3380CC4-5D6E-409C-BE32-E72D297353CC}">
                <c16:uniqueId val="{0000099D-980B-4B2B-A6BA-FBAB5FE3CDBF}"/>
              </c:ext>
            </c:extLst>
          </c:dPt>
          <c:dPt>
            <c:idx val="1230"/>
            <c:invertIfNegative val="1"/>
            <c:bubble3D val="0"/>
            <c:spPr>
              <a:solidFill>
                <a:srgbClr val="AEABAB"/>
              </a:solidFill>
            </c:spPr>
            <c:extLst>
              <c:ext xmlns:c16="http://schemas.microsoft.com/office/drawing/2014/chart" uri="{C3380CC4-5D6E-409C-BE32-E72D297353CC}">
                <c16:uniqueId val="{0000099F-980B-4B2B-A6BA-FBAB5FE3CDBF}"/>
              </c:ext>
            </c:extLst>
          </c:dPt>
          <c:dPt>
            <c:idx val="1231"/>
            <c:invertIfNegative val="1"/>
            <c:bubble3D val="0"/>
            <c:spPr>
              <a:solidFill>
                <a:srgbClr val="AEABAB"/>
              </a:solidFill>
            </c:spPr>
            <c:extLst>
              <c:ext xmlns:c16="http://schemas.microsoft.com/office/drawing/2014/chart" uri="{C3380CC4-5D6E-409C-BE32-E72D297353CC}">
                <c16:uniqueId val="{000009A1-980B-4B2B-A6BA-FBAB5FE3CDBF}"/>
              </c:ext>
            </c:extLst>
          </c:dPt>
          <c:dPt>
            <c:idx val="1232"/>
            <c:invertIfNegative val="1"/>
            <c:bubble3D val="0"/>
            <c:spPr>
              <a:solidFill>
                <a:srgbClr val="AEABAB"/>
              </a:solidFill>
            </c:spPr>
            <c:extLst>
              <c:ext xmlns:c16="http://schemas.microsoft.com/office/drawing/2014/chart" uri="{C3380CC4-5D6E-409C-BE32-E72D297353CC}">
                <c16:uniqueId val="{000009A3-980B-4B2B-A6BA-FBAB5FE3CDBF}"/>
              </c:ext>
            </c:extLst>
          </c:dPt>
          <c:dPt>
            <c:idx val="1233"/>
            <c:invertIfNegative val="1"/>
            <c:bubble3D val="0"/>
            <c:spPr>
              <a:solidFill>
                <a:srgbClr val="AEABAB"/>
              </a:solidFill>
            </c:spPr>
            <c:extLst>
              <c:ext xmlns:c16="http://schemas.microsoft.com/office/drawing/2014/chart" uri="{C3380CC4-5D6E-409C-BE32-E72D297353CC}">
                <c16:uniqueId val="{000009A5-980B-4B2B-A6BA-FBAB5FE3CDBF}"/>
              </c:ext>
            </c:extLst>
          </c:dPt>
          <c:dPt>
            <c:idx val="1234"/>
            <c:invertIfNegative val="1"/>
            <c:bubble3D val="0"/>
            <c:spPr>
              <a:solidFill>
                <a:srgbClr val="AEABAB"/>
              </a:solidFill>
            </c:spPr>
            <c:extLst>
              <c:ext xmlns:c16="http://schemas.microsoft.com/office/drawing/2014/chart" uri="{C3380CC4-5D6E-409C-BE32-E72D297353CC}">
                <c16:uniqueId val="{000009A7-980B-4B2B-A6BA-FBAB5FE3CDBF}"/>
              </c:ext>
            </c:extLst>
          </c:dPt>
          <c:dPt>
            <c:idx val="1235"/>
            <c:invertIfNegative val="1"/>
            <c:bubble3D val="0"/>
            <c:spPr>
              <a:solidFill>
                <a:srgbClr val="AEABAB"/>
              </a:solidFill>
            </c:spPr>
            <c:extLst>
              <c:ext xmlns:c16="http://schemas.microsoft.com/office/drawing/2014/chart" uri="{C3380CC4-5D6E-409C-BE32-E72D297353CC}">
                <c16:uniqueId val="{000009A9-980B-4B2B-A6BA-FBAB5FE3CDBF}"/>
              </c:ext>
            </c:extLst>
          </c:dPt>
          <c:dPt>
            <c:idx val="1236"/>
            <c:invertIfNegative val="1"/>
            <c:bubble3D val="0"/>
            <c:spPr>
              <a:solidFill>
                <a:srgbClr val="AEABAB"/>
              </a:solidFill>
            </c:spPr>
            <c:extLst>
              <c:ext xmlns:c16="http://schemas.microsoft.com/office/drawing/2014/chart" uri="{C3380CC4-5D6E-409C-BE32-E72D297353CC}">
                <c16:uniqueId val="{000009AB-980B-4B2B-A6BA-FBAB5FE3CDBF}"/>
              </c:ext>
            </c:extLst>
          </c:dPt>
          <c:dPt>
            <c:idx val="1237"/>
            <c:invertIfNegative val="1"/>
            <c:bubble3D val="0"/>
            <c:spPr>
              <a:solidFill>
                <a:srgbClr val="AEABAB"/>
              </a:solidFill>
            </c:spPr>
            <c:extLst>
              <c:ext xmlns:c16="http://schemas.microsoft.com/office/drawing/2014/chart" uri="{C3380CC4-5D6E-409C-BE32-E72D297353CC}">
                <c16:uniqueId val="{000009AD-980B-4B2B-A6BA-FBAB5FE3CDBF}"/>
              </c:ext>
            </c:extLst>
          </c:dPt>
          <c:dPt>
            <c:idx val="1238"/>
            <c:invertIfNegative val="1"/>
            <c:bubble3D val="0"/>
            <c:spPr>
              <a:solidFill>
                <a:srgbClr val="AEABAB"/>
              </a:solidFill>
            </c:spPr>
            <c:extLst>
              <c:ext xmlns:c16="http://schemas.microsoft.com/office/drawing/2014/chart" uri="{C3380CC4-5D6E-409C-BE32-E72D297353CC}">
                <c16:uniqueId val="{000009AF-980B-4B2B-A6BA-FBAB5FE3CDBF}"/>
              </c:ext>
            </c:extLst>
          </c:dPt>
          <c:dPt>
            <c:idx val="1239"/>
            <c:invertIfNegative val="1"/>
            <c:bubble3D val="0"/>
            <c:spPr>
              <a:solidFill>
                <a:srgbClr val="AEABAB"/>
              </a:solidFill>
            </c:spPr>
            <c:extLst>
              <c:ext xmlns:c16="http://schemas.microsoft.com/office/drawing/2014/chart" uri="{C3380CC4-5D6E-409C-BE32-E72D297353CC}">
                <c16:uniqueId val="{000009B1-980B-4B2B-A6BA-FBAB5FE3CDBF}"/>
              </c:ext>
            </c:extLst>
          </c:dPt>
          <c:dPt>
            <c:idx val="1240"/>
            <c:invertIfNegative val="1"/>
            <c:bubble3D val="0"/>
            <c:spPr>
              <a:solidFill>
                <a:srgbClr val="AEABAB"/>
              </a:solidFill>
            </c:spPr>
            <c:extLst>
              <c:ext xmlns:c16="http://schemas.microsoft.com/office/drawing/2014/chart" uri="{C3380CC4-5D6E-409C-BE32-E72D297353CC}">
                <c16:uniqueId val="{000009B3-980B-4B2B-A6BA-FBAB5FE3CDBF}"/>
              </c:ext>
            </c:extLst>
          </c:dPt>
          <c:dPt>
            <c:idx val="1241"/>
            <c:invertIfNegative val="1"/>
            <c:bubble3D val="0"/>
            <c:spPr>
              <a:solidFill>
                <a:srgbClr val="AEABAB"/>
              </a:solidFill>
            </c:spPr>
            <c:extLst>
              <c:ext xmlns:c16="http://schemas.microsoft.com/office/drawing/2014/chart" uri="{C3380CC4-5D6E-409C-BE32-E72D297353CC}">
                <c16:uniqueId val="{000009B5-980B-4B2B-A6BA-FBAB5FE3CDBF}"/>
              </c:ext>
            </c:extLst>
          </c:dPt>
          <c:dPt>
            <c:idx val="1242"/>
            <c:invertIfNegative val="1"/>
            <c:bubble3D val="0"/>
            <c:spPr>
              <a:solidFill>
                <a:srgbClr val="AEABAB"/>
              </a:solidFill>
            </c:spPr>
            <c:extLst>
              <c:ext xmlns:c16="http://schemas.microsoft.com/office/drawing/2014/chart" uri="{C3380CC4-5D6E-409C-BE32-E72D297353CC}">
                <c16:uniqueId val="{000009B7-980B-4B2B-A6BA-FBAB5FE3CDBF}"/>
              </c:ext>
            </c:extLst>
          </c:dPt>
          <c:dPt>
            <c:idx val="1243"/>
            <c:invertIfNegative val="1"/>
            <c:bubble3D val="0"/>
            <c:spPr>
              <a:solidFill>
                <a:srgbClr val="AEABAB"/>
              </a:solidFill>
            </c:spPr>
            <c:extLst>
              <c:ext xmlns:c16="http://schemas.microsoft.com/office/drawing/2014/chart" uri="{C3380CC4-5D6E-409C-BE32-E72D297353CC}">
                <c16:uniqueId val="{000009B9-980B-4B2B-A6BA-FBAB5FE3CDBF}"/>
              </c:ext>
            </c:extLst>
          </c:dPt>
          <c:dPt>
            <c:idx val="1244"/>
            <c:invertIfNegative val="1"/>
            <c:bubble3D val="0"/>
            <c:spPr>
              <a:solidFill>
                <a:srgbClr val="AEABAB"/>
              </a:solidFill>
            </c:spPr>
            <c:extLst>
              <c:ext xmlns:c16="http://schemas.microsoft.com/office/drawing/2014/chart" uri="{C3380CC4-5D6E-409C-BE32-E72D297353CC}">
                <c16:uniqueId val="{000009BB-980B-4B2B-A6BA-FBAB5FE3CDBF}"/>
              </c:ext>
            </c:extLst>
          </c:dPt>
          <c:dPt>
            <c:idx val="1245"/>
            <c:invertIfNegative val="1"/>
            <c:bubble3D val="0"/>
            <c:spPr>
              <a:solidFill>
                <a:srgbClr val="AEABAB"/>
              </a:solidFill>
            </c:spPr>
            <c:extLst>
              <c:ext xmlns:c16="http://schemas.microsoft.com/office/drawing/2014/chart" uri="{C3380CC4-5D6E-409C-BE32-E72D297353CC}">
                <c16:uniqueId val="{000009BD-980B-4B2B-A6BA-FBAB5FE3CDBF}"/>
              </c:ext>
            </c:extLst>
          </c:dPt>
          <c:dPt>
            <c:idx val="1246"/>
            <c:invertIfNegative val="1"/>
            <c:bubble3D val="0"/>
            <c:spPr>
              <a:solidFill>
                <a:srgbClr val="AEABAB"/>
              </a:solidFill>
            </c:spPr>
            <c:extLst>
              <c:ext xmlns:c16="http://schemas.microsoft.com/office/drawing/2014/chart" uri="{C3380CC4-5D6E-409C-BE32-E72D297353CC}">
                <c16:uniqueId val="{000009BF-980B-4B2B-A6BA-FBAB5FE3CDBF}"/>
              </c:ext>
            </c:extLst>
          </c:dPt>
          <c:dPt>
            <c:idx val="1247"/>
            <c:invertIfNegative val="1"/>
            <c:bubble3D val="0"/>
            <c:spPr>
              <a:solidFill>
                <a:srgbClr val="AEABAB"/>
              </a:solidFill>
            </c:spPr>
            <c:extLst>
              <c:ext xmlns:c16="http://schemas.microsoft.com/office/drawing/2014/chart" uri="{C3380CC4-5D6E-409C-BE32-E72D297353CC}">
                <c16:uniqueId val="{000009C1-980B-4B2B-A6BA-FBAB5FE3CDBF}"/>
              </c:ext>
            </c:extLst>
          </c:dPt>
          <c:dPt>
            <c:idx val="1248"/>
            <c:invertIfNegative val="1"/>
            <c:bubble3D val="0"/>
            <c:spPr>
              <a:solidFill>
                <a:srgbClr val="AEABAB"/>
              </a:solidFill>
            </c:spPr>
            <c:extLst>
              <c:ext xmlns:c16="http://schemas.microsoft.com/office/drawing/2014/chart" uri="{C3380CC4-5D6E-409C-BE32-E72D297353CC}">
                <c16:uniqueId val="{000009C3-980B-4B2B-A6BA-FBAB5FE3CDBF}"/>
              </c:ext>
            </c:extLst>
          </c:dPt>
          <c:dPt>
            <c:idx val="1249"/>
            <c:invertIfNegative val="1"/>
            <c:bubble3D val="0"/>
            <c:spPr>
              <a:solidFill>
                <a:srgbClr val="AEABAB"/>
              </a:solidFill>
            </c:spPr>
            <c:extLst>
              <c:ext xmlns:c16="http://schemas.microsoft.com/office/drawing/2014/chart" uri="{C3380CC4-5D6E-409C-BE32-E72D297353CC}">
                <c16:uniqueId val="{000009C5-980B-4B2B-A6BA-FBAB5FE3CDBF}"/>
              </c:ext>
            </c:extLst>
          </c:dPt>
          <c:dPt>
            <c:idx val="1250"/>
            <c:invertIfNegative val="1"/>
            <c:bubble3D val="0"/>
            <c:spPr>
              <a:solidFill>
                <a:srgbClr val="AEABAB"/>
              </a:solidFill>
            </c:spPr>
            <c:extLst>
              <c:ext xmlns:c16="http://schemas.microsoft.com/office/drawing/2014/chart" uri="{C3380CC4-5D6E-409C-BE32-E72D297353CC}">
                <c16:uniqueId val="{000009C7-980B-4B2B-A6BA-FBAB5FE3CDBF}"/>
              </c:ext>
            </c:extLst>
          </c:dPt>
          <c:dPt>
            <c:idx val="1251"/>
            <c:invertIfNegative val="1"/>
            <c:bubble3D val="0"/>
            <c:spPr>
              <a:solidFill>
                <a:srgbClr val="AEABAB"/>
              </a:solidFill>
            </c:spPr>
            <c:extLst>
              <c:ext xmlns:c16="http://schemas.microsoft.com/office/drawing/2014/chart" uri="{C3380CC4-5D6E-409C-BE32-E72D297353CC}">
                <c16:uniqueId val="{000009C9-980B-4B2B-A6BA-FBAB5FE3CDBF}"/>
              </c:ext>
            </c:extLst>
          </c:dPt>
          <c:dPt>
            <c:idx val="1252"/>
            <c:invertIfNegative val="1"/>
            <c:bubble3D val="0"/>
            <c:spPr>
              <a:solidFill>
                <a:srgbClr val="AEABAB"/>
              </a:solidFill>
            </c:spPr>
            <c:extLst>
              <c:ext xmlns:c16="http://schemas.microsoft.com/office/drawing/2014/chart" uri="{C3380CC4-5D6E-409C-BE32-E72D297353CC}">
                <c16:uniqueId val="{000009CB-980B-4B2B-A6BA-FBAB5FE3CDBF}"/>
              </c:ext>
            </c:extLst>
          </c:dPt>
          <c:dPt>
            <c:idx val="1253"/>
            <c:invertIfNegative val="1"/>
            <c:bubble3D val="0"/>
            <c:spPr>
              <a:solidFill>
                <a:srgbClr val="AEABAB"/>
              </a:solidFill>
            </c:spPr>
            <c:extLst>
              <c:ext xmlns:c16="http://schemas.microsoft.com/office/drawing/2014/chart" uri="{C3380CC4-5D6E-409C-BE32-E72D297353CC}">
                <c16:uniqueId val="{000009CD-980B-4B2B-A6BA-FBAB5FE3CDBF}"/>
              </c:ext>
            </c:extLst>
          </c:dPt>
          <c:dPt>
            <c:idx val="1254"/>
            <c:invertIfNegative val="1"/>
            <c:bubble3D val="0"/>
            <c:spPr>
              <a:solidFill>
                <a:srgbClr val="AEABAB"/>
              </a:solidFill>
            </c:spPr>
            <c:extLst>
              <c:ext xmlns:c16="http://schemas.microsoft.com/office/drawing/2014/chart" uri="{C3380CC4-5D6E-409C-BE32-E72D297353CC}">
                <c16:uniqueId val="{000009CF-980B-4B2B-A6BA-FBAB5FE3CDBF}"/>
              </c:ext>
            </c:extLst>
          </c:dPt>
          <c:dPt>
            <c:idx val="1255"/>
            <c:invertIfNegative val="1"/>
            <c:bubble3D val="0"/>
            <c:spPr>
              <a:solidFill>
                <a:srgbClr val="AEABAB"/>
              </a:solidFill>
            </c:spPr>
            <c:extLst>
              <c:ext xmlns:c16="http://schemas.microsoft.com/office/drawing/2014/chart" uri="{C3380CC4-5D6E-409C-BE32-E72D297353CC}">
                <c16:uniqueId val="{000009D1-980B-4B2B-A6BA-FBAB5FE3CDBF}"/>
              </c:ext>
            </c:extLst>
          </c:dPt>
          <c:dPt>
            <c:idx val="1256"/>
            <c:invertIfNegative val="1"/>
            <c:bubble3D val="0"/>
            <c:spPr>
              <a:solidFill>
                <a:srgbClr val="AEABAB"/>
              </a:solidFill>
            </c:spPr>
            <c:extLst>
              <c:ext xmlns:c16="http://schemas.microsoft.com/office/drawing/2014/chart" uri="{C3380CC4-5D6E-409C-BE32-E72D297353CC}">
                <c16:uniqueId val="{000009D3-980B-4B2B-A6BA-FBAB5FE3CDBF}"/>
              </c:ext>
            </c:extLst>
          </c:dPt>
          <c:dPt>
            <c:idx val="1257"/>
            <c:invertIfNegative val="1"/>
            <c:bubble3D val="0"/>
            <c:spPr>
              <a:solidFill>
                <a:srgbClr val="AEABAB"/>
              </a:solidFill>
            </c:spPr>
            <c:extLst>
              <c:ext xmlns:c16="http://schemas.microsoft.com/office/drawing/2014/chart" uri="{C3380CC4-5D6E-409C-BE32-E72D297353CC}">
                <c16:uniqueId val="{000009D5-980B-4B2B-A6BA-FBAB5FE3CDBF}"/>
              </c:ext>
            </c:extLst>
          </c:dPt>
          <c:dPt>
            <c:idx val="1258"/>
            <c:invertIfNegative val="1"/>
            <c:bubble3D val="0"/>
            <c:spPr>
              <a:solidFill>
                <a:srgbClr val="AEABAB"/>
              </a:solidFill>
            </c:spPr>
            <c:extLst>
              <c:ext xmlns:c16="http://schemas.microsoft.com/office/drawing/2014/chart" uri="{C3380CC4-5D6E-409C-BE32-E72D297353CC}">
                <c16:uniqueId val="{000009D7-980B-4B2B-A6BA-FBAB5FE3CDBF}"/>
              </c:ext>
            </c:extLst>
          </c:dPt>
          <c:dPt>
            <c:idx val="1259"/>
            <c:invertIfNegative val="1"/>
            <c:bubble3D val="0"/>
            <c:spPr>
              <a:solidFill>
                <a:srgbClr val="AEABAB"/>
              </a:solidFill>
            </c:spPr>
            <c:extLst>
              <c:ext xmlns:c16="http://schemas.microsoft.com/office/drawing/2014/chart" uri="{C3380CC4-5D6E-409C-BE32-E72D297353CC}">
                <c16:uniqueId val="{000009D9-980B-4B2B-A6BA-FBAB5FE3CDBF}"/>
              </c:ext>
            </c:extLst>
          </c:dPt>
          <c:dPt>
            <c:idx val="1260"/>
            <c:invertIfNegative val="1"/>
            <c:bubble3D val="0"/>
            <c:spPr>
              <a:solidFill>
                <a:srgbClr val="AEABAB"/>
              </a:solidFill>
            </c:spPr>
            <c:extLst>
              <c:ext xmlns:c16="http://schemas.microsoft.com/office/drawing/2014/chart" uri="{C3380CC4-5D6E-409C-BE32-E72D297353CC}">
                <c16:uniqueId val="{000009DB-980B-4B2B-A6BA-FBAB5FE3CDBF}"/>
              </c:ext>
            </c:extLst>
          </c:dPt>
          <c:dPt>
            <c:idx val="1261"/>
            <c:invertIfNegative val="1"/>
            <c:bubble3D val="0"/>
            <c:spPr>
              <a:solidFill>
                <a:srgbClr val="AEABAB"/>
              </a:solidFill>
            </c:spPr>
            <c:extLst>
              <c:ext xmlns:c16="http://schemas.microsoft.com/office/drawing/2014/chart" uri="{C3380CC4-5D6E-409C-BE32-E72D297353CC}">
                <c16:uniqueId val="{000009DD-980B-4B2B-A6BA-FBAB5FE3CDBF}"/>
              </c:ext>
            </c:extLst>
          </c:dPt>
          <c:dPt>
            <c:idx val="1262"/>
            <c:invertIfNegative val="1"/>
            <c:bubble3D val="0"/>
            <c:spPr>
              <a:solidFill>
                <a:srgbClr val="AEABAB"/>
              </a:solidFill>
            </c:spPr>
            <c:extLst>
              <c:ext xmlns:c16="http://schemas.microsoft.com/office/drawing/2014/chart" uri="{C3380CC4-5D6E-409C-BE32-E72D297353CC}">
                <c16:uniqueId val="{000009DF-980B-4B2B-A6BA-FBAB5FE3CDBF}"/>
              </c:ext>
            </c:extLst>
          </c:dPt>
          <c:dPt>
            <c:idx val="1263"/>
            <c:invertIfNegative val="1"/>
            <c:bubble3D val="0"/>
            <c:spPr>
              <a:solidFill>
                <a:srgbClr val="AEABAB"/>
              </a:solidFill>
            </c:spPr>
            <c:extLst>
              <c:ext xmlns:c16="http://schemas.microsoft.com/office/drawing/2014/chart" uri="{C3380CC4-5D6E-409C-BE32-E72D297353CC}">
                <c16:uniqueId val="{000009E1-980B-4B2B-A6BA-FBAB5FE3CDBF}"/>
              </c:ext>
            </c:extLst>
          </c:dPt>
          <c:dPt>
            <c:idx val="1264"/>
            <c:invertIfNegative val="1"/>
            <c:bubble3D val="0"/>
            <c:spPr>
              <a:solidFill>
                <a:srgbClr val="AEABAB"/>
              </a:solidFill>
            </c:spPr>
            <c:extLst>
              <c:ext xmlns:c16="http://schemas.microsoft.com/office/drawing/2014/chart" uri="{C3380CC4-5D6E-409C-BE32-E72D297353CC}">
                <c16:uniqueId val="{000009E3-980B-4B2B-A6BA-FBAB5FE3CDBF}"/>
              </c:ext>
            </c:extLst>
          </c:dPt>
          <c:dPt>
            <c:idx val="1265"/>
            <c:invertIfNegative val="1"/>
            <c:bubble3D val="0"/>
            <c:spPr>
              <a:solidFill>
                <a:srgbClr val="AEABAB"/>
              </a:solidFill>
            </c:spPr>
            <c:extLst>
              <c:ext xmlns:c16="http://schemas.microsoft.com/office/drawing/2014/chart" uri="{C3380CC4-5D6E-409C-BE32-E72D297353CC}">
                <c16:uniqueId val="{000009E5-980B-4B2B-A6BA-FBAB5FE3CDBF}"/>
              </c:ext>
            </c:extLst>
          </c:dPt>
          <c:dPt>
            <c:idx val="1266"/>
            <c:invertIfNegative val="1"/>
            <c:bubble3D val="0"/>
            <c:spPr>
              <a:solidFill>
                <a:srgbClr val="AEABAB"/>
              </a:solidFill>
            </c:spPr>
            <c:extLst>
              <c:ext xmlns:c16="http://schemas.microsoft.com/office/drawing/2014/chart" uri="{C3380CC4-5D6E-409C-BE32-E72D297353CC}">
                <c16:uniqueId val="{000009E7-980B-4B2B-A6BA-FBAB5FE3CDBF}"/>
              </c:ext>
            </c:extLst>
          </c:dPt>
          <c:dPt>
            <c:idx val="1267"/>
            <c:invertIfNegative val="1"/>
            <c:bubble3D val="0"/>
            <c:spPr>
              <a:solidFill>
                <a:srgbClr val="AEABAB"/>
              </a:solidFill>
            </c:spPr>
            <c:extLst>
              <c:ext xmlns:c16="http://schemas.microsoft.com/office/drawing/2014/chart" uri="{C3380CC4-5D6E-409C-BE32-E72D297353CC}">
                <c16:uniqueId val="{000009E9-980B-4B2B-A6BA-FBAB5FE3CDBF}"/>
              </c:ext>
            </c:extLst>
          </c:dPt>
          <c:dPt>
            <c:idx val="1268"/>
            <c:invertIfNegative val="1"/>
            <c:bubble3D val="0"/>
            <c:spPr>
              <a:solidFill>
                <a:srgbClr val="AEABAB"/>
              </a:solidFill>
            </c:spPr>
            <c:extLst>
              <c:ext xmlns:c16="http://schemas.microsoft.com/office/drawing/2014/chart" uri="{C3380CC4-5D6E-409C-BE32-E72D297353CC}">
                <c16:uniqueId val="{000009EB-980B-4B2B-A6BA-FBAB5FE3CDBF}"/>
              </c:ext>
            </c:extLst>
          </c:dPt>
          <c:dPt>
            <c:idx val="1269"/>
            <c:invertIfNegative val="1"/>
            <c:bubble3D val="0"/>
            <c:spPr>
              <a:solidFill>
                <a:srgbClr val="AEABAB"/>
              </a:solidFill>
            </c:spPr>
            <c:extLst>
              <c:ext xmlns:c16="http://schemas.microsoft.com/office/drawing/2014/chart" uri="{C3380CC4-5D6E-409C-BE32-E72D297353CC}">
                <c16:uniqueId val="{000009ED-980B-4B2B-A6BA-FBAB5FE3CDBF}"/>
              </c:ext>
            </c:extLst>
          </c:dPt>
          <c:dPt>
            <c:idx val="1270"/>
            <c:invertIfNegative val="1"/>
            <c:bubble3D val="0"/>
            <c:spPr>
              <a:solidFill>
                <a:srgbClr val="AEABAB"/>
              </a:solidFill>
            </c:spPr>
            <c:extLst>
              <c:ext xmlns:c16="http://schemas.microsoft.com/office/drawing/2014/chart" uri="{C3380CC4-5D6E-409C-BE32-E72D297353CC}">
                <c16:uniqueId val="{000009EF-980B-4B2B-A6BA-FBAB5FE3CDBF}"/>
              </c:ext>
            </c:extLst>
          </c:dPt>
          <c:dPt>
            <c:idx val="1271"/>
            <c:invertIfNegative val="1"/>
            <c:bubble3D val="0"/>
            <c:spPr>
              <a:solidFill>
                <a:srgbClr val="AEABAB"/>
              </a:solidFill>
            </c:spPr>
            <c:extLst>
              <c:ext xmlns:c16="http://schemas.microsoft.com/office/drawing/2014/chart" uri="{C3380CC4-5D6E-409C-BE32-E72D297353CC}">
                <c16:uniqueId val="{000009F1-980B-4B2B-A6BA-FBAB5FE3CDBF}"/>
              </c:ext>
            </c:extLst>
          </c:dPt>
          <c:dPt>
            <c:idx val="1272"/>
            <c:invertIfNegative val="1"/>
            <c:bubble3D val="0"/>
            <c:spPr>
              <a:solidFill>
                <a:srgbClr val="AEABAB"/>
              </a:solidFill>
            </c:spPr>
            <c:extLst>
              <c:ext xmlns:c16="http://schemas.microsoft.com/office/drawing/2014/chart" uri="{C3380CC4-5D6E-409C-BE32-E72D297353CC}">
                <c16:uniqueId val="{000009F3-980B-4B2B-A6BA-FBAB5FE3CDBF}"/>
              </c:ext>
            </c:extLst>
          </c:dPt>
          <c:dPt>
            <c:idx val="1273"/>
            <c:invertIfNegative val="1"/>
            <c:bubble3D val="0"/>
            <c:spPr>
              <a:solidFill>
                <a:srgbClr val="AEABAB"/>
              </a:solidFill>
            </c:spPr>
            <c:extLst>
              <c:ext xmlns:c16="http://schemas.microsoft.com/office/drawing/2014/chart" uri="{C3380CC4-5D6E-409C-BE32-E72D297353CC}">
                <c16:uniqueId val="{000009F5-980B-4B2B-A6BA-FBAB5FE3CDBF}"/>
              </c:ext>
            </c:extLst>
          </c:dPt>
          <c:dPt>
            <c:idx val="1274"/>
            <c:invertIfNegative val="1"/>
            <c:bubble3D val="0"/>
            <c:spPr>
              <a:solidFill>
                <a:srgbClr val="AEABAB"/>
              </a:solidFill>
            </c:spPr>
            <c:extLst>
              <c:ext xmlns:c16="http://schemas.microsoft.com/office/drawing/2014/chart" uri="{C3380CC4-5D6E-409C-BE32-E72D297353CC}">
                <c16:uniqueId val="{000009F7-980B-4B2B-A6BA-FBAB5FE3CDBF}"/>
              </c:ext>
            </c:extLst>
          </c:dPt>
          <c:dPt>
            <c:idx val="1275"/>
            <c:invertIfNegative val="1"/>
            <c:bubble3D val="0"/>
            <c:spPr>
              <a:solidFill>
                <a:srgbClr val="AEABAB"/>
              </a:solidFill>
            </c:spPr>
            <c:extLst>
              <c:ext xmlns:c16="http://schemas.microsoft.com/office/drawing/2014/chart" uri="{C3380CC4-5D6E-409C-BE32-E72D297353CC}">
                <c16:uniqueId val="{000009F9-980B-4B2B-A6BA-FBAB5FE3CDBF}"/>
              </c:ext>
            </c:extLst>
          </c:dPt>
          <c:dPt>
            <c:idx val="1276"/>
            <c:invertIfNegative val="1"/>
            <c:bubble3D val="0"/>
            <c:spPr>
              <a:solidFill>
                <a:srgbClr val="AEABAB"/>
              </a:solidFill>
            </c:spPr>
            <c:extLst>
              <c:ext xmlns:c16="http://schemas.microsoft.com/office/drawing/2014/chart" uri="{C3380CC4-5D6E-409C-BE32-E72D297353CC}">
                <c16:uniqueId val="{000009FB-980B-4B2B-A6BA-FBAB5FE3CDBF}"/>
              </c:ext>
            </c:extLst>
          </c:dPt>
          <c:dPt>
            <c:idx val="1277"/>
            <c:invertIfNegative val="1"/>
            <c:bubble3D val="0"/>
            <c:spPr>
              <a:solidFill>
                <a:srgbClr val="AEABAB"/>
              </a:solidFill>
            </c:spPr>
            <c:extLst>
              <c:ext xmlns:c16="http://schemas.microsoft.com/office/drawing/2014/chart" uri="{C3380CC4-5D6E-409C-BE32-E72D297353CC}">
                <c16:uniqueId val="{000009FD-980B-4B2B-A6BA-FBAB5FE3CDBF}"/>
              </c:ext>
            </c:extLst>
          </c:dPt>
          <c:dPt>
            <c:idx val="1278"/>
            <c:invertIfNegative val="1"/>
            <c:bubble3D val="0"/>
            <c:spPr>
              <a:solidFill>
                <a:srgbClr val="AEABAB"/>
              </a:solidFill>
            </c:spPr>
            <c:extLst>
              <c:ext xmlns:c16="http://schemas.microsoft.com/office/drawing/2014/chart" uri="{C3380CC4-5D6E-409C-BE32-E72D297353CC}">
                <c16:uniqueId val="{000009FF-980B-4B2B-A6BA-FBAB5FE3CDBF}"/>
              </c:ext>
            </c:extLst>
          </c:dPt>
          <c:dPt>
            <c:idx val="1279"/>
            <c:invertIfNegative val="1"/>
            <c:bubble3D val="0"/>
            <c:spPr>
              <a:solidFill>
                <a:srgbClr val="AEABAB"/>
              </a:solidFill>
            </c:spPr>
            <c:extLst>
              <c:ext xmlns:c16="http://schemas.microsoft.com/office/drawing/2014/chart" uri="{C3380CC4-5D6E-409C-BE32-E72D297353CC}">
                <c16:uniqueId val="{00000A01-980B-4B2B-A6BA-FBAB5FE3CDBF}"/>
              </c:ext>
            </c:extLst>
          </c:dPt>
          <c:dPt>
            <c:idx val="1280"/>
            <c:invertIfNegative val="1"/>
            <c:bubble3D val="0"/>
            <c:spPr>
              <a:solidFill>
                <a:srgbClr val="AEABAB"/>
              </a:solidFill>
            </c:spPr>
            <c:extLst>
              <c:ext xmlns:c16="http://schemas.microsoft.com/office/drawing/2014/chart" uri="{C3380CC4-5D6E-409C-BE32-E72D297353CC}">
                <c16:uniqueId val="{00000A03-980B-4B2B-A6BA-FBAB5FE3CDBF}"/>
              </c:ext>
            </c:extLst>
          </c:dPt>
          <c:dPt>
            <c:idx val="1281"/>
            <c:invertIfNegative val="1"/>
            <c:bubble3D val="0"/>
            <c:spPr>
              <a:solidFill>
                <a:srgbClr val="AEABAB"/>
              </a:solidFill>
            </c:spPr>
            <c:extLst>
              <c:ext xmlns:c16="http://schemas.microsoft.com/office/drawing/2014/chart" uri="{C3380CC4-5D6E-409C-BE32-E72D297353CC}">
                <c16:uniqueId val="{00000A05-980B-4B2B-A6BA-FBAB5FE3CDBF}"/>
              </c:ext>
            </c:extLst>
          </c:dPt>
          <c:dPt>
            <c:idx val="1282"/>
            <c:invertIfNegative val="1"/>
            <c:bubble3D val="0"/>
            <c:spPr>
              <a:solidFill>
                <a:srgbClr val="AEABAB"/>
              </a:solidFill>
            </c:spPr>
            <c:extLst>
              <c:ext xmlns:c16="http://schemas.microsoft.com/office/drawing/2014/chart" uri="{C3380CC4-5D6E-409C-BE32-E72D297353CC}">
                <c16:uniqueId val="{00000A07-980B-4B2B-A6BA-FBAB5FE3CDBF}"/>
              </c:ext>
            </c:extLst>
          </c:dPt>
          <c:dPt>
            <c:idx val="1283"/>
            <c:invertIfNegative val="1"/>
            <c:bubble3D val="0"/>
            <c:spPr>
              <a:solidFill>
                <a:srgbClr val="AEABAB"/>
              </a:solidFill>
            </c:spPr>
            <c:extLst>
              <c:ext xmlns:c16="http://schemas.microsoft.com/office/drawing/2014/chart" uri="{C3380CC4-5D6E-409C-BE32-E72D297353CC}">
                <c16:uniqueId val="{00000A09-980B-4B2B-A6BA-FBAB5FE3CDBF}"/>
              </c:ext>
            </c:extLst>
          </c:dPt>
          <c:dPt>
            <c:idx val="1284"/>
            <c:invertIfNegative val="1"/>
            <c:bubble3D val="0"/>
            <c:spPr>
              <a:solidFill>
                <a:srgbClr val="AEABAB"/>
              </a:solidFill>
            </c:spPr>
            <c:extLst>
              <c:ext xmlns:c16="http://schemas.microsoft.com/office/drawing/2014/chart" uri="{C3380CC4-5D6E-409C-BE32-E72D297353CC}">
                <c16:uniqueId val="{00000A0B-980B-4B2B-A6BA-FBAB5FE3CDBF}"/>
              </c:ext>
            </c:extLst>
          </c:dPt>
          <c:dPt>
            <c:idx val="1285"/>
            <c:invertIfNegative val="1"/>
            <c:bubble3D val="0"/>
            <c:spPr>
              <a:solidFill>
                <a:srgbClr val="AEABAB"/>
              </a:solidFill>
            </c:spPr>
            <c:extLst>
              <c:ext xmlns:c16="http://schemas.microsoft.com/office/drawing/2014/chart" uri="{C3380CC4-5D6E-409C-BE32-E72D297353CC}">
                <c16:uniqueId val="{00000A0D-980B-4B2B-A6BA-FBAB5FE3CDBF}"/>
              </c:ext>
            </c:extLst>
          </c:dPt>
          <c:dPt>
            <c:idx val="1286"/>
            <c:invertIfNegative val="1"/>
            <c:bubble3D val="0"/>
            <c:spPr>
              <a:solidFill>
                <a:srgbClr val="AEABAB"/>
              </a:solidFill>
            </c:spPr>
            <c:extLst>
              <c:ext xmlns:c16="http://schemas.microsoft.com/office/drawing/2014/chart" uri="{C3380CC4-5D6E-409C-BE32-E72D297353CC}">
                <c16:uniqueId val="{00000A0F-980B-4B2B-A6BA-FBAB5FE3CDBF}"/>
              </c:ext>
            </c:extLst>
          </c:dPt>
          <c:dPt>
            <c:idx val="1287"/>
            <c:invertIfNegative val="1"/>
            <c:bubble3D val="0"/>
            <c:spPr>
              <a:solidFill>
                <a:srgbClr val="AEABAB"/>
              </a:solidFill>
            </c:spPr>
            <c:extLst>
              <c:ext xmlns:c16="http://schemas.microsoft.com/office/drawing/2014/chart" uri="{C3380CC4-5D6E-409C-BE32-E72D297353CC}">
                <c16:uniqueId val="{00000A11-980B-4B2B-A6BA-FBAB5FE3CDBF}"/>
              </c:ext>
            </c:extLst>
          </c:dPt>
          <c:dPt>
            <c:idx val="1288"/>
            <c:invertIfNegative val="1"/>
            <c:bubble3D val="0"/>
            <c:spPr>
              <a:solidFill>
                <a:srgbClr val="AEABAB"/>
              </a:solidFill>
            </c:spPr>
            <c:extLst>
              <c:ext xmlns:c16="http://schemas.microsoft.com/office/drawing/2014/chart" uri="{C3380CC4-5D6E-409C-BE32-E72D297353CC}">
                <c16:uniqueId val="{00000A13-980B-4B2B-A6BA-FBAB5FE3CDBF}"/>
              </c:ext>
            </c:extLst>
          </c:dPt>
          <c:dPt>
            <c:idx val="1289"/>
            <c:invertIfNegative val="1"/>
            <c:bubble3D val="0"/>
            <c:spPr>
              <a:solidFill>
                <a:srgbClr val="AEABAB"/>
              </a:solidFill>
            </c:spPr>
            <c:extLst>
              <c:ext xmlns:c16="http://schemas.microsoft.com/office/drawing/2014/chart" uri="{C3380CC4-5D6E-409C-BE32-E72D297353CC}">
                <c16:uniqueId val="{00000A15-980B-4B2B-A6BA-FBAB5FE3CDBF}"/>
              </c:ext>
            </c:extLst>
          </c:dPt>
          <c:dPt>
            <c:idx val="1290"/>
            <c:invertIfNegative val="1"/>
            <c:bubble3D val="0"/>
            <c:spPr>
              <a:solidFill>
                <a:srgbClr val="AEABAB"/>
              </a:solidFill>
            </c:spPr>
            <c:extLst>
              <c:ext xmlns:c16="http://schemas.microsoft.com/office/drawing/2014/chart" uri="{C3380CC4-5D6E-409C-BE32-E72D297353CC}">
                <c16:uniqueId val="{00000A17-980B-4B2B-A6BA-FBAB5FE3CDBF}"/>
              </c:ext>
            </c:extLst>
          </c:dPt>
          <c:dPt>
            <c:idx val="1291"/>
            <c:invertIfNegative val="1"/>
            <c:bubble3D val="0"/>
            <c:spPr>
              <a:solidFill>
                <a:srgbClr val="AEABAB"/>
              </a:solidFill>
            </c:spPr>
            <c:extLst>
              <c:ext xmlns:c16="http://schemas.microsoft.com/office/drawing/2014/chart" uri="{C3380CC4-5D6E-409C-BE32-E72D297353CC}">
                <c16:uniqueId val="{00000A19-980B-4B2B-A6BA-FBAB5FE3CDBF}"/>
              </c:ext>
            </c:extLst>
          </c:dPt>
          <c:dPt>
            <c:idx val="1292"/>
            <c:invertIfNegative val="1"/>
            <c:bubble3D val="0"/>
            <c:spPr>
              <a:solidFill>
                <a:srgbClr val="AEABAB"/>
              </a:solidFill>
            </c:spPr>
            <c:extLst>
              <c:ext xmlns:c16="http://schemas.microsoft.com/office/drawing/2014/chart" uri="{C3380CC4-5D6E-409C-BE32-E72D297353CC}">
                <c16:uniqueId val="{00000A1B-980B-4B2B-A6BA-FBAB5FE3CDBF}"/>
              </c:ext>
            </c:extLst>
          </c:dPt>
          <c:dPt>
            <c:idx val="1293"/>
            <c:invertIfNegative val="1"/>
            <c:bubble3D val="0"/>
            <c:spPr>
              <a:solidFill>
                <a:srgbClr val="AEABAB"/>
              </a:solidFill>
            </c:spPr>
            <c:extLst>
              <c:ext xmlns:c16="http://schemas.microsoft.com/office/drawing/2014/chart" uri="{C3380CC4-5D6E-409C-BE32-E72D297353CC}">
                <c16:uniqueId val="{00000A1D-980B-4B2B-A6BA-FBAB5FE3CDBF}"/>
              </c:ext>
            </c:extLst>
          </c:dPt>
          <c:dPt>
            <c:idx val="1294"/>
            <c:invertIfNegative val="1"/>
            <c:bubble3D val="0"/>
            <c:spPr>
              <a:solidFill>
                <a:srgbClr val="AEABAB"/>
              </a:solidFill>
            </c:spPr>
            <c:extLst>
              <c:ext xmlns:c16="http://schemas.microsoft.com/office/drawing/2014/chart" uri="{C3380CC4-5D6E-409C-BE32-E72D297353CC}">
                <c16:uniqueId val="{00000A1F-980B-4B2B-A6BA-FBAB5FE3CDBF}"/>
              </c:ext>
            </c:extLst>
          </c:dPt>
          <c:dPt>
            <c:idx val="1295"/>
            <c:invertIfNegative val="1"/>
            <c:bubble3D val="0"/>
            <c:spPr>
              <a:solidFill>
                <a:srgbClr val="AEABAB"/>
              </a:solidFill>
            </c:spPr>
            <c:extLst>
              <c:ext xmlns:c16="http://schemas.microsoft.com/office/drawing/2014/chart" uri="{C3380CC4-5D6E-409C-BE32-E72D297353CC}">
                <c16:uniqueId val="{00000A21-980B-4B2B-A6BA-FBAB5FE3CDBF}"/>
              </c:ext>
            </c:extLst>
          </c:dPt>
          <c:dPt>
            <c:idx val="1296"/>
            <c:invertIfNegative val="1"/>
            <c:bubble3D val="0"/>
            <c:spPr>
              <a:solidFill>
                <a:srgbClr val="AEABAB"/>
              </a:solidFill>
            </c:spPr>
            <c:extLst>
              <c:ext xmlns:c16="http://schemas.microsoft.com/office/drawing/2014/chart" uri="{C3380CC4-5D6E-409C-BE32-E72D297353CC}">
                <c16:uniqueId val="{00000A23-980B-4B2B-A6BA-FBAB5FE3CDBF}"/>
              </c:ext>
            </c:extLst>
          </c:dPt>
          <c:dPt>
            <c:idx val="1297"/>
            <c:invertIfNegative val="1"/>
            <c:bubble3D val="0"/>
            <c:spPr>
              <a:solidFill>
                <a:srgbClr val="AEABAB"/>
              </a:solidFill>
            </c:spPr>
            <c:extLst>
              <c:ext xmlns:c16="http://schemas.microsoft.com/office/drawing/2014/chart" uri="{C3380CC4-5D6E-409C-BE32-E72D297353CC}">
                <c16:uniqueId val="{00000A25-980B-4B2B-A6BA-FBAB5FE3CDBF}"/>
              </c:ext>
            </c:extLst>
          </c:dPt>
          <c:dPt>
            <c:idx val="1298"/>
            <c:invertIfNegative val="1"/>
            <c:bubble3D val="0"/>
            <c:spPr>
              <a:solidFill>
                <a:srgbClr val="AEABAB"/>
              </a:solidFill>
            </c:spPr>
            <c:extLst>
              <c:ext xmlns:c16="http://schemas.microsoft.com/office/drawing/2014/chart" uri="{C3380CC4-5D6E-409C-BE32-E72D297353CC}">
                <c16:uniqueId val="{00000A27-980B-4B2B-A6BA-FBAB5FE3CDBF}"/>
              </c:ext>
            </c:extLst>
          </c:dPt>
          <c:dPt>
            <c:idx val="1299"/>
            <c:invertIfNegative val="1"/>
            <c:bubble3D val="0"/>
            <c:spPr>
              <a:solidFill>
                <a:srgbClr val="AEABAB"/>
              </a:solidFill>
            </c:spPr>
            <c:extLst>
              <c:ext xmlns:c16="http://schemas.microsoft.com/office/drawing/2014/chart" uri="{C3380CC4-5D6E-409C-BE32-E72D297353CC}">
                <c16:uniqueId val="{00000A29-980B-4B2B-A6BA-FBAB5FE3CDBF}"/>
              </c:ext>
            </c:extLst>
          </c:dPt>
          <c:dPt>
            <c:idx val="1300"/>
            <c:invertIfNegative val="1"/>
            <c:bubble3D val="0"/>
            <c:spPr>
              <a:solidFill>
                <a:srgbClr val="AEABAB"/>
              </a:solidFill>
            </c:spPr>
            <c:extLst>
              <c:ext xmlns:c16="http://schemas.microsoft.com/office/drawing/2014/chart" uri="{C3380CC4-5D6E-409C-BE32-E72D297353CC}">
                <c16:uniqueId val="{00000A2B-980B-4B2B-A6BA-FBAB5FE3CDBF}"/>
              </c:ext>
            </c:extLst>
          </c:dPt>
          <c:dPt>
            <c:idx val="1301"/>
            <c:invertIfNegative val="1"/>
            <c:bubble3D val="0"/>
            <c:spPr>
              <a:solidFill>
                <a:srgbClr val="AEABAB"/>
              </a:solidFill>
            </c:spPr>
            <c:extLst>
              <c:ext xmlns:c16="http://schemas.microsoft.com/office/drawing/2014/chart" uri="{C3380CC4-5D6E-409C-BE32-E72D297353CC}">
                <c16:uniqueId val="{00000A2D-980B-4B2B-A6BA-FBAB5FE3CDBF}"/>
              </c:ext>
            </c:extLst>
          </c:dPt>
          <c:dPt>
            <c:idx val="1302"/>
            <c:invertIfNegative val="1"/>
            <c:bubble3D val="0"/>
            <c:spPr>
              <a:solidFill>
                <a:srgbClr val="AEABAB"/>
              </a:solidFill>
            </c:spPr>
            <c:extLst>
              <c:ext xmlns:c16="http://schemas.microsoft.com/office/drawing/2014/chart" uri="{C3380CC4-5D6E-409C-BE32-E72D297353CC}">
                <c16:uniqueId val="{00000A2F-980B-4B2B-A6BA-FBAB5FE3CDBF}"/>
              </c:ext>
            </c:extLst>
          </c:dPt>
          <c:dPt>
            <c:idx val="1303"/>
            <c:invertIfNegative val="1"/>
            <c:bubble3D val="0"/>
            <c:spPr>
              <a:solidFill>
                <a:srgbClr val="AEABAB"/>
              </a:solidFill>
            </c:spPr>
            <c:extLst>
              <c:ext xmlns:c16="http://schemas.microsoft.com/office/drawing/2014/chart" uri="{C3380CC4-5D6E-409C-BE32-E72D297353CC}">
                <c16:uniqueId val="{00000A31-980B-4B2B-A6BA-FBAB5FE3CDBF}"/>
              </c:ext>
            </c:extLst>
          </c:dPt>
          <c:dPt>
            <c:idx val="1304"/>
            <c:invertIfNegative val="1"/>
            <c:bubble3D val="0"/>
            <c:spPr>
              <a:solidFill>
                <a:srgbClr val="AEABAB"/>
              </a:solidFill>
            </c:spPr>
            <c:extLst>
              <c:ext xmlns:c16="http://schemas.microsoft.com/office/drawing/2014/chart" uri="{C3380CC4-5D6E-409C-BE32-E72D297353CC}">
                <c16:uniqueId val="{00000A33-980B-4B2B-A6BA-FBAB5FE3CDBF}"/>
              </c:ext>
            </c:extLst>
          </c:dPt>
          <c:dPt>
            <c:idx val="1305"/>
            <c:invertIfNegative val="1"/>
            <c:bubble3D val="0"/>
            <c:spPr>
              <a:solidFill>
                <a:srgbClr val="AEABAB"/>
              </a:solidFill>
            </c:spPr>
            <c:extLst>
              <c:ext xmlns:c16="http://schemas.microsoft.com/office/drawing/2014/chart" uri="{C3380CC4-5D6E-409C-BE32-E72D297353CC}">
                <c16:uniqueId val="{00000A35-980B-4B2B-A6BA-FBAB5FE3CDBF}"/>
              </c:ext>
            </c:extLst>
          </c:dPt>
          <c:dPt>
            <c:idx val="1306"/>
            <c:invertIfNegative val="1"/>
            <c:bubble3D val="0"/>
            <c:spPr>
              <a:solidFill>
                <a:srgbClr val="AEABAB"/>
              </a:solidFill>
            </c:spPr>
            <c:extLst>
              <c:ext xmlns:c16="http://schemas.microsoft.com/office/drawing/2014/chart" uri="{C3380CC4-5D6E-409C-BE32-E72D297353CC}">
                <c16:uniqueId val="{00000A37-980B-4B2B-A6BA-FBAB5FE3CDBF}"/>
              </c:ext>
            </c:extLst>
          </c:dPt>
          <c:dPt>
            <c:idx val="1307"/>
            <c:invertIfNegative val="1"/>
            <c:bubble3D val="0"/>
            <c:spPr>
              <a:solidFill>
                <a:srgbClr val="AEABAB"/>
              </a:solidFill>
            </c:spPr>
            <c:extLst>
              <c:ext xmlns:c16="http://schemas.microsoft.com/office/drawing/2014/chart" uri="{C3380CC4-5D6E-409C-BE32-E72D297353CC}">
                <c16:uniqueId val="{00000A39-980B-4B2B-A6BA-FBAB5FE3CDBF}"/>
              </c:ext>
            </c:extLst>
          </c:dPt>
          <c:dPt>
            <c:idx val="1308"/>
            <c:invertIfNegative val="1"/>
            <c:bubble3D val="0"/>
            <c:spPr>
              <a:solidFill>
                <a:srgbClr val="AEABAB"/>
              </a:solidFill>
            </c:spPr>
            <c:extLst>
              <c:ext xmlns:c16="http://schemas.microsoft.com/office/drawing/2014/chart" uri="{C3380CC4-5D6E-409C-BE32-E72D297353CC}">
                <c16:uniqueId val="{00000A3B-980B-4B2B-A6BA-FBAB5FE3CDBF}"/>
              </c:ext>
            </c:extLst>
          </c:dPt>
          <c:dPt>
            <c:idx val="1309"/>
            <c:invertIfNegative val="1"/>
            <c:bubble3D val="0"/>
            <c:spPr>
              <a:solidFill>
                <a:srgbClr val="AEABAB"/>
              </a:solidFill>
            </c:spPr>
            <c:extLst>
              <c:ext xmlns:c16="http://schemas.microsoft.com/office/drawing/2014/chart" uri="{C3380CC4-5D6E-409C-BE32-E72D297353CC}">
                <c16:uniqueId val="{00000A3D-980B-4B2B-A6BA-FBAB5FE3CDBF}"/>
              </c:ext>
            </c:extLst>
          </c:dPt>
          <c:dPt>
            <c:idx val="1310"/>
            <c:invertIfNegative val="1"/>
            <c:bubble3D val="0"/>
            <c:spPr>
              <a:solidFill>
                <a:srgbClr val="AEABAB"/>
              </a:solidFill>
            </c:spPr>
            <c:extLst>
              <c:ext xmlns:c16="http://schemas.microsoft.com/office/drawing/2014/chart" uri="{C3380CC4-5D6E-409C-BE32-E72D297353CC}">
                <c16:uniqueId val="{00000A3F-980B-4B2B-A6BA-FBAB5FE3CDBF}"/>
              </c:ext>
            </c:extLst>
          </c:dPt>
          <c:dPt>
            <c:idx val="1311"/>
            <c:invertIfNegative val="1"/>
            <c:bubble3D val="0"/>
            <c:spPr>
              <a:solidFill>
                <a:srgbClr val="AEABAB"/>
              </a:solidFill>
            </c:spPr>
            <c:extLst>
              <c:ext xmlns:c16="http://schemas.microsoft.com/office/drawing/2014/chart" uri="{C3380CC4-5D6E-409C-BE32-E72D297353CC}">
                <c16:uniqueId val="{00000A41-980B-4B2B-A6BA-FBAB5FE3CDBF}"/>
              </c:ext>
            </c:extLst>
          </c:dPt>
          <c:dPt>
            <c:idx val="1312"/>
            <c:invertIfNegative val="1"/>
            <c:bubble3D val="0"/>
            <c:spPr>
              <a:solidFill>
                <a:srgbClr val="AEABAB"/>
              </a:solidFill>
            </c:spPr>
            <c:extLst>
              <c:ext xmlns:c16="http://schemas.microsoft.com/office/drawing/2014/chart" uri="{C3380CC4-5D6E-409C-BE32-E72D297353CC}">
                <c16:uniqueId val="{00000A43-980B-4B2B-A6BA-FBAB5FE3CDBF}"/>
              </c:ext>
            </c:extLst>
          </c:dPt>
          <c:dPt>
            <c:idx val="1313"/>
            <c:invertIfNegative val="1"/>
            <c:bubble3D val="0"/>
            <c:spPr>
              <a:solidFill>
                <a:srgbClr val="AEABAB"/>
              </a:solidFill>
            </c:spPr>
            <c:extLst>
              <c:ext xmlns:c16="http://schemas.microsoft.com/office/drawing/2014/chart" uri="{C3380CC4-5D6E-409C-BE32-E72D297353CC}">
                <c16:uniqueId val="{00000A45-980B-4B2B-A6BA-FBAB5FE3CDBF}"/>
              </c:ext>
            </c:extLst>
          </c:dPt>
          <c:dPt>
            <c:idx val="1314"/>
            <c:invertIfNegative val="1"/>
            <c:bubble3D val="0"/>
            <c:spPr>
              <a:solidFill>
                <a:srgbClr val="AEABAB"/>
              </a:solidFill>
            </c:spPr>
            <c:extLst>
              <c:ext xmlns:c16="http://schemas.microsoft.com/office/drawing/2014/chart" uri="{C3380CC4-5D6E-409C-BE32-E72D297353CC}">
                <c16:uniqueId val="{00000A47-980B-4B2B-A6BA-FBAB5FE3CDBF}"/>
              </c:ext>
            </c:extLst>
          </c:dPt>
          <c:dPt>
            <c:idx val="1315"/>
            <c:invertIfNegative val="1"/>
            <c:bubble3D val="0"/>
            <c:spPr>
              <a:solidFill>
                <a:srgbClr val="AEABAB"/>
              </a:solidFill>
            </c:spPr>
            <c:extLst>
              <c:ext xmlns:c16="http://schemas.microsoft.com/office/drawing/2014/chart" uri="{C3380CC4-5D6E-409C-BE32-E72D297353CC}">
                <c16:uniqueId val="{00000A49-980B-4B2B-A6BA-FBAB5FE3CDBF}"/>
              </c:ext>
            </c:extLst>
          </c:dPt>
          <c:dPt>
            <c:idx val="1316"/>
            <c:invertIfNegative val="1"/>
            <c:bubble3D val="0"/>
            <c:spPr>
              <a:solidFill>
                <a:srgbClr val="AEABAB"/>
              </a:solidFill>
            </c:spPr>
            <c:extLst>
              <c:ext xmlns:c16="http://schemas.microsoft.com/office/drawing/2014/chart" uri="{C3380CC4-5D6E-409C-BE32-E72D297353CC}">
                <c16:uniqueId val="{00000A4B-980B-4B2B-A6BA-FBAB5FE3CDBF}"/>
              </c:ext>
            </c:extLst>
          </c:dPt>
          <c:dPt>
            <c:idx val="1317"/>
            <c:invertIfNegative val="1"/>
            <c:bubble3D val="0"/>
            <c:spPr>
              <a:solidFill>
                <a:srgbClr val="AEABAB"/>
              </a:solidFill>
            </c:spPr>
            <c:extLst>
              <c:ext xmlns:c16="http://schemas.microsoft.com/office/drawing/2014/chart" uri="{C3380CC4-5D6E-409C-BE32-E72D297353CC}">
                <c16:uniqueId val="{00000A4D-980B-4B2B-A6BA-FBAB5FE3CDBF}"/>
              </c:ext>
            </c:extLst>
          </c:dPt>
          <c:dPt>
            <c:idx val="1318"/>
            <c:invertIfNegative val="1"/>
            <c:bubble3D val="0"/>
            <c:spPr>
              <a:solidFill>
                <a:srgbClr val="AEABAB"/>
              </a:solidFill>
            </c:spPr>
            <c:extLst>
              <c:ext xmlns:c16="http://schemas.microsoft.com/office/drawing/2014/chart" uri="{C3380CC4-5D6E-409C-BE32-E72D297353CC}">
                <c16:uniqueId val="{00000A4F-980B-4B2B-A6BA-FBAB5FE3CDBF}"/>
              </c:ext>
            </c:extLst>
          </c:dPt>
          <c:dPt>
            <c:idx val="1319"/>
            <c:invertIfNegative val="1"/>
            <c:bubble3D val="0"/>
            <c:spPr>
              <a:solidFill>
                <a:srgbClr val="AEABAB"/>
              </a:solidFill>
            </c:spPr>
            <c:extLst>
              <c:ext xmlns:c16="http://schemas.microsoft.com/office/drawing/2014/chart" uri="{C3380CC4-5D6E-409C-BE32-E72D297353CC}">
                <c16:uniqueId val="{00000A51-980B-4B2B-A6BA-FBAB5FE3CDBF}"/>
              </c:ext>
            </c:extLst>
          </c:dPt>
          <c:dPt>
            <c:idx val="1320"/>
            <c:invertIfNegative val="1"/>
            <c:bubble3D val="0"/>
            <c:spPr>
              <a:solidFill>
                <a:srgbClr val="AEABAB"/>
              </a:solidFill>
            </c:spPr>
            <c:extLst>
              <c:ext xmlns:c16="http://schemas.microsoft.com/office/drawing/2014/chart" uri="{C3380CC4-5D6E-409C-BE32-E72D297353CC}">
                <c16:uniqueId val="{00000A53-980B-4B2B-A6BA-FBAB5FE3CDBF}"/>
              </c:ext>
            </c:extLst>
          </c:dPt>
          <c:dPt>
            <c:idx val="1321"/>
            <c:invertIfNegative val="1"/>
            <c:bubble3D val="0"/>
            <c:spPr>
              <a:solidFill>
                <a:srgbClr val="AEABAB"/>
              </a:solidFill>
            </c:spPr>
            <c:extLst>
              <c:ext xmlns:c16="http://schemas.microsoft.com/office/drawing/2014/chart" uri="{C3380CC4-5D6E-409C-BE32-E72D297353CC}">
                <c16:uniqueId val="{00000A55-980B-4B2B-A6BA-FBAB5FE3CDBF}"/>
              </c:ext>
            </c:extLst>
          </c:dPt>
          <c:dPt>
            <c:idx val="1322"/>
            <c:invertIfNegative val="1"/>
            <c:bubble3D val="0"/>
            <c:spPr>
              <a:solidFill>
                <a:srgbClr val="AEABAB"/>
              </a:solidFill>
            </c:spPr>
            <c:extLst>
              <c:ext xmlns:c16="http://schemas.microsoft.com/office/drawing/2014/chart" uri="{C3380CC4-5D6E-409C-BE32-E72D297353CC}">
                <c16:uniqueId val="{00000A57-980B-4B2B-A6BA-FBAB5FE3CDBF}"/>
              </c:ext>
            </c:extLst>
          </c:dPt>
          <c:dPt>
            <c:idx val="1323"/>
            <c:invertIfNegative val="1"/>
            <c:bubble3D val="0"/>
            <c:spPr>
              <a:solidFill>
                <a:srgbClr val="AEABAB"/>
              </a:solidFill>
            </c:spPr>
            <c:extLst>
              <c:ext xmlns:c16="http://schemas.microsoft.com/office/drawing/2014/chart" uri="{C3380CC4-5D6E-409C-BE32-E72D297353CC}">
                <c16:uniqueId val="{00000A59-980B-4B2B-A6BA-FBAB5FE3CDBF}"/>
              </c:ext>
            </c:extLst>
          </c:dPt>
          <c:dPt>
            <c:idx val="1324"/>
            <c:invertIfNegative val="1"/>
            <c:bubble3D val="0"/>
            <c:spPr>
              <a:solidFill>
                <a:srgbClr val="AEABAB"/>
              </a:solidFill>
            </c:spPr>
            <c:extLst>
              <c:ext xmlns:c16="http://schemas.microsoft.com/office/drawing/2014/chart" uri="{C3380CC4-5D6E-409C-BE32-E72D297353CC}">
                <c16:uniqueId val="{00000A5B-980B-4B2B-A6BA-FBAB5FE3CDBF}"/>
              </c:ext>
            </c:extLst>
          </c:dPt>
          <c:dPt>
            <c:idx val="1325"/>
            <c:invertIfNegative val="1"/>
            <c:bubble3D val="0"/>
            <c:spPr>
              <a:solidFill>
                <a:srgbClr val="AEABAB"/>
              </a:solidFill>
            </c:spPr>
            <c:extLst>
              <c:ext xmlns:c16="http://schemas.microsoft.com/office/drawing/2014/chart" uri="{C3380CC4-5D6E-409C-BE32-E72D297353CC}">
                <c16:uniqueId val="{00000A5D-980B-4B2B-A6BA-FBAB5FE3CDBF}"/>
              </c:ext>
            </c:extLst>
          </c:dPt>
          <c:dPt>
            <c:idx val="1326"/>
            <c:invertIfNegative val="1"/>
            <c:bubble3D val="0"/>
            <c:spPr>
              <a:solidFill>
                <a:srgbClr val="AEABAB"/>
              </a:solidFill>
            </c:spPr>
            <c:extLst>
              <c:ext xmlns:c16="http://schemas.microsoft.com/office/drawing/2014/chart" uri="{C3380CC4-5D6E-409C-BE32-E72D297353CC}">
                <c16:uniqueId val="{00000A5F-980B-4B2B-A6BA-FBAB5FE3CDBF}"/>
              </c:ext>
            </c:extLst>
          </c:dPt>
          <c:dPt>
            <c:idx val="1327"/>
            <c:invertIfNegative val="1"/>
            <c:bubble3D val="0"/>
            <c:spPr>
              <a:solidFill>
                <a:srgbClr val="AEABAB"/>
              </a:solidFill>
            </c:spPr>
            <c:extLst>
              <c:ext xmlns:c16="http://schemas.microsoft.com/office/drawing/2014/chart" uri="{C3380CC4-5D6E-409C-BE32-E72D297353CC}">
                <c16:uniqueId val="{00000A61-980B-4B2B-A6BA-FBAB5FE3CDBF}"/>
              </c:ext>
            </c:extLst>
          </c:dPt>
          <c:dPt>
            <c:idx val="1328"/>
            <c:invertIfNegative val="1"/>
            <c:bubble3D val="0"/>
            <c:spPr>
              <a:solidFill>
                <a:srgbClr val="AEABAB"/>
              </a:solidFill>
            </c:spPr>
            <c:extLst>
              <c:ext xmlns:c16="http://schemas.microsoft.com/office/drawing/2014/chart" uri="{C3380CC4-5D6E-409C-BE32-E72D297353CC}">
                <c16:uniqueId val="{00000A63-980B-4B2B-A6BA-FBAB5FE3CDBF}"/>
              </c:ext>
            </c:extLst>
          </c:dPt>
          <c:dPt>
            <c:idx val="1329"/>
            <c:invertIfNegative val="1"/>
            <c:bubble3D val="0"/>
            <c:spPr>
              <a:solidFill>
                <a:srgbClr val="AEABAB"/>
              </a:solidFill>
            </c:spPr>
            <c:extLst>
              <c:ext xmlns:c16="http://schemas.microsoft.com/office/drawing/2014/chart" uri="{C3380CC4-5D6E-409C-BE32-E72D297353CC}">
                <c16:uniqueId val="{00000A65-980B-4B2B-A6BA-FBAB5FE3CDBF}"/>
              </c:ext>
            </c:extLst>
          </c:dPt>
          <c:dPt>
            <c:idx val="1330"/>
            <c:invertIfNegative val="1"/>
            <c:bubble3D val="0"/>
            <c:spPr>
              <a:solidFill>
                <a:srgbClr val="AEABAB"/>
              </a:solidFill>
            </c:spPr>
            <c:extLst>
              <c:ext xmlns:c16="http://schemas.microsoft.com/office/drawing/2014/chart" uri="{C3380CC4-5D6E-409C-BE32-E72D297353CC}">
                <c16:uniqueId val="{00000A67-980B-4B2B-A6BA-FBAB5FE3CDBF}"/>
              </c:ext>
            </c:extLst>
          </c:dPt>
          <c:dPt>
            <c:idx val="1331"/>
            <c:invertIfNegative val="1"/>
            <c:bubble3D val="0"/>
            <c:spPr>
              <a:solidFill>
                <a:srgbClr val="AEABAB"/>
              </a:solidFill>
            </c:spPr>
            <c:extLst>
              <c:ext xmlns:c16="http://schemas.microsoft.com/office/drawing/2014/chart" uri="{C3380CC4-5D6E-409C-BE32-E72D297353CC}">
                <c16:uniqueId val="{00000A69-980B-4B2B-A6BA-FBAB5FE3CDBF}"/>
              </c:ext>
            </c:extLst>
          </c:dPt>
          <c:dPt>
            <c:idx val="1332"/>
            <c:invertIfNegative val="1"/>
            <c:bubble3D val="0"/>
            <c:spPr>
              <a:solidFill>
                <a:srgbClr val="AEABAB"/>
              </a:solidFill>
            </c:spPr>
            <c:extLst>
              <c:ext xmlns:c16="http://schemas.microsoft.com/office/drawing/2014/chart" uri="{C3380CC4-5D6E-409C-BE32-E72D297353CC}">
                <c16:uniqueId val="{00000A6B-980B-4B2B-A6BA-FBAB5FE3CDBF}"/>
              </c:ext>
            </c:extLst>
          </c:dPt>
          <c:dPt>
            <c:idx val="1333"/>
            <c:invertIfNegative val="1"/>
            <c:bubble3D val="0"/>
            <c:spPr>
              <a:solidFill>
                <a:srgbClr val="AEABAB"/>
              </a:solidFill>
            </c:spPr>
            <c:extLst>
              <c:ext xmlns:c16="http://schemas.microsoft.com/office/drawing/2014/chart" uri="{C3380CC4-5D6E-409C-BE32-E72D297353CC}">
                <c16:uniqueId val="{00000A6D-980B-4B2B-A6BA-FBAB5FE3CDBF}"/>
              </c:ext>
            </c:extLst>
          </c:dPt>
          <c:dPt>
            <c:idx val="1334"/>
            <c:invertIfNegative val="1"/>
            <c:bubble3D val="0"/>
            <c:spPr>
              <a:solidFill>
                <a:srgbClr val="AEABAB"/>
              </a:solidFill>
            </c:spPr>
            <c:extLst>
              <c:ext xmlns:c16="http://schemas.microsoft.com/office/drawing/2014/chart" uri="{C3380CC4-5D6E-409C-BE32-E72D297353CC}">
                <c16:uniqueId val="{00000A6F-980B-4B2B-A6BA-FBAB5FE3CDBF}"/>
              </c:ext>
            </c:extLst>
          </c:dPt>
          <c:dPt>
            <c:idx val="1335"/>
            <c:invertIfNegative val="1"/>
            <c:bubble3D val="0"/>
            <c:spPr>
              <a:solidFill>
                <a:srgbClr val="AEABAB"/>
              </a:solidFill>
            </c:spPr>
            <c:extLst>
              <c:ext xmlns:c16="http://schemas.microsoft.com/office/drawing/2014/chart" uri="{C3380CC4-5D6E-409C-BE32-E72D297353CC}">
                <c16:uniqueId val="{00000A71-980B-4B2B-A6BA-FBAB5FE3CDBF}"/>
              </c:ext>
            </c:extLst>
          </c:dPt>
          <c:dPt>
            <c:idx val="1336"/>
            <c:invertIfNegative val="1"/>
            <c:bubble3D val="0"/>
            <c:spPr>
              <a:solidFill>
                <a:srgbClr val="AEABAB"/>
              </a:solidFill>
            </c:spPr>
            <c:extLst>
              <c:ext xmlns:c16="http://schemas.microsoft.com/office/drawing/2014/chart" uri="{C3380CC4-5D6E-409C-BE32-E72D297353CC}">
                <c16:uniqueId val="{00000A73-980B-4B2B-A6BA-FBAB5FE3CDBF}"/>
              </c:ext>
            </c:extLst>
          </c:dPt>
          <c:dPt>
            <c:idx val="1337"/>
            <c:invertIfNegative val="1"/>
            <c:bubble3D val="0"/>
            <c:spPr>
              <a:solidFill>
                <a:srgbClr val="AEABAB"/>
              </a:solidFill>
            </c:spPr>
            <c:extLst>
              <c:ext xmlns:c16="http://schemas.microsoft.com/office/drawing/2014/chart" uri="{C3380CC4-5D6E-409C-BE32-E72D297353CC}">
                <c16:uniqueId val="{00000A75-980B-4B2B-A6BA-FBAB5FE3CDBF}"/>
              </c:ext>
            </c:extLst>
          </c:dPt>
          <c:dPt>
            <c:idx val="1338"/>
            <c:invertIfNegative val="1"/>
            <c:bubble3D val="0"/>
            <c:spPr>
              <a:solidFill>
                <a:srgbClr val="AEABAB"/>
              </a:solidFill>
            </c:spPr>
            <c:extLst>
              <c:ext xmlns:c16="http://schemas.microsoft.com/office/drawing/2014/chart" uri="{C3380CC4-5D6E-409C-BE32-E72D297353CC}">
                <c16:uniqueId val="{00000A77-980B-4B2B-A6BA-FBAB5FE3CDBF}"/>
              </c:ext>
            </c:extLst>
          </c:dPt>
          <c:dPt>
            <c:idx val="1339"/>
            <c:invertIfNegative val="1"/>
            <c:bubble3D val="0"/>
            <c:spPr>
              <a:solidFill>
                <a:srgbClr val="AEABAB"/>
              </a:solidFill>
            </c:spPr>
            <c:extLst>
              <c:ext xmlns:c16="http://schemas.microsoft.com/office/drawing/2014/chart" uri="{C3380CC4-5D6E-409C-BE32-E72D297353CC}">
                <c16:uniqueId val="{00000A79-980B-4B2B-A6BA-FBAB5FE3CDBF}"/>
              </c:ext>
            </c:extLst>
          </c:dPt>
          <c:dPt>
            <c:idx val="1340"/>
            <c:invertIfNegative val="1"/>
            <c:bubble3D val="0"/>
            <c:spPr>
              <a:solidFill>
                <a:srgbClr val="AEABAB"/>
              </a:solidFill>
            </c:spPr>
            <c:extLst>
              <c:ext xmlns:c16="http://schemas.microsoft.com/office/drawing/2014/chart" uri="{C3380CC4-5D6E-409C-BE32-E72D297353CC}">
                <c16:uniqueId val="{00000A7B-980B-4B2B-A6BA-FBAB5FE3CDBF}"/>
              </c:ext>
            </c:extLst>
          </c:dPt>
          <c:dPt>
            <c:idx val="1341"/>
            <c:invertIfNegative val="1"/>
            <c:bubble3D val="0"/>
            <c:spPr>
              <a:solidFill>
                <a:srgbClr val="AEABAB"/>
              </a:solidFill>
            </c:spPr>
            <c:extLst>
              <c:ext xmlns:c16="http://schemas.microsoft.com/office/drawing/2014/chart" uri="{C3380CC4-5D6E-409C-BE32-E72D297353CC}">
                <c16:uniqueId val="{00000A7D-980B-4B2B-A6BA-FBAB5FE3CDBF}"/>
              </c:ext>
            </c:extLst>
          </c:dPt>
          <c:dPt>
            <c:idx val="1342"/>
            <c:invertIfNegative val="1"/>
            <c:bubble3D val="0"/>
            <c:spPr>
              <a:solidFill>
                <a:srgbClr val="AEABAB"/>
              </a:solidFill>
            </c:spPr>
            <c:extLst>
              <c:ext xmlns:c16="http://schemas.microsoft.com/office/drawing/2014/chart" uri="{C3380CC4-5D6E-409C-BE32-E72D297353CC}">
                <c16:uniqueId val="{00000A7F-980B-4B2B-A6BA-FBAB5FE3CDBF}"/>
              </c:ext>
            </c:extLst>
          </c:dPt>
          <c:dPt>
            <c:idx val="1343"/>
            <c:invertIfNegative val="1"/>
            <c:bubble3D val="0"/>
            <c:spPr>
              <a:solidFill>
                <a:srgbClr val="AEABAB"/>
              </a:solidFill>
            </c:spPr>
            <c:extLst>
              <c:ext xmlns:c16="http://schemas.microsoft.com/office/drawing/2014/chart" uri="{C3380CC4-5D6E-409C-BE32-E72D297353CC}">
                <c16:uniqueId val="{00000A81-980B-4B2B-A6BA-FBAB5FE3CDBF}"/>
              </c:ext>
            </c:extLst>
          </c:dPt>
          <c:dPt>
            <c:idx val="1344"/>
            <c:invertIfNegative val="1"/>
            <c:bubble3D val="0"/>
            <c:spPr>
              <a:solidFill>
                <a:srgbClr val="AEABAB"/>
              </a:solidFill>
            </c:spPr>
            <c:extLst>
              <c:ext xmlns:c16="http://schemas.microsoft.com/office/drawing/2014/chart" uri="{C3380CC4-5D6E-409C-BE32-E72D297353CC}">
                <c16:uniqueId val="{00000A83-980B-4B2B-A6BA-FBAB5FE3CDBF}"/>
              </c:ext>
            </c:extLst>
          </c:dPt>
          <c:dPt>
            <c:idx val="1345"/>
            <c:invertIfNegative val="1"/>
            <c:bubble3D val="0"/>
            <c:spPr>
              <a:solidFill>
                <a:srgbClr val="AEABAB"/>
              </a:solidFill>
            </c:spPr>
            <c:extLst>
              <c:ext xmlns:c16="http://schemas.microsoft.com/office/drawing/2014/chart" uri="{C3380CC4-5D6E-409C-BE32-E72D297353CC}">
                <c16:uniqueId val="{00000A85-980B-4B2B-A6BA-FBAB5FE3CDBF}"/>
              </c:ext>
            </c:extLst>
          </c:dPt>
          <c:dPt>
            <c:idx val="1346"/>
            <c:invertIfNegative val="1"/>
            <c:bubble3D val="0"/>
            <c:spPr>
              <a:solidFill>
                <a:srgbClr val="AEABAB"/>
              </a:solidFill>
            </c:spPr>
            <c:extLst>
              <c:ext xmlns:c16="http://schemas.microsoft.com/office/drawing/2014/chart" uri="{C3380CC4-5D6E-409C-BE32-E72D297353CC}">
                <c16:uniqueId val="{00000A87-980B-4B2B-A6BA-FBAB5FE3CDBF}"/>
              </c:ext>
            </c:extLst>
          </c:dPt>
          <c:dPt>
            <c:idx val="1347"/>
            <c:invertIfNegative val="1"/>
            <c:bubble3D val="0"/>
            <c:spPr>
              <a:solidFill>
                <a:srgbClr val="AEABAB"/>
              </a:solidFill>
            </c:spPr>
            <c:extLst>
              <c:ext xmlns:c16="http://schemas.microsoft.com/office/drawing/2014/chart" uri="{C3380CC4-5D6E-409C-BE32-E72D297353CC}">
                <c16:uniqueId val="{00000A89-980B-4B2B-A6BA-FBAB5FE3CDBF}"/>
              </c:ext>
            </c:extLst>
          </c:dPt>
          <c:dPt>
            <c:idx val="1348"/>
            <c:invertIfNegative val="1"/>
            <c:bubble3D val="0"/>
            <c:spPr>
              <a:solidFill>
                <a:srgbClr val="AEABAB"/>
              </a:solidFill>
            </c:spPr>
            <c:extLst>
              <c:ext xmlns:c16="http://schemas.microsoft.com/office/drawing/2014/chart" uri="{C3380CC4-5D6E-409C-BE32-E72D297353CC}">
                <c16:uniqueId val="{00000A8B-980B-4B2B-A6BA-FBAB5FE3CDBF}"/>
              </c:ext>
            </c:extLst>
          </c:dPt>
          <c:dPt>
            <c:idx val="1349"/>
            <c:invertIfNegative val="1"/>
            <c:bubble3D val="0"/>
            <c:spPr>
              <a:solidFill>
                <a:srgbClr val="AEABAB"/>
              </a:solidFill>
            </c:spPr>
            <c:extLst>
              <c:ext xmlns:c16="http://schemas.microsoft.com/office/drawing/2014/chart" uri="{C3380CC4-5D6E-409C-BE32-E72D297353CC}">
                <c16:uniqueId val="{00000A8D-980B-4B2B-A6BA-FBAB5FE3CDBF}"/>
              </c:ext>
            </c:extLst>
          </c:dPt>
          <c:dPt>
            <c:idx val="1350"/>
            <c:invertIfNegative val="1"/>
            <c:bubble3D val="0"/>
            <c:spPr>
              <a:solidFill>
                <a:srgbClr val="AEABAB"/>
              </a:solidFill>
            </c:spPr>
            <c:extLst>
              <c:ext xmlns:c16="http://schemas.microsoft.com/office/drawing/2014/chart" uri="{C3380CC4-5D6E-409C-BE32-E72D297353CC}">
                <c16:uniqueId val="{00000A8F-980B-4B2B-A6BA-FBAB5FE3CDBF}"/>
              </c:ext>
            </c:extLst>
          </c:dPt>
          <c:dPt>
            <c:idx val="1351"/>
            <c:invertIfNegative val="1"/>
            <c:bubble3D val="0"/>
            <c:spPr>
              <a:solidFill>
                <a:srgbClr val="AEABAB"/>
              </a:solidFill>
            </c:spPr>
            <c:extLst>
              <c:ext xmlns:c16="http://schemas.microsoft.com/office/drawing/2014/chart" uri="{C3380CC4-5D6E-409C-BE32-E72D297353CC}">
                <c16:uniqueId val="{00000A91-980B-4B2B-A6BA-FBAB5FE3CDBF}"/>
              </c:ext>
            </c:extLst>
          </c:dPt>
          <c:dPt>
            <c:idx val="1352"/>
            <c:invertIfNegative val="1"/>
            <c:bubble3D val="0"/>
            <c:spPr>
              <a:solidFill>
                <a:srgbClr val="AEABAB"/>
              </a:solidFill>
            </c:spPr>
            <c:extLst>
              <c:ext xmlns:c16="http://schemas.microsoft.com/office/drawing/2014/chart" uri="{C3380CC4-5D6E-409C-BE32-E72D297353CC}">
                <c16:uniqueId val="{00000A93-980B-4B2B-A6BA-FBAB5FE3CDBF}"/>
              </c:ext>
            </c:extLst>
          </c:dPt>
          <c:dPt>
            <c:idx val="1353"/>
            <c:invertIfNegative val="1"/>
            <c:bubble3D val="0"/>
            <c:spPr>
              <a:solidFill>
                <a:srgbClr val="AEABAB"/>
              </a:solidFill>
            </c:spPr>
            <c:extLst>
              <c:ext xmlns:c16="http://schemas.microsoft.com/office/drawing/2014/chart" uri="{C3380CC4-5D6E-409C-BE32-E72D297353CC}">
                <c16:uniqueId val="{00000A95-980B-4B2B-A6BA-FBAB5FE3CDBF}"/>
              </c:ext>
            </c:extLst>
          </c:dPt>
          <c:dPt>
            <c:idx val="1354"/>
            <c:invertIfNegative val="1"/>
            <c:bubble3D val="0"/>
            <c:spPr>
              <a:solidFill>
                <a:srgbClr val="AEABAB"/>
              </a:solidFill>
            </c:spPr>
            <c:extLst>
              <c:ext xmlns:c16="http://schemas.microsoft.com/office/drawing/2014/chart" uri="{C3380CC4-5D6E-409C-BE32-E72D297353CC}">
                <c16:uniqueId val="{00000A97-980B-4B2B-A6BA-FBAB5FE3CDBF}"/>
              </c:ext>
            </c:extLst>
          </c:dPt>
          <c:dPt>
            <c:idx val="1355"/>
            <c:invertIfNegative val="1"/>
            <c:bubble3D val="0"/>
            <c:spPr>
              <a:solidFill>
                <a:srgbClr val="AEABAB"/>
              </a:solidFill>
            </c:spPr>
            <c:extLst>
              <c:ext xmlns:c16="http://schemas.microsoft.com/office/drawing/2014/chart" uri="{C3380CC4-5D6E-409C-BE32-E72D297353CC}">
                <c16:uniqueId val="{00000A99-980B-4B2B-A6BA-FBAB5FE3CDBF}"/>
              </c:ext>
            </c:extLst>
          </c:dPt>
          <c:dPt>
            <c:idx val="1356"/>
            <c:invertIfNegative val="1"/>
            <c:bubble3D val="0"/>
            <c:spPr>
              <a:solidFill>
                <a:srgbClr val="AEABAB"/>
              </a:solidFill>
            </c:spPr>
            <c:extLst>
              <c:ext xmlns:c16="http://schemas.microsoft.com/office/drawing/2014/chart" uri="{C3380CC4-5D6E-409C-BE32-E72D297353CC}">
                <c16:uniqueId val="{00000A9B-980B-4B2B-A6BA-FBAB5FE3CDBF}"/>
              </c:ext>
            </c:extLst>
          </c:dPt>
          <c:dPt>
            <c:idx val="1357"/>
            <c:invertIfNegative val="1"/>
            <c:bubble3D val="0"/>
            <c:spPr>
              <a:solidFill>
                <a:srgbClr val="AEABAB"/>
              </a:solidFill>
            </c:spPr>
            <c:extLst>
              <c:ext xmlns:c16="http://schemas.microsoft.com/office/drawing/2014/chart" uri="{C3380CC4-5D6E-409C-BE32-E72D297353CC}">
                <c16:uniqueId val="{00000A9D-980B-4B2B-A6BA-FBAB5FE3CDBF}"/>
              </c:ext>
            </c:extLst>
          </c:dPt>
          <c:dPt>
            <c:idx val="1358"/>
            <c:invertIfNegative val="1"/>
            <c:bubble3D val="0"/>
            <c:spPr>
              <a:solidFill>
                <a:srgbClr val="AEABAB"/>
              </a:solidFill>
            </c:spPr>
            <c:extLst>
              <c:ext xmlns:c16="http://schemas.microsoft.com/office/drawing/2014/chart" uri="{C3380CC4-5D6E-409C-BE32-E72D297353CC}">
                <c16:uniqueId val="{00000A9F-980B-4B2B-A6BA-FBAB5FE3CDBF}"/>
              </c:ext>
            </c:extLst>
          </c:dPt>
          <c:dPt>
            <c:idx val="1359"/>
            <c:invertIfNegative val="1"/>
            <c:bubble3D val="0"/>
            <c:spPr>
              <a:solidFill>
                <a:srgbClr val="AEABAB"/>
              </a:solidFill>
            </c:spPr>
            <c:extLst>
              <c:ext xmlns:c16="http://schemas.microsoft.com/office/drawing/2014/chart" uri="{C3380CC4-5D6E-409C-BE32-E72D297353CC}">
                <c16:uniqueId val="{00000AA1-980B-4B2B-A6BA-FBAB5FE3CDBF}"/>
              </c:ext>
            </c:extLst>
          </c:dPt>
          <c:dPt>
            <c:idx val="1360"/>
            <c:invertIfNegative val="1"/>
            <c:bubble3D val="0"/>
            <c:spPr>
              <a:solidFill>
                <a:srgbClr val="AEABAB"/>
              </a:solidFill>
            </c:spPr>
            <c:extLst>
              <c:ext xmlns:c16="http://schemas.microsoft.com/office/drawing/2014/chart" uri="{C3380CC4-5D6E-409C-BE32-E72D297353CC}">
                <c16:uniqueId val="{00000AA3-980B-4B2B-A6BA-FBAB5FE3CDBF}"/>
              </c:ext>
            </c:extLst>
          </c:dPt>
          <c:dPt>
            <c:idx val="1361"/>
            <c:invertIfNegative val="1"/>
            <c:bubble3D val="0"/>
            <c:spPr>
              <a:solidFill>
                <a:srgbClr val="AEABAB"/>
              </a:solidFill>
            </c:spPr>
            <c:extLst>
              <c:ext xmlns:c16="http://schemas.microsoft.com/office/drawing/2014/chart" uri="{C3380CC4-5D6E-409C-BE32-E72D297353CC}">
                <c16:uniqueId val="{00000AA5-980B-4B2B-A6BA-FBAB5FE3CDBF}"/>
              </c:ext>
            </c:extLst>
          </c:dPt>
          <c:dPt>
            <c:idx val="1362"/>
            <c:invertIfNegative val="1"/>
            <c:bubble3D val="0"/>
            <c:spPr>
              <a:solidFill>
                <a:srgbClr val="AEABAB"/>
              </a:solidFill>
            </c:spPr>
            <c:extLst>
              <c:ext xmlns:c16="http://schemas.microsoft.com/office/drawing/2014/chart" uri="{C3380CC4-5D6E-409C-BE32-E72D297353CC}">
                <c16:uniqueId val="{00000AA7-980B-4B2B-A6BA-FBAB5FE3CDBF}"/>
              </c:ext>
            </c:extLst>
          </c:dPt>
          <c:dPt>
            <c:idx val="1363"/>
            <c:invertIfNegative val="1"/>
            <c:bubble3D val="0"/>
            <c:spPr>
              <a:solidFill>
                <a:srgbClr val="AEABAB"/>
              </a:solidFill>
            </c:spPr>
            <c:extLst>
              <c:ext xmlns:c16="http://schemas.microsoft.com/office/drawing/2014/chart" uri="{C3380CC4-5D6E-409C-BE32-E72D297353CC}">
                <c16:uniqueId val="{00000AA9-980B-4B2B-A6BA-FBAB5FE3CDBF}"/>
              </c:ext>
            </c:extLst>
          </c:dPt>
          <c:dPt>
            <c:idx val="1364"/>
            <c:invertIfNegative val="1"/>
            <c:bubble3D val="0"/>
            <c:spPr>
              <a:solidFill>
                <a:srgbClr val="AEABAB"/>
              </a:solidFill>
            </c:spPr>
            <c:extLst>
              <c:ext xmlns:c16="http://schemas.microsoft.com/office/drawing/2014/chart" uri="{C3380CC4-5D6E-409C-BE32-E72D297353CC}">
                <c16:uniqueId val="{00000AAB-980B-4B2B-A6BA-FBAB5FE3CDBF}"/>
              </c:ext>
            </c:extLst>
          </c:dPt>
          <c:dPt>
            <c:idx val="1365"/>
            <c:invertIfNegative val="1"/>
            <c:bubble3D val="0"/>
            <c:spPr>
              <a:solidFill>
                <a:srgbClr val="AEABAB"/>
              </a:solidFill>
            </c:spPr>
            <c:extLst>
              <c:ext xmlns:c16="http://schemas.microsoft.com/office/drawing/2014/chart" uri="{C3380CC4-5D6E-409C-BE32-E72D297353CC}">
                <c16:uniqueId val="{00000AAD-980B-4B2B-A6BA-FBAB5FE3CDBF}"/>
              </c:ext>
            </c:extLst>
          </c:dPt>
          <c:dPt>
            <c:idx val="1366"/>
            <c:invertIfNegative val="1"/>
            <c:bubble3D val="0"/>
            <c:spPr>
              <a:solidFill>
                <a:srgbClr val="AEABAB"/>
              </a:solidFill>
            </c:spPr>
            <c:extLst>
              <c:ext xmlns:c16="http://schemas.microsoft.com/office/drawing/2014/chart" uri="{C3380CC4-5D6E-409C-BE32-E72D297353CC}">
                <c16:uniqueId val="{00000AAF-980B-4B2B-A6BA-FBAB5FE3CDBF}"/>
              </c:ext>
            </c:extLst>
          </c:dPt>
          <c:dPt>
            <c:idx val="1367"/>
            <c:invertIfNegative val="1"/>
            <c:bubble3D val="0"/>
            <c:spPr>
              <a:solidFill>
                <a:srgbClr val="AEABAB"/>
              </a:solidFill>
            </c:spPr>
            <c:extLst>
              <c:ext xmlns:c16="http://schemas.microsoft.com/office/drawing/2014/chart" uri="{C3380CC4-5D6E-409C-BE32-E72D297353CC}">
                <c16:uniqueId val="{00000AB1-980B-4B2B-A6BA-FBAB5FE3CDBF}"/>
              </c:ext>
            </c:extLst>
          </c:dPt>
          <c:dPt>
            <c:idx val="1368"/>
            <c:invertIfNegative val="1"/>
            <c:bubble3D val="0"/>
            <c:spPr>
              <a:solidFill>
                <a:srgbClr val="AEABAB"/>
              </a:solidFill>
            </c:spPr>
            <c:extLst>
              <c:ext xmlns:c16="http://schemas.microsoft.com/office/drawing/2014/chart" uri="{C3380CC4-5D6E-409C-BE32-E72D297353CC}">
                <c16:uniqueId val="{00000AB3-980B-4B2B-A6BA-FBAB5FE3CDBF}"/>
              </c:ext>
            </c:extLst>
          </c:dPt>
          <c:dPt>
            <c:idx val="1369"/>
            <c:invertIfNegative val="1"/>
            <c:bubble3D val="0"/>
            <c:spPr>
              <a:solidFill>
                <a:srgbClr val="AEABAB"/>
              </a:solidFill>
            </c:spPr>
            <c:extLst>
              <c:ext xmlns:c16="http://schemas.microsoft.com/office/drawing/2014/chart" uri="{C3380CC4-5D6E-409C-BE32-E72D297353CC}">
                <c16:uniqueId val="{00000AB5-980B-4B2B-A6BA-FBAB5FE3CDBF}"/>
              </c:ext>
            </c:extLst>
          </c:dPt>
          <c:dPt>
            <c:idx val="1370"/>
            <c:invertIfNegative val="1"/>
            <c:bubble3D val="0"/>
            <c:spPr>
              <a:solidFill>
                <a:srgbClr val="AEABAB"/>
              </a:solidFill>
            </c:spPr>
            <c:extLst>
              <c:ext xmlns:c16="http://schemas.microsoft.com/office/drawing/2014/chart" uri="{C3380CC4-5D6E-409C-BE32-E72D297353CC}">
                <c16:uniqueId val="{00000AB7-980B-4B2B-A6BA-FBAB5FE3CDBF}"/>
              </c:ext>
            </c:extLst>
          </c:dPt>
          <c:dPt>
            <c:idx val="1371"/>
            <c:invertIfNegative val="1"/>
            <c:bubble3D val="0"/>
            <c:spPr>
              <a:solidFill>
                <a:srgbClr val="AEABAB"/>
              </a:solidFill>
            </c:spPr>
            <c:extLst>
              <c:ext xmlns:c16="http://schemas.microsoft.com/office/drawing/2014/chart" uri="{C3380CC4-5D6E-409C-BE32-E72D297353CC}">
                <c16:uniqueId val="{00000AB9-980B-4B2B-A6BA-FBAB5FE3CDBF}"/>
              </c:ext>
            </c:extLst>
          </c:dPt>
          <c:dPt>
            <c:idx val="1372"/>
            <c:invertIfNegative val="1"/>
            <c:bubble3D val="0"/>
            <c:spPr>
              <a:solidFill>
                <a:srgbClr val="AEABAB"/>
              </a:solidFill>
            </c:spPr>
            <c:extLst>
              <c:ext xmlns:c16="http://schemas.microsoft.com/office/drawing/2014/chart" uri="{C3380CC4-5D6E-409C-BE32-E72D297353CC}">
                <c16:uniqueId val="{00000ABB-980B-4B2B-A6BA-FBAB5FE3CDBF}"/>
              </c:ext>
            </c:extLst>
          </c:dPt>
          <c:dPt>
            <c:idx val="1373"/>
            <c:invertIfNegative val="1"/>
            <c:bubble3D val="0"/>
            <c:spPr>
              <a:solidFill>
                <a:srgbClr val="AEABAB"/>
              </a:solidFill>
            </c:spPr>
            <c:extLst>
              <c:ext xmlns:c16="http://schemas.microsoft.com/office/drawing/2014/chart" uri="{C3380CC4-5D6E-409C-BE32-E72D297353CC}">
                <c16:uniqueId val="{00000ABD-980B-4B2B-A6BA-FBAB5FE3CDBF}"/>
              </c:ext>
            </c:extLst>
          </c:dPt>
          <c:dPt>
            <c:idx val="1374"/>
            <c:invertIfNegative val="1"/>
            <c:bubble3D val="0"/>
            <c:spPr>
              <a:solidFill>
                <a:srgbClr val="AEABAB"/>
              </a:solidFill>
            </c:spPr>
            <c:extLst>
              <c:ext xmlns:c16="http://schemas.microsoft.com/office/drawing/2014/chart" uri="{C3380CC4-5D6E-409C-BE32-E72D297353CC}">
                <c16:uniqueId val="{00000ABF-980B-4B2B-A6BA-FBAB5FE3CDBF}"/>
              </c:ext>
            </c:extLst>
          </c:dPt>
          <c:dPt>
            <c:idx val="1375"/>
            <c:invertIfNegative val="1"/>
            <c:bubble3D val="0"/>
            <c:spPr>
              <a:solidFill>
                <a:srgbClr val="AEABAB"/>
              </a:solidFill>
            </c:spPr>
            <c:extLst>
              <c:ext xmlns:c16="http://schemas.microsoft.com/office/drawing/2014/chart" uri="{C3380CC4-5D6E-409C-BE32-E72D297353CC}">
                <c16:uniqueId val="{00000AC1-980B-4B2B-A6BA-FBAB5FE3CDBF}"/>
              </c:ext>
            </c:extLst>
          </c:dPt>
          <c:dPt>
            <c:idx val="1376"/>
            <c:invertIfNegative val="1"/>
            <c:bubble3D val="0"/>
            <c:spPr>
              <a:solidFill>
                <a:srgbClr val="AEABAB"/>
              </a:solidFill>
            </c:spPr>
            <c:extLst>
              <c:ext xmlns:c16="http://schemas.microsoft.com/office/drawing/2014/chart" uri="{C3380CC4-5D6E-409C-BE32-E72D297353CC}">
                <c16:uniqueId val="{00000AC3-980B-4B2B-A6BA-FBAB5FE3CDBF}"/>
              </c:ext>
            </c:extLst>
          </c:dPt>
          <c:dPt>
            <c:idx val="1377"/>
            <c:invertIfNegative val="1"/>
            <c:bubble3D val="0"/>
            <c:spPr>
              <a:solidFill>
                <a:srgbClr val="AEABAB"/>
              </a:solidFill>
            </c:spPr>
            <c:extLst>
              <c:ext xmlns:c16="http://schemas.microsoft.com/office/drawing/2014/chart" uri="{C3380CC4-5D6E-409C-BE32-E72D297353CC}">
                <c16:uniqueId val="{00000AC5-980B-4B2B-A6BA-FBAB5FE3CDBF}"/>
              </c:ext>
            </c:extLst>
          </c:dPt>
          <c:dPt>
            <c:idx val="1378"/>
            <c:invertIfNegative val="1"/>
            <c:bubble3D val="0"/>
            <c:spPr>
              <a:solidFill>
                <a:srgbClr val="AEABAB"/>
              </a:solidFill>
            </c:spPr>
            <c:extLst>
              <c:ext xmlns:c16="http://schemas.microsoft.com/office/drawing/2014/chart" uri="{C3380CC4-5D6E-409C-BE32-E72D297353CC}">
                <c16:uniqueId val="{00000AC7-980B-4B2B-A6BA-FBAB5FE3CDBF}"/>
              </c:ext>
            </c:extLst>
          </c:dPt>
          <c:dPt>
            <c:idx val="1379"/>
            <c:invertIfNegative val="1"/>
            <c:bubble3D val="0"/>
            <c:spPr>
              <a:solidFill>
                <a:srgbClr val="AEABAB"/>
              </a:solidFill>
            </c:spPr>
            <c:extLst>
              <c:ext xmlns:c16="http://schemas.microsoft.com/office/drawing/2014/chart" uri="{C3380CC4-5D6E-409C-BE32-E72D297353CC}">
                <c16:uniqueId val="{00000AC9-980B-4B2B-A6BA-FBAB5FE3CDBF}"/>
              </c:ext>
            </c:extLst>
          </c:dPt>
          <c:dPt>
            <c:idx val="1380"/>
            <c:invertIfNegative val="1"/>
            <c:bubble3D val="0"/>
            <c:spPr>
              <a:solidFill>
                <a:srgbClr val="AEABAB"/>
              </a:solidFill>
            </c:spPr>
            <c:extLst>
              <c:ext xmlns:c16="http://schemas.microsoft.com/office/drawing/2014/chart" uri="{C3380CC4-5D6E-409C-BE32-E72D297353CC}">
                <c16:uniqueId val="{00000ACB-980B-4B2B-A6BA-FBAB5FE3CDBF}"/>
              </c:ext>
            </c:extLst>
          </c:dPt>
          <c:dPt>
            <c:idx val="1381"/>
            <c:invertIfNegative val="1"/>
            <c:bubble3D val="0"/>
            <c:spPr>
              <a:solidFill>
                <a:srgbClr val="AEABAB"/>
              </a:solidFill>
            </c:spPr>
            <c:extLst>
              <c:ext xmlns:c16="http://schemas.microsoft.com/office/drawing/2014/chart" uri="{C3380CC4-5D6E-409C-BE32-E72D297353CC}">
                <c16:uniqueId val="{00000ACD-980B-4B2B-A6BA-FBAB5FE3CDBF}"/>
              </c:ext>
            </c:extLst>
          </c:dPt>
          <c:dPt>
            <c:idx val="1382"/>
            <c:invertIfNegative val="1"/>
            <c:bubble3D val="0"/>
            <c:spPr>
              <a:solidFill>
                <a:srgbClr val="AEABAB"/>
              </a:solidFill>
            </c:spPr>
            <c:extLst>
              <c:ext xmlns:c16="http://schemas.microsoft.com/office/drawing/2014/chart" uri="{C3380CC4-5D6E-409C-BE32-E72D297353CC}">
                <c16:uniqueId val="{00000ACF-980B-4B2B-A6BA-FBAB5FE3CDBF}"/>
              </c:ext>
            </c:extLst>
          </c:dPt>
          <c:dPt>
            <c:idx val="1383"/>
            <c:invertIfNegative val="1"/>
            <c:bubble3D val="0"/>
            <c:spPr>
              <a:solidFill>
                <a:srgbClr val="AEABAB"/>
              </a:solidFill>
            </c:spPr>
            <c:extLst>
              <c:ext xmlns:c16="http://schemas.microsoft.com/office/drawing/2014/chart" uri="{C3380CC4-5D6E-409C-BE32-E72D297353CC}">
                <c16:uniqueId val="{00000AD1-980B-4B2B-A6BA-FBAB5FE3CDBF}"/>
              </c:ext>
            </c:extLst>
          </c:dPt>
          <c:dPt>
            <c:idx val="1384"/>
            <c:invertIfNegative val="1"/>
            <c:bubble3D val="0"/>
            <c:spPr>
              <a:solidFill>
                <a:srgbClr val="AEABAB"/>
              </a:solidFill>
            </c:spPr>
            <c:extLst>
              <c:ext xmlns:c16="http://schemas.microsoft.com/office/drawing/2014/chart" uri="{C3380CC4-5D6E-409C-BE32-E72D297353CC}">
                <c16:uniqueId val="{00000AD3-980B-4B2B-A6BA-FBAB5FE3CDBF}"/>
              </c:ext>
            </c:extLst>
          </c:dPt>
          <c:dPt>
            <c:idx val="1385"/>
            <c:invertIfNegative val="1"/>
            <c:bubble3D val="0"/>
            <c:spPr>
              <a:solidFill>
                <a:srgbClr val="AEABAB"/>
              </a:solidFill>
            </c:spPr>
            <c:extLst>
              <c:ext xmlns:c16="http://schemas.microsoft.com/office/drawing/2014/chart" uri="{C3380CC4-5D6E-409C-BE32-E72D297353CC}">
                <c16:uniqueId val="{00000AD5-980B-4B2B-A6BA-FBAB5FE3CDBF}"/>
              </c:ext>
            </c:extLst>
          </c:dPt>
          <c:dPt>
            <c:idx val="1386"/>
            <c:invertIfNegative val="1"/>
            <c:bubble3D val="0"/>
            <c:spPr>
              <a:solidFill>
                <a:srgbClr val="AEABAB"/>
              </a:solidFill>
            </c:spPr>
            <c:extLst>
              <c:ext xmlns:c16="http://schemas.microsoft.com/office/drawing/2014/chart" uri="{C3380CC4-5D6E-409C-BE32-E72D297353CC}">
                <c16:uniqueId val="{00000AD7-980B-4B2B-A6BA-FBAB5FE3CDBF}"/>
              </c:ext>
            </c:extLst>
          </c:dPt>
          <c:dPt>
            <c:idx val="1387"/>
            <c:invertIfNegative val="1"/>
            <c:bubble3D val="0"/>
            <c:spPr>
              <a:solidFill>
                <a:srgbClr val="AEABAB"/>
              </a:solidFill>
            </c:spPr>
            <c:extLst>
              <c:ext xmlns:c16="http://schemas.microsoft.com/office/drawing/2014/chart" uri="{C3380CC4-5D6E-409C-BE32-E72D297353CC}">
                <c16:uniqueId val="{00000AD9-980B-4B2B-A6BA-FBAB5FE3CDBF}"/>
              </c:ext>
            </c:extLst>
          </c:dPt>
          <c:dPt>
            <c:idx val="1388"/>
            <c:invertIfNegative val="1"/>
            <c:bubble3D val="0"/>
            <c:spPr>
              <a:solidFill>
                <a:srgbClr val="AEABAB"/>
              </a:solidFill>
            </c:spPr>
            <c:extLst>
              <c:ext xmlns:c16="http://schemas.microsoft.com/office/drawing/2014/chart" uri="{C3380CC4-5D6E-409C-BE32-E72D297353CC}">
                <c16:uniqueId val="{00000ADB-980B-4B2B-A6BA-FBAB5FE3CDBF}"/>
              </c:ext>
            </c:extLst>
          </c:dPt>
          <c:dPt>
            <c:idx val="1389"/>
            <c:invertIfNegative val="1"/>
            <c:bubble3D val="0"/>
            <c:spPr>
              <a:solidFill>
                <a:srgbClr val="AEABAB"/>
              </a:solidFill>
            </c:spPr>
            <c:extLst>
              <c:ext xmlns:c16="http://schemas.microsoft.com/office/drawing/2014/chart" uri="{C3380CC4-5D6E-409C-BE32-E72D297353CC}">
                <c16:uniqueId val="{00000ADD-980B-4B2B-A6BA-FBAB5FE3CDBF}"/>
              </c:ext>
            </c:extLst>
          </c:dPt>
          <c:dPt>
            <c:idx val="1390"/>
            <c:invertIfNegative val="1"/>
            <c:bubble3D val="0"/>
            <c:spPr>
              <a:solidFill>
                <a:srgbClr val="AEABAB"/>
              </a:solidFill>
            </c:spPr>
            <c:extLst>
              <c:ext xmlns:c16="http://schemas.microsoft.com/office/drawing/2014/chart" uri="{C3380CC4-5D6E-409C-BE32-E72D297353CC}">
                <c16:uniqueId val="{00000ADF-980B-4B2B-A6BA-FBAB5FE3CDBF}"/>
              </c:ext>
            </c:extLst>
          </c:dPt>
          <c:dPt>
            <c:idx val="1391"/>
            <c:invertIfNegative val="1"/>
            <c:bubble3D val="0"/>
            <c:spPr>
              <a:solidFill>
                <a:srgbClr val="AEABAB"/>
              </a:solidFill>
            </c:spPr>
            <c:extLst>
              <c:ext xmlns:c16="http://schemas.microsoft.com/office/drawing/2014/chart" uri="{C3380CC4-5D6E-409C-BE32-E72D297353CC}">
                <c16:uniqueId val="{00000AE1-980B-4B2B-A6BA-FBAB5FE3CDBF}"/>
              </c:ext>
            </c:extLst>
          </c:dPt>
          <c:dPt>
            <c:idx val="1392"/>
            <c:invertIfNegative val="1"/>
            <c:bubble3D val="0"/>
            <c:spPr>
              <a:solidFill>
                <a:srgbClr val="AEABAB"/>
              </a:solidFill>
            </c:spPr>
            <c:extLst>
              <c:ext xmlns:c16="http://schemas.microsoft.com/office/drawing/2014/chart" uri="{C3380CC4-5D6E-409C-BE32-E72D297353CC}">
                <c16:uniqueId val="{00000AE3-980B-4B2B-A6BA-FBAB5FE3CDBF}"/>
              </c:ext>
            </c:extLst>
          </c:dPt>
          <c:dPt>
            <c:idx val="1393"/>
            <c:invertIfNegative val="1"/>
            <c:bubble3D val="0"/>
            <c:spPr>
              <a:solidFill>
                <a:srgbClr val="AEABAB"/>
              </a:solidFill>
            </c:spPr>
            <c:extLst>
              <c:ext xmlns:c16="http://schemas.microsoft.com/office/drawing/2014/chart" uri="{C3380CC4-5D6E-409C-BE32-E72D297353CC}">
                <c16:uniqueId val="{00000AE5-980B-4B2B-A6BA-FBAB5FE3CDBF}"/>
              </c:ext>
            </c:extLst>
          </c:dPt>
          <c:dPt>
            <c:idx val="1394"/>
            <c:invertIfNegative val="1"/>
            <c:bubble3D val="0"/>
            <c:spPr>
              <a:solidFill>
                <a:srgbClr val="AEABAB"/>
              </a:solidFill>
            </c:spPr>
            <c:extLst>
              <c:ext xmlns:c16="http://schemas.microsoft.com/office/drawing/2014/chart" uri="{C3380CC4-5D6E-409C-BE32-E72D297353CC}">
                <c16:uniqueId val="{00000AE7-980B-4B2B-A6BA-FBAB5FE3CDBF}"/>
              </c:ext>
            </c:extLst>
          </c:dPt>
          <c:dPt>
            <c:idx val="1395"/>
            <c:invertIfNegative val="1"/>
            <c:bubble3D val="0"/>
            <c:spPr>
              <a:solidFill>
                <a:srgbClr val="AEABAB"/>
              </a:solidFill>
            </c:spPr>
            <c:extLst>
              <c:ext xmlns:c16="http://schemas.microsoft.com/office/drawing/2014/chart" uri="{C3380CC4-5D6E-409C-BE32-E72D297353CC}">
                <c16:uniqueId val="{00000AE9-980B-4B2B-A6BA-FBAB5FE3CDBF}"/>
              </c:ext>
            </c:extLst>
          </c:dPt>
          <c:dPt>
            <c:idx val="1396"/>
            <c:invertIfNegative val="1"/>
            <c:bubble3D val="0"/>
            <c:spPr>
              <a:solidFill>
                <a:srgbClr val="AEABAB"/>
              </a:solidFill>
            </c:spPr>
            <c:extLst>
              <c:ext xmlns:c16="http://schemas.microsoft.com/office/drawing/2014/chart" uri="{C3380CC4-5D6E-409C-BE32-E72D297353CC}">
                <c16:uniqueId val="{00000AEB-980B-4B2B-A6BA-FBAB5FE3CDBF}"/>
              </c:ext>
            </c:extLst>
          </c:dPt>
          <c:dPt>
            <c:idx val="1397"/>
            <c:invertIfNegative val="1"/>
            <c:bubble3D val="0"/>
            <c:spPr>
              <a:solidFill>
                <a:srgbClr val="AEABAB"/>
              </a:solidFill>
            </c:spPr>
            <c:extLst>
              <c:ext xmlns:c16="http://schemas.microsoft.com/office/drawing/2014/chart" uri="{C3380CC4-5D6E-409C-BE32-E72D297353CC}">
                <c16:uniqueId val="{00000AED-980B-4B2B-A6BA-FBAB5FE3CDBF}"/>
              </c:ext>
            </c:extLst>
          </c:dPt>
          <c:dPt>
            <c:idx val="1398"/>
            <c:invertIfNegative val="1"/>
            <c:bubble3D val="0"/>
            <c:spPr>
              <a:solidFill>
                <a:srgbClr val="AEABAB"/>
              </a:solidFill>
            </c:spPr>
            <c:extLst>
              <c:ext xmlns:c16="http://schemas.microsoft.com/office/drawing/2014/chart" uri="{C3380CC4-5D6E-409C-BE32-E72D297353CC}">
                <c16:uniqueId val="{00000AEF-980B-4B2B-A6BA-FBAB5FE3CDBF}"/>
              </c:ext>
            </c:extLst>
          </c:dPt>
          <c:dPt>
            <c:idx val="1399"/>
            <c:invertIfNegative val="1"/>
            <c:bubble3D val="0"/>
            <c:spPr>
              <a:solidFill>
                <a:srgbClr val="AEABAB"/>
              </a:solidFill>
            </c:spPr>
            <c:extLst>
              <c:ext xmlns:c16="http://schemas.microsoft.com/office/drawing/2014/chart" uri="{C3380CC4-5D6E-409C-BE32-E72D297353CC}">
                <c16:uniqueId val="{00000AF1-980B-4B2B-A6BA-FBAB5FE3CDBF}"/>
              </c:ext>
            </c:extLst>
          </c:dPt>
          <c:dPt>
            <c:idx val="1400"/>
            <c:invertIfNegative val="1"/>
            <c:bubble3D val="0"/>
            <c:spPr>
              <a:solidFill>
                <a:srgbClr val="AEABAB"/>
              </a:solidFill>
            </c:spPr>
            <c:extLst>
              <c:ext xmlns:c16="http://schemas.microsoft.com/office/drawing/2014/chart" uri="{C3380CC4-5D6E-409C-BE32-E72D297353CC}">
                <c16:uniqueId val="{00000AF3-980B-4B2B-A6BA-FBAB5FE3CDBF}"/>
              </c:ext>
            </c:extLst>
          </c:dPt>
          <c:dPt>
            <c:idx val="1401"/>
            <c:invertIfNegative val="1"/>
            <c:bubble3D val="0"/>
            <c:spPr>
              <a:solidFill>
                <a:srgbClr val="AEABAB"/>
              </a:solidFill>
            </c:spPr>
            <c:extLst>
              <c:ext xmlns:c16="http://schemas.microsoft.com/office/drawing/2014/chart" uri="{C3380CC4-5D6E-409C-BE32-E72D297353CC}">
                <c16:uniqueId val="{00000AF5-980B-4B2B-A6BA-FBAB5FE3CDBF}"/>
              </c:ext>
            </c:extLst>
          </c:dPt>
          <c:dPt>
            <c:idx val="1402"/>
            <c:invertIfNegative val="1"/>
            <c:bubble3D val="0"/>
            <c:spPr>
              <a:solidFill>
                <a:srgbClr val="AEABAB"/>
              </a:solidFill>
            </c:spPr>
            <c:extLst>
              <c:ext xmlns:c16="http://schemas.microsoft.com/office/drawing/2014/chart" uri="{C3380CC4-5D6E-409C-BE32-E72D297353CC}">
                <c16:uniqueId val="{00000AF7-980B-4B2B-A6BA-FBAB5FE3CDBF}"/>
              </c:ext>
            </c:extLst>
          </c:dPt>
          <c:dPt>
            <c:idx val="1403"/>
            <c:invertIfNegative val="1"/>
            <c:bubble3D val="0"/>
            <c:spPr>
              <a:solidFill>
                <a:srgbClr val="AEABAB"/>
              </a:solidFill>
            </c:spPr>
            <c:extLst>
              <c:ext xmlns:c16="http://schemas.microsoft.com/office/drawing/2014/chart" uri="{C3380CC4-5D6E-409C-BE32-E72D297353CC}">
                <c16:uniqueId val="{00000AF9-980B-4B2B-A6BA-FBAB5FE3CDBF}"/>
              </c:ext>
            </c:extLst>
          </c:dPt>
          <c:dPt>
            <c:idx val="1404"/>
            <c:invertIfNegative val="1"/>
            <c:bubble3D val="0"/>
            <c:spPr>
              <a:solidFill>
                <a:srgbClr val="AEABAB"/>
              </a:solidFill>
            </c:spPr>
            <c:extLst>
              <c:ext xmlns:c16="http://schemas.microsoft.com/office/drawing/2014/chart" uri="{C3380CC4-5D6E-409C-BE32-E72D297353CC}">
                <c16:uniqueId val="{00000AFB-980B-4B2B-A6BA-FBAB5FE3CDBF}"/>
              </c:ext>
            </c:extLst>
          </c:dPt>
          <c:dPt>
            <c:idx val="1405"/>
            <c:invertIfNegative val="1"/>
            <c:bubble3D val="0"/>
            <c:spPr>
              <a:solidFill>
                <a:srgbClr val="AEABAB"/>
              </a:solidFill>
            </c:spPr>
            <c:extLst>
              <c:ext xmlns:c16="http://schemas.microsoft.com/office/drawing/2014/chart" uri="{C3380CC4-5D6E-409C-BE32-E72D297353CC}">
                <c16:uniqueId val="{00000AFD-980B-4B2B-A6BA-FBAB5FE3CDBF}"/>
              </c:ext>
            </c:extLst>
          </c:dPt>
          <c:dPt>
            <c:idx val="1406"/>
            <c:invertIfNegative val="1"/>
            <c:bubble3D val="0"/>
            <c:spPr>
              <a:solidFill>
                <a:srgbClr val="AEABAB"/>
              </a:solidFill>
            </c:spPr>
            <c:extLst>
              <c:ext xmlns:c16="http://schemas.microsoft.com/office/drawing/2014/chart" uri="{C3380CC4-5D6E-409C-BE32-E72D297353CC}">
                <c16:uniqueId val="{00000AFF-980B-4B2B-A6BA-FBAB5FE3CDBF}"/>
              </c:ext>
            </c:extLst>
          </c:dPt>
          <c:dPt>
            <c:idx val="1407"/>
            <c:invertIfNegative val="1"/>
            <c:bubble3D val="0"/>
            <c:spPr>
              <a:solidFill>
                <a:srgbClr val="AEABAB"/>
              </a:solidFill>
            </c:spPr>
            <c:extLst>
              <c:ext xmlns:c16="http://schemas.microsoft.com/office/drawing/2014/chart" uri="{C3380CC4-5D6E-409C-BE32-E72D297353CC}">
                <c16:uniqueId val="{00000B01-980B-4B2B-A6BA-FBAB5FE3CDBF}"/>
              </c:ext>
            </c:extLst>
          </c:dPt>
          <c:dPt>
            <c:idx val="1408"/>
            <c:invertIfNegative val="1"/>
            <c:bubble3D val="0"/>
            <c:spPr>
              <a:solidFill>
                <a:srgbClr val="AEABAB"/>
              </a:solidFill>
            </c:spPr>
            <c:extLst>
              <c:ext xmlns:c16="http://schemas.microsoft.com/office/drawing/2014/chart" uri="{C3380CC4-5D6E-409C-BE32-E72D297353CC}">
                <c16:uniqueId val="{00000B03-980B-4B2B-A6BA-FBAB5FE3CDBF}"/>
              </c:ext>
            </c:extLst>
          </c:dPt>
          <c:dPt>
            <c:idx val="1409"/>
            <c:invertIfNegative val="1"/>
            <c:bubble3D val="0"/>
            <c:spPr>
              <a:solidFill>
                <a:srgbClr val="AEABAB"/>
              </a:solidFill>
            </c:spPr>
            <c:extLst>
              <c:ext xmlns:c16="http://schemas.microsoft.com/office/drawing/2014/chart" uri="{C3380CC4-5D6E-409C-BE32-E72D297353CC}">
                <c16:uniqueId val="{00000B05-980B-4B2B-A6BA-FBAB5FE3CDBF}"/>
              </c:ext>
            </c:extLst>
          </c:dPt>
          <c:dPt>
            <c:idx val="1410"/>
            <c:invertIfNegative val="1"/>
            <c:bubble3D val="0"/>
            <c:spPr>
              <a:solidFill>
                <a:srgbClr val="AEABAB"/>
              </a:solidFill>
            </c:spPr>
            <c:extLst>
              <c:ext xmlns:c16="http://schemas.microsoft.com/office/drawing/2014/chart" uri="{C3380CC4-5D6E-409C-BE32-E72D297353CC}">
                <c16:uniqueId val="{00000B07-980B-4B2B-A6BA-FBAB5FE3CDBF}"/>
              </c:ext>
            </c:extLst>
          </c:dPt>
          <c:dPt>
            <c:idx val="1411"/>
            <c:invertIfNegative val="1"/>
            <c:bubble3D val="0"/>
            <c:spPr>
              <a:solidFill>
                <a:srgbClr val="AEABAB"/>
              </a:solidFill>
            </c:spPr>
            <c:extLst>
              <c:ext xmlns:c16="http://schemas.microsoft.com/office/drawing/2014/chart" uri="{C3380CC4-5D6E-409C-BE32-E72D297353CC}">
                <c16:uniqueId val="{00000B09-980B-4B2B-A6BA-FBAB5FE3CDBF}"/>
              </c:ext>
            </c:extLst>
          </c:dPt>
          <c:dPt>
            <c:idx val="1412"/>
            <c:invertIfNegative val="1"/>
            <c:bubble3D val="0"/>
            <c:spPr>
              <a:solidFill>
                <a:srgbClr val="AEABAB"/>
              </a:solidFill>
            </c:spPr>
            <c:extLst>
              <c:ext xmlns:c16="http://schemas.microsoft.com/office/drawing/2014/chart" uri="{C3380CC4-5D6E-409C-BE32-E72D297353CC}">
                <c16:uniqueId val="{00000B0B-980B-4B2B-A6BA-FBAB5FE3CDBF}"/>
              </c:ext>
            </c:extLst>
          </c:dPt>
          <c:dPt>
            <c:idx val="1413"/>
            <c:invertIfNegative val="1"/>
            <c:bubble3D val="0"/>
            <c:spPr>
              <a:solidFill>
                <a:srgbClr val="AEABAB"/>
              </a:solidFill>
            </c:spPr>
            <c:extLst>
              <c:ext xmlns:c16="http://schemas.microsoft.com/office/drawing/2014/chart" uri="{C3380CC4-5D6E-409C-BE32-E72D297353CC}">
                <c16:uniqueId val="{00000B0D-980B-4B2B-A6BA-FBAB5FE3CDBF}"/>
              </c:ext>
            </c:extLst>
          </c:dPt>
          <c:dPt>
            <c:idx val="1414"/>
            <c:invertIfNegative val="1"/>
            <c:bubble3D val="0"/>
            <c:spPr>
              <a:solidFill>
                <a:srgbClr val="AEABAB"/>
              </a:solidFill>
            </c:spPr>
            <c:extLst>
              <c:ext xmlns:c16="http://schemas.microsoft.com/office/drawing/2014/chart" uri="{C3380CC4-5D6E-409C-BE32-E72D297353CC}">
                <c16:uniqueId val="{00000B0F-980B-4B2B-A6BA-FBAB5FE3CDBF}"/>
              </c:ext>
            </c:extLst>
          </c:dPt>
          <c:dPt>
            <c:idx val="1415"/>
            <c:invertIfNegative val="1"/>
            <c:bubble3D val="0"/>
            <c:spPr>
              <a:solidFill>
                <a:srgbClr val="AEABAB"/>
              </a:solidFill>
            </c:spPr>
            <c:extLst>
              <c:ext xmlns:c16="http://schemas.microsoft.com/office/drawing/2014/chart" uri="{C3380CC4-5D6E-409C-BE32-E72D297353CC}">
                <c16:uniqueId val="{00000B11-980B-4B2B-A6BA-FBAB5FE3CDBF}"/>
              </c:ext>
            </c:extLst>
          </c:dPt>
          <c:dPt>
            <c:idx val="1416"/>
            <c:invertIfNegative val="1"/>
            <c:bubble3D val="0"/>
            <c:spPr>
              <a:solidFill>
                <a:srgbClr val="AEABAB"/>
              </a:solidFill>
            </c:spPr>
            <c:extLst>
              <c:ext xmlns:c16="http://schemas.microsoft.com/office/drawing/2014/chart" uri="{C3380CC4-5D6E-409C-BE32-E72D297353CC}">
                <c16:uniqueId val="{00000B13-980B-4B2B-A6BA-FBAB5FE3CDBF}"/>
              </c:ext>
            </c:extLst>
          </c:dPt>
          <c:dPt>
            <c:idx val="1417"/>
            <c:invertIfNegative val="1"/>
            <c:bubble3D val="0"/>
            <c:spPr>
              <a:solidFill>
                <a:srgbClr val="AEABAB"/>
              </a:solidFill>
            </c:spPr>
            <c:extLst>
              <c:ext xmlns:c16="http://schemas.microsoft.com/office/drawing/2014/chart" uri="{C3380CC4-5D6E-409C-BE32-E72D297353CC}">
                <c16:uniqueId val="{00000B15-980B-4B2B-A6BA-FBAB5FE3CDBF}"/>
              </c:ext>
            </c:extLst>
          </c:dPt>
          <c:dPt>
            <c:idx val="1418"/>
            <c:invertIfNegative val="1"/>
            <c:bubble3D val="0"/>
            <c:spPr>
              <a:solidFill>
                <a:srgbClr val="AEABAB"/>
              </a:solidFill>
            </c:spPr>
            <c:extLst>
              <c:ext xmlns:c16="http://schemas.microsoft.com/office/drawing/2014/chart" uri="{C3380CC4-5D6E-409C-BE32-E72D297353CC}">
                <c16:uniqueId val="{00000B17-980B-4B2B-A6BA-FBAB5FE3CDBF}"/>
              </c:ext>
            </c:extLst>
          </c:dPt>
          <c:dPt>
            <c:idx val="1419"/>
            <c:invertIfNegative val="1"/>
            <c:bubble3D val="0"/>
            <c:spPr>
              <a:solidFill>
                <a:srgbClr val="AEABAB"/>
              </a:solidFill>
            </c:spPr>
            <c:extLst>
              <c:ext xmlns:c16="http://schemas.microsoft.com/office/drawing/2014/chart" uri="{C3380CC4-5D6E-409C-BE32-E72D297353CC}">
                <c16:uniqueId val="{00000B19-980B-4B2B-A6BA-FBAB5FE3CDBF}"/>
              </c:ext>
            </c:extLst>
          </c:dPt>
          <c:dPt>
            <c:idx val="1420"/>
            <c:invertIfNegative val="1"/>
            <c:bubble3D val="0"/>
            <c:spPr>
              <a:solidFill>
                <a:srgbClr val="AEABAB"/>
              </a:solidFill>
            </c:spPr>
            <c:extLst>
              <c:ext xmlns:c16="http://schemas.microsoft.com/office/drawing/2014/chart" uri="{C3380CC4-5D6E-409C-BE32-E72D297353CC}">
                <c16:uniqueId val="{00000B1B-980B-4B2B-A6BA-FBAB5FE3CDBF}"/>
              </c:ext>
            </c:extLst>
          </c:dPt>
          <c:dPt>
            <c:idx val="1421"/>
            <c:invertIfNegative val="1"/>
            <c:bubble3D val="0"/>
            <c:spPr>
              <a:solidFill>
                <a:srgbClr val="AEABAB"/>
              </a:solidFill>
            </c:spPr>
            <c:extLst>
              <c:ext xmlns:c16="http://schemas.microsoft.com/office/drawing/2014/chart" uri="{C3380CC4-5D6E-409C-BE32-E72D297353CC}">
                <c16:uniqueId val="{00000B1D-980B-4B2B-A6BA-FBAB5FE3CDBF}"/>
              </c:ext>
            </c:extLst>
          </c:dPt>
          <c:dPt>
            <c:idx val="1422"/>
            <c:invertIfNegative val="1"/>
            <c:bubble3D val="0"/>
            <c:spPr>
              <a:solidFill>
                <a:srgbClr val="AEABAB"/>
              </a:solidFill>
            </c:spPr>
            <c:extLst>
              <c:ext xmlns:c16="http://schemas.microsoft.com/office/drawing/2014/chart" uri="{C3380CC4-5D6E-409C-BE32-E72D297353CC}">
                <c16:uniqueId val="{00000B1F-980B-4B2B-A6BA-FBAB5FE3CDBF}"/>
              </c:ext>
            </c:extLst>
          </c:dPt>
          <c:dPt>
            <c:idx val="1423"/>
            <c:invertIfNegative val="1"/>
            <c:bubble3D val="0"/>
            <c:spPr>
              <a:solidFill>
                <a:srgbClr val="AEABAB"/>
              </a:solidFill>
            </c:spPr>
            <c:extLst>
              <c:ext xmlns:c16="http://schemas.microsoft.com/office/drawing/2014/chart" uri="{C3380CC4-5D6E-409C-BE32-E72D297353CC}">
                <c16:uniqueId val="{00000B21-980B-4B2B-A6BA-FBAB5FE3CDBF}"/>
              </c:ext>
            </c:extLst>
          </c:dPt>
          <c:dPt>
            <c:idx val="1424"/>
            <c:invertIfNegative val="1"/>
            <c:bubble3D val="0"/>
            <c:spPr>
              <a:solidFill>
                <a:srgbClr val="AEABAB"/>
              </a:solidFill>
            </c:spPr>
            <c:extLst>
              <c:ext xmlns:c16="http://schemas.microsoft.com/office/drawing/2014/chart" uri="{C3380CC4-5D6E-409C-BE32-E72D297353CC}">
                <c16:uniqueId val="{00000B23-980B-4B2B-A6BA-FBAB5FE3CDBF}"/>
              </c:ext>
            </c:extLst>
          </c:dPt>
          <c:dPt>
            <c:idx val="1425"/>
            <c:invertIfNegative val="1"/>
            <c:bubble3D val="0"/>
            <c:spPr>
              <a:solidFill>
                <a:srgbClr val="AEABAB"/>
              </a:solidFill>
            </c:spPr>
            <c:extLst>
              <c:ext xmlns:c16="http://schemas.microsoft.com/office/drawing/2014/chart" uri="{C3380CC4-5D6E-409C-BE32-E72D297353CC}">
                <c16:uniqueId val="{00000B25-980B-4B2B-A6BA-FBAB5FE3CDBF}"/>
              </c:ext>
            </c:extLst>
          </c:dPt>
          <c:dPt>
            <c:idx val="1426"/>
            <c:invertIfNegative val="1"/>
            <c:bubble3D val="0"/>
            <c:spPr>
              <a:solidFill>
                <a:srgbClr val="AEABAB"/>
              </a:solidFill>
            </c:spPr>
            <c:extLst>
              <c:ext xmlns:c16="http://schemas.microsoft.com/office/drawing/2014/chart" uri="{C3380CC4-5D6E-409C-BE32-E72D297353CC}">
                <c16:uniqueId val="{00000B27-980B-4B2B-A6BA-FBAB5FE3CDBF}"/>
              </c:ext>
            </c:extLst>
          </c:dPt>
          <c:dPt>
            <c:idx val="1427"/>
            <c:invertIfNegative val="1"/>
            <c:bubble3D val="0"/>
            <c:spPr>
              <a:solidFill>
                <a:srgbClr val="AEABAB"/>
              </a:solidFill>
            </c:spPr>
            <c:extLst>
              <c:ext xmlns:c16="http://schemas.microsoft.com/office/drawing/2014/chart" uri="{C3380CC4-5D6E-409C-BE32-E72D297353CC}">
                <c16:uniqueId val="{00000B29-980B-4B2B-A6BA-FBAB5FE3CDBF}"/>
              </c:ext>
            </c:extLst>
          </c:dPt>
          <c:dPt>
            <c:idx val="1428"/>
            <c:invertIfNegative val="1"/>
            <c:bubble3D val="0"/>
            <c:spPr>
              <a:solidFill>
                <a:srgbClr val="AEABAB"/>
              </a:solidFill>
            </c:spPr>
            <c:extLst>
              <c:ext xmlns:c16="http://schemas.microsoft.com/office/drawing/2014/chart" uri="{C3380CC4-5D6E-409C-BE32-E72D297353CC}">
                <c16:uniqueId val="{00000B2B-980B-4B2B-A6BA-FBAB5FE3CDBF}"/>
              </c:ext>
            </c:extLst>
          </c:dPt>
          <c:dPt>
            <c:idx val="1429"/>
            <c:invertIfNegative val="1"/>
            <c:bubble3D val="0"/>
            <c:spPr>
              <a:solidFill>
                <a:srgbClr val="AEABAB"/>
              </a:solidFill>
            </c:spPr>
            <c:extLst>
              <c:ext xmlns:c16="http://schemas.microsoft.com/office/drawing/2014/chart" uri="{C3380CC4-5D6E-409C-BE32-E72D297353CC}">
                <c16:uniqueId val="{00000B2D-980B-4B2B-A6BA-FBAB5FE3CDBF}"/>
              </c:ext>
            </c:extLst>
          </c:dPt>
          <c:dPt>
            <c:idx val="1430"/>
            <c:invertIfNegative val="1"/>
            <c:bubble3D val="0"/>
            <c:spPr>
              <a:solidFill>
                <a:srgbClr val="AEABAB"/>
              </a:solidFill>
            </c:spPr>
            <c:extLst>
              <c:ext xmlns:c16="http://schemas.microsoft.com/office/drawing/2014/chart" uri="{C3380CC4-5D6E-409C-BE32-E72D297353CC}">
                <c16:uniqueId val="{00000B2F-980B-4B2B-A6BA-FBAB5FE3CDBF}"/>
              </c:ext>
            </c:extLst>
          </c:dPt>
          <c:dPt>
            <c:idx val="1431"/>
            <c:invertIfNegative val="1"/>
            <c:bubble3D val="0"/>
            <c:spPr>
              <a:solidFill>
                <a:srgbClr val="AEABAB"/>
              </a:solidFill>
            </c:spPr>
            <c:extLst>
              <c:ext xmlns:c16="http://schemas.microsoft.com/office/drawing/2014/chart" uri="{C3380CC4-5D6E-409C-BE32-E72D297353CC}">
                <c16:uniqueId val="{00000B31-980B-4B2B-A6BA-FBAB5FE3CDBF}"/>
              </c:ext>
            </c:extLst>
          </c:dPt>
          <c:dPt>
            <c:idx val="1432"/>
            <c:invertIfNegative val="1"/>
            <c:bubble3D val="0"/>
            <c:spPr>
              <a:solidFill>
                <a:srgbClr val="AEABAB"/>
              </a:solidFill>
            </c:spPr>
            <c:extLst>
              <c:ext xmlns:c16="http://schemas.microsoft.com/office/drawing/2014/chart" uri="{C3380CC4-5D6E-409C-BE32-E72D297353CC}">
                <c16:uniqueId val="{00000B33-980B-4B2B-A6BA-FBAB5FE3CDBF}"/>
              </c:ext>
            </c:extLst>
          </c:dPt>
          <c:dPt>
            <c:idx val="1433"/>
            <c:invertIfNegative val="1"/>
            <c:bubble3D val="0"/>
            <c:spPr>
              <a:solidFill>
                <a:srgbClr val="AEABAB"/>
              </a:solidFill>
            </c:spPr>
            <c:extLst>
              <c:ext xmlns:c16="http://schemas.microsoft.com/office/drawing/2014/chart" uri="{C3380CC4-5D6E-409C-BE32-E72D297353CC}">
                <c16:uniqueId val="{00000B35-980B-4B2B-A6BA-FBAB5FE3CDBF}"/>
              </c:ext>
            </c:extLst>
          </c:dPt>
          <c:dPt>
            <c:idx val="1434"/>
            <c:invertIfNegative val="1"/>
            <c:bubble3D val="0"/>
            <c:spPr>
              <a:solidFill>
                <a:srgbClr val="AEABAB"/>
              </a:solidFill>
            </c:spPr>
            <c:extLst>
              <c:ext xmlns:c16="http://schemas.microsoft.com/office/drawing/2014/chart" uri="{C3380CC4-5D6E-409C-BE32-E72D297353CC}">
                <c16:uniqueId val="{00000B37-980B-4B2B-A6BA-FBAB5FE3CDBF}"/>
              </c:ext>
            </c:extLst>
          </c:dPt>
          <c:dPt>
            <c:idx val="1435"/>
            <c:invertIfNegative val="1"/>
            <c:bubble3D val="0"/>
            <c:spPr>
              <a:solidFill>
                <a:srgbClr val="AEABAB"/>
              </a:solidFill>
            </c:spPr>
            <c:extLst>
              <c:ext xmlns:c16="http://schemas.microsoft.com/office/drawing/2014/chart" uri="{C3380CC4-5D6E-409C-BE32-E72D297353CC}">
                <c16:uniqueId val="{00000B39-980B-4B2B-A6BA-FBAB5FE3CDBF}"/>
              </c:ext>
            </c:extLst>
          </c:dPt>
          <c:dPt>
            <c:idx val="1436"/>
            <c:invertIfNegative val="1"/>
            <c:bubble3D val="0"/>
            <c:spPr>
              <a:solidFill>
                <a:srgbClr val="AEABAB"/>
              </a:solidFill>
            </c:spPr>
            <c:extLst>
              <c:ext xmlns:c16="http://schemas.microsoft.com/office/drawing/2014/chart" uri="{C3380CC4-5D6E-409C-BE32-E72D297353CC}">
                <c16:uniqueId val="{00000B3B-980B-4B2B-A6BA-FBAB5FE3CDBF}"/>
              </c:ext>
            </c:extLst>
          </c:dPt>
          <c:dPt>
            <c:idx val="1437"/>
            <c:invertIfNegative val="1"/>
            <c:bubble3D val="0"/>
            <c:spPr>
              <a:solidFill>
                <a:srgbClr val="AEABAB"/>
              </a:solidFill>
            </c:spPr>
            <c:extLst>
              <c:ext xmlns:c16="http://schemas.microsoft.com/office/drawing/2014/chart" uri="{C3380CC4-5D6E-409C-BE32-E72D297353CC}">
                <c16:uniqueId val="{00000B3D-980B-4B2B-A6BA-FBAB5FE3CDBF}"/>
              </c:ext>
            </c:extLst>
          </c:dPt>
          <c:dPt>
            <c:idx val="1438"/>
            <c:invertIfNegative val="1"/>
            <c:bubble3D val="0"/>
            <c:spPr>
              <a:solidFill>
                <a:srgbClr val="AEABAB"/>
              </a:solidFill>
            </c:spPr>
            <c:extLst>
              <c:ext xmlns:c16="http://schemas.microsoft.com/office/drawing/2014/chart" uri="{C3380CC4-5D6E-409C-BE32-E72D297353CC}">
                <c16:uniqueId val="{00000B3F-980B-4B2B-A6BA-FBAB5FE3CDBF}"/>
              </c:ext>
            </c:extLst>
          </c:dPt>
          <c:dPt>
            <c:idx val="1439"/>
            <c:invertIfNegative val="1"/>
            <c:bubble3D val="0"/>
            <c:spPr>
              <a:solidFill>
                <a:srgbClr val="AEABAB"/>
              </a:solidFill>
            </c:spPr>
            <c:extLst>
              <c:ext xmlns:c16="http://schemas.microsoft.com/office/drawing/2014/chart" uri="{C3380CC4-5D6E-409C-BE32-E72D297353CC}">
                <c16:uniqueId val="{00000B41-980B-4B2B-A6BA-FBAB5FE3CDBF}"/>
              </c:ext>
            </c:extLst>
          </c:dPt>
          <c:dPt>
            <c:idx val="1440"/>
            <c:invertIfNegative val="1"/>
            <c:bubble3D val="0"/>
            <c:spPr>
              <a:solidFill>
                <a:srgbClr val="AEABAB"/>
              </a:solidFill>
            </c:spPr>
            <c:extLst>
              <c:ext xmlns:c16="http://schemas.microsoft.com/office/drawing/2014/chart" uri="{C3380CC4-5D6E-409C-BE32-E72D297353CC}">
                <c16:uniqueId val="{00000B43-980B-4B2B-A6BA-FBAB5FE3CDBF}"/>
              </c:ext>
            </c:extLst>
          </c:dPt>
          <c:dPt>
            <c:idx val="1441"/>
            <c:invertIfNegative val="1"/>
            <c:bubble3D val="0"/>
            <c:spPr>
              <a:solidFill>
                <a:srgbClr val="AEABAB"/>
              </a:solidFill>
            </c:spPr>
            <c:extLst>
              <c:ext xmlns:c16="http://schemas.microsoft.com/office/drawing/2014/chart" uri="{C3380CC4-5D6E-409C-BE32-E72D297353CC}">
                <c16:uniqueId val="{00000B45-980B-4B2B-A6BA-FBAB5FE3CDBF}"/>
              </c:ext>
            </c:extLst>
          </c:dPt>
          <c:dPt>
            <c:idx val="1442"/>
            <c:invertIfNegative val="1"/>
            <c:bubble3D val="0"/>
            <c:spPr>
              <a:solidFill>
                <a:srgbClr val="AEABAB"/>
              </a:solidFill>
            </c:spPr>
            <c:extLst>
              <c:ext xmlns:c16="http://schemas.microsoft.com/office/drawing/2014/chart" uri="{C3380CC4-5D6E-409C-BE32-E72D297353CC}">
                <c16:uniqueId val="{00000B47-980B-4B2B-A6BA-FBAB5FE3CDBF}"/>
              </c:ext>
            </c:extLst>
          </c:dPt>
          <c:dPt>
            <c:idx val="1443"/>
            <c:invertIfNegative val="1"/>
            <c:bubble3D val="0"/>
            <c:spPr>
              <a:solidFill>
                <a:srgbClr val="AEABAB"/>
              </a:solidFill>
            </c:spPr>
            <c:extLst>
              <c:ext xmlns:c16="http://schemas.microsoft.com/office/drawing/2014/chart" uri="{C3380CC4-5D6E-409C-BE32-E72D297353CC}">
                <c16:uniqueId val="{00000B49-980B-4B2B-A6BA-FBAB5FE3CDBF}"/>
              </c:ext>
            </c:extLst>
          </c:dPt>
          <c:dPt>
            <c:idx val="1444"/>
            <c:invertIfNegative val="1"/>
            <c:bubble3D val="0"/>
            <c:spPr>
              <a:solidFill>
                <a:srgbClr val="AEABAB"/>
              </a:solidFill>
            </c:spPr>
            <c:extLst>
              <c:ext xmlns:c16="http://schemas.microsoft.com/office/drawing/2014/chart" uri="{C3380CC4-5D6E-409C-BE32-E72D297353CC}">
                <c16:uniqueId val="{00000B4B-980B-4B2B-A6BA-FBAB5FE3CDBF}"/>
              </c:ext>
            </c:extLst>
          </c:dPt>
          <c:dPt>
            <c:idx val="1445"/>
            <c:invertIfNegative val="1"/>
            <c:bubble3D val="0"/>
            <c:spPr>
              <a:solidFill>
                <a:srgbClr val="AEABAB"/>
              </a:solidFill>
            </c:spPr>
            <c:extLst>
              <c:ext xmlns:c16="http://schemas.microsoft.com/office/drawing/2014/chart" uri="{C3380CC4-5D6E-409C-BE32-E72D297353CC}">
                <c16:uniqueId val="{00000B4D-980B-4B2B-A6BA-FBAB5FE3CDBF}"/>
              </c:ext>
            </c:extLst>
          </c:dPt>
          <c:dPt>
            <c:idx val="1446"/>
            <c:invertIfNegative val="1"/>
            <c:bubble3D val="0"/>
            <c:spPr>
              <a:solidFill>
                <a:srgbClr val="AEABAB"/>
              </a:solidFill>
            </c:spPr>
            <c:extLst>
              <c:ext xmlns:c16="http://schemas.microsoft.com/office/drawing/2014/chart" uri="{C3380CC4-5D6E-409C-BE32-E72D297353CC}">
                <c16:uniqueId val="{00000B4F-980B-4B2B-A6BA-FBAB5FE3CDBF}"/>
              </c:ext>
            </c:extLst>
          </c:dPt>
          <c:dPt>
            <c:idx val="1447"/>
            <c:invertIfNegative val="1"/>
            <c:bubble3D val="0"/>
            <c:spPr>
              <a:solidFill>
                <a:srgbClr val="AEABAB"/>
              </a:solidFill>
            </c:spPr>
            <c:extLst>
              <c:ext xmlns:c16="http://schemas.microsoft.com/office/drawing/2014/chart" uri="{C3380CC4-5D6E-409C-BE32-E72D297353CC}">
                <c16:uniqueId val="{00000B51-980B-4B2B-A6BA-FBAB5FE3CDBF}"/>
              </c:ext>
            </c:extLst>
          </c:dPt>
          <c:dPt>
            <c:idx val="1448"/>
            <c:invertIfNegative val="1"/>
            <c:bubble3D val="0"/>
            <c:spPr>
              <a:solidFill>
                <a:srgbClr val="AEABAB"/>
              </a:solidFill>
            </c:spPr>
            <c:extLst>
              <c:ext xmlns:c16="http://schemas.microsoft.com/office/drawing/2014/chart" uri="{C3380CC4-5D6E-409C-BE32-E72D297353CC}">
                <c16:uniqueId val="{00000B53-980B-4B2B-A6BA-FBAB5FE3CDBF}"/>
              </c:ext>
            </c:extLst>
          </c:dPt>
          <c:dPt>
            <c:idx val="1449"/>
            <c:invertIfNegative val="1"/>
            <c:bubble3D val="0"/>
            <c:spPr>
              <a:solidFill>
                <a:srgbClr val="AEABAB"/>
              </a:solidFill>
            </c:spPr>
            <c:extLst>
              <c:ext xmlns:c16="http://schemas.microsoft.com/office/drawing/2014/chart" uri="{C3380CC4-5D6E-409C-BE32-E72D297353CC}">
                <c16:uniqueId val="{00000B55-980B-4B2B-A6BA-FBAB5FE3CDBF}"/>
              </c:ext>
            </c:extLst>
          </c:dPt>
          <c:dPt>
            <c:idx val="1450"/>
            <c:invertIfNegative val="1"/>
            <c:bubble3D val="0"/>
            <c:spPr>
              <a:solidFill>
                <a:srgbClr val="AEABAB"/>
              </a:solidFill>
            </c:spPr>
            <c:extLst>
              <c:ext xmlns:c16="http://schemas.microsoft.com/office/drawing/2014/chart" uri="{C3380CC4-5D6E-409C-BE32-E72D297353CC}">
                <c16:uniqueId val="{00000B57-980B-4B2B-A6BA-FBAB5FE3CDBF}"/>
              </c:ext>
            </c:extLst>
          </c:dPt>
          <c:dPt>
            <c:idx val="1451"/>
            <c:invertIfNegative val="1"/>
            <c:bubble3D val="0"/>
            <c:spPr>
              <a:solidFill>
                <a:srgbClr val="AEABAB"/>
              </a:solidFill>
            </c:spPr>
            <c:extLst>
              <c:ext xmlns:c16="http://schemas.microsoft.com/office/drawing/2014/chart" uri="{C3380CC4-5D6E-409C-BE32-E72D297353CC}">
                <c16:uniqueId val="{00000B59-980B-4B2B-A6BA-FBAB5FE3CDBF}"/>
              </c:ext>
            </c:extLst>
          </c:dPt>
          <c:dPt>
            <c:idx val="1452"/>
            <c:invertIfNegative val="1"/>
            <c:bubble3D val="0"/>
            <c:spPr>
              <a:solidFill>
                <a:srgbClr val="AEABAB"/>
              </a:solidFill>
            </c:spPr>
            <c:extLst>
              <c:ext xmlns:c16="http://schemas.microsoft.com/office/drawing/2014/chart" uri="{C3380CC4-5D6E-409C-BE32-E72D297353CC}">
                <c16:uniqueId val="{00000B5B-980B-4B2B-A6BA-FBAB5FE3CDBF}"/>
              </c:ext>
            </c:extLst>
          </c:dPt>
          <c:dPt>
            <c:idx val="1453"/>
            <c:invertIfNegative val="1"/>
            <c:bubble3D val="0"/>
            <c:spPr>
              <a:solidFill>
                <a:srgbClr val="AEABAB"/>
              </a:solidFill>
            </c:spPr>
            <c:extLst>
              <c:ext xmlns:c16="http://schemas.microsoft.com/office/drawing/2014/chart" uri="{C3380CC4-5D6E-409C-BE32-E72D297353CC}">
                <c16:uniqueId val="{00000B5D-980B-4B2B-A6BA-FBAB5FE3CDBF}"/>
              </c:ext>
            </c:extLst>
          </c:dPt>
          <c:cat>
            <c:strRef>
              <c:f>Sheet1!$A$2:$A$1455</c:f>
              <c:strCache>
                <c:ptCount val="1454"/>
                <c:pt idx="0">
                  <c:v>Private Lab</c:v>
                </c:pt>
                <c:pt idx="1">
                  <c:v>Private Lab</c:v>
                </c:pt>
                <c:pt idx="2">
                  <c:v>Private Lab</c:v>
                </c:pt>
                <c:pt idx="3">
                  <c:v>Private Lab</c:v>
                </c:pt>
                <c:pt idx="4">
                  <c:v>Private Lab</c:v>
                </c:pt>
                <c:pt idx="5">
                  <c:v>Caprice Des</c:v>
                </c:pt>
                <c:pt idx="6">
                  <c:v>Private Lab</c:v>
                </c:pt>
                <c:pt idx="7">
                  <c:v>Private Lab</c:v>
                </c:pt>
                <c:pt idx="8">
                  <c:v>Private Lab</c:v>
                </c:pt>
                <c:pt idx="9">
                  <c:v>Private Lab</c:v>
                </c:pt>
                <c:pt idx="10">
                  <c:v>Private Lab</c:v>
                </c:pt>
                <c:pt idx="11">
                  <c:v>Private Lab</c:v>
                </c:pt>
                <c:pt idx="12">
                  <c:v>Private Lab</c:v>
                </c:pt>
                <c:pt idx="13">
                  <c:v>Private Lab</c:v>
                </c:pt>
                <c:pt idx="14">
                  <c:v>Coeur De Li</c:v>
                </c:pt>
                <c:pt idx="15">
                  <c:v>Private Lab</c:v>
                </c:pt>
                <c:pt idx="16">
                  <c:v>Mini Babybe</c:v>
                </c:pt>
                <c:pt idx="17">
                  <c:v>President</c:v>
                </c:pt>
                <c:pt idx="18">
                  <c:v>Soignon</c:v>
                </c:pt>
                <c:pt idx="19">
                  <c:v>Entremont</c:v>
                </c:pt>
                <c:pt idx="20">
                  <c:v>Private Lab</c:v>
                </c:pt>
                <c:pt idx="21">
                  <c:v>Private Lab</c:v>
                </c:pt>
                <c:pt idx="22">
                  <c:v>Richesmonts</c:v>
                </c:pt>
                <c:pt idx="23">
                  <c:v>Private Lab</c:v>
                </c:pt>
                <c:pt idx="24">
                  <c:v>Chaussee Au</c:v>
                </c:pt>
                <c:pt idx="25">
                  <c:v>Caprice Des</c:v>
                </c:pt>
                <c:pt idx="26">
                  <c:v>President</c:v>
                </c:pt>
                <c:pt idx="27">
                  <c:v>President</c:v>
                </c:pt>
                <c:pt idx="28">
                  <c:v>La Vache Qu</c:v>
                </c:pt>
                <c:pt idx="29">
                  <c:v>President</c:v>
                </c:pt>
                <c:pt idx="30">
                  <c:v>Private Lab</c:v>
                </c:pt>
                <c:pt idx="31">
                  <c:v>Private Lab</c:v>
                </c:pt>
                <c:pt idx="32">
                  <c:v>Entremont</c:v>
                </c:pt>
                <c:pt idx="33">
                  <c:v>President</c:v>
                </c:pt>
                <c:pt idx="34">
                  <c:v>Private Lab</c:v>
                </c:pt>
                <c:pt idx="35">
                  <c:v>Soignon</c:v>
                </c:pt>
                <c:pt idx="36">
                  <c:v>Private Lab</c:v>
                </c:pt>
                <c:pt idx="37">
                  <c:v>Le Rustique</c:v>
                </c:pt>
                <c:pt idx="38">
                  <c:v>Private Lab</c:v>
                </c:pt>
                <c:pt idx="39">
                  <c:v>Private Lab</c:v>
                </c:pt>
                <c:pt idx="40">
                  <c:v>St Moret</c:v>
                </c:pt>
                <c:pt idx="41">
                  <c:v>Private Lab</c:v>
                </c:pt>
                <c:pt idx="42">
                  <c:v>St Moret</c:v>
                </c:pt>
                <c:pt idx="43">
                  <c:v>Private Lab</c:v>
                </c:pt>
                <c:pt idx="44">
                  <c:v>Private Lab</c:v>
                </c:pt>
                <c:pt idx="45">
                  <c:v>President</c:v>
                </c:pt>
                <c:pt idx="46">
                  <c:v>La Vache Qu</c:v>
                </c:pt>
                <c:pt idx="47">
                  <c:v>Leerdammer</c:v>
                </c:pt>
                <c:pt idx="48">
                  <c:v>Private Lab</c:v>
                </c:pt>
                <c:pt idx="49">
                  <c:v>President</c:v>
                </c:pt>
                <c:pt idx="50">
                  <c:v>Private Lab</c:v>
                </c:pt>
                <c:pt idx="51">
                  <c:v>Societe</c:v>
                </c:pt>
                <c:pt idx="52">
                  <c:v>Private Lab</c:v>
                </c:pt>
                <c:pt idx="53">
                  <c:v>Private Lab</c:v>
                </c:pt>
                <c:pt idx="54">
                  <c:v>Private Lab</c:v>
                </c:pt>
                <c:pt idx="55">
                  <c:v>President</c:v>
                </c:pt>
                <c:pt idx="56">
                  <c:v>Private Lab</c:v>
                </c:pt>
                <c:pt idx="57">
                  <c:v>Private Lab</c:v>
                </c:pt>
                <c:pt idx="58">
                  <c:v>Chaussee Au</c:v>
                </c:pt>
                <c:pt idx="59">
                  <c:v>St Moret</c:v>
                </c:pt>
                <c:pt idx="60">
                  <c:v>Saint Agur</c:v>
                </c:pt>
                <c:pt idx="61">
                  <c:v>Private Lab</c:v>
                </c:pt>
                <c:pt idx="62">
                  <c:v>Tartare</c:v>
                </c:pt>
                <c:pt idx="63">
                  <c:v>Private Lab</c:v>
                </c:pt>
                <c:pt idx="64">
                  <c:v>Private Lab</c:v>
                </c:pt>
                <c:pt idx="65">
                  <c:v>Galbani</c:v>
                </c:pt>
                <c:pt idx="66">
                  <c:v>Mini Babybe</c:v>
                </c:pt>
                <c:pt idx="67">
                  <c:v>Private Lab</c:v>
                </c:pt>
                <c:pt idx="68">
                  <c:v>La Vache Qu</c:v>
                </c:pt>
                <c:pt idx="69">
                  <c:v>Leerdammer</c:v>
                </c:pt>
                <c:pt idx="70">
                  <c:v>Coeur De Li</c:v>
                </c:pt>
                <c:pt idx="71">
                  <c:v>Entremont</c:v>
                </c:pt>
                <c:pt idx="72">
                  <c:v>Private Lab</c:v>
                </c:pt>
                <c:pt idx="73">
                  <c:v>Entremont</c:v>
                </c:pt>
                <c:pt idx="74">
                  <c:v>St Moret</c:v>
                </c:pt>
                <c:pt idx="75">
                  <c:v>Private Lab</c:v>
                </c:pt>
                <c:pt idx="76">
                  <c:v>Entremont</c:v>
                </c:pt>
                <c:pt idx="77">
                  <c:v>Soignon</c:v>
                </c:pt>
                <c:pt idx="78">
                  <c:v>Leerdammer</c:v>
                </c:pt>
                <c:pt idx="79">
                  <c:v>Private Lab</c:v>
                </c:pt>
                <c:pt idx="80">
                  <c:v>President</c:v>
                </c:pt>
                <c:pt idx="81">
                  <c:v>Entremont</c:v>
                </c:pt>
                <c:pt idx="82">
                  <c:v>Salakis</c:v>
                </c:pt>
                <c:pt idx="83">
                  <c:v>Entremont</c:v>
                </c:pt>
                <c:pt idx="84">
                  <c:v>Kiri</c:v>
                </c:pt>
                <c:pt idx="85">
                  <c:v>Private Lab</c:v>
                </c:pt>
                <c:pt idx="86">
                  <c:v>Private Lab</c:v>
                </c:pt>
                <c:pt idx="87">
                  <c:v>All Others</c:v>
                </c:pt>
                <c:pt idx="88">
                  <c:v>Private Lab</c:v>
                </c:pt>
                <c:pt idx="89">
                  <c:v>Private Lab</c:v>
                </c:pt>
                <c:pt idx="90">
                  <c:v>Bresse Bleu</c:v>
                </c:pt>
                <c:pt idx="91">
                  <c:v>Private Lab</c:v>
                </c:pt>
                <c:pt idx="92">
                  <c:v>Juraflore</c:v>
                </c:pt>
                <c:pt idx="93">
                  <c:v>Private Lab</c:v>
                </c:pt>
                <c:pt idx="94">
                  <c:v>Private Lab</c:v>
                </c:pt>
                <c:pt idx="95">
                  <c:v>Private Lab</c:v>
                </c:pt>
                <c:pt idx="96">
                  <c:v>Apericube</c:v>
                </c:pt>
                <c:pt idx="97">
                  <c:v>Private Lab</c:v>
                </c:pt>
                <c:pt idx="98">
                  <c:v>President</c:v>
                </c:pt>
                <c:pt idx="99">
                  <c:v>President</c:v>
                </c:pt>
                <c:pt idx="100">
                  <c:v>Kiri</c:v>
                </c:pt>
                <c:pt idx="101">
                  <c:v>Saint Agur</c:v>
                </c:pt>
                <c:pt idx="102">
                  <c:v>Saint Albra</c:v>
                </c:pt>
                <c:pt idx="103">
                  <c:v>Private Lab</c:v>
                </c:pt>
                <c:pt idx="104">
                  <c:v>Private Lab</c:v>
                </c:pt>
                <c:pt idx="105">
                  <c:v>Entremont</c:v>
                </c:pt>
                <c:pt idx="106">
                  <c:v>Galbani</c:v>
                </c:pt>
                <c:pt idx="107">
                  <c:v>Private Lab</c:v>
                </c:pt>
                <c:pt idx="108">
                  <c:v>L'Ortolan</c:v>
                </c:pt>
                <c:pt idx="109">
                  <c:v>President</c:v>
                </c:pt>
                <c:pt idx="110">
                  <c:v>Private Lab</c:v>
                </c:pt>
                <c:pt idx="111">
                  <c:v>Private Lab</c:v>
                </c:pt>
                <c:pt idx="112">
                  <c:v>Apericube</c:v>
                </c:pt>
                <c:pt idx="113">
                  <c:v>Private Lab</c:v>
                </c:pt>
                <c:pt idx="114">
                  <c:v>Galbani</c:v>
                </c:pt>
                <c:pt idx="115">
                  <c:v>Private Lab</c:v>
                </c:pt>
                <c:pt idx="116">
                  <c:v>Private Lab</c:v>
                </c:pt>
                <c:pt idx="117">
                  <c:v>Leerdammer</c:v>
                </c:pt>
                <c:pt idx="118">
                  <c:v>Richesmonts</c:v>
                </c:pt>
                <c:pt idx="119">
                  <c:v>Private Lab</c:v>
                </c:pt>
                <c:pt idx="120">
                  <c:v>Private Lab</c:v>
                </c:pt>
                <c:pt idx="121">
                  <c:v>Paysan Bret</c:v>
                </c:pt>
                <c:pt idx="122">
                  <c:v>Istara</c:v>
                </c:pt>
                <c:pt idx="123">
                  <c:v>Private Lab</c:v>
                </c:pt>
                <c:pt idx="124">
                  <c:v>Richesmonts</c:v>
                </c:pt>
                <c:pt idx="125">
                  <c:v>Parmareggio</c:v>
                </c:pt>
                <c:pt idx="126">
                  <c:v>Paysan Bret</c:v>
                </c:pt>
                <c:pt idx="127">
                  <c:v>Private Lab</c:v>
                </c:pt>
                <c:pt idx="128">
                  <c:v>Apericube</c:v>
                </c:pt>
                <c:pt idx="129">
                  <c:v>Private Lab</c:v>
                </c:pt>
                <c:pt idx="130">
                  <c:v>Private Lab</c:v>
                </c:pt>
                <c:pt idx="131">
                  <c:v>Saint Albra</c:v>
                </c:pt>
                <c:pt idx="132">
                  <c:v>Pochat</c:v>
                </c:pt>
                <c:pt idx="133">
                  <c:v>Tartare</c:v>
                </c:pt>
                <c:pt idx="134">
                  <c:v>Ficello</c:v>
                </c:pt>
                <c:pt idx="135">
                  <c:v>L'Ortolan</c:v>
                </c:pt>
                <c:pt idx="136">
                  <c:v>Leerdammer</c:v>
                </c:pt>
                <c:pt idx="137">
                  <c:v>Boursin</c:v>
                </c:pt>
                <c:pt idx="138">
                  <c:v>Private Lab</c:v>
                </c:pt>
                <c:pt idx="139">
                  <c:v>President</c:v>
                </c:pt>
                <c:pt idx="140">
                  <c:v>Entremont</c:v>
                </c:pt>
                <c:pt idx="141">
                  <c:v>Boursin</c:v>
                </c:pt>
                <c:pt idx="142">
                  <c:v>Private Lab</c:v>
                </c:pt>
                <c:pt idx="143">
                  <c:v>Casa Azzurr</c:v>
                </c:pt>
                <c:pt idx="144">
                  <c:v>Kiri</c:v>
                </c:pt>
                <c:pt idx="145">
                  <c:v>Lou Perac</c:v>
                </c:pt>
                <c:pt idx="146">
                  <c:v>Leerdammer</c:v>
                </c:pt>
                <c:pt idx="147">
                  <c:v>Galbani</c:v>
                </c:pt>
                <c:pt idx="148">
                  <c:v>Private Lab</c:v>
                </c:pt>
                <c:pt idx="149">
                  <c:v>Private Lab</c:v>
                </c:pt>
                <c:pt idx="150">
                  <c:v>President</c:v>
                </c:pt>
                <c:pt idx="151">
                  <c:v>All Others</c:v>
                </c:pt>
                <c:pt idx="152">
                  <c:v>President</c:v>
                </c:pt>
                <c:pt idx="153">
                  <c:v>Private Lab</c:v>
                </c:pt>
                <c:pt idx="154">
                  <c:v>Private Lab</c:v>
                </c:pt>
                <c:pt idx="155">
                  <c:v>St Moret</c:v>
                </c:pt>
                <c:pt idx="156">
                  <c:v>Caprice Des</c:v>
                </c:pt>
                <c:pt idx="157">
                  <c:v>Lepetit</c:v>
                </c:pt>
                <c:pt idx="158">
                  <c:v>Carre Frais</c:v>
                </c:pt>
                <c:pt idx="159">
                  <c:v>Galbani</c:v>
                </c:pt>
                <c:pt idx="160">
                  <c:v>Apericube</c:v>
                </c:pt>
                <c:pt idx="161">
                  <c:v>Galbani</c:v>
                </c:pt>
                <c:pt idx="162">
                  <c:v>Kiri</c:v>
                </c:pt>
                <c:pt idx="163">
                  <c:v>Entremont</c:v>
                </c:pt>
                <c:pt idx="164">
                  <c:v>Islos</c:v>
                </c:pt>
                <c:pt idx="165">
                  <c:v>Boursin</c:v>
                </c:pt>
                <c:pt idx="166">
                  <c:v>Private Lab</c:v>
                </c:pt>
                <c:pt idx="167">
                  <c:v>Private Lab</c:v>
                </c:pt>
                <c:pt idx="168">
                  <c:v>Coeur De Li</c:v>
                </c:pt>
                <c:pt idx="169">
                  <c:v>Private Lab</c:v>
                </c:pt>
                <c:pt idx="170">
                  <c:v>President</c:v>
                </c:pt>
                <c:pt idx="171">
                  <c:v>Salakis</c:v>
                </c:pt>
                <c:pt idx="172">
                  <c:v>President</c:v>
                </c:pt>
                <c:pt idx="173">
                  <c:v>Port Salut</c:v>
                </c:pt>
                <c:pt idx="174">
                  <c:v>Leerdammer</c:v>
                </c:pt>
                <c:pt idx="175">
                  <c:v>Entremont</c:v>
                </c:pt>
                <c:pt idx="176">
                  <c:v>Private Lab</c:v>
                </c:pt>
                <c:pt idx="177">
                  <c:v>President</c:v>
                </c:pt>
                <c:pt idx="178">
                  <c:v>Carre Frais</c:v>
                </c:pt>
                <c:pt idx="179">
                  <c:v>Richesmonts</c:v>
                </c:pt>
                <c:pt idx="180">
                  <c:v>Boursin</c:v>
                </c:pt>
                <c:pt idx="181">
                  <c:v>Private Lab</c:v>
                </c:pt>
                <c:pt idx="182">
                  <c:v>Entremont</c:v>
                </c:pt>
                <c:pt idx="183">
                  <c:v>Private Lab</c:v>
                </c:pt>
                <c:pt idx="184">
                  <c:v>Entremont</c:v>
                </c:pt>
                <c:pt idx="185">
                  <c:v>Apericube</c:v>
                </c:pt>
                <c:pt idx="186">
                  <c:v>Philadelphi</c:v>
                </c:pt>
                <c:pt idx="187">
                  <c:v>Soignon</c:v>
                </c:pt>
                <c:pt idx="188">
                  <c:v>Private Lab</c:v>
                </c:pt>
                <c:pt idx="189">
                  <c:v>Private Lab</c:v>
                </c:pt>
                <c:pt idx="190">
                  <c:v>Coeur De Li</c:v>
                </c:pt>
                <c:pt idx="191">
                  <c:v>Coeur De Li</c:v>
                </c:pt>
                <c:pt idx="192">
                  <c:v>All Others</c:v>
                </c:pt>
                <c:pt idx="193">
                  <c:v>Galbani</c:v>
                </c:pt>
                <c:pt idx="194">
                  <c:v>President</c:v>
                </c:pt>
                <c:pt idx="195">
                  <c:v>Galbani</c:v>
                </c:pt>
                <c:pt idx="196">
                  <c:v>St Moret</c:v>
                </c:pt>
                <c:pt idx="197">
                  <c:v>Private Lab</c:v>
                </c:pt>
                <c:pt idx="198">
                  <c:v>President</c:v>
                </c:pt>
                <c:pt idx="199">
                  <c:v>President</c:v>
                </c:pt>
                <c:pt idx="200">
                  <c:v>Private Lab</c:v>
                </c:pt>
                <c:pt idx="201">
                  <c:v>Pave D'Affi</c:v>
                </c:pt>
                <c:pt idx="202">
                  <c:v>Private Lab</c:v>
                </c:pt>
                <c:pt idx="203">
                  <c:v>Richesmonts</c:v>
                </c:pt>
                <c:pt idx="204">
                  <c:v>Mini Babybe</c:v>
                </c:pt>
                <c:pt idx="205">
                  <c:v>Societe</c:v>
                </c:pt>
                <c:pt idx="206">
                  <c:v>Kiri</c:v>
                </c:pt>
                <c:pt idx="207">
                  <c:v>Le Rustique</c:v>
                </c:pt>
                <c:pt idx="208">
                  <c:v>Private Lab</c:v>
                </c:pt>
                <c:pt idx="209">
                  <c:v>Istara</c:v>
                </c:pt>
                <c:pt idx="210">
                  <c:v>Vieux Pane</c:v>
                </c:pt>
                <c:pt idx="211">
                  <c:v>President</c:v>
                </c:pt>
                <c:pt idx="212">
                  <c:v>Private Lab</c:v>
                </c:pt>
                <c:pt idx="213">
                  <c:v>Private Lab</c:v>
                </c:pt>
                <c:pt idx="214">
                  <c:v>Saint Agur</c:v>
                </c:pt>
                <c:pt idx="215">
                  <c:v>Petit Billy</c:v>
                </c:pt>
                <c:pt idx="216">
                  <c:v>Apericube</c:v>
                </c:pt>
                <c:pt idx="217">
                  <c:v>Entremont</c:v>
                </c:pt>
                <c:pt idx="218">
                  <c:v>Private Lab</c:v>
                </c:pt>
                <c:pt idx="219">
                  <c:v>Private Lab</c:v>
                </c:pt>
                <c:pt idx="220">
                  <c:v>Private Lab</c:v>
                </c:pt>
                <c:pt idx="221">
                  <c:v>Private Lab</c:v>
                </c:pt>
                <c:pt idx="222">
                  <c:v>Private Lab</c:v>
                </c:pt>
                <c:pt idx="223">
                  <c:v>Private Lab</c:v>
                </c:pt>
                <c:pt idx="224">
                  <c:v>Private Lab</c:v>
                </c:pt>
                <c:pt idx="225">
                  <c:v>Private Lab</c:v>
                </c:pt>
                <c:pt idx="226">
                  <c:v>All Others</c:v>
                </c:pt>
                <c:pt idx="227">
                  <c:v>President</c:v>
                </c:pt>
                <c:pt idx="228">
                  <c:v>Saint Agur</c:v>
                </c:pt>
                <c:pt idx="229">
                  <c:v>Private Lab</c:v>
                </c:pt>
                <c:pt idx="230">
                  <c:v>Apericube</c:v>
                </c:pt>
                <c:pt idx="231">
                  <c:v>Private Lab</c:v>
                </c:pt>
                <c:pt idx="232">
                  <c:v>Babybel</c:v>
                </c:pt>
                <c:pt idx="233">
                  <c:v>President</c:v>
                </c:pt>
                <c:pt idx="234">
                  <c:v>Le Rustique</c:v>
                </c:pt>
                <c:pt idx="235">
                  <c:v>Pochat</c:v>
                </c:pt>
                <c:pt idx="236">
                  <c:v>Private Lab</c:v>
                </c:pt>
                <c:pt idx="237">
                  <c:v>Aperivrais</c:v>
                </c:pt>
                <c:pt idx="238">
                  <c:v>Entremont</c:v>
                </c:pt>
                <c:pt idx="239">
                  <c:v>Private Lab</c:v>
                </c:pt>
                <c:pt idx="240">
                  <c:v>Cousteron</c:v>
                </c:pt>
                <c:pt idx="241">
                  <c:v>Private Lab</c:v>
                </c:pt>
                <c:pt idx="242">
                  <c:v>Soignon</c:v>
                </c:pt>
                <c:pt idx="243">
                  <c:v>Private Lab</c:v>
                </c:pt>
                <c:pt idx="244">
                  <c:v>Private Lab</c:v>
                </c:pt>
                <c:pt idx="245">
                  <c:v>Private Lab</c:v>
                </c:pt>
                <c:pt idx="246">
                  <c:v>Ficello</c:v>
                </c:pt>
                <c:pt idx="247">
                  <c:v>Saint Agur</c:v>
                </c:pt>
                <c:pt idx="248">
                  <c:v>Soignon</c:v>
                </c:pt>
                <c:pt idx="249">
                  <c:v>Apericube</c:v>
                </c:pt>
                <c:pt idx="250">
                  <c:v>Private Lab</c:v>
                </c:pt>
                <c:pt idx="251">
                  <c:v>Private Lab</c:v>
                </c:pt>
                <c:pt idx="252">
                  <c:v>Etorki</c:v>
                </c:pt>
                <c:pt idx="253">
                  <c:v>Philadelphi</c:v>
                </c:pt>
                <c:pt idx="254">
                  <c:v>Private Lab</c:v>
                </c:pt>
                <c:pt idx="255">
                  <c:v>Private Lab</c:v>
                </c:pt>
                <c:pt idx="256">
                  <c:v>Private Lab</c:v>
                </c:pt>
                <c:pt idx="257">
                  <c:v>Soignon</c:v>
                </c:pt>
                <c:pt idx="258">
                  <c:v>Private Lab</c:v>
                </c:pt>
                <c:pt idx="259">
                  <c:v>Societe</c:v>
                </c:pt>
                <c:pt idx="260">
                  <c:v>Private Lab</c:v>
                </c:pt>
                <c:pt idx="261">
                  <c:v>Private Lab</c:v>
                </c:pt>
                <c:pt idx="262">
                  <c:v>All Others</c:v>
                </c:pt>
                <c:pt idx="263">
                  <c:v>Richesmonts</c:v>
                </c:pt>
                <c:pt idx="264">
                  <c:v>Casa Azzurr</c:v>
                </c:pt>
                <c:pt idx="265">
                  <c:v>All Others</c:v>
                </c:pt>
                <c:pt idx="266">
                  <c:v>St Moret</c:v>
                </c:pt>
                <c:pt idx="267">
                  <c:v>Lactalis: A</c:v>
                </c:pt>
                <c:pt idx="268">
                  <c:v>Societe</c:v>
                </c:pt>
                <c:pt idx="269">
                  <c:v>Private Lab</c:v>
                </c:pt>
                <c:pt idx="270">
                  <c:v>Private Lab</c:v>
                </c:pt>
                <c:pt idx="271">
                  <c:v>Private Lab</c:v>
                </c:pt>
                <c:pt idx="272">
                  <c:v>Leerdammer</c:v>
                </c:pt>
                <c:pt idx="273">
                  <c:v>Private Lab</c:v>
                </c:pt>
                <c:pt idx="274">
                  <c:v>Private Lab</c:v>
                </c:pt>
                <c:pt idx="275">
                  <c:v>Tartare</c:v>
                </c:pt>
                <c:pt idx="276">
                  <c:v>Private Lab</c:v>
                </c:pt>
                <c:pt idx="277">
                  <c:v>Private Lab</c:v>
                </c:pt>
                <c:pt idx="278">
                  <c:v>Boursin</c:v>
                </c:pt>
                <c:pt idx="279">
                  <c:v>Private Lab</c:v>
                </c:pt>
                <c:pt idx="280">
                  <c:v>Private Lab</c:v>
                </c:pt>
                <c:pt idx="281">
                  <c:v>President</c:v>
                </c:pt>
                <c:pt idx="282">
                  <c:v>All Others</c:v>
                </c:pt>
                <c:pt idx="283">
                  <c:v>Richesmonts</c:v>
                </c:pt>
                <c:pt idx="284">
                  <c:v>Caprice Des</c:v>
                </c:pt>
                <c:pt idx="285">
                  <c:v>Private Lab</c:v>
                </c:pt>
                <c:pt idx="286">
                  <c:v>Coeur De Li</c:v>
                </c:pt>
                <c:pt idx="287">
                  <c:v>Casa Azzurr</c:v>
                </c:pt>
                <c:pt idx="288">
                  <c:v>Apericube</c:v>
                </c:pt>
                <c:pt idx="289">
                  <c:v>Private Lab</c:v>
                </c:pt>
                <c:pt idx="290">
                  <c:v>All Others</c:v>
                </c:pt>
                <c:pt idx="291">
                  <c:v>La Vache Qu</c:v>
                </c:pt>
                <c:pt idx="292">
                  <c:v>Soignon</c:v>
                </c:pt>
                <c:pt idx="293">
                  <c:v>Parmareggio</c:v>
                </c:pt>
                <c:pt idx="294">
                  <c:v>Private Lab</c:v>
                </c:pt>
                <c:pt idx="295">
                  <c:v>La Vache Qu</c:v>
                </c:pt>
                <c:pt idx="296">
                  <c:v>P'Tit Louis</c:v>
                </c:pt>
                <c:pt idx="297">
                  <c:v>Private Lab</c:v>
                </c:pt>
                <c:pt idx="298">
                  <c:v>Entremont</c:v>
                </c:pt>
                <c:pt idx="299">
                  <c:v>All Others</c:v>
                </c:pt>
                <c:pt idx="300">
                  <c:v>Pave D'Affi</c:v>
                </c:pt>
                <c:pt idx="301">
                  <c:v>Casa Azzurr</c:v>
                </c:pt>
                <c:pt idx="302">
                  <c:v>Fol Epi</c:v>
                </c:pt>
                <c:pt idx="303">
                  <c:v>Ficello</c:v>
                </c:pt>
                <c:pt idx="304">
                  <c:v>All Others</c:v>
                </c:pt>
                <c:pt idx="305">
                  <c:v>Leerdammer</c:v>
                </c:pt>
                <c:pt idx="306">
                  <c:v>Private Lab</c:v>
                </c:pt>
                <c:pt idx="307">
                  <c:v>Private Lab</c:v>
                </c:pt>
                <c:pt idx="308">
                  <c:v>Soignon</c:v>
                </c:pt>
                <c:pt idx="309">
                  <c:v>Chavroux</c:v>
                </c:pt>
                <c:pt idx="310">
                  <c:v>Private Lab</c:v>
                </c:pt>
                <c:pt idx="311">
                  <c:v>Private Lab</c:v>
                </c:pt>
                <c:pt idx="312">
                  <c:v>Private Lab</c:v>
                </c:pt>
                <c:pt idx="313">
                  <c:v>Paysan Bret</c:v>
                </c:pt>
                <c:pt idx="314">
                  <c:v>President</c:v>
                </c:pt>
                <c:pt idx="315">
                  <c:v>Richesmonts</c:v>
                </c:pt>
                <c:pt idx="316">
                  <c:v>President</c:v>
                </c:pt>
                <c:pt idx="317">
                  <c:v>Lactalis: A</c:v>
                </c:pt>
                <c:pt idx="318">
                  <c:v>Boursin</c:v>
                </c:pt>
                <c:pt idx="319">
                  <c:v>Bresse Bleu</c:v>
                </c:pt>
                <c:pt idx="320">
                  <c:v>All Others</c:v>
                </c:pt>
                <c:pt idx="321">
                  <c:v>Le Brebiou</c:v>
                </c:pt>
                <c:pt idx="322">
                  <c:v>Private Lab</c:v>
                </c:pt>
                <c:pt idx="323">
                  <c:v>Private Lab</c:v>
                </c:pt>
                <c:pt idx="324">
                  <c:v>St Moret</c:v>
                </c:pt>
                <c:pt idx="325">
                  <c:v>Boursin</c:v>
                </c:pt>
                <c:pt idx="326">
                  <c:v>Galbani</c:v>
                </c:pt>
                <c:pt idx="327">
                  <c:v>Private Lab</c:v>
                </c:pt>
                <c:pt idx="328">
                  <c:v>Apericube</c:v>
                </c:pt>
                <c:pt idx="329">
                  <c:v>Savencia: A</c:v>
                </c:pt>
                <c:pt idx="330">
                  <c:v>Private Lab</c:v>
                </c:pt>
                <c:pt idx="331">
                  <c:v>Private Lab</c:v>
                </c:pt>
                <c:pt idx="332">
                  <c:v>Soignon</c:v>
                </c:pt>
                <c:pt idx="333">
                  <c:v>Boursin</c:v>
                </c:pt>
                <c:pt idx="334">
                  <c:v>Savencia: A</c:v>
                </c:pt>
                <c:pt idx="335">
                  <c:v>Private Lab</c:v>
                </c:pt>
                <c:pt idx="336">
                  <c:v>Salakis</c:v>
                </c:pt>
                <c:pt idx="337">
                  <c:v>Private Lab</c:v>
                </c:pt>
                <c:pt idx="338">
                  <c:v>Casa Azzurr</c:v>
                </c:pt>
                <c:pt idx="339">
                  <c:v>Pave D'Affi</c:v>
                </c:pt>
                <c:pt idx="340">
                  <c:v>Private Lab</c:v>
                </c:pt>
                <c:pt idx="341">
                  <c:v>Soignon</c:v>
                </c:pt>
                <c:pt idx="342">
                  <c:v>President</c:v>
                </c:pt>
                <c:pt idx="343">
                  <c:v>Entremont</c:v>
                </c:pt>
                <c:pt idx="344">
                  <c:v>Le Rustique</c:v>
                </c:pt>
                <c:pt idx="345">
                  <c:v>Aperivrais</c:v>
                </c:pt>
                <c:pt idx="346">
                  <c:v>Milleret: A</c:v>
                </c:pt>
                <c:pt idx="347">
                  <c:v>Boursin</c:v>
                </c:pt>
                <c:pt idx="348">
                  <c:v>Galbani</c:v>
                </c:pt>
                <c:pt idx="349">
                  <c:v>Aperivrais</c:v>
                </c:pt>
                <c:pt idx="350">
                  <c:v>Private Lab</c:v>
                </c:pt>
                <c:pt idx="351">
                  <c:v>Private Lab</c:v>
                </c:pt>
                <c:pt idx="352">
                  <c:v>Paysan Bret</c:v>
                </c:pt>
                <c:pt idx="353">
                  <c:v>All Others</c:v>
                </c:pt>
                <c:pt idx="354">
                  <c:v>Soignon</c:v>
                </c:pt>
                <c:pt idx="355">
                  <c:v>Private Lab</c:v>
                </c:pt>
                <c:pt idx="356">
                  <c:v>Private Lab</c:v>
                </c:pt>
                <c:pt idx="357">
                  <c:v>Paysan Bret</c:v>
                </c:pt>
                <c:pt idx="358">
                  <c:v>All Others</c:v>
                </c:pt>
                <c:pt idx="359">
                  <c:v>Casa Azzurr</c:v>
                </c:pt>
                <c:pt idx="360">
                  <c:v>Private Lab</c:v>
                </c:pt>
                <c:pt idx="361">
                  <c:v>Private Lab</c:v>
                </c:pt>
                <c:pt idx="362">
                  <c:v>Private Lab</c:v>
                </c:pt>
                <c:pt idx="363">
                  <c:v>President</c:v>
                </c:pt>
                <c:pt idx="364">
                  <c:v>All Others</c:v>
                </c:pt>
                <c:pt idx="365">
                  <c:v>Salakis</c:v>
                </c:pt>
                <c:pt idx="366">
                  <c:v>Private Lab</c:v>
                </c:pt>
                <c:pt idx="367">
                  <c:v>Casa Azzurr</c:v>
                </c:pt>
                <c:pt idx="368">
                  <c:v>Savencia: A</c:v>
                </c:pt>
                <c:pt idx="369">
                  <c:v>Private Lab</c:v>
                </c:pt>
                <c:pt idx="370">
                  <c:v>Les Mousque</c:v>
                </c:pt>
                <c:pt idx="371">
                  <c:v>Galbani</c:v>
                </c:pt>
                <c:pt idx="372">
                  <c:v>Fauquet</c:v>
                </c:pt>
                <c:pt idx="373">
                  <c:v>Private Lab</c:v>
                </c:pt>
                <c:pt idx="374">
                  <c:v>La Vache Qu</c:v>
                </c:pt>
                <c:pt idx="375">
                  <c:v>Societe</c:v>
                </c:pt>
                <c:pt idx="376">
                  <c:v>Entremont</c:v>
                </c:pt>
                <c:pt idx="377">
                  <c:v>Carre Frais</c:v>
                </c:pt>
                <c:pt idx="378">
                  <c:v>Private Lab</c:v>
                </c:pt>
                <c:pt idx="379">
                  <c:v>Galbani</c:v>
                </c:pt>
                <c:pt idx="380">
                  <c:v>Private Lab</c:v>
                </c:pt>
                <c:pt idx="381">
                  <c:v>Private Lab</c:v>
                </c:pt>
                <c:pt idx="382">
                  <c:v>Soignon</c:v>
                </c:pt>
                <c:pt idx="383">
                  <c:v>Paysan Bret</c:v>
                </c:pt>
                <c:pt idx="384">
                  <c:v>Private Lab</c:v>
                </c:pt>
                <c:pt idx="385">
                  <c:v>Private Lab</c:v>
                </c:pt>
                <c:pt idx="386">
                  <c:v>Lou Perac</c:v>
                </c:pt>
                <c:pt idx="387">
                  <c:v>Tartare</c:v>
                </c:pt>
                <c:pt idx="388">
                  <c:v>Richesmonts</c:v>
                </c:pt>
                <c:pt idx="389">
                  <c:v>Boursin</c:v>
                </c:pt>
                <c:pt idx="390">
                  <c:v>Private Lab</c:v>
                </c:pt>
                <c:pt idx="391">
                  <c:v>Societe</c:v>
                </c:pt>
                <c:pt idx="392">
                  <c:v>Casa Azzurr</c:v>
                </c:pt>
                <c:pt idx="393">
                  <c:v>L'Ortolan</c:v>
                </c:pt>
                <c:pt idx="394">
                  <c:v>Pave D'Affi</c:v>
                </c:pt>
                <c:pt idx="395">
                  <c:v>Chavroux</c:v>
                </c:pt>
                <c:pt idx="396">
                  <c:v>Galbani</c:v>
                </c:pt>
                <c:pt idx="397">
                  <c:v>Galbani</c:v>
                </c:pt>
                <c:pt idx="398">
                  <c:v>Lactalis: A</c:v>
                </c:pt>
                <c:pt idx="399">
                  <c:v>Private Lab</c:v>
                </c:pt>
                <c:pt idx="400">
                  <c:v>Galbani</c:v>
                </c:pt>
                <c:pt idx="401">
                  <c:v>Private Lab</c:v>
                </c:pt>
                <c:pt idx="402">
                  <c:v>Private Lab</c:v>
                </c:pt>
                <c:pt idx="403">
                  <c:v>Entremont</c:v>
                </c:pt>
                <c:pt idx="404">
                  <c:v>All Others</c:v>
                </c:pt>
                <c:pt idx="405">
                  <c:v>All Others</c:v>
                </c:pt>
                <c:pt idx="406">
                  <c:v>Private Lab</c:v>
                </c:pt>
                <c:pt idx="407">
                  <c:v>Private Lab</c:v>
                </c:pt>
                <c:pt idx="408">
                  <c:v>Eurial Autr</c:v>
                </c:pt>
                <c:pt idx="409">
                  <c:v>Private Lab</c:v>
                </c:pt>
                <c:pt idx="410">
                  <c:v>Caprice Des</c:v>
                </c:pt>
                <c:pt idx="411">
                  <c:v>All Others</c:v>
                </c:pt>
                <c:pt idx="412">
                  <c:v>Private Lab</c:v>
                </c:pt>
                <c:pt idx="413">
                  <c:v>Private Lab</c:v>
                </c:pt>
                <c:pt idx="414">
                  <c:v>Boursin</c:v>
                </c:pt>
                <c:pt idx="415">
                  <c:v>Private Lab</c:v>
                </c:pt>
                <c:pt idx="416">
                  <c:v>Private Lab</c:v>
                </c:pt>
                <c:pt idx="417">
                  <c:v>Private Lab</c:v>
                </c:pt>
                <c:pt idx="418">
                  <c:v>Private Lab</c:v>
                </c:pt>
                <c:pt idx="419">
                  <c:v>Private Lab</c:v>
                </c:pt>
                <c:pt idx="420">
                  <c:v>President</c:v>
                </c:pt>
                <c:pt idx="421">
                  <c:v>Boursin</c:v>
                </c:pt>
                <c:pt idx="422">
                  <c:v>Paysan Bret</c:v>
                </c:pt>
                <c:pt idx="423">
                  <c:v>Casa Azzurr</c:v>
                </c:pt>
                <c:pt idx="424">
                  <c:v>All Others</c:v>
                </c:pt>
                <c:pt idx="425">
                  <c:v>Boursin</c:v>
                </c:pt>
                <c:pt idx="426">
                  <c:v>Boursin</c:v>
                </c:pt>
                <c:pt idx="427">
                  <c:v>Societe</c:v>
                </c:pt>
                <c:pt idx="428">
                  <c:v>All Others</c:v>
                </c:pt>
                <c:pt idx="429">
                  <c:v>Private Lab</c:v>
                </c:pt>
                <c:pt idx="430">
                  <c:v>Casa Azzurr</c:v>
                </c:pt>
                <c:pt idx="431">
                  <c:v>Richesmonts</c:v>
                </c:pt>
                <c:pt idx="432">
                  <c:v>Mini Babybe</c:v>
                </c:pt>
                <c:pt idx="433">
                  <c:v>Private Lab</c:v>
                </c:pt>
                <c:pt idx="434">
                  <c:v>St Moret</c:v>
                </c:pt>
                <c:pt idx="435">
                  <c:v>President</c:v>
                </c:pt>
                <c:pt idx="436">
                  <c:v>Leerdammer</c:v>
                </c:pt>
                <c:pt idx="437">
                  <c:v>Private Lab</c:v>
                </c:pt>
                <c:pt idx="438">
                  <c:v>Private Lab</c:v>
                </c:pt>
                <c:pt idx="439">
                  <c:v>All Others</c:v>
                </c:pt>
                <c:pt idx="440">
                  <c:v>Tartare</c:v>
                </c:pt>
                <c:pt idx="441">
                  <c:v>Private Lab</c:v>
                </c:pt>
                <c:pt idx="442">
                  <c:v>Les Mousque</c:v>
                </c:pt>
                <c:pt idx="443">
                  <c:v>Savencia: A</c:v>
                </c:pt>
                <c:pt idx="444">
                  <c:v>Richesmonts</c:v>
                </c:pt>
                <c:pt idx="445">
                  <c:v>St Moret</c:v>
                </c:pt>
                <c:pt idx="446">
                  <c:v>La Belle Et</c:v>
                </c:pt>
                <c:pt idx="447">
                  <c:v>Mini Babybe</c:v>
                </c:pt>
                <c:pt idx="448">
                  <c:v>Salakis</c:v>
                </c:pt>
                <c:pt idx="449">
                  <c:v>Juraflore</c:v>
                </c:pt>
                <c:pt idx="450">
                  <c:v>Private Lab</c:v>
                </c:pt>
                <c:pt idx="451">
                  <c:v>Eurial Autr</c:v>
                </c:pt>
                <c:pt idx="452">
                  <c:v>Etorki</c:v>
                </c:pt>
                <c:pt idx="453">
                  <c:v>Private Lab</c:v>
                </c:pt>
                <c:pt idx="454">
                  <c:v>Lactalis: A</c:v>
                </c:pt>
                <c:pt idx="455">
                  <c:v>Galbani</c:v>
                </c:pt>
                <c:pt idx="456">
                  <c:v>President</c:v>
                </c:pt>
                <c:pt idx="457">
                  <c:v>Private Lab</c:v>
                </c:pt>
                <c:pt idx="458">
                  <c:v>Lou Perac</c:v>
                </c:pt>
                <c:pt idx="459">
                  <c:v>Savencia: A</c:v>
                </c:pt>
                <c:pt idx="460">
                  <c:v>Private Lab</c:v>
                </c:pt>
                <c:pt idx="461">
                  <c:v>Saint Agur</c:v>
                </c:pt>
                <c:pt idx="462">
                  <c:v>Paysan Bret</c:v>
                </c:pt>
                <c:pt idx="463">
                  <c:v>Private Lab</c:v>
                </c:pt>
                <c:pt idx="464">
                  <c:v>Salakis</c:v>
                </c:pt>
                <c:pt idx="465">
                  <c:v>Lou Perac</c:v>
                </c:pt>
                <c:pt idx="466">
                  <c:v>Private Lab</c:v>
                </c:pt>
                <c:pt idx="467">
                  <c:v>Pave D'Affi</c:v>
                </c:pt>
                <c:pt idx="468">
                  <c:v>Entremont</c:v>
                </c:pt>
                <c:pt idx="469">
                  <c:v>Kiri</c:v>
                </c:pt>
                <c:pt idx="470">
                  <c:v>Caprice Des</c:v>
                </c:pt>
                <c:pt idx="471">
                  <c:v>Private Lab</c:v>
                </c:pt>
                <c:pt idx="472">
                  <c:v>Casa Azzurr</c:v>
                </c:pt>
                <c:pt idx="473">
                  <c:v>Caprice Des</c:v>
                </c:pt>
                <c:pt idx="474">
                  <c:v>Aperivrais</c:v>
                </c:pt>
                <c:pt idx="475">
                  <c:v>President</c:v>
                </c:pt>
                <c:pt idx="476">
                  <c:v>Apericube</c:v>
                </c:pt>
                <c:pt idx="477">
                  <c:v>Vieux Pane</c:v>
                </c:pt>
                <c:pt idx="478">
                  <c:v>All Others</c:v>
                </c:pt>
                <c:pt idx="479">
                  <c:v>Boursin</c:v>
                </c:pt>
                <c:pt idx="480">
                  <c:v>Vieux Pane</c:v>
                </c:pt>
                <c:pt idx="481">
                  <c:v>Aperivrais</c:v>
                </c:pt>
                <c:pt idx="482">
                  <c:v>Private Lab</c:v>
                </c:pt>
                <c:pt idx="483">
                  <c:v>La Vache Qu</c:v>
                </c:pt>
                <c:pt idx="484">
                  <c:v>Tartare</c:v>
                </c:pt>
                <c:pt idx="485">
                  <c:v>St Moret</c:v>
                </c:pt>
                <c:pt idx="486">
                  <c:v>Paysan Bret</c:v>
                </c:pt>
                <c:pt idx="487">
                  <c:v>Etoile Du V</c:v>
                </c:pt>
                <c:pt idx="488">
                  <c:v>All Others</c:v>
                </c:pt>
                <c:pt idx="489">
                  <c:v>Tartare</c:v>
                </c:pt>
                <c:pt idx="490">
                  <c:v>Le Rustique</c:v>
                </c:pt>
                <c:pt idx="491">
                  <c:v>Private Lab</c:v>
                </c:pt>
                <c:pt idx="492">
                  <c:v>Soignon</c:v>
                </c:pt>
                <c:pt idx="493">
                  <c:v>St Moret</c:v>
                </c:pt>
                <c:pt idx="494">
                  <c:v>Istara</c:v>
                </c:pt>
                <c:pt idx="495">
                  <c:v>Private Lab</c:v>
                </c:pt>
                <c:pt idx="496">
                  <c:v>Private Lab</c:v>
                </c:pt>
                <c:pt idx="497">
                  <c:v>Juraflore</c:v>
                </c:pt>
                <c:pt idx="498">
                  <c:v>Pochat</c:v>
                </c:pt>
                <c:pt idx="499">
                  <c:v>Tartare</c:v>
                </c:pt>
                <c:pt idx="500">
                  <c:v>Entremont</c:v>
                </c:pt>
                <c:pt idx="501">
                  <c:v>All Others</c:v>
                </c:pt>
                <c:pt idx="502">
                  <c:v>La Belle Et</c:v>
                </c:pt>
                <c:pt idx="503">
                  <c:v>Private Lab</c:v>
                </c:pt>
                <c:pt idx="504">
                  <c:v>Private Lab</c:v>
                </c:pt>
                <c:pt idx="505">
                  <c:v>Kiri</c:v>
                </c:pt>
                <c:pt idx="506">
                  <c:v>Private Lab</c:v>
                </c:pt>
                <c:pt idx="507">
                  <c:v>L'Ortolan</c:v>
                </c:pt>
                <c:pt idx="508">
                  <c:v>All Others</c:v>
                </c:pt>
                <c:pt idx="509">
                  <c:v>All Others</c:v>
                </c:pt>
                <c:pt idx="510">
                  <c:v>Soignon</c:v>
                </c:pt>
                <c:pt idx="511">
                  <c:v>Bresse Bleu</c:v>
                </c:pt>
                <c:pt idx="512">
                  <c:v>Entremont</c:v>
                </c:pt>
                <c:pt idx="513">
                  <c:v>Casa Azzurr</c:v>
                </c:pt>
                <c:pt idx="514">
                  <c:v>L'Ortolan</c:v>
                </c:pt>
                <c:pt idx="515">
                  <c:v>Le Coq Crem</c:v>
                </c:pt>
                <c:pt idx="516">
                  <c:v>Soignon</c:v>
                </c:pt>
                <c:pt idx="517">
                  <c:v>All Others</c:v>
                </c:pt>
                <c:pt idx="518">
                  <c:v>Kiri</c:v>
                </c:pt>
                <c:pt idx="519">
                  <c:v>All Others</c:v>
                </c:pt>
                <c:pt idx="520">
                  <c:v>Savencia: A</c:v>
                </c:pt>
                <c:pt idx="521">
                  <c:v>Galbani</c:v>
                </c:pt>
                <c:pt idx="522">
                  <c:v>St Moret</c:v>
                </c:pt>
                <c:pt idx="523">
                  <c:v>Private Lab</c:v>
                </c:pt>
                <c:pt idx="524">
                  <c:v>Entremont</c:v>
                </c:pt>
                <c:pt idx="525">
                  <c:v>Private Lab</c:v>
                </c:pt>
                <c:pt idx="526">
                  <c:v>Les Mousque</c:v>
                </c:pt>
                <c:pt idx="527">
                  <c:v>President</c:v>
                </c:pt>
                <c:pt idx="528">
                  <c:v>Soignon</c:v>
                </c:pt>
                <c:pt idx="529">
                  <c:v>All Others</c:v>
                </c:pt>
                <c:pt idx="530">
                  <c:v>Galbani</c:v>
                </c:pt>
                <c:pt idx="531">
                  <c:v>Apericube</c:v>
                </c:pt>
                <c:pt idx="532">
                  <c:v>All Others</c:v>
                </c:pt>
                <c:pt idx="533">
                  <c:v>Casa Azzurr</c:v>
                </c:pt>
                <c:pt idx="534">
                  <c:v>Paysan Bret</c:v>
                </c:pt>
                <c:pt idx="535">
                  <c:v>Mini Babybe</c:v>
                </c:pt>
                <c:pt idx="536">
                  <c:v>Coeur De Li</c:v>
                </c:pt>
                <c:pt idx="537">
                  <c:v>All Others</c:v>
                </c:pt>
                <c:pt idx="538">
                  <c:v>Soignon</c:v>
                </c:pt>
                <c:pt idx="539">
                  <c:v>All Others</c:v>
                </c:pt>
                <c:pt idx="540">
                  <c:v>Pochat</c:v>
                </c:pt>
                <c:pt idx="541">
                  <c:v>Lactalis: A</c:v>
                </c:pt>
                <c:pt idx="542">
                  <c:v>Private Lab</c:v>
                </c:pt>
                <c:pt idx="543">
                  <c:v>All Others</c:v>
                </c:pt>
                <c:pt idx="544">
                  <c:v>All Others</c:v>
                </c:pt>
                <c:pt idx="545">
                  <c:v>Private Lab</c:v>
                </c:pt>
                <c:pt idx="546">
                  <c:v>All Others</c:v>
                </c:pt>
                <c:pt idx="547">
                  <c:v>All Others</c:v>
                </c:pt>
                <c:pt idx="548">
                  <c:v>Leerdammer</c:v>
                </c:pt>
                <c:pt idx="549">
                  <c:v>Casa Azzurr</c:v>
                </c:pt>
                <c:pt idx="550">
                  <c:v>Private Lab</c:v>
                </c:pt>
                <c:pt idx="551">
                  <c:v>Islos</c:v>
                </c:pt>
                <c:pt idx="552">
                  <c:v>Corsica</c:v>
                </c:pt>
                <c:pt idx="553">
                  <c:v>Eurial Autr</c:v>
                </c:pt>
                <c:pt idx="554">
                  <c:v>All Others</c:v>
                </c:pt>
                <c:pt idx="555">
                  <c:v>Entremont</c:v>
                </c:pt>
                <c:pt idx="556">
                  <c:v>Fol Epi</c:v>
                </c:pt>
                <c:pt idx="557">
                  <c:v>Private Lab</c:v>
                </c:pt>
                <c:pt idx="558">
                  <c:v>Les Mousque</c:v>
                </c:pt>
                <c:pt idx="559">
                  <c:v>Le Saint Am</c:v>
                </c:pt>
                <c:pt idx="560">
                  <c:v>Soignon</c:v>
                </c:pt>
                <c:pt idx="561">
                  <c:v>Richesmonts</c:v>
                </c:pt>
                <c:pt idx="562">
                  <c:v>Les Mousque</c:v>
                </c:pt>
                <c:pt idx="563">
                  <c:v>Raguin</c:v>
                </c:pt>
                <c:pt idx="564">
                  <c:v>Boursin</c:v>
                </c:pt>
                <c:pt idx="565">
                  <c:v>Paysan Bret</c:v>
                </c:pt>
                <c:pt idx="566">
                  <c:v>Mini Babybe</c:v>
                </c:pt>
                <c:pt idx="567">
                  <c:v>Casa Azzurr</c:v>
                </c:pt>
                <c:pt idx="568">
                  <c:v>Entremont</c:v>
                </c:pt>
                <c:pt idx="569">
                  <c:v>All Others</c:v>
                </c:pt>
                <c:pt idx="570">
                  <c:v>Societe</c:v>
                </c:pt>
                <c:pt idx="571">
                  <c:v>Kiri</c:v>
                </c:pt>
                <c:pt idx="572">
                  <c:v>Lactalis: A</c:v>
                </c:pt>
                <c:pt idx="573">
                  <c:v>All Others</c:v>
                </c:pt>
                <c:pt idx="574">
                  <c:v>All Others</c:v>
                </c:pt>
                <c:pt idx="575">
                  <c:v>Kiri</c:v>
                </c:pt>
                <c:pt idx="576">
                  <c:v>Milleret: A</c:v>
                </c:pt>
                <c:pt idx="577">
                  <c:v>Paysan Bret</c:v>
                </c:pt>
                <c:pt idx="578">
                  <c:v>All Others</c:v>
                </c:pt>
                <c:pt idx="579">
                  <c:v>Savencia: A</c:v>
                </c:pt>
                <c:pt idx="580">
                  <c:v>All Others</c:v>
                </c:pt>
                <c:pt idx="581">
                  <c:v>Raguin</c:v>
                </c:pt>
                <c:pt idx="582">
                  <c:v>All Others</c:v>
                </c:pt>
                <c:pt idx="583">
                  <c:v>All Others</c:v>
                </c:pt>
                <c:pt idx="584">
                  <c:v>Milleret: A</c:v>
                </c:pt>
                <c:pt idx="585">
                  <c:v>La Belle Et</c:v>
                </c:pt>
                <c:pt idx="586">
                  <c:v>All Others</c:v>
                </c:pt>
                <c:pt idx="587">
                  <c:v>La Belle Et</c:v>
                </c:pt>
                <c:pt idx="588">
                  <c:v>All Others</c:v>
                </c:pt>
                <c:pt idx="589">
                  <c:v>Soignon</c:v>
                </c:pt>
                <c:pt idx="590">
                  <c:v>Private Lab</c:v>
                </c:pt>
                <c:pt idx="591">
                  <c:v>Private Lab</c:v>
                </c:pt>
                <c:pt idx="592">
                  <c:v>Entremont</c:v>
                </c:pt>
                <c:pt idx="593">
                  <c:v>P'Tit Louis</c:v>
                </c:pt>
                <c:pt idx="594">
                  <c:v>Etoile Du Q</c:v>
                </c:pt>
                <c:pt idx="595">
                  <c:v>Galbani</c:v>
                </c:pt>
                <c:pt idx="596">
                  <c:v>Private Lab</c:v>
                </c:pt>
                <c:pt idx="597">
                  <c:v>Violife</c:v>
                </c:pt>
                <c:pt idx="598">
                  <c:v>Private Lab</c:v>
                </c:pt>
                <c:pt idx="599">
                  <c:v>Etoile Du V</c:v>
                </c:pt>
                <c:pt idx="600">
                  <c:v>Bresse Bleu</c:v>
                </c:pt>
                <c:pt idx="601">
                  <c:v>La Belle Et</c:v>
                </c:pt>
                <c:pt idx="602">
                  <c:v>Saint Albra</c:v>
                </c:pt>
                <c:pt idx="603">
                  <c:v>Salakis</c:v>
                </c:pt>
                <c:pt idx="604">
                  <c:v>Mini Babybe</c:v>
                </c:pt>
                <c:pt idx="605">
                  <c:v>All Others</c:v>
                </c:pt>
                <c:pt idx="606">
                  <c:v>Savencia: A</c:v>
                </c:pt>
                <c:pt idx="607">
                  <c:v>All Others</c:v>
                </c:pt>
                <c:pt idx="608">
                  <c:v>All Others</c:v>
                </c:pt>
                <c:pt idx="609">
                  <c:v>Private Lab</c:v>
                </c:pt>
                <c:pt idx="610">
                  <c:v>Lactalis: A</c:v>
                </c:pt>
                <c:pt idx="611">
                  <c:v>Triballat N</c:v>
                </c:pt>
                <c:pt idx="612">
                  <c:v>Le Brebiou</c:v>
                </c:pt>
                <c:pt idx="613">
                  <c:v>Galbani</c:v>
                </c:pt>
                <c:pt idx="614">
                  <c:v>Etoile Du V</c:v>
                </c:pt>
                <c:pt idx="615">
                  <c:v>Caprice Des</c:v>
                </c:pt>
                <c:pt idx="616">
                  <c:v>All Others</c:v>
                </c:pt>
                <c:pt idx="617">
                  <c:v>Raguin</c:v>
                </c:pt>
                <c:pt idx="618">
                  <c:v>Raguin</c:v>
                </c:pt>
                <c:pt idx="619">
                  <c:v>All Others</c:v>
                </c:pt>
                <c:pt idx="620">
                  <c:v>Boursin</c:v>
                </c:pt>
                <c:pt idx="621">
                  <c:v>All Others</c:v>
                </c:pt>
                <c:pt idx="622">
                  <c:v>All Others</c:v>
                </c:pt>
                <c:pt idx="623">
                  <c:v>All Others</c:v>
                </c:pt>
                <c:pt idx="624">
                  <c:v>Saint Agur</c:v>
                </c:pt>
                <c:pt idx="625">
                  <c:v>Lactalis: A</c:v>
                </c:pt>
                <c:pt idx="626">
                  <c:v>L'Ortolan</c:v>
                </c:pt>
                <c:pt idx="627">
                  <c:v>Paysan Bret</c:v>
                </c:pt>
                <c:pt idx="628">
                  <c:v>All Others</c:v>
                </c:pt>
                <c:pt idx="629">
                  <c:v>Etorki</c:v>
                </c:pt>
                <c:pt idx="630">
                  <c:v>All Others</c:v>
                </c:pt>
                <c:pt idx="631">
                  <c:v>Galbani</c:v>
                </c:pt>
                <c:pt idx="632">
                  <c:v>Saint Agur</c:v>
                </c:pt>
                <c:pt idx="633">
                  <c:v>Paysan Bret</c:v>
                </c:pt>
                <c:pt idx="634">
                  <c:v>Paysan Bret</c:v>
                </c:pt>
                <c:pt idx="635">
                  <c:v>Pochat</c:v>
                </c:pt>
                <c:pt idx="636">
                  <c:v>President</c:v>
                </c:pt>
                <c:pt idx="637">
                  <c:v>Entremont</c:v>
                </c:pt>
                <c:pt idx="638">
                  <c:v>Entremont</c:v>
                </c:pt>
                <c:pt idx="639">
                  <c:v>All Others</c:v>
                </c:pt>
                <c:pt idx="640">
                  <c:v>Eurial Autr</c:v>
                </c:pt>
                <c:pt idx="641">
                  <c:v>All Others</c:v>
                </c:pt>
                <c:pt idx="642">
                  <c:v>Lactalis: A</c:v>
                </c:pt>
                <c:pt idx="643">
                  <c:v>Islos</c:v>
                </c:pt>
                <c:pt idx="644">
                  <c:v>Milleret: A</c:v>
                </c:pt>
                <c:pt idx="645">
                  <c:v>All Others</c:v>
                </c:pt>
                <c:pt idx="646">
                  <c:v>Lactalis: A</c:v>
                </c:pt>
                <c:pt idx="647">
                  <c:v>Savencia: A</c:v>
                </c:pt>
                <c:pt idx="648">
                  <c:v>Milleret: A</c:v>
                </c:pt>
                <c:pt idx="649">
                  <c:v>All Others</c:v>
                </c:pt>
                <c:pt idx="650">
                  <c:v>Savencia: A</c:v>
                </c:pt>
                <c:pt idx="651">
                  <c:v>All Others</c:v>
                </c:pt>
                <c:pt idx="652">
                  <c:v>Salakis</c:v>
                </c:pt>
                <c:pt idx="653">
                  <c:v>All Others</c:v>
                </c:pt>
                <c:pt idx="654">
                  <c:v>All Others</c:v>
                </c:pt>
                <c:pt idx="655">
                  <c:v>Milleret: A</c:v>
                </c:pt>
                <c:pt idx="656">
                  <c:v>Private Lab</c:v>
                </c:pt>
                <c:pt idx="657">
                  <c:v>Savencia: A</c:v>
                </c:pt>
                <c:pt idx="658">
                  <c:v>Carre Frais</c:v>
                </c:pt>
                <c:pt idx="659">
                  <c:v>All Others</c:v>
                </c:pt>
                <c:pt idx="660">
                  <c:v>Apericube</c:v>
                </c:pt>
                <c:pt idx="661">
                  <c:v>All Others</c:v>
                </c:pt>
                <c:pt idx="662">
                  <c:v>All Others</c:v>
                </c:pt>
                <c:pt idx="663">
                  <c:v>Milleret: A</c:v>
                </c:pt>
                <c:pt idx="664">
                  <c:v>Istara</c:v>
                </c:pt>
                <c:pt idx="665">
                  <c:v>Entremont</c:v>
                </c:pt>
                <c:pt idx="666">
                  <c:v>Entremont</c:v>
                </c:pt>
                <c:pt idx="667">
                  <c:v>All Others</c:v>
                </c:pt>
                <c:pt idx="668">
                  <c:v>All Others</c:v>
                </c:pt>
                <c:pt idx="669">
                  <c:v>Pochat</c:v>
                </c:pt>
                <c:pt idx="670">
                  <c:v>All Others</c:v>
                </c:pt>
                <c:pt idx="671">
                  <c:v>Galbani</c:v>
                </c:pt>
                <c:pt idx="672">
                  <c:v>All Others</c:v>
                </c:pt>
                <c:pt idx="673">
                  <c:v>Paysan Bret</c:v>
                </c:pt>
                <c:pt idx="674">
                  <c:v>All Others</c:v>
                </c:pt>
                <c:pt idx="675">
                  <c:v>All Others</c:v>
                </c:pt>
                <c:pt idx="676">
                  <c:v>Nurishh</c:v>
                </c:pt>
                <c:pt idx="677">
                  <c:v>Lactalis: A</c:v>
                </c:pt>
                <c:pt idx="678">
                  <c:v>All Others</c:v>
                </c:pt>
                <c:pt idx="679">
                  <c:v>All Others</c:v>
                </c:pt>
                <c:pt idx="680">
                  <c:v>Private Lab</c:v>
                </c:pt>
                <c:pt idx="681">
                  <c:v>All Others</c:v>
                </c:pt>
                <c:pt idx="682">
                  <c:v>Entremont</c:v>
                </c:pt>
                <c:pt idx="683">
                  <c:v>Entremont</c:v>
                </c:pt>
                <c:pt idx="684">
                  <c:v>La Belle Et</c:v>
                </c:pt>
                <c:pt idx="685">
                  <c:v>Entremont</c:v>
                </c:pt>
                <c:pt idx="686">
                  <c:v>All Others</c:v>
                </c:pt>
                <c:pt idx="687">
                  <c:v>Richesmonts</c:v>
                </c:pt>
                <c:pt idx="688">
                  <c:v>Triballat N</c:v>
                </c:pt>
                <c:pt idx="689">
                  <c:v>Savencia: A</c:v>
                </c:pt>
                <c:pt idx="690">
                  <c:v>All Others</c:v>
                </c:pt>
                <c:pt idx="691">
                  <c:v>Etoile Du V</c:v>
                </c:pt>
                <c:pt idx="692">
                  <c:v>All Others</c:v>
                </c:pt>
                <c:pt idx="693">
                  <c:v>All Others</c:v>
                </c:pt>
                <c:pt idx="694">
                  <c:v>All Others</c:v>
                </c:pt>
                <c:pt idx="695">
                  <c:v>Casa Azzurr</c:v>
                </c:pt>
                <c:pt idx="696">
                  <c:v>Chavroux</c:v>
                </c:pt>
                <c:pt idx="697">
                  <c:v>Triballat N</c:v>
                </c:pt>
                <c:pt idx="698">
                  <c:v>Casa Azzurr</c:v>
                </c:pt>
                <c:pt idx="699">
                  <c:v>All Others</c:v>
                </c:pt>
                <c:pt idx="700">
                  <c:v>All Others</c:v>
                </c:pt>
                <c:pt idx="701">
                  <c:v>All Others</c:v>
                </c:pt>
                <c:pt idx="702">
                  <c:v>All Others</c:v>
                </c:pt>
                <c:pt idx="703">
                  <c:v>Fol Epi</c:v>
                </c:pt>
                <c:pt idx="704">
                  <c:v>All Others</c:v>
                </c:pt>
                <c:pt idx="705">
                  <c:v>Boursin</c:v>
                </c:pt>
                <c:pt idx="706">
                  <c:v>Apericube</c:v>
                </c:pt>
                <c:pt idx="707">
                  <c:v>All Others</c:v>
                </c:pt>
                <c:pt idx="708">
                  <c:v>All Others</c:v>
                </c:pt>
                <c:pt idx="709">
                  <c:v>Savencia: A</c:v>
                </c:pt>
                <c:pt idx="710">
                  <c:v>President</c:v>
                </c:pt>
                <c:pt idx="711">
                  <c:v>Lactalis: A</c:v>
                </c:pt>
                <c:pt idx="712">
                  <c:v>All Others</c:v>
                </c:pt>
                <c:pt idx="713">
                  <c:v>Casa Azzurr</c:v>
                </c:pt>
                <c:pt idx="714">
                  <c:v>Private Lab</c:v>
                </c:pt>
                <c:pt idx="715">
                  <c:v>All Others</c:v>
                </c:pt>
                <c:pt idx="716">
                  <c:v>All Others</c:v>
                </c:pt>
                <c:pt idx="717">
                  <c:v>All Others</c:v>
                </c:pt>
                <c:pt idx="718">
                  <c:v>All Others</c:v>
                </c:pt>
                <c:pt idx="719">
                  <c:v>Violife</c:v>
                </c:pt>
                <c:pt idx="720">
                  <c:v>Lactalis: A</c:v>
                </c:pt>
                <c:pt idx="721">
                  <c:v>Casa Azzurr</c:v>
                </c:pt>
                <c:pt idx="722">
                  <c:v>Richesmonts</c:v>
                </c:pt>
                <c:pt idx="723">
                  <c:v>All Others</c:v>
                </c:pt>
                <c:pt idx="724">
                  <c:v>All Others</c:v>
                </c:pt>
                <c:pt idx="725">
                  <c:v>All Others</c:v>
                </c:pt>
                <c:pt idx="726">
                  <c:v>Nurishh</c:v>
                </c:pt>
                <c:pt idx="727">
                  <c:v>President</c:v>
                </c:pt>
                <c:pt idx="728">
                  <c:v>Aperivrais</c:v>
                </c:pt>
                <c:pt idx="729">
                  <c:v>Entremont</c:v>
                </c:pt>
                <c:pt idx="730">
                  <c:v>All Others</c:v>
                </c:pt>
                <c:pt idx="731">
                  <c:v>All Others</c:v>
                </c:pt>
                <c:pt idx="732">
                  <c:v>All Others</c:v>
                </c:pt>
                <c:pt idx="733">
                  <c:v>All Others</c:v>
                </c:pt>
                <c:pt idx="734">
                  <c:v>Fauquet</c:v>
                </c:pt>
                <c:pt idx="735">
                  <c:v>All Others</c:v>
                </c:pt>
                <c:pt idx="736">
                  <c:v>All Others</c:v>
                </c:pt>
                <c:pt idx="737">
                  <c:v>Boursin</c:v>
                </c:pt>
                <c:pt idx="738">
                  <c:v>Tartare</c:v>
                </c:pt>
                <c:pt idx="739">
                  <c:v>Etoile Du V</c:v>
                </c:pt>
                <c:pt idx="740">
                  <c:v>All Others</c:v>
                </c:pt>
                <c:pt idx="741">
                  <c:v>Etoile Du V</c:v>
                </c:pt>
                <c:pt idx="742">
                  <c:v>All Others</c:v>
                </c:pt>
                <c:pt idx="743">
                  <c:v>All Others</c:v>
                </c:pt>
                <c:pt idx="744">
                  <c:v>L'Ortolan</c:v>
                </c:pt>
                <c:pt idx="745">
                  <c:v>All Others</c:v>
                </c:pt>
                <c:pt idx="746">
                  <c:v>All Others</c:v>
                </c:pt>
                <c:pt idx="747">
                  <c:v>All Others</c:v>
                </c:pt>
                <c:pt idx="748">
                  <c:v>All Others</c:v>
                </c:pt>
                <c:pt idx="749">
                  <c:v>Pave D'Affi</c:v>
                </c:pt>
                <c:pt idx="750">
                  <c:v>All Others</c:v>
                </c:pt>
                <c:pt idx="751">
                  <c:v>All Others</c:v>
                </c:pt>
                <c:pt idx="752">
                  <c:v>All Others</c:v>
                </c:pt>
                <c:pt idx="753">
                  <c:v>Private Lab</c:v>
                </c:pt>
                <c:pt idx="754">
                  <c:v>All Others</c:v>
                </c:pt>
                <c:pt idx="755">
                  <c:v>La Belle Et</c:v>
                </c:pt>
                <c:pt idx="756">
                  <c:v>Entremont</c:v>
                </c:pt>
                <c:pt idx="757">
                  <c:v>All Others</c:v>
                </c:pt>
                <c:pt idx="758">
                  <c:v>Triballat N</c:v>
                </c:pt>
                <c:pt idx="759">
                  <c:v>All Others</c:v>
                </c:pt>
                <c:pt idx="760">
                  <c:v>Tartare</c:v>
                </c:pt>
                <c:pt idx="761">
                  <c:v>President</c:v>
                </c:pt>
                <c:pt idx="762">
                  <c:v>All Others</c:v>
                </c:pt>
                <c:pt idx="763">
                  <c:v>All Others</c:v>
                </c:pt>
                <c:pt idx="764">
                  <c:v>Pochat</c:v>
                </c:pt>
                <c:pt idx="765">
                  <c:v>Entremont</c:v>
                </c:pt>
                <c:pt idx="766">
                  <c:v>Boursin</c:v>
                </c:pt>
                <c:pt idx="767">
                  <c:v>All Others</c:v>
                </c:pt>
                <c:pt idx="768">
                  <c:v>All Others</c:v>
                </c:pt>
                <c:pt idx="769">
                  <c:v>Violife</c:v>
                </c:pt>
                <c:pt idx="770">
                  <c:v>All Others</c:v>
                </c:pt>
                <c:pt idx="771">
                  <c:v>Les Mousque</c:v>
                </c:pt>
                <c:pt idx="772">
                  <c:v>Lactalis: A</c:v>
                </c:pt>
                <c:pt idx="773">
                  <c:v>All Others</c:v>
                </c:pt>
                <c:pt idx="774">
                  <c:v>Mini Babybe</c:v>
                </c:pt>
                <c:pt idx="775">
                  <c:v>All Others</c:v>
                </c:pt>
                <c:pt idx="776">
                  <c:v>All Others</c:v>
                </c:pt>
                <c:pt idx="777">
                  <c:v>All Others</c:v>
                </c:pt>
                <c:pt idx="778">
                  <c:v>All Others</c:v>
                </c:pt>
                <c:pt idx="779">
                  <c:v>All Others</c:v>
                </c:pt>
                <c:pt idx="780">
                  <c:v>Les Mousque</c:v>
                </c:pt>
                <c:pt idx="781">
                  <c:v>All Others</c:v>
                </c:pt>
                <c:pt idx="782">
                  <c:v>All Others</c:v>
                </c:pt>
                <c:pt idx="783">
                  <c:v>Savencia: A</c:v>
                </c:pt>
                <c:pt idx="784">
                  <c:v>All Others</c:v>
                </c:pt>
                <c:pt idx="785">
                  <c:v>All Others</c:v>
                </c:pt>
                <c:pt idx="786">
                  <c:v>All Others</c:v>
                </c:pt>
                <c:pt idx="787">
                  <c:v>Milleret: A</c:v>
                </c:pt>
                <c:pt idx="788">
                  <c:v>Lactalis: A</c:v>
                </c:pt>
                <c:pt idx="789">
                  <c:v>All Others</c:v>
                </c:pt>
                <c:pt idx="790">
                  <c:v>All Others</c:v>
                </c:pt>
                <c:pt idx="791">
                  <c:v>All Others</c:v>
                </c:pt>
                <c:pt idx="792">
                  <c:v>All Others</c:v>
                </c:pt>
                <c:pt idx="793">
                  <c:v>All Others</c:v>
                </c:pt>
                <c:pt idx="794">
                  <c:v>All Others</c:v>
                </c:pt>
                <c:pt idx="795">
                  <c:v>All Others</c:v>
                </c:pt>
                <c:pt idx="796">
                  <c:v>All Others</c:v>
                </c:pt>
                <c:pt idx="797">
                  <c:v>Savencia: A</c:v>
                </c:pt>
                <c:pt idx="798">
                  <c:v>All Others</c:v>
                </c:pt>
                <c:pt idx="799">
                  <c:v>All Others</c:v>
                </c:pt>
                <c:pt idx="800">
                  <c:v>Etoile Du V</c:v>
                </c:pt>
                <c:pt idx="801">
                  <c:v>All Others</c:v>
                </c:pt>
                <c:pt idx="802">
                  <c:v>Aperivrais</c:v>
                </c:pt>
                <c:pt idx="803">
                  <c:v>All Others</c:v>
                </c:pt>
                <c:pt idx="804">
                  <c:v>All Others</c:v>
                </c:pt>
                <c:pt idx="805">
                  <c:v>All Others</c:v>
                </c:pt>
                <c:pt idx="806">
                  <c:v>All Others</c:v>
                </c:pt>
                <c:pt idx="807">
                  <c:v>Chavroux</c:v>
                </c:pt>
                <c:pt idx="808">
                  <c:v>Entremont</c:v>
                </c:pt>
                <c:pt idx="809">
                  <c:v>Apericube</c:v>
                </c:pt>
                <c:pt idx="810">
                  <c:v>Paysan Bret</c:v>
                </c:pt>
                <c:pt idx="811">
                  <c:v>All Others</c:v>
                </c:pt>
                <c:pt idx="812">
                  <c:v>All Others</c:v>
                </c:pt>
                <c:pt idx="813">
                  <c:v>All Others</c:v>
                </c:pt>
                <c:pt idx="814">
                  <c:v>All Others</c:v>
                </c:pt>
                <c:pt idx="815">
                  <c:v>Soignon</c:v>
                </c:pt>
                <c:pt idx="816">
                  <c:v>All Others</c:v>
                </c:pt>
                <c:pt idx="817">
                  <c:v>Boursin</c:v>
                </c:pt>
                <c:pt idx="818">
                  <c:v>All Others</c:v>
                </c:pt>
                <c:pt idx="819">
                  <c:v>All Others</c:v>
                </c:pt>
                <c:pt idx="820">
                  <c:v>La Belle Et</c:v>
                </c:pt>
                <c:pt idx="821">
                  <c:v>All Others</c:v>
                </c:pt>
                <c:pt idx="822">
                  <c:v>Nurishh</c:v>
                </c:pt>
                <c:pt idx="823">
                  <c:v>All Others</c:v>
                </c:pt>
                <c:pt idx="824">
                  <c:v>Nurishh</c:v>
                </c:pt>
                <c:pt idx="825">
                  <c:v>Apericube</c:v>
                </c:pt>
                <c:pt idx="826">
                  <c:v>All Others</c:v>
                </c:pt>
                <c:pt idx="827">
                  <c:v>Nurishh</c:v>
                </c:pt>
                <c:pt idx="828">
                  <c:v>All Others</c:v>
                </c:pt>
                <c:pt idx="829">
                  <c:v>All Others</c:v>
                </c:pt>
                <c:pt idx="830">
                  <c:v>Chaussee Au</c:v>
                </c:pt>
                <c:pt idx="831">
                  <c:v>All Others</c:v>
                </c:pt>
                <c:pt idx="832">
                  <c:v>Nurishh</c:v>
                </c:pt>
                <c:pt idx="833">
                  <c:v>All Others</c:v>
                </c:pt>
                <c:pt idx="834">
                  <c:v>All Others</c:v>
                </c:pt>
                <c:pt idx="835">
                  <c:v>Aperivrais</c:v>
                </c:pt>
                <c:pt idx="836">
                  <c:v>Milleret: A</c:v>
                </c:pt>
                <c:pt idx="837">
                  <c:v>La Belle Et</c:v>
                </c:pt>
                <c:pt idx="838">
                  <c:v>All Others</c:v>
                </c:pt>
                <c:pt idx="839">
                  <c:v>Entremont</c:v>
                </c:pt>
                <c:pt idx="840">
                  <c:v>La Belle Et</c:v>
                </c:pt>
                <c:pt idx="841">
                  <c:v>All Others</c:v>
                </c:pt>
                <c:pt idx="842">
                  <c:v>La Belle Et</c:v>
                </c:pt>
                <c:pt idx="843">
                  <c:v>All Others</c:v>
                </c:pt>
                <c:pt idx="844">
                  <c:v>Boursin</c:v>
                </c:pt>
                <c:pt idx="845">
                  <c:v>All Others</c:v>
                </c:pt>
                <c:pt idx="846">
                  <c:v>All Others</c:v>
                </c:pt>
                <c:pt idx="847">
                  <c:v>All Others</c:v>
                </c:pt>
                <c:pt idx="848">
                  <c:v>All Others</c:v>
                </c:pt>
                <c:pt idx="849">
                  <c:v>All Others</c:v>
                </c:pt>
                <c:pt idx="850">
                  <c:v>All Others</c:v>
                </c:pt>
                <c:pt idx="851">
                  <c:v>All Others</c:v>
                </c:pt>
                <c:pt idx="852">
                  <c:v>La Belle Et</c:v>
                </c:pt>
                <c:pt idx="853">
                  <c:v>La Belle Et</c:v>
                </c:pt>
                <c:pt idx="854">
                  <c:v>All Others</c:v>
                </c:pt>
                <c:pt idx="855">
                  <c:v>All Others</c:v>
                </c:pt>
                <c:pt idx="856">
                  <c:v>Boursin</c:v>
                </c:pt>
                <c:pt idx="857">
                  <c:v>All Others</c:v>
                </c:pt>
                <c:pt idx="858">
                  <c:v>Savencia: A</c:v>
                </c:pt>
                <c:pt idx="859">
                  <c:v>All Others</c:v>
                </c:pt>
                <c:pt idx="860">
                  <c:v>All Others</c:v>
                </c:pt>
                <c:pt idx="861">
                  <c:v>Chavroux</c:v>
                </c:pt>
                <c:pt idx="862">
                  <c:v>Salakis</c:v>
                </c:pt>
                <c:pt idx="863">
                  <c:v>All Others</c:v>
                </c:pt>
                <c:pt idx="864">
                  <c:v>All Others</c:v>
                </c:pt>
                <c:pt idx="865">
                  <c:v>All Others</c:v>
                </c:pt>
                <c:pt idx="866">
                  <c:v>All Others</c:v>
                </c:pt>
                <c:pt idx="867">
                  <c:v>Societe</c:v>
                </c:pt>
                <c:pt idx="868">
                  <c:v>All Others</c:v>
                </c:pt>
                <c:pt idx="869">
                  <c:v>All Others</c:v>
                </c:pt>
                <c:pt idx="870">
                  <c:v>All Others</c:v>
                </c:pt>
                <c:pt idx="871">
                  <c:v>Boursin</c:v>
                </c:pt>
                <c:pt idx="872">
                  <c:v>All Others</c:v>
                </c:pt>
                <c:pt idx="873">
                  <c:v>All Others</c:v>
                </c:pt>
                <c:pt idx="874">
                  <c:v>All Others</c:v>
                </c:pt>
                <c:pt idx="875">
                  <c:v>All Others</c:v>
                </c:pt>
                <c:pt idx="876">
                  <c:v>All Others</c:v>
                </c:pt>
                <c:pt idx="877">
                  <c:v>All Others</c:v>
                </c:pt>
                <c:pt idx="878">
                  <c:v>All Others</c:v>
                </c:pt>
                <c:pt idx="879">
                  <c:v>All Others</c:v>
                </c:pt>
                <c:pt idx="880">
                  <c:v>All Others</c:v>
                </c:pt>
                <c:pt idx="881">
                  <c:v>All Others</c:v>
                </c:pt>
                <c:pt idx="882">
                  <c:v>All Others</c:v>
                </c:pt>
                <c:pt idx="883">
                  <c:v>All Others</c:v>
                </c:pt>
                <c:pt idx="884">
                  <c:v>All Others</c:v>
                </c:pt>
                <c:pt idx="885">
                  <c:v>Etoile Du V</c:v>
                </c:pt>
                <c:pt idx="886">
                  <c:v>Lactalis: A</c:v>
                </c:pt>
                <c:pt idx="887">
                  <c:v>President</c:v>
                </c:pt>
                <c:pt idx="888">
                  <c:v>All Others</c:v>
                </c:pt>
                <c:pt idx="889">
                  <c:v>All Others</c:v>
                </c:pt>
                <c:pt idx="890">
                  <c:v>All Others</c:v>
                </c:pt>
                <c:pt idx="891">
                  <c:v>All Others</c:v>
                </c:pt>
                <c:pt idx="892">
                  <c:v>All Others</c:v>
                </c:pt>
                <c:pt idx="893">
                  <c:v>All Others</c:v>
                </c:pt>
                <c:pt idx="894">
                  <c:v>All Others</c:v>
                </c:pt>
                <c:pt idx="895">
                  <c:v>All Others</c:v>
                </c:pt>
                <c:pt idx="896">
                  <c:v>Milleret: A</c:v>
                </c:pt>
                <c:pt idx="897">
                  <c:v>All Others</c:v>
                </c:pt>
                <c:pt idx="898">
                  <c:v>All Others</c:v>
                </c:pt>
                <c:pt idx="899">
                  <c:v>All Others</c:v>
                </c:pt>
                <c:pt idx="900">
                  <c:v>All Others</c:v>
                </c:pt>
                <c:pt idx="901">
                  <c:v>L'Ortolan</c:v>
                </c:pt>
                <c:pt idx="902">
                  <c:v>All Others</c:v>
                </c:pt>
                <c:pt idx="903">
                  <c:v>All Others</c:v>
                </c:pt>
                <c:pt idx="904">
                  <c:v>Chavroux</c:v>
                </c:pt>
                <c:pt idx="905">
                  <c:v>All Others</c:v>
                </c:pt>
                <c:pt idx="906">
                  <c:v>La Belle Et</c:v>
                </c:pt>
                <c:pt idx="907">
                  <c:v>Lactalis: A</c:v>
                </c:pt>
                <c:pt idx="908">
                  <c:v>All Others</c:v>
                </c:pt>
                <c:pt idx="909">
                  <c:v>All Others</c:v>
                </c:pt>
                <c:pt idx="910">
                  <c:v>All Others</c:v>
                </c:pt>
                <c:pt idx="911">
                  <c:v>All Others</c:v>
                </c:pt>
                <c:pt idx="912">
                  <c:v>Salakis</c:v>
                </c:pt>
                <c:pt idx="913">
                  <c:v>All Others</c:v>
                </c:pt>
                <c:pt idx="914">
                  <c:v>All Others</c:v>
                </c:pt>
                <c:pt idx="915">
                  <c:v>All Others</c:v>
                </c:pt>
                <c:pt idx="916">
                  <c:v>All Others</c:v>
                </c:pt>
                <c:pt idx="917">
                  <c:v>All Others</c:v>
                </c:pt>
                <c:pt idx="918">
                  <c:v>All Others</c:v>
                </c:pt>
                <c:pt idx="919">
                  <c:v>All Others</c:v>
                </c:pt>
                <c:pt idx="920">
                  <c:v>All Others</c:v>
                </c:pt>
                <c:pt idx="921">
                  <c:v>Entremont</c:v>
                </c:pt>
                <c:pt idx="922">
                  <c:v>Petit Billy</c:v>
                </c:pt>
                <c:pt idx="923">
                  <c:v>All Others</c:v>
                </c:pt>
                <c:pt idx="924">
                  <c:v>La Vache Qu</c:v>
                </c:pt>
                <c:pt idx="925">
                  <c:v>All Others</c:v>
                </c:pt>
                <c:pt idx="926">
                  <c:v>All Others</c:v>
                </c:pt>
                <c:pt idx="927">
                  <c:v>All Others</c:v>
                </c:pt>
                <c:pt idx="928">
                  <c:v>All Others</c:v>
                </c:pt>
                <c:pt idx="929">
                  <c:v>All Others</c:v>
                </c:pt>
                <c:pt idx="930">
                  <c:v>All Others</c:v>
                </c:pt>
                <c:pt idx="931">
                  <c:v>Lactalis: A</c:v>
                </c:pt>
                <c:pt idx="932">
                  <c:v>Private Lab</c:v>
                </c:pt>
                <c:pt idx="933">
                  <c:v>All Others</c:v>
                </c:pt>
                <c:pt idx="934">
                  <c:v>All Others</c:v>
                </c:pt>
                <c:pt idx="935">
                  <c:v>All Others</c:v>
                </c:pt>
                <c:pt idx="936">
                  <c:v>Lactalis: A</c:v>
                </c:pt>
                <c:pt idx="937">
                  <c:v>All Others</c:v>
                </c:pt>
                <c:pt idx="938">
                  <c:v>All Others</c:v>
                </c:pt>
                <c:pt idx="939">
                  <c:v>Chavroux</c:v>
                </c:pt>
                <c:pt idx="940">
                  <c:v>All Others</c:v>
                </c:pt>
                <c:pt idx="941">
                  <c:v>All Others</c:v>
                </c:pt>
                <c:pt idx="942">
                  <c:v>All Others</c:v>
                </c:pt>
                <c:pt idx="943">
                  <c:v>Entremont</c:v>
                </c:pt>
                <c:pt idx="944">
                  <c:v>All Others</c:v>
                </c:pt>
                <c:pt idx="945">
                  <c:v>All Others</c:v>
                </c:pt>
                <c:pt idx="946">
                  <c:v>All Others</c:v>
                </c:pt>
                <c:pt idx="947">
                  <c:v>All Others</c:v>
                </c:pt>
                <c:pt idx="948">
                  <c:v>All Others</c:v>
                </c:pt>
                <c:pt idx="949">
                  <c:v>All Others</c:v>
                </c:pt>
                <c:pt idx="950">
                  <c:v>Galbani</c:v>
                </c:pt>
                <c:pt idx="951">
                  <c:v>All Others</c:v>
                </c:pt>
                <c:pt idx="952">
                  <c:v>All Others</c:v>
                </c:pt>
                <c:pt idx="953">
                  <c:v>All Others</c:v>
                </c:pt>
                <c:pt idx="954">
                  <c:v>All Others</c:v>
                </c:pt>
                <c:pt idx="955">
                  <c:v>Private Lab</c:v>
                </c:pt>
                <c:pt idx="956">
                  <c:v>La Belle Et</c:v>
                </c:pt>
                <c:pt idx="957">
                  <c:v>Lactalis: A</c:v>
                </c:pt>
                <c:pt idx="958">
                  <c:v>All Others</c:v>
                </c:pt>
                <c:pt idx="959">
                  <c:v>All Others</c:v>
                </c:pt>
                <c:pt idx="960">
                  <c:v>La Belle Et</c:v>
                </c:pt>
                <c:pt idx="961">
                  <c:v>All Others</c:v>
                </c:pt>
                <c:pt idx="962">
                  <c:v>All Others</c:v>
                </c:pt>
                <c:pt idx="963">
                  <c:v>Lactalis: A</c:v>
                </c:pt>
                <c:pt idx="964">
                  <c:v>All Others</c:v>
                </c:pt>
                <c:pt idx="965">
                  <c:v>All Others</c:v>
                </c:pt>
                <c:pt idx="966">
                  <c:v>Mini Babybe</c:v>
                </c:pt>
                <c:pt idx="967">
                  <c:v>All Others</c:v>
                </c:pt>
                <c:pt idx="968">
                  <c:v>All Others</c:v>
                </c:pt>
                <c:pt idx="969">
                  <c:v>All Others</c:v>
                </c:pt>
                <c:pt idx="970">
                  <c:v>All Others</c:v>
                </c:pt>
                <c:pt idx="971">
                  <c:v>All Others</c:v>
                </c:pt>
                <c:pt idx="972">
                  <c:v>All Others</c:v>
                </c:pt>
                <c:pt idx="973">
                  <c:v>All Others</c:v>
                </c:pt>
                <c:pt idx="974">
                  <c:v>All Others</c:v>
                </c:pt>
                <c:pt idx="975">
                  <c:v>All Others</c:v>
                </c:pt>
                <c:pt idx="976">
                  <c:v>All Others</c:v>
                </c:pt>
                <c:pt idx="977">
                  <c:v>All Others</c:v>
                </c:pt>
                <c:pt idx="978">
                  <c:v>All Others</c:v>
                </c:pt>
                <c:pt idx="979">
                  <c:v>All Others</c:v>
                </c:pt>
                <c:pt idx="980">
                  <c:v>All Others</c:v>
                </c:pt>
                <c:pt idx="981">
                  <c:v>All Others</c:v>
                </c:pt>
                <c:pt idx="982">
                  <c:v>All Others</c:v>
                </c:pt>
                <c:pt idx="983">
                  <c:v>All Others</c:v>
                </c:pt>
                <c:pt idx="984">
                  <c:v>All Others</c:v>
                </c:pt>
                <c:pt idx="985">
                  <c:v>All Others</c:v>
                </c:pt>
                <c:pt idx="986">
                  <c:v>All Others</c:v>
                </c:pt>
                <c:pt idx="987">
                  <c:v>All Others</c:v>
                </c:pt>
                <c:pt idx="988">
                  <c:v>All Others</c:v>
                </c:pt>
                <c:pt idx="989">
                  <c:v>All Others</c:v>
                </c:pt>
                <c:pt idx="990">
                  <c:v>All Others</c:v>
                </c:pt>
                <c:pt idx="991">
                  <c:v>All Others</c:v>
                </c:pt>
                <c:pt idx="992">
                  <c:v>All Others</c:v>
                </c:pt>
                <c:pt idx="993">
                  <c:v>All Others</c:v>
                </c:pt>
                <c:pt idx="994">
                  <c:v>All Others</c:v>
                </c:pt>
                <c:pt idx="995">
                  <c:v>All Others</c:v>
                </c:pt>
                <c:pt idx="996">
                  <c:v>All Others</c:v>
                </c:pt>
                <c:pt idx="997">
                  <c:v>All Others</c:v>
                </c:pt>
                <c:pt idx="998">
                  <c:v>Lactalis: A</c:v>
                </c:pt>
                <c:pt idx="999">
                  <c:v>All Others</c:v>
                </c:pt>
                <c:pt idx="1000">
                  <c:v>All Others</c:v>
                </c:pt>
                <c:pt idx="1001">
                  <c:v>All Others</c:v>
                </c:pt>
                <c:pt idx="1002">
                  <c:v>All Others</c:v>
                </c:pt>
                <c:pt idx="1003">
                  <c:v>Corsica</c:v>
                </c:pt>
                <c:pt idx="1004">
                  <c:v>All Others</c:v>
                </c:pt>
                <c:pt idx="1005">
                  <c:v>All Others</c:v>
                </c:pt>
                <c:pt idx="1006">
                  <c:v>All Others</c:v>
                </c:pt>
                <c:pt idx="1007">
                  <c:v>All Others</c:v>
                </c:pt>
                <c:pt idx="1008">
                  <c:v>Rians</c:v>
                </c:pt>
                <c:pt idx="1009">
                  <c:v>Lactalis: A</c:v>
                </c:pt>
                <c:pt idx="1010">
                  <c:v>All Others</c:v>
                </c:pt>
                <c:pt idx="1011">
                  <c:v>All Others</c:v>
                </c:pt>
                <c:pt idx="1012">
                  <c:v>All Others</c:v>
                </c:pt>
                <c:pt idx="1013">
                  <c:v>Savencia: A</c:v>
                </c:pt>
                <c:pt idx="1014">
                  <c:v>All Others</c:v>
                </c:pt>
                <c:pt idx="1015">
                  <c:v>All Others</c:v>
                </c:pt>
                <c:pt idx="1016">
                  <c:v>All Others</c:v>
                </c:pt>
                <c:pt idx="1017">
                  <c:v>La Belle Et</c:v>
                </c:pt>
                <c:pt idx="1018">
                  <c:v>La Belle Et</c:v>
                </c:pt>
                <c:pt idx="1019">
                  <c:v>All Others</c:v>
                </c:pt>
                <c:pt idx="1020">
                  <c:v>All Others</c:v>
                </c:pt>
                <c:pt idx="1021">
                  <c:v>All Others</c:v>
                </c:pt>
                <c:pt idx="1022">
                  <c:v>All Others</c:v>
                </c:pt>
                <c:pt idx="1023">
                  <c:v>All Others</c:v>
                </c:pt>
                <c:pt idx="1024">
                  <c:v>All Others</c:v>
                </c:pt>
                <c:pt idx="1025">
                  <c:v>All Others</c:v>
                </c:pt>
                <c:pt idx="1026">
                  <c:v>Raguin</c:v>
                </c:pt>
                <c:pt idx="1027">
                  <c:v>Paysan Bret</c:v>
                </c:pt>
                <c:pt idx="1028">
                  <c:v>Richesmonts</c:v>
                </c:pt>
                <c:pt idx="1029">
                  <c:v>All Others</c:v>
                </c:pt>
                <c:pt idx="1030">
                  <c:v>Mini Babybe</c:v>
                </c:pt>
                <c:pt idx="1031">
                  <c:v>Paysan Bret</c:v>
                </c:pt>
                <c:pt idx="1032">
                  <c:v>All Others</c:v>
                </c:pt>
                <c:pt idx="1033">
                  <c:v>All Others</c:v>
                </c:pt>
                <c:pt idx="1034">
                  <c:v>All Others</c:v>
                </c:pt>
                <c:pt idx="1035">
                  <c:v>All Others</c:v>
                </c:pt>
                <c:pt idx="1036">
                  <c:v>All Others</c:v>
                </c:pt>
                <c:pt idx="1037">
                  <c:v>Etoile Du V</c:v>
                </c:pt>
                <c:pt idx="1038">
                  <c:v>All Others</c:v>
                </c:pt>
                <c:pt idx="1039">
                  <c:v>All Others</c:v>
                </c:pt>
                <c:pt idx="1040">
                  <c:v>All Others</c:v>
                </c:pt>
                <c:pt idx="1041">
                  <c:v>All Others</c:v>
                </c:pt>
                <c:pt idx="1042">
                  <c:v>Entremont</c:v>
                </c:pt>
                <c:pt idx="1043">
                  <c:v>All Others</c:v>
                </c:pt>
                <c:pt idx="1044">
                  <c:v>All Others</c:v>
                </c:pt>
                <c:pt idx="1045">
                  <c:v>All Others</c:v>
                </c:pt>
                <c:pt idx="1046">
                  <c:v>All Others</c:v>
                </c:pt>
                <c:pt idx="1047">
                  <c:v>Kiri</c:v>
                </c:pt>
                <c:pt idx="1048">
                  <c:v>All Others</c:v>
                </c:pt>
                <c:pt idx="1049">
                  <c:v>All Others</c:v>
                </c:pt>
                <c:pt idx="1050">
                  <c:v>All Others</c:v>
                </c:pt>
                <c:pt idx="1051">
                  <c:v>All Others</c:v>
                </c:pt>
                <c:pt idx="1052">
                  <c:v>All Others</c:v>
                </c:pt>
                <c:pt idx="1053">
                  <c:v>All Others</c:v>
                </c:pt>
                <c:pt idx="1054">
                  <c:v>All Others</c:v>
                </c:pt>
                <c:pt idx="1055">
                  <c:v>All Others</c:v>
                </c:pt>
                <c:pt idx="1056">
                  <c:v>All Others</c:v>
                </c:pt>
                <c:pt idx="1057">
                  <c:v>Raguin</c:v>
                </c:pt>
                <c:pt idx="1058">
                  <c:v>Lactalis: A</c:v>
                </c:pt>
                <c:pt idx="1059">
                  <c:v>All Others</c:v>
                </c:pt>
                <c:pt idx="1060">
                  <c:v>All Others</c:v>
                </c:pt>
                <c:pt idx="1061">
                  <c:v>All Others</c:v>
                </c:pt>
                <c:pt idx="1062">
                  <c:v>All Others</c:v>
                </c:pt>
                <c:pt idx="1063">
                  <c:v>All Others</c:v>
                </c:pt>
                <c:pt idx="1064">
                  <c:v>All Others</c:v>
                </c:pt>
                <c:pt idx="1065">
                  <c:v>Private Lab</c:v>
                </c:pt>
                <c:pt idx="1066">
                  <c:v>All Others</c:v>
                </c:pt>
                <c:pt idx="1067">
                  <c:v>Savencia: A</c:v>
                </c:pt>
                <c:pt idx="1068">
                  <c:v>All Others</c:v>
                </c:pt>
                <c:pt idx="1069">
                  <c:v>All Others</c:v>
                </c:pt>
                <c:pt idx="1070">
                  <c:v>La Belle Et</c:v>
                </c:pt>
                <c:pt idx="1071">
                  <c:v>All Others</c:v>
                </c:pt>
                <c:pt idx="1072">
                  <c:v>All Others</c:v>
                </c:pt>
                <c:pt idx="1073">
                  <c:v>All Others</c:v>
                </c:pt>
                <c:pt idx="1074">
                  <c:v>All Others</c:v>
                </c:pt>
                <c:pt idx="1075">
                  <c:v>All Others</c:v>
                </c:pt>
                <c:pt idx="1076">
                  <c:v>Raguin</c:v>
                </c:pt>
                <c:pt idx="1077">
                  <c:v>All Others</c:v>
                </c:pt>
                <c:pt idx="1078">
                  <c:v>All Others</c:v>
                </c:pt>
                <c:pt idx="1079">
                  <c:v>Fol Epi</c:v>
                </c:pt>
                <c:pt idx="1080">
                  <c:v>All Others</c:v>
                </c:pt>
                <c:pt idx="1081">
                  <c:v>Casa Azzurr</c:v>
                </c:pt>
                <c:pt idx="1082">
                  <c:v>All Others</c:v>
                </c:pt>
                <c:pt idx="1083">
                  <c:v>All Others</c:v>
                </c:pt>
                <c:pt idx="1084">
                  <c:v>All Others</c:v>
                </c:pt>
                <c:pt idx="1085">
                  <c:v>All Others</c:v>
                </c:pt>
                <c:pt idx="1086">
                  <c:v>All Others</c:v>
                </c:pt>
                <c:pt idx="1087">
                  <c:v>All Others</c:v>
                </c:pt>
                <c:pt idx="1088">
                  <c:v>All Others</c:v>
                </c:pt>
                <c:pt idx="1089">
                  <c:v>All Others</c:v>
                </c:pt>
                <c:pt idx="1090">
                  <c:v>All Others</c:v>
                </c:pt>
                <c:pt idx="1091">
                  <c:v>All Others</c:v>
                </c:pt>
                <c:pt idx="1092">
                  <c:v>All Others</c:v>
                </c:pt>
                <c:pt idx="1093">
                  <c:v>Pave D'Affi</c:v>
                </c:pt>
                <c:pt idx="1094">
                  <c:v>Savencia: A</c:v>
                </c:pt>
                <c:pt idx="1095">
                  <c:v>All Others</c:v>
                </c:pt>
                <c:pt idx="1096">
                  <c:v>All Others</c:v>
                </c:pt>
                <c:pt idx="1097">
                  <c:v>All Others</c:v>
                </c:pt>
                <c:pt idx="1098">
                  <c:v>All Others</c:v>
                </c:pt>
                <c:pt idx="1099">
                  <c:v>All Others</c:v>
                </c:pt>
                <c:pt idx="1100">
                  <c:v>All Others</c:v>
                </c:pt>
                <c:pt idx="1101">
                  <c:v>All Others</c:v>
                </c:pt>
                <c:pt idx="1102">
                  <c:v>Richesmonts</c:v>
                </c:pt>
                <c:pt idx="1103">
                  <c:v>All Others</c:v>
                </c:pt>
                <c:pt idx="1104">
                  <c:v>All Others</c:v>
                </c:pt>
                <c:pt idx="1105">
                  <c:v>All Others</c:v>
                </c:pt>
                <c:pt idx="1106">
                  <c:v>All Others</c:v>
                </c:pt>
                <c:pt idx="1107">
                  <c:v>All Others</c:v>
                </c:pt>
                <c:pt idx="1108">
                  <c:v>All Others</c:v>
                </c:pt>
                <c:pt idx="1109">
                  <c:v>Violife</c:v>
                </c:pt>
                <c:pt idx="1110">
                  <c:v>All Others</c:v>
                </c:pt>
                <c:pt idx="1111">
                  <c:v>All Others</c:v>
                </c:pt>
                <c:pt idx="1112">
                  <c:v>All Others</c:v>
                </c:pt>
                <c:pt idx="1113">
                  <c:v>All Others</c:v>
                </c:pt>
                <c:pt idx="1114">
                  <c:v>All Others</c:v>
                </c:pt>
                <c:pt idx="1115">
                  <c:v>All Others</c:v>
                </c:pt>
                <c:pt idx="1116">
                  <c:v>All Others</c:v>
                </c:pt>
                <c:pt idx="1117">
                  <c:v>All Others</c:v>
                </c:pt>
                <c:pt idx="1118">
                  <c:v>All Others</c:v>
                </c:pt>
                <c:pt idx="1119">
                  <c:v>All Others</c:v>
                </c:pt>
                <c:pt idx="1120">
                  <c:v>Other Suppl</c:v>
                </c:pt>
                <c:pt idx="1121">
                  <c:v>All Others</c:v>
                </c:pt>
                <c:pt idx="1122">
                  <c:v>All Others</c:v>
                </c:pt>
                <c:pt idx="1123">
                  <c:v>All Others</c:v>
                </c:pt>
                <c:pt idx="1124">
                  <c:v>Juraflore</c:v>
                </c:pt>
                <c:pt idx="1125">
                  <c:v>All Others</c:v>
                </c:pt>
                <c:pt idx="1126">
                  <c:v>All Others</c:v>
                </c:pt>
                <c:pt idx="1127">
                  <c:v>All Others</c:v>
                </c:pt>
                <c:pt idx="1128">
                  <c:v>All Others</c:v>
                </c:pt>
                <c:pt idx="1129">
                  <c:v>All Others</c:v>
                </c:pt>
                <c:pt idx="1130">
                  <c:v>All Others</c:v>
                </c:pt>
                <c:pt idx="1131">
                  <c:v>Milleret</c:v>
                </c:pt>
                <c:pt idx="1132">
                  <c:v>All Others</c:v>
                </c:pt>
                <c:pt idx="1133">
                  <c:v>All Others</c:v>
                </c:pt>
                <c:pt idx="1134">
                  <c:v>All Others</c:v>
                </c:pt>
                <c:pt idx="1135">
                  <c:v>All Others</c:v>
                </c:pt>
                <c:pt idx="1136">
                  <c:v>All Others</c:v>
                </c:pt>
                <c:pt idx="1137">
                  <c:v>All Others</c:v>
                </c:pt>
                <c:pt idx="1138">
                  <c:v>All Others</c:v>
                </c:pt>
                <c:pt idx="1139">
                  <c:v>Paysan Bret</c:v>
                </c:pt>
                <c:pt idx="1140">
                  <c:v>All Others</c:v>
                </c:pt>
                <c:pt idx="1141">
                  <c:v>All Others</c:v>
                </c:pt>
                <c:pt idx="1142">
                  <c:v>Limiano</c:v>
                </c:pt>
                <c:pt idx="1143">
                  <c:v>All Others</c:v>
                </c:pt>
                <c:pt idx="1144">
                  <c:v>All Others</c:v>
                </c:pt>
                <c:pt idx="1145">
                  <c:v>All Others</c:v>
                </c:pt>
                <c:pt idx="1146">
                  <c:v>All Others</c:v>
                </c:pt>
                <c:pt idx="1147">
                  <c:v>All Others</c:v>
                </c:pt>
                <c:pt idx="1148">
                  <c:v>All Others</c:v>
                </c:pt>
                <c:pt idx="1149">
                  <c:v>All Others</c:v>
                </c:pt>
                <c:pt idx="1150">
                  <c:v>All Others</c:v>
                </c:pt>
                <c:pt idx="1151">
                  <c:v>All Others</c:v>
                </c:pt>
                <c:pt idx="1152">
                  <c:v>All Others</c:v>
                </c:pt>
                <c:pt idx="1153">
                  <c:v>All Others</c:v>
                </c:pt>
                <c:pt idx="1154">
                  <c:v>Etoile Du V</c:v>
                </c:pt>
                <c:pt idx="1155">
                  <c:v>All Others</c:v>
                </c:pt>
                <c:pt idx="1156">
                  <c:v>All Others</c:v>
                </c:pt>
                <c:pt idx="1157">
                  <c:v>All Others</c:v>
                </c:pt>
                <c:pt idx="1158">
                  <c:v>All Others</c:v>
                </c:pt>
                <c:pt idx="1159">
                  <c:v>All Others</c:v>
                </c:pt>
                <c:pt idx="1160">
                  <c:v>All Others</c:v>
                </c:pt>
                <c:pt idx="1161">
                  <c:v>La Table M</c:v>
                </c:pt>
                <c:pt idx="1162">
                  <c:v>All Others</c:v>
                </c:pt>
                <c:pt idx="1163">
                  <c:v>All Others</c:v>
                </c:pt>
                <c:pt idx="1164">
                  <c:v>All Others</c:v>
                </c:pt>
                <c:pt idx="1165">
                  <c:v>All Others</c:v>
                </c:pt>
                <c:pt idx="1166">
                  <c:v>All Others</c:v>
                </c:pt>
                <c:pt idx="1167">
                  <c:v>All Others</c:v>
                </c:pt>
                <c:pt idx="1168">
                  <c:v>All Others</c:v>
                </c:pt>
                <c:pt idx="1169">
                  <c:v>All Others</c:v>
                </c:pt>
                <c:pt idx="1170">
                  <c:v>All Others</c:v>
                </c:pt>
                <c:pt idx="1171">
                  <c:v>Baillon</c:v>
                </c:pt>
                <c:pt idx="1172">
                  <c:v>All Others</c:v>
                </c:pt>
                <c:pt idx="1173">
                  <c:v>All Others</c:v>
                </c:pt>
                <c:pt idx="1174">
                  <c:v>All Others</c:v>
                </c:pt>
                <c:pt idx="1175">
                  <c:v>All Others</c:v>
                </c:pt>
                <c:pt idx="1176">
                  <c:v>All Others</c:v>
                </c:pt>
                <c:pt idx="1177">
                  <c:v>All Others</c:v>
                </c:pt>
                <c:pt idx="1178">
                  <c:v>All Others</c:v>
                </c:pt>
                <c:pt idx="1179">
                  <c:v>All Others</c:v>
                </c:pt>
                <c:pt idx="1180">
                  <c:v>All Others</c:v>
                </c:pt>
                <c:pt idx="1181">
                  <c:v>All Others</c:v>
                </c:pt>
                <c:pt idx="1182">
                  <c:v>All Others</c:v>
                </c:pt>
                <c:pt idx="1183">
                  <c:v>All Others</c:v>
                </c:pt>
                <c:pt idx="1184">
                  <c:v>All Others</c:v>
                </c:pt>
                <c:pt idx="1185">
                  <c:v>All Others</c:v>
                </c:pt>
                <c:pt idx="1186">
                  <c:v>All Others</c:v>
                </c:pt>
                <c:pt idx="1187">
                  <c:v>All Others</c:v>
                </c:pt>
                <c:pt idx="1188">
                  <c:v>All Others</c:v>
                </c:pt>
                <c:pt idx="1189">
                  <c:v>All Others</c:v>
                </c:pt>
                <c:pt idx="1190">
                  <c:v>All Others</c:v>
                </c:pt>
                <c:pt idx="1191">
                  <c:v>All Others</c:v>
                </c:pt>
                <c:pt idx="1192">
                  <c:v>All Others</c:v>
                </c:pt>
                <c:pt idx="1193">
                  <c:v>All Others</c:v>
                </c:pt>
                <c:pt idx="1194">
                  <c:v>All Others</c:v>
                </c:pt>
                <c:pt idx="1195">
                  <c:v>All Others</c:v>
                </c:pt>
                <c:pt idx="1196">
                  <c:v>All Others</c:v>
                </c:pt>
                <c:pt idx="1197">
                  <c:v>All Others</c:v>
                </c:pt>
                <c:pt idx="1198">
                  <c:v>All Others</c:v>
                </c:pt>
                <c:pt idx="1199">
                  <c:v>Raguin</c:v>
                </c:pt>
                <c:pt idx="1200">
                  <c:v>All Others</c:v>
                </c:pt>
                <c:pt idx="1201">
                  <c:v>All Others</c:v>
                </c:pt>
                <c:pt idx="1202">
                  <c:v>All Others</c:v>
                </c:pt>
                <c:pt idx="1203">
                  <c:v>Etoile Du V</c:v>
                </c:pt>
                <c:pt idx="1204">
                  <c:v>All Others</c:v>
                </c:pt>
                <c:pt idx="1205">
                  <c:v>All Others</c:v>
                </c:pt>
                <c:pt idx="1206">
                  <c:v>All Others</c:v>
                </c:pt>
                <c:pt idx="1207">
                  <c:v>All Others</c:v>
                </c:pt>
                <c:pt idx="1208">
                  <c:v>All Others</c:v>
                </c:pt>
                <c:pt idx="1209">
                  <c:v>Raguin</c:v>
                </c:pt>
                <c:pt idx="1210">
                  <c:v>All Others</c:v>
                </c:pt>
                <c:pt idx="1211">
                  <c:v>All Others</c:v>
                </c:pt>
                <c:pt idx="1212">
                  <c:v>All Others</c:v>
                </c:pt>
                <c:pt idx="1213">
                  <c:v>All Others</c:v>
                </c:pt>
                <c:pt idx="1214">
                  <c:v>All Others</c:v>
                </c:pt>
                <c:pt idx="1215">
                  <c:v>All Others</c:v>
                </c:pt>
                <c:pt idx="1216">
                  <c:v>All Others</c:v>
                </c:pt>
                <c:pt idx="1217">
                  <c:v>All Others</c:v>
                </c:pt>
                <c:pt idx="1218">
                  <c:v>All Others</c:v>
                </c:pt>
                <c:pt idx="1219">
                  <c:v>All Others</c:v>
                </c:pt>
                <c:pt idx="1220">
                  <c:v>All Others</c:v>
                </c:pt>
                <c:pt idx="1221">
                  <c:v>All Others</c:v>
                </c:pt>
                <c:pt idx="1222">
                  <c:v>All Others</c:v>
                </c:pt>
                <c:pt idx="1223">
                  <c:v>All Others</c:v>
                </c:pt>
                <c:pt idx="1224">
                  <c:v>All Others</c:v>
                </c:pt>
                <c:pt idx="1225">
                  <c:v>All Others</c:v>
                </c:pt>
                <c:pt idx="1226">
                  <c:v>All Others</c:v>
                </c:pt>
                <c:pt idx="1227">
                  <c:v>All Others</c:v>
                </c:pt>
                <c:pt idx="1228">
                  <c:v>All Others</c:v>
                </c:pt>
                <c:pt idx="1229">
                  <c:v>All Others</c:v>
                </c:pt>
                <c:pt idx="1230">
                  <c:v>All Others</c:v>
                </c:pt>
                <c:pt idx="1231">
                  <c:v>All Others</c:v>
                </c:pt>
                <c:pt idx="1232">
                  <c:v>All Others</c:v>
                </c:pt>
                <c:pt idx="1233">
                  <c:v>All Others</c:v>
                </c:pt>
                <c:pt idx="1234">
                  <c:v>All Others</c:v>
                </c:pt>
                <c:pt idx="1235">
                  <c:v>Other Suppl</c:v>
                </c:pt>
                <c:pt idx="1236">
                  <c:v>All Others</c:v>
                </c:pt>
                <c:pt idx="1237">
                  <c:v>All Others</c:v>
                </c:pt>
                <c:pt idx="1238">
                  <c:v>Lindahls Pr</c:v>
                </c:pt>
                <c:pt idx="1239">
                  <c:v>Pave D'Affi</c:v>
                </c:pt>
                <c:pt idx="1240">
                  <c:v>Raguin</c:v>
                </c:pt>
                <c:pt idx="1241">
                  <c:v>All Others</c:v>
                </c:pt>
                <c:pt idx="1242">
                  <c:v>All Others</c:v>
                </c:pt>
                <c:pt idx="1243">
                  <c:v>All Others</c:v>
                </c:pt>
                <c:pt idx="1244">
                  <c:v>Lactalis: A</c:v>
                </c:pt>
                <c:pt idx="1245">
                  <c:v>All Others</c:v>
                </c:pt>
                <c:pt idx="1246">
                  <c:v>All Others</c:v>
                </c:pt>
                <c:pt idx="1247">
                  <c:v>All Others</c:v>
                </c:pt>
                <c:pt idx="1248">
                  <c:v>All Others</c:v>
                </c:pt>
                <c:pt idx="1249">
                  <c:v>All Others</c:v>
                </c:pt>
                <c:pt idx="1250">
                  <c:v>Gillot</c:v>
                </c:pt>
                <c:pt idx="1251">
                  <c:v>All Others</c:v>
                </c:pt>
                <c:pt idx="1252">
                  <c:v>All Others</c:v>
                </c:pt>
                <c:pt idx="1253">
                  <c:v>All Others</c:v>
                </c:pt>
                <c:pt idx="1254">
                  <c:v>All Others</c:v>
                </c:pt>
                <c:pt idx="1255">
                  <c:v>All Others</c:v>
                </c:pt>
                <c:pt idx="1256">
                  <c:v>All Others</c:v>
                </c:pt>
                <c:pt idx="1257">
                  <c:v>Limiano</c:v>
                </c:pt>
                <c:pt idx="1258">
                  <c:v>All Others</c:v>
                </c:pt>
                <c:pt idx="1259">
                  <c:v>All Others</c:v>
                </c:pt>
                <c:pt idx="1260">
                  <c:v>All Others</c:v>
                </c:pt>
                <c:pt idx="1261">
                  <c:v>All Others</c:v>
                </c:pt>
                <c:pt idx="1262">
                  <c:v>All Others</c:v>
                </c:pt>
                <c:pt idx="1263">
                  <c:v>All Others</c:v>
                </c:pt>
                <c:pt idx="1264">
                  <c:v>All Others</c:v>
                </c:pt>
                <c:pt idx="1265">
                  <c:v>Other Suppl</c:v>
                </c:pt>
                <c:pt idx="1266">
                  <c:v>All Others</c:v>
                </c:pt>
                <c:pt idx="1267">
                  <c:v>All Others</c:v>
                </c:pt>
                <c:pt idx="1268">
                  <c:v>All Others</c:v>
                </c:pt>
                <c:pt idx="1269">
                  <c:v>Raguin</c:v>
                </c:pt>
                <c:pt idx="1270">
                  <c:v>All Others</c:v>
                </c:pt>
                <c:pt idx="1271">
                  <c:v>All Others</c:v>
                </c:pt>
                <c:pt idx="1272">
                  <c:v>All Others</c:v>
                </c:pt>
                <c:pt idx="1273">
                  <c:v>Raguin</c:v>
                </c:pt>
                <c:pt idx="1274">
                  <c:v>Lincet</c:v>
                </c:pt>
                <c:pt idx="1275">
                  <c:v>All Others</c:v>
                </c:pt>
                <c:pt idx="1276">
                  <c:v>All Others</c:v>
                </c:pt>
                <c:pt idx="1277">
                  <c:v>Raguin</c:v>
                </c:pt>
                <c:pt idx="1278">
                  <c:v>All Others</c:v>
                </c:pt>
                <c:pt idx="1279">
                  <c:v>All Others</c:v>
                </c:pt>
                <c:pt idx="1280">
                  <c:v>Dodin</c:v>
                </c:pt>
                <c:pt idx="1281">
                  <c:v>All Others</c:v>
                </c:pt>
                <c:pt idx="1282">
                  <c:v>All Others</c:v>
                </c:pt>
                <c:pt idx="1283">
                  <c:v>Other Suppl</c:v>
                </c:pt>
                <c:pt idx="1284">
                  <c:v>Savencia: A</c:v>
                </c:pt>
                <c:pt idx="1285">
                  <c:v>All Others</c:v>
                </c:pt>
                <c:pt idx="1286">
                  <c:v>All Others</c:v>
                </c:pt>
                <c:pt idx="1287">
                  <c:v>All Others</c:v>
                </c:pt>
                <c:pt idx="1288">
                  <c:v>All Others</c:v>
                </c:pt>
                <c:pt idx="1289">
                  <c:v>All Others</c:v>
                </c:pt>
                <c:pt idx="1290">
                  <c:v>All Others</c:v>
                </c:pt>
                <c:pt idx="1291">
                  <c:v>All Others</c:v>
                </c:pt>
                <c:pt idx="1292">
                  <c:v>All Others</c:v>
                </c:pt>
                <c:pt idx="1293">
                  <c:v>All Others</c:v>
                </c:pt>
                <c:pt idx="1294">
                  <c:v>All Others</c:v>
                </c:pt>
                <c:pt idx="1295">
                  <c:v>Pave D'Affi</c:v>
                </c:pt>
                <c:pt idx="1296">
                  <c:v>All Others</c:v>
                </c:pt>
                <c:pt idx="1297">
                  <c:v>All Others</c:v>
                </c:pt>
                <c:pt idx="1298">
                  <c:v>All Others</c:v>
                </c:pt>
                <c:pt idx="1299">
                  <c:v>All Others</c:v>
                </c:pt>
                <c:pt idx="1300">
                  <c:v>All Others</c:v>
                </c:pt>
                <c:pt idx="1301">
                  <c:v>All Others</c:v>
                </c:pt>
                <c:pt idx="1302">
                  <c:v>All Others</c:v>
                </c:pt>
                <c:pt idx="1303">
                  <c:v>All Others</c:v>
                </c:pt>
                <c:pt idx="1304">
                  <c:v>All Others</c:v>
                </c:pt>
                <c:pt idx="1305">
                  <c:v>All Others</c:v>
                </c:pt>
                <c:pt idx="1306">
                  <c:v>All Others</c:v>
                </c:pt>
                <c:pt idx="1307">
                  <c:v>All Others</c:v>
                </c:pt>
                <c:pt idx="1308">
                  <c:v>All Others</c:v>
                </c:pt>
                <c:pt idx="1309">
                  <c:v>All Others</c:v>
                </c:pt>
                <c:pt idx="1310">
                  <c:v>Gillot</c:v>
                </c:pt>
                <c:pt idx="1311">
                  <c:v>All Others</c:v>
                </c:pt>
                <c:pt idx="1312">
                  <c:v>All Others</c:v>
                </c:pt>
                <c:pt idx="1313">
                  <c:v>All Others</c:v>
                </c:pt>
                <c:pt idx="1314">
                  <c:v>All Others</c:v>
                </c:pt>
                <c:pt idx="1315">
                  <c:v>All Others</c:v>
                </c:pt>
                <c:pt idx="1316">
                  <c:v>Other Suppl</c:v>
                </c:pt>
                <c:pt idx="1317">
                  <c:v>All Others</c:v>
                </c:pt>
                <c:pt idx="1318">
                  <c:v>All Others</c:v>
                </c:pt>
                <c:pt idx="1319">
                  <c:v>All Others</c:v>
                </c:pt>
                <c:pt idx="1320">
                  <c:v>All Others</c:v>
                </c:pt>
                <c:pt idx="1321">
                  <c:v>All Others</c:v>
                </c:pt>
                <c:pt idx="1322">
                  <c:v>All Others</c:v>
                </c:pt>
                <c:pt idx="1323">
                  <c:v>All Others</c:v>
                </c:pt>
                <c:pt idx="1324">
                  <c:v>All Others</c:v>
                </c:pt>
                <c:pt idx="1325">
                  <c:v>All Others</c:v>
                </c:pt>
                <c:pt idx="1326">
                  <c:v>All Others</c:v>
                </c:pt>
                <c:pt idx="1327">
                  <c:v>All Others</c:v>
                </c:pt>
                <c:pt idx="1328">
                  <c:v>All Others</c:v>
                </c:pt>
                <c:pt idx="1329">
                  <c:v>All Others</c:v>
                </c:pt>
                <c:pt idx="1330">
                  <c:v>All Others</c:v>
                </c:pt>
                <c:pt idx="1331">
                  <c:v>All Others</c:v>
                </c:pt>
                <c:pt idx="1332">
                  <c:v>All Others</c:v>
                </c:pt>
                <c:pt idx="1333">
                  <c:v>All Others</c:v>
                </c:pt>
                <c:pt idx="1334">
                  <c:v>All Others</c:v>
                </c:pt>
                <c:pt idx="1335">
                  <c:v>All Others</c:v>
                </c:pt>
                <c:pt idx="1336">
                  <c:v>All Others</c:v>
                </c:pt>
                <c:pt idx="1337">
                  <c:v>All Others</c:v>
                </c:pt>
                <c:pt idx="1338">
                  <c:v>All Others</c:v>
                </c:pt>
                <c:pt idx="1339">
                  <c:v>All Others</c:v>
                </c:pt>
                <c:pt idx="1340">
                  <c:v>All Others</c:v>
                </c:pt>
                <c:pt idx="1341">
                  <c:v>All Others</c:v>
                </c:pt>
                <c:pt idx="1342">
                  <c:v>All Others</c:v>
                </c:pt>
                <c:pt idx="1343">
                  <c:v>All Others</c:v>
                </c:pt>
                <c:pt idx="1344">
                  <c:v>All Others</c:v>
                </c:pt>
                <c:pt idx="1345">
                  <c:v>All Others</c:v>
                </c:pt>
                <c:pt idx="1346">
                  <c:v>All Others</c:v>
                </c:pt>
                <c:pt idx="1347">
                  <c:v>All Others</c:v>
                </c:pt>
                <c:pt idx="1348">
                  <c:v>All Others</c:v>
                </c:pt>
                <c:pt idx="1349">
                  <c:v>All Others</c:v>
                </c:pt>
                <c:pt idx="1350">
                  <c:v>All Others</c:v>
                </c:pt>
                <c:pt idx="1351">
                  <c:v>All Others</c:v>
                </c:pt>
                <c:pt idx="1352">
                  <c:v>Caprice Des</c:v>
                </c:pt>
                <c:pt idx="1353">
                  <c:v>All Others</c:v>
                </c:pt>
                <c:pt idx="1354">
                  <c:v>All Others</c:v>
                </c:pt>
                <c:pt idx="1355">
                  <c:v>All Others</c:v>
                </c:pt>
                <c:pt idx="1356">
                  <c:v>All Others</c:v>
                </c:pt>
                <c:pt idx="1357">
                  <c:v>All Others</c:v>
                </c:pt>
                <c:pt idx="1358">
                  <c:v>All Others</c:v>
                </c:pt>
                <c:pt idx="1359">
                  <c:v>All Others</c:v>
                </c:pt>
                <c:pt idx="1360">
                  <c:v>All Others</c:v>
                </c:pt>
                <c:pt idx="1361">
                  <c:v>All Others</c:v>
                </c:pt>
                <c:pt idx="1362">
                  <c:v>All Others</c:v>
                </c:pt>
                <c:pt idx="1363">
                  <c:v>All Others</c:v>
                </c:pt>
                <c:pt idx="1364">
                  <c:v>All Others</c:v>
                </c:pt>
                <c:pt idx="1365">
                  <c:v>Other Suppl</c:v>
                </c:pt>
                <c:pt idx="1366">
                  <c:v>All Others</c:v>
                </c:pt>
                <c:pt idx="1367">
                  <c:v>All Others</c:v>
                </c:pt>
                <c:pt idx="1368">
                  <c:v>All Others</c:v>
                </c:pt>
                <c:pt idx="1369">
                  <c:v>All Others</c:v>
                </c:pt>
                <c:pt idx="1370">
                  <c:v>All Others</c:v>
                </c:pt>
                <c:pt idx="1371">
                  <c:v>All Others</c:v>
                </c:pt>
                <c:pt idx="1372">
                  <c:v>All Others</c:v>
                </c:pt>
                <c:pt idx="1373">
                  <c:v>All Others</c:v>
                </c:pt>
                <c:pt idx="1374">
                  <c:v>All Others</c:v>
                </c:pt>
                <c:pt idx="1375">
                  <c:v>All Others</c:v>
                </c:pt>
                <c:pt idx="1376">
                  <c:v>All Others</c:v>
                </c:pt>
                <c:pt idx="1377">
                  <c:v>All Others</c:v>
                </c:pt>
                <c:pt idx="1378">
                  <c:v>All Others</c:v>
                </c:pt>
                <c:pt idx="1379">
                  <c:v>All Others</c:v>
                </c:pt>
                <c:pt idx="1380">
                  <c:v>Private Lab</c:v>
                </c:pt>
                <c:pt idx="1381">
                  <c:v>All Others</c:v>
                </c:pt>
                <c:pt idx="1382">
                  <c:v>All Others</c:v>
                </c:pt>
                <c:pt idx="1383">
                  <c:v>All Others</c:v>
                </c:pt>
                <c:pt idx="1384">
                  <c:v>Richesmonts</c:v>
                </c:pt>
                <c:pt idx="1385">
                  <c:v>All Others</c:v>
                </c:pt>
                <c:pt idx="1386">
                  <c:v>Lactalis: A</c:v>
                </c:pt>
                <c:pt idx="1387">
                  <c:v>Lactalis: A</c:v>
                </c:pt>
                <c:pt idx="1388">
                  <c:v>All Others</c:v>
                </c:pt>
                <c:pt idx="1389">
                  <c:v>Milleret: A</c:v>
                </c:pt>
                <c:pt idx="1390">
                  <c:v>Lactalis: A</c:v>
                </c:pt>
                <c:pt idx="1391">
                  <c:v>All Others</c:v>
                </c:pt>
                <c:pt idx="1392">
                  <c:v>All Others</c:v>
                </c:pt>
                <c:pt idx="1393">
                  <c:v>All Others</c:v>
                </c:pt>
                <c:pt idx="1394">
                  <c:v>All Others</c:v>
                </c:pt>
                <c:pt idx="1395">
                  <c:v>All Others</c:v>
                </c:pt>
                <c:pt idx="1396">
                  <c:v>All Others</c:v>
                </c:pt>
                <c:pt idx="1397">
                  <c:v>All Others</c:v>
                </c:pt>
                <c:pt idx="1398">
                  <c:v>All Others</c:v>
                </c:pt>
                <c:pt idx="1399">
                  <c:v>All Others</c:v>
                </c:pt>
                <c:pt idx="1400">
                  <c:v>La Vache Qu</c:v>
                </c:pt>
                <c:pt idx="1401">
                  <c:v>All Others</c:v>
                </c:pt>
                <c:pt idx="1402">
                  <c:v>All Others</c:v>
                </c:pt>
                <c:pt idx="1403">
                  <c:v>Savencia: A</c:v>
                </c:pt>
                <c:pt idx="1404">
                  <c:v>All Others</c:v>
                </c:pt>
                <c:pt idx="1405">
                  <c:v>All Others</c:v>
                </c:pt>
                <c:pt idx="1406">
                  <c:v>Raguin</c:v>
                </c:pt>
                <c:pt idx="1407">
                  <c:v>All Others</c:v>
                </c:pt>
                <c:pt idx="1408">
                  <c:v>Private Lab</c:v>
                </c:pt>
                <c:pt idx="1409">
                  <c:v>All Others</c:v>
                </c:pt>
                <c:pt idx="1410">
                  <c:v>All Others</c:v>
                </c:pt>
                <c:pt idx="1411">
                  <c:v>Private Lab</c:v>
                </c:pt>
                <c:pt idx="1412">
                  <c:v>Lactalis: A</c:v>
                </c:pt>
                <c:pt idx="1413">
                  <c:v>All Others</c:v>
                </c:pt>
                <c:pt idx="1414">
                  <c:v>All Others</c:v>
                </c:pt>
                <c:pt idx="1415">
                  <c:v>All Others</c:v>
                </c:pt>
                <c:pt idx="1416">
                  <c:v>Etoile Du V</c:v>
                </c:pt>
                <c:pt idx="1417">
                  <c:v>All Others</c:v>
                </c:pt>
                <c:pt idx="1418">
                  <c:v>All Others</c:v>
                </c:pt>
                <c:pt idx="1419">
                  <c:v>All Others</c:v>
                </c:pt>
                <c:pt idx="1420">
                  <c:v>All Others</c:v>
                </c:pt>
                <c:pt idx="1421">
                  <c:v>Private Lab</c:v>
                </c:pt>
                <c:pt idx="1422">
                  <c:v>Other Suppl</c:v>
                </c:pt>
                <c:pt idx="1423">
                  <c:v>All Others</c:v>
                </c:pt>
                <c:pt idx="1424">
                  <c:v>All Others</c:v>
                </c:pt>
                <c:pt idx="1425">
                  <c:v>All Others</c:v>
                </c:pt>
                <c:pt idx="1426">
                  <c:v>All Others</c:v>
                </c:pt>
                <c:pt idx="1427">
                  <c:v>All Others</c:v>
                </c:pt>
                <c:pt idx="1428">
                  <c:v>All Others</c:v>
                </c:pt>
                <c:pt idx="1429">
                  <c:v>All Others</c:v>
                </c:pt>
                <c:pt idx="1430">
                  <c:v>All Others</c:v>
                </c:pt>
                <c:pt idx="1431">
                  <c:v>Private Lab</c:v>
                </c:pt>
                <c:pt idx="1432">
                  <c:v>All Others</c:v>
                </c:pt>
                <c:pt idx="1433">
                  <c:v>All Others</c:v>
                </c:pt>
                <c:pt idx="1434">
                  <c:v>Gillot</c:v>
                </c:pt>
                <c:pt idx="1435">
                  <c:v>Private Lab</c:v>
                </c:pt>
                <c:pt idx="1436">
                  <c:v>All Others</c:v>
                </c:pt>
                <c:pt idx="1437">
                  <c:v>Private Lab</c:v>
                </c:pt>
                <c:pt idx="1438">
                  <c:v>Pave D'Affi</c:v>
                </c:pt>
                <c:pt idx="1439">
                  <c:v>All Others</c:v>
                </c:pt>
                <c:pt idx="1440">
                  <c:v>All Others</c:v>
                </c:pt>
                <c:pt idx="1441">
                  <c:v>All Others</c:v>
                </c:pt>
                <c:pt idx="1442">
                  <c:v>All Others</c:v>
                </c:pt>
                <c:pt idx="1443">
                  <c:v>All Others</c:v>
                </c:pt>
                <c:pt idx="1444">
                  <c:v>All Others</c:v>
                </c:pt>
                <c:pt idx="1445">
                  <c:v>Private Lab</c:v>
                </c:pt>
                <c:pt idx="1446">
                  <c:v>O'Tapas Ape</c:v>
                </c:pt>
                <c:pt idx="1447">
                  <c:v>All Others</c:v>
                </c:pt>
                <c:pt idx="1448">
                  <c:v>O'Tapas Ape</c:v>
                </c:pt>
                <c:pt idx="1449">
                  <c:v>Private Lab</c:v>
                </c:pt>
                <c:pt idx="1450">
                  <c:v>All Others</c:v>
                </c:pt>
                <c:pt idx="1451">
                  <c:v>All Others</c:v>
                </c:pt>
                <c:pt idx="1452">
                  <c:v>All Others</c:v>
                </c:pt>
                <c:pt idx="1453">
                  <c:v>All Others</c:v>
                </c:pt>
              </c:strCache>
            </c:strRef>
          </c:cat>
          <c:val>
            <c:numRef>
              <c:f>Sheet1!$C$2:$C$1455</c:f>
              <c:numCache>
                <c:formatCode>General</c:formatCode>
                <c:ptCount val="1454"/>
                <c:pt idx="0">
                  <c:v>2.1847227523232281E-2</c:v>
                </c:pt>
                <c:pt idx="1">
                  <c:v>4.090752881726166E-2</c:v>
                </c:pt>
                <c:pt idx="2">
                  <c:v>5.8482492339729658E-2</c:v>
                </c:pt>
                <c:pt idx="3">
                  <c:v>7.3237028775016255E-2</c:v>
                </c:pt>
                <c:pt idx="4">
                  <c:v>8.699700220706269E-2</c:v>
                </c:pt>
                <c:pt idx="5">
                  <c:v>9.7947293859672213E-2</c:v>
                </c:pt>
                <c:pt idx="6">
                  <c:v>0.10772645411777867</c:v>
                </c:pt>
                <c:pt idx="7">
                  <c:v>0.11654234855120253</c:v>
                </c:pt>
                <c:pt idx="8">
                  <c:v>0.12516094350765775</c:v>
                </c:pt>
                <c:pt idx="9">
                  <c:v>0.13364993859813309</c:v>
                </c:pt>
                <c:pt idx="10">
                  <c:v>0.14204334861961143</c:v>
                </c:pt>
                <c:pt idx="11">
                  <c:v>0.1503811119428031</c:v>
                </c:pt>
                <c:pt idx="12">
                  <c:v>0.15866888094852918</c:v>
                </c:pt>
                <c:pt idx="13">
                  <c:v>0.16659992318451447</c:v>
                </c:pt>
                <c:pt idx="14">
                  <c:v>0.17399195434746961</c:v>
                </c:pt>
                <c:pt idx="15">
                  <c:v>0.18115514231589278</c:v>
                </c:pt>
                <c:pt idx="16">
                  <c:v>0.18829431454047157</c:v>
                </c:pt>
                <c:pt idx="17">
                  <c:v>0.19542417327999334</c:v>
                </c:pt>
                <c:pt idx="18">
                  <c:v>0.20227962557203311</c:v>
                </c:pt>
                <c:pt idx="19">
                  <c:v>0.20909264755295021</c:v>
                </c:pt>
                <c:pt idx="20">
                  <c:v>0.21583973741790463</c:v>
                </c:pt>
                <c:pt idx="21">
                  <c:v>0.22251512520593406</c:v>
                </c:pt>
                <c:pt idx="22">
                  <c:v>0.22906429640172454</c:v>
                </c:pt>
                <c:pt idx="23">
                  <c:v>0.23553427737240276</c:v>
                </c:pt>
                <c:pt idx="24">
                  <c:v>0.24197000554113485</c:v>
                </c:pt>
                <c:pt idx="25">
                  <c:v>0.24806127225566396</c:v>
                </c:pt>
                <c:pt idx="26">
                  <c:v>0.25383197852437411</c:v>
                </c:pt>
                <c:pt idx="27">
                  <c:v>0.25935493774617019</c:v>
                </c:pt>
                <c:pt idx="28">
                  <c:v>0.26483043536467166</c:v>
                </c:pt>
                <c:pt idx="29">
                  <c:v>0.27028187931025094</c:v>
                </c:pt>
                <c:pt idx="30">
                  <c:v>0.27555888458228656</c:v>
                </c:pt>
                <c:pt idx="31">
                  <c:v>0.28077831920356344</c:v>
                </c:pt>
                <c:pt idx="32">
                  <c:v>0.28597631062069861</c:v>
                </c:pt>
                <c:pt idx="33">
                  <c:v>0.29109484156804211</c:v>
                </c:pt>
                <c:pt idx="34">
                  <c:v>0.29621150071539554</c:v>
                </c:pt>
                <c:pt idx="35">
                  <c:v>0.301252762545418</c:v>
                </c:pt>
                <c:pt idx="36">
                  <c:v>0.30616136458110799</c:v>
                </c:pt>
                <c:pt idx="37">
                  <c:v>0.31106406769697109</c:v>
                </c:pt>
                <c:pt idx="38">
                  <c:v>0.31595148729092937</c:v>
                </c:pt>
                <c:pt idx="39">
                  <c:v>0.32073722187195136</c:v>
                </c:pt>
                <c:pt idx="40">
                  <c:v>0.32552288723240635</c:v>
                </c:pt>
                <c:pt idx="41">
                  <c:v>0.33020213687569477</c:v>
                </c:pt>
                <c:pt idx="42">
                  <c:v>0.33468504285477541</c:v>
                </c:pt>
                <c:pt idx="43">
                  <c:v>0.33908739031726171</c:v>
                </c:pt>
                <c:pt idx="44">
                  <c:v>0.34343081021623045</c:v>
                </c:pt>
                <c:pt idx="45">
                  <c:v>0.34776062969612237</c:v>
                </c:pt>
                <c:pt idx="46">
                  <c:v>0.35204750397766027</c:v>
                </c:pt>
                <c:pt idx="47">
                  <c:v>0.35631605851461445</c:v>
                </c:pt>
                <c:pt idx="48">
                  <c:v>0.36053928970003574</c:v>
                </c:pt>
                <c:pt idx="49">
                  <c:v>0.36475724684718708</c:v>
                </c:pt>
                <c:pt idx="50">
                  <c:v>0.36894873992852123</c:v>
                </c:pt>
                <c:pt idx="51">
                  <c:v>0.37313488975101844</c:v>
                </c:pt>
                <c:pt idx="52">
                  <c:v>0.37717917249554406</c:v>
                </c:pt>
                <c:pt idx="53">
                  <c:v>0.38120338791322567</c:v>
                </c:pt>
                <c:pt idx="54">
                  <c:v>0.38518208654107755</c:v>
                </c:pt>
                <c:pt idx="55">
                  <c:v>0.38914816332006014</c:v>
                </c:pt>
                <c:pt idx="56">
                  <c:v>0.39299408078053055</c:v>
                </c:pt>
                <c:pt idx="57">
                  <c:v>0.3968264537673139</c:v>
                </c:pt>
                <c:pt idx="58">
                  <c:v>0.40064952180308272</c:v>
                </c:pt>
                <c:pt idx="59">
                  <c:v>0.40446364331762236</c:v>
                </c:pt>
                <c:pt idx="60">
                  <c:v>0.40826173790033204</c:v>
                </c:pt>
                <c:pt idx="61">
                  <c:v>0.41204572191786826</c:v>
                </c:pt>
                <c:pt idx="62">
                  <c:v>0.41581404407094846</c:v>
                </c:pt>
                <c:pt idx="63">
                  <c:v>0.4195781428212142</c:v>
                </c:pt>
                <c:pt idx="64">
                  <c:v>0.42332949266019992</c:v>
                </c:pt>
                <c:pt idx="65">
                  <c:v>0.42693563481768565</c:v>
                </c:pt>
                <c:pt idx="66">
                  <c:v>0.4305368253340629</c:v>
                </c:pt>
                <c:pt idx="67">
                  <c:v>0.43410917742435184</c:v>
                </c:pt>
                <c:pt idx="68">
                  <c:v>0.43765304193252225</c:v>
                </c:pt>
                <c:pt idx="69">
                  <c:v>0.44118807939605859</c:v>
                </c:pt>
                <c:pt idx="70">
                  <c:v>0.44469504934201315</c:v>
                </c:pt>
                <c:pt idx="71">
                  <c:v>0.44819483741708377</c:v>
                </c:pt>
                <c:pt idx="72">
                  <c:v>0.45166322211217896</c:v>
                </c:pt>
                <c:pt idx="73">
                  <c:v>0.45510867773150915</c:v>
                </c:pt>
                <c:pt idx="74">
                  <c:v>0.45850145460289154</c:v>
                </c:pt>
                <c:pt idx="75">
                  <c:v>0.46182579414272174</c:v>
                </c:pt>
                <c:pt idx="76">
                  <c:v>0.46510516307144267</c:v>
                </c:pt>
                <c:pt idx="77">
                  <c:v>0.46838305940371755</c:v>
                </c:pt>
                <c:pt idx="78">
                  <c:v>0.47165822199770902</c:v>
                </c:pt>
                <c:pt idx="79">
                  <c:v>0.47489964383230482</c:v>
                </c:pt>
                <c:pt idx="80">
                  <c:v>0.47812219120955385</c:v>
                </c:pt>
                <c:pt idx="81">
                  <c:v>0.48130235189411968</c:v>
                </c:pt>
                <c:pt idx="82">
                  <c:v>0.48446043975185216</c:v>
                </c:pt>
                <c:pt idx="83">
                  <c:v>0.48761108687274463</c:v>
                </c:pt>
                <c:pt idx="84">
                  <c:v>0.49075289082914492</c:v>
                </c:pt>
                <c:pt idx="85">
                  <c:v>0.49383165760644665</c:v>
                </c:pt>
                <c:pt idx="86">
                  <c:v>0.49686946287616401</c:v>
                </c:pt>
                <c:pt idx="87">
                  <c:v>0.49987997058857925</c:v>
                </c:pt>
                <c:pt idx="88">
                  <c:v>0.50286028201392041</c:v>
                </c:pt>
                <c:pt idx="89">
                  <c:v>0.50582216180389827</c:v>
                </c:pt>
                <c:pt idx="90">
                  <c:v>0.50877472431591131</c:v>
                </c:pt>
                <c:pt idx="91">
                  <c:v>0.51170031925359927</c:v>
                </c:pt>
                <c:pt idx="92">
                  <c:v>0.51460235833751133</c:v>
                </c:pt>
                <c:pt idx="93">
                  <c:v>0.51749176419383069</c:v>
                </c:pt>
                <c:pt idx="94">
                  <c:v>0.5203761302239357</c:v>
                </c:pt>
                <c:pt idx="95">
                  <c:v>0.52325117328671422</c:v>
                </c:pt>
                <c:pt idx="96">
                  <c:v>0.52605534397114484</c:v>
                </c:pt>
                <c:pt idx="97">
                  <c:v>0.5288579728385624</c:v>
                </c:pt>
                <c:pt idx="98">
                  <c:v>0.53160109003466416</c:v>
                </c:pt>
                <c:pt idx="99">
                  <c:v>0.53433063146558957</c:v>
                </c:pt>
                <c:pt idx="100">
                  <c:v>0.53705388615186744</c:v>
                </c:pt>
                <c:pt idx="101">
                  <c:v>0.53977115657789332</c:v>
                </c:pt>
                <c:pt idx="102">
                  <c:v>0.54248062214793225</c:v>
                </c:pt>
                <c:pt idx="103">
                  <c:v>0.54517849943647234</c:v>
                </c:pt>
                <c:pt idx="104">
                  <c:v>0.54786922330093679</c:v>
                </c:pt>
                <c:pt idx="105">
                  <c:v>0.55052022404220746</c:v>
                </c:pt>
                <c:pt idx="106">
                  <c:v>0.5531622678317526</c:v>
                </c:pt>
                <c:pt idx="107">
                  <c:v>0.55579073680434843</c:v>
                </c:pt>
                <c:pt idx="108">
                  <c:v>0.55839333245651401</c:v>
                </c:pt>
                <c:pt idx="109">
                  <c:v>0.56097775059813759</c:v>
                </c:pt>
                <c:pt idx="110">
                  <c:v>0.56354720002920222</c:v>
                </c:pt>
                <c:pt idx="111">
                  <c:v>0.56611576002339214</c:v>
                </c:pt>
                <c:pt idx="112">
                  <c:v>0.5686204218484171</c:v>
                </c:pt>
                <c:pt idx="113">
                  <c:v>0.57112428905926182</c:v>
                </c:pt>
                <c:pt idx="114">
                  <c:v>0.57361641627229643</c:v>
                </c:pt>
                <c:pt idx="115">
                  <c:v>0.57609052812159678</c:v>
                </c:pt>
                <c:pt idx="116">
                  <c:v>0.57852802987676488</c:v>
                </c:pt>
                <c:pt idx="117">
                  <c:v>0.58095107496392451</c:v>
                </c:pt>
                <c:pt idx="118">
                  <c:v>0.58333775459950377</c:v>
                </c:pt>
                <c:pt idx="119">
                  <c:v>0.58570666256567361</c:v>
                </c:pt>
                <c:pt idx="120">
                  <c:v>0.58805421551280768</c:v>
                </c:pt>
                <c:pt idx="121">
                  <c:v>0.59037107150904067</c:v>
                </c:pt>
                <c:pt idx="122">
                  <c:v>0.59268791802300413</c:v>
                </c:pt>
                <c:pt idx="123">
                  <c:v>0.59496199381237158</c:v>
                </c:pt>
                <c:pt idx="124">
                  <c:v>0.59722112080394596</c:v>
                </c:pt>
                <c:pt idx="125">
                  <c:v>0.59947821100404175</c:v>
                </c:pt>
                <c:pt idx="126">
                  <c:v>0.60170398031990635</c:v>
                </c:pt>
                <c:pt idx="127">
                  <c:v>0.60385315660426198</c:v>
                </c:pt>
                <c:pt idx="128">
                  <c:v>0.60599029040641184</c:v>
                </c:pt>
                <c:pt idx="129">
                  <c:v>0.60811332502211157</c:v>
                </c:pt>
                <c:pt idx="130">
                  <c:v>0.6101928246422974</c:v>
                </c:pt>
                <c:pt idx="131">
                  <c:v>0.61226653059584724</c:v>
                </c:pt>
                <c:pt idx="132">
                  <c:v>0.61429739850068787</c:v>
                </c:pt>
                <c:pt idx="133">
                  <c:v>0.61629615944115967</c:v>
                </c:pt>
                <c:pt idx="134">
                  <c:v>0.61828404801147629</c:v>
                </c:pt>
                <c:pt idx="135">
                  <c:v>0.62026775869387185</c:v>
                </c:pt>
                <c:pt idx="136">
                  <c:v>0.62225095638548999</c:v>
                </c:pt>
                <c:pt idx="137">
                  <c:v>0.6242220916821366</c:v>
                </c:pt>
                <c:pt idx="138">
                  <c:v>0.62619229107878815</c:v>
                </c:pt>
                <c:pt idx="139">
                  <c:v>0.62815493121023147</c:v>
                </c:pt>
                <c:pt idx="140">
                  <c:v>0.63009603521129254</c:v>
                </c:pt>
                <c:pt idx="141">
                  <c:v>0.63199011474168076</c:v>
                </c:pt>
                <c:pt idx="142">
                  <c:v>0.63387251496078334</c:v>
                </c:pt>
                <c:pt idx="143">
                  <c:v>0.63575064057281638</c:v>
                </c:pt>
                <c:pt idx="144">
                  <c:v>0.63762093857141577</c:v>
                </c:pt>
                <c:pt idx="145">
                  <c:v>0.63948645560975681</c:v>
                </c:pt>
                <c:pt idx="146">
                  <c:v>0.64134761649351102</c:v>
                </c:pt>
                <c:pt idx="147">
                  <c:v>0.64320732753826582</c:v>
                </c:pt>
                <c:pt idx="148">
                  <c:v>0.64506245675042073</c:v>
                </c:pt>
                <c:pt idx="149">
                  <c:v>0.64688479532657928</c:v>
                </c:pt>
                <c:pt idx="150">
                  <c:v>0.64870272749212288</c:v>
                </c:pt>
                <c:pt idx="151">
                  <c:v>0.6505178993690286</c:v>
                </c:pt>
                <c:pt idx="152">
                  <c:v>0.65232268057506737</c:v>
                </c:pt>
                <c:pt idx="153">
                  <c:v>0.65412575686905849</c:v>
                </c:pt>
                <c:pt idx="154">
                  <c:v>0.65591251891845515</c:v>
                </c:pt>
                <c:pt idx="155">
                  <c:v>0.65769192177852909</c:v>
                </c:pt>
                <c:pt idx="156">
                  <c:v>0.65946164703439902</c:v>
                </c:pt>
                <c:pt idx="157">
                  <c:v>0.66122379785342966</c:v>
                </c:pt>
                <c:pt idx="158">
                  <c:v>0.66298386731431536</c:v>
                </c:pt>
                <c:pt idx="159">
                  <c:v>0.664740120161746</c:v>
                </c:pt>
                <c:pt idx="160">
                  <c:v>0.66649487670705698</c:v>
                </c:pt>
                <c:pt idx="161">
                  <c:v>0.66824278231268797</c:v>
                </c:pt>
                <c:pt idx="162">
                  <c:v>0.66998973020910413</c:v>
                </c:pt>
                <c:pt idx="163">
                  <c:v>0.67173286907788088</c:v>
                </c:pt>
                <c:pt idx="164">
                  <c:v>0.67344089510287208</c:v>
                </c:pt>
                <c:pt idx="165">
                  <c:v>0.67513931843358799</c:v>
                </c:pt>
                <c:pt idx="166">
                  <c:v>0.67683767918132542</c:v>
                </c:pt>
                <c:pt idx="167">
                  <c:v>0.67852185540218768</c:v>
                </c:pt>
                <c:pt idx="168">
                  <c:v>0.68018728138343298</c:v>
                </c:pt>
                <c:pt idx="169">
                  <c:v>0.68184710998102005</c:v>
                </c:pt>
                <c:pt idx="170">
                  <c:v>0.6834943707786737</c:v>
                </c:pt>
                <c:pt idx="171">
                  <c:v>0.68513669889975781</c:v>
                </c:pt>
                <c:pt idx="172">
                  <c:v>0.68677669248610251</c:v>
                </c:pt>
                <c:pt idx="173">
                  <c:v>0.68840779075547298</c:v>
                </c:pt>
                <c:pt idx="174">
                  <c:v>0.6900199662079225</c:v>
                </c:pt>
                <c:pt idx="175">
                  <c:v>0.69159946670806294</c:v>
                </c:pt>
                <c:pt idx="176">
                  <c:v>0.69316668482458044</c:v>
                </c:pt>
                <c:pt idx="177">
                  <c:v>0.69473298126450711</c:v>
                </c:pt>
                <c:pt idx="178">
                  <c:v>0.69629659232572461</c:v>
                </c:pt>
                <c:pt idx="179">
                  <c:v>0.6978162625502955</c:v>
                </c:pt>
                <c:pt idx="180">
                  <c:v>0.69932867314937297</c:v>
                </c:pt>
                <c:pt idx="181">
                  <c:v>0.70084098608107515</c:v>
                </c:pt>
                <c:pt idx="182">
                  <c:v>0.70235033106243838</c:v>
                </c:pt>
                <c:pt idx="183">
                  <c:v>0.70385850687997809</c:v>
                </c:pt>
                <c:pt idx="184">
                  <c:v>0.70536471228192532</c:v>
                </c:pt>
                <c:pt idx="185">
                  <c:v>0.70685606939813561</c:v>
                </c:pt>
                <c:pt idx="186">
                  <c:v>0.70834673051576813</c:v>
                </c:pt>
                <c:pt idx="187">
                  <c:v>0.709834505230579</c:v>
                </c:pt>
                <c:pt idx="188">
                  <c:v>0.71132067364894447</c:v>
                </c:pt>
                <c:pt idx="189">
                  <c:v>0.71280395376803452</c:v>
                </c:pt>
                <c:pt idx="190">
                  <c:v>0.71426864769076914</c:v>
                </c:pt>
                <c:pt idx="191">
                  <c:v>0.71572179126108271</c:v>
                </c:pt>
                <c:pt idx="192">
                  <c:v>0.71717214514772309</c:v>
                </c:pt>
                <c:pt idx="193">
                  <c:v>0.71861760902800642</c:v>
                </c:pt>
                <c:pt idx="194">
                  <c:v>0.72003369304461562</c:v>
                </c:pt>
                <c:pt idx="195">
                  <c:v>0.72144396253359611</c:v>
                </c:pt>
                <c:pt idx="196">
                  <c:v>0.72285197144953894</c:v>
                </c:pt>
                <c:pt idx="197">
                  <c:v>0.72425573799812837</c:v>
                </c:pt>
                <c:pt idx="198">
                  <c:v>0.72565854304459521</c:v>
                </c:pt>
                <c:pt idx="199">
                  <c:v>0.72705335833082074</c:v>
                </c:pt>
                <c:pt idx="200">
                  <c:v>0.7284472396135051</c:v>
                </c:pt>
                <c:pt idx="201">
                  <c:v>0.72984102038413323</c:v>
                </c:pt>
                <c:pt idx="202">
                  <c:v>0.73123225421718618</c:v>
                </c:pt>
                <c:pt idx="203">
                  <c:v>0.73261920301267325</c:v>
                </c:pt>
                <c:pt idx="204">
                  <c:v>0.73399623335431219</c:v>
                </c:pt>
                <c:pt idx="205">
                  <c:v>0.73536624397187478</c:v>
                </c:pt>
                <c:pt idx="206">
                  <c:v>0.73673526558873337</c:v>
                </c:pt>
                <c:pt idx="207">
                  <c:v>0.73810386714105525</c:v>
                </c:pt>
                <c:pt idx="208">
                  <c:v>0.73946160865017219</c:v>
                </c:pt>
                <c:pt idx="209">
                  <c:v>0.74081112997990006</c:v>
                </c:pt>
                <c:pt idx="210">
                  <c:v>0.74212929154809204</c:v>
                </c:pt>
                <c:pt idx="211">
                  <c:v>0.74344679883969178</c:v>
                </c:pt>
                <c:pt idx="212">
                  <c:v>0.74476266000931435</c:v>
                </c:pt>
                <c:pt idx="213">
                  <c:v>0.74606760803502314</c:v>
                </c:pt>
                <c:pt idx="214">
                  <c:v>0.74736934251961429</c:v>
                </c:pt>
                <c:pt idx="215">
                  <c:v>0.74866125811418649</c:v>
                </c:pt>
                <c:pt idx="216">
                  <c:v>0.74994846576197516</c:v>
                </c:pt>
                <c:pt idx="217">
                  <c:v>0.7512355956551543</c:v>
                </c:pt>
                <c:pt idx="218">
                  <c:v>0.75251814845686826</c:v>
                </c:pt>
                <c:pt idx="219">
                  <c:v>0.75379428555507022</c:v>
                </c:pt>
                <c:pt idx="220">
                  <c:v>0.75506866274406159</c:v>
                </c:pt>
                <c:pt idx="221">
                  <c:v>0.75633768339903884</c:v>
                </c:pt>
                <c:pt idx="222">
                  <c:v>0.75760117020156315</c:v>
                </c:pt>
                <c:pt idx="223">
                  <c:v>0.75886087737148333</c:v>
                </c:pt>
                <c:pt idx="224">
                  <c:v>0.76011574953220928</c:v>
                </c:pt>
                <c:pt idx="225">
                  <c:v>0.76135226686395452</c:v>
                </c:pt>
                <c:pt idx="226">
                  <c:v>0.7625858181418147</c:v>
                </c:pt>
                <c:pt idx="227">
                  <c:v>0.76381770338493193</c:v>
                </c:pt>
                <c:pt idx="228">
                  <c:v>0.76502930131255387</c:v>
                </c:pt>
                <c:pt idx="229">
                  <c:v>0.76623482489836403</c:v>
                </c:pt>
                <c:pt idx="230">
                  <c:v>0.7674345026650562</c:v>
                </c:pt>
                <c:pt idx="231">
                  <c:v>0.76862653108498047</c:v>
                </c:pt>
                <c:pt idx="232">
                  <c:v>0.76980852536736921</c:v>
                </c:pt>
                <c:pt idx="233">
                  <c:v>0.77098645270438948</c:v>
                </c:pt>
                <c:pt idx="234">
                  <c:v>0.77215707774570375</c:v>
                </c:pt>
                <c:pt idx="235">
                  <c:v>0.77332173559485107</c:v>
                </c:pt>
                <c:pt idx="236">
                  <c:v>0.77448292862274015</c:v>
                </c:pt>
                <c:pt idx="237">
                  <c:v>0.77564398415772218</c:v>
                </c:pt>
                <c:pt idx="238">
                  <c:v>0.7768050396927042</c:v>
                </c:pt>
                <c:pt idx="239">
                  <c:v>0.77794622702850069</c:v>
                </c:pt>
                <c:pt idx="240">
                  <c:v>0.77908509974232365</c:v>
                </c:pt>
                <c:pt idx="241">
                  <c:v>0.78021743537958543</c:v>
                </c:pt>
                <c:pt idx="242">
                  <c:v>0.7813452403885025</c:v>
                </c:pt>
                <c:pt idx="243">
                  <c:v>0.78246418706129628</c:v>
                </c:pt>
                <c:pt idx="244">
                  <c:v>0.78357866189581593</c:v>
                </c:pt>
                <c:pt idx="245">
                  <c:v>0.78468818319277311</c:v>
                </c:pt>
                <c:pt idx="246">
                  <c:v>0.78579647463938218</c:v>
                </c:pt>
                <c:pt idx="247">
                  <c:v>0.78689864338460525</c:v>
                </c:pt>
                <c:pt idx="248">
                  <c:v>0.7880005305064256</c:v>
                </c:pt>
                <c:pt idx="249">
                  <c:v>0.78910126458428043</c:v>
                </c:pt>
                <c:pt idx="250">
                  <c:v>0.79019945362101396</c:v>
                </c:pt>
                <c:pt idx="251">
                  <c:v>0.79129456092017525</c:v>
                </c:pt>
                <c:pt idx="252">
                  <c:v>0.79238332932220701</c:v>
                </c:pt>
                <c:pt idx="253">
                  <c:v>0.79347154870083736</c:v>
                </c:pt>
                <c:pt idx="254">
                  <c:v>0.79455824143408571</c:v>
                </c:pt>
                <c:pt idx="255">
                  <c:v>0.79563951884324935</c:v>
                </c:pt>
                <c:pt idx="256">
                  <c:v>0.7967072650539031</c:v>
                </c:pt>
                <c:pt idx="257">
                  <c:v>0.79776995247380356</c:v>
                </c:pt>
                <c:pt idx="258">
                  <c:v>0.79883234404689707</c:v>
                </c:pt>
                <c:pt idx="259">
                  <c:v>0.79989131726185259</c:v>
                </c:pt>
                <c:pt idx="260">
                  <c:v>0.80094197547472457</c:v>
                </c:pt>
                <c:pt idx="261">
                  <c:v>0.80199087377838596</c:v>
                </c:pt>
                <c:pt idx="262">
                  <c:v>0.80303462510618817</c:v>
                </c:pt>
                <c:pt idx="263">
                  <c:v>0.80407716744463509</c:v>
                </c:pt>
                <c:pt idx="264">
                  <c:v>0.80510997718171518</c:v>
                </c:pt>
                <c:pt idx="265">
                  <c:v>0.80613922348193467</c:v>
                </c:pt>
                <c:pt idx="266">
                  <c:v>0.80715580241839147</c:v>
                </c:pt>
                <c:pt idx="267">
                  <c:v>0.80816631080594425</c:v>
                </c:pt>
                <c:pt idx="268">
                  <c:v>0.80917547176300775</c:v>
                </c:pt>
                <c:pt idx="269">
                  <c:v>0.81018299133922889</c:v>
                </c:pt>
                <c:pt idx="270">
                  <c:v>0.81118749839844473</c:v>
                </c:pt>
                <c:pt idx="271">
                  <c:v>0.81219153324064175</c:v>
                </c:pt>
                <c:pt idx="272">
                  <c:v>0.81319483889631783</c:v>
                </c:pt>
                <c:pt idx="273">
                  <c:v>0.81419770078178355</c:v>
                </c:pt>
                <c:pt idx="274">
                  <c:v>0.81518781754887704</c:v>
                </c:pt>
                <c:pt idx="275">
                  <c:v>0.81617620664647617</c:v>
                </c:pt>
                <c:pt idx="276">
                  <c:v>0.81716276092493612</c:v>
                </c:pt>
                <c:pt idx="277">
                  <c:v>0.81814798578921866</c:v>
                </c:pt>
                <c:pt idx="278">
                  <c:v>0.81913233259534979</c:v>
                </c:pt>
                <c:pt idx="279">
                  <c:v>0.82011583453127268</c:v>
                </c:pt>
                <c:pt idx="280">
                  <c:v>0.82109024771192463</c:v>
                </c:pt>
                <c:pt idx="281">
                  <c:v>0.82206455753583951</c:v>
                </c:pt>
                <c:pt idx="282">
                  <c:v>0.8230373928668544</c:v>
                </c:pt>
                <c:pt idx="283">
                  <c:v>0.82401018837233753</c:v>
                </c:pt>
                <c:pt idx="284">
                  <c:v>0.82497982723031971</c:v>
                </c:pt>
                <c:pt idx="285">
                  <c:v>0.82594686889469859</c:v>
                </c:pt>
                <c:pt idx="286">
                  <c:v>0.82690933726052018</c:v>
                </c:pt>
                <c:pt idx="287">
                  <c:v>0.82786339864624447</c:v>
                </c:pt>
                <c:pt idx="288">
                  <c:v>0.82881611734261418</c:v>
                </c:pt>
                <c:pt idx="289">
                  <c:v>0.82975579128089694</c:v>
                </c:pt>
                <c:pt idx="290">
                  <c:v>0.8306949863645724</c:v>
                </c:pt>
                <c:pt idx="291">
                  <c:v>0.8316247001270215</c:v>
                </c:pt>
                <c:pt idx="292">
                  <c:v>0.83254829687744625</c:v>
                </c:pt>
                <c:pt idx="293">
                  <c:v>0.83347074722149406</c:v>
                </c:pt>
                <c:pt idx="294">
                  <c:v>0.83438498497196845</c:v>
                </c:pt>
                <c:pt idx="295">
                  <c:v>0.83529797580400966</c:v>
                </c:pt>
                <c:pt idx="296">
                  <c:v>0.83621068690910205</c:v>
                </c:pt>
                <c:pt idx="297">
                  <c:v>0.83712321879930174</c:v>
                </c:pt>
                <c:pt idx="298">
                  <c:v>0.83802783868386954</c:v>
                </c:pt>
                <c:pt idx="299">
                  <c:v>0.83893234667765781</c:v>
                </c:pt>
                <c:pt idx="300">
                  <c:v>0.83983357096153444</c:v>
                </c:pt>
                <c:pt idx="301">
                  <c:v>0.84072824204899188</c:v>
                </c:pt>
                <c:pt idx="302">
                  <c:v>0.84162244660879226</c:v>
                </c:pt>
                <c:pt idx="303">
                  <c:v>0.84250028666797017</c:v>
                </c:pt>
                <c:pt idx="304">
                  <c:v>0.84337629095978184</c:v>
                </c:pt>
                <c:pt idx="305">
                  <c:v>0.84425022716862574</c:v>
                </c:pt>
                <c:pt idx="306">
                  <c:v>0.84511798662714777</c:v>
                </c:pt>
                <c:pt idx="307">
                  <c:v>0.84597643260061284</c:v>
                </c:pt>
                <c:pt idx="308">
                  <c:v>0.84683173520175414</c:v>
                </c:pt>
                <c:pt idx="309">
                  <c:v>0.84767272621360956</c:v>
                </c:pt>
                <c:pt idx="310">
                  <c:v>0.84851129355739274</c:v>
                </c:pt>
                <c:pt idx="311">
                  <c:v>0.84934768282388251</c:v>
                </c:pt>
                <c:pt idx="312">
                  <c:v>0.85017810679465911</c:v>
                </c:pt>
                <c:pt idx="313">
                  <c:v>0.85100765365551134</c:v>
                </c:pt>
                <c:pt idx="314">
                  <c:v>0.85183653486104793</c:v>
                </c:pt>
                <c:pt idx="315">
                  <c:v>0.85266531460630135</c:v>
                </c:pt>
                <c:pt idx="316">
                  <c:v>0.85348936649200535</c:v>
                </c:pt>
                <c:pt idx="317">
                  <c:v>0.85430643563448394</c:v>
                </c:pt>
                <c:pt idx="318">
                  <c:v>0.85512242853937959</c:v>
                </c:pt>
                <c:pt idx="319">
                  <c:v>0.85592504765143829</c:v>
                </c:pt>
                <c:pt idx="320">
                  <c:v>0.85672670905428228</c:v>
                </c:pt>
                <c:pt idx="321">
                  <c:v>0.85752608712664191</c:v>
                </c:pt>
                <c:pt idx="322">
                  <c:v>0.85832449611106343</c:v>
                </c:pt>
                <c:pt idx="323">
                  <c:v>0.85911206496504589</c:v>
                </c:pt>
                <c:pt idx="324">
                  <c:v>0.85989599831691998</c:v>
                </c:pt>
                <c:pt idx="325">
                  <c:v>0.86067357285889867</c:v>
                </c:pt>
                <c:pt idx="326">
                  <c:v>0.86144564009877889</c:v>
                </c:pt>
                <c:pt idx="327">
                  <c:v>0.86221735270178157</c:v>
                </c:pt>
                <c:pt idx="328">
                  <c:v>0.86297503533890119</c:v>
                </c:pt>
                <c:pt idx="329">
                  <c:v>0.86373219455474692</c:v>
                </c:pt>
                <c:pt idx="330">
                  <c:v>0.86448490279331125</c:v>
                </c:pt>
                <c:pt idx="331">
                  <c:v>0.86523714450421851</c:v>
                </c:pt>
                <c:pt idx="332">
                  <c:v>0.86598846264208107</c:v>
                </c:pt>
                <c:pt idx="333">
                  <c:v>0.86673919856859916</c:v>
                </c:pt>
                <c:pt idx="334">
                  <c:v>0.86748284460224701</c:v>
                </c:pt>
                <c:pt idx="335">
                  <c:v>0.86822227292244203</c:v>
                </c:pt>
                <c:pt idx="336">
                  <c:v>0.86895944730718799</c:v>
                </c:pt>
                <c:pt idx="337">
                  <c:v>0.86969583276711548</c:v>
                </c:pt>
                <c:pt idx="338">
                  <c:v>0.87042293887815592</c:v>
                </c:pt>
                <c:pt idx="339">
                  <c:v>0.87114050298144552</c:v>
                </c:pt>
                <c:pt idx="340">
                  <c:v>0.871856369758503</c:v>
                </c:pt>
                <c:pt idx="341">
                  <c:v>0.87256505276822272</c:v>
                </c:pt>
                <c:pt idx="342">
                  <c:v>0.87327269083184866</c:v>
                </c:pt>
                <c:pt idx="343">
                  <c:v>0.87397803323803991</c:v>
                </c:pt>
                <c:pt idx="344">
                  <c:v>0.87468097283715174</c:v>
                </c:pt>
                <c:pt idx="345">
                  <c:v>0.87538140816890087</c:v>
                </c:pt>
                <c:pt idx="346">
                  <c:v>0.87607738683400704</c:v>
                </c:pt>
                <c:pt idx="347">
                  <c:v>0.87677302318918593</c:v>
                </c:pt>
                <c:pt idx="348">
                  <c:v>0.87746005248838199</c:v>
                </c:pt>
                <c:pt idx="349">
                  <c:v>0.87814579694006722</c:v>
                </c:pt>
                <c:pt idx="350">
                  <c:v>0.87883107676054917</c:v>
                </c:pt>
                <c:pt idx="351">
                  <c:v>0.87951399549593723</c:v>
                </c:pt>
                <c:pt idx="352">
                  <c:v>0.88019541034338999</c:v>
                </c:pt>
                <c:pt idx="353">
                  <c:v>0.88087376241780935</c:v>
                </c:pt>
                <c:pt idx="354">
                  <c:v>0.88154841356246116</c:v>
                </c:pt>
                <c:pt idx="355">
                  <c:v>0.8822161464433198</c:v>
                </c:pt>
                <c:pt idx="356">
                  <c:v>0.8828824332780868</c:v>
                </c:pt>
                <c:pt idx="357">
                  <c:v>0.88354853615682638</c:v>
                </c:pt>
                <c:pt idx="358">
                  <c:v>0.88421440671996443</c:v>
                </c:pt>
                <c:pt idx="359">
                  <c:v>0.8848777938767326</c:v>
                </c:pt>
                <c:pt idx="360">
                  <c:v>0.88554044426116429</c:v>
                </c:pt>
                <c:pt idx="361">
                  <c:v>0.88619713598747152</c:v>
                </c:pt>
                <c:pt idx="362">
                  <c:v>0.88685204504712156</c:v>
                </c:pt>
                <c:pt idx="363">
                  <c:v>0.88750538953231173</c:v>
                </c:pt>
                <c:pt idx="364">
                  <c:v>0.88815798396998824</c:v>
                </c:pt>
                <c:pt idx="365">
                  <c:v>0.88880342877649687</c:v>
                </c:pt>
                <c:pt idx="366">
                  <c:v>0.88944829326811503</c:v>
                </c:pt>
                <c:pt idx="367">
                  <c:v>0.8900922778051279</c:v>
                </c:pt>
                <c:pt idx="368">
                  <c:v>0.89073609166129064</c:v>
                </c:pt>
                <c:pt idx="369">
                  <c:v>0.8913774809011541</c:v>
                </c:pt>
                <c:pt idx="370">
                  <c:v>0.89201509809422908</c:v>
                </c:pt>
                <c:pt idx="371">
                  <c:v>0.89265035420221017</c:v>
                </c:pt>
                <c:pt idx="372">
                  <c:v>0.89328306432084303</c:v>
                </c:pt>
                <c:pt idx="373">
                  <c:v>0.89391161456786672</c:v>
                </c:pt>
                <c:pt idx="374">
                  <c:v>0.89453823422482981</c:v>
                </c:pt>
                <c:pt idx="375">
                  <c:v>0.89516292234350525</c:v>
                </c:pt>
                <c:pt idx="376">
                  <c:v>0.89578294803029046</c:v>
                </c:pt>
                <c:pt idx="377">
                  <c:v>0.8963933966249279</c:v>
                </c:pt>
                <c:pt idx="378">
                  <c:v>0.89700383953020357</c:v>
                </c:pt>
                <c:pt idx="379">
                  <c:v>0.89761040798018066</c:v>
                </c:pt>
                <c:pt idx="380">
                  <c:v>0.89821659334647186</c:v>
                </c:pt>
                <c:pt idx="381">
                  <c:v>0.89882067270071753</c:v>
                </c:pt>
                <c:pt idx="382">
                  <c:v>0.89941897830109307</c:v>
                </c:pt>
                <c:pt idx="383">
                  <c:v>0.90001449611424933</c:v>
                </c:pt>
                <c:pt idx="384">
                  <c:v>0.90060917759123982</c:v>
                </c:pt>
                <c:pt idx="385">
                  <c:v>0.90120206881575748</c:v>
                </c:pt>
                <c:pt idx="386">
                  <c:v>0.9017934571005668</c:v>
                </c:pt>
                <c:pt idx="387">
                  <c:v>0.90238408775204682</c:v>
                </c:pt>
                <c:pt idx="388">
                  <c:v>0.90297051680993201</c:v>
                </c:pt>
                <c:pt idx="389">
                  <c:v>0.90355663959051391</c:v>
                </c:pt>
                <c:pt idx="390">
                  <c:v>0.90414271875265628</c:v>
                </c:pt>
                <c:pt idx="391">
                  <c:v>0.9047283541445883</c:v>
                </c:pt>
                <c:pt idx="392">
                  <c:v>0.90531285071595902</c:v>
                </c:pt>
                <c:pt idx="393">
                  <c:v>0.90589405693982938</c:v>
                </c:pt>
                <c:pt idx="394">
                  <c:v>0.90647448941051234</c:v>
                </c:pt>
                <c:pt idx="395">
                  <c:v>0.907054216400348</c:v>
                </c:pt>
                <c:pt idx="396">
                  <c:v>0.90762909320935825</c:v>
                </c:pt>
                <c:pt idx="397">
                  <c:v>0.9081987841652045</c:v>
                </c:pt>
                <c:pt idx="398">
                  <c:v>0.90876029192251262</c:v>
                </c:pt>
                <c:pt idx="399">
                  <c:v>0.90932126393159662</c:v>
                </c:pt>
                <c:pt idx="400">
                  <c:v>0.90987557464638968</c:v>
                </c:pt>
                <c:pt idx="401">
                  <c:v>0.91042497449383286</c:v>
                </c:pt>
                <c:pt idx="402">
                  <c:v>0.91097412685404333</c:v>
                </c:pt>
                <c:pt idx="403">
                  <c:v>0.91152216504759298</c:v>
                </c:pt>
                <c:pt idx="404">
                  <c:v>0.9120682698064011</c:v>
                </c:pt>
                <c:pt idx="405">
                  <c:v>0.91261376485528345</c:v>
                </c:pt>
                <c:pt idx="406">
                  <c:v>0.91315641143042203</c:v>
                </c:pt>
                <c:pt idx="407">
                  <c:v>0.91369599712898109</c:v>
                </c:pt>
                <c:pt idx="408">
                  <c:v>0.91422585307085402</c:v>
                </c:pt>
                <c:pt idx="409">
                  <c:v>0.91474741961277095</c:v>
                </c:pt>
                <c:pt idx="410">
                  <c:v>0.91526740830505082</c:v>
                </c:pt>
                <c:pt idx="411">
                  <c:v>0.91578547683776645</c:v>
                </c:pt>
                <c:pt idx="412">
                  <c:v>0.91630179494354103</c:v>
                </c:pt>
                <c:pt idx="413">
                  <c:v>0.91681463874578784</c:v>
                </c:pt>
                <c:pt idx="414">
                  <c:v>0.91732497543599123</c:v>
                </c:pt>
                <c:pt idx="415">
                  <c:v>0.91783406615598839</c:v>
                </c:pt>
                <c:pt idx="416">
                  <c:v>0.91833977360224472</c:v>
                </c:pt>
                <c:pt idx="417">
                  <c:v>0.91884329917829977</c:v>
                </c:pt>
                <c:pt idx="418">
                  <c:v>0.91934670338130586</c:v>
                </c:pt>
                <c:pt idx="419">
                  <c:v>0.91984332112406419</c:v>
                </c:pt>
                <c:pt idx="420">
                  <c:v>0.92033393943493946</c:v>
                </c:pt>
                <c:pt idx="421">
                  <c:v>0.92082275232171085</c:v>
                </c:pt>
                <c:pt idx="422">
                  <c:v>0.92130858872410082</c:v>
                </c:pt>
                <c:pt idx="423">
                  <c:v>0.92179414634776879</c:v>
                </c:pt>
                <c:pt idx="424">
                  <c:v>0.92227650275726936</c:v>
                </c:pt>
                <c:pt idx="425">
                  <c:v>0.92275739700082027</c:v>
                </c:pt>
                <c:pt idx="426">
                  <c:v>0.92323654745501871</c:v>
                </c:pt>
                <c:pt idx="427">
                  <c:v>0.92371546654184244</c:v>
                </c:pt>
                <c:pt idx="428">
                  <c:v>0.92419314724427559</c:v>
                </c:pt>
                <c:pt idx="429">
                  <c:v>0.92466946818926921</c:v>
                </c:pt>
                <c:pt idx="430">
                  <c:v>0.92514190993782941</c:v>
                </c:pt>
                <c:pt idx="431">
                  <c:v>0.92561340156299043</c:v>
                </c:pt>
                <c:pt idx="432">
                  <c:v>0.92608463527042229</c:v>
                </c:pt>
                <c:pt idx="433">
                  <c:v>0.92655280810127461</c:v>
                </c:pt>
                <c:pt idx="434">
                  <c:v>0.92701670063569575</c:v>
                </c:pt>
                <c:pt idx="435">
                  <c:v>0.92747892808360088</c:v>
                </c:pt>
                <c:pt idx="436">
                  <c:v>0.92794022911378038</c:v>
                </c:pt>
                <c:pt idx="437">
                  <c:v>0.92839655195249693</c:v>
                </c:pt>
                <c:pt idx="438">
                  <c:v>0.92884188009978241</c:v>
                </c:pt>
                <c:pt idx="439">
                  <c:v>0.92928445175133778</c:v>
                </c:pt>
                <c:pt idx="440">
                  <c:v>0.92972420527241162</c:v>
                </c:pt>
                <c:pt idx="441">
                  <c:v>0.93016356433107628</c:v>
                </c:pt>
                <c:pt idx="442">
                  <c:v>0.93060286839257811</c:v>
                </c:pt>
                <c:pt idx="443">
                  <c:v>0.93103757734630288</c:v>
                </c:pt>
                <c:pt idx="444">
                  <c:v>0.93146801643409283</c:v>
                </c:pt>
                <c:pt idx="445">
                  <c:v>0.93189618641480254</c:v>
                </c:pt>
                <c:pt idx="446">
                  <c:v>0.93232225796928225</c:v>
                </c:pt>
                <c:pt idx="447">
                  <c:v>0.93274451765144173</c:v>
                </c:pt>
                <c:pt idx="448">
                  <c:v>0.93316596754778991</c:v>
                </c:pt>
                <c:pt idx="449">
                  <c:v>0.93358412709663774</c:v>
                </c:pt>
                <c:pt idx="450">
                  <c:v>0.93400201640080616</c:v>
                </c:pt>
                <c:pt idx="451">
                  <c:v>0.93441376878018445</c:v>
                </c:pt>
                <c:pt idx="452">
                  <c:v>0.93482395089574122</c:v>
                </c:pt>
                <c:pt idx="453">
                  <c:v>0.9352337907013708</c:v>
                </c:pt>
                <c:pt idx="454">
                  <c:v>0.93564330716161204</c:v>
                </c:pt>
                <c:pt idx="455">
                  <c:v>0.93605227459845186</c:v>
                </c:pt>
                <c:pt idx="456">
                  <c:v>0.93646117945231333</c:v>
                </c:pt>
                <c:pt idx="457">
                  <c:v>0.93686671904874586</c:v>
                </c:pt>
                <c:pt idx="458">
                  <c:v>0.93726489661117485</c:v>
                </c:pt>
                <c:pt idx="459">
                  <c:v>0.93765767307292325</c:v>
                </c:pt>
                <c:pt idx="460">
                  <c:v>0.93804985404814989</c:v>
                </c:pt>
                <c:pt idx="461">
                  <c:v>0.93844130773330947</c:v>
                </c:pt>
                <c:pt idx="462">
                  <c:v>0.93882886136104293</c:v>
                </c:pt>
                <c:pt idx="463">
                  <c:v>0.93920684832712498</c:v>
                </c:pt>
                <c:pt idx="464">
                  <c:v>0.93958435454214573</c:v>
                </c:pt>
                <c:pt idx="465">
                  <c:v>0.93995872971179306</c:v>
                </c:pt>
                <c:pt idx="466">
                  <c:v>0.94033235578215357</c:v>
                </c:pt>
                <c:pt idx="467">
                  <c:v>0.94070383506670985</c:v>
                </c:pt>
                <c:pt idx="468">
                  <c:v>0.9410752934902733</c:v>
                </c:pt>
                <c:pt idx="469">
                  <c:v>0.94144288788903452</c:v>
                </c:pt>
                <c:pt idx="470">
                  <c:v>0.94181031634808032</c:v>
                </c:pt>
                <c:pt idx="471">
                  <c:v>0.94217756179932566</c:v>
                </c:pt>
                <c:pt idx="472">
                  <c:v>0.94253552979813793</c:v>
                </c:pt>
                <c:pt idx="473">
                  <c:v>0.94289002538987632</c:v>
                </c:pt>
                <c:pt idx="474">
                  <c:v>0.94324270607524141</c:v>
                </c:pt>
                <c:pt idx="475">
                  <c:v>0.94359418725352062</c:v>
                </c:pt>
                <c:pt idx="476">
                  <c:v>0.94394496769208724</c:v>
                </c:pt>
                <c:pt idx="477">
                  <c:v>0.94429239235549434</c:v>
                </c:pt>
                <c:pt idx="478">
                  <c:v>0.94463714491536954</c:v>
                </c:pt>
                <c:pt idx="479">
                  <c:v>0.9449800408468858</c:v>
                </c:pt>
                <c:pt idx="480">
                  <c:v>0.94532149357699125</c:v>
                </c:pt>
                <c:pt idx="481">
                  <c:v>0.9456619848049741</c:v>
                </c:pt>
                <c:pt idx="482">
                  <c:v>0.94599892302659283</c:v>
                </c:pt>
                <c:pt idx="483">
                  <c:v>0.94633072375462179</c:v>
                </c:pt>
                <c:pt idx="484">
                  <c:v>0.94666001168124558</c:v>
                </c:pt>
                <c:pt idx="485">
                  <c:v>0.94698803088021655</c:v>
                </c:pt>
                <c:pt idx="486">
                  <c:v>0.94731574759479198</c:v>
                </c:pt>
                <c:pt idx="487">
                  <c:v>0.94764159156115035</c:v>
                </c:pt>
                <c:pt idx="488">
                  <c:v>0.94796677840623556</c:v>
                </c:pt>
                <c:pt idx="489">
                  <c:v>0.94829039214281852</c:v>
                </c:pt>
                <c:pt idx="490">
                  <c:v>0.94861179745884583</c:v>
                </c:pt>
                <c:pt idx="491">
                  <c:v>0.94893266133728738</c:v>
                </c:pt>
                <c:pt idx="492">
                  <c:v>0.94925332419161645</c:v>
                </c:pt>
                <c:pt idx="493">
                  <c:v>0.94957168190624142</c:v>
                </c:pt>
                <c:pt idx="494">
                  <c:v>0.94988915682158026</c:v>
                </c:pt>
                <c:pt idx="495">
                  <c:v>0.9502049097567864</c:v>
                </c:pt>
                <c:pt idx="496">
                  <c:v>0.95051644403031277</c:v>
                </c:pt>
                <c:pt idx="497">
                  <c:v>0.95082673612654078</c:v>
                </c:pt>
                <c:pt idx="498">
                  <c:v>0.95113636446390704</c:v>
                </c:pt>
                <c:pt idx="499">
                  <c:v>0.95144570548850893</c:v>
                </c:pt>
                <c:pt idx="500">
                  <c:v>0.95175130670603836</c:v>
                </c:pt>
                <c:pt idx="501">
                  <c:v>0.95205555195903602</c:v>
                </c:pt>
                <c:pt idx="502">
                  <c:v>0.95235877786806744</c:v>
                </c:pt>
                <c:pt idx="503">
                  <c:v>0.95265999732888251</c:v>
                </c:pt>
                <c:pt idx="504">
                  <c:v>0.95295684830816052</c:v>
                </c:pt>
                <c:pt idx="505">
                  <c:v>0.95325316543566829</c:v>
                </c:pt>
                <c:pt idx="506">
                  <c:v>0.95354821857665795</c:v>
                </c:pt>
                <c:pt idx="507">
                  <c:v>0.95384239650417701</c:v>
                </c:pt>
                <c:pt idx="508">
                  <c:v>0.95413479935085443</c:v>
                </c:pt>
                <c:pt idx="509">
                  <c:v>0.95442376677130891</c:v>
                </c:pt>
                <c:pt idx="510">
                  <c:v>0.9547101891506421</c:v>
                </c:pt>
                <c:pt idx="511">
                  <c:v>0.95499634697465763</c:v>
                </c:pt>
                <c:pt idx="512">
                  <c:v>0.95528208094122857</c:v>
                </c:pt>
                <c:pt idx="513">
                  <c:v>0.95556588621419269</c:v>
                </c:pt>
                <c:pt idx="514">
                  <c:v>0.9558471094651847</c:v>
                </c:pt>
                <c:pt idx="515">
                  <c:v>0.95612752956795399</c:v>
                </c:pt>
                <c:pt idx="516">
                  <c:v>0.95639825689488811</c:v>
                </c:pt>
                <c:pt idx="517">
                  <c:v>0.95666867225515728</c:v>
                </c:pt>
                <c:pt idx="518">
                  <c:v>0.95693821524663669</c:v>
                </c:pt>
                <c:pt idx="519">
                  <c:v>0.95720701103528316</c:v>
                </c:pt>
                <c:pt idx="520">
                  <c:v>0.95747303800124928</c:v>
                </c:pt>
                <c:pt idx="521">
                  <c:v>0.95773906022608069</c:v>
                </c:pt>
                <c:pt idx="522">
                  <c:v>0.95800327987148903</c:v>
                </c:pt>
                <c:pt idx="523">
                  <c:v>0.95826434571407715</c:v>
                </c:pt>
                <c:pt idx="524">
                  <c:v>0.95852477814106585</c:v>
                </c:pt>
                <c:pt idx="525">
                  <c:v>0.95877962266666572</c:v>
                </c:pt>
                <c:pt idx="526">
                  <c:v>0.95903293865042971</c:v>
                </c:pt>
                <c:pt idx="527">
                  <c:v>0.95928159789166523</c:v>
                </c:pt>
                <c:pt idx="528">
                  <c:v>0.95952946725985522</c:v>
                </c:pt>
                <c:pt idx="529">
                  <c:v>0.95977706827981968</c:v>
                </c:pt>
                <c:pt idx="530">
                  <c:v>0.96002453939269261</c:v>
                </c:pt>
                <c:pt idx="531">
                  <c:v>0.96027018232401495</c:v>
                </c:pt>
                <c:pt idx="532">
                  <c:v>0.96051549337590647</c:v>
                </c:pt>
                <c:pt idx="533">
                  <c:v>0.96075858747319975</c:v>
                </c:pt>
                <c:pt idx="534">
                  <c:v>0.9610009931577308</c:v>
                </c:pt>
                <c:pt idx="535">
                  <c:v>0.96124303946424949</c:v>
                </c:pt>
                <c:pt idx="536">
                  <c:v>0.96147935753179148</c:v>
                </c:pt>
                <c:pt idx="537">
                  <c:v>0.96170871276887393</c:v>
                </c:pt>
                <c:pt idx="538">
                  <c:v>0.96193751518964721</c:v>
                </c:pt>
                <c:pt idx="539">
                  <c:v>0.96216589185652213</c:v>
                </c:pt>
                <c:pt idx="540">
                  <c:v>0.96239161917731175</c:v>
                </c:pt>
                <c:pt idx="541">
                  <c:v>0.96261685152363596</c:v>
                </c:pt>
                <c:pt idx="542">
                  <c:v>0.96284083410684618</c:v>
                </c:pt>
                <c:pt idx="543">
                  <c:v>0.96306451894679557</c:v>
                </c:pt>
                <c:pt idx="544">
                  <c:v>0.96328764053993943</c:v>
                </c:pt>
                <c:pt idx="545">
                  <c:v>0.96350908946075176</c:v>
                </c:pt>
                <c:pt idx="546">
                  <c:v>0.96372989263901432</c:v>
                </c:pt>
                <c:pt idx="547">
                  <c:v>0.96395061142507876</c:v>
                </c:pt>
                <c:pt idx="548">
                  <c:v>0.96416649615017591</c:v>
                </c:pt>
                <c:pt idx="549">
                  <c:v>0.96438173702917718</c:v>
                </c:pt>
                <c:pt idx="550">
                  <c:v>0.96459438166280209</c:v>
                </c:pt>
                <c:pt idx="551">
                  <c:v>0.96480637865742336</c:v>
                </c:pt>
                <c:pt idx="552">
                  <c:v>0.96501789774566415</c:v>
                </c:pt>
                <c:pt idx="553">
                  <c:v>0.96522922718851589</c:v>
                </c:pt>
                <c:pt idx="554">
                  <c:v>0.96543855113137822</c:v>
                </c:pt>
                <c:pt idx="555">
                  <c:v>0.96564730044871172</c:v>
                </c:pt>
                <c:pt idx="556">
                  <c:v>0.96585587624051417</c:v>
                </c:pt>
                <c:pt idx="557">
                  <c:v>0.96606439324224602</c:v>
                </c:pt>
                <c:pt idx="558">
                  <c:v>0.96627124136455411</c:v>
                </c:pt>
                <c:pt idx="559">
                  <c:v>0.96647792923650844</c:v>
                </c:pt>
                <c:pt idx="560">
                  <c:v>0.96668416480420982</c:v>
                </c:pt>
                <c:pt idx="561">
                  <c:v>0.96689027046481979</c:v>
                </c:pt>
                <c:pt idx="562">
                  <c:v>0.96709272165878235</c:v>
                </c:pt>
                <c:pt idx="563">
                  <c:v>0.96729498700026373</c:v>
                </c:pt>
                <c:pt idx="564">
                  <c:v>0.96749532838927299</c:v>
                </c:pt>
                <c:pt idx="565">
                  <c:v>0.96769508661871084</c:v>
                </c:pt>
                <c:pt idx="566">
                  <c:v>0.96789444659283164</c:v>
                </c:pt>
                <c:pt idx="567">
                  <c:v>0.96809344149957854</c:v>
                </c:pt>
                <c:pt idx="568">
                  <c:v>0.96829112311200616</c:v>
                </c:pt>
                <c:pt idx="569">
                  <c:v>0.96848848137904542</c:v>
                </c:pt>
                <c:pt idx="570">
                  <c:v>0.96868305565177315</c:v>
                </c:pt>
                <c:pt idx="571">
                  <c:v>0.96887580932876582</c:v>
                </c:pt>
                <c:pt idx="572">
                  <c:v>0.96906821879937743</c:v>
                </c:pt>
                <c:pt idx="573">
                  <c:v>0.96925967245722811</c:v>
                </c:pt>
                <c:pt idx="574">
                  <c:v>0.96945068898245701</c:v>
                </c:pt>
                <c:pt idx="575">
                  <c:v>0.96964104364527803</c:v>
                </c:pt>
                <c:pt idx="576">
                  <c:v>0.96982902489605494</c:v>
                </c:pt>
                <c:pt idx="577">
                  <c:v>0.9700125001723876</c:v>
                </c:pt>
                <c:pt idx="578">
                  <c:v>0.97019547004375839</c:v>
                </c:pt>
                <c:pt idx="579">
                  <c:v>0.97037820475484682</c:v>
                </c:pt>
                <c:pt idx="580">
                  <c:v>0.97055983478154384</c:v>
                </c:pt>
                <c:pt idx="581">
                  <c:v>0.97074029469619039</c:v>
                </c:pt>
                <c:pt idx="582">
                  <c:v>0.97091968121793482</c:v>
                </c:pt>
                <c:pt idx="583">
                  <c:v>0.97109837837868995</c:v>
                </c:pt>
                <c:pt idx="584">
                  <c:v>0.97127518761959697</c:v>
                </c:pt>
                <c:pt idx="585">
                  <c:v>0.97145033746334963</c:v>
                </c:pt>
                <c:pt idx="586">
                  <c:v>0.97162509284469301</c:v>
                </c:pt>
                <c:pt idx="587">
                  <c:v>0.97179975909270355</c:v>
                </c:pt>
                <c:pt idx="588">
                  <c:v>0.97197294610667939</c:v>
                </c:pt>
                <c:pt idx="589">
                  <c:v>0.97214595200930864</c:v>
                </c:pt>
                <c:pt idx="590">
                  <c:v>0.97231858715520236</c:v>
                </c:pt>
                <c:pt idx="591">
                  <c:v>0.97248946049543161</c:v>
                </c:pt>
                <c:pt idx="592">
                  <c:v>0.97265842979595463</c:v>
                </c:pt>
                <c:pt idx="593">
                  <c:v>0.97282655517449634</c:v>
                </c:pt>
                <c:pt idx="594">
                  <c:v>0.97299460090197465</c:v>
                </c:pt>
                <c:pt idx="595">
                  <c:v>0.97316000107627543</c:v>
                </c:pt>
                <c:pt idx="596">
                  <c:v>0.97332460189526127</c:v>
                </c:pt>
                <c:pt idx="597">
                  <c:v>0.97348870963623557</c:v>
                </c:pt>
                <c:pt idx="598">
                  <c:v>0.97364471762264293</c:v>
                </c:pt>
                <c:pt idx="599">
                  <c:v>0.97379883484452123</c:v>
                </c:pt>
                <c:pt idx="600">
                  <c:v>0.97395288948342118</c:v>
                </c:pt>
                <c:pt idx="601">
                  <c:v>0.97410569720388795</c:v>
                </c:pt>
                <c:pt idx="602">
                  <c:v>0.97425834846690884</c:v>
                </c:pt>
                <c:pt idx="603">
                  <c:v>0.97441076646610114</c:v>
                </c:pt>
                <c:pt idx="604">
                  <c:v>0.97456227037451815</c:v>
                </c:pt>
                <c:pt idx="605">
                  <c:v>0.97471297018648551</c:v>
                </c:pt>
                <c:pt idx="606">
                  <c:v>0.9748635325055458</c:v>
                </c:pt>
                <c:pt idx="607">
                  <c:v>0.97501292945369022</c:v>
                </c:pt>
                <c:pt idx="608">
                  <c:v>0.9751599909188684</c:v>
                </c:pt>
                <c:pt idx="609">
                  <c:v>0.97530620846206517</c:v>
                </c:pt>
                <c:pt idx="610">
                  <c:v>0.9754518238811517</c:v>
                </c:pt>
                <c:pt idx="611">
                  <c:v>0.97559403706195835</c:v>
                </c:pt>
                <c:pt idx="612">
                  <c:v>0.975735245122203</c:v>
                </c:pt>
                <c:pt idx="613">
                  <c:v>0.97587508963210023</c:v>
                </c:pt>
                <c:pt idx="614">
                  <c:v>0.97601333448314065</c:v>
                </c:pt>
                <c:pt idx="615">
                  <c:v>0.976150298279578</c:v>
                </c:pt>
                <c:pt idx="616">
                  <c:v>0.97628706579303759</c:v>
                </c:pt>
                <c:pt idx="617">
                  <c:v>0.97642303869231706</c:v>
                </c:pt>
                <c:pt idx="618">
                  <c:v>0.97655877074195241</c:v>
                </c:pt>
                <c:pt idx="619">
                  <c:v>0.97669375843343564</c:v>
                </c:pt>
                <c:pt idx="620">
                  <c:v>0.97682840286676464</c:v>
                </c:pt>
                <c:pt idx="621">
                  <c:v>0.97696260732279105</c:v>
                </c:pt>
                <c:pt idx="622">
                  <c:v>0.9770966695447757</c:v>
                </c:pt>
                <c:pt idx="623">
                  <c:v>0.97723060754903046</c:v>
                </c:pt>
                <c:pt idx="624">
                  <c:v>0.97736424212066275</c:v>
                </c:pt>
                <c:pt idx="625">
                  <c:v>0.97749721672634104</c:v>
                </c:pt>
                <c:pt idx="626">
                  <c:v>0.97763005952847393</c:v>
                </c:pt>
                <c:pt idx="627">
                  <c:v>0.97776211530224222</c:v>
                </c:pt>
                <c:pt idx="628">
                  <c:v>0.97789302561786051</c:v>
                </c:pt>
                <c:pt idx="629">
                  <c:v>0.97802366663702633</c:v>
                </c:pt>
                <c:pt idx="630">
                  <c:v>0.97815345045903357</c:v>
                </c:pt>
                <c:pt idx="631">
                  <c:v>0.97828134541296574</c:v>
                </c:pt>
                <c:pt idx="632">
                  <c:v>0.97840891512505568</c:v>
                </c:pt>
                <c:pt idx="633">
                  <c:v>0.9785356361740295</c:v>
                </c:pt>
                <c:pt idx="634">
                  <c:v>0.97866221498896155</c:v>
                </c:pt>
                <c:pt idx="635">
                  <c:v>0.97878824193581138</c:v>
                </c:pt>
                <c:pt idx="636">
                  <c:v>0.97891426224507261</c:v>
                </c:pt>
                <c:pt idx="637">
                  <c:v>0.97903977146001031</c:v>
                </c:pt>
                <c:pt idx="638">
                  <c:v>0.97916523231537378</c:v>
                </c:pt>
                <c:pt idx="639">
                  <c:v>0.9792903584466256</c:v>
                </c:pt>
                <c:pt idx="640">
                  <c:v>0.97941542009844518</c:v>
                </c:pt>
                <c:pt idx="641">
                  <c:v>0.9795398227325377</c:v>
                </c:pt>
                <c:pt idx="642">
                  <c:v>0.97966343739003869</c:v>
                </c:pt>
                <c:pt idx="643">
                  <c:v>0.97978524377875487</c:v>
                </c:pt>
                <c:pt idx="644">
                  <c:v>0.97990602797882398</c:v>
                </c:pt>
                <c:pt idx="645">
                  <c:v>0.98002659787960344</c:v>
                </c:pt>
                <c:pt idx="646">
                  <c:v>0.98014706063073809</c:v>
                </c:pt>
                <c:pt idx="647">
                  <c:v>0.9802659076031579</c:v>
                </c:pt>
                <c:pt idx="648">
                  <c:v>0.98038473086990408</c:v>
                </c:pt>
                <c:pt idx="649">
                  <c:v>0.98050348207140248</c:v>
                </c:pt>
                <c:pt idx="650">
                  <c:v>0.98062162071829417</c:v>
                </c:pt>
                <c:pt idx="651">
                  <c:v>0.98073703416094493</c:v>
                </c:pt>
                <c:pt idx="652">
                  <c:v>0.98085019461637368</c:v>
                </c:pt>
                <c:pt idx="653">
                  <c:v>0.98096303172641397</c:v>
                </c:pt>
                <c:pt idx="654">
                  <c:v>0.98107371067192672</c:v>
                </c:pt>
                <c:pt idx="655">
                  <c:v>0.98118326976141701</c:v>
                </c:pt>
                <c:pt idx="656">
                  <c:v>0.98129201716864212</c:v>
                </c:pt>
                <c:pt idx="657">
                  <c:v>0.98140033692551487</c:v>
                </c:pt>
                <c:pt idx="658">
                  <c:v>0.98150642550438527</c:v>
                </c:pt>
                <c:pt idx="659">
                  <c:v>0.98161026773362225</c:v>
                </c:pt>
                <c:pt idx="660">
                  <c:v>0.98171204093166453</c:v>
                </c:pt>
                <c:pt idx="661">
                  <c:v>0.98181262410489034</c:v>
                </c:pt>
                <c:pt idx="662">
                  <c:v>0.98191317124549227</c:v>
                </c:pt>
                <c:pt idx="663">
                  <c:v>0.98201176124567902</c:v>
                </c:pt>
                <c:pt idx="664">
                  <c:v>0.98210932052317623</c:v>
                </c:pt>
                <c:pt idx="665">
                  <c:v>0.98220594959004004</c:v>
                </c:pt>
                <c:pt idx="666">
                  <c:v>0.98230094106896926</c:v>
                </c:pt>
                <c:pt idx="667">
                  <c:v>0.982395785572722</c:v>
                </c:pt>
                <c:pt idx="668">
                  <c:v>0.98248997959279016</c:v>
                </c:pt>
                <c:pt idx="669">
                  <c:v>0.98258403043058962</c:v>
                </c:pt>
                <c:pt idx="670">
                  <c:v>0.98267790679463118</c:v>
                </c:pt>
                <c:pt idx="671">
                  <c:v>0.98277095251186863</c:v>
                </c:pt>
                <c:pt idx="672">
                  <c:v>0.98286323869932279</c:v>
                </c:pt>
                <c:pt idx="673">
                  <c:v>0.98295491896975895</c:v>
                </c:pt>
                <c:pt idx="674">
                  <c:v>0.98304612133381464</c:v>
                </c:pt>
                <c:pt idx="675">
                  <c:v>0.98313726964893444</c:v>
                </c:pt>
                <c:pt idx="676">
                  <c:v>0.98322807565412695</c:v>
                </c:pt>
                <c:pt idx="677">
                  <c:v>0.98331867968698017</c:v>
                </c:pt>
                <c:pt idx="678">
                  <c:v>0.9834091026084868</c:v>
                </c:pt>
                <c:pt idx="679">
                  <c:v>0.98349917373779672</c:v>
                </c:pt>
                <c:pt idx="680">
                  <c:v>0.98358917564653958</c:v>
                </c:pt>
                <c:pt idx="681">
                  <c:v>0.98367909126663045</c:v>
                </c:pt>
                <c:pt idx="682">
                  <c:v>0.98376847967253978</c:v>
                </c:pt>
                <c:pt idx="683">
                  <c:v>0.98385714647774369</c:v>
                </c:pt>
                <c:pt idx="684">
                  <c:v>0.9839456587219555</c:v>
                </c:pt>
                <c:pt idx="685">
                  <c:v>0.98403272492007565</c:v>
                </c:pt>
                <c:pt idx="686">
                  <c:v>0.98411952751110499</c:v>
                </c:pt>
                <c:pt idx="687">
                  <c:v>0.9842053904092315</c:v>
                </c:pt>
                <c:pt idx="688">
                  <c:v>0.98429107124778459</c:v>
                </c:pt>
                <c:pt idx="689">
                  <c:v>0.98437658425016827</c:v>
                </c:pt>
                <c:pt idx="690">
                  <c:v>0.98446161365680984</c:v>
                </c:pt>
                <c:pt idx="691">
                  <c:v>0.98454613671026259</c:v>
                </c:pt>
                <c:pt idx="692">
                  <c:v>0.98462981204882627</c:v>
                </c:pt>
                <c:pt idx="693">
                  <c:v>0.98471320102285242</c:v>
                </c:pt>
                <c:pt idx="694">
                  <c:v>0.98479612915858317</c:v>
                </c:pt>
                <c:pt idx="695">
                  <c:v>0.98487818871843202</c:v>
                </c:pt>
                <c:pt idx="696">
                  <c:v>0.98495991924353088</c:v>
                </c:pt>
                <c:pt idx="697">
                  <c:v>0.98504093385728597</c:v>
                </c:pt>
                <c:pt idx="698">
                  <c:v>0.98512162322919883</c:v>
                </c:pt>
                <c:pt idx="699">
                  <c:v>0.98520070345998545</c:v>
                </c:pt>
                <c:pt idx="700">
                  <c:v>0.98527849789503419</c:v>
                </c:pt>
                <c:pt idx="701">
                  <c:v>0.98535581916483717</c:v>
                </c:pt>
                <c:pt idx="702">
                  <c:v>0.98543293372116614</c:v>
                </c:pt>
                <c:pt idx="703">
                  <c:v>0.98550998853919747</c:v>
                </c:pt>
                <c:pt idx="704">
                  <c:v>0.98558690207141397</c:v>
                </c:pt>
                <c:pt idx="705">
                  <c:v>0.98566340881427095</c:v>
                </c:pt>
                <c:pt idx="706">
                  <c:v>0.98573970694719992</c:v>
                </c:pt>
                <c:pt idx="707">
                  <c:v>0.98581582681346325</c:v>
                </c:pt>
                <c:pt idx="708">
                  <c:v>0.98589170962299022</c:v>
                </c:pt>
                <c:pt idx="709">
                  <c:v>0.98596740847648978</c:v>
                </c:pt>
                <c:pt idx="710">
                  <c:v>0.98604208134843452</c:v>
                </c:pt>
                <c:pt idx="711">
                  <c:v>0.98611674568633667</c:v>
                </c:pt>
                <c:pt idx="712">
                  <c:v>0.98619080221076694</c:v>
                </c:pt>
                <c:pt idx="713">
                  <c:v>0.98626390956002497</c:v>
                </c:pt>
                <c:pt idx="714">
                  <c:v>0.98633635409864817</c:v>
                </c:pt>
                <c:pt idx="715">
                  <c:v>0.98640844779330161</c:v>
                </c:pt>
                <c:pt idx="716">
                  <c:v>0.98648015745604212</c:v>
                </c:pt>
                <c:pt idx="717">
                  <c:v>0.98655147739750815</c:v>
                </c:pt>
                <c:pt idx="718">
                  <c:v>0.98662245408081994</c:v>
                </c:pt>
                <c:pt idx="719">
                  <c:v>0.98669305052512668</c:v>
                </c:pt>
                <c:pt idx="720">
                  <c:v>0.98676324776588942</c:v>
                </c:pt>
                <c:pt idx="721">
                  <c:v>0.9868332079499158</c:v>
                </c:pt>
                <c:pt idx="722">
                  <c:v>0.9869029889190496</c:v>
                </c:pt>
                <c:pt idx="723">
                  <c:v>0.98697271014988575</c:v>
                </c:pt>
                <c:pt idx="724">
                  <c:v>0.98704200183391566</c:v>
                </c:pt>
                <c:pt idx="725">
                  <c:v>0.98711038985766675</c:v>
                </c:pt>
                <c:pt idx="726">
                  <c:v>0.98717875702042501</c:v>
                </c:pt>
                <c:pt idx="727">
                  <c:v>0.98724684730091528</c:v>
                </c:pt>
                <c:pt idx="728">
                  <c:v>0.98731486361970378</c:v>
                </c:pt>
                <c:pt idx="729">
                  <c:v>0.98738263055480568</c:v>
                </c:pt>
                <c:pt idx="730">
                  <c:v>0.98744941891969995</c:v>
                </c:pt>
                <c:pt idx="731">
                  <c:v>0.9875161456498428</c:v>
                </c:pt>
                <c:pt idx="732">
                  <c:v>0.98758272824949001</c:v>
                </c:pt>
                <c:pt idx="733">
                  <c:v>0.98764890121509674</c:v>
                </c:pt>
                <c:pt idx="734">
                  <c:v>0.98771502202822148</c:v>
                </c:pt>
                <c:pt idx="735">
                  <c:v>0.98778114094489233</c:v>
                </c:pt>
                <c:pt idx="736">
                  <c:v>0.98784707116440107</c:v>
                </c:pt>
                <c:pt idx="737">
                  <c:v>0.98791268846901792</c:v>
                </c:pt>
                <c:pt idx="738">
                  <c:v>0.98797802035732418</c:v>
                </c:pt>
                <c:pt idx="739">
                  <c:v>0.98804267236691068</c:v>
                </c:pt>
                <c:pt idx="740">
                  <c:v>0.98810707025167577</c:v>
                </c:pt>
                <c:pt idx="741">
                  <c:v>0.98817104427899638</c:v>
                </c:pt>
                <c:pt idx="742">
                  <c:v>0.98823500408291276</c:v>
                </c:pt>
                <c:pt idx="743">
                  <c:v>0.98829888613221961</c:v>
                </c:pt>
                <c:pt idx="744">
                  <c:v>0.98836264586025058</c:v>
                </c:pt>
                <c:pt idx="745">
                  <c:v>0.98842551235849896</c:v>
                </c:pt>
                <c:pt idx="746">
                  <c:v>0.98848808490639428</c:v>
                </c:pt>
                <c:pt idx="747">
                  <c:v>0.98855040332946831</c:v>
                </c:pt>
                <c:pt idx="748">
                  <c:v>0.98861241357878504</c:v>
                </c:pt>
                <c:pt idx="749">
                  <c:v>0.98867441434583236</c:v>
                </c:pt>
                <c:pt idx="750">
                  <c:v>0.98873517957316992</c:v>
                </c:pt>
                <c:pt idx="751">
                  <c:v>0.98879486571824371</c:v>
                </c:pt>
                <c:pt idx="752">
                  <c:v>0.98885412800587291</c:v>
                </c:pt>
                <c:pt idx="753">
                  <c:v>0.9889132945225807</c:v>
                </c:pt>
                <c:pt idx="754">
                  <c:v>0.98897189779248296</c:v>
                </c:pt>
                <c:pt idx="755">
                  <c:v>0.98903041856664098</c:v>
                </c:pt>
                <c:pt idx="756">
                  <c:v>0.98908893175498336</c:v>
                </c:pt>
                <c:pt idx="757">
                  <c:v>0.98914718702559667</c:v>
                </c:pt>
                <c:pt idx="758">
                  <c:v>0.98920529911394117</c:v>
                </c:pt>
                <c:pt idx="759">
                  <c:v>0.98926302717037284</c:v>
                </c:pt>
                <c:pt idx="760">
                  <c:v>0.98932040343460781</c:v>
                </c:pt>
                <c:pt idx="761">
                  <c:v>0.98937740230451854</c:v>
                </c:pt>
                <c:pt idx="762">
                  <c:v>0.9894339052517368</c:v>
                </c:pt>
                <c:pt idx="763">
                  <c:v>0.98948967427129941</c:v>
                </c:pt>
                <c:pt idx="764">
                  <c:v>0.98954522045752991</c:v>
                </c:pt>
                <c:pt idx="765">
                  <c:v>0.98960070500900887</c:v>
                </c:pt>
                <c:pt idx="766">
                  <c:v>0.98965615826899866</c:v>
                </c:pt>
                <c:pt idx="767">
                  <c:v>0.98971154515310233</c:v>
                </c:pt>
                <c:pt idx="768">
                  <c:v>0.98976690264217071</c:v>
                </c:pt>
                <c:pt idx="769">
                  <c:v>0.98982222789152297</c:v>
                </c:pt>
                <c:pt idx="770">
                  <c:v>0.98987708945789887</c:v>
                </c:pt>
                <c:pt idx="771">
                  <c:v>0.98993181922072937</c:v>
                </c:pt>
                <c:pt idx="772">
                  <c:v>0.98998595634171904</c:v>
                </c:pt>
                <c:pt idx="773">
                  <c:v>0.99004008966980095</c:v>
                </c:pt>
                <c:pt idx="774">
                  <c:v>0.99009382948370062</c:v>
                </c:pt>
                <c:pt idx="775">
                  <c:v>0.99014741378838123</c:v>
                </c:pt>
                <c:pt idx="776">
                  <c:v>0.99020097154270736</c:v>
                </c:pt>
                <c:pt idx="777">
                  <c:v>0.99025421353746068</c:v>
                </c:pt>
                <c:pt idx="778">
                  <c:v>0.99030730855703752</c:v>
                </c:pt>
                <c:pt idx="779">
                  <c:v>0.99036021108654437</c:v>
                </c:pt>
                <c:pt idx="780">
                  <c:v>0.99041289742030769</c:v>
                </c:pt>
                <c:pt idx="781">
                  <c:v>0.99046542540017113</c:v>
                </c:pt>
                <c:pt idx="782">
                  <c:v>0.9905175911573415</c:v>
                </c:pt>
                <c:pt idx="783">
                  <c:v>0.99056952175422941</c:v>
                </c:pt>
                <c:pt idx="784">
                  <c:v>0.99062094504970155</c:v>
                </c:pt>
                <c:pt idx="785">
                  <c:v>0.99067226972957145</c:v>
                </c:pt>
                <c:pt idx="786">
                  <c:v>0.99072342562504501</c:v>
                </c:pt>
                <c:pt idx="787">
                  <c:v>0.99077407137442197</c:v>
                </c:pt>
                <c:pt idx="788">
                  <c:v>0.99082461376706188</c:v>
                </c:pt>
                <c:pt idx="789">
                  <c:v>0.99087484040012908</c:v>
                </c:pt>
                <c:pt idx="790">
                  <c:v>0.99092462136653192</c:v>
                </c:pt>
                <c:pt idx="791">
                  <c:v>0.99097437293789947</c:v>
                </c:pt>
                <c:pt idx="792">
                  <c:v>0.99102361246671655</c:v>
                </c:pt>
                <c:pt idx="793">
                  <c:v>0.99107274863879657</c:v>
                </c:pt>
                <c:pt idx="794">
                  <c:v>0.99112161077328942</c:v>
                </c:pt>
                <c:pt idx="795">
                  <c:v>0.99117031076097462</c:v>
                </c:pt>
                <c:pt idx="796">
                  <c:v>0.9912183754366064</c:v>
                </c:pt>
                <c:pt idx="797">
                  <c:v>0.99126637942571372</c:v>
                </c:pt>
                <c:pt idx="798">
                  <c:v>0.99131393300702197</c:v>
                </c:pt>
                <c:pt idx="799">
                  <c:v>0.99136126944435976</c:v>
                </c:pt>
                <c:pt idx="800">
                  <c:v>0.9914083574462379</c:v>
                </c:pt>
                <c:pt idx="801">
                  <c:v>0.99145506995024568</c:v>
                </c:pt>
                <c:pt idx="802">
                  <c:v>0.99150131782305029</c:v>
                </c:pt>
                <c:pt idx="803">
                  <c:v>0.99154748888947231</c:v>
                </c:pt>
                <c:pt idx="804">
                  <c:v>0.99159364383603621</c:v>
                </c:pt>
                <c:pt idx="805">
                  <c:v>0.99163979498969235</c:v>
                </c:pt>
                <c:pt idx="806">
                  <c:v>0.99168594045398684</c:v>
                </c:pt>
                <c:pt idx="807">
                  <c:v>0.99173161275303556</c:v>
                </c:pt>
                <c:pt idx="808">
                  <c:v>0.99177727651804182</c:v>
                </c:pt>
                <c:pt idx="809">
                  <c:v>0.99182271839794289</c:v>
                </c:pt>
                <c:pt idx="810">
                  <c:v>0.99186773262749162</c:v>
                </c:pt>
                <c:pt idx="811">
                  <c:v>0.99191269091165057</c:v>
                </c:pt>
                <c:pt idx="812">
                  <c:v>0.99195749273836353</c:v>
                </c:pt>
                <c:pt idx="813">
                  <c:v>0.99200223482677896</c:v>
                </c:pt>
                <c:pt idx="814">
                  <c:v>0.9920468593350531</c:v>
                </c:pt>
                <c:pt idx="815">
                  <c:v>0.99209105808942877</c:v>
                </c:pt>
                <c:pt idx="816">
                  <c:v>0.99213510038635855</c:v>
                </c:pt>
                <c:pt idx="817">
                  <c:v>0.99217866003577315</c:v>
                </c:pt>
                <c:pt idx="818">
                  <c:v>0.99222211063908894</c:v>
                </c:pt>
                <c:pt idx="819">
                  <c:v>0.99226494679134425</c:v>
                </c:pt>
                <c:pt idx="820">
                  <c:v>0.99230765114005415</c:v>
                </c:pt>
                <c:pt idx="821">
                  <c:v>0.99235023316748805</c:v>
                </c:pt>
                <c:pt idx="822">
                  <c:v>0.99239239513038524</c:v>
                </c:pt>
                <c:pt idx="823">
                  <c:v>0.99243400806988102</c:v>
                </c:pt>
                <c:pt idx="824">
                  <c:v>0.99247544938029975</c:v>
                </c:pt>
                <c:pt idx="825">
                  <c:v>0.99251581540136247</c:v>
                </c:pt>
                <c:pt idx="826">
                  <c:v>0.99255613021817013</c:v>
                </c:pt>
                <c:pt idx="827">
                  <c:v>0.99259604014207214</c:v>
                </c:pt>
                <c:pt idx="828">
                  <c:v>0.99263575947235816</c:v>
                </c:pt>
                <c:pt idx="829">
                  <c:v>0.99267472116931477</c:v>
                </c:pt>
                <c:pt idx="830">
                  <c:v>0.99271328650740831</c:v>
                </c:pt>
                <c:pt idx="831">
                  <c:v>0.99275168211287856</c:v>
                </c:pt>
                <c:pt idx="832">
                  <c:v>0.99279001513537046</c:v>
                </c:pt>
                <c:pt idx="833">
                  <c:v>0.99282823721530977</c:v>
                </c:pt>
                <c:pt idx="834">
                  <c:v>0.99286620137751991</c:v>
                </c:pt>
                <c:pt idx="835">
                  <c:v>0.99290408778512051</c:v>
                </c:pt>
                <c:pt idx="836">
                  <c:v>0.99294170774094948</c:v>
                </c:pt>
                <c:pt idx="837">
                  <c:v>0.99297914279252419</c:v>
                </c:pt>
                <c:pt idx="838">
                  <c:v>0.99301640716324868</c:v>
                </c:pt>
                <c:pt idx="839">
                  <c:v>0.99305349611198834</c:v>
                </c:pt>
                <c:pt idx="840">
                  <c:v>0.99309049497916813</c:v>
                </c:pt>
                <c:pt idx="841">
                  <c:v>0.99312727385769661</c:v>
                </c:pt>
                <c:pt idx="842">
                  <c:v>0.99316405178799816</c:v>
                </c:pt>
                <c:pt idx="843">
                  <c:v>0.99320081075376077</c:v>
                </c:pt>
                <c:pt idx="844">
                  <c:v>0.99323752230817619</c:v>
                </c:pt>
                <c:pt idx="845">
                  <c:v>0.99327367251223997</c:v>
                </c:pt>
                <c:pt idx="846">
                  <c:v>0.9933098103893534</c:v>
                </c:pt>
                <c:pt idx="847">
                  <c:v>0.99334538122675353</c:v>
                </c:pt>
                <c:pt idx="848">
                  <c:v>0.99338007210954837</c:v>
                </c:pt>
                <c:pt idx="849">
                  <c:v>0.9934145335214225</c:v>
                </c:pt>
                <c:pt idx="850">
                  <c:v>0.99344875029074475</c:v>
                </c:pt>
                <c:pt idx="851">
                  <c:v>0.99348276698418148</c:v>
                </c:pt>
                <c:pt idx="852">
                  <c:v>0.99351674005917878</c:v>
                </c:pt>
                <c:pt idx="853">
                  <c:v>0.99355048745616303</c:v>
                </c:pt>
                <c:pt idx="854">
                  <c:v>0.9935841580467647</c:v>
                </c:pt>
                <c:pt idx="855">
                  <c:v>0.99361762666502706</c:v>
                </c:pt>
                <c:pt idx="856">
                  <c:v>0.99365102132158767</c:v>
                </c:pt>
                <c:pt idx="857">
                  <c:v>0.99368411444197968</c:v>
                </c:pt>
                <c:pt idx="858">
                  <c:v>0.99371708618932264</c:v>
                </c:pt>
                <c:pt idx="859">
                  <c:v>0.99374961890758995</c:v>
                </c:pt>
                <c:pt idx="860">
                  <c:v>0.99378202835635432</c:v>
                </c:pt>
                <c:pt idx="861">
                  <c:v>0.99381428893348833</c:v>
                </c:pt>
                <c:pt idx="862">
                  <c:v>0.99384613703190117</c:v>
                </c:pt>
                <c:pt idx="863">
                  <c:v>0.99387797469981753</c:v>
                </c:pt>
                <c:pt idx="864">
                  <c:v>0.9939094084230552</c:v>
                </c:pt>
                <c:pt idx="865">
                  <c:v>0.99394078620090309</c:v>
                </c:pt>
                <c:pt idx="866">
                  <c:v>0.99397213268726181</c:v>
                </c:pt>
                <c:pt idx="867">
                  <c:v>0.99400330090695477</c:v>
                </c:pt>
                <c:pt idx="868">
                  <c:v>0.99403441033657713</c:v>
                </c:pt>
                <c:pt idx="869">
                  <c:v>0.99406537373924997</c:v>
                </c:pt>
                <c:pt idx="870">
                  <c:v>0.99409628214475998</c:v>
                </c:pt>
                <c:pt idx="871">
                  <c:v>0.99412713460488022</c:v>
                </c:pt>
                <c:pt idx="872">
                  <c:v>0.99415777940329941</c:v>
                </c:pt>
                <c:pt idx="873">
                  <c:v>0.99418804491094048</c:v>
                </c:pt>
                <c:pt idx="874">
                  <c:v>0.99421819757957497</c:v>
                </c:pt>
                <c:pt idx="875">
                  <c:v>0.9942482876652311</c:v>
                </c:pt>
                <c:pt idx="876">
                  <c:v>0.99427799371897441</c:v>
                </c:pt>
                <c:pt idx="877">
                  <c:v>0.99430754710817948</c:v>
                </c:pt>
                <c:pt idx="878">
                  <c:v>0.99433672310306032</c:v>
                </c:pt>
                <c:pt idx="879">
                  <c:v>0.99436485510007433</c:v>
                </c:pt>
                <c:pt idx="880">
                  <c:v>0.9943929700290034</c:v>
                </c:pt>
                <c:pt idx="881">
                  <c:v>0.994420988238784</c:v>
                </c:pt>
                <c:pt idx="882">
                  <c:v>0.9944489249010473</c:v>
                </c:pt>
                <c:pt idx="883">
                  <c:v>0.9944768046696939</c:v>
                </c:pt>
                <c:pt idx="884">
                  <c:v>0.99450457159933403</c:v>
                </c:pt>
                <c:pt idx="885">
                  <c:v>0.9945321991396131</c:v>
                </c:pt>
                <c:pt idx="886">
                  <c:v>0.99455976504514076</c:v>
                </c:pt>
                <c:pt idx="887">
                  <c:v>0.99458723423152007</c:v>
                </c:pt>
                <c:pt idx="888">
                  <c:v>0.9946143980888229</c:v>
                </c:pt>
                <c:pt idx="889">
                  <c:v>0.99464134954328998</c:v>
                </c:pt>
                <c:pt idx="890">
                  <c:v>0.99466821660555893</c:v>
                </c:pt>
                <c:pt idx="891">
                  <c:v>0.99469502013662259</c:v>
                </c:pt>
                <c:pt idx="892">
                  <c:v>0.99472181039250895</c:v>
                </c:pt>
                <c:pt idx="893">
                  <c:v>0.99474847927534638</c:v>
                </c:pt>
                <c:pt idx="894">
                  <c:v>0.99477508178229757</c:v>
                </c:pt>
                <c:pt idx="895">
                  <c:v>0.99480155627861122</c:v>
                </c:pt>
                <c:pt idx="896">
                  <c:v>0.99482800327634346</c:v>
                </c:pt>
                <c:pt idx="897">
                  <c:v>0.99485436114074277</c:v>
                </c:pt>
                <c:pt idx="898">
                  <c:v>0.99488068392074513</c:v>
                </c:pt>
                <c:pt idx="899">
                  <c:v>0.99490689480996797</c:v>
                </c:pt>
                <c:pt idx="900">
                  <c:v>0.99493309811337516</c:v>
                </c:pt>
                <c:pt idx="901">
                  <c:v>0.99495915444160588</c:v>
                </c:pt>
                <c:pt idx="902">
                  <c:v>0.99498519180529765</c:v>
                </c:pt>
                <c:pt idx="903">
                  <c:v>0.99501122727253555</c:v>
                </c:pt>
                <c:pt idx="904">
                  <c:v>0.99503713188445497</c:v>
                </c:pt>
                <c:pt idx="905">
                  <c:v>0.99506284210985063</c:v>
                </c:pt>
                <c:pt idx="906">
                  <c:v>0.99508841010120452</c:v>
                </c:pt>
                <c:pt idx="907">
                  <c:v>0.99511390413085665</c:v>
                </c:pt>
                <c:pt idx="908">
                  <c:v>0.99513938773001243</c:v>
                </c:pt>
                <c:pt idx="909">
                  <c:v>0.9951647784029275</c:v>
                </c:pt>
                <c:pt idx="910">
                  <c:v>0.99519009985527562</c:v>
                </c:pt>
                <c:pt idx="911">
                  <c:v>0.99521513778776705</c:v>
                </c:pt>
                <c:pt idx="912">
                  <c:v>0.99524003443444364</c:v>
                </c:pt>
                <c:pt idx="913">
                  <c:v>0.99526473669459647</c:v>
                </c:pt>
                <c:pt idx="914">
                  <c:v>0.99528924077531766</c:v>
                </c:pt>
                <c:pt idx="915">
                  <c:v>0.9953137211503652</c:v>
                </c:pt>
                <c:pt idx="916">
                  <c:v>0.9953381778197391</c:v>
                </c:pt>
                <c:pt idx="917">
                  <c:v>0.99536233010826358</c:v>
                </c:pt>
                <c:pt idx="918">
                  <c:v>0.99541026582503078</c:v>
                </c:pt>
                <c:pt idx="919">
                  <c:v>0.99543409571639385</c:v>
                </c:pt>
                <c:pt idx="920">
                  <c:v>0.99545783173328939</c:v>
                </c:pt>
                <c:pt idx="921">
                  <c:v>0.99548152792465316</c:v>
                </c:pt>
                <c:pt idx="922">
                  <c:v>0.99550520420325106</c:v>
                </c:pt>
                <c:pt idx="923">
                  <c:v>0.99552875152298448</c:v>
                </c:pt>
                <c:pt idx="924">
                  <c:v>0.9955522400526472</c:v>
                </c:pt>
                <c:pt idx="925">
                  <c:v>0.99557570582486332</c:v>
                </c:pt>
                <c:pt idx="926">
                  <c:v>0.99559915547722133</c:v>
                </c:pt>
                <c:pt idx="927">
                  <c:v>0.99562252073738122</c:v>
                </c:pt>
                <c:pt idx="928">
                  <c:v>0.99564574565995323</c:v>
                </c:pt>
                <c:pt idx="929">
                  <c:v>0.99566878093713618</c:v>
                </c:pt>
                <c:pt idx="930">
                  <c:v>0.99569180009446101</c:v>
                </c:pt>
                <c:pt idx="931">
                  <c:v>0.99571475192767267</c:v>
                </c:pt>
                <c:pt idx="932">
                  <c:v>0.9957376781587568</c:v>
                </c:pt>
                <c:pt idx="933">
                  <c:v>0.99576032750757293</c:v>
                </c:pt>
                <c:pt idx="934">
                  <c:v>0.99578271514575212</c:v>
                </c:pt>
                <c:pt idx="935">
                  <c:v>0.99580491977613095</c:v>
                </c:pt>
                <c:pt idx="936">
                  <c:v>0.9958270229462266</c:v>
                </c:pt>
                <c:pt idx="937">
                  <c:v>0.99584909008369826</c:v>
                </c:pt>
                <c:pt idx="938">
                  <c:v>0.99587111455095745</c:v>
                </c:pt>
                <c:pt idx="939">
                  <c:v>0.99589297402672816</c:v>
                </c:pt>
                <c:pt idx="940">
                  <c:v>0.99591482117554853</c:v>
                </c:pt>
                <c:pt idx="941">
                  <c:v>0.99593641040663983</c:v>
                </c:pt>
                <c:pt idx="942">
                  <c:v>0.99595772654837089</c:v>
                </c:pt>
                <c:pt idx="943">
                  <c:v>0.99597897536598878</c:v>
                </c:pt>
                <c:pt idx="944">
                  <c:v>0.99600003548644456</c:v>
                </c:pt>
                <c:pt idx="945">
                  <c:v>0.99602087561824904</c:v>
                </c:pt>
                <c:pt idx="946">
                  <c:v>0.99604166264934457</c:v>
                </c:pt>
                <c:pt idx="947">
                  <c:v>0.99606217848753376</c:v>
                </c:pt>
                <c:pt idx="948">
                  <c:v>0.99608238804841953</c:v>
                </c:pt>
                <c:pt idx="949">
                  <c:v>0.9961025245958306</c:v>
                </c:pt>
                <c:pt idx="950">
                  <c:v>0.99612259192267461</c:v>
                </c:pt>
                <c:pt idx="951">
                  <c:v>0.99614262890625638</c:v>
                </c:pt>
                <c:pt idx="952">
                  <c:v>0.99616237383593897</c:v>
                </c:pt>
                <c:pt idx="953">
                  <c:v>0.9961820694578204</c:v>
                </c:pt>
                <c:pt idx="954">
                  <c:v>0.99620171956480841</c:v>
                </c:pt>
                <c:pt idx="955">
                  <c:v>0.99622132415690312</c:v>
                </c:pt>
                <c:pt idx="956">
                  <c:v>0.99624074953410513</c:v>
                </c:pt>
                <c:pt idx="957">
                  <c:v>0.99626010758719408</c:v>
                </c:pt>
                <c:pt idx="958">
                  <c:v>0.9962792883218442</c:v>
                </c:pt>
                <c:pt idx="959">
                  <c:v>0.99629840173238127</c:v>
                </c:pt>
                <c:pt idx="960">
                  <c:v>0.99631732549752916</c:v>
                </c:pt>
                <c:pt idx="961">
                  <c:v>0.99633620090310293</c:v>
                </c:pt>
                <c:pt idx="962">
                  <c:v>0.99635507441222282</c:v>
                </c:pt>
                <c:pt idx="963">
                  <c:v>0.99637384646105953</c:v>
                </c:pt>
                <c:pt idx="964">
                  <c:v>0.99639252748010942</c:v>
                </c:pt>
                <c:pt idx="965">
                  <c:v>0.99641115255376955</c:v>
                </c:pt>
                <c:pt idx="966">
                  <c:v>0.99642972547494768</c:v>
                </c:pt>
                <c:pt idx="967">
                  <c:v>0.99644827184577134</c:v>
                </c:pt>
                <c:pt idx="968">
                  <c:v>0.99646665322510652</c:v>
                </c:pt>
                <c:pt idx="969">
                  <c:v>0.99648502038103759</c:v>
                </c:pt>
                <c:pt idx="970">
                  <c:v>0.99650336003838724</c:v>
                </c:pt>
                <c:pt idx="971">
                  <c:v>0.9965216115106309</c:v>
                </c:pt>
                <c:pt idx="972">
                  <c:v>0.99653981272684655</c:v>
                </c:pt>
                <c:pt idx="973">
                  <c:v>0.99655801015015433</c:v>
                </c:pt>
                <c:pt idx="974">
                  <c:v>0.99657607956282457</c:v>
                </c:pt>
                <c:pt idx="975">
                  <c:v>0.99659412432159422</c:v>
                </c:pt>
                <c:pt idx="976">
                  <c:v>0.99661202305341423</c:v>
                </c:pt>
                <c:pt idx="977">
                  <c:v>0.99662987911502177</c:v>
                </c:pt>
                <c:pt idx="978">
                  <c:v>0.99664770957450177</c:v>
                </c:pt>
                <c:pt idx="979">
                  <c:v>0.99666548408859201</c:v>
                </c:pt>
                <c:pt idx="980">
                  <c:v>0.9966832301558739</c:v>
                </c:pt>
                <c:pt idx="981">
                  <c:v>0.99670087191819179</c:v>
                </c:pt>
                <c:pt idx="982">
                  <c:v>0.99671838566987203</c:v>
                </c:pt>
                <c:pt idx="983">
                  <c:v>0.9967358908875098</c:v>
                </c:pt>
                <c:pt idx="984">
                  <c:v>0.99675336765833922</c:v>
                </c:pt>
                <c:pt idx="985">
                  <c:v>0.99677081882704111</c:v>
                </c:pt>
                <c:pt idx="986">
                  <c:v>0.99678812586524723</c:v>
                </c:pt>
                <c:pt idx="987">
                  <c:v>0.99680541488714147</c:v>
                </c:pt>
                <c:pt idx="988">
                  <c:v>0.99682261098279501</c:v>
                </c:pt>
                <c:pt idx="989">
                  <c:v>0.99683980518199466</c:v>
                </c:pt>
                <c:pt idx="990">
                  <c:v>0.99685692447126562</c:v>
                </c:pt>
                <c:pt idx="991">
                  <c:v>0.99687390721585645</c:v>
                </c:pt>
                <c:pt idx="992">
                  <c:v>0.99690758539227375</c:v>
                </c:pt>
                <c:pt idx="993">
                  <c:v>0.99692429409927741</c:v>
                </c:pt>
                <c:pt idx="994">
                  <c:v>0.99694098194528824</c:v>
                </c:pt>
                <c:pt idx="995">
                  <c:v>0.99695754272888837</c:v>
                </c:pt>
                <c:pt idx="996">
                  <c:v>0.99697395464085814</c:v>
                </c:pt>
                <c:pt idx="997">
                  <c:v>0.99699032483084227</c:v>
                </c:pt>
                <c:pt idx="998">
                  <c:v>0.99700655563146545</c:v>
                </c:pt>
                <c:pt idx="999">
                  <c:v>0.99702273522783358</c:v>
                </c:pt>
                <c:pt idx="1000">
                  <c:v>0.99703870242136594</c:v>
                </c:pt>
                <c:pt idx="1001">
                  <c:v>0.99705462789291277</c:v>
                </c:pt>
                <c:pt idx="1002">
                  <c:v>0.99707054483041713</c:v>
                </c:pt>
                <c:pt idx="1003">
                  <c:v>0.99708645133742502</c:v>
                </c:pt>
                <c:pt idx="1004">
                  <c:v>0.99710234267280184</c:v>
                </c:pt>
                <c:pt idx="1005">
                  <c:v>0.99711821504363973</c:v>
                </c:pt>
                <c:pt idx="1006">
                  <c:v>0.99713393474993939</c:v>
                </c:pt>
                <c:pt idx="1007">
                  <c:v>0.99714964497396963</c:v>
                </c:pt>
                <c:pt idx="1008">
                  <c:v>0.9971653514050921</c:v>
                </c:pt>
                <c:pt idx="1009">
                  <c:v>0.99718102938940623</c:v>
                </c:pt>
                <c:pt idx="1010">
                  <c:v>0.99719667228932329</c:v>
                </c:pt>
                <c:pt idx="1011">
                  <c:v>0.99721227631193565</c:v>
                </c:pt>
                <c:pt idx="1012">
                  <c:v>0.99722773525582531</c:v>
                </c:pt>
                <c:pt idx="1013">
                  <c:v>0.99724317523517614</c:v>
                </c:pt>
                <c:pt idx="1014">
                  <c:v>0.99725856211381803</c:v>
                </c:pt>
                <c:pt idx="1015">
                  <c:v>0.99727391390806286</c:v>
                </c:pt>
                <c:pt idx="1016">
                  <c:v>0.99728922303209522</c:v>
                </c:pt>
                <c:pt idx="1017">
                  <c:v>0.99730452741499287</c:v>
                </c:pt>
                <c:pt idx="1018">
                  <c:v>0.99731978343831629</c:v>
                </c:pt>
                <c:pt idx="1019">
                  <c:v>0.99733480904249194</c:v>
                </c:pt>
                <c:pt idx="1020">
                  <c:v>0.99734976352964677</c:v>
                </c:pt>
                <c:pt idx="1021">
                  <c:v>0.99736468767353936</c:v>
                </c:pt>
                <c:pt idx="1022">
                  <c:v>0.99737960802452408</c:v>
                </c:pt>
                <c:pt idx="1023">
                  <c:v>0.99739452553082797</c:v>
                </c:pt>
                <c:pt idx="1024">
                  <c:v>0.99740936528252233</c:v>
                </c:pt>
                <c:pt idx="1025">
                  <c:v>0.99742406943776352</c:v>
                </c:pt>
                <c:pt idx="1026">
                  <c:v>0.99743872049229576</c:v>
                </c:pt>
                <c:pt idx="1027">
                  <c:v>0.99745330706739577</c:v>
                </c:pt>
                <c:pt idx="1028">
                  <c:v>0.99746785571341801</c:v>
                </c:pt>
                <c:pt idx="1029">
                  <c:v>0.99748229341688754</c:v>
                </c:pt>
                <c:pt idx="1030">
                  <c:v>0.99749662871184708</c:v>
                </c:pt>
                <c:pt idx="1031">
                  <c:v>0.99752510207056144</c:v>
                </c:pt>
                <c:pt idx="1032">
                  <c:v>0.99753915763857204</c:v>
                </c:pt>
                <c:pt idx="1033">
                  <c:v>0.9975532056207671</c:v>
                </c:pt>
                <c:pt idx="1034">
                  <c:v>0.99756719196821075</c:v>
                </c:pt>
                <c:pt idx="1035">
                  <c:v>0.99758116409225017</c:v>
                </c:pt>
                <c:pt idx="1036">
                  <c:v>0.99759513431983571</c:v>
                </c:pt>
                <c:pt idx="1037">
                  <c:v>0.99760907989352066</c:v>
                </c:pt>
                <c:pt idx="1038">
                  <c:v>0.99762298090053914</c:v>
                </c:pt>
                <c:pt idx="1039">
                  <c:v>0.99763682122103314</c:v>
                </c:pt>
                <c:pt idx="1040">
                  <c:v>0.99765065490393856</c:v>
                </c:pt>
                <c:pt idx="1041">
                  <c:v>0.99766437859251833</c:v>
                </c:pt>
                <c:pt idx="1042">
                  <c:v>0.9976780615073394</c:v>
                </c:pt>
                <c:pt idx="1043">
                  <c:v>0.99769171502712517</c:v>
                </c:pt>
                <c:pt idx="1044">
                  <c:v>0.99770533156606012</c:v>
                </c:pt>
                <c:pt idx="1045">
                  <c:v>0.99771890733123636</c:v>
                </c:pt>
                <c:pt idx="1046">
                  <c:v>0.9977323787914486</c:v>
                </c:pt>
                <c:pt idx="1047">
                  <c:v>0.99774580284031367</c:v>
                </c:pt>
                <c:pt idx="1048">
                  <c:v>0.99775918516719309</c:v>
                </c:pt>
                <c:pt idx="1049">
                  <c:v>0.99777252482386003</c:v>
                </c:pt>
                <c:pt idx="1050">
                  <c:v>0.99778585879116521</c:v>
                </c:pt>
                <c:pt idx="1051">
                  <c:v>0.99779918327620098</c:v>
                </c:pt>
                <c:pt idx="1052">
                  <c:v>0.99781249638251346</c:v>
                </c:pt>
                <c:pt idx="1053">
                  <c:v>0.99782580948882593</c:v>
                </c:pt>
                <c:pt idx="1054">
                  <c:v>0.99783912164691146</c:v>
                </c:pt>
                <c:pt idx="1055">
                  <c:v>0.99785235699861441</c:v>
                </c:pt>
                <c:pt idx="1056">
                  <c:v>0.99786547477017606</c:v>
                </c:pt>
                <c:pt idx="1057">
                  <c:v>0.99787849582258936</c:v>
                </c:pt>
                <c:pt idx="1058">
                  <c:v>0.99789144670620866</c:v>
                </c:pt>
                <c:pt idx="1059">
                  <c:v>0.99790427052741726</c:v>
                </c:pt>
                <c:pt idx="1060">
                  <c:v>0.99791697487203079</c:v>
                </c:pt>
                <c:pt idx="1061">
                  <c:v>0.99792957680813421</c:v>
                </c:pt>
                <c:pt idx="1062">
                  <c:v>0.99794212185062092</c:v>
                </c:pt>
                <c:pt idx="1063">
                  <c:v>0.99795463275693763</c:v>
                </c:pt>
                <c:pt idx="1064">
                  <c:v>0.99797943932205446</c:v>
                </c:pt>
                <c:pt idx="1065">
                  <c:v>0.99799150835461459</c:v>
                </c:pt>
                <c:pt idx="1066">
                  <c:v>0.99800342187795565</c:v>
                </c:pt>
                <c:pt idx="1067">
                  <c:v>0.99801522161406331</c:v>
                </c:pt>
                <c:pt idx="1068">
                  <c:v>0.99802690945939143</c:v>
                </c:pt>
                <c:pt idx="1069">
                  <c:v>0.99803854230755673</c:v>
                </c:pt>
                <c:pt idx="1070">
                  <c:v>0.99805017041458732</c:v>
                </c:pt>
                <c:pt idx="1071">
                  <c:v>0.99806177007480956</c:v>
                </c:pt>
                <c:pt idx="1072">
                  <c:v>0.99807335551162757</c:v>
                </c:pt>
                <c:pt idx="1073">
                  <c:v>0.99808491629454499</c:v>
                </c:pt>
                <c:pt idx="1074">
                  <c:v>0.99809639552994511</c:v>
                </c:pt>
                <c:pt idx="1075">
                  <c:v>0.99810785105967159</c:v>
                </c:pt>
                <c:pt idx="1076">
                  <c:v>0.99811924779932748</c:v>
                </c:pt>
                <c:pt idx="1077">
                  <c:v>0.99814202989991596</c:v>
                </c:pt>
                <c:pt idx="1078">
                  <c:v>0.99815339534808267</c:v>
                </c:pt>
                <c:pt idx="1079">
                  <c:v>0.99816472950476021</c:v>
                </c:pt>
                <c:pt idx="1080">
                  <c:v>0.99817590815221868</c:v>
                </c:pt>
                <c:pt idx="1081">
                  <c:v>0.99818703844010293</c:v>
                </c:pt>
                <c:pt idx="1082">
                  <c:v>0.99819816683153328</c:v>
                </c:pt>
                <c:pt idx="1083">
                  <c:v>0.99820923548466611</c:v>
                </c:pt>
                <c:pt idx="1084">
                  <c:v>0.99822030034489118</c:v>
                </c:pt>
                <c:pt idx="1085">
                  <c:v>0.99823125805547142</c:v>
                </c:pt>
                <c:pt idx="1086">
                  <c:v>0.99824217025115825</c:v>
                </c:pt>
                <c:pt idx="1087">
                  <c:v>0.99825301512273201</c:v>
                </c:pt>
                <c:pt idx="1088">
                  <c:v>0.9982638580978519</c:v>
                </c:pt>
                <c:pt idx="1089">
                  <c:v>0.9982746925389292</c:v>
                </c:pt>
                <c:pt idx="1090">
                  <c:v>0.99828548715447485</c:v>
                </c:pt>
                <c:pt idx="1091">
                  <c:v>0.99829625901257379</c:v>
                </c:pt>
                <c:pt idx="1092">
                  <c:v>0.99831763299614851</c:v>
                </c:pt>
                <c:pt idx="1093">
                  <c:v>0.99832821900176616</c:v>
                </c:pt>
                <c:pt idx="1094">
                  <c:v>0.99833874052795157</c:v>
                </c:pt>
                <c:pt idx="1095">
                  <c:v>0.99834925067541358</c:v>
                </c:pt>
                <c:pt idx="1096">
                  <c:v>0.99835972194557088</c:v>
                </c:pt>
                <c:pt idx="1097">
                  <c:v>0.99837017425118924</c:v>
                </c:pt>
                <c:pt idx="1098">
                  <c:v>0.99838062181567289</c:v>
                </c:pt>
                <c:pt idx="1099">
                  <c:v>0.99840136807300983</c:v>
                </c:pt>
                <c:pt idx="1100">
                  <c:v>0.99841166392118219</c:v>
                </c:pt>
                <c:pt idx="1101">
                  <c:v>0.99842179477786608</c:v>
                </c:pt>
                <c:pt idx="1102">
                  <c:v>0.99843186210334467</c:v>
                </c:pt>
                <c:pt idx="1103">
                  <c:v>0.99844186210471009</c:v>
                </c:pt>
                <c:pt idx="1104">
                  <c:v>0.99847117654072504</c:v>
                </c:pt>
                <c:pt idx="1105">
                  <c:v>0.99848082569812069</c:v>
                </c:pt>
                <c:pt idx="1106">
                  <c:v>0.99849033925906316</c:v>
                </c:pt>
                <c:pt idx="1107">
                  <c:v>0.99850916251215494</c:v>
                </c:pt>
                <c:pt idx="1108">
                  <c:v>0.9985184987546587</c:v>
                </c:pt>
                <c:pt idx="1109">
                  <c:v>0.99852780275744624</c:v>
                </c:pt>
                <c:pt idx="1110">
                  <c:v>0.99853697306023448</c:v>
                </c:pt>
                <c:pt idx="1111">
                  <c:v>0.9985552529792866</c:v>
                </c:pt>
                <c:pt idx="1112">
                  <c:v>0.99856430570193366</c:v>
                </c:pt>
                <c:pt idx="1113">
                  <c:v>0.99857331954727602</c:v>
                </c:pt>
                <c:pt idx="1114">
                  <c:v>0.99858231253162555</c:v>
                </c:pt>
                <c:pt idx="1115">
                  <c:v>0.99859128370675532</c:v>
                </c:pt>
                <c:pt idx="1116">
                  <c:v>0.99860021315989944</c:v>
                </c:pt>
                <c:pt idx="1117">
                  <c:v>0.99860909899460415</c:v>
                </c:pt>
                <c:pt idx="1118">
                  <c:v>0.99861791655696874</c:v>
                </c:pt>
                <c:pt idx="1119">
                  <c:v>0.99862666110585863</c:v>
                </c:pt>
                <c:pt idx="1120">
                  <c:v>0.99863534876113169</c:v>
                </c:pt>
                <c:pt idx="1121">
                  <c:v>0.99864398710860369</c:v>
                </c:pt>
                <c:pt idx="1122">
                  <c:v>0.99865242632841711</c:v>
                </c:pt>
                <c:pt idx="1123">
                  <c:v>0.99866067116170676</c:v>
                </c:pt>
                <c:pt idx="1124">
                  <c:v>0.99866886289428747</c:v>
                </c:pt>
                <c:pt idx="1125">
                  <c:v>0.99867704798927959</c:v>
                </c:pt>
                <c:pt idx="1126">
                  <c:v>0.99868522360200218</c:v>
                </c:pt>
                <c:pt idx="1127">
                  <c:v>0.99870149707283795</c:v>
                </c:pt>
                <c:pt idx="1128">
                  <c:v>0.99870957312173136</c:v>
                </c:pt>
                <c:pt idx="1129">
                  <c:v>0.9987176453777169</c:v>
                </c:pt>
                <c:pt idx="1130">
                  <c:v>0.99872567780817079</c:v>
                </c:pt>
                <c:pt idx="1131">
                  <c:v>0.99873367989536244</c:v>
                </c:pt>
                <c:pt idx="1132">
                  <c:v>0.99874166301801515</c:v>
                </c:pt>
                <c:pt idx="1133">
                  <c:v>0.99874952476761891</c:v>
                </c:pt>
                <c:pt idx="1134">
                  <c:v>0.99875735996686821</c:v>
                </c:pt>
                <c:pt idx="1135">
                  <c:v>0.99876517714980551</c:v>
                </c:pt>
                <c:pt idx="1136">
                  <c:v>0.99878072427880116</c:v>
                </c:pt>
                <c:pt idx="1137">
                  <c:v>0.99878842577805116</c:v>
                </c:pt>
                <c:pt idx="1138">
                  <c:v>0.99879608934822328</c:v>
                </c:pt>
                <c:pt idx="1139">
                  <c:v>0.99880370835172905</c:v>
                </c:pt>
                <c:pt idx="1140">
                  <c:v>0.99881132640700787</c:v>
                </c:pt>
                <c:pt idx="1141">
                  <c:v>0.99881893972115188</c:v>
                </c:pt>
                <c:pt idx="1142">
                  <c:v>0.99882653596721094</c:v>
                </c:pt>
                <c:pt idx="1143">
                  <c:v>0.99883408195724188</c:v>
                </c:pt>
                <c:pt idx="1144">
                  <c:v>0.99884155967493271</c:v>
                </c:pt>
                <c:pt idx="1145">
                  <c:v>0.99884903549616966</c:v>
                </c:pt>
                <c:pt idx="1146">
                  <c:v>0.99885650847272578</c:v>
                </c:pt>
                <c:pt idx="1147">
                  <c:v>0.99886396438119696</c:v>
                </c:pt>
                <c:pt idx="1148">
                  <c:v>0.99887135675846273</c:v>
                </c:pt>
                <c:pt idx="1149">
                  <c:v>0.99887867801870767</c:v>
                </c:pt>
                <c:pt idx="1150">
                  <c:v>0.99889313468671626</c:v>
                </c:pt>
                <c:pt idx="1151">
                  <c:v>0.99890030707533073</c:v>
                </c:pt>
                <c:pt idx="1152">
                  <c:v>0.9989074386901865</c:v>
                </c:pt>
                <c:pt idx="1153">
                  <c:v>0.99891443186390827</c:v>
                </c:pt>
                <c:pt idx="1154">
                  <c:v>0.99892835183546569</c:v>
                </c:pt>
                <c:pt idx="1155">
                  <c:v>0.99893529475315934</c:v>
                </c:pt>
                <c:pt idx="1156">
                  <c:v>0.99894216750205911</c:v>
                </c:pt>
                <c:pt idx="1157">
                  <c:v>0.99894901844173911</c:v>
                </c:pt>
                <c:pt idx="1158">
                  <c:v>0.9989558598991497</c:v>
                </c:pt>
                <c:pt idx="1159">
                  <c:v>0.99896267575443276</c:v>
                </c:pt>
                <c:pt idx="1160">
                  <c:v>0.99896944419836853</c:v>
                </c:pt>
                <c:pt idx="1161">
                  <c:v>0.99897619557421924</c:v>
                </c:pt>
                <c:pt idx="1162">
                  <c:v>0.99898291186567301</c:v>
                </c:pt>
                <c:pt idx="1163">
                  <c:v>0.99898962720889983</c:v>
                </c:pt>
                <c:pt idx="1164">
                  <c:v>0.99899632169113384</c:v>
                </c:pt>
                <c:pt idx="1165">
                  <c:v>0.99900297445138231</c:v>
                </c:pt>
                <c:pt idx="1166">
                  <c:v>0.99901613489315655</c:v>
                </c:pt>
                <c:pt idx="1167">
                  <c:v>0.99902265205695184</c:v>
                </c:pt>
                <c:pt idx="1168">
                  <c:v>0.99902916637606631</c:v>
                </c:pt>
                <c:pt idx="1169">
                  <c:v>0.9990356086299329</c:v>
                </c:pt>
                <c:pt idx="1170">
                  <c:v>0.99904202717812585</c:v>
                </c:pt>
                <c:pt idx="1171">
                  <c:v>0.9990484324511415</c:v>
                </c:pt>
                <c:pt idx="1172">
                  <c:v>0.99905482539720691</c:v>
                </c:pt>
                <c:pt idx="1173">
                  <c:v>0.99906121170568374</c:v>
                </c:pt>
                <c:pt idx="1174">
                  <c:v>0.99906754301699774</c:v>
                </c:pt>
                <c:pt idx="1175">
                  <c:v>0.99907385157086503</c:v>
                </c:pt>
                <c:pt idx="1176">
                  <c:v>0.99908013167792398</c:v>
                </c:pt>
                <c:pt idx="1177">
                  <c:v>0.99908634730555057</c:v>
                </c:pt>
                <c:pt idx="1178">
                  <c:v>0.99909251457360304</c:v>
                </c:pt>
                <c:pt idx="1179">
                  <c:v>0.99909858986364175</c:v>
                </c:pt>
                <c:pt idx="1180">
                  <c:v>0.99910463670687211</c:v>
                </c:pt>
                <c:pt idx="1181">
                  <c:v>0.9991106797571947</c:v>
                </c:pt>
                <c:pt idx="1182">
                  <c:v>0.99911670573943223</c:v>
                </c:pt>
                <c:pt idx="1183">
                  <c:v>0.99912268999968423</c:v>
                </c:pt>
                <c:pt idx="1184">
                  <c:v>0.9991286372790853</c:v>
                </c:pt>
                <c:pt idx="1185">
                  <c:v>0.99913453809536612</c:v>
                </c:pt>
                <c:pt idx="1186">
                  <c:v>0.99914035357122177</c:v>
                </c:pt>
                <c:pt idx="1187">
                  <c:v>0.99914615292721942</c:v>
                </c:pt>
                <c:pt idx="1188">
                  <c:v>0.99915768526332849</c:v>
                </c:pt>
                <c:pt idx="1189">
                  <c:v>0.99916340970939743</c:v>
                </c:pt>
                <c:pt idx="1190">
                  <c:v>0.99916912656965085</c:v>
                </c:pt>
                <c:pt idx="1191">
                  <c:v>0.99918029952774767</c:v>
                </c:pt>
                <c:pt idx="1192">
                  <c:v>0.99918581915679638</c:v>
                </c:pt>
                <c:pt idx="1193">
                  <c:v>0.99919132551066792</c:v>
                </c:pt>
                <c:pt idx="1194">
                  <c:v>0.99919681005531968</c:v>
                </c:pt>
                <c:pt idx="1195">
                  <c:v>0.99920227279075169</c:v>
                </c:pt>
                <c:pt idx="1196">
                  <c:v>0.99920768716660957</c:v>
                </c:pt>
                <c:pt idx="1197">
                  <c:v>0.99921307025097816</c:v>
                </c:pt>
                <c:pt idx="1198">
                  <c:v>0.99921843531903487</c:v>
                </c:pt>
                <c:pt idx="1199">
                  <c:v>0.99922378331900652</c:v>
                </c:pt>
                <c:pt idx="1200">
                  <c:v>0.99922912847429735</c:v>
                </c:pt>
                <c:pt idx="1201">
                  <c:v>0.99923445182036841</c:v>
                </c:pt>
                <c:pt idx="1202">
                  <c:v>0.99923977232175865</c:v>
                </c:pt>
                <c:pt idx="1203">
                  <c:v>0.99924507480683689</c:v>
                </c:pt>
                <c:pt idx="1204">
                  <c:v>0.99925034220751818</c:v>
                </c:pt>
                <c:pt idx="1205">
                  <c:v>0.99926086468193054</c:v>
                </c:pt>
                <c:pt idx="1206">
                  <c:v>0.99926610648048431</c:v>
                </c:pt>
                <c:pt idx="1207">
                  <c:v>0.99927134069322254</c:v>
                </c:pt>
                <c:pt idx="1208">
                  <c:v>0.99927654740737937</c:v>
                </c:pt>
                <c:pt idx="1209">
                  <c:v>0.99928175317330925</c:v>
                </c:pt>
                <c:pt idx="1210">
                  <c:v>0.99928695799101219</c:v>
                </c:pt>
                <c:pt idx="1211">
                  <c:v>0.99929213815481455</c:v>
                </c:pt>
                <c:pt idx="1212">
                  <c:v>0.99929729745762408</c:v>
                </c:pt>
                <c:pt idx="1213">
                  <c:v>0.99930244632993726</c:v>
                </c:pt>
                <c:pt idx="1214">
                  <c:v>0.99930757623771149</c:v>
                </c:pt>
                <c:pt idx="1215">
                  <c:v>0.99931754494758773</c:v>
                </c:pt>
                <c:pt idx="1216">
                  <c:v>0.99932251176032738</c:v>
                </c:pt>
                <c:pt idx="1217">
                  <c:v>0.99933233065034632</c:v>
                </c:pt>
                <c:pt idx="1218">
                  <c:v>0.99933718936521421</c:v>
                </c:pt>
                <c:pt idx="1219">
                  <c:v>0.99934204428717432</c:v>
                </c:pt>
                <c:pt idx="1220">
                  <c:v>0.99934689067509186</c:v>
                </c:pt>
                <c:pt idx="1221">
                  <c:v>0.99935171525378974</c:v>
                </c:pt>
                <c:pt idx="1222">
                  <c:v>0.99935651328213315</c:v>
                </c:pt>
                <c:pt idx="1223">
                  <c:v>0.99936128570834903</c:v>
                </c:pt>
                <c:pt idx="1224">
                  <c:v>0.99936603727357209</c:v>
                </c:pt>
                <c:pt idx="1225">
                  <c:v>0.99937073858276704</c:v>
                </c:pt>
                <c:pt idx="1226">
                  <c:v>0.99937543230614645</c:v>
                </c:pt>
                <c:pt idx="1227">
                  <c:v>0.99938478846141598</c:v>
                </c:pt>
                <c:pt idx="1228">
                  <c:v>0.99938943098054034</c:v>
                </c:pt>
                <c:pt idx="1229">
                  <c:v>0.99939406875852999</c:v>
                </c:pt>
                <c:pt idx="1230">
                  <c:v>0.99939869420956928</c:v>
                </c:pt>
                <c:pt idx="1231">
                  <c:v>0.99940330354075058</c:v>
                </c:pt>
                <c:pt idx="1232">
                  <c:v>0.99940784365136481</c:v>
                </c:pt>
                <c:pt idx="1233">
                  <c:v>0.99941237522793658</c:v>
                </c:pt>
                <c:pt idx="1234">
                  <c:v>0.99941688689174246</c:v>
                </c:pt>
                <c:pt idx="1235">
                  <c:v>0.99943006629805553</c:v>
                </c:pt>
                <c:pt idx="1236">
                  <c:v>0.99943006629805553</c:v>
                </c:pt>
                <c:pt idx="1237">
                  <c:v>0.99943436081789094</c:v>
                </c:pt>
                <c:pt idx="1238">
                  <c:v>0.99943864206254907</c:v>
                </c:pt>
                <c:pt idx="1239">
                  <c:v>0.99944290718734918</c:v>
                </c:pt>
                <c:pt idx="1240">
                  <c:v>0.99944715619229119</c:v>
                </c:pt>
                <c:pt idx="1241">
                  <c:v>0.99945137295751707</c:v>
                </c:pt>
                <c:pt idx="1242">
                  <c:v>0.99945558877451601</c:v>
                </c:pt>
                <c:pt idx="1243">
                  <c:v>0.99946799916877638</c:v>
                </c:pt>
                <c:pt idx="1244">
                  <c:v>0.9994720898198185</c:v>
                </c:pt>
                <c:pt idx="1245">
                  <c:v>0.99947616340277567</c:v>
                </c:pt>
                <c:pt idx="1246">
                  <c:v>0.99948418160982533</c:v>
                </c:pt>
                <c:pt idx="1247">
                  <c:v>0.99948817554171909</c:v>
                </c:pt>
                <c:pt idx="1248">
                  <c:v>0.99949216662893203</c:v>
                </c:pt>
                <c:pt idx="1249">
                  <c:v>0.99949611030479768</c:v>
                </c:pt>
                <c:pt idx="1250">
                  <c:v>0.9995000511359825</c:v>
                </c:pt>
                <c:pt idx="1251">
                  <c:v>0.99950397489908227</c:v>
                </c:pt>
                <c:pt idx="1252">
                  <c:v>0.99950785978487733</c:v>
                </c:pt>
                <c:pt idx="1253">
                  <c:v>0.99951168113946698</c:v>
                </c:pt>
                <c:pt idx="1254">
                  <c:v>0.99951919583800874</c:v>
                </c:pt>
                <c:pt idx="1255">
                  <c:v>0.99952287401032969</c:v>
                </c:pt>
                <c:pt idx="1256">
                  <c:v>0.99953359276771969</c:v>
                </c:pt>
                <c:pt idx="1257">
                  <c:v>0.99953712112018323</c:v>
                </c:pt>
                <c:pt idx="1258">
                  <c:v>0.99954061533647676</c:v>
                </c:pt>
                <c:pt idx="1259">
                  <c:v>0.99954405171092664</c:v>
                </c:pt>
                <c:pt idx="1260">
                  <c:v>0.99955086566975582</c:v>
                </c:pt>
                <c:pt idx="1261">
                  <c:v>0.99955424325413511</c:v>
                </c:pt>
                <c:pt idx="1262">
                  <c:v>0.99955761989028746</c:v>
                </c:pt>
                <c:pt idx="1263">
                  <c:v>0.99956098325126252</c:v>
                </c:pt>
                <c:pt idx="1264">
                  <c:v>0.99956432480301782</c:v>
                </c:pt>
                <c:pt idx="1265">
                  <c:v>0.99956765782073065</c:v>
                </c:pt>
                <c:pt idx="1266">
                  <c:v>0.99957759239443689</c:v>
                </c:pt>
                <c:pt idx="1267">
                  <c:v>0.99958416834830266</c:v>
                </c:pt>
                <c:pt idx="1268">
                  <c:v>0.99958744542062572</c:v>
                </c:pt>
                <c:pt idx="1269">
                  <c:v>0.99959071964826796</c:v>
                </c:pt>
                <c:pt idx="1270">
                  <c:v>0.99959397870427902</c:v>
                </c:pt>
                <c:pt idx="1271">
                  <c:v>0.99959723017447455</c:v>
                </c:pt>
                <c:pt idx="1272">
                  <c:v>0.99960047690353537</c:v>
                </c:pt>
                <c:pt idx="1273">
                  <c:v>0.99960371509855372</c:v>
                </c:pt>
                <c:pt idx="1274">
                  <c:v>0.99961012985383879</c:v>
                </c:pt>
                <c:pt idx="1275">
                  <c:v>0.99961649340486891</c:v>
                </c:pt>
                <c:pt idx="1276">
                  <c:v>0.99962273178994221</c:v>
                </c:pt>
                <c:pt idx="1277">
                  <c:v>0.99963205570549563</c:v>
                </c:pt>
                <c:pt idx="1278">
                  <c:v>0.99963515071824516</c:v>
                </c:pt>
                <c:pt idx="1279">
                  <c:v>0.99963819357851269</c:v>
                </c:pt>
                <c:pt idx="1280">
                  <c:v>0.99964122506005693</c:v>
                </c:pt>
                <c:pt idx="1281">
                  <c:v>0.99964424705933164</c:v>
                </c:pt>
                <c:pt idx="1282">
                  <c:v>0.99964724819761364</c:v>
                </c:pt>
                <c:pt idx="1283">
                  <c:v>0.99965320970041893</c:v>
                </c:pt>
                <c:pt idx="1284">
                  <c:v>0.99965617196139611</c:v>
                </c:pt>
                <c:pt idx="1285">
                  <c:v>0.99965913137769247</c:v>
                </c:pt>
                <c:pt idx="1286">
                  <c:v>0.99966207562235776</c:v>
                </c:pt>
                <c:pt idx="1287">
                  <c:v>0.99966501512588823</c:v>
                </c:pt>
                <c:pt idx="1288">
                  <c:v>0.99966793566487988</c:v>
                </c:pt>
                <c:pt idx="1289">
                  <c:v>0.99967085525564459</c:v>
                </c:pt>
                <c:pt idx="1290">
                  <c:v>0.99967376820882059</c:v>
                </c:pt>
                <c:pt idx="1291">
                  <c:v>0.99967667357618106</c:v>
                </c:pt>
                <c:pt idx="1292">
                  <c:v>0.99967955334141401</c:v>
                </c:pt>
                <c:pt idx="1293">
                  <c:v>0.99968243026196613</c:v>
                </c:pt>
                <c:pt idx="1294">
                  <c:v>0.99968528916620625</c:v>
                </c:pt>
                <c:pt idx="1295">
                  <c:v>0.99968814143285778</c:v>
                </c:pt>
                <c:pt idx="1296">
                  <c:v>0.99969098137255907</c:v>
                </c:pt>
                <c:pt idx="1297">
                  <c:v>0.99969381562289872</c:v>
                </c:pt>
                <c:pt idx="1298">
                  <c:v>0.99969664892501131</c:v>
                </c:pt>
                <c:pt idx="1299">
                  <c:v>0.99969944334981919</c:v>
                </c:pt>
                <c:pt idx="1300">
                  <c:v>0.99970223303349237</c:v>
                </c:pt>
                <c:pt idx="1301">
                  <c:v>0.99970493453205966</c:v>
                </c:pt>
                <c:pt idx="1302">
                  <c:v>0.99971029770366238</c:v>
                </c:pt>
                <c:pt idx="1303">
                  <c:v>0.99971295368733626</c:v>
                </c:pt>
                <c:pt idx="1304">
                  <c:v>0.99971823341496791</c:v>
                </c:pt>
                <c:pt idx="1305">
                  <c:v>0.99972084862488308</c:v>
                </c:pt>
                <c:pt idx="1306">
                  <c:v>0.99972343349153603</c:v>
                </c:pt>
                <c:pt idx="1307">
                  <c:v>0.99972856529576415</c:v>
                </c:pt>
                <c:pt idx="1308">
                  <c:v>0.99973364968864509</c:v>
                </c:pt>
                <c:pt idx="1309">
                  <c:v>0.99973618145458909</c:v>
                </c:pt>
                <c:pt idx="1310">
                  <c:v>0.99973870563471756</c:v>
                </c:pt>
                <c:pt idx="1311">
                  <c:v>0.99974118714463345</c:v>
                </c:pt>
                <c:pt idx="1312">
                  <c:v>0.99974857193608357</c:v>
                </c:pt>
                <c:pt idx="1313">
                  <c:v>0.99975098043252475</c:v>
                </c:pt>
                <c:pt idx="1314">
                  <c:v>0.99975336048215757</c:v>
                </c:pt>
                <c:pt idx="1315">
                  <c:v>0.99975573768710946</c:v>
                </c:pt>
                <c:pt idx="1316">
                  <c:v>0.99975810825447275</c:v>
                </c:pt>
                <c:pt idx="1317">
                  <c:v>0.99976047882183605</c:v>
                </c:pt>
                <c:pt idx="1318">
                  <c:v>0.99976284654451852</c:v>
                </c:pt>
                <c:pt idx="1319">
                  <c:v>0.99976521142252017</c:v>
                </c:pt>
                <c:pt idx="1320">
                  <c:v>0.99976756681825241</c:v>
                </c:pt>
                <c:pt idx="1321">
                  <c:v>0.99976990230121876</c:v>
                </c:pt>
                <c:pt idx="1322">
                  <c:v>0.99977221787141923</c:v>
                </c:pt>
                <c:pt idx="1323">
                  <c:v>0.99977448887495335</c:v>
                </c:pt>
                <c:pt idx="1324">
                  <c:v>0.99977674565508323</c:v>
                </c:pt>
                <c:pt idx="1325">
                  <c:v>0.99978111129193947</c:v>
                </c:pt>
                <c:pt idx="1326">
                  <c:v>0.99978327893873653</c:v>
                </c:pt>
                <c:pt idx="1327">
                  <c:v>0.9997854333103563</c:v>
                </c:pt>
                <c:pt idx="1328">
                  <c:v>0.999787572510345</c:v>
                </c:pt>
                <c:pt idx="1329">
                  <c:v>0.99979394175073677</c:v>
                </c:pt>
                <c:pt idx="1330">
                  <c:v>0.99979604681455536</c:v>
                </c:pt>
                <c:pt idx="1331">
                  <c:v>0.99979815187837395</c:v>
                </c:pt>
                <c:pt idx="1332">
                  <c:v>0.9998002398741076</c:v>
                </c:pt>
                <c:pt idx="1333">
                  <c:v>0.99980436371309278</c:v>
                </c:pt>
                <c:pt idx="1334">
                  <c:v>0.99980640050457137</c:v>
                </c:pt>
                <c:pt idx="1335">
                  <c:v>0.9998084202279649</c:v>
                </c:pt>
                <c:pt idx="1336">
                  <c:v>0.99981434759460019</c:v>
                </c:pt>
                <c:pt idx="1337">
                  <c:v>0.99981628387402255</c:v>
                </c:pt>
                <c:pt idx="1338">
                  <c:v>0.9998182201534449</c:v>
                </c:pt>
                <c:pt idx="1339">
                  <c:v>0.99982013841655526</c:v>
                </c:pt>
                <c:pt idx="1340">
                  <c:v>0.99982204909385008</c:v>
                </c:pt>
                <c:pt idx="1341">
                  <c:v>0.99982394270305985</c:v>
                </c:pt>
                <c:pt idx="1342">
                  <c:v>0.9998258107101422</c:v>
                </c:pt>
                <c:pt idx="1343">
                  <c:v>0.99982763889169279</c:v>
                </c:pt>
                <c:pt idx="1344">
                  <c:v>0.99982945569452009</c:v>
                </c:pt>
                <c:pt idx="1345">
                  <c:v>0.99983125542926232</c:v>
                </c:pt>
                <c:pt idx="1346">
                  <c:v>0.99983478093704503</c:v>
                </c:pt>
                <c:pt idx="1347">
                  <c:v>0.99983652851930527</c:v>
                </c:pt>
                <c:pt idx="1348">
                  <c:v>0.99984166506466809</c:v>
                </c:pt>
                <c:pt idx="1349">
                  <c:v>0.99984336144267327</c:v>
                </c:pt>
                <c:pt idx="1350">
                  <c:v>0.99984673144123704</c:v>
                </c:pt>
                <c:pt idx="1351">
                  <c:v>0.99985000946178704</c:v>
                </c:pt>
                <c:pt idx="1352">
                  <c:v>0.99985162049936716</c:v>
                </c:pt>
                <c:pt idx="1353">
                  <c:v>0.99985321826176998</c:v>
                </c:pt>
                <c:pt idx="1354">
                  <c:v>0.99985478378445669</c:v>
                </c:pt>
                <c:pt idx="1355">
                  <c:v>0.9998563493071434</c:v>
                </c:pt>
                <c:pt idx="1356">
                  <c:v>0.99985945854329716</c:v>
                </c:pt>
                <c:pt idx="1357">
                  <c:v>0.99986100699789893</c:v>
                </c:pt>
                <c:pt idx="1358">
                  <c:v>0.99986253743618869</c:v>
                </c:pt>
                <c:pt idx="1359">
                  <c:v>0.99986556986595987</c:v>
                </c:pt>
                <c:pt idx="1360">
                  <c:v>0.99986855488438375</c:v>
                </c:pt>
                <c:pt idx="1361">
                  <c:v>0.99987003885955317</c:v>
                </c:pt>
                <c:pt idx="1362">
                  <c:v>0.99987298689712623</c:v>
                </c:pt>
                <c:pt idx="1363">
                  <c:v>0.9998744244091754</c:v>
                </c:pt>
                <c:pt idx="1364">
                  <c:v>0.99987584295668563</c:v>
                </c:pt>
                <c:pt idx="1365">
                  <c:v>0.9998772510736994</c:v>
                </c:pt>
                <c:pt idx="1366">
                  <c:v>0.9998786506566707</c:v>
                </c:pt>
                <c:pt idx="1367">
                  <c:v>0.99988142896162058</c:v>
                </c:pt>
                <c:pt idx="1368">
                  <c:v>0.9998827972531027</c:v>
                </c:pt>
                <c:pt idx="1369">
                  <c:v>0.99988416080345011</c:v>
                </c:pt>
                <c:pt idx="1370">
                  <c:v>0.99988551013039328</c:v>
                </c:pt>
                <c:pt idx="1371">
                  <c:v>0.99988683385520893</c:v>
                </c:pt>
                <c:pt idx="1372">
                  <c:v>0.99988815378711682</c:v>
                </c:pt>
                <c:pt idx="1373">
                  <c:v>0.99988946992611694</c:v>
                </c:pt>
                <c:pt idx="1374">
                  <c:v>0.99989075382540094</c:v>
                </c:pt>
                <c:pt idx="1375">
                  <c:v>0.99989569977714776</c:v>
                </c:pt>
                <c:pt idx="1376">
                  <c:v>0.9998969144558647</c:v>
                </c:pt>
                <c:pt idx="1377">
                  <c:v>0.99989811775585835</c:v>
                </c:pt>
                <c:pt idx="1378">
                  <c:v>0.99989931252180941</c:v>
                </c:pt>
                <c:pt idx="1379">
                  <c:v>0.99990048453031388</c:v>
                </c:pt>
                <c:pt idx="1380">
                  <c:v>0.99990165464236447</c:v>
                </c:pt>
                <c:pt idx="1381">
                  <c:v>0.99990281432391859</c:v>
                </c:pt>
                <c:pt idx="1382">
                  <c:v>0.999905112826034</c:v>
                </c:pt>
                <c:pt idx="1383">
                  <c:v>0.99990735917566742</c:v>
                </c:pt>
                <c:pt idx="1384">
                  <c:v>0.99990846765296648</c:v>
                </c:pt>
                <c:pt idx="1385">
                  <c:v>0.99990956854445001</c:v>
                </c:pt>
                <c:pt idx="1386">
                  <c:v>0.99991171912316201</c:v>
                </c:pt>
                <c:pt idx="1387">
                  <c:v>0.99991385073733519</c:v>
                </c:pt>
                <c:pt idx="1388">
                  <c:v>0.99991491085506001</c:v>
                </c:pt>
                <c:pt idx="1389">
                  <c:v>0.99991595295647295</c:v>
                </c:pt>
                <c:pt idx="1390">
                  <c:v>0.99992007110609649</c:v>
                </c:pt>
                <c:pt idx="1391">
                  <c:v>0.99992305612452037</c:v>
                </c:pt>
                <c:pt idx="1392">
                  <c:v>0.99992499714507743</c:v>
                </c:pt>
                <c:pt idx="1393">
                  <c:v>0.9999259558025192</c:v>
                </c:pt>
                <c:pt idx="1394">
                  <c:v>0.99992783898123261</c:v>
                </c:pt>
                <c:pt idx="1395">
                  <c:v>0.99992876919186602</c:v>
                </c:pt>
                <c:pt idx="1396">
                  <c:v>0.99992969466136461</c:v>
                </c:pt>
                <c:pt idx="1397">
                  <c:v>0.99993060685568602</c:v>
                </c:pt>
                <c:pt idx="1398">
                  <c:v>0.9999324075386552</c:v>
                </c:pt>
                <c:pt idx="1399">
                  <c:v>0.99993417218900038</c:v>
                </c:pt>
                <c:pt idx="1400">
                  <c:v>0.99993503792020144</c:v>
                </c:pt>
                <c:pt idx="1401">
                  <c:v>0.99993670490317133</c:v>
                </c:pt>
                <c:pt idx="1402">
                  <c:v>0.9999383377499711</c:v>
                </c:pt>
                <c:pt idx="1403">
                  <c:v>0.99993914658755545</c:v>
                </c:pt>
                <c:pt idx="1404">
                  <c:v>0.99993995352868592</c:v>
                </c:pt>
                <c:pt idx="1405">
                  <c:v>0.99994075572868168</c:v>
                </c:pt>
                <c:pt idx="1406">
                  <c:v>0.99994232314782239</c:v>
                </c:pt>
                <c:pt idx="1407">
                  <c:v>0.99994384979320428</c:v>
                </c:pt>
                <c:pt idx="1408">
                  <c:v>0.99994531954496946</c:v>
                </c:pt>
                <c:pt idx="1409">
                  <c:v>0.99994604967971734</c:v>
                </c:pt>
                <c:pt idx="1410">
                  <c:v>0.99994749951871675</c:v>
                </c:pt>
                <c:pt idx="1411">
                  <c:v>0.99994820405133711</c:v>
                </c:pt>
                <c:pt idx="1412">
                  <c:v>0.99994960173785452</c:v>
                </c:pt>
                <c:pt idx="1413">
                  <c:v>0.99995026170380852</c:v>
                </c:pt>
                <c:pt idx="1414">
                  <c:v>0.99995092072153557</c:v>
                </c:pt>
                <c:pt idx="1415">
                  <c:v>0.99995222927472005</c:v>
                </c:pt>
                <c:pt idx="1416">
                  <c:v>0.99995476957470653</c:v>
                </c:pt>
                <c:pt idx="1417">
                  <c:v>0.99995537359527065</c:v>
                </c:pt>
                <c:pt idx="1418">
                  <c:v>0.99995770813001006</c:v>
                </c:pt>
                <c:pt idx="1419">
                  <c:v>0.99995826948036171</c:v>
                </c:pt>
                <c:pt idx="1420">
                  <c:v>0.99995992698106217</c:v>
                </c:pt>
                <c:pt idx="1421">
                  <c:v>0.99996047410800959</c:v>
                </c:pt>
                <c:pt idx="1422">
                  <c:v>0.9999615541385003</c:v>
                </c:pt>
                <c:pt idx="1423">
                  <c:v>0.99996363454841841</c:v>
                </c:pt>
                <c:pt idx="1424">
                  <c:v>0.99996413426401864</c:v>
                </c:pt>
                <c:pt idx="1425">
                  <c:v>0.99996463208316499</c:v>
                </c:pt>
                <c:pt idx="1426">
                  <c:v>0.9999674634888237</c:v>
                </c:pt>
                <c:pt idx="1427">
                  <c:v>0.9999679034661263</c:v>
                </c:pt>
                <c:pt idx="1428">
                  <c:v>0.99996834249520195</c:v>
                </c:pt>
                <c:pt idx="1429">
                  <c:v>0.99996876730087347</c:v>
                </c:pt>
                <c:pt idx="1430">
                  <c:v>0.99997002085689513</c:v>
                </c:pt>
                <c:pt idx="1431">
                  <c:v>0.99997205670014666</c:v>
                </c:pt>
                <c:pt idx="1432">
                  <c:v>0.99997321732992772</c:v>
                </c:pt>
                <c:pt idx="1433">
                  <c:v>0.99997506826892513</c:v>
                </c:pt>
                <c:pt idx="1434">
                  <c:v>0.99997542859516431</c:v>
                </c:pt>
                <c:pt idx="1435">
                  <c:v>0.99997648776466219</c:v>
                </c:pt>
                <c:pt idx="1436">
                  <c:v>0.99997872842493407</c:v>
                </c:pt>
                <c:pt idx="1437">
                  <c:v>0.99997994215542407</c:v>
                </c:pt>
                <c:pt idx="1438">
                  <c:v>0.99998053859017266</c:v>
                </c:pt>
                <c:pt idx="1439">
                  <c:v>0.99998111890506325</c:v>
                </c:pt>
                <c:pt idx="1440">
                  <c:v>0.99998140621782772</c:v>
                </c:pt>
                <c:pt idx="1441">
                  <c:v>0.99998168689300349</c:v>
                </c:pt>
                <c:pt idx="1442">
                  <c:v>0.99998567798021643</c:v>
                </c:pt>
                <c:pt idx="1443">
                  <c:v>0.99998675801070713</c:v>
                </c:pt>
                <c:pt idx="1444">
                  <c:v>0.99999019817806478</c:v>
                </c:pt>
                <c:pt idx="1445">
                  <c:v>0.99999052910926867</c:v>
                </c:pt>
                <c:pt idx="1446">
                  <c:v>0.99999114450855631</c:v>
                </c:pt>
                <c:pt idx="1447">
                  <c:v>0.9999927868376256</c:v>
                </c:pt>
                <c:pt idx="1448">
                  <c:v>0.99999386591988937</c:v>
                </c:pt>
                <c:pt idx="1449">
                  <c:v>0.99999471079009772</c:v>
                </c:pt>
                <c:pt idx="1450">
                  <c:v>0.99999480940570007</c:v>
                </c:pt>
                <c:pt idx="1451">
                  <c:v>0.99999556798725631</c:v>
                </c:pt>
                <c:pt idx="1452">
                  <c:v>0.99999608097803361</c:v>
                </c:pt>
                <c:pt idx="1453">
                  <c:v>0.9999984562865319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517</c:f>
              <c:strCache>
                <c:ptCount val="1516"/>
                <c:pt idx="0">
                  <c:v>Private Lab</c:v>
                </c:pt>
                <c:pt idx="1">
                  <c:v>Private Lab</c:v>
                </c:pt>
                <c:pt idx="2">
                  <c:v>Private Lab</c:v>
                </c:pt>
                <c:pt idx="3">
                  <c:v>Private Lab</c:v>
                </c:pt>
                <c:pt idx="4">
                  <c:v>Private Lab</c:v>
                </c:pt>
                <c:pt idx="5">
                  <c:v>Caprice Des</c:v>
                </c:pt>
                <c:pt idx="6">
                  <c:v>Private Lab</c:v>
                </c:pt>
                <c:pt idx="7">
                  <c:v>Private Lab</c:v>
                </c:pt>
                <c:pt idx="8">
                  <c:v>Private Lab</c:v>
                </c:pt>
                <c:pt idx="9">
                  <c:v>Mini Babybe</c:v>
                </c:pt>
                <c:pt idx="10">
                  <c:v>Private Lab</c:v>
                </c:pt>
                <c:pt idx="11">
                  <c:v>Private Lab</c:v>
                </c:pt>
                <c:pt idx="12">
                  <c:v>President</c:v>
                </c:pt>
                <c:pt idx="13">
                  <c:v>Richesmonts</c:v>
                </c:pt>
                <c:pt idx="14">
                  <c:v>Private Lab</c:v>
                </c:pt>
                <c:pt idx="15">
                  <c:v>Coeur De Li</c:v>
                </c:pt>
                <c:pt idx="16">
                  <c:v>Private Lab</c:v>
                </c:pt>
                <c:pt idx="17">
                  <c:v>Private Lab</c:v>
                </c:pt>
                <c:pt idx="18">
                  <c:v>Soignon</c:v>
                </c:pt>
                <c:pt idx="19">
                  <c:v>Entremont</c:v>
                </c:pt>
                <c:pt idx="20">
                  <c:v>Chaussee Au</c:v>
                </c:pt>
                <c:pt idx="21">
                  <c:v>Private Lab</c:v>
                </c:pt>
                <c:pt idx="22">
                  <c:v>Caprice Des</c:v>
                </c:pt>
                <c:pt idx="23">
                  <c:v>La Vache Qu</c:v>
                </c:pt>
                <c:pt idx="24">
                  <c:v>Private Lab</c:v>
                </c:pt>
                <c:pt idx="25">
                  <c:v>Private Lab</c:v>
                </c:pt>
                <c:pt idx="26">
                  <c:v>President</c:v>
                </c:pt>
                <c:pt idx="27">
                  <c:v>President</c:v>
                </c:pt>
                <c:pt idx="28">
                  <c:v>Private Lab</c:v>
                </c:pt>
                <c:pt idx="29">
                  <c:v>Private Lab</c:v>
                </c:pt>
                <c:pt idx="30">
                  <c:v>President</c:v>
                </c:pt>
                <c:pt idx="31">
                  <c:v>Leerdammer</c:v>
                </c:pt>
                <c:pt idx="32">
                  <c:v>Entremont</c:v>
                </c:pt>
                <c:pt idx="33">
                  <c:v>Private Lab</c:v>
                </c:pt>
                <c:pt idx="34">
                  <c:v>Private Lab</c:v>
                </c:pt>
                <c:pt idx="35">
                  <c:v>Private Lab</c:v>
                </c:pt>
                <c:pt idx="36">
                  <c:v>Private Lab</c:v>
                </c:pt>
                <c:pt idx="37">
                  <c:v>Private Lab</c:v>
                </c:pt>
                <c:pt idx="38">
                  <c:v>President</c:v>
                </c:pt>
                <c:pt idx="39">
                  <c:v>Soignon</c:v>
                </c:pt>
                <c:pt idx="40">
                  <c:v>St Moret</c:v>
                </c:pt>
                <c:pt idx="41">
                  <c:v>Le Rustique</c:v>
                </c:pt>
                <c:pt idx="42">
                  <c:v>Private Lab</c:v>
                </c:pt>
                <c:pt idx="43">
                  <c:v>St Moret</c:v>
                </c:pt>
                <c:pt idx="44">
                  <c:v>Private Lab</c:v>
                </c:pt>
                <c:pt idx="45">
                  <c:v>All Others</c:v>
                </c:pt>
                <c:pt idx="46">
                  <c:v>Private Lab</c:v>
                </c:pt>
                <c:pt idx="47">
                  <c:v>President</c:v>
                </c:pt>
                <c:pt idx="48">
                  <c:v>La Vache Qu</c:v>
                </c:pt>
                <c:pt idx="49">
                  <c:v>President</c:v>
                </c:pt>
                <c:pt idx="50">
                  <c:v>Societe</c:v>
                </c:pt>
                <c:pt idx="51">
                  <c:v>St Moret</c:v>
                </c:pt>
                <c:pt idx="52">
                  <c:v>Private Lab</c:v>
                </c:pt>
                <c:pt idx="53">
                  <c:v>Private Lab</c:v>
                </c:pt>
                <c:pt idx="54">
                  <c:v>Private Lab</c:v>
                </c:pt>
                <c:pt idx="55">
                  <c:v>Private Lab</c:v>
                </c:pt>
                <c:pt idx="56">
                  <c:v>Coeur De Li</c:v>
                </c:pt>
                <c:pt idx="57">
                  <c:v>La Vache Qu</c:v>
                </c:pt>
                <c:pt idx="58">
                  <c:v>Private Lab</c:v>
                </c:pt>
                <c:pt idx="59">
                  <c:v>Private Lab</c:v>
                </c:pt>
                <c:pt idx="60">
                  <c:v>Chaussee Au</c:v>
                </c:pt>
                <c:pt idx="61">
                  <c:v>Entremont</c:v>
                </c:pt>
                <c:pt idx="62">
                  <c:v>St Moret</c:v>
                </c:pt>
                <c:pt idx="63">
                  <c:v>Tartare</c:v>
                </c:pt>
                <c:pt idx="64">
                  <c:v>Mini Babybe</c:v>
                </c:pt>
                <c:pt idx="65">
                  <c:v>Private Lab</c:v>
                </c:pt>
                <c:pt idx="66">
                  <c:v>Private Lab</c:v>
                </c:pt>
                <c:pt idx="67">
                  <c:v>Soignon</c:v>
                </c:pt>
                <c:pt idx="68">
                  <c:v>President</c:v>
                </c:pt>
                <c:pt idx="69">
                  <c:v>Saint Agur</c:v>
                </c:pt>
                <c:pt idx="70">
                  <c:v>Leerdammer</c:v>
                </c:pt>
                <c:pt idx="71">
                  <c:v>Entremont</c:v>
                </c:pt>
                <c:pt idx="72">
                  <c:v>Bresse Bleu</c:v>
                </c:pt>
                <c:pt idx="73">
                  <c:v>Entremont</c:v>
                </c:pt>
                <c:pt idx="74">
                  <c:v>Private Lab</c:v>
                </c:pt>
                <c:pt idx="75">
                  <c:v>Private Lab</c:v>
                </c:pt>
                <c:pt idx="76">
                  <c:v>Galbani</c:v>
                </c:pt>
                <c:pt idx="77">
                  <c:v>Kiri</c:v>
                </c:pt>
                <c:pt idx="78">
                  <c:v>Private Lab</c:v>
                </c:pt>
                <c:pt idx="79">
                  <c:v>Juraflore</c:v>
                </c:pt>
                <c:pt idx="80">
                  <c:v>Saint Albra</c:v>
                </c:pt>
                <c:pt idx="81">
                  <c:v>Kiri</c:v>
                </c:pt>
                <c:pt idx="82">
                  <c:v>Private Lab</c:v>
                </c:pt>
                <c:pt idx="83">
                  <c:v>Apericube</c:v>
                </c:pt>
                <c:pt idx="84">
                  <c:v>Leerdammer</c:v>
                </c:pt>
                <c:pt idx="85">
                  <c:v>President</c:v>
                </c:pt>
                <c:pt idx="86">
                  <c:v>Private Lab</c:v>
                </c:pt>
                <c:pt idx="87">
                  <c:v>Galbani</c:v>
                </c:pt>
                <c:pt idx="88">
                  <c:v>Ficello</c:v>
                </c:pt>
                <c:pt idx="89">
                  <c:v>Private Lab</c:v>
                </c:pt>
                <c:pt idx="90">
                  <c:v>President</c:v>
                </c:pt>
                <c:pt idx="91">
                  <c:v>Richesmonts</c:v>
                </c:pt>
                <c:pt idx="92">
                  <c:v>Richesmonts</c:v>
                </c:pt>
                <c:pt idx="93">
                  <c:v>Entremont</c:v>
                </c:pt>
                <c:pt idx="94">
                  <c:v>Entremont</c:v>
                </c:pt>
                <c:pt idx="95">
                  <c:v>Galbani</c:v>
                </c:pt>
                <c:pt idx="96">
                  <c:v>President</c:v>
                </c:pt>
                <c:pt idx="97">
                  <c:v>President</c:v>
                </c:pt>
                <c:pt idx="98">
                  <c:v>Salakis</c:v>
                </c:pt>
                <c:pt idx="99">
                  <c:v>Private Lab</c:v>
                </c:pt>
                <c:pt idx="100">
                  <c:v>Apericube</c:v>
                </c:pt>
                <c:pt idx="101">
                  <c:v>Private Lab</c:v>
                </c:pt>
                <c:pt idx="102">
                  <c:v>Private Lab</c:v>
                </c:pt>
                <c:pt idx="103">
                  <c:v>Private Lab</c:v>
                </c:pt>
                <c:pt idx="104">
                  <c:v>L'Ortolan</c:v>
                </c:pt>
                <c:pt idx="105">
                  <c:v>Private Lab</c:v>
                </c:pt>
                <c:pt idx="106">
                  <c:v>Private Lab</c:v>
                </c:pt>
                <c:pt idx="107">
                  <c:v>Entremont</c:v>
                </c:pt>
                <c:pt idx="108">
                  <c:v>Private Lab</c:v>
                </c:pt>
                <c:pt idx="109">
                  <c:v>Private Lab</c:v>
                </c:pt>
                <c:pt idx="110">
                  <c:v>Apericube</c:v>
                </c:pt>
                <c:pt idx="111">
                  <c:v>Private Lab</c:v>
                </c:pt>
                <c:pt idx="112">
                  <c:v>Pochat</c:v>
                </c:pt>
                <c:pt idx="113">
                  <c:v>Leerdammer</c:v>
                </c:pt>
                <c:pt idx="114">
                  <c:v>Paysan Bret</c:v>
                </c:pt>
                <c:pt idx="115">
                  <c:v>Private Lab</c:v>
                </c:pt>
                <c:pt idx="116">
                  <c:v>Private Lab</c:v>
                </c:pt>
                <c:pt idx="117">
                  <c:v>Istara</c:v>
                </c:pt>
                <c:pt idx="118">
                  <c:v>Private Lab</c:v>
                </c:pt>
                <c:pt idx="119">
                  <c:v>Private Lab</c:v>
                </c:pt>
                <c:pt idx="120">
                  <c:v>Private Lab</c:v>
                </c:pt>
                <c:pt idx="121">
                  <c:v>Private Lab</c:v>
                </c:pt>
                <c:pt idx="122">
                  <c:v>Saint Agur</c:v>
                </c:pt>
                <c:pt idx="123">
                  <c:v>Saint Albra</c:v>
                </c:pt>
                <c:pt idx="124">
                  <c:v>Private Lab</c:v>
                </c:pt>
                <c:pt idx="125">
                  <c:v>Entremont</c:v>
                </c:pt>
                <c:pt idx="126">
                  <c:v>Private Lab</c:v>
                </c:pt>
                <c:pt idx="127">
                  <c:v>Leerdammer</c:v>
                </c:pt>
                <c:pt idx="128">
                  <c:v>L'Ortolan</c:v>
                </c:pt>
                <c:pt idx="129">
                  <c:v>Boursin</c:v>
                </c:pt>
                <c:pt idx="130">
                  <c:v>St Moret</c:v>
                </c:pt>
                <c:pt idx="131">
                  <c:v>Private Lab</c:v>
                </c:pt>
                <c:pt idx="132">
                  <c:v>President</c:v>
                </c:pt>
                <c:pt idx="133">
                  <c:v>Entremont</c:v>
                </c:pt>
                <c:pt idx="134">
                  <c:v>Casa Azzurr</c:v>
                </c:pt>
                <c:pt idx="135">
                  <c:v>Paysan Bret</c:v>
                </c:pt>
                <c:pt idx="136">
                  <c:v>Philadelphi</c:v>
                </c:pt>
                <c:pt idx="137">
                  <c:v>Private Lab</c:v>
                </c:pt>
                <c:pt idx="138">
                  <c:v>Galbani</c:v>
                </c:pt>
                <c:pt idx="139">
                  <c:v>Apericube</c:v>
                </c:pt>
                <c:pt idx="140">
                  <c:v>Apericube</c:v>
                </c:pt>
                <c:pt idx="141">
                  <c:v>Parmareggio</c:v>
                </c:pt>
                <c:pt idx="142">
                  <c:v>Kiri</c:v>
                </c:pt>
                <c:pt idx="143">
                  <c:v>President</c:v>
                </c:pt>
                <c:pt idx="144">
                  <c:v>Lou Perac</c:v>
                </c:pt>
                <c:pt idx="145">
                  <c:v>Galbani</c:v>
                </c:pt>
                <c:pt idx="146">
                  <c:v>Tartare</c:v>
                </c:pt>
                <c:pt idx="147">
                  <c:v>Boursin</c:v>
                </c:pt>
                <c:pt idx="148">
                  <c:v>Entremont</c:v>
                </c:pt>
                <c:pt idx="149">
                  <c:v>Private Lab</c:v>
                </c:pt>
                <c:pt idx="150">
                  <c:v>Galbani</c:v>
                </c:pt>
                <c:pt idx="151">
                  <c:v>Private Lab</c:v>
                </c:pt>
                <c:pt idx="152">
                  <c:v>All Others</c:v>
                </c:pt>
                <c:pt idx="153">
                  <c:v>Leerdammer</c:v>
                </c:pt>
                <c:pt idx="154">
                  <c:v>All Others</c:v>
                </c:pt>
                <c:pt idx="155">
                  <c:v>Islos</c:v>
                </c:pt>
                <c:pt idx="156">
                  <c:v>Mini Babybe</c:v>
                </c:pt>
                <c:pt idx="157">
                  <c:v>Private Lab</c:v>
                </c:pt>
                <c:pt idx="158">
                  <c:v>Lepetit</c:v>
                </c:pt>
                <c:pt idx="159">
                  <c:v>Caprice Des</c:v>
                </c:pt>
                <c:pt idx="160">
                  <c:v>Boursin</c:v>
                </c:pt>
                <c:pt idx="161">
                  <c:v>Private Lab</c:v>
                </c:pt>
                <c:pt idx="162">
                  <c:v>Private Lab</c:v>
                </c:pt>
                <c:pt idx="163">
                  <c:v>Entremont</c:v>
                </c:pt>
                <c:pt idx="164">
                  <c:v>Leerdammer</c:v>
                </c:pt>
                <c:pt idx="165">
                  <c:v>Salakis</c:v>
                </c:pt>
                <c:pt idx="166">
                  <c:v>Port Salut</c:v>
                </c:pt>
                <c:pt idx="167">
                  <c:v>Galbani</c:v>
                </c:pt>
                <c:pt idx="168">
                  <c:v>President</c:v>
                </c:pt>
                <c:pt idx="169">
                  <c:v>President</c:v>
                </c:pt>
                <c:pt idx="170">
                  <c:v>Richesmonts</c:v>
                </c:pt>
                <c:pt idx="171">
                  <c:v>All Others</c:v>
                </c:pt>
                <c:pt idx="172">
                  <c:v>Coeur De Li</c:v>
                </c:pt>
                <c:pt idx="173">
                  <c:v>Boursin</c:v>
                </c:pt>
                <c:pt idx="174">
                  <c:v>President</c:v>
                </c:pt>
                <c:pt idx="175">
                  <c:v>Private Lab</c:v>
                </c:pt>
                <c:pt idx="176">
                  <c:v>Private Lab</c:v>
                </c:pt>
                <c:pt idx="177">
                  <c:v>Entremont</c:v>
                </c:pt>
                <c:pt idx="178">
                  <c:v>Kiri</c:v>
                </c:pt>
                <c:pt idx="179">
                  <c:v>Apericube</c:v>
                </c:pt>
                <c:pt idx="180">
                  <c:v>President</c:v>
                </c:pt>
                <c:pt idx="181">
                  <c:v>Private Lab</c:v>
                </c:pt>
                <c:pt idx="182">
                  <c:v>Carre Frais</c:v>
                </c:pt>
                <c:pt idx="183">
                  <c:v>President</c:v>
                </c:pt>
                <c:pt idx="184">
                  <c:v>Private Lab</c:v>
                </c:pt>
                <c:pt idx="185">
                  <c:v>Richesmonts</c:v>
                </c:pt>
                <c:pt idx="186">
                  <c:v>Carre Frais</c:v>
                </c:pt>
                <c:pt idx="187">
                  <c:v>Entremont</c:v>
                </c:pt>
                <c:pt idx="188">
                  <c:v>Coeur De Li</c:v>
                </c:pt>
                <c:pt idx="189">
                  <c:v>Coeur De Li</c:v>
                </c:pt>
                <c:pt idx="190">
                  <c:v>Private Lab</c:v>
                </c:pt>
                <c:pt idx="191">
                  <c:v>St Moret</c:v>
                </c:pt>
                <c:pt idx="192">
                  <c:v>Private Lab</c:v>
                </c:pt>
                <c:pt idx="193">
                  <c:v>Private Lab</c:v>
                </c:pt>
                <c:pt idx="194">
                  <c:v>All Others</c:v>
                </c:pt>
                <c:pt idx="195">
                  <c:v>Private Lab</c:v>
                </c:pt>
                <c:pt idx="196">
                  <c:v>Private Lab</c:v>
                </c:pt>
                <c:pt idx="197">
                  <c:v>Casa Azzurr</c:v>
                </c:pt>
                <c:pt idx="198">
                  <c:v>Pave D'Affi</c:v>
                </c:pt>
                <c:pt idx="199">
                  <c:v>Saint Agur</c:v>
                </c:pt>
                <c:pt idx="200">
                  <c:v>Saint Agur</c:v>
                </c:pt>
                <c:pt idx="201">
                  <c:v>Private Lab</c:v>
                </c:pt>
                <c:pt idx="202">
                  <c:v>Apericube</c:v>
                </c:pt>
                <c:pt idx="203">
                  <c:v>President</c:v>
                </c:pt>
                <c:pt idx="204">
                  <c:v>All Others</c:v>
                </c:pt>
                <c:pt idx="205">
                  <c:v>All Others</c:v>
                </c:pt>
                <c:pt idx="206">
                  <c:v>Galbani</c:v>
                </c:pt>
                <c:pt idx="207">
                  <c:v>President</c:v>
                </c:pt>
                <c:pt idx="208">
                  <c:v>Kiri</c:v>
                </c:pt>
                <c:pt idx="209">
                  <c:v>Salakis</c:v>
                </c:pt>
                <c:pt idx="210">
                  <c:v>Vieux Pane</c:v>
                </c:pt>
                <c:pt idx="211">
                  <c:v>Soignon</c:v>
                </c:pt>
                <c:pt idx="212">
                  <c:v>Private Lab</c:v>
                </c:pt>
                <c:pt idx="213">
                  <c:v>Private Lab</c:v>
                </c:pt>
                <c:pt idx="214">
                  <c:v>All Others</c:v>
                </c:pt>
                <c:pt idx="215">
                  <c:v>Private Lab</c:v>
                </c:pt>
                <c:pt idx="216">
                  <c:v>Saint Agur</c:v>
                </c:pt>
                <c:pt idx="217">
                  <c:v>Private Lab</c:v>
                </c:pt>
                <c:pt idx="218">
                  <c:v>Private Lab</c:v>
                </c:pt>
                <c:pt idx="219">
                  <c:v>Private Lab</c:v>
                </c:pt>
                <c:pt idx="220">
                  <c:v>President</c:v>
                </c:pt>
                <c:pt idx="221">
                  <c:v>Pochat</c:v>
                </c:pt>
                <c:pt idx="222">
                  <c:v>Apericube</c:v>
                </c:pt>
                <c:pt idx="223">
                  <c:v>Private Lab</c:v>
                </c:pt>
                <c:pt idx="224">
                  <c:v>Casa Azzurr</c:v>
                </c:pt>
                <c:pt idx="225">
                  <c:v>Lactalis: A</c:v>
                </c:pt>
                <c:pt idx="226">
                  <c:v>Private Lab</c:v>
                </c:pt>
                <c:pt idx="227">
                  <c:v>Societe</c:v>
                </c:pt>
                <c:pt idx="228">
                  <c:v>All Others</c:v>
                </c:pt>
                <c:pt idx="229">
                  <c:v>Private Lab</c:v>
                </c:pt>
                <c:pt idx="230">
                  <c:v>Istara</c:v>
                </c:pt>
                <c:pt idx="231">
                  <c:v>Private Lab</c:v>
                </c:pt>
                <c:pt idx="232">
                  <c:v>Private Lab</c:v>
                </c:pt>
                <c:pt idx="233">
                  <c:v>Entremont</c:v>
                </c:pt>
                <c:pt idx="234">
                  <c:v>Private Lab</c:v>
                </c:pt>
                <c:pt idx="235">
                  <c:v>La Vache Qu</c:v>
                </c:pt>
                <c:pt idx="236">
                  <c:v>Casa Azzurr</c:v>
                </c:pt>
                <c:pt idx="237">
                  <c:v>Private Lab</c:v>
                </c:pt>
                <c:pt idx="238">
                  <c:v>All Others</c:v>
                </c:pt>
                <c:pt idx="239">
                  <c:v>Petit Billy</c:v>
                </c:pt>
                <c:pt idx="240">
                  <c:v>Richesmonts</c:v>
                </c:pt>
                <c:pt idx="241">
                  <c:v>Babybel</c:v>
                </c:pt>
                <c:pt idx="242">
                  <c:v>Soignon</c:v>
                </c:pt>
                <c:pt idx="243">
                  <c:v>Private Lab</c:v>
                </c:pt>
                <c:pt idx="244">
                  <c:v>Tartare</c:v>
                </c:pt>
                <c:pt idx="245">
                  <c:v>Private Lab</c:v>
                </c:pt>
                <c:pt idx="246">
                  <c:v>President</c:v>
                </c:pt>
                <c:pt idx="247">
                  <c:v>Private Lab</c:v>
                </c:pt>
                <c:pt idx="248">
                  <c:v>Private Lab</c:v>
                </c:pt>
                <c:pt idx="249">
                  <c:v>Entremont</c:v>
                </c:pt>
                <c:pt idx="250">
                  <c:v>Richesmonts</c:v>
                </c:pt>
                <c:pt idx="251">
                  <c:v>Private Lab</c:v>
                </c:pt>
                <c:pt idx="252">
                  <c:v>La Vache Qu</c:v>
                </c:pt>
                <c:pt idx="253">
                  <c:v>St Moret</c:v>
                </c:pt>
                <c:pt idx="254">
                  <c:v>Aperivrais</c:v>
                </c:pt>
                <c:pt idx="255">
                  <c:v>Le Rustique</c:v>
                </c:pt>
                <c:pt idx="256">
                  <c:v>President</c:v>
                </c:pt>
                <c:pt idx="257">
                  <c:v>Boursin</c:v>
                </c:pt>
                <c:pt idx="258">
                  <c:v>Private Lab</c:v>
                </c:pt>
                <c:pt idx="259">
                  <c:v>President</c:v>
                </c:pt>
                <c:pt idx="260">
                  <c:v>Cousteron</c:v>
                </c:pt>
                <c:pt idx="261">
                  <c:v>Entremont</c:v>
                </c:pt>
                <c:pt idx="262">
                  <c:v>Societe</c:v>
                </c:pt>
                <c:pt idx="263">
                  <c:v>Private Lab</c:v>
                </c:pt>
                <c:pt idx="264">
                  <c:v>St Moret</c:v>
                </c:pt>
                <c:pt idx="265">
                  <c:v>Private Lab</c:v>
                </c:pt>
                <c:pt idx="266">
                  <c:v>Entremont</c:v>
                </c:pt>
                <c:pt idx="267">
                  <c:v>Lactalis: A</c:v>
                </c:pt>
                <c:pt idx="268">
                  <c:v>Private Lab</c:v>
                </c:pt>
                <c:pt idx="269">
                  <c:v>Private Lab</c:v>
                </c:pt>
                <c:pt idx="270">
                  <c:v>Soignon</c:v>
                </c:pt>
                <c:pt idx="271">
                  <c:v>Apericube</c:v>
                </c:pt>
                <c:pt idx="272">
                  <c:v>Private Lab</c:v>
                </c:pt>
                <c:pt idx="273">
                  <c:v>Private Lab</c:v>
                </c:pt>
                <c:pt idx="274">
                  <c:v>Societe</c:v>
                </c:pt>
                <c:pt idx="275">
                  <c:v>Le Rustique</c:v>
                </c:pt>
                <c:pt idx="276">
                  <c:v>Fauquet</c:v>
                </c:pt>
                <c:pt idx="277">
                  <c:v>Savencia: A</c:v>
                </c:pt>
                <c:pt idx="278">
                  <c:v>Coeur De Li</c:v>
                </c:pt>
                <c:pt idx="279">
                  <c:v>Private Lab</c:v>
                </c:pt>
                <c:pt idx="280">
                  <c:v>Entremont</c:v>
                </c:pt>
                <c:pt idx="281">
                  <c:v>Casa Azzurr</c:v>
                </c:pt>
                <c:pt idx="282">
                  <c:v>Casa Azzurr</c:v>
                </c:pt>
                <c:pt idx="283">
                  <c:v>Private Lab</c:v>
                </c:pt>
                <c:pt idx="284">
                  <c:v>Soignon</c:v>
                </c:pt>
                <c:pt idx="285">
                  <c:v>Private Lab</c:v>
                </c:pt>
                <c:pt idx="286">
                  <c:v>Private Lab</c:v>
                </c:pt>
                <c:pt idx="287">
                  <c:v>Private Lab</c:v>
                </c:pt>
                <c:pt idx="288">
                  <c:v>Private Lab</c:v>
                </c:pt>
                <c:pt idx="289">
                  <c:v>Leerdammer</c:v>
                </c:pt>
                <c:pt idx="290">
                  <c:v>Richesmonts</c:v>
                </c:pt>
                <c:pt idx="291">
                  <c:v>Casa Azzurr</c:v>
                </c:pt>
                <c:pt idx="292">
                  <c:v>Caprice Des</c:v>
                </c:pt>
                <c:pt idx="293">
                  <c:v>Savencia: A</c:v>
                </c:pt>
                <c:pt idx="294">
                  <c:v>Private Lab</c:v>
                </c:pt>
                <c:pt idx="295">
                  <c:v>Ficello</c:v>
                </c:pt>
                <c:pt idx="296">
                  <c:v>Private Lab</c:v>
                </c:pt>
                <c:pt idx="297">
                  <c:v>Private Lab</c:v>
                </c:pt>
                <c:pt idx="298">
                  <c:v>Private Lab</c:v>
                </c:pt>
                <c:pt idx="299">
                  <c:v>Apericube</c:v>
                </c:pt>
                <c:pt idx="300">
                  <c:v>Pave D'Affi</c:v>
                </c:pt>
                <c:pt idx="301">
                  <c:v>Philadelphi</c:v>
                </c:pt>
                <c:pt idx="302">
                  <c:v>Galbani</c:v>
                </c:pt>
                <c:pt idx="303">
                  <c:v>Private Lab</c:v>
                </c:pt>
                <c:pt idx="304">
                  <c:v>Leerdammer</c:v>
                </c:pt>
                <c:pt idx="305">
                  <c:v>Private Lab</c:v>
                </c:pt>
                <c:pt idx="306">
                  <c:v>Galbani</c:v>
                </c:pt>
                <c:pt idx="307">
                  <c:v>All Others</c:v>
                </c:pt>
                <c:pt idx="308">
                  <c:v>Private Lab</c:v>
                </c:pt>
                <c:pt idx="309">
                  <c:v>President</c:v>
                </c:pt>
                <c:pt idx="310">
                  <c:v>Etorki</c:v>
                </c:pt>
                <c:pt idx="311">
                  <c:v>Paysan Bret</c:v>
                </c:pt>
                <c:pt idx="312">
                  <c:v>Bresse Bleu</c:v>
                </c:pt>
                <c:pt idx="313">
                  <c:v>P'Tit Louis</c:v>
                </c:pt>
                <c:pt idx="314">
                  <c:v>Ficello</c:v>
                </c:pt>
                <c:pt idx="315">
                  <c:v>Galbani</c:v>
                </c:pt>
                <c:pt idx="316">
                  <c:v>Private Lab</c:v>
                </c:pt>
                <c:pt idx="317">
                  <c:v>Private Lab</c:v>
                </c:pt>
                <c:pt idx="318">
                  <c:v>All Others</c:v>
                </c:pt>
                <c:pt idx="319">
                  <c:v>All Others</c:v>
                </c:pt>
                <c:pt idx="320">
                  <c:v>Private Lab</c:v>
                </c:pt>
                <c:pt idx="321">
                  <c:v>St Moret</c:v>
                </c:pt>
                <c:pt idx="322">
                  <c:v>Private Lab</c:v>
                </c:pt>
                <c:pt idx="323">
                  <c:v>Private Lab</c:v>
                </c:pt>
                <c:pt idx="324">
                  <c:v>Fol Epi</c:v>
                </c:pt>
                <c:pt idx="325">
                  <c:v>Private Lab</c:v>
                </c:pt>
                <c:pt idx="326">
                  <c:v>Private Lab</c:v>
                </c:pt>
                <c:pt idx="327">
                  <c:v>Private Lab</c:v>
                </c:pt>
                <c:pt idx="328">
                  <c:v>Le Rustique</c:v>
                </c:pt>
                <c:pt idx="329">
                  <c:v>Pave D'Affi</c:v>
                </c:pt>
                <c:pt idx="330">
                  <c:v>Richesmonts</c:v>
                </c:pt>
                <c:pt idx="331">
                  <c:v>All Others</c:v>
                </c:pt>
                <c:pt idx="332">
                  <c:v>Parmareggio</c:v>
                </c:pt>
                <c:pt idx="333">
                  <c:v>Chavroux</c:v>
                </c:pt>
                <c:pt idx="334">
                  <c:v>Soignon</c:v>
                </c:pt>
                <c:pt idx="335">
                  <c:v>Lactalis: A</c:v>
                </c:pt>
                <c:pt idx="336">
                  <c:v>Private Lab</c:v>
                </c:pt>
                <c:pt idx="337">
                  <c:v>Private Lab</c:v>
                </c:pt>
                <c:pt idx="338">
                  <c:v>Casa Azzurr</c:v>
                </c:pt>
                <c:pt idx="339">
                  <c:v>Private Lab</c:v>
                </c:pt>
                <c:pt idx="340">
                  <c:v>Private Lab</c:v>
                </c:pt>
                <c:pt idx="341">
                  <c:v>Salakis</c:v>
                </c:pt>
                <c:pt idx="342">
                  <c:v>Boursin</c:v>
                </c:pt>
                <c:pt idx="343">
                  <c:v>Private Lab</c:v>
                </c:pt>
                <c:pt idx="344">
                  <c:v>Boursin</c:v>
                </c:pt>
                <c:pt idx="345">
                  <c:v>Private Lab</c:v>
                </c:pt>
                <c:pt idx="346">
                  <c:v>Paysan Bret</c:v>
                </c:pt>
                <c:pt idx="347">
                  <c:v>Soignon</c:v>
                </c:pt>
                <c:pt idx="348">
                  <c:v>Savencia: A</c:v>
                </c:pt>
                <c:pt idx="349">
                  <c:v>Boursin</c:v>
                </c:pt>
                <c:pt idx="350">
                  <c:v>President</c:v>
                </c:pt>
                <c:pt idx="351">
                  <c:v>President</c:v>
                </c:pt>
                <c:pt idx="352">
                  <c:v>Paysan Bret</c:v>
                </c:pt>
                <c:pt idx="353">
                  <c:v>Salakis</c:v>
                </c:pt>
                <c:pt idx="354">
                  <c:v>Aperivrais</c:v>
                </c:pt>
                <c:pt idx="355">
                  <c:v>Boursin</c:v>
                </c:pt>
                <c:pt idx="356">
                  <c:v>Private Lab</c:v>
                </c:pt>
                <c:pt idx="357">
                  <c:v>President</c:v>
                </c:pt>
                <c:pt idx="358">
                  <c:v>Casa Azzurr</c:v>
                </c:pt>
                <c:pt idx="359">
                  <c:v>Tartare</c:v>
                </c:pt>
                <c:pt idx="360">
                  <c:v>Private Lab</c:v>
                </c:pt>
                <c:pt idx="361">
                  <c:v>Private Lab</c:v>
                </c:pt>
                <c:pt idx="362">
                  <c:v>Milleret: A</c:v>
                </c:pt>
                <c:pt idx="363">
                  <c:v>Carre Frais</c:v>
                </c:pt>
                <c:pt idx="364">
                  <c:v>Le Brebiou</c:v>
                </c:pt>
                <c:pt idx="365">
                  <c:v>Galbani</c:v>
                </c:pt>
                <c:pt idx="366">
                  <c:v>Private Lab</c:v>
                </c:pt>
                <c:pt idx="367">
                  <c:v>Societe</c:v>
                </c:pt>
                <c:pt idx="368">
                  <c:v>Galbani</c:v>
                </c:pt>
                <c:pt idx="369">
                  <c:v>Casa Azzurr</c:v>
                </c:pt>
                <c:pt idx="370">
                  <c:v>Private Lab</c:v>
                </c:pt>
                <c:pt idx="371">
                  <c:v>Societe</c:v>
                </c:pt>
                <c:pt idx="372">
                  <c:v>Pave D'Affi</c:v>
                </c:pt>
                <c:pt idx="373">
                  <c:v>L'Ortolan</c:v>
                </c:pt>
                <c:pt idx="374">
                  <c:v>Private Lab</c:v>
                </c:pt>
                <c:pt idx="375">
                  <c:v>Aperivrais</c:v>
                </c:pt>
                <c:pt idx="376">
                  <c:v>Soignon</c:v>
                </c:pt>
                <c:pt idx="377">
                  <c:v>Private Lab</c:v>
                </c:pt>
                <c:pt idx="378">
                  <c:v>Soignon</c:v>
                </c:pt>
                <c:pt idx="379">
                  <c:v>Paysan Bret</c:v>
                </c:pt>
                <c:pt idx="380">
                  <c:v>Entremont</c:v>
                </c:pt>
                <c:pt idx="381">
                  <c:v>Pave D'Affi</c:v>
                </c:pt>
                <c:pt idx="382">
                  <c:v>St Moret</c:v>
                </c:pt>
                <c:pt idx="383">
                  <c:v>Private Lab</c:v>
                </c:pt>
                <c:pt idx="384">
                  <c:v>Private Lab</c:v>
                </c:pt>
                <c:pt idx="385">
                  <c:v>Private Lab</c:v>
                </c:pt>
                <c:pt idx="386">
                  <c:v>Boursin</c:v>
                </c:pt>
                <c:pt idx="387">
                  <c:v>Private Lab</c:v>
                </c:pt>
                <c:pt idx="388">
                  <c:v>Private Lab</c:v>
                </c:pt>
                <c:pt idx="389">
                  <c:v>All Others</c:v>
                </c:pt>
                <c:pt idx="390">
                  <c:v>La Vache Qu</c:v>
                </c:pt>
                <c:pt idx="391">
                  <c:v>Private Lab</c:v>
                </c:pt>
                <c:pt idx="392">
                  <c:v>Private Lab</c:v>
                </c:pt>
                <c:pt idx="393">
                  <c:v>Private Lab</c:v>
                </c:pt>
                <c:pt idx="394">
                  <c:v>All Others</c:v>
                </c:pt>
                <c:pt idx="395">
                  <c:v>Private Lab</c:v>
                </c:pt>
                <c:pt idx="396">
                  <c:v>All Others</c:v>
                </c:pt>
                <c:pt idx="397">
                  <c:v>Galbani</c:v>
                </c:pt>
                <c:pt idx="398">
                  <c:v>Mini Babybe</c:v>
                </c:pt>
                <c:pt idx="399">
                  <c:v>Etorki</c:v>
                </c:pt>
                <c:pt idx="400">
                  <c:v>Galbani</c:v>
                </c:pt>
                <c:pt idx="401">
                  <c:v>Tartare</c:v>
                </c:pt>
                <c:pt idx="402">
                  <c:v>Caprice Des</c:v>
                </c:pt>
                <c:pt idx="403">
                  <c:v>Chavroux</c:v>
                </c:pt>
                <c:pt idx="404">
                  <c:v>Private Lab</c:v>
                </c:pt>
                <c:pt idx="405">
                  <c:v>Private Lab</c:v>
                </c:pt>
                <c:pt idx="406">
                  <c:v>All Others</c:v>
                </c:pt>
                <c:pt idx="407">
                  <c:v>Private Lab</c:v>
                </c:pt>
                <c:pt idx="408">
                  <c:v>President</c:v>
                </c:pt>
                <c:pt idx="409">
                  <c:v>Societe</c:v>
                </c:pt>
                <c:pt idx="410">
                  <c:v>Private Lab</c:v>
                </c:pt>
                <c:pt idx="411">
                  <c:v>Boursin</c:v>
                </c:pt>
                <c:pt idx="412">
                  <c:v>Private Lab</c:v>
                </c:pt>
                <c:pt idx="413">
                  <c:v>All Others</c:v>
                </c:pt>
                <c:pt idx="414">
                  <c:v>Private Lab</c:v>
                </c:pt>
                <c:pt idx="415">
                  <c:v>Private Lab</c:v>
                </c:pt>
                <c:pt idx="416">
                  <c:v>Lactalis: A</c:v>
                </c:pt>
                <c:pt idx="417">
                  <c:v>Galbani</c:v>
                </c:pt>
                <c:pt idx="418">
                  <c:v>Soignon</c:v>
                </c:pt>
                <c:pt idx="419">
                  <c:v>Private Lab</c:v>
                </c:pt>
                <c:pt idx="420">
                  <c:v>Soignon</c:v>
                </c:pt>
                <c:pt idx="421">
                  <c:v>Casa Azzurr</c:v>
                </c:pt>
                <c:pt idx="422">
                  <c:v>La Belle Et</c:v>
                </c:pt>
                <c:pt idx="423">
                  <c:v>Private Lab</c:v>
                </c:pt>
                <c:pt idx="424">
                  <c:v>Private Lab</c:v>
                </c:pt>
                <c:pt idx="425">
                  <c:v>Apericube</c:v>
                </c:pt>
                <c:pt idx="426">
                  <c:v>Private Lab</c:v>
                </c:pt>
                <c:pt idx="427">
                  <c:v>La Belle Et</c:v>
                </c:pt>
                <c:pt idx="428">
                  <c:v>President</c:v>
                </c:pt>
                <c:pt idx="429">
                  <c:v>Private Lab</c:v>
                </c:pt>
                <c:pt idx="430">
                  <c:v>Boursin</c:v>
                </c:pt>
                <c:pt idx="431">
                  <c:v>Mini Babybe</c:v>
                </c:pt>
                <c:pt idx="432">
                  <c:v>Paysan Bret</c:v>
                </c:pt>
                <c:pt idx="433">
                  <c:v>Les Mousque</c:v>
                </c:pt>
                <c:pt idx="434">
                  <c:v>All Others</c:v>
                </c:pt>
                <c:pt idx="435">
                  <c:v>Lou Perac</c:v>
                </c:pt>
                <c:pt idx="436">
                  <c:v>Private Lab</c:v>
                </c:pt>
                <c:pt idx="437">
                  <c:v>Leerdammer</c:v>
                </c:pt>
                <c:pt idx="438">
                  <c:v>Private Lab</c:v>
                </c:pt>
                <c:pt idx="439">
                  <c:v>President</c:v>
                </c:pt>
                <c:pt idx="440">
                  <c:v>Private Lab</c:v>
                </c:pt>
                <c:pt idx="441">
                  <c:v>Private Lab</c:v>
                </c:pt>
                <c:pt idx="442">
                  <c:v>Juraflore</c:v>
                </c:pt>
                <c:pt idx="443">
                  <c:v>All Others</c:v>
                </c:pt>
                <c:pt idx="444">
                  <c:v>St Moret</c:v>
                </c:pt>
                <c:pt idx="445">
                  <c:v>President</c:v>
                </c:pt>
                <c:pt idx="446">
                  <c:v>All Others</c:v>
                </c:pt>
                <c:pt idx="447">
                  <c:v>Richesmonts</c:v>
                </c:pt>
                <c:pt idx="448">
                  <c:v>Boursin</c:v>
                </c:pt>
                <c:pt idx="449">
                  <c:v>Galbani</c:v>
                </c:pt>
                <c:pt idx="450">
                  <c:v>Saint Agur</c:v>
                </c:pt>
                <c:pt idx="451">
                  <c:v>Private Lab</c:v>
                </c:pt>
                <c:pt idx="452">
                  <c:v>Private Lab</c:v>
                </c:pt>
                <c:pt idx="453">
                  <c:v>Etoile Du V</c:v>
                </c:pt>
                <c:pt idx="454">
                  <c:v>All Others</c:v>
                </c:pt>
                <c:pt idx="455">
                  <c:v>Les Mousque</c:v>
                </c:pt>
                <c:pt idx="456">
                  <c:v>Caprice Des</c:v>
                </c:pt>
                <c:pt idx="457">
                  <c:v>Private Lab</c:v>
                </c:pt>
                <c:pt idx="458">
                  <c:v>Savencia: A</c:v>
                </c:pt>
                <c:pt idx="459">
                  <c:v>Private Lab</c:v>
                </c:pt>
                <c:pt idx="460">
                  <c:v>Le Rustique</c:v>
                </c:pt>
                <c:pt idx="461">
                  <c:v>Private Lab</c:v>
                </c:pt>
                <c:pt idx="462">
                  <c:v>Aperivrais</c:v>
                </c:pt>
                <c:pt idx="463">
                  <c:v>Private Lab</c:v>
                </c:pt>
                <c:pt idx="464">
                  <c:v>Salakis</c:v>
                </c:pt>
                <c:pt idx="465">
                  <c:v>Caprice Des</c:v>
                </c:pt>
                <c:pt idx="466">
                  <c:v>Caprice Des</c:v>
                </c:pt>
                <c:pt idx="467">
                  <c:v>Aperivrais</c:v>
                </c:pt>
                <c:pt idx="468">
                  <c:v>Tartare</c:v>
                </c:pt>
                <c:pt idx="469">
                  <c:v>Lou Perac</c:v>
                </c:pt>
                <c:pt idx="470">
                  <c:v>Tartare</c:v>
                </c:pt>
                <c:pt idx="471">
                  <c:v>All Others</c:v>
                </c:pt>
                <c:pt idx="472">
                  <c:v>Private Lab</c:v>
                </c:pt>
                <c:pt idx="473">
                  <c:v>Boursin</c:v>
                </c:pt>
                <c:pt idx="474">
                  <c:v>Private Lab</c:v>
                </c:pt>
                <c:pt idx="475">
                  <c:v>Casa Azzurr</c:v>
                </c:pt>
                <c:pt idx="476">
                  <c:v>Eurial Autr</c:v>
                </c:pt>
                <c:pt idx="477">
                  <c:v>Richesmonts</c:v>
                </c:pt>
                <c:pt idx="478">
                  <c:v>Kiri</c:v>
                </c:pt>
                <c:pt idx="479">
                  <c:v>La Vache Qu</c:v>
                </c:pt>
                <c:pt idx="480">
                  <c:v>Eurial Autr</c:v>
                </c:pt>
                <c:pt idx="481">
                  <c:v>La Belle Et</c:v>
                </c:pt>
                <c:pt idx="482">
                  <c:v>St Moret</c:v>
                </c:pt>
                <c:pt idx="483">
                  <c:v>Savencia: A</c:v>
                </c:pt>
                <c:pt idx="484">
                  <c:v>Pochat</c:v>
                </c:pt>
                <c:pt idx="485">
                  <c:v>President</c:v>
                </c:pt>
                <c:pt idx="486">
                  <c:v>Private Lab</c:v>
                </c:pt>
                <c:pt idx="487">
                  <c:v>Juraflore</c:v>
                </c:pt>
                <c:pt idx="488">
                  <c:v>Boursin</c:v>
                </c:pt>
                <c:pt idx="489">
                  <c:v>Bresse Bleu</c:v>
                </c:pt>
                <c:pt idx="490">
                  <c:v>Lactalis: A</c:v>
                </c:pt>
                <c:pt idx="491">
                  <c:v>Vieux Pane</c:v>
                </c:pt>
                <c:pt idx="492">
                  <c:v>All Others</c:v>
                </c:pt>
                <c:pt idx="493">
                  <c:v>Leerdammer</c:v>
                </c:pt>
                <c:pt idx="494">
                  <c:v>Entremont</c:v>
                </c:pt>
                <c:pt idx="495">
                  <c:v>Private Lab</c:v>
                </c:pt>
                <c:pt idx="496">
                  <c:v>L'Ortolan</c:v>
                </c:pt>
                <c:pt idx="497">
                  <c:v>Casa Azzurr</c:v>
                </c:pt>
                <c:pt idx="498">
                  <c:v>Paysan Bret</c:v>
                </c:pt>
                <c:pt idx="499">
                  <c:v>L'Ortolan</c:v>
                </c:pt>
                <c:pt idx="500">
                  <c:v>Private Lab</c:v>
                </c:pt>
                <c:pt idx="501">
                  <c:v>Private Lab</c:v>
                </c:pt>
                <c:pt idx="502">
                  <c:v>All Others</c:v>
                </c:pt>
                <c:pt idx="503">
                  <c:v>Vieux Pane</c:v>
                </c:pt>
                <c:pt idx="504">
                  <c:v>Private Lab</c:v>
                </c:pt>
                <c:pt idx="505">
                  <c:v>Entremont</c:v>
                </c:pt>
                <c:pt idx="506">
                  <c:v>Pochat</c:v>
                </c:pt>
                <c:pt idx="507">
                  <c:v>All Others</c:v>
                </c:pt>
                <c:pt idx="508">
                  <c:v>Paysan Bret</c:v>
                </c:pt>
                <c:pt idx="509">
                  <c:v>Casa Azzurr</c:v>
                </c:pt>
                <c:pt idx="510">
                  <c:v>Lou Perac</c:v>
                </c:pt>
                <c:pt idx="511">
                  <c:v>Private Lab</c:v>
                </c:pt>
                <c:pt idx="512">
                  <c:v>Private Lab</c:v>
                </c:pt>
                <c:pt idx="513">
                  <c:v>All Others</c:v>
                </c:pt>
                <c:pt idx="514">
                  <c:v>P'Tit Louis</c:v>
                </c:pt>
                <c:pt idx="515">
                  <c:v>All Others</c:v>
                </c:pt>
                <c:pt idx="516">
                  <c:v>Private Lab</c:v>
                </c:pt>
                <c:pt idx="517">
                  <c:v>Private Lab</c:v>
                </c:pt>
                <c:pt idx="518">
                  <c:v>Kiri</c:v>
                </c:pt>
                <c:pt idx="519">
                  <c:v>Lactalis: A</c:v>
                </c:pt>
                <c:pt idx="520">
                  <c:v>Private Lab</c:v>
                </c:pt>
                <c:pt idx="521">
                  <c:v>All Others</c:v>
                </c:pt>
                <c:pt idx="522">
                  <c:v>St Moret</c:v>
                </c:pt>
                <c:pt idx="523">
                  <c:v>Savencia: A</c:v>
                </c:pt>
                <c:pt idx="524">
                  <c:v>All Others</c:v>
                </c:pt>
                <c:pt idx="525">
                  <c:v>Entremont</c:v>
                </c:pt>
                <c:pt idx="526">
                  <c:v>Soignon</c:v>
                </c:pt>
                <c:pt idx="527">
                  <c:v>Richesmonts</c:v>
                </c:pt>
                <c:pt idx="528">
                  <c:v>Tartare</c:v>
                </c:pt>
                <c:pt idx="529">
                  <c:v>Soignon</c:v>
                </c:pt>
                <c:pt idx="530">
                  <c:v>President</c:v>
                </c:pt>
                <c:pt idx="531">
                  <c:v>Mini Babybe</c:v>
                </c:pt>
                <c:pt idx="532">
                  <c:v>All Others</c:v>
                </c:pt>
                <c:pt idx="533">
                  <c:v>Le Coq Crem</c:v>
                </c:pt>
                <c:pt idx="534">
                  <c:v>Galbani</c:v>
                </c:pt>
                <c:pt idx="535">
                  <c:v>Apericube</c:v>
                </c:pt>
                <c:pt idx="536">
                  <c:v>Savencia: A</c:v>
                </c:pt>
                <c:pt idx="537">
                  <c:v>All Others</c:v>
                </c:pt>
                <c:pt idx="538">
                  <c:v>All Others</c:v>
                </c:pt>
                <c:pt idx="539">
                  <c:v>Private Lab</c:v>
                </c:pt>
                <c:pt idx="540">
                  <c:v>Soignon</c:v>
                </c:pt>
                <c:pt idx="541">
                  <c:v>Casa Azzurr</c:v>
                </c:pt>
                <c:pt idx="542">
                  <c:v>Le Saint Am</c:v>
                </c:pt>
                <c:pt idx="543">
                  <c:v>Islos</c:v>
                </c:pt>
                <c:pt idx="544">
                  <c:v>All Others</c:v>
                </c:pt>
                <c:pt idx="545">
                  <c:v>Kiri</c:v>
                </c:pt>
                <c:pt idx="546">
                  <c:v>Private Lab</c:v>
                </c:pt>
                <c:pt idx="547">
                  <c:v>Lactalis: A</c:v>
                </c:pt>
                <c:pt idx="548">
                  <c:v>Fol Epi</c:v>
                </c:pt>
                <c:pt idx="549">
                  <c:v>All Others</c:v>
                </c:pt>
                <c:pt idx="550">
                  <c:v>La Belle Et</c:v>
                </c:pt>
                <c:pt idx="551">
                  <c:v>Lactalis: A</c:v>
                </c:pt>
                <c:pt idx="552">
                  <c:v>Bresse Bleu</c:v>
                </c:pt>
                <c:pt idx="553">
                  <c:v>Saint Albra</c:v>
                </c:pt>
                <c:pt idx="554">
                  <c:v>Coeur De Li</c:v>
                </c:pt>
                <c:pt idx="555">
                  <c:v>Private Lab</c:v>
                </c:pt>
                <c:pt idx="556">
                  <c:v>Societe</c:v>
                </c:pt>
                <c:pt idx="557">
                  <c:v>Istara</c:v>
                </c:pt>
                <c:pt idx="558">
                  <c:v>Paysan Bret</c:v>
                </c:pt>
                <c:pt idx="559">
                  <c:v>Entremont</c:v>
                </c:pt>
                <c:pt idx="560">
                  <c:v>Private Lab</c:v>
                </c:pt>
                <c:pt idx="561">
                  <c:v>Savencia: A</c:v>
                </c:pt>
                <c:pt idx="562">
                  <c:v>Corsica</c:v>
                </c:pt>
                <c:pt idx="563">
                  <c:v>All Others</c:v>
                </c:pt>
                <c:pt idx="564">
                  <c:v>Paysan Bret</c:v>
                </c:pt>
                <c:pt idx="565">
                  <c:v>Paysan Bret</c:v>
                </c:pt>
                <c:pt idx="566">
                  <c:v>Kiri</c:v>
                </c:pt>
                <c:pt idx="567">
                  <c:v>Eurial Autr</c:v>
                </c:pt>
                <c:pt idx="568">
                  <c:v>Milleret: A</c:v>
                </c:pt>
                <c:pt idx="569">
                  <c:v>Etoile Du Q</c:v>
                </c:pt>
                <c:pt idx="570">
                  <c:v>Boursin</c:v>
                </c:pt>
                <c:pt idx="571">
                  <c:v>Private Lab</c:v>
                </c:pt>
                <c:pt idx="572">
                  <c:v>Les Mousque</c:v>
                </c:pt>
                <c:pt idx="573">
                  <c:v>All Others</c:v>
                </c:pt>
                <c:pt idx="574">
                  <c:v>Private Lab</c:v>
                </c:pt>
                <c:pt idx="575">
                  <c:v>Private Lab</c:v>
                </c:pt>
                <c:pt idx="576">
                  <c:v>Private Lab</c:v>
                </c:pt>
                <c:pt idx="577">
                  <c:v>Galbani</c:v>
                </c:pt>
                <c:pt idx="578">
                  <c:v>Violife</c:v>
                </c:pt>
                <c:pt idx="579">
                  <c:v>Entremont</c:v>
                </c:pt>
                <c:pt idx="580">
                  <c:v>Private Lab</c:v>
                </c:pt>
                <c:pt idx="581">
                  <c:v>Lactalis: A</c:v>
                </c:pt>
                <c:pt idx="582">
                  <c:v>All Others</c:v>
                </c:pt>
                <c:pt idx="583">
                  <c:v>Mini Babybe</c:v>
                </c:pt>
                <c:pt idx="584">
                  <c:v>Savencia: A</c:v>
                </c:pt>
                <c:pt idx="585">
                  <c:v>Salakis</c:v>
                </c:pt>
                <c:pt idx="586">
                  <c:v>Milleret: A</c:v>
                </c:pt>
                <c:pt idx="587">
                  <c:v>Private Lab</c:v>
                </c:pt>
                <c:pt idx="588">
                  <c:v>Entremont</c:v>
                </c:pt>
                <c:pt idx="589">
                  <c:v>Mini Babybe</c:v>
                </c:pt>
                <c:pt idx="590">
                  <c:v>Entremont</c:v>
                </c:pt>
                <c:pt idx="591">
                  <c:v>Soignon</c:v>
                </c:pt>
                <c:pt idx="592">
                  <c:v>Pochat</c:v>
                </c:pt>
                <c:pt idx="593">
                  <c:v>Paysan Bret</c:v>
                </c:pt>
                <c:pt idx="594">
                  <c:v>Soignon</c:v>
                </c:pt>
                <c:pt idx="595">
                  <c:v>Private Lab</c:v>
                </c:pt>
                <c:pt idx="596">
                  <c:v>Savencia: A</c:v>
                </c:pt>
                <c:pt idx="597">
                  <c:v>Kiri</c:v>
                </c:pt>
                <c:pt idx="598">
                  <c:v>Saint Agur</c:v>
                </c:pt>
                <c:pt idx="599">
                  <c:v>All Others</c:v>
                </c:pt>
                <c:pt idx="600">
                  <c:v>Soignon</c:v>
                </c:pt>
                <c:pt idx="601">
                  <c:v>L'Ortolan</c:v>
                </c:pt>
                <c:pt idx="602">
                  <c:v>Lactalis: A</c:v>
                </c:pt>
                <c:pt idx="603">
                  <c:v>Richesmonts</c:v>
                </c:pt>
                <c:pt idx="604">
                  <c:v>Raguin</c:v>
                </c:pt>
                <c:pt idx="605">
                  <c:v>Les Mousque</c:v>
                </c:pt>
                <c:pt idx="606">
                  <c:v>All Others</c:v>
                </c:pt>
                <c:pt idx="607">
                  <c:v>La Belle Et</c:v>
                </c:pt>
                <c:pt idx="608">
                  <c:v>Galbani</c:v>
                </c:pt>
                <c:pt idx="609">
                  <c:v>All Others</c:v>
                </c:pt>
                <c:pt idx="610">
                  <c:v>Soignon</c:v>
                </c:pt>
                <c:pt idx="611">
                  <c:v>Private Lab</c:v>
                </c:pt>
                <c:pt idx="612">
                  <c:v>Carre Frais</c:v>
                </c:pt>
                <c:pt idx="613">
                  <c:v>Lactalis: A</c:v>
                </c:pt>
                <c:pt idx="614">
                  <c:v>All Others</c:v>
                </c:pt>
                <c:pt idx="615">
                  <c:v>Raguin</c:v>
                </c:pt>
                <c:pt idx="616">
                  <c:v>Lactalis: A</c:v>
                </c:pt>
                <c:pt idx="617">
                  <c:v>Les Mousque</c:v>
                </c:pt>
                <c:pt idx="618">
                  <c:v>Salakis</c:v>
                </c:pt>
                <c:pt idx="619">
                  <c:v>Triballat N</c:v>
                </c:pt>
                <c:pt idx="620">
                  <c:v>All Others</c:v>
                </c:pt>
                <c:pt idx="621">
                  <c:v>All Others</c:v>
                </c:pt>
                <c:pt idx="622">
                  <c:v>All Others</c:v>
                </c:pt>
                <c:pt idx="623">
                  <c:v>Private Lab</c:v>
                </c:pt>
                <c:pt idx="624">
                  <c:v>Paysan Bret</c:v>
                </c:pt>
                <c:pt idx="625">
                  <c:v>All Others</c:v>
                </c:pt>
                <c:pt idx="626">
                  <c:v>President</c:v>
                </c:pt>
                <c:pt idx="627">
                  <c:v>All Others</c:v>
                </c:pt>
                <c:pt idx="628">
                  <c:v>All Others</c:v>
                </c:pt>
                <c:pt idx="629">
                  <c:v>All Others</c:v>
                </c:pt>
                <c:pt idx="630">
                  <c:v>All Others</c:v>
                </c:pt>
                <c:pt idx="631">
                  <c:v>Private Lab</c:v>
                </c:pt>
                <c:pt idx="632">
                  <c:v>Etoile Du V</c:v>
                </c:pt>
                <c:pt idx="633">
                  <c:v>All Others</c:v>
                </c:pt>
                <c:pt idx="634">
                  <c:v>Raguin</c:v>
                </c:pt>
                <c:pt idx="635">
                  <c:v>Private Lab</c:v>
                </c:pt>
                <c:pt idx="636">
                  <c:v>Savencia: A</c:v>
                </c:pt>
                <c:pt idx="637">
                  <c:v>Raguin</c:v>
                </c:pt>
                <c:pt idx="638">
                  <c:v>All Others</c:v>
                </c:pt>
                <c:pt idx="639">
                  <c:v>Etoile Du V</c:v>
                </c:pt>
                <c:pt idx="640">
                  <c:v>Le Brebiou</c:v>
                </c:pt>
                <c:pt idx="641">
                  <c:v>Boursin</c:v>
                </c:pt>
                <c:pt idx="642">
                  <c:v>All Others</c:v>
                </c:pt>
                <c:pt idx="643">
                  <c:v>Nurishh</c:v>
                </c:pt>
                <c:pt idx="644">
                  <c:v>Apericube</c:v>
                </c:pt>
                <c:pt idx="645">
                  <c:v>Entremont</c:v>
                </c:pt>
                <c:pt idx="646">
                  <c:v>Entremont</c:v>
                </c:pt>
                <c:pt idx="647">
                  <c:v>All Others</c:v>
                </c:pt>
                <c:pt idx="648">
                  <c:v>Private Lab</c:v>
                </c:pt>
                <c:pt idx="649">
                  <c:v>Private Lab</c:v>
                </c:pt>
                <c:pt idx="650">
                  <c:v>All Others</c:v>
                </c:pt>
                <c:pt idx="651">
                  <c:v>Milleret: A</c:v>
                </c:pt>
                <c:pt idx="652">
                  <c:v>Milleret: A</c:v>
                </c:pt>
                <c:pt idx="653">
                  <c:v>All Others</c:v>
                </c:pt>
                <c:pt idx="654">
                  <c:v>Galbani</c:v>
                </c:pt>
                <c:pt idx="655">
                  <c:v>Eurial Autr</c:v>
                </c:pt>
                <c:pt idx="656">
                  <c:v>Casa Azzurr</c:v>
                </c:pt>
                <c:pt idx="657">
                  <c:v>Milleret: A</c:v>
                </c:pt>
                <c:pt idx="658">
                  <c:v>Aperivrais</c:v>
                </c:pt>
                <c:pt idx="659">
                  <c:v>All Others</c:v>
                </c:pt>
                <c:pt idx="660">
                  <c:v>Savencia: A</c:v>
                </c:pt>
                <c:pt idx="661">
                  <c:v>Entremont</c:v>
                </c:pt>
                <c:pt idx="662">
                  <c:v>All Others</c:v>
                </c:pt>
                <c:pt idx="663">
                  <c:v>Triballat N</c:v>
                </c:pt>
                <c:pt idx="664">
                  <c:v>Paysan Bret</c:v>
                </c:pt>
                <c:pt idx="665">
                  <c:v>Nurishh</c:v>
                </c:pt>
                <c:pt idx="666">
                  <c:v>Apericube</c:v>
                </c:pt>
                <c:pt idx="667">
                  <c:v>President</c:v>
                </c:pt>
                <c:pt idx="668">
                  <c:v>Etoile Du V</c:v>
                </c:pt>
                <c:pt idx="669">
                  <c:v>Casa Azzurr</c:v>
                </c:pt>
                <c:pt idx="670">
                  <c:v>All Others</c:v>
                </c:pt>
                <c:pt idx="671">
                  <c:v>All Others</c:v>
                </c:pt>
                <c:pt idx="672">
                  <c:v>All Others</c:v>
                </c:pt>
                <c:pt idx="673">
                  <c:v>Pochat</c:v>
                </c:pt>
                <c:pt idx="674">
                  <c:v>Etorki</c:v>
                </c:pt>
                <c:pt idx="675">
                  <c:v>Saint Agur</c:v>
                </c:pt>
                <c:pt idx="676">
                  <c:v>Entremont</c:v>
                </c:pt>
                <c:pt idx="677">
                  <c:v>President</c:v>
                </c:pt>
                <c:pt idx="678">
                  <c:v>All Others</c:v>
                </c:pt>
                <c:pt idx="679">
                  <c:v>Tartare</c:v>
                </c:pt>
                <c:pt idx="680">
                  <c:v>All Others</c:v>
                </c:pt>
                <c:pt idx="681">
                  <c:v>All Others</c:v>
                </c:pt>
                <c:pt idx="682">
                  <c:v>Apericube</c:v>
                </c:pt>
                <c:pt idx="683">
                  <c:v>Nurishh</c:v>
                </c:pt>
                <c:pt idx="684">
                  <c:v>Private Lab</c:v>
                </c:pt>
                <c:pt idx="685">
                  <c:v>Private Lab</c:v>
                </c:pt>
                <c:pt idx="686">
                  <c:v>Violife</c:v>
                </c:pt>
                <c:pt idx="687">
                  <c:v>Entremont</c:v>
                </c:pt>
                <c:pt idx="688">
                  <c:v>Entremont</c:v>
                </c:pt>
                <c:pt idx="689">
                  <c:v>Islos</c:v>
                </c:pt>
                <c:pt idx="690">
                  <c:v>Entremont</c:v>
                </c:pt>
                <c:pt idx="691">
                  <c:v>All Others</c:v>
                </c:pt>
                <c:pt idx="692">
                  <c:v>All Others</c:v>
                </c:pt>
                <c:pt idx="693">
                  <c:v>All Others</c:v>
                </c:pt>
                <c:pt idx="694">
                  <c:v>All Others</c:v>
                </c:pt>
                <c:pt idx="695">
                  <c:v>All Others</c:v>
                </c:pt>
                <c:pt idx="696">
                  <c:v>Boursin</c:v>
                </c:pt>
                <c:pt idx="697">
                  <c:v>Galbani</c:v>
                </c:pt>
                <c:pt idx="698">
                  <c:v>All Others</c:v>
                </c:pt>
                <c:pt idx="699">
                  <c:v>Richesmonts</c:v>
                </c:pt>
                <c:pt idx="700">
                  <c:v>All Others</c:v>
                </c:pt>
                <c:pt idx="701">
                  <c:v>Lactalis: A</c:v>
                </c:pt>
                <c:pt idx="702">
                  <c:v>All Others</c:v>
                </c:pt>
                <c:pt idx="703">
                  <c:v>Paysan Bret</c:v>
                </c:pt>
                <c:pt idx="704">
                  <c:v>All Others</c:v>
                </c:pt>
                <c:pt idx="705">
                  <c:v>Nurishh</c:v>
                </c:pt>
                <c:pt idx="706">
                  <c:v>Violife</c:v>
                </c:pt>
                <c:pt idx="707">
                  <c:v>Nurishh</c:v>
                </c:pt>
                <c:pt idx="708">
                  <c:v>All Others</c:v>
                </c:pt>
                <c:pt idx="709">
                  <c:v>Casa Azzurr</c:v>
                </c:pt>
                <c:pt idx="710">
                  <c:v>All Others</c:v>
                </c:pt>
                <c:pt idx="711">
                  <c:v>Milleret: A</c:v>
                </c:pt>
                <c:pt idx="712">
                  <c:v>All Others</c:v>
                </c:pt>
                <c:pt idx="713">
                  <c:v>All Others</c:v>
                </c:pt>
                <c:pt idx="714">
                  <c:v>All Others</c:v>
                </c:pt>
                <c:pt idx="715">
                  <c:v>All Others</c:v>
                </c:pt>
                <c:pt idx="716">
                  <c:v>Tartare</c:v>
                </c:pt>
                <c:pt idx="717">
                  <c:v>All Others</c:v>
                </c:pt>
                <c:pt idx="718">
                  <c:v>All Others</c:v>
                </c:pt>
                <c:pt idx="719">
                  <c:v>Triballat N</c:v>
                </c:pt>
                <c:pt idx="720">
                  <c:v>Apericube</c:v>
                </c:pt>
                <c:pt idx="721">
                  <c:v>Boursin</c:v>
                </c:pt>
                <c:pt idx="722">
                  <c:v>All Others</c:v>
                </c:pt>
                <c:pt idx="723">
                  <c:v>Mini Babybe</c:v>
                </c:pt>
                <c:pt idx="724">
                  <c:v>All Others</c:v>
                </c:pt>
                <c:pt idx="725">
                  <c:v>All Others</c:v>
                </c:pt>
                <c:pt idx="726">
                  <c:v>All Others</c:v>
                </c:pt>
                <c:pt idx="727">
                  <c:v>Etoile Du V</c:v>
                </c:pt>
                <c:pt idx="728">
                  <c:v>All Others</c:v>
                </c:pt>
                <c:pt idx="729">
                  <c:v>La Belle Et</c:v>
                </c:pt>
                <c:pt idx="730">
                  <c:v>All Others</c:v>
                </c:pt>
                <c:pt idx="731">
                  <c:v>All Others</c:v>
                </c:pt>
                <c:pt idx="732">
                  <c:v>Pochat</c:v>
                </c:pt>
                <c:pt idx="733">
                  <c:v>All Others</c:v>
                </c:pt>
                <c:pt idx="734">
                  <c:v>Lactalis: A</c:v>
                </c:pt>
                <c:pt idx="735">
                  <c:v>Savencia: A</c:v>
                </c:pt>
                <c:pt idx="736">
                  <c:v>All Others</c:v>
                </c:pt>
                <c:pt idx="737">
                  <c:v>All Others</c:v>
                </c:pt>
                <c:pt idx="738">
                  <c:v>Chavroux</c:v>
                </c:pt>
                <c:pt idx="739">
                  <c:v>All Others</c:v>
                </c:pt>
                <c:pt idx="740">
                  <c:v>All Others</c:v>
                </c:pt>
                <c:pt idx="741">
                  <c:v>All Others</c:v>
                </c:pt>
                <c:pt idx="742">
                  <c:v>All Others</c:v>
                </c:pt>
                <c:pt idx="743">
                  <c:v>All Others</c:v>
                </c:pt>
                <c:pt idx="744">
                  <c:v>All Others</c:v>
                </c:pt>
                <c:pt idx="745">
                  <c:v>Casa Azzurr</c:v>
                </c:pt>
                <c:pt idx="746">
                  <c:v>All Others</c:v>
                </c:pt>
                <c:pt idx="747">
                  <c:v>Etoile Du V</c:v>
                </c:pt>
                <c:pt idx="748">
                  <c:v>All Others</c:v>
                </c:pt>
                <c:pt idx="749">
                  <c:v>Paysan Bret</c:v>
                </c:pt>
                <c:pt idx="750">
                  <c:v>Savencia: A</c:v>
                </c:pt>
                <c:pt idx="751">
                  <c:v>Nurishh</c:v>
                </c:pt>
                <c:pt idx="752">
                  <c:v>Fauquet</c:v>
                </c:pt>
                <c:pt idx="753">
                  <c:v>La Belle Et</c:v>
                </c:pt>
                <c:pt idx="754">
                  <c:v>Lactalis: A</c:v>
                </c:pt>
                <c:pt idx="755">
                  <c:v>All Others</c:v>
                </c:pt>
                <c:pt idx="756">
                  <c:v>All Others</c:v>
                </c:pt>
                <c:pt idx="757">
                  <c:v>All Others</c:v>
                </c:pt>
                <c:pt idx="758">
                  <c:v>All Others</c:v>
                </c:pt>
                <c:pt idx="759">
                  <c:v>Fol Epi</c:v>
                </c:pt>
                <c:pt idx="760">
                  <c:v>All Others</c:v>
                </c:pt>
                <c:pt idx="761">
                  <c:v>All Others</c:v>
                </c:pt>
                <c:pt idx="762">
                  <c:v>All Others</c:v>
                </c:pt>
                <c:pt idx="763">
                  <c:v>All Others</c:v>
                </c:pt>
                <c:pt idx="764">
                  <c:v>Chavroux</c:v>
                </c:pt>
                <c:pt idx="765">
                  <c:v>All Others</c:v>
                </c:pt>
                <c:pt idx="766">
                  <c:v>All Others</c:v>
                </c:pt>
                <c:pt idx="767">
                  <c:v>All Others</c:v>
                </c:pt>
                <c:pt idx="768">
                  <c:v>All Others</c:v>
                </c:pt>
                <c:pt idx="769">
                  <c:v>All Others</c:v>
                </c:pt>
                <c:pt idx="770">
                  <c:v>Entremont</c:v>
                </c:pt>
                <c:pt idx="771">
                  <c:v>Private Lab</c:v>
                </c:pt>
                <c:pt idx="772">
                  <c:v>All Others</c:v>
                </c:pt>
                <c:pt idx="773">
                  <c:v>Boursin</c:v>
                </c:pt>
                <c:pt idx="774">
                  <c:v>All Others</c:v>
                </c:pt>
                <c:pt idx="775">
                  <c:v>La Belle Et</c:v>
                </c:pt>
                <c:pt idx="776">
                  <c:v>All Others</c:v>
                </c:pt>
                <c:pt idx="777">
                  <c:v>La Belle Et</c:v>
                </c:pt>
                <c:pt idx="778">
                  <c:v>All Others</c:v>
                </c:pt>
                <c:pt idx="779">
                  <c:v>Triballat N</c:v>
                </c:pt>
                <c:pt idx="780">
                  <c:v>All Others</c:v>
                </c:pt>
                <c:pt idx="781">
                  <c:v>Aperivrais</c:v>
                </c:pt>
                <c:pt idx="782">
                  <c:v>All Others</c:v>
                </c:pt>
                <c:pt idx="783">
                  <c:v>All Others</c:v>
                </c:pt>
                <c:pt idx="784">
                  <c:v>Milleret: A</c:v>
                </c:pt>
                <c:pt idx="785">
                  <c:v>La Belle Et</c:v>
                </c:pt>
                <c:pt idx="786">
                  <c:v>Istara</c:v>
                </c:pt>
                <c:pt idx="787">
                  <c:v>Pave D'Affi</c:v>
                </c:pt>
                <c:pt idx="788">
                  <c:v>All Others</c:v>
                </c:pt>
                <c:pt idx="789">
                  <c:v>All Others</c:v>
                </c:pt>
                <c:pt idx="790">
                  <c:v>La Belle Et</c:v>
                </c:pt>
                <c:pt idx="791">
                  <c:v>All Others</c:v>
                </c:pt>
                <c:pt idx="792">
                  <c:v>Entremont</c:v>
                </c:pt>
                <c:pt idx="793">
                  <c:v>All Others</c:v>
                </c:pt>
                <c:pt idx="794">
                  <c:v>All Others</c:v>
                </c:pt>
                <c:pt idx="795">
                  <c:v>Chavroux</c:v>
                </c:pt>
                <c:pt idx="796">
                  <c:v>All Others</c:v>
                </c:pt>
                <c:pt idx="797">
                  <c:v>All Others</c:v>
                </c:pt>
                <c:pt idx="798">
                  <c:v>All Others</c:v>
                </c:pt>
                <c:pt idx="799">
                  <c:v>All Others</c:v>
                </c:pt>
                <c:pt idx="800">
                  <c:v>La Belle Et</c:v>
                </c:pt>
                <c:pt idx="801">
                  <c:v>All Others</c:v>
                </c:pt>
                <c:pt idx="802">
                  <c:v>La Belle Et</c:v>
                </c:pt>
                <c:pt idx="803">
                  <c:v>All Others</c:v>
                </c:pt>
                <c:pt idx="804">
                  <c:v>Entremont</c:v>
                </c:pt>
                <c:pt idx="805">
                  <c:v>Entremont</c:v>
                </c:pt>
                <c:pt idx="806">
                  <c:v>All Others</c:v>
                </c:pt>
                <c:pt idx="807">
                  <c:v>All Others</c:v>
                </c:pt>
                <c:pt idx="808">
                  <c:v>All Others</c:v>
                </c:pt>
                <c:pt idx="809">
                  <c:v>All Others</c:v>
                </c:pt>
                <c:pt idx="810">
                  <c:v>Aperivrais</c:v>
                </c:pt>
                <c:pt idx="811">
                  <c:v>Chaussee Au</c:v>
                </c:pt>
                <c:pt idx="812">
                  <c:v>All Others</c:v>
                </c:pt>
                <c:pt idx="813">
                  <c:v>L'Ortolan</c:v>
                </c:pt>
                <c:pt idx="814">
                  <c:v>All Others</c:v>
                </c:pt>
                <c:pt idx="815">
                  <c:v>Etoile Du V</c:v>
                </c:pt>
                <c:pt idx="816">
                  <c:v>Lactalis: A</c:v>
                </c:pt>
                <c:pt idx="817">
                  <c:v>All Others</c:v>
                </c:pt>
                <c:pt idx="818">
                  <c:v>All Others</c:v>
                </c:pt>
                <c:pt idx="819">
                  <c:v>All Others</c:v>
                </c:pt>
                <c:pt idx="820">
                  <c:v>Savencia: A</c:v>
                </c:pt>
                <c:pt idx="821">
                  <c:v>Milleret: A</c:v>
                </c:pt>
                <c:pt idx="822">
                  <c:v>Les Mousque</c:v>
                </c:pt>
                <c:pt idx="823">
                  <c:v>All Others</c:v>
                </c:pt>
                <c:pt idx="824">
                  <c:v>All Others</c:v>
                </c:pt>
                <c:pt idx="825">
                  <c:v>All Others</c:v>
                </c:pt>
                <c:pt idx="826">
                  <c:v>All Others</c:v>
                </c:pt>
                <c:pt idx="827">
                  <c:v>Les Mousque</c:v>
                </c:pt>
                <c:pt idx="828">
                  <c:v>Societe</c:v>
                </c:pt>
                <c:pt idx="829">
                  <c:v>Petit Billy</c:v>
                </c:pt>
                <c:pt idx="830">
                  <c:v>Savencia: A</c:v>
                </c:pt>
                <c:pt idx="831">
                  <c:v>All Others</c:v>
                </c:pt>
                <c:pt idx="832">
                  <c:v>Boursin</c:v>
                </c:pt>
                <c:pt idx="833">
                  <c:v>All Others</c:v>
                </c:pt>
                <c:pt idx="834">
                  <c:v>Galbani</c:v>
                </c:pt>
                <c:pt idx="835">
                  <c:v>All Others</c:v>
                </c:pt>
                <c:pt idx="836">
                  <c:v>All Others</c:v>
                </c:pt>
                <c:pt idx="837">
                  <c:v>All Others</c:v>
                </c:pt>
                <c:pt idx="838">
                  <c:v>All Others</c:v>
                </c:pt>
                <c:pt idx="839">
                  <c:v>All Others</c:v>
                </c:pt>
                <c:pt idx="840">
                  <c:v>All Others</c:v>
                </c:pt>
                <c:pt idx="841">
                  <c:v>All Others</c:v>
                </c:pt>
                <c:pt idx="842">
                  <c:v>Raguin</c:v>
                </c:pt>
                <c:pt idx="843">
                  <c:v>All Others</c:v>
                </c:pt>
                <c:pt idx="844">
                  <c:v>All Others</c:v>
                </c:pt>
                <c:pt idx="845">
                  <c:v>All Others</c:v>
                </c:pt>
                <c:pt idx="846">
                  <c:v>All Others</c:v>
                </c:pt>
                <c:pt idx="847">
                  <c:v>Savencia: A</c:v>
                </c:pt>
                <c:pt idx="848">
                  <c:v>All Others</c:v>
                </c:pt>
                <c:pt idx="849">
                  <c:v>All Others</c:v>
                </c:pt>
                <c:pt idx="850">
                  <c:v>Richesmonts</c:v>
                </c:pt>
                <c:pt idx="851">
                  <c:v>All Others</c:v>
                </c:pt>
                <c:pt idx="852">
                  <c:v>All Others</c:v>
                </c:pt>
                <c:pt idx="853">
                  <c:v>All Others</c:v>
                </c:pt>
                <c:pt idx="854">
                  <c:v>All Others</c:v>
                </c:pt>
                <c:pt idx="855">
                  <c:v>All Others</c:v>
                </c:pt>
                <c:pt idx="856">
                  <c:v>Raguin</c:v>
                </c:pt>
                <c:pt idx="857">
                  <c:v>Private Lab</c:v>
                </c:pt>
                <c:pt idx="858">
                  <c:v>All Others</c:v>
                </c:pt>
                <c:pt idx="859">
                  <c:v>All Others</c:v>
                </c:pt>
                <c:pt idx="860">
                  <c:v>All Others</c:v>
                </c:pt>
                <c:pt idx="861">
                  <c:v>All Others</c:v>
                </c:pt>
                <c:pt idx="862">
                  <c:v>All Others</c:v>
                </c:pt>
                <c:pt idx="863">
                  <c:v>All Others</c:v>
                </c:pt>
                <c:pt idx="864">
                  <c:v>All Others</c:v>
                </c:pt>
                <c:pt idx="865">
                  <c:v>All Others</c:v>
                </c:pt>
                <c:pt idx="866">
                  <c:v>Soignon</c:v>
                </c:pt>
                <c:pt idx="867">
                  <c:v>All Others</c:v>
                </c:pt>
                <c:pt idx="868">
                  <c:v>Boursin</c:v>
                </c:pt>
                <c:pt idx="869">
                  <c:v>All Others</c:v>
                </c:pt>
                <c:pt idx="870">
                  <c:v>Boursin</c:v>
                </c:pt>
                <c:pt idx="871">
                  <c:v>All Others</c:v>
                </c:pt>
                <c:pt idx="872">
                  <c:v>All Others</c:v>
                </c:pt>
                <c:pt idx="873">
                  <c:v>All Others</c:v>
                </c:pt>
                <c:pt idx="874">
                  <c:v>All Others</c:v>
                </c:pt>
                <c:pt idx="875">
                  <c:v>President</c:v>
                </c:pt>
                <c:pt idx="876">
                  <c:v>Raguin</c:v>
                </c:pt>
                <c:pt idx="877">
                  <c:v>All Others</c:v>
                </c:pt>
                <c:pt idx="878">
                  <c:v>All Others</c:v>
                </c:pt>
                <c:pt idx="879">
                  <c:v>All Others</c:v>
                </c:pt>
                <c:pt idx="880">
                  <c:v>Salakis</c:v>
                </c:pt>
                <c:pt idx="881">
                  <c:v>All Others</c:v>
                </c:pt>
                <c:pt idx="882">
                  <c:v>All Others</c:v>
                </c:pt>
                <c:pt idx="883">
                  <c:v>All Others</c:v>
                </c:pt>
                <c:pt idx="884">
                  <c:v>Boursin</c:v>
                </c:pt>
                <c:pt idx="885">
                  <c:v>La Belle Et</c:v>
                </c:pt>
                <c:pt idx="886">
                  <c:v>All Others</c:v>
                </c:pt>
                <c:pt idx="887">
                  <c:v>Fol Epi</c:v>
                </c:pt>
                <c:pt idx="888">
                  <c:v>All Others</c:v>
                </c:pt>
                <c:pt idx="889">
                  <c:v>La Belle Et</c:v>
                </c:pt>
                <c:pt idx="890">
                  <c:v>All Others</c:v>
                </c:pt>
                <c:pt idx="891">
                  <c:v>All Others</c:v>
                </c:pt>
                <c:pt idx="892">
                  <c:v>All Others</c:v>
                </c:pt>
                <c:pt idx="893">
                  <c:v>All Others</c:v>
                </c:pt>
                <c:pt idx="894">
                  <c:v>Juraflore</c:v>
                </c:pt>
                <c:pt idx="895">
                  <c:v>Richesmonts</c:v>
                </c:pt>
                <c:pt idx="896">
                  <c:v>Savencia: A</c:v>
                </c:pt>
                <c:pt idx="897">
                  <c:v>All Others</c:v>
                </c:pt>
                <c:pt idx="898">
                  <c:v>Savencia: A</c:v>
                </c:pt>
                <c:pt idx="899">
                  <c:v>All Others</c:v>
                </c:pt>
                <c:pt idx="900">
                  <c:v>All Others</c:v>
                </c:pt>
                <c:pt idx="901">
                  <c:v>All Others</c:v>
                </c:pt>
                <c:pt idx="902">
                  <c:v>All Others</c:v>
                </c:pt>
                <c:pt idx="903">
                  <c:v>Lactalis: A</c:v>
                </c:pt>
                <c:pt idx="904">
                  <c:v>La Belle Et</c:v>
                </c:pt>
                <c:pt idx="905">
                  <c:v>Raguin</c:v>
                </c:pt>
                <c:pt idx="906">
                  <c:v>Entremont</c:v>
                </c:pt>
                <c:pt idx="907">
                  <c:v>All Others</c:v>
                </c:pt>
                <c:pt idx="908">
                  <c:v>All Others</c:v>
                </c:pt>
                <c:pt idx="909">
                  <c:v>Salakis</c:v>
                </c:pt>
                <c:pt idx="910">
                  <c:v>All Others</c:v>
                </c:pt>
                <c:pt idx="911">
                  <c:v>All Others</c:v>
                </c:pt>
                <c:pt idx="912">
                  <c:v>All Others</c:v>
                </c:pt>
                <c:pt idx="913">
                  <c:v>All Others</c:v>
                </c:pt>
                <c:pt idx="914">
                  <c:v>All Others</c:v>
                </c:pt>
                <c:pt idx="915">
                  <c:v>La Vache Qu</c:v>
                </c:pt>
                <c:pt idx="916">
                  <c:v>Chavroux</c:v>
                </c:pt>
                <c:pt idx="917">
                  <c:v>All Others</c:v>
                </c:pt>
                <c:pt idx="918">
                  <c:v>Raguin</c:v>
                </c:pt>
                <c:pt idx="919">
                  <c:v>All Others</c:v>
                </c:pt>
                <c:pt idx="920">
                  <c:v>All Others</c:v>
                </c:pt>
                <c:pt idx="921">
                  <c:v>Mini Babybe</c:v>
                </c:pt>
                <c:pt idx="922">
                  <c:v>Raguin</c:v>
                </c:pt>
                <c:pt idx="923">
                  <c:v>All Others</c:v>
                </c:pt>
                <c:pt idx="924">
                  <c:v>Entremont</c:v>
                </c:pt>
                <c:pt idx="925">
                  <c:v>All Others</c:v>
                </c:pt>
                <c:pt idx="926">
                  <c:v>All Others</c:v>
                </c:pt>
                <c:pt idx="927">
                  <c:v>All Others</c:v>
                </c:pt>
                <c:pt idx="928">
                  <c:v>All Others</c:v>
                </c:pt>
                <c:pt idx="929">
                  <c:v>All Others</c:v>
                </c:pt>
                <c:pt idx="930">
                  <c:v>All Others</c:v>
                </c:pt>
                <c:pt idx="931">
                  <c:v>All Others</c:v>
                </c:pt>
                <c:pt idx="932">
                  <c:v>All Others</c:v>
                </c:pt>
                <c:pt idx="933">
                  <c:v>All Others</c:v>
                </c:pt>
                <c:pt idx="934">
                  <c:v>All Others</c:v>
                </c:pt>
                <c:pt idx="935">
                  <c:v>All Others</c:v>
                </c:pt>
                <c:pt idx="936">
                  <c:v>Chavroux</c:v>
                </c:pt>
                <c:pt idx="937">
                  <c:v>All Others</c:v>
                </c:pt>
                <c:pt idx="938">
                  <c:v>All Others</c:v>
                </c:pt>
                <c:pt idx="939">
                  <c:v>All Others</c:v>
                </c:pt>
                <c:pt idx="940">
                  <c:v>Raguin</c:v>
                </c:pt>
                <c:pt idx="941">
                  <c:v>All Others</c:v>
                </c:pt>
                <c:pt idx="942">
                  <c:v>All Others</c:v>
                </c:pt>
                <c:pt idx="943">
                  <c:v>Corsica</c:v>
                </c:pt>
                <c:pt idx="944">
                  <c:v>La Belle Et</c:v>
                </c:pt>
                <c:pt idx="945">
                  <c:v>All Others</c:v>
                </c:pt>
                <c:pt idx="946">
                  <c:v>All Others</c:v>
                </c:pt>
                <c:pt idx="947">
                  <c:v>All Others</c:v>
                </c:pt>
                <c:pt idx="948">
                  <c:v>All Others</c:v>
                </c:pt>
                <c:pt idx="949">
                  <c:v>Raguin</c:v>
                </c:pt>
                <c:pt idx="950">
                  <c:v>All Others</c:v>
                </c:pt>
                <c:pt idx="951">
                  <c:v>Etoile Du V</c:v>
                </c:pt>
                <c:pt idx="952">
                  <c:v>All Others</c:v>
                </c:pt>
                <c:pt idx="953">
                  <c:v>Milleret: A</c:v>
                </c:pt>
                <c:pt idx="954">
                  <c:v>All Others</c:v>
                </c:pt>
                <c:pt idx="955">
                  <c:v>La Belle Et</c:v>
                </c:pt>
                <c:pt idx="956">
                  <c:v>All Others</c:v>
                </c:pt>
                <c:pt idx="957">
                  <c:v>Lactalis: A</c:v>
                </c:pt>
                <c:pt idx="958">
                  <c:v>All Others</c:v>
                </c:pt>
                <c:pt idx="959">
                  <c:v>All Others</c:v>
                </c:pt>
                <c:pt idx="960">
                  <c:v>All Others</c:v>
                </c:pt>
                <c:pt idx="961">
                  <c:v>Rians</c:v>
                </c:pt>
                <c:pt idx="962">
                  <c:v>Mini Babybe</c:v>
                </c:pt>
                <c:pt idx="963">
                  <c:v>All Others</c:v>
                </c:pt>
                <c:pt idx="964">
                  <c:v>All Others</c:v>
                </c:pt>
                <c:pt idx="965">
                  <c:v>All Others</c:v>
                </c:pt>
                <c:pt idx="966">
                  <c:v>All Others</c:v>
                </c:pt>
                <c:pt idx="967">
                  <c:v>All Others</c:v>
                </c:pt>
                <c:pt idx="968">
                  <c:v>Lactalis: A</c:v>
                </c:pt>
                <c:pt idx="969">
                  <c:v>Casa Azzurr</c:v>
                </c:pt>
                <c:pt idx="970">
                  <c:v>All Others</c:v>
                </c:pt>
                <c:pt idx="971">
                  <c:v>All Others</c:v>
                </c:pt>
                <c:pt idx="972">
                  <c:v>All Others</c:v>
                </c:pt>
                <c:pt idx="973">
                  <c:v>All Others</c:v>
                </c:pt>
                <c:pt idx="974">
                  <c:v>All Others</c:v>
                </c:pt>
                <c:pt idx="975">
                  <c:v>All Others</c:v>
                </c:pt>
                <c:pt idx="976">
                  <c:v>All Others</c:v>
                </c:pt>
                <c:pt idx="977">
                  <c:v>All Others</c:v>
                </c:pt>
                <c:pt idx="978">
                  <c:v>All Others</c:v>
                </c:pt>
                <c:pt idx="979">
                  <c:v>All Others</c:v>
                </c:pt>
                <c:pt idx="980">
                  <c:v>Raguin</c:v>
                </c:pt>
                <c:pt idx="981">
                  <c:v>All Others</c:v>
                </c:pt>
                <c:pt idx="982">
                  <c:v>Lactalis: A</c:v>
                </c:pt>
                <c:pt idx="983">
                  <c:v>All Others</c:v>
                </c:pt>
                <c:pt idx="984">
                  <c:v>All Others</c:v>
                </c:pt>
                <c:pt idx="985">
                  <c:v>Etoile Du V</c:v>
                </c:pt>
                <c:pt idx="986">
                  <c:v>All Others</c:v>
                </c:pt>
                <c:pt idx="987">
                  <c:v>Violife</c:v>
                </c:pt>
                <c:pt idx="988">
                  <c:v>All Others</c:v>
                </c:pt>
                <c:pt idx="989">
                  <c:v>All Others</c:v>
                </c:pt>
                <c:pt idx="990">
                  <c:v>All Others</c:v>
                </c:pt>
                <c:pt idx="991">
                  <c:v>All Others</c:v>
                </c:pt>
                <c:pt idx="992">
                  <c:v>Paysan Bret</c:v>
                </c:pt>
                <c:pt idx="993">
                  <c:v>All Others</c:v>
                </c:pt>
                <c:pt idx="994">
                  <c:v>All Others</c:v>
                </c:pt>
                <c:pt idx="995">
                  <c:v>Kiri</c:v>
                </c:pt>
                <c:pt idx="996">
                  <c:v>Raguin</c:v>
                </c:pt>
                <c:pt idx="997">
                  <c:v>All Others</c:v>
                </c:pt>
                <c:pt idx="998">
                  <c:v>All Others</c:v>
                </c:pt>
                <c:pt idx="999">
                  <c:v>All Others</c:v>
                </c:pt>
                <c:pt idx="1000">
                  <c:v>All Others</c:v>
                </c:pt>
                <c:pt idx="1001">
                  <c:v>All Others</c:v>
                </c:pt>
                <c:pt idx="1002">
                  <c:v>All Others</c:v>
                </c:pt>
                <c:pt idx="1003">
                  <c:v>All Others</c:v>
                </c:pt>
                <c:pt idx="1004">
                  <c:v>All Others</c:v>
                </c:pt>
                <c:pt idx="1005">
                  <c:v>Other Suppl</c:v>
                </c:pt>
                <c:pt idx="1006">
                  <c:v>All Others</c:v>
                </c:pt>
                <c:pt idx="1007">
                  <c:v>Lactalis: A</c:v>
                </c:pt>
                <c:pt idx="1008">
                  <c:v>All Others</c:v>
                </c:pt>
                <c:pt idx="1009">
                  <c:v>All Others</c:v>
                </c:pt>
                <c:pt idx="1010">
                  <c:v>All Others</c:v>
                </c:pt>
                <c:pt idx="1011">
                  <c:v>La Belle Et</c:v>
                </c:pt>
                <c:pt idx="1012">
                  <c:v>All Others</c:v>
                </c:pt>
                <c:pt idx="1013">
                  <c:v>All Others</c:v>
                </c:pt>
                <c:pt idx="1014">
                  <c:v>All Others</c:v>
                </c:pt>
                <c:pt idx="1015">
                  <c:v>All Others</c:v>
                </c:pt>
                <c:pt idx="1016">
                  <c:v>All Others</c:v>
                </c:pt>
                <c:pt idx="1017">
                  <c:v>All Others</c:v>
                </c:pt>
                <c:pt idx="1018">
                  <c:v>All Others</c:v>
                </c:pt>
                <c:pt idx="1019">
                  <c:v>Private Lab</c:v>
                </c:pt>
                <c:pt idx="1020">
                  <c:v>All Others</c:v>
                </c:pt>
                <c:pt idx="1021">
                  <c:v>All Others</c:v>
                </c:pt>
                <c:pt idx="1022">
                  <c:v>Lactalis: A</c:v>
                </c:pt>
                <c:pt idx="1023">
                  <c:v>All Others</c:v>
                </c:pt>
                <c:pt idx="1024">
                  <c:v>All Others</c:v>
                </c:pt>
                <c:pt idx="1025">
                  <c:v>All Others</c:v>
                </c:pt>
                <c:pt idx="1026">
                  <c:v>All Others</c:v>
                </c:pt>
                <c:pt idx="1027">
                  <c:v>All Others</c:v>
                </c:pt>
                <c:pt idx="1028">
                  <c:v>All Others</c:v>
                </c:pt>
                <c:pt idx="1029">
                  <c:v>All Others</c:v>
                </c:pt>
                <c:pt idx="1030">
                  <c:v>All Others</c:v>
                </c:pt>
                <c:pt idx="1031">
                  <c:v>All Others</c:v>
                </c:pt>
                <c:pt idx="1032">
                  <c:v>All Others</c:v>
                </c:pt>
                <c:pt idx="1033">
                  <c:v>All Others</c:v>
                </c:pt>
                <c:pt idx="1034">
                  <c:v>Lactalis: A</c:v>
                </c:pt>
                <c:pt idx="1035">
                  <c:v>All Others</c:v>
                </c:pt>
                <c:pt idx="1036">
                  <c:v>All Others</c:v>
                </c:pt>
                <c:pt idx="1037">
                  <c:v>L'Ortolan</c:v>
                </c:pt>
                <c:pt idx="1038">
                  <c:v>All Others</c:v>
                </c:pt>
                <c:pt idx="1039">
                  <c:v>All Others</c:v>
                </c:pt>
                <c:pt idx="1040">
                  <c:v>All Others</c:v>
                </c:pt>
                <c:pt idx="1041">
                  <c:v>All Others</c:v>
                </c:pt>
                <c:pt idx="1042">
                  <c:v>Entremont</c:v>
                </c:pt>
                <c:pt idx="1043">
                  <c:v>Raguin</c:v>
                </c:pt>
                <c:pt idx="1044">
                  <c:v>All Others</c:v>
                </c:pt>
                <c:pt idx="1045">
                  <c:v>All Others</c:v>
                </c:pt>
                <c:pt idx="1046">
                  <c:v>Raguin</c:v>
                </c:pt>
                <c:pt idx="1047">
                  <c:v>All Others</c:v>
                </c:pt>
                <c:pt idx="1048">
                  <c:v>All Others</c:v>
                </c:pt>
                <c:pt idx="1049">
                  <c:v>All Others</c:v>
                </c:pt>
                <c:pt idx="1050">
                  <c:v>All Others</c:v>
                </c:pt>
                <c:pt idx="1051">
                  <c:v>Raguin</c:v>
                </c:pt>
                <c:pt idx="1052">
                  <c:v>All Others</c:v>
                </c:pt>
                <c:pt idx="1053">
                  <c:v>Paysan Bret</c:v>
                </c:pt>
                <c:pt idx="1054">
                  <c:v>All Others</c:v>
                </c:pt>
                <c:pt idx="1055">
                  <c:v>All Others</c:v>
                </c:pt>
                <c:pt idx="1056">
                  <c:v>All Others</c:v>
                </c:pt>
                <c:pt idx="1057">
                  <c:v>All Others</c:v>
                </c:pt>
                <c:pt idx="1058">
                  <c:v>All Others</c:v>
                </c:pt>
                <c:pt idx="1059">
                  <c:v>All Others</c:v>
                </c:pt>
                <c:pt idx="1060">
                  <c:v>All Others</c:v>
                </c:pt>
                <c:pt idx="1061">
                  <c:v>All Others</c:v>
                </c:pt>
                <c:pt idx="1062">
                  <c:v>All Others</c:v>
                </c:pt>
                <c:pt idx="1063">
                  <c:v>All Others</c:v>
                </c:pt>
                <c:pt idx="1064">
                  <c:v>Raguin</c:v>
                </c:pt>
                <c:pt idx="1065">
                  <c:v>All Others</c:v>
                </c:pt>
                <c:pt idx="1066">
                  <c:v>All Others</c:v>
                </c:pt>
                <c:pt idx="1067">
                  <c:v>All Others</c:v>
                </c:pt>
                <c:pt idx="1068">
                  <c:v>All Others</c:v>
                </c:pt>
                <c:pt idx="1069">
                  <c:v>All Others</c:v>
                </c:pt>
                <c:pt idx="1070">
                  <c:v>All Others</c:v>
                </c:pt>
                <c:pt idx="1071">
                  <c:v>All Others</c:v>
                </c:pt>
                <c:pt idx="1072">
                  <c:v>All Others</c:v>
                </c:pt>
                <c:pt idx="1073">
                  <c:v>All Others</c:v>
                </c:pt>
                <c:pt idx="1074">
                  <c:v>All Others</c:v>
                </c:pt>
                <c:pt idx="1075">
                  <c:v>All Others</c:v>
                </c:pt>
                <c:pt idx="1076">
                  <c:v>Raguin</c:v>
                </c:pt>
                <c:pt idx="1077">
                  <c:v>All Others</c:v>
                </c:pt>
                <c:pt idx="1078">
                  <c:v>All Others</c:v>
                </c:pt>
                <c:pt idx="1079">
                  <c:v>All Others</c:v>
                </c:pt>
                <c:pt idx="1080">
                  <c:v>Raguin</c:v>
                </c:pt>
                <c:pt idx="1081">
                  <c:v>All Others</c:v>
                </c:pt>
                <c:pt idx="1082">
                  <c:v>All Others</c:v>
                </c:pt>
                <c:pt idx="1083">
                  <c:v>All Others</c:v>
                </c:pt>
                <c:pt idx="1084">
                  <c:v>All Others</c:v>
                </c:pt>
                <c:pt idx="1085">
                  <c:v>All Others</c:v>
                </c:pt>
                <c:pt idx="1086">
                  <c:v>All Others</c:v>
                </c:pt>
                <c:pt idx="1087">
                  <c:v>Lindahls Pr</c:v>
                </c:pt>
                <c:pt idx="1088">
                  <c:v>All Others</c:v>
                </c:pt>
                <c:pt idx="1089">
                  <c:v>All Others</c:v>
                </c:pt>
                <c:pt idx="1090">
                  <c:v>Raguin</c:v>
                </c:pt>
                <c:pt idx="1091">
                  <c:v>All Others</c:v>
                </c:pt>
                <c:pt idx="1092">
                  <c:v>All Others</c:v>
                </c:pt>
                <c:pt idx="1093">
                  <c:v>All Others</c:v>
                </c:pt>
                <c:pt idx="1094">
                  <c:v>All Others</c:v>
                </c:pt>
                <c:pt idx="1095">
                  <c:v>All Others</c:v>
                </c:pt>
                <c:pt idx="1096">
                  <c:v>All Others</c:v>
                </c:pt>
                <c:pt idx="1097">
                  <c:v>Pave D'Affi</c:v>
                </c:pt>
                <c:pt idx="1098">
                  <c:v>All Others</c:v>
                </c:pt>
                <c:pt idx="1099">
                  <c:v>All Others</c:v>
                </c:pt>
                <c:pt idx="1100">
                  <c:v>All Others</c:v>
                </c:pt>
                <c:pt idx="1101">
                  <c:v>All Others</c:v>
                </c:pt>
                <c:pt idx="1102">
                  <c:v>Limiano</c:v>
                </c:pt>
                <c:pt idx="1103">
                  <c:v>All Others</c:v>
                </c:pt>
                <c:pt idx="1104">
                  <c:v>Private Lab</c:v>
                </c:pt>
                <c:pt idx="1105">
                  <c:v>All Others</c:v>
                </c:pt>
                <c:pt idx="1106">
                  <c:v>Lactalis: A</c:v>
                </c:pt>
                <c:pt idx="1107">
                  <c:v>All Others</c:v>
                </c:pt>
                <c:pt idx="1108">
                  <c:v>All Others</c:v>
                </c:pt>
                <c:pt idx="1109">
                  <c:v>All Others</c:v>
                </c:pt>
                <c:pt idx="1110">
                  <c:v>Raguin</c:v>
                </c:pt>
                <c:pt idx="1111">
                  <c:v>All Others</c:v>
                </c:pt>
                <c:pt idx="1112">
                  <c:v>All Others</c:v>
                </c:pt>
                <c:pt idx="1113">
                  <c:v>All Others</c:v>
                </c:pt>
                <c:pt idx="1114">
                  <c:v>All Others</c:v>
                </c:pt>
                <c:pt idx="1115">
                  <c:v>All Others</c:v>
                </c:pt>
                <c:pt idx="1116">
                  <c:v>All Others</c:v>
                </c:pt>
                <c:pt idx="1117">
                  <c:v>All Others</c:v>
                </c:pt>
                <c:pt idx="1118">
                  <c:v>All Others</c:v>
                </c:pt>
                <c:pt idx="1119">
                  <c:v>All Others</c:v>
                </c:pt>
                <c:pt idx="1120">
                  <c:v>All Others</c:v>
                </c:pt>
                <c:pt idx="1121">
                  <c:v>All Others</c:v>
                </c:pt>
                <c:pt idx="1122">
                  <c:v>All Others</c:v>
                </c:pt>
                <c:pt idx="1123">
                  <c:v>Gillot</c:v>
                </c:pt>
                <c:pt idx="1124">
                  <c:v>All Others</c:v>
                </c:pt>
                <c:pt idx="1125">
                  <c:v>All Others</c:v>
                </c:pt>
                <c:pt idx="1126">
                  <c:v>All Others</c:v>
                </c:pt>
                <c:pt idx="1127">
                  <c:v>All Others</c:v>
                </c:pt>
                <c:pt idx="1128">
                  <c:v>Savencia: A</c:v>
                </c:pt>
                <c:pt idx="1129">
                  <c:v>All Others</c:v>
                </c:pt>
                <c:pt idx="1130">
                  <c:v>All Others</c:v>
                </c:pt>
                <c:pt idx="1131">
                  <c:v>All Others</c:v>
                </c:pt>
                <c:pt idx="1132">
                  <c:v>All Others</c:v>
                </c:pt>
                <c:pt idx="1133">
                  <c:v>All Others</c:v>
                </c:pt>
                <c:pt idx="1134">
                  <c:v>All Others</c:v>
                </c:pt>
                <c:pt idx="1135">
                  <c:v>All Others</c:v>
                </c:pt>
                <c:pt idx="1136">
                  <c:v>All Others</c:v>
                </c:pt>
                <c:pt idx="1137">
                  <c:v>All Others</c:v>
                </c:pt>
                <c:pt idx="1138">
                  <c:v>All Others</c:v>
                </c:pt>
                <c:pt idx="1139">
                  <c:v>All Others</c:v>
                </c:pt>
                <c:pt idx="1140">
                  <c:v>All Others</c:v>
                </c:pt>
                <c:pt idx="1141">
                  <c:v>All Others</c:v>
                </c:pt>
                <c:pt idx="1142">
                  <c:v>All Others</c:v>
                </c:pt>
                <c:pt idx="1143">
                  <c:v>All Others</c:v>
                </c:pt>
                <c:pt idx="1144">
                  <c:v>All Others</c:v>
                </c:pt>
                <c:pt idx="1145">
                  <c:v>All Others</c:v>
                </c:pt>
                <c:pt idx="1146">
                  <c:v>All Others</c:v>
                </c:pt>
                <c:pt idx="1147">
                  <c:v>All Others</c:v>
                </c:pt>
                <c:pt idx="1148">
                  <c:v>All Others</c:v>
                </c:pt>
                <c:pt idx="1149">
                  <c:v>Paysan Bret</c:v>
                </c:pt>
                <c:pt idx="1150">
                  <c:v>All Others</c:v>
                </c:pt>
                <c:pt idx="1151">
                  <c:v>All Others</c:v>
                </c:pt>
                <c:pt idx="1152">
                  <c:v>All Others</c:v>
                </c:pt>
                <c:pt idx="1153">
                  <c:v>All Others</c:v>
                </c:pt>
                <c:pt idx="1154">
                  <c:v>All Others</c:v>
                </c:pt>
                <c:pt idx="1155">
                  <c:v>All Others</c:v>
                </c:pt>
                <c:pt idx="1156">
                  <c:v>All Others</c:v>
                </c:pt>
                <c:pt idx="1157">
                  <c:v>All Others</c:v>
                </c:pt>
                <c:pt idx="1158">
                  <c:v>All Others</c:v>
                </c:pt>
                <c:pt idx="1159">
                  <c:v>All Others</c:v>
                </c:pt>
                <c:pt idx="1160">
                  <c:v>All Others</c:v>
                </c:pt>
                <c:pt idx="1161">
                  <c:v>All Others</c:v>
                </c:pt>
                <c:pt idx="1162">
                  <c:v>All Others</c:v>
                </c:pt>
                <c:pt idx="1163">
                  <c:v>All Others</c:v>
                </c:pt>
                <c:pt idx="1164">
                  <c:v>All Others</c:v>
                </c:pt>
                <c:pt idx="1165">
                  <c:v>All Others</c:v>
                </c:pt>
                <c:pt idx="1166">
                  <c:v>All Others</c:v>
                </c:pt>
                <c:pt idx="1167">
                  <c:v>All Others</c:v>
                </c:pt>
                <c:pt idx="1168">
                  <c:v>All Others</c:v>
                </c:pt>
                <c:pt idx="1169">
                  <c:v>All Others</c:v>
                </c:pt>
                <c:pt idx="1170">
                  <c:v>All Others</c:v>
                </c:pt>
                <c:pt idx="1171">
                  <c:v>All Others</c:v>
                </c:pt>
                <c:pt idx="1172">
                  <c:v>All Others</c:v>
                </c:pt>
                <c:pt idx="1173">
                  <c:v>Milleret</c:v>
                </c:pt>
                <c:pt idx="1174">
                  <c:v>All Others</c:v>
                </c:pt>
                <c:pt idx="1175">
                  <c:v>All Others</c:v>
                </c:pt>
                <c:pt idx="1176">
                  <c:v>All Others</c:v>
                </c:pt>
                <c:pt idx="1177">
                  <c:v>All Others</c:v>
                </c:pt>
                <c:pt idx="1178">
                  <c:v>La Table M</c:v>
                </c:pt>
                <c:pt idx="1179">
                  <c:v>All Others</c:v>
                </c:pt>
                <c:pt idx="1180">
                  <c:v>All Others</c:v>
                </c:pt>
                <c:pt idx="1181">
                  <c:v>Gillot</c:v>
                </c:pt>
                <c:pt idx="1182">
                  <c:v>All Others</c:v>
                </c:pt>
                <c:pt idx="1183">
                  <c:v>All Others</c:v>
                </c:pt>
                <c:pt idx="1184">
                  <c:v>All Others</c:v>
                </c:pt>
                <c:pt idx="1185">
                  <c:v>All Others</c:v>
                </c:pt>
                <c:pt idx="1186">
                  <c:v>All Others</c:v>
                </c:pt>
                <c:pt idx="1187">
                  <c:v>All Others</c:v>
                </c:pt>
                <c:pt idx="1188">
                  <c:v>All Others</c:v>
                </c:pt>
                <c:pt idx="1189">
                  <c:v>All Others</c:v>
                </c:pt>
                <c:pt idx="1190">
                  <c:v>All Others</c:v>
                </c:pt>
                <c:pt idx="1191">
                  <c:v>Savencia: A</c:v>
                </c:pt>
                <c:pt idx="1192">
                  <c:v>All Others</c:v>
                </c:pt>
                <c:pt idx="1193">
                  <c:v>All Others</c:v>
                </c:pt>
                <c:pt idx="1194">
                  <c:v>Baillon</c:v>
                </c:pt>
                <c:pt idx="1195">
                  <c:v>All Others</c:v>
                </c:pt>
                <c:pt idx="1196">
                  <c:v>All Others</c:v>
                </c:pt>
                <c:pt idx="1197">
                  <c:v>All Others</c:v>
                </c:pt>
                <c:pt idx="1198">
                  <c:v>All Others</c:v>
                </c:pt>
                <c:pt idx="1199">
                  <c:v>All Others</c:v>
                </c:pt>
                <c:pt idx="1200">
                  <c:v>All Others</c:v>
                </c:pt>
                <c:pt idx="1201">
                  <c:v>All Others</c:v>
                </c:pt>
                <c:pt idx="1202">
                  <c:v>All Others</c:v>
                </c:pt>
                <c:pt idx="1203">
                  <c:v>All Others</c:v>
                </c:pt>
                <c:pt idx="1204">
                  <c:v>All Others</c:v>
                </c:pt>
                <c:pt idx="1205">
                  <c:v>All Others</c:v>
                </c:pt>
                <c:pt idx="1206">
                  <c:v>All Others</c:v>
                </c:pt>
                <c:pt idx="1207">
                  <c:v>All Others</c:v>
                </c:pt>
                <c:pt idx="1208">
                  <c:v>All Others</c:v>
                </c:pt>
                <c:pt idx="1209">
                  <c:v>All Others</c:v>
                </c:pt>
                <c:pt idx="1210">
                  <c:v>All Others</c:v>
                </c:pt>
                <c:pt idx="1211">
                  <c:v>All Others</c:v>
                </c:pt>
                <c:pt idx="1212">
                  <c:v>All Others</c:v>
                </c:pt>
                <c:pt idx="1213">
                  <c:v>All Others</c:v>
                </c:pt>
                <c:pt idx="1214">
                  <c:v>All Others</c:v>
                </c:pt>
                <c:pt idx="1215">
                  <c:v>All Others</c:v>
                </c:pt>
                <c:pt idx="1216">
                  <c:v>All Others</c:v>
                </c:pt>
                <c:pt idx="1217">
                  <c:v>All Others</c:v>
                </c:pt>
                <c:pt idx="1218">
                  <c:v>All Others</c:v>
                </c:pt>
                <c:pt idx="1219">
                  <c:v>All Others</c:v>
                </c:pt>
                <c:pt idx="1220">
                  <c:v>All Others</c:v>
                </c:pt>
                <c:pt idx="1221">
                  <c:v>All Others</c:v>
                </c:pt>
                <c:pt idx="1222">
                  <c:v>All Others</c:v>
                </c:pt>
                <c:pt idx="1223">
                  <c:v>All Others</c:v>
                </c:pt>
                <c:pt idx="1224">
                  <c:v>All Others</c:v>
                </c:pt>
                <c:pt idx="1225">
                  <c:v>All Others</c:v>
                </c:pt>
                <c:pt idx="1226">
                  <c:v>All Others</c:v>
                </c:pt>
                <c:pt idx="1227">
                  <c:v>All Others</c:v>
                </c:pt>
                <c:pt idx="1228">
                  <c:v>All Others</c:v>
                </c:pt>
                <c:pt idx="1229">
                  <c:v>All Others</c:v>
                </c:pt>
                <c:pt idx="1230">
                  <c:v>All Others</c:v>
                </c:pt>
                <c:pt idx="1231">
                  <c:v>All Others</c:v>
                </c:pt>
                <c:pt idx="1232">
                  <c:v>All Others</c:v>
                </c:pt>
                <c:pt idx="1233">
                  <c:v>Pave D'Affi</c:v>
                </c:pt>
                <c:pt idx="1234">
                  <c:v>All Others</c:v>
                </c:pt>
                <c:pt idx="1235">
                  <c:v>Other Suppl</c:v>
                </c:pt>
                <c:pt idx="1236">
                  <c:v>All Others</c:v>
                </c:pt>
                <c:pt idx="1237">
                  <c:v>All Others</c:v>
                </c:pt>
                <c:pt idx="1238">
                  <c:v>All Others</c:v>
                </c:pt>
                <c:pt idx="1239">
                  <c:v>All Others</c:v>
                </c:pt>
                <c:pt idx="1240">
                  <c:v>All Others</c:v>
                </c:pt>
                <c:pt idx="1241">
                  <c:v>All Others</c:v>
                </c:pt>
                <c:pt idx="1242">
                  <c:v>All Others</c:v>
                </c:pt>
                <c:pt idx="1243">
                  <c:v>All Others</c:v>
                </c:pt>
                <c:pt idx="1244">
                  <c:v>All Others</c:v>
                </c:pt>
                <c:pt idx="1245">
                  <c:v>All Others</c:v>
                </c:pt>
                <c:pt idx="1246">
                  <c:v>Limiano</c:v>
                </c:pt>
                <c:pt idx="1247">
                  <c:v>All Others</c:v>
                </c:pt>
                <c:pt idx="1248">
                  <c:v>All Others</c:v>
                </c:pt>
                <c:pt idx="1249">
                  <c:v>All Others</c:v>
                </c:pt>
                <c:pt idx="1250">
                  <c:v>All Others</c:v>
                </c:pt>
                <c:pt idx="1251">
                  <c:v>All Others</c:v>
                </c:pt>
                <c:pt idx="1252">
                  <c:v>All Others</c:v>
                </c:pt>
                <c:pt idx="1253">
                  <c:v>All Others</c:v>
                </c:pt>
                <c:pt idx="1254">
                  <c:v>All Others</c:v>
                </c:pt>
                <c:pt idx="1255">
                  <c:v>All Others</c:v>
                </c:pt>
                <c:pt idx="1256">
                  <c:v>All Others</c:v>
                </c:pt>
                <c:pt idx="1257">
                  <c:v>Lactalis: A</c:v>
                </c:pt>
                <c:pt idx="1258">
                  <c:v>All Others</c:v>
                </c:pt>
                <c:pt idx="1259">
                  <c:v>All Others</c:v>
                </c:pt>
                <c:pt idx="1260">
                  <c:v>All Others</c:v>
                </c:pt>
                <c:pt idx="1261">
                  <c:v>All Others</c:v>
                </c:pt>
                <c:pt idx="1262">
                  <c:v>All Others</c:v>
                </c:pt>
                <c:pt idx="1263">
                  <c:v>All Others</c:v>
                </c:pt>
                <c:pt idx="1264">
                  <c:v>Lactalis: A</c:v>
                </c:pt>
                <c:pt idx="1265">
                  <c:v>Pochat</c:v>
                </c:pt>
                <c:pt idx="1266">
                  <c:v>All Others</c:v>
                </c:pt>
                <c:pt idx="1267">
                  <c:v>Pave D'Affi</c:v>
                </c:pt>
                <c:pt idx="1268">
                  <c:v>All Others</c:v>
                </c:pt>
                <c:pt idx="1269">
                  <c:v>All Others</c:v>
                </c:pt>
                <c:pt idx="1270">
                  <c:v>All Others</c:v>
                </c:pt>
                <c:pt idx="1271">
                  <c:v>All Others</c:v>
                </c:pt>
                <c:pt idx="1272">
                  <c:v>All Others</c:v>
                </c:pt>
                <c:pt idx="1273">
                  <c:v>All Others</c:v>
                </c:pt>
                <c:pt idx="1274">
                  <c:v>All Others</c:v>
                </c:pt>
                <c:pt idx="1275">
                  <c:v>All Others</c:v>
                </c:pt>
                <c:pt idx="1276">
                  <c:v>Other Suppl</c:v>
                </c:pt>
                <c:pt idx="1277">
                  <c:v>All Others</c:v>
                </c:pt>
                <c:pt idx="1278">
                  <c:v>All Others</c:v>
                </c:pt>
                <c:pt idx="1279">
                  <c:v>All Others</c:v>
                </c:pt>
                <c:pt idx="1280">
                  <c:v>All Others</c:v>
                </c:pt>
                <c:pt idx="1281">
                  <c:v>All Others</c:v>
                </c:pt>
                <c:pt idx="1282">
                  <c:v>All Others</c:v>
                </c:pt>
                <c:pt idx="1283">
                  <c:v>All Others</c:v>
                </c:pt>
                <c:pt idx="1284">
                  <c:v>All Others</c:v>
                </c:pt>
                <c:pt idx="1285">
                  <c:v>All Others</c:v>
                </c:pt>
                <c:pt idx="1286">
                  <c:v>All Others</c:v>
                </c:pt>
                <c:pt idx="1287">
                  <c:v>All Others</c:v>
                </c:pt>
                <c:pt idx="1288">
                  <c:v>Pochat</c:v>
                </c:pt>
                <c:pt idx="1289">
                  <c:v>All Others</c:v>
                </c:pt>
                <c:pt idx="1290">
                  <c:v>All Others</c:v>
                </c:pt>
                <c:pt idx="1291">
                  <c:v>All Others</c:v>
                </c:pt>
                <c:pt idx="1292">
                  <c:v>All Others</c:v>
                </c:pt>
                <c:pt idx="1293">
                  <c:v>All Others</c:v>
                </c:pt>
                <c:pt idx="1294">
                  <c:v>All Others</c:v>
                </c:pt>
                <c:pt idx="1295">
                  <c:v>All Others</c:v>
                </c:pt>
                <c:pt idx="1296">
                  <c:v>Other Suppl</c:v>
                </c:pt>
                <c:pt idx="1297">
                  <c:v>All Others</c:v>
                </c:pt>
                <c:pt idx="1298">
                  <c:v>All Others</c:v>
                </c:pt>
                <c:pt idx="1299">
                  <c:v>All Others</c:v>
                </c:pt>
                <c:pt idx="1300">
                  <c:v>All Others</c:v>
                </c:pt>
                <c:pt idx="1301">
                  <c:v>All Others</c:v>
                </c:pt>
                <c:pt idx="1302">
                  <c:v>All Others</c:v>
                </c:pt>
                <c:pt idx="1303">
                  <c:v>All Others</c:v>
                </c:pt>
                <c:pt idx="1304">
                  <c:v>All Others</c:v>
                </c:pt>
                <c:pt idx="1305">
                  <c:v>All Others</c:v>
                </c:pt>
                <c:pt idx="1306">
                  <c:v>All Others</c:v>
                </c:pt>
                <c:pt idx="1307">
                  <c:v>All Others</c:v>
                </c:pt>
                <c:pt idx="1308">
                  <c:v>All Others</c:v>
                </c:pt>
                <c:pt idx="1309">
                  <c:v>All Others</c:v>
                </c:pt>
                <c:pt idx="1310">
                  <c:v>All Others</c:v>
                </c:pt>
                <c:pt idx="1311">
                  <c:v>All Others</c:v>
                </c:pt>
                <c:pt idx="1312">
                  <c:v>All Others</c:v>
                </c:pt>
                <c:pt idx="1313">
                  <c:v>All Others</c:v>
                </c:pt>
                <c:pt idx="1314">
                  <c:v>All Others</c:v>
                </c:pt>
                <c:pt idx="1315">
                  <c:v>All Others</c:v>
                </c:pt>
                <c:pt idx="1316">
                  <c:v>All Others</c:v>
                </c:pt>
                <c:pt idx="1317">
                  <c:v>Etoile Du V</c:v>
                </c:pt>
                <c:pt idx="1318">
                  <c:v>All Others</c:v>
                </c:pt>
                <c:pt idx="1319">
                  <c:v>All Others</c:v>
                </c:pt>
                <c:pt idx="1320">
                  <c:v>All Others</c:v>
                </c:pt>
                <c:pt idx="1321">
                  <c:v>All Others</c:v>
                </c:pt>
                <c:pt idx="1322">
                  <c:v>All Others</c:v>
                </c:pt>
                <c:pt idx="1323">
                  <c:v>All Others</c:v>
                </c:pt>
                <c:pt idx="1324">
                  <c:v>All Others</c:v>
                </c:pt>
                <c:pt idx="1325">
                  <c:v>All Others</c:v>
                </c:pt>
                <c:pt idx="1326">
                  <c:v>All Others</c:v>
                </c:pt>
                <c:pt idx="1327">
                  <c:v>All Others</c:v>
                </c:pt>
                <c:pt idx="1328">
                  <c:v>All Others</c:v>
                </c:pt>
                <c:pt idx="1329">
                  <c:v>All Others</c:v>
                </c:pt>
                <c:pt idx="1330">
                  <c:v>All Others</c:v>
                </c:pt>
                <c:pt idx="1331">
                  <c:v>All Others</c:v>
                </c:pt>
                <c:pt idx="1332">
                  <c:v>Lincet</c:v>
                </c:pt>
                <c:pt idx="1333">
                  <c:v>Etoile Du V</c:v>
                </c:pt>
                <c:pt idx="1334">
                  <c:v>All Others</c:v>
                </c:pt>
                <c:pt idx="1335">
                  <c:v>All Others</c:v>
                </c:pt>
                <c:pt idx="1336">
                  <c:v>All Others</c:v>
                </c:pt>
                <c:pt idx="1337">
                  <c:v>All Others</c:v>
                </c:pt>
                <c:pt idx="1338">
                  <c:v>All Others</c:v>
                </c:pt>
                <c:pt idx="1339">
                  <c:v>All Others</c:v>
                </c:pt>
                <c:pt idx="1340">
                  <c:v>All Others</c:v>
                </c:pt>
                <c:pt idx="1341">
                  <c:v>All Others</c:v>
                </c:pt>
                <c:pt idx="1342">
                  <c:v>All Others</c:v>
                </c:pt>
                <c:pt idx="1343">
                  <c:v>Dodin</c:v>
                </c:pt>
                <c:pt idx="1344">
                  <c:v>Other Suppl</c:v>
                </c:pt>
                <c:pt idx="1345">
                  <c:v>All Others</c:v>
                </c:pt>
                <c:pt idx="1346">
                  <c:v>All Others</c:v>
                </c:pt>
                <c:pt idx="1347">
                  <c:v>All Others</c:v>
                </c:pt>
                <c:pt idx="1348">
                  <c:v>All Others</c:v>
                </c:pt>
                <c:pt idx="1349">
                  <c:v>All Others</c:v>
                </c:pt>
                <c:pt idx="1350">
                  <c:v>All Others</c:v>
                </c:pt>
                <c:pt idx="1351">
                  <c:v>All Others</c:v>
                </c:pt>
                <c:pt idx="1352">
                  <c:v>All Others</c:v>
                </c:pt>
                <c:pt idx="1353">
                  <c:v>All Others</c:v>
                </c:pt>
                <c:pt idx="1354">
                  <c:v>Private Lab</c:v>
                </c:pt>
                <c:pt idx="1355">
                  <c:v>All Others</c:v>
                </c:pt>
                <c:pt idx="1356">
                  <c:v>All Others</c:v>
                </c:pt>
                <c:pt idx="1357">
                  <c:v>All Others</c:v>
                </c:pt>
                <c:pt idx="1358">
                  <c:v>All Others</c:v>
                </c:pt>
                <c:pt idx="1359">
                  <c:v>Gillot</c:v>
                </c:pt>
                <c:pt idx="1360">
                  <c:v>All Others</c:v>
                </c:pt>
                <c:pt idx="1361">
                  <c:v>All Others</c:v>
                </c:pt>
                <c:pt idx="1362">
                  <c:v>All Others</c:v>
                </c:pt>
                <c:pt idx="1363">
                  <c:v>All Others</c:v>
                </c:pt>
                <c:pt idx="1364">
                  <c:v>Other Suppl</c:v>
                </c:pt>
                <c:pt idx="1365">
                  <c:v>All Others</c:v>
                </c:pt>
                <c:pt idx="1366">
                  <c:v>Other Suppl</c:v>
                </c:pt>
                <c:pt idx="1367">
                  <c:v>All Others</c:v>
                </c:pt>
                <c:pt idx="1368">
                  <c:v>All Others</c:v>
                </c:pt>
                <c:pt idx="1369">
                  <c:v>All Others</c:v>
                </c:pt>
                <c:pt idx="1370">
                  <c:v>Laiteries H</c:v>
                </c:pt>
                <c:pt idx="1371">
                  <c:v>All Others</c:v>
                </c:pt>
                <c:pt idx="1372">
                  <c:v>Private Lab</c:v>
                </c:pt>
                <c:pt idx="1373">
                  <c:v>All Others</c:v>
                </c:pt>
                <c:pt idx="1374">
                  <c:v>All Others</c:v>
                </c:pt>
                <c:pt idx="1375">
                  <c:v>All Others</c:v>
                </c:pt>
                <c:pt idx="1376">
                  <c:v>All Others</c:v>
                </c:pt>
                <c:pt idx="1377">
                  <c:v>Etoile Du V</c:v>
                </c:pt>
                <c:pt idx="1378">
                  <c:v>Pave D'Affi</c:v>
                </c:pt>
                <c:pt idx="1379">
                  <c:v>Pochat</c:v>
                </c:pt>
                <c:pt idx="1380">
                  <c:v>Milleret: A</c:v>
                </c:pt>
                <c:pt idx="1381">
                  <c:v>All Others</c:v>
                </c:pt>
                <c:pt idx="1382">
                  <c:v>All Others</c:v>
                </c:pt>
                <c:pt idx="1383">
                  <c:v>All Others</c:v>
                </c:pt>
                <c:pt idx="1384">
                  <c:v>Private Lab</c:v>
                </c:pt>
                <c:pt idx="1385">
                  <c:v>All Others</c:v>
                </c:pt>
                <c:pt idx="1386">
                  <c:v>Lactalis: A</c:v>
                </c:pt>
                <c:pt idx="1387">
                  <c:v>All Others</c:v>
                </c:pt>
                <c:pt idx="1388">
                  <c:v>Private Lab</c:v>
                </c:pt>
                <c:pt idx="1389">
                  <c:v>All Others</c:v>
                </c:pt>
                <c:pt idx="1390">
                  <c:v>All Others</c:v>
                </c:pt>
                <c:pt idx="1391">
                  <c:v>All Others</c:v>
                </c:pt>
                <c:pt idx="1392">
                  <c:v>All Others</c:v>
                </c:pt>
                <c:pt idx="1393">
                  <c:v>All Others</c:v>
                </c:pt>
                <c:pt idx="1394">
                  <c:v>Other Suppl</c:v>
                </c:pt>
                <c:pt idx="1395">
                  <c:v>All Others</c:v>
                </c:pt>
                <c:pt idx="1396">
                  <c:v>Private Lab</c:v>
                </c:pt>
                <c:pt idx="1397">
                  <c:v>All Others</c:v>
                </c:pt>
                <c:pt idx="1398">
                  <c:v>All Others</c:v>
                </c:pt>
                <c:pt idx="1399">
                  <c:v>All Others</c:v>
                </c:pt>
                <c:pt idx="1400">
                  <c:v>All Others</c:v>
                </c:pt>
                <c:pt idx="1401">
                  <c:v>Richesmonts</c:v>
                </c:pt>
                <c:pt idx="1402">
                  <c:v>All Others</c:v>
                </c:pt>
                <c:pt idx="1403">
                  <c:v>Private Lab</c:v>
                </c:pt>
                <c:pt idx="1404">
                  <c:v>All Others</c:v>
                </c:pt>
                <c:pt idx="1405">
                  <c:v>All Others</c:v>
                </c:pt>
                <c:pt idx="1406">
                  <c:v>All Others</c:v>
                </c:pt>
                <c:pt idx="1407">
                  <c:v>All Others</c:v>
                </c:pt>
                <c:pt idx="1408">
                  <c:v>All Others</c:v>
                </c:pt>
                <c:pt idx="1409">
                  <c:v>All Others</c:v>
                </c:pt>
                <c:pt idx="1410">
                  <c:v>All Others</c:v>
                </c:pt>
                <c:pt idx="1411">
                  <c:v>All Others</c:v>
                </c:pt>
                <c:pt idx="1412">
                  <c:v>All Others</c:v>
                </c:pt>
                <c:pt idx="1413">
                  <c:v>All Others</c:v>
                </c:pt>
                <c:pt idx="1414">
                  <c:v>All Others</c:v>
                </c:pt>
                <c:pt idx="1415">
                  <c:v>All Others</c:v>
                </c:pt>
                <c:pt idx="1416">
                  <c:v>La Vache Qu</c:v>
                </c:pt>
                <c:pt idx="1417">
                  <c:v>Private Lab</c:v>
                </c:pt>
                <c:pt idx="1418">
                  <c:v>All Others</c:v>
                </c:pt>
                <c:pt idx="1419">
                  <c:v>All Others</c:v>
                </c:pt>
                <c:pt idx="1420">
                  <c:v>All Others</c:v>
                </c:pt>
                <c:pt idx="1421">
                  <c:v>All Others</c:v>
                </c:pt>
                <c:pt idx="1422">
                  <c:v>All Others</c:v>
                </c:pt>
                <c:pt idx="1423">
                  <c:v>Private Lab</c:v>
                </c:pt>
                <c:pt idx="1424">
                  <c:v>All Others</c:v>
                </c:pt>
                <c:pt idx="1425">
                  <c:v>All Others</c:v>
                </c:pt>
                <c:pt idx="1426">
                  <c:v>Private Lab</c:v>
                </c:pt>
                <c:pt idx="1427">
                  <c:v>All Others</c:v>
                </c:pt>
                <c:pt idx="1428">
                  <c:v>All Others</c:v>
                </c:pt>
                <c:pt idx="1429">
                  <c:v>All Others</c:v>
                </c:pt>
                <c:pt idx="1430">
                  <c:v>All Others</c:v>
                </c:pt>
                <c:pt idx="1431">
                  <c:v>All Others</c:v>
                </c:pt>
                <c:pt idx="1432">
                  <c:v>All Others</c:v>
                </c:pt>
                <c:pt idx="1433">
                  <c:v>Private Lab</c:v>
                </c:pt>
                <c:pt idx="1434">
                  <c:v>All Others</c:v>
                </c:pt>
                <c:pt idx="1435">
                  <c:v>Private Lab</c:v>
                </c:pt>
                <c:pt idx="1436">
                  <c:v>Societe</c:v>
                </c:pt>
                <c:pt idx="1437">
                  <c:v>All Others</c:v>
                </c:pt>
                <c:pt idx="1438">
                  <c:v>All Others</c:v>
                </c:pt>
                <c:pt idx="1439">
                  <c:v>All Others</c:v>
                </c:pt>
                <c:pt idx="1440">
                  <c:v>All Others</c:v>
                </c:pt>
                <c:pt idx="1441">
                  <c:v>All Others</c:v>
                </c:pt>
                <c:pt idx="1442">
                  <c:v>All Others</c:v>
                </c:pt>
                <c:pt idx="1443">
                  <c:v>All Others</c:v>
                </c:pt>
                <c:pt idx="1444">
                  <c:v>All Others</c:v>
                </c:pt>
                <c:pt idx="1445">
                  <c:v>All Others</c:v>
                </c:pt>
                <c:pt idx="1446">
                  <c:v>All Others</c:v>
                </c:pt>
                <c:pt idx="1447">
                  <c:v>Les Mousque</c:v>
                </c:pt>
                <c:pt idx="1448">
                  <c:v>All Others</c:v>
                </c:pt>
                <c:pt idx="1449">
                  <c:v>All Others</c:v>
                </c:pt>
                <c:pt idx="1450">
                  <c:v>All Others</c:v>
                </c:pt>
                <c:pt idx="1451">
                  <c:v>All Others</c:v>
                </c:pt>
                <c:pt idx="1452">
                  <c:v>All Others</c:v>
                </c:pt>
                <c:pt idx="1453">
                  <c:v>All Others</c:v>
                </c:pt>
                <c:pt idx="1454">
                  <c:v>All Others</c:v>
                </c:pt>
                <c:pt idx="1455">
                  <c:v>All Others</c:v>
                </c:pt>
                <c:pt idx="1456">
                  <c:v>All Others</c:v>
                </c:pt>
                <c:pt idx="1457">
                  <c:v>Private Lab</c:v>
                </c:pt>
                <c:pt idx="1458">
                  <c:v>All Others</c:v>
                </c:pt>
                <c:pt idx="1459">
                  <c:v>All Others</c:v>
                </c:pt>
                <c:pt idx="1460">
                  <c:v>All Others</c:v>
                </c:pt>
                <c:pt idx="1461">
                  <c:v>All Others</c:v>
                </c:pt>
                <c:pt idx="1462">
                  <c:v>All Others</c:v>
                </c:pt>
                <c:pt idx="1463">
                  <c:v>All Others</c:v>
                </c:pt>
                <c:pt idx="1464">
                  <c:v>All Others</c:v>
                </c:pt>
                <c:pt idx="1465">
                  <c:v>All Others</c:v>
                </c:pt>
                <c:pt idx="1466">
                  <c:v>All Others</c:v>
                </c:pt>
                <c:pt idx="1467">
                  <c:v>Private Lab</c:v>
                </c:pt>
                <c:pt idx="1468">
                  <c:v>All Others</c:v>
                </c:pt>
                <c:pt idx="1469">
                  <c:v>Lactalis: A</c:v>
                </c:pt>
                <c:pt idx="1470">
                  <c:v>Private Lab</c:v>
                </c:pt>
                <c:pt idx="1471">
                  <c:v>All Others</c:v>
                </c:pt>
                <c:pt idx="1472">
                  <c:v>Private Lab</c:v>
                </c:pt>
                <c:pt idx="1473">
                  <c:v>Etoile Du V</c:v>
                </c:pt>
                <c:pt idx="1474">
                  <c:v>All Others</c:v>
                </c:pt>
                <c:pt idx="1475">
                  <c:v>All Others</c:v>
                </c:pt>
                <c:pt idx="1476">
                  <c:v>All Others</c:v>
                </c:pt>
                <c:pt idx="1477">
                  <c:v>All Others</c:v>
                </c:pt>
                <c:pt idx="1478">
                  <c:v>Gillot</c:v>
                </c:pt>
                <c:pt idx="1479">
                  <c:v>Les Mousque</c:v>
                </c:pt>
                <c:pt idx="1480">
                  <c:v>All Others</c:v>
                </c:pt>
                <c:pt idx="1481">
                  <c:v>Lactalis: A</c:v>
                </c:pt>
                <c:pt idx="1482">
                  <c:v>All Others</c:v>
                </c:pt>
                <c:pt idx="1483">
                  <c:v>All Others</c:v>
                </c:pt>
                <c:pt idx="1484">
                  <c:v>Private Lab</c:v>
                </c:pt>
                <c:pt idx="1485">
                  <c:v>All Others</c:v>
                </c:pt>
                <c:pt idx="1486">
                  <c:v>All Others</c:v>
                </c:pt>
                <c:pt idx="1487">
                  <c:v>All Others</c:v>
                </c:pt>
                <c:pt idx="1488">
                  <c:v>Lactalis: A</c:v>
                </c:pt>
                <c:pt idx="1489">
                  <c:v>All Others</c:v>
                </c:pt>
                <c:pt idx="1490">
                  <c:v>O'Tapas Ape</c:v>
                </c:pt>
                <c:pt idx="1491">
                  <c:v>Leerdammer</c:v>
                </c:pt>
                <c:pt idx="1492">
                  <c:v>Lactalis: A</c:v>
                </c:pt>
                <c:pt idx="1493">
                  <c:v>All Others</c:v>
                </c:pt>
                <c:pt idx="1494">
                  <c:v>Private Lab</c:v>
                </c:pt>
                <c:pt idx="1495">
                  <c:v>Private Lab</c:v>
                </c:pt>
                <c:pt idx="1496">
                  <c:v>Gillot</c:v>
                </c:pt>
                <c:pt idx="1497">
                  <c:v>Lactalis: A</c:v>
                </c:pt>
                <c:pt idx="1498">
                  <c:v>Apericube</c:v>
                </c:pt>
                <c:pt idx="1499">
                  <c:v>All Others</c:v>
                </c:pt>
                <c:pt idx="1500">
                  <c:v>All Others</c:v>
                </c:pt>
                <c:pt idx="1501">
                  <c:v>Private Lab</c:v>
                </c:pt>
                <c:pt idx="1502">
                  <c:v>Private Lab</c:v>
                </c:pt>
                <c:pt idx="1503">
                  <c:v>All Others</c:v>
                </c:pt>
                <c:pt idx="1504">
                  <c:v>All Others</c:v>
                </c:pt>
                <c:pt idx="1505">
                  <c:v>All Others</c:v>
                </c:pt>
                <c:pt idx="1506">
                  <c:v>All Others</c:v>
                </c:pt>
                <c:pt idx="1507">
                  <c:v>Private Lab</c:v>
                </c:pt>
                <c:pt idx="1508">
                  <c:v>President</c:v>
                </c:pt>
                <c:pt idx="1509">
                  <c:v>Private Lab</c:v>
                </c:pt>
                <c:pt idx="1510">
                  <c:v>All Others</c:v>
                </c:pt>
                <c:pt idx="1511">
                  <c:v>Private Lab</c:v>
                </c:pt>
                <c:pt idx="1512">
                  <c:v>Private Lab</c:v>
                </c:pt>
                <c:pt idx="1513">
                  <c:v>Les Mousque</c:v>
                </c:pt>
                <c:pt idx="1514">
                  <c:v>All Others</c:v>
                </c:pt>
                <c:pt idx="1515">
                  <c:v>All Others</c:v>
                </c:pt>
              </c:strCache>
            </c:strRef>
          </c:cat>
          <c:val>
            <c:numRef>
              <c:f>Sheet1!$B$2:$B$1517</c:f>
              <c:numCache>
                <c:formatCode>General</c:formatCode>
                <c:ptCount val="1516"/>
                <c:pt idx="0">
                  <c:v>1</c:v>
                </c:pt>
                <c:pt idx="1">
                  <c:v>1</c:v>
                </c:pt>
                <c:pt idx="2">
                  <c:v>0.99</c:v>
                </c:pt>
                <c:pt idx="3">
                  <c:v>1</c:v>
                </c:pt>
                <c:pt idx="4">
                  <c:v>1</c:v>
                </c:pt>
                <c:pt idx="5">
                  <c:v>1</c:v>
                </c:pt>
                <c:pt idx="6">
                  <c:v>0.99</c:v>
                </c:pt>
                <c:pt idx="7">
                  <c:v>0.99</c:v>
                </c:pt>
                <c:pt idx="8">
                  <c:v>1</c:v>
                </c:pt>
                <c:pt idx="9">
                  <c:v>1</c:v>
                </c:pt>
                <c:pt idx="10">
                  <c:v>1</c:v>
                </c:pt>
                <c:pt idx="11">
                  <c:v>1</c:v>
                </c:pt>
                <c:pt idx="12">
                  <c:v>1</c:v>
                </c:pt>
                <c:pt idx="13">
                  <c:v>0.99</c:v>
                </c:pt>
                <c:pt idx="14">
                  <c:v>0.86</c:v>
                </c:pt>
                <c:pt idx="15">
                  <c:v>1</c:v>
                </c:pt>
                <c:pt idx="16">
                  <c:v>1</c:v>
                </c:pt>
                <c:pt idx="17">
                  <c:v>1</c:v>
                </c:pt>
                <c:pt idx="18">
                  <c:v>1</c:v>
                </c:pt>
                <c:pt idx="19">
                  <c:v>1</c:v>
                </c:pt>
                <c:pt idx="20">
                  <c:v>1</c:v>
                </c:pt>
                <c:pt idx="21">
                  <c:v>1</c:v>
                </c:pt>
                <c:pt idx="22">
                  <c:v>1</c:v>
                </c:pt>
                <c:pt idx="23">
                  <c:v>0.99</c:v>
                </c:pt>
                <c:pt idx="24">
                  <c:v>1</c:v>
                </c:pt>
                <c:pt idx="25">
                  <c:v>0.99</c:v>
                </c:pt>
                <c:pt idx="26">
                  <c:v>0.99</c:v>
                </c:pt>
                <c:pt idx="27">
                  <c:v>1</c:v>
                </c:pt>
                <c:pt idx="28">
                  <c:v>1</c:v>
                </c:pt>
                <c:pt idx="29">
                  <c:v>0.99</c:v>
                </c:pt>
                <c:pt idx="30">
                  <c:v>1</c:v>
                </c:pt>
                <c:pt idx="31">
                  <c:v>1</c:v>
                </c:pt>
                <c:pt idx="32">
                  <c:v>1</c:v>
                </c:pt>
                <c:pt idx="33">
                  <c:v>1</c:v>
                </c:pt>
                <c:pt idx="34">
                  <c:v>0.99</c:v>
                </c:pt>
                <c:pt idx="35">
                  <c:v>0.99</c:v>
                </c:pt>
                <c:pt idx="36">
                  <c:v>1</c:v>
                </c:pt>
                <c:pt idx="37">
                  <c:v>1</c:v>
                </c:pt>
                <c:pt idx="38">
                  <c:v>1</c:v>
                </c:pt>
                <c:pt idx="39">
                  <c:v>1</c:v>
                </c:pt>
                <c:pt idx="40">
                  <c:v>1</c:v>
                </c:pt>
                <c:pt idx="41">
                  <c:v>1</c:v>
                </c:pt>
                <c:pt idx="42">
                  <c:v>1</c:v>
                </c:pt>
                <c:pt idx="43">
                  <c:v>1</c:v>
                </c:pt>
                <c:pt idx="44">
                  <c:v>0.99</c:v>
                </c:pt>
                <c:pt idx="45">
                  <c:v>1</c:v>
                </c:pt>
                <c:pt idx="46">
                  <c:v>1</c:v>
                </c:pt>
                <c:pt idx="47">
                  <c:v>1</c:v>
                </c:pt>
                <c:pt idx="48">
                  <c:v>1</c:v>
                </c:pt>
                <c:pt idx="49">
                  <c:v>1</c:v>
                </c:pt>
                <c:pt idx="50">
                  <c:v>1</c:v>
                </c:pt>
                <c:pt idx="51">
                  <c:v>1</c:v>
                </c:pt>
                <c:pt idx="52">
                  <c:v>1</c:v>
                </c:pt>
                <c:pt idx="53">
                  <c:v>0.99</c:v>
                </c:pt>
                <c:pt idx="54">
                  <c:v>0.93</c:v>
                </c:pt>
                <c:pt idx="55">
                  <c:v>1</c:v>
                </c:pt>
                <c:pt idx="56">
                  <c:v>1</c:v>
                </c:pt>
                <c:pt idx="57">
                  <c:v>1</c:v>
                </c:pt>
                <c:pt idx="58">
                  <c:v>1</c:v>
                </c:pt>
                <c:pt idx="59">
                  <c:v>1</c:v>
                </c:pt>
                <c:pt idx="60">
                  <c:v>1</c:v>
                </c:pt>
                <c:pt idx="61">
                  <c:v>0.99</c:v>
                </c:pt>
                <c:pt idx="62">
                  <c:v>1</c:v>
                </c:pt>
                <c:pt idx="63">
                  <c:v>1</c:v>
                </c:pt>
                <c:pt idx="64">
                  <c:v>1</c:v>
                </c:pt>
                <c:pt idx="65">
                  <c:v>1</c:v>
                </c:pt>
                <c:pt idx="66">
                  <c:v>0.99</c:v>
                </c:pt>
                <c:pt idx="67">
                  <c:v>1</c:v>
                </c:pt>
                <c:pt idx="68">
                  <c:v>1</c:v>
                </c:pt>
                <c:pt idx="69">
                  <c:v>1</c:v>
                </c:pt>
                <c:pt idx="70">
                  <c:v>1</c:v>
                </c:pt>
                <c:pt idx="71">
                  <c:v>1</c:v>
                </c:pt>
                <c:pt idx="72">
                  <c:v>0.99</c:v>
                </c:pt>
                <c:pt idx="73">
                  <c:v>0.98</c:v>
                </c:pt>
                <c:pt idx="74">
                  <c:v>1</c:v>
                </c:pt>
                <c:pt idx="75">
                  <c:v>0.99</c:v>
                </c:pt>
                <c:pt idx="76">
                  <c:v>1</c:v>
                </c:pt>
                <c:pt idx="77">
                  <c:v>0.99</c:v>
                </c:pt>
                <c:pt idx="78">
                  <c:v>1</c:v>
                </c:pt>
                <c:pt idx="79">
                  <c:v>0.98</c:v>
                </c:pt>
                <c:pt idx="80">
                  <c:v>1</c:v>
                </c:pt>
                <c:pt idx="81">
                  <c:v>1</c:v>
                </c:pt>
                <c:pt idx="82">
                  <c:v>1</c:v>
                </c:pt>
                <c:pt idx="83">
                  <c:v>1</c:v>
                </c:pt>
                <c:pt idx="84">
                  <c:v>1</c:v>
                </c:pt>
                <c:pt idx="85">
                  <c:v>1</c:v>
                </c:pt>
                <c:pt idx="86">
                  <c:v>0.99</c:v>
                </c:pt>
                <c:pt idx="87">
                  <c:v>0.99</c:v>
                </c:pt>
                <c:pt idx="88">
                  <c:v>0.99</c:v>
                </c:pt>
                <c:pt idx="89">
                  <c:v>0.99</c:v>
                </c:pt>
                <c:pt idx="90">
                  <c:v>0.99</c:v>
                </c:pt>
                <c:pt idx="91">
                  <c:v>0.99</c:v>
                </c:pt>
                <c:pt idx="92">
                  <c:v>0.99</c:v>
                </c:pt>
                <c:pt idx="93">
                  <c:v>1</c:v>
                </c:pt>
                <c:pt idx="94">
                  <c:v>0.99</c:v>
                </c:pt>
                <c:pt idx="95">
                  <c:v>0.98</c:v>
                </c:pt>
                <c:pt idx="96">
                  <c:v>0.95</c:v>
                </c:pt>
                <c:pt idx="97">
                  <c:v>1</c:v>
                </c:pt>
                <c:pt idx="98">
                  <c:v>0.99</c:v>
                </c:pt>
                <c:pt idx="99">
                  <c:v>0.99</c:v>
                </c:pt>
                <c:pt idx="100">
                  <c:v>1</c:v>
                </c:pt>
                <c:pt idx="101">
                  <c:v>0.99</c:v>
                </c:pt>
                <c:pt idx="102">
                  <c:v>0.99</c:v>
                </c:pt>
                <c:pt idx="103">
                  <c:v>1</c:v>
                </c:pt>
                <c:pt idx="104">
                  <c:v>0.97</c:v>
                </c:pt>
                <c:pt idx="105">
                  <c:v>1</c:v>
                </c:pt>
                <c:pt idx="106">
                  <c:v>0.99</c:v>
                </c:pt>
                <c:pt idx="107">
                  <c:v>1</c:v>
                </c:pt>
                <c:pt idx="108">
                  <c:v>1</c:v>
                </c:pt>
                <c:pt idx="109">
                  <c:v>1</c:v>
                </c:pt>
                <c:pt idx="110">
                  <c:v>0.99</c:v>
                </c:pt>
                <c:pt idx="111">
                  <c:v>1</c:v>
                </c:pt>
                <c:pt idx="112">
                  <c:v>0.97</c:v>
                </c:pt>
                <c:pt idx="113">
                  <c:v>0.99</c:v>
                </c:pt>
                <c:pt idx="114">
                  <c:v>1</c:v>
                </c:pt>
                <c:pt idx="115">
                  <c:v>1</c:v>
                </c:pt>
                <c:pt idx="116">
                  <c:v>0.99</c:v>
                </c:pt>
                <c:pt idx="117">
                  <c:v>1</c:v>
                </c:pt>
                <c:pt idx="118">
                  <c:v>1</c:v>
                </c:pt>
                <c:pt idx="119">
                  <c:v>0.99</c:v>
                </c:pt>
                <c:pt idx="120">
                  <c:v>1</c:v>
                </c:pt>
                <c:pt idx="121">
                  <c:v>0.96</c:v>
                </c:pt>
                <c:pt idx="122">
                  <c:v>1</c:v>
                </c:pt>
                <c:pt idx="123">
                  <c:v>1</c:v>
                </c:pt>
                <c:pt idx="124">
                  <c:v>1</c:v>
                </c:pt>
                <c:pt idx="125">
                  <c:v>0.78</c:v>
                </c:pt>
                <c:pt idx="126">
                  <c:v>1</c:v>
                </c:pt>
                <c:pt idx="127">
                  <c:v>0.99</c:v>
                </c:pt>
                <c:pt idx="128">
                  <c:v>0.96</c:v>
                </c:pt>
                <c:pt idx="129">
                  <c:v>1</c:v>
                </c:pt>
                <c:pt idx="130">
                  <c:v>1</c:v>
                </c:pt>
                <c:pt idx="131">
                  <c:v>0.9</c:v>
                </c:pt>
                <c:pt idx="132">
                  <c:v>0.98</c:v>
                </c:pt>
                <c:pt idx="133">
                  <c:v>0.99</c:v>
                </c:pt>
                <c:pt idx="134">
                  <c:v>0.99</c:v>
                </c:pt>
                <c:pt idx="135">
                  <c:v>0.99</c:v>
                </c:pt>
                <c:pt idx="136">
                  <c:v>0.98</c:v>
                </c:pt>
                <c:pt idx="137">
                  <c:v>1</c:v>
                </c:pt>
                <c:pt idx="138">
                  <c:v>1</c:v>
                </c:pt>
                <c:pt idx="139">
                  <c:v>1</c:v>
                </c:pt>
                <c:pt idx="140">
                  <c:v>0.99</c:v>
                </c:pt>
                <c:pt idx="141">
                  <c:v>0.99</c:v>
                </c:pt>
                <c:pt idx="142">
                  <c:v>0.99</c:v>
                </c:pt>
                <c:pt idx="143">
                  <c:v>1</c:v>
                </c:pt>
                <c:pt idx="144">
                  <c:v>1</c:v>
                </c:pt>
                <c:pt idx="145">
                  <c:v>0.98</c:v>
                </c:pt>
                <c:pt idx="146">
                  <c:v>1</c:v>
                </c:pt>
                <c:pt idx="147">
                  <c:v>1</c:v>
                </c:pt>
                <c:pt idx="148">
                  <c:v>1</c:v>
                </c:pt>
                <c:pt idx="149">
                  <c:v>1</c:v>
                </c:pt>
                <c:pt idx="150">
                  <c:v>0.99</c:v>
                </c:pt>
                <c:pt idx="151">
                  <c:v>1</c:v>
                </c:pt>
                <c:pt idx="152">
                  <c:v>0.99</c:v>
                </c:pt>
                <c:pt idx="153">
                  <c:v>0.97</c:v>
                </c:pt>
                <c:pt idx="154">
                  <c:v>0.98</c:v>
                </c:pt>
                <c:pt idx="155">
                  <c:v>0.98</c:v>
                </c:pt>
                <c:pt idx="156">
                  <c:v>0.98</c:v>
                </c:pt>
                <c:pt idx="157">
                  <c:v>0.98</c:v>
                </c:pt>
                <c:pt idx="158">
                  <c:v>0.99</c:v>
                </c:pt>
                <c:pt idx="159">
                  <c:v>0.99</c:v>
                </c:pt>
                <c:pt idx="160">
                  <c:v>0.99</c:v>
                </c:pt>
                <c:pt idx="161">
                  <c:v>1</c:v>
                </c:pt>
                <c:pt idx="162">
                  <c:v>1</c:v>
                </c:pt>
                <c:pt idx="163">
                  <c:v>0.98</c:v>
                </c:pt>
                <c:pt idx="164">
                  <c:v>1</c:v>
                </c:pt>
                <c:pt idx="165">
                  <c:v>1</c:v>
                </c:pt>
                <c:pt idx="166">
                  <c:v>1</c:v>
                </c:pt>
                <c:pt idx="167">
                  <c:v>0.99</c:v>
                </c:pt>
                <c:pt idx="168">
                  <c:v>1</c:v>
                </c:pt>
                <c:pt idx="169">
                  <c:v>1</c:v>
                </c:pt>
                <c:pt idx="170">
                  <c:v>0.99</c:v>
                </c:pt>
                <c:pt idx="171">
                  <c:v>0.66</c:v>
                </c:pt>
                <c:pt idx="172">
                  <c:v>1</c:v>
                </c:pt>
                <c:pt idx="173">
                  <c:v>1</c:v>
                </c:pt>
                <c:pt idx="174">
                  <c:v>0.98</c:v>
                </c:pt>
                <c:pt idx="175">
                  <c:v>1</c:v>
                </c:pt>
                <c:pt idx="176">
                  <c:v>1</c:v>
                </c:pt>
                <c:pt idx="177">
                  <c:v>0.99</c:v>
                </c:pt>
                <c:pt idx="178">
                  <c:v>1</c:v>
                </c:pt>
                <c:pt idx="179">
                  <c:v>0.99</c:v>
                </c:pt>
                <c:pt idx="180">
                  <c:v>1</c:v>
                </c:pt>
                <c:pt idx="181">
                  <c:v>1</c:v>
                </c:pt>
                <c:pt idx="182">
                  <c:v>0.99</c:v>
                </c:pt>
                <c:pt idx="183">
                  <c:v>1</c:v>
                </c:pt>
                <c:pt idx="184">
                  <c:v>1</c:v>
                </c:pt>
                <c:pt idx="185">
                  <c:v>0.99</c:v>
                </c:pt>
                <c:pt idx="186">
                  <c:v>1</c:v>
                </c:pt>
                <c:pt idx="187">
                  <c:v>0.97</c:v>
                </c:pt>
                <c:pt idx="188">
                  <c:v>1</c:v>
                </c:pt>
                <c:pt idx="189">
                  <c:v>0.99</c:v>
                </c:pt>
                <c:pt idx="190">
                  <c:v>1</c:v>
                </c:pt>
                <c:pt idx="191">
                  <c:v>1</c:v>
                </c:pt>
                <c:pt idx="192">
                  <c:v>0.98</c:v>
                </c:pt>
                <c:pt idx="193">
                  <c:v>1</c:v>
                </c:pt>
                <c:pt idx="194">
                  <c:v>0.97</c:v>
                </c:pt>
                <c:pt idx="195">
                  <c:v>0.98</c:v>
                </c:pt>
                <c:pt idx="196">
                  <c:v>0.92</c:v>
                </c:pt>
                <c:pt idx="197">
                  <c:v>0.59</c:v>
                </c:pt>
                <c:pt idx="198">
                  <c:v>0.99</c:v>
                </c:pt>
                <c:pt idx="199">
                  <c:v>0.99</c:v>
                </c:pt>
                <c:pt idx="200">
                  <c:v>1</c:v>
                </c:pt>
                <c:pt idx="201">
                  <c:v>0.99</c:v>
                </c:pt>
                <c:pt idx="202">
                  <c:v>0.99</c:v>
                </c:pt>
                <c:pt idx="203">
                  <c:v>0.99</c:v>
                </c:pt>
                <c:pt idx="204">
                  <c:v>1</c:v>
                </c:pt>
                <c:pt idx="205">
                  <c:v>0.97</c:v>
                </c:pt>
                <c:pt idx="206">
                  <c:v>0.99</c:v>
                </c:pt>
                <c:pt idx="207">
                  <c:v>0.99</c:v>
                </c:pt>
                <c:pt idx="208">
                  <c:v>1</c:v>
                </c:pt>
                <c:pt idx="209">
                  <c:v>0.99</c:v>
                </c:pt>
                <c:pt idx="210">
                  <c:v>0.99</c:v>
                </c:pt>
                <c:pt idx="211">
                  <c:v>1</c:v>
                </c:pt>
                <c:pt idx="212">
                  <c:v>0.98</c:v>
                </c:pt>
                <c:pt idx="213">
                  <c:v>1</c:v>
                </c:pt>
                <c:pt idx="214">
                  <c:v>0.99</c:v>
                </c:pt>
                <c:pt idx="215">
                  <c:v>0.99</c:v>
                </c:pt>
                <c:pt idx="216">
                  <c:v>0.99</c:v>
                </c:pt>
                <c:pt idx="217">
                  <c:v>1</c:v>
                </c:pt>
                <c:pt idx="218">
                  <c:v>0.98</c:v>
                </c:pt>
                <c:pt idx="219">
                  <c:v>0.99</c:v>
                </c:pt>
                <c:pt idx="220">
                  <c:v>0.94</c:v>
                </c:pt>
                <c:pt idx="221">
                  <c:v>0.96</c:v>
                </c:pt>
                <c:pt idx="222">
                  <c:v>0.99</c:v>
                </c:pt>
                <c:pt idx="223">
                  <c:v>0.95</c:v>
                </c:pt>
                <c:pt idx="224">
                  <c:v>0.98</c:v>
                </c:pt>
                <c:pt idx="225">
                  <c:v>0.98</c:v>
                </c:pt>
                <c:pt idx="226">
                  <c:v>0.99</c:v>
                </c:pt>
                <c:pt idx="227">
                  <c:v>1</c:v>
                </c:pt>
                <c:pt idx="228">
                  <c:v>0.98</c:v>
                </c:pt>
                <c:pt idx="229">
                  <c:v>0.98</c:v>
                </c:pt>
                <c:pt idx="230">
                  <c:v>0.97</c:v>
                </c:pt>
                <c:pt idx="231">
                  <c:v>1</c:v>
                </c:pt>
                <c:pt idx="232">
                  <c:v>0.99</c:v>
                </c:pt>
                <c:pt idx="233">
                  <c:v>0.98</c:v>
                </c:pt>
                <c:pt idx="234">
                  <c:v>0.85</c:v>
                </c:pt>
                <c:pt idx="235">
                  <c:v>0.98</c:v>
                </c:pt>
                <c:pt idx="236">
                  <c:v>0.99</c:v>
                </c:pt>
                <c:pt idx="237">
                  <c:v>0.98</c:v>
                </c:pt>
                <c:pt idx="238">
                  <c:v>0.9</c:v>
                </c:pt>
                <c:pt idx="239">
                  <c:v>1</c:v>
                </c:pt>
                <c:pt idx="240">
                  <c:v>0.99</c:v>
                </c:pt>
                <c:pt idx="241">
                  <c:v>1</c:v>
                </c:pt>
                <c:pt idx="242">
                  <c:v>1</c:v>
                </c:pt>
                <c:pt idx="243">
                  <c:v>0.99</c:v>
                </c:pt>
                <c:pt idx="244">
                  <c:v>0.99</c:v>
                </c:pt>
                <c:pt idx="245">
                  <c:v>0.99</c:v>
                </c:pt>
                <c:pt idx="246">
                  <c:v>0.99</c:v>
                </c:pt>
                <c:pt idx="247">
                  <c:v>0.99</c:v>
                </c:pt>
                <c:pt idx="248">
                  <c:v>1</c:v>
                </c:pt>
                <c:pt idx="249">
                  <c:v>0.84</c:v>
                </c:pt>
                <c:pt idx="250">
                  <c:v>0.99</c:v>
                </c:pt>
                <c:pt idx="251">
                  <c:v>0.99</c:v>
                </c:pt>
                <c:pt idx="252">
                  <c:v>0.99</c:v>
                </c:pt>
                <c:pt idx="253">
                  <c:v>0.99</c:v>
                </c:pt>
                <c:pt idx="254">
                  <c:v>1</c:v>
                </c:pt>
                <c:pt idx="255">
                  <c:v>0.98</c:v>
                </c:pt>
                <c:pt idx="256">
                  <c:v>0.99</c:v>
                </c:pt>
                <c:pt idx="257">
                  <c:v>0.99</c:v>
                </c:pt>
                <c:pt idx="258">
                  <c:v>0.96</c:v>
                </c:pt>
                <c:pt idx="259">
                  <c:v>0.99</c:v>
                </c:pt>
                <c:pt idx="260">
                  <c:v>1</c:v>
                </c:pt>
                <c:pt idx="261">
                  <c:v>0.99</c:v>
                </c:pt>
                <c:pt idx="262">
                  <c:v>0.99</c:v>
                </c:pt>
                <c:pt idx="263">
                  <c:v>0.98</c:v>
                </c:pt>
                <c:pt idx="264">
                  <c:v>0.78</c:v>
                </c:pt>
                <c:pt idx="265">
                  <c:v>0.97</c:v>
                </c:pt>
                <c:pt idx="266">
                  <c:v>0.75</c:v>
                </c:pt>
                <c:pt idx="267">
                  <c:v>0.97</c:v>
                </c:pt>
                <c:pt idx="268">
                  <c:v>0.98</c:v>
                </c:pt>
                <c:pt idx="269">
                  <c:v>0.99</c:v>
                </c:pt>
                <c:pt idx="270">
                  <c:v>0.99</c:v>
                </c:pt>
                <c:pt idx="271">
                  <c:v>0.98</c:v>
                </c:pt>
                <c:pt idx="272">
                  <c:v>0.98</c:v>
                </c:pt>
                <c:pt idx="273">
                  <c:v>0.98</c:v>
                </c:pt>
                <c:pt idx="274">
                  <c:v>0.99</c:v>
                </c:pt>
                <c:pt idx="275">
                  <c:v>0.99</c:v>
                </c:pt>
                <c:pt idx="276">
                  <c:v>0.99</c:v>
                </c:pt>
                <c:pt idx="277">
                  <c:v>0.98</c:v>
                </c:pt>
                <c:pt idx="278">
                  <c:v>0.99</c:v>
                </c:pt>
                <c:pt idx="279">
                  <c:v>1</c:v>
                </c:pt>
                <c:pt idx="280">
                  <c:v>0.8</c:v>
                </c:pt>
                <c:pt idx="281">
                  <c:v>0.97</c:v>
                </c:pt>
                <c:pt idx="282">
                  <c:v>0.96</c:v>
                </c:pt>
                <c:pt idx="283">
                  <c:v>0.97</c:v>
                </c:pt>
                <c:pt idx="284">
                  <c:v>0.99</c:v>
                </c:pt>
                <c:pt idx="285">
                  <c:v>1</c:v>
                </c:pt>
                <c:pt idx="286">
                  <c:v>0.87</c:v>
                </c:pt>
                <c:pt idx="287">
                  <c:v>0.98</c:v>
                </c:pt>
                <c:pt idx="288">
                  <c:v>1</c:v>
                </c:pt>
                <c:pt idx="289">
                  <c:v>0.96</c:v>
                </c:pt>
                <c:pt idx="290">
                  <c:v>0.99</c:v>
                </c:pt>
                <c:pt idx="291">
                  <c:v>0.98</c:v>
                </c:pt>
                <c:pt idx="292">
                  <c:v>0.97</c:v>
                </c:pt>
                <c:pt idx="293">
                  <c:v>0.99</c:v>
                </c:pt>
                <c:pt idx="294">
                  <c:v>0.96</c:v>
                </c:pt>
                <c:pt idx="295">
                  <c:v>0.98</c:v>
                </c:pt>
                <c:pt idx="296">
                  <c:v>0.93</c:v>
                </c:pt>
                <c:pt idx="297">
                  <c:v>0.99</c:v>
                </c:pt>
                <c:pt idx="298">
                  <c:v>0.99</c:v>
                </c:pt>
                <c:pt idx="299">
                  <c:v>0.99</c:v>
                </c:pt>
                <c:pt idx="300">
                  <c:v>0.99</c:v>
                </c:pt>
                <c:pt idx="301">
                  <c:v>0.99</c:v>
                </c:pt>
                <c:pt idx="302">
                  <c:v>0.88</c:v>
                </c:pt>
                <c:pt idx="303">
                  <c:v>0.99</c:v>
                </c:pt>
                <c:pt idx="304">
                  <c:v>0.99</c:v>
                </c:pt>
                <c:pt idx="305">
                  <c:v>0.96</c:v>
                </c:pt>
                <c:pt idx="306">
                  <c:v>0.94</c:v>
                </c:pt>
                <c:pt idx="307">
                  <c:v>0.98</c:v>
                </c:pt>
                <c:pt idx="308">
                  <c:v>0.98</c:v>
                </c:pt>
                <c:pt idx="309">
                  <c:v>0.99</c:v>
                </c:pt>
                <c:pt idx="310">
                  <c:v>0.99</c:v>
                </c:pt>
                <c:pt idx="311">
                  <c:v>0.63</c:v>
                </c:pt>
                <c:pt idx="312">
                  <c:v>0.94</c:v>
                </c:pt>
                <c:pt idx="313">
                  <c:v>0.99</c:v>
                </c:pt>
                <c:pt idx="314">
                  <c:v>0.99</c:v>
                </c:pt>
                <c:pt idx="315">
                  <c:v>0.98</c:v>
                </c:pt>
                <c:pt idx="316">
                  <c:v>0.94</c:v>
                </c:pt>
                <c:pt idx="317">
                  <c:v>1</c:v>
                </c:pt>
                <c:pt idx="318">
                  <c:v>0.99</c:v>
                </c:pt>
                <c:pt idx="319">
                  <c:v>0.98</c:v>
                </c:pt>
                <c:pt idx="320">
                  <c:v>0.97</c:v>
                </c:pt>
                <c:pt idx="321">
                  <c:v>0.99</c:v>
                </c:pt>
                <c:pt idx="322">
                  <c:v>0.98</c:v>
                </c:pt>
                <c:pt idx="323">
                  <c:v>0.98</c:v>
                </c:pt>
                <c:pt idx="324">
                  <c:v>1</c:v>
                </c:pt>
                <c:pt idx="325">
                  <c:v>0.99</c:v>
                </c:pt>
                <c:pt idx="326">
                  <c:v>0.99</c:v>
                </c:pt>
                <c:pt idx="327">
                  <c:v>0.99</c:v>
                </c:pt>
                <c:pt idx="328">
                  <c:v>0.99</c:v>
                </c:pt>
                <c:pt idx="329">
                  <c:v>0.99</c:v>
                </c:pt>
                <c:pt idx="330">
                  <c:v>0.99</c:v>
                </c:pt>
                <c:pt idx="331">
                  <c:v>0.99</c:v>
                </c:pt>
                <c:pt idx="332">
                  <c:v>0.82</c:v>
                </c:pt>
                <c:pt idx="333">
                  <c:v>0.99</c:v>
                </c:pt>
                <c:pt idx="334">
                  <c:v>0.99</c:v>
                </c:pt>
                <c:pt idx="335">
                  <c:v>0.85</c:v>
                </c:pt>
                <c:pt idx="336">
                  <c:v>0.97</c:v>
                </c:pt>
                <c:pt idx="337">
                  <c:v>0.97</c:v>
                </c:pt>
                <c:pt idx="338">
                  <c:v>0.96</c:v>
                </c:pt>
                <c:pt idx="339">
                  <c:v>0.99</c:v>
                </c:pt>
                <c:pt idx="340">
                  <c:v>0.95</c:v>
                </c:pt>
                <c:pt idx="341">
                  <c:v>0.99</c:v>
                </c:pt>
                <c:pt idx="342">
                  <c:v>1</c:v>
                </c:pt>
                <c:pt idx="343">
                  <c:v>0.98</c:v>
                </c:pt>
                <c:pt idx="344">
                  <c:v>0.99</c:v>
                </c:pt>
                <c:pt idx="345">
                  <c:v>0.97</c:v>
                </c:pt>
                <c:pt idx="346">
                  <c:v>0.68</c:v>
                </c:pt>
                <c:pt idx="347">
                  <c:v>0.99</c:v>
                </c:pt>
                <c:pt idx="348">
                  <c:v>0.99</c:v>
                </c:pt>
                <c:pt idx="349">
                  <c:v>0.99</c:v>
                </c:pt>
                <c:pt idx="350">
                  <c:v>0.99</c:v>
                </c:pt>
                <c:pt idx="351">
                  <c:v>0.99</c:v>
                </c:pt>
                <c:pt idx="352">
                  <c:v>0.79</c:v>
                </c:pt>
                <c:pt idx="353">
                  <c:v>0.88</c:v>
                </c:pt>
                <c:pt idx="354">
                  <c:v>0.99</c:v>
                </c:pt>
                <c:pt idx="355">
                  <c:v>0.99</c:v>
                </c:pt>
                <c:pt idx="356">
                  <c:v>0.95</c:v>
                </c:pt>
                <c:pt idx="357">
                  <c:v>0.99</c:v>
                </c:pt>
                <c:pt idx="358">
                  <c:v>0.99</c:v>
                </c:pt>
                <c:pt idx="359">
                  <c:v>0.99</c:v>
                </c:pt>
                <c:pt idx="360">
                  <c:v>1</c:v>
                </c:pt>
                <c:pt idx="361">
                  <c:v>0.96</c:v>
                </c:pt>
                <c:pt idx="362">
                  <c:v>0.96</c:v>
                </c:pt>
                <c:pt idx="363">
                  <c:v>0.93</c:v>
                </c:pt>
                <c:pt idx="364">
                  <c:v>0.99</c:v>
                </c:pt>
                <c:pt idx="365">
                  <c:v>0.99</c:v>
                </c:pt>
                <c:pt idx="366">
                  <c:v>0.97</c:v>
                </c:pt>
                <c:pt idx="367">
                  <c:v>0.99</c:v>
                </c:pt>
                <c:pt idx="368">
                  <c:v>0.98</c:v>
                </c:pt>
                <c:pt idx="369">
                  <c:v>0.96</c:v>
                </c:pt>
                <c:pt idx="370">
                  <c:v>0.95</c:v>
                </c:pt>
                <c:pt idx="371">
                  <c:v>0.96</c:v>
                </c:pt>
                <c:pt idx="372">
                  <c:v>0.94</c:v>
                </c:pt>
                <c:pt idx="373">
                  <c:v>0.86</c:v>
                </c:pt>
                <c:pt idx="374">
                  <c:v>0.95</c:v>
                </c:pt>
                <c:pt idx="375">
                  <c:v>1</c:v>
                </c:pt>
                <c:pt idx="376">
                  <c:v>0.99</c:v>
                </c:pt>
                <c:pt idx="377">
                  <c:v>0.99</c:v>
                </c:pt>
                <c:pt idx="378">
                  <c:v>0.95</c:v>
                </c:pt>
                <c:pt idx="379">
                  <c:v>0.72</c:v>
                </c:pt>
                <c:pt idx="380">
                  <c:v>0.96</c:v>
                </c:pt>
                <c:pt idx="381">
                  <c:v>0.97</c:v>
                </c:pt>
                <c:pt idx="382">
                  <c:v>0.98</c:v>
                </c:pt>
                <c:pt idx="383">
                  <c:v>1</c:v>
                </c:pt>
                <c:pt idx="384">
                  <c:v>0.96</c:v>
                </c:pt>
                <c:pt idx="385">
                  <c:v>0.93</c:v>
                </c:pt>
                <c:pt idx="386">
                  <c:v>1</c:v>
                </c:pt>
                <c:pt idx="387">
                  <c:v>0.95</c:v>
                </c:pt>
                <c:pt idx="388">
                  <c:v>0.78</c:v>
                </c:pt>
                <c:pt idx="389">
                  <c:v>0.92</c:v>
                </c:pt>
                <c:pt idx="390">
                  <c:v>0.97</c:v>
                </c:pt>
                <c:pt idx="391">
                  <c:v>0.98</c:v>
                </c:pt>
                <c:pt idx="392">
                  <c:v>0.95</c:v>
                </c:pt>
                <c:pt idx="393">
                  <c:v>0.99</c:v>
                </c:pt>
                <c:pt idx="394">
                  <c:v>0.97</c:v>
                </c:pt>
                <c:pt idx="395">
                  <c:v>0.99</c:v>
                </c:pt>
                <c:pt idx="396">
                  <c:v>0.28000000000000003</c:v>
                </c:pt>
                <c:pt idx="397">
                  <c:v>0.97</c:v>
                </c:pt>
                <c:pt idx="398">
                  <c:v>0.97</c:v>
                </c:pt>
                <c:pt idx="399">
                  <c:v>0.83</c:v>
                </c:pt>
                <c:pt idx="400">
                  <c:v>0.8</c:v>
                </c:pt>
                <c:pt idx="401">
                  <c:v>0.98</c:v>
                </c:pt>
                <c:pt idx="402">
                  <c:v>0.96</c:v>
                </c:pt>
                <c:pt idx="403">
                  <c:v>0.98</c:v>
                </c:pt>
                <c:pt idx="404">
                  <c:v>0.99</c:v>
                </c:pt>
                <c:pt idx="405">
                  <c:v>0.74</c:v>
                </c:pt>
                <c:pt idx="406">
                  <c:v>0.99</c:v>
                </c:pt>
                <c:pt idx="407">
                  <c:v>0.82</c:v>
                </c:pt>
                <c:pt idx="408">
                  <c:v>0.99</c:v>
                </c:pt>
                <c:pt idx="409">
                  <c:v>0.93</c:v>
                </c:pt>
                <c:pt idx="410">
                  <c:v>0.84</c:v>
                </c:pt>
                <c:pt idx="411">
                  <c:v>0.98</c:v>
                </c:pt>
                <c:pt idx="412">
                  <c:v>0.86</c:v>
                </c:pt>
                <c:pt idx="413">
                  <c:v>0.94</c:v>
                </c:pt>
                <c:pt idx="414">
                  <c:v>0.93</c:v>
                </c:pt>
                <c:pt idx="415">
                  <c:v>0.99</c:v>
                </c:pt>
                <c:pt idx="416">
                  <c:v>0.91</c:v>
                </c:pt>
                <c:pt idx="417">
                  <c:v>0.98</c:v>
                </c:pt>
                <c:pt idx="418">
                  <c:v>0.98</c:v>
                </c:pt>
                <c:pt idx="419">
                  <c:v>0.73</c:v>
                </c:pt>
                <c:pt idx="420">
                  <c:v>0.97</c:v>
                </c:pt>
                <c:pt idx="421">
                  <c:v>0.77</c:v>
                </c:pt>
                <c:pt idx="422">
                  <c:v>0.09</c:v>
                </c:pt>
                <c:pt idx="423">
                  <c:v>0.83</c:v>
                </c:pt>
                <c:pt idx="424">
                  <c:v>0.94</c:v>
                </c:pt>
                <c:pt idx="425">
                  <c:v>0.98</c:v>
                </c:pt>
                <c:pt idx="426">
                  <c:v>0.85</c:v>
                </c:pt>
                <c:pt idx="427">
                  <c:v>7.0000000000000007E-2</c:v>
                </c:pt>
                <c:pt idx="428">
                  <c:v>0.91</c:v>
                </c:pt>
                <c:pt idx="429">
                  <c:v>0.93</c:v>
                </c:pt>
                <c:pt idx="430">
                  <c:v>1</c:v>
                </c:pt>
                <c:pt idx="431">
                  <c:v>0.97</c:v>
                </c:pt>
                <c:pt idx="432">
                  <c:v>0.7</c:v>
                </c:pt>
                <c:pt idx="433">
                  <c:v>0.98</c:v>
                </c:pt>
                <c:pt idx="434">
                  <c:v>0.56999999999999995</c:v>
                </c:pt>
                <c:pt idx="435">
                  <c:v>0.91</c:v>
                </c:pt>
                <c:pt idx="436">
                  <c:v>0.94</c:v>
                </c:pt>
                <c:pt idx="437">
                  <c:v>0.99</c:v>
                </c:pt>
                <c:pt idx="438">
                  <c:v>0.96</c:v>
                </c:pt>
                <c:pt idx="439">
                  <c:v>0.99</c:v>
                </c:pt>
                <c:pt idx="440">
                  <c:v>0.92</c:v>
                </c:pt>
                <c:pt idx="441">
                  <c:v>0.99</c:v>
                </c:pt>
                <c:pt idx="442">
                  <c:v>0.91</c:v>
                </c:pt>
                <c:pt idx="443">
                  <c:v>0.56999999999999995</c:v>
                </c:pt>
                <c:pt idx="444">
                  <c:v>0.98</c:v>
                </c:pt>
                <c:pt idx="445">
                  <c:v>0.96</c:v>
                </c:pt>
                <c:pt idx="446">
                  <c:v>0.96</c:v>
                </c:pt>
                <c:pt idx="447">
                  <c:v>0.98</c:v>
                </c:pt>
                <c:pt idx="448">
                  <c:v>0.99</c:v>
                </c:pt>
                <c:pt idx="449">
                  <c:v>0.76</c:v>
                </c:pt>
                <c:pt idx="450">
                  <c:v>0.99</c:v>
                </c:pt>
                <c:pt idx="451">
                  <c:v>0.98</c:v>
                </c:pt>
                <c:pt idx="452">
                  <c:v>0.92</c:v>
                </c:pt>
                <c:pt idx="453">
                  <c:v>0.97</c:v>
                </c:pt>
                <c:pt idx="454">
                  <c:v>0.87</c:v>
                </c:pt>
                <c:pt idx="455">
                  <c:v>0.91</c:v>
                </c:pt>
                <c:pt idx="456">
                  <c:v>0.45</c:v>
                </c:pt>
                <c:pt idx="457">
                  <c:v>0.98</c:v>
                </c:pt>
                <c:pt idx="458">
                  <c:v>0.97</c:v>
                </c:pt>
                <c:pt idx="459">
                  <c:v>0.7</c:v>
                </c:pt>
                <c:pt idx="460">
                  <c:v>0.94</c:v>
                </c:pt>
                <c:pt idx="461">
                  <c:v>0.95</c:v>
                </c:pt>
                <c:pt idx="462">
                  <c:v>0.97</c:v>
                </c:pt>
                <c:pt idx="463">
                  <c:v>0.92</c:v>
                </c:pt>
                <c:pt idx="464">
                  <c:v>0.98</c:v>
                </c:pt>
                <c:pt idx="465">
                  <c:v>0.94</c:v>
                </c:pt>
                <c:pt idx="466">
                  <c:v>0.96</c:v>
                </c:pt>
                <c:pt idx="467">
                  <c:v>0.98</c:v>
                </c:pt>
                <c:pt idx="468">
                  <c:v>0.98</c:v>
                </c:pt>
                <c:pt idx="469">
                  <c:v>0.86</c:v>
                </c:pt>
                <c:pt idx="470">
                  <c:v>0.99</c:v>
                </c:pt>
                <c:pt idx="471">
                  <c:v>0.73</c:v>
                </c:pt>
                <c:pt idx="472">
                  <c:v>0.93</c:v>
                </c:pt>
                <c:pt idx="473">
                  <c:v>0.96</c:v>
                </c:pt>
                <c:pt idx="474">
                  <c:v>0.97</c:v>
                </c:pt>
                <c:pt idx="475">
                  <c:v>0.53</c:v>
                </c:pt>
                <c:pt idx="476">
                  <c:v>0.6</c:v>
                </c:pt>
                <c:pt idx="477">
                  <c:v>0.91</c:v>
                </c:pt>
                <c:pt idx="478">
                  <c:v>0.99</c:v>
                </c:pt>
                <c:pt idx="479">
                  <c:v>0.92</c:v>
                </c:pt>
                <c:pt idx="480">
                  <c:v>0.98</c:v>
                </c:pt>
                <c:pt idx="481">
                  <c:v>0.14000000000000001</c:v>
                </c:pt>
                <c:pt idx="482">
                  <c:v>0.93</c:v>
                </c:pt>
                <c:pt idx="483">
                  <c:v>0.91</c:v>
                </c:pt>
                <c:pt idx="484">
                  <c:v>0.81</c:v>
                </c:pt>
                <c:pt idx="485">
                  <c:v>0.99</c:v>
                </c:pt>
                <c:pt idx="486">
                  <c:v>0.91</c:v>
                </c:pt>
                <c:pt idx="487">
                  <c:v>0.79</c:v>
                </c:pt>
                <c:pt idx="488">
                  <c:v>0.98</c:v>
                </c:pt>
                <c:pt idx="489">
                  <c:v>0.93</c:v>
                </c:pt>
                <c:pt idx="490">
                  <c:v>0.17</c:v>
                </c:pt>
                <c:pt idx="491">
                  <c:v>0.97</c:v>
                </c:pt>
                <c:pt idx="492">
                  <c:v>0.08</c:v>
                </c:pt>
                <c:pt idx="493">
                  <c:v>0.99</c:v>
                </c:pt>
                <c:pt idx="494">
                  <c:v>0.86</c:v>
                </c:pt>
                <c:pt idx="495">
                  <c:v>0.92</c:v>
                </c:pt>
                <c:pt idx="496">
                  <c:v>0.69</c:v>
                </c:pt>
                <c:pt idx="497">
                  <c:v>0.97</c:v>
                </c:pt>
                <c:pt idx="498">
                  <c:v>0.39</c:v>
                </c:pt>
                <c:pt idx="499">
                  <c:v>0.42</c:v>
                </c:pt>
                <c:pt idx="500">
                  <c:v>0.96</c:v>
                </c:pt>
                <c:pt idx="501">
                  <c:v>0.74</c:v>
                </c:pt>
                <c:pt idx="502">
                  <c:v>0.23</c:v>
                </c:pt>
                <c:pt idx="503">
                  <c:v>0.84</c:v>
                </c:pt>
                <c:pt idx="504">
                  <c:v>0.82</c:v>
                </c:pt>
                <c:pt idx="505">
                  <c:v>0.87</c:v>
                </c:pt>
                <c:pt idx="506">
                  <c:v>0.72</c:v>
                </c:pt>
                <c:pt idx="507">
                  <c:v>0.17</c:v>
                </c:pt>
                <c:pt idx="508">
                  <c:v>0.7</c:v>
                </c:pt>
                <c:pt idx="509">
                  <c:v>0.68</c:v>
                </c:pt>
                <c:pt idx="510">
                  <c:v>0.96</c:v>
                </c:pt>
                <c:pt idx="511">
                  <c:v>0.78</c:v>
                </c:pt>
                <c:pt idx="512">
                  <c:v>0.91</c:v>
                </c:pt>
                <c:pt idx="513">
                  <c:v>0.28999999999999998</c:v>
                </c:pt>
                <c:pt idx="514">
                  <c:v>0.78</c:v>
                </c:pt>
                <c:pt idx="515">
                  <c:v>0.19</c:v>
                </c:pt>
                <c:pt idx="516">
                  <c:v>0.84</c:v>
                </c:pt>
                <c:pt idx="517">
                  <c:v>0.79</c:v>
                </c:pt>
                <c:pt idx="518">
                  <c:v>0.87</c:v>
                </c:pt>
                <c:pt idx="519">
                  <c:v>0.68</c:v>
                </c:pt>
                <c:pt idx="520">
                  <c:v>0.62</c:v>
                </c:pt>
                <c:pt idx="521">
                  <c:v>0.76</c:v>
                </c:pt>
                <c:pt idx="522">
                  <c:v>0.96</c:v>
                </c:pt>
                <c:pt idx="523">
                  <c:v>0.56000000000000005</c:v>
                </c:pt>
                <c:pt idx="524">
                  <c:v>0.55000000000000004</c:v>
                </c:pt>
                <c:pt idx="525">
                  <c:v>0.76</c:v>
                </c:pt>
                <c:pt idx="526">
                  <c:v>0.98</c:v>
                </c:pt>
                <c:pt idx="527">
                  <c:v>0.95</c:v>
                </c:pt>
                <c:pt idx="528">
                  <c:v>0.96</c:v>
                </c:pt>
                <c:pt idx="529">
                  <c:v>0.99</c:v>
                </c:pt>
                <c:pt idx="530">
                  <c:v>0.99</c:v>
                </c:pt>
                <c:pt idx="531">
                  <c:v>0.95</c:v>
                </c:pt>
                <c:pt idx="532">
                  <c:v>0.1</c:v>
                </c:pt>
                <c:pt idx="533">
                  <c:v>0.86</c:v>
                </c:pt>
                <c:pt idx="534">
                  <c:v>0.85</c:v>
                </c:pt>
                <c:pt idx="535">
                  <c:v>0.96</c:v>
                </c:pt>
                <c:pt idx="536">
                  <c:v>0.66</c:v>
                </c:pt>
                <c:pt idx="537">
                  <c:v>0.44</c:v>
                </c:pt>
                <c:pt idx="538">
                  <c:v>0.98</c:v>
                </c:pt>
                <c:pt idx="539">
                  <c:v>0.64</c:v>
                </c:pt>
                <c:pt idx="540">
                  <c:v>0.93</c:v>
                </c:pt>
                <c:pt idx="541">
                  <c:v>0.94</c:v>
                </c:pt>
                <c:pt idx="542">
                  <c:v>0.75</c:v>
                </c:pt>
                <c:pt idx="543">
                  <c:v>0.84</c:v>
                </c:pt>
                <c:pt idx="544">
                  <c:v>0.19</c:v>
                </c:pt>
                <c:pt idx="545">
                  <c:v>0.88</c:v>
                </c:pt>
                <c:pt idx="546">
                  <c:v>0.78</c:v>
                </c:pt>
                <c:pt idx="547">
                  <c:v>0.34</c:v>
                </c:pt>
                <c:pt idx="548">
                  <c:v>0.98</c:v>
                </c:pt>
                <c:pt idx="549">
                  <c:v>0.94</c:v>
                </c:pt>
                <c:pt idx="550">
                  <c:v>0.12</c:v>
                </c:pt>
                <c:pt idx="551">
                  <c:v>0.26</c:v>
                </c:pt>
                <c:pt idx="552">
                  <c:v>0.31</c:v>
                </c:pt>
                <c:pt idx="553">
                  <c:v>0.76</c:v>
                </c:pt>
                <c:pt idx="554">
                  <c:v>0.94</c:v>
                </c:pt>
                <c:pt idx="555">
                  <c:v>0.64</c:v>
                </c:pt>
                <c:pt idx="556">
                  <c:v>0.95</c:v>
                </c:pt>
                <c:pt idx="557">
                  <c:v>0.47</c:v>
                </c:pt>
                <c:pt idx="558">
                  <c:v>0.61</c:v>
                </c:pt>
                <c:pt idx="559">
                  <c:v>0.91</c:v>
                </c:pt>
                <c:pt idx="560">
                  <c:v>0.77</c:v>
                </c:pt>
                <c:pt idx="561">
                  <c:v>0.68</c:v>
                </c:pt>
                <c:pt idx="562">
                  <c:v>0.44</c:v>
                </c:pt>
                <c:pt idx="563">
                  <c:v>0.28999999999999998</c:v>
                </c:pt>
                <c:pt idx="564">
                  <c:v>0.36</c:v>
                </c:pt>
                <c:pt idx="565">
                  <c:v>0.28000000000000003</c:v>
                </c:pt>
                <c:pt idx="566">
                  <c:v>0.98</c:v>
                </c:pt>
                <c:pt idx="567">
                  <c:v>0.81</c:v>
                </c:pt>
                <c:pt idx="568">
                  <c:v>0.23</c:v>
                </c:pt>
                <c:pt idx="569">
                  <c:v>0.41</c:v>
                </c:pt>
                <c:pt idx="570">
                  <c:v>0.95</c:v>
                </c:pt>
                <c:pt idx="571">
                  <c:v>0.93</c:v>
                </c:pt>
                <c:pt idx="572">
                  <c:v>0.87</c:v>
                </c:pt>
                <c:pt idx="573">
                  <c:v>0.22</c:v>
                </c:pt>
                <c:pt idx="574">
                  <c:v>0.5</c:v>
                </c:pt>
                <c:pt idx="575">
                  <c:v>0.89</c:v>
                </c:pt>
                <c:pt idx="576">
                  <c:v>0.92</c:v>
                </c:pt>
                <c:pt idx="577">
                  <c:v>0.76</c:v>
                </c:pt>
                <c:pt idx="578">
                  <c:v>0.57999999999999996</c:v>
                </c:pt>
                <c:pt idx="579">
                  <c:v>0.73</c:v>
                </c:pt>
                <c:pt idx="580">
                  <c:v>0.85</c:v>
                </c:pt>
                <c:pt idx="581">
                  <c:v>0.2</c:v>
                </c:pt>
                <c:pt idx="582">
                  <c:v>0.36</c:v>
                </c:pt>
                <c:pt idx="583">
                  <c:v>0.92</c:v>
                </c:pt>
                <c:pt idx="584">
                  <c:v>0.9</c:v>
                </c:pt>
                <c:pt idx="585">
                  <c:v>0.73</c:v>
                </c:pt>
                <c:pt idx="586">
                  <c:v>0.54</c:v>
                </c:pt>
                <c:pt idx="587">
                  <c:v>0.85</c:v>
                </c:pt>
                <c:pt idx="588">
                  <c:v>0.59</c:v>
                </c:pt>
                <c:pt idx="589">
                  <c:v>0.95</c:v>
                </c:pt>
                <c:pt idx="590">
                  <c:v>0.97</c:v>
                </c:pt>
                <c:pt idx="591">
                  <c:v>0.79</c:v>
                </c:pt>
                <c:pt idx="592">
                  <c:v>0.28999999999999998</c:v>
                </c:pt>
                <c:pt idx="593">
                  <c:v>0.18</c:v>
                </c:pt>
                <c:pt idx="594">
                  <c:v>0.92</c:v>
                </c:pt>
                <c:pt idx="595">
                  <c:v>0.6</c:v>
                </c:pt>
                <c:pt idx="596">
                  <c:v>0.19</c:v>
                </c:pt>
                <c:pt idx="597">
                  <c:v>0.94</c:v>
                </c:pt>
                <c:pt idx="598">
                  <c:v>0.97</c:v>
                </c:pt>
                <c:pt idx="599">
                  <c:v>0.22</c:v>
                </c:pt>
                <c:pt idx="600">
                  <c:v>0.94</c:v>
                </c:pt>
                <c:pt idx="601">
                  <c:v>0.51</c:v>
                </c:pt>
                <c:pt idx="602">
                  <c:v>0.15</c:v>
                </c:pt>
                <c:pt idx="603">
                  <c:v>0.61</c:v>
                </c:pt>
                <c:pt idx="604">
                  <c:v>0.09</c:v>
                </c:pt>
                <c:pt idx="605">
                  <c:v>0.86</c:v>
                </c:pt>
                <c:pt idx="606">
                  <c:v>0.86</c:v>
                </c:pt>
                <c:pt idx="607">
                  <c:v>0.06</c:v>
                </c:pt>
                <c:pt idx="608">
                  <c:v>0.56000000000000005</c:v>
                </c:pt>
                <c:pt idx="609">
                  <c:v>0.98</c:v>
                </c:pt>
                <c:pt idx="610">
                  <c:v>0.9</c:v>
                </c:pt>
                <c:pt idx="611">
                  <c:v>0.97</c:v>
                </c:pt>
                <c:pt idx="612">
                  <c:v>0.59</c:v>
                </c:pt>
                <c:pt idx="613">
                  <c:v>0.74</c:v>
                </c:pt>
                <c:pt idx="614">
                  <c:v>0.24</c:v>
                </c:pt>
                <c:pt idx="615">
                  <c:v>7.0000000000000007E-2</c:v>
                </c:pt>
                <c:pt idx="616">
                  <c:v>0.17</c:v>
                </c:pt>
                <c:pt idx="617">
                  <c:v>0.97</c:v>
                </c:pt>
                <c:pt idx="618">
                  <c:v>0.74</c:v>
                </c:pt>
                <c:pt idx="619">
                  <c:v>0.84</c:v>
                </c:pt>
                <c:pt idx="620">
                  <c:v>0.2</c:v>
                </c:pt>
                <c:pt idx="621">
                  <c:v>0.17</c:v>
                </c:pt>
                <c:pt idx="622">
                  <c:v>0.16</c:v>
                </c:pt>
                <c:pt idx="623">
                  <c:v>0.78</c:v>
                </c:pt>
                <c:pt idx="624">
                  <c:v>0.3</c:v>
                </c:pt>
                <c:pt idx="625">
                  <c:v>0.16</c:v>
                </c:pt>
                <c:pt idx="626">
                  <c:v>0.98</c:v>
                </c:pt>
                <c:pt idx="627">
                  <c:v>0.16</c:v>
                </c:pt>
                <c:pt idx="628">
                  <c:v>0.27</c:v>
                </c:pt>
                <c:pt idx="629">
                  <c:v>0.2</c:v>
                </c:pt>
                <c:pt idx="630">
                  <c:v>0.11</c:v>
                </c:pt>
                <c:pt idx="631">
                  <c:v>0.6</c:v>
                </c:pt>
                <c:pt idx="632">
                  <c:v>0.22</c:v>
                </c:pt>
                <c:pt idx="633">
                  <c:v>0.17</c:v>
                </c:pt>
                <c:pt idx="634">
                  <c:v>0.09</c:v>
                </c:pt>
                <c:pt idx="635">
                  <c:v>0.55000000000000004</c:v>
                </c:pt>
                <c:pt idx="636">
                  <c:v>0.76</c:v>
                </c:pt>
                <c:pt idx="637">
                  <c:v>0.06</c:v>
                </c:pt>
                <c:pt idx="638">
                  <c:v>0.14000000000000001</c:v>
                </c:pt>
                <c:pt idx="639">
                  <c:v>0.49</c:v>
                </c:pt>
                <c:pt idx="640">
                  <c:v>0.98</c:v>
                </c:pt>
                <c:pt idx="641">
                  <c:v>0.97</c:v>
                </c:pt>
                <c:pt idx="642">
                  <c:v>0.12</c:v>
                </c:pt>
                <c:pt idx="643">
                  <c:v>0.89</c:v>
                </c:pt>
                <c:pt idx="644">
                  <c:v>0.88</c:v>
                </c:pt>
                <c:pt idx="645">
                  <c:v>0.59</c:v>
                </c:pt>
                <c:pt idx="646">
                  <c:v>0.97</c:v>
                </c:pt>
                <c:pt idx="647">
                  <c:v>0.66</c:v>
                </c:pt>
                <c:pt idx="648">
                  <c:v>0.6</c:v>
                </c:pt>
                <c:pt idx="649">
                  <c:v>0.72</c:v>
                </c:pt>
                <c:pt idx="650">
                  <c:v>0.48</c:v>
                </c:pt>
                <c:pt idx="651">
                  <c:v>0.46</c:v>
                </c:pt>
                <c:pt idx="652">
                  <c:v>0.27</c:v>
                </c:pt>
                <c:pt idx="653">
                  <c:v>0.36</c:v>
                </c:pt>
                <c:pt idx="654">
                  <c:v>0.71</c:v>
                </c:pt>
                <c:pt idx="655">
                  <c:v>0.84</c:v>
                </c:pt>
                <c:pt idx="656">
                  <c:v>0.65</c:v>
                </c:pt>
                <c:pt idx="657">
                  <c:v>0.15</c:v>
                </c:pt>
                <c:pt idx="658">
                  <c:v>0.73</c:v>
                </c:pt>
                <c:pt idx="659">
                  <c:v>0.12</c:v>
                </c:pt>
                <c:pt idx="660">
                  <c:v>0.42</c:v>
                </c:pt>
                <c:pt idx="661">
                  <c:v>0.72</c:v>
                </c:pt>
                <c:pt idx="662">
                  <c:v>0.22</c:v>
                </c:pt>
                <c:pt idx="663">
                  <c:v>0.8</c:v>
                </c:pt>
                <c:pt idx="664">
                  <c:v>0.06</c:v>
                </c:pt>
                <c:pt idx="665">
                  <c:v>0.85</c:v>
                </c:pt>
                <c:pt idx="666">
                  <c:v>0.8</c:v>
                </c:pt>
                <c:pt idx="667">
                  <c:v>0.43</c:v>
                </c:pt>
                <c:pt idx="668">
                  <c:v>0.09</c:v>
                </c:pt>
                <c:pt idx="669">
                  <c:v>0.64</c:v>
                </c:pt>
                <c:pt idx="670">
                  <c:v>0.23</c:v>
                </c:pt>
                <c:pt idx="671">
                  <c:v>0.27</c:v>
                </c:pt>
                <c:pt idx="672">
                  <c:v>0.45</c:v>
                </c:pt>
                <c:pt idx="673">
                  <c:v>0.38</c:v>
                </c:pt>
                <c:pt idx="674">
                  <c:v>0.69</c:v>
                </c:pt>
                <c:pt idx="675">
                  <c:v>0.94</c:v>
                </c:pt>
                <c:pt idx="676">
                  <c:v>0.95</c:v>
                </c:pt>
                <c:pt idx="677">
                  <c:v>0.69</c:v>
                </c:pt>
                <c:pt idx="678">
                  <c:v>0.31</c:v>
                </c:pt>
                <c:pt idx="679">
                  <c:v>0.83</c:v>
                </c:pt>
                <c:pt idx="680">
                  <c:v>0.1</c:v>
                </c:pt>
                <c:pt idx="681">
                  <c:v>0.33</c:v>
                </c:pt>
                <c:pt idx="682">
                  <c:v>0.7</c:v>
                </c:pt>
                <c:pt idx="683">
                  <c:v>0.84</c:v>
                </c:pt>
                <c:pt idx="684">
                  <c:v>0.5</c:v>
                </c:pt>
                <c:pt idx="685">
                  <c:v>0.86</c:v>
                </c:pt>
                <c:pt idx="686">
                  <c:v>0.59</c:v>
                </c:pt>
                <c:pt idx="687">
                  <c:v>0.56000000000000005</c:v>
                </c:pt>
                <c:pt idx="688">
                  <c:v>0.96</c:v>
                </c:pt>
                <c:pt idx="689">
                  <c:v>0.77</c:v>
                </c:pt>
                <c:pt idx="690">
                  <c:v>0.61</c:v>
                </c:pt>
                <c:pt idx="691">
                  <c:v>0.54</c:v>
                </c:pt>
                <c:pt idx="692">
                  <c:v>0.31</c:v>
                </c:pt>
                <c:pt idx="693">
                  <c:v>0.22</c:v>
                </c:pt>
                <c:pt idx="694">
                  <c:v>0.17</c:v>
                </c:pt>
                <c:pt idx="695">
                  <c:v>0.35</c:v>
                </c:pt>
                <c:pt idx="696">
                  <c:v>0.7</c:v>
                </c:pt>
                <c:pt idx="697">
                  <c:v>0.86</c:v>
                </c:pt>
                <c:pt idx="698">
                  <c:v>0.15</c:v>
                </c:pt>
                <c:pt idx="699">
                  <c:v>0.64</c:v>
                </c:pt>
                <c:pt idx="700">
                  <c:v>0.15</c:v>
                </c:pt>
                <c:pt idx="701">
                  <c:v>0.73</c:v>
                </c:pt>
                <c:pt idx="702">
                  <c:v>0.2</c:v>
                </c:pt>
                <c:pt idx="703">
                  <c:v>0.2</c:v>
                </c:pt>
                <c:pt idx="704">
                  <c:v>0.31</c:v>
                </c:pt>
                <c:pt idx="705">
                  <c:v>0.75</c:v>
                </c:pt>
                <c:pt idx="706">
                  <c:v>0.51</c:v>
                </c:pt>
                <c:pt idx="707">
                  <c:v>0.73</c:v>
                </c:pt>
                <c:pt idx="708">
                  <c:v>0.11</c:v>
                </c:pt>
                <c:pt idx="709">
                  <c:v>0.31</c:v>
                </c:pt>
                <c:pt idx="710">
                  <c:v>0.25</c:v>
                </c:pt>
                <c:pt idx="711">
                  <c:v>0.28000000000000003</c:v>
                </c:pt>
                <c:pt idx="712">
                  <c:v>0.26</c:v>
                </c:pt>
                <c:pt idx="713">
                  <c:v>0.16</c:v>
                </c:pt>
                <c:pt idx="714">
                  <c:v>0.11</c:v>
                </c:pt>
                <c:pt idx="715">
                  <c:v>0.17</c:v>
                </c:pt>
                <c:pt idx="716">
                  <c:v>0.82</c:v>
                </c:pt>
                <c:pt idx="717">
                  <c:v>0.45</c:v>
                </c:pt>
                <c:pt idx="718">
                  <c:v>0.2</c:v>
                </c:pt>
                <c:pt idx="719">
                  <c:v>0.41</c:v>
                </c:pt>
                <c:pt idx="720">
                  <c:v>0.68</c:v>
                </c:pt>
                <c:pt idx="721">
                  <c:v>0.93</c:v>
                </c:pt>
                <c:pt idx="722">
                  <c:v>0.32</c:v>
                </c:pt>
                <c:pt idx="723">
                  <c:v>0.9</c:v>
                </c:pt>
                <c:pt idx="724">
                  <c:v>0.14000000000000001</c:v>
                </c:pt>
                <c:pt idx="725">
                  <c:v>0.25</c:v>
                </c:pt>
                <c:pt idx="726">
                  <c:v>0.16</c:v>
                </c:pt>
                <c:pt idx="727">
                  <c:v>0.1</c:v>
                </c:pt>
                <c:pt idx="728">
                  <c:v>0.21</c:v>
                </c:pt>
                <c:pt idx="729">
                  <c:v>0.09</c:v>
                </c:pt>
                <c:pt idx="730">
                  <c:v>0.08</c:v>
                </c:pt>
                <c:pt idx="731">
                  <c:v>0.18</c:v>
                </c:pt>
                <c:pt idx="732">
                  <c:v>0.32</c:v>
                </c:pt>
                <c:pt idx="733">
                  <c:v>0.08</c:v>
                </c:pt>
                <c:pt idx="734">
                  <c:v>0.63</c:v>
                </c:pt>
                <c:pt idx="735">
                  <c:v>0.84</c:v>
                </c:pt>
                <c:pt idx="736">
                  <c:v>0.19</c:v>
                </c:pt>
                <c:pt idx="737">
                  <c:v>0.05</c:v>
                </c:pt>
                <c:pt idx="738">
                  <c:v>0.66</c:v>
                </c:pt>
                <c:pt idx="739">
                  <c:v>0.11</c:v>
                </c:pt>
                <c:pt idx="740">
                  <c:v>0.22</c:v>
                </c:pt>
                <c:pt idx="741">
                  <c:v>0.43</c:v>
                </c:pt>
                <c:pt idx="742">
                  <c:v>0.25</c:v>
                </c:pt>
                <c:pt idx="743">
                  <c:v>0.18</c:v>
                </c:pt>
                <c:pt idx="744">
                  <c:v>0.08</c:v>
                </c:pt>
                <c:pt idx="745">
                  <c:v>0.36</c:v>
                </c:pt>
                <c:pt idx="746">
                  <c:v>0.05</c:v>
                </c:pt>
                <c:pt idx="747">
                  <c:v>0.11</c:v>
                </c:pt>
                <c:pt idx="748">
                  <c:v>0.16</c:v>
                </c:pt>
                <c:pt idx="749">
                  <c:v>0.16</c:v>
                </c:pt>
                <c:pt idx="750">
                  <c:v>0.37</c:v>
                </c:pt>
                <c:pt idx="751">
                  <c:v>0.82</c:v>
                </c:pt>
                <c:pt idx="752">
                  <c:v>0.17</c:v>
                </c:pt>
                <c:pt idx="753">
                  <c:v>0.08</c:v>
                </c:pt>
                <c:pt idx="754">
                  <c:v>0.08</c:v>
                </c:pt>
                <c:pt idx="755">
                  <c:v>0.14000000000000001</c:v>
                </c:pt>
                <c:pt idx="756">
                  <c:v>0.18</c:v>
                </c:pt>
                <c:pt idx="757">
                  <c:v>0.05</c:v>
                </c:pt>
                <c:pt idx="758">
                  <c:v>0.12</c:v>
                </c:pt>
                <c:pt idx="759">
                  <c:v>0.91</c:v>
                </c:pt>
                <c:pt idx="760">
                  <c:v>0.16</c:v>
                </c:pt>
                <c:pt idx="761">
                  <c:v>0.32</c:v>
                </c:pt>
                <c:pt idx="762">
                  <c:v>0.25</c:v>
                </c:pt>
                <c:pt idx="763">
                  <c:v>0.28999999999999998</c:v>
                </c:pt>
                <c:pt idx="764">
                  <c:v>0.94</c:v>
                </c:pt>
                <c:pt idx="765">
                  <c:v>0.06</c:v>
                </c:pt>
                <c:pt idx="766">
                  <c:v>0.13</c:v>
                </c:pt>
                <c:pt idx="767">
                  <c:v>0.11</c:v>
                </c:pt>
                <c:pt idx="768">
                  <c:v>0.16</c:v>
                </c:pt>
                <c:pt idx="769">
                  <c:v>0.08</c:v>
                </c:pt>
                <c:pt idx="770">
                  <c:v>0.81</c:v>
                </c:pt>
                <c:pt idx="771">
                  <c:v>0.51</c:v>
                </c:pt>
                <c:pt idx="772">
                  <c:v>0.42</c:v>
                </c:pt>
                <c:pt idx="773">
                  <c:v>0.99</c:v>
                </c:pt>
                <c:pt idx="774">
                  <c:v>0.12</c:v>
                </c:pt>
                <c:pt idx="775">
                  <c:v>7.0000000000000007E-2</c:v>
                </c:pt>
                <c:pt idx="776">
                  <c:v>0.22</c:v>
                </c:pt>
                <c:pt idx="777">
                  <c:v>0.1</c:v>
                </c:pt>
                <c:pt idx="778">
                  <c:v>0.12</c:v>
                </c:pt>
                <c:pt idx="779">
                  <c:v>0.45</c:v>
                </c:pt>
                <c:pt idx="780">
                  <c:v>0.09</c:v>
                </c:pt>
                <c:pt idx="781">
                  <c:v>0.96</c:v>
                </c:pt>
                <c:pt idx="782">
                  <c:v>0.16</c:v>
                </c:pt>
                <c:pt idx="783">
                  <c:v>0.05</c:v>
                </c:pt>
                <c:pt idx="784">
                  <c:v>0.15</c:v>
                </c:pt>
                <c:pt idx="785">
                  <c:v>0.1</c:v>
                </c:pt>
                <c:pt idx="786">
                  <c:v>0.18</c:v>
                </c:pt>
                <c:pt idx="787">
                  <c:v>0.96</c:v>
                </c:pt>
                <c:pt idx="788">
                  <c:v>0.22</c:v>
                </c:pt>
                <c:pt idx="789">
                  <c:v>0.11</c:v>
                </c:pt>
                <c:pt idx="790">
                  <c:v>0.11</c:v>
                </c:pt>
                <c:pt idx="791">
                  <c:v>0.19</c:v>
                </c:pt>
                <c:pt idx="792">
                  <c:v>0.94</c:v>
                </c:pt>
                <c:pt idx="793">
                  <c:v>7.0000000000000007E-2</c:v>
                </c:pt>
                <c:pt idx="794">
                  <c:v>0.05</c:v>
                </c:pt>
                <c:pt idx="795">
                  <c:v>0.72</c:v>
                </c:pt>
                <c:pt idx="796">
                  <c:v>0.16</c:v>
                </c:pt>
                <c:pt idx="797">
                  <c:v>0.12</c:v>
                </c:pt>
                <c:pt idx="798">
                  <c:v>0.08</c:v>
                </c:pt>
                <c:pt idx="799">
                  <c:v>0.13</c:v>
                </c:pt>
                <c:pt idx="800">
                  <c:v>0.1</c:v>
                </c:pt>
                <c:pt idx="801">
                  <c:v>0.06</c:v>
                </c:pt>
                <c:pt idx="802">
                  <c:v>0.09</c:v>
                </c:pt>
                <c:pt idx="803">
                  <c:v>0.21</c:v>
                </c:pt>
                <c:pt idx="804">
                  <c:v>0.56000000000000005</c:v>
                </c:pt>
                <c:pt idx="805">
                  <c:v>0.92</c:v>
                </c:pt>
                <c:pt idx="806">
                  <c:v>0.15</c:v>
                </c:pt>
                <c:pt idx="807">
                  <c:v>0.82</c:v>
                </c:pt>
                <c:pt idx="808">
                  <c:v>0.15</c:v>
                </c:pt>
                <c:pt idx="809">
                  <c:v>0.02</c:v>
                </c:pt>
                <c:pt idx="810">
                  <c:v>0.85</c:v>
                </c:pt>
                <c:pt idx="811">
                  <c:v>0.53</c:v>
                </c:pt>
                <c:pt idx="812">
                  <c:v>0.13</c:v>
                </c:pt>
                <c:pt idx="813">
                  <c:v>0.17</c:v>
                </c:pt>
                <c:pt idx="814">
                  <c:v>0.11</c:v>
                </c:pt>
                <c:pt idx="815">
                  <c:v>0.09</c:v>
                </c:pt>
                <c:pt idx="816">
                  <c:v>0.24</c:v>
                </c:pt>
                <c:pt idx="817">
                  <c:v>0.04</c:v>
                </c:pt>
                <c:pt idx="818">
                  <c:v>0.13</c:v>
                </c:pt>
                <c:pt idx="819">
                  <c:v>0.13</c:v>
                </c:pt>
                <c:pt idx="820">
                  <c:v>0.89</c:v>
                </c:pt>
                <c:pt idx="821">
                  <c:v>0.14000000000000001</c:v>
                </c:pt>
                <c:pt idx="822">
                  <c:v>0.67</c:v>
                </c:pt>
                <c:pt idx="823">
                  <c:v>0.11</c:v>
                </c:pt>
                <c:pt idx="824">
                  <c:v>0.15</c:v>
                </c:pt>
                <c:pt idx="825">
                  <c:v>0.09</c:v>
                </c:pt>
                <c:pt idx="826">
                  <c:v>0.11</c:v>
                </c:pt>
                <c:pt idx="827">
                  <c:v>0.85</c:v>
                </c:pt>
                <c:pt idx="828">
                  <c:v>0.68</c:v>
                </c:pt>
                <c:pt idx="829">
                  <c:v>0.38</c:v>
                </c:pt>
                <c:pt idx="830">
                  <c:v>0.11</c:v>
                </c:pt>
                <c:pt idx="831">
                  <c:v>0.06</c:v>
                </c:pt>
                <c:pt idx="832">
                  <c:v>0.96</c:v>
                </c:pt>
                <c:pt idx="833">
                  <c:v>0.02</c:v>
                </c:pt>
                <c:pt idx="834">
                  <c:v>0.25</c:v>
                </c:pt>
                <c:pt idx="835">
                  <c:v>0.12</c:v>
                </c:pt>
                <c:pt idx="836">
                  <c:v>0.05</c:v>
                </c:pt>
                <c:pt idx="837">
                  <c:v>0.2</c:v>
                </c:pt>
                <c:pt idx="838">
                  <c:v>0.13</c:v>
                </c:pt>
                <c:pt idx="839">
                  <c:v>0.06</c:v>
                </c:pt>
                <c:pt idx="840">
                  <c:v>0.18</c:v>
                </c:pt>
                <c:pt idx="841">
                  <c:v>0.11</c:v>
                </c:pt>
                <c:pt idx="842">
                  <c:v>0.03</c:v>
                </c:pt>
                <c:pt idx="843">
                  <c:v>0.11</c:v>
                </c:pt>
                <c:pt idx="844">
                  <c:v>0.1</c:v>
                </c:pt>
                <c:pt idx="845">
                  <c:v>0.15</c:v>
                </c:pt>
                <c:pt idx="846">
                  <c:v>0.04</c:v>
                </c:pt>
                <c:pt idx="847">
                  <c:v>0.86</c:v>
                </c:pt>
                <c:pt idx="848">
                  <c:v>0.02</c:v>
                </c:pt>
                <c:pt idx="849">
                  <c:v>0.05</c:v>
                </c:pt>
                <c:pt idx="850">
                  <c:v>0.56000000000000005</c:v>
                </c:pt>
                <c:pt idx="851">
                  <c:v>0.26</c:v>
                </c:pt>
                <c:pt idx="852">
                  <c:v>0.39</c:v>
                </c:pt>
                <c:pt idx="853">
                  <c:v>7.0000000000000007E-2</c:v>
                </c:pt>
                <c:pt idx="854">
                  <c:v>0.1</c:v>
                </c:pt>
                <c:pt idx="855">
                  <c:v>0.14000000000000001</c:v>
                </c:pt>
                <c:pt idx="856">
                  <c:v>0.06</c:v>
                </c:pt>
                <c:pt idx="857">
                  <c:v>0.5</c:v>
                </c:pt>
                <c:pt idx="858">
                  <c:v>0.02</c:v>
                </c:pt>
                <c:pt idx="859">
                  <c:v>0.14000000000000001</c:v>
                </c:pt>
                <c:pt idx="860">
                  <c:v>0.13</c:v>
                </c:pt>
                <c:pt idx="861">
                  <c:v>0.05</c:v>
                </c:pt>
                <c:pt idx="862">
                  <c:v>0.16</c:v>
                </c:pt>
                <c:pt idx="863">
                  <c:v>0.08</c:v>
                </c:pt>
                <c:pt idx="864">
                  <c:v>0.16</c:v>
                </c:pt>
                <c:pt idx="865">
                  <c:v>0.09</c:v>
                </c:pt>
                <c:pt idx="866">
                  <c:v>0.84</c:v>
                </c:pt>
                <c:pt idx="867">
                  <c:v>0.31</c:v>
                </c:pt>
                <c:pt idx="868">
                  <c:v>0.92</c:v>
                </c:pt>
                <c:pt idx="869">
                  <c:v>0.08</c:v>
                </c:pt>
                <c:pt idx="870">
                  <c:v>0.73</c:v>
                </c:pt>
                <c:pt idx="871">
                  <c:v>0.14000000000000001</c:v>
                </c:pt>
                <c:pt idx="872">
                  <c:v>0.37</c:v>
                </c:pt>
                <c:pt idx="873">
                  <c:v>0.15</c:v>
                </c:pt>
                <c:pt idx="874">
                  <c:v>0.06</c:v>
                </c:pt>
                <c:pt idx="875">
                  <c:v>0.8</c:v>
                </c:pt>
                <c:pt idx="876">
                  <c:v>7.0000000000000007E-2</c:v>
                </c:pt>
                <c:pt idx="877">
                  <c:v>0.18</c:v>
                </c:pt>
                <c:pt idx="878">
                  <c:v>7.0000000000000007E-2</c:v>
                </c:pt>
                <c:pt idx="879">
                  <c:v>7.0000000000000007E-2</c:v>
                </c:pt>
                <c:pt idx="880">
                  <c:v>0.45</c:v>
                </c:pt>
                <c:pt idx="881">
                  <c:v>0.2</c:v>
                </c:pt>
                <c:pt idx="882">
                  <c:v>0.14000000000000001</c:v>
                </c:pt>
                <c:pt idx="883">
                  <c:v>0.11</c:v>
                </c:pt>
                <c:pt idx="884">
                  <c:v>0.86</c:v>
                </c:pt>
                <c:pt idx="885">
                  <c:v>0.11</c:v>
                </c:pt>
                <c:pt idx="886">
                  <c:v>0.08</c:v>
                </c:pt>
                <c:pt idx="887">
                  <c:v>0.62</c:v>
                </c:pt>
                <c:pt idx="888">
                  <c:v>0.13</c:v>
                </c:pt>
                <c:pt idx="889">
                  <c:v>7.0000000000000007E-2</c:v>
                </c:pt>
                <c:pt idx="890">
                  <c:v>0.01</c:v>
                </c:pt>
                <c:pt idx="891">
                  <c:v>0.04</c:v>
                </c:pt>
                <c:pt idx="892">
                  <c:v>0.09</c:v>
                </c:pt>
                <c:pt idx="893">
                  <c:v>0.18</c:v>
                </c:pt>
                <c:pt idx="894">
                  <c:v>0.05</c:v>
                </c:pt>
                <c:pt idx="895">
                  <c:v>0.63</c:v>
                </c:pt>
                <c:pt idx="896">
                  <c:v>0.12</c:v>
                </c:pt>
                <c:pt idx="897">
                  <c:v>0.11</c:v>
                </c:pt>
                <c:pt idx="898">
                  <c:v>0.73</c:v>
                </c:pt>
                <c:pt idx="899">
                  <c:v>0.12</c:v>
                </c:pt>
                <c:pt idx="900">
                  <c:v>0.09</c:v>
                </c:pt>
                <c:pt idx="901">
                  <c:v>0.06</c:v>
                </c:pt>
                <c:pt idx="902">
                  <c:v>0.04</c:v>
                </c:pt>
                <c:pt idx="903">
                  <c:v>0.2</c:v>
                </c:pt>
                <c:pt idx="904">
                  <c:v>0.09</c:v>
                </c:pt>
                <c:pt idx="905">
                  <c:v>0.03</c:v>
                </c:pt>
                <c:pt idx="906">
                  <c:v>0.65</c:v>
                </c:pt>
                <c:pt idx="907">
                  <c:v>0.06</c:v>
                </c:pt>
                <c:pt idx="908">
                  <c:v>0.09</c:v>
                </c:pt>
                <c:pt idx="909">
                  <c:v>0.4</c:v>
                </c:pt>
                <c:pt idx="910">
                  <c:v>0.12</c:v>
                </c:pt>
                <c:pt idx="911">
                  <c:v>0.16</c:v>
                </c:pt>
                <c:pt idx="912">
                  <c:v>0.14000000000000001</c:v>
                </c:pt>
                <c:pt idx="913">
                  <c:v>0.33</c:v>
                </c:pt>
                <c:pt idx="914">
                  <c:v>0.02</c:v>
                </c:pt>
                <c:pt idx="915">
                  <c:v>0.32</c:v>
                </c:pt>
                <c:pt idx="916">
                  <c:v>0.84</c:v>
                </c:pt>
                <c:pt idx="917">
                  <c:v>0.16</c:v>
                </c:pt>
                <c:pt idx="918">
                  <c:v>0.05</c:v>
                </c:pt>
                <c:pt idx="919">
                  <c:v>0.14000000000000001</c:v>
                </c:pt>
                <c:pt idx="920">
                  <c:v>7.0000000000000007E-2</c:v>
                </c:pt>
                <c:pt idx="921">
                  <c:v>0.24</c:v>
                </c:pt>
                <c:pt idx="922">
                  <c:v>0.03</c:v>
                </c:pt>
                <c:pt idx="923">
                  <c:v>0.18</c:v>
                </c:pt>
                <c:pt idx="924">
                  <c:v>0.67</c:v>
                </c:pt>
                <c:pt idx="925">
                  <c:v>7.0000000000000007E-2</c:v>
                </c:pt>
                <c:pt idx="926">
                  <c:v>7.0000000000000007E-2</c:v>
                </c:pt>
                <c:pt idx="927">
                  <c:v>0.13</c:v>
                </c:pt>
                <c:pt idx="928">
                  <c:v>0.1</c:v>
                </c:pt>
                <c:pt idx="929">
                  <c:v>0.09</c:v>
                </c:pt>
                <c:pt idx="930">
                  <c:v>7.0000000000000007E-2</c:v>
                </c:pt>
                <c:pt idx="931">
                  <c:v>0.03</c:v>
                </c:pt>
                <c:pt idx="932">
                  <c:v>0.03</c:v>
                </c:pt>
                <c:pt idx="933">
                  <c:v>0.09</c:v>
                </c:pt>
                <c:pt idx="934">
                  <c:v>0.08</c:v>
                </c:pt>
                <c:pt idx="935">
                  <c:v>0.04</c:v>
                </c:pt>
                <c:pt idx="936">
                  <c:v>0.81</c:v>
                </c:pt>
                <c:pt idx="937">
                  <c:v>0.05</c:v>
                </c:pt>
                <c:pt idx="938">
                  <c:v>7.0000000000000007E-2</c:v>
                </c:pt>
                <c:pt idx="939">
                  <c:v>0.09</c:v>
                </c:pt>
                <c:pt idx="940">
                  <c:v>0.03</c:v>
                </c:pt>
                <c:pt idx="941">
                  <c:v>0.06</c:v>
                </c:pt>
                <c:pt idx="942">
                  <c:v>0.24</c:v>
                </c:pt>
                <c:pt idx="943">
                  <c:v>0.21</c:v>
                </c:pt>
                <c:pt idx="944">
                  <c:v>7.0000000000000007E-2</c:v>
                </c:pt>
                <c:pt idx="945">
                  <c:v>0.02</c:v>
                </c:pt>
                <c:pt idx="946">
                  <c:v>0.14000000000000001</c:v>
                </c:pt>
                <c:pt idx="947">
                  <c:v>0.04</c:v>
                </c:pt>
                <c:pt idx="948">
                  <c:v>0.14000000000000001</c:v>
                </c:pt>
                <c:pt idx="949">
                  <c:v>0.05</c:v>
                </c:pt>
                <c:pt idx="950">
                  <c:v>7.0000000000000007E-2</c:v>
                </c:pt>
                <c:pt idx="951">
                  <c:v>0.02</c:v>
                </c:pt>
                <c:pt idx="952">
                  <c:v>0.13</c:v>
                </c:pt>
                <c:pt idx="953">
                  <c:v>0.21</c:v>
                </c:pt>
                <c:pt idx="954">
                  <c:v>0.06</c:v>
                </c:pt>
                <c:pt idx="955">
                  <c:v>0.09</c:v>
                </c:pt>
                <c:pt idx="956">
                  <c:v>0.11</c:v>
                </c:pt>
                <c:pt idx="957">
                  <c:v>0.18</c:v>
                </c:pt>
                <c:pt idx="958">
                  <c:v>0.2</c:v>
                </c:pt>
                <c:pt idx="959">
                  <c:v>0.06</c:v>
                </c:pt>
                <c:pt idx="960">
                  <c:v>7.0000000000000007E-2</c:v>
                </c:pt>
                <c:pt idx="961">
                  <c:v>0.47</c:v>
                </c:pt>
                <c:pt idx="962">
                  <c:v>0.55000000000000004</c:v>
                </c:pt>
                <c:pt idx="963">
                  <c:v>0.04</c:v>
                </c:pt>
                <c:pt idx="964">
                  <c:v>0.04</c:v>
                </c:pt>
                <c:pt idx="965">
                  <c:v>0.08</c:v>
                </c:pt>
                <c:pt idx="966">
                  <c:v>0.14000000000000001</c:v>
                </c:pt>
                <c:pt idx="967">
                  <c:v>0.03</c:v>
                </c:pt>
                <c:pt idx="968">
                  <c:v>0.2</c:v>
                </c:pt>
                <c:pt idx="969">
                  <c:v>0.21</c:v>
                </c:pt>
                <c:pt idx="970">
                  <c:v>0.08</c:v>
                </c:pt>
                <c:pt idx="971">
                  <c:v>0.06</c:v>
                </c:pt>
                <c:pt idx="972">
                  <c:v>0.09</c:v>
                </c:pt>
                <c:pt idx="973">
                  <c:v>0.01</c:v>
                </c:pt>
                <c:pt idx="974">
                  <c:v>0.13</c:v>
                </c:pt>
                <c:pt idx="975">
                  <c:v>0.04</c:v>
                </c:pt>
                <c:pt idx="976">
                  <c:v>0.14000000000000001</c:v>
                </c:pt>
                <c:pt idx="977">
                  <c:v>0.11</c:v>
                </c:pt>
                <c:pt idx="978">
                  <c:v>0.43</c:v>
                </c:pt>
                <c:pt idx="979">
                  <c:v>0.06</c:v>
                </c:pt>
                <c:pt idx="980">
                  <c:v>0.04</c:v>
                </c:pt>
                <c:pt idx="981">
                  <c:v>0.03</c:v>
                </c:pt>
                <c:pt idx="982">
                  <c:v>0.08</c:v>
                </c:pt>
                <c:pt idx="983">
                  <c:v>0.05</c:v>
                </c:pt>
                <c:pt idx="984">
                  <c:v>0.1</c:v>
                </c:pt>
                <c:pt idx="985">
                  <c:v>0.1</c:v>
                </c:pt>
                <c:pt idx="986">
                  <c:v>7.0000000000000007E-2</c:v>
                </c:pt>
                <c:pt idx="987">
                  <c:v>0.39</c:v>
                </c:pt>
                <c:pt idx="988">
                  <c:v>0.11</c:v>
                </c:pt>
                <c:pt idx="989">
                  <c:v>0.11</c:v>
                </c:pt>
                <c:pt idx="990">
                  <c:v>0.05</c:v>
                </c:pt>
                <c:pt idx="991">
                  <c:v>0.15</c:v>
                </c:pt>
                <c:pt idx="992">
                  <c:v>0.1</c:v>
                </c:pt>
                <c:pt idx="993">
                  <c:v>0.09</c:v>
                </c:pt>
                <c:pt idx="994">
                  <c:v>0.11</c:v>
                </c:pt>
                <c:pt idx="995">
                  <c:v>0.64</c:v>
                </c:pt>
                <c:pt idx="996">
                  <c:v>0.02</c:v>
                </c:pt>
                <c:pt idx="997">
                  <c:v>0.08</c:v>
                </c:pt>
                <c:pt idx="998">
                  <c:v>0.04</c:v>
                </c:pt>
                <c:pt idx="999">
                  <c:v>0.17</c:v>
                </c:pt>
                <c:pt idx="1000">
                  <c:v>0.11</c:v>
                </c:pt>
                <c:pt idx="1001">
                  <c:v>0.09</c:v>
                </c:pt>
                <c:pt idx="1002">
                  <c:v>0.11</c:v>
                </c:pt>
                <c:pt idx="1003">
                  <c:v>0.03</c:v>
                </c:pt>
                <c:pt idx="1004">
                  <c:v>0.06</c:v>
                </c:pt>
                <c:pt idx="1005">
                  <c:v>0.25</c:v>
                </c:pt>
                <c:pt idx="1006">
                  <c:v>0.12</c:v>
                </c:pt>
                <c:pt idx="1007">
                  <c:v>0.11</c:v>
                </c:pt>
                <c:pt idx="1008">
                  <c:v>0.02</c:v>
                </c:pt>
                <c:pt idx="1009">
                  <c:v>0.01</c:v>
                </c:pt>
                <c:pt idx="1010">
                  <c:v>0.09</c:v>
                </c:pt>
                <c:pt idx="1011">
                  <c:v>7.0000000000000007E-2</c:v>
                </c:pt>
                <c:pt idx="1012">
                  <c:v>0.03</c:v>
                </c:pt>
                <c:pt idx="1013">
                  <c:v>0.08</c:v>
                </c:pt>
                <c:pt idx="1014">
                  <c:v>0.15</c:v>
                </c:pt>
                <c:pt idx="1015">
                  <c:v>0.06</c:v>
                </c:pt>
                <c:pt idx="1016">
                  <c:v>0.02</c:v>
                </c:pt>
                <c:pt idx="1017">
                  <c:v>0.06</c:v>
                </c:pt>
                <c:pt idx="1018">
                  <c:v>0.06</c:v>
                </c:pt>
                <c:pt idx="1019">
                  <c:v>0.26</c:v>
                </c:pt>
                <c:pt idx="1020">
                  <c:v>0.12</c:v>
                </c:pt>
                <c:pt idx="1021">
                  <c:v>0.19</c:v>
                </c:pt>
                <c:pt idx="1022">
                  <c:v>0.06</c:v>
                </c:pt>
                <c:pt idx="1023">
                  <c:v>0.01</c:v>
                </c:pt>
                <c:pt idx="1024">
                  <c:v>0.05</c:v>
                </c:pt>
                <c:pt idx="1025">
                  <c:v>0.11</c:v>
                </c:pt>
                <c:pt idx="1026">
                  <c:v>0.2</c:v>
                </c:pt>
                <c:pt idx="1027">
                  <c:v>0.05</c:v>
                </c:pt>
                <c:pt idx="1028">
                  <c:v>0.03</c:v>
                </c:pt>
                <c:pt idx="1029">
                  <c:v>0.02</c:v>
                </c:pt>
                <c:pt idx="1030">
                  <c:v>0.03</c:v>
                </c:pt>
                <c:pt idx="1031">
                  <c:v>0.5</c:v>
                </c:pt>
                <c:pt idx="1032">
                  <c:v>0.03</c:v>
                </c:pt>
                <c:pt idx="1033">
                  <c:v>0.09</c:v>
                </c:pt>
                <c:pt idx="1034">
                  <c:v>0.17</c:v>
                </c:pt>
                <c:pt idx="1035">
                  <c:v>0.14000000000000001</c:v>
                </c:pt>
                <c:pt idx="1036">
                  <c:v>0.01</c:v>
                </c:pt>
                <c:pt idx="1037">
                  <c:v>0.13</c:v>
                </c:pt>
                <c:pt idx="1038">
                  <c:v>0.04</c:v>
                </c:pt>
                <c:pt idx="1039">
                  <c:v>0.04</c:v>
                </c:pt>
                <c:pt idx="1040">
                  <c:v>0.03</c:v>
                </c:pt>
                <c:pt idx="1041">
                  <c:v>0.11</c:v>
                </c:pt>
                <c:pt idx="1042">
                  <c:v>0.51</c:v>
                </c:pt>
                <c:pt idx="1043">
                  <c:v>0.02</c:v>
                </c:pt>
                <c:pt idx="1044">
                  <c:v>0.02</c:v>
                </c:pt>
                <c:pt idx="1045">
                  <c:v>0.05</c:v>
                </c:pt>
                <c:pt idx="1046">
                  <c:v>0.03</c:v>
                </c:pt>
                <c:pt idx="1047">
                  <c:v>0.15</c:v>
                </c:pt>
                <c:pt idx="1048">
                  <c:v>0.05</c:v>
                </c:pt>
                <c:pt idx="1049">
                  <c:v>0.03</c:v>
                </c:pt>
                <c:pt idx="1050">
                  <c:v>0.04</c:v>
                </c:pt>
                <c:pt idx="1051">
                  <c:v>0.05</c:v>
                </c:pt>
                <c:pt idx="1052">
                  <c:v>7.0000000000000007E-2</c:v>
                </c:pt>
                <c:pt idx="1053">
                  <c:v>7.0000000000000007E-2</c:v>
                </c:pt>
                <c:pt idx="1054">
                  <c:v>0.09</c:v>
                </c:pt>
                <c:pt idx="1055">
                  <c:v>0.14000000000000001</c:v>
                </c:pt>
                <c:pt idx="1056">
                  <c:v>0.16</c:v>
                </c:pt>
                <c:pt idx="1057">
                  <c:v>0.1</c:v>
                </c:pt>
                <c:pt idx="1058">
                  <c:v>0.05</c:v>
                </c:pt>
                <c:pt idx="1059">
                  <c:v>0.08</c:v>
                </c:pt>
                <c:pt idx="1060">
                  <c:v>0.06</c:v>
                </c:pt>
                <c:pt idx="1061">
                  <c:v>0.05</c:v>
                </c:pt>
                <c:pt idx="1062">
                  <c:v>0.02</c:v>
                </c:pt>
                <c:pt idx="1063">
                  <c:v>0.02</c:v>
                </c:pt>
                <c:pt idx="1064">
                  <c:v>0.05</c:v>
                </c:pt>
                <c:pt idx="1065">
                  <c:v>0.04</c:v>
                </c:pt>
                <c:pt idx="1066">
                  <c:v>0.06</c:v>
                </c:pt>
                <c:pt idx="1067">
                  <c:v>0.08</c:v>
                </c:pt>
                <c:pt idx="1068">
                  <c:v>0.08</c:v>
                </c:pt>
                <c:pt idx="1069">
                  <c:v>0.16</c:v>
                </c:pt>
                <c:pt idx="1070">
                  <c:v>0.01</c:v>
                </c:pt>
                <c:pt idx="1071">
                  <c:v>0.1</c:v>
                </c:pt>
                <c:pt idx="1072">
                  <c:v>0.03</c:v>
                </c:pt>
                <c:pt idx="1073">
                  <c:v>0.05</c:v>
                </c:pt>
                <c:pt idx="1074">
                  <c:v>0.11</c:v>
                </c:pt>
                <c:pt idx="1075">
                  <c:v>0.11</c:v>
                </c:pt>
                <c:pt idx="1076">
                  <c:v>0.05</c:v>
                </c:pt>
                <c:pt idx="1077">
                  <c:v>0.12</c:v>
                </c:pt>
                <c:pt idx="1078">
                  <c:v>0.06</c:v>
                </c:pt>
                <c:pt idx="1079">
                  <c:v>0.08</c:v>
                </c:pt>
                <c:pt idx="1080">
                  <c:v>0.01</c:v>
                </c:pt>
                <c:pt idx="1081">
                  <c:v>0.13</c:v>
                </c:pt>
                <c:pt idx="1082">
                  <c:v>0.03</c:v>
                </c:pt>
                <c:pt idx="1083">
                  <c:v>0.44</c:v>
                </c:pt>
                <c:pt idx="1084">
                  <c:v>0.06</c:v>
                </c:pt>
                <c:pt idx="1085">
                  <c:v>0.03</c:v>
                </c:pt>
                <c:pt idx="1086">
                  <c:v>0.09</c:v>
                </c:pt>
                <c:pt idx="1087">
                  <c:v>0.35</c:v>
                </c:pt>
                <c:pt idx="1088">
                  <c:v>0.02</c:v>
                </c:pt>
                <c:pt idx="1089">
                  <c:v>0.12</c:v>
                </c:pt>
                <c:pt idx="1090">
                  <c:v>0.04</c:v>
                </c:pt>
                <c:pt idx="1091">
                  <c:v>0.09</c:v>
                </c:pt>
                <c:pt idx="1092">
                  <c:v>0.05</c:v>
                </c:pt>
                <c:pt idx="1093">
                  <c:v>0.17</c:v>
                </c:pt>
                <c:pt idx="1094">
                  <c:v>7.0000000000000007E-2</c:v>
                </c:pt>
                <c:pt idx="1095">
                  <c:v>0.03</c:v>
                </c:pt>
                <c:pt idx="1096">
                  <c:v>0.4</c:v>
                </c:pt>
                <c:pt idx="1097">
                  <c:v>0.22</c:v>
                </c:pt>
                <c:pt idx="1098">
                  <c:v>0.01</c:v>
                </c:pt>
                <c:pt idx="1099">
                  <c:v>0.08</c:v>
                </c:pt>
                <c:pt idx="1100">
                  <c:v>0.09</c:v>
                </c:pt>
                <c:pt idx="1101">
                  <c:v>0.03</c:v>
                </c:pt>
                <c:pt idx="1102">
                  <c:v>0.03</c:v>
                </c:pt>
                <c:pt idx="1103">
                  <c:v>0.1</c:v>
                </c:pt>
                <c:pt idx="1104">
                  <c:v>0.13</c:v>
                </c:pt>
                <c:pt idx="1105">
                  <c:v>0.15</c:v>
                </c:pt>
                <c:pt idx="1106">
                  <c:v>0.16</c:v>
                </c:pt>
                <c:pt idx="1107">
                  <c:v>7.0000000000000007E-2</c:v>
                </c:pt>
                <c:pt idx="1108">
                  <c:v>0.06</c:v>
                </c:pt>
                <c:pt idx="1109">
                  <c:v>0.02</c:v>
                </c:pt>
                <c:pt idx="1110">
                  <c:v>0.03</c:v>
                </c:pt>
                <c:pt idx="1111">
                  <c:v>0.13</c:v>
                </c:pt>
                <c:pt idx="1112">
                  <c:v>0.08</c:v>
                </c:pt>
                <c:pt idx="1113">
                  <c:v>0.09</c:v>
                </c:pt>
                <c:pt idx="1114">
                  <c:v>7.0000000000000007E-2</c:v>
                </c:pt>
                <c:pt idx="1115">
                  <c:v>0.04</c:v>
                </c:pt>
                <c:pt idx="1116">
                  <c:v>0.06</c:v>
                </c:pt>
                <c:pt idx="1117">
                  <c:v>0.02</c:v>
                </c:pt>
                <c:pt idx="1118">
                  <c:v>0.04</c:v>
                </c:pt>
                <c:pt idx="1119">
                  <c:v>0.02</c:v>
                </c:pt>
                <c:pt idx="1120">
                  <c:v>0.15</c:v>
                </c:pt>
                <c:pt idx="1121">
                  <c:v>0.04</c:v>
                </c:pt>
                <c:pt idx="1122">
                  <c:v>0.06</c:v>
                </c:pt>
                <c:pt idx="1123">
                  <c:v>0.13</c:v>
                </c:pt>
                <c:pt idx="1124">
                  <c:v>7.0000000000000007E-2</c:v>
                </c:pt>
                <c:pt idx="1125">
                  <c:v>0.05</c:v>
                </c:pt>
                <c:pt idx="1126">
                  <c:v>0.09</c:v>
                </c:pt>
                <c:pt idx="1127">
                  <c:v>0.15</c:v>
                </c:pt>
                <c:pt idx="1128">
                  <c:v>0.08</c:v>
                </c:pt>
                <c:pt idx="1129">
                  <c:v>0.03</c:v>
                </c:pt>
                <c:pt idx="1130">
                  <c:v>0.03</c:v>
                </c:pt>
                <c:pt idx="1131">
                  <c:v>7.0000000000000007E-2</c:v>
                </c:pt>
                <c:pt idx="1132">
                  <c:v>0.14000000000000001</c:v>
                </c:pt>
                <c:pt idx="1133">
                  <c:v>0.09</c:v>
                </c:pt>
                <c:pt idx="1134">
                  <c:v>0.03</c:v>
                </c:pt>
                <c:pt idx="1135">
                  <c:v>0.01</c:v>
                </c:pt>
                <c:pt idx="1136">
                  <c:v>0.01</c:v>
                </c:pt>
                <c:pt idx="1137">
                  <c:v>0.03</c:v>
                </c:pt>
                <c:pt idx="1138">
                  <c:v>7.0000000000000007E-2</c:v>
                </c:pt>
                <c:pt idx="1139">
                  <c:v>0.04</c:v>
                </c:pt>
                <c:pt idx="1140">
                  <c:v>0.01</c:v>
                </c:pt>
                <c:pt idx="1141">
                  <c:v>0.1</c:v>
                </c:pt>
                <c:pt idx="1142">
                  <c:v>0.09</c:v>
                </c:pt>
                <c:pt idx="1143">
                  <c:v>0.01</c:v>
                </c:pt>
                <c:pt idx="1144">
                  <c:v>0.01</c:v>
                </c:pt>
                <c:pt idx="1145">
                  <c:v>0.09</c:v>
                </c:pt>
                <c:pt idx="1146">
                  <c:v>0.02</c:v>
                </c:pt>
                <c:pt idx="1147">
                  <c:v>0.04</c:v>
                </c:pt>
                <c:pt idx="1148">
                  <c:v>0.04</c:v>
                </c:pt>
                <c:pt idx="1149">
                  <c:v>0.23</c:v>
                </c:pt>
                <c:pt idx="1150">
                  <c:v>0.06</c:v>
                </c:pt>
                <c:pt idx="1151">
                  <c:v>0.04</c:v>
                </c:pt>
                <c:pt idx="1152">
                  <c:v>7.0000000000000007E-2</c:v>
                </c:pt>
                <c:pt idx="1153">
                  <c:v>0.21</c:v>
                </c:pt>
                <c:pt idx="1154">
                  <c:v>0.08</c:v>
                </c:pt>
                <c:pt idx="1155">
                  <c:v>0.03</c:v>
                </c:pt>
                <c:pt idx="1156">
                  <c:v>0.06</c:v>
                </c:pt>
                <c:pt idx="1157">
                  <c:v>0.03</c:v>
                </c:pt>
                <c:pt idx="1158">
                  <c:v>0.1</c:v>
                </c:pt>
                <c:pt idx="1159">
                  <c:v>0.05</c:v>
                </c:pt>
                <c:pt idx="1160">
                  <c:v>0.06</c:v>
                </c:pt>
                <c:pt idx="1161">
                  <c:v>0.01</c:v>
                </c:pt>
                <c:pt idx="1162">
                  <c:v>7.0000000000000007E-2</c:v>
                </c:pt>
                <c:pt idx="1163">
                  <c:v>0.03</c:v>
                </c:pt>
                <c:pt idx="1164">
                  <c:v>0.04</c:v>
                </c:pt>
                <c:pt idx="1165">
                  <c:v>0.12</c:v>
                </c:pt>
                <c:pt idx="1166">
                  <c:v>0.11</c:v>
                </c:pt>
                <c:pt idx="1167">
                  <c:v>0.03</c:v>
                </c:pt>
                <c:pt idx="1168">
                  <c:v>0.03</c:v>
                </c:pt>
                <c:pt idx="1169">
                  <c:v>0.02</c:v>
                </c:pt>
                <c:pt idx="1170">
                  <c:v>0.11</c:v>
                </c:pt>
                <c:pt idx="1171">
                  <c:v>0.02</c:v>
                </c:pt>
                <c:pt idx="1172">
                  <c:v>0.05</c:v>
                </c:pt>
                <c:pt idx="1173">
                  <c:v>0.15</c:v>
                </c:pt>
                <c:pt idx="1174">
                  <c:v>0.03</c:v>
                </c:pt>
                <c:pt idx="1175">
                  <c:v>0.14000000000000001</c:v>
                </c:pt>
                <c:pt idx="1176">
                  <c:v>0.15</c:v>
                </c:pt>
                <c:pt idx="1177">
                  <c:v>0.06</c:v>
                </c:pt>
                <c:pt idx="1178">
                  <c:v>0.04</c:v>
                </c:pt>
                <c:pt idx="1179">
                  <c:v>0.05</c:v>
                </c:pt>
                <c:pt idx="1180">
                  <c:v>0.09</c:v>
                </c:pt>
                <c:pt idx="1181">
                  <c:v>0.12</c:v>
                </c:pt>
                <c:pt idx="1182">
                  <c:v>0.08</c:v>
                </c:pt>
                <c:pt idx="1183">
                  <c:v>0.02</c:v>
                </c:pt>
                <c:pt idx="1184">
                  <c:v>0.1</c:v>
                </c:pt>
                <c:pt idx="1185">
                  <c:v>7.0000000000000007E-2</c:v>
                </c:pt>
                <c:pt idx="1186">
                  <c:v>0.03</c:v>
                </c:pt>
                <c:pt idx="1187">
                  <c:v>0.11</c:v>
                </c:pt>
                <c:pt idx="1188">
                  <c:v>0.04</c:v>
                </c:pt>
                <c:pt idx="1189">
                  <c:v>0.01</c:v>
                </c:pt>
                <c:pt idx="1190">
                  <c:v>0.04</c:v>
                </c:pt>
                <c:pt idx="1191">
                  <c:v>0.06</c:v>
                </c:pt>
                <c:pt idx="1192">
                  <c:v>0.09</c:v>
                </c:pt>
                <c:pt idx="1193">
                  <c:v>0.13</c:v>
                </c:pt>
                <c:pt idx="1194">
                  <c:v>0.03</c:v>
                </c:pt>
                <c:pt idx="1195">
                  <c:v>0.01</c:v>
                </c:pt>
                <c:pt idx="1196">
                  <c:v>0.03</c:v>
                </c:pt>
                <c:pt idx="1197">
                  <c:v>0.06</c:v>
                </c:pt>
                <c:pt idx="1198">
                  <c:v>0.06</c:v>
                </c:pt>
                <c:pt idx="1199">
                  <c:v>0.15</c:v>
                </c:pt>
                <c:pt idx="1200">
                  <c:v>0.02</c:v>
                </c:pt>
                <c:pt idx="1201">
                  <c:v>0.04</c:v>
                </c:pt>
                <c:pt idx="1202">
                  <c:v>0.14000000000000001</c:v>
                </c:pt>
                <c:pt idx="1203">
                  <c:v>0.41</c:v>
                </c:pt>
                <c:pt idx="1204">
                  <c:v>0.13</c:v>
                </c:pt>
                <c:pt idx="1205">
                  <c:v>0.05</c:v>
                </c:pt>
                <c:pt idx="1206">
                  <c:v>0.06</c:v>
                </c:pt>
                <c:pt idx="1207">
                  <c:v>0.01</c:v>
                </c:pt>
                <c:pt idx="1208">
                  <c:v>0.02</c:v>
                </c:pt>
                <c:pt idx="1209">
                  <c:v>0.03</c:v>
                </c:pt>
                <c:pt idx="1210">
                  <c:v>0.02</c:v>
                </c:pt>
                <c:pt idx="1211">
                  <c:v>0.12</c:v>
                </c:pt>
                <c:pt idx="1212">
                  <c:v>0.04</c:v>
                </c:pt>
                <c:pt idx="1213">
                  <c:v>0.02</c:v>
                </c:pt>
                <c:pt idx="1214">
                  <c:v>0.01</c:v>
                </c:pt>
                <c:pt idx="1215">
                  <c:v>0.06</c:v>
                </c:pt>
                <c:pt idx="1216">
                  <c:v>0.04</c:v>
                </c:pt>
                <c:pt idx="1217">
                  <c:v>0.06</c:v>
                </c:pt>
                <c:pt idx="1218">
                  <c:v>0.02</c:v>
                </c:pt>
                <c:pt idx="1219">
                  <c:v>0.04</c:v>
                </c:pt>
                <c:pt idx="1220">
                  <c:v>7.0000000000000007E-2</c:v>
                </c:pt>
                <c:pt idx="1221">
                  <c:v>0.25</c:v>
                </c:pt>
                <c:pt idx="1222">
                  <c:v>0.03</c:v>
                </c:pt>
                <c:pt idx="1223">
                  <c:v>0.08</c:v>
                </c:pt>
                <c:pt idx="1224">
                  <c:v>0.06</c:v>
                </c:pt>
                <c:pt idx="1225">
                  <c:v>7.0000000000000007E-2</c:v>
                </c:pt>
                <c:pt idx="1226">
                  <c:v>0.01</c:v>
                </c:pt>
                <c:pt idx="1227">
                  <c:v>0.1</c:v>
                </c:pt>
                <c:pt idx="1228">
                  <c:v>0.06</c:v>
                </c:pt>
                <c:pt idx="1229">
                  <c:v>0.05</c:v>
                </c:pt>
                <c:pt idx="1230">
                  <c:v>0.09</c:v>
                </c:pt>
                <c:pt idx="1231">
                  <c:v>0.05</c:v>
                </c:pt>
                <c:pt idx="1232">
                  <c:v>0.02</c:v>
                </c:pt>
                <c:pt idx="1233">
                  <c:v>0.13</c:v>
                </c:pt>
                <c:pt idx="1234">
                  <c:v>0.02</c:v>
                </c:pt>
                <c:pt idx="1235">
                  <c:v>0.04</c:v>
                </c:pt>
                <c:pt idx="1236">
                  <c:v>0.01</c:v>
                </c:pt>
                <c:pt idx="1237">
                  <c:v>0.04</c:v>
                </c:pt>
                <c:pt idx="1238">
                  <c:v>0.06</c:v>
                </c:pt>
                <c:pt idx="1239">
                  <c:v>0.03</c:v>
                </c:pt>
                <c:pt idx="1240">
                  <c:v>0.03</c:v>
                </c:pt>
                <c:pt idx="1241">
                  <c:v>0.01</c:v>
                </c:pt>
                <c:pt idx="1242">
                  <c:v>0.05</c:v>
                </c:pt>
                <c:pt idx="1243">
                  <c:v>0.03</c:v>
                </c:pt>
                <c:pt idx="1244">
                  <c:v>0.11</c:v>
                </c:pt>
                <c:pt idx="1245">
                  <c:v>0.01</c:v>
                </c:pt>
                <c:pt idx="1246">
                  <c:v>0.02</c:v>
                </c:pt>
                <c:pt idx="1247">
                  <c:v>0.08</c:v>
                </c:pt>
                <c:pt idx="1248">
                  <c:v>0.08</c:v>
                </c:pt>
                <c:pt idx="1249">
                  <c:v>0.09</c:v>
                </c:pt>
                <c:pt idx="1250">
                  <c:v>0.01</c:v>
                </c:pt>
                <c:pt idx="1251">
                  <c:v>0.08</c:v>
                </c:pt>
                <c:pt idx="1252">
                  <c:v>0.01</c:v>
                </c:pt>
                <c:pt idx="1253">
                  <c:v>0.09</c:v>
                </c:pt>
                <c:pt idx="1254">
                  <c:v>0.06</c:v>
                </c:pt>
                <c:pt idx="1255">
                  <c:v>0.13</c:v>
                </c:pt>
                <c:pt idx="1256">
                  <c:v>0.09</c:v>
                </c:pt>
                <c:pt idx="1257">
                  <c:v>0.05</c:v>
                </c:pt>
                <c:pt idx="1258">
                  <c:v>0.01</c:v>
                </c:pt>
                <c:pt idx="1259">
                  <c:v>0.02</c:v>
                </c:pt>
                <c:pt idx="1260">
                  <c:v>0.03</c:v>
                </c:pt>
                <c:pt idx="1261">
                  <c:v>0.08</c:v>
                </c:pt>
                <c:pt idx="1262">
                  <c:v>0.09</c:v>
                </c:pt>
                <c:pt idx="1263">
                  <c:v>0.03</c:v>
                </c:pt>
                <c:pt idx="1264">
                  <c:v>0.02</c:v>
                </c:pt>
                <c:pt idx="1265">
                  <c:v>0.01</c:v>
                </c:pt>
                <c:pt idx="1266">
                  <c:v>0.03</c:v>
                </c:pt>
                <c:pt idx="1267">
                  <c:v>0.12</c:v>
                </c:pt>
                <c:pt idx="1268">
                  <c:v>0.04</c:v>
                </c:pt>
                <c:pt idx="1269">
                  <c:v>0.01</c:v>
                </c:pt>
                <c:pt idx="1270">
                  <c:v>0.03</c:v>
                </c:pt>
                <c:pt idx="1271">
                  <c:v>0.1</c:v>
                </c:pt>
                <c:pt idx="1272">
                  <c:v>0.1</c:v>
                </c:pt>
                <c:pt idx="1273">
                  <c:v>0.03</c:v>
                </c:pt>
                <c:pt idx="1274">
                  <c:v>0.03</c:v>
                </c:pt>
                <c:pt idx="1275">
                  <c:v>0.02</c:v>
                </c:pt>
                <c:pt idx="1276">
                  <c:v>0.01</c:v>
                </c:pt>
                <c:pt idx="1277">
                  <c:v>0.05</c:v>
                </c:pt>
                <c:pt idx="1278">
                  <c:v>0.04</c:v>
                </c:pt>
                <c:pt idx="1279">
                  <c:v>0.02</c:v>
                </c:pt>
                <c:pt idx="1280">
                  <c:v>0.06</c:v>
                </c:pt>
                <c:pt idx="1281">
                  <c:v>0.01</c:v>
                </c:pt>
                <c:pt idx="1282">
                  <c:v>0.04</c:v>
                </c:pt>
                <c:pt idx="1283">
                  <c:v>0.08</c:v>
                </c:pt>
                <c:pt idx="1284">
                  <c:v>0.12</c:v>
                </c:pt>
                <c:pt idx="1285">
                  <c:v>0.1</c:v>
                </c:pt>
                <c:pt idx="1286">
                  <c:v>0.02</c:v>
                </c:pt>
                <c:pt idx="1287">
                  <c:v>0.01</c:v>
                </c:pt>
                <c:pt idx="1288">
                  <c:v>0.01</c:v>
                </c:pt>
                <c:pt idx="1289">
                  <c:v>0.02</c:v>
                </c:pt>
                <c:pt idx="1290">
                  <c:v>0.02</c:v>
                </c:pt>
                <c:pt idx="1291">
                  <c:v>0.03</c:v>
                </c:pt>
                <c:pt idx="1292">
                  <c:v>0.02</c:v>
                </c:pt>
                <c:pt idx="1293">
                  <c:v>0.11</c:v>
                </c:pt>
                <c:pt idx="1294">
                  <c:v>0.04</c:v>
                </c:pt>
                <c:pt idx="1295">
                  <c:v>0.09</c:v>
                </c:pt>
                <c:pt idx="1296">
                  <c:v>0.12</c:v>
                </c:pt>
                <c:pt idx="1297">
                  <c:v>0.1</c:v>
                </c:pt>
                <c:pt idx="1298">
                  <c:v>0.04</c:v>
                </c:pt>
                <c:pt idx="1299">
                  <c:v>0.04</c:v>
                </c:pt>
                <c:pt idx="1300">
                  <c:v>0.02</c:v>
                </c:pt>
                <c:pt idx="1301">
                  <c:v>7.0000000000000007E-2</c:v>
                </c:pt>
                <c:pt idx="1302">
                  <c:v>0.12</c:v>
                </c:pt>
                <c:pt idx="1303">
                  <c:v>0.09</c:v>
                </c:pt>
                <c:pt idx="1304">
                  <c:v>0.05</c:v>
                </c:pt>
                <c:pt idx="1305">
                  <c:v>0.02</c:v>
                </c:pt>
                <c:pt idx="1306">
                  <c:v>0.01</c:v>
                </c:pt>
                <c:pt idx="1307">
                  <c:v>0.04</c:v>
                </c:pt>
                <c:pt idx="1308">
                  <c:v>0.02</c:v>
                </c:pt>
                <c:pt idx="1309">
                  <c:v>0.01</c:v>
                </c:pt>
                <c:pt idx="1310">
                  <c:v>0.02</c:v>
                </c:pt>
                <c:pt idx="1311">
                  <c:v>0.03</c:v>
                </c:pt>
                <c:pt idx="1312">
                  <c:v>0.04</c:v>
                </c:pt>
                <c:pt idx="1313">
                  <c:v>0.02</c:v>
                </c:pt>
                <c:pt idx="1314">
                  <c:v>0.03</c:v>
                </c:pt>
                <c:pt idx="1315">
                  <c:v>0.04</c:v>
                </c:pt>
                <c:pt idx="1316">
                  <c:v>0.03</c:v>
                </c:pt>
                <c:pt idx="1317">
                  <c:v>0.04</c:v>
                </c:pt>
                <c:pt idx="1318">
                  <c:v>0.02</c:v>
                </c:pt>
                <c:pt idx="1319">
                  <c:v>0.06</c:v>
                </c:pt>
                <c:pt idx="1320">
                  <c:v>0.01</c:v>
                </c:pt>
                <c:pt idx="1321">
                  <c:v>0.01</c:v>
                </c:pt>
                <c:pt idx="1322">
                  <c:v>0.03</c:v>
                </c:pt>
                <c:pt idx="1323">
                  <c:v>0.03</c:v>
                </c:pt>
                <c:pt idx="1324">
                  <c:v>0.1</c:v>
                </c:pt>
                <c:pt idx="1325">
                  <c:v>0.04</c:v>
                </c:pt>
                <c:pt idx="1326">
                  <c:v>0.02</c:v>
                </c:pt>
                <c:pt idx="1327">
                  <c:v>0.06</c:v>
                </c:pt>
                <c:pt idx="1328">
                  <c:v>0.05</c:v>
                </c:pt>
                <c:pt idx="1329">
                  <c:v>0.03</c:v>
                </c:pt>
                <c:pt idx="1330">
                  <c:v>0.02</c:v>
                </c:pt>
                <c:pt idx="1331">
                  <c:v>0.02</c:v>
                </c:pt>
                <c:pt idx="1332">
                  <c:v>0.03</c:v>
                </c:pt>
                <c:pt idx="1333">
                  <c:v>0.09</c:v>
                </c:pt>
                <c:pt idx="1334">
                  <c:v>0.03</c:v>
                </c:pt>
                <c:pt idx="1335">
                  <c:v>0.06</c:v>
                </c:pt>
                <c:pt idx="1336">
                  <c:v>0.02</c:v>
                </c:pt>
                <c:pt idx="1337">
                  <c:v>0.04</c:v>
                </c:pt>
                <c:pt idx="1338">
                  <c:v>7.0000000000000007E-2</c:v>
                </c:pt>
                <c:pt idx="1339">
                  <c:v>0.04</c:v>
                </c:pt>
                <c:pt idx="1340">
                  <c:v>0.06</c:v>
                </c:pt>
                <c:pt idx="1341">
                  <c:v>0.03</c:v>
                </c:pt>
                <c:pt idx="1342">
                  <c:v>0.04</c:v>
                </c:pt>
                <c:pt idx="1343">
                  <c:v>0.09</c:v>
                </c:pt>
                <c:pt idx="1344">
                  <c:v>0.05</c:v>
                </c:pt>
                <c:pt idx="1345">
                  <c:v>0.03</c:v>
                </c:pt>
                <c:pt idx="1346">
                  <c:v>0.02</c:v>
                </c:pt>
                <c:pt idx="1347">
                  <c:v>0.03</c:v>
                </c:pt>
                <c:pt idx="1348">
                  <c:v>0.06</c:v>
                </c:pt>
                <c:pt idx="1349">
                  <c:v>0.04</c:v>
                </c:pt>
                <c:pt idx="1350">
                  <c:v>0.04</c:v>
                </c:pt>
                <c:pt idx="1351">
                  <c:v>0.03</c:v>
                </c:pt>
                <c:pt idx="1352">
                  <c:v>0.03</c:v>
                </c:pt>
                <c:pt idx="1353">
                  <c:v>0.02</c:v>
                </c:pt>
                <c:pt idx="1354">
                  <c:v>0.04</c:v>
                </c:pt>
                <c:pt idx="1355">
                  <c:v>0.02</c:v>
                </c:pt>
                <c:pt idx="1356">
                  <c:v>0.01</c:v>
                </c:pt>
                <c:pt idx="1357">
                  <c:v>0.02</c:v>
                </c:pt>
                <c:pt idx="1358">
                  <c:v>0.02</c:v>
                </c:pt>
                <c:pt idx="1359">
                  <c:v>0.01</c:v>
                </c:pt>
                <c:pt idx="1360">
                  <c:v>0.01</c:v>
                </c:pt>
                <c:pt idx="1361">
                  <c:v>0.02</c:v>
                </c:pt>
                <c:pt idx="1362">
                  <c:v>0.11</c:v>
                </c:pt>
                <c:pt idx="1363">
                  <c:v>0.01</c:v>
                </c:pt>
                <c:pt idx="1364">
                  <c:v>7.0000000000000007E-2</c:v>
                </c:pt>
                <c:pt idx="1365">
                  <c:v>0.02</c:v>
                </c:pt>
                <c:pt idx="1366">
                  <c:v>0.04</c:v>
                </c:pt>
                <c:pt idx="1367">
                  <c:v>0.03</c:v>
                </c:pt>
                <c:pt idx="1368">
                  <c:v>0.04</c:v>
                </c:pt>
                <c:pt idx="1369">
                  <c:v>0.03</c:v>
                </c:pt>
                <c:pt idx="1370">
                  <c:v>0.02</c:v>
                </c:pt>
                <c:pt idx="1371">
                  <c:v>0.02</c:v>
                </c:pt>
                <c:pt idx="1372">
                  <c:v>0.02</c:v>
                </c:pt>
                <c:pt idx="1373">
                  <c:v>0.01</c:v>
                </c:pt>
                <c:pt idx="1374">
                  <c:v>0.01</c:v>
                </c:pt>
                <c:pt idx="1375">
                  <c:v>0.05</c:v>
                </c:pt>
                <c:pt idx="1376">
                  <c:v>0.02</c:v>
                </c:pt>
                <c:pt idx="1377">
                  <c:v>0.01</c:v>
                </c:pt>
                <c:pt idx="1378">
                  <c:v>0.03</c:v>
                </c:pt>
                <c:pt idx="1379">
                  <c:v>0.01</c:v>
                </c:pt>
                <c:pt idx="1380">
                  <c:v>0.03</c:v>
                </c:pt>
                <c:pt idx="1381">
                  <c:v>0.09</c:v>
                </c:pt>
                <c:pt idx="1382">
                  <c:v>0.01</c:v>
                </c:pt>
                <c:pt idx="1383">
                  <c:v>0.02</c:v>
                </c:pt>
                <c:pt idx="1384">
                  <c:v>7.0000000000000007E-2</c:v>
                </c:pt>
                <c:pt idx="1385">
                  <c:v>0.01</c:v>
                </c:pt>
                <c:pt idx="1386">
                  <c:v>0.02</c:v>
                </c:pt>
                <c:pt idx="1387">
                  <c:v>0.06</c:v>
                </c:pt>
                <c:pt idx="1388">
                  <c:v>0.01</c:v>
                </c:pt>
                <c:pt idx="1389">
                  <c:v>0.04</c:v>
                </c:pt>
                <c:pt idx="1390">
                  <c:v>0.02</c:v>
                </c:pt>
                <c:pt idx="1391">
                  <c:v>0.01</c:v>
                </c:pt>
                <c:pt idx="1392">
                  <c:v>0.03</c:v>
                </c:pt>
                <c:pt idx="1393">
                  <c:v>0.04</c:v>
                </c:pt>
                <c:pt idx="1394">
                  <c:v>0.03</c:v>
                </c:pt>
                <c:pt idx="1395">
                  <c:v>0.01</c:v>
                </c:pt>
                <c:pt idx="1396">
                  <c:v>0.01</c:v>
                </c:pt>
                <c:pt idx="1397">
                  <c:v>0.01</c:v>
                </c:pt>
                <c:pt idx="1398">
                  <c:v>0.04</c:v>
                </c:pt>
                <c:pt idx="1399">
                  <c:v>0.01</c:v>
                </c:pt>
                <c:pt idx="1400">
                  <c:v>0.02</c:v>
                </c:pt>
                <c:pt idx="1401">
                  <c:v>0.03</c:v>
                </c:pt>
                <c:pt idx="1402">
                  <c:v>0.03</c:v>
                </c:pt>
                <c:pt idx="1403">
                  <c:v>0.03</c:v>
                </c:pt>
                <c:pt idx="1404">
                  <c:v>0.05</c:v>
                </c:pt>
                <c:pt idx="1405">
                  <c:v>0.02</c:v>
                </c:pt>
                <c:pt idx="1406">
                  <c:v>0.02</c:v>
                </c:pt>
                <c:pt idx="1407">
                  <c:v>0.04</c:v>
                </c:pt>
                <c:pt idx="1408">
                  <c:v>0.08</c:v>
                </c:pt>
                <c:pt idx="1409">
                  <c:v>0.01</c:v>
                </c:pt>
                <c:pt idx="1410">
                  <c:v>0.03</c:v>
                </c:pt>
                <c:pt idx="1411">
                  <c:v>0.02</c:v>
                </c:pt>
                <c:pt idx="1412">
                  <c:v>0.01</c:v>
                </c:pt>
                <c:pt idx="1413">
                  <c:v>0.01</c:v>
                </c:pt>
                <c:pt idx="1414">
                  <c:v>0.01</c:v>
                </c:pt>
                <c:pt idx="1415">
                  <c:v>0.04</c:v>
                </c:pt>
                <c:pt idx="1416">
                  <c:v>0.13</c:v>
                </c:pt>
                <c:pt idx="1417">
                  <c:v>0.01</c:v>
                </c:pt>
                <c:pt idx="1418">
                  <c:v>0.02</c:v>
                </c:pt>
                <c:pt idx="1419">
                  <c:v>0.01</c:v>
                </c:pt>
                <c:pt idx="1420">
                  <c:v>0.08</c:v>
                </c:pt>
                <c:pt idx="1421">
                  <c:v>0.02</c:v>
                </c:pt>
                <c:pt idx="1422">
                  <c:v>0.01</c:v>
                </c:pt>
                <c:pt idx="1423">
                  <c:v>0.02</c:v>
                </c:pt>
                <c:pt idx="1424">
                  <c:v>0.02</c:v>
                </c:pt>
                <c:pt idx="1425">
                  <c:v>0.03</c:v>
                </c:pt>
                <c:pt idx="1426">
                  <c:v>0.01</c:v>
                </c:pt>
                <c:pt idx="1427">
                  <c:v>0.02</c:v>
                </c:pt>
                <c:pt idx="1428">
                  <c:v>0.04</c:v>
                </c:pt>
                <c:pt idx="1429">
                  <c:v>0.01</c:v>
                </c:pt>
                <c:pt idx="1430">
                  <c:v>0.02</c:v>
                </c:pt>
                <c:pt idx="1431">
                  <c:v>0.04</c:v>
                </c:pt>
                <c:pt idx="1432">
                  <c:v>0.01</c:v>
                </c:pt>
                <c:pt idx="1433">
                  <c:v>0.01</c:v>
                </c:pt>
                <c:pt idx="1434">
                  <c:v>0.01</c:v>
                </c:pt>
                <c:pt idx="1435">
                  <c:v>0.01</c:v>
                </c:pt>
                <c:pt idx="1436">
                  <c:v>0.02</c:v>
                </c:pt>
                <c:pt idx="1437">
                  <c:v>0.01</c:v>
                </c:pt>
                <c:pt idx="1438">
                  <c:v>0.02</c:v>
                </c:pt>
                <c:pt idx="1439">
                  <c:v>0.02</c:v>
                </c:pt>
                <c:pt idx="1440">
                  <c:v>0.02</c:v>
                </c:pt>
                <c:pt idx="1441">
                  <c:v>0.02</c:v>
                </c:pt>
                <c:pt idx="1442">
                  <c:v>0.02</c:v>
                </c:pt>
                <c:pt idx="1443">
                  <c:v>0.01</c:v>
                </c:pt>
                <c:pt idx="1444">
                  <c:v>0.01</c:v>
                </c:pt>
                <c:pt idx="1445">
                  <c:v>0.01</c:v>
                </c:pt>
                <c:pt idx="1446">
                  <c:v>0.01</c:v>
                </c:pt>
                <c:pt idx="1447">
                  <c:v>0.01</c:v>
                </c:pt>
                <c:pt idx="1448">
                  <c:v>0.02</c:v>
                </c:pt>
                <c:pt idx="1449">
                  <c:v>0.01</c:v>
                </c:pt>
                <c:pt idx="1450">
                  <c:v>0.01</c:v>
                </c:pt>
                <c:pt idx="1451">
                  <c:v>0.02</c:v>
                </c:pt>
                <c:pt idx="1452">
                  <c:v>0.02</c:v>
                </c:pt>
                <c:pt idx="1453">
                  <c:v>0.02</c:v>
                </c:pt>
                <c:pt idx="1454">
                  <c:v>0.03</c:v>
                </c:pt>
                <c:pt idx="1455">
                  <c:v>0.01</c:v>
                </c:pt>
                <c:pt idx="1456">
                  <c:v>0.01</c:v>
                </c:pt>
                <c:pt idx="1457">
                  <c:v>0.04</c:v>
                </c:pt>
                <c:pt idx="1458">
                  <c:v>0.02</c:v>
                </c:pt>
                <c:pt idx="1459">
                  <c:v>0.01</c:v>
                </c:pt>
                <c:pt idx="1460">
                  <c:v>0.01</c:v>
                </c:pt>
                <c:pt idx="1461">
                  <c:v>0.01</c:v>
                </c:pt>
                <c:pt idx="1462">
                  <c:v>0.01</c:v>
                </c:pt>
                <c:pt idx="1463">
                  <c:v>0.01</c:v>
                </c:pt>
                <c:pt idx="1464">
                  <c:v>0.02</c:v>
                </c:pt>
                <c:pt idx="1465">
                  <c:v>0.01</c:v>
                </c:pt>
                <c:pt idx="1466">
                  <c:v>0.02</c:v>
                </c:pt>
                <c:pt idx="1467">
                  <c:v>0.01</c:v>
                </c:pt>
                <c:pt idx="1468">
                  <c:v>0.01</c:v>
                </c:pt>
                <c:pt idx="1469">
                  <c:v>0.01</c:v>
                </c:pt>
                <c:pt idx="1470">
                  <c:v>0.01</c:v>
                </c:pt>
                <c:pt idx="1471">
                  <c:v>0.01</c:v>
                </c:pt>
                <c:pt idx="1472">
                  <c:v>0.01</c:v>
                </c:pt>
                <c:pt idx="1473">
                  <c:v>0.01</c:v>
                </c:pt>
                <c:pt idx="1474">
                  <c:v>0.01</c:v>
                </c:pt>
                <c:pt idx="1475">
                  <c:v>0.01</c:v>
                </c:pt>
                <c:pt idx="1476">
                  <c:v>0.01</c:v>
                </c:pt>
                <c:pt idx="1477">
                  <c:v>0.04</c:v>
                </c:pt>
                <c:pt idx="1478">
                  <c:v>0.01</c:v>
                </c:pt>
                <c:pt idx="1479">
                  <c:v>0.01</c:v>
                </c:pt>
                <c:pt idx="1480">
                  <c:v>0.04</c:v>
                </c:pt>
                <c:pt idx="1481">
                  <c:v>0.01</c:v>
                </c:pt>
                <c:pt idx="1482">
                  <c:v>0.04</c:v>
                </c:pt>
                <c:pt idx="1483">
                  <c:v>0.01</c:v>
                </c:pt>
                <c:pt idx="1484">
                  <c:v>0.01</c:v>
                </c:pt>
                <c:pt idx="1485">
                  <c:v>0.02</c:v>
                </c:pt>
                <c:pt idx="1486">
                  <c:v>0.03</c:v>
                </c:pt>
                <c:pt idx="1487">
                  <c:v>0.01</c:v>
                </c:pt>
                <c:pt idx="1488">
                  <c:v>0.02</c:v>
                </c:pt>
                <c:pt idx="1489">
                  <c:v>0.02</c:v>
                </c:pt>
                <c:pt idx="1490">
                  <c:v>0.03</c:v>
                </c:pt>
                <c:pt idx="1491">
                  <c:v>0.01</c:v>
                </c:pt>
                <c:pt idx="1492">
                  <c:v>0.01</c:v>
                </c:pt>
                <c:pt idx="1493">
                  <c:v>0.01</c:v>
                </c:pt>
                <c:pt idx="1494">
                  <c:v>0.01</c:v>
                </c:pt>
                <c:pt idx="1495">
                  <c:v>0.02</c:v>
                </c:pt>
                <c:pt idx="1496">
                  <c:v>0.01</c:v>
                </c:pt>
                <c:pt idx="1497">
                  <c:v>0.01</c:v>
                </c:pt>
                <c:pt idx="1498">
                  <c:v>0.01</c:v>
                </c:pt>
                <c:pt idx="1499">
                  <c:v>0.03</c:v>
                </c:pt>
                <c:pt idx="1500">
                  <c:v>0.02</c:v>
                </c:pt>
                <c:pt idx="1501">
                  <c:v>0.01</c:v>
                </c:pt>
                <c:pt idx="1502">
                  <c:v>0.03</c:v>
                </c:pt>
                <c:pt idx="1503">
                  <c:v>0.01</c:v>
                </c:pt>
                <c:pt idx="1504">
                  <c:v>0.01</c:v>
                </c:pt>
                <c:pt idx="1505">
                  <c:v>0.01</c:v>
                </c:pt>
                <c:pt idx="1506">
                  <c:v>0.01</c:v>
                </c:pt>
                <c:pt idx="1507">
                  <c:v>0.01</c:v>
                </c:pt>
                <c:pt idx="1508">
                  <c:v>0.02</c:v>
                </c:pt>
                <c:pt idx="1509">
                  <c:v>0.01</c:v>
                </c:pt>
                <c:pt idx="1510">
                  <c:v>0.02</c:v>
                </c:pt>
                <c:pt idx="1511">
                  <c:v>0.01</c:v>
                </c:pt>
                <c:pt idx="1512">
                  <c:v>0.01</c:v>
                </c:pt>
                <c:pt idx="1513">
                  <c:v>0.01</c:v>
                </c:pt>
                <c:pt idx="1514">
                  <c:v>0.01</c:v>
                </c:pt>
                <c:pt idx="151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00A097"/>
              </a:solidFill>
            </c:spPr>
            <c:extLst>
              <c:ext xmlns:c16="http://schemas.microsoft.com/office/drawing/2014/chart" uri="{C3380CC4-5D6E-409C-BE32-E72D297353CC}">
                <c16:uniqueId val="{00000119-2993-41DE-A2CB-63102DE87051}"/>
              </c:ext>
            </c:extLst>
          </c:dPt>
          <c:dPt>
            <c:idx val="140"/>
            <c:invertIfNegative val="1"/>
            <c:bubble3D val="0"/>
            <c:spPr>
              <a:solidFill>
                <a:srgbClr val="00A097"/>
              </a:solidFill>
            </c:spPr>
            <c:extLst>
              <c:ext xmlns:c16="http://schemas.microsoft.com/office/drawing/2014/chart" uri="{C3380CC4-5D6E-409C-BE32-E72D297353CC}">
                <c16:uniqueId val="{0000011B-2993-41DE-A2CB-63102DE87051}"/>
              </c:ext>
            </c:extLst>
          </c:dPt>
          <c:dPt>
            <c:idx val="141"/>
            <c:invertIfNegative val="1"/>
            <c:bubble3D val="0"/>
            <c:spPr>
              <a:solidFill>
                <a:srgbClr val="00A097"/>
              </a:solidFill>
            </c:spPr>
            <c:extLst>
              <c:ext xmlns:c16="http://schemas.microsoft.com/office/drawing/2014/chart" uri="{C3380CC4-5D6E-409C-BE32-E72D297353CC}">
                <c16:uniqueId val="{0000011D-2993-41DE-A2CB-63102DE87051}"/>
              </c:ext>
            </c:extLst>
          </c:dPt>
          <c:dPt>
            <c:idx val="142"/>
            <c:invertIfNegative val="1"/>
            <c:bubble3D val="0"/>
            <c:spPr>
              <a:solidFill>
                <a:srgbClr val="00A097"/>
              </a:solidFill>
            </c:spPr>
            <c:extLst>
              <c:ext xmlns:c16="http://schemas.microsoft.com/office/drawing/2014/chart" uri="{C3380CC4-5D6E-409C-BE32-E72D297353CC}">
                <c16:uniqueId val="{0000011F-2993-41DE-A2CB-63102DE87051}"/>
              </c:ext>
            </c:extLst>
          </c:dPt>
          <c:dPt>
            <c:idx val="143"/>
            <c:invertIfNegative val="1"/>
            <c:bubble3D val="0"/>
            <c:spPr>
              <a:solidFill>
                <a:srgbClr val="00A097"/>
              </a:solidFill>
            </c:spPr>
            <c:extLst>
              <c:ext xmlns:c16="http://schemas.microsoft.com/office/drawing/2014/chart" uri="{C3380CC4-5D6E-409C-BE32-E72D297353CC}">
                <c16:uniqueId val="{00000121-2993-41DE-A2CB-63102DE87051}"/>
              </c:ext>
            </c:extLst>
          </c:dPt>
          <c:dPt>
            <c:idx val="144"/>
            <c:invertIfNegative val="1"/>
            <c:bubble3D val="0"/>
            <c:spPr>
              <a:solidFill>
                <a:srgbClr val="00A097"/>
              </a:solidFill>
            </c:spPr>
            <c:extLst>
              <c:ext xmlns:c16="http://schemas.microsoft.com/office/drawing/2014/chart" uri="{C3380CC4-5D6E-409C-BE32-E72D297353CC}">
                <c16:uniqueId val="{00000123-2993-41DE-A2CB-63102DE87051}"/>
              </c:ext>
            </c:extLst>
          </c:dPt>
          <c:dPt>
            <c:idx val="145"/>
            <c:invertIfNegative val="1"/>
            <c:bubble3D val="0"/>
            <c:spPr>
              <a:solidFill>
                <a:srgbClr val="00A097"/>
              </a:solidFill>
            </c:spPr>
            <c:extLst>
              <c:ext xmlns:c16="http://schemas.microsoft.com/office/drawing/2014/chart" uri="{C3380CC4-5D6E-409C-BE32-E72D297353CC}">
                <c16:uniqueId val="{00000125-2993-41DE-A2CB-63102DE87051}"/>
              </c:ext>
            </c:extLst>
          </c:dPt>
          <c:dPt>
            <c:idx val="146"/>
            <c:invertIfNegative val="1"/>
            <c:bubble3D val="0"/>
            <c:spPr>
              <a:solidFill>
                <a:srgbClr val="00A097"/>
              </a:solidFill>
            </c:spPr>
            <c:extLst>
              <c:ext xmlns:c16="http://schemas.microsoft.com/office/drawing/2014/chart" uri="{C3380CC4-5D6E-409C-BE32-E72D297353CC}">
                <c16:uniqueId val="{00000127-2993-41DE-A2CB-63102DE87051}"/>
              </c:ext>
            </c:extLst>
          </c:dPt>
          <c:dPt>
            <c:idx val="147"/>
            <c:invertIfNegative val="1"/>
            <c:bubble3D val="0"/>
            <c:spPr>
              <a:solidFill>
                <a:srgbClr val="00A097"/>
              </a:solidFill>
            </c:spPr>
            <c:extLst>
              <c:ext xmlns:c16="http://schemas.microsoft.com/office/drawing/2014/chart" uri="{C3380CC4-5D6E-409C-BE32-E72D297353CC}">
                <c16:uniqueId val="{00000129-2993-41DE-A2CB-63102DE87051}"/>
              </c:ext>
            </c:extLst>
          </c:dPt>
          <c:dPt>
            <c:idx val="148"/>
            <c:invertIfNegative val="1"/>
            <c:bubble3D val="0"/>
            <c:spPr>
              <a:solidFill>
                <a:srgbClr val="00A097"/>
              </a:solidFill>
            </c:spPr>
            <c:extLst>
              <c:ext xmlns:c16="http://schemas.microsoft.com/office/drawing/2014/chart" uri="{C3380CC4-5D6E-409C-BE32-E72D297353CC}">
                <c16:uniqueId val="{0000012B-2993-41DE-A2CB-63102DE87051}"/>
              </c:ext>
            </c:extLst>
          </c:dPt>
          <c:dPt>
            <c:idx val="149"/>
            <c:invertIfNegative val="1"/>
            <c:bubble3D val="0"/>
            <c:spPr>
              <a:solidFill>
                <a:srgbClr val="00A097"/>
              </a:solidFill>
            </c:spPr>
            <c:extLst>
              <c:ext xmlns:c16="http://schemas.microsoft.com/office/drawing/2014/chart" uri="{C3380CC4-5D6E-409C-BE32-E72D297353CC}">
                <c16:uniqueId val="{0000012D-2993-41DE-A2CB-63102DE87051}"/>
              </c:ext>
            </c:extLst>
          </c:dPt>
          <c:dPt>
            <c:idx val="150"/>
            <c:invertIfNegative val="1"/>
            <c:bubble3D val="0"/>
            <c:spPr>
              <a:solidFill>
                <a:srgbClr val="00A097"/>
              </a:solidFill>
            </c:spPr>
            <c:extLst>
              <c:ext xmlns:c16="http://schemas.microsoft.com/office/drawing/2014/chart" uri="{C3380CC4-5D6E-409C-BE32-E72D297353CC}">
                <c16:uniqueId val="{0000012F-2993-41DE-A2CB-63102DE87051}"/>
              </c:ext>
            </c:extLst>
          </c:dPt>
          <c:dPt>
            <c:idx val="151"/>
            <c:invertIfNegative val="1"/>
            <c:bubble3D val="0"/>
            <c:spPr>
              <a:solidFill>
                <a:srgbClr val="00A097"/>
              </a:solidFill>
            </c:spPr>
            <c:extLst>
              <c:ext xmlns:c16="http://schemas.microsoft.com/office/drawing/2014/chart" uri="{C3380CC4-5D6E-409C-BE32-E72D297353CC}">
                <c16:uniqueId val="{00000131-2993-41DE-A2CB-63102DE87051}"/>
              </c:ext>
            </c:extLst>
          </c:dPt>
          <c:dPt>
            <c:idx val="152"/>
            <c:invertIfNegative val="1"/>
            <c:bubble3D val="0"/>
            <c:spPr>
              <a:solidFill>
                <a:srgbClr val="00A097"/>
              </a:solidFill>
            </c:spPr>
            <c:extLst>
              <c:ext xmlns:c16="http://schemas.microsoft.com/office/drawing/2014/chart" uri="{C3380CC4-5D6E-409C-BE32-E72D297353CC}">
                <c16:uniqueId val="{00000133-2993-41DE-A2CB-63102DE87051}"/>
              </c:ext>
            </c:extLst>
          </c:dPt>
          <c:dPt>
            <c:idx val="153"/>
            <c:invertIfNegative val="1"/>
            <c:bubble3D val="0"/>
            <c:spPr>
              <a:solidFill>
                <a:srgbClr val="00A097"/>
              </a:solidFill>
            </c:spPr>
            <c:extLst>
              <c:ext xmlns:c16="http://schemas.microsoft.com/office/drawing/2014/chart" uri="{C3380CC4-5D6E-409C-BE32-E72D297353CC}">
                <c16:uniqueId val="{00000135-2993-41DE-A2CB-63102DE87051}"/>
              </c:ext>
            </c:extLst>
          </c:dPt>
          <c:dPt>
            <c:idx val="154"/>
            <c:invertIfNegative val="1"/>
            <c:bubble3D val="0"/>
            <c:spPr>
              <a:solidFill>
                <a:srgbClr val="00A097"/>
              </a:solidFill>
            </c:spPr>
            <c:extLst>
              <c:ext xmlns:c16="http://schemas.microsoft.com/office/drawing/2014/chart" uri="{C3380CC4-5D6E-409C-BE32-E72D297353CC}">
                <c16:uniqueId val="{00000137-2993-41DE-A2CB-63102DE87051}"/>
              </c:ext>
            </c:extLst>
          </c:dPt>
          <c:dPt>
            <c:idx val="155"/>
            <c:invertIfNegative val="1"/>
            <c:bubble3D val="0"/>
            <c:spPr>
              <a:solidFill>
                <a:srgbClr val="00A097"/>
              </a:solidFill>
            </c:spPr>
            <c:extLst>
              <c:ext xmlns:c16="http://schemas.microsoft.com/office/drawing/2014/chart" uri="{C3380CC4-5D6E-409C-BE32-E72D297353CC}">
                <c16:uniqueId val="{00000139-2993-41DE-A2CB-63102DE87051}"/>
              </c:ext>
            </c:extLst>
          </c:dPt>
          <c:dPt>
            <c:idx val="156"/>
            <c:invertIfNegative val="1"/>
            <c:bubble3D val="0"/>
            <c:spPr>
              <a:solidFill>
                <a:srgbClr val="00A097"/>
              </a:solidFill>
            </c:spPr>
            <c:extLst>
              <c:ext xmlns:c16="http://schemas.microsoft.com/office/drawing/2014/chart" uri="{C3380CC4-5D6E-409C-BE32-E72D297353CC}">
                <c16:uniqueId val="{0000013B-2993-41DE-A2CB-63102DE87051}"/>
              </c:ext>
            </c:extLst>
          </c:dPt>
          <c:dPt>
            <c:idx val="157"/>
            <c:invertIfNegative val="1"/>
            <c:bubble3D val="0"/>
            <c:spPr>
              <a:solidFill>
                <a:srgbClr val="00A097"/>
              </a:solidFill>
            </c:spPr>
            <c:extLst>
              <c:ext xmlns:c16="http://schemas.microsoft.com/office/drawing/2014/chart" uri="{C3380CC4-5D6E-409C-BE32-E72D297353CC}">
                <c16:uniqueId val="{0000013D-2993-41DE-A2CB-63102DE87051}"/>
              </c:ext>
            </c:extLst>
          </c:dPt>
          <c:dPt>
            <c:idx val="158"/>
            <c:invertIfNegative val="1"/>
            <c:bubble3D val="0"/>
            <c:spPr>
              <a:solidFill>
                <a:srgbClr val="00A097"/>
              </a:solidFill>
            </c:spPr>
            <c:extLst>
              <c:ext xmlns:c16="http://schemas.microsoft.com/office/drawing/2014/chart" uri="{C3380CC4-5D6E-409C-BE32-E72D297353CC}">
                <c16:uniqueId val="{0000013F-2993-41DE-A2CB-63102DE87051}"/>
              </c:ext>
            </c:extLst>
          </c:dPt>
          <c:dPt>
            <c:idx val="159"/>
            <c:invertIfNegative val="1"/>
            <c:bubble3D val="0"/>
            <c:spPr>
              <a:solidFill>
                <a:srgbClr val="00A097"/>
              </a:solidFill>
            </c:spPr>
            <c:extLst>
              <c:ext xmlns:c16="http://schemas.microsoft.com/office/drawing/2014/chart" uri="{C3380CC4-5D6E-409C-BE32-E72D297353CC}">
                <c16:uniqueId val="{00000141-2993-41DE-A2CB-63102DE87051}"/>
              </c:ext>
            </c:extLst>
          </c:dPt>
          <c:dPt>
            <c:idx val="160"/>
            <c:invertIfNegative val="1"/>
            <c:bubble3D val="0"/>
            <c:spPr>
              <a:solidFill>
                <a:srgbClr val="00A097"/>
              </a:solidFill>
            </c:spPr>
            <c:extLst>
              <c:ext xmlns:c16="http://schemas.microsoft.com/office/drawing/2014/chart" uri="{C3380CC4-5D6E-409C-BE32-E72D297353CC}">
                <c16:uniqueId val="{00000143-2993-41DE-A2CB-63102DE87051}"/>
              </c:ext>
            </c:extLst>
          </c:dPt>
          <c:dPt>
            <c:idx val="161"/>
            <c:invertIfNegative val="1"/>
            <c:bubble3D val="0"/>
            <c:spPr>
              <a:solidFill>
                <a:srgbClr val="00A097"/>
              </a:solidFill>
            </c:spPr>
            <c:extLst>
              <c:ext xmlns:c16="http://schemas.microsoft.com/office/drawing/2014/chart" uri="{C3380CC4-5D6E-409C-BE32-E72D297353CC}">
                <c16:uniqueId val="{00000145-2993-41DE-A2CB-63102DE87051}"/>
              </c:ext>
            </c:extLst>
          </c:dPt>
          <c:dPt>
            <c:idx val="162"/>
            <c:invertIfNegative val="1"/>
            <c:bubble3D val="0"/>
            <c:spPr>
              <a:solidFill>
                <a:srgbClr val="00A097"/>
              </a:solidFill>
            </c:spPr>
            <c:extLst>
              <c:ext xmlns:c16="http://schemas.microsoft.com/office/drawing/2014/chart" uri="{C3380CC4-5D6E-409C-BE32-E72D297353CC}">
                <c16:uniqueId val="{00000147-2993-41DE-A2CB-63102DE87051}"/>
              </c:ext>
            </c:extLst>
          </c:dPt>
          <c:dPt>
            <c:idx val="163"/>
            <c:invertIfNegative val="1"/>
            <c:bubble3D val="0"/>
            <c:spPr>
              <a:solidFill>
                <a:srgbClr val="00A097"/>
              </a:solidFill>
            </c:spPr>
            <c:extLst>
              <c:ext xmlns:c16="http://schemas.microsoft.com/office/drawing/2014/chart" uri="{C3380CC4-5D6E-409C-BE32-E72D297353CC}">
                <c16:uniqueId val="{00000149-2993-41DE-A2CB-63102DE87051}"/>
              </c:ext>
            </c:extLst>
          </c:dPt>
          <c:dPt>
            <c:idx val="164"/>
            <c:invertIfNegative val="1"/>
            <c:bubble3D val="0"/>
            <c:spPr>
              <a:solidFill>
                <a:srgbClr val="00A097"/>
              </a:solidFill>
            </c:spPr>
            <c:extLst>
              <c:ext xmlns:c16="http://schemas.microsoft.com/office/drawing/2014/chart" uri="{C3380CC4-5D6E-409C-BE32-E72D297353CC}">
                <c16:uniqueId val="{0000014B-2993-41DE-A2CB-63102DE87051}"/>
              </c:ext>
            </c:extLst>
          </c:dPt>
          <c:dPt>
            <c:idx val="165"/>
            <c:invertIfNegative val="1"/>
            <c:bubble3D val="0"/>
            <c:spPr>
              <a:solidFill>
                <a:srgbClr val="00A097"/>
              </a:solidFill>
            </c:spPr>
            <c:extLst>
              <c:ext xmlns:c16="http://schemas.microsoft.com/office/drawing/2014/chart" uri="{C3380CC4-5D6E-409C-BE32-E72D297353CC}">
                <c16:uniqueId val="{0000014D-2993-41DE-A2CB-63102DE87051}"/>
              </c:ext>
            </c:extLst>
          </c:dPt>
          <c:dPt>
            <c:idx val="166"/>
            <c:invertIfNegative val="1"/>
            <c:bubble3D val="0"/>
            <c:spPr>
              <a:solidFill>
                <a:srgbClr val="00A097"/>
              </a:solidFill>
            </c:spPr>
            <c:extLst>
              <c:ext xmlns:c16="http://schemas.microsoft.com/office/drawing/2014/chart" uri="{C3380CC4-5D6E-409C-BE32-E72D297353CC}">
                <c16:uniqueId val="{0000014F-2993-41DE-A2CB-63102DE87051}"/>
              </c:ext>
            </c:extLst>
          </c:dPt>
          <c:dPt>
            <c:idx val="167"/>
            <c:invertIfNegative val="1"/>
            <c:bubble3D val="0"/>
            <c:spPr>
              <a:solidFill>
                <a:srgbClr val="00A097"/>
              </a:solidFill>
            </c:spPr>
            <c:extLst>
              <c:ext xmlns:c16="http://schemas.microsoft.com/office/drawing/2014/chart" uri="{C3380CC4-5D6E-409C-BE32-E72D297353CC}">
                <c16:uniqueId val="{00000151-2993-41DE-A2CB-63102DE87051}"/>
              </c:ext>
            </c:extLst>
          </c:dPt>
          <c:dPt>
            <c:idx val="168"/>
            <c:invertIfNegative val="1"/>
            <c:bubble3D val="0"/>
            <c:spPr>
              <a:solidFill>
                <a:srgbClr val="00A097"/>
              </a:solidFill>
            </c:spPr>
            <c:extLst>
              <c:ext xmlns:c16="http://schemas.microsoft.com/office/drawing/2014/chart" uri="{C3380CC4-5D6E-409C-BE32-E72D297353CC}">
                <c16:uniqueId val="{00000153-2993-41DE-A2CB-63102DE87051}"/>
              </c:ext>
            </c:extLst>
          </c:dPt>
          <c:dPt>
            <c:idx val="169"/>
            <c:invertIfNegative val="1"/>
            <c:bubble3D val="0"/>
            <c:spPr>
              <a:solidFill>
                <a:srgbClr val="00A097"/>
              </a:solidFill>
            </c:spPr>
            <c:extLst>
              <c:ext xmlns:c16="http://schemas.microsoft.com/office/drawing/2014/chart" uri="{C3380CC4-5D6E-409C-BE32-E72D297353CC}">
                <c16:uniqueId val="{00000155-2993-41DE-A2CB-63102DE87051}"/>
              </c:ext>
            </c:extLst>
          </c:dPt>
          <c:dPt>
            <c:idx val="170"/>
            <c:invertIfNegative val="1"/>
            <c:bubble3D val="0"/>
            <c:spPr>
              <a:solidFill>
                <a:srgbClr val="00A097"/>
              </a:solidFill>
            </c:spPr>
            <c:extLst>
              <c:ext xmlns:c16="http://schemas.microsoft.com/office/drawing/2014/chart" uri="{C3380CC4-5D6E-409C-BE32-E72D297353CC}">
                <c16:uniqueId val="{00000157-2993-41DE-A2CB-63102DE87051}"/>
              </c:ext>
            </c:extLst>
          </c:dPt>
          <c:dPt>
            <c:idx val="171"/>
            <c:invertIfNegative val="1"/>
            <c:bubble3D val="0"/>
            <c:spPr>
              <a:solidFill>
                <a:srgbClr val="00A097"/>
              </a:solidFill>
            </c:spPr>
            <c:extLst>
              <c:ext xmlns:c16="http://schemas.microsoft.com/office/drawing/2014/chart" uri="{C3380CC4-5D6E-409C-BE32-E72D297353CC}">
                <c16:uniqueId val="{00000159-2993-41DE-A2CB-63102DE87051}"/>
              </c:ext>
            </c:extLst>
          </c:dPt>
          <c:dPt>
            <c:idx val="172"/>
            <c:invertIfNegative val="1"/>
            <c:bubble3D val="0"/>
            <c:spPr>
              <a:solidFill>
                <a:srgbClr val="00A097"/>
              </a:solidFill>
            </c:spPr>
            <c:extLst>
              <c:ext xmlns:c16="http://schemas.microsoft.com/office/drawing/2014/chart" uri="{C3380CC4-5D6E-409C-BE32-E72D297353CC}">
                <c16:uniqueId val="{0000015B-2993-41DE-A2CB-63102DE87051}"/>
              </c:ext>
            </c:extLst>
          </c:dPt>
          <c:dPt>
            <c:idx val="173"/>
            <c:invertIfNegative val="1"/>
            <c:bubble3D val="0"/>
            <c:spPr>
              <a:solidFill>
                <a:srgbClr val="00A097"/>
              </a:solidFill>
            </c:spPr>
            <c:extLst>
              <c:ext xmlns:c16="http://schemas.microsoft.com/office/drawing/2014/chart" uri="{C3380CC4-5D6E-409C-BE32-E72D297353CC}">
                <c16:uniqueId val="{0000015D-2993-41DE-A2CB-63102DE87051}"/>
              </c:ext>
            </c:extLst>
          </c:dPt>
          <c:dPt>
            <c:idx val="174"/>
            <c:invertIfNegative val="1"/>
            <c:bubble3D val="0"/>
            <c:spPr>
              <a:solidFill>
                <a:srgbClr val="00A097"/>
              </a:solidFill>
            </c:spPr>
            <c:extLst>
              <c:ext xmlns:c16="http://schemas.microsoft.com/office/drawing/2014/chart" uri="{C3380CC4-5D6E-409C-BE32-E72D297353CC}">
                <c16:uniqueId val="{0000015F-2993-41DE-A2CB-63102DE87051}"/>
              </c:ext>
            </c:extLst>
          </c:dPt>
          <c:dPt>
            <c:idx val="175"/>
            <c:invertIfNegative val="1"/>
            <c:bubble3D val="0"/>
            <c:spPr>
              <a:solidFill>
                <a:srgbClr val="00A097"/>
              </a:solidFill>
            </c:spPr>
            <c:extLst>
              <c:ext xmlns:c16="http://schemas.microsoft.com/office/drawing/2014/chart" uri="{C3380CC4-5D6E-409C-BE32-E72D297353CC}">
                <c16:uniqueId val="{00000161-2993-41DE-A2CB-63102DE87051}"/>
              </c:ext>
            </c:extLst>
          </c:dPt>
          <c:dPt>
            <c:idx val="176"/>
            <c:invertIfNegative val="1"/>
            <c:bubble3D val="0"/>
            <c:spPr>
              <a:solidFill>
                <a:srgbClr val="00A097"/>
              </a:solidFill>
            </c:spPr>
            <c:extLst>
              <c:ext xmlns:c16="http://schemas.microsoft.com/office/drawing/2014/chart" uri="{C3380CC4-5D6E-409C-BE32-E72D297353CC}">
                <c16:uniqueId val="{00000163-2993-41DE-A2CB-63102DE87051}"/>
              </c:ext>
            </c:extLst>
          </c:dPt>
          <c:dPt>
            <c:idx val="177"/>
            <c:invertIfNegative val="1"/>
            <c:bubble3D val="0"/>
            <c:spPr>
              <a:solidFill>
                <a:srgbClr val="00A097"/>
              </a:solidFill>
            </c:spPr>
            <c:extLst>
              <c:ext xmlns:c16="http://schemas.microsoft.com/office/drawing/2014/chart" uri="{C3380CC4-5D6E-409C-BE32-E72D297353CC}">
                <c16:uniqueId val="{00000165-2993-41DE-A2CB-63102DE87051}"/>
              </c:ext>
            </c:extLst>
          </c:dPt>
          <c:dPt>
            <c:idx val="178"/>
            <c:invertIfNegative val="1"/>
            <c:bubble3D val="0"/>
            <c:spPr>
              <a:solidFill>
                <a:srgbClr val="00A097"/>
              </a:solidFill>
            </c:spPr>
            <c:extLst>
              <c:ext xmlns:c16="http://schemas.microsoft.com/office/drawing/2014/chart" uri="{C3380CC4-5D6E-409C-BE32-E72D297353CC}">
                <c16:uniqueId val="{00000167-2993-41DE-A2CB-63102DE87051}"/>
              </c:ext>
            </c:extLst>
          </c:dPt>
          <c:dPt>
            <c:idx val="179"/>
            <c:invertIfNegative val="1"/>
            <c:bubble3D val="0"/>
            <c:spPr>
              <a:solidFill>
                <a:srgbClr val="00A097"/>
              </a:solidFill>
            </c:spPr>
            <c:extLst>
              <c:ext xmlns:c16="http://schemas.microsoft.com/office/drawing/2014/chart" uri="{C3380CC4-5D6E-409C-BE32-E72D297353CC}">
                <c16:uniqueId val="{00000169-2993-41DE-A2CB-63102DE87051}"/>
              </c:ext>
            </c:extLst>
          </c:dPt>
          <c:dPt>
            <c:idx val="180"/>
            <c:invertIfNegative val="1"/>
            <c:bubble3D val="0"/>
            <c:spPr>
              <a:solidFill>
                <a:srgbClr val="00A097"/>
              </a:solidFill>
            </c:spPr>
            <c:extLst>
              <c:ext xmlns:c16="http://schemas.microsoft.com/office/drawing/2014/chart" uri="{C3380CC4-5D6E-409C-BE32-E72D297353CC}">
                <c16:uniqueId val="{0000016B-2993-41DE-A2CB-63102DE87051}"/>
              </c:ext>
            </c:extLst>
          </c:dPt>
          <c:dPt>
            <c:idx val="181"/>
            <c:invertIfNegative val="1"/>
            <c:bubble3D val="0"/>
            <c:spPr>
              <a:solidFill>
                <a:srgbClr val="00A097"/>
              </a:solidFill>
            </c:spPr>
            <c:extLst>
              <c:ext xmlns:c16="http://schemas.microsoft.com/office/drawing/2014/chart" uri="{C3380CC4-5D6E-409C-BE32-E72D297353CC}">
                <c16:uniqueId val="{0000016D-2993-41DE-A2CB-63102DE87051}"/>
              </c:ext>
            </c:extLst>
          </c:dPt>
          <c:dPt>
            <c:idx val="182"/>
            <c:invertIfNegative val="1"/>
            <c:bubble3D val="0"/>
            <c:spPr>
              <a:solidFill>
                <a:srgbClr val="00A097"/>
              </a:solidFill>
            </c:spPr>
            <c:extLst>
              <c:ext xmlns:c16="http://schemas.microsoft.com/office/drawing/2014/chart" uri="{C3380CC4-5D6E-409C-BE32-E72D297353CC}">
                <c16:uniqueId val="{0000016F-2993-41DE-A2CB-63102DE87051}"/>
              </c:ext>
            </c:extLst>
          </c:dPt>
          <c:dPt>
            <c:idx val="183"/>
            <c:invertIfNegative val="1"/>
            <c:bubble3D val="0"/>
            <c:spPr>
              <a:solidFill>
                <a:srgbClr val="00A097"/>
              </a:solidFill>
            </c:spPr>
            <c:extLst>
              <c:ext xmlns:c16="http://schemas.microsoft.com/office/drawing/2014/chart" uri="{C3380CC4-5D6E-409C-BE32-E72D297353CC}">
                <c16:uniqueId val="{00000171-2993-41DE-A2CB-63102DE87051}"/>
              </c:ext>
            </c:extLst>
          </c:dPt>
          <c:dPt>
            <c:idx val="184"/>
            <c:invertIfNegative val="1"/>
            <c:bubble3D val="0"/>
            <c:spPr>
              <a:solidFill>
                <a:srgbClr val="00A097"/>
              </a:solidFill>
            </c:spPr>
            <c:extLst>
              <c:ext xmlns:c16="http://schemas.microsoft.com/office/drawing/2014/chart" uri="{C3380CC4-5D6E-409C-BE32-E72D297353CC}">
                <c16:uniqueId val="{00000173-2993-41DE-A2CB-63102DE87051}"/>
              </c:ext>
            </c:extLst>
          </c:dPt>
          <c:dPt>
            <c:idx val="185"/>
            <c:invertIfNegative val="1"/>
            <c:bubble3D val="0"/>
            <c:spPr>
              <a:solidFill>
                <a:srgbClr val="00A097"/>
              </a:solidFill>
            </c:spPr>
            <c:extLst>
              <c:ext xmlns:c16="http://schemas.microsoft.com/office/drawing/2014/chart" uri="{C3380CC4-5D6E-409C-BE32-E72D297353CC}">
                <c16:uniqueId val="{00000175-2993-41DE-A2CB-63102DE87051}"/>
              </c:ext>
            </c:extLst>
          </c:dPt>
          <c:dPt>
            <c:idx val="186"/>
            <c:invertIfNegative val="1"/>
            <c:bubble3D val="0"/>
            <c:spPr>
              <a:solidFill>
                <a:srgbClr val="00A097"/>
              </a:solidFill>
            </c:spPr>
            <c:extLst>
              <c:ext xmlns:c16="http://schemas.microsoft.com/office/drawing/2014/chart" uri="{C3380CC4-5D6E-409C-BE32-E72D297353CC}">
                <c16:uniqueId val="{00000177-2993-41DE-A2CB-63102DE87051}"/>
              </c:ext>
            </c:extLst>
          </c:dPt>
          <c:dPt>
            <c:idx val="187"/>
            <c:invertIfNegative val="1"/>
            <c:bubble3D val="0"/>
            <c:spPr>
              <a:solidFill>
                <a:srgbClr val="00A097"/>
              </a:solidFill>
            </c:spPr>
            <c:extLst>
              <c:ext xmlns:c16="http://schemas.microsoft.com/office/drawing/2014/chart" uri="{C3380CC4-5D6E-409C-BE32-E72D297353CC}">
                <c16:uniqueId val="{00000179-2993-41DE-A2CB-63102DE87051}"/>
              </c:ext>
            </c:extLst>
          </c:dPt>
          <c:dPt>
            <c:idx val="188"/>
            <c:invertIfNegative val="1"/>
            <c:bubble3D val="0"/>
            <c:spPr>
              <a:solidFill>
                <a:srgbClr val="00A097"/>
              </a:solidFill>
            </c:spPr>
            <c:extLst>
              <c:ext xmlns:c16="http://schemas.microsoft.com/office/drawing/2014/chart" uri="{C3380CC4-5D6E-409C-BE32-E72D297353CC}">
                <c16:uniqueId val="{0000017B-2993-41DE-A2CB-63102DE87051}"/>
              </c:ext>
            </c:extLst>
          </c:dPt>
          <c:dPt>
            <c:idx val="189"/>
            <c:invertIfNegative val="1"/>
            <c:bubble3D val="0"/>
            <c:spPr>
              <a:solidFill>
                <a:srgbClr val="00A097"/>
              </a:solidFill>
            </c:spPr>
            <c:extLst>
              <c:ext xmlns:c16="http://schemas.microsoft.com/office/drawing/2014/chart" uri="{C3380CC4-5D6E-409C-BE32-E72D297353CC}">
                <c16:uniqueId val="{0000017D-2993-41DE-A2CB-63102DE87051}"/>
              </c:ext>
            </c:extLst>
          </c:dPt>
          <c:dPt>
            <c:idx val="190"/>
            <c:invertIfNegative val="1"/>
            <c:bubble3D val="0"/>
            <c:spPr>
              <a:solidFill>
                <a:srgbClr val="00A097"/>
              </a:solidFill>
            </c:spPr>
            <c:extLst>
              <c:ext xmlns:c16="http://schemas.microsoft.com/office/drawing/2014/chart" uri="{C3380CC4-5D6E-409C-BE32-E72D297353CC}">
                <c16:uniqueId val="{0000017F-2993-41DE-A2CB-63102DE87051}"/>
              </c:ext>
            </c:extLst>
          </c:dPt>
          <c:dPt>
            <c:idx val="191"/>
            <c:invertIfNegative val="1"/>
            <c:bubble3D val="0"/>
            <c:spPr>
              <a:solidFill>
                <a:srgbClr val="00A097"/>
              </a:solidFill>
            </c:spPr>
            <c:extLst>
              <c:ext xmlns:c16="http://schemas.microsoft.com/office/drawing/2014/chart" uri="{C3380CC4-5D6E-409C-BE32-E72D297353CC}">
                <c16:uniqueId val="{00000181-2993-41DE-A2CB-63102DE87051}"/>
              </c:ext>
            </c:extLst>
          </c:dPt>
          <c:dPt>
            <c:idx val="192"/>
            <c:invertIfNegative val="1"/>
            <c:bubble3D val="0"/>
            <c:spPr>
              <a:solidFill>
                <a:srgbClr val="00A097"/>
              </a:solidFill>
            </c:spPr>
            <c:extLst>
              <c:ext xmlns:c16="http://schemas.microsoft.com/office/drawing/2014/chart" uri="{C3380CC4-5D6E-409C-BE32-E72D297353CC}">
                <c16:uniqueId val="{00000183-2993-41DE-A2CB-63102DE87051}"/>
              </c:ext>
            </c:extLst>
          </c:dPt>
          <c:dPt>
            <c:idx val="193"/>
            <c:invertIfNegative val="1"/>
            <c:bubble3D val="0"/>
            <c:spPr>
              <a:solidFill>
                <a:srgbClr val="00A097"/>
              </a:solidFill>
            </c:spPr>
            <c:extLst>
              <c:ext xmlns:c16="http://schemas.microsoft.com/office/drawing/2014/chart" uri="{C3380CC4-5D6E-409C-BE32-E72D297353CC}">
                <c16:uniqueId val="{00000185-2993-41DE-A2CB-63102DE87051}"/>
              </c:ext>
            </c:extLst>
          </c:dPt>
          <c:dPt>
            <c:idx val="194"/>
            <c:invertIfNegative val="1"/>
            <c:bubble3D val="0"/>
            <c:spPr>
              <a:solidFill>
                <a:srgbClr val="00A097"/>
              </a:solidFill>
            </c:spPr>
            <c:extLst>
              <c:ext xmlns:c16="http://schemas.microsoft.com/office/drawing/2014/chart" uri="{C3380CC4-5D6E-409C-BE32-E72D297353CC}">
                <c16:uniqueId val="{00000187-2993-41DE-A2CB-63102DE87051}"/>
              </c:ext>
            </c:extLst>
          </c:dPt>
          <c:dPt>
            <c:idx val="195"/>
            <c:invertIfNegative val="1"/>
            <c:bubble3D val="0"/>
            <c:spPr>
              <a:solidFill>
                <a:srgbClr val="00A097"/>
              </a:solidFill>
            </c:spPr>
            <c:extLst>
              <c:ext xmlns:c16="http://schemas.microsoft.com/office/drawing/2014/chart" uri="{C3380CC4-5D6E-409C-BE32-E72D297353CC}">
                <c16:uniqueId val="{00000189-2993-41DE-A2CB-63102DE87051}"/>
              </c:ext>
            </c:extLst>
          </c:dPt>
          <c:dPt>
            <c:idx val="196"/>
            <c:invertIfNegative val="1"/>
            <c:bubble3D val="0"/>
            <c:spPr>
              <a:solidFill>
                <a:srgbClr val="00A097"/>
              </a:solidFill>
            </c:spPr>
            <c:extLst>
              <c:ext xmlns:c16="http://schemas.microsoft.com/office/drawing/2014/chart" uri="{C3380CC4-5D6E-409C-BE32-E72D297353CC}">
                <c16:uniqueId val="{0000018B-2993-41DE-A2CB-63102DE87051}"/>
              </c:ext>
            </c:extLst>
          </c:dPt>
          <c:dPt>
            <c:idx val="197"/>
            <c:invertIfNegative val="1"/>
            <c:bubble3D val="0"/>
            <c:spPr>
              <a:solidFill>
                <a:srgbClr val="00A097"/>
              </a:solidFill>
            </c:spPr>
            <c:extLst>
              <c:ext xmlns:c16="http://schemas.microsoft.com/office/drawing/2014/chart" uri="{C3380CC4-5D6E-409C-BE32-E72D297353CC}">
                <c16:uniqueId val="{0000018D-2993-41DE-A2CB-63102DE87051}"/>
              </c:ext>
            </c:extLst>
          </c:dPt>
          <c:dPt>
            <c:idx val="198"/>
            <c:invertIfNegative val="1"/>
            <c:bubble3D val="0"/>
            <c:spPr>
              <a:solidFill>
                <a:srgbClr val="00A097"/>
              </a:solidFill>
            </c:spPr>
            <c:extLst>
              <c:ext xmlns:c16="http://schemas.microsoft.com/office/drawing/2014/chart" uri="{C3380CC4-5D6E-409C-BE32-E72D297353CC}">
                <c16:uniqueId val="{0000018F-2993-41DE-A2CB-63102DE87051}"/>
              </c:ext>
            </c:extLst>
          </c:dPt>
          <c:dPt>
            <c:idx val="199"/>
            <c:invertIfNegative val="1"/>
            <c:bubble3D val="0"/>
            <c:spPr>
              <a:solidFill>
                <a:srgbClr val="00A097"/>
              </a:solidFill>
            </c:spPr>
            <c:extLst>
              <c:ext xmlns:c16="http://schemas.microsoft.com/office/drawing/2014/chart" uri="{C3380CC4-5D6E-409C-BE32-E72D297353CC}">
                <c16:uniqueId val="{00000191-2993-41DE-A2CB-63102DE87051}"/>
              </c:ext>
            </c:extLst>
          </c:dPt>
          <c:dPt>
            <c:idx val="200"/>
            <c:invertIfNegative val="1"/>
            <c:bubble3D val="0"/>
            <c:spPr>
              <a:solidFill>
                <a:srgbClr val="00A097"/>
              </a:solidFill>
            </c:spPr>
            <c:extLst>
              <c:ext xmlns:c16="http://schemas.microsoft.com/office/drawing/2014/chart" uri="{C3380CC4-5D6E-409C-BE32-E72D297353CC}">
                <c16:uniqueId val="{00000193-2993-41DE-A2CB-63102DE87051}"/>
              </c:ext>
            </c:extLst>
          </c:dPt>
          <c:dPt>
            <c:idx val="201"/>
            <c:invertIfNegative val="1"/>
            <c:bubble3D val="0"/>
            <c:spPr>
              <a:solidFill>
                <a:srgbClr val="00A097"/>
              </a:solidFill>
            </c:spPr>
            <c:extLst>
              <c:ext xmlns:c16="http://schemas.microsoft.com/office/drawing/2014/chart" uri="{C3380CC4-5D6E-409C-BE32-E72D297353CC}">
                <c16:uniqueId val="{00000195-2993-41DE-A2CB-63102DE87051}"/>
              </c:ext>
            </c:extLst>
          </c:dPt>
          <c:dPt>
            <c:idx val="202"/>
            <c:invertIfNegative val="1"/>
            <c:bubble3D val="0"/>
            <c:spPr>
              <a:solidFill>
                <a:srgbClr val="00A097"/>
              </a:solidFill>
            </c:spPr>
            <c:extLst>
              <c:ext xmlns:c16="http://schemas.microsoft.com/office/drawing/2014/chart" uri="{C3380CC4-5D6E-409C-BE32-E72D297353CC}">
                <c16:uniqueId val="{00000197-2993-41DE-A2CB-63102DE87051}"/>
              </c:ext>
            </c:extLst>
          </c:dPt>
          <c:dPt>
            <c:idx val="203"/>
            <c:invertIfNegative val="1"/>
            <c:bubble3D val="0"/>
            <c:spPr>
              <a:solidFill>
                <a:srgbClr val="00A097"/>
              </a:solidFill>
            </c:spPr>
            <c:extLst>
              <c:ext xmlns:c16="http://schemas.microsoft.com/office/drawing/2014/chart" uri="{C3380CC4-5D6E-409C-BE32-E72D297353CC}">
                <c16:uniqueId val="{00000199-2993-41DE-A2CB-63102DE87051}"/>
              </c:ext>
            </c:extLst>
          </c:dPt>
          <c:dPt>
            <c:idx val="204"/>
            <c:invertIfNegative val="1"/>
            <c:bubble3D val="0"/>
            <c:spPr>
              <a:solidFill>
                <a:srgbClr val="00A097"/>
              </a:solidFill>
            </c:spPr>
            <c:extLst>
              <c:ext xmlns:c16="http://schemas.microsoft.com/office/drawing/2014/chart" uri="{C3380CC4-5D6E-409C-BE32-E72D297353CC}">
                <c16:uniqueId val="{0000019B-2993-41DE-A2CB-63102DE87051}"/>
              </c:ext>
            </c:extLst>
          </c:dPt>
          <c:dPt>
            <c:idx val="205"/>
            <c:invertIfNegative val="1"/>
            <c:bubble3D val="0"/>
            <c:spPr>
              <a:solidFill>
                <a:srgbClr val="00A097"/>
              </a:solidFill>
            </c:spPr>
            <c:extLst>
              <c:ext xmlns:c16="http://schemas.microsoft.com/office/drawing/2014/chart" uri="{C3380CC4-5D6E-409C-BE32-E72D297353CC}">
                <c16:uniqueId val="{0000019D-2993-41DE-A2CB-63102DE87051}"/>
              </c:ext>
            </c:extLst>
          </c:dPt>
          <c:dPt>
            <c:idx val="206"/>
            <c:invertIfNegative val="1"/>
            <c:bubble3D val="0"/>
            <c:spPr>
              <a:solidFill>
                <a:srgbClr val="00A097"/>
              </a:solidFill>
            </c:spPr>
            <c:extLst>
              <c:ext xmlns:c16="http://schemas.microsoft.com/office/drawing/2014/chart" uri="{C3380CC4-5D6E-409C-BE32-E72D297353CC}">
                <c16:uniqueId val="{0000019F-2993-41DE-A2CB-63102DE87051}"/>
              </c:ext>
            </c:extLst>
          </c:dPt>
          <c:dPt>
            <c:idx val="207"/>
            <c:invertIfNegative val="1"/>
            <c:bubble3D val="0"/>
            <c:spPr>
              <a:solidFill>
                <a:srgbClr val="00A097"/>
              </a:solidFill>
            </c:spPr>
            <c:extLst>
              <c:ext xmlns:c16="http://schemas.microsoft.com/office/drawing/2014/chart" uri="{C3380CC4-5D6E-409C-BE32-E72D297353CC}">
                <c16:uniqueId val="{000001A1-2993-41DE-A2CB-63102DE87051}"/>
              </c:ext>
            </c:extLst>
          </c:dPt>
          <c:dPt>
            <c:idx val="208"/>
            <c:invertIfNegative val="1"/>
            <c:bubble3D val="0"/>
            <c:spPr>
              <a:solidFill>
                <a:srgbClr val="00A097"/>
              </a:solidFill>
            </c:spPr>
            <c:extLst>
              <c:ext xmlns:c16="http://schemas.microsoft.com/office/drawing/2014/chart" uri="{C3380CC4-5D6E-409C-BE32-E72D297353CC}">
                <c16:uniqueId val="{000001A3-2993-41DE-A2CB-63102DE87051}"/>
              </c:ext>
            </c:extLst>
          </c:dPt>
          <c:dPt>
            <c:idx val="209"/>
            <c:invertIfNegative val="1"/>
            <c:bubble3D val="0"/>
            <c:spPr>
              <a:solidFill>
                <a:srgbClr val="00A097"/>
              </a:solidFill>
            </c:spPr>
            <c:extLst>
              <c:ext xmlns:c16="http://schemas.microsoft.com/office/drawing/2014/chart" uri="{C3380CC4-5D6E-409C-BE32-E72D297353CC}">
                <c16:uniqueId val="{000001A5-2993-41DE-A2CB-63102DE87051}"/>
              </c:ext>
            </c:extLst>
          </c:dPt>
          <c:dPt>
            <c:idx val="210"/>
            <c:invertIfNegative val="1"/>
            <c:bubble3D val="0"/>
            <c:spPr>
              <a:solidFill>
                <a:srgbClr val="00A097"/>
              </a:solidFill>
            </c:spPr>
            <c:extLst>
              <c:ext xmlns:c16="http://schemas.microsoft.com/office/drawing/2014/chart" uri="{C3380CC4-5D6E-409C-BE32-E72D297353CC}">
                <c16:uniqueId val="{000001A7-B861-4943-8ABB-0EFD67D9E823}"/>
              </c:ext>
            </c:extLst>
          </c:dPt>
          <c:dPt>
            <c:idx val="211"/>
            <c:invertIfNegative val="1"/>
            <c:bubble3D val="0"/>
            <c:spPr>
              <a:solidFill>
                <a:srgbClr val="00A097"/>
              </a:solidFill>
            </c:spPr>
            <c:extLst>
              <c:ext xmlns:c16="http://schemas.microsoft.com/office/drawing/2014/chart" uri="{C3380CC4-5D6E-409C-BE32-E72D297353CC}">
                <c16:uniqueId val="{000001A9-B861-4943-8ABB-0EFD67D9E823}"/>
              </c:ext>
            </c:extLst>
          </c:dPt>
          <c:dPt>
            <c:idx val="212"/>
            <c:invertIfNegative val="1"/>
            <c:bubble3D val="0"/>
            <c:spPr>
              <a:solidFill>
                <a:srgbClr val="00A097"/>
              </a:solidFill>
            </c:spPr>
            <c:extLst>
              <c:ext xmlns:c16="http://schemas.microsoft.com/office/drawing/2014/chart" uri="{C3380CC4-5D6E-409C-BE32-E72D297353CC}">
                <c16:uniqueId val="{000001AB-B861-4943-8ABB-0EFD67D9E823}"/>
              </c:ext>
            </c:extLst>
          </c:dPt>
          <c:dPt>
            <c:idx val="213"/>
            <c:invertIfNegative val="1"/>
            <c:bubble3D val="0"/>
            <c:spPr>
              <a:solidFill>
                <a:srgbClr val="00A097"/>
              </a:solidFill>
            </c:spPr>
            <c:extLst>
              <c:ext xmlns:c16="http://schemas.microsoft.com/office/drawing/2014/chart" uri="{C3380CC4-5D6E-409C-BE32-E72D297353CC}">
                <c16:uniqueId val="{000001AD-B861-4943-8ABB-0EFD67D9E823}"/>
              </c:ext>
            </c:extLst>
          </c:dPt>
          <c:dPt>
            <c:idx val="214"/>
            <c:invertIfNegative val="1"/>
            <c:bubble3D val="0"/>
            <c:spPr>
              <a:solidFill>
                <a:srgbClr val="00A097"/>
              </a:solidFill>
            </c:spPr>
            <c:extLst>
              <c:ext xmlns:c16="http://schemas.microsoft.com/office/drawing/2014/chart" uri="{C3380CC4-5D6E-409C-BE32-E72D297353CC}">
                <c16:uniqueId val="{000001AF-B861-4943-8ABB-0EFD67D9E823}"/>
              </c:ext>
            </c:extLst>
          </c:dPt>
          <c:dPt>
            <c:idx val="215"/>
            <c:invertIfNegative val="1"/>
            <c:bubble3D val="0"/>
            <c:spPr>
              <a:solidFill>
                <a:srgbClr val="00A097"/>
              </a:solidFill>
            </c:spPr>
            <c:extLst>
              <c:ext xmlns:c16="http://schemas.microsoft.com/office/drawing/2014/chart" uri="{C3380CC4-5D6E-409C-BE32-E72D297353CC}">
                <c16:uniqueId val="{000001B1-B861-4943-8ABB-0EFD67D9E823}"/>
              </c:ext>
            </c:extLst>
          </c:dPt>
          <c:dPt>
            <c:idx val="216"/>
            <c:invertIfNegative val="1"/>
            <c:bubble3D val="0"/>
            <c:spPr>
              <a:solidFill>
                <a:srgbClr val="00A097"/>
              </a:solidFill>
            </c:spPr>
            <c:extLst>
              <c:ext xmlns:c16="http://schemas.microsoft.com/office/drawing/2014/chart" uri="{C3380CC4-5D6E-409C-BE32-E72D297353CC}">
                <c16:uniqueId val="{000001B3-B861-4943-8ABB-0EFD67D9E823}"/>
              </c:ext>
            </c:extLst>
          </c:dPt>
          <c:dPt>
            <c:idx val="217"/>
            <c:invertIfNegative val="1"/>
            <c:bubble3D val="0"/>
            <c:spPr>
              <a:solidFill>
                <a:srgbClr val="00A097"/>
              </a:solidFill>
            </c:spPr>
            <c:extLst>
              <c:ext xmlns:c16="http://schemas.microsoft.com/office/drawing/2014/chart" uri="{C3380CC4-5D6E-409C-BE32-E72D297353CC}">
                <c16:uniqueId val="{000001B5-B861-4943-8ABB-0EFD67D9E823}"/>
              </c:ext>
            </c:extLst>
          </c:dPt>
          <c:dPt>
            <c:idx val="218"/>
            <c:invertIfNegative val="1"/>
            <c:bubble3D val="0"/>
            <c:spPr>
              <a:solidFill>
                <a:srgbClr val="00A097"/>
              </a:solidFill>
            </c:spPr>
            <c:extLst>
              <c:ext xmlns:c16="http://schemas.microsoft.com/office/drawing/2014/chart" uri="{C3380CC4-5D6E-409C-BE32-E72D297353CC}">
                <c16:uniqueId val="{000001B7-B861-4943-8ABB-0EFD67D9E823}"/>
              </c:ext>
            </c:extLst>
          </c:dPt>
          <c:dPt>
            <c:idx val="219"/>
            <c:invertIfNegative val="1"/>
            <c:bubble3D val="0"/>
            <c:spPr>
              <a:solidFill>
                <a:srgbClr val="00A097"/>
              </a:solidFill>
            </c:spPr>
            <c:extLst>
              <c:ext xmlns:c16="http://schemas.microsoft.com/office/drawing/2014/chart" uri="{C3380CC4-5D6E-409C-BE32-E72D297353CC}">
                <c16:uniqueId val="{000001B9-B861-4943-8ABB-0EFD67D9E823}"/>
              </c:ext>
            </c:extLst>
          </c:dPt>
          <c:dPt>
            <c:idx val="220"/>
            <c:invertIfNegative val="1"/>
            <c:bubble3D val="0"/>
            <c:spPr>
              <a:solidFill>
                <a:srgbClr val="00A097"/>
              </a:solidFill>
            </c:spPr>
            <c:extLst>
              <c:ext xmlns:c16="http://schemas.microsoft.com/office/drawing/2014/chart" uri="{C3380CC4-5D6E-409C-BE32-E72D297353CC}">
                <c16:uniqueId val="{000001BB-B861-4943-8ABB-0EFD67D9E823}"/>
              </c:ext>
            </c:extLst>
          </c:dPt>
          <c:dPt>
            <c:idx val="221"/>
            <c:invertIfNegative val="1"/>
            <c:bubble3D val="0"/>
            <c:spPr>
              <a:solidFill>
                <a:srgbClr val="00A097"/>
              </a:solidFill>
            </c:spPr>
            <c:extLst>
              <c:ext xmlns:c16="http://schemas.microsoft.com/office/drawing/2014/chart" uri="{C3380CC4-5D6E-409C-BE32-E72D297353CC}">
                <c16:uniqueId val="{000001BD-B861-4943-8ABB-0EFD67D9E823}"/>
              </c:ext>
            </c:extLst>
          </c:dPt>
          <c:dPt>
            <c:idx val="222"/>
            <c:invertIfNegative val="1"/>
            <c:bubble3D val="0"/>
            <c:spPr>
              <a:solidFill>
                <a:srgbClr val="00A097"/>
              </a:solidFill>
            </c:spPr>
            <c:extLst>
              <c:ext xmlns:c16="http://schemas.microsoft.com/office/drawing/2014/chart" uri="{C3380CC4-5D6E-409C-BE32-E72D297353CC}">
                <c16:uniqueId val="{000001BF-B861-4943-8ABB-0EFD67D9E823}"/>
              </c:ext>
            </c:extLst>
          </c:dPt>
          <c:dPt>
            <c:idx val="223"/>
            <c:invertIfNegative val="1"/>
            <c:bubble3D val="0"/>
            <c:spPr>
              <a:solidFill>
                <a:srgbClr val="00A097"/>
              </a:solidFill>
            </c:spPr>
            <c:extLst>
              <c:ext xmlns:c16="http://schemas.microsoft.com/office/drawing/2014/chart" uri="{C3380CC4-5D6E-409C-BE32-E72D297353CC}">
                <c16:uniqueId val="{000001C1-B861-4943-8ABB-0EFD67D9E823}"/>
              </c:ext>
            </c:extLst>
          </c:dPt>
          <c:dPt>
            <c:idx val="224"/>
            <c:invertIfNegative val="1"/>
            <c:bubble3D val="0"/>
            <c:spPr>
              <a:solidFill>
                <a:srgbClr val="00A097"/>
              </a:solidFill>
            </c:spPr>
            <c:extLst>
              <c:ext xmlns:c16="http://schemas.microsoft.com/office/drawing/2014/chart" uri="{C3380CC4-5D6E-409C-BE32-E72D297353CC}">
                <c16:uniqueId val="{000001C3-B861-4943-8ABB-0EFD67D9E823}"/>
              </c:ext>
            </c:extLst>
          </c:dPt>
          <c:dPt>
            <c:idx val="225"/>
            <c:invertIfNegative val="1"/>
            <c:bubble3D val="0"/>
            <c:spPr>
              <a:solidFill>
                <a:srgbClr val="00A097"/>
              </a:solidFill>
            </c:spPr>
            <c:extLst>
              <c:ext xmlns:c16="http://schemas.microsoft.com/office/drawing/2014/chart" uri="{C3380CC4-5D6E-409C-BE32-E72D297353CC}">
                <c16:uniqueId val="{000001C5-B861-4943-8ABB-0EFD67D9E823}"/>
              </c:ext>
            </c:extLst>
          </c:dPt>
          <c:dPt>
            <c:idx val="226"/>
            <c:invertIfNegative val="1"/>
            <c:bubble3D val="0"/>
            <c:spPr>
              <a:solidFill>
                <a:srgbClr val="00A097"/>
              </a:solidFill>
            </c:spPr>
            <c:extLst>
              <c:ext xmlns:c16="http://schemas.microsoft.com/office/drawing/2014/chart" uri="{C3380CC4-5D6E-409C-BE32-E72D297353CC}">
                <c16:uniqueId val="{000001C7-B861-4943-8ABB-0EFD67D9E823}"/>
              </c:ext>
            </c:extLst>
          </c:dPt>
          <c:dPt>
            <c:idx val="227"/>
            <c:invertIfNegative val="1"/>
            <c:bubble3D val="0"/>
            <c:spPr>
              <a:solidFill>
                <a:srgbClr val="00A097"/>
              </a:solidFill>
            </c:spPr>
            <c:extLst>
              <c:ext xmlns:c16="http://schemas.microsoft.com/office/drawing/2014/chart" uri="{C3380CC4-5D6E-409C-BE32-E72D297353CC}">
                <c16:uniqueId val="{000001C9-B861-4943-8ABB-0EFD67D9E823}"/>
              </c:ext>
            </c:extLst>
          </c:dPt>
          <c:dPt>
            <c:idx val="228"/>
            <c:invertIfNegative val="1"/>
            <c:bubble3D val="0"/>
            <c:spPr>
              <a:solidFill>
                <a:srgbClr val="00A097"/>
              </a:solidFill>
            </c:spPr>
            <c:extLst>
              <c:ext xmlns:c16="http://schemas.microsoft.com/office/drawing/2014/chart" uri="{C3380CC4-5D6E-409C-BE32-E72D297353CC}">
                <c16:uniqueId val="{000001CB-B861-4943-8ABB-0EFD67D9E823}"/>
              </c:ext>
            </c:extLst>
          </c:dPt>
          <c:dPt>
            <c:idx val="229"/>
            <c:invertIfNegative val="1"/>
            <c:bubble3D val="0"/>
            <c:spPr>
              <a:solidFill>
                <a:srgbClr val="00A097"/>
              </a:solidFill>
            </c:spPr>
            <c:extLst>
              <c:ext xmlns:c16="http://schemas.microsoft.com/office/drawing/2014/chart" uri="{C3380CC4-5D6E-409C-BE32-E72D297353CC}">
                <c16:uniqueId val="{000001CD-B861-4943-8ABB-0EFD67D9E823}"/>
              </c:ext>
            </c:extLst>
          </c:dPt>
          <c:dPt>
            <c:idx val="230"/>
            <c:invertIfNegative val="1"/>
            <c:bubble3D val="0"/>
            <c:spPr>
              <a:solidFill>
                <a:srgbClr val="00A097"/>
              </a:solidFill>
            </c:spPr>
            <c:extLst>
              <c:ext xmlns:c16="http://schemas.microsoft.com/office/drawing/2014/chart" uri="{C3380CC4-5D6E-409C-BE32-E72D297353CC}">
                <c16:uniqueId val="{000001CF-B861-4943-8ABB-0EFD67D9E823}"/>
              </c:ext>
            </c:extLst>
          </c:dPt>
          <c:dPt>
            <c:idx val="231"/>
            <c:invertIfNegative val="1"/>
            <c:bubble3D val="0"/>
            <c:spPr>
              <a:solidFill>
                <a:srgbClr val="00A097"/>
              </a:solidFill>
            </c:spPr>
            <c:extLst>
              <c:ext xmlns:c16="http://schemas.microsoft.com/office/drawing/2014/chart" uri="{C3380CC4-5D6E-409C-BE32-E72D297353CC}">
                <c16:uniqueId val="{000001D1-B861-4943-8ABB-0EFD67D9E823}"/>
              </c:ext>
            </c:extLst>
          </c:dPt>
          <c:dPt>
            <c:idx val="232"/>
            <c:invertIfNegative val="1"/>
            <c:bubble3D val="0"/>
            <c:spPr>
              <a:solidFill>
                <a:srgbClr val="00A097"/>
              </a:solidFill>
            </c:spPr>
            <c:extLst>
              <c:ext xmlns:c16="http://schemas.microsoft.com/office/drawing/2014/chart" uri="{C3380CC4-5D6E-409C-BE32-E72D297353CC}">
                <c16:uniqueId val="{000001D3-B861-4943-8ABB-0EFD67D9E823}"/>
              </c:ext>
            </c:extLst>
          </c:dPt>
          <c:dPt>
            <c:idx val="233"/>
            <c:invertIfNegative val="1"/>
            <c:bubble3D val="0"/>
            <c:spPr>
              <a:solidFill>
                <a:srgbClr val="00A097"/>
              </a:solidFill>
            </c:spPr>
            <c:extLst>
              <c:ext xmlns:c16="http://schemas.microsoft.com/office/drawing/2014/chart" uri="{C3380CC4-5D6E-409C-BE32-E72D297353CC}">
                <c16:uniqueId val="{000001D5-B861-4943-8ABB-0EFD67D9E823}"/>
              </c:ext>
            </c:extLst>
          </c:dPt>
          <c:dPt>
            <c:idx val="234"/>
            <c:invertIfNegative val="1"/>
            <c:bubble3D val="0"/>
            <c:spPr>
              <a:solidFill>
                <a:srgbClr val="00A097"/>
              </a:solidFill>
            </c:spPr>
            <c:extLst>
              <c:ext xmlns:c16="http://schemas.microsoft.com/office/drawing/2014/chart" uri="{C3380CC4-5D6E-409C-BE32-E72D297353CC}">
                <c16:uniqueId val="{000001D7-B861-4943-8ABB-0EFD67D9E823}"/>
              </c:ext>
            </c:extLst>
          </c:dPt>
          <c:dPt>
            <c:idx val="235"/>
            <c:invertIfNegative val="1"/>
            <c:bubble3D val="0"/>
            <c:spPr>
              <a:solidFill>
                <a:srgbClr val="00A097"/>
              </a:solidFill>
            </c:spPr>
            <c:extLst>
              <c:ext xmlns:c16="http://schemas.microsoft.com/office/drawing/2014/chart" uri="{C3380CC4-5D6E-409C-BE32-E72D297353CC}">
                <c16:uniqueId val="{000001D9-B861-4943-8ABB-0EFD67D9E823}"/>
              </c:ext>
            </c:extLst>
          </c:dPt>
          <c:dPt>
            <c:idx val="236"/>
            <c:invertIfNegative val="1"/>
            <c:bubble3D val="0"/>
            <c:spPr>
              <a:solidFill>
                <a:srgbClr val="00A097"/>
              </a:solidFill>
            </c:spPr>
            <c:extLst>
              <c:ext xmlns:c16="http://schemas.microsoft.com/office/drawing/2014/chart" uri="{C3380CC4-5D6E-409C-BE32-E72D297353CC}">
                <c16:uniqueId val="{000001DB-B861-4943-8ABB-0EFD67D9E823}"/>
              </c:ext>
            </c:extLst>
          </c:dPt>
          <c:dPt>
            <c:idx val="237"/>
            <c:invertIfNegative val="1"/>
            <c:bubble3D val="0"/>
            <c:spPr>
              <a:solidFill>
                <a:srgbClr val="00A097"/>
              </a:solidFill>
            </c:spPr>
            <c:extLst>
              <c:ext xmlns:c16="http://schemas.microsoft.com/office/drawing/2014/chart" uri="{C3380CC4-5D6E-409C-BE32-E72D297353CC}">
                <c16:uniqueId val="{000001DD-B861-4943-8ABB-0EFD67D9E823}"/>
              </c:ext>
            </c:extLst>
          </c:dPt>
          <c:dPt>
            <c:idx val="238"/>
            <c:invertIfNegative val="1"/>
            <c:bubble3D val="0"/>
            <c:spPr>
              <a:solidFill>
                <a:srgbClr val="00A097"/>
              </a:solidFill>
            </c:spPr>
            <c:extLst>
              <c:ext xmlns:c16="http://schemas.microsoft.com/office/drawing/2014/chart" uri="{C3380CC4-5D6E-409C-BE32-E72D297353CC}">
                <c16:uniqueId val="{000001DF-B861-4943-8ABB-0EFD67D9E823}"/>
              </c:ext>
            </c:extLst>
          </c:dPt>
          <c:dPt>
            <c:idx val="239"/>
            <c:invertIfNegative val="1"/>
            <c:bubble3D val="0"/>
            <c:spPr>
              <a:solidFill>
                <a:srgbClr val="00A097"/>
              </a:solidFill>
            </c:spPr>
            <c:extLst>
              <c:ext xmlns:c16="http://schemas.microsoft.com/office/drawing/2014/chart" uri="{C3380CC4-5D6E-409C-BE32-E72D297353CC}">
                <c16:uniqueId val="{000001E1-B861-4943-8ABB-0EFD67D9E823}"/>
              </c:ext>
            </c:extLst>
          </c:dPt>
          <c:dPt>
            <c:idx val="240"/>
            <c:invertIfNegative val="1"/>
            <c:bubble3D val="0"/>
            <c:spPr>
              <a:solidFill>
                <a:srgbClr val="00A097"/>
              </a:solidFill>
            </c:spPr>
            <c:extLst>
              <c:ext xmlns:c16="http://schemas.microsoft.com/office/drawing/2014/chart" uri="{C3380CC4-5D6E-409C-BE32-E72D297353CC}">
                <c16:uniqueId val="{000001E3-B861-4943-8ABB-0EFD67D9E823}"/>
              </c:ext>
            </c:extLst>
          </c:dPt>
          <c:dPt>
            <c:idx val="241"/>
            <c:invertIfNegative val="1"/>
            <c:bubble3D val="0"/>
            <c:spPr>
              <a:solidFill>
                <a:srgbClr val="00A097"/>
              </a:solidFill>
            </c:spPr>
            <c:extLst>
              <c:ext xmlns:c16="http://schemas.microsoft.com/office/drawing/2014/chart" uri="{C3380CC4-5D6E-409C-BE32-E72D297353CC}">
                <c16:uniqueId val="{000001E5-B861-4943-8ABB-0EFD67D9E823}"/>
              </c:ext>
            </c:extLst>
          </c:dPt>
          <c:dPt>
            <c:idx val="242"/>
            <c:invertIfNegative val="1"/>
            <c:bubble3D val="0"/>
            <c:spPr>
              <a:solidFill>
                <a:srgbClr val="00A097"/>
              </a:solidFill>
            </c:spPr>
            <c:extLst>
              <c:ext xmlns:c16="http://schemas.microsoft.com/office/drawing/2014/chart" uri="{C3380CC4-5D6E-409C-BE32-E72D297353CC}">
                <c16:uniqueId val="{000001E7-B861-4943-8ABB-0EFD67D9E823}"/>
              </c:ext>
            </c:extLst>
          </c:dPt>
          <c:dPt>
            <c:idx val="243"/>
            <c:invertIfNegative val="1"/>
            <c:bubble3D val="0"/>
            <c:spPr>
              <a:solidFill>
                <a:srgbClr val="00A097"/>
              </a:solidFill>
            </c:spPr>
            <c:extLst>
              <c:ext xmlns:c16="http://schemas.microsoft.com/office/drawing/2014/chart" uri="{C3380CC4-5D6E-409C-BE32-E72D297353CC}">
                <c16:uniqueId val="{000001E9-B861-4943-8ABB-0EFD67D9E823}"/>
              </c:ext>
            </c:extLst>
          </c:dPt>
          <c:dPt>
            <c:idx val="244"/>
            <c:invertIfNegative val="1"/>
            <c:bubble3D val="0"/>
            <c:spPr>
              <a:solidFill>
                <a:srgbClr val="00A097"/>
              </a:solidFill>
            </c:spPr>
            <c:extLst>
              <c:ext xmlns:c16="http://schemas.microsoft.com/office/drawing/2014/chart" uri="{C3380CC4-5D6E-409C-BE32-E72D297353CC}">
                <c16:uniqueId val="{000001EB-B861-4943-8ABB-0EFD67D9E823}"/>
              </c:ext>
            </c:extLst>
          </c:dPt>
          <c:dPt>
            <c:idx val="245"/>
            <c:invertIfNegative val="1"/>
            <c:bubble3D val="0"/>
            <c:spPr>
              <a:solidFill>
                <a:srgbClr val="00A097"/>
              </a:solidFill>
            </c:spPr>
            <c:extLst>
              <c:ext xmlns:c16="http://schemas.microsoft.com/office/drawing/2014/chart" uri="{C3380CC4-5D6E-409C-BE32-E72D297353CC}">
                <c16:uniqueId val="{000001ED-B861-4943-8ABB-0EFD67D9E823}"/>
              </c:ext>
            </c:extLst>
          </c:dPt>
          <c:dPt>
            <c:idx val="246"/>
            <c:invertIfNegative val="1"/>
            <c:bubble3D val="0"/>
            <c:spPr>
              <a:solidFill>
                <a:srgbClr val="00A097"/>
              </a:solidFill>
            </c:spPr>
            <c:extLst>
              <c:ext xmlns:c16="http://schemas.microsoft.com/office/drawing/2014/chart" uri="{C3380CC4-5D6E-409C-BE32-E72D297353CC}">
                <c16:uniqueId val="{000001EF-B861-4943-8ABB-0EFD67D9E823}"/>
              </c:ext>
            </c:extLst>
          </c:dPt>
          <c:dPt>
            <c:idx val="247"/>
            <c:invertIfNegative val="1"/>
            <c:bubble3D val="0"/>
            <c:spPr>
              <a:solidFill>
                <a:srgbClr val="00A097"/>
              </a:solidFill>
            </c:spPr>
            <c:extLst>
              <c:ext xmlns:c16="http://schemas.microsoft.com/office/drawing/2014/chart" uri="{C3380CC4-5D6E-409C-BE32-E72D297353CC}">
                <c16:uniqueId val="{000001F1-B861-4943-8ABB-0EFD67D9E823}"/>
              </c:ext>
            </c:extLst>
          </c:dPt>
          <c:dPt>
            <c:idx val="248"/>
            <c:invertIfNegative val="1"/>
            <c:bubble3D val="0"/>
            <c:spPr>
              <a:solidFill>
                <a:srgbClr val="00A097"/>
              </a:solidFill>
            </c:spPr>
            <c:extLst>
              <c:ext xmlns:c16="http://schemas.microsoft.com/office/drawing/2014/chart" uri="{C3380CC4-5D6E-409C-BE32-E72D297353CC}">
                <c16:uniqueId val="{000001F3-B861-4943-8ABB-0EFD67D9E823}"/>
              </c:ext>
            </c:extLst>
          </c:dPt>
          <c:dPt>
            <c:idx val="249"/>
            <c:invertIfNegative val="1"/>
            <c:bubble3D val="0"/>
            <c:spPr>
              <a:solidFill>
                <a:srgbClr val="00A097"/>
              </a:solidFill>
            </c:spPr>
            <c:extLst>
              <c:ext xmlns:c16="http://schemas.microsoft.com/office/drawing/2014/chart" uri="{C3380CC4-5D6E-409C-BE32-E72D297353CC}">
                <c16:uniqueId val="{000001F5-B861-4943-8ABB-0EFD67D9E823}"/>
              </c:ext>
            </c:extLst>
          </c:dPt>
          <c:dPt>
            <c:idx val="250"/>
            <c:invertIfNegative val="1"/>
            <c:bubble3D val="0"/>
            <c:spPr>
              <a:solidFill>
                <a:srgbClr val="00A097"/>
              </a:solidFill>
            </c:spPr>
            <c:extLst>
              <c:ext xmlns:c16="http://schemas.microsoft.com/office/drawing/2014/chart" uri="{C3380CC4-5D6E-409C-BE32-E72D297353CC}">
                <c16:uniqueId val="{000001F7-B861-4943-8ABB-0EFD67D9E823}"/>
              </c:ext>
            </c:extLst>
          </c:dPt>
          <c:dPt>
            <c:idx val="251"/>
            <c:invertIfNegative val="1"/>
            <c:bubble3D val="0"/>
            <c:spPr>
              <a:solidFill>
                <a:srgbClr val="00A097"/>
              </a:solidFill>
            </c:spPr>
            <c:extLst>
              <c:ext xmlns:c16="http://schemas.microsoft.com/office/drawing/2014/chart" uri="{C3380CC4-5D6E-409C-BE32-E72D297353CC}">
                <c16:uniqueId val="{000001F9-B861-4943-8ABB-0EFD67D9E823}"/>
              </c:ext>
            </c:extLst>
          </c:dPt>
          <c:dPt>
            <c:idx val="252"/>
            <c:invertIfNegative val="1"/>
            <c:bubble3D val="0"/>
            <c:spPr>
              <a:solidFill>
                <a:srgbClr val="00A097"/>
              </a:solidFill>
            </c:spPr>
            <c:extLst>
              <c:ext xmlns:c16="http://schemas.microsoft.com/office/drawing/2014/chart" uri="{C3380CC4-5D6E-409C-BE32-E72D297353CC}">
                <c16:uniqueId val="{000001FB-B861-4943-8ABB-0EFD67D9E823}"/>
              </c:ext>
            </c:extLst>
          </c:dPt>
          <c:dPt>
            <c:idx val="253"/>
            <c:invertIfNegative val="1"/>
            <c:bubble3D val="0"/>
            <c:spPr>
              <a:solidFill>
                <a:srgbClr val="00A097"/>
              </a:solidFill>
            </c:spPr>
            <c:extLst>
              <c:ext xmlns:c16="http://schemas.microsoft.com/office/drawing/2014/chart" uri="{C3380CC4-5D6E-409C-BE32-E72D297353CC}">
                <c16:uniqueId val="{000001FD-B861-4943-8ABB-0EFD67D9E823}"/>
              </c:ext>
            </c:extLst>
          </c:dPt>
          <c:dPt>
            <c:idx val="254"/>
            <c:invertIfNegative val="1"/>
            <c:bubble3D val="0"/>
            <c:spPr>
              <a:solidFill>
                <a:srgbClr val="00A097"/>
              </a:solidFill>
            </c:spPr>
            <c:extLst>
              <c:ext xmlns:c16="http://schemas.microsoft.com/office/drawing/2014/chart" uri="{C3380CC4-5D6E-409C-BE32-E72D297353CC}">
                <c16:uniqueId val="{000001FF-B861-4943-8ABB-0EFD67D9E823}"/>
              </c:ext>
            </c:extLst>
          </c:dPt>
          <c:dPt>
            <c:idx val="255"/>
            <c:invertIfNegative val="1"/>
            <c:bubble3D val="0"/>
            <c:spPr>
              <a:solidFill>
                <a:srgbClr val="00A097"/>
              </a:solidFill>
            </c:spPr>
            <c:extLst>
              <c:ext xmlns:c16="http://schemas.microsoft.com/office/drawing/2014/chart" uri="{C3380CC4-5D6E-409C-BE32-E72D297353CC}">
                <c16:uniqueId val="{00000201-B861-4943-8ABB-0EFD67D9E823}"/>
              </c:ext>
            </c:extLst>
          </c:dPt>
          <c:dPt>
            <c:idx val="256"/>
            <c:invertIfNegative val="1"/>
            <c:bubble3D val="0"/>
            <c:spPr>
              <a:solidFill>
                <a:srgbClr val="00A097"/>
              </a:solidFill>
            </c:spPr>
            <c:extLst>
              <c:ext xmlns:c16="http://schemas.microsoft.com/office/drawing/2014/chart" uri="{C3380CC4-5D6E-409C-BE32-E72D297353CC}">
                <c16:uniqueId val="{00000203-B861-4943-8ABB-0EFD67D9E823}"/>
              </c:ext>
            </c:extLst>
          </c:dPt>
          <c:dPt>
            <c:idx val="257"/>
            <c:invertIfNegative val="1"/>
            <c:bubble3D val="0"/>
            <c:spPr>
              <a:solidFill>
                <a:srgbClr val="00A097"/>
              </a:solidFill>
            </c:spPr>
            <c:extLst>
              <c:ext xmlns:c16="http://schemas.microsoft.com/office/drawing/2014/chart" uri="{C3380CC4-5D6E-409C-BE32-E72D297353CC}">
                <c16:uniqueId val="{00000205-B861-4943-8ABB-0EFD67D9E823}"/>
              </c:ext>
            </c:extLst>
          </c:dPt>
          <c:dPt>
            <c:idx val="258"/>
            <c:invertIfNegative val="1"/>
            <c:bubble3D val="0"/>
            <c:spPr>
              <a:solidFill>
                <a:srgbClr val="00A097"/>
              </a:solidFill>
            </c:spPr>
            <c:extLst>
              <c:ext xmlns:c16="http://schemas.microsoft.com/office/drawing/2014/chart" uri="{C3380CC4-5D6E-409C-BE32-E72D297353CC}">
                <c16:uniqueId val="{00000207-B861-4943-8ABB-0EFD67D9E823}"/>
              </c:ext>
            </c:extLst>
          </c:dPt>
          <c:dPt>
            <c:idx val="259"/>
            <c:invertIfNegative val="1"/>
            <c:bubble3D val="0"/>
            <c:spPr>
              <a:solidFill>
                <a:srgbClr val="00A097"/>
              </a:solidFill>
            </c:spPr>
            <c:extLst>
              <c:ext xmlns:c16="http://schemas.microsoft.com/office/drawing/2014/chart" uri="{C3380CC4-5D6E-409C-BE32-E72D297353CC}">
                <c16:uniqueId val="{00000209-B861-4943-8ABB-0EFD67D9E823}"/>
              </c:ext>
            </c:extLst>
          </c:dPt>
          <c:dPt>
            <c:idx val="260"/>
            <c:invertIfNegative val="1"/>
            <c:bubble3D val="0"/>
            <c:spPr>
              <a:solidFill>
                <a:srgbClr val="00A097"/>
              </a:solidFill>
            </c:spPr>
            <c:extLst>
              <c:ext xmlns:c16="http://schemas.microsoft.com/office/drawing/2014/chart" uri="{C3380CC4-5D6E-409C-BE32-E72D297353CC}">
                <c16:uniqueId val="{0000020B-B861-4943-8ABB-0EFD67D9E823}"/>
              </c:ext>
            </c:extLst>
          </c:dPt>
          <c:dPt>
            <c:idx val="261"/>
            <c:invertIfNegative val="1"/>
            <c:bubble3D val="0"/>
            <c:spPr>
              <a:solidFill>
                <a:srgbClr val="00A097"/>
              </a:solidFill>
            </c:spPr>
            <c:extLst>
              <c:ext xmlns:c16="http://schemas.microsoft.com/office/drawing/2014/chart" uri="{C3380CC4-5D6E-409C-BE32-E72D297353CC}">
                <c16:uniqueId val="{0000020D-B861-4943-8ABB-0EFD67D9E823}"/>
              </c:ext>
            </c:extLst>
          </c:dPt>
          <c:dPt>
            <c:idx val="262"/>
            <c:invertIfNegative val="1"/>
            <c:bubble3D val="0"/>
            <c:spPr>
              <a:solidFill>
                <a:srgbClr val="00A097"/>
              </a:solidFill>
            </c:spPr>
            <c:extLst>
              <c:ext xmlns:c16="http://schemas.microsoft.com/office/drawing/2014/chart" uri="{C3380CC4-5D6E-409C-BE32-E72D297353CC}">
                <c16:uniqueId val="{0000020F-B861-4943-8ABB-0EFD67D9E823}"/>
              </c:ext>
            </c:extLst>
          </c:dPt>
          <c:dPt>
            <c:idx val="263"/>
            <c:invertIfNegative val="1"/>
            <c:bubble3D val="0"/>
            <c:spPr>
              <a:solidFill>
                <a:srgbClr val="00A097"/>
              </a:solidFill>
            </c:spPr>
            <c:extLst>
              <c:ext xmlns:c16="http://schemas.microsoft.com/office/drawing/2014/chart" uri="{C3380CC4-5D6E-409C-BE32-E72D297353CC}">
                <c16:uniqueId val="{00000211-B861-4943-8ABB-0EFD67D9E823}"/>
              </c:ext>
            </c:extLst>
          </c:dPt>
          <c:dPt>
            <c:idx val="264"/>
            <c:invertIfNegative val="1"/>
            <c:bubble3D val="0"/>
            <c:spPr>
              <a:solidFill>
                <a:srgbClr val="00A097"/>
              </a:solidFill>
            </c:spPr>
            <c:extLst>
              <c:ext xmlns:c16="http://schemas.microsoft.com/office/drawing/2014/chart" uri="{C3380CC4-5D6E-409C-BE32-E72D297353CC}">
                <c16:uniqueId val="{00000213-B861-4943-8ABB-0EFD67D9E823}"/>
              </c:ext>
            </c:extLst>
          </c:dPt>
          <c:dPt>
            <c:idx val="265"/>
            <c:invertIfNegative val="1"/>
            <c:bubble3D val="0"/>
            <c:spPr>
              <a:solidFill>
                <a:srgbClr val="00A097"/>
              </a:solidFill>
            </c:spPr>
            <c:extLst>
              <c:ext xmlns:c16="http://schemas.microsoft.com/office/drawing/2014/chart" uri="{C3380CC4-5D6E-409C-BE32-E72D297353CC}">
                <c16:uniqueId val="{00000215-B861-4943-8ABB-0EFD67D9E823}"/>
              </c:ext>
            </c:extLst>
          </c:dPt>
          <c:dPt>
            <c:idx val="266"/>
            <c:invertIfNegative val="1"/>
            <c:bubble3D val="0"/>
            <c:spPr>
              <a:solidFill>
                <a:srgbClr val="00A097"/>
              </a:solidFill>
            </c:spPr>
            <c:extLst>
              <c:ext xmlns:c16="http://schemas.microsoft.com/office/drawing/2014/chart" uri="{C3380CC4-5D6E-409C-BE32-E72D297353CC}">
                <c16:uniqueId val="{00000217-B861-4943-8ABB-0EFD67D9E823}"/>
              </c:ext>
            </c:extLst>
          </c:dPt>
          <c:dPt>
            <c:idx val="267"/>
            <c:invertIfNegative val="1"/>
            <c:bubble3D val="0"/>
            <c:spPr>
              <a:solidFill>
                <a:srgbClr val="00A097"/>
              </a:solidFill>
            </c:spPr>
            <c:extLst>
              <c:ext xmlns:c16="http://schemas.microsoft.com/office/drawing/2014/chart" uri="{C3380CC4-5D6E-409C-BE32-E72D297353CC}">
                <c16:uniqueId val="{00000219-B861-4943-8ABB-0EFD67D9E823}"/>
              </c:ext>
            </c:extLst>
          </c:dPt>
          <c:dPt>
            <c:idx val="268"/>
            <c:invertIfNegative val="1"/>
            <c:bubble3D val="0"/>
            <c:spPr>
              <a:solidFill>
                <a:srgbClr val="00A097"/>
              </a:solidFill>
            </c:spPr>
            <c:extLst>
              <c:ext xmlns:c16="http://schemas.microsoft.com/office/drawing/2014/chart" uri="{C3380CC4-5D6E-409C-BE32-E72D297353CC}">
                <c16:uniqueId val="{0000021B-B861-4943-8ABB-0EFD67D9E823}"/>
              </c:ext>
            </c:extLst>
          </c:dPt>
          <c:dPt>
            <c:idx val="269"/>
            <c:invertIfNegative val="1"/>
            <c:bubble3D val="0"/>
            <c:spPr>
              <a:solidFill>
                <a:srgbClr val="00A097"/>
              </a:solidFill>
            </c:spPr>
            <c:extLst>
              <c:ext xmlns:c16="http://schemas.microsoft.com/office/drawing/2014/chart" uri="{C3380CC4-5D6E-409C-BE32-E72D297353CC}">
                <c16:uniqueId val="{0000021D-B861-4943-8ABB-0EFD67D9E823}"/>
              </c:ext>
            </c:extLst>
          </c:dPt>
          <c:dPt>
            <c:idx val="270"/>
            <c:invertIfNegative val="1"/>
            <c:bubble3D val="0"/>
            <c:spPr>
              <a:solidFill>
                <a:srgbClr val="00A097"/>
              </a:solidFill>
            </c:spPr>
            <c:extLst>
              <c:ext xmlns:c16="http://schemas.microsoft.com/office/drawing/2014/chart" uri="{C3380CC4-5D6E-409C-BE32-E72D297353CC}">
                <c16:uniqueId val="{0000021F-B861-4943-8ABB-0EFD67D9E823}"/>
              </c:ext>
            </c:extLst>
          </c:dPt>
          <c:dPt>
            <c:idx val="271"/>
            <c:invertIfNegative val="1"/>
            <c:bubble3D val="0"/>
            <c:spPr>
              <a:solidFill>
                <a:srgbClr val="00A097"/>
              </a:solidFill>
            </c:spPr>
            <c:extLst>
              <c:ext xmlns:c16="http://schemas.microsoft.com/office/drawing/2014/chart" uri="{C3380CC4-5D6E-409C-BE32-E72D297353CC}">
                <c16:uniqueId val="{00000221-B861-4943-8ABB-0EFD67D9E823}"/>
              </c:ext>
            </c:extLst>
          </c:dPt>
          <c:dPt>
            <c:idx val="272"/>
            <c:invertIfNegative val="1"/>
            <c:bubble3D val="0"/>
            <c:spPr>
              <a:solidFill>
                <a:srgbClr val="00A097"/>
              </a:solidFill>
            </c:spPr>
            <c:extLst>
              <c:ext xmlns:c16="http://schemas.microsoft.com/office/drawing/2014/chart" uri="{C3380CC4-5D6E-409C-BE32-E72D297353CC}">
                <c16:uniqueId val="{00000223-B861-4943-8ABB-0EFD67D9E823}"/>
              </c:ext>
            </c:extLst>
          </c:dPt>
          <c:dPt>
            <c:idx val="273"/>
            <c:invertIfNegative val="1"/>
            <c:bubble3D val="0"/>
            <c:spPr>
              <a:solidFill>
                <a:srgbClr val="00A097"/>
              </a:solidFill>
            </c:spPr>
            <c:extLst>
              <c:ext xmlns:c16="http://schemas.microsoft.com/office/drawing/2014/chart" uri="{C3380CC4-5D6E-409C-BE32-E72D297353CC}">
                <c16:uniqueId val="{00000225-B861-4943-8ABB-0EFD67D9E823}"/>
              </c:ext>
            </c:extLst>
          </c:dPt>
          <c:dPt>
            <c:idx val="274"/>
            <c:invertIfNegative val="1"/>
            <c:bubble3D val="0"/>
            <c:spPr>
              <a:solidFill>
                <a:srgbClr val="00A097"/>
              </a:solidFill>
            </c:spPr>
            <c:extLst>
              <c:ext xmlns:c16="http://schemas.microsoft.com/office/drawing/2014/chart" uri="{C3380CC4-5D6E-409C-BE32-E72D297353CC}">
                <c16:uniqueId val="{00000227-B861-4943-8ABB-0EFD67D9E823}"/>
              </c:ext>
            </c:extLst>
          </c:dPt>
          <c:dPt>
            <c:idx val="275"/>
            <c:invertIfNegative val="1"/>
            <c:bubble3D val="0"/>
            <c:spPr>
              <a:solidFill>
                <a:srgbClr val="00A097"/>
              </a:solidFill>
            </c:spPr>
            <c:extLst>
              <c:ext xmlns:c16="http://schemas.microsoft.com/office/drawing/2014/chart" uri="{C3380CC4-5D6E-409C-BE32-E72D297353CC}">
                <c16:uniqueId val="{00000229-B861-4943-8ABB-0EFD67D9E823}"/>
              </c:ext>
            </c:extLst>
          </c:dPt>
          <c:dPt>
            <c:idx val="276"/>
            <c:invertIfNegative val="1"/>
            <c:bubble3D val="0"/>
            <c:spPr>
              <a:solidFill>
                <a:srgbClr val="00A097"/>
              </a:solidFill>
            </c:spPr>
            <c:extLst>
              <c:ext xmlns:c16="http://schemas.microsoft.com/office/drawing/2014/chart" uri="{C3380CC4-5D6E-409C-BE32-E72D297353CC}">
                <c16:uniqueId val="{0000022B-B861-4943-8ABB-0EFD67D9E823}"/>
              </c:ext>
            </c:extLst>
          </c:dPt>
          <c:dPt>
            <c:idx val="277"/>
            <c:invertIfNegative val="1"/>
            <c:bubble3D val="0"/>
            <c:spPr>
              <a:solidFill>
                <a:srgbClr val="00A097"/>
              </a:solidFill>
            </c:spPr>
            <c:extLst>
              <c:ext xmlns:c16="http://schemas.microsoft.com/office/drawing/2014/chart" uri="{C3380CC4-5D6E-409C-BE32-E72D297353CC}">
                <c16:uniqueId val="{0000022D-B861-4943-8ABB-0EFD67D9E823}"/>
              </c:ext>
            </c:extLst>
          </c:dPt>
          <c:dPt>
            <c:idx val="278"/>
            <c:invertIfNegative val="1"/>
            <c:bubble3D val="0"/>
            <c:spPr>
              <a:solidFill>
                <a:srgbClr val="00A097"/>
              </a:solidFill>
            </c:spPr>
            <c:extLst>
              <c:ext xmlns:c16="http://schemas.microsoft.com/office/drawing/2014/chart" uri="{C3380CC4-5D6E-409C-BE32-E72D297353CC}">
                <c16:uniqueId val="{0000022F-B861-4943-8ABB-0EFD67D9E823}"/>
              </c:ext>
            </c:extLst>
          </c:dPt>
          <c:dPt>
            <c:idx val="279"/>
            <c:invertIfNegative val="1"/>
            <c:bubble3D val="0"/>
            <c:spPr>
              <a:solidFill>
                <a:srgbClr val="00A097"/>
              </a:solidFill>
            </c:spPr>
            <c:extLst>
              <c:ext xmlns:c16="http://schemas.microsoft.com/office/drawing/2014/chart" uri="{C3380CC4-5D6E-409C-BE32-E72D297353CC}">
                <c16:uniqueId val="{00000231-B861-4943-8ABB-0EFD67D9E823}"/>
              </c:ext>
            </c:extLst>
          </c:dPt>
          <c:dPt>
            <c:idx val="280"/>
            <c:invertIfNegative val="1"/>
            <c:bubble3D val="0"/>
            <c:spPr>
              <a:solidFill>
                <a:srgbClr val="00A097"/>
              </a:solidFill>
            </c:spPr>
            <c:extLst>
              <c:ext xmlns:c16="http://schemas.microsoft.com/office/drawing/2014/chart" uri="{C3380CC4-5D6E-409C-BE32-E72D297353CC}">
                <c16:uniqueId val="{00000233-B861-4943-8ABB-0EFD67D9E823}"/>
              </c:ext>
            </c:extLst>
          </c:dPt>
          <c:dPt>
            <c:idx val="281"/>
            <c:invertIfNegative val="1"/>
            <c:bubble3D val="0"/>
            <c:spPr>
              <a:solidFill>
                <a:srgbClr val="00A097"/>
              </a:solidFill>
            </c:spPr>
            <c:extLst>
              <c:ext xmlns:c16="http://schemas.microsoft.com/office/drawing/2014/chart" uri="{C3380CC4-5D6E-409C-BE32-E72D297353CC}">
                <c16:uniqueId val="{00000235-B861-4943-8ABB-0EFD67D9E823}"/>
              </c:ext>
            </c:extLst>
          </c:dPt>
          <c:dPt>
            <c:idx val="282"/>
            <c:invertIfNegative val="1"/>
            <c:bubble3D val="0"/>
            <c:spPr>
              <a:solidFill>
                <a:srgbClr val="00A097"/>
              </a:solidFill>
            </c:spPr>
            <c:extLst>
              <c:ext xmlns:c16="http://schemas.microsoft.com/office/drawing/2014/chart" uri="{C3380CC4-5D6E-409C-BE32-E72D297353CC}">
                <c16:uniqueId val="{00000237-B861-4943-8ABB-0EFD67D9E823}"/>
              </c:ext>
            </c:extLst>
          </c:dPt>
          <c:dPt>
            <c:idx val="283"/>
            <c:invertIfNegative val="1"/>
            <c:bubble3D val="0"/>
            <c:spPr>
              <a:solidFill>
                <a:srgbClr val="7ECAC4"/>
              </a:solidFill>
            </c:spPr>
            <c:extLst>
              <c:ext xmlns:c16="http://schemas.microsoft.com/office/drawing/2014/chart" uri="{C3380CC4-5D6E-409C-BE32-E72D297353CC}">
                <c16:uniqueId val="{00000239-B861-4943-8ABB-0EFD67D9E823}"/>
              </c:ext>
            </c:extLst>
          </c:dPt>
          <c:dPt>
            <c:idx val="284"/>
            <c:invertIfNegative val="1"/>
            <c:bubble3D val="0"/>
            <c:spPr>
              <a:solidFill>
                <a:srgbClr val="7ECAC4"/>
              </a:solidFill>
            </c:spPr>
            <c:extLst>
              <c:ext xmlns:c16="http://schemas.microsoft.com/office/drawing/2014/chart" uri="{C3380CC4-5D6E-409C-BE32-E72D297353CC}">
                <c16:uniqueId val="{0000023B-B861-4943-8ABB-0EFD67D9E823}"/>
              </c:ext>
            </c:extLst>
          </c:dPt>
          <c:dPt>
            <c:idx val="285"/>
            <c:invertIfNegative val="1"/>
            <c:bubble3D val="0"/>
            <c:spPr>
              <a:solidFill>
                <a:srgbClr val="7ECAC4"/>
              </a:solidFill>
            </c:spPr>
            <c:extLst>
              <c:ext xmlns:c16="http://schemas.microsoft.com/office/drawing/2014/chart" uri="{C3380CC4-5D6E-409C-BE32-E72D297353CC}">
                <c16:uniqueId val="{0000023D-B861-4943-8ABB-0EFD67D9E823}"/>
              </c:ext>
            </c:extLst>
          </c:dPt>
          <c:dPt>
            <c:idx val="286"/>
            <c:invertIfNegative val="1"/>
            <c:bubble3D val="0"/>
            <c:spPr>
              <a:solidFill>
                <a:srgbClr val="7ECAC4"/>
              </a:solidFill>
            </c:spPr>
            <c:extLst>
              <c:ext xmlns:c16="http://schemas.microsoft.com/office/drawing/2014/chart" uri="{C3380CC4-5D6E-409C-BE32-E72D297353CC}">
                <c16:uniqueId val="{0000023F-B861-4943-8ABB-0EFD67D9E823}"/>
              </c:ext>
            </c:extLst>
          </c:dPt>
          <c:dPt>
            <c:idx val="287"/>
            <c:invertIfNegative val="1"/>
            <c:bubble3D val="0"/>
            <c:spPr>
              <a:solidFill>
                <a:srgbClr val="7ECAC4"/>
              </a:solidFill>
            </c:spPr>
            <c:extLst>
              <c:ext xmlns:c16="http://schemas.microsoft.com/office/drawing/2014/chart" uri="{C3380CC4-5D6E-409C-BE32-E72D297353CC}">
                <c16:uniqueId val="{00000241-B861-4943-8ABB-0EFD67D9E823}"/>
              </c:ext>
            </c:extLst>
          </c:dPt>
          <c:dPt>
            <c:idx val="288"/>
            <c:invertIfNegative val="1"/>
            <c:bubble3D val="0"/>
            <c:spPr>
              <a:solidFill>
                <a:srgbClr val="7ECAC4"/>
              </a:solidFill>
            </c:spPr>
            <c:extLst>
              <c:ext xmlns:c16="http://schemas.microsoft.com/office/drawing/2014/chart" uri="{C3380CC4-5D6E-409C-BE32-E72D297353CC}">
                <c16:uniqueId val="{00000243-B861-4943-8ABB-0EFD67D9E823}"/>
              </c:ext>
            </c:extLst>
          </c:dPt>
          <c:dPt>
            <c:idx val="289"/>
            <c:invertIfNegative val="1"/>
            <c:bubble3D val="0"/>
            <c:spPr>
              <a:solidFill>
                <a:srgbClr val="7ECAC4"/>
              </a:solidFill>
            </c:spPr>
            <c:extLst>
              <c:ext xmlns:c16="http://schemas.microsoft.com/office/drawing/2014/chart" uri="{C3380CC4-5D6E-409C-BE32-E72D297353CC}">
                <c16:uniqueId val="{00000245-B861-4943-8ABB-0EFD67D9E823}"/>
              </c:ext>
            </c:extLst>
          </c:dPt>
          <c:dPt>
            <c:idx val="290"/>
            <c:invertIfNegative val="1"/>
            <c:bubble3D val="0"/>
            <c:spPr>
              <a:solidFill>
                <a:srgbClr val="7ECAC4"/>
              </a:solidFill>
            </c:spPr>
            <c:extLst>
              <c:ext xmlns:c16="http://schemas.microsoft.com/office/drawing/2014/chart" uri="{C3380CC4-5D6E-409C-BE32-E72D297353CC}">
                <c16:uniqueId val="{00000247-B861-4943-8ABB-0EFD67D9E823}"/>
              </c:ext>
            </c:extLst>
          </c:dPt>
          <c:dPt>
            <c:idx val="291"/>
            <c:invertIfNegative val="1"/>
            <c:bubble3D val="0"/>
            <c:spPr>
              <a:solidFill>
                <a:srgbClr val="7ECAC4"/>
              </a:solidFill>
            </c:spPr>
            <c:extLst>
              <c:ext xmlns:c16="http://schemas.microsoft.com/office/drawing/2014/chart" uri="{C3380CC4-5D6E-409C-BE32-E72D297353CC}">
                <c16:uniqueId val="{00000249-B861-4943-8ABB-0EFD67D9E823}"/>
              </c:ext>
            </c:extLst>
          </c:dPt>
          <c:dPt>
            <c:idx val="292"/>
            <c:invertIfNegative val="1"/>
            <c:bubble3D val="0"/>
            <c:spPr>
              <a:solidFill>
                <a:srgbClr val="7ECAC4"/>
              </a:solidFill>
            </c:spPr>
            <c:extLst>
              <c:ext xmlns:c16="http://schemas.microsoft.com/office/drawing/2014/chart" uri="{C3380CC4-5D6E-409C-BE32-E72D297353CC}">
                <c16:uniqueId val="{0000024B-B861-4943-8ABB-0EFD67D9E823}"/>
              </c:ext>
            </c:extLst>
          </c:dPt>
          <c:dPt>
            <c:idx val="293"/>
            <c:invertIfNegative val="1"/>
            <c:bubble3D val="0"/>
            <c:spPr>
              <a:solidFill>
                <a:srgbClr val="7ECAC4"/>
              </a:solidFill>
            </c:spPr>
            <c:extLst>
              <c:ext xmlns:c16="http://schemas.microsoft.com/office/drawing/2014/chart" uri="{C3380CC4-5D6E-409C-BE32-E72D297353CC}">
                <c16:uniqueId val="{0000024D-B861-4943-8ABB-0EFD67D9E823}"/>
              </c:ext>
            </c:extLst>
          </c:dPt>
          <c:dPt>
            <c:idx val="294"/>
            <c:invertIfNegative val="1"/>
            <c:bubble3D val="0"/>
            <c:spPr>
              <a:solidFill>
                <a:srgbClr val="7ECAC4"/>
              </a:solidFill>
            </c:spPr>
            <c:extLst>
              <c:ext xmlns:c16="http://schemas.microsoft.com/office/drawing/2014/chart" uri="{C3380CC4-5D6E-409C-BE32-E72D297353CC}">
                <c16:uniqueId val="{0000024F-B861-4943-8ABB-0EFD67D9E823}"/>
              </c:ext>
            </c:extLst>
          </c:dPt>
          <c:dPt>
            <c:idx val="295"/>
            <c:invertIfNegative val="1"/>
            <c:bubble3D val="0"/>
            <c:spPr>
              <a:solidFill>
                <a:srgbClr val="7ECAC4"/>
              </a:solidFill>
            </c:spPr>
            <c:extLst>
              <c:ext xmlns:c16="http://schemas.microsoft.com/office/drawing/2014/chart" uri="{C3380CC4-5D6E-409C-BE32-E72D297353CC}">
                <c16:uniqueId val="{00000251-B861-4943-8ABB-0EFD67D9E823}"/>
              </c:ext>
            </c:extLst>
          </c:dPt>
          <c:dPt>
            <c:idx val="296"/>
            <c:invertIfNegative val="1"/>
            <c:bubble3D val="0"/>
            <c:spPr>
              <a:solidFill>
                <a:srgbClr val="7ECAC4"/>
              </a:solidFill>
            </c:spPr>
            <c:extLst>
              <c:ext xmlns:c16="http://schemas.microsoft.com/office/drawing/2014/chart" uri="{C3380CC4-5D6E-409C-BE32-E72D297353CC}">
                <c16:uniqueId val="{00000253-B861-4943-8ABB-0EFD67D9E823}"/>
              </c:ext>
            </c:extLst>
          </c:dPt>
          <c:dPt>
            <c:idx val="297"/>
            <c:invertIfNegative val="1"/>
            <c:bubble3D val="0"/>
            <c:spPr>
              <a:solidFill>
                <a:srgbClr val="7ECAC4"/>
              </a:solidFill>
            </c:spPr>
            <c:extLst>
              <c:ext xmlns:c16="http://schemas.microsoft.com/office/drawing/2014/chart" uri="{C3380CC4-5D6E-409C-BE32-E72D297353CC}">
                <c16:uniqueId val="{00000255-B861-4943-8ABB-0EFD67D9E823}"/>
              </c:ext>
            </c:extLst>
          </c:dPt>
          <c:dPt>
            <c:idx val="298"/>
            <c:invertIfNegative val="1"/>
            <c:bubble3D val="0"/>
            <c:spPr>
              <a:solidFill>
                <a:srgbClr val="7ECAC4"/>
              </a:solidFill>
            </c:spPr>
            <c:extLst>
              <c:ext xmlns:c16="http://schemas.microsoft.com/office/drawing/2014/chart" uri="{C3380CC4-5D6E-409C-BE32-E72D297353CC}">
                <c16:uniqueId val="{00000257-B861-4943-8ABB-0EFD67D9E823}"/>
              </c:ext>
            </c:extLst>
          </c:dPt>
          <c:dPt>
            <c:idx val="299"/>
            <c:invertIfNegative val="1"/>
            <c:bubble3D val="0"/>
            <c:spPr>
              <a:solidFill>
                <a:srgbClr val="7ECAC4"/>
              </a:solidFill>
            </c:spPr>
            <c:extLst>
              <c:ext xmlns:c16="http://schemas.microsoft.com/office/drawing/2014/chart" uri="{C3380CC4-5D6E-409C-BE32-E72D297353CC}">
                <c16:uniqueId val="{00000259-B861-4943-8ABB-0EFD67D9E823}"/>
              </c:ext>
            </c:extLst>
          </c:dPt>
          <c:dPt>
            <c:idx val="300"/>
            <c:invertIfNegative val="1"/>
            <c:bubble3D val="0"/>
            <c:spPr>
              <a:solidFill>
                <a:srgbClr val="7ECAC4"/>
              </a:solidFill>
            </c:spPr>
            <c:extLst>
              <c:ext xmlns:c16="http://schemas.microsoft.com/office/drawing/2014/chart" uri="{C3380CC4-5D6E-409C-BE32-E72D297353CC}">
                <c16:uniqueId val="{0000025B-B861-4943-8ABB-0EFD67D9E823}"/>
              </c:ext>
            </c:extLst>
          </c:dPt>
          <c:dPt>
            <c:idx val="301"/>
            <c:invertIfNegative val="1"/>
            <c:bubble3D val="0"/>
            <c:spPr>
              <a:solidFill>
                <a:srgbClr val="7ECAC4"/>
              </a:solidFill>
            </c:spPr>
            <c:extLst>
              <c:ext xmlns:c16="http://schemas.microsoft.com/office/drawing/2014/chart" uri="{C3380CC4-5D6E-409C-BE32-E72D297353CC}">
                <c16:uniqueId val="{0000025D-B861-4943-8ABB-0EFD67D9E823}"/>
              </c:ext>
            </c:extLst>
          </c:dPt>
          <c:dPt>
            <c:idx val="302"/>
            <c:invertIfNegative val="1"/>
            <c:bubble3D val="0"/>
            <c:spPr>
              <a:solidFill>
                <a:srgbClr val="7ECAC4"/>
              </a:solidFill>
            </c:spPr>
            <c:extLst>
              <c:ext xmlns:c16="http://schemas.microsoft.com/office/drawing/2014/chart" uri="{C3380CC4-5D6E-409C-BE32-E72D297353CC}">
                <c16:uniqueId val="{0000025F-B861-4943-8ABB-0EFD67D9E823}"/>
              </c:ext>
            </c:extLst>
          </c:dPt>
          <c:dPt>
            <c:idx val="303"/>
            <c:invertIfNegative val="1"/>
            <c:bubble3D val="0"/>
            <c:spPr>
              <a:solidFill>
                <a:srgbClr val="7ECAC4"/>
              </a:solidFill>
            </c:spPr>
            <c:extLst>
              <c:ext xmlns:c16="http://schemas.microsoft.com/office/drawing/2014/chart" uri="{C3380CC4-5D6E-409C-BE32-E72D297353CC}">
                <c16:uniqueId val="{00000261-B861-4943-8ABB-0EFD67D9E823}"/>
              </c:ext>
            </c:extLst>
          </c:dPt>
          <c:dPt>
            <c:idx val="304"/>
            <c:invertIfNegative val="1"/>
            <c:bubble3D val="0"/>
            <c:spPr>
              <a:solidFill>
                <a:srgbClr val="7ECAC4"/>
              </a:solidFill>
            </c:spPr>
            <c:extLst>
              <c:ext xmlns:c16="http://schemas.microsoft.com/office/drawing/2014/chart" uri="{C3380CC4-5D6E-409C-BE32-E72D297353CC}">
                <c16:uniqueId val="{00000263-B861-4943-8ABB-0EFD67D9E823}"/>
              </c:ext>
            </c:extLst>
          </c:dPt>
          <c:dPt>
            <c:idx val="305"/>
            <c:invertIfNegative val="1"/>
            <c:bubble3D val="0"/>
            <c:spPr>
              <a:solidFill>
                <a:srgbClr val="7ECAC4"/>
              </a:solidFill>
            </c:spPr>
            <c:extLst>
              <c:ext xmlns:c16="http://schemas.microsoft.com/office/drawing/2014/chart" uri="{C3380CC4-5D6E-409C-BE32-E72D297353CC}">
                <c16:uniqueId val="{00000265-B861-4943-8ABB-0EFD67D9E823}"/>
              </c:ext>
            </c:extLst>
          </c:dPt>
          <c:dPt>
            <c:idx val="306"/>
            <c:invertIfNegative val="1"/>
            <c:bubble3D val="0"/>
            <c:spPr>
              <a:solidFill>
                <a:srgbClr val="7ECAC4"/>
              </a:solidFill>
            </c:spPr>
            <c:extLst>
              <c:ext xmlns:c16="http://schemas.microsoft.com/office/drawing/2014/chart" uri="{C3380CC4-5D6E-409C-BE32-E72D297353CC}">
                <c16:uniqueId val="{00000267-B861-4943-8ABB-0EFD67D9E823}"/>
              </c:ext>
            </c:extLst>
          </c:dPt>
          <c:dPt>
            <c:idx val="307"/>
            <c:invertIfNegative val="1"/>
            <c:bubble3D val="0"/>
            <c:spPr>
              <a:solidFill>
                <a:srgbClr val="7ECAC4"/>
              </a:solidFill>
            </c:spPr>
            <c:extLst>
              <c:ext xmlns:c16="http://schemas.microsoft.com/office/drawing/2014/chart" uri="{C3380CC4-5D6E-409C-BE32-E72D297353CC}">
                <c16:uniqueId val="{00000269-B861-4943-8ABB-0EFD67D9E823}"/>
              </c:ext>
            </c:extLst>
          </c:dPt>
          <c:dPt>
            <c:idx val="308"/>
            <c:invertIfNegative val="1"/>
            <c:bubble3D val="0"/>
            <c:spPr>
              <a:solidFill>
                <a:srgbClr val="7ECAC4"/>
              </a:solidFill>
            </c:spPr>
            <c:extLst>
              <c:ext xmlns:c16="http://schemas.microsoft.com/office/drawing/2014/chart" uri="{C3380CC4-5D6E-409C-BE32-E72D297353CC}">
                <c16:uniqueId val="{0000026B-B861-4943-8ABB-0EFD67D9E823}"/>
              </c:ext>
            </c:extLst>
          </c:dPt>
          <c:dPt>
            <c:idx val="309"/>
            <c:invertIfNegative val="1"/>
            <c:bubble3D val="0"/>
            <c:spPr>
              <a:solidFill>
                <a:srgbClr val="7ECAC4"/>
              </a:solidFill>
            </c:spPr>
            <c:extLst>
              <c:ext xmlns:c16="http://schemas.microsoft.com/office/drawing/2014/chart" uri="{C3380CC4-5D6E-409C-BE32-E72D297353CC}">
                <c16:uniqueId val="{0000026D-B861-4943-8ABB-0EFD67D9E823}"/>
              </c:ext>
            </c:extLst>
          </c:dPt>
          <c:dPt>
            <c:idx val="310"/>
            <c:invertIfNegative val="1"/>
            <c:bubble3D val="0"/>
            <c:spPr>
              <a:solidFill>
                <a:srgbClr val="7ECAC4"/>
              </a:solidFill>
            </c:spPr>
            <c:extLst>
              <c:ext xmlns:c16="http://schemas.microsoft.com/office/drawing/2014/chart" uri="{C3380CC4-5D6E-409C-BE32-E72D297353CC}">
                <c16:uniqueId val="{0000026F-B861-4943-8ABB-0EFD67D9E823}"/>
              </c:ext>
            </c:extLst>
          </c:dPt>
          <c:dPt>
            <c:idx val="311"/>
            <c:invertIfNegative val="1"/>
            <c:bubble3D val="0"/>
            <c:spPr>
              <a:solidFill>
                <a:srgbClr val="7ECAC4"/>
              </a:solidFill>
            </c:spPr>
            <c:extLst>
              <c:ext xmlns:c16="http://schemas.microsoft.com/office/drawing/2014/chart" uri="{C3380CC4-5D6E-409C-BE32-E72D297353CC}">
                <c16:uniqueId val="{00000271-B861-4943-8ABB-0EFD67D9E823}"/>
              </c:ext>
            </c:extLst>
          </c:dPt>
          <c:dPt>
            <c:idx val="312"/>
            <c:invertIfNegative val="1"/>
            <c:bubble3D val="0"/>
            <c:spPr>
              <a:solidFill>
                <a:srgbClr val="7ECAC4"/>
              </a:solidFill>
            </c:spPr>
            <c:extLst>
              <c:ext xmlns:c16="http://schemas.microsoft.com/office/drawing/2014/chart" uri="{C3380CC4-5D6E-409C-BE32-E72D297353CC}">
                <c16:uniqueId val="{00000273-B861-4943-8ABB-0EFD67D9E823}"/>
              </c:ext>
            </c:extLst>
          </c:dPt>
          <c:dPt>
            <c:idx val="313"/>
            <c:invertIfNegative val="1"/>
            <c:bubble3D val="0"/>
            <c:spPr>
              <a:solidFill>
                <a:srgbClr val="7ECAC4"/>
              </a:solidFill>
            </c:spPr>
            <c:extLst>
              <c:ext xmlns:c16="http://schemas.microsoft.com/office/drawing/2014/chart" uri="{C3380CC4-5D6E-409C-BE32-E72D297353CC}">
                <c16:uniqueId val="{00000275-B861-4943-8ABB-0EFD67D9E823}"/>
              </c:ext>
            </c:extLst>
          </c:dPt>
          <c:dPt>
            <c:idx val="314"/>
            <c:invertIfNegative val="1"/>
            <c:bubble3D val="0"/>
            <c:spPr>
              <a:solidFill>
                <a:srgbClr val="7ECAC4"/>
              </a:solidFill>
            </c:spPr>
            <c:extLst>
              <c:ext xmlns:c16="http://schemas.microsoft.com/office/drawing/2014/chart" uri="{C3380CC4-5D6E-409C-BE32-E72D297353CC}">
                <c16:uniqueId val="{00000277-B861-4943-8ABB-0EFD67D9E823}"/>
              </c:ext>
            </c:extLst>
          </c:dPt>
          <c:dPt>
            <c:idx val="315"/>
            <c:invertIfNegative val="1"/>
            <c:bubble3D val="0"/>
            <c:spPr>
              <a:solidFill>
                <a:srgbClr val="7ECAC4"/>
              </a:solidFill>
            </c:spPr>
            <c:extLst>
              <c:ext xmlns:c16="http://schemas.microsoft.com/office/drawing/2014/chart" uri="{C3380CC4-5D6E-409C-BE32-E72D297353CC}">
                <c16:uniqueId val="{00000279-B861-4943-8ABB-0EFD67D9E823}"/>
              </c:ext>
            </c:extLst>
          </c:dPt>
          <c:dPt>
            <c:idx val="316"/>
            <c:invertIfNegative val="1"/>
            <c:bubble3D val="0"/>
            <c:spPr>
              <a:solidFill>
                <a:srgbClr val="7ECAC4"/>
              </a:solidFill>
            </c:spPr>
            <c:extLst>
              <c:ext xmlns:c16="http://schemas.microsoft.com/office/drawing/2014/chart" uri="{C3380CC4-5D6E-409C-BE32-E72D297353CC}">
                <c16:uniqueId val="{0000027B-B861-4943-8ABB-0EFD67D9E823}"/>
              </c:ext>
            </c:extLst>
          </c:dPt>
          <c:dPt>
            <c:idx val="317"/>
            <c:invertIfNegative val="1"/>
            <c:bubble3D val="0"/>
            <c:spPr>
              <a:solidFill>
                <a:srgbClr val="7ECAC4"/>
              </a:solidFill>
            </c:spPr>
            <c:extLst>
              <c:ext xmlns:c16="http://schemas.microsoft.com/office/drawing/2014/chart" uri="{C3380CC4-5D6E-409C-BE32-E72D297353CC}">
                <c16:uniqueId val="{0000027D-B861-4943-8ABB-0EFD67D9E823}"/>
              </c:ext>
            </c:extLst>
          </c:dPt>
          <c:dPt>
            <c:idx val="318"/>
            <c:invertIfNegative val="1"/>
            <c:bubble3D val="0"/>
            <c:spPr>
              <a:solidFill>
                <a:srgbClr val="7ECAC4"/>
              </a:solidFill>
            </c:spPr>
            <c:extLst>
              <c:ext xmlns:c16="http://schemas.microsoft.com/office/drawing/2014/chart" uri="{C3380CC4-5D6E-409C-BE32-E72D297353CC}">
                <c16:uniqueId val="{0000027F-B861-4943-8ABB-0EFD67D9E823}"/>
              </c:ext>
            </c:extLst>
          </c:dPt>
          <c:dPt>
            <c:idx val="319"/>
            <c:invertIfNegative val="1"/>
            <c:bubble3D val="0"/>
            <c:spPr>
              <a:solidFill>
                <a:srgbClr val="7ECAC4"/>
              </a:solidFill>
            </c:spPr>
            <c:extLst>
              <c:ext xmlns:c16="http://schemas.microsoft.com/office/drawing/2014/chart" uri="{C3380CC4-5D6E-409C-BE32-E72D297353CC}">
                <c16:uniqueId val="{00000281-B861-4943-8ABB-0EFD67D9E823}"/>
              </c:ext>
            </c:extLst>
          </c:dPt>
          <c:dPt>
            <c:idx val="320"/>
            <c:invertIfNegative val="1"/>
            <c:bubble3D val="0"/>
            <c:spPr>
              <a:solidFill>
                <a:srgbClr val="7ECAC4"/>
              </a:solidFill>
            </c:spPr>
            <c:extLst>
              <c:ext xmlns:c16="http://schemas.microsoft.com/office/drawing/2014/chart" uri="{C3380CC4-5D6E-409C-BE32-E72D297353CC}">
                <c16:uniqueId val="{00000283-B861-4943-8ABB-0EFD67D9E823}"/>
              </c:ext>
            </c:extLst>
          </c:dPt>
          <c:dPt>
            <c:idx val="321"/>
            <c:invertIfNegative val="1"/>
            <c:bubble3D val="0"/>
            <c:spPr>
              <a:solidFill>
                <a:srgbClr val="7ECAC4"/>
              </a:solidFill>
            </c:spPr>
            <c:extLst>
              <c:ext xmlns:c16="http://schemas.microsoft.com/office/drawing/2014/chart" uri="{C3380CC4-5D6E-409C-BE32-E72D297353CC}">
                <c16:uniqueId val="{00000285-B861-4943-8ABB-0EFD67D9E823}"/>
              </c:ext>
            </c:extLst>
          </c:dPt>
          <c:dPt>
            <c:idx val="322"/>
            <c:invertIfNegative val="1"/>
            <c:bubble3D val="0"/>
            <c:spPr>
              <a:solidFill>
                <a:srgbClr val="7ECAC4"/>
              </a:solidFill>
            </c:spPr>
            <c:extLst>
              <c:ext xmlns:c16="http://schemas.microsoft.com/office/drawing/2014/chart" uri="{C3380CC4-5D6E-409C-BE32-E72D297353CC}">
                <c16:uniqueId val="{00000287-B861-4943-8ABB-0EFD67D9E823}"/>
              </c:ext>
            </c:extLst>
          </c:dPt>
          <c:dPt>
            <c:idx val="323"/>
            <c:invertIfNegative val="1"/>
            <c:bubble3D val="0"/>
            <c:spPr>
              <a:solidFill>
                <a:srgbClr val="7ECAC4"/>
              </a:solidFill>
            </c:spPr>
            <c:extLst>
              <c:ext xmlns:c16="http://schemas.microsoft.com/office/drawing/2014/chart" uri="{C3380CC4-5D6E-409C-BE32-E72D297353CC}">
                <c16:uniqueId val="{00000289-B861-4943-8ABB-0EFD67D9E823}"/>
              </c:ext>
            </c:extLst>
          </c:dPt>
          <c:dPt>
            <c:idx val="324"/>
            <c:invertIfNegative val="1"/>
            <c:bubble3D val="0"/>
            <c:spPr>
              <a:solidFill>
                <a:srgbClr val="7ECAC4"/>
              </a:solidFill>
            </c:spPr>
            <c:extLst>
              <c:ext xmlns:c16="http://schemas.microsoft.com/office/drawing/2014/chart" uri="{C3380CC4-5D6E-409C-BE32-E72D297353CC}">
                <c16:uniqueId val="{0000028B-B861-4943-8ABB-0EFD67D9E823}"/>
              </c:ext>
            </c:extLst>
          </c:dPt>
          <c:dPt>
            <c:idx val="325"/>
            <c:invertIfNegative val="1"/>
            <c:bubble3D val="0"/>
            <c:spPr>
              <a:solidFill>
                <a:srgbClr val="7ECAC4"/>
              </a:solidFill>
            </c:spPr>
            <c:extLst>
              <c:ext xmlns:c16="http://schemas.microsoft.com/office/drawing/2014/chart" uri="{C3380CC4-5D6E-409C-BE32-E72D297353CC}">
                <c16:uniqueId val="{0000028D-B861-4943-8ABB-0EFD67D9E823}"/>
              </c:ext>
            </c:extLst>
          </c:dPt>
          <c:dPt>
            <c:idx val="326"/>
            <c:invertIfNegative val="1"/>
            <c:bubble3D val="0"/>
            <c:spPr>
              <a:solidFill>
                <a:srgbClr val="7ECAC4"/>
              </a:solidFill>
            </c:spPr>
            <c:extLst>
              <c:ext xmlns:c16="http://schemas.microsoft.com/office/drawing/2014/chart" uri="{C3380CC4-5D6E-409C-BE32-E72D297353CC}">
                <c16:uniqueId val="{0000028F-B861-4943-8ABB-0EFD67D9E823}"/>
              </c:ext>
            </c:extLst>
          </c:dPt>
          <c:dPt>
            <c:idx val="327"/>
            <c:invertIfNegative val="1"/>
            <c:bubble3D val="0"/>
            <c:spPr>
              <a:solidFill>
                <a:srgbClr val="7ECAC4"/>
              </a:solidFill>
            </c:spPr>
            <c:extLst>
              <c:ext xmlns:c16="http://schemas.microsoft.com/office/drawing/2014/chart" uri="{C3380CC4-5D6E-409C-BE32-E72D297353CC}">
                <c16:uniqueId val="{00000291-B861-4943-8ABB-0EFD67D9E823}"/>
              </c:ext>
            </c:extLst>
          </c:dPt>
          <c:dPt>
            <c:idx val="328"/>
            <c:invertIfNegative val="1"/>
            <c:bubble3D val="0"/>
            <c:spPr>
              <a:solidFill>
                <a:srgbClr val="7ECAC4"/>
              </a:solidFill>
            </c:spPr>
            <c:extLst>
              <c:ext xmlns:c16="http://schemas.microsoft.com/office/drawing/2014/chart" uri="{C3380CC4-5D6E-409C-BE32-E72D297353CC}">
                <c16:uniqueId val="{00000293-B861-4943-8ABB-0EFD67D9E823}"/>
              </c:ext>
            </c:extLst>
          </c:dPt>
          <c:dPt>
            <c:idx val="329"/>
            <c:invertIfNegative val="1"/>
            <c:bubble3D val="0"/>
            <c:spPr>
              <a:solidFill>
                <a:srgbClr val="7ECAC4"/>
              </a:solidFill>
            </c:spPr>
            <c:extLst>
              <c:ext xmlns:c16="http://schemas.microsoft.com/office/drawing/2014/chart" uri="{C3380CC4-5D6E-409C-BE32-E72D297353CC}">
                <c16:uniqueId val="{00000295-B861-4943-8ABB-0EFD67D9E823}"/>
              </c:ext>
            </c:extLst>
          </c:dPt>
          <c:dPt>
            <c:idx val="330"/>
            <c:invertIfNegative val="1"/>
            <c:bubble3D val="0"/>
            <c:spPr>
              <a:solidFill>
                <a:srgbClr val="7ECAC4"/>
              </a:solidFill>
            </c:spPr>
            <c:extLst>
              <c:ext xmlns:c16="http://schemas.microsoft.com/office/drawing/2014/chart" uri="{C3380CC4-5D6E-409C-BE32-E72D297353CC}">
                <c16:uniqueId val="{00000297-B861-4943-8ABB-0EFD67D9E823}"/>
              </c:ext>
            </c:extLst>
          </c:dPt>
          <c:dPt>
            <c:idx val="331"/>
            <c:invertIfNegative val="1"/>
            <c:bubble3D val="0"/>
            <c:spPr>
              <a:solidFill>
                <a:srgbClr val="7ECAC4"/>
              </a:solidFill>
            </c:spPr>
            <c:extLst>
              <c:ext xmlns:c16="http://schemas.microsoft.com/office/drawing/2014/chart" uri="{C3380CC4-5D6E-409C-BE32-E72D297353CC}">
                <c16:uniqueId val="{00000299-B861-4943-8ABB-0EFD67D9E823}"/>
              </c:ext>
            </c:extLst>
          </c:dPt>
          <c:dPt>
            <c:idx val="332"/>
            <c:invertIfNegative val="1"/>
            <c:bubble3D val="0"/>
            <c:spPr>
              <a:solidFill>
                <a:srgbClr val="7ECAC4"/>
              </a:solidFill>
            </c:spPr>
            <c:extLst>
              <c:ext xmlns:c16="http://schemas.microsoft.com/office/drawing/2014/chart" uri="{C3380CC4-5D6E-409C-BE32-E72D297353CC}">
                <c16:uniqueId val="{0000029B-B861-4943-8ABB-0EFD67D9E823}"/>
              </c:ext>
            </c:extLst>
          </c:dPt>
          <c:dPt>
            <c:idx val="333"/>
            <c:invertIfNegative val="1"/>
            <c:bubble3D val="0"/>
            <c:spPr>
              <a:solidFill>
                <a:srgbClr val="7ECAC4"/>
              </a:solidFill>
            </c:spPr>
            <c:extLst>
              <c:ext xmlns:c16="http://schemas.microsoft.com/office/drawing/2014/chart" uri="{C3380CC4-5D6E-409C-BE32-E72D297353CC}">
                <c16:uniqueId val="{0000029D-B861-4943-8ABB-0EFD67D9E823}"/>
              </c:ext>
            </c:extLst>
          </c:dPt>
          <c:dPt>
            <c:idx val="334"/>
            <c:invertIfNegative val="1"/>
            <c:bubble3D val="0"/>
            <c:spPr>
              <a:solidFill>
                <a:srgbClr val="7ECAC4"/>
              </a:solidFill>
            </c:spPr>
            <c:extLst>
              <c:ext xmlns:c16="http://schemas.microsoft.com/office/drawing/2014/chart" uri="{C3380CC4-5D6E-409C-BE32-E72D297353CC}">
                <c16:uniqueId val="{0000029F-B861-4943-8ABB-0EFD67D9E823}"/>
              </c:ext>
            </c:extLst>
          </c:dPt>
          <c:dPt>
            <c:idx val="335"/>
            <c:invertIfNegative val="1"/>
            <c:bubble3D val="0"/>
            <c:spPr>
              <a:solidFill>
                <a:srgbClr val="7ECAC4"/>
              </a:solidFill>
            </c:spPr>
            <c:extLst>
              <c:ext xmlns:c16="http://schemas.microsoft.com/office/drawing/2014/chart" uri="{C3380CC4-5D6E-409C-BE32-E72D297353CC}">
                <c16:uniqueId val="{000002A1-B861-4943-8ABB-0EFD67D9E823}"/>
              </c:ext>
            </c:extLst>
          </c:dPt>
          <c:dPt>
            <c:idx val="336"/>
            <c:invertIfNegative val="1"/>
            <c:bubble3D val="0"/>
            <c:spPr>
              <a:solidFill>
                <a:srgbClr val="7ECAC4"/>
              </a:solidFill>
            </c:spPr>
            <c:extLst>
              <c:ext xmlns:c16="http://schemas.microsoft.com/office/drawing/2014/chart" uri="{C3380CC4-5D6E-409C-BE32-E72D297353CC}">
                <c16:uniqueId val="{000002A3-B861-4943-8ABB-0EFD67D9E823}"/>
              </c:ext>
            </c:extLst>
          </c:dPt>
          <c:dPt>
            <c:idx val="337"/>
            <c:invertIfNegative val="1"/>
            <c:bubble3D val="0"/>
            <c:spPr>
              <a:solidFill>
                <a:srgbClr val="7ECAC4"/>
              </a:solidFill>
            </c:spPr>
            <c:extLst>
              <c:ext xmlns:c16="http://schemas.microsoft.com/office/drawing/2014/chart" uri="{C3380CC4-5D6E-409C-BE32-E72D297353CC}">
                <c16:uniqueId val="{000002A5-B861-4943-8ABB-0EFD67D9E823}"/>
              </c:ext>
            </c:extLst>
          </c:dPt>
          <c:dPt>
            <c:idx val="338"/>
            <c:invertIfNegative val="1"/>
            <c:bubble3D val="0"/>
            <c:spPr>
              <a:solidFill>
                <a:srgbClr val="7ECAC4"/>
              </a:solidFill>
            </c:spPr>
            <c:extLst>
              <c:ext xmlns:c16="http://schemas.microsoft.com/office/drawing/2014/chart" uri="{C3380CC4-5D6E-409C-BE32-E72D297353CC}">
                <c16:uniqueId val="{000002A7-B861-4943-8ABB-0EFD67D9E823}"/>
              </c:ext>
            </c:extLst>
          </c:dPt>
          <c:dPt>
            <c:idx val="339"/>
            <c:invertIfNegative val="1"/>
            <c:bubble3D val="0"/>
            <c:spPr>
              <a:solidFill>
                <a:srgbClr val="7ECAC4"/>
              </a:solidFill>
            </c:spPr>
            <c:extLst>
              <c:ext xmlns:c16="http://schemas.microsoft.com/office/drawing/2014/chart" uri="{C3380CC4-5D6E-409C-BE32-E72D297353CC}">
                <c16:uniqueId val="{000002A9-B861-4943-8ABB-0EFD67D9E823}"/>
              </c:ext>
            </c:extLst>
          </c:dPt>
          <c:dPt>
            <c:idx val="340"/>
            <c:invertIfNegative val="1"/>
            <c:bubble3D val="0"/>
            <c:spPr>
              <a:solidFill>
                <a:srgbClr val="7ECAC4"/>
              </a:solidFill>
            </c:spPr>
            <c:extLst>
              <c:ext xmlns:c16="http://schemas.microsoft.com/office/drawing/2014/chart" uri="{C3380CC4-5D6E-409C-BE32-E72D297353CC}">
                <c16:uniqueId val="{000002AB-B861-4943-8ABB-0EFD67D9E823}"/>
              </c:ext>
            </c:extLst>
          </c:dPt>
          <c:dPt>
            <c:idx val="341"/>
            <c:invertIfNegative val="1"/>
            <c:bubble3D val="0"/>
            <c:spPr>
              <a:solidFill>
                <a:srgbClr val="7ECAC4"/>
              </a:solidFill>
            </c:spPr>
            <c:extLst>
              <c:ext xmlns:c16="http://schemas.microsoft.com/office/drawing/2014/chart" uri="{C3380CC4-5D6E-409C-BE32-E72D297353CC}">
                <c16:uniqueId val="{000002AD-B861-4943-8ABB-0EFD67D9E823}"/>
              </c:ext>
            </c:extLst>
          </c:dPt>
          <c:dPt>
            <c:idx val="342"/>
            <c:invertIfNegative val="1"/>
            <c:bubble3D val="0"/>
            <c:spPr>
              <a:solidFill>
                <a:srgbClr val="7ECAC4"/>
              </a:solidFill>
            </c:spPr>
            <c:extLst>
              <c:ext xmlns:c16="http://schemas.microsoft.com/office/drawing/2014/chart" uri="{C3380CC4-5D6E-409C-BE32-E72D297353CC}">
                <c16:uniqueId val="{000002AF-B861-4943-8ABB-0EFD67D9E823}"/>
              </c:ext>
            </c:extLst>
          </c:dPt>
          <c:dPt>
            <c:idx val="343"/>
            <c:invertIfNegative val="1"/>
            <c:bubble3D val="0"/>
            <c:spPr>
              <a:solidFill>
                <a:srgbClr val="7ECAC4"/>
              </a:solidFill>
            </c:spPr>
            <c:extLst>
              <c:ext xmlns:c16="http://schemas.microsoft.com/office/drawing/2014/chart" uri="{C3380CC4-5D6E-409C-BE32-E72D297353CC}">
                <c16:uniqueId val="{000002B1-B861-4943-8ABB-0EFD67D9E823}"/>
              </c:ext>
            </c:extLst>
          </c:dPt>
          <c:dPt>
            <c:idx val="344"/>
            <c:invertIfNegative val="1"/>
            <c:bubble3D val="0"/>
            <c:spPr>
              <a:solidFill>
                <a:srgbClr val="7ECAC4"/>
              </a:solidFill>
            </c:spPr>
            <c:extLst>
              <c:ext xmlns:c16="http://schemas.microsoft.com/office/drawing/2014/chart" uri="{C3380CC4-5D6E-409C-BE32-E72D297353CC}">
                <c16:uniqueId val="{000002B3-B861-4943-8ABB-0EFD67D9E823}"/>
              </c:ext>
            </c:extLst>
          </c:dPt>
          <c:dPt>
            <c:idx val="345"/>
            <c:invertIfNegative val="1"/>
            <c:bubble3D val="0"/>
            <c:spPr>
              <a:solidFill>
                <a:srgbClr val="7ECAC4"/>
              </a:solidFill>
            </c:spPr>
            <c:extLst>
              <c:ext xmlns:c16="http://schemas.microsoft.com/office/drawing/2014/chart" uri="{C3380CC4-5D6E-409C-BE32-E72D297353CC}">
                <c16:uniqueId val="{000002B5-B861-4943-8ABB-0EFD67D9E823}"/>
              </c:ext>
            </c:extLst>
          </c:dPt>
          <c:dPt>
            <c:idx val="346"/>
            <c:invertIfNegative val="1"/>
            <c:bubble3D val="0"/>
            <c:spPr>
              <a:solidFill>
                <a:srgbClr val="7ECAC4"/>
              </a:solidFill>
            </c:spPr>
            <c:extLst>
              <c:ext xmlns:c16="http://schemas.microsoft.com/office/drawing/2014/chart" uri="{C3380CC4-5D6E-409C-BE32-E72D297353CC}">
                <c16:uniqueId val="{000002B7-B861-4943-8ABB-0EFD67D9E823}"/>
              </c:ext>
            </c:extLst>
          </c:dPt>
          <c:dPt>
            <c:idx val="347"/>
            <c:invertIfNegative val="1"/>
            <c:bubble3D val="0"/>
            <c:spPr>
              <a:solidFill>
                <a:srgbClr val="7ECAC4"/>
              </a:solidFill>
            </c:spPr>
            <c:extLst>
              <c:ext xmlns:c16="http://schemas.microsoft.com/office/drawing/2014/chart" uri="{C3380CC4-5D6E-409C-BE32-E72D297353CC}">
                <c16:uniqueId val="{000002B9-B861-4943-8ABB-0EFD67D9E823}"/>
              </c:ext>
            </c:extLst>
          </c:dPt>
          <c:dPt>
            <c:idx val="348"/>
            <c:invertIfNegative val="1"/>
            <c:bubble3D val="0"/>
            <c:spPr>
              <a:solidFill>
                <a:srgbClr val="7ECAC4"/>
              </a:solidFill>
            </c:spPr>
            <c:extLst>
              <c:ext xmlns:c16="http://schemas.microsoft.com/office/drawing/2014/chart" uri="{C3380CC4-5D6E-409C-BE32-E72D297353CC}">
                <c16:uniqueId val="{000002BB-B861-4943-8ABB-0EFD67D9E823}"/>
              </c:ext>
            </c:extLst>
          </c:dPt>
          <c:dPt>
            <c:idx val="349"/>
            <c:invertIfNegative val="1"/>
            <c:bubble3D val="0"/>
            <c:spPr>
              <a:solidFill>
                <a:srgbClr val="7ECAC4"/>
              </a:solidFill>
            </c:spPr>
            <c:extLst>
              <c:ext xmlns:c16="http://schemas.microsoft.com/office/drawing/2014/chart" uri="{C3380CC4-5D6E-409C-BE32-E72D297353CC}">
                <c16:uniqueId val="{000002BD-B861-4943-8ABB-0EFD67D9E823}"/>
              </c:ext>
            </c:extLst>
          </c:dPt>
          <c:dPt>
            <c:idx val="350"/>
            <c:invertIfNegative val="1"/>
            <c:bubble3D val="0"/>
            <c:spPr>
              <a:solidFill>
                <a:srgbClr val="7ECAC4"/>
              </a:solidFill>
            </c:spPr>
            <c:extLst>
              <c:ext xmlns:c16="http://schemas.microsoft.com/office/drawing/2014/chart" uri="{C3380CC4-5D6E-409C-BE32-E72D297353CC}">
                <c16:uniqueId val="{000002BF-B861-4943-8ABB-0EFD67D9E823}"/>
              </c:ext>
            </c:extLst>
          </c:dPt>
          <c:dPt>
            <c:idx val="351"/>
            <c:invertIfNegative val="1"/>
            <c:bubble3D val="0"/>
            <c:spPr>
              <a:solidFill>
                <a:srgbClr val="7ECAC4"/>
              </a:solidFill>
            </c:spPr>
            <c:extLst>
              <c:ext xmlns:c16="http://schemas.microsoft.com/office/drawing/2014/chart" uri="{C3380CC4-5D6E-409C-BE32-E72D297353CC}">
                <c16:uniqueId val="{000002C1-B861-4943-8ABB-0EFD67D9E823}"/>
              </c:ext>
            </c:extLst>
          </c:dPt>
          <c:dPt>
            <c:idx val="352"/>
            <c:invertIfNegative val="1"/>
            <c:bubble3D val="0"/>
            <c:spPr>
              <a:solidFill>
                <a:srgbClr val="7ECAC4"/>
              </a:solidFill>
            </c:spPr>
            <c:extLst>
              <c:ext xmlns:c16="http://schemas.microsoft.com/office/drawing/2014/chart" uri="{C3380CC4-5D6E-409C-BE32-E72D297353CC}">
                <c16:uniqueId val="{000002C3-B861-4943-8ABB-0EFD67D9E823}"/>
              </c:ext>
            </c:extLst>
          </c:dPt>
          <c:dPt>
            <c:idx val="353"/>
            <c:invertIfNegative val="1"/>
            <c:bubble3D val="0"/>
            <c:spPr>
              <a:solidFill>
                <a:srgbClr val="7ECAC4"/>
              </a:solidFill>
            </c:spPr>
            <c:extLst>
              <c:ext xmlns:c16="http://schemas.microsoft.com/office/drawing/2014/chart" uri="{C3380CC4-5D6E-409C-BE32-E72D297353CC}">
                <c16:uniqueId val="{000002C5-B861-4943-8ABB-0EFD67D9E823}"/>
              </c:ext>
            </c:extLst>
          </c:dPt>
          <c:dPt>
            <c:idx val="354"/>
            <c:invertIfNegative val="1"/>
            <c:bubble3D val="0"/>
            <c:spPr>
              <a:solidFill>
                <a:srgbClr val="7ECAC4"/>
              </a:solidFill>
            </c:spPr>
            <c:extLst>
              <c:ext xmlns:c16="http://schemas.microsoft.com/office/drawing/2014/chart" uri="{C3380CC4-5D6E-409C-BE32-E72D297353CC}">
                <c16:uniqueId val="{000002C7-B861-4943-8ABB-0EFD67D9E823}"/>
              </c:ext>
            </c:extLst>
          </c:dPt>
          <c:dPt>
            <c:idx val="355"/>
            <c:invertIfNegative val="1"/>
            <c:bubble3D val="0"/>
            <c:spPr>
              <a:solidFill>
                <a:srgbClr val="7ECAC4"/>
              </a:solidFill>
            </c:spPr>
            <c:extLst>
              <c:ext xmlns:c16="http://schemas.microsoft.com/office/drawing/2014/chart" uri="{C3380CC4-5D6E-409C-BE32-E72D297353CC}">
                <c16:uniqueId val="{000002C9-B861-4943-8ABB-0EFD67D9E823}"/>
              </c:ext>
            </c:extLst>
          </c:dPt>
          <c:dPt>
            <c:idx val="356"/>
            <c:invertIfNegative val="1"/>
            <c:bubble3D val="0"/>
            <c:spPr>
              <a:solidFill>
                <a:srgbClr val="7ECAC4"/>
              </a:solidFill>
            </c:spPr>
            <c:extLst>
              <c:ext xmlns:c16="http://schemas.microsoft.com/office/drawing/2014/chart" uri="{C3380CC4-5D6E-409C-BE32-E72D297353CC}">
                <c16:uniqueId val="{000002CB-B861-4943-8ABB-0EFD67D9E823}"/>
              </c:ext>
            </c:extLst>
          </c:dPt>
          <c:dPt>
            <c:idx val="357"/>
            <c:invertIfNegative val="1"/>
            <c:bubble3D val="0"/>
            <c:spPr>
              <a:solidFill>
                <a:srgbClr val="7ECAC4"/>
              </a:solidFill>
            </c:spPr>
            <c:extLst>
              <c:ext xmlns:c16="http://schemas.microsoft.com/office/drawing/2014/chart" uri="{C3380CC4-5D6E-409C-BE32-E72D297353CC}">
                <c16:uniqueId val="{000002CD-B861-4943-8ABB-0EFD67D9E823}"/>
              </c:ext>
            </c:extLst>
          </c:dPt>
          <c:dPt>
            <c:idx val="358"/>
            <c:invertIfNegative val="1"/>
            <c:bubble3D val="0"/>
            <c:spPr>
              <a:solidFill>
                <a:srgbClr val="7ECAC4"/>
              </a:solidFill>
            </c:spPr>
            <c:extLst>
              <c:ext xmlns:c16="http://schemas.microsoft.com/office/drawing/2014/chart" uri="{C3380CC4-5D6E-409C-BE32-E72D297353CC}">
                <c16:uniqueId val="{000002CF-B861-4943-8ABB-0EFD67D9E823}"/>
              </c:ext>
            </c:extLst>
          </c:dPt>
          <c:dPt>
            <c:idx val="359"/>
            <c:invertIfNegative val="1"/>
            <c:bubble3D val="0"/>
            <c:spPr>
              <a:solidFill>
                <a:srgbClr val="7ECAC4"/>
              </a:solidFill>
            </c:spPr>
            <c:extLst>
              <c:ext xmlns:c16="http://schemas.microsoft.com/office/drawing/2014/chart" uri="{C3380CC4-5D6E-409C-BE32-E72D297353CC}">
                <c16:uniqueId val="{000002D1-B861-4943-8ABB-0EFD67D9E823}"/>
              </c:ext>
            </c:extLst>
          </c:dPt>
          <c:dPt>
            <c:idx val="360"/>
            <c:invertIfNegative val="1"/>
            <c:bubble3D val="0"/>
            <c:spPr>
              <a:solidFill>
                <a:srgbClr val="7ECAC4"/>
              </a:solidFill>
            </c:spPr>
            <c:extLst>
              <c:ext xmlns:c16="http://schemas.microsoft.com/office/drawing/2014/chart" uri="{C3380CC4-5D6E-409C-BE32-E72D297353CC}">
                <c16:uniqueId val="{000002D3-B861-4943-8ABB-0EFD67D9E823}"/>
              </c:ext>
            </c:extLst>
          </c:dPt>
          <c:dPt>
            <c:idx val="361"/>
            <c:invertIfNegative val="1"/>
            <c:bubble3D val="0"/>
            <c:spPr>
              <a:solidFill>
                <a:srgbClr val="7ECAC4"/>
              </a:solidFill>
            </c:spPr>
            <c:extLst>
              <c:ext xmlns:c16="http://schemas.microsoft.com/office/drawing/2014/chart" uri="{C3380CC4-5D6E-409C-BE32-E72D297353CC}">
                <c16:uniqueId val="{000002D5-B861-4943-8ABB-0EFD67D9E823}"/>
              </c:ext>
            </c:extLst>
          </c:dPt>
          <c:dPt>
            <c:idx val="362"/>
            <c:invertIfNegative val="1"/>
            <c:bubble3D val="0"/>
            <c:spPr>
              <a:solidFill>
                <a:srgbClr val="7ECAC4"/>
              </a:solidFill>
            </c:spPr>
            <c:extLst>
              <c:ext xmlns:c16="http://schemas.microsoft.com/office/drawing/2014/chart" uri="{C3380CC4-5D6E-409C-BE32-E72D297353CC}">
                <c16:uniqueId val="{000002D7-B861-4943-8ABB-0EFD67D9E823}"/>
              </c:ext>
            </c:extLst>
          </c:dPt>
          <c:dPt>
            <c:idx val="363"/>
            <c:invertIfNegative val="1"/>
            <c:bubble3D val="0"/>
            <c:spPr>
              <a:solidFill>
                <a:srgbClr val="7ECAC4"/>
              </a:solidFill>
            </c:spPr>
            <c:extLst>
              <c:ext xmlns:c16="http://schemas.microsoft.com/office/drawing/2014/chart" uri="{C3380CC4-5D6E-409C-BE32-E72D297353CC}">
                <c16:uniqueId val="{000002D9-B861-4943-8ABB-0EFD67D9E823}"/>
              </c:ext>
            </c:extLst>
          </c:dPt>
          <c:dPt>
            <c:idx val="364"/>
            <c:invertIfNegative val="1"/>
            <c:bubble3D val="0"/>
            <c:spPr>
              <a:solidFill>
                <a:srgbClr val="7ECAC4"/>
              </a:solidFill>
            </c:spPr>
            <c:extLst>
              <c:ext xmlns:c16="http://schemas.microsoft.com/office/drawing/2014/chart" uri="{C3380CC4-5D6E-409C-BE32-E72D297353CC}">
                <c16:uniqueId val="{000002DB-B861-4943-8ABB-0EFD67D9E823}"/>
              </c:ext>
            </c:extLst>
          </c:dPt>
          <c:dPt>
            <c:idx val="365"/>
            <c:invertIfNegative val="1"/>
            <c:bubble3D val="0"/>
            <c:spPr>
              <a:solidFill>
                <a:srgbClr val="7ECAC4"/>
              </a:solidFill>
            </c:spPr>
            <c:extLst>
              <c:ext xmlns:c16="http://schemas.microsoft.com/office/drawing/2014/chart" uri="{C3380CC4-5D6E-409C-BE32-E72D297353CC}">
                <c16:uniqueId val="{000002DD-B861-4943-8ABB-0EFD67D9E823}"/>
              </c:ext>
            </c:extLst>
          </c:dPt>
          <c:dPt>
            <c:idx val="366"/>
            <c:invertIfNegative val="1"/>
            <c:bubble3D val="0"/>
            <c:spPr>
              <a:solidFill>
                <a:srgbClr val="7ECAC4"/>
              </a:solidFill>
            </c:spPr>
            <c:extLst>
              <c:ext xmlns:c16="http://schemas.microsoft.com/office/drawing/2014/chart" uri="{C3380CC4-5D6E-409C-BE32-E72D297353CC}">
                <c16:uniqueId val="{000002DF-B861-4943-8ABB-0EFD67D9E823}"/>
              </c:ext>
            </c:extLst>
          </c:dPt>
          <c:dPt>
            <c:idx val="367"/>
            <c:invertIfNegative val="1"/>
            <c:bubble3D val="0"/>
            <c:spPr>
              <a:solidFill>
                <a:srgbClr val="7ECAC4"/>
              </a:solidFill>
            </c:spPr>
            <c:extLst>
              <c:ext xmlns:c16="http://schemas.microsoft.com/office/drawing/2014/chart" uri="{C3380CC4-5D6E-409C-BE32-E72D297353CC}">
                <c16:uniqueId val="{000002E1-B861-4943-8ABB-0EFD67D9E823}"/>
              </c:ext>
            </c:extLst>
          </c:dPt>
          <c:dPt>
            <c:idx val="368"/>
            <c:invertIfNegative val="1"/>
            <c:bubble3D val="0"/>
            <c:spPr>
              <a:solidFill>
                <a:srgbClr val="7ECAC4"/>
              </a:solidFill>
            </c:spPr>
            <c:extLst>
              <c:ext xmlns:c16="http://schemas.microsoft.com/office/drawing/2014/chart" uri="{C3380CC4-5D6E-409C-BE32-E72D297353CC}">
                <c16:uniqueId val="{000002E3-B861-4943-8ABB-0EFD67D9E823}"/>
              </c:ext>
            </c:extLst>
          </c:dPt>
          <c:dPt>
            <c:idx val="369"/>
            <c:invertIfNegative val="1"/>
            <c:bubble3D val="0"/>
            <c:spPr>
              <a:solidFill>
                <a:srgbClr val="7ECAC4"/>
              </a:solidFill>
            </c:spPr>
            <c:extLst>
              <c:ext xmlns:c16="http://schemas.microsoft.com/office/drawing/2014/chart" uri="{C3380CC4-5D6E-409C-BE32-E72D297353CC}">
                <c16:uniqueId val="{000002E5-B861-4943-8ABB-0EFD67D9E823}"/>
              </c:ext>
            </c:extLst>
          </c:dPt>
          <c:dPt>
            <c:idx val="370"/>
            <c:invertIfNegative val="1"/>
            <c:bubble3D val="0"/>
            <c:spPr>
              <a:solidFill>
                <a:srgbClr val="7ECAC4"/>
              </a:solidFill>
            </c:spPr>
            <c:extLst>
              <c:ext xmlns:c16="http://schemas.microsoft.com/office/drawing/2014/chart" uri="{C3380CC4-5D6E-409C-BE32-E72D297353CC}">
                <c16:uniqueId val="{000002E7-B861-4943-8ABB-0EFD67D9E823}"/>
              </c:ext>
            </c:extLst>
          </c:dPt>
          <c:dPt>
            <c:idx val="371"/>
            <c:invertIfNegative val="1"/>
            <c:bubble3D val="0"/>
            <c:spPr>
              <a:solidFill>
                <a:srgbClr val="7ECAC4"/>
              </a:solidFill>
            </c:spPr>
            <c:extLst>
              <c:ext xmlns:c16="http://schemas.microsoft.com/office/drawing/2014/chart" uri="{C3380CC4-5D6E-409C-BE32-E72D297353CC}">
                <c16:uniqueId val="{000002E9-B861-4943-8ABB-0EFD67D9E823}"/>
              </c:ext>
            </c:extLst>
          </c:dPt>
          <c:dPt>
            <c:idx val="372"/>
            <c:invertIfNegative val="1"/>
            <c:bubble3D val="0"/>
            <c:spPr>
              <a:solidFill>
                <a:srgbClr val="7ECAC4"/>
              </a:solidFill>
            </c:spPr>
            <c:extLst>
              <c:ext xmlns:c16="http://schemas.microsoft.com/office/drawing/2014/chart" uri="{C3380CC4-5D6E-409C-BE32-E72D297353CC}">
                <c16:uniqueId val="{000002EB-B861-4943-8ABB-0EFD67D9E823}"/>
              </c:ext>
            </c:extLst>
          </c:dPt>
          <c:dPt>
            <c:idx val="373"/>
            <c:invertIfNegative val="1"/>
            <c:bubble3D val="0"/>
            <c:spPr>
              <a:solidFill>
                <a:srgbClr val="7ECAC4"/>
              </a:solidFill>
            </c:spPr>
            <c:extLst>
              <c:ext xmlns:c16="http://schemas.microsoft.com/office/drawing/2014/chart" uri="{C3380CC4-5D6E-409C-BE32-E72D297353CC}">
                <c16:uniqueId val="{000002ED-B861-4943-8ABB-0EFD67D9E823}"/>
              </c:ext>
            </c:extLst>
          </c:dPt>
          <c:dPt>
            <c:idx val="374"/>
            <c:invertIfNegative val="1"/>
            <c:bubble3D val="0"/>
            <c:spPr>
              <a:solidFill>
                <a:srgbClr val="7ECAC4"/>
              </a:solidFill>
            </c:spPr>
            <c:extLst>
              <c:ext xmlns:c16="http://schemas.microsoft.com/office/drawing/2014/chart" uri="{C3380CC4-5D6E-409C-BE32-E72D297353CC}">
                <c16:uniqueId val="{000002EF-B861-4943-8ABB-0EFD67D9E823}"/>
              </c:ext>
            </c:extLst>
          </c:dPt>
          <c:dPt>
            <c:idx val="375"/>
            <c:invertIfNegative val="1"/>
            <c:bubble3D val="0"/>
            <c:spPr>
              <a:solidFill>
                <a:srgbClr val="7ECAC4"/>
              </a:solidFill>
            </c:spPr>
            <c:extLst>
              <c:ext xmlns:c16="http://schemas.microsoft.com/office/drawing/2014/chart" uri="{C3380CC4-5D6E-409C-BE32-E72D297353CC}">
                <c16:uniqueId val="{000002F1-B861-4943-8ABB-0EFD67D9E823}"/>
              </c:ext>
            </c:extLst>
          </c:dPt>
          <c:dPt>
            <c:idx val="376"/>
            <c:invertIfNegative val="1"/>
            <c:bubble3D val="0"/>
            <c:spPr>
              <a:solidFill>
                <a:srgbClr val="7ECAC4"/>
              </a:solidFill>
            </c:spPr>
            <c:extLst>
              <c:ext xmlns:c16="http://schemas.microsoft.com/office/drawing/2014/chart" uri="{C3380CC4-5D6E-409C-BE32-E72D297353CC}">
                <c16:uniqueId val="{000002F3-B861-4943-8ABB-0EFD67D9E823}"/>
              </c:ext>
            </c:extLst>
          </c:dPt>
          <c:dPt>
            <c:idx val="377"/>
            <c:invertIfNegative val="1"/>
            <c:bubble3D val="0"/>
            <c:spPr>
              <a:solidFill>
                <a:srgbClr val="7ECAC4"/>
              </a:solidFill>
            </c:spPr>
            <c:extLst>
              <c:ext xmlns:c16="http://schemas.microsoft.com/office/drawing/2014/chart" uri="{C3380CC4-5D6E-409C-BE32-E72D297353CC}">
                <c16:uniqueId val="{000002F5-B861-4943-8ABB-0EFD67D9E823}"/>
              </c:ext>
            </c:extLst>
          </c:dPt>
          <c:dPt>
            <c:idx val="378"/>
            <c:invertIfNegative val="1"/>
            <c:bubble3D val="0"/>
            <c:spPr>
              <a:solidFill>
                <a:srgbClr val="7ECAC4"/>
              </a:solidFill>
            </c:spPr>
            <c:extLst>
              <c:ext xmlns:c16="http://schemas.microsoft.com/office/drawing/2014/chart" uri="{C3380CC4-5D6E-409C-BE32-E72D297353CC}">
                <c16:uniqueId val="{000002F7-B861-4943-8ABB-0EFD67D9E823}"/>
              </c:ext>
            </c:extLst>
          </c:dPt>
          <c:dPt>
            <c:idx val="379"/>
            <c:invertIfNegative val="1"/>
            <c:bubble3D val="0"/>
            <c:spPr>
              <a:solidFill>
                <a:srgbClr val="7ECAC4"/>
              </a:solidFill>
            </c:spPr>
            <c:extLst>
              <c:ext xmlns:c16="http://schemas.microsoft.com/office/drawing/2014/chart" uri="{C3380CC4-5D6E-409C-BE32-E72D297353CC}">
                <c16:uniqueId val="{000002F9-B861-4943-8ABB-0EFD67D9E823}"/>
              </c:ext>
            </c:extLst>
          </c:dPt>
          <c:dPt>
            <c:idx val="380"/>
            <c:invertIfNegative val="1"/>
            <c:bubble3D val="0"/>
            <c:spPr>
              <a:solidFill>
                <a:srgbClr val="7ECAC4"/>
              </a:solidFill>
            </c:spPr>
            <c:extLst>
              <c:ext xmlns:c16="http://schemas.microsoft.com/office/drawing/2014/chart" uri="{C3380CC4-5D6E-409C-BE32-E72D297353CC}">
                <c16:uniqueId val="{000002FB-B861-4943-8ABB-0EFD67D9E823}"/>
              </c:ext>
            </c:extLst>
          </c:dPt>
          <c:dPt>
            <c:idx val="381"/>
            <c:invertIfNegative val="1"/>
            <c:bubble3D val="0"/>
            <c:spPr>
              <a:solidFill>
                <a:srgbClr val="7ECAC4"/>
              </a:solidFill>
            </c:spPr>
            <c:extLst>
              <c:ext xmlns:c16="http://schemas.microsoft.com/office/drawing/2014/chart" uri="{C3380CC4-5D6E-409C-BE32-E72D297353CC}">
                <c16:uniqueId val="{000002FD-B861-4943-8ABB-0EFD67D9E823}"/>
              </c:ext>
            </c:extLst>
          </c:dPt>
          <c:dPt>
            <c:idx val="382"/>
            <c:invertIfNegative val="1"/>
            <c:bubble3D val="0"/>
            <c:spPr>
              <a:solidFill>
                <a:srgbClr val="7ECAC4"/>
              </a:solidFill>
            </c:spPr>
            <c:extLst>
              <c:ext xmlns:c16="http://schemas.microsoft.com/office/drawing/2014/chart" uri="{C3380CC4-5D6E-409C-BE32-E72D297353CC}">
                <c16:uniqueId val="{000002FF-B861-4943-8ABB-0EFD67D9E823}"/>
              </c:ext>
            </c:extLst>
          </c:dPt>
          <c:dPt>
            <c:idx val="383"/>
            <c:invertIfNegative val="1"/>
            <c:bubble3D val="0"/>
            <c:spPr>
              <a:solidFill>
                <a:srgbClr val="7ECAC4"/>
              </a:solidFill>
            </c:spPr>
            <c:extLst>
              <c:ext xmlns:c16="http://schemas.microsoft.com/office/drawing/2014/chart" uri="{C3380CC4-5D6E-409C-BE32-E72D297353CC}">
                <c16:uniqueId val="{00000301-B861-4943-8ABB-0EFD67D9E823}"/>
              </c:ext>
            </c:extLst>
          </c:dPt>
          <c:dPt>
            <c:idx val="384"/>
            <c:invertIfNegative val="1"/>
            <c:bubble3D val="0"/>
            <c:spPr>
              <a:solidFill>
                <a:srgbClr val="7ECAC4"/>
              </a:solidFill>
            </c:spPr>
            <c:extLst>
              <c:ext xmlns:c16="http://schemas.microsoft.com/office/drawing/2014/chart" uri="{C3380CC4-5D6E-409C-BE32-E72D297353CC}">
                <c16:uniqueId val="{00000303-B861-4943-8ABB-0EFD67D9E823}"/>
              </c:ext>
            </c:extLst>
          </c:dPt>
          <c:dPt>
            <c:idx val="385"/>
            <c:invertIfNegative val="1"/>
            <c:bubble3D val="0"/>
            <c:spPr>
              <a:solidFill>
                <a:srgbClr val="7ECAC4"/>
              </a:solidFill>
            </c:spPr>
            <c:extLst>
              <c:ext xmlns:c16="http://schemas.microsoft.com/office/drawing/2014/chart" uri="{C3380CC4-5D6E-409C-BE32-E72D297353CC}">
                <c16:uniqueId val="{00000305-B861-4943-8ABB-0EFD67D9E823}"/>
              </c:ext>
            </c:extLst>
          </c:dPt>
          <c:dPt>
            <c:idx val="386"/>
            <c:invertIfNegative val="1"/>
            <c:bubble3D val="0"/>
            <c:spPr>
              <a:solidFill>
                <a:srgbClr val="7ECAC4"/>
              </a:solidFill>
            </c:spPr>
            <c:extLst>
              <c:ext xmlns:c16="http://schemas.microsoft.com/office/drawing/2014/chart" uri="{C3380CC4-5D6E-409C-BE32-E72D297353CC}">
                <c16:uniqueId val="{00000307-B861-4943-8ABB-0EFD67D9E823}"/>
              </c:ext>
            </c:extLst>
          </c:dPt>
          <c:dPt>
            <c:idx val="387"/>
            <c:invertIfNegative val="1"/>
            <c:bubble3D val="0"/>
            <c:spPr>
              <a:solidFill>
                <a:srgbClr val="7ECAC4"/>
              </a:solidFill>
            </c:spPr>
            <c:extLst>
              <c:ext xmlns:c16="http://schemas.microsoft.com/office/drawing/2014/chart" uri="{C3380CC4-5D6E-409C-BE32-E72D297353CC}">
                <c16:uniqueId val="{00000309-B861-4943-8ABB-0EFD67D9E823}"/>
              </c:ext>
            </c:extLst>
          </c:dPt>
          <c:dPt>
            <c:idx val="388"/>
            <c:invertIfNegative val="1"/>
            <c:bubble3D val="0"/>
            <c:spPr>
              <a:solidFill>
                <a:srgbClr val="7ECAC4"/>
              </a:solidFill>
            </c:spPr>
            <c:extLst>
              <c:ext xmlns:c16="http://schemas.microsoft.com/office/drawing/2014/chart" uri="{C3380CC4-5D6E-409C-BE32-E72D297353CC}">
                <c16:uniqueId val="{0000030B-B861-4943-8ABB-0EFD67D9E823}"/>
              </c:ext>
            </c:extLst>
          </c:dPt>
          <c:dPt>
            <c:idx val="389"/>
            <c:invertIfNegative val="1"/>
            <c:bubble3D val="0"/>
            <c:spPr>
              <a:solidFill>
                <a:srgbClr val="7ECAC4"/>
              </a:solidFill>
            </c:spPr>
            <c:extLst>
              <c:ext xmlns:c16="http://schemas.microsoft.com/office/drawing/2014/chart" uri="{C3380CC4-5D6E-409C-BE32-E72D297353CC}">
                <c16:uniqueId val="{0000030D-B861-4943-8ABB-0EFD67D9E823}"/>
              </c:ext>
            </c:extLst>
          </c:dPt>
          <c:dPt>
            <c:idx val="390"/>
            <c:invertIfNegative val="1"/>
            <c:bubble3D val="0"/>
            <c:spPr>
              <a:solidFill>
                <a:srgbClr val="7ECAC4"/>
              </a:solidFill>
            </c:spPr>
            <c:extLst>
              <c:ext xmlns:c16="http://schemas.microsoft.com/office/drawing/2014/chart" uri="{C3380CC4-5D6E-409C-BE32-E72D297353CC}">
                <c16:uniqueId val="{0000030F-B861-4943-8ABB-0EFD67D9E823}"/>
              </c:ext>
            </c:extLst>
          </c:dPt>
          <c:dPt>
            <c:idx val="391"/>
            <c:invertIfNegative val="1"/>
            <c:bubble3D val="0"/>
            <c:spPr>
              <a:solidFill>
                <a:srgbClr val="7ECAC4"/>
              </a:solidFill>
            </c:spPr>
            <c:extLst>
              <c:ext xmlns:c16="http://schemas.microsoft.com/office/drawing/2014/chart" uri="{C3380CC4-5D6E-409C-BE32-E72D297353CC}">
                <c16:uniqueId val="{00000311-B861-4943-8ABB-0EFD67D9E823}"/>
              </c:ext>
            </c:extLst>
          </c:dPt>
          <c:dPt>
            <c:idx val="392"/>
            <c:invertIfNegative val="1"/>
            <c:bubble3D val="0"/>
            <c:spPr>
              <a:solidFill>
                <a:srgbClr val="7ECAC4"/>
              </a:solidFill>
            </c:spPr>
            <c:extLst>
              <c:ext xmlns:c16="http://schemas.microsoft.com/office/drawing/2014/chart" uri="{C3380CC4-5D6E-409C-BE32-E72D297353CC}">
                <c16:uniqueId val="{00000313-B861-4943-8ABB-0EFD67D9E823}"/>
              </c:ext>
            </c:extLst>
          </c:dPt>
          <c:dPt>
            <c:idx val="393"/>
            <c:invertIfNegative val="1"/>
            <c:bubble3D val="0"/>
            <c:spPr>
              <a:solidFill>
                <a:srgbClr val="7ECAC4"/>
              </a:solidFill>
            </c:spPr>
            <c:extLst>
              <c:ext xmlns:c16="http://schemas.microsoft.com/office/drawing/2014/chart" uri="{C3380CC4-5D6E-409C-BE32-E72D297353CC}">
                <c16:uniqueId val="{00000315-B861-4943-8ABB-0EFD67D9E823}"/>
              </c:ext>
            </c:extLst>
          </c:dPt>
          <c:dPt>
            <c:idx val="394"/>
            <c:invertIfNegative val="1"/>
            <c:bubble3D val="0"/>
            <c:spPr>
              <a:solidFill>
                <a:srgbClr val="7ECAC4"/>
              </a:solidFill>
            </c:spPr>
            <c:extLst>
              <c:ext xmlns:c16="http://schemas.microsoft.com/office/drawing/2014/chart" uri="{C3380CC4-5D6E-409C-BE32-E72D297353CC}">
                <c16:uniqueId val="{00000317-B861-4943-8ABB-0EFD67D9E823}"/>
              </c:ext>
            </c:extLst>
          </c:dPt>
          <c:dPt>
            <c:idx val="395"/>
            <c:invertIfNegative val="1"/>
            <c:bubble3D val="0"/>
            <c:spPr>
              <a:solidFill>
                <a:srgbClr val="7ECAC4"/>
              </a:solidFill>
            </c:spPr>
            <c:extLst>
              <c:ext xmlns:c16="http://schemas.microsoft.com/office/drawing/2014/chart" uri="{C3380CC4-5D6E-409C-BE32-E72D297353CC}">
                <c16:uniqueId val="{00000319-B861-4943-8ABB-0EFD67D9E823}"/>
              </c:ext>
            </c:extLst>
          </c:dPt>
          <c:dPt>
            <c:idx val="396"/>
            <c:invertIfNegative val="1"/>
            <c:bubble3D val="0"/>
            <c:spPr>
              <a:solidFill>
                <a:srgbClr val="7ECAC4"/>
              </a:solidFill>
            </c:spPr>
            <c:extLst>
              <c:ext xmlns:c16="http://schemas.microsoft.com/office/drawing/2014/chart" uri="{C3380CC4-5D6E-409C-BE32-E72D297353CC}">
                <c16:uniqueId val="{0000031B-B861-4943-8ABB-0EFD67D9E823}"/>
              </c:ext>
            </c:extLst>
          </c:dPt>
          <c:dPt>
            <c:idx val="397"/>
            <c:invertIfNegative val="1"/>
            <c:bubble3D val="0"/>
            <c:spPr>
              <a:solidFill>
                <a:srgbClr val="7ECAC4"/>
              </a:solidFill>
            </c:spPr>
            <c:extLst>
              <c:ext xmlns:c16="http://schemas.microsoft.com/office/drawing/2014/chart" uri="{C3380CC4-5D6E-409C-BE32-E72D297353CC}">
                <c16:uniqueId val="{0000031D-B861-4943-8ABB-0EFD67D9E823}"/>
              </c:ext>
            </c:extLst>
          </c:dPt>
          <c:dPt>
            <c:idx val="398"/>
            <c:invertIfNegative val="1"/>
            <c:bubble3D val="0"/>
            <c:spPr>
              <a:solidFill>
                <a:srgbClr val="7ECAC4"/>
              </a:solidFill>
            </c:spPr>
            <c:extLst>
              <c:ext xmlns:c16="http://schemas.microsoft.com/office/drawing/2014/chart" uri="{C3380CC4-5D6E-409C-BE32-E72D297353CC}">
                <c16:uniqueId val="{0000031F-B861-4943-8ABB-0EFD67D9E823}"/>
              </c:ext>
            </c:extLst>
          </c:dPt>
          <c:dPt>
            <c:idx val="399"/>
            <c:invertIfNegative val="1"/>
            <c:bubble3D val="0"/>
            <c:spPr>
              <a:solidFill>
                <a:srgbClr val="7ECAC4"/>
              </a:solidFill>
            </c:spPr>
            <c:extLst>
              <c:ext xmlns:c16="http://schemas.microsoft.com/office/drawing/2014/chart" uri="{C3380CC4-5D6E-409C-BE32-E72D297353CC}">
                <c16:uniqueId val="{00000321-B861-4943-8ABB-0EFD67D9E823}"/>
              </c:ext>
            </c:extLst>
          </c:dPt>
          <c:dPt>
            <c:idx val="400"/>
            <c:invertIfNegative val="1"/>
            <c:bubble3D val="0"/>
            <c:spPr>
              <a:solidFill>
                <a:srgbClr val="7ECAC4"/>
              </a:solidFill>
            </c:spPr>
            <c:extLst>
              <c:ext xmlns:c16="http://schemas.microsoft.com/office/drawing/2014/chart" uri="{C3380CC4-5D6E-409C-BE32-E72D297353CC}">
                <c16:uniqueId val="{00000323-B861-4943-8ABB-0EFD67D9E823}"/>
              </c:ext>
            </c:extLst>
          </c:dPt>
          <c:dPt>
            <c:idx val="401"/>
            <c:invertIfNegative val="1"/>
            <c:bubble3D val="0"/>
            <c:spPr>
              <a:solidFill>
                <a:srgbClr val="7ECAC4"/>
              </a:solidFill>
            </c:spPr>
            <c:extLst>
              <c:ext xmlns:c16="http://schemas.microsoft.com/office/drawing/2014/chart" uri="{C3380CC4-5D6E-409C-BE32-E72D297353CC}">
                <c16:uniqueId val="{00000325-B861-4943-8ABB-0EFD67D9E823}"/>
              </c:ext>
            </c:extLst>
          </c:dPt>
          <c:dPt>
            <c:idx val="402"/>
            <c:invertIfNegative val="1"/>
            <c:bubble3D val="0"/>
            <c:spPr>
              <a:solidFill>
                <a:srgbClr val="7ECAC4"/>
              </a:solidFill>
            </c:spPr>
            <c:extLst>
              <c:ext xmlns:c16="http://schemas.microsoft.com/office/drawing/2014/chart" uri="{C3380CC4-5D6E-409C-BE32-E72D297353CC}">
                <c16:uniqueId val="{00000327-B861-4943-8ABB-0EFD67D9E823}"/>
              </c:ext>
            </c:extLst>
          </c:dPt>
          <c:dPt>
            <c:idx val="403"/>
            <c:invertIfNegative val="1"/>
            <c:bubble3D val="0"/>
            <c:spPr>
              <a:solidFill>
                <a:srgbClr val="7ECAC4"/>
              </a:solidFill>
            </c:spPr>
            <c:extLst>
              <c:ext xmlns:c16="http://schemas.microsoft.com/office/drawing/2014/chart" uri="{C3380CC4-5D6E-409C-BE32-E72D297353CC}">
                <c16:uniqueId val="{00000329-B861-4943-8ABB-0EFD67D9E823}"/>
              </c:ext>
            </c:extLst>
          </c:dPt>
          <c:dPt>
            <c:idx val="404"/>
            <c:invertIfNegative val="1"/>
            <c:bubble3D val="0"/>
            <c:spPr>
              <a:solidFill>
                <a:srgbClr val="7ECAC4"/>
              </a:solidFill>
            </c:spPr>
            <c:extLst>
              <c:ext xmlns:c16="http://schemas.microsoft.com/office/drawing/2014/chart" uri="{C3380CC4-5D6E-409C-BE32-E72D297353CC}">
                <c16:uniqueId val="{0000032B-B861-4943-8ABB-0EFD67D9E823}"/>
              </c:ext>
            </c:extLst>
          </c:dPt>
          <c:dPt>
            <c:idx val="405"/>
            <c:invertIfNegative val="1"/>
            <c:bubble3D val="0"/>
            <c:spPr>
              <a:solidFill>
                <a:srgbClr val="7ECAC4"/>
              </a:solidFill>
            </c:spPr>
            <c:extLst>
              <c:ext xmlns:c16="http://schemas.microsoft.com/office/drawing/2014/chart" uri="{C3380CC4-5D6E-409C-BE32-E72D297353CC}">
                <c16:uniqueId val="{0000032D-B861-4943-8ABB-0EFD67D9E823}"/>
              </c:ext>
            </c:extLst>
          </c:dPt>
          <c:dPt>
            <c:idx val="406"/>
            <c:invertIfNegative val="1"/>
            <c:bubble3D val="0"/>
            <c:spPr>
              <a:solidFill>
                <a:srgbClr val="7ECAC4"/>
              </a:solidFill>
            </c:spPr>
            <c:extLst>
              <c:ext xmlns:c16="http://schemas.microsoft.com/office/drawing/2014/chart" uri="{C3380CC4-5D6E-409C-BE32-E72D297353CC}">
                <c16:uniqueId val="{0000032F-B861-4943-8ABB-0EFD67D9E823}"/>
              </c:ext>
            </c:extLst>
          </c:dPt>
          <c:dPt>
            <c:idx val="407"/>
            <c:invertIfNegative val="1"/>
            <c:bubble3D val="0"/>
            <c:spPr>
              <a:solidFill>
                <a:srgbClr val="7ECAC4"/>
              </a:solidFill>
            </c:spPr>
            <c:extLst>
              <c:ext xmlns:c16="http://schemas.microsoft.com/office/drawing/2014/chart" uri="{C3380CC4-5D6E-409C-BE32-E72D297353CC}">
                <c16:uniqueId val="{00000331-B861-4943-8ABB-0EFD67D9E823}"/>
              </c:ext>
            </c:extLst>
          </c:dPt>
          <c:dPt>
            <c:idx val="408"/>
            <c:invertIfNegative val="1"/>
            <c:bubble3D val="0"/>
            <c:spPr>
              <a:solidFill>
                <a:srgbClr val="7ECAC4"/>
              </a:solidFill>
            </c:spPr>
            <c:extLst>
              <c:ext xmlns:c16="http://schemas.microsoft.com/office/drawing/2014/chart" uri="{C3380CC4-5D6E-409C-BE32-E72D297353CC}">
                <c16:uniqueId val="{00000333-B861-4943-8ABB-0EFD67D9E823}"/>
              </c:ext>
            </c:extLst>
          </c:dPt>
          <c:dPt>
            <c:idx val="409"/>
            <c:invertIfNegative val="1"/>
            <c:bubble3D val="0"/>
            <c:spPr>
              <a:solidFill>
                <a:srgbClr val="7ECAC4"/>
              </a:solidFill>
            </c:spPr>
            <c:extLst>
              <c:ext xmlns:c16="http://schemas.microsoft.com/office/drawing/2014/chart" uri="{C3380CC4-5D6E-409C-BE32-E72D297353CC}">
                <c16:uniqueId val="{00000335-B861-4943-8ABB-0EFD67D9E823}"/>
              </c:ext>
            </c:extLst>
          </c:dPt>
          <c:dPt>
            <c:idx val="410"/>
            <c:invertIfNegative val="1"/>
            <c:bubble3D val="0"/>
            <c:spPr>
              <a:solidFill>
                <a:srgbClr val="7ECAC4"/>
              </a:solidFill>
            </c:spPr>
            <c:extLst>
              <c:ext xmlns:c16="http://schemas.microsoft.com/office/drawing/2014/chart" uri="{C3380CC4-5D6E-409C-BE32-E72D297353CC}">
                <c16:uniqueId val="{00000337-B861-4943-8ABB-0EFD67D9E823}"/>
              </c:ext>
            </c:extLst>
          </c:dPt>
          <c:dPt>
            <c:idx val="411"/>
            <c:invertIfNegative val="1"/>
            <c:bubble3D val="0"/>
            <c:spPr>
              <a:solidFill>
                <a:srgbClr val="7ECAC4"/>
              </a:solidFill>
            </c:spPr>
            <c:extLst>
              <c:ext xmlns:c16="http://schemas.microsoft.com/office/drawing/2014/chart" uri="{C3380CC4-5D6E-409C-BE32-E72D297353CC}">
                <c16:uniqueId val="{00000339-B861-4943-8ABB-0EFD67D9E823}"/>
              </c:ext>
            </c:extLst>
          </c:dPt>
          <c:dPt>
            <c:idx val="412"/>
            <c:invertIfNegative val="1"/>
            <c:bubble3D val="0"/>
            <c:spPr>
              <a:solidFill>
                <a:srgbClr val="7ECAC4"/>
              </a:solidFill>
            </c:spPr>
            <c:extLst>
              <c:ext xmlns:c16="http://schemas.microsoft.com/office/drawing/2014/chart" uri="{C3380CC4-5D6E-409C-BE32-E72D297353CC}">
                <c16:uniqueId val="{0000033B-B861-4943-8ABB-0EFD67D9E823}"/>
              </c:ext>
            </c:extLst>
          </c:dPt>
          <c:dPt>
            <c:idx val="413"/>
            <c:invertIfNegative val="1"/>
            <c:bubble3D val="0"/>
            <c:spPr>
              <a:solidFill>
                <a:srgbClr val="7ECAC4"/>
              </a:solidFill>
            </c:spPr>
            <c:extLst>
              <c:ext xmlns:c16="http://schemas.microsoft.com/office/drawing/2014/chart" uri="{C3380CC4-5D6E-409C-BE32-E72D297353CC}">
                <c16:uniqueId val="{0000033D-B861-4943-8ABB-0EFD67D9E823}"/>
              </c:ext>
            </c:extLst>
          </c:dPt>
          <c:dPt>
            <c:idx val="414"/>
            <c:invertIfNegative val="1"/>
            <c:bubble3D val="0"/>
            <c:spPr>
              <a:solidFill>
                <a:srgbClr val="7ECAC4"/>
              </a:solidFill>
            </c:spPr>
            <c:extLst>
              <c:ext xmlns:c16="http://schemas.microsoft.com/office/drawing/2014/chart" uri="{C3380CC4-5D6E-409C-BE32-E72D297353CC}">
                <c16:uniqueId val="{0000033F-B861-4943-8ABB-0EFD67D9E823}"/>
              </c:ext>
            </c:extLst>
          </c:dPt>
          <c:dPt>
            <c:idx val="415"/>
            <c:invertIfNegative val="1"/>
            <c:bubble3D val="0"/>
            <c:spPr>
              <a:solidFill>
                <a:srgbClr val="7ECAC4"/>
              </a:solidFill>
            </c:spPr>
            <c:extLst>
              <c:ext xmlns:c16="http://schemas.microsoft.com/office/drawing/2014/chart" uri="{C3380CC4-5D6E-409C-BE32-E72D297353CC}">
                <c16:uniqueId val="{00000341-B861-4943-8ABB-0EFD67D9E823}"/>
              </c:ext>
            </c:extLst>
          </c:dPt>
          <c:dPt>
            <c:idx val="416"/>
            <c:invertIfNegative val="1"/>
            <c:bubble3D val="0"/>
            <c:spPr>
              <a:solidFill>
                <a:srgbClr val="7ECAC4"/>
              </a:solidFill>
            </c:spPr>
            <c:extLst>
              <c:ext xmlns:c16="http://schemas.microsoft.com/office/drawing/2014/chart" uri="{C3380CC4-5D6E-409C-BE32-E72D297353CC}">
                <c16:uniqueId val="{00000343-B861-4943-8ABB-0EFD67D9E823}"/>
              </c:ext>
            </c:extLst>
          </c:dPt>
          <c:dPt>
            <c:idx val="417"/>
            <c:invertIfNegative val="1"/>
            <c:bubble3D val="0"/>
            <c:spPr>
              <a:solidFill>
                <a:srgbClr val="7ECAC4"/>
              </a:solidFill>
            </c:spPr>
            <c:extLst>
              <c:ext xmlns:c16="http://schemas.microsoft.com/office/drawing/2014/chart" uri="{C3380CC4-5D6E-409C-BE32-E72D297353CC}">
                <c16:uniqueId val="{00000345-B861-4943-8ABB-0EFD67D9E823}"/>
              </c:ext>
            </c:extLst>
          </c:dPt>
          <c:dPt>
            <c:idx val="418"/>
            <c:invertIfNegative val="1"/>
            <c:bubble3D val="0"/>
            <c:spPr>
              <a:solidFill>
                <a:srgbClr val="7ECAC4"/>
              </a:solidFill>
            </c:spPr>
            <c:extLst>
              <c:ext xmlns:c16="http://schemas.microsoft.com/office/drawing/2014/chart" uri="{C3380CC4-5D6E-409C-BE32-E72D297353CC}">
                <c16:uniqueId val="{00000347-B861-4943-8ABB-0EFD67D9E823}"/>
              </c:ext>
            </c:extLst>
          </c:dPt>
          <c:dPt>
            <c:idx val="419"/>
            <c:invertIfNegative val="1"/>
            <c:bubble3D val="0"/>
            <c:spPr>
              <a:solidFill>
                <a:srgbClr val="7ECAC4"/>
              </a:solidFill>
            </c:spPr>
            <c:extLst>
              <c:ext xmlns:c16="http://schemas.microsoft.com/office/drawing/2014/chart" uri="{C3380CC4-5D6E-409C-BE32-E72D297353CC}">
                <c16:uniqueId val="{00000349-B861-4943-8ABB-0EFD67D9E823}"/>
              </c:ext>
            </c:extLst>
          </c:dPt>
          <c:dPt>
            <c:idx val="420"/>
            <c:invertIfNegative val="1"/>
            <c:bubble3D val="0"/>
            <c:spPr>
              <a:solidFill>
                <a:srgbClr val="7ECAC4"/>
              </a:solidFill>
            </c:spPr>
            <c:extLst>
              <c:ext xmlns:c16="http://schemas.microsoft.com/office/drawing/2014/chart" uri="{C3380CC4-5D6E-409C-BE32-E72D297353CC}">
                <c16:uniqueId val="{0000034B-B861-4943-8ABB-0EFD67D9E823}"/>
              </c:ext>
            </c:extLst>
          </c:dPt>
          <c:dPt>
            <c:idx val="421"/>
            <c:invertIfNegative val="1"/>
            <c:bubble3D val="0"/>
            <c:spPr>
              <a:solidFill>
                <a:srgbClr val="7ECAC4"/>
              </a:solidFill>
            </c:spPr>
            <c:extLst>
              <c:ext xmlns:c16="http://schemas.microsoft.com/office/drawing/2014/chart" uri="{C3380CC4-5D6E-409C-BE32-E72D297353CC}">
                <c16:uniqueId val="{0000034D-B861-4943-8ABB-0EFD67D9E823}"/>
              </c:ext>
            </c:extLst>
          </c:dPt>
          <c:dPt>
            <c:idx val="422"/>
            <c:invertIfNegative val="1"/>
            <c:bubble3D val="0"/>
            <c:spPr>
              <a:solidFill>
                <a:srgbClr val="7ECAC4"/>
              </a:solidFill>
            </c:spPr>
            <c:extLst>
              <c:ext xmlns:c16="http://schemas.microsoft.com/office/drawing/2014/chart" uri="{C3380CC4-5D6E-409C-BE32-E72D297353CC}">
                <c16:uniqueId val="{0000034F-B861-4943-8ABB-0EFD67D9E823}"/>
              </c:ext>
            </c:extLst>
          </c:dPt>
          <c:dPt>
            <c:idx val="423"/>
            <c:invertIfNegative val="1"/>
            <c:bubble3D val="0"/>
            <c:spPr>
              <a:solidFill>
                <a:srgbClr val="7ECAC4"/>
              </a:solidFill>
            </c:spPr>
            <c:extLst>
              <c:ext xmlns:c16="http://schemas.microsoft.com/office/drawing/2014/chart" uri="{C3380CC4-5D6E-409C-BE32-E72D297353CC}">
                <c16:uniqueId val="{00000351-B861-4943-8ABB-0EFD67D9E823}"/>
              </c:ext>
            </c:extLst>
          </c:dPt>
          <c:dPt>
            <c:idx val="424"/>
            <c:invertIfNegative val="1"/>
            <c:bubble3D val="0"/>
            <c:spPr>
              <a:solidFill>
                <a:srgbClr val="7ECAC4"/>
              </a:solidFill>
            </c:spPr>
            <c:extLst>
              <c:ext xmlns:c16="http://schemas.microsoft.com/office/drawing/2014/chart" uri="{C3380CC4-5D6E-409C-BE32-E72D297353CC}">
                <c16:uniqueId val="{00000353-B861-4943-8ABB-0EFD67D9E823}"/>
              </c:ext>
            </c:extLst>
          </c:dPt>
          <c:dPt>
            <c:idx val="425"/>
            <c:invertIfNegative val="1"/>
            <c:bubble3D val="0"/>
            <c:spPr>
              <a:solidFill>
                <a:srgbClr val="7ECAC4"/>
              </a:solidFill>
            </c:spPr>
            <c:extLst>
              <c:ext xmlns:c16="http://schemas.microsoft.com/office/drawing/2014/chart" uri="{C3380CC4-5D6E-409C-BE32-E72D297353CC}">
                <c16:uniqueId val="{00000355-B861-4943-8ABB-0EFD67D9E823}"/>
              </c:ext>
            </c:extLst>
          </c:dPt>
          <c:dPt>
            <c:idx val="426"/>
            <c:invertIfNegative val="1"/>
            <c:bubble3D val="0"/>
            <c:spPr>
              <a:solidFill>
                <a:srgbClr val="7ECAC4"/>
              </a:solidFill>
            </c:spPr>
            <c:extLst>
              <c:ext xmlns:c16="http://schemas.microsoft.com/office/drawing/2014/chart" uri="{C3380CC4-5D6E-409C-BE32-E72D297353CC}">
                <c16:uniqueId val="{00000357-B861-4943-8ABB-0EFD67D9E823}"/>
              </c:ext>
            </c:extLst>
          </c:dPt>
          <c:dPt>
            <c:idx val="427"/>
            <c:invertIfNegative val="1"/>
            <c:bubble3D val="0"/>
            <c:spPr>
              <a:solidFill>
                <a:srgbClr val="7ECAC4"/>
              </a:solidFill>
            </c:spPr>
            <c:extLst>
              <c:ext xmlns:c16="http://schemas.microsoft.com/office/drawing/2014/chart" uri="{C3380CC4-5D6E-409C-BE32-E72D297353CC}">
                <c16:uniqueId val="{00000359-B861-4943-8ABB-0EFD67D9E823}"/>
              </c:ext>
            </c:extLst>
          </c:dPt>
          <c:dPt>
            <c:idx val="428"/>
            <c:invertIfNegative val="1"/>
            <c:bubble3D val="0"/>
            <c:spPr>
              <a:solidFill>
                <a:srgbClr val="7ECAC4"/>
              </a:solidFill>
            </c:spPr>
            <c:extLst>
              <c:ext xmlns:c16="http://schemas.microsoft.com/office/drawing/2014/chart" uri="{C3380CC4-5D6E-409C-BE32-E72D297353CC}">
                <c16:uniqueId val="{0000035B-B861-4943-8ABB-0EFD67D9E823}"/>
              </c:ext>
            </c:extLst>
          </c:dPt>
          <c:dPt>
            <c:idx val="429"/>
            <c:invertIfNegative val="1"/>
            <c:bubble3D val="0"/>
            <c:spPr>
              <a:solidFill>
                <a:srgbClr val="7ECAC4"/>
              </a:solidFill>
            </c:spPr>
            <c:extLst>
              <c:ext xmlns:c16="http://schemas.microsoft.com/office/drawing/2014/chart" uri="{C3380CC4-5D6E-409C-BE32-E72D297353CC}">
                <c16:uniqueId val="{0000035D-B861-4943-8ABB-0EFD67D9E823}"/>
              </c:ext>
            </c:extLst>
          </c:dPt>
          <c:dPt>
            <c:idx val="430"/>
            <c:invertIfNegative val="1"/>
            <c:bubble3D val="0"/>
            <c:spPr>
              <a:solidFill>
                <a:srgbClr val="7ECAC4"/>
              </a:solidFill>
            </c:spPr>
            <c:extLst>
              <c:ext xmlns:c16="http://schemas.microsoft.com/office/drawing/2014/chart" uri="{C3380CC4-5D6E-409C-BE32-E72D297353CC}">
                <c16:uniqueId val="{0000035F-B861-4943-8ABB-0EFD67D9E823}"/>
              </c:ext>
            </c:extLst>
          </c:dPt>
          <c:dPt>
            <c:idx val="431"/>
            <c:invertIfNegative val="1"/>
            <c:bubble3D val="0"/>
            <c:spPr>
              <a:solidFill>
                <a:srgbClr val="7ECAC4"/>
              </a:solidFill>
            </c:spPr>
            <c:extLst>
              <c:ext xmlns:c16="http://schemas.microsoft.com/office/drawing/2014/chart" uri="{C3380CC4-5D6E-409C-BE32-E72D297353CC}">
                <c16:uniqueId val="{00000361-B861-4943-8ABB-0EFD67D9E823}"/>
              </c:ext>
            </c:extLst>
          </c:dPt>
          <c:dPt>
            <c:idx val="432"/>
            <c:invertIfNegative val="1"/>
            <c:bubble3D val="0"/>
            <c:spPr>
              <a:solidFill>
                <a:srgbClr val="7ECAC4"/>
              </a:solidFill>
            </c:spPr>
            <c:extLst>
              <c:ext xmlns:c16="http://schemas.microsoft.com/office/drawing/2014/chart" uri="{C3380CC4-5D6E-409C-BE32-E72D297353CC}">
                <c16:uniqueId val="{00000363-B861-4943-8ABB-0EFD67D9E823}"/>
              </c:ext>
            </c:extLst>
          </c:dPt>
          <c:dPt>
            <c:idx val="433"/>
            <c:invertIfNegative val="1"/>
            <c:bubble3D val="0"/>
            <c:spPr>
              <a:solidFill>
                <a:srgbClr val="7ECAC4"/>
              </a:solidFill>
            </c:spPr>
            <c:extLst>
              <c:ext xmlns:c16="http://schemas.microsoft.com/office/drawing/2014/chart" uri="{C3380CC4-5D6E-409C-BE32-E72D297353CC}">
                <c16:uniqueId val="{00000365-B861-4943-8ABB-0EFD67D9E823}"/>
              </c:ext>
            </c:extLst>
          </c:dPt>
          <c:dPt>
            <c:idx val="434"/>
            <c:invertIfNegative val="1"/>
            <c:bubble3D val="0"/>
            <c:spPr>
              <a:solidFill>
                <a:srgbClr val="7ECAC4"/>
              </a:solidFill>
            </c:spPr>
            <c:extLst>
              <c:ext xmlns:c16="http://schemas.microsoft.com/office/drawing/2014/chart" uri="{C3380CC4-5D6E-409C-BE32-E72D297353CC}">
                <c16:uniqueId val="{00000367-B861-4943-8ABB-0EFD67D9E823}"/>
              </c:ext>
            </c:extLst>
          </c:dPt>
          <c:dPt>
            <c:idx val="435"/>
            <c:invertIfNegative val="1"/>
            <c:bubble3D val="0"/>
            <c:spPr>
              <a:solidFill>
                <a:srgbClr val="7ECAC4"/>
              </a:solidFill>
            </c:spPr>
            <c:extLst>
              <c:ext xmlns:c16="http://schemas.microsoft.com/office/drawing/2014/chart" uri="{C3380CC4-5D6E-409C-BE32-E72D297353CC}">
                <c16:uniqueId val="{00000369-B861-4943-8ABB-0EFD67D9E823}"/>
              </c:ext>
            </c:extLst>
          </c:dPt>
          <c:dPt>
            <c:idx val="436"/>
            <c:invertIfNegative val="1"/>
            <c:bubble3D val="0"/>
            <c:spPr>
              <a:solidFill>
                <a:srgbClr val="7ECAC4"/>
              </a:solidFill>
            </c:spPr>
            <c:extLst>
              <c:ext xmlns:c16="http://schemas.microsoft.com/office/drawing/2014/chart" uri="{C3380CC4-5D6E-409C-BE32-E72D297353CC}">
                <c16:uniqueId val="{0000036B-B861-4943-8ABB-0EFD67D9E823}"/>
              </c:ext>
            </c:extLst>
          </c:dPt>
          <c:dPt>
            <c:idx val="437"/>
            <c:invertIfNegative val="1"/>
            <c:bubble3D val="0"/>
            <c:spPr>
              <a:solidFill>
                <a:srgbClr val="7ECAC4"/>
              </a:solidFill>
            </c:spPr>
            <c:extLst>
              <c:ext xmlns:c16="http://schemas.microsoft.com/office/drawing/2014/chart" uri="{C3380CC4-5D6E-409C-BE32-E72D297353CC}">
                <c16:uniqueId val="{0000036D-B861-4943-8ABB-0EFD67D9E823}"/>
              </c:ext>
            </c:extLst>
          </c:dPt>
          <c:dPt>
            <c:idx val="438"/>
            <c:invertIfNegative val="1"/>
            <c:bubble3D val="0"/>
            <c:spPr>
              <a:solidFill>
                <a:srgbClr val="7ECAC4"/>
              </a:solidFill>
            </c:spPr>
            <c:extLst>
              <c:ext xmlns:c16="http://schemas.microsoft.com/office/drawing/2014/chart" uri="{C3380CC4-5D6E-409C-BE32-E72D297353CC}">
                <c16:uniqueId val="{0000036F-B861-4943-8ABB-0EFD67D9E823}"/>
              </c:ext>
            </c:extLst>
          </c:dPt>
          <c:dPt>
            <c:idx val="439"/>
            <c:invertIfNegative val="1"/>
            <c:bubble3D val="0"/>
            <c:spPr>
              <a:solidFill>
                <a:srgbClr val="7ECAC4"/>
              </a:solidFill>
            </c:spPr>
            <c:extLst>
              <c:ext xmlns:c16="http://schemas.microsoft.com/office/drawing/2014/chart" uri="{C3380CC4-5D6E-409C-BE32-E72D297353CC}">
                <c16:uniqueId val="{00000371-B861-4943-8ABB-0EFD67D9E823}"/>
              </c:ext>
            </c:extLst>
          </c:dPt>
          <c:dPt>
            <c:idx val="440"/>
            <c:invertIfNegative val="1"/>
            <c:bubble3D val="0"/>
            <c:spPr>
              <a:solidFill>
                <a:srgbClr val="7ECAC4"/>
              </a:solidFill>
            </c:spPr>
            <c:extLst>
              <c:ext xmlns:c16="http://schemas.microsoft.com/office/drawing/2014/chart" uri="{C3380CC4-5D6E-409C-BE32-E72D297353CC}">
                <c16:uniqueId val="{00000373-B861-4943-8ABB-0EFD67D9E823}"/>
              </c:ext>
            </c:extLst>
          </c:dPt>
          <c:dPt>
            <c:idx val="441"/>
            <c:invertIfNegative val="1"/>
            <c:bubble3D val="0"/>
            <c:spPr>
              <a:solidFill>
                <a:srgbClr val="7ECAC4"/>
              </a:solidFill>
            </c:spPr>
            <c:extLst>
              <c:ext xmlns:c16="http://schemas.microsoft.com/office/drawing/2014/chart" uri="{C3380CC4-5D6E-409C-BE32-E72D297353CC}">
                <c16:uniqueId val="{00000375-B861-4943-8ABB-0EFD67D9E823}"/>
              </c:ext>
            </c:extLst>
          </c:dPt>
          <c:dPt>
            <c:idx val="442"/>
            <c:invertIfNegative val="1"/>
            <c:bubble3D val="0"/>
            <c:spPr>
              <a:solidFill>
                <a:srgbClr val="7ECAC4"/>
              </a:solidFill>
            </c:spPr>
            <c:extLst>
              <c:ext xmlns:c16="http://schemas.microsoft.com/office/drawing/2014/chart" uri="{C3380CC4-5D6E-409C-BE32-E72D297353CC}">
                <c16:uniqueId val="{00000377-B861-4943-8ABB-0EFD67D9E823}"/>
              </c:ext>
            </c:extLst>
          </c:dPt>
          <c:dPt>
            <c:idx val="443"/>
            <c:invertIfNegative val="1"/>
            <c:bubble3D val="0"/>
            <c:spPr>
              <a:solidFill>
                <a:srgbClr val="7ECAC4"/>
              </a:solidFill>
            </c:spPr>
            <c:extLst>
              <c:ext xmlns:c16="http://schemas.microsoft.com/office/drawing/2014/chart" uri="{C3380CC4-5D6E-409C-BE32-E72D297353CC}">
                <c16:uniqueId val="{00000379-B861-4943-8ABB-0EFD67D9E823}"/>
              </c:ext>
            </c:extLst>
          </c:dPt>
          <c:dPt>
            <c:idx val="444"/>
            <c:invertIfNegative val="1"/>
            <c:bubble3D val="0"/>
            <c:spPr>
              <a:solidFill>
                <a:srgbClr val="7ECAC4"/>
              </a:solidFill>
            </c:spPr>
            <c:extLst>
              <c:ext xmlns:c16="http://schemas.microsoft.com/office/drawing/2014/chart" uri="{C3380CC4-5D6E-409C-BE32-E72D297353CC}">
                <c16:uniqueId val="{0000037B-B861-4943-8ABB-0EFD67D9E823}"/>
              </c:ext>
            </c:extLst>
          </c:dPt>
          <c:dPt>
            <c:idx val="445"/>
            <c:invertIfNegative val="1"/>
            <c:bubble3D val="0"/>
            <c:spPr>
              <a:solidFill>
                <a:srgbClr val="7ECAC4"/>
              </a:solidFill>
            </c:spPr>
            <c:extLst>
              <c:ext xmlns:c16="http://schemas.microsoft.com/office/drawing/2014/chart" uri="{C3380CC4-5D6E-409C-BE32-E72D297353CC}">
                <c16:uniqueId val="{0000037D-B861-4943-8ABB-0EFD67D9E823}"/>
              </c:ext>
            </c:extLst>
          </c:dPt>
          <c:dPt>
            <c:idx val="446"/>
            <c:invertIfNegative val="1"/>
            <c:bubble3D val="0"/>
            <c:spPr>
              <a:solidFill>
                <a:srgbClr val="7ECAC4"/>
              </a:solidFill>
            </c:spPr>
            <c:extLst>
              <c:ext xmlns:c16="http://schemas.microsoft.com/office/drawing/2014/chart" uri="{C3380CC4-5D6E-409C-BE32-E72D297353CC}">
                <c16:uniqueId val="{0000037F-B861-4943-8ABB-0EFD67D9E823}"/>
              </c:ext>
            </c:extLst>
          </c:dPt>
          <c:dPt>
            <c:idx val="447"/>
            <c:invertIfNegative val="1"/>
            <c:bubble3D val="0"/>
            <c:spPr>
              <a:solidFill>
                <a:srgbClr val="7ECAC4"/>
              </a:solidFill>
            </c:spPr>
            <c:extLst>
              <c:ext xmlns:c16="http://schemas.microsoft.com/office/drawing/2014/chart" uri="{C3380CC4-5D6E-409C-BE32-E72D297353CC}">
                <c16:uniqueId val="{00000381-B861-4943-8ABB-0EFD67D9E823}"/>
              </c:ext>
            </c:extLst>
          </c:dPt>
          <c:dPt>
            <c:idx val="448"/>
            <c:invertIfNegative val="1"/>
            <c:bubble3D val="0"/>
            <c:spPr>
              <a:solidFill>
                <a:srgbClr val="7ECAC4"/>
              </a:solidFill>
            </c:spPr>
            <c:extLst>
              <c:ext xmlns:c16="http://schemas.microsoft.com/office/drawing/2014/chart" uri="{C3380CC4-5D6E-409C-BE32-E72D297353CC}">
                <c16:uniqueId val="{00000383-B861-4943-8ABB-0EFD67D9E823}"/>
              </c:ext>
            </c:extLst>
          </c:dPt>
          <c:dPt>
            <c:idx val="449"/>
            <c:invertIfNegative val="1"/>
            <c:bubble3D val="0"/>
            <c:spPr>
              <a:solidFill>
                <a:srgbClr val="7ECAC4"/>
              </a:solidFill>
            </c:spPr>
            <c:extLst>
              <c:ext xmlns:c16="http://schemas.microsoft.com/office/drawing/2014/chart" uri="{C3380CC4-5D6E-409C-BE32-E72D297353CC}">
                <c16:uniqueId val="{00000385-B861-4943-8ABB-0EFD67D9E823}"/>
              </c:ext>
            </c:extLst>
          </c:dPt>
          <c:dPt>
            <c:idx val="450"/>
            <c:invertIfNegative val="1"/>
            <c:bubble3D val="0"/>
            <c:spPr>
              <a:solidFill>
                <a:srgbClr val="7ECAC4"/>
              </a:solidFill>
            </c:spPr>
            <c:extLst>
              <c:ext xmlns:c16="http://schemas.microsoft.com/office/drawing/2014/chart" uri="{C3380CC4-5D6E-409C-BE32-E72D297353CC}">
                <c16:uniqueId val="{00000387-B861-4943-8ABB-0EFD67D9E823}"/>
              </c:ext>
            </c:extLst>
          </c:dPt>
          <c:dPt>
            <c:idx val="451"/>
            <c:invertIfNegative val="1"/>
            <c:bubble3D val="0"/>
            <c:spPr>
              <a:solidFill>
                <a:srgbClr val="7ECAC4"/>
              </a:solidFill>
            </c:spPr>
            <c:extLst>
              <c:ext xmlns:c16="http://schemas.microsoft.com/office/drawing/2014/chart" uri="{C3380CC4-5D6E-409C-BE32-E72D297353CC}">
                <c16:uniqueId val="{00000389-B861-4943-8ABB-0EFD67D9E823}"/>
              </c:ext>
            </c:extLst>
          </c:dPt>
          <c:dPt>
            <c:idx val="452"/>
            <c:invertIfNegative val="1"/>
            <c:bubble3D val="0"/>
            <c:spPr>
              <a:solidFill>
                <a:srgbClr val="7ECAC4"/>
              </a:solidFill>
            </c:spPr>
            <c:extLst>
              <c:ext xmlns:c16="http://schemas.microsoft.com/office/drawing/2014/chart" uri="{C3380CC4-5D6E-409C-BE32-E72D297353CC}">
                <c16:uniqueId val="{0000038B-B861-4943-8ABB-0EFD67D9E823}"/>
              </c:ext>
            </c:extLst>
          </c:dPt>
          <c:dPt>
            <c:idx val="453"/>
            <c:invertIfNegative val="1"/>
            <c:bubble3D val="0"/>
            <c:spPr>
              <a:solidFill>
                <a:srgbClr val="7ECAC4"/>
              </a:solidFill>
            </c:spPr>
            <c:extLst>
              <c:ext xmlns:c16="http://schemas.microsoft.com/office/drawing/2014/chart" uri="{C3380CC4-5D6E-409C-BE32-E72D297353CC}">
                <c16:uniqueId val="{0000038D-B861-4943-8ABB-0EFD67D9E823}"/>
              </c:ext>
            </c:extLst>
          </c:dPt>
          <c:dPt>
            <c:idx val="454"/>
            <c:invertIfNegative val="1"/>
            <c:bubble3D val="0"/>
            <c:spPr>
              <a:solidFill>
                <a:srgbClr val="7ECAC4"/>
              </a:solidFill>
            </c:spPr>
            <c:extLst>
              <c:ext xmlns:c16="http://schemas.microsoft.com/office/drawing/2014/chart" uri="{C3380CC4-5D6E-409C-BE32-E72D297353CC}">
                <c16:uniqueId val="{0000038F-B861-4943-8ABB-0EFD67D9E823}"/>
              </c:ext>
            </c:extLst>
          </c:dPt>
          <c:dPt>
            <c:idx val="455"/>
            <c:invertIfNegative val="1"/>
            <c:bubble3D val="0"/>
            <c:spPr>
              <a:solidFill>
                <a:srgbClr val="7ECAC4"/>
              </a:solidFill>
            </c:spPr>
            <c:extLst>
              <c:ext xmlns:c16="http://schemas.microsoft.com/office/drawing/2014/chart" uri="{C3380CC4-5D6E-409C-BE32-E72D297353CC}">
                <c16:uniqueId val="{00000391-B861-4943-8ABB-0EFD67D9E823}"/>
              </c:ext>
            </c:extLst>
          </c:dPt>
          <c:dPt>
            <c:idx val="456"/>
            <c:invertIfNegative val="1"/>
            <c:bubble3D val="0"/>
            <c:spPr>
              <a:solidFill>
                <a:srgbClr val="7ECAC4"/>
              </a:solidFill>
            </c:spPr>
            <c:extLst>
              <c:ext xmlns:c16="http://schemas.microsoft.com/office/drawing/2014/chart" uri="{C3380CC4-5D6E-409C-BE32-E72D297353CC}">
                <c16:uniqueId val="{00000393-B861-4943-8ABB-0EFD67D9E823}"/>
              </c:ext>
            </c:extLst>
          </c:dPt>
          <c:dPt>
            <c:idx val="457"/>
            <c:invertIfNegative val="1"/>
            <c:bubble3D val="0"/>
            <c:spPr>
              <a:solidFill>
                <a:srgbClr val="7ECAC4"/>
              </a:solidFill>
            </c:spPr>
            <c:extLst>
              <c:ext xmlns:c16="http://schemas.microsoft.com/office/drawing/2014/chart" uri="{C3380CC4-5D6E-409C-BE32-E72D297353CC}">
                <c16:uniqueId val="{00000395-B861-4943-8ABB-0EFD67D9E823}"/>
              </c:ext>
            </c:extLst>
          </c:dPt>
          <c:dPt>
            <c:idx val="458"/>
            <c:invertIfNegative val="1"/>
            <c:bubble3D val="0"/>
            <c:spPr>
              <a:solidFill>
                <a:srgbClr val="7ECAC4"/>
              </a:solidFill>
            </c:spPr>
            <c:extLst>
              <c:ext xmlns:c16="http://schemas.microsoft.com/office/drawing/2014/chart" uri="{C3380CC4-5D6E-409C-BE32-E72D297353CC}">
                <c16:uniqueId val="{00000397-B861-4943-8ABB-0EFD67D9E823}"/>
              </c:ext>
            </c:extLst>
          </c:dPt>
          <c:dPt>
            <c:idx val="459"/>
            <c:invertIfNegative val="1"/>
            <c:bubble3D val="0"/>
            <c:spPr>
              <a:solidFill>
                <a:srgbClr val="7ECAC4"/>
              </a:solidFill>
            </c:spPr>
            <c:extLst>
              <c:ext xmlns:c16="http://schemas.microsoft.com/office/drawing/2014/chart" uri="{C3380CC4-5D6E-409C-BE32-E72D297353CC}">
                <c16:uniqueId val="{00000399-B861-4943-8ABB-0EFD67D9E823}"/>
              </c:ext>
            </c:extLst>
          </c:dPt>
          <c:dPt>
            <c:idx val="460"/>
            <c:invertIfNegative val="1"/>
            <c:bubble3D val="0"/>
            <c:spPr>
              <a:solidFill>
                <a:srgbClr val="7ECAC4"/>
              </a:solidFill>
            </c:spPr>
            <c:extLst>
              <c:ext xmlns:c16="http://schemas.microsoft.com/office/drawing/2014/chart" uri="{C3380CC4-5D6E-409C-BE32-E72D297353CC}">
                <c16:uniqueId val="{0000039B-B861-4943-8ABB-0EFD67D9E823}"/>
              </c:ext>
            </c:extLst>
          </c:dPt>
          <c:dPt>
            <c:idx val="461"/>
            <c:invertIfNegative val="1"/>
            <c:bubble3D val="0"/>
            <c:spPr>
              <a:solidFill>
                <a:srgbClr val="7ECAC4"/>
              </a:solidFill>
            </c:spPr>
            <c:extLst>
              <c:ext xmlns:c16="http://schemas.microsoft.com/office/drawing/2014/chart" uri="{C3380CC4-5D6E-409C-BE32-E72D297353CC}">
                <c16:uniqueId val="{0000039D-B861-4943-8ABB-0EFD67D9E823}"/>
              </c:ext>
            </c:extLst>
          </c:dPt>
          <c:dPt>
            <c:idx val="462"/>
            <c:invertIfNegative val="1"/>
            <c:bubble3D val="0"/>
            <c:spPr>
              <a:solidFill>
                <a:srgbClr val="7ECAC4"/>
              </a:solidFill>
            </c:spPr>
            <c:extLst>
              <c:ext xmlns:c16="http://schemas.microsoft.com/office/drawing/2014/chart" uri="{C3380CC4-5D6E-409C-BE32-E72D297353CC}">
                <c16:uniqueId val="{0000039F-B861-4943-8ABB-0EFD67D9E823}"/>
              </c:ext>
            </c:extLst>
          </c:dPt>
          <c:dPt>
            <c:idx val="463"/>
            <c:invertIfNegative val="1"/>
            <c:bubble3D val="0"/>
            <c:spPr>
              <a:solidFill>
                <a:srgbClr val="7ECAC4"/>
              </a:solidFill>
            </c:spPr>
            <c:extLst>
              <c:ext xmlns:c16="http://schemas.microsoft.com/office/drawing/2014/chart" uri="{C3380CC4-5D6E-409C-BE32-E72D297353CC}">
                <c16:uniqueId val="{000003A1-B861-4943-8ABB-0EFD67D9E823}"/>
              </c:ext>
            </c:extLst>
          </c:dPt>
          <c:dPt>
            <c:idx val="464"/>
            <c:invertIfNegative val="1"/>
            <c:bubble3D val="0"/>
            <c:spPr>
              <a:solidFill>
                <a:srgbClr val="7ECAC4"/>
              </a:solidFill>
            </c:spPr>
            <c:extLst>
              <c:ext xmlns:c16="http://schemas.microsoft.com/office/drawing/2014/chart" uri="{C3380CC4-5D6E-409C-BE32-E72D297353CC}">
                <c16:uniqueId val="{000003A3-B861-4943-8ABB-0EFD67D9E823}"/>
              </c:ext>
            </c:extLst>
          </c:dPt>
          <c:dPt>
            <c:idx val="465"/>
            <c:invertIfNegative val="1"/>
            <c:bubble3D val="0"/>
            <c:spPr>
              <a:solidFill>
                <a:srgbClr val="7ECAC4"/>
              </a:solidFill>
            </c:spPr>
            <c:extLst>
              <c:ext xmlns:c16="http://schemas.microsoft.com/office/drawing/2014/chart" uri="{C3380CC4-5D6E-409C-BE32-E72D297353CC}">
                <c16:uniqueId val="{000003A5-B861-4943-8ABB-0EFD67D9E823}"/>
              </c:ext>
            </c:extLst>
          </c:dPt>
          <c:dPt>
            <c:idx val="466"/>
            <c:invertIfNegative val="1"/>
            <c:bubble3D val="0"/>
            <c:spPr>
              <a:solidFill>
                <a:srgbClr val="7ECAC4"/>
              </a:solidFill>
            </c:spPr>
            <c:extLst>
              <c:ext xmlns:c16="http://schemas.microsoft.com/office/drawing/2014/chart" uri="{C3380CC4-5D6E-409C-BE32-E72D297353CC}">
                <c16:uniqueId val="{000003A7-B861-4943-8ABB-0EFD67D9E823}"/>
              </c:ext>
            </c:extLst>
          </c:dPt>
          <c:dPt>
            <c:idx val="467"/>
            <c:invertIfNegative val="1"/>
            <c:bubble3D val="0"/>
            <c:spPr>
              <a:solidFill>
                <a:srgbClr val="7ECAC4"/>
              </a:solidFill>
            </c:spPr>
            <c:extLst>
              <c:ext xmlns:c16="http://schemas.microsoft.com/office/drawing/2014/chart" uri="{C3380CC4-5D6E-409C-BE32-E72D297353CC}">
                <c16:uniqueId val="{000003A9-B861-4943-8ABB-0EFD67D9E823}"/>
              </c:ext>
            </c:extLst>
          </c:dPt>
          <c:dPt>
            <c:idx val="468"/>
            <c:invertIfNegative val="1"/>
            <c:bubble3D val="0"/>
            <c:spPr>
              <a:solidFill>
                <a:srgbClr val="7ECAC4"/>
              </a:solidFill>
            </c:spPr>
            <c:extLst>
              <c:ext xmlns:c16="http://schemas.microsoft.com/office/drawing/2014/chart" uri="{C3380CC4-5D6E-409C-BE32-E72D297353CC}">
                <c16:uniqueId val="{000003AB-B861-4943-8ABB-0EFD67D9E823}"/>
              </c:ext>
            </c:extLst>
          </c:dPt>
          <c:dPt>
            <c:idx val="469"/>
            <c:invertIfNegative val="1"/>
            <c:bubble3D val="0"/>
            <c:spPr>
              <a:solidFill>
                <a:srgbClr val="7ECAC4"/>
              </a:solidFill>
            </c:spPr>
            <c:extLst>
              <c:ext xmlns:c16="http://schemas.microsoft.com/office/drawing/2014/chart" uri="{C3380CC4-5D6E-409C-BE32-E72D297353CC}">
                <c16:uniqueId val="{000003AD-B861-4943-8ABB-0EFD67D9E823}"/>
              </c:ext>
            </c:extLst>
          </c:dPt>
          <c:dPt>
            <c:idx val="470"/>
            <c:invertIfNegative val="1"/>
            <c:bubble3D val="0"/>
            <c:spPr>
              <a:solidFill>
                <a:srgbClr val="7ECAC4"/>
              </a:solidFill>
            </c:spPr>
            <c:extLst>
              <c:ext xmlns:c16="http://schemas.microsoft.com/office/drawing/2014/chart" uri="{C3380CC4-5D6E-409C-BE32-E72D297353CC}">
                <c16:uniqueId val="{000003AF-B861-4943-8ABB-0EFD67D9E823}"/>
              </c:ext>
            </c:extLst>
          </c:dPt>
          <c:dPt>
            <c:idx val="471"/>
            <c:invertIfNegative val="1"/>
            <c:bubble3D val="0"/>
            <c:spPr>
              <a:solidFill>
                <a:srgbClr val="7ECAC4"/>
              </a:solidFill>
            </c:spPr>
            <c:extLst>
              <c:ext xmlns:c16="http://schemas.microsoft.com/office/drawing/2014/chart" uri="{C3380CC4-5D6E-409C-BE32-E72D297353CC}">
                <c16:uniqueId val="{000003B1-B861-4943-8ABB-0EFD67D9E823}"/>
              </c:ext>
            </c:extLst>
          </c:dPt>
          <c:dPt>
            <c:idx val="472"/>
            <c:invertIfNegative val="1"/>
            <c:bubble3D val="0"/>
            <c:spPr>
              <a:solidFill>
                <a:srgbClr val="7ECAC4"/>
              </a:solidFill>
            </c:spPr>
            <c:extLst>
              <c:ext xmlns:c16="http://schemas.microsoft.com/office/drawing/2014/chart" uri="{C3380CC4-5D6E-409C-BE32-E72D297353CC}">
                <c16:uniqueId val="{000003B3-B861-4943-8ABB-0EFD67D9E823}"/>
              </c:ext>
            </c:extLst>
          </c:dPt>
          <c:dPt>
            <c:idx val="473"/>
            <c:invertIfNegative val="1"/>
            <c:bubble3D val="0"/>
            <c:spPr>
              <a:solidFill>
                <a:srgbClr val="7ECAC4"/>
              </a:solidFill>
            </c:spPr>
            <c:extLst>
              <c:ext xmlns:c16="http://schemas.microsoft.com/office/drawing/2014/chart" uri="{C3380CC4-5D6E-409C-BE32-E72D297353CC}">
                <c16:uniqueId val="{000003B5-B861-4943-8ABB-0EFD67D9E823}"/>
              </c:ext>
            </c:extLst>
          </c:dPt>
          <c:dPt>
            <c:idx val="474"/>
            <c:invertIfNegative val="1"/>
            <c:bubble3D val="0"/>
            <c:spPr>
              <a:solidFill>
                <a:srgbClr val="7ECAC4"/>
              </a:solidFill>
            </c:spPr>
            <c:extLst>
              <c:ext xmlns:c16="http://schemas.microsoft.com/office/drawing/2014/chart" uri="{C3380CC4-5D6E-409C-BE32-E72D297353CC}">
                <c16:uniqueId val="{000003B7-B861-4943-8ABB-0EFD67D9E823}"/>
              </c:ext>
            </c:extLst>
          </c:dPt>
          <c:dPt>
            <c:idx val="475"/>
            <c:invertIfNegative val="1"/>
            <c:bubble3D val="0"/>
            <c:spPr>
              <a:solidFill>
                <a:srgbClr val="7ECAC4"/>
              </a:solidFill>
            </c:spPr>
            <c:extLst>
              <c:ext xmlns:c16="http://schemas.microsoft.com/office/drawing/2014/chart" uri="{C3380CC4-5D6E-409C-BE32-E72D297353CC}">
                <c16:uniqueId val="{000003B9-B861-4943-8ABB-0EFD67D9E823}"/>
              </c:ext>
            </c:extLst>
          </c:dPt>
          <c:dPt>
            <c:idx val="476"/>
            <c:invertIfNegative val="1"/>
            <c:bubble3D val="0"/>
            <c:spPr>
              <a:solidFill>
                <a:srgbClr val="7ECAC4"/>
              </a:solidFill>
            </c:spPr>
            <c:extLst>
              <c:ext xmlns:c16="http://schemas.microsoft.com/office/drawing/2014/chart" uri="{C3380CC4-5D6E-409C-BE32-E72D297353CC}">
                <c16:uniqueId val="{000003BB-B861-4943-8ABB-0EFD67D9E823}"/>
              </c:ext>
            </c:extLst>
          </c:dPt>
          <c:dPt>
            <c:idx val="477"/>
            <c:invertIfNegative val="1"/>
            <c:bubble3D val="0"/>
            <c:spPr>
              <a:solidFill>
                <a:srgbClr val="7ECAC4"/>
              </a:solidFill>
            </c:spPr>
            <c:extLst>
              <c:ext xmlns:c16="http://schemas.microsoft.com/office/drawing/2014/chart" uri="{C3380CC4-5D6E-409C-BE32-E72D297353CC}">
                <c16:uniqueId val="{000003BD-B861-4943-8ABB-0EFD67D9E823}"/>
              </c:ext>
            </c:extLst>
          </c:dPt>
          <c:dPt>
            <c:idx val="478"/>
            <c:invertIfNegative val="1"/>
            <c:bubble3D val="0"/>
            <c:spPr>
              <a:solidFill>
                <a:srgbClr val="7ECAC4"/>
              </a:solidFill>
            </c:spPr>
            <c:extLst>
              <c:ext xmlns:c16="http://schemas.microsoft.com/office/drawing/2014/chart" uri="{C3380CC4-5D6E-409C-BE32-E72D297353CC}">
                <c16:uniqueId val="{000003BF-B861-4943-8ABB-0EFD67D9E823}"/>
              </c:ext>
            </c:extLst>
          </c:dPt>
          <c:dPt>
            <c:idx val="479"/>
            <c:invertIfNegative val="1"/>
            <c:bubble3D val="0"/>
            <c:spPr>
              <a:solidFill>
                <a:srgbClr val="7ECAC4"/>
              </a:solidFill>
            </c:spPr>
            <c:extLst>
              <c:ext xmlns:c16="http://schemas.microsoft.com/office/drawing/2014/chart" uri="{C3380CC4-5D6E-409C-BE32-E72D297353CC}">
                <c16:uniqueId val="{000003C1-B861-4943-8ABB-0EFD67D9E823}"/>
              </c:ext>
            </c:extLst>
          </c:dPt>
          <c:dPt>
            <c:idx val="480"/>
            <c:invertIfNegative val="1"/>
            <c:bubble3D val="0"/>
            <c:spPr>
              <a:solidFill>
                <a:srgbClr val="7ECAC4"/>
              </a:solidFill>
            </c:spPr>
            <c:extLst>
              <c:ext xmlns:c16="http://schemas.microsoft.com/office/drawing/2014/chart" uri="{C3380CC4-5D6E-409C-BE32-E72D297353CC}">
                <c16:uniqueId val="{000003C3-B861-4943-8ABB-0EFD67D9E823}"/>
              </c:ext>
            </c:extLst>
          </c:dPt>
          <c:dPt>
            <c:idx val="481"/>
            <c:invertIfNegative val="1"/>
            <c:bubble3D val="0"/>
            <c:spPr>
              <a:solidFill>
                <a:srgbClr val="7ECAC4"/>
              </a:solidFill>
            </c:spPr>
            <c:extLst>
              <c:ext xmlns:c16="http://schemas.microsoft.com/office/drawing/2014/chart" uri="{C3380CC4-5D6E-409C-BE32-E72D297353CC}">
                <c16:uniqueId val="{000003C5-B861-4943-8ABB-0EFD67D9E823}"/>
              </c:ext>
            </c:extLst>
          </c:dPt>
          <c:dPt>
            <c:idx val="482"/>
            <c:invertIfNegative val="1"/>
            <c:bubble3D val="0"/>
            <c:spPr>
              <a:solidFill>
                <a:srgbClr val="7ECAC4"/>
              </a:solidFill>
            </c:spPr>
            <c:extLst>
              <c:ext xmlns:c16="http://schemas.microsoft.com/office/drawing/2014/chart" uri="{C3380CC4-5D6E-409C-BE32-E72D297353CC}">
                <c16:uniqueId val="{000003C7-B861-4943-8ABB-0EFD67D9E823}"/>
              </c:ext>
            </c:extLst>
          </c:dPt>
          <c:dPt>
            <c:idx val="483"/>
            <c:invertIfNegative val="1"/>
            <c:bubble3D val="0"/>
            <c:spPr>
              <a:solidFill>
                <a:srgbClr val="7ECAC4"/>
              </a:solidFill>
            </c:spPr>
            <c:extLst>
              <c:ext xmlns:c16="http://schemas.microsoft.com/office/drawing/2014/chart" uri="{C3380CC4-5D6E-409C-BE32-E72D297353CC}">
                <c16:uniqueId val="{000003C9-B861-4943-8ABB-0EFD67D9E823}"/>
              </c:ext>
            </c:extLst>
          </c:dPt>
          <c:dPt>
            <c:idx val="484"/>
            <c:invertIfNegative val="1"/>
            <c:bubble3D val="0"/>
            <c:spPr>
              <a:solidFill>
                <a:srgbClr val="7ECAC4"/>
              </a:solidFill>
            </c:spPr>
            <c:extLst>
              <c:ext xmlns:c16="http://schemas.microsoft.com/office/drawing/2014/chart" uri="{C3380CC4-5D6E-409C-BE32-E72D297353CC}">
                <c16:uniqueId val="{000003CB-B861-4943-8ABB-0EFD67D9E823}"/>
              </c:ext>
            </c:extLst>
          </c:dPt>
          <c:dPt>
            <c:idx val="485"/>
            <c:invertIfNegative val="1"/>
            <c:bubble3D val="0"/>
            <c:spPr>
              <a:solidFill>
                <a:srgbClr val="7ECAC4"/>
              </a:solidFill>
            </c:spPr>
            <c:extLst>
              <c:ext xmlns:c16="http://schemas.microsoft.com/office/drawing/2014/chart" uri="{C3380CC4-5D6E-409C-BE32-E72D297353CC}">
                <c16:uniqueId val="{000003CD-B861-4943-8ABB-0EFD67D9E823}"/>
              </c:ext>
            </c:extLst>
          </c:dPt>
          <c:dPt>
            <c:idx val="486"/>
            <c:invertIfNegative val="1"/>
            <c:bubble3D val="0"/>
            <c:spPr>
              <a:solidFill>
                <a:srgbClr val="7ECAC4"/>
              </a:solidFill>
            </c:spPr>
            <c:extLst>
              <c:ext xmlns:c16="http://schemas.microsoft.com/office/drawing/2014/chart" uri="{C3380CC4-5D6E-409C-BE32-E72D297353CC}">
                <c16:uniqueId val="{000003CF-B861-4943-8ABB-0EFD67D9E823}"/>
              </c:ext>
            </c:extLst>
          </c:dPt>
          <c:dPt>
            <c:idx val="487"/>
            <c:invertIfNegative val="1"/>
            <c:bubble3D val="0"/>
            <c:spPr>
              <a:solidFill>
                <a:srgbClr val="7ECAC4"/>
              </a:solidFill>
            </c:spPr>
            <c:extLst>
              <c:ext xmlns:c16="http://schemas.microsoft.com/office/drawing/2014/chart" uri="{C3380CC4-5D6E-409C-BE32-E72D297353CC}">
                <c16:uniqueId val="{000003D1-B861-4943-8ABB-0EFD67D9E823}"/>
              </c:ext>
            </c:extLst>
          </c:dPt>
          <c:dPt>
            <c:idx val="488"/>
            <c:invertIfNegative val="1"/>
            <c:bubble3D val="0"/>
            <c:spPr>
              <a:solidFill>
                <a:srgbClr val="7ECAC4"/>
              </a:solidFill>
            </c:spPr>
            <c:extLst>
              <c:ext xmlns:c16="http://schemas.microsoft.com/office/drawing/2014/chart" uri="{C3380CC4-5D6E-409C-BE32-E72D297353CC}">
                <c16:uniqueId val="{000003D3-B861-4943-8ABB-0EFD67D9E823}"/>
              </c:ext>
            </c:extLst>
          </c:dPt>
          <c:dPt>
            <c:idx val="489"/>
            <c:invertIfNegative val="1"/>
            <c:bubble3D val="0"/>
            <c:spPr>
              <a:solidFill>
                <a:srgbClr val="7ECAC4"/>
              </a:solidFill>
            </c:spPr>
            <c:extLst>
              <c:ext xmlns:c16="http://schemas.microsoft.com/office/drawing/2014/chart" uri="{C3380CC4-5D6E-409C-BE32-E72D297353CC}">
                <c16:uniqueId val="{000003D5-B861-4943-8ABB-0EFD67D9E823}"/>
              </c:ext>
            </c:extLst>
          </c:dPt>
          <c:dPt>
            <c:idx val="490"/>
            <c:invertIfNegative val="1"/>
            <c:bubble3D val="0"/>
            <c:spPr>
              <a:solidFill>
                <a:srgbClr val="7ECAC4"/>
              </a:solidFill>
            </c:spPr>
            <c:extLst>
              <c:ext xmlns:c16="http://schemas.microsoft.com/office/drawing/2014/chart" uri="{C3380CC4-5D6E-409C-BE32-E72D297353CC}">
                <c16:uniqueId val="{000003D7-B861-4943-8ABB-0EFD67D9E823}"/>
              </c:ext>
            </c:extLst>
          </c:dPt>
          <c:dPt>
            <c:idx val="491"/>
            <c:invertIfNegative val="1"/>
            <c:bubble3D val="0"/>
            <c:spPr>
              <a:solidFill>
                <a:srgbClr val="7ECAC4"/>
              </a:solidFill>
            </c:spPr>
            <c:extLst>
              <c:ext xmlns:c16="http://schemas.microsoft.com/office/drawing/2014/chart" uri="{C3380CC4-5D6E-409C-BE32-E72D297353CC}">
                <c16:uniqueId val="{000003D9-B861-4943-8ABB-0EFD67D9E823}"/>
              </c:ext>
            </c:extLst>
          </c:dPt>
          <c:dPt>
            <c:idx val="492"/>
            <c:invertIfNegative val="1"/>
            <c:bubble3D val="0"/>
            <c:spPr>
              <a:solidFill>
                <a:srgbClr val="7ECAC4"/>
              </a:solidFill>
            </c:spPr>
            <c:extLst>
              <c:ext xmlns:c16="http://schemas.microsoft.com/office/drawing/2014/chart" uri="{C3380CC4-5D6E-409C-BE32-E72D297353CC}">
                <c16:uniqueId val="{000003DB-B861-4943-8ABB-0EFD67D9E823}"/>
              </c:ext>
            </c:extLst>
          </c:dPt>
          <c:dPt>
            <c:idx val="493"/>
            <c:invertIfNegative val="1"/>
            <c:bubble3D val="0"/>
            <c:spPr>
              <a:solidFill>
                <a:srgbClr val="7ECAC4"/>
              </a:solidFill>
            </c:spPr>
            <c:extLst>
              <c:ext xmlns:c16="http://schemas.microsoft.com/office/drawing/2014/chart" uri="{C3380CC4-5D6E-409C-BE32-E72D297353CC}">
                <c16:uniqueId val="{000003DD-B861-4943-8ABB-0EFD67D9E823}"/>
              </c:ext>
            </c:extLst>
          </c:dPt>
          <c:dPt>
            <c:idx val="494"/>
            <c:invertIfNegative val="1"/>
            <c:bubble3D val="0"/>
            <c:spPr>
              <a:solidFill>
                <a:srgbClr val="7ECAC4"/>
              </a:solidFill>
            </c:spPr>
            <c:extLst>
              <c:ext xmlns:c16="http://schemas.microsoft.com/office/drawing/2014/chart" uri="{C3380CC4-5D6E-409C-BE32-E72D297353CC}">
                <c16:uniqueId val="{000003DF-B861-4943-8ABB-0EFD67D9E823}"/>
              </c:ext>
            </c:extLst>
          </c:dPt>
          <c:dPt>
            <c:idx val="495"/>
            <c:invertIfNegative val="1"/>
            <c:bubble3D val="0"/>
            <c:spPr>
              <a:solidFill>
                <a:srgbClr val="7ECAC4"/>
              </a:solidFill>
            </c:spPr>
            <c:extLst>
              <c:ext xmlns:c16="http://schemas.microsoft.com/office/drawing/2014/chart" uri="{C3380CC4-5D6E-409C-BE32-E72D297353CC}">
                <c16:uniqueId val="{000003E1-B861-4943-8ABB-0EFD67D9E823}"/>
              </c:ext>
            </c:extLst>
          </c:dPt>
          <c:dPt>
            <c:idx val="496"/>
            <c:invertIfNegative val="1"/>
            <c:bubble3D val="0"/>
            <c:spPr>
              <a:solidFill>
                <a:srgbClr val="7ECAC4"/>
              </a:solidFill>
            </c:spPr>
            <c:extLst>
              <c:ext xmlns:c16="http://schemas.microsoft.com/office/drawing/2014/chart" uri="{C3380CC4-5D6E-409C-BE32-E72D297353CC}">
                <c16:uniqueId val="{000003E3-B861-4943-8ABB-0EFD67D9E823}"/>
              </c:ext>
            </c:extLst>
          </c:dPt>
          <c:dPt>
            <c:idx val="497"/>
            <c:invertIfNegative val="1"/>
            <c:bubble3D val="0"/>
            <c:spPr>
              <a:solidFill>
                <a:srgbClr val="7ECAC4"/>
              </a:solidFill>
            </c:spPr>
            <c:extLst>
              <c:ext xmlns:c16="http://schemas.microsoft.com/office/drawing/2014/chart" uri="{C3380CC4-5D6E-409C-BE32-E72D297353CC}">
                <c16:uniqueId val="{000003E5-B861-4943-8ABB-0EFD67D9E823}"/>
              </c:ext>
            </c:extLst>
          </c:dPt>
          <c:dPt>
            <c:idx val="498"/>
            <c:invertIfNegative val="1"/>
            <c:bubble3D val="0"/>
            <c:spPr>
              <a:solidFill>
                <a:srgbClr val="7ECAC4"/>
              </a:solidFill>
            </c:spPr>
            <c:extLst>
              <c:ext xmlns:c16="http://schemas.microsoft.com/office/drawing/2014/chart" uri="{C3380CC4-5D6E-409C-BE32-E72D297353CC}">
                <c16:uniqueId val="{000003E7-B861-4943-8ABB-0EFD67D9E823}"/>
              </c:ext>
            </c:extLst>
          </c:dPt>
          <c:dPt>
            <c:idx val="499"/>
            <c:invertIfNegative val="1"/>
            <c:bubble3D val="0"/>
            <c:spPr>
              <a:solidFill>
                <a:srgbClr val="7ECAC4"/>
              </a:solidFill>
            </c:spPr>
            <c:extLst>
              <c:ext xmlns:c16="http://schemas.microsoft.com/office/drawing/2014/chart" uri="{C3380CC4-5D6E-409C-BE32-E72D297353CC}">
                <c16:uniqueId val="{000003E9-B861-4943-8ABB-0EFD67D9E823}"/>
              </c:ext>
            </c:extLst>
          </c:dPt>
          <c:dPt>
            <c:idx val="500"/>
            <c:invertIfNegative val="1"/>
            <c:bubble3D val="0"/>
            <c:spPr>
              <a:solidFill>
                <a:srgbClr val="7ECAC4"/>
              </a:solidFill>
            </c:spPr>
            <c:extLst>
              <c:ext xmlns:c16="http://schemas.microsoft.com/office/drawing/2014/chart" uri="{C3380CC4-5D6E-409C-BE32-E72D297353CC}">
                <c16:uniqueId val="{000003EB-B861-4943-8ABB-0EFD67D9E823}"/>
              </c:ext>
            </c:extLst>
          </c:dPt>
          <c:dPt>
            <c:idx val="501"/>
            <c:invertIfNegative val="1"/>
            <c:bubble3D val="0"/>
            <c:spPr>
              <a:solidFill>
                <a:srgbClr val="7ECAC4"/>
              </a:solidFill>
            </c:spPr>
            <c:extLst>
              <c:ext xmlns:c16="http://schemas.microsoft.com/office/drawing/2014/chart" uri="{C3380CC4-5D6E-409C-BE32-E72D297353CC}">
                <c16:uniqueId val="{000003ED-B861-4943-8ABB-0EFD67D9E823}"/>
              </c:ext>
            </c:extLst>
          </c:dPt>
          <c:dPt>
            <c:idx val="502"/>
            <c:invertIfNegative val="1"/>
            <c:bubble3D val="0"/>
            <c:spPr>
              <a:solidFill>
                <a:srgbClr val="7ECAC4"/>
              </a:solidFill>
            </c:spPr>
            <c:extLst>
              <c:ext xmlns:c16="http://schemas.microsoft.com/office/drawing/2014/chart" uri="{C3380CC4-5D6E-409C-BE32-E72D297353CC}">
                <c16:uniqueId val="{000003EF-B861-4943-8ABB-0EFD67D9E823}"/>
              </c:ext>
            </c:extLst>
          </c:dPt>
          <c:dPt>
            <c:idx val="503"/>
            <c:invertIfNegative val="1"/>
            <c:bubble3D val="0"/>
            <c:spPr>
              <a:solidFill>
                <a:srgbClr val="7ECAC4"/>
              </a:solidFill>
            </c:spPr>
            <c:extLst>
              <c:ext xmlns:c16="http://schemas.microsoft.com/office/drawing/2014/chart" uri="{C3380CC4-5D6E-409C-BE32-E72D297353CC}">
                <c16:uniqueId val="{000003F1-B861-4943-8ABB-0EFD67D9E823}"/>
              </c:ext>
            </c:extLst>
          </c:dPt>
          <c:dPt>
            <c:idx val="504"/>
            <c:invertIfNegative val="1"/>
            <c:bubble3D val="0"/>
            <c:spPr>
              <a:solidFill>
                <a:srgbClr val="7ECAC4"/>
              </a:solidFill>
            </c:spPr>
            <c:extLst>
              <c:ext xmlns:c16="http://schemas.microsoft.com/office/drawing/2014/chart" uri="{C3380CC4-5D6E-409C-BE32-E72D297353CC}">
                <c16:uniqueId val="{000003F3-B861-4943-8ABB-0EFD67D9E823}"/>
              </c:ext>
            </c:extLst>
          </c:dPt>
          <c:dPt>
            <c:idx val="505"/>
            <c:invertIfNegative val="1"/>
            <c:bubble3D val="0"/>
            <c:spPr>
              <a:solidFill>
                <a:srgbClr val="7ECAC4"/>
              </a:solidFill>
            </c:spPr>
            <c:extLst>
              <c:ext xmlns:c16="http://schemas.microsoft.com/office/drawing/2014/chart" uri="{C3380CC4-5D6E-409C-BE32-E72D297353CC}">
                <c16:uniqueId val="{000003F5-B861-4943-8ABB-0EFD67D9E823}"/>
              </c:ext>
            </c:extLst>
          </c:dPt>
          <c:dPt>
            <c:idx val="506"/>
            <c:invertIfNegative val="1"/>
            <c:bubble3D val="0"/>
            <c:spPr>
              <a:solidFill>
                <a:srgbClr val="7ECAC4"/>
              </a:solidFill>
            </c:spPr>
            <c:extLst>
              <c:ext xmlns:c16="http://schemas.microsoft.com/office/drawing/2014/chart" uri="{C3380CC4-5D6E-409C-BE32-E72D297353CC}">
                <c16:uniqueId val="{000003F7-B861-4943-8ABB-0EFD67D9E823}"/>
              </c:ext>
            </c:extLst>
          </c:dPt>
          <c:dPt>
            <c:idx val="507"/>
            <c:invertIfNegative val="1"/>
            <c:bubble3D val="0"/>
            <c:spPr>
              <a:solidFill>
                <a:srgbClr val="7ECAC4"/>
              </a:solidFill>
            </c:spPr>
            <c:extLst>
              <c:ext xmlns:c16="http://schemas.microsoft.com/office/drawing/2014/chart" uri="{C3380CC4-5D6E-409C-BE32-E72D297353CC}">
                <c16:uniqueId val="{000003F9-B861-4943-8ABB-0EFD67D9E823}"/>
              </c:ext>
            </c:extLst>
          </c:dPt>
          <c:dPt>
            <c:idx val="508"/>
            <c:invertIfNegative val="1"/>
            <c:bubble3D val="0"/>
            <c:spPr>
              <a:solidFill>
                <a:srgbClr val="7ECAC4"/>
              </a:solidFill>
            </c:spPr>
            <c:extLst>
              <c:ext xmlns:c16="http://schemas.microsoft.com/office/drawing/2014/chart" uri="{C3380CC4-5D6E-409C-BE32-E72D297353CC}">
                <c16:uniqueId val="{000003FB-B861-4943-8ABB-0EFD67D9E823}"/>
              </c:ext>
            </c:extLst>
          </c:dPt>
          <c:dPt>
            <c:idx val="509"/>
            <c:invertIfNegative val="1"/>
            <c:bubble3D val="0"/>
            <c:spPr>
              <a:solidFill>
                <a:srgbClr val="7ECAC4"/>
              </a:solidFill>
            </c:spPr>
            <c:extLst>
              <c:ext xmlns:c16="http://schemas.microsoft.com/office/drawing/2014/chart" uri="{C3380CC4-5D6E-409C-BE32-E72D297353CC}">
                <c16:uniqueId val="{000003FD-B861-4943-8ABB-0EFD67D9E823}"/>
              </c:ext>
            </c:extLst>
          </c:dPt>
          <c:dPt>
            <c:idx val="510"/>
            <c:invertIfNegative val="1"/>
            <c:bubble3D val="0"/>
            <c:spPr>
              <a:solidFill>
                <a:srgbClr val="7ECAC4"/>
              </a:solidFill>
            </c:spPr>
            <c:extLst>
              <c:ext xmlns:c16="http://schemas.microsoft.com/office/drawing/2014/chart" uri="{C3380CC4-5D6E-409C-BE32-E72D297353CC}">
                <c16:uniqueId val="{000003FF-B861-4943-8ABB-0EFD67D9E823}"/>
              </c:ext>
            </c:extLst>
          </c:dPt>
          <c:dPt>
            <c:idx val="511"/>
            <c:invertIfNegative val="1"/>
            <c:bubble3D val="0"/>
            <c:spPr>
              <a:solidFill>
                <a:srgbClr val="7ECAC4"/>
              </a:solidFill>
            </c:spPr>
            <c:extLst>
              <c:ext xmlns:c16="http://schemas.microsoft.com/office/drawing/2014/chart" uri="{C3380CC4-5D6E-409C-BE32-E72D297353CC}">
                <c16:uniqueId val="{00000401-B861-4943-8ABB-0EFD67D9E823}"/>
              </c:ext>
            </c:extLst>
          </c:dPt>
          <c:dPt>
            <c:idx val="512"/>
            <c:invertIfNegative val="1"/>
            <c:bubble3D val="0"/>
            <c:spPr>
              <a:solidFill>
                <a:srgbClr val="7ECAC4"/>
              </a:solidFill>
            </c:spPr>
            <c:extLst>
              <c:ext xmlns:c16="http://schemas.microsoft.com/office/drawing/2014/chart" uri="{C3380CC4-5D6E-409C-BE32-E72D297353CC}">
                <c16:uniqueId val="{00000403-B861-4943-8ABB-0EFD67D9E823}"/>
              </c:ext>
            </c:extLst>
          </c:dPt>
          <c:dPt>
            <c:idx val="513"/>
            <c:invertIfNegative val="1"/>
            <c:bubble3D val="0"/>
            <c:spPr>
              <a:solidFill>
                <a:srgbClr val="7ECAC4"/>
              </a:solidFill>
            </c:spPr>
            <c:extLst>
              <c:ext xmlns:c16="http://schemas.microsoft.com/office/drawing/2014/chart" uri="{C3380CC4-5D6E-409C-BE32-E72D297353CC}">
                <c16:uniqueId val="{00000405-B861-4943-8ABB-0EFD67D9E823}"/>
              </c:ext>
            </c:extLst>
          </c:dPt>
          <c:dPt>
            <c:idx val="514"/>
            <c:invertIfNegative val="1"/>
            <c:bubble3D val="0"/>
            <c:spPr>
              <a:solidFill>
                <a:srgbClr val="7ECAC4"/>
              </a:solidFill>
            </c:spPr>
            <c:extLst>
              <c:ext xmlns:c16="http://schemas.microsoft.com/office/drawing/2014/chart" uri="{C3380CC4-5D6E-409C-BE32-E72D297353CC}">
                <c16:uniqueId val="{00000407-B861-4943-8ABB-0EFD67D9E823}"/>
              </c:ext>
            </c:extLst>
          </c:dPt>
          <c:dPt>
            <c:idx val="515"/>
            <c:invertIfNegative val="1"/>
            <c:bubble3D val="0"/>
            <c:spPr>
              <a:solidFill>
                <a:srgbClr val="7ECAC4"/>
              </a:solidFill>
            </c:spPr>
            <c:extLst>
              <c:ext xmlns:c16="http://schemas.microsoft.com/office/drawing/2014/chart" uri="{C3380CC4-5D6E-409C-BE32-E72D297353CC}">
                <c16:uniqueId val="{00000409-B861-4943-8ABB-0EFD67D9E823}"/>
              </c:ext>
            </c:extLst>
          </c:dPt>
          <c:dPt>
            <c:idx val="516"/>
            <c:invertIfNegative val="1"/>
            <c:bubble3D val="0"/>
            <c:spPr>
              <a:solidFill>
                <a:srgbClr val="7ECAC4"/>
              </a:solidFill>
            </c:spPr>
            <c:extLst>
              <c:ext xmlns:c16="http://schemas.microsoft.com/office/drawing/2014/chart" uri="{C3380CC4-5D6E-409C-BE32-E72D297353CC}">
                <c16:uniqueId val="{0000040B-B861-4943-8ABB-0EFD67D9E823}"/>
              </c:ext>
            </c:extLst>
          </c:dPt>
          <c:dPt>
            <c:idx val="517"/>
            <c:invertIfNegative val="1"/>
            <c:bubble3D val="0"/>
            <c:spPr>
              <a:solidFill>
                <a:srgbClr val="7ECAC4"/>
              </a:solidFill>
            </c:spPr>
            <c:extLst>
              <c:ext xmlns:c16="http://schemas.microsoft.com/office/drawing/2014/chart" uri="{C3380CC4-5D6E-409C-BE32-E72D297353CC}">
                <c16:uniqueId val="{0000040D-B861-4943-8ABB-0EFD67D9E823}"/>
              </c:ext>
            </c:extLst>
          </c:dPt>
          <c:dPt>
            <c:idx val="518"/>
            <c:invertIfNegative val="1"/>
            <c:bubble3D val="0"/>
            <c:spPr>
              <a:solidFill>
                <a:srgbClr val="7ECAC4"/>
              </a:solidFill>
            </c:spPr>
            <c:extLst>
              <c:ext xmlns:c16="http://schemas.microsoft.com/office/drawing/2014/chart" uri="{C3380CC4-5D6E-409C-BE32-E72D297353CC}">
                <c16:uniqueId val="{0000040F-B861-4943-8ABB-0EFD67D9E823}"/>
              </c:ext>
            </c:extLst>
          </c:dPt>
          <c:dPt>
            <c:idx val="519"/>
            <c:invertIfNegative val="1"/>
            <c:bubble3D val="0"/>
            <c:spPr>
              <a:solidFill>
                <a:srgbClr val="7ECAC4"/>
              </a:solidFill>
            </c:spPr>
            <c:extLst>
              <c:ext xmlns:c16="http://schemas.microsoft.com/office/drawing/2014/chart" uri="{C3380CC4-5D6E-409C-BE32-E72D297353CC}">
                <c16:uniqueId val="{00000411-B861-4943-8ABB-0EFD67D9E823}"/>
              </c:ext>
            </c:extLst>
          </c:dPt>
          <c:dPt>
            <c:idx val="520"/>
            <c:invertIfNegative val="1"/>
            <c:bubble3D val="0"/>
            <c:spPr>
              <a:solidFill>
                <a:srgbClr val="7ECAC4"/>
              </a:solidFill>
            </c:spPr>
            <c:extLst>
              <c:ext xmlns:c16="http://schemas.microsoft.com/office/drawing/2014/chart" uri="{C3380CC4-5D6E-409C-BE32-E72D297353CC}">
                <c16:uniqueId val="{00000413-B861-4943-8ABB-0EFD67D9E823}"/>
              </c:ext>
            </c:extLst>
          </c:dPt>
          <c:dPt>
            <c:idx val="521"/>
            <c:invertIfNegative val="1"/>
            <c:bubble3D val="0"/>
            <c:spPr>
              <a:solidFill>
                <a:srgbClr val="7ECAC4"/>
              </a:solidFill>
            </c:spPr>
            <c:extLst>
              <c:ext xmlns:c16="http://schemas.microsoft.com/office/drawing/2014/chart" uri="{C3380CC4-5D6E-409C-BE32-E72D297353CC}">
                <c16:uniqueId val="{00000415-B861-4943-8ABB-0EFD67D9E823}"/>
              </c:ext>
            </c:extLst>
          </c:dPt>
          <c:dPt>
            <c:idx val="522"/>
            <c:invertIfNegative val="1"/>
            <c:bubble3D val="0"/>
            <c:spPr>
              <a:solidFill>
                <a:srgbClr val="7ECAC4"/>
              </a:solidFill>
            </c:spPr>
            <c:extLst>
              <c:ext xmlns:c16="http://schemas.microsoft.com/office/drawing/2014/chart" uri="{C3380CC4-5D6E-409C-BE32-E72D297353CC}">
                <c16:uniqueId val="{00000417-B861-4943-8ABB-0EFD67D9E823}"/>
              </c:ext>
            </c:extLst>
          </c:dPt>
          <c:dPt>
            <c:idx val="523"/>
            <c:invertIfNegative val="1"/>
            <c:bubble3D val="0"/>
            <c:spPr>
              <a:solidFill>
                <a:srgbClr val="7ECAC4"/>
              </a:solidFill>
            </c:spPr>
            <c:extLst>
              <c:ext xmlns:c16="http://schemas.microsoft.com/office/drawing/2014/chart" uri="{C3380CC4-5D6E-409C-BE32-E72D297353CC}">
                <c16:uniqueId val="{00000419-B861-4943-8ABB-0EFD67D9E823}"/>
              </c:ext>
            </c:extLst>
          </c:dPt>
          <c:dPt>
            <c:idx val="524"/>
            <c:invertIfNegative val="1"/>
            <c:bubble3D val="0"/>
            <c:spPr>
              <a:solidFill>
                <a:srgbClr val="7ECAC4"/>
              </a:solidFill>
            </c:spPr>
            <c:extLst>
              <c:ext xmlns:c16="http://schemas.microsoft.com/office/drawing/2014/chart" uri="{C3380CC4-5D6E-409C-BE32-E72D297353CC}">
                <c16:uniqueId val="{0000041B-B861-4943-8ABB-0EFD67D9E823}"/>
              </c:ext>
            </c:extLst>
          </c:dPt>
          <c:dPt>
            <c:idx val="525"/>
            <c:invertIfNegative val="1"/>
            <c:bubble3D val="0"/>
            <c:spPr>
              <a:solidFill>
                <a:srgbClr val="7ECAC4"/>
              </a:solidFill>
            </c:spPr>
            <c:extLst>
              <c:ext xmlns:c16="http://schemas.microsoft.com/office/drawing/2014/chart" uri="{C3380CC4-5D6E-409C-BE32-E72D297353CC}">
                <c16:uniqueId val="{0000041D-B861-4943-8ABB-0EFD67D9E823}"/>
              </c:ext>
            </c:extLst>
          </c:dPt>
          <c:dPt>
            <c:idx val="526"/>
            <c:invertIfNegative val="1"/>
            <c:bubble3D val="0"/>
            <c:spPr>
              <a:solidFill>
                <a:srgbClr val="7ECAC4"/>
              </a:solidFill>
            </c:spPr>
            <c:extLst>
              <c:ext xmlns:c16="http://schemas.microsoft.com/office/drawing/2014/chart" uri="{C3380CC4-5D6E-409C-BE32-E72D297353CC}">
                <c16:uniqueId val="{0000041F-B861-4943-8ABB-0EFD67D9E823}"/>
              </c:ext>
            </c:extLst>
          </c:dPt>
          <c:dPt>
            <c:idx val="527"/>
            <c:invertIfNegative val="1"/>
            <c:bubble3D val="0"/>
            <c:spPr>
              <a:solidFill>
                <a:srgbClr val="7ECAC4"/>
              </a:solidFill>
            </c:spPr>
            <c:extLst>
              <c:ext xmlns:c16="http://schemas.microsoft.com/office/drawing/2014/chart" uri="{C3380CC4-5D6E-409C-BE32-E72D297353CC}">
                <c16:uniqueId val="{00000421-B861-4943-8ABB-0EFD67D9E823}"/>
              </c:ext>
            </c:extLst>
          </c:dPt>
          <c:dPt>
            <c:idx val="528"/>
            <c:invertIfNegative val="1"/>
            <c:bubble3D val="0"/>
            <c:spPr>
              <a:solidFill>
                <a:srgbClr val="7ECAC4"/>
              </a:solidFill>
            </c:spPr>
            <c:extLst>
              <c:ext xmlns:c16="http://schemas.microsoft.com/office/drawing/2014/chart" uri="{C3380CC4-5D6E-409C-BE32-E72D297353CC}">
                <c16:uniqueId val="{00000423-B861-4943-8ABB-0EFD67D9E823}"/>
              </c:ext>
            </c:extLst>
          </c:dPt>
          <c:dPt>
            <c:idx val="529"/>
            <c:invertIfNegative val="1"/>
            <c:bubble3D val="0"/>
            <c:spPr>
              <a:solidFill>
                <a:srgbClr val="7ECAC4"/>
              </a:solidFill>
            </c:spPr>
            <c:extLst>
              <c:ext xmlns:c16="http://schemas.microsoft.com/office/drawing/2014/chart" uri="{C3380CC4-5D6E-409C-BE32-E72D297353CC}">
                <c16:uniqueId val="{00000425-B861-4943-8ABB-0EFD67D9E823}"/>
              </c:ext>
            </c:extLst>
          </c:dPt>
          <c:dPt>
            <c:idx val="530"/>
            <c:invertIfNegative val="1"/>
            <c:bubble3D val="0"/>
            <c:spPr>
              <a:solidFill>
                <a:srgbClr val="7ECAC4"/>
              </a:solidFill>
            </c:spPr>
            <c:extLst>
              <c:ext xmlns:c16="http://schemas.microsoft.com/office/drawing/2014/chart" uri="{C3380CC4-5D6E-409C-BE32-E72D297353CC}">
                <c16:uniqueId val="{00000427-B861-4943-8ABB-0EFD67D9E823}"/>
              </c:ext>
            </c:extLst>
          </c:dPt>
          <c:dPt>
            <c:idx val="531"/>
            <c:invertIfNegative val="1"/>
            <c:bubble3D val="0"/>
            <c:spPr>
              <a:solidFill>
                <a:srgbClr val="7ECAC4"/>
              </a:solidFill>
            </c:spPr>
            <c:extLst>
              <c:ext xmlns:c16="http://schemas.microsoft.com/office/drawing/2014/chart" uri="{C3380CC4-5D6E-409C-BE32-E72D297353CC}">
                <c16:uniqueId val="{00000429-B861-4943-8ABB-0EFD67D9E823}"/>
              </c:ext>
            </c:extLst>
          </c:dPt>
          <c:dPt>
            <c:idx val="532"/>
            <c:invertIfNegative val="1"/>
            <c:bubble3D val="0"/>
            <c:spPr>
              <a:solidFill>
                <a:srgbClr val="7ECAC4"/>
              </a:solidFill>
            </c:spPr>
            <c:extLst>
              <c:ext xmlns:c16="http://schemas.microsoft.com/office/drawing/2014/chart" uri="{C3380CC4-5D6E-409C-BE32-E72D297353CC}">
                <c16:uniqueId val="{0000042B-B861-4943-8ABB-0EFD67D9E823}"/>
              </c:ext>
            </c:extLst>
          </c:dPt>
          <c:dPt>
            <c:idx val="533"/>
            <c:invertIfNegative val="1"/>
            <c:bubble3D val="0"/>
            <c:spPr>
              <a:solidFill>
                <a:srgbClr val="7ECAC4"/>
              </a:solidFill>
            </c:spPr>
            <c:extLst>
              <c:ext xmlns:c16="http://schemas.microsoft.com/office/drawing/2014/chart" uri="{C3380CC4-5D6E-409C-BE32-E72D297353CC}">
                <c16:uniqueId val="{0000042D-B861-4943-8ABB-0EFD67D9E823}"/>
              </c:ext>
            </c:extLst>
          </c:dPt>
          <c:dPt>
            <c:idx val="534"/>
            <c:invertIfNegative val="1"/>
            <c:bubble3D val="0"/>
            <c:spPr>
              <a:solidFill>
                <a:srgbClr val="7ECAC4"/>
              </a:solidFill>
            </c:spPr>
            <c:extLst>
              <c:ext xmlns:c16="http://schemas.microsoft.com/office/drawing/2014/chart" uri="{C3380CC4-5D6E-409C-BE32-E72D297353CC}">
                <c16:uniqueId val="{0000042F-B861-4943-8ABB-0EFD67D9E823}"/>
              </c:ext>
            </c:extLst>
          </c:dPt>
          <c:dPt>
            <c:idx val="535"/>
            <c:invertIfNegative val="1"/>
            <c:bubble3D val="0"/>
            <c:spPr>
              <a:solidFill>
                <a:srgbClr val="AEABAB"/>
              </a:solidFill>
            </c:spPr>
            <c:extLst>
              <c:ext xmlns:c16="http://schemas.microsoft.com/office/drawing/2014/chart" uri="{C3380CC4-5D6E-409C-BE32-E72D297353CC}">
                <c16:uniqueId val="{00000431-B861-4943-8ABB-0EFD67D9E823}"/>
              </c:ext>
            </c:extLst>
          </c:dPt>
          <c:dPt>
            <c:idx val="536"/>
            <c:invertIfNegative val="1"/>
            <c:bubble3D val="0"/>
            <c:spPr>
              <a:solidFill>
                <a:srgbClr val="AEABAB"/>
              </a:solidFill>
            </c:spPr>
            <c:extLst>
              <c:ext xmlns:c16="http://schemas.microsoft.com/office/drawing/2014/chart" uri="{C3380CC4-5D6E-409C-BE32-E72D297353CC}">
                <c16:uniqueId val="{00000433-B861-4943-8ABB-0EFD67D9E823}"/>
              </c:ext>
            </c:extLst>
          </c:dPt>
          <c:dPt>
            <c:idx val="537"/>
            <c:invertIfNegative val="1"/>
            <c:bubble3D val="0"/>
            <c:spPr>
              <a:solidFill>
                <a:srgbClr val="AEABAB"/>
              </a:solidFill>
            </c:spPr>
            <c:extLst>
              <c:ext xmlns:c16="http://schemas.microsoft.com/office/drawing/2014/chart" uri="{C3380CC4-5D6E-409C-BE32-E72D297353CC}">
                <c16:uniqueId val="{00000435-B861-4943-8ABB-0EFD67D9E823}"/>
              </c:ext>
            </c:extLst>
          </c:dPt>
          <c:dPt>
            <c:idx val="538"/>
            <c:invertIfNegative val="1"/>
            <c:bubble3D val="0"/>
            <c:spPr>
              <a:solidFill>
                <a:srgbClr val="AEABAB"/>
              </a:solidFill>
            </c:spPr>
            <c:extLst>
              <c:ext xmlns:c16="http://schemas.microsoft.com/office/drawing/2014/chart" uri="{C3380CC4-5D6E-409C-BE32-E72D297353CC}">
                <c16:uniqueId val="{00000437-B861-4943-8ABB-0EFD67D9E823}"/>
              </c:ext>
            </c:extLst>
          </c:dPt>
          <c:dPt>
            <c:idx val="539"/>
            <c:invertIfNegative val="1"/>
            <c:bubble3D val="0"/>
            <c:spPr>
              <a:solidFill>
                <a:srgbClr val="AEABAB"/>
              </a:solidFill>
            </c:spPr>
            <c:extLst>
              <c:ext xmlns:c16="http://schemas.microsoft.com/office/drawing/2014/chart" uri="{C3380CC4-5D6E-409C-BE32-E72D297353CC}">
                <c16:uniqueId val="{00000439-B861-4943-8ABB-0EFD67D9E823}"/>
              </c:ext>
            </c:extLst>
          </c:dPt>
          <c:dPt>
            <c:idx val="540"/>
            <c:invertIfNegative val="1"/>
            <c:bubble3D val="0"/>
            <c:spPr>
              <a:solidFill>
                <a:srgbClr val="AEABAB"/>
              </a:solidFill>
            </c:spPr>
            <c:extLst>
              <c:ext xmlns:c16="http://schemas.microsoft.com/office/drawing/2014/chart" uri="{C3380CC4-5D6E-409C-BE32-E72D297353CC}">
                <c16:uniqueId val="{0000043B-B861-4943-8ABB-0EFD67D9E823}"/>
              </c:ext>
            </c:extLst>
          </c:dPt>
          <c:dPt>
            <c:idx val="541"/>
            <c:invertIfNegative val="1"/>
            <c:bubble3D val="0"/>
            <c:spPr>
              <a:solidFill>
                <a:srgbClr val="AEABAB"/>
              </a:solidFill>
            </c:spPr>
            <c:extLst>
              <c:ext xmlns:c16="http://schemas.microsoft.com/office/drawing/2014/chart" uri="{C3380CC4-5D6E-409C-BE32-E72D297353CC}">
                <c16:uniqueId val="{0000043D-B861-4943-8ABB-0EFD67D9E823}"/>
              </c:ext>
            </c:extLst>
          </c:dPt>
          <c:dPt>
            <c:idx val="542"/>
            <c:invertIfNegative val="1"/>
            <c:bubble3D val="0"/>
            <c:spPr>
              <a:solidFill>
                <a:srgbClr val="AEABAB"/>
              </a:solidFill>
            </c:spPr>
            <c:extLst>
              <c:ext xmlns:c16="http://schemas.microsoft.com/office/drawing/2014/chart" uri="{C3380CC4-5D6E-409C-BE32-E72D297353CC}">
                <c16:uniqueId val="{0000043F-B861-4943-8ABB-0EFD67D9E823}"/>
              </c:ext>
            </c:extLst>
          </c:dPt>
          <c:dPt>
            <c:idx val="543"/>
            <c:invertIfNegative val="1"/>
            <c:bubble3D val="0"/>
            <c:spPr>
              <a:solidFill>
                <a:srgbClr val="AEABAB"/>
              </a:solidFill>
            </c:spPr>
            <c:extLst>
              <c:ext xmlns:c16="http://schemas.microsoft.com/office/drawing/2014/chart" uri="{C3380CC4-5D6E-409C-BE32-E72D297353CC}">
                <c16:uniqueId val="{00000441-B861-4943-8ABB-0EFD67D9E823}"/>
              </c:ext>
            </c:extLst>
          </c:dPt>
          <c:dPt>
            <c:idx val="544"/>
            <c:invertIfNegative val="1"/>
            <c:bubble3D val="0"/>
            <c:spPr>
              <a:solidFill>
                <a:srgbClr val="AEABAB"/>
              </a:solidFill>
            </c:spPr>
            <c:extLst>
              <c:ext xmlns:c16="http://schemas.microsoft.com/office/drawing/2014/chart" uri="{C3380CC4-5D6E-409C-BE32-E72D297353CC}">
                <c16:uniqueId val="{00000443-B861-4943-8ABB-0EFD67D9E823}"/>
              </c:ext>
            </c:extLst>
          </c:dPt>
          <c:dPt>
            <c:idx val="545"/>
            <c:invertIfNegative val="1"/>
            <c:bubble3D val="0"/>
            <c:spPr>
              <a:solidFill>
                <a:srgbClr val="AEABAB"/>
              </a:solidFill>
            </c:spPr>
            <c:extLst>
              <c:ext xmlns:c16="http://schemas.microsoft.com/office/drawing/2014/chart" uri="{C3380CC4-5D6E-409C-BE32-E72D297353CC}">
                <c16:uniqueId val="{00000445-B861-4943-8ABB-0EFD67D9E823}"/>
              </c:ext>
            </c:extLst>
          </c:dPt>
          <c:dPt>
            <c:idx val="546"/>
            <c:invertIfNegative val="1"/>
            <c:bubble3D val="0"/>
            <c:spPr>
              <a:solidFill>
                <a:srgbClr val="AEABAB"/>
              </a:solidFill>
            </c:spPr>
            <c:extLst>
              <c:ext xmlns:c16="http://schemas.microsoft.com/office/drawing/2014/chart" uri="{C3380CC4-5D6E-409C-BE32-E72D297353CC}">
                <c16:uniqueId val="{00000447-B861-4943-8ABB-0EFD67D9E823}"/>
              </c:ext>
            </c:extLst>
          </c:dPt>
          <c:dPt>
            <c:idx val="547"/>
            <c:invertIfNegative val="1"/>
            <c:bubble3D val="0"/>
            <c:spPr>
              <a:solidFill>
                <a:srgbClr val="AEABAB"/>
              </a:solidFill>
            </c:spPr>
            <c:extLst>
              <c:ext xmlns:c16="http://schemas.microsoft.com/office/drawing/2014/chart" uri="{C3380CC4-5D6E-409C-BE32-E72D297353CC}">
                <c16:uniqueId val="{00000449-B861-4943-8ABB-0EFD67D9E823}"/>
              </c:ext>
            </c:extLst>
          </c:dPt>
          <c:dPt>
            <c:idx val="548"/>
            <c:invertIfNegative val="1"/>
            <c:bubble3D val="0"/>
            <c:spPr>
              <a:solidFill>
                <a:srgbClr val="AEABAB"/>
              </a:solidFill>
            </c:spPr>
            <c:extLst>
              <c:ext xmlns:c16="http://schemas.microsoft.com/office/drawing/2014/chart" uri="{C3380CC4-5D6E-409C-BE32-E72D297353CC}">
                <c16:uniqueId val="{0000044B-B861-4943-8ABB-0EFD67D9E823}"/>
              </c:ext>
            </c:extLst>
          </c:dPt>
          <c:dPt>
            <c:idx val="549"/>
            <c:invertIfNegative val="1"/>
            <c:bubble3D val="0"/>
            <c:spPr>
              <a:solidFill>
                <a:srgbClr val="AEABAB"/>
              </a:solidFill>
            </c:spPr>
            <c:extLst>
              <c:ext xmlns:c16="http://schemas.microsoft.com/office/drawing/2014/chart" uri="{C3380CC4-5D6E-409C-BE32-E72D297353CC}">
                <c16:uniqueId val="{0000044D-B861-4943-8ABB-0EFD67D9E823}"/>
              </c:ext>
            </c:extLst>
          </c:dPt>
          <c:dPt>
            <c:idx val="550"/>
            <c:invertIfNegative val="1"/>
            <c:bubble3D val="0"/>
            <c:spPr>
              <a:solidFill>
                <a:srgbClr val="AEABAB"/>
              </a:solidFill>
            </c:spPr>
            <c:extLst>
              <c:ext xmlns:c16="http://schemas.microsoft.com/office/drawing/2014/chart" uri="{C3380CC4-5D6E-409C-BE32-E72D297353CC}">
                <c16:uniqueId val="{0000044F-B861-4943-8ABB-0EFD67D9E823}"/>
              </c:ext>
            </c:extLst>
          </c:dPt>
          <c:dPt>
            <c:idx val="551"/>
            <c:invertIfNegative val="1"/>
            <c:bubble3D val="0"/>
            <c:spPr>
              <a:solidFill>
                <a:srgbClr val="AEABAB"/>
              </a:solidFill>
            </c:spPr>
            <c:extLst>
              <c:ext xmlns:c16="http://schemas.microsoft.com/office/drawing/2014/chart" uri="{C3380CC4-5D6E-409C-BE32-E72D297353CC}">
                <c16:uniqueId val="{00000451-B861-4943-8ABB-0EFD67D9E823}"/>
              </c:ext>
            </c:extLst>
          </c:dPt>
          <c:dPt>
            <c:idx val="552"/>
            <c:invertIfNegative val="1"/>
            <c:bubble3D val="0"/>
            <c:spPr>
              <a:solidFill>
                <a:srgbClr val="AEABAB"/>
              </a:solidFill>
            </c:spPr>
            <c:extLst>
              <c:ext xmlns:c16="http://schemas.microsoft.com/office/drawing/2014/chart" uri="{C3380CC4-5D6E-409C-BE32-E72D297353CC}">
                <c16:uniqueId val="{00000453-B861-4943-8ABB-0EFD67D9E823}"/>
              </c:ext>
            </c:extLst>
          </c:dPt>
          <c:dPt>
            <c:idx val="553"/>
            <c:invertIfNegative val="1"/>
            <c:bubble3D val="0"/>
            <c:spPr>
              <a:solidFill>
                <a:srgbClr val="AEABAB"/>
              </a:solidFill>
            </c:spPr>
            <c:extLst>
              <c:ext xmlns:c16="http://schemas.microsoft.com/office/drawing/2014/chart" uri="{C3380CC4-5D6E-409C-BE32-E72D297353CC}">
                <c16:uniqueId val="{00000455-B861-4943-8ABB-0EFD67D9E823}"/>
              </c:ext>
            </c:extLst>
          </c:dPt>
          <c:dPt>
            <c:idx val="554"/>
            <c:invertIfNegative val="1"/>
            <c:bubble3D val="0"/>
            <c:spPr>
              <a:solidFill>
                <a:srgbClr val="AEABAB"/>
              </a:solidFill>
            </c:spPr>
            <c:extLst>
              <c:ext xmlns:c16="http://schemas.microsoft.com/office/drawing/2014/chart" uri="{C3380CC4-5D6E-409C-BE32-E72D297353CC}">
                <c16:uniqueId val="{00000457-B861-4943-8ABB-0EFD67D9E823}"/>
              </c:ext>
            </c:extLst>
          </c:dPt>
          <c:dPt>
            <c:idx val="555"/>
            <c:invertIfNegative val="1"/>
            <c:bubble3D val="0"/>
            <c:spPr>
              <a:solidFill>
                <a:srgbClr val="AEABAB"/>
              </a:solidFill>
            </c:spPr>
            <c:extLst>
              <c:ext xmlns:c16="http://schemas.microsoft.com/office/drawing/2014/chart" uri="{C3380CC4-5D6E-409C-BE32-E72D297353CC}">
                <c16:uniqueId val="{00000459-B861-4943-8ABB-0EFD67D9E823}"/>
              </c:ext>
            </c:extLst>
          </c:dPt>
          <c:dPt>
            <c:idx val="556"/>
            <c:invertIfNegative val="1"/>
            <c:bubble3D val="0"/>
            <c:spPr>
              <a:solidFill>
                <a:srgbClr val="AEABAB"/>
              </a:solidFill>
            </c:spPr>
            <c:extLst>
              <c:ext xmlns:c16="http://schemas.microsoft.com/office/drawing/2014/chart" uri="{C3380CC4-5D6E-409C-BE32-E72D297353CC}">
                <c16:uniqueId val="{0000045B-B861-4943-8ABB-0EFD67D9E823}"/>
              </c:ext>
            </c:extLst>
          </c:dPt>
          <c:dPt>
            <c:idx val="557"/>
            <c:invertIfNegative val="1"/>
            <c:bubble3D val="0"/>
            <c:spPr>
              <a:solidFill>
                <a:srgbClr val="AEABAB"/>
              </a:solidFill>
            </c:spPr>
            <c:extLst>
              <c:ext xmlns:c16="http://schemas.microsoft.com/office/drawing/2014/chart" uri="{C3380CC4-5D6E-409C-BE32-E72D297353CC}">
                <c16:uniqueId val="{0000045D-B861-4943-8ABB-0EFD67D9E823}"/>
              </c:ext>
            </c:extLst>
          </c:dPt>
          <c:dPt>
            <c:idx val="558"/>
            <c:invertIfNegative val="1"/>
            <c:bubble3D val="0"/>
            <c:spPr>
              <a:solidFill>
                <a:srgbClr val="AEABAB"/>
              </a:solidFill>
            </c:spPr>
            <c:extLst>
              <c:ext xmlns:c16="http://schemas.microsoft.com/office/drawing/2014/chart" uri="{C3380CC4-5D6E-409C-BE32-E72D297353CC}">
                <c16:uniqueId val="{0000045F-B861-4943-8ABB-0EFD67D9E823}"/>
              </c:ext>
            </c:extLst>
          </c:dPt>
          <c:dPt>
            <c:idx val="559"/>
            <c:invertIfNegative val="1"/>
            <c:bubble3D val="0"/>
            <c:spPr>
              <a:solidFill>
                <a:srgbClr val="AEABAB"/>
              </a:solidFill>
            </c:spPr>
            <c:extLst>
              <c:ext xmlns:c16="http://schemas.microsoft.com/office/drawing/2014/chart" uri="{C3380CC4-5D6E-409C-BE32-E72D297353CC}">
                <c16:uniqueId val="{00000461-B861-4943-8ABB-0EFD67D9E823}"/>
              </c:ext>
            </c:extLst>
          </c:dPt>
          <c:dPt>
            <c:idx val="560"/>
            <c:invertIfNegative val="1"/>
            <c:bubble3D val="0"/>
            <c:spPr>
              <a:solidFill>
                <a:srgbClr val="AEABAB"/>
              </a:solidFill>
            </c:spPr>
            <c:extLst>
              <c:ext xmlns:c16="http://schemas.microsoft.com/office/drawing/2014/chart" uri="{C3380CC4-5D6E-409C-BE32-E72D297353CC}">
                <c16:uniqueId val="{00000463-B861-4943-8ABB-0EFD67D9E823}"/>
              </c:ext>
            </c:extLst>
          </c:dPt>
          <c:dPt>
            <c:idx val="561"/>
            <c:invertIfNegative val="1"/>
            <c:bubble3D val="0"/>
            <c:spPr>
              <a:solidFill>
                <a:srgbClr val="AEABAB"/>
              </a:solidFill>
            </c:spPr>
            <c:extLst>
              <c:ext xmlns:c16="http://schemas.microsoft.com/office/drawing/2014/chart" uri="{C3380CC4-5D6E-409C-BE32-E72D297353CC}">
                <c16:uniqueId val="{00000465-B861-4943-8ABB-0EFD67D9E823}"/>
              </c:ext>
            </c:extLst>
          </c:dPt>
          <c:dPt>
            <c:idx val="562"/>
            <c:invertIfNegative val="1"/>
            <c:bubble3D val="0"/>
            <c:spPr>
              <a:solidFill>
                <a:srgbClr val="AEABAB"/>
              </a:solidFill>
            </c:spPr>
            <c:extLst>
              <c:ext xmlns:c16="http://schemas.microsoft.com/office/drawing/2014/chart" uri="{C3380CC4-5D6E-409C-BE32-E72D297353CC}">
                <c16:uniqueId val="{00000467-B861-4943-8ABB-0EFD67D9E823}"/>
              </c:ext>
            </c:extLst>
          </c:dPt>
          <c:dPt>
            <c:idx val="563"/>
            <c:invertIfNegative val="1"/>
            <c:bubble3D val="0"/>
            <c:spPr>
              <a:solidFill>
                <a:srgbClr val="AEABAB"/>
              </a:solidFill>
            </c:spPr>
            <c:extLst>
              <c:ext xmlns:c16="http://schemas.microsoft.com/office/drawing/2014/chart" uri="{C3380CC4-5D6E-409C-BE32-E72D297353CC}">
                <c16:uniqueId val="{00000469-B861-4943-8ABB-0EFD67D9E823}"/>
              </c:ext>
            </c:extLst>
          </c:dPt>
          <c:dPt>
            <c:idx val="564"/>
            <c:invertIfNegative val="1"/>
            <c:bubble3D val="0"/>
            <c:spPr>
              <a:solidFill>
                <a:srgbClr val="AEABAB"/>
              </a:solidFill>
            </c:spPr>
            <c:extLst>
              <c:ext xmlns:c16="http://schemas.microsoft.com/office/drawing/2014/chart" uri="{C3380CC4-5D6E-409C-BE32-E72D297353CC}">
                <c16:uniqueId val="{0000046B-B861-4943-8ABB-0EFD67D9E823}"/>
              </c:ext>
            </c:extLst>
          </c:dPt>
          <c:dPt>
            <c:idx val="565"/>
            <c:invertIfNegative val="1"/>
            <c:bubble3D val="0"/>
            <c:spPr>
              <a:solidFill>
                <a:srgbClr val="AEABAB"/>
              </a:solidFill>
            </c:spPr>
            <c:extLst>
              <c:ext xmlns:c16="http://schemas.microsoft.com/office/drawing/2014/chart" uri="{C3380CC4-5D6E-409C-BE32-E72D297353CC}">
                <c16:uniqueId val="{0000046D-B861-4943-8ABB-0EFD67D9E823}"/>
              </c:ext>
            </c:extLst>
          </c:dPt>
          <c:dPt>
            <c:idx val="566"/>
            <c:invertIfNegative val="1"/>
            <c:bubble3D val="0"/>
            <c:spPr>
              <a:solidFill>
                <a:srgbClr val="AEABAB"/>
              </a:solidFill>
            </c:spPr>
            <c:extLst>
              <c:ext xmlns:c16="http://schemas.microsoft.com/office/drawing/2014/chart" uri="{C3380CC4-5D6E-409C-BE32-E72D297353CC}">
                <c16:uniqueId val="{0000046F-B861-4943-8ABB-0EFD67D9E823}"/>
              </c:ext>
            </c:extLst>
          </c:dPt>
          <c:dPt>
            <c:idx val="567"/>
            <c:invertIfNegative val="1"/>
            <c:bubble3D val="0"/>
            <c:spPr>
              <a:solidFill>
                <a:srgbClr val="AEABAB"/>
              </a:solidFill>
            </c:spPr>
            <c:extLst>
              <c:ext xmlns:c16="http://schemas.microsoft.com/office/drawing/2014/chart" uri="{C3380CC4-5D6E-409C-BE32-E72D297353CC}">
                <c16:uniqueId val="{00000471-B861-4943-8ABB-0EFD67D9E823}"/>
              </c:ext>
            </c:extLst>
          </c:dPt>
          <c:dPt>
            <c:idx val="568"/>
            <c:invertIfNegative val="1"/>
            <c:bubble3D val="0"/>
            <c:spPr>
              <a:solidFill>
                <a:srgbClr val="AEABAB"/>
              </a:solidFill>
            </c:spPr>
            <c:extLst>
              <c:ext xmlns:c16="http://schemas.microsoft.com/office/drawing/2014/chart" uri="{C3380CC4-5D6E-409C-BE32-E72D297353CC}">
                <c16:uniqueId val="{00000473-B861-4943-8ABB-0EFD67D9E823}"/>
              </c:ext>
            </c:extLst>
          </c:dPt>
          <c:dPt>
            <c:idx val="569"/>
            <c:invertIfNegative val="1"/>
            <c:bubble3D val="0"/>
            <c:spPr>
              <a:solidFill>
                <a:srgbClr val="AEABAB"/>
              </a:solidFill>
            </c:spPr>
            <c:extLst>
              <c:ext xmlns:c16="http://schemas.microsoft.com/office/drawing/2014/chart" uri="{C3380CC4-5D6E-409C-BE32-E72D297353CC}">
                <c16:uniqueId val="{00000475-B861-4943-8ABB-0EFD67D9E823}"/>
              </c:ext>
            </c:extLst>
          </c:dPt>
          <c:dPt>
            <c:idx val="570"/>
            <c:invertIfNegative val="1"/>
            <c:bubble3D val="0"/>
            <c:spPr>
              <a:solidFill>
                <a:srgbClr val="AEABAB"/>
              </a:solidFill>
            </c:spPr>
            <c:extLst>
              <c:ext xmlns:c16="http://schemas.microsoft.com/office/drawing/2014/chart" uri="{C3380CC4-5D6E-409C-BE32-E72D297353CC}">
                <c16:uniqueId val="{00000477-B861-4943-8ABB-0EFD67D9E823}"/>
              </c:ext>
            </c:extLst>
          </c:dPt>
          <c:dPt>
            <c:idx val="571"/>
            <c:invertIfNegative val="1"/>
            <c:bubble3D val="0"/>
            <c:spPr>
              <a:solidFill>
                <a:srgbClr val="AEABAB"/>
              </a:solidFill>
            </c:spPr>
            <c:extLst>
              <c:ext xmlns:c16="http://schemas.microsoft.com/office/drawing/2014/chart" uri="{C3380CC4-5D6E-409C-BE32-E72D297353CC}">
                <c16:uniqueId val="{00000479-B861-4943-8ABB-0EFD67D9E823}"/>
              </c:ext>
            </c:extLst>
          </c:dPt>
          <c:dPt>
            <c:idx val="572"/>
            <c:invertIfNegative val="1"/>
            <c:bubble3D val="0"/>
            <c:spPr>
              <a:solidFill>
                <a:srgbClr val="AEABAB"/>
              </a:solidFill>
            </c:spPr>
            <c:extLst>
              <c:ext xmlns:c16="http://schemas.microsoft.com/office/drawing/2014/chart" uri="{C3380CC4-5D6E-409C-BE32-E72D297353CC}">
                <c16:uniqueId val="{0000047B-B861-4943-8ABB-0EFD67D9E823}"/>
              </c:ext>
            </c:extLst>
          </c:dPt>
          <c:dPt>
            <c:idx val="573"/>
            <c:invertIfNegative val="1"/>
            <c:bubble3D val="0"/>
            <c:spPr>
              <a:solidFill>
                <a:srgbClr val="AEABAB"/>
              </a:solidFill>
            </c:spPr>
            <c:extLst>
              <c:ext xmlns:c16="http://schemas.microsoft.com/office/drawing/2014/chart" uri="{C3380CC4-5D6E-409C-BE32-E72D297353CC}">
                <c16:uniqueId val="{0000047D-B861-4943-8ABB-0EFD67D9E823}"/>
              </c:ext>
            </c:extLst>
          </c:dPt>
          <c:dPt>
            <c:idx val="574"/>
            <c:invertIfNegative val="1"/>
            <c:bubble3D val="0"/>
            <c:spPr>
              <a:solidFill>
                <a:srgbClr val="AEABAB"/>
              </a:solidFill>
            </c:spPr>
            <c:extLst>
              <c:ext xmlns:c16="http://schemas.microsoft.com/office/drawing/2014/chart" uri="{C3380CC4-5D6E-409C-BE32-E72D297353CC}">
                <c16:uniqueId val="{0000047F-B861-4943-8ABB-0EFD67D9E823}"/>
              </c:ext>
            </c:extLst>
          </c:dPt>
          <c:dPt>
            <c:idx val="575"/>
            <c:invertIfNegative val="1"/>
            <c:bubble3D val="0"/>
            <c:spPr>
              <a:solidFill>
                <a:srgbClr val="AEABAB"/>
              </a:solidFill>
            </c:spPr>
            <c:extLst>
              <c:ext xmlns:c16="http://schemas.microsoft.com/office/drawing/2014/chart" uri="{C3380CC4-5D6E-409C-BE32-E72D297353CC}">
                <c16:uniqueId val="{00000481-B861-4943-8ABB-0EFD67D9E823}"/>
              </c:ext>
            </c:extLst>
          </c:dPt>
          <c:dPt>
            <c:idx val="576"/>
            <c:invertIfNegative val="1"/>
            <c:bubble3D val="0"/>
            <c:spPr>
              <a:solidFill>
                <a:srgbClr val="AEABAB"/>
              </a:solidFill>
            </c:spPr>
            <c:extLst>
              <c:ext xmlns:c16="http://schemas.microsoft.com/office/drawing/2014/chart" uri="{C3380CC4-5D6E-409C-BE32-E72D297353CC}">
                <c16:uniqueId val="{00000483-B861-4943-8ABB-0EFD67D9E823}"/>
              </c:ext>
            </c:extLst>
          </c:dPt>
          <c:dPt>
            <c:idx val="577"/>
            <c:invertIfNegative val="1"/>
            <c:bubble3D val="0"/>
            <c:spPr>
              <a:solidFill>
                <a:srgbClr val="AEABAB"/>
              </a:solidFill>
            </c:spPr>
            <c:extLst>
              <c:ext xmlns:c16="http://schemas.microsoft.com/office/drawing/2014/chart" uri="{C3380CC4-5D6E-409C-BE32-E72D297353CC}">
                <c16:uniqueId val="{00000485-B861-4943-8ABB-0EFD67D9E823}"/>
              </c:ext>
            </c:extLst>
          </c:dPt>
          <c:dPt>
            <c:idx val="578"/>
            <c:invertIfNegative val="1"/>
            <c:bubble3D val="0"/>
            <c:spPr>
              <a:solidFill>
                <a:srgbClr val="AEABAB"/>
              </a:solidFill>
            </c:spPr>
            <c:extLst>
              <c:ext xmlns:c16="http://schemas.microsoft.com/office/drawing/2014/chart" uri="{C3380CC4-5D6E-409C-BE32-E72D297353CC}">
                <c16:uniqueId val="{00000487-B861-4943-8ABB-0EFD67D9E823}"/>
              </c:ext>
            </c:extLst>
          </c:dPt>
          <c:dPt>
            <c:idx val="579"/>
            <c:invertIfNegative val="1"/>
            <c:bubble3D val="0"/>
            <c:spPr>
              <a:solidFill>
                <a:srgbClr val="AEABAB"/>
              </a:solidFill>
            </c:spPr>
            <c:extLst>
              <c:ext xmlns:c16="http://schemas.microsoft.com/office/drawing/2014/chart" uri="{C3380CC4-5D6E-409C-BE32-E72D297353CC}">
                <c16:uniqueId val="{00000489-B861-4943-8ABB-0EFD67D9E823}"/>
              </c:ext>
            </c:extLst>
          </c:dPt>
          <c:dPt>
            <c:idx val="580"/>
            <c:invertIfNegative val="1"/>
            <c:bubble3D val="0"/>
            <c:spPr>
              <a:solidFill>
                <a:srgbClr val="AEABAB"/>
              </a:solidFill>
            </c:spPr>
            <c:extLst>
              <c:ext xmlns:c16="http://schemas.microsoft.com/office/drawing/2014/chart" uri="{C3380CC4-5D6E-409C-BE32-E72D297353CC}">
                <c16:uniqueId val="{0000048B-B861-4943-8ABB-0EFD67D9E823}"/>
              </c:ext>
            </c:extLst>
          </c:dPt>
          <c:dPt>
            <c:idx val="581"/>
            <c:invertIfNegative val="1"/>
            <c:bubble3D val="0"/>
            <c:spPr>
              <a:solidFill>
                <a:srgbClr val="AEABAB"/>
              </a:solidFill>
            </c:spPr>
            <c:extLst>
              <c:ext xmlns:c16="http://schemas.microsoft.com/office/drawing/2014/chart" uri="{C3380CC4-5D6E-409C-BE32-E72D297353CC}">
                <c16:uniqueId val="{0000048D-B861-4943-8ABB-0EFD67D9E823}"/>
              </c:ext>
            </c:extLst>
          </c:dPt>
          <c:dPt>
            <c:idx val="582"/>
            <c:invertIfNegative val="1"/>
            <c:bubble3D val="0"/>
            <c:spPr>
              <a:solidFill>
                <a:srgbClr val="AEABAB"/>
              </a:solidFill>
            </c:spPr>
            <c:extLst>
              <c:ext xmlns:c16="http://schemas.microsoft.com/office/drawing/2014/chart" uri="{C3380CC4-5D6E-409C-BE32-E72D297353CC}">
                <c16:uniqueId val="{0000048F-B861-4943-8ABB-0EFD67D9E823}"/>
              </c:ext>
            </c:extLst>
          </c:dPt>
          <c:dPt>
            <c:idx val="583"/>
            <c:invertIfNegative val="1"/>
            <c:bubble3D val="0"/>
            <c:spPr>
              <a:solidFill>
                <a:srgbClr val="AEABAB"/>
              </a:solidFill>
            </c:spPr>
            <c:extLst>
              <c:ext xmlns:c16="http://schemas.microsoft.com/office/drawing/2014/chart" uri="{C3380CC4-5D6E-409C-BE32-E72D297353CC}">
                <c16:uniqueId val="{00000491-B861-4943-8ABB-0EFD67D9E823}"/>
              </c:ext>
            </c:extLst>
          </c:dPt>
          <c:dPt>
            <c:idx val="584"/>
            <c:invertIfNegative val="1"/>
            <c:bubble3D val="0"/>
            <c:spPr>
              <a:solidFill>
                <a:srgbClr val="AEABAB"/>
              </a:solidFill>
            </c:spPr>
            <c:extLst>
              <c:ext xmlns:c16="http://schemas.microsoft.com/office/drawing/2014/chart" uri="{C3380CC4-5D6E-409C-BE32-E72D297353CC}">
                <c16:uniqueId val="{00000493-B861-4943-8ABB-0EFD67D9E823}"/>
              </c:ext>
            </c:extLst>
          </c:dPt>
          <c:dPt>
            <c:idx val="585"/>
            <c:invertIfNegative val="1"/>
            <c:bubble3D val="0"/>
            <c:spPr>
              <a:solidFill>
                <a:srgbClr val="AEABAB"/>
              </a:solidFill>
            </c:spPr>
            <c:extLst>
              <c:ext xmlns:c16="http://schemas.microsoft.com/office/drawing/2014/chart" uri="{C3380CC4-5D6E-409C-BE32-E72D297353CC}">
                <c16:uniqueId val="{00000495-B861-4943-8ABB-0EFD67D9E823}"/>
              </c:ext>
            </c:extLst>
          </c:dPt>
          <c:dPt>
            <c:idx val="586"/>
            <c:invertIfNegative val="1"/>
            <c:bubble3D val="0"/>
            <c:spPr>
              <a:solidFill>
                <a:srgbClr val="AEABAB"/>
              </a:solidFill>
            </c:spPr>
            <c:extLst>
              <c:ext xmlns:c16="http://schemas.microsoft.com/office/drawing/2014/chart" uri="{C3380CC4-5D6E-409C-BE32-E72D297353CC}">
                <c16:uniqueId val="{00000497-B861-4943-8ABB-0EFD67D9E823}"/>
              </c:ext>
            </c:extLst>
          </c:dPt>
          <c:dPt>
            <c:idx val="587"/>
            <c:invertIfNegative val="1"/>
            <c:bubble3D val="0"/>
            <c:spPr>
              <a:solidFill>
                <a:srgbClr val="AEABAB"/>
              </a:solidFill>
            </c:spPr>
            <c:extLst>
              <c:ext xmlns:c16="http://schemas.microsoft.com/office/drawing/2014/chart" uri="{C3380CC4-5D6E-409C-BE32-E72D297353CC}">
                <c16:uniqueId val="{00000499-B861-4943-8ABB-0EFD67D9E823}"/>
              </c:ext>
            </c:extLst>
          </c:dPt>
          <c:dPt>
            <c:idx val="588"/>
            <c:invertIfNegative val="1"/>
            <c:bubble3D val="0"/>
            <c:spPr>
              <a:solidFill>
                <a:srgbClr val="AEABAB"/>
              </a:solidFill>
            </c:spPr>
            <c:extLst>
              <c:ext xmlns:c16="http://schemas.microsoft.com/office/drawing/2014/chart" uri="{C3380CC4-5D6E-409C-BE32-E72D297353CC}">
                <c16:uniqueId val="{0000049B-B861-4943-8ABB-0EFD67D9E823}"/>
              </c:ext>
            </c:extLst>
          </c:dPt>
          <c:dPt>
            <c:idx val="589"/>
            <c:invertIfNegative val="1"/>
            <c:bubble3D val="0"/>
            <c:spPr>
              <a:solidFill>
                <a:srgbClr val="AEABAB"/>
              </a:solidFill>
            </c:spPr>
            <c:extLst>
              <c:ext xmlns:c16="http://schemas.microsoft.com/office/drawing/2014/chart" uri="{C3380CC4-5D6E-409C-BE32-E72D297353CC}">
                <c16:uniqueId val="{0000049D-B861-4943-8ABB-0EFD67D9E823}"/>
              </c:ext>
            </c:extLst>
          </c:dPt>
          <c:dPt>
            <c:idx val="590"/>
            <c:invertIfNegative val="1"/>
            <c:bubble3D val="0"/>
            <c:spPr>
              <a:solidFill>
                <a:srgbClr val="AEABAB"/>
              </a:solidFill>
            </c:spPr>
            <c:extLst>
              <c:ext xmlns:c16="http://schemas.microsoft.com/office/drawing/2014/chart" uri="{C3380CC4-5D6E-409C-BE32-E72D297353CC}">
                <c16:uniqueId val="{0000049F-B861-4943-8ABB-0EFD67D9E823}"/>
              </c:ext>
            </c:extLst>
          </c:dPt>
          <c:dPt>
            <c:idx val="591"/>
            <c:invertIfNegative val="1"/>
            <c:bubble3D val="0"/>
            <c:spPr>
              <a:solidFill>
                <a:srgbClr val="AEABAB"/>
              </a:solidFill>
            </c:spPr>
            <c:extLst>
              <c:ext xmlns:c16="http://schemas.microsoft.com/office/drawing/2014/chart" uri="{C3380CC4-5D6E-409C-BE32-E72D297353CC}">
                <c16:uniqueId val="{000004A1-B861-4943-8ABB-0EFD67D9E823}"/>
              </c:ext>
            </c:extLst>
          </c:dPt>
          <c:dPt>
            <c:idx val="592"/>
            <c:invertIfNegative val="1"/>
            <c:bubble3D val="0"/>
            <c:spPr>
              <a:solidFill>
                <a:srgbClr val="AEABAB"/>
              </a:solidFill>
            </c:spPr>
            <c:extLst>
              <c:ext xmlns:c16="http://schemas.microsoft.com/office/drawing/2014/chart" uri="{C3380CC4-5D6E-409C-BE32-E72D297353CC}">
                <c16:uniqueId val="{000004A3-B861-4943-8ABB-0EFD67D9E823}"/>
              </c:ext>
            </c:extLst>
          </c:dPt>
          <c:dPt>
            <c:idx val="593"/>
            <c:invertIfNegative val="1"/>
            <c:bubble3D val="0"/>
            <c:spPr>
              <a:solidFill>
                <a:srgbClr val="AEABAB"/>
              </a:solidFill>
            </c:spPr>
            <c:extLst>
              <c:ext xmlns:c16="http://schemas.microsoft.com/office/drawing/2014/chart" uri="{C3380CC4-5D6E-409C-BE32-E72D297353CC}">
                <c16:uniqueId val="{000004A5-B861-4943-8ABB-0EFD67D9E823}"/>
              </c:ext>
            </c:extLst>
          </c:dPt>
          <c:dPt>
            <c:idx val="594"/>
            <c:invertIfNegative val="1"/>
            <c:bubble3D val="0"/>
            <c:spPr>
              <a:solidFill>
                <a:srgbClr val="AEABAB"/>
              </a:solidFill>
            </c:spPr>
            <c:extLst>
              <c:ext xmlns:c16="http://schemas.microsoft.com/office/drawing/2014/chart" uri="{C3380CC4-5D6E-409C-BE32-E72D297353CC}">
                <c16:uniqueId val="{000004A7-B861-4943-8ABB-0EFD67D9E823}"/>
              </c:ext>
            </c:extLst>
          </c:dPt>
          <c:dPt>
            <c:idx val="595"/>
            <c:invertIfNegative val="1"/>
            <c:bubble3D val="0"/>
            <c:spPr>
              <a:solidFill>
                <a:srgbClr val="AEABAB"/>
              </a:solidFill>
            </c:spPr>
            <c:extLst>
              <c:ext xmlns:c16="http://schemas.microsoft.com/office/drawing/2014/chart" uri="{C3380CC4-5D6E-409C-BE32-E72D297353CC}">
                <c16:uniqueId val="{000004A9-B861-4943-8ABB-0EFD67D9E823}"/>
              </c:ext>
            </c:extLst>
          </c:dPt>
          <c:dPt>
            <c:idx val="596"/>
            <c:invertIfNegative val="1"/>
            <c:bubble3D val="0"/>
            <c:spPr>
              <a:solidFill>
                <a:srgbClr val="AEABAB"/>
              </a:solidFill>
            </c:spPr>
            <c:extLst>
              <c:ext xmlns:c16="http://schemas.microsoft.com/office/drawing/2014/chart" uri="{C3380CC4-5D6E-409C-BE32-E72D297353CC}">
                <c16:uniqueId val="{000004AB-B861-4943-8ABB-0EFD67D9E823}"/>
              </c:ext>
            </c:extLst>
          </c:dPt>
          <c:dPt>
            <c:idx val="597"/>
            <c:invertIfNegative val="1"/>
            <c:bubble3D val="0"/>
            <c:spPr>
              <a:solidFill>
                <a:srgbClr val="AEABAB"/>
              </a:solidFill>
            </c:spPr>
            <c:extLst>
              <c:ext xmlns:c16="http://schemas.microsoft.com/office/drawing/2014/chart" uri="{C3380CC4-5D6E-409C-BE32-E72D297353CC}">
                <c16:uniqueId val="{000004AD-B861-4943-8ABB-0EFD67D9E823}"/>
              </c:ext>
            </c:extLst>
          </c:dPt>
          <c:dPt>
            <c:idx val="598"/>
            <c:invertIfNegative val="1"/>
            <c:bubble3D val="0"/>
            <c:spPr>
              <a:solidFill>
                <a:srgbClr val="AEABAB"/>
              </a:solidFill>
            </c:spPr>
            <c:extLst>
              <c:ext xmlns:c16="http://schemas.microsoft.com/office/drawing/2014/chart" uri="{C3380CC4-5D6E-409C-BE32-E72D297353CC}">
                <c16:uniqueId val="{000004AF-B861-4943-8ABB-0EFD67D9E823}"/>
              </c:ext>
            </c:extLst>
          </c:dPt>
          <c:dPt>
            <c:idx val="599"/>
            <c:invertIfNegative val="1"/>
            <c:bubble3D val="0"/>
            <c:spPr>
              <a:solidFill>
                <a:srgbClr val="AEABAB"/>
              </a:solidFill>
            </c:spPr>
            <c:extLst>
              <c:ext xmlns:c16="http://schemas.microsoft.com/office/drawing/2014/chart" uri="{C3380CC4-5D6E-409C-BE32-E72D297353CC}">
                <c16:uniqueId val="{000004B1-B861-4943-8ABB-0EFD67D9E823}"/>
              </c:ext>
            </c:extLst>
          </c:dPt>
          <c:dPt>
            <c:idx val="600"/>
            <c:invertIfNegative val="1"/>
            <c:bubble3D val="0"/>
            <c:spPr>
              <a:solidFill>
                <a:srgbClr val="AEABAB"/>
              </a:solidFill>
            </c:spPr>
            <c:extLst>
              <c:ext xmlns:c16="http://schemas.microsoft.com/office/drawing/2014/chart" uri="{C3380CC4-5D6E-409C-BE32-E72D297353CC}">
                <c16:uniqueId val="{000004B3-B861-4943-8ABB-0EFD67D9E823}"/>
              </c:ext>
            </c:extLst>
          </c:dPt>
          <c:dPt>
            <c:idx val="601"/>
            <c:invertIfNegative val="1"/>
            <c:bubble3D val="0"/>
            <c:spPr>
              <a:solidFill>
                <a:srgbClr val="AEABAB"/>
              </a:solidFill>
            </c:spPr>
            <c:extLst>
              <c:ext xmlns:c16="http://schemas.microsoft.com/office/drawing/2014/chart" uri="{C3380CC4-5D6E-409C-BE32-E72D297353CC}">
                <c16:uniqueId val="{000004B5-B861-4943-8ABB-0EFD67D9E823}"/>
              </c:ext>
            </c:extLst>
          </c:dPt>
          <c:dPt>
            <c:idx val="602"/>
            <c:invertIfNegative val="1"/>
            <c:bubble3D val="0"/>
            <c:spPr>
              <a:solidFill>
                <a:srgbClr val="AEABAB"/>
              </a:solidFill>
            </c:spPr>
            <c:extLst>
              <c:ext xmlns:c16="http://schemas.microsoft.com/office/drawing/2014/chart" uri="{C3380CC4-5D6E-409C-BE32-E72D297353CC}">
                <c16:uniqueId val="{000004B7-B861-4943-8ABB-0EFD67D9E823}"/>
              </c:ext>
            </c:extLst>
          </c:dPt>
          <c:dPt>
            <c:idx val="603"/>
            <c:invertIfNegative val="1"/>
            <c:bubble3D val="0"/>
            <c:spPr>
              <a:solidFill>
                <a:srgbClr val="AEABAB"/>
              </a:solidFill>
            </c:spPr>
            <c:extLst>
              <c:ext xmlns:c16="http://schemas.microsoft.com/office/drawing/2014/chart" uri="{C3380CC4-5D6E-409C-BE32-E72D297353CC}">
                <c16:uniqueId val="{000004B9-B861-4943-8ABB-0EFD67D9E823}"/>
              </c:ext>
            </c:extLst>
          </c:dPt>
          <c:dPt>
            <c:idx val="604"/>
            <c:invertIfNegative val="1"/>
            <c:bubble3D val="0"/>
            <c:spPr>
              <a:solidFill>
                <a:srgbClr val="AEABAB"/>
              </a:solidFill>
            </c:spPr>
            <c:extLst>
              <c:ext xmlns:c16="http://schemas.microsoft.com/office/drawing/2014/chart" uri="{C3380CC4-5D6E-409C-BE32-E72D297353CC}">
                <c16:uniqueId val="{000004BB-B861-4943-8ABB-0EFD67D9E823}"/>
              </c:ext>
            </c:extLst>
          </c:dPt>
          <c:dPt>
            <c:idx val="605"/>
            <c:invertIfNegative val="1"/>
            <c:bubble3D val="0"/>
            <c:spPr>
              <a:solidFill>
                <a:srgbClr val="AEABAB"/>
              </a:solidFill>
            </c:spPr>
            <c:extLst>
              <c:ext xmlns:c16="http://schemas.microsoft.com/office/drawing/2014/chart" uri="{C3380CC4-5D6E-409C-BE32-E72D297353CC}">
                <c16:uniqueId val="{000004BD-B861-4943-8ABB-0EFD67D9E823}"/>
              </c:ext>
            </c:extLst>
          </c:dPt>
          <c:dPt>
            <c:idx val="606"/>
            <c:invertIfNegative val="1"/>
            <c:bubble3D val="0"/>
            <c:spPr>
              <a:solidFill>
                <a:srgbClr val="AEABAB"/>
              </a:solidFill>
            </c:spPr>
            <c:extLst>
              <c:ext xmlns:c16="http://schemas.microsoft.com/office/drawing/2014/chart" uri="{C3380CC4-5D6E-409C-BE32-E72D297353CC}">
                <c16:uniqueId val="{000004BF-B861-4943-8ABB-0EFD67D9E823}"/>
              </c:ext>
            </c:extLst>
          </c:dPt>
          <c:dPt>
            <c:idx val="607"/>
            <c:invertIfNegative val="1"/>
            <c:bubble3D val="0"/>
            <c:spPr>
              <a:solidFill>
                <a:srgbClr val="AEABAB"/>
              </a:solidFill>
            </c:spPr>
            <c:extLst>
              <c:ext xmlns:c16="http://schemas.microsoft.com/office/drawing/2014/chart" uri="{C3380CC4-5D6E-409C-BE32-E72D297353CC}">
                <c16:uniqueId val="{000004C1-B861-4943-8ABB-0EFD67D9E823}"/>
              </c:ext>
            </c:extLst>
          </c:dPt>
          <c:dPt>
            <c:idx val="608"/>
            <c:invertIfNegative val="1"/>
            <c:bubble3D val="0"/>
            <c:spPr>
              <a:solidFill>
                <a:srgbClr val="AEABAB"/>
              </a:solidFill>
            </c:spPr>
            <c:extLst>
              <c:ext xmlns:c16="http://schemas.microsoft.com/office/drawing/2014/chart" uri="{C3380CC4-5D6E-409C-BE32-E72D297353CC}">
                <c16:uniqueId val="{000004C3-B861-4943-8ABB-0EFD67D9E823}"/>
              </c:ext>
            </c:extLst>
          </c:dPt>
          <c:dPt>
            <c:idx val="609"/>
            <c:invertIfNegative val="1"/>
            <c:bubble3D val="0"/>
            <c:spPr>
              <a:solidFill>
                <a:srgbClr val="AEABAB"/>
              </a:solidFill>
            </c:spPr>
            <c:extLst>
              <c:ext xmlns:c16="http://schemas.microsoft.com/office/drawing/2014/chart" uri="{C3380CC4-5D6E-409C-BE32-E72D297353CC}">
                <c16:uniqueId val="{000004C5-B861-4943-8ABB-0EFD67D9E823}"/>
              </c:ext>
            </c:extLst>
          </c:dPt>
          <c:dPt>
            <c:idx val="610"/>
            <c:invertIfNegative val="1"/>
            <c:bubble3D val="0"/>
            <c:spPr>
              <a:solidFill>
                <a:srgbClr val="AEABAB"/>
              </a:solidFill>
            </c:spPr>
            <c:extLst>
              <c:ext xmlns:c16="http://schemas.microsoft.com/office/drawing/2014/chart" uri="{C3380CC4-5D6E-409C-BE32-E72D297353CC}">
                <c16:uniqueId val="{000004C7-B861-4943-8ABB-0EFD67D9E823}"/>
              </c:ext>
            </c:extLst>
          </c:dPt>
          <c:dPt>
            <c:idx val="611"/>
            <c:invertIfNegative val="1"/>
            <c:bubble3D val="0"/>
            <c:spPr>
              <a:solidFill>
                <a:srgbClr val="AEABAB"/>
              </a:solidFill>
            </c:spPr>
            <c:extLst>
              <c:ext xmlns:c16="http://schemas.microsoft.com/office/drawing/2014/chart" uri="{C3380CC4-5D6E-409C-BE32-E72D297353CC}">
                <c16:uniqueId val="{000004C9-B861-4943-8ABB-0EFD67D9E823}"/>
              </c:ext>
            </c:extLst>
          </c:dPt>
          <c:dPt>
            <c:idx val="612"/>
            <c:invertIfNegative val="1"/>
            <c:bubble3D val="0"/>
            <c:spPr>
              <a:solidFill>
                <a:srgbClr val="AEABAB"/>
              </a:solidFill>
            </c:spPr>
            <c:extLst>
              <c:ext xmlns:c16="http://schemas.microsoft.com/office/drawing/2014/chart" uri="{C3380CC4-5D6E-409C-BE32-E72D297353CC}">
                <c16:uniqueId val="{000004CB-B861-4943-8ABB-0EFD67D9E823}"/>
              </c:ext>
            </c:extLst>
          </c:dPt>
          <c:dPt>
            <c:idx val="613"/>
            <c:invertIfNegative val="1"/>
            <c:bubble3D val="0"/>
            <c:spPr>
              <a:solidFill>
                <a:srgbClr val="AEABAB"/>
              </a:solidFill>
            </c:spPr>
            <c:extLst>
              <c:ext xmlns:c16="http://schemas.microsoft.com/office/drawing/2014/chart" uri="{C3380CC4-5D6E-409C-BE32-E72D297353CC}">
                <c16:uniqueId val="{000004CD-B861-4943-8ABB-0EFD67D9E823}"/>
              </c:ext>
            </c:extLst>
          </c:dPt>
          <c:dPt>
            <c:idx val="614"/>
            <c:invertIfNegative val="1"/>
            <c:bubble3D val="0"/>
            <c:spPr>
              <a:solidFill>
                <a:srgbClr val="AEABAB"/>
              </a:solidFill>
            </c:spPr>
            <c:extLst>
              <c:ext xmlns:c16="http://schemas.microsoft.com/office/drawing/2014/chart" uri="{C3380CC4-5D6E-409C-BE32-E72D297353CC}">
                <c16:uniqueId val="{000004CF-B861-4943-8ABB-0EFD67D9E823}"/>
              </c:ext>
            </c:extLst>
          </c:dPt>
          <c:dPt>
            <c:idx val="615"/>
            <c:invertIfNegative val="1"/>
            <c:bubble3D val="0"/>
            <c:spPr>
              <a:solidFill>
                <a:srgbClr val="AEABAB"/>
              </a:solidFill>
            </c:spPr>
            <c:extLst>
              <c:ext xmlns:c16="http://schemas.microsoft.com/office/drawing/2014/chart" uri="{C3380CC4-5D6E-409C-BE32-E72D297353CC}">
                <c16:uniqueId val="{000004D1-B861-4943-8ABB-0EFD67D9E823}"/>
              </c:ext>
            </c:extLst>
          </c:dPt>
          <c:dPt>
            <c:idx val="616"/>
            <c:invertIfNegative val="1"/>
            <c:bubble3D val="0"/>
            <c:spPr>
              <a:solidFill>
                <a:srgbClr val="AEABAB"/>
              </a:solidFill>
            </c:spPr>
            <c:extLst>
              <c:ext xmlns:c16="http://schemas.microsoft.com/office/drawing/2014/chart" uri="{C3380CC4-5D6E-409C-BE32-E72D297353CC}">
                <c16:uniqueId val="{000004D3-B861-4943-8ABB-0EFD67D9E823}"/>
              </c:ext>
            </c:extLst>
          </c:dPt>
          <c:dPt>
            <c:idx val="617"/>
            <c:invertIfNegative val="1"/>
            <c:bubble3D val="0"/>
            <c:spPr>
              <a:solidFill>
                <a:srgbClr val="AEABAB"/>
              </a:solidFill>
            </c:spPr>
            <c:extLst>
              <c:ext xmlns:c16="http://schemas.microsoft.com/office/drawing/2014/chart" uri="{C3380CC4-5D6E-409C-BE32-E72D297353CC}">
                <c16:uniqueId val="{000004D5-B861-4943-8ABB-0EFD67D9E823}"/>
              </c:ext>
            </c:extLst>
          </c:dPt>
          <c:dPt>
            <c:idx val="618"/>
            <c:invertIfNegative val="1"/>
            <c:bubble3D val="0"/>
            <c:spPr>
              <a:solidFill>
                <a:srgbClr val="AEABAB"/>
              </a:solidFill>
            </c:spPr>
            <c:extLst>
              <c:ext xmlns:c16="http://schemas.microsoft.com/office/drawing/2014/chart" uri="{C3380CC4-5D6E-409C-BE32-E72D297353CC}">
                <c16:uniqueId val="{000004D7-B861-4943-8ABB-0EFD67D9E823}"/>
              </c:ext>
            </c:extLst>
          </c:dPt>
          <c:dPt>
            <c:idx val="619"/>
            <c:invertIfNegative val="1"/>
            <c:bubble3D val="0"/>
            <c:spPr>
              <a:solidFill>
                <a:srgbClr val="AEABAB"/>
              </a:solidFill>
            </c:spPr>
            <c:extLst>
              <c:ext xmlns:c16="http://schemas.microsoft.com/office/drawing/2014/chart" uri="{C3380CC4-5D6E-409C-BE32-E72D297353CC}">
                <c16:uniqueId val="{000004D9-B861-4943-8ABB-0EFD67D9E823}"/>
              </c:ext>
            </c:extLst>
          </c:dPt>
          <c:dPt>
            <c:idx val="620"/>
            <c:invertIfNegative val="1"/>
            <c:bubble3D val="0"/>
            <c:spPr>
              <a:solidFill>
                <a:srgbClr val="AEABAB"/>
              </a:solidFill>
            </c:spPr>
            <c:extLst>
              <c:ext xmlns:c16="http://schemas.microsoft.com/office/drawing/2014/chart" uri="{C3380CC4-5D6E-409C-BE32-E72D297353CC}">
                <c16:uniqueId val="{000004DB-B861-4943-8ABB-0EFD67D9E823}"/>
              </c:ext>
            </c:extLst>
          </c:dPt>
          <c:dPt>
            <c:idx val="621"/>
            <c:invertIfNegative val="1"/>
            <c:bubble3D val="0"/>
            <c:spPr>
              <a:solidFill>
                <a:srgbClr val="AEABAB"/>
              </a:solidFill>
            </c:spPr>
            <c:extLst>
              <c:ext xmlns:c16="http://schemas.microsoft.com/office/drawing/2014/chart" uri="{C3380CC4-5D6E-409C-BE32-E72D297353CC}">
                <c16:uniqueId val="{000004DD-B861-4943-8ABB-0EFD67D9E823}"/>
              </c:ext>
            </c:extLst>
          </c:dPt>
          <c:dPt>
            <c:idx val="622"/>
            <c:invertIfNegative val="1"/>
            <c:bubble3D val="0"/>
            <c:spPr>
              <a:solidFill>
                <a:srgbClr val="AEABAB"/>
              </a:solidFill>
            </c:spPr>
            <c:extLst>
              <c:ext xmlns:c16="http://schemas.microsoft.com/office/drawing/2014/chart" uri="{C3380CC4-5D6E-409C-BE32-E72D297353CC}">
                <c16:uniqueId val="{000004DF-B861-4943-8ABB-0EFD67D9E823}"/>
              </c:ext>
            </c:extLst>
          </c:dPt>
          <c:dPt>
            <c:idx val="623"/>
            <c:invertIfNegative val="1"/>
            <c:bubble3D val="0"/>
            <c:spPr>
              <a:solidFill>
                <a:srgbClr val="AEABAB"/>
              </a:solidFill>
            </c:spPr>
            <c:extLst>
              <c:ext xmlns:c16="http://schemas.microsoft.com/office/drawing/2014/chart" uri="{C3380CC4-5D6E-409C-BE32-E72D297353CC}">
                <c16:uniqueId val="{000004E1-B861-4943-8ABB-0EFD67D9E823}"/>
              </c:ext>
            </c:extLst>
          </c:dPt>
          <c:dPt>
            <c:idx val="624"/>
            <c:invertIfNegative val="1"/>
            <c:bubble3D val="0"/>
            <c:spPr>
              <a:solidFill>
                <a:srgbClr val="AEABAB"/>
              </a:solidFill>
            </c:spPr>
            <c:extLst>
              <c:ext xmlns:c16="http://schemas.microsoft.com/office/drawing/2014/chart" uri="{C3380CC4-5D6E-409C-BE32-E72D297353CC}">
                <c16:uniqueId val="{000004E3-B861-4943-8ABB-0EFD67D9E823}"/>
              </c:ext>
            </c:extLst>
          </c:dPt>
          <c:dPt>
            <c:idx val="625"/>
            <c:invertIfNegative val="1"/>
            <c:bubble3D val="0"/>
            <c:spPr>
              <a:solidFill>
                <a:srgbClr val="AEABAB"/>
              </a:solidFill>
            </c:spPr>
            <c:extLst>
              <c:ext xmlns:c16="http://schemas.microsoft.com/office/drawing/2014/chart" uri="{C3380CC4-5D6E-409C-BE32-E72D297353CC}">
                <c16:uniqueId val="{000004E5-B861-4943-8ABB-0EFD67D9E823}"/>
              </c:ext>
            </c:extLst>
          </c:dPt>
          <c:dPt>
            <c:idx val="626"/>
            <c:invertIfNegative val="1"/>
            <c:bubble3D val="0"/>
            <c:spPr>
              <a:solidFill>
                <a:srgbClr val="AEABAB"/>
              </a:solidFill>
            </c:spPr>
            <c:extLst>
              <c:ext xmlns:c16="http://schemas.microsoft.com/office/drawing/2014/chart" uri="{C3380CC4-5D6E-409C-BE32-E72D297353CC}">
                <c16:uniqueId val="{000004E7-B861-4943-8ABB-0EFD67D9E823}"/>
              </c:ext>
            </c:extLst>
          </c:dPt>
          <c:dPt>
            <c:idx val="627"/>
            <c:invertIfNegative val="1"/>
            <c:bubble3D val="0"/>
            <c:spPr>
              <a:solidFill>
                <a:srgbClr val="AEABAB"/>
              </a:solidFill>
            </c:spPr>
            <c:extLst>
              <c:ext xmlns:c16="http://schemas.microsoft.com/office/drawing/2014/chart" uri="{C3380CC4-5D6E-409C-BE32-E72D297353CC}">
                <c16:uniqueId val="{000004E9-B861-4943-8ABB-0EFD67D9E823}"/>
              </c:ext>
            </c:extLst>
          </c:dPt>
          <c:dPt>
            <c:idx val="628"/>
            <c:invertIfNegative val="1"/>
            <c:bubble3D val="0"/>
            <c:spPr>
              <a:solidFill>
                <a:srgbClr val="AEABAB"/>
              </a:solidFill>
            </c:spPr>
            <c:extLst>
              <c:ext xmlns:c16="http://schemas.microsoft.com/office/drawing/2014/chart" uri="{C3380CC4-5D6E-409C-BE32-E72D297353CC}">
                <c16:uniqueId val="{000004EB-B861-4943-8ABB-0EFD67D9E823}"/>
              </c:ext>
            </c:extLst>
          </c:dPt>
          <c:dPt>
            <c:idx val="629"/>
            <c:invertIfNegative val="1"/>
            <c:bubble3D val="0"/>
            <c:spPr>
              <a:solidFill>
                <a:srgbClr val="AEABAB"/>
              </a:solidFill>
            </c:spPr>
            <c:extLst>
              <c:ext xmlns:c16="http://schemas.microsoft.com/office/drawing/2014/chart" uri="{C3380CC4-5D6E-409C-BE32-E72D297353CC}">
                <c16:uniqueId val="{000004ED-B861-4943-8ABB-0EFD67D9E823}"/>
              </c:ext>
            </c:extLst>
          </c:dPt>
          <c:dPt>
            <c:idx val="630"/>
            <c:invertIfNegative val="1"/>
            <c:bubble3D val="0"/>
            <c:spPr>
              <a:solidFill>
                <a:srgbClr val="AEABAB"/>
              </a:solidFill>
            </c:spPr>
            <c:extLst>
              <c:ext xmlns:c16="http://schemas.microsoft.com/office/drawing/2014/chart" uri="{C3380CC4-5D6E-409C-BE32-E72D297353CC}">
                <c16:uniqueId val="{000004EF-B861-4943-8ABB-0EFD67D9E823}"/>
              </c:ext>
            </c:extLst>
          </c:dPt>
          <c:dPt>
            <c:idx val="631"/>
            <c:invertIfNegative val="1"/>
            <c:bubble3D val="0"/>
            <c:spPr>
              <a:solidFill>
                <a:srgbClr val="AEABAB"/>
              </a:solidFill>
            </c:spPr>
            <c:extLst>
              <c:ext xmlns:c16="http://schemas.microsoft.com/office/drawing/2014/chart" uri="{C3380CC4-5D6E-409C-BE32-E72D297353CC}">
                <c16:uniqueId val="{000004F1-B861-4943-8ABB-0EFD67D9E823}"/>
              </c:ext>
            </c:extLst>
          </c:dPt>
          <c:dPt>
            <c:idx val="632"/>
            <c:invertIfNegative val="1"/>
            <c:bubble3D val="0"/>
            <c:spPr>
              <a:solidFill>
                <a:srgbClr val="AEABAB"/>
              </a:solidFill>
            </c:spPr>
            <c:extLst>
              <c:ext xmlns:c16="http://schemas.microsoft.com/office/drawing/2014/chart" uri="{C3380CC4-5D6E-409C-BE32-E72D297353CC}">
                <c16:uniqueId val="{000004F3-B861-4943-8ABB-0EFD67D9E823}"/>
              </c:ext>
            </c:extLst>
          </c:dPt>
          <c:dPt>
            <c:idx val="633"/>
            <c:invertIfNegative val="1"/>
            <c:bubble3D val="0"/>
            <c:spPr>
              <a:solidFill>
                <a:srgbClr val="AEABAB"/>
              </a:solidFill>
            </c:spPr>
            <c:extLst>
              <c:ext xmlns:c16="http://schemas.microsoft.com/office/drawing/2014/chart" uri="{C3380CC4-5D6E-409C-BE32-E72D297353CC}">
                <c16:uniqueId val="{000004F5-B861-4943-8ABB-0EFD67D9E823}"/>
              </c:ext>
            </c:extLst>
          </c:dPt>
          <c:dPt>
            <c:idx val="634"/>
            <c:invertIfNegative val="1"/>
            <c:bubble3D val="0"/>
            <c:spPr>
              <a:solidFill>
                <a:srgbClr val="AEABAB"/>
              </a:solidFill>
            </c:spPr>
            <c:extLst>
              <c:ext xmlns:c16="http://schemas.microsoft.com/office/drawing/2014/chart" uri="{C3380CC4-5D6E-409C-BE32-E72D297353CC}">
                <c16:uniqueId val="{000004F7-B861-4943-8ABB-0EFD67D9E823}"/>
              </c:ext>
            </c:extLst>
          </c:dPt>
          <c:dPt>
            <c:idx val="635"/>
            <c:invertIfNegative val="1"/>
            <c:bubble3D val="0"/>
            <c:spPr>
              <a:solidFill>
                <a:srgbClr val="AEABAB"/>
              </a:solidFill>
            </c:spPr>
            <c:extLst>
              <c:ext xmlns:c16="http://schemas.microsoft.com/office/drawing/2014/chart" uri="{C3380CC4-5D6E-409C-BE32-E72D297353CC}">
                <c16:uniqueId val="{000004F9-B861-4943-8ABB-0EFD67D9E823}"/>
              </c:ext>
            </c:extLst>
          </c:dPt>
          <c:dPt>
            <c:idx val="636"/>
            <c:invertIfNegative val="1"/>
            <c:bubble3D val="0"/>
            <c:spPr>
              <a:solidFill>
                <a:srgbClr val="AEABAB"/>
              </a:solidFill>
            </c:spPr>
            <c:extLst>
              <c:ext xmlns:c16="http://schemas.microsoft.com/office/drawing/2014/chart" uri="{C3380CC4-5D6E-409C-BE32-E72D297353CC}">
                <c16:uniqueId val="{000004FB-B861-4943-8ABB-0EFD67D9E823}"/>
              </c:ext>
            </c:extLst>
          </c:dPt>
          <c:dPt>
            <c:idx val="637"/>
            <c:invertIfNegative val="1"/>
            <c:bubble3D val="0"/>
            <c:spPr>
              <a:solidFill>
                <a:srgbClr val="AEABAB"/>
              </a:solidFill>
            </c:spPr>
            <c:extLst>
              <c:ext xmlns:c16="http://schemas.microsoft.com/office/drawing/2014/chart" uri="{C3380CC4-5D6E-409C-BE32-E72D297353CC}">
                <c16:uniqueId val="{000004FD-B861-4943-8ABB-0EFD67D9E823}"/>
              </c:ext>
            </c:extLst>
          </c:dPt>
          <c:dPt>
            <c:idx val="638"/>
            <c:invertIfNegative val="1"/>
            <c:bubble3D val="0"/>
            <c:spPr>
              <a:solidFill>
                <a:srgbClr val="AEABAB"/>
              </a:solidFill>
            </c:spPr>
            <c:extLst>
              <c:ext xmlns:c16="http://schemas.microsoft.com/office/drawing/2014/chart" uri="{C3380CC4-5D6E-409C-BE32-E72D297353CC}">
                <c16:uniqueId val="{000004FF-B861-4943-8ABB-0EFD67D9E823}"/>
              </c:ext>
            </c:extLst>
          </c:dPt>
          <c:dPt>
            <c:idx val="639"/>
            <c:invertIfNegative val="1"/>
            <c:bubble3D val="0"/>
            <c:spPr>
              <a:solidFill>
                <a:srgbClr val="AEABAB"/>
              </a:solidFill>
            </c:spPr>
            <c:extLst>
              <c:ext xmlns:c16="http://schemas.microsoft.com/office/drawing/2014/chart" uri="{C3380CC4-5D6E-409C-BE32-E72D297353CC}">
                <c16:uniqueId val="{00000501-B861-4943-8ABB-0EFD67D9E823}"/>
              </c:ext>
            </c:extLst>
          </c:dPt>
          <c:dPt>
            <c:idx val="640"/>
            <c:invertIfNegative val="1"/>
            <c:bubble3D val="0"/>
            <c:spPr>
              <a:solidFill>
                <a:srgbClr val="AEABAB"/>
              </a:solidFill>
            </c:spPr>
            <c:extLst>
              <c:ext xmlns:c16="http://schemas.microsoft.com/office/drawing/2014/chart" uri="{C3380CC4-5D6E-409C-BE32-E72D297353CC}">
                <c16:uniqueId val="{00000503-B861-4943-8ABB-0EFD67D9E823}"/>
              </c:ext>
            </c:extLst>
          </c:dPt>
          <c:dPt>
            <c:idx val="641"/>
            <c:invertIfNegative val="1"/>
            <c:bubble3D val="0"/>
            <c:spPr>
              <a:solidFill>
                <a:srgbClr val="AEABAB"/>
              </a:solidFill>
            </c:spPr>
            <c:extLst>
              <c:ext xmlns:c16="http://schemas.microsoft.com/office/drawing/2014/chart" uri="{C3380CC4-5D6E-409C-BE32-E72D297353CC}">
                <c16:uniqueId val="{00000505-B861-4943-8ABB-0EFD67D9E823}"/>
              </c:ext>
            </c:extLst>
          </c:dPt>
          <c:dPt>
            <c:idx val="642"/>
            <c:invertIfNegative val="1"/>
            <c:bubble3D val="0"/>
            <c:spPr>
              <a:solidFill>
                <a:srgbClr val="AEABAB"/>
              </a:solidFill>
            </c:spPr>
            <c:extLst>
              <c:ext xmlns:c16="http://schemas.microsoft.com/office/drawing/2014/chart" uri="{C3380CC4-5D6E-409C-BE32-E72D297353CC}">
                <c16:uniqueId val="{00000507-B861-4943-8ABB-0EFD67D9E823}"/>
              </c:ext>
            </c:extLst>
          </c:dPt>
          <c:dPt>
            <c:idx val="643"/>
            <c:invertIfNegative val="1"/>
            <c:bubble3D val="0"/>
            <c:spPr>
              <a:solidFill>
                <a:srgbClr val="AEABAB"/>
              </a:solidFill>
            </c:spPr>
            <c:extLst>
              <c:ext xmlns:c16="http://schemas.microsoft.com/office/drawing/2014/chart" uri="{C3380CC4-5D6E-409C-BE32-E72D297353CC}">
                <c16:uniqueId val="{00000509-B861-4943-8ABB-0EFD67D9E823}"/>
              </c:ext>
            </c:extLst>
          </c:dPt>
          <c:dPt>
            <c:idx val="644"/>
            <c:invertIfNegative val="1"/>
            <c:bubble3D val="0"/>
            <c:spPr>
              <a:solidFill>
                <a:srgbClr val="AEABAB"/>
              </a:solidFill>
            </c:spPr>
            <c:extLst>
              <c:ext xmlns:c16="http://schemas.microsoft.com/office/drawing/2014/chart" uri="{C3380CC4-5D6E-409C-BE32-E72D297353CC}">
                <c16:uniqueId val="{0000050B-B861-4943-8ABB-0EFD67D9E823}"/>
              </c:ext>
            </c:extLst>
          </c:dPt>
          <c:dPt>
            <c:idx val="645"/>
            <c:invertIfNegative val="1"/>
            <c:bubble3D val="0"/>
            <c:spPr>
              <a:solidFill>
                <a:srgbClr val="AEABAB"/>
              </a:solidFill>
            </c:spPr>
            <c:extLst>
              <c:ext xmlns:c16="http://schemas.microsoft.com/office/drawing/2014/chart" uri="{C3380CC4-5D6E-409C-BE32-E72D297353CC}">
                <c16:uniqueId val="{0000050D-B861-4943-8ABB-0EFD67D9E823}"/>
              </c:ext>
            </c:extLst>
          </c:dPt>
          <c:dPt>
            <c:idx val="646"/>
            <c:invertIfNegative val="1"/>
            <c:bubble3D val="0"/>
            <c:spPr>
              <a:solidFill>
                <a:srgbClr val="AEABAB"/>
              </a:solidFill>
            </c:spPr>
            <c:extLst>
              <c:ext xmlns:c16="http://schemas.microsoft.com/office/drawing/2014/chart" uri="{C3380CC4-5D6E-409C-BE32-E72D297353CC}">
                <c16:uniqueId val="{0000050F-B861-4943-8ABB-0EFD67D9E823}"/>
              </c:ext>
            </c:extLst>
          </c:dPt>
          <c:dPt>
            <c:idx val="647"/>
            <c:invertIfNegative val="1"/>
            <c:bubble3D val="0"/>
            <c:spPr>
              <a:solidFill>
                <a:srgbClr val="AEABAB"/>
              </a:solidFill>
            </c:spPr>
            <c:extLst>
              <c:ext xmlns:c16="http://schemas.microsoft.com/office/drawing/2014/chart" uri="{C3380CC4-5D6E-409C-BE32-E72D297353CC}">
                <c16:uniqueId val="{00000511-B861-4943-8ABB-0EFD67D9E823}"/>
              </c:ext>
            </c:extLst>
          </c:dPt>
          <c:dPt>
            <c:idx val="648"/>
            <c:invertIfNegative val="1"/>
            <c:bubble3D val="0"/>
            <c:spPr>
              <a:solidFill>
                <a:srgbClr val="AEABAB"/>
              </a:solidFill>
            </c:spPr>
            <c:extLst>
              <c:ext xmlns:c16="http://schemas.microsoft.com/office/drawing/2014/chart" uri="{C3380CC4-5D6E-409C-BE32-E72D297353CC}">
                <c16:uniqueId val="{00000513-B861-4943-8ABB-0EFD67D9E823}"/>
              </c:ext>
            </c:extLst>
          </c:dPt>
          <c:dPt>
            <c:idx val="649"/>
            <c:invertIfNegative val="1"/>
            <c:bubble3D val="0"/>
            <c:spPr>
              <a:solidFill>
                <a:srgbClr val="AEABAB"/>
              </a:solidFill>
            </c:spPr>
            <c:extLst>
              <c:ext xmlns:c16="http://schemas.microsoft.com/office/drawing/2014/chart" uri="{C3380CC4-5D6E-409C-BE32-E72D297353CC}">
                <c16:uniqueId val="{00000515-B861-4943-8ABB-0EFD67D9E823}"/>
              </c:ext>
            </c:extLst>
          </c:dPt>
          <c:dPt>
            <c:idx val="650"/>
            <c:invertIfNegative val="1"/>
            <c:bubble3D val="0"/>
            <c:spPr>
              <a:solidFill>
                <a:srgbClr val="AEABAB"/>
              </a:solidFill>
            </c:spPr>
            <c:extLst>
              <c:ext xmlns:c16="http://schemas.microsoft.com/office/drawing/2014/chart" uri="{C3380CC4-5D6E-409C-BE32-E72D297353CC}">
                <c16:uniqueId val="{00000517-B861-4943-8ABB-0EFD67D9E823}"/>
              </c:ext>
            </c:extLst>
          </c:dPt>
          <c:dPt>
            <c:idx val="651"/>
            <c:invertIfNegative val="1"/>
            <c:bubble3D val="0"/>
            <c:spPr>
              <a:solidFill>
                <a:srgbClr val="AEABAB"/>
              </a:solidFill>
            </c:spPr>
            <c:extLst>
              <c:ext xmlns:c16="http://schemas.microsoft.com/office/drawing/2014/chart" uri="{C3380CC4-5D6E-409C-BE32-E72D297353CC}">
                <c16:uniqueId val="{00000519-B861-4943-8ABB-0EFD67D9E823}"/>
              </c:ext>
            </c:extLst>
          </c:dPt>
          <c:dPt>
            <c:idx val="652"/>
            <c:invertIfNegative val="1"/>
            <c:bubble3D val="0"/>
            <c:spPr>
              <a:solidFill>
                <a:srgbClr val="AEABAB"/>
              </a:solidFill>
            </c:spPr>
            <c:extLst>
              <c:ext xmlns:c16="http://schemas.microsoft.com/office/drawing/2014/chart" uri="{C3380CC4-5D6E-409C-BE32-E72D297353CC}">
                <c16:uniqueId val="{0000051B-B861-4943-8ABB-0EFD67D9E823}"/>
              </c:ext>
            </c:extLst>
          </c:dPt>
          <c:dPt>
            <c:idx val="653"/>
            <c:invertIfNegative val="1"/>
            <c:bubble3D val="0"/>
            <c:spPr>
              <a:solidFill>
                <a:srgbClr val="AEABAB"/>
              </a:solidFill>
            </c:spPr>
            <c:extLst>
              <c:ext xmlns:c16="http://schemas.microsoft.com/office/drawing/2014/chart" uri="{C3380CC4-5D6E-409C-BE32-E72D297353CC}">
                <c16:uniqueId val="{0000051D-B861-4943-8ABB-0EFD67D9E823}"/>
              </c:ext>
            </c:extLst>
          </c:dPt>
          <c:dPt>
            <c:idx val="654"/>
            <c:invertIfNegative val="1"/>
            <c:bubble3D val="0"/>
            <c:spPr>
              <a:solidFill>
                <a:srgbClr val="AEABAB"/>
              </a:solidFill>
            </c:spPr>
            <c:extLst>
              <c:ext xmlns:c16="http://schemas.microsoft.com/office/drawing/2014/chart" uri="{C3380CC4-5D6E-409C-BE32-E72D297353CC}">
                <c16:uniqueId val="{0000051F-B861-4943-8ABB-0EFD67D9E823}"/>
              </c:ext>
            </c:extLst>
          </c:dPt>
          <c:dPt>
            <c:idx val="655"/>
            <c:invertIfNegative val="1"/>
            <c:bubble3D val="0"/>
            <c:spPr>
              <a:solidFill>
                <a:srgbClr val="AEABAB"/>
              </a:solidFill>
            </c:spPr>
            <c:extLst>
              <c:ext xmlns:c16="http://schemas.microsoft.com/office/drawing/2014/chart" uri="{C3380CC4-5D6E-409C-BE32-E72D297353CC}">
                <c16:uniqueId val="{00000521-B861-4943-8ABB-0EFD67D9E823}"/>
              </c:ext>
            </c:extLst>
          </c:dPt>
          <c:dPt>
            <c:idx val="656"/>
            <c:invertIfNegative val="1"/>
            <c:bubble3D val="0"/>
            <c:spPr>
              <a:solidFill>
                <a:srgbClr val="AEABAB"/>
              </a:solidFill>
            </c:spPr>
            <c:extLst>
              <c:ext xmlns:c16="http://schemas.microsoft.com/office/drawing/2014/chart" uri="{C3380CC4-5D6E-409C-BE32-E72D297353CC}">
                <c16:uniqueId val="{00000523-B861-4943-8ABB-0EFD67D9E823}"/>
              </c:ext>
            </c:extLst>
          </c:dPt>
          <c:dPt>
            <c:idx val="657"/>
            <c:invertIfNegative val="1"/>
            <c:bubble3D val="0"/>
            <c:spPr>
              <a:solidFill>
                <a:srgbClr val="AEABAB"/>
              </a:solidFill>
            </c:spPr>
            <c:extLst>
              <c:ext xmlns:c16="http://schemas.microsoft.com/office/drawing/2014/chart" uri="{C3380CC4-5D6E-409C-BE32-E72D297353CC}">
                <c16:uniqueId val="{00000525-B861-4943-8ABB-0EFD67D9E823}"/>
              </c:ext>
            </c:extLst>
          </c:dPt>
          <c:dPt>
            <c:idx val="658"/>
            <c:invertIfNegative val="1"/>
            <c:bubble3D val="0"/>
            <c:spPr>
              <a:solidFill>
                <a:srgbClr val="AEABAB"/>
              </a:solidFill>
            </c:spPr>
            <c:extLst>
              <c:ext xmlns:c16="http://schemas.microsoft.com/office/drawing/2014/chart" uri="{C3380CC4-5D6E-409C-BE32-E72D297353CC}">
                <c16:uniqueId val="{00000527-B861-4943-8ABB-0EFD67D9E823}"/>
              </c:ext>
            </c:extLst>
          </c:dPt>
          <c:dPt>
            <c:idx val="659"/>
            <c:invertIfNegative val="1"/>
            <c:bubble3D val="0"/>
            <c:spPr>
              <a:solidFill>
                <a:srgbClr val="AEABAB"/>
              </a:solidFill>
            </c:spPr>
            <c:extLst>
              <c:ext xmlns:c16="http://schemas.microsoft.com/office/drawing/2014/chart" uri="{C3380CC4-5D6E-409C-BE32-E72D297353CC}">
                <c16:uniqueId val="{00000529-B861-4943-8ABB-0EFD67D9E823}"/>
              </c:ext>
            </c:extLst>
          </c:dPt>
          <c:dPt>
            <c:idx val="660"/>
            <c:invertIfNegative val="1"/>
            <c:bubble3D val="0"/>
            <c:spPr>
              <a:solidFill>
                <a:srgbClr val="AEABAB"/>
              </a:solidFill>
            </c:spPr>
            <c:extLst>
              <c:ext xmlns:c16="http://schemas.microsoft.com/office/drawing/2014/chart" uri="{C3380CC4-5D6E-409C-BE32-E72D297353CC}">
                <c16:uniqueId val="{0000052B-B861-4943-8ABB-0EFD67D9E823}"/>
              </c:ext>
            </c:extLst>
          </c:dPt>
          <c:dPt>
            <c:idx val="661"/>
            <c:invertIfNegative val="1"/>
            <c:bubble3D val="0"/>
            <c:spPr>
              <a:solidFill>
                <a:srgbClr val="AEABAB"/>
              </a:solidFill>
            </c:spPr>
            <c:extLst>
              <c:ext xmlns:c16="http://schemas.microsoft.com/office/drawing/2014/chart" uri="{C3380CC4-5D6E-409C-BE32-E72D297353CC}">
                <c16:uniqueId val="{0000052D-B861-4943-8ABB-0EFD67D9E823}"/>
              </c:ext>
            </c:extLst>
          </c:dPt>
          <c:dPt>
            <c:idx val="662"/>
            <c:invertIfNegative val="1"/>
            <c:bubble3D val="0"/>
            <c:spPr>
              <a:solidFill>
                <a:srgbClr val="AEABAB"/>
              </a:solidFill>
            </c:spPr>
            <c:extLst>
              <c:ext xmlns:c16="http://schemas.microsoft.com/office/drawing/2014/chart" uri="{C3380CC4-5D6E-409C-BE32-E72D297353CC}">
                <c16:uniqueId val="{0000052F-B861-4943-8ABB-0EFD67D9E823}"/>
              </c:ext>
            </c:extLst>
          </c:dPt>
          <c:dPt>
            <c:idx val="663"/>
            <c:invertIfNegative val="1"/>
            <c:bubble3D val="0"/>
            <c:spPr>
              <a:solidFill>
                <a:srgbClr val="AEABAB"/>
              </a:solidFill>
            </c:spPr>
            <c:extLst>
              <c:ext xmlns:c16="http://schemas.microsoft.com/office/drawing/2014/chart" uri="{C3380CC4-5D6E-409C-BE32-E72D297353CC}">
                <c16:uniqueId val="{00000531-B861-4943-8ABB-0EFD67D9E823}"/>
              </c:ext>
            </c:extLst>
          </c:dPt>
          <c:dPt>
            <c:idx val="664"/>
            <c:invertIfNegative val="1"/>
            <c:bubble3D val="0"/>
            <c:spPr>
              <a:solidFill>
                <a:srgbClr val="AEABAB"/>
              </a:solidFill>
            </c:spPr>
            <c:extLst>
              <c:ext xmlns:c16="http://schemas.microsoft.com/office/drawing/2014/chart" uri="{C3380CC4-5D6E-409C-BE32-E72D297353CC}">
                <c16:uniqueId val="{00000533-B861-4943-8ABB-0EFD67D9E823}"/>
              </c:ext>
            </c:extLst>
          </c:dPt>
          <c:dPt>
            <c:idx val="665"/>
            <c:invertIfNegative val="1"/>
            <c:bubble3D val="0"/>
            <c:spPr>
              <a:solidFill>
                <a:srgbClr val="AEABAB"/>
              </a:solidFill>
            </c:spPr>
            <c:extLst>
              <c:ext xmlns:c16="http://schemas.microsoft.com/office/drawing/2014/chart" uri="{C3380CC4-5D6E-409C-BE32-E72D297353CC}">
                <c16:uniqueId val="{00000535-B861-4943-8ABB-0EFD67D9E823}"/>
              </c:ext>
            </c:extLst>
          </c:dPt>
          <c:dPt>
            <c:idx val="666"/>
            <c:invertIfNegative val="1"/>
            <c:bubble3D val="0"/>
            <c:spPr>
              <a:solidFill>
                <a:srgbClr val="AEABAB"/>
              </a:solidFill>
            </c:spPr>
            <c:extLst>
              <c:ext xmlns:c16="http://schemas.microsoft.com/office/drawing/2014/chart" uri="{C3380CC4-5D6E-409C-BE32-E72D297353CC}">
                <c16:uniqueId val="{00000537-B861-4943-8ABB-0EFD67D9E823}"/>
              </c:ext>
            </c:extLst>
          </c:dPt>
          <c:dPt>
            <c:idx val="667"/>
            <c:invertIfNegative val="1"/>
            <c:bubble3D val="0"/>
            <c:spPr>
              <a:solidFill>
                <a:srgbClr val="AEABAB"/>
              </a:solidFill>
            </c:spPr>
            <c:extLst>
              <c:ext xmlns:c16="http://schemas.microsoft.com/office/drawing/2014/chart" uri="{C3380CC4-5D6E-409C-BE32-E72D297353CC}">
                <c16:uniqueId val="{00000539-B861-4943-8ABB-0EFD67D9E823}"/>
              </c:ext>
            </c:extLst>
          </c:dPt>
          <c:dPt>
            <c:idx val="668"/>
            <c:invertIfNegative val="1"/>
            <c:bubble3D val="0"/>
            <c:spPr>
              <a:solidFill>
                <a:srgbClr val="AEABAB"/>
              </a:solidFill>
            </c:spPr>
            <c:extLst>
              <c:ext xmlns:c16="http://schemas.microsoft.com/office/drawing/2014/chart" uri="{C3380CC4-5D6E-409C-BE32-E72D297353CC}">
                <c16:uniqueId val="{0000053B-B861-4943-8ABB-0EFD67D9E823}"/>
              </c:ext>
            </c:extLst>
          </c:dPt>
          <c:dPt>
            <c:idx val="669"/>
            <c:invertIfNegative val="1"/>
            <c:bubble3D val="0"/>
            <c:spPr>
              <a:solidFill>
                <a:srgbClr val="AEABAB"/>
              </a:solidFill>
            </c:spPr>
            <c:extLst>
              <c:ext xmlns:c16="http://schemas.microsoft.com/office/drawing/2014/chart" uri="{C3380CC4-5D6E-409C-BE32-E72D297353CC}">
                <c16:uniqueId val="{0000053D-B861-4943-8ABB-0EFD67D9E823}"/>
              </c:ext>
            </c:extLst>
          </c:dPt>
          <c:dPt>
            <c:idx val="670"/>
            <c:invertIfNegative val="1"/>
            <c:bubble3D val="0"/>
            <c:spPr>
              <a:solidFill>
                <a:srgbClr val="AEABAB"/>
              </a:solidFill>
            </c:spPr>
            <c:extLst>
              <c:ext xmlns:c16="http://schemas.microsoft.com/office/drawing/2014/chart" uri="{C3380CC4-5D6E-409C-BE32-E72D297353CC}">
                <c16:uniqueId val="{0000053F-B861-4943-8ABB-0EFD67D9E823}"/>
              </c:ext>
            </c:extLst>
          </c:dPt>
          <c:dPt>
            <c:idx val="671"/>
            <c:invertIfNegative val="1"/>
            <c:bubble3D val="0"/>
            <c:spPr>
              <a:solidFill>
                <a:srgbClr val="AEABAB"/>
              </a:solidFill>
            </c:spPr>
            <c:extLst>
              <c:ext xmlns:c16="http://schemas.microsoft.com/office/drawing/2014/chart" uri="{C3380CC4-5D6E-409C-BE32-E72D297353CC}">
                <c16:uniqueId val="{00000541-B861-4943-8ABB-0EFD67D9E823}"/>
              </c:ext>
            </c:extLst>
          </c:dPt>
          <c:dPt>
            <c:idx val="672"/>
            <c:invertIfNegative val="1"/>
            <c:bubble3D val="0"/>
            <c:spPr>
              <a:solidFill>
                <a:srgbClr val="AEABAB"/>
              </a:solidFill>
            </c:spPr>
            <c:extLst>
              <c:ext xmlns:c16="http://schemas.microsoft.com/office/drawing/2014/chart" uri="{C3380CC4-5D6E-409C-BE32-E72D297353CC}">
                <c16:uniqueId val="{00000543-B861-4943-8ABB-0EFD67D9E823}"/>
              </c:ext>
            </c:extLst>
          </c:dPt>
          <c:dPt>
            <c:idx val="673"/>
            <c:invertIfNegative val="1"/>
            <c:bubble3D val="0"/>
            <c:spPr>
              <a:solidFill>
                <a:srgbClr val="AEABAB"/>
              </a:solidFill>
            </c:spPr>
            <c:extLst>
              <c:ext xmlns:c16="http://schemas.microsoft.com/office/drawing/2014/chart" uri="{C3380CC4-5D6E-409C-BE32-E72D297353CC}">
                <c16:uniqueId val="{00000545-B861-4943-8ABB-0EFD67D9E823}"/>
              </c:ext>
            </c:extLst>
          </c:dPt>
          <c:dPt>
            <c:idx val="674"/>
            <c:invertIfNegative val="1"/>
            <c:bubble3D val="0"/>
            <c:spPr>
              <a:solidFill>
                <a:srgbClr val="AEABAB"/>
              </a:solidFill>
            </c:spPr>
            <c:extLst>
              <c:ext xmlns:c16="http://schemas.microsoft.com/office/drawing/2014/chart" uri="{C3380CC4-5D6E-409C-BE32-E72D297353CC}">
                <c16:uniqueId val="{00000547-B861-4943-8ABB-0EFD67D9E823}"/>
              </c:ext>
            </c:extLst>
          </c:dPt>
          <c:dPt>
            <c:idx val="675"/>
            <c:invertIfNegative val="1"/>
            <c:bubble3D val="0"/>
            <c:spPr>
              <a:solidFill>
                <a:srgbClr val="AEABAB"/>
              </a:solidFill>
            </c:spPr>
            <c:extLst>
              <c:ext xmlns:c16="http://schemas.microsoft.com/office/drawing/2014/chart" uri="{C3380CC4-5D6E-409C-BE32-E72D297353CC}">
                <c16:uniqueId val="{00000549-B861-4943-8ABB-0EFD67D9E823}"/>
              </c:ext>
            </c:extLst>
          </c:dPt>
          <c:dPt>
            <c:idx val="676"/>
            <c:invertIfNegative val="1"/>
            <c:bubble3D val="0"/>
            <c:spPr>
              <a:solidFill>
                <a:srgbClr val="AEABAB"/>
              </a:solidFill>
            </c:spPr>
            <c:extLst>
              <c:ext xmlns:c16="http://schemas.microsoft.com/office/drawing/2014/chart" uri="{C3380CC4-5D6E-409C-BE32-E72D297353CC}">
                <c16:uniqueId val="{0000054B-B861-4943-8ABB-0EFD67D9E823}"/>
              </c:ext>
            </c:extLst>
          </c:dPt>
          <c:dPt>
            <c:idx val="677"/>
            <c:invertIfNegative val="1"/>
            <c:bubble3D val="0"/>
            <c:spPr>
              <a:solidFill>
                <a:srgbClr val="AEABAB"/>
              </a:solidFill>
            </c:spPr>
            <c:extLst>
              <c:ext xmlns:c16="http://schemas.microsoft.com/office/drawing/2014/chart" uri="{C3380CC4-5D6E-409C-BE32-E72D297353CC}">
                <c16:uniqueId val="{0000054D-B861-4943-8ABB-0EFD67D9E823}"/>
              </c:ext>
            </c:extLst>
          </c:dPt>
          <c:dPt>
            <c:idx val="678"/>
            <c:invertIfNegative val="1"/>
            <c:bubble3D val="0"/>
            <c:spPr>
              <a:solidFill>
                <a:srgbClr val="AEABAB"/>
              </a:solidFill>
            </c:spPr>
            <c:extLst>
              <c:ext xmlns:c16="http://schemas.microsoft.com/office/drawing/2014/chart" uri="{C3380CC4-5D6E-409C-BE32-E72D297353CC}">
                <c16:uniqueId val="{0000054F-B861-4943-8ABB-0EFD67D9E823}"/>
              </c:ext>
            </c:extLst>
          </c:dPt>
          <c:dPt>
            <c:idx val="679"/>
            <c:invertIfNegative val="1"/>
            <c:bubble3D val="0"/>
            <c:spPr>
              <a:solidFill>
                <a:srgbClr val="AEABAB"/>
              </a:solidFill>
            </c:spPr>
            <c:extLst>
              <c:ext xmlns:c16="http://schemas.microsoft.com/office/drawing/2014/chart" uri="{C3380CC4-5D6E-409C-BE32-E72D297353CC}">
                <c16:uniqueId val="{00000551-B861-4943-8ABB-0EFD67D9E823}"/>
              </c:ext>
            </c:extLst>
          </c:dPt>
          <c:dPt>
            <c:idx val="680"/>
            <c:invertIfNegative val="1"/>
            <c:bubble3D val="0"/>
            <c:spPr>
              <a:solidFill>
                <a:srgbClr val="AEABAB"/>
              </a:solidFill>
            </c:spPr>
            <c:extLst>
              <c:ext xmlns:c16="http://schemas.microsoft.com/office/drawing/2014/chart" uri="{C3380CC4-5D6E-409C-BE32-E72D297353CC}">
                <c16:uniqueId val="{00000553-B861-4943-8ABB-0EFD67D9E823}"/>
              </c:ext>
            </c:extLst>
          </c:dPt>
          <c:dPt>
            <c:idx val="681"/>
            <c:invertIfNegative val="1"/>
            <c:bubble3D val="0"/>
            <c:spPr>
              <a:solidFill>
                <a:srgbClr val="AEABAB"/>
              </a:solidFill>
            </c:spPr>
            <c:extLst>
              <c:ext xmlns:c16="http://schemas.microsoft.com/office/drawing/2014/chart" uri="{C3380CC4-5D6E-409C-BE32-E72D297353CC}">
                <c16:uniqueId val="{00000555-B861-4943-8ABB-0EFD67D9E823}"/>
              </c:ext>
            </c:extLst>
          </c:dPt>
          <c:dPt>
            <c:idx val="682"/>
            <c:invertIfNegative val="1"/>
            <c:bubble3D val="0"/>
            <c:spPr>
              <a:solidFill>
                <a:srgbClr val="AEABAB"/>
              </a:solidFill>
            </c:spPr>
            <c:extLst>
              <c:ext xmlns:c16="http://schemas.microsoft.com/office/drawing/2014/chart" uri="{C3380CC4-5D6E-409C-BE32-E72D297353CC}">
                <c16:uniqueId val="{00000557-B861-4943-8ABB-0EFD67D9E823}"/>
              </c:ext>
            </c:extLst>
          </c:dPt>
          <c:dPt>
            <c:idx val="683"/>
            <c:invertIfNegative val="1"/>
            <c:bubble3D val="0"/>
            <c:spPr>
              <a:solidFill>
                <a:srgbClr val="AEABAB"/>
              </a:solidFill>
            </c:spPr>
            <c:extLst>
              <c:ext xmlns:c16="http://schemas.microsoft.com/office/drawing/2014/chart" uri="{C3380CC4-5D6E-409C-BE32-E72D297353CC}">
                <c16:uniqueId val="{00000559-B861-4943-8ABB-0EFD67D9E823}"/>
              </c:ext>
            </c:extLst>
          </c:dPt>
          <c:dPt>
            <c:idx val="684"/>
            <c:invertIfNegative val="1"/>
            <c:bubble3D val="0"/>
            <c:spPr>
              <a:solidFill>
                <a:srgbClr val="AEABAB"/>
              </a:solidFill>
            </c:spPr>
            <c:extLst>
              <c:ext xmlns:c16="http://schemas.microsoft.com/office/drawing/2014/chart" uri="{C3380CC4-5D6E-409C-BE32-E72D297353CC}">
                <c16:uniqueId val="{0000055B-B861-4943-8ABB-0EFD67D9E823}"/>
              </c:ext>
            </c:extLst>
          </c:dPt>
          <c:dPt>
            <c:idx val="685"/>
            <c:invertIfNegative val="1"/>
            <c:bubble3D val="0"/>
            <c:spPr>
              <a:solidFill>
                <a:srgbClr val="AEABAB"/>
              </a:solidFill>
            </c:spPr>
            <c:extLst>
              <c:ext xmlns:c16="http://schemas.microsoft.com/office/drawing/2014/chart" uri="{C3380CC4-5D6E-409C-BE32-E72D297353CC}">
                <c16:uniqueId val="{0000055D-B861-4943-8ABB-0EFD67D9E823}"/>
              </c:ext>
            </c:extLst>
          </c:dPt>
          <c:dPt>
            <c:idx val="686"/>
            <c:invertIfNegative val="1"/>
            <c:bubble3D val="0"/>
            <c:spPr>
              <a:solidFill>
                <a:srgbClr val="AEABAB"/>
              </a:solidFill>
            </c:spPr>
            <c:extLst>
              <c:ext xmlns:c16="http://schemas.microsoft.com/office/drawing/2014/chart" uri="{C3380CC4-5D6E-409C-BE32-E72D297353CC}">
                <c16:uniqueId val="{0000055F-B861-4943-8ABB-0EFD67D9E823}"/>
              </c:ext>
            </c:extLst>
          </c:dPt>
          <c:dPt>
            <c:idx val="687"/>
            <c:invertIfNegative val="1"/>
            <c:bubble3D val="0"/>
            <c:spPr>
              <a:solidFill>
                <a:srgbClr val="AEABAB"/>
              </a:solidFill>
            </c:spPr>
            <c:extLst>
              <c:ext xmlns:c16="http://schemas.microsoft.com/office/drawing/2014/chart" uri="{C3380CC4-5D6E-409C-BE32-E72D297353CC}">
                <c16:uniqueId val="{00000561-B861-4943-8ABB-0EFD67D9E823}"/>
              </c:ext>
            </c:extLst>
          </c:dPt>
          <c:dPt>
            <c:idx val="688"/>
            <c:invertIfNegative val="1"/>
            <c:bubble3D val="0"/>
            <c:spPr>
              <a:solidFill>
                <a:srgbClr val="AEABAB"/>
              </a:solidFill>
            </c:spPr>
            <c:extLst>
              <c:ext xmlns:c16="http://schemas.microsoft.com/office/drawing/2014/chart" uri="{C3380CC4-5D6E-409C-BE32-E72D297353CC}">
                <c16:uniqueId val="{00000563-B861-4943-8ABB-0EFD67D9E823}"/>
              </c:ext>
            </c:extLst>
          </c:dPt>
          <c:dPt>
            <c:idx val="689"/>
            <c:invertIfNegative val="1"/>
            <c:bubble3D val="0"/>
            <c:spPr>
              <a:solidFill>
                <a:srgbClr val="AEABAB"/>
              </a:solidFill>
            </c:spPr>
            <c:extLst>
              <c:ext xmlns:c16="http://schemas.microsoft.com/office/drawing/2014/chart" uri="{C3380CC4-5D6E-409C-BE32-E72D297353CC}">
                <c16:uniqueId val="{00000565-B861-4943-8ABB-0EFD67D9E823}"/>
              </c:ext>
            </c:extLst>
          </c:dPt>
          <c:dPt>
            <c:idx val="690"/>
            <c:invertIfNegative val="1"/>
            <c:bubble3D val="0"/>
            <c:spPr>
              <a:solidFill>
                <a:srgbClr val="AEABAB"/>
              </a:solidFill>
            </c:spPr>
            <c:extLst>
              <c:ext xmlns:c16="http://schemas.microsoft.com/office/drawing/2014/chart" uri="{C3380CC4-5D6E-409C-BE32-E72D297353CC}">
                <c16:uniqueId val="{00000567-B861-4943-8ABB-0EFD67D9E823}"/>
              </c:ext>
            </c:extLst>
          </c:dPt>
          <c:dPt>
            <c:idx val="691"/>
            <c:invertIfNegative val="1"/>
            <c:bubble3D val="0"/>
            <c:spPr>
              <a:solidFill>
                <a:srgbClr val="AEABAB"/>
              </a:solidFill>
            </c:spPr>
            <c:extLst>
              <c:ext xmlns:c16="http://schemas.microsoft.com/office/drawing/2014/chart" uri="{C3380CC4-5D6E-409C-BE32-E72D297353CC}">
                <c16:uniqueId val="{00000569-B861-4943-8ABB-0EFD67D9E823}"/>
              </c:ext>
            </c:extLst>
          </c:dPt>
          <c:dPt>
            <c:idx val="692"/>
            <c:invertIfNegative val="1"/>
            <c:bubble3D val="0"/>
            <c:spPr>
              <a:solidFill>
                <a:srgbClr val="AEABAB"/>
              </a:solidFill>
            </c:spPr>
            <c:extLst>
              <c:ext xmlns:c16="http://schemas.microsoft.com/office/drawing/2014/chart" uri="{C3380CC4-5D6E-409C-BE32-E72D297353CC}">
                <c16:uniqueId val="{0000056B-B861-4943-8ABB-0EFD67D9E823}"/>
              </c:ext>
            </c:extLst>
          </c:dPt>
          <c:dPt>
            <c:idx val="693"/>
            <c:invertIfNegative val="1"/>
            <c:bubble3D val="0"/>
            <c:spPr>
              <a:solidFill>
                <a:srgbClr val="AEABAB"/>
              </a:solidFill>
            </c:spPr>
            <c:extLst>
              <c:ext xmlns:c16="http://schemas.microsoft.com/office/drawing/2014/chart" uri="{C3380CC4-5D6E-409C-BE32-E72D297353CC}">
                <c16:uniqueId val="{0000056D-B861-4943-8ABB-0EFD67D9E823}"/>
              </c:ext>
            </c:extLst>
          </c:dPt>
          <c:dPt>
            <c:idx val="694"/>
            <c:invertIfNegative val="1"/>
            <c:bubble3D val="0"/>
            <c:spPr>
              <a:solidFill>
                <a:srgbClr val="AEABAB"/>
              </a:solidFill>
            </c:spPr>
            <c:extLst>
              <c:ext xmlns:c16="http://schemas.microsoft.com/office/drawing/2014/chart" uri="{C3380CC4-5D6E-409C-BE32-E72D297353CC}">
                <c16:uniqueId val="{0000056F-B861-4943-8ABB-0EFD67D9E823}"/>
              </c:ext>
            </c:extLst>
          </c:dPt>
          <c:dPt>
            <c:idx val="695"/>
            <c:invertIfNegative val="1"/>
            <c:bubble3D val="0"/>
            <c:spPr>
              <a:solidFill>
                <a:srgbClr val="AEABAB"/>
              </a:solidFill>
            </c:spPr>
            <c:extLst>
              <c:ext xmlns:c16="http://schemas.microsoft.com/office/drawing/2014/chart" uri="{C3380CC4-5D6E-409C-BE32-E72D297353CC}">
                <c16:uniqueId val="{00000571-B861-4943-8ABB-0EFD67D9E823}"/>
              </c:ext>
            </c:extLst>
          </c:dPt>
          <c:dPt>
            <c:idx val="696"/>
            <c:invertIfNegative val="1"/>
            <c:bubble3D val="0"/>
            <c:spPr>
              <a:solidFill>
                <a:srgbClr val="AEABAB"/>
              </a:solidFill>
            </c:spPr>
            <c:extLst>
              <c:ext xmlns:c16="http://schemas.microsoft.com/office/drawing/2014/chart" uri="{C3380CC4-5D6E-409C-BE32-E72D297353CC}">
                <c16:uniqueId val="{00000573-B861-4943-8ABB-0EFD67D9E823}"/>
              </c:ext>
            </c:extLst>
          </c:dPt>
          <c:dPt>
            <c:idx val="697"/>
            <c:invertIfNegative val="1"/>
            <c:bubble3D val="0"/>
            <c:spPr>
              <a:solidFill>
                <a:srgbClr val="AEABAB"/>
              </a:solidFill>
            </c:spPr>
            <c:extLst>
              <c:ext xmlns:c16="http://schemas.microsoft.com/office/drawing/2014/chart" uri="{C3380CC4-5D6E-409C-BE32-E72D297353CC}">
                <c16:uniqueId val="{00000575-B861-4943-8ABB-0EFD67D9E823}"/>
              </c:ext>
            </c:extLst>
          </c:dPt>
          <c:dPt>
            <c:idx val="698"/>
            <c:invertIfNegative val="1"/>
            <c:bubble3D val="0"/>
            <c:spPr>
              <a:solidFill>
                <a:srgbClr val="AEABAB"/>
              </a:solidFill>
            </c:spPr>
            <c:extLst>
              <c:ext xmlns:c16="http://schemas.microsoft.com/office/drawing/2014/chart" uri="{C3380CC4-5D6E-409C-BE32-E72D297353CC}">
                <c16:uniqueId val="{00000577-B861-4943-8ABB-0EFD67D9E823}"/>
              </c:ext>
            </c:extLst>
          </c:dPt>
          <c:dPt>
            <c:idx val="699"/>
            <c:invertIfNegative val="1"/>
            <c:bubble3D val="0"/>
            <c:spPr>
              <a:solidFill>
                <a:srgbClr val="AEABAB"/>
              </a:solidFill>
            </c:spPr>
            <c:extLst>
              <c:ext xmlns:c16="http://schemas.microsoft.com/office/drawing/2014/chart" uri="{C3380CC4-5D6E-409C-BE32-E72D297353CC}">
                <c16:uniqueId val="{00000579-B861-4943-8ABB-0EFD67D9E823}"/>
              </c:ext>
            </c:extLst>
          </c:dPt>
          <c:dPt>
            <c:idx val="700"/>
            <c:invertIfNegative val="1"/>
            <c:bubble3D val="0"/>
            <c:spPr>
              <a:solidFill>
                <a:srgbClr val="AEABAB"/>
              </a:solidFill>
            </c:spPr>
            <c:extLst>
              <c:ext xmlns:c16="http://schemas.microsoft.com/office/drawing/2014/chart" uri="{C3380CC4-5D6E-409C-BE32-E72D297353CC}">
                <c16:uniqueId val="{0000057B-B861-4943-8ABB-0EFD67D9E823}"/>
              </c:ext>
            </c:extLst>
          </c:dPt>
          <c:dPt>
            <c:idx val="701"/>
            <c:invertIfNegative val="1"/>
            <c:bubble3D val="0"/>
            <c:spPr>
              <a:solidFill>
                <a:srgbClr val="AEABAB"/>
              </a:solidFill>
            </c:spPr>
            <c:extLst>
              <c:ext xmlns:c16="http://schemas.microsoft.com/office/drawing/2014/chart" uri="{C3380CC4-5D6E-409C-BE32-E72D297353CC}">
                <c16:uniqueId val="{0000057D-B861-4943-8ABB-0EFD67D9E823}"/>
              </c:ext>
            </c:extLst>
          </c:dPt>
          <c:dPt>
            <c:idx val="702"/>
            <c:invertIfNegative val="1"/>
            <c:bubble3D val="0"/>
            <c:spPr>
              <a:solidFill>
                <a:srgbClr val="AEABAB"/>
              </a:solidFill>
            </c:spPr>
            <c:extLst>
              <c:ext xmlns:c16="http://schemas.microsoft.com/office/drawing/2014/chart" uri="{C3380CC4-5D6E-409C-BE32-E72D297353CC}">
                <c16:uniqueId val="{0000057F-B861-4943-8ABB-0EFD67D9E823}"/>
              </c:ext>
            </c:extLst>
          </c:dPt>
          <c:dPt>
            <c:idx val="703"/>
            <c:invertIfNegative val="1"/>
            <c:bubble3D val="0"/>
            <c:spPr>
              <a:solidFill>
                <a:srgbClr val="AEABAB"/>
              </a:solidFill>
            </c:spPr>
            <c:extLst>
              <c:ext xmlns:c16="http://schemas.microsoft.com/office/drawing/2014/chart" uri="{C3380CC4-5D6E-409C-BE32-E72D297353CC}">
                <c16:uniqueId val="{00000581-B861-4943-8ABB-0EFD67D9E823}"/>
              </c:ext>
            </c:extLst>
          </c:dPt>
          <c:dPt>
            <c:idx val="704"/>
            <c:invertIfNegative val="1"/>
            <c:bubble3D val="0"/>
            <c:spPr>
              <a:solidFill>
                <a:srgbClr val="AEABAB"/>
              </a:solidFill>
            </c:spPr>
            <c:extLst>
              <c:ext xmlns:c16="http://schemas.microsoft.com/office/drawing/2014/chart" uri="{C3380CC4-5D6E-409C-BE32-E72D297353CC}">
                <c16:uniqueId val="{00000583-B861-4943-8ABB-0EFD67D9E823}"/>
              </c:ext>
            </c:extLst>
          </c:dPt>
          <c:dPt>
            <c:idx val="705"/>
            <c:invertIfNegative val="1"/>
            <c:bubble3D val="0"/>
            <c:spPr>
              <a:solidFill>
                <a:srgbClr val="AEABAB"/>
              </a:solidFill>
            </c:spPr>
            <c:extLst>
              <c:ext xmlns:c16="http://schemas.microsoft.com/office/drawing/2014/chart" uri="{C3380CC4-5D6E-409C-BE32-E72D297353CC}">
                <c16:uniqueId val="{00000585-B861-4943-8ABB-0EFD67D9E823}"/>
              </c:ext>
            </c:extLst>
          </c:dPt>
          <c:dPt>
            <c:idx val="706"/>
            <c:invertIfNegative val="1"/>
            <c:bubble3D val="0"/>
            <c:spPr>
              <a:solidFill>
                <a:srgbClr val="AEABAB"/>
              </a:solidFill>
            </c:spPr>
            <c:extLst>
              <c:ext xmlns:c16="http://schemas.microsoft.com/office/drawing/2014/chart" uri="{C3380CC4-5D6E-409C-BE32-E72D297353CC}">
                <c16:uniqueId val="{00000587-B861-4943-8ABB-0EFD67D9E823}"/>
              </c:ext>
            </c:extLst>
          </c:dPt>
          <c:dPt>
            <c:idx val="707"/>
            <c:invertIfNegative val="1"/>
            <c:bubble3D val="0"/>
            <c:spPr>
              <a:solidFill>
                <a:srgbClr val="AEABAB"/>
              </a:solidFill>
            </c:spPr>
            <c:extLst>
              <c:ext xmlns:c16="http://schemas.microsoft.com/office/drawing/2014/chart" uri="{C3380CC4-5D6E-409C-BE32-E72D297353CC}">
                <c16:uniqueId val="{00000589-B861-4943-8ABB-0EFD67D9E823}"/>
              </c:ext>
            </c:extLst>
          </c:dPt>
          <c:dPt>
            <c:idx val="708"/>
            <c:invertIfNegative val="1"/>
            <c:bubble3D val="0"/>
            <c:spPr>
              <a:solidFill>
                <a:srgbClr val="AEABAB"/>
              </a:solidFill>
            </c:spPr>
            <c:extLst>
              <c:ext xmlns:c16="http://schemas.microsoft.com/office/drawing/2014/chart" uri="{C3380CC4-5D6E-409C-BE32-E72D297353CC}">
                <c16:uniqueId val="{0000058B-B861-4943-8ABB-0EFD67D9E823}"/>
              </c:ext>
            </c:extLst>
          </c:dPt>
          <c:dPt>
            <c:idx val="709"/>
            <c:invertIfNegative val="1"/>
            <c:bubble3D val="0"/>
            <c:spPr>
              <a:solidFill>
                <a:srgbClr val="AEABAB"/>
              </a:solidFill>
            </c:spPr>
            <c:extLst>
              <c:ext xmlns:c16="http://schemas.microsoft.com/office/drawing/2014/chart" uri="{C3380CC4-5D6E-409C-BE32-E72D297353CC}">
                <c16:uniqueId val="{0000058D-B861-4943-8ABB-0EFD67D9E823}"/>
              </c:ext>
            </c:extLst>
          </c:dPt>
          <c:dPt>
            <c:idx val="710"/>
            <c:invertIfNegative val="1"/>
            <c:bubble3D val="0"/>
            <c:spPr>
              <a:solidFill>
                <a:srgbClr val="AEABAB"/>
              </a:solidFill>
            </c:spPr>
            <c:extLst>
              <c:ext xmlns:c16="http://schemas.microsoft.com/office/drawing/2014/chart" uri="{C3380CC4-5D6E-409C-BE32-E72D297353CC}">
                <c16:uniqueId val="{0000058F-B861-4943-8ABB-0EFD67D9E823}"/>
              </c:ext>
            </c:extLst>
          </c:dPt>
          <c:dPt>
            <c:idx val="711"/>
            <c:invertIfNegative val="1"/>
            <c:bubble3D val="0"/>
            <c:spPr>
              <a:solidFill>
                <a:srgbClr val="AEABAB"/>
              </a:solidFill>
            </c:spPr>
            <c:extLst>
              <c:ext xmlns:c16="http://schemas.microsoft.com/office/drawing/2014/chart" uri="{C3380CC4-5D6E-409C-BE32-E72D297353CC}">
                <c16:uniqueId val="{00000591-B861-4943-8ABB-0EFD67D9E823}"/>
              </c:ext>
            </c:extLst>
          </c:dPt>
          <c:dPt>
            <c:idx val="712"/>
            <c:invertIfNegative val="1"/>
            <c:bubble3D val="0"/>
            <c:spPr>
              <a:solidFill>
                <a:srgbClr val="AEABAB"/>
              </a:solidFill>
            </c:spPr>
            <c:extLst>
              <c:ext xmlns:c16="http://schemas.microsoft.com/office/drawing/2014/chart" uri="{C3380CC4-5D6E-409C-BE32-E72D297353CC}">
                <c16:uniqueId val="{00000593-B861-4943-8ABB-0EFD67D9E823}"/>
              </c:ext>
            </c:extLst>
          </c:dPt>
          <c:dPt>
            <c:idx val="713"/>
            <c:invertIfNegative val="1"/>
            <c:bubble3D val="0"/>
            <c:spPr>
              <a:solidFill>
                <a:srgbClr val="AEABAB"/>
              </a:solidFill>
            </c:spPr>
            <c:extLst>
              <c:ext xmlns:c16="http://schemas.microsoft.com/office/drawing/2014/chart" uri="{C3380CC4-5D6E-409C-BE32-E72D297353CC}">
                <c16:uniqueId val="{00000595-B861-4943-8ABB-0EFD67D9E823}"/>
              </c:ext>
            </c:extLst>
          </c:dPt>
          <c:dPt>
            <c:idx val="714"/>
            <c:invertIfNegative val="1"/>
            <c:bubble3D val="0"/>
            <c:spPr>
              <a:solidFill>
                <a:srgbClr val="AEABAB"/>
              </a:solidFill>
            </c:spPr>
            <c:extLst>
              <c:ext xmlns:c16="http://schemas.microsoft.com/office/drawing/2014/chart" uri="{C3380CC4-5D6E-409C-BE32-E72D297353CC}">
                <c16:uniqueId val="{00000597-B861-4943-8ABB-0EFD67D9E823}"/>
              </c:ext>
            </c:extLst>
          </c:dPt>
          <c:dPt>
            <c:idx val="715"/>
            <c:invertIfNegative val="1"/>
            <c:bubble3D val="0"/>
            <c:spPr>
              <a:solidFill>
                <a:srgbClr val="AEABAB"/>
              </a:solidFill>
            </c:spPr>
            <c:extLst>
              <c:ext xmlns:c16="http://schemas.microsoft.com/office/drawing/2014/chart" uri="{C3380CC4-5D6E-409C-BE32-E72D297353CC}">
                <c16:uniqueId val="{00000599-B861-4943-8ABB-0EFD67D9E823}"/>
              </c:ext>
            </c:extLst>
          </c:dPt>
          <c:dPt>
            <c:idx val="716"/>
            <c:invertIfNegative val="1"/>
            <c:bubble3D val="0"/>
            <c:spPr>
              <a:solidFill>
                <a:srgbClr val="AEABAB"/>
              </a:solidFill>
            </c:spPr>
            <c:extLst>
              <c:ext xmlns:c16="http://schemas.microsoft.com/office/drawing/2014/chart" uri="{C3380CC4-5D6E-409C-BE32-E72D297353CC}">
                <c16:uniqueId val="{0000059B-B861-4943-8ABB-0EFD67D9E823}"/>
              </c:ext>
            </c:extLst>
          </c:dPt>
          <c:dPt>
            <c:idx val="717"/>
            <c:invertIfNegative val="1"/>
            <c:bubble3D val="0"/>
            <c:spPr>
              <a:solidFill>
                <a:srgbClr val="AEABAB"/>
              </a:solidFill>
            </c:spPr>
            <c:extLst>
              <c:ext xmlns:c16="http://schemas.microsoft.com/office/drawing/2014/chart" uri="{C3380CC4-5D6E-409C-BE32-E72D297353CC}">
                <c16:uniqueId val="{0000059D-B861-4943-8ABB-0EFD67D9E823}"/>
              </c:ext>
            </c:extLst>
          </c:dPt>
          <c:dPt>
            <c:idx val="718"/>
            <c:invertIfNegative val="1"/>
            <c:bubble3D val="0"/>
            <c:spPr>
              <a:solidFill>
                <a:srgbClr val="AEABAB"/>
              </a:solidFill>
            </c:spPr>
            <c:extLst>
              <c:ext xmlns:c16="http://schemas.microsoft.com/office/drawing/2014/chart" uri="{C3380CC4-5D6E-409C-BE32-E72D297353CC}">
                <c16:uniqueId val="{0000059F-B861-4943-8ABB-0EFD67D9E823}"/>
              </c:ext>
            </c:extLst>
          </c:dPt>
          <c:dPt>
            <c:idx val="719"/>
            <c:invertIfNegative val="1"/>
            <c:bubble3D val="0"/>
            <c:spPr>
              <a:solidFill>
                <a:srgbClr val="AEABAB"/>
              </a:solidFill>
            </c:spPr>
            <c:extLst>
              <c:ext xmlns:c16="http://schemas.microsoft.com/office/drawing/2014/chart" uri="{C3380CC4-5D6E-409C-BE32-E72D297353CC}">
                <c16:uniqueId val="{000005A1-B861-4943-8ABB-0EFD67D9E823}"/>
              </c:ext>
            </c:extLst>
          </c:dPt>
          <c:dPt>
            <c:idx val="720"/>
            <c:invertIfNegative val="1"/>
            <c:bubble3D val="0"/>
            <c:spPr>
              <a:solidFill>
                <a:srgbClr val="AEABAB"/>
              </a:solidFill>
            </c:spPr>
            <c:extLst>
              <c:ext xmlns:c16="http://schemas.microsoft.com/office/drawing/2014/chart" uri="{C3380CC4-5D6E-409C-BE32-E72D297353CC}">
                <c16:uniqueId val="{000005A3-B861-4943-8ABB-0EFD67D9E823}"/>
              </c:ext>
            </c:extLst>
          </c:dPt>
          <c:dPt>
            <c:idx val="721"/>
            <c:invertIfNegative val="1"/>
            <c:bubble3D val="0"/>
            <c:spPr>
              <a:solidFill>
                <a:srgbClr val="AEABAB"/>
              </a:solidFill>
            </c:spPr>
            <c:extLst>
              <c:ext xmlns:c16="http://schemas.microsoft.com/office/drawing/2014/chart" uri="{C3380CC4-5D6E-409C-BE32-E72D297353CC}">
                <c16:uniqueId val="{000005A5-B861-4943-8ABB-0EFD67D9E823}"/>
              </c:ext>
            </c:extLst>
          </c:dPt>
          <c:dPt>
            <c:idx val="722"/>
            <c:invertIfNegative val="1"/>
            <c:bubble3D val="0"/>
            <c:spPr>
              <a:solidFill>
                <a:srgbClr val="AEABAB"/>
              </a:solidFill>
            </c:spPr>
            <c:extLst>
              <c:ext xmlns:c16="http://schemas.microsoft.com/office/drawing/2014/chart" uri="{C3380CC4-5D6E-409C-BE32-E72D297353CC}">
                <c16:uniqueId val="{000005A7-B861-4943-8ABB-0EFD67D9E823}"/>
              </c:ext>
            </c:extLst>
          </c:dPt>
          <c:dPt>
            <c:idx val="723"/>
            <c:invertIfNegative val="1"/>
            <c:bubble3D val="0"/>
            <c:spPr>
              <a:solidFill>
                <a:srgbClr val="AEABAB"/>
              </a:solidFill>
            </c:spPr>
            <c:extLst>
              <c:ext xmlns:c16="http://schemas.microsoft.com/office/drawing/2014/chart" uri="{C3380CC4-5D6E-409C-BE32-E72D297353CC}">
                <c16:uniqueId val="{000005A9-B861-4943-8ABB-0EFD67D9E823}"/>
              </c:ext>
            </c:extLst>
          </c:dPt>
          <c:dPt>
            <c:idx val="724"/>
            <c:invertIfNegative val="1"/>
            <c:bubble3D val="0"/>
            <c:spPr>
              <a:solidFill>
                <a:srgbClr val="AEABAB"/>
              </a:solidFill>
            </c:spPr>
            <c:extLst>
              <c:ext xmlns:c16="http://schemas.microsoft.com/office/drawing/2014/chart" uri="{C3380CC4-5D6E-409C-BE32-E72D297353CC}">
                <c16:uniqueId val="{000005AB-B861-4943-8ABB-0EFD67D9E823}"/>
              </c:ext>
            </c:extLst>
          </c:dPt>
          <c:dPt>
            <c:idx val="725"/>
            <c:invertIfNegative val="1"/>
            <c:bubble3D val="0"/>
            <c:spPr>
              <a:solidFill>
                <a:srgbClr val="AEABAB"/>
              </a:solidFill>
            </c:spPr>
            <c:extLst>
              <c:ext xmlns:c16="http://schemas.microsoft.com/office/drawing/2014/chart" uri="{C3380CC4-5D6E-409C-BE32-E72D297353CC}">
                <c16:uniqueId val="{000005AD-B861-4943-8ABB-0EFD67D9E823}"/>
              </c:ext>
            </c:extLst>
          </c:dPt>
          <c:dPt>
            <c:idx val="726"/>
            <c:invertIfNegative val="1"/>
            <c:bubble3D val="0"/>
            <c:spPr>
              <a:solidFill>
                <a:srgbClr val="AEABAB"/>
              </a:solidFill>
            </c:spPr>
            <c:extLst>
              <c:ext xmlns:c16="http://schemas.microsoft.com/office/drawing/2014/chart" uri="{C3380CC4-5D6E-409C-BE32-E72D297353CC}">
                <c16:uniqueId val="{000005AF-B861-4943-8ABB-0EFD67D9E823}"/>
              </c:ext>
            </c:extLst>
          </c:dPt>
          <c:dPt>
            <c:idx val="727"/>
            <c:invertIfNegative val="1"/>
            <c:bubble3D val="0"/>
            <c:spPr>
              <a:solidFill>
                <a:srgbClr val="AEABAB"/>
              </a:solidFill>
            </c:spPr>
            <c:extLst>
              <c:ext xmlns:c16="http://schemas.microsoft.com/office/drawing/2014/chart" uri="{C3380CC4-5D6E-409C-BE32-E72D297353CC}">
                <c16:uniqueId val="{000005B1-B861-4943-8ABB-0EFD67D9E823}"/>
              </c:ext>
            </c:extLst>
          </c:dPt>
          <c:dPt>
            <c:idx val="728"/>
            <c:invertIfNegative val="1"/>
            <c:bubble3D val="0"/>
            <c:spPr>
              <a:solidFill>
                <a:srgbClr val="AEABAB"/>
              </a:solidFill>
            </c:spPr>
            <c:extLst>
              <c:ext xmlns:c16="http://schemas.microsoft.com/office/drawing/2014/chart" uri="{C3380CC4-5D6E-409C-BE32-E72D297353CC}">
                <c16:uniqueId val="{000005B3-B861-4943-8ABB-0EFD67D9E823}"/>
              </c:ext>
            </c:extLst>
          </c:dPt>
          <c:dPt>
            <c:idx val="729"/>
            <c:invertIfNegative val="1"/>
            <c:bubble3D val="0"/>
            <c:spPr>
              <a:solidFill>
                <a:srgbClr val="AEABAB"/>
              </a:solidFill>
            </c:spPr>
            <c:extLst>
              <c:ext xmlns:c16="http://schemas.microsoft.com/office/drawing/2014/chart" uri="{C3380CC4-5D6E-409C-BE32-E72D297353CC}">
                <c16:uniqueId val="{000005B5-B861-4943-8ABB-0EFD67D9E823}"/>
              </c:ext>
            </c:extLst>
          </c:dPt>
          <c:dPt>
            <c:idx val="730"/>
            <c:invertIfNegative val="1"/>
            <c:bubble3D val="0"/>
            <c:spPr>
              <a:solidFill>
                <a:srgbClr val="AEABAB"/>
              </a:solidFill>
            </c:spPr>
            <c:extLst>
              <c:ext xmlns:c16="http://schemas.microsoft.com/office/drawing/2014/chart" uri="{C3380CC4-5D6E-409C-BE32-E72D297353CC}">
                <c16:uniqueId val="{000005B7-B861-4943-8ABB-0EFD67D9E823}"/>
              </c:ext>
            </c:extLst>
          </c:dPt>
          <c:dPt>
            <c:idx val="731"/>
            <c:invertIfNegative val="1"/>
            <c:bubble3D val="0"/>
            <c:spPr>
              <a:solidFill>
                <a:srgbClr val="AEABAB"/>
              </a:solidFill>
            </c:spPr>
            <c:extLst>
              <c:ext xmlns:c16="http://schemas.microsoft.com/office/drawing/2014/chart" uri="{C3380CC4-5D6E-409C-BE32-E72D297353CC}">
                <c16:uniqueId val="{000005B9-B861-4943-8ABB-0EFD67D9E823}"/>
              </c:ext>
            </c:extLst>
          </c:dPt>
          <c:dPt>
            <c:idx val="732"/>
            <c:invertIfNegative val="1"/>
            <c:bubble3D val="0"/>
            <c:spPr>
              <a:solidFill>
                <a:srgbClr val="AEABAB"/>
              </a:solidFill>
            </c:spPr>
            <c:extLst>
              <c:ext xmlns:c16="http://schemas.microsoft.com/office/drawing/2014/chart" uri="{C3380CC4-5D6E-409C-BE32-E72D297353CC}">
                <c16:uniqueId val="{000005BB-B861-4943-8ABB-0EFD67D9E823}"/>
              </c:ext>
            </c:extLst>
          </c:dPt>
          <c:dPt>
            <c:idx val="733"/>
            <c:invertIfNegative val="1"/>
            <c:bubble3D val="0"/>
            <c:spPr>
              <a:solidFill>
                <a:srgbClr val="AEABAB"/>
              </a:solidFill>
            </c:spPr>
            <c:extLst>
              <c:ext xmlns:c16="http://schemas.microsoft.com/office/drawing/2014/chart" uri="{C3380CC4-5D6E-409C-BE32-E72D297353CC}">
                <c16:uniqueId val="{000005BD-B861-4943-8ABB-0EFD67D9E823}"/>
              </c:ext>
            </c:extLst>
          </c:dPt>
          <c:dPt>
            <c:idx val="734"/>
            <c:invertIfNegative val="1"/>
            <c:bubble3D val="0"/>
            <c:spPr>
              <a:solidFill>
                <a:srgbClr val="AEABAB"/>
              </a:solidFill>
            </c:spPr>
            <c:extLst>
              <c:ext xmlns:c16="http://schemas.microsoft.com/office/drawing/2014/chart" uri="{C3380CC4-5D6E-409C-BE32-E72D297353CC}">
                <c16:uniqueId val="{000005BF-B861-4943-8ABB-0EFD67D9E823}"/>
              </c:ext>
            </c:extLst>
          </c:dPt>
          <c:dPt>
            <c:idx val="735"/>
            <c:invertIfNegative val="1"/>
            <c:bubble3D val="0"/>
            <c:spPr>
              <a:solidFill>
                <a:srgbClr val="AEABAB"/>
              </a:solidFill>
            </c:spPr>
            <c:extLst>
              <c:ext xmlns:c16="http://schemas.microsoft.com/office/drawing/2014/chart" uri="{C3380CC4-5D6E-409C-BE32-E72D297353CC}">
                <c16:uniqueId val="{000005C1-B861-4943-8ABB-0EFD67D9E823}"/>
              </c:ext>
            </c:extLst>
          </c:dPt>
          <c:dPt>
            <c:idx val="736"/>
            <c:invertIfNegative val="1"/>
            <c:bubble3D val="0"/>
            <c:spPr>
              <a:solidFill>
                <a:srgbClr val="AEABAB"/>
              </a:solidFill>
            </c:spPr>
            <c:extLst>
              <c:ext xmlns:c16="http://schemas.microsoft.com/office/drawing/2014/chart" uri="{C3380CC4-5D6E-409C-BE32-E72D297353CC}">
                <c16:uniqueId val="{000005C3-B861-4943-8ABB-0EFD67D9E823}"/>
              </c:ext>
            </c:extLst>
          </c:dPt>
          <c:dPt>
            <c:idx val="737"/>
            <c:invertIfNegative val="1"/>
            <c:bubble3D val="0"/>
            <c:spPr>
              <a:solidFill>
                <a:srgbClr val="AEABAB"/>
              </a:solidFill>
            </c:spPr>
            <c:extLst>
              <c:ext xmlns:c16="http://schemas.microsoft.com/office/drawing/2014/chart" uri="{C3380CC4-5D6E-409C-BE32-E72D297353CC}">
                <c16:uniqueId val="{000005C5-B861-4943-8ABB-0EFD67D9E823}"/>
              </c:ext>
            </c:extLst>
          </c:dPt>
          <c:dPt>
            <c:idx val="738"/>
            <c:invertIfNegative val="1"/>
            <c:bubble3D val="0"/>
            <c:spPr>
              <a:solidFill>
                <a:srgbClr val="AEABAB"/>
              </a:solidFill>
            </c:spPr>
            <c:extLst>
              <c:ext xmlns:c16="http://schemas.microsoft.com/office/drawing/2014/chart" uri="{C3380CC4-5D6E-409C-BE32-E72D297353CC}">
                <c16:uniqueId val="{000005C7-B861-4943-8ABB-0EFD67D9E823}"/>
              </c:ext>
            </c:extLst>
          </c:dPt>
          <c:dPt>
            <c:idx val="739"/>
            <c:invertIfNegative val="1"/>
            <c:bubble3D val="0"/>
            <c:spPr>
              <a:solidFill>
                <a:srgbClr val="AEABAB"/>
              </a:solidFill>
            </c:spPr>
            <c:extLst>
              <c:ext xmlns:c16="http://schemas.microsoft.com/office/drawing/2014/chart" uri="{C3380CC4-5D6E-409C-BE32-E72D297353CC}">
                <c16:uniqueId val="{000005C9-B861-4943-8ABB-0EFD67D9E823}"/>
              </c:ext>
            </c:extLst>
          </c:dPt>
          <c:dPt>
            <c:idx val="740"/>
            <c:invertIfNegative val="1"/>
            <c:bubble3D val="0"/>
            <c:spPr>
              <a:solidFill>
                <a:srgbClr val="AEABAB"/>
              </a:solidFill>
            </c:spPr>
            <c:extLst>
              <c:ext xmlns:c16="http://schemas.microsoft.com/office/drawing/2014/chart" uri="{C3380CC4-5D6E-409C-BE32-E72D297353CC}">
                <c16:uniqueId val="{000005CB-B861-4943-8ABB-0EFD67D9E823}"/>
              </c:ext>
            </c:extLst>
          </c:dPt>
          <c:dPt>
            <c:idx val="741"/>
            <c:invertIfNegative val="1"/>
            <c:bubble3D val="0"/>
            <c:spPr>
              <a:solidFill>
                <a:srgbClr val="AEABAB"/>
              </a:solidFill>
            </c:spPr>
            <c:extLst>
              <c:ext xmlns:c16="http://schemas.microsoft.com/office/drawing/2014/chart" uri="{C3380CC4-5D6E-409C-BE32-E72D297353CC}">
                <c16:uniqueId val="{000005CD-B861-4943-8ABB-0EFD67D9E823}"/>
              </c:ext>
            </c:extLst>
          </c:dPt>
          <c:dPt>
            <c:idx val="742"/>
            <c:invertIfNegative val="1"/>
            <c:bubble3D val="0"/>
            <c:spPr>
              <a:solidFill>
                <a:srgbClr val="AEABAB"/>
              </a:solidFill>
            </c:spPr>
            <c:extLst>
              <c:ext xmlns:c16="http://schemas.microsoft.com/office/drawing/2014/chart" uri="{C3380CC4-5D6E-409C-BE32-E72D297353CC}">
                <c16:uniqueId val="{000005CF-B861-4943-8ABB-0EFD67D9E823}"/>
              </c:ext>
            </c:extLst>
          </c:dPt>
          <c:dPt>
            <c:idx val="743"/>
            <c:invertIfNegative val="1"/>
            <c:bubble3D val="0"/>
            <c:spPr>
              <a:solidFill>
                <a:srgbClr val="AEABAB"/>
              </a:solidFill>
            </c:spPr>
            <c:extLst>
              <c:ext xmlns:c16="http://schemas.microsoft.com/office/drawing/2014/chart" uri="{C3380CC4-5D6E-409C-BE32-E72D297353CC}">
                <c16:uniqueId val="{000005D1-B861-4943-8ABB-0EFD67D9E823}"/>
              </c:ext>
            </c:extLst>
          </c:dPt>
          <c:dPt>
            <c:idx val="744"/>
            <c:invertIfNegative val="1"/>
            <c:bubble3D val="0"/>
            <c:spPr>
              <a:solidFill>
                <a:srgbClr val="AEABAB"/>
              </a:solidFill>
            </c:spPr>
            <c:extLst>
              <c:ext xmlns:c16="http://schemas.microsoft.com/office/drawing/2014/chart" uri="{C3380CC4-5D6E-409C-BE32-E72D297353CC}">
                <c16:uniqueId val="{000005D3-B861-4943-8ABB-0EFD67D9E823}"/>
              </c:ext>
            </c:extLst>
          </c:dPt>
          <c:dPt>
            <c:idx val="745"/>
            <c:invertIfNegative val="1"/>
            <c:bubble3D val="0"/>
            <c:spPr>
              <a:solidFill>
                <a:srgbClr val="AEABAB"/>
              </a:solidFill>
            </c:spPr>
            <c:extLst>
              <c:ext xmlns:c16="http://schemas.microsoft.com/office/drawing/2014/chart" uri="{C3380CC4-5D6E-409C-BE32-E72D297353CC}">
                <c16:uniqueId val="{000005D5-B861-4943-8ABB-0EFD67D9E823}"/>
              </c:ext>
            </c:extLst>
          </c:dPt>
          <c:dPt>
            <c:idx val="746"/>
            <c:invertIfNegative val="1"/>
            <c:bubble3D val="0"/>
            <c:spPr>
              <a:solidFill>
                <a:srgbClr val="AEABAB"/>
              </a:solidFill>
            </c:spPr>
            <c:extLst>
              <c:ext xmlns:c16="http://schemas.microsoft.com/office/drawing/2014/chart" uri="{C3380CC4-5D6E-409C-BE32-E72D297353CC}">
                <c16:uniqueId val="{000005D7-B861-4943-8ABB-0EFD67D9E823}"/>
              </c:ext>
            </c:extLst>
          </c:dPt>
          <c:dPt>
            <c:idx val="747"/>
            <c:invertIfNegative val="1"/>
            <c:bubble3D val="0"/>
            <c:spPr>
              <a:solidFill>
                <a:srgbClr val="AEABAB"/>
              </a:solidFill>
            </c:spPr>
            <c:extLst>
              <c:ext xmlns:c16="http://schemas.microsoft.com/office/drawing/2014/chart" uri="{C3380CC4-5D6E-409C-BE32-E72D297353CC}">
                <c16:uniqueId val="{000005D9-B861-4943-8ABB-0EFD67D9E823}"/>
              </c:ext>
            </c:extLst>
          </c:dPt>
          <c:dPt>
            <c:idx val="748"/>
            <c:invertIfNegative val="1"/>
            <c:bubble3D val="0"/>
            <c:spPr>
              <a:solidFill>
                <a:srgbClr val="AEABAB"/>
              </a:solidFill>
            </c:spPr>
            <c:extLst>
              <c:ext xmlns:c16="http://schemas.microsoft.com/office/drawing/2014/chart" uri="{C3380CC4-5D6E-409C-BE32-E72D297353CC}">
                <c16:uniqueId val="{000005DB-B861-4943-8ABB-0EFD67D9E823}"/>
              </c:ext>
            </c:extLst>
          </c:dPt>
          <c:dPt>
            <c:idx val="749"/>
            <c:invertIfNegative val="1"/>
            <c:bubble3D val="0"/>
            <c:spPr>
              <a:solidFill>
                <a:srgbClr val="AEABAB"/>
              </a:solidFill>
            </c:spPr>
            <c:extLst>
              <c:ext xmlns:c16="http://schemas.microsoft.com/office/drawing/2014/chart" uri="{C3380CC4-5D6E-409C-BE32-E72D297353CC}">
                <c16:uniqueId val="{000005DD-B861-4943-8ABB-0EFD67D9E823}"/>
              </c:ext>
            </c:extLst>
          </c:dPt>
          <c:dPt>
            <c:idx val="750"/>
            <c:invertIfNegative val="1"/>
            <c:bubble3D val="0"/>
            <c:spPr>
              <a:solidFill>
                <a:srgbClr val="AEABAB"/>
              </a:solidFill>
            </c:spPr>
            <c:extLst>
              <c:ext xmlns:c16="http://schemas.microsoft.com/office/drawing/2014/chart" uri="{C3380CC4-5D6E-409C-BE32-E72D297353CC}">
                <c16:uniqueId val="{000005DF-B861-4943-8ABB-0EFD67D9E823}"/>
              </c:ext>
            </c:extLst>
          </c:dPt>
          <c:dPt>
            <c:idx val="751"/>
            <c:invertIfNegative val="1"/>
            <c:bubble3D val="0"/>
            <c:spPr>
              <a:solidFill>
                <a:srgbClr val="AEABAB"/>
              </a:solidFill>
            </c:spPr>
            <c:extLst>
              <c:ext xmlns:c16="http://schemas.microsoft.com/office/drawing/2014/chart" uri="{C3380CC4-5D6E-409C-BE32-E72D297353CC}">
                <c16:uniqueId val="{000005E1-B861-4943-8ABB-0EFD67D9E823}"/>
              </c:ext>
            </c:extLst>
          </c:dPt>
          <c:dPt>
            <c:idx val="752"/>
            <c:invertIfNegative val="1"/>
            <c:bubble3D val="0"/>
            <c:spPr>
              <a:solidFill>
                <a:srgbClr val="AEABAB"/>
              </a:solidFill>
            </c:spPr>
            <c:extLst>
              <c:ext xmlns:c16="http://schemas.microsoft.com/office/drawing/2014/chart" uri="{C3380CC4-5D6E-409C-BE32-E72D297353CC}">
                <c16:uniqueId val="{000005E3-B861-4943-8ABB-0EFD67D9E823}"/>
              </c:ext>
            </c:extLst>
          </c:dPt>
          <c:dPt>
            <c:idx val="753"/>
            <c:invertIfNegative val="1"/>
            <c:bubble3D val="0"/>
            <c:spPr>
              <a:solidFill>
                <a:srgbClr val="AEABAB"/>
              </a:solidFill>
            </c:spPr>
            <c:extLst>
              <c:ext xmlns:c16="http://schemas.microsoft.com/office/drawing/2014/chart" uri="{C3380CC4-5D6E-409C-BE32-E72D297353CC}">
                <c16:uniqueId val="{000005E5-B861-4943-8ABB-0EFD67D9E823}"/>
              </c:ext>
            </c:extLst>
          </c:dPt>
          <c:dPt>
            <c:idx val="754"/>
            <c:invertIfNegative val="1"/>
            <c:bubble3D val="0"/>
            <c:spPr>
              <a:solidFill>
                <a:srgbClr val="AEABAB"/>
              </a:solidFill>
            </c:spPr>
            <c:extLst>
              <c:ext xmlns:c16="http://schemas.microsoft.com/office/drawing/2014/chart" uri="{C3380CC4-5D6E-409C-BE32-E72D297353CC}">
                <c16:uniqueId val="{000005E7-B861-4943-8ABB-0EFD67D9E823}"/>
              </c:ext>
            </c:extLst>
          </c:dPt>
          <c:dPt>
            <c:idx val="755"/>
            <c:invertIfNegative val="1"/>
            <c:bubble3D val="0"/>
            <c:spPr>
              <a:solidFill>
                <a:srgbClr val="AEABAB"/>
              </a:solidFill>
            </c:spPr>
            <c:extLst>
              <c:ext xmlns:c16="http://schemas.microsoft.com/office/drawing/2014/chart" uri="{C3380CC4-5D6E-409C-BE32-E72D297353CC}">
                <c16:uniqueId val="{000005E9-B861-4943-8ABB-0EFD67D9E823}"/>
              </c:ext>
            </c:extLst>
          </c:dPt>
          <c:dPt>
            <c:idx val="756"/>
            <c:invertIfNegative val="1"/>
            <c:bubble3D val="0"/>
            <c:spPr>
              <a:solidFill>
                <a:srgbClr val="AEABAB"/>
              </a:solidFill>
            </c:spPr>
            <c:extLst>
              <c:ext xmlns:c16="http://schemas.microsoft.com/office/drawing/2014/chart" uri="{C3380CC4-5D6E-409C-BE32-E72D297353CC}">
                <c16:uniqueId val="{000005EB-B861-4943-8ABB-0EFD67D9E823}"/>
              </c:ext>
            </c:extLst>
          </c:dPt>
          <c:dPt>
            <c:idx val="757"/>
            <c:invertIfNegative val="1"/>
            <c:bubble3D val="0"/>
            <c:spPr>
              <a:solidFill>
                <a:srgbClr val="AEABAB"/>
              </a:solidFill>
            </c:spPr>
            <c:extLst>
              <c:ext xmlns:c16="http://schemas.microsoft.com/office/drawing/2014/chart" uri="{C3380CC4-5D6E-409C-BE32-E72D297353CC}">
                <c16:uniqueId val="{000005ED-B861-4943-8ABB-0EFD67D9E823}"/>
              </c:ext>
            </c:extLst>
          </c:dPt>
          <c:dPt>
            <c:idx val="758"/>
            <c:invertIfNegative val="1"/>
            <c:bubble3D val="0"/>
            <c:spPr>
              <a:solidFill>
                <a:srgbClr val="AEABAB"/>
              </a:solidFill>
            </c:spPr>
            <c:extLst>
              <c:ext xmlns:c16="http://schemas.microsoft.com/office/drawing/2014/chart" uri="{C3380CC4-5D6E-409C-BE32-E72D297353CC}">
                <c16:uniqueId val="{000005EF-B861-4943-8ABB-0EFD67D9E823}"/>
              </c:ext>
            </c:extLst>
          </c:dPt>
          <c:dPt>
            <c:idx val="759"/>
            <c:invertIfNegative val="1"/>
            <c:bubble3D val="0"/>
            <c:spPr>
              <a:solidFill>
                <a:srgbClr val="AEABAB"/>
              </a:solidFill>
            </c:spPr>
            <c:extLst>
              <c:ext xmlns:c16="http://schemas.microsoft.com/office/drawing/2014/chart" uri="{C3380CC4-5D6E-409C-BE32-E72D297353CC}">
                <c16:uniqueId val="{000005F1-B861-4943-8ABB-0EFD67D9E823}"/>
              </c:ext>
            </c:extLst>
          </c:dPt>
          <c:dPt>
            <c:idx val="760"/>
            <c:invertIfNegative val="1"/>
            <c:bubble3D val="0"/>
            <c:spPr>
              <a:solidFill>
                <a:srgbClr val="AEABAB"/>
              </a:solidFill>
            </c:spPr>
            <c:extLst>
              <c:ext xmlns:c16="http://schemas.microsoft.com/office/drawing/2014/chart" uri="{C3380CC4-5D6E-409C-BE32-E72D297353CC}">
                <c16:uniqueId val="{000005F3-B861-4943-8ABB-0EFD67D9E823}"/>
              </c:ext>
            </c:extLst>
          </c:dPt>
          <c:dPt>
            <c:idx val="761"/>
            <c:invertIfNegative val="1"/>
            <c:bubble3D val="0"/>
            <c:spPr>
              <a:solidFill>
                <a:srgbClr val="AEABAB"/>
              </a:solidFill>
            </c:spPr>
            <c:extLst>
              <c:ext xmlns:c16="http://schemas.microsoft.com/office/drawing/2014/chart" uri="{C3380CC4-5D6E-409C-BE32-E72D297353CC}">
                <c16:uniqueId val="{000005F5-B861-4943-8ABB-0EFD67D9E823}"/>
              </c:ext>
            </c:extLst>
          </c:dPt>
          <c:dPt>
            <c:idx val="762"/>
            <c:invertIfNegative val="1"/>
            <c:bubble3D val="0"/>
            <c:spPr>
              <a:solidFill>
                <a:srgbClr val="AEABAB"/>
              </a:solidFill>
            </c:spPr>
            <c:extLst>
              <c:ext xmlns:c16="http://schemas.microsoft.com/office/drawing/2014/chart" uri="{C3380CC4-5D6E-409C-BE32-E72D297353CC}">
                <c16:uniqueId val="{000005F7-B861-4943-8ABB-0EFD67D9E823}"/>
              </c:ext>
            </c:extLst>
          </c:dPt>
          <c:dPt>
            <c:idx val="763"/>
            <c:invertIfNegative val="1"/>
            <c:bubble3D val="0"/>
            <c:spPr>
              <a:solidFill>
                <a:srgbClr val="AEABAB"/>
              </a:solidFill>
            </c:spPr>
            <c:extLst>
              <c:ext xmlns:c16="http://schemas.microsoft.com/office/drawing/2014/chart" uri="{C3380CC4-5D6E-409C-BE32-E72D297353CC}">
                <c16:uniqueId val="{000005F9-B861-4943-8ABB-0EFD67D9E823}"/>
              </c:ext>
            </c:extLst>
          </c:dPt>
          <c:dPt>
            <c:idx val="764"/>
            <c:invertIfNegative val="1"/>
            <c:bubble3D val="0"/>
            <c:spPr>
              <a:solidFill>
                <a:srgbClr val="AEABAB"/>
              </a:solidFill>
            </c:spPr>
            <c:extLst>
              <c:ext xmlns:c16="http://schemas.microsoft.com/office/drawing/2014/chart" uri="{C3380CC4-5D6E-409C-BE32-E72D297353CC}">
                <c16:uniqueId val="{000005FB-B861-4943-8ABB-0EFD67D9E823}"/>
              </c:ext>
            </c:extLst>
          </c:dPt>
          <c:dPt>
            <c:idx val="765"/>
            <c:invertIfNegative val="1"/>
            <c:bubble3D val="0"/>
            <c:spPr>
              <a:solidFill>
                <a:srgbClr val="AEABAB"/>
              </a:solidFill>
            </c:spPr>
            <c:extLst>
              <c:ext xmlns:c16="http://schemas.microsoft.com/office/drawing/2014/chart" uri="{C3380CC4-5D6E-409C-BE32-E72D297353CC}">
                <c16:uniqueId val="{000005FD-B861-4943-8ABB-0EFD67D9E823}"/>
              </c:ext>
            </c:extLst>
          </c:dPt>
          <c:dPt>
            <c:idx val="766"/>
            <c:invertIfNegative val="1"/>
            <c:bubble3D val="0"/>
            <c:spPr>
              <a:solidFill>
                <a:srgbClr val="AEABAB"/>
              </a:solidFill>
            </c:spPr>
            <c:extLst>
              <c:ext xmlns:c16="http://schemas.microsoft.com/office/drawing/2014/chart" uri="{C3380CC4-5D6E-409C-BE32-E72D297353CC}">
                <c16:uniqueId val="{000005FF-B861-4943-8ABB-0EFD67D9E823}"/>
              </c:ext>
            </c:extLst>
          </c:dPt>
          <c:dPt>
            <c:idx val="767"/>
            <c:invertIfNegative val="1"/>
            <c:bubble3D val="0"/>
            <c:spPr>
              <a:solidFill>
                <a:srgbClr val="AEABAB"/>
              </a:solidFill>
            </c:spPr>
            <c:extLst>
              <c:ext xmlns:c16="http://schemas.microsoft.com/office/drawing/2014/chart" uri="{C3380CC4-5D6E-409C-BE32-E72D297353CC}">
                <c16:uniqueId val="{00000601-B861-4943-8ABB-0EFD67D9E823}"/>
              </c:ext>
            </c:extLst>
          </c:dPt>
          <c:dPt>
            <c:idx val="768"/>
            <c:invertIfNegative val="1"/>
            <c:bubble3D val="0"/>
            <c:spPr>
              <a:solidFill>
                <a:srgbClr val="AEABAB"/>
              </a:solidFill>
            </c:spPr>
            <c:extLst>
              <c:ext xmlns:c16="http://schemas.microsoft.com/office/drawing/2014/chart" uri="{C3380CC4-5D6E-409C-BE32-E72D297353CC}">
                <c16:uniqueId val="{00000603-B861-4943-8ABB-0EFD67D9E823}"/>
              </c:ext>
            </c:extLst>
          </c:dPt>
          <c:dPt>
            <c:idx val="769"/>
            <c:invertIfNegative val="1"/>
            <c:bubble3D val="0"/>
            <c:spPr>
              <a:solidFill>
                <a:srgbClr val="AEABAB"/>
              </a:solidFill>
            </c:spPr>
            <c:extLst>
              <c:ext xmlns:c16="http://schemas.microsoft.com/office/drawing/2014/chart" uri="{C3380CC4-5D6E-409C-BE32-E72D297353CC}">
                <c16:uniqueId val="{00000605-B861-4943-8ABB-0EFD67D9E823}"/>
              </c:ext>
            </c:extLst>
          </c:dPt>
          <c:dPt>
            <c:idx val="770"/>
            <c:invertIfNegative val="1"/>
            <c:bubble3D val="0"/>
            <c:spPr>
              <a:solidFill>
                <a:srgbClr val="AEABAB"/>
              </a:solidFill>
            </c:spPr>
            <c:extLst>
              <c:ext xmlns:c16="http://schemas.microsoft.com/office/drawing/2014/chart" uri="{C3380CC4-5D6E-409C-BE32-E72D297353CC}">
                <c16:uniqueId val="{00000607-B861-4943-8ABB-0EFD67D9E823}"/>
              </c:ext>
            </c:extLst>
          </c:dPt>
          <c:dPt>
            <c:idx val="771"/>
            <c:invertIfNegative val="1"/>
            <c:bubble3D val="0"/>
            <c:spPr>
              <a:solidFill>
                <a:srgbClr val="AEABAB"/>
              </a:solidFill>
            </c:spPr>
            <c:extLst>
              <c:ext xmlns:c16="http://schemas.microsoft.com/office/drawing/2014/chart" uri="{C3380CC4-5D6E-409C-BE32-E72D297353CC}">
                <c16:uniqueId val="{00000609-B861-4943-8ABB-0EFD67D9E823}"/>
              </c:ext>
            </c:extLst>
          </c:dPt>
          <c:dPt>
            <c:idx val="772"/>
            <c:invertIfNegative val="1"/>
            <c:bubble3D val="0"/>
            <c:spPr>
              <a:solidFill>
                <a:srgbClr val="AEABAB"/>
              </a:solidFill>
            </c:spPr>
            <c:extLst>
              <c:ext xmlns:c16="http://schemas.microsoft.com/office/drawing/2014/chart" uri="{C3380CC4-5D6E-409C-BE32-E72D297353CC}">
                <c16:uniqueId val="{0000060B-B861-4943-8ABB-0EFD67D9E823}"/>
              </c:ext>
            </c:extLst>
          </c:dPt>
          <c:dPt>
            <c:idx val="773"/>
            <c:invertIfNegative val="1"/>
            <c:bubble3D val="0"/>
            <c:spPr>
              <a:solidFill>
                <a:srgbClr val="AEABAB"/>
              </a:solidFill>
            </c:spPr>
            <c:extLst>
              <c:ext xmlns:c16="http://schemas.microsoft.com/office/drawing/2014/chart" uri="{C3380CC4-5D6E-409C-BE32-E72D297353CC}">
                <c16:uniqueId val="{0000060D-B861-4943-8ABB-0EFD67D9E823}"/>
              </c:ext>
            </c:extLst>
          </c:dPt>
          <c:dPt>
            <c:idx val="774"/>
            <c:invertIfNegative val="1"/>
            <c:bubble3D val="0"/>
            <c:spPr>
              <a:solidFill>
                <a:srgbClr val="AEABAB"/>
              </a:solidFill>
            </c:spPr>
            <c:extLst>
              <c:ext xmlns:c16="http://schemas.microsoft.com/office/drawing/2014/chart" uri="{C3380CC4-5D6E-409C-BE32-E72D297353CC}">
                <c16:uniqueId val="{0000060F-B861-4943-8ABB-0EFD67D9E823}"/>
              </c:ext>
            </c:extLst>
          </c:dPt>
          <c:dPt>
            <c:idx val="775"/>
            <c:invertIfNegative val="1"/>
            <c:bubble3D val="0"/>
            <c:spPr>
              <a:solidFill>
                <a:srgbClr val="AEABAB"/>
              </a:solidFill>
            </c:spPr>
            <c:extLst>
              <c:ext xmlns:c16="http://schemas.microsoft.com/office/drawing/2014/chart" uri="{C3380CC4-5D6E-409C-BE32-E72D297353CC}">
                <c16:uniqueId val="{00000611-B861-4943-8ABB-0EFD67D9E823}"/>
              </c:ext>
            </c:extLst>
          </c:dPt>
          <c:dPt>
            <c:idx val="776"/>
            <c:invertIfNegative val="1"/>
            <c:bubble3D val="0"/>
            <c:spPr>
              <a:solidFill>
                <a:srgbClr val="AEABAB"/>
              </a:solidFill>
            </c:spPr>
            <c:extLst>
              <c:ext xmlns:c16="http://schemas.microsoft.com/office/drawing/2014/chart" uri="{C3380CC4-5D6E-409C-BE32-E72D297353CC}">
                <c16:uniqueId val="{00000613-B861-4943-8ABB-0EFD67D9E823}"/>
              </c:ext>
            </c:extLst>
          </c:dPt>
          <c:dPt>
            <c:idx val="777"/>
            <c:invertIfNegative val="1"/>
            <c:bubble3D val="0"/>
            <c:spPr>
              <a:solidFill>
                <a:srgbClr val="AEABAB"/>
              </a:solidFill>
            </c:spPr>
            <c:extLst>
              <c:ext xmlns:c16="http://schemas.microsoft.com/office/drawing/2014/chart" uri="{C3380CC4-5D6E-409C-BE32-E72D297353CC}">
                <c16:uniqueId val="{00000615-B861-4943-8ABB-0EFD67D9E823}"/>
              </c:ext>
            </c:extLst>
          </c:dPt>
          <c:dPt>
            <c:idx val="778"/>
            <c:invertIfNegative val="1"/>
            <c:bubble3D val="0"/>
            <c:spPr>
              <a:solidFill>
                <a:srgbClr val="AEABAB"/>
              </a:solidFill>
            </c:spPr>
            <c:extLst>
              <c:ext xmlns:c16="http://schemas.microsoft.com/office/drawing/2014/chart" uri="{C3380CC4-5D6E-409C-BE32-E72D297353CC}">
                <c16:uniqueId val="{00000617-B861-4943-8ABB-0EFD67D9E823}"/>
              </c:ext>
            </c:extLst>
          </c:dPt>
          <c:dPt>
            <c:idx val="779"/>
            <c:invertIfNegative val="1"/>
            <c:bubble3D val="0"/>
            <c:spPr>
              <a:solidFill>
                <a:srgbClr val="AEABAB"/>
              </a:solidFill>
            </c:spPr>
            <c:extLst>
              <c:ext xmlns:c16="http://schemas.microsoft.com/office/drawing/2014/chart" uri="{C3380CC4-5D6E-409C-BE32-E72D297353CC}">
                <c16:uniqueId val="{00000619-B861-4943-8ABB-0EFD67D9E823}"/>
              </c:ext>
            </c:extLst>
          </c:dPt>
          <c:dPt>
            <c:idx val="780"/>
            <c:invertIfNegative val="1"/>
            <c:bubble3D val="0"/>
            <c:spPr>
              <a:solidFill>
                <a:srgbClr val="AEABAB"/>
              </a:solidFill>
            </c:spPr>
            <c:extLst>
              <c:ext xmlns:c16="http://schemas.microsoft.com/office/drawing/2014/chart" uri="{C3380CC4-5D6E-409C-BE32-E72D297353CC}">
                <c16:uniqueId val="{0000061B-B861-4943-8ABB-0EFD67D9E823}"/>
              </c:ext>
            </c:extLst>
          </c:dPt>
          <c:dPt>
            <c:idx val="781"/>
            <c:invertIfNegative val="1"/>
            <c:bubble3D val="0"/>
            <c:spPr>
              <a:solidFill>
                <a:srgbClr val="AEABAB"/>
              </a:solidFill>
            </c:spPr>
            <c:extLst>
              <c:ext xmlns:c16="http://schemas.microsoft.com/office/drawing/2014/chart" uri="{C3380CC4-5D6E-409C-BE32-E72D297353CC}">
                <c16:uniqueId val="{0000061D-B861-4943-8ABB-0EFD67D9E823}"/>
              </c:ext>
            </c:extLst>
          </c:dPt>
          <c:dPt>
            <c:idx val="782"/>
            <c:invertIfNegative val="1"/>
            <c:bubble3D val="0"/>
            <c:spPr>
              <a:solidFill>
                <a:srgbClr val="AEABAB"/>
              </a:solidFill>
            </c:spPr>
            <c:extLst>
              <c:ext xmlns:c16="http://schemas.microsoft.com/office/drawing/2014/chart" uri="{C3380CC4-5D6E-409C-BE32-E72D297353CC}">
                <c16:uniqueId val="{0000061F-B861-4943-8ABB-0EFD67D9E823}"/>
              </c:ext>
            </c:extLst>
          </c:dPt>
          <c:dPt>
            <c:idx val="783"/>
            <c:invertIfNegative val="1"/>
            <c:bubble3D val="0"/>
            <c:spPr>
              <a:solidFill>
                <a:srgbClr val="AEABAB"/>
              </a:solidFill>
            </c:spPr>
            <c:extLst>
              <c:ext xmlns:c16="http://schemas.microsoft.com/office/drawing/2014/chart" uri="{C3380CC4-5D6E-409C-BE32-E72D297353CC}">
                <c16:uniqueId val="{00000621-B861-4943-8ABB-0EFD67D9E823}"/>
              </c:ext>
            </c:extLst>
          </c:dPt>
          <c:dPt>
            <c:idx val="784"/>
            <c:invertIfNegative val="1"/>
            <c:bubble3D val="0"/>
            <c:spPr>
              <a:solidFill>
                <a:srgbClr val="AEABAB"/>
              </a:solidFill>
            </c:spPr>
            <c:extLst>
              <c:ext xmlns:c16="http://schemas.microsoft.com/office/drawing/2014/chart" uri="{C3380CC4-5D6E-409C-BE32-E72D297353CC}">
                <c16:uniqueId val="{00000623-B861-4943-8ABB-0EFD67D9E823}"/>
              </c:ext>
            </c:extLst>
          </c:dPt>
          <c:dPt>
            <c:idx val="785"/>
            <c:invertIfNegative val="1"/>
            <c:bubble3D val="0"/>
            <c:spPr>
              <a:solidFill>
                <a:srgbClr val="AEABAB"/>
              </a:solidFill>
            </c:spPr>
            <c:extLst>
              <c:ext xmlns:c16="http://schemas.microsoft.com/office/drawing/2014/chart" uri="{C3380CC4-5D6E-409C-BE32-E72D297353CC}">
                <c16:uniqueId val="{00000625-B861-4943-8ABB-0EFD67D9E823}"/>
              </c:ext>
            </c:extLst>
          </c:dPt>
          <c:dPt>
            <c:idx val="786"/>
            <c:invertIfNegative val="1"/>
            <c:bubble3D val="0"/>
            <c:spPr>
              <a:solidFill>
                <a:srgbClr val="AEABAB"/>
              </a:solidFill>
            </c:spPr>
            <c:extLst>
              <c:ext xmlns:c16="http://schemas.microsoft.com/office/drawing/2014/chart" uri="{C3380CC4-5D6E-409C-BE32-E72D297353CC}">
                <c16:uniqueId val="{00000627-B861-4943-8ABB-0EFD67D9E823}"/>
              </c:ext>
            </c:extLst>
          </c:dPt>
          <c:dPt>
            <c:idx val="787"/>
            <c:invertIfNegative val="1"/>
            <c:bubble3D val="0"/>
            <c:spPr>
              <a:solidFill>
                <a:srgbClr val="AEABAB"/>
              </a:solidFill>
            </c:spPr>
            <c:extLst>
              <c:ext xmlns:c16="http://schemas.microsoft.com/office/drawing/2014/chart" uri="{C3380CC4-5D6E-409C-BE32-E72D297353CC}">
                <c16:uniqueId val="{00000629-B861-4943-8ABB-0EFD67D9E823}"/>
              </c:ext>
            </c:extLst>
          </c:dPt>
          <c:dPt>
            <c:idx val="788"/>
            <c:invertIfNegative val="1"/>
            <c:bubble3D val="0"/>
            <c:spPr>
              <a:solidFill>
                <a:srgbClr val="AEABAB"/>
              </a:solidFill>
            </c:spPr>
            <c:extLst>
              <c:ext xmlns:c16="http://schemas.microsoft.com/office/drawing/2014/chart" uri="{C3380CC4-5D6E-409C-BE32-E72D297353CC}">
                <c16:uniqueId val="{0000062B-B861-4943-8ABB-0EFD67D9E823}"/>
              </c:ext>
            </c:extLst>
          </c:dPt>
          <c:dPt>
            <c:idx val="789"/>
            <c:invertIfNegative val="1"/>
            <c:bubble3D val="0"/>
            <c:spPr>
              <a:solidFill>
                <a:srgbClr val="AEABAB"/>
              </a:solidFill>
            </c:spPr>
            <c:extLst>
              <c:ext xmlns:c16="http://schemas.microsoft.com/office/drawing/2014/chart" uri="{C3380CC4-5D6E-409C-BE32-E72D297353CC}">
                <c16:uniqueId val="{0000062D-B861-4943-8ABB-0EFD67D9E823}"/>
              </c:ext>
            </c:extLst>
          </c:dPt>
          <c:dPt>
            <c:idx val="790"/>
            <c:invertIfNegative val="1"/>
            <c:bubble3D val="0"/>
            <c:spPr>
              <a:solidFill>
                <a:srgbClr val="AEABAB"/>
              </a:solidFill>
            </c:spPr>
            <c:extLst>
              <c:ext xmlns:c16="http://schemas.microsoft.com/office/drawing/2014/chart" uri="{C3380CC4-5D6E-409C-BE32-E72D297353CC}">
                <c16:uniqueId val="{0000062F-B861-4943-8ABB-0EFD67D9E823}"/>
              </c:ext>
            </c:extLst>
          </c:dPt>
          <c:dPt>
            <c:idx val="791"/>
            <c:invertIfNegative val="1"/>
            <c:bubble3D val="0"/>
            <c:spPr>
              <a:solidFill>
                <a:srgbClr val="AEABAB"/>
              </a:solidFill>
            </c:spPr>
            <c:extLst>
              <c:ext xmlns:c16="http://schemas.microsoft.com/office/drawing/2014/chart" uri="{C3380CC4-5D6E-409C-BE32-E72D297353CC}">
                <c16:uniqueId val="{00000631-B861-4943-8ABB-0EFD67D9E823}"/>
              </c:ext>
            </c:extLst>
          </c:dPt>
          <c:dPt>
            <c:idx val="792"/>
            <c:invertIfNegative val="1"/>
            <c:bubble3D val="0"/>
            <c:spPr>
              <a:solidFill>
                <a:srgbClr val="AEABAB"/>
              </a:solidFill>
            </c:spPr>
            <c:extLst>
              <c:ext xmlns:c16="http://schemas.microsoft.com/office/drawing/2014/chart" uri="{C3380CC4-5D6E-409C-BE32-E72D297353CC}">
                <c16:uniqueId val="{00000633-B861-4943-8ABB-0EFD67D9E823}"/>
              </c:ext>
            </c:extLst>
          </c:dPt>
          <c:dPt>
            <c:idx val="793"/>
            <c:invertIfNegative val="1"/>
            <c:bubble3D val="0"/>
            <c:spPr>
              <a:solidFill>
                <a:srgbClr val="AEABAB"/>
              </a:solidFill>
            </c:spPr>
            <c:extLst>
              <c:ext xmlns:c16="http://schemas.microsoft.com/office/drawing/2014/chart" uri="{C3380CC4-5D6E-409C-BE32-E72D297353CC}">
                <c16:uniqueId val="{00000635-B861-4943-8ABB-0EFD67D9E823}"/>
              </c:ext>
            </c:extLst>
          </c:dPt>
          <c:dPt>
            <c:idx val="794"/>
            <c:invertIfNegative val="1"/>
            <c:bubble3D val="0"/>
            <c:spPr>
              <a:solidFill>
                <a:srgbClr val="AEABAB"/>
              </a:solidFill>
            </c:spPr>
            <c:extLst>
              <c:ext xmlns:c16="http://schemas.microsoft.com/office/drawing/2014/chart" uri="{C3380CC4-5D6E-409C-BE32-E72D297353CC}">
                <c16:uniqueId val="{00000637-B861-4943-8ABB-0EFD67D9E823}"/>
              </c:ext>
            </c:extLst>
          </c:dPt>
          <c:dPt>
            <c:idx val="795"/>
            <c:invertIfNegative val="1"/>
            <c:bubble3D val="0"/>
            <c:spPr>
              <a:solidFill>
                <a:srgbClr val="AEABAB"/>
              </a:solidFill>
            </c:spPr>
            <c:extLst>
              <c:ext xmlns:c16="http://schemas.microsoft.com/office/drawing/2014/chart" uri="{C3380CC4-5D6E-409C-BE32-E72D297353CC}">
                <c16:uniqueId val="{00000639-B861-4943-8ABB-0EFD67D9E823}"/>
              </c:ext>
            </c:extLst>
          </c:dPt>
          <c:dPt>
            <c:idx val="796"/>
            <c:invertIfNegative val="1"/>
            <c:bubble3D val="0"/>
            <c:spPr>
              <a:solidFill>
                <a:srgbClr val="AEABAB"/>
              </a:solidFill>
            </c:spPr>
            <c:extLst>
              <c:ext xmlns:c16="http://schemas.microsoft.com/office/drawing/2014/chart" uri="{C3380CC4-5D6E-409C-BE32-E72D297353CC}">
                <c16:uniqueId val="{0000063B-B861-4943-8ABB-0EFD67D9E823}"/>
              </c:ext>
            </c:extLst>
          </c:dPt>
          <c:dPt>
            <c:idx val="797"/>
            <c:invertIfNegative val="1"/>
            <c:bubble3D val="0"/>
            <c:spPr>
              <a:solidFill>
                <a:srgbClr val="AEABAB"/>
              </a:solidFill>
            </c:spPr>
            <c:extLst>
              <c:ext xmlns:c16="http://schemas.microsoft.com/office/drawing/2014/chart" uri="{C3380CC4-5D6E-409C-BE32-E72D297353CC}">
                <c16:uniqueId val="{0000063D-B861-4943-8ABB-0EFD67D9E823}"/>
              </c:ext>
            </c:extLst>
          </c:dPt>
          <c:dPt>
            <c:idx val="798"/>
            <c:invertIfNegative val="1"/>
            <c:bubble3D val="0"/>
            <c:spPr>
              <a:solidFill>
                <a:srgbClr val="AEABAB"/>
              </a:solidFill>
            </c:spPr>
            <c:extLst>
              <c:ext xmlns:c16="http://schemas.microsoft.com/office/drawing/2014/chart" uri="{C3380CC4-5D6E-409C-BE32-E72D297353CC}">
                <c16:uniqueId val="{0000063F-B861-4943-8ABB-0EFD67D9E823}"/>
              </c:ext>
            </c:extLst>
          </c:dPt>
          <c:dPt>
            <c:idx val="799"/>
            <c:invertIfNegative val="1"/>
            <c:bubble3D val="0"/>
            <c:spPr>
              <a:solidFill>
                <a:srgbClr val="AEABAB"/>
              </a:solidFill>
            </c:spPr>
            <c:extLst>
              <c:ext xmlns:c16="http://schemas.microsoft.com/office/drawing/2014/chart" uri="{C3380CC4-5D6E-409C-BE32-E72D297353CC}">
                <c16:uniqueId val="{00000641-B861-4943-8ABB-0EFD67D9E823}"/>
              </c:ext>
            </c:extLst>
          </c:dPt>
          <c:dPt>
            <c:idx val="800"/>
            <c:invertIfNegative val="1"/>
            <c:bubble3D val="0"/>
            <c:spPr>
              <a:solidFill>
                <a:srgbClr val="AEABAB"/>
              </a:solidFill>
            </c:spPr>
            <c:extLst>
              <c:ext xmlns:c16="http://schemas.microsoft.com/office/drawing/2014/chart" uri="{C3380CC4-5D6E-409C-BE32-E72D297353CC}">
                <c16:uniqueId val="{00000643-B861-4943-8ABB-0EFD67D9E823}"/>
              </c:ext>
            </c:extLst>
          </c:dPt>
          <c:dPt>
            <c:idx val="801"/>
            <c:invertIfNegative val="1"/>
            <c:bubble3D val="0"/>
            <c:spPr>
              <a:solidFill>
                <a:srgbClr val="AEABAB"/>
              </a:solidFill>
            </c:spPr>
            <c:extLst>
              <c:ext xmlns:c16="http://schemas.microsoft.com/office/drawing/2014/chart" uri="{C3380CC4-5D6E-409C-BE32-E72D297353CC}">
                <c16:uniqueId val="{00000645-B861-4943-8ABB-0EFD67D9E823}"/>
              </c:ext>
            </c:extLst>
          </c:dPt>
          <c:dPt>
            <c:idx val="802"/>
            <c:invertIfNegative val="1"/>
            <c:bubble3D val="0"/>
            <c:spPr>
              <a:solidFill>
                <a:srgbClr val="AEABAB"/>
              </a:solidFill>
            </c:spPr>
            <c:extLst>
              <c:ext xmlns:c16="http://schemas.microsoft.com/office/drawing/2014/chart" uri="{C3380CC4-5D6E-409C-BE32-E72D297353CC}">
                <c16:uniqueId val="{00000647-B861-4943-8ABB-0EFD67D9E823}"/>
              </c:ext>
            </c:extLst>
          </c:dPt>
          <c:dPt>
            <c:idx val="803"/>
            <c:invertIfNegative val="1"/>
            <c:bubble3D val="0"/>
            <c:spPr>
              <a:solidFill>
                <a:srgbClr val="AEABAB"/>
              </a:solidFill>
            </c:spPr>
            <c:extLst>
              <c:ext xmlns:c16="http://schemas.microsoft.com/office/drawing/2014/chart" uri="{C3380CC4-5D6E-409C-BE32-E72D297353CC}">
                <c16:uniqueId val="{00000649-B861-4943-8ABB-0EFD67D9E823}"/>
              </c:ext>
            </c:extLst>
          </c:dPt>
          <c:dPt>
            <c:idx val="804"/>
            <c:invertIfNegative val="1"/>
            <c:bubble3D val="0"/>
            <c:spPr>
              <a:solidFill>
                <a:srgbClr val="AEABAB"/>
              </a:solidFill>
            </c:spPr>
            <c:extLst>
              <c:ext xmlns:c16="http://schemas.microsoft.com/office/drawing/2014/chart" uri="{C3380CC4-5D6E-409C-BE32-E72D297353CC}">
                <c16:uniqueId val="{0000064B-B861-4943-8ABB-0EFD67D9E823}"/>
              </c:ext>
            </c:extLst>
          </c:dPt>
          <c:dPt>
            <c:idx val="805"/>
            <c:invertIfNegative val="1"/>
            <c:bubble3D val="0"/>
            <c:spPr>
              <a:solidFill>
                <a:srgbClr val="AEABAB"/>
              </a:solidFill>
            </c:spPr>
            <c:extLst>
              <c:ext xmlns:c16="http://schemas.microsoft.com/office/drawing/2014/chart" uri="{C3380CC4-5D6E-409C-BE32-E72D297353CC}">
                <c16:uniqueId val="{0000064D-B861-4943-8ABB-0EFD67D9E823}"/>
              </c:ext>
            </c:extLst>
          </c:dPt>
          <c:dPt>
            <c:idx val="806"/>
            <c:invertIfNegative val="1"/>
            <c:bubble3D val="0"/>
            <c:spPr>
              <a:solidFill>
                <a:srgbClr val="AEABAB"/>
              </a:solidFill>
            </c:spPr>
            <c:extLst>
              <c:ext xmlns:c16="http://schemas.microsoft.com/office/drawing/2014/chart" uri="{C3380CC4-5D6E-409C-BE32-E72D297353CC}">
                <c16:uniqueId val="{0000064F-B861-4943-8ABB-0EFD67D9E823}"/>
              </c:ext>
            </c:extLst>
          </c:dPt>
          <c:dPt>
            <c:idx val="807"/>
            <c:invertIfNegative val="1"/>
            <c:bubble3D val="0"/>
            <c:spPr>
              <a:solidFill>
                <a:srgbClr val="AEABAB"/>
              </a:solidFill>
            </c:spPr>
            <c:extLst>
              <c:ext xmlns:c16="http://schemas.microsoft.com/office/drawing/2014/chart" uri="{C3380CC4-5D6E-409C-BE32-E72D297353CC}">
                <c16:uniqueId val="{00000651-B861-4943-8ABB-0EFD67D9E823}"/>
              </c:ext>
            </c:extLst>
          </c:dPt>
          <c:dPt>
            <c:idx val="808"/>
            <c:invertIfNegative val="1"/>
            <c:bubble3D val="0"/>
            <c:spPr>
              <a:solidFill>
                <a:srgbClr val="AEABAB"/>
              </a:solidFill>
            </c:spPr>
            <c:extLst>
              <c:ext xmlns:c16="http://schemas.microsoft.com/office/drawing/2014/chart" uri="{C3380CC4-5D6E-409C-BE32-E72D297353CC}">
                <c16:uniqueId val="{00000653-B861-4943-8ABB-0EFD67D9E823}"/>
              </c:ext>
            </c:extLst>
          </c:dPt>
          <c:dPt>
            <c:idx val="809"/>
            <c:invertIfNegative val="1"/>
            <c:bubble3D val="0"/>
            <c:spPr>
              <a:solidFill>
                <a:srgbClr val="AEABAB"/>
              </a:solidFill>
            </c:spPr>
            <c:extLst>
              <c:ext xmlns:c16="http://schemas.microsoft.com/office/drawing/2014/chart" uri="{C3380CC4-5D6E-409C-BE32-E72D297353CC}">
                <c16:uniqueId val="{00000655-B861-4943-8ABB-0EFD67D9E823}"/>
              </c:ext>
            </c:extLst>
          </c:dPt>
          <c:dPt>
            <c:idx val="810"/>
            <c:invertIfNegative val="1"/>
            <c:bubble3D val="0"/>
            <c:spPr>
              <a:solidFill>
                <a:srgbClr val="AEABAB"/>
              </a:solidFill>
            </c:spPr>
            <c:extLst>
              <c:ext xmlns:c16="http://schemas.microsoft.com/office/drawing/2014/chart" uri="{C3380CC4-5D6E-409C-BE32-E72D297353CC}">
                <c16:uniqueId val="{00000657-B861-4943-8ABB-0EFD67D9E823}"/>
              </c:ext>
            </c:extLst>
          </c:dPt>
          <c:dPt>
            <c:idx val="811"/>
            <c:invertIfNegative val="1"/>
            <c:bubble3D val="0"/>
            <c:spPr>
              <a:solidFill>
                <a:srgbClr val="AEABAB"/>
              </a:solidFill>
            </c:spPr>
            <c:extLst>
              <c:ext xmlns:c16="http://schemas.microsoft.com/office/drawing/2014/chart" uri="{C3380CC4-5D6E-409C-BE32-E72D297353CC}">
                <c16:uniqueId val="{00000659-B861-4943-8ABB-0EFD67D9E823}"/>
              </c:ext>
            </c:extLst>
          </c:dPt>
          <c:dPt>
            <c:idx val="812"/>
            <c:invertIfNegative val="1"/>
            <c:bubble3D val="0"/>
            <c:spPr>
              <a:solidFill>
                <a:srgbClr val="AEABAB"/>
              </a:solidFill>
            </c:spPr>
            <c:extLst>
              <c:ext xmlns:c16="http://schemas.microsoft.com/office/drawing/2014/chart" uri="{C3380CC4-5D6E-409C-BE32-E72D297353CC}">
                <c16:uniqueId val="{0000065B-B861-4943-8ABB-0EFD67D9E823}"/>
              </c:ext>
            </c:extLst>
          </c:dPt>
          <c:dPt>
            <c:idx val="813"/>
            <c:invertIfNegative val="1"/>
            <c:bubble3D val="0"/>
            <c:spPr>
              <a:solidFill>
                <a:srgbClr val="AEABAB"/>
              </a:solidFill>
            </c:spPr>
            <c:extLst>
              <c:ext xmlns:c16="http://schemas.microsoft.com/office/drawing/2014/chart" uri="{C3380CC4-5D6E-409C-BE32-E72D297353CC}">
                <c16:uniqueId val="{0000065D-B861-4943-8ABB-0EFD67D9E823}"/>
              </c:ext>
            </c:extLst>
          </c:dPt>
          <c:dPt>
            <c:idx val="814"/>
            <c:invertIfNegative val="1"/>
            <c:bubble3D val="0"/>
            <c:spPr>
              <a:solidFill>
                <a:srgbClr val="AEABAB"/>
              </a:solidFill>
            </c:spPr>
            <c:extLst>
              <c:ext xmlns:c16="http://schemas.microsoft.com/office/drawing/2014/chart" uri="{C3380CC4-5D6E-409C-BE32-E72D297353CC}">
                <c16:uniqueId val="{0000065F-B861-4943-8ABB-0EFD67D9E823}"/>
              </c:ext>
            </c:extLst>
          </c:dPt>
          <c:dPt>
            <c:idx val="815"/>
            <c:invertIfNegative val="1"/>
            <c:bubble3D val="0"/>
            <c:spPr>
              <a:solidFill>
                <a:srgbClr val="AEABAB"/>
              </a:solidFill>
            </c:spPr>
            <c:extLst>
              <c:ext xmlns:c16="http://schemas.microsoft.com/office/drawing/2014/chart" uri="{C3380CC4-5D6E-409C-BE32-E72D297353CC}">
                <c16:uniqueId val="{00000661-B861-4943-8ABB-0EFD67D9E823}"/>
              </c:ext>
            </c:extLst>
          </c:dPt>
          <c:dPt>
            <c:idx val="816"/>
            <c:invertIfNegative val="1"/>
            <c:bubble3D val="0"/>
            <c:spPr>
              <a:solidFill>
                <a:srgbClr val="AEABAB"/>
              </a:solidFill>
            </c:spPr>
            <c:extLst>
              <c:ext xmlns:c16="http://schemas.microsoft.com/office/drawing/2014/chart" uri="{C3380CC4-5D6E-409C-BE32-E72D297353CC}">
                <c16:uniqueId val="{00000663-B861-4943-8ABB-0EFD67D9E823}"/>
              </c:ext>
            </c:extLst>
          </c:dPt>
          <c:dPt>
            <c:idx val="817"/>
            <c:invertIfNegative val="1"/>
            <c:bubble3D val="0"/>
            <c:spPr>
              <a:solidFill>
                <a:srgbClr val="AEABAB"/>
              </a:solidFill>
            </c:spPr>
            <c:extLst>
              <c:ext xmlns:c16="http://schemas.microsoft.com/office/drawing/2014/chart" uri="{C3380CC4-5D6E-409C-BE32-E72D297353CC}">
                <c16:uniqueId val="{00000665-B861-4943-8ABB-0EFD67D9E823}"/>
              </c:ext>
            </c:extLst>
          </c:dPt>
          <c:dPt>
            <c:idx val="818"/>
            <c:invertIfNegative val="1"/>
            <c:bubble3D val="0"/>
            <c:spPr>
              <a:solidFill>
                <a:srgbClr val="AEABAB"/>
              </a:solidFill>
            </c:spPr>
            <c:extLst>
              <c:ext xmlns:c16="http://schemas.microsoft.com/office/drawing/2014/chart" uri="{C3380CC4-5D6E-409C-BE32-E72D297353CC}">
                <c16:uniqueId val="{00000667-B861-4943-8ABB-0EFD67D9E823}"/>
              </c:ext>
            </c:extLst>
          </c:dPt>
          <c:dPt>
            <c:idx val="819"/>
            <c:invertIfNegative val="1"/>
            <c:bubble3D val="0"/>
            <c:spPr>
              <a:solidFill>
                <a:srgbClr val="AEABAB"/>
              </a:solidFill>
            </c:spPr>
            <c:extLst>
              <c:ext xmlns:c16="http://schemas.microsoft.com/office/drawing/2014/chart" uri="{C3380CC4-5D6E-409C-BE32-E72D297353CC}">
                <c16:uniqueId val="{00000669-B861-4943-8ABB-0EFD67D9E823}"/>
              </c:ext>
            </c:extLst>
          </c:dPt>
          <c:dPt>
            <c:idx val="820"/>
            <c:invertIfNegative val="1"/>
            <c:bubble3D val="0"/>
            <c:spPr>
              <a:solidFill>
                <a:srgbClr val="AEABAB"/>
              </a:solidFill>
            </c:spPr>
            <c:extLst>
              <c:ext xmlns:c16="http://schemas.microsoft.com/office/drawing/2014/chart" uri="{C3380CC4-5D6E-409C-BE32-E72D297353CC}">
                <c16:uniqueId val="{0000066B-B861-4943-8ABB-0EFD67D9E823}"/>
              </c:ext>
            </c:extLst>
          </c:dPt>
          <c:dPt>
            <c:idx val="821"/>
            <c:invertIfNegative val="1"/>
            <c:bubble3D val="0"/>
            <c:spPr>
              <a:solidFill>
                <a:srgbClr val="AEABAB"/>
              </a:solidFill>
            </c:spPr>
            <c:extLst>
              <c:ext xmlns:c16="http://schemas.microsoft.com/office/drawing/2014/chart" uri="{C3380CC4-5D6E-409C-BE32-E72D297353CC}">
                <c16:uniqueId val="{0000066D-B861-4943-8ABB-0EFD67D9E823}"/>
              </c:ext>
            </c:extLst>
          </c:dPt>
          <c:dPt>
            <c:idx val="822"/>
            <c:invertIfNegative val="1"/>
            <c:bubble3D val="0"/>
            <c:spPr>
              <a:solidFill>
                <a:srgbClr val="AEABAB"/>
              </a:solidFill>
            </c:spPr>
            <c:extLst>
              <c:ext xmlns:c16="http://schemas.microsoft.com/office/drawing/2014/chart" uri="{C3380CC4-5D6E-409C-BE32-E72D297353CC}">
                <c16:uniqueId val="{0000066F-B861-4943-8ABB-0EFD67D9E823}"/>
              </c:ext>
            </c:extLst>
          </c:dPt>
          <c:dPt>
            <c:idx val="823"/>
            <c:invertIfNegative val="1"/>
            <c:bubble3D val="0"/>
            <c:spPr>
              <a:solidFill>
                <a:srgbClr val="AEABAB"/>
              </a:solidFill>
            </c:spPr>
            <c:extLst>
              <c:ext xmlns:c16="http://schemas.microsoft.com/office/drawing/2014/chart" uri="{C3380CC4-5D6E-409C-BE32-E72D297353CC}">
                <c16:uniqueId val="{00000671-B861-4943-8ABB-0EFD67D9E823}"/>
              </c:ext>
            </c:extLst>
          </c:dPt>
          <c:dPt>
            <c:idx val="824"/>
            <c:invertIfNegative val="1"/>
            <c:bubble3D val="0"/>
            <c:spPr>
              <a:solidFill>
                <a:srgbClr val="AEABAB"/>
              </a:solidFill>
            </c:spPr>
            <c:extLst>
              <c:ext xmlns:c16="http://schemas.microsoft.com/office/drawing/2014/chart" uri="{C3380CC4-5D6E-409C-BE32-E72D297353CC}">
                <c16:uniqueId val="{00000673-B861-4943-8ABB-0EFD67D9E823}"/>
              </c:ext>
            </c:extLst>
          </c:dPt>
          <c:dPt>
            <c:idx val="825"/>
            <c:invertIfNegative val="1"/>
            <c:bubble3D val="0"/>
            <c:spPr>
              <a:solidFill>
                <a:srgbClr val="AEABAB"/>
              </a:solidFill>
            </c:spPr>
            <c:extLst>
              <c:ext xmlns:c16="http://schemas.microsoft.com/office/drawing/2014/chart" uri="{C3380CC4-5D6E-409C-BE32-E72D297353CC}">
                <c16:uniqueId val="{00000675-B861-4943-8ABB-0EFD67D9E823}"/>
              </c:ext>
            </c:extLst>
          </c:dPt>
          <c:dPt>
            <c:idx val="826"/>
            <c:invertIfNegative val="1"/>
            <c:bubble3D val="0"/>
            <c:spPr>
              <a:solidFill>
                <a:srgbClr val="AEABAB"/>
              </a:solidFill>
            </c:spPr>
            <c:extLst>
              <c:ext xmlns:c16="http://schemas.microsoft.com/office/drawing/2014/chart" uri="{C3380CC4-5D6E-409C-BE32-E72D297353CC}">
                <c16:uniqueId val="{00000677-B861-4943-8ABB-0EFD67D9E823}"/>
              </c:ext>
            </c:extLst>
          </c:dPt>
          <c:dPt>
            <c:idx val="827"/>
            <c:invertIfNegative val="1"/>
            <c:bubble3D val="0"/>
            <c:spPr>
              <a:solidFill>
                <a:srgbClr val="AEABAB"/>
              </a:solidFill>
            </c:spPr>
            <c:extLst>
              <c:ext xmlns:c16="http://schemas.microsoft.com/office/drawing/2014/chart" uri="{C3380CC4-5D6E-409C-BE32-E72D297353CC}">
                <c16:uniqueId val="{00000679-B861-4943-8ABB-0EFD67D9E823}"/>
              </c:ext>
            </c:extLst>
          </c:dPt>
          <c:dPt>
            <c:idx val="828"/>
            <c:invertIfNegative val="1"/>
            <c:bubble3D val="0"/>
            <c:spPr>
              <a:solidFill>
                <a:srgbClr val="AEABAB"/>
              </a:solidFill>
            </c:spPr>
            <c:extLst>
              <c:ext xmlns:c16="http://schemas.microsoft.com/office/drawing/2014/chart" uri="{C3380CC4-5D6E-409C-BE32-E72D297353CC}">
                <c16:uniqueId val="{0000067B-B861-4943-8ABB-0EFD67D9E823}"/>
              </c:ext>
            </c:extLst>
          </c:dPt>
          <c:dPt>
            <c:idx val="829"/>
            <c:invertIfNegative val="1"/>
            <c:bubble3D val="0"/>
            <c:spPr>
              <a:solidFill>
                <a:srgbClr val="AEABAB"/>
              </a:solidFill>
            </c:spPr>
            <c:extLst>
              <c:ext xmlns:c16="http://schemas.microsoft.com/office/drawing/2014/chart" uri="{C3380CC4-5D6E-409C-BE32-E72D297353CC}">
                <c16:uniqueId val="{0000067D-B861-4943-8ABB-0EFD67D9E823}"/>
              </c:ext>
            </c:extLst>
          </c:dPt>
          <c:dPt>
            <c:idx val="830"/>
            <c:invertIfNegative val="1"/>
            <c:bubble3D val="0"/>
            <c:spPr>
              <a:solidFill>
                <a:srgbClr val="AEABAB"/>
              </a:solidFill>
            </c:spPr>
            <c:extLst>
              <c:ext xmlns:c16="http://schemas.microsoft.com/office/drawing/2014/chart" uri="{C3380CC4-5D6E-409C-BE32-E72D297353CC}">
                <c16:uniqueId val="{0000067F-B861-4943-8ABB-0EFD67D9E823}"/>
              </c:ext>
            </c:extLst>
          </c:dPt>
          <c:dPt>
            <c:idx val="831"/>
            <c:invertIfNegative val="1"/>
            <c:bubble3D val="0"/>
            <c:spPr>
              <a:solidFill>
                <a:srgbClr val="AEABAB"/>
              </a:solidFill>
            </c:spPr>
            <c:extLst>
              <c:ext xmlns:c16="http://schemas.microsoft.com/office/drawing/2014/chart" uri="{C3380CC4-5D6E-409C-BE32-E72D297353CC}">
                <c16:uniqueId val="{00000681-B861-4943-8ABB-0EFD67D9E823}"/>
              </c:ext>
            </c:extLst>
          </c:dPt>
          <c:dPt>
            <c:idx val="832"/>
            <c:invertIfNegative val="1"/>
            <c:bubble3D val="0"/>
            <c:spPr>
              <a:solidFill>
                <a:srgbClr val="AEABAB"/>
              </a:solidFill>
            </c:spPr>
            <c:extLst>
              <c:ext xmlns:c16="http://schemas.microsoft.com/office/drawing/2014/chart" uri="{C3380CC4-5D6E-409C-BE32-E72D297353CC}">
                <c16:uniqueId val="{00000683-B861-4943-8ABB-0EFD67D9E823}"/>
              </c:ext>
            </c:extLst>
          </c:dPt>
          <c:dPt>
            <c:idx val="833"/>
            <c:invertIfNegative val="1"/>
            <c:bubble3D val="0"/>
            <c:spPr>
              <a:solidFill>
                <a:srgbClr val="AEABAB"/>
              </a:solidFill>
            </c:spPr>
            <c:extLst>
              <c:ext xmlns:c16="http://schemas.microsoft.com/office/drawing/2014/chart" uri="{C3380CC4-5D6E-409C-BE32-E72D297353CC}">
                <c16:uniqueId val="{00000685-B861-4943-8ABB-0EFD67D9E823}"/>
              </c:ext>
            </c:extLst>
          </c:dPt>
          <c:dPt>
            <c:idx val="834"/>
            <c:invertIfNegative val="1"/>
            <c:bubble3D val="0"/>
            <c:spPr>
              <a:solidFill>
                <a:srgbClr val="AEABAB"/>
              </a:solidFill>
            </c:spPr>
            <c:extLst>
              <c:ext xmlns:c16="http://schemas.microsoft.com/office/drawing/2014/chart" uri="{C3380CC4-5D6E-409C-BE32-E72D297353CC}">
                <c16:uniqueId val="{00000687-B861-4943-8ABB-0EFD67D9E823}"/>
              </c:ext>
            </c:extLst>
          </c:dPt>
          <c:dPt>
            <c:idx val="835"/>
            <c:invertIfNegative val="1"/>
            <c:bubble3D val="0"/>
            <c:spPr>
              <a:solidFill>
                <a:srgbClr val="AEABAB"/>
              </a:solidFill>
            </c:spPr>
            <c:extLst>
              <c:ext xmlns:c16="http://schemas.microsoft.com/office/drawing/2014/chart" uri="{C3380CC4-5D6E-409C-BE32-E72D297353CC}">
                <c16:uniqueId val="{00000689-B861-4943-8ABB-0EFD67D9E823}"/>
              </c:ext>
            </c:extLst>
          </c:dPt>
          <c:dPt>
            <c:idx val="836"/>
            <c:invertIfNegative val="1"/>
            <c:bubble3D val="0"/>
            <c:spPr>
              <a:solidFill>
                <a:srgbClr val="AEABAB"/>
              </a:solidFill>
            </c:spPr>
            <c:extLst>
              <c:ext xmlns:c16="http://schemas.microsoft.com/office/drawing/2014/chart" uri="{C3380CC4-5D6E-409C-BE32-E72D297353CC}">
                <c16:uniqueId val="{0000068B-B861-4943-8ABB-0EFD67D9E823}"/>
              </c:ext>
            </c:extLst>
          </c:dPt>
          <c:dPt>
            <c:idx val="837"/>
            <c:invertIfNegative val="1"/>
            <c:bubble3D val="0"/>
            <c:spPr>
              <a:solidFill>
                <a:srgbClr val="AEABAB"/>
              </a:solidFill>
            </c:spPr>
            <c:extLst>
              <c:ext xmlns:c16="http://schemas.microsoft.com/office/drawing/2014/chart" uri="{C3380CC4-5D6E-409C-BE32-E72D297353CC}">
                <c16:uniqueId val="{0000068D-B861-4943-8ABB-0EFD67D9E823}"/>
              </c:ext>
            </c:extLst>
          </c:dPt>
          <c:dPt>
            <c:idx val="838"/>
            <c:invertIfNegative val="1"/>
            <c:bubble3D val="0"/>
            <c:spPr>
              <a:solidFill>
                <a:srgbClr val="AEABAB"/>
              </a:solidFill>
            </c:spPr>
            <c:extLst>
              <c:ext xmlns:c16="http://schemas.microsoft.com/office/drawing/2014/chart" uri="{C3380CC4-5D6E-409C-BE32-E72D297353CC}">
                <c16:uniqueId val="{0000068F-B861-4943-8ABB-0EFD67D9E823}"/>
              </c:ext>
            </c:extLst>
          </c:dPt>
          <c:dPt>
            <c:idx val="839"/>
            <c:invertIfNegative val="1"/>
            <c:bubble3D val="0"/>
            <c:spPr>
              <a:solidFill>
                <a:srgbClr val="AEABAB"/>
              </a:solidFill>
            </c:spPr>
            <c:extLst>
              <c:ext xmlns:c16="http://schemas.microsoft.com/office/drawing/2014/chart" uri="{C3380CC4-5D6E-409C-BE32-E72D297353CC}">
                <c16:uniqueId val="{00000691-B861-4943-8ABB-0EFD67D9E823}"/>
              </c:ext>
            </c:extLst>
          </c:dPt>
          <c:dPt>
            <c:idx val="840"/>
            <c:invertIfNegative val="1"/>
            <c:bubble3D val="0"/>
            <c:spPr>
              <a:solidFill>
                <a:srgbClr val="AEABAB"/>
              </a:solidFill>
            </c:spPr>
            <c:extLst>
              <c:ext xmlns:c16="http://schemas.microsoft.com/office/drawing/2014/chart" uri="{C3380CC4-5D6E-409C-BE32-E72D297353CC}">
                <c16:uniqueId val="{00000693-B861-4943-8ABB-0EFD67D9E823}"/>
              </c:ext>
            </c:extLst>
          </c:dPt>
          <c:dPt>
            <c:idx val="841"/>
            <c:invertIfNegative val="1"/>
            <c:bubble3D val="0"/>
            <c:spPr>
              <a:solidFill>
                <a:srgbClr val="AEABAB"/>
              </a:solidFill>
            </c:spPr>
            <c:extLst>
              <c:ext xmlns:c16="http://schemas.microsoft.com/office/drawing/2014/chart" uri="{C3380CC4-5D6E-409C-BE32-E72D297353CC}">
                <c16:uniqueId val="{00000695-B861-4943-8ABB-0EFD67D9E823}"/>
              </c:ext>
            </c:extLst>
          </c:dPt>
          <c:dPt>
            <c:idx val="842"/>
            <c:invertIfNegative val="1"/>
            <c:bubble3D val="0"/>
            <c:spPr>
              <a:solidFill>
                <a:srgbClr val="AEABAB"/>
              </a:solidFill>
            </c:spPr>
            <c:extLst>
              <c:ext xmlns:c16="http://schemas.microsoft.com/office/drawing/2014/chart" uri="{C3380CC4-5D6E-409C-BE32-E72D297353CC}">
                <c16:uniqueId val="{00000697-B861-4943-8ABB-0EFD67D9E823}"/>
              </c:ext>
            </c:extLst>
          </c:dPt>
          <c:dPt>
            <c:idx val="843"/>
            <c:invertIfNegative val="1"/>
            <c:bubble3D val="0"/>
            <c:spPr>
              <a:solidFill>
                <a:srgbClr val="AEABAB"/>
              </a:solidFill>
            </c:spPr>
            <c:extLst>
              <c:ext xmlns:c16="http://schemas.microsoft.com/office/drawing/2014/chart" uri="{C3380CC4-5D6E-409C-BE32-E72D297353CC}">
                <c16:uniqueId val="{00000699-B861-4943-8ABB-0EFD67D9E823}"/>
              </c:ext>
            </c:extLst>
          </c:dPt>
          <c:dPt>
            <c:idx val="844"/>
            <c:invertIfNegative val="1"/>
            <c:bubble3D val="0"/>
            <c:spPr>
              <a:solidFill>
                <a:srgbClr val="AEABAB"/>
              </a:solidFill>
            </c:spPr>
            <c:extLst>
              <c:ext xmlns:c16="http://schemas.microsoft.com/office/drawing/2014/chart" uri="{C3380CC4-5D6E-409C-BE32-E72D297353CC}">
                <c16:uniqueId val="{0000069B-B861-4943-8ABB-0EFD67D9E823}"/>
              </c:ext>
            </c:extLst>
          </c:dPt>
          <c:dPt>
            <c:idx val="845"/>
            <c:invertIfNegative val="1"/>
            <c:bubble3D val="0"/>
            <c:spPr>
              <a:solidFill>
                <a:srgbClr val="AEABAB"/>
              </a:solidFill>
            </c:spPr>
            <c:extLst>
              <c:ext xmlns:c16="http://schemas.microsoft.com/office/drawing/2014/chart" uri="{C3380CC4-5D6E-409C-BE32-E72D297353CC}">
                <c16:uniqueId val="{0000069D-B861-4943-8ABB-0EFD67D9E823}"/>
              </c:ext>
            </c:extLst>
          </c:dPt>
          <c:dPt>
            <c:idx val="846"/>
            <c:invertIfNegative val="1"/>
            <c:bubble3D val="0"/>
            <c:spPr>
              <a:solidFill>
                <a:srgbClr val="AEABAB"/>
              </a:solidFill>
            </c:spPr>
            <c:extLst>
              <c:ext xmlns:c16="http://schemas.microsoft.com/office/drawing/2014/chart" uri="{C3380CC4-5D6E-409C-BE32-E72D297353CC}">
                <c16:uniqueId val="{0000069F-B861-4943-8ABB-0EFD67D9E823}"/>
              </c:ext>
            </c:extLst>
          </c:dPt>
          <c:dPt>
            <c:idx val="847"/>
            <c:invertIfNegative val="1"/>
            <c:bubble3D val="0"/>
            <c:spPr>
              <a:solidFill>
                <a:srgbClr val="AEABAB"/>
              </a:solidFill>
            </c:spPr>
            <c:extLst>
              <c:ext xmlns:c16="http://schemas.microsoft.com/office/drawing/2014/chart" uri="{C3380CC4-5D6E-409C-BE32-E72D297353CC}">
                <c16:uniqueId val="{000006A1-B861-4943-8ABB-0EFD67D9E823}"/>
              </c:ext>
            </c:extLst>
          </c:dPt>
          <c:dPt>
            <c:idx val="848"/>
            <c:invertIfNegative val="1"/>
            <c:bubble3D val="0"/>
            <c:spPr>
              <a:solidFill>
                <a:srgbClr val="AEABAB"/>
              </a:solidFill>
            </c:spPr>
            <c:extLst>
              <c:ext xmlns:c16="http://schemas.microsoft.com/office/drawing/2014/chart" uri="{C3380CC4-5D6E-409C-BE32-E72D297353CC}">
                <c16:uniqueId val="{000006A3-B861-4943-8ABB-0EFD67D9E823}"/>
              </c:ext>
            </c:extLst>
          </c:dPt>
          <c:dPt>
            <c:idx val="849"/>
            <c:invertIfNegative val="1"/>
            <c:bubble3D val="0"/>
            <c:spPr>
              <a:solidFill>
                <a:srgbClr val="AEABAB"/>
              </a:solidFill>
            </c:spPr>
            <c:extLst>
              <c:ext xmlns:c16="http://schemas.microsoft.com/office/drawing/2014/chart" uri="{C3380CC4-5D6E-409C-BE32-E72D297353CC}">
                <c16:uniqueId val="{000006A5-B861-4943-8ABB-0EFD67D9E823}"/>
              </c:ext>
            </c:extLst>
          </c:dPt>
          <c:dPt>
            <c:idx val="850"/>
            <c:invertIfNegative val="1"/>
            <c:bubble3D val="0"/>
            <c:spPr>
              <a:solidFill>
                <a:srgbClr val="AEABAB"/>
              </a:solidFill>
            </c:spPr>
            <c:extLst>
              <c:ext xmlns:c16="http://schemas.microsoft.com/office/drawing/2014/chart" uri="{C3380CC4-5D6E-409C-BE32-E72D297353CC}">
                <c16:uniqueId val="{000006A7-B861-4943-8ABB-0EFD67D9E823}"/>
              </c:ext>
            </c:extLst>
          </c:dPt>
          <c:dPt>
            <c:idx val="851"/>
            <c:invertIfNegative val="1"/>
            <c:bubble3D val="0"/>
            <c:spPr>
              <a:solidFill>
                <a:srgbClr val="AEABAB"/>
              </a:solidFill>
            </c:spPr>
            <c:extLst>
              <c:ext xmlns:c16="http://schemas.microsoft.com/office/drawing/2014/chart" uri="{C3380CC4-5D6E-409C-BE32-E72D297353CC}">
                <c16:uniqueId val="{000006A9-B861-4943-8ABB-0EFD67D9E823}"/>
              </c:ext>
            </c:extLst>
          </c:dPt>
          <c:dPt>
            <c:idx val="852"/>
            <c:invertIfNegative val="1"/>
            <c:bubble3D val="0"/>
            <c:spPr>
              <a:solidFill>
                <a:srgbClr val="AEABAB"/>
              </a:solidFill>
            </c:spPr>
            <c:extLst>
              <c:ext xmlns:c16="http://schemas.microsoft.com/office/drawing/2014/chart" uri="{C3380CC4-5D6E-409C-BE32-E72D297353CC}">
                <c16:uniqueId val="{000006AB-B861-4943-8ABB-0EFD67D9E823}"/>
              </c:ext>
            </c:extLst>
          </c:dPt>
          <c:dPt>
            <c:idx val="853"/>
            <c:invertIfNegative val="1"/>
            <c:bubble3D val="0"/>
            <c:spPr>
              <a:solidFill>
                <a:srgbClr val="AEABAB"/>
              </a:solidFill>
            </c:spPr>
            <c:extLst>
              <c:ext xmlns:c16="http://schemas.microsoft.com/office/drawing/2014/chart" uri="{C3380CC4-5D6E-409C-BE32-E72D297353CC}">
                <c16:uniqueId val="{000006AD-B861-4943-8ABB-0EFD67D9E823}"/>
              </c:ext>
            </c:extLst>
          </c:dPt>
          <c:dPt>
            <c:idx val="854"/>
            <c:invertIfNegative val="1"/>
            <c:bubble3D val="0"/>
            <c:spPr>
              <a:solidFill>
                <a:srgbClr val="AEABAB"/>
              </a:solidFill>
            </c:spPr>
            <c:extLst>
              <c:ext xmlns:c16="http://schemas.microsoft.com/office/drawing/2014/chart" uri="{C3380CC4-5D6E-409C-BE32-E72D297353CC}">
                <c16:uniqueId val="{000006AF-B861-4943-8ABB-0EFD67D9E823}"/>
              </c:ext>
            </c:extLst>
          </c:dPt>
          <c:dPt>
            <c:idx val="855"/>
            <c:invertIfNegative val="1"/>
            <c:bubble3D val="0"/>
            <c:spPr>
              <a:solidFill>
                <a:srgbClr val="AEABAB"/>
              </a:solidFill>
            </c:spPr>
            <c:extLst>
              <c:ext xmlns:c16="http://schemas.microsoft.com/office/drawing/2014/chart" uri="{C3380CC4-5D6E-409C-BE32-E72D297353CC}">
                <c16:uniqueId val="{000006B1-B861-4943-8ABB-0EFD67D9E823}"/>
              </c:ext>
            </c:extLst>
          </c:dPt>
          <c:dPt>
            <c:idx val="856"/>
            <c:invertIfNegative val="1"/>
            <c:bubble3D val="0"/>
            <c:spPr>
              <a:solidFill>
                <a:srgbClr val="AEABAB"/>
              </a:solidFill>
            </c:spPr>
            <c:extLst>
              <c:ext xmlns:c16="http://schemas.microsoft.com/office/drawing/2014/chart" uri="{C3380CC4-5D6E-409C-BE32-E72D297353CC}">
                <c16:uniqueId val="{000006B3-B861-4943-8ABB-0EFD67D9E823}"/>
              </c:ext>
            </c:extLst>
          </c:dPt>
          <c:dPt>
            <c:idx val="857"/>
            <c:invertIfNegative val="1"/>
            <c:bubble3D val="0"/>
            <c:spPr>
              <a:solidFill>
                <a:srgbClr val="AEABAB"/>
              </a:solidFill>
            </c:spPr>
            <c:extLst>
              <c:ext xmlns:c16="http://schemas.microsoft.com/office/drawing/2014/chart" uri="{C3380CC4-5D6E-409C-BE32-E72D297353CC}">
                <c16:uniqueId val="{000006B5-B861-4943-8ABB-0EFD67D9E823}"/>
              </c:ext>
            </c:extLst>
          </c:dPt>
          <c:dPt>
            <c:idx val="858"/>
            <c:invertIfNegative val="1"/>
            <c:bubble3D val="0"/>
            <c:spPr>
              <a:solidFill>
                <a:srgbClr val="AEABAB"/>
              </a:solidFill>
            </c:spPr>
            <c:extLst>
              <c:ext xmlns:c16="http://schemas.microsoft.com/office/drawing/2014/chart" uri="{C3380CC4-5D6E-409C-BE32-E72D297353CC}">
                <c16:uniqueId val="{000006B7-B861-4943-8ABB-0EFD67D9E823}"/>
              </c:ext>
            </c:extLst>
          </c:dPt>
          <c:dPt>
            <c:idx val="859"/>
            <c:invertIfNegative val="1"/>
            <c:bubble3D val="0"/>
            <c:spPr>
              <a:solidFill>
                <a:srgbClr val="AEABAB"/>
              </a:solidFill>
            </c:spPr>
            <c:extLst>
              <c:ext xmlns:c16="http://schemas.microsoft.com/office/drawing/2014/chart" uri="{C3380CC4-5D6E-409C-BE32-E72D297353CC}">
                <c16:uniqueId val="{000006B9-B861-4943-8ABB-0EFD67D9E823}"/>
              </c:ext>
            </c:extLst>
          </c:dPt>
          <c:dPt>
            <c:idx val="860"/>
            <c:invertIfNegative val="1"/>
            <c:bubble3D val="0"/>
            <c:spPr>
              <a:solidFill>
                <a:srgbClr val="AEABAB"/>
              </a:solidFill>
            </c:spPr>
            <c:extLst>
              <c:ext xmlns:c16="http://schemas.microsoft.com/office/drawing/2014/chart" uri="{C3380CC4-5D6E-409C-BE32-E72D297353CC}">
                <c16:uniqueId val="{000006BB-B861-4943-8ABB-0EFD67D9E823}"/>
              </c:ext>
            </c:extLst>
          </c:dPt>
          <c:dPt>
            <c:idx val="861"/>
            <c:invertIfNegative val="1"/>
            <c:bubble3D val="0"/>
            <c:spPr>
              <a:solidFill>
                <a:srgbClr val="AEABAB"/>
              </a:solidFill>
            </c:spPr>
            <c:extLst>
              <c:ext xmlns:c16="http://schemas.microsoft.com/office/drawing/2014/chart" uri="{C3380CC4-5D6E-409C-BE32-E72D297353CC}">
                <c16:uniqueId val="{000006BD-B861-4943-8ABB-0EFD67D9E823}"/>
              </c:ext>
            </c:extLst>
          </c:dPt>
          <c:dPt>
            <c:idx val="862"/>
            <c:invertIfNegative val="1"/>
            <c:bubble3D val="0"/>
            <c:spPr>
              <a:solidFill>
                <a:srgbClr val="AEABAB"/>
              </a:solidFill>
            </c:spPr>
            <c:extLst>
              <c:ext xmlns:c16="http://schemas.microsoft.com/office/drawing/2014/chart" uri="{C3380CC4-5D6E-409C-BE32-E72D297353CC}">
                <c16:uniqueId val="{000006BF-B861-4943-8ABB-0EFD67D9E823}"/>
              </c:ext>
            </c:extLst>
          </c:dPt>
          <c:dPt>
            <c:idx val="863"/>
            <c:invertIfNegative val="1"/>
            <c:bubble3D val="0"/>
            <c:spPr>
              <a:solidFill>
                <a:srgbClr val="AEABAB"/>
              </a:solidFill>
            </c:spPr>
            <c:extLst>
              <c:ext xmlns:c16="http://schemas.microsoft.com/office/drawing/2014/chart" uri="{C3380CC4-5D6E-409C-BE32-E72D297353CC}">
                <c16:uniqueId val="{000006C1-B861-4943-8ABB-0EFD67D9E823}"/>
              </c:ext>
            </c:extLst>
          </c:dPt>
          <c:dPt>
            <c:idx val="864"/>
            <c:invertIfNegative val="1"/>
            <c:bubble3D val="0"/>
            <c:spPr>
              <a:solidFill>
                <a:srgbClr val="AEABAB"/>
              </a:solidFill>
            </c:spPr>
            <c:extLst>
              <c:ext xmlns:c16="http://schemas.microsoft.com/office/drawing/2014/chart" uri="{C3380CC4-5D6E-409C-BE32-E72D297353CC}">
                <c16:uniqueId val="{000006C3-B861-4943-8ABB-0EFD67D9E823}"/>
              </c:ext>
            </c:extLst>
          </c:dPt>
          <c:dPt>
            <c:idx val="865"/>
            <c:invertIfNegative val="1"/>
            <c:bubble3D val="0"/>
            <c:spPr>
              <a:solidFill>
                <a:srgbClr val="AEABAB"/>
              </a:solidFill>
            </c:spPr>
            <c:extLst>
              <c:ext xmlns:c16="http://schemas.microsoft.com/office/drawing/2014/chart" uri="{C3380CC4-5D6E-409C-BE32-E72D297353CC}">
                <c16:uniqueId val="{000006C5-B861-4943-8ABB-0EFD67D9E823}"/>
              </c:ext>
            </c:extLst>
          </c:dPt>
          <c:dPt>
            <c:idx val="866"/>
            <c:invertIfNegative val="1"/>
            <c:bubble3D val="0"/>
            <c:spPr>
              <a:solidFill>
                <a:srgbClr val="AEABAB"/>
              </a:solidFill>
            </c:spPr>
            <c:extLst>
              <c:ext xmlns:c16="http://schemas.microsoft.com/office/drawing/2014/chart" uri="{C3380CC4-5D6E-409C-BE32-E72D297353CC}">
                <c16:uniqueId val="{000006C7-B861-4943-8ABB-0EFD67D9E823}"/>
              </c:ext>
            </c:extLst>
          </c:dPt>
          <c:dPt>
            <c:idx val="867"/>
            <c:invertIfNegative val="1"/>
            <c:bubble3D val="0"/>
            <c:spPr>
              <a:solidFill>
                <a:srgbClr val="AEABAB"/>
              </a:solidFill>
            </c:spPr>
            <c:extLst>
              <c:ext xmlns:c16="http://schemas.microsoft.com/office/drawing/2014/chart" uri="{C3380CC4-5D6E-409C-BE32-E72D297353CC}">
                <c16:uniqueId val="{000006C9-B861-4943-8ABB-0EFD67D9E823}"/>
              </c:ext>
            </c:extLst>
          </c:dPt>
          <c:dPt>
            <c:idx val="868"/>
            <c:invertIfNegative val="1"/>
            <c:bubble3D val="0"/>
            <c:spPr>
              <a:solidFill>
                <a:srgbClr val="AEABAB"/>
              </a:solidFill>
            </c:spPr>
            <c:extLst>
              <c:ext xmlns:c16="http://schemas.microsoft.com/office/drawing/2014/chart" uri="{C3380CC4-5D6E-409C-BE32-E72D297353CC}">
                <c16:uniqueId val="{000006CB-B861-4943-8ABB-0EFD67D9E823}"/>
              </c:ext>
            </c:extLst>
          </c:dPt>
          <c:dPt>
            <c:idx val="869"/>
            <c:invertIfNegative val="1"/>
            <c:bubble3D val="0"/>
            <c:spPr>
              <a:solidFill>
                <a:srgbClr val="AEABAB"/>
              </a:solidFill>
            </c:spPr>
            <c:extLst>
              <c:ext xmlns:c16="http://schemas.microsoft.com/office/drawing/2014/chart" uri="{C3380CC4-5D6E-409C-BE32-E72D297353CC}">
                <c16:uniqueId val="{000006CD-B861-4943-8ABB-0EFD67D9E823}"/>
              </c:ext>
            </c:extLst>
          </c:dPt>
          <c:dPt>
            <c:idx val="870"/>
            <c:invertIfNegative val="1"/>
            <c:bubble3D val="0"/>
            <c:spPr>
              <a:solidFill>
                <a:srgbClr val="AEABAB"/>
              </a:solidFill>
            </c:spPr>
            <c:extLst>
              <c:ext xmlns:c16="http://schemas.microsoft.com/office/drawing/2014/chart" uri="{C3380CC4-5D6E-409C-BE32-E72D297353CC}">
                <c16:uniqueId val="{000006CF-B861-4943-8ABB-0EFD67D9E823}"/>
              </c:ext>
            </c:extLst>
          </c:dPt>
          <c:dPt>
            <c:idx val="871"/>
            <c:invertIfNegative val="1"/>
            <c:bubble3D val="0"/>
            <c:spPr>
              <a:solidFill>
                <a:srgbClr val="AEABAB"/>
              </a:solidFill>
            </c:spPr>
            <c:extLst>
              <c:ext xmlns:c16="http://schemas.microsoft.com/office/drawing/2014/chart" uri="{C3380CC4-5D6E-409C-BE32-E72D297353CC}">
                <c16:uniqueId val="{000006D1-B861-4943-8ABB-0EFD67D9E823}"/>
              </c:ext>
            </c:extLst>
          </c:dPt>
          <c:dPt>
            <c:idx val="872"/>
            <c:invertIfNegative val="1"/>
            <c:bubble3D val="0"/>
            <c:spPr>
              <a:solidFill>
                <a:srgbClr val="AEABAB"/>
              </a:solidFill>
            </c:spPr>
            <c:extLst>
              <c:ext xmlns:c16="http://schemas.microsoft.com/office/drawing/2014/chart" uri="{C3380CC4-5D6E-409C-BE32-E72D297353CC}">
                <c16:uniqueId val="{000006D3-B861-4943-8ABB-0EFD67D9E823}"/>
              </c:ext>
            </c:extLst>
          </c:dPt>
          <c:dPt>
            <c:idx val="873"/>
            <c:invertIfNegative val="1"/>
            <c:bubble3D val="0"/>
            <c:spPr>
              <a:solidFill>
                <a:srgbClr val="AEABAB"/>
              </a:solidFill>
            </c:spPr>
            <c:extLst>
              <c:ext xmlns:c16="http://schemas.microsoft.com/office/drawing/2014/chart" uri="{C3380CC4-5D6E-409C-BE32-E72D297353CC}">
                <c16:uniqueId val="{000006D5-B861-4943-8ABB-0EFD67D9E823}"/>
              </c:ext>
            </c:extLst>
          </c:dPt>
          <c:dPt>
            <c:idx val="874"/>
            <c:invertIfNegative val="1"/>
            <c:bubble3D val="0"/>
            <c:spPr>
              <a:solidFill>
                <a:srgbClr val="AEABAB"/>
              </a:solidFill>
            </c:spPr>
            <c:extLst>
              <c:ext xmlns:c16="http://schemas.microsoft.com/office/drawing/2014/chart" uri="{C3380CC4-5D6E-409C-BE32-E72D297353CC}">
                <c16:uniqueId val="{000006D7-B861-4943-8ABB-0EFD67D9E823}"/>
              </c:ext>
            </c:extLst>
          </c:dPt>
          <c:dPt>
            <c:idx val="875"/>
            <c:invertIfNegative val="1"/>
            <c:bubble3D val="0"/>
            <c:spPr>
              <a:solidFill>
                <a:srgbClr val="AEABAB"/>
              </a:solidFill>
            </c:spPr>
            <c:extLst>
              <c:ext xmlns:c16="http://schemas.microsoft.com/office/drawing/2014/chart" uri="{C3380CC4-5D6E-409C-BE32-E72D297353CC}">
                <c16:uniqueId val="{000006D9-B861-4943-8ABB-0EFD67D9E823}"/>
              </c:ext>
            </c:extLst>
          </c:dPt>
          <c:dPt>
            <c:idx val="876"/>
            <c:invertIfNegative val="1"/>
            <c:bubble3D val="0"/>
            <c:spPr>
              <a:solidFill>
                <a:srgbClr val="AEABAB"/>
              </a:solidFill>
            </c:spPr>
            <c:extLst>
              <c:ext xmlns:c16="http://schemas.microsoft.com/office/drawing/2014/chart" uri="{C3380CC4-5D6E-409C-BE32-E72D297353CC}">
                <c16:uniqueId val="{000006DB-B861-4943-8ABB-0EFD67D9E823}"/>
              </c:ext>
            </c:extLst>
          </c:dPt>
          <c:dPt>
            <c:idx val="877"/>
            <c:invertIfNegative val="1"/>
            <c:bubble3D val="0"/>
            <c:spPr>
              <a:solidFill>
                <a:srgbClr val="AEABAB"/>
              </a:solidFill>
            </c:spPr>
            <c:extLst>
              <c:ext xmlns:c16="http://schemas.microsoft.com/office/drawing/2014/chart" uri="{C3380CC4-5D6E-409C-BE32-E72D297353CC}">
                <c16:uniqueId val="{000006DD-B861-4943-8ABB-0EFD67D9E823}"/>
              </c:ext>
            </c:extLst>
          </c:dPt>
          <c:dPt>
            <c:idx val="878"/>
            <c:invertIfNegative val="1"/>
            <c:bubble3D val="0"/>
            <c:spPr>
              <a:solidFill>
                <a:srgbClr val="AEABAB"/>
              </a:solidFill>
            </c:spPr>
            <c:extLst>
              <c:ext xmlns:c16="http://schemas.microsoft.com/office/drawing/2014/chart" uri="{C3380CC4-5D6E-409C-BE32-E72D297353CC}">
                <c16:uniqueId val="{000006DF-B861-4943-8ABB-0EFD67D9E823}"/>
              </c:ext>
            </c:extLst>
          </c:dPt>
          <c:dPt>
            <c:idx val="879"/>
            <c:invertIfNegative val="1"/>
            <c:bubble3D val="0"/>
            <c:spPr>
              <a:solidFill>
                <a:srgbClr val="AEABAB"/>
              </a:solidFill>
            </c:spPr>
            <c:extLst>
              <c:ext xmlns:c16="http://schemas.microsoft.com/office/drawing/2014/chart" uri="{C3380CC4-5D6E-409C-BE32-E72D297353CC}">
                <c16:uniqueId val="{000006E1-B861-4943-8ABB-0EFD67D9E823}"/>
              </c:ext>
            </c:extLst>
          </c:dPt>
          <c:dPt>
            <c:idx val="880"/>
            <c:invertIfNegative val="1"/>
            <c:bubble3D val="0"/>
            <c:spPr>
              <a:solidFill>
                <a:srgbClr val="AEABAB"/>
              </a:solidFill>
            </c:spPr>
            <c:extLst>
              <c:ext xmlns:c16="http://schemas.microsoft.com/office/drawing/2014/chart" uri="{C3380CC4-5D6E-409C-BE32-E72D297353CC}">
                <c16:uniqueId val="{000006E3-B861-4943-8ABB-0EFD67D9E823}"/>
              </c:ext>
            </c:extLst>
          </c:dPt>
          <c:dPt>
            <c:idx val="881"/>
            <c:invertIfNegative val="1"/>
            <c:bubble3D val="0"/>
            <c:spPr>
              <a:solidFill>
                <a:srgbClr val="AEABAB"/>
              </a:solidFill>
            </c:spPr>
            <c:extLst>
              <c:ext xmlns:c16="http://schemas.microsoft.com/office/drawing/2014/chart" uri="{C3380CC4-5D6E-409C-BE32-E72D297353CC}">
                <c16:uniqueId val="{000006E5-B861-4943-8ABB-0EFD67D9E823}"/>
              </c:ext>
            </c:extLst>
          </c:dPt>
          <c:dPt>
            <c:idx val="882"/>
            <c:invertIfNegative val="1"/>
            <c:bubble3D val="0"/>
            <c:spPr>
              <a:solidFill>
                <a:srgbClr val="AEABAB"/>
              </a:solidFill>
            </c:spPr>
            <c:extLst>
              <c:ext xmlns:c16="http://schemas.microsoft.com/office/drawing/2014/chart" uri="{C3380CC4-5D6E-409C-BE32-E72D297353CC}">
                <c16:uniqueId val="{000006E7-B861-4943-8ABB-0EFD67D9E823}"/>
              </c:ext>
            </c:extLst>
          </c:dPt>
          <c:dPt>
            <c:idx val="883"/>
            <c:invertIfNegative val="1"/>
            <c:bubble3D val="0"/>
            <c:spPr>
              <a:solidFill>
                <a:srgbClr val="AEABAB"/>
              </a:solidFill>
            </c:spPr>
            <c:extLst>
              <c:ext xmlns:c16="http://schemas.microsoft.com/office/drawing/2014/chart" uri="{C3380CC4-5D6E-409C-BE32-E72D297353CC}">
                <c16:uniqueId val="{000006E9-B861-4943-8ABB-0EFD67D9E823}"/>
              </c:ext>
            </c:extLst>
          </c:dPt>
          <c:dPt>
            <c:idx val="884"/>
            <c:invertIfNegative val="1"/>
            <c:bubble3D val="0"/>
            <c:spPr>
              <a:solidFill>
                <a:srgbClr val="AEABAB"/>
              </a:solidFill>
            </c:spPr>
            <c:extLst>
              <c:ext xmlns:c16="http://schemas.microsoft.com/office/drawing/2014/chart" uri="{C3380CC4-5D6E-409C-BE32-E72D297353CC}">
                <c16:uniqueId val="{000006EB-B861-4943-8ABB-0EFD67D9E823}"/>
              </c:ext>
            </c:extLst>
          </c:dPt>
          <c:dPt>
            <c:idx val="885"/>
            <c:invertIfNegative val="1"/>
            <c:bubble3D val="0"/>
            <c:spPr>
              <a:solidFill>
                <a:srgbClr val="AEABAB"/>
              </a:solidFill>
            </c:spPr>
            <c:extLst>
              <c:ext xmlns:c16="http://schemas.microsoft.com/office/drawing/2014/chart" uri="{C3380CC4-5D6E-409C-BE32-E72D297353CC}">
                <c16:uniqueId val="{000006ED-B861-4943-8ABB-0EFD67D9E823}"/>
              </c:ext>
            </c:extLst>
          </c:dPt>
          <c:dPt>
            <c:idx val="886"/>
            <c:invertIfNegative val="1"/>
            <c:bubble3D val="0"/>
            <c:spPr>
              <a:solidFill>
                <a:srgbClr val="AEABAB"/>
              </a:solidFill>
            </c:spPr>
            <c:extLst>
              <c:ext xmlns:c16="http://schemas.microsoft.com/office/drawing/2014/chart" uri="{C3380CC4-5D6E-409C-BE32-E72D297353CC}">
                <c16:uniqueId val="{000006EF-B861-4943-8ABB-0EFD67D9E823}"/>
              </c:ext>
            </c:extLst>
          </c:dPt>
          <c:dPt>
            <c:idx val="887"/>
            <c:invertIfNegative val="1"/>
            <c:bubble3D val="0"/>
            <c:spPr>
              <a:solidFill>
                <a:srgbClr val="AEABAB"/>
              </a:solidFill>
            </c:spPr>
            <c:extLst>
              <c:ext xmlns:c16="http://schemas.microsoft.com/office/drawing/2014/chart" uri="{C3380CC4-5D6E-409C-BE32-E72D297353CC}">
                <c16:uniqueId val="{000006F1-B861-4943-8ABB-0EFD67D9E823}"/>
              </c:ext>
            </c:extLst>
          </c:dPt>
          <c:dPt>
            <c:idx val="888"/>
            <c:invertIfNegative val="1"/>
            <c:bubble3D val="0"/>
            <c:spPr>
              <a:solidFill>
                <a:srgbClr val="AEABAB"/>
              </a:solidFill>
            </c:spPr>
            <c:extLst>
              <c:ext xmlns:c16="http://schemas.microsoft.com/office/drawing/2014/chart" uri="{C3380CC4-5D6E-409C-BE32-E72D297353CC}">
                <c16:uniqueId val="{000006F3-B861-4943-8ABB-0EFD67D9E823}"/>
              </c:ext>
            </c:extLst>
          </c:dPt>
          <c:dPt>
            <c:idx val="889"/>
            <c:invertIfNegative val="1"/>
            <c:bubble3D val="0"/>
            <c:spPr>
              <a:solidFill>
                <a:srgbClr val="AEABAB"/>
              </a:solidFill>
            </c:spPr>
            <c:extLst>
              <c:ext xmlns:c16="http://schemas.microsoft.com/office/drawing/2014/chart" uri="{C3380CC4-5D6E-409C-BE32-E72D297353CC}">
                <c16:uniqueId val="{000006F5-B861-4943-8ABB-0EFD67D9E823}"/>
              </c:ext>
            </c:extLst>
          </c:dPt>
          <c:dPt>
            <c:idx val="890"/>
            <c:invertIfNegative val="1"/>
            <c:bubble3D val="0"/>
            <c:spPr>
              <a:solidFill>
                <a:srgbClr val="AEABAB"/>
              </a:solidFill>
            </c:spPr>
            <c:extLst>
              <c:ext xmlns:c16="http://schemas.microsoft.com/office/drawing/2014/chart" uri="{C3380CC4-5D6E-409C-BE32-E72D297353CC}">
                <c16:uniqueId val="{000006F7-B861-4943-8ABB-0EFD67D9E823}"/>
              </c:ext>
            </c:extLst>
          </c:dPt>
          <c:dPt>
            <c:idx val="891"/>
            <c:invertIfNegative val="1"/>
            <c:bubble3D val="0"/>
            <c:spPr>
              <a:solidFill>
                <a:srgbClr val="AEABAB"/>
              </a:solidFill>
            </c:spPr>
            <c:extLst>
              <c:ext xmlns:c16="http://schemas.microsoft.com/office/drawing/2014/chart" uri="{C3380CC4-5D6E-409C-BE32-E72D297353CC}">
                <c16:uniqueId val="{000006F9-B861-4943-8ABB-0EFD67D9E823}"/>
              </c:ext>
            </c:extLst>
          </c:dPt>
          <c:dPt>
            <c:idx val="892"/>
            <c:invertIfNegative val="1"/>
            <c:bubble3D val="0"/>
            <c:spPr>
              <a:solidFill>
                <a:srgbClr val="AEABAB"/>
              </a:solidFill>
            </c:spPr>
            <c:extLst>
              <c:ext xmlns:c16="http://schemas.microsoft.com/office/drawing/2014/chart" uri="{C3380CC4-5D6E-409C-BE32-E72D297353CC}">
                <c16:uniqueId val="{000006FB-B861-4943-8ABB-0EFD67D9E823}"/>
              </c:ext>
            </c:extLst>
          </c:dPt>
          <c:dPt>
            <c:idx val="893"/>
            <c:invertIfNegative val="1"/>
            <c:bubble3D val="0"/>
            <c:spPr>
              <a:solidFill>
                <a:srgbClr val="AEABAB"/>
              </a:solidFill>
            </c:spPr>
            <c:extLst>
              <c:ext xmlns:c16="http://schemas.microsoft.com/office/drawing/2014/chart" uri="{C3380CC4-5D6E-409C-BE32-E72D297353CC}">
                <c16:uniqueId val="{000006FD-B861-4943-8ABB-0EFD67D9E823}"/>
              </c:ext>
            </c:extLst>
          </c:dPt>
          <c:dPt>
            <c:idx val="894"/>
            <c:invertIfNegative val="1"/>
            <c:bubble3D val="0"/>
            <c:spPr>
              <a:solidFill>
                <a:srgbClr val="AEABAB"/>
              </a:solidFill>
            </c:spPr>
            <c:extLst>
              <c:ext xmlns:c16="http://schemas.microsoft.com/office/drawing/2014/chart" uri="{C3380CC4-5D6E-409C-BE32-E72D297353CC}">
                <c16:uniqueId val="{000006FF-B861-4943-8ABB-0EFD67D9E823}"/>
              </c:ext>
            </c:extLst>
          </c:dPt>
          <c:dPt>
            <c:idx val="895"/>
            <c:invertIfNegative val="1"/>
            <c:bubble3D val="0"/>
            <c:spPr>
              <a:solidFill>
                <a:srgbClr val="AEABAB"/>
              </a:solidFill>
            </c:spPr>
            <c:extLst>
              <c:ext xmlns:c16="http://schemas.microsoft.com/office/drawing/2014/chart" uri="{C3380CC4-5D6E-409C-BE32-E72D297353CC}">
                <c16:uniqueId val="{00000701-B861-4943-8ABB-0EFD67D9E823}"/>
              </c:ext>
            </c:extLst>
          </c:dPt>
          <c:dPt>
            <c:idx val="896"/>
            <c:invertIfNegative val="1"/>
            <c:bubble3D val="0"/>
            <c:spPr>
              <a:solidFill>
                <a:srgbClr val="AEABAB"/>
              </a:solidFill>
            </c:spPr>
            <c:extLst>
              <c:ext xmlns:c16="http://schemas.microsoft.com/office/drawing/2014/chart" uri="{C3380CC4-5D6E-409C-BE32-E72D297353CC}">
                <c16:uniqueId val="{00000703-B861-4943-8ABB-0EFD67D9E823}"/>
              </c:ext>
            </c:extLst>
          </c:dPt>
          <c:dPt>
            <c:idx val="897"/>
            <c:invertIfNegative val="1"/>
            <c:bubble3D val="0"/>
            <c:spPr>
              <a:solidFill>
                <a:srgbClr val="AEABAB"/>
              </a:solidFill>
            </c:spPr>
            <c:extLst>
              <c:ext xmlns:c16="http://schemas.microsoft.com/office/drawing/2014/chart" uri="{C3380CC4-5D6E-409C-BE32-E72D297353CC}">
                <c16:uniqueId val="{00000705-B861-4943-8ABB-0EFD67D9E823}"/>
              </c:ext>
            </c:extLst>
          </c:dPt>
          <c:dPt>
            <c:idx val="898"/>
            <c:invertIfNegative val="1"/>
            <c:bubble3D val="0"/>
            <c:spPr>
              <a:solidFill>
                <a:srgbClr val="AEABAB"/>
              </a:solidFill>
            </c:spPr>
            <c:extLst>
              <c:ext xmlns:c16="http://schemas.microsoft.com/office/drawing/2014/chart" uri="{C3380CC4-5D6E-409C-BE32-E72D297353CC}">
                <c16:uniqueId val="{00000707-B861-4943-8ABB-0EFD67D9E823}"/>
              </c:ext>
            </c:extLst>
          </c:dPt>
          <c:dPt>
            <c:idx val="899"/>
            <c:invertIfNegative val="1"/>
            <c:bubble3D val="0"/>
            <c:spPr>
              <a:solidFill>
                <a:srgbClr val="AEABAB"/>
              </a:solidFill>
            </c:spPr>
            <c:extLst>
              <c:ext xmlns:c16="http://schemas.microsoft.com/office/drawing/2014/chart" uri="{C3380CC4-5D6E-409C-BE32-E72D297353CC}">
                <c16:uniqueId val="{00000709-B861-4943-8ABB-0EFD67D9E823}"/>
              </c:ext>
            </c:extLst>
          </c:dPt>
          <c:dPt>
            <c:idx val="900"/>
            <c:invertIfNegative val="1"/>
            <c:bubble3D val="0"/>
            <c:spPr>
              <a:solidFill>
                <a:srgbClr val="AEABAB"/>
              </a:solidFill>
            </c:spPr>
            <c:extLst>
              <c:ext xmlns:c16="http://schemas.microsoft.com/office/drawing/2014/chart" uri="{C3380CC4-5D6E-409C-BE32-E72D297353CC}">
                <c16:uniqueId val="{0000070B-B861-4943-8ABB-0EFD67D9E823}"/>
              </c:ext>
            </c:extLst>
          </c:dPt>
          <c:dPt>
            <c:idx val="901"/>
            <c:invertIfNegative val="1"/>
            <c:bubble3D val="0"/>
            <c:spPr>
              <a:solidFill>
                <a:srgbClr val="AEABAB"/>
              </a:solidFill>
            </c:spPr>
            <c:extLst>
              <c:ext xmlns:c16="http://schemas.microsoft.com/office/drawing/2014/chart" uri="{C3380CC4-5D6E-409C-BE32-E72D297353CC}">
                <c16:uniqueId val="{0000070D-B861-4943-8ABB-0EFD67D9E823}"/>
              </c:ext>
            </c:extLst>
          </c:dPt>
          <c:dPt>
            <c:idx val="902"/>
            <c:invertIfNegative val="1"/>
            <c:bubble3D val="0"/>
            <c:spPr>
              <a:solidFill>
                <a:srgbClr val="AEABAB"/>
              </a:solidFill>
            </c:spPr>
            <c:extLst>
              <c:ext xmlns:c16="http://schemas.microsoft.com/office/drawing/2014/chart" uri="{C3380CC4-5D6E-409C-BE32-E72D297353CC}">
                <c16:uniqueId val="{0000070F-B861-4943-8ABB-0EFD67D9E823}"/>
              </c:ext>
            </c:extLst>
          </c:dPt>
          <c:dPt>
            <c:idx val="903"/>
            <c:invertIfNegative val="1"/>
            <c:bubble3D val="0"/>
            <c:spPr>
              <a:solidFill>
                <a:srgbClr val="AEABAB"/>
              </a:solidFill>
            </c:spPr>
            <c:extLst>
              <c:ext xmlns:c16="http://schemas.microsoft.com/office/drawing/2014/chart" uri="{C3380CC4-5D6E-409C-BE32-E72D297353CC}">
                <c16:uniqueId val="{00000711-B861-4943-8ABB-0EFD67D9E823}"/>
              </c:ext>
            </c:extLst>
          </c:dPt>
          <c:dPt>
            <c:idx val="904"/>
            <c:invertIfNegative val="1"/>
            <c:bubble3D val="0"/>
            <c:spPr>
              <a:solidFill>
                <a:srgbClr val="AEABAB"/>
              </a:solidFill>
            </c:spPr>
            <c:extLst>
              <c:ext xmlns:c16="http://schemas.microsoft.com/office/drawing/2014/chart" uri="{C3380CC4-5D6E-409C-BE32-E72D297353CC}">
                <c16:uniqueId val="{00000713-B861-4943-8ABB-0EFD67D9E823}"/>
              </c:ext>
            </c:extLst>
          </c:dPt>
          <c:dPt>
            <c:idx val="905"/>
            <c:invertIfNegative val="1"/>
            <c:bubble3D val="0"/>
            <c:spPr>
              <a:solidFill>
                <a:srgbClr val="AEABAB"/>
              </a:solidFill>
            </c:spPr>
            <c:extLst>
              <c:ext xmlns:c16="http://schemas.microsoft.com/office/drawing/2014/chart" uri="{C3380CC4-5D6E-409C-BE32-E72D297353CC}">
                <c16:uniqueId val="{00000715-B861-4943-8ABB-0EFD67D9E823}"/>
              </c:ext>
            </c:extLst>
          </c:dPt>
          <c:dPt>
            <c:idx val="906"/>
            <c:invertIfNegative val="1"/>
            <c:bubble3D val="0"/>
            <c:spPr>
              <a:solidFill>
                <a:srgbClr val="AEABAB"/>
              </a:solidFill>
            </c:spPr>
            <c:extLst>
              <c:ext xmlns:c16="http://schemas.microsoft.com/office/drawing/2014/chart" uri="{C3380CC4-5D6E-409C-BE32-E72D297353CC}">
                <c16:uniqueId val="{00000717-B861-4943-8ABB-0EFD67D9E823}"/>
              </c:ext>
            </c:extLst>
          </c:dPt>
          <c:dPt>
            <c:idx val="907"/>
            <c:invertIfNegative val="1"/>
            <c:bubble3D val="0"/>
            <c:spPr>
              <a:solidFill>
                <a:srgbClr val="AEABAB"/>
              </a:solidFill>
            </c:spPr>
            <c:extLst>
              <c:ext xmlns:c16="http://schemas.microsoft.com/office/drawing/2014/chart" uri="{C3380CC4-5D6E-409C-BE32-E72D297353CC}">
                <c16:uniqueId val="{00000719-B861-4943-8ABB-0EFD67D9E823}"/>
              </c:ext>
            </c:extLst>
          </c:dPt>
          <c:dPt>
            <c:idx val="908"/>
            <c:invertIfNegative val="1"/>
            <c:bubble3D val="0"/>
            <c:spPr>
              <a:solidFill>
                <a:srgbClr val="AEABAB"/>
              </a:solidFill>
            </c:spPr>
            <c:extLst>
              <c:ext xmlns:c16="http://schemas.microsoft.com/office/drawing/2014/chart" uri="{C3380CC4-5D6E-409C-BE32-E72D297353CC}">
                <c16:uniqueId val="{0000071B-B861-4943-8ABB-0EFD67D9E823}"/>
              </c:ext>
            </c:extLst>
          </c:dPt>
          <c:dPt>
            <c:idx val="909"/>
            <c:invertIfNegative val="1"/>
            <c:bubble3D val="0"/>
            <c:spPr>
              <a:solidFill>
                <a:srgbClr val="AEABAB"/>
              </a:solidFill>
            </c:spPr>
            <c:extLst>
              <c:ext xmlns:c16="http://schemas.microsoft.com/office/drawing/2014/chart" uri="{C3380CC4-5D6E-409C-BE32-E72D297353CC}">
                <c16:uniqueId val="{0000071D-B861-4943-8ABB-0EFD67D9E823}"/>
              </c:ext>
            </c:extLst>
          </c:dPt>
          <c:dPt>
            <c:idx val="910"/>
            <c:invertIfNegative val="1"/>
            <c:bubble3D val="0"/>
            <c:spPr>
              <a:solidFill>
                <a:srgbClr val="AEABAB"/>
              </a:solidFill>
            </c:spPr>
            <c:extLst>
              <c:ext xmlns:c16="http://schemas.microsoft.com/office/drawing/2014/chart" uri="{C3380CC4-5D6E-409C-BE32-E72D297353CC}">
                <c16:uniqueId val="{0000071F-B861-4943-8ABB-0EFD67D9E823}"/>
              </c:ext>
            </c:extLst>
          </c:dPt>
          <c:dPt>
            <c:idx val="911"/>
            <c:invertIfNegative val="1"/>
            <c:bubble3D val="0"/>
            <c:spPr>
              <a:solidFill>
                <a:srgbClr val="AEABAB"/>
              </a:solidFill>
            </c:spPr>
            <c:extLst>
              <c:ext xmlns:c16="http://schemas.microsoft.com/office/drawing/2014/chart" uri="{C3380CC4-5D6E-409C-BE32-E72D297353CC}">
                <c16:uniqueId val="{00000721-B861-4943-8ABB-0EFD67D9E823}"/>
              </c:ext>
            </c:extLst>
          </c:dPt>
          <c:dPt>
            <c:idx val="912"/>
            <c:invertIfNegative val="1"/>
            <c:bubble3D val="0"/>
            <c:spPr>
              <a:solidFill>
                <a:srgbClr val="AEABAB"/>
              </a:solidFill>
            </c:spPr>
            <c:extLst>
              <c:ext xmlns:c16="http://schemas.microsoft.com/office/drawing/2014/chart" uri="{C3380CC4-5D6E-409C-BE32-E72D297353CC}">
                <c16:uniqueId val="{00000723-B861-4943-8ABB-0EFD67D9E823}"/>
              </c:ext>
            </c:extLst>
          </c:dPt>
          <c:dPt>
            <c:idx val="913"/>
            <c:invertIfNegative val="1"/>
            <c:bubble3D val="0"/>
            <c:spPr>
              <a:solidFill>
                <a:srgbClr val="AEABAB"/>
              </a:solidFill>
            </c:spPr>
            <c:extLst>
              <c:ext xmlns:c16="http://schemas.microsoft.com/office/drawing/2014/chart" uri="{C3380CC4-5D6E-409C-BE32-E72D297353CC}">
                <c16:uniqueId val="{00000725-B861-4943-8ABB-0EFD67D9E823}"/>
              </c:ext>
            </c:extLst>
          </c:dPt>
          <c:dPt>
            <c:idx val="914"/>
            <c:invertIfNegative val="1"/>
            <c:bubble3D val="0"/>
            <c:spPr>
              <a:solidFill>
                <a:srgbClr val="AEABAB"/>
              </a:solidFill>
            </c:spPr>
            <c:extLst>
              <c:ext xmlns:c16="http://schemas.microsoft.com/office/drawing/2014/chart" uri="{C3380CC4-5D6E-409C-BE32-E72D297353CC}">
                <c16:uniqueId val="{00000727-B861-4943-8ABB-0EFD67D9E823}"/>
              </c:ext>
            </c:extLst>
          </c:dPt>
          <c:dPt>
            <c:idx val="915"/>
            <c:invertIfNegative val="1"/>
            <c:bubble3D val="0"/>
            <c:spPr>
              <a:solidFill>
                <a:srgbClr val="AEABAB"/>
              </a:solidFill>
            </c:spPr>
            <c:extLst>
              <c:ext xmlns:c16="http://schemas.microsoft.com/office/drawing/2014/chart" uri="{C3380CC4-5D6E-409C-BE32-E72D297353CC}">
                <c16:uniqueId val="{00000729-B861-4943-8ABB-0EFD67D9E823}"/>
              </c:ext>
            </c:extLst>
          </c:dPt>
          <c:dPt>
            <c:idx val="916"/>
            <c:invertIfNegative val="1"/>
            <c:bubble3D val="0"/>
            <c:spPr>
              <a:solidFill>
                <a:srgbClr val="AEABAB"/>
              </a:solidFill>
            </c:spPr>
            <c:extLst>
              <c:ext xmlns:c16="http://schemas.microsoft.com/office/drawing/2014/chart" uri="{C3380CC4-5D6E-409C-BE32-E72D297353CC}">
                <c16:uniqueId val="{0000072B-B861-4943-8ABB-0EFD67D9E823}"/>
              </c:ext>
            </c:extLst>
          </c:dPt>
          <c:dPt>
            <c:idx val="917"/>
            <c:invertIfNegative val="1"/>
            <c:bubble3D val="0"/>
            <c:spPr>
              <a:solidFill>
                <a:srgbClr val="AEABAB"/>
              </a:solidFill>
            </c:spPr>
            <c:extLst>
              <c:ext xmlns:c16="http://schemas.microsoft.com/office/drawing/2014/chart" uri="{C3380CC4-5D6E-409C-BE32-E72D297353CC}">
                <c16:uniqueId val="{0000072D-B861-4943-8ABB-0EFD67D9E823}"/>
              </c:ext>
            </c:extLst>
          </c:dPt>
          <c:dPt>
            <c:idx val="918"/>
            <c:invertIfNegative val="1"/>
            <c:bubble3D val="0"/>
            <c:spPr>
              <a:solidFill>
                <a:srgbClr val="AEABAB"/>
              </a:solidFill>
            </c:spPr>
            <c:extLst>
              <c:ext xmlns:c16="http://schemas.microsoft.com/office/drawing/2014/chart" uri="{C3380CC4-5D6E-409C-BE32-E72D297353CC}">
                <c16:uniqueId val="{0000072F-B861-4943-8ABB-0EFD67D9E823}"/>
              </c:ext>
            </c:extLst>
          </c:dPt>
          <c:dPt>
            <c:idx val="919"/>
            <c:invertIfNegative val="1"/>
            <c:bubble3D val="0"/>
            <c:spPr>
              <a:solidFill>
                <a:srgbClr val="AEABAB"/>
              </a:solidFill>
            </c:spPr>
            <c:extLst>
              <c:ext xmlns:c16="http://schemas.microsoft.com/office/drawing/2014/chart" uri="{C3380CC4-5D6E-409C-BE32-E72D297353CC}">
                <c16:uniqueId val="{00000731-B861-4943-8ABB-0EFD67D9E823}"/>
              </c:ext>
            </c:extLst>
          </c:dPt>
          <c:dPt>
            <c:idx val="920"/>
            <c:invertIfNegative val="1"/>
            <c:bubble3D val="0"/>
            <c:spPr>
              <a:solidFill>
                <a:srgbClr val="AEABAB"/>
              </a:solidFill>
            </c:spPr>
            <c:extLst>
              <c:ext xmlns:c16="http://schemas.microsoft.com/office/drawing/2014/chart" uri="{C3380CC4-5D6E-409C-BE32-E72D297353CC}">
                <c16:uniqueId val="{00000733-B861-4943-8ABB-0EFD67D9E823}"/>
              </c:ext>
            </c:extLst>
          </c:dPt>
          <c:dPt>
            <c:idx val="921"/>
            <c:invertIfNegative val="1"/>
            <c:bubble3D val="0"/>
            <c:spPr>
              <a:solidFill>
                <a:srgbClr val="AEABAB"/>
              </a:solidFill>
            </c:spPr>
            <c:extLst>
              <c:ext xmlns:c16="http://schemas.microsoft.com/office/drawing/2014/chart" uri="{C3380CC4-5D6E-409C-BE32-E72D297353CC}">
                <c16:uniqueId val="{00000735-B861-4943-8ABB-0EFD67D9E823}"/>
              </c:ext>
            </c:extLst>
          </c:dPt>
          <c:dPt>
            <c:idx val="922"/>
            <c:invertIfNegative val="1"/>
            <c:bubble3D val="0"/>
            <c:spPr>
              <a:solidFill>
                <a:srgbClr val="AEABAB"/>
              </a:solidFill>
            </c:spPr>
            <c:extLst>
              <c:ext xmlns:c16="http://schemas.microsoft.com/office/drawing/2014/chart" uri="{C3380CC4-5D6E-409C-BE32-E72D297353CC}">
                <c16:uniqueId val="{00000737-B861-4943-8ABB-0EFD67D9E823}"/>
              </c:ext>
            </c:extLst>
          </c:dPt>
          <c:dPt>
            <c:idx val="923"/>
            <c:invertIfNegative val="1"/>
            <c:bubble3D val="0"/>
            <c:spPr>
              <a:solidFill>
                <a:srgbClr val="AEABAB"/>
              </a:solidFill>
            </c:spPr>
            <c:extLst>
              <c:ext xmlns:c16="http://schemas.microsoft.com/office/drawing/2014/chart" uri="{C3380CC4-5D6E-409C-BE32-E72D297353CC}">
                <c16:uniqueId val="{00000739-B861-4943-8ABB-0EFD67D9E823}"/>
              </c:ext>
            </c:extLst>
          </c:dPt>
          <c:dPt>
            <c:idx val="924"/>
            <c:invertIfNegative val="1"/>
            <c:bubble3D val="0"/>
            <c:spPr>
              <a:solidFill>
                <a:srgbClr val="AEABAB"/>
              </a:solidFill>
            </c:spPr>
            <c:extLst>
              <c:ext xmlns:c16="http://schemas.microsoft.com/office/drawing/2014/chart" uri="{C3380CC4-5D6E-409C-BE32-E72D297353CC}">
                <c16:uniqueId val="{0000073B-B861-4943-8ABB-0EFD67D9E823}"/>
              </c:ext>
            </c:extLst>
          </c:dPt>
          <c:dPt>
            <c:idx val="925"/>
            <c:invertIfNegative val="1"/>
            <c:bubble3D val="0"/>
            <c:spPr>
              <a:solidFill>
                <a:srgbClr val="AEABAB"/>
              </a:solidFill>
            </c:spPr>
            <c:extLst>
              <c:ext xmlns:c16="http://schemas.microsoft.com/office/drawing/2014/chart" uri="{C3380CC4-5D6E-409C-BE32-E72D297353CC}">
                <c16:uniqueId val="{0000073D-B861-4943-8ABB-0EFD67D9E823}"/>
              </c:ext>
            </c:extLst>
          </c:dPt>
          <c:dPt>
            <c:idx val="926"/>
            <c:invertIfNegative val="1"/>
            <c:bubble3D val="0"/>
            <c:spPr>
              <a:solidFill>
                <a:srgbClr val="AEABAB"/>
              </a:solidFill>
            </c:spPr>
            <c:extLst>
              <c:ext xmlns:c16="http://schemas.microsoft.com/office/drawing/2014/chart" uri="{C3380CC4-5D6E-409C-BE32-E72D297353CC}">
                <c16:uniqueId val="{0000073F-B861-4943-8ABB-0EFD67D9E823}"/>
              </c:ext>
            </c:extLst>
          </c:dPt>
          <c:dPt>
            <c:idx val="927"/>
            <c:invertIfNegative val="1"/>
            <c:bubble3D val="0"/>
            <c:spPr>
              <a:solidFill>
                <a:srgbClr val="AEABAB"/>
              </a:solidFill>
            </c:spPr>
            <c:extLst>
              <c:ext xmlns:c16="http://schemas.microsoft.com/office/drawing/2014/chart" uri="{C3380CC4-5D6E-409C-BE32-E72D297353CC}">
                <c16:uniqueId val="{00000741-B861-4943-8ABB-0EFD67D9E823}"/>
              </c:ext>
            </c:extLst>
          </c:dPt>
          <c:dPt>
            <c:idx val="928"/>
            <c:invertIfNegative val="1"/>
            <c:bubble3D val="0"/>
            <c:spPr>
              <a:solidFill>
                <a:srgbClr val="AEABAB"/>
              </a:solidFill>
            </c:spPr>
            <c:extLst>
              <c:ext xmlns:c16="http://schemas.microsoft.com/office/drawing/2014/chart" uri="{C3380CC4-5D6E-409C-BE32-E72D297353CC}">
                <c16:uniqueId val="{00000743-B861-4943-8ABB-0EFD67D9E823}"/>
              </c:ext>
            </c:extLst>
          </c:dPt>
          <c:dPt>
            <c:idx val="929"/>
            <c:invertIfNegative val="1"/>
            <c:bubble3D val="0"/>
            <c:spPr>
              <a:solidFill>
                <a:srgbClr val="AEABAB"/>
              </a:solidFill>
            </c:spPr>
            <c:extLst>
              <c:ext xmlns:c16="http://schemas.microsoft.com/office/drawing/2014/chart" uri="{C3380CC4-5D6E-409C-BE32-E72D297353CC}">
                <c16:uniqueId val="{00000745-B861-4943-8ABB-0EFD67D9E823}"/>
              </c:ext>
            </c:extLst>
          </c:dPt>
          <c:dPt>
            <c:idx val="930"/>
            <c:invertIfNegative val="1"/>
            <c:bubble3D val="0"/>
            <c:spPr>
              <a:solidFill>
                <a:srgbClr val="AEABAB"/>
              </a:solidFill>
            </c:spPr>
            <c:extLst>
              <c:ext xmlns:c16="http://schemas.microsoft.com/office/drawing/2014/chart" uri="{C3380CC4-5D6E-409C-BE32-E72D297353CC}">
                <c16:uniqueId val="{00000747-B861-4943-8ABB-0EFD67D9E823}"/>
              </c:ext>
            </c:extLst>
          </c:dPt>
          <c:dPt>
            <c:idx val="931"/>
            <c:invertIfNegative val="1"/>
            <c:bubble3D val="0"/>
            <c:spPr>
              <a:solidFill>
                <a:srgbClr val="AEABAB"/>
              </a:solidFill>
            </c:spPr>
            <c:extLst>
              <c:ext xmlns:c16="http://schemas.microsoft.com/office/drawing/2014/chart" uri="{C3380CC4-5D6E-409C-BE32-E72D297353CC}">
                <c16:uniqueId val="{00000749-B861-4943-8ABB-0EFD67D9E823}"/>
              </c:ext>
            </c:extLst>
          </c:dPt>
          <c:dPt>
            <c:idx val="932"/>
            <c:invertIfNegative val="1"/>
            <c:bubble3D val="0"/>
            <c:spPr>
              <a:solidFill>
                <a:srgbClr val="AEABAB"/>
              </a:solidFill>
            </c:spPr>
            <c:extLst>
              <c:ext xmlns:c16="http://schemas.microsoft.com/office/drawing/2014/chart" uri="{C3380CC4-5D6E-409C-BE32-E72D297353CC}">
                <c16:uniqueId val="{0000074B-B861-4943-8ABB-0EFD67D9E823}"/>
              </c:ext>
            </c:extLst>
          </c:dPt>
          <c:dPt>
            <c:idx val="933"/>
            <c:invertIfNegative val="1"/>
            <c:bubble3D val="0"/>
            <c:spPr>
              <a:solidFill>
                <a:srgbClr val="AEABAB"/>
              </a:solidFill>
            </c:spPr>
            <c:extLst>
              <c:ext xmlns:c16="http://schemas.microsoft.com/office/drawing/2014/chart" uri="{C3380CC4-5D6E-409C-BE32-E72D297353CC}">
                <c16:uniqueId val="{0000074D-B861-4943-8ABB-0EFD67D9E823}"/>
              </c:ext>
            </c:extLst>
          </c:dPt>
          <c:dPt>
            <c:idx val="934"/>
            <c:invertIfNegative val="1"/>
            <c:bubble3D val="0"/>
            <c:spPr>
              <a:solidFill>
                <a:srgbClr val="AEABAB"/>
              </a:solidFill>
            </c:spPr>
            <c:extLst>
              <c:ext xmlns:c16="http://schemas.microsoft.com/office/drawing/2014/chart" uri="{C3380CC4-5D6E-409C-BE32-E72D297353CC}">
                <c16:uniqueId val="{0000074F-B861-4943-8ABB-0EFD67D9E823}"/>
              </c:ext>
            </c:extLst>
          </c:dPt>
          <c:dPt>
            <c:idx val="935"/>
            <c:invertIfNegative val="1"/>
            <c:bubble3D val="0"/>
            <c:spPr>
              <a:solidFill>
                <a:srgbClr val="AEABAB"/>
              </a:solidFill>
            </c:spPr>
            <c:extLst>
              <c:ext xmlns:c16="http://schemas.microsoft.com/office/drawing/2014/chart" uri="{C3380CC4-5D6E-409C-BE32-E72D297353CC}">
                <c16:uniqueId val="{00000751-B861-4943-8ABB-0EFD67D9E823}"/>
              </c:ext>
            </c:extLst>
          </c:dPt>
          <c:dPt>
            <c:idx val="936"/>
            <c:invertIfNegative val="1"/>
            <c:bubble3D val="0"/>
            <c:spPr>
              <a:solidFill>
                <a:srgbClr val="AEABAB"/>
              </a:solidFill>
            </c:spPr>
            <c:extLst>
              <c:ext xmlns:c16="http://schemas.microsoft.com/office/drawing/2014/chart" uri="{C3380CC4-5D6E-409C-BE32-E72D297353CC}">
                <c16:uniqueId val="{00000753-B861-4943-8ABB-0EFD67D9E823}"/>
              </c:ext>
            </c:extLst>
          </c:dPt>
          <c:dPt>
            <c:idx val="937"/>
            <c:invertIfNegative val="1"/>
            <c:bubble3D val="0"/>
            <c:spPr>
              <a:solidFill>
                <a:srgbClr val="AEABAB"/>
              </a:solidFill>
            </c:spPr>
            <c:extLst>
              <c:ext xmlns:c16="http://schemas.microsoft.com/office/drawing/2014/chart" uri="{C3380CC4-5D6E-409C-BE32-E72D297353CC}">
                <c16:uniqueId val="{00000755-B861-4943-8ABB-0EFD67D9E823}"/>
              </c:ext>
            </c:extLst>
          </c:dPt>
          <c:dPt>
            <c:idx val="938"/>
            <c:invertIfNegative val="1"/>
            <c:bubble3D val="0"/>
            <c:spPr>
              <a:solidFill>
                <a:srgbClr val="AEABAB"/>
              </a:solidFill>
            </c:spPr>
            <c:extLst>
              <c:ext xmlns:c16="http://schemas.microsoft.com/office/drawing/2014/chart" uri="{C3380CC4-5D6E-409C-BE32-E72D297353CC}">
                <c16:uniqueId val="{00000757-B861-4943-8ABB-0EFD67D9E823}"/>
              </c:ext>
            </c:extLst>
          </c:dPt>
          <c:dPt>
            <c:idx val="939"/>
            <c:invertIfNegative val="1"/>
            <c:bubble3D val="0"/>
            <c:spPr>
              <a:solidFill>
                <a:srgbClr val="AEABAB"/>
              </a:solidFill>
            </c:spPr>
            <c:extLst>
              <c:ext xmlns:c16="http://schemas.microsoft.com/office/drawing/2014/chart" uri="{C3380CC4-5D6E-409C-BE32-E72D297353CC}">
                <c16:uniqueId val="{00000759-B861-4943-8ABB-0EFD67D9E823}"/>
              </c:ext>
            </c:extLst>
          </c:dPt>
          <c:dPt>
            <c:idx val="940"/>
            <c:invertIfNegative val="1"/>
            <c:bubble3D val="0"/>
            <c:spPr>
              <a:solidFill>
                <a:srgbClr val="AEABAB"/>
              </a:solidFill>
            </c:spPr>
            <c:extLst>
              <c:ext xmlns:c16="http://schemas.microsoft.com/office/drawing/2014/chart" uri="{C3380CC4-5D6E-409C-BE32-E72D297353CC}">
                <c16:uniqueId val="{0000075B-B861-4943-8ABB-0EFD67D9E823}"/>
              </c:ext>
            </c:extLst>
          </c:dPt>
          <c:dPt>
            <c:idx val="941"/>
            <c:invertIfNegative val="1"/>
            <c:bubble3D val="0"/>
            <c:spPr>
              <a:solidFill>
                <a:srgbClr val="AEABAB"/>
              </a:solidFill>
            </c:spPr>
            <c:extLst>
              <c:ext xmlns:c16="http://schemas.microsoft.com/office/drawing/2014/chart" uri="{C3380CC4-5D6E-409C-BE32-E72D297353CC}">
                <c16:uniqueId val="{0000075D-B861-4943-8ABB-0EFD67D9E823}"/>
              </c:ext>
            </c:extLst>
          </c:dPt>
          <c:dPt>
            <c:idx val="942"/>
            <c:invertIfNegative val="1"/>
            <c:bubble3D val="0"/>
            <c:spPr>
              <a:solidFill>
                <a:srgbClr val="AEABAB"/>
              </a:solidFill>
            </c:spPr>
            <c:extLst>
              <c:ext xmlns:c16="http://schemas.microsoft.com/office/drawing/2014/chart" uri="{C3380CC4-5D6E-409C-BE32-E72D297353CC}">
                <c16:uniqueId val="{0000075F-B861-4943-8ABB-0EFD67D9E823}"/>
              </c:ext>
            </c:extLst>
          </c:dPt>
          <c:dPt>
            <c:idx val="943"/>
            <c:invertIfNegative val="1"/>
            <c:bubble3D val="0"/>
            <c:spPr>
              <a:solidFill>
                <a:srgbClr val="AEABAB"/>
              </a:solidFill>
            </c:spPr>
            <c:extLst>
              <c:ext xmlns:c16="http://schemas.microsoft.com/office/drawing/2014/chart" uri="{C3380CC4-5D6E-409C-BE32-E72D297353CC}">
                <c16:uniqueId val="{00000761-B861-4943-8ABB-0EFD67D9E823}"/>
              </c:ext>
            </c:extLst>
          </c:dPt>
          <c:dPt>
            <c:idx val="944"/>
            <c:invertIfNegative val="1"/>
            <c:bubble3D val="0"/>
            <c:spPr>
              <a:solidFill>
                <a:srgbClr val="AEABAB"/>
              </a:solidFill>
            </c:spPr>
            <c:extLst>
              <c:ext xmlns:c16="http://schemas.microsoft.com/office/drawing/2014/chart" uri="{C3380CC4-5D6E-409C-BE32-E72D297353CC}">
                <c16:uniqueId val="{00000763-B861-4943-8ABB-0EFD67D9E823}"/>
              </c:ext>
            </c:extLst>
          </c:dPt>
          <c:dPt>
            <c:idx val="945"/>
            <c:invertIfNegative val="1"/>
            <c:bubble3D val="0"/>
            <c:spPr>
              <a:solidFill>
                <a:srgbClr val="AEABAB"/>
              </a:solidFill>
            </c:spPr>
            <c:extLst>
              <c:ext xmlns:c16="http://schemas.microsoft.com/office/drawing/2014/chart" uri="{C3380CC4-5D6E-409C-BE32-E72D297353CC}">
                <c16:uniqueId val="{00000765-B861-4943-8ABB-0EFD67D9E823}"/>
              </c:ext>
            </c:extLst>
          </c:dPt>
          <c:dPt>
            <c:idx val="946"/>
            <c:invertIfNegative val="1"/>
            <c:bubble3D val="0"/>
            <c:spPr>
              <a:solidFill>
                <a:srgbClr val="AEABAB"/>
              </a:solidFill>
            </c:spPr>
            <c:extLst>
              <c:ext xmlns:c16="http://schemas.microsoft.com/office/drawing/2014/chart" uri="{C3380CC4-5D6E-409C-BE32-E72D297353CC}">
                <c16:uniqueId val="{00000767-B861-4943-8ABB-0EFD67D9E823}"/>
              </c:ext>
            </c:extLst>
          </c:dPt>
          <c:dPt>
            <c:idx val="947"/>
            <c:invertIfNegative val="1"/>
            <c:bubble3D val="0"/>
            <c:spPr>
              <a:solidFill>
                <a:srgbClr val="AEABAB"/>
              </a:solidFill>
            </c:spPr>
            <c:extLst>
              <c:ext xmlns:c16="http://schemas.microsoft.com/office/drawing/2014/chart" uri="{C3380CC4-5D6E-409C-BE32-E72D297353CC}">
                <c16:uniqueId val="{00000769-B861-4943-8ABB-0EFD67D9E823}"/>
              </c:ext>
            </c:extLst>
          </c:dPt>
          <c:dPt>
            <c:idx val="948"/>
            <c:invertIfNegative val="1"/>
            <c:bubble3D val="0"/>
            <c:spPr>
              <a:solidFill>
                <a:srgbClr val="AEABAB"/>
              </a:solidFill>
            </c:spPr>
            <c:extLst>
              <c:ext xmlns:c16="http://schemas.microsoft.com/office/drawing/2014/chart" uri="{C3380CC4-5D6E-409C-BE32-E72D297353CC}">
                <c16:uniqueId val="{0000076B-B861-4943-8ABB-0EFD67D9E823}"/>
              </c:ext>
            </c:extLst>
          </c:dPt>
          <c:dPt>
            <c:idx val="949"/>
            <c:invertIfNegative val="1"/>
            <c:bubble3D val="0"/>
            <c:spPr>
              <a:solidFill>
                <a:srgbClr val="AEABAB"/>
              </a:solidFill>
            </c:spPr>
            <c:extLst>
              <c:ext xmlns:c16="http://schemas.microsoft.com/office/drawing/2014/chart" uri="{C3380CC4-5D6E-409C-BE32-E72D297353CC}">
                <c16:uniqueId val="{0000076D-B861-4943-8ABB-0EFD67D9E823}"/>
              </c:ext>
            </c:extLst>
          </c:dPt>
          <c:dPt>
            <c:idx val="950"/>
            <c:invertIfNegative val="1"/>
            <c:bubble3D val="0"/>
            <c:spPr>
              <a:solidFill>
                <a:srgbClr val="AEABAB"/>
              </a:solidFill>
            </c:spPr>
            <c:extLst>
              <c:ext xmlns:c16="http://schemas.microsoft.com/office/drawing/2014/chart" uri="{C3380CC4-5D6E-409C-BE32-E72D297353CC}">
                <c16:uniqueId val="{0000076F-B861-4943-8ABB-0EFD67D9E823}"/>
              </c:ext>
            </c:extLst>
          </c:dPt>
          <c:dPt>
            <c:idx val="951"/>
            <c:invertIfNegative val="1"/>
            <c:bubble3D val="0"/>
            <c:spPr>
              <a:solidFill>
                <a:srgbClr val="AEABAB"/>
              </a:solidFill>
            </c:spPr>
            <c:extLst>
              <c:ext xmlns:c16="http://schemas.microsoft.com/office/drawing/2014/chart" uri="{C3380CC4-5D6E-409C-BE32-E72D297353CC}">
                <c16:uniqueId val="{00000771-B861-4943-8ABB-0EFD67D9E823}"/>
              </c:ext>
            </c:extLst>
          </c:dPt>
          <c:dPt>
            <c:idx val="952"/>
            <c:invertIfNegative val="1"/>
            <c:bubble3D val="0"/>
            <c:spPr>
              <a:solidFill>
                <a:srgbClr val="AEABAB"/>
              </a:solidFill>
            </c:spPr>
            <c:extLst>
              <c:ext xmlns:c16="http://schemas.microsoft.com/office/drawing/2014/chart" uri="{C3380CC4-5D6E-409C-BE32-E72D297353CC}">
                <c16:uniqueId val="{00000773-B861-4943-8ABB-0EFD67D9E823}"/>
              </c:ext>
            </c:extLst>
          </c:dPt>
          <c:dPt>
            <c:idx val="953"/>
            <c:invertIfNegative val="1"/>
            <c:bubble3D val="0"/>
            <c:spPr>
              <a:solidFill>
                <a:srgbClr val="AEABAB"/>
              </a:solidFill>
            </c:spPr>
            <c:extLst>
              <c:ext xmlns:c16="http://schemas.microsoft.com/office/drawing/2014/chart" uri="{C3380CC4-5D6E-409C-BE32-E72D297353CC}">
                <c16:uniqueId val="{00000775-B861-4943-8ABB-0EFD67D9E823}"/>
              </c:ext>
            </c:extLst>
          </c:dPt>
          <c:dPt>
            <c:idx val="954"/>
            <c:invertIfNegative val="1"/>
            <c:bubble3D val="0"/>
            <c:spPr>
              <a:solidFill>
                <a:srgbClr val="AEABAB"/>
              </a:solidFill>
            </c:spPr>
            <c:extLst>
              <c:ext xmlns:c16="http://schemas.microsoft.com/office/drawing/2014/chart" uri="{C3380CC4-5D6E-409C-BE32-E72D297353CC}">
                <c16:uniqueId val="{00000777-B861-4943-8ABB-0EFD67D9E823}"/>
              </c:ext>
            </c:extLst>
          </c:dPt>
          <c:dPt>
            <c:idx val="955"/>
            <c:invertIfNegative val="1"/>
            <c:bubble3D val="0"/>
            <c:spPr>
              <a:solidFill>
                <a:srgbClr val="AEABAB"/>
              </a:solidFill>
            </c:spPr>
            <c:extLst>
              <c:ext xmlns:c16="http://schemas.microsoft.com/office/drawing/2014/chart" uri="{C3380CC4-5D6E-409C-BE32-E72D297353CC}">
                <c16:uniqueId val="{00000779-B861-4943-8ABB-0EFD67D9E823}"/>
              </c:ext>
            </c:extLst>
          </c:dPt>
          <c:dPt>
            <c:idx val="956"/>
            <c:invertIfNegative val="1"/>
            <c:bubble3D val="0"/>
            <c:spPr>
              <a:solidFill>
                <a:srgbClr val="AEABAB"/>
              </a:solidFill>
            </c:spPr>
            <c:extLst>
              <c:ext xmlns:c16="http://schemas.microsoft.com/office/drawing/2014/chart" uri="{C3380CC4-5D6E-409C-BE32-E72D297353CC}">
                <c16:uniqueId val="{0000077B-B861-4943-8ABB-0EFD67D9E823}"/>
              </c:ext>
            </c:extLst>
          </c:dPt>
          <c:dPt>
            <c:idx val="957"/>
            <c:invertIfNegative val="1"/>
            <c:bubble3D val="0"/>
            <c:spPr>
              <a:solidFill>
                <a:srgbClr val="AEABAB"/>
              </a:solidFill>
            </c:spPr>
            <c:extLst>
              <c:ext xmlns:c16="http://schemas.microsoft.com/office/drawing/2014/chart" uri="{C3380CC4-5D6E-409C-BE32-E72D297353CC}">
                <c16:uniqueId val="{0000077D-B861-4943-8ABB-0EFD67D9E823}"/>
              </c:ext>
            </c:extLst>
          </c:dPt>
          <c:dPt>
            <c:idx val="958"/>
            <c:invertIfNegative val="1"/>
            <c:bubble3D val="0"/>
            <c:spPr>
              <a:solidFill>
                <a:srgbClr val="AEABAB"/>
              </a:solidFill>
            </c:spPr>
            <c:extLst>
              <c:ext xmlns:c16="http://schemas.microsoft.com/office/drawing/2014/chart" uri="{C3380CC4-5D6E-409C-BE32-E72D297353CC}">
                <c16:uniqueId val="{0000077F-B861-4943-8ABB-0EFD67D9E823}"/>
              </c:ext>
            </c:extLst>
          </c:dPt>
          <c:dPt>
            <c:idx val="959"/>
            <c:invertIfNegative val="1"/>
            <c:bubble3D val="0"/>
            <c:spPr>
              <a:solidFill>
                <a:srgbClr val="AEABAB"/>
              </a:solidFill>
            </c:spPr>
            <c:extLst>
              <c:ext xmlns:c16="http://schemas.microsoft.com/office/drawing/2014/chart" uri="{C3380CC4-5D6E-409C-BE32-E72D297353CC}">
                <c16:uniqueId val="{00000781-B861-4943-8ABB-0EFD67D9E823}"/>
              </c:ext>
            </c:extLst>
          </c:dPt>
          <c:dPt>
            <c:idx val="960"/>
            <c:invertIfNegative val="1"/>
            <c:bubble3D val="0"/>
            <c:spPr>
              <a:solidFill>
                <a:srgbClr val="AEABAB"/>
              </a:solidFill>
            </c:spPr>
            <c:extLst>
              <c:ext xmlns:c16="http://schemas.microsoft.com/office/drawing/2014/chart" uri="{C3380CC4-5D6E-409C-BE32-E72D297353CC}">
                <c16:uniqueId val="{00000783-B861-4943-8ABB-0EFD67D9E823}"/>
              </c:ext>
            </c:extLst>
          </c:dPt>
          <c:dPt>
            <c:idx val="961"/>
            <c:invertIfNegative val="1"/>
            <c:bubble3D val="0"/>
            <c:spPr>
              <a:solidFill>
                <a:srgbClr val="AEABAB"/>
              </a:solidFill>
            </c:spPr>
            <c:extLst>
              <c:ext xmlns:c16="http://schemas.microsoft.com/office/drawing/2014/chart" uri="{C3380CC4-5D6E-409C-BE32-E72D297353CC}">
                <c16:uniqueId val="{00000785-B861-4943-8ABB-0EFD67D9E823}"/>
              </c:ext>
            </c:extLst>
          </c:dPt>
          <c:dPt>
            <c:idx val="962"/>
            <c:invertIfNegative val="1"/>
            <c:bubble3D val="0"/>
            <c:spPr>
              <a:solidFill>
                <a:srgbClr val="AEABAB"/>
              </a:solidFill>
            </c:spPr>
            <c:extLst>
              <c:ext xmlns:c16="http://schemas.microsoft.com/office/drawing/2014/chart" uri="{C3380CC4-5D6E-409C-BE32-E72D297353CC}">
                <c16:uniqueId val="{00000787-B861-4943-8ABB-0EFD67D9E823}"/>
              </c:ext>
            </c:extLst>
          </c:dPt>
          <c:dPt>
            <c:idx val="963"/>
            <c:invertIfNegative val="1"/>
            <c:bubble3D val="0"/>
            <c:spPr>
              <a:solidFill>
                <a:srgbClr val="AEABAB"/>
              </a:solidFill>
            </c:spPr>
            <c:extLst>
              <c:ext xmlns:c16="http://schemas.microsoft.com/office/drawing/2014/chart" uri="{C3380CC4-5D6E-409C-BE32-E72D297353CC}">
                <c16:uniqueId val="{00000789-B861-4943-8ABB-0EFD67D9E823}"/>
              </c:ext>
            </c:extLst>
          </c:dPt>
          <c:dPt>
            <c:idx val="964"/>
            <c:invertIfNegative val="1"/>
            <c:bubble3D val="0"/>
            <c:spPr>
              <a:solidFill>
                <a:srgbClr val="AEABAB"/>
              </a:solidFill>
            </c:spPr>
            <c:extLst>
              <c:ext xmlns:c16="http://schemas.microsoft.com/office/drawing/2014/chart" uri="{C3380CC4-5D6E-409C-BE32-E72D297353CC}">
                <c16:uniqueId val="{0000078B-B861-4943-8ABB-0EFD67D9E823}"/>
              </c:ext>
            </c:extLst>
          </c:dPt>
          <c:dPt>
            <c:idx val="965"/>
            <c:invertIfNegative val="1"/>
            <c:bubble3D val="0"/>
            <c:spPr>
              <a:solidFill>
                <a:srgbClr val="AEABAB"/>
              </a:solidFill>
            </c:spPr>
            <c:extLst>
              <c:ext xmlns:c16="http://schemas.microsoft.com/office/drawing/2014/chart" uri="{C3380CC4-5D6E-409C-BE32-E72D297353CC}">
                <c16:uniqueId val="{0000078D-B861-4943-8ABB-0EFD67D9E823}"/>
              </c:ext>
            </c:extLst>
          </c:dPt>
          <c:dPt>
            <c:idx val="966"/>
            <c:invertIfNegative val="1"/>
            <c:bubble3D val="0"/>
            <c:spPr>
              <a:solidFill>
                <a:srgbClr val="AEABAB"/>
              </a:solidFill>
            </c:spPr>
            <c:extLst>
              <c:ext xmlns:c16="http://schemas.microsoft.com/office/drawing/2014/chart" uri="{C3380CC4-5D6E-409C-BE32-E72D297353CC}">
                <c16:uniqueId val="{0000078F-B861-4943-8ABB-0EFD67D9E823}"/>
              </c:ext>
            </c:extLst>
          </c:dPt>
          <c:dPt>
            <c:idx val="967"/>
            <c:invertIfNegative val="1"/>
            <c:bubble3D val="0"/>
            <c:spPr>
              <a:solidFill>
                <a:srgbClr val="AEABAB"/>
              </a:solidFill>
            </c:spPr>
            <c:extLst>
              <c:ext xmlns:c16="http://schemas.microsoft.com/office/drawing/2014/chart" uri="{C3380CC4-5D6E-409C-BE32-E72D297353CC}">
                <c16:uniqueId val="{00000791-B861-4943-8ABB-0EFD67D9E823}"/>
              </c:ext>
            </c:extLst>
          </c:dPt>
          <c:dPt>
            <c:idx val="968"/>
            <c:invertIfNegative val="1"/>
            <c:bubble3D val="0"/>
            <c:spPr>
              <a:solidFill>
                <a:srgbClr val="AEABAB"/>
              </a:solidFill>
            </c:spPr>
            <c:extLst>
              <c:ext xmlns:c16="http://schemas.microsoft.com/office/drawing/2014/chart" uri="{C3380CC4-5D6E-409C-BE32-E72D297353CC}">
                <c16:uniqueId val="{00000793-B861-4943-8ABB-0EFD67D9E823}"/>
              </c:ext>
            </c:extLst>
          </c:dPt>
          <c:dPt>
            <c:idx val="969"/>
            <c:invertIfNegative val="1"/>
            <c:bubble3D val="0"/>
            <c:spPr>
              <a:solidFill>
                <a:srgbClr val="AEABAB"/>
              </a:solidFill>
            </c:spPr>
            <c:extLst>
              <c:ext xmlns:c16="http://schemas.microsoft.com/office/drawing/2014/chart" uri="{C3380CC4-5D6E-409C-BE32-E72D297353CC}">
                <c16:uniqueId val="{00000795-B861-4943-8ABB-0EFD67D9E823}"/>
              </c:ext>
            </c:extLst>
          </c:dPt>
          <c:dPt>
            <c:idx val="970"/>
            <c:invertIfNegative val="1"/>
            <c:bubble3D val="0"/>
            <c:spPr>
              <a:solidFill>
                <a:srgbClr val="AEABAB"/>
              </a:solidFill>
            </c:spPr>
            <c:extLst>
              <c:ext xmlns:c16="http://schemas.microsoft.com/office/drawing/2014/chart" uri="{C3380CC4-5D6E-409C-BE32-E72D297353CC}">
                <c16:uniqueId val="{00000797-B861-4943-8ABB-0EFD67D9E823}"/>
              </c:ext>
            </c:extLst>
          </c:dPt>
          <c:dPt>
            <c:idx val="971"/>
            <c:invertIfNegative val="1"/>
            <c:bubble3D val="0"/>
            <c:spPr>
              <a:solidFill>
                <a:srgbClr val="AEABAB"/>
              </a:solidFill>
            </c:spPr>
            <c:extLst>
              <c:ext xmlns:c16="http://schemas.microsoft.com/office/drawing/2014/chart" uri="{C3380CC4-5D6E-409C-BE32-E72D297353CC}">
                <c16:uniqueId val="{00000799-B861-4943-8ABB-0EFD67D9E823}"/>
              </c:ext>
            </c:extLst>
          </c:dPt>
          <c:dPt>
            <c:idx val="972"/>
            <c:invertIfNegative val="1"/>
            <c:bubble3D val="0"/>
            <c:spPr>
              <a:solidFill>
                <a:srgbClr val="AEABAB"/>
              </a:solidFill>
            </c:spPr>
            <c:extLst>
              <c:ext xmlns:c16="http://schemas.microsoft.com/office/drawing/2014/chart" uri="{C3380CC4-5D6E-409C-BE32-E72D297353CC}">
                <c16:uniqueId val="{0000079B-B861-4943-8ABB-0EFD67D9E823}"/>
              </c:ext>
            </c:extLst>
          </c:dPt>
          <c:dPt>
            <c:idx val="973"/>
            <c:invertIfNegative val="1"/>
            <c:bubble3D val="0"/>
            <c:spPr>
              <a:solidFill>
                <a:srgbClr val="AEABAB"/>
              </a:solidFill>
            </c:spPr>
            <c:extLst>
              <c:ext xmlns:c16="http://schemas.microsoft.com/office/drawing/2014/chart" uri="{C3380CC4-5D6E-409C-BE32-E72D297353CC}">
                <c16:uniqueId val="{0000079D-B861-4943-8ABB-0EFD67D9E823}"/>
              </c:ext>
            </c:extLst>
          </c:dPt>
          <c:dPt>
            <c:idx val="974"/>
            <c:invertIfNegative val="1"/>
            <c:bubble3D val="0"/>
            <c:spPr>
              <a:solidFill>
                <a:srgbClr val="AEABAB"/>
              </a:solidFill>
            </c:spPr>
            <c:extLst>
              <c:ext xmlns:c16="http://schemas.microsoft.com/office/drawing/2014/chart" uri="{C3380CC4-5D6E-409C-BE32-E72D297353CC}">
                <c16:uniqueId val="{0000079F-B861-4943-8ABB-0EFD67D9E823}"/>
              </c:ext>
            </c:extLst>
          </c:dPt>
          <c:dPt>
            <c:idx val="975"/>
            <c:invertIfNegative val="1"/>
            <c:bubble3D val="0"/>
            <c:spPr>
              <a:solidFill>
                <a:srgbClr val="AEABAB"/>
              </a:solidFill>
            </c:spPr>
            <c:extLst>
              <c:ext xmlns:c16="http://schemas.microsoft.com/office/drawing/2014/chart" uri="{C3380CC4-5D6E-409C-BE32-E72D297353CC}">
                <c16:uniqueId val="{000007A1-B861-4943-8ABB-0EFD67D9E823}"/>
              </c:ext>
            </c:extLst>
          </c:dPt>
          <c:dPt>
            <c:idx val="976"/>
            <c:invertIfNegative val="1"/>
            <c:bubble3D val="0"/>
            <c:spPr>
              <a:solidFill>
                <a:srgbClr val="AEABAB"/>
              </a:solidFill>
            </c:spPr>
            <c:extLst>
              <c:ext xmlns:c16="http://schemas.microsoft.com/office/drawing/2014/chart" uri="{C3380CC4-5D6E-409C-BE32-E72D297353CC}">
                <c16:uniqueId val="{000007A3-B861-4943-8ABB-0EFD67D9E823}"/>
              </c:ext>
            </c:extLst>
          </c:dPt>
          <c:dPt>
            <c:idx val="977"/>
            <c:invertIfNegative val="1"/>
            <c:bubble3D val="0"/>
            <c:spPr>
              <a:solidFill>
                <a:srgbClr val="AEABAB"/>
              </a:solidFill>
            </c:spPr>
            <c:extLst>
              <c:ext xmlns:c16="http://schemas.microsoft.com/office/drawing/2014/chart" uri="{C3380CC4-5D6E-409C-BE32-E72D297353CC}">
                <c16:uniqueId val="{000007A5-B861-4943-8ABB-0EFD67D9E823}"/>
              </c:ext>
            </c:extLst>
          </c:dPt>
          <c:dPt>
            <c:idx val="978"/>
            <c:invertIfNegative val="1"/>
            <c:bubble3D val="0"/>
            <c:spPr>
              <a:solidFill>
                <a:srgbClr val="AEABAB"/>
              </a:solidFill>
            </c:spPr>
            <c:extLst>
              <c:ext xmlns:c16="http://schemas.microsoft.com/office/drawing/2014/chart" uri="{C3380CC4-5D6E-409C-BE32-E72D297353CC}">
                <c16:uniqueId val="{000007A7-B861-4943-8ABB-0EFD67D9E823}"/>
              </c:ext>
            </c:extLst>
          </c:dPt>
          <c:dPt>
            <c:idx val="979"/>
            <c:invertIfNegative val="1"/>
            <c:bubble3D val="0"/>
            <c:spPr>
              <a:solidFill>
                <a:srgbClr val="AEABAB"/>
              </a:solidFill>
            </c:spPr>
            <c:extLst>
              <c:ext xmlns:c16="http://schemas.microsoft.com/office/drawing/2014/chart" uri="{C3380CC4-5D6E-409C-BE32-E72D297353CC}">
                <c16:uniqueId val="{000007A9-B861-4943-8ABB-0EFD67D9E823}"/>
              </c:ext>
            </c:extLst>
          </c:dPt>
          <c:dPt>
            <c:idx val="980"/>
            <c:invertIfNegative val="1"/>
            <c:bubble3D val="0"/>
            <c:spPr>
              <a:solidFill>
                <a:srgbClr val="AEABAB"/>
              </a:solidFill>
            </c:spPr>
            <c:extLst>
              <c:ext xmlns:c16="http://schemas.microsoft.com/office/drawing/2014/chart" uri="{C3380CC4-5D6E-409C-BE32-E72D297353CC}">
                <c16:uniqueId val="{000007AB-B861-4943-8ABB-0EFD67D9E823}"/>
              </c:ext>
            </c:extLst>
          </c:dPt>
          <c:dPt>
            <c:idx val="981"/>
            <c:invertIfNegative val="1"/>
            <c:bubble3D val="0"/>
            <c:spPr>
              <a:solidFill>
                <a:srgbClr val="AEABAB"/>
              </a:solidFill>
            </c:spPr>
            <c:extLst>
              <c:ext xmlns:c16="http://schemas.microsoft.com/office/drawing/2014/chart" uri="{C3380CC4-5D6E-409C-BE32-E72D297353CC}">
                <c16:uniqueId val="{000007AD-B861-4943-8ABB-0EFD67D9E823}"/>
              </c:ext>
            </c:extLst>
          </c:dPt>
          <c:dPt>
            <c:idx val="982"/>
            <c:invertIfNegative val="1"/>
            <c:bubble3D val="0"/>
            <c:spPr>
              <a:solidFill>
                <a:srgbClr val="AEABAB"/>
              </a:solidFill>
            </c:spPr>
            <c:extLst>
              <c:ext xmlns:c16="http://schemas.microsoft.com/office/drawing/2014/chart" uri="{C3380CC4-5D6E-409C-BE32-E72D297353CC}">
                <c16:uniqueId val="{000007AF-B861-4943-8ABB-0EFD67D9E823}"/>
              </c:ext>
            </c:extLst>
          </c:dPt>
          <c:dPt>
            <c:idx val="983"/>
            <c:invertIfNegative val="1"/>
            <c:bubble3D val="0"/>
            <c:spPr>
              <a:solidFill>
                <a:srgbClr val="AEABAB"/>
              </a:solidFill>
            </c:spPr>
            <c:extLst>
              <c:ext xmlns:c16="http://schemas.microsoft.com/office/drawing/2014/chart" uri="{C3380CC4-5D6E-409C-BE32-E72D297353CC}">
                <c16:uniqueId val="{000007B1-B861-4943-8ABB-0EFD67D9E823}"/>
              </c:ext>
            </c:extLst>
          </c:dPt>
          <c:dPt>
            <c:idx val="984"/>
            <c:invertIfNegative val="1"/>
            <c:bubble3D val="0"/>
            <c:spPr>
              <a:solidFill>
                <a:srgbClr val="AEABAB"/>
              </a:solidFill>
            </c:spPr>
            <c:extLst>
              <c:ext xmlns:c16="http://schemas.microsoft.com/office/drawing/2014/chart" uri="{C3380CC4-5D6E-409C-BE32-E72D297353CC}">
                <c16:uniqueId val="{000007B3-B861-4943-8ABB-0EFD67D9E823}"/>
              </c:ext>
            </c:extLst>
          </c:dPt>
          <c:dPt>
            <c:idx val="985"/>
            <c:invertIfNegative val="1"/>
            <c:bubble3D val="0"/>
            <c:spPr>
              <a:solidFill>
                <a:srgbClr val="AEABAB"/>
              </a:solidFill>
            </c:spPr>
            <c:extLst>
              <c:ext xmlns:c16="http://schemas.microsoft.com/office/drawing/2014/chart" uri="{C3380CC4-5D6E-409C-BE32-E72D297353CC}">
                <c16:uniqueId val="{000007B5-B861-4943-8ABB-0EFD67D9E823}"/>
              </c:ext>
            </c:extLst>
          </c:dPt>
          <c:dPt>
            <c:idx val="986"/>
            <c:invertIfNegative val="1"/>
            <c:bubble3D val="0"/>
            <c:spPr>
              <a:solidFill>
                <a:srgbClr val="AEABAB"/>
              </a:solidFill>
            </c:spPr>
            <c:extLst>
              <c:ext xmlns:c16="http://schemas.microsoft.com/office/drawing/2014/chart" uri="{C3380CC4-5D6E-409C-BE32-E72D297353CC}">
                <c16:uniqueId val="{000007B7-B861-4943-8ABB-0EFD67D9E823}"/>
              </c:ext>
            </c:extLst>
          </c:dPt>
          <c:dPt>
            <c:idx val="987"/>
            <c:invertIfNegative val="1"/>
            <c:bubble3D val="0"/>
            <c:spPr>
              <a:solidFill>
                <a:srgbClr val="AEABAB"/>
              </a:solidFill>
            </c:spPr>
            <c:extLst>
              <c:ext xmlns:c16="http://schemas.microsoft.com/office/drawing/2014/chart" uri="{C3380CC4-5D6E-409C-BE32-E72D297353CC}">
                <c16:uniqueId val="{000007B9-B861-4943-8ABB-0EFD67D9E823}"/>
              </c:ext>
            </c:extLst>
          </c:dPt>
          <c:dPt>
            <c:idx val="988"/>
            <c:invertIfNegative val="1"/>
            <c:bubble3D val="0"/>
            <c:spPr>
              <a:solidFill>
                <a:srgbClr val="AEABAB"/>
              </a:solidFill>
            </c:spPr>
            <c:extLst>
              <c:ext xmlns:c16="http://schemas.microsoft.com/office/drawing/2014/chart" uri="{C3380CC4-5D6E-409C-BE32-E72D297353CC}">
                <c16:uniqueId val="{000007BB-B861-4943-8ABB-0EFD67D9E823}"/>
              </c:ext>
            </c:extLst>
          </c:dPt>
          <c:dPt>
            <c:idx val="989"/>
            <c:invertIfNegative val="1"/>
            <c:bubble3D val="0"/>
            <c:spPr>
              <a:solidFill>
                <a:srgbClr val="AEABAB"/>
              </a:solidFill>
            </c:spPr>
            <c:extLst>
              <c:ext xmlns:c16="http://schemas.microsoft.com/office/drawing/2014/chart" uri="{C3380CC4-5D6E-409C-BE32-E72D297353CC}">
                <c16:uniqueId val="{000007BD-B861-4943-8ABB-0EFD67D9E823}"/>
              </c:ext>
            </c:extLst>
          </c:dPt>
          <c:dPt>
            <c:idx val="990"/>
            <c:invertIfNegative val="1"/>
            <c:bubble3D val="0"/>
            <c:spPr>
              <a:solidFill>
                <a:srgbClr val="AEABAB"/>
              </a:solidFill>
            </c:spPr>
            <c:extLst>
              <c:ext xmlns:c16="http://schemas.microsoft.com/office/drawing/2014/chart" uri="{C3380CC4-5D6E-409C-BE32-E72D297353CC}">
                <c16:uniqueId val="{000007BF-B861-4943-8ABB-0EFD67D9E823}"/>
              </c:ext>
            </c:extLst>
          </c:dPt>
          <c:dPt>
            <c:idx val="991"/>
            <c:invertIfNegative val="1"/>
            <c:bubble3D val="0"/>
            <c:spPr>
              <a:solidFill>
                <a:srgbClr val="AEABAB"/>
              </a:solidFill>
            </c:spPr>
            <c:extLst>
              <c:ext xmlns:c16="http://schemas.microsoft.com/office/drawing/2014/chart" uri="{C3380CC4-5D6E-409C-BE32-E72D297353CC}">
                <c16:uniqueId val="{000007C1-B861-4943-8ABB-0EFD67D9E823}"/>
              </c:ext>
            </c:extLst>
          </c:dPt>
          <c:dPt>
            <c:idx val="992"/>
            <c:invertIfNegative val="1"/>
            <c:bubble3D val="0"/>
            <c:spPr>
              <a:solidFill>
                <a:srgbClr val="AEABAB"/>
              </a:solidFill>
            </c:spPr>
            <c:extLst>
              <c:ext xmlns:c16="http://schemas.microsoft.com/office/drawing/2014/chart" uri="{C3380CC4-5D6E-409C-BE32-E72D297353CC}">
                <c16:uniqueId val="{000007C3-B861-4943-8ABB-0EFD67D9E823}"/>
              </c:ext>
            </c:extLst>
          </c:dPt>
          <c:dPt>
            <c:idx val="993"/>
            <c:invertIfNegative val="1"/>
            <c:bubble3D val="0"/>
            <c:spPr>
              <a:solidFill>
                <a:srgbClr val="AEABAB"/>
              </a:solidFill>
            </c:spPr>
            <c:extLst>
              <c:ext xmlns:c16="http://schemas.microsoft.com/office/drawing/2014/chart" uri="{C3380CC4-5D6E-409C-BE32-E72D297353CC}">
                <c16:uniqueId val="{000007C5-B861-4943-8ABB-0EFD67D9E823}"/>
              </c:ext>
            </c:extLst>
          </c:dPt>
          <c:dPt>
            <c:idx val="994"/>
            <c:invertIfNegative val="1"/>
            <c:bubble3D val="0"/>
            <c:spPr>
              <a:solidFill>
                <a:srgbClr val="AEABAB"/>
              </a:solidFill>
            </c:spPr>
            <c:extLst>
              <c:ext xmlns:c16="http://schemas.microsoft.com/office/drawing/2014/chart" uri="{C3380CC4-5D6E-409C-BE32-E72D297353CC}">
                <c16:uniqueId val="{000007C7-B861-4943-8ABB-0EFD67D9E823}"/>
              </c:ext>
            </c:extLst>
          </c:dPt>
          <c:dPt>
            <c:idx val="995"/>
            <c:invertIfNegative val="1"/>
            <c:bubble3D val="0"/>
            <c:spPr>
              <a:solidFill>
                <a:srgbClr val="AEABAB"/>
              </a:solidFill>
            </c:spPr>
            <c:extLst>
              <c:ext xmlns:c16="http://schemas.microsoft.com/office/drawing/2014/chart" uri="{C3380CC4-5D6E-409C-BE32-E72D297353CC}">
                <c16:uniqueId val="{000007C9-B861-4943-8ABB-0EFD67D9E823}"/>
              </c:ext>
            </c:extLst>
          </c:dPt>
          <c:dPt>
            <c:idx val="996"/>
            <c:invertIfNegative val="1"/>
            <c:bubble3D val="0"/>
            <c:spPr>
              <a:solidFill>
                <a:srgbClr val="AEABAB"/>
              </a:solidFill>
            </c:spPr>
            <c:extLst>
              <c:ext xmlns:c16="http://schemas.microsoft.com/office/drawing/2014/chart" uri="{C3380CC4-5D6E-409C-BE32-E72D297353CC}">
                <c16:uniqueId val="{000007CB-B861-4943-8ABB-0EFD67D9E823}"/>
              </c:ext>
            </c:extLst>
          </c:dPt>
          <c:dPt>
            <c:idx val="997"/>
            <c:invertIfNegative val="1"/>
            <c:bubble3D val="0"/>
            <c:spPr>
              <a:solidFill>
                <a:srgbClr val="AEABAB"/>
              </a:solidFill>
            </c:spPr>
            <c:extLst>
              <c:ext xmlns:c16="http://schemas.microsoft.com/office/drawing/2014/chart" uri="{C3380CC4-5D6E-409C-BE32-E72D297353CC}">
                <c16:uniqueId val="{000007CD-B861-4943-8ABB-0EFD67D9E823}"/>
              </c:ext>
            </c:extLst>
          </c:dPt>
          <c:dPt>
            <c:idx val="998"/>
            <c:invertIfNegative val="1"/>
            <c:bubble3D val="0"/>
            <c:spPr>
              <a:solidFill>
                <a:srgbClr val="AEABAB"/>
              </a:solidFill>
            </c:spPr>
            <c:extLst>
              <c:ext xmlns:c16="http://schemas.microsoft.com/office/drawing/2014/chart" uri="{C3380CC4-5D6E-409C-BE32-E72D297353CC}">
                <c16:uniqueId val="{000007CF-B861-4943-8ABB-0EFD67D9E823}"/>
              </c:ext>
            </c:extLst>
          </c:dPt>
          <c:dPt>
            <c:idx val="999"/>
            <c:invertIfNegative val="1"/>
            <c:bubble3D val="0"/>
            <c:spPr>
              <a:solidFill>
                <a:srgbClr val="AEABAB"/>
              </a:solidFill>
            </c:spPr>
            <c:extLst>
              <c:ext xmlns:c16="http://schemas.microsoft.com/office/drawing/2014/chart" uri="{C3380CC4-5D6E-409C-BE32-E72D297353CC}">
                <c16:uniqueId val="{000007D1-B861-4943-8ABB-0EFD67D9E823}"/>
              </c:ext>
            </c:extLst>
          </c:dPt>
          <c:dPt>
            <c:idx val="1000"/>
            <c:invertIfNegative val="1"/>
            <c:bubble3D val="0"/>
            <c:spPr>
              <a:solidFill>
                <a:srgbClr val="AEABAB"/>
              </a:solidFill>
            </c:spPr>
            <c:extLst>
              <c:ext xmlns:c16="http://schemas.microsoft.com/office/drawing/2014/chart" uri="{C3380CC4-5D6E-409C-BE32-E72D297353CC}">
                <c16:uniqueId val="{000007D3-B861-4943-8ABB-0EFD67D9E823}"/>
              </c:ext>
            </c:extLst>
          </c:dPt>
          <c:dPt>
            <c:idx val="1001"/>
            <c:invertIfNegative val="1"/>
            <c:bubble3D val="0"/>
            <c:spPr>
              <a:solidFill>
                <a:srgbClr val="AEABAB"/>
              </a:solidFill>
            </c:spPr>
            <c:extLst>
              <c:ext xmlns:c16="http://schemas.microsoft.com/office/drawing/2014/chart" uri="{C3380CC4-5D6E-409C-BE32-E72D297353CC}">
                <c16:uniqueId val="{000007D5-B861-4943-8ABB-0EFD67D9E823}"/>
              </c:ext>
            </c:extLst>
          </c:dPt>
          <c:dPt>
            <c:idx val="1002"/>
            <c:invertIfNegative val="1"/>
            <c:bubble3D val="0"/>
            <c:spPr>
              <a:solidFill>
                <a:srgbClr val="AEABAB"/>
              </a:solidFill>
            </c:spPr>
            <c:extLst>
              <c:ext xmlns:c16="http://schemas.microsoft.com/office/drawing/2014/chart" uri="{C3380CC4-5D6E-409C-BE32-E72D297353CC}">
                <c16:uniqueId val="{000007D7-B861-4943-8ABB-0EFD67D9E823}"/>
              </c:ext>
            </c:extLst>
          </c:dPt>
          <c:dPt>
            <c:idx val="1003"/>
            <c:invertIfNegative val="1"/>
            <c:bubble3D val="0"/>
            <c:spPr>
              <a:solidFill>
                <a:srgbClr val="AEABAB"/>
              </a:solidFill>
            </c:spPr>
            <c:extLst>
              <c:ext xmlns:c16="http://schemas.microsoft.com/office/drawing/2014/chart" uri="{C3380CC4-5D6E-409C-BE32-E72D297353CC}">
                <c16:uniqueId val="{000007D9-B861-4943-8ABB-0EFD67D9E823}"/>
              </c:ext>
            </c:extLst>
          </c:dPt>
          <c:dPt>
            <c:idx val="1004"/>
            <c:invertIfNegative val="1"/>
            <c:bubble3D val="0"/>
            <c:spPr>
              <a:solidFill>
                <a:srgbClr val="AEABAB"/>
              </a:solidFill>
            </c:spPr>
            <c:extLst>
              <c:ext xmlns:c16="http://schemas.microsoft.com/office/drawing/2014/chart" uri="{C3380CC4-5D6E-409C-BE32-E72D297353CC}">
                <c16:uniqueId val="{000007DB-B861-4943-8ABB-0EFD67D9E823}"/>
              </c:ext>
            </c:extLst>
          </c:dPt>
          <c:dPt>
            <c:idx val="1005"/>
            <c:invertIfNegative val="1"/>
            <c:bubble3D val="0"/>
            <c:spPr>
              <a:solidFill>
                <a:srgbClr val="AEABAB"/>
              </a:solidFill>
            </c:spPr>
            <c:extLst>
              <c:ext xmlns:c16="http://schemas.microsoft.com/office/drawing/2014/chart" uri="{C3380CC4-5D6E-409C-BE32-E72D297353CC}">
                <c16:uniqueId val="{000007DD-B861-4943-8ABB-0EFD67D9E823}"/>
              </c:ext>
            </c:extLst>
          </c:dPt>
          <c:dPt>
            <c:idx val="1006"/>
            <c:invertIfNegative val="1"/>
            <c:bubble3D val="0"/>
            <c:spPr>
              <a:solidFill>
                <a:srgbClr val="AEABAB"/>
              </a:solidFill>
            </c:spPr>
            <c:extLst>
              <c:ext xmlns:c16="http://schemas.microsoft.com/office/drawing/2014/chart" uri="{C3380CC4-5D6E-409C-BE32-E72D297353CC}">
                <c16:uniqueId val="{000007DF-B861-4943-8ABB-0EFD67D9E823}"/>
              </c:ext>
            </c:extLst>
          </c:dPt>
          <c:dPt>
            <c:idx val="1007"/>
            <c:invertIfNegative val="1"/>
            <c:bubble3D val="0"/>
            <c:spPr>
              <a:solidFill>
                <a:srgbClr val="AEABAB"/>
              </a:solidFill>
            </c:spPr>
            <c:extLst>
              <c:ext xmlns:c16="http://schemas.microsoft.com/office/drawing/2014/chart" uri="{C3380CC4-5D6E-409C-BE32-E72D297353CC}">
                <c16:uniqueId val="{000007E1-B861-4943-8ABB-0EFD67D9E823}"/>
              </c:ext>
            </c:extLst>
          </c:dPt>
          <c:dPt>
            <c:idx val="1008"/>
            <c:invertIfNegative val="1"/>
            <c:bubble3D val="0"/>
            <c:spPr>
              <a:solidFill>
                <a:srgbClr val="AEABAB"/>
              </a:solidFill>
            </c:spPr>
            <c:extLst>
              <c:ext xmlns:c16="http://schemas.microsoft.com/office/drawing/2014/chart" uri="{C3380CC4-5D6E-409C-BE32-E72D297353CC}">
                <c16:uniqueId val="{000007E3-B861-4943-8ABB-0EFD67D9E823}"/>
              </c:ext>
            </c:extLst>
          </c:dPt>
          <c:dPt>
            <c:idx val="1009"/>
            <c:invertIfNegative val="1"/>
            <c:bubble3D val="0"/>
            <c:spPr>
              <a:solidFill>
                <a:srgbClr val="AEABAB"/>
              </a:solidFill>
            </c:spPr>
            <c:extLst>
              <c:ext xmlns:c16="http://schemas.microsoft.com/office/drawing/2014/chart" uri="{C3380CC4-5D6E-409C-BE32-E72D297353CC}">
                <c16:uniqueId val="{000007E5-B861-4943-8ABB-0EFD67D9E823}"/>
              </c:ext>
            </c:extLst>
          </c:dPt>
          <c:dPt>
            <c:idx val="1010"/>
            <c:invertIfNegative val="1"/>
            <c:bubble3D val="0"/>
            <c:spPr>
              <a:solidFill>
                <a:srgbClr val="AEABAB"/>
              </a:solidFill>
            </c:spPr>
            <c:extLst>
              <c:ext xmlns:c16="http://schemas.microsoft.com/office/drawing/2014/chart" uri="{C3380CC4-5D6E-409C-BE32-E72D297353CC}">
                <c16:uniqueId val="{000007E7-B861-4943-8ABB-0EFD67D9E823}"/>
              </c:ext>
            </c:extLst>
          </c:dPt>
          <c:dPt>
            <c:idx val="1011"/>
            <c:invertIfNegative val="1"/>
            <c:bubble3D val="0"/>
            <c:spPr>
              <a:solidFill>
                <a:srgbClr val="AEABAB"/>
              </a:solidFill>
            </c:spPr>
            <c:extLst>
              <c:ext xmlns:c16="http://schemas.microsoft.com/office/drawing/2014/chart" uri="{C3380CC4-5D6E-409C-BE32-E72D297353CC}">
                <c16:uniqueId val="{000007E9-B861-4943-8ABB-0EFD67D9E823}"/>
              </c:ext>
            </c:extLst>
          </c:dPt>
          <c:dPt>
            <c:idx val="1012"/>
            <c:invertIfNegative val="1"/>
            <c:bubble3D val="0"/>
            <c:spPr>
              <a:solidFill>
                <a:srgbClr val="AEABAB"/>
              </a:solidFill>
            </c:spPr>
            <c:extLst>
              <c:ext xmlns:c16="http://schemas.microsoft.com/office/drawing/2014/chart" uri="{C3380CC4-5D6E-409C-BE32-E72D297353CC}">
                <c16:uniqueId val="{000007EB-B861-4943-8ABB-0EFD67D9E823}"/>
              </c:ext>
            </c:extLst>
          </c:dPt>
          <c:dPt>
            <c:idx val="1013"/>
            <c:invertIfNegative val="1"/>
            <c:bubble3D val="0"/>
            <c:spPr>
              <a:solidFill>
                <a:srgbClr val="AEABAB"/>
              </a:solidFill>
            </c:spPr>
            <c:extLst>
              <c:ext xmlns:c16="http://schemas.microsoft.com/office/drawing/2014/chart" uri="{C3380CC4-5D6E-409C-BE32-E72D297353CC}">
                <c16:uniqueId val="{000007ED-B861-4943-8ABB-0EFD67D9E823}"/>
              </c:ext>
            </c:extLst>
          </c:dPt>
          <c:dPt>
            <c:idx val="1014"/>
            <c:invertIfNegative val="1"/>
            <c:bubble3D val="0"/>
            <c:spPr>
              <a:solidFill>
                <a:srgbClr val="AEABAB"/>
              </a:solidFill>
            </c:spPr>
            <c:extLst>
              <c:ext xmlns:c16="http://schemas.microsoft.com/office/drawing/2014/chart" uri="{C3380CC4-5D6E-409C-BE32-E72D297353CC}">
                <c16:uniqueId val="{000007EF-B861-4943-8ABB-0EFD67D9E823}"/>
              </c:ext>
            </c:extLst>
          </c:dPt>
          <c:dPt>
            <c:idx val="1015"/>
            <c:invertIfNegative val="1"/>
            <c:bubble3D val="0"/>
            <c:spPr>
              <a:solidFill>
                <a:srgbClr val="AEABAB"/>
              </a:solidFill>
            </c:spPr>
            <c:extLst>
              <c:ext xmlns:c16="http://schemas.microsoft.com/office/drawing/2014/chart" uri="{C3380CC4-5D6E-409C-BE32-E72D297353CC}">
                <c16:uniqueId val="{000007F1-B861-4943-8ABB-0EFD67D9E823}"/>
              </c:ext>
            </c:extLst>
          </c:dPt>
          <c:dPt>
            <c:idx val="1016"/>
            <c:invertIfNegative val="1"/>
            <c:bubble3D val="0"/>
            <c:spPr>
              <a:solidFill>
                <a:srgbClr val="AEABAB"/>
              </a:solidFill>
            </c:spPr>
            <c:extLst>
              <c:ext xmlns:c16="http://schemas.microsoft.com/office/drawing/2014/chart" uri="{C3380CC4-5D6E-409C-BE32-E72D297353CC}">
                <c16:uniqueId val="{000007F3-B861-4943-8ABB-0EFD67D9E823}"/>
              </c:ext>
            </c:extLst>
          </c:dPt>
          <c:dPt>
            <c:idx val="1017"/>
            <c:invertIfNegative val="1"/>
            <c:bubble3D val="0"/>
            <c:spPr>
              <a:solidFill>
                <a:srgbClr val="AEABAB"/>
              </a:solidFill>
            </c:spPr>
            <c:extLst>
              <c:ext xmlns:c16="http://schemas.microsoft.com/office/drawing/2014/chart" uri="{C3380CC4-5D6E-409C-BE32-E72D297353CC}">
                <c16:uniqueId val="{000007F5-B861-4943-8ABB-0EFD67D9E823}"/>
              </c:ext>
            </c:extLst>
          </c:dPt>
          <c:dPt>
            <c:idx val="1018"/>
            <c:invertIfNegative val="1"/>
            <c:bubble3D val="0"/>
            <c:spPr>
              <a:solidFill>
                <a:srgbClr val="AEABAB"/>
              </a:solidFill>
            </c:spPr>
            <c:extLst>
              <c:ext xmlns:c16="http://schemas.microsoft.com/office/drawing/2014/chart" uri="{C3380CC4-5D6E-409C-BE32-E72D297353CC}">
                <c16:uniqueId val="{000007F7-B861-4943-8ABB-0EFD67D9E823}"/>
              </c:ext>
            </c:extLst>
          </c:dPt>
          <c:dPt>
            <c:idx val="1019"/>
            <c:invertIfNegative val="1"/>
            <c:bubble3D val="0"/>
            <c:spPr>
              <a:solidFill>
                <a:srgbClr val="AEABAB"/>
              </a:solidFill>
            </c:spPr>
            <c:extLst>
              <c:ext xmlns:c16="http://schemas.microsoft.com/office/drawing/2014/chart" uri="{C3380CC4-5D6E-409C-BE32-E72D297353CC}">
                <c16:uniqueId val="{000007F9-B861-4943-8ABB-0EFD67D9E823}"/>
              </c:ext>
            </c:extLst>
          </c:dPt>
          <c:dPt>
            <c:idx val="1020"/>
            <c:invertIfNegative val="1"/>
            <c:bubble3D val="0"/>
            <c:spPr>
              <a:solidFill>
                <a:srgbClr val="AEABAB"/>
              </a:solidFill>
            </c:spPr>
            <c:extLst>
              <c:ext xmlns:c16="http://schemas.microsoft.com/office/drawing/2014/chart" uri="{C3380CC4-5D6E-409C-BE32-E72D297353CC}">
                <c16:uniqueId val="{000007FB-B861-4943-8ABB-0EFD67D9E823}"/>
              </c:ext>
            </c:extLst>
          </c:dPt>
          <c:dPt>
            <c:idx val="1021"/>
            <c:invertIfNegative val="1"/>
            <c:bubble3D val="0"/>
            <c:spPr>
              <a:solidFill>
                <a:srgbClr val="AEABAB"/>
              </a:solidFill>
            </c:spPr>
            <c:extLst>
              <c:ext xmlns:c16="http://schemas.microsoft.com/office/drawing/2014/chart" uri="{C3380CC4-5D6E-409C-BE32-E72D297353CC}">
                <c16:uniqueId val="{000007FD-B861-4943-8ABB-0EFD67D9E823}"/>
              </c:ext>
            </c:extLst>
          </c:dPt>
          <c:dPt>
            <c:idx val="1022"/>
            <c:invertIfNegative val="1"/>
            <c:bubble3D val="0"/>
            <c:spPr>
              <a:solidFill>
                <a:srgbClr val="AEABAB"/>
              </a:solidFill>
            </c:spPr>
            <c:extLst>
              <c:ext xmlns:c16="http://schemas.microsoft.com/office/drawing/2014/chart" uri="{C3380CC4-5D6E-409C-BE32-E72D297353CC}">
                <c16:uniqueId val="{000007FF-B861-4943-8ABB-0EFD67D9E823}"/>
              </c:ext>
            </c:extLst>
          </c:dPt>
          <c:dPt>
            <c:idx val="1023"/>
            <c:invertIfNegative val="1"/>
            <c:bubble3D val="0"/>
            <c:spPr>
              <a:solidFill>
                <a:srgbClr val="AEABAB"/>
              </a:solidFill>
            </c:spPr>
            <c:extLst>
              <c:ext xmlns:c16="http://schemas.microsoft.com/office/drawing/2014/chart" uri="{C3380CC4-5D6E-409C-BE32-E72D297353CC}">
                <c16:uniqueId val="{00000801-B861-4943-8ABB-0EFD67D9E823}"/>
              </c:ext>
            </c:extLst>
          </c:dPt>
          <c:dPt>
            <c:idx val="1024"/>
            <c:invertIfNegative val="1"/>
            <c:bubble3D val="0"/>
            <c:spPr>
              <a:solidFill>
                <a:srgbClr val="AEABAB"/>
              </a:solidFill>
            </c:spPr>
            <c:extLst>
              <c:ext xmlns:c16="http://schemas.microsoft.com/office/drawing/2014/chart" uri="{C3380CC4-5D6E-409C-BE32-E72D297353CC}">
                <c16:uniqueId val="{00000803-B861-4943-8ABB-0EFD67D9E823}"/>
              </c:ext>
            </c:extLst>
          </c:dPt>
          <c:dPt>
            <c:idx val="1025"/>
            <c:invertIfNegative val="1"/>
            <c:bubble3D val="0"/>
            <c:spPr>
              <a:solidFill>
                <a:srgbClr val="AEABAB"/>
              </a:solidFill>
            </c:spPr>
            <c:extLst>
              <c:ext xmlns:c16="http://schemas.microsoft.com/office/drawing/2014/chart" uri="{C3380CC4-5D6E-409C-BE32-E72D297353CC}">
                <c16:uniqueId val="{00000805-B861-4943-8ABB-0EFD67D9E823}"/>
              </c:ext>
            </c:extLst>
          </c:dPt>
          <c:dPt>
            <c:idx val="1026"/>
            <c:invertIfNegative val="1"/>
            <c:bubble3D val="0"/>
            <c:spPr>
              <a:solidFill>
                <a:srgbClr val="AEABAB"/>
              </a:solidFill>
            </c:spPr>
            <c:extLst>
              <c:ext xmlns:c16="http://schemas.microsoft.com/office/drawing/2014/chart" uri="{C3380CC4-5D6E-409C-BE32-E72D297353CC}">
                <c16:uniqueId val="{00000807-B861-4943-8ABB-0EFD67D9E823}"/>
              </c:ext>
            </c:extLst>
          </c:dPt>
          <c:dPt>
            <c:idx val="1027"/>
            <c:invertIfNegative val="1"/>
            <c:bubble3D val="0"/>
            <c:spPr>
              <a:solidFill>
                <a:srgbClr val="AEABAB"/>
              </a:solidFill>
            </c:spPr>
            <c:extLst>
              <c:ext xmlns:c16="http://schemas.microsoft.com/office/drawing/2014/chart" uri="{C3380CC4-5D6E-409C-BE32-E72D297353CC}">
                <c16:uniqueId val="{00000809-B861-4943-8ABB-0EFD67D9E823}"/>
              </c:ext>
            </c:extLst>
          </c:dPt>
          <c:dPt>
            <c:idx val="1028"/>
            <c:invertIfNegative val="1"/>
            <c:bubble3D val="0"/>
            <c:spPr>
              <a:solidFill>
                <a:srgbClr val="AEABAB"/>
              </a:solidFill>
            </c:spPr>
            <c:extLst>
              <c:ext xmlns:c16="http://schemas.microsoft.com/office/drawing/2014/chart" uri="{C3380CC4-5D6E-409C-BE32-E72D297353CC}">
                <c16:uniqueId val="{0000080B-B861-4943-8ABB-0EFD67D9E823}"/>
              </c:ext>
            </c:extLst>
          </c:dPt>
          <c:dPt>
            <c:idx val="1029"/>
            <c:invertIfNegative val="1"/>
            <c:bubble3D val="0"/>
            <c:spPr>
              <a:solidFill>
                <a:srgbClr val="AEABAB"/>
              </a:solidFill>
            </c:spPr>
            <c:extLst>
              <c:ext xmlns:c16="http://schemas.microsoft.com/office/drawing/2014/chart" uri="{C3380CC4-5D6E-409C-BE32-E72D297353CC}">
                <c16:uniqueId val="{0000080D-B861-4943-8ABB-0EFD67D9E823}"/>
              </c:ext>
            </c:extLst>
          </c:dPt>
          <c:dPt>
            <c:idx val="1030"/>
            <c:invertIfNegative val="1"/>
            <c:bubble3D val="0"/>
            <c:spPr>
              <a:solidFill>
                <a:srgbClr val="AEABAB"/>
              </a:solidFill>
            </c:spPr>
            <c:extLst>
              <c:ext xmlns:c16="http://schemas.microsoft.com/office/drawing/2014/chart" uri="{C3380CC4-5D6E-409C-BE32-E72D297353CC}">
                <c16:uniqueId val="{0000080F-B861-4943-8ABB-0EFD67D9E823}"/>
              </c:ext>
            </c:extLst>
          </c:dPt>
          <c:dPt>
            <c:idx val="1031"/>
            <c:invertIfNegative val="1"/>
            <c:bubble3D val="0"/>
            <c:spPr>
              <a:solidFill>
                <a:srgbClr val="AEABAB"/>
              </a:solidFill>
            </c:spPr>
            <c:extLst>
              <c:ext xmlns:c16="http://schemas.microsoft.com/office/drawing/2014/chart" uri="{C3380CC4-5D6E-409C-BE32-E72D297353CC}">
                <c16:uniqueId val="{00000811-B861-4943-8ABB-0EFD67D9E823}"/>
              </c:ext>
            </c:extLst>
          </c:dPt>
          <c:dPt>
            <c:idx val="1032"/>
            <c:invertIfNegative val="1"/>
            <c:bubble3D val="0"/>
            <c:spPr>
              <a:solidFill>
                <a:srgbClr val="AEABAB"/>
              </a:solidFill>
            </c:spPr>
            <c:extLst>
              <c:ext xmlns:c16="http://schemas.microsoft.com/office/drawing/2014/chart" uri="{C3380CC4-5D6E-409C-BE32-E72D297353CC}">
                <c16:uniqueId val="{00000813-B861-4943-8ABB-0EFD67D9E823}"/>
              </c:ext>
            </c:extLst>
          </c:dPt>
          <c:dPt>
            <c:idx val="1033"/>
            <c:invertIfNegative val="1"/>
            <c:bubble3D val="0"/>
            <c:spPr>
              <a:solidFill>
                <a:srgbClr val="AEABAB"/>
              </a:solidFill>
            </c:spPr>
            <c:extLst>
              <c:ext xmlns:c16="http://schemas.microsoft.com/office/drawing/2014/chart" uri="{C3380CC4-5D6E-409C-BE32-E72D297353CC}">
                <c16:uniqueId val="{00000815-B861-4943-8ABB-0EFD67D9E823}"/>
              </c:ext>
            </c:extLst>
          </c:dPt>
          <c:dPt>
            <c:idx val="1034"/>
            <c:invertIfNegative val="1"/>
            <c:bubble3D val="0"/>
            <c:spPr>
              <a:solidFill>
                <a:srgbClr val="AEABAB"/>
              </a:solidFill>
            </c:spPr>
            <c:extLst>
              <c:ext xmlns:c16="http://schemas.microsoft.com/office/drawing/2014/chart" uri="{C3380CC4-5D6E-409C-BE32-E72D297353CC}">
                <c16:uniqueId val="{00000817-B861-4943-8ABB-0EFD67D9E823}"/>
              </c:ext>
            </c:extLst>
          </c:dPt>
          <c:dPt>
            <c:idx val="1035"/>
            <c:invertIfNegative val="1"/>
            <c:bubble3D val="0"/>
            <c:spPr>
              <a:solidFill>
                <a:srgbClr val="AEABAB"/>
              </a:solidFill>
            </c:spPr>
            <c:extLst>
              <c:ext xmlns:c16="http://schemas.microsoft.com/office/drawing/2014/chart" uri="{C3380CC4-5D6E-409C-BE32-E72D297353CC}">
                <c16:uniqueId val="{00000819-B861-4943-8ABB-0EFD67D9E823}"/>
              </c:ext>
            </c:extLst>
          </c:dPt>
          <c:dPt>
            <c:idx val="1036"/>
            <c:invertIfNegative val="1"/>
            <c:bubble3D val="0"/>
            <c:spPr>
              <a:solidFill>
                <a:srgbClr val="AEABAB"/>
              </a:solidFill>
            </c:spPr>
            <c:extLst>
              <c:ext xmlns:c16="http://schemas.microsoft.com/office/drawing/2014/chart" uri="{C3380CC4-5D6E-409C-BE32-E72D297353CC}">
                <c16:uniqueId val="{0000081B-B861-4943-8ABB-0EFD67D9E823}"/>
              </c:ext>
            </c:extLst>
          </c:dPt>
          <c:dPt>
            <c:idx val="1037"/>
            <c:invertIfNegative val="1"/>
            <c:bubble3D val="0"/>
            <c:spPr>
              <a:solidFill>
                <a:srgbClr val="AEABAB"/>
              </a:solidFill>
            </c:spPr>
            <c:extLst>
              <c:ext xmlns:c16="http://schemas.microsoft.com/office/drawing/2014/chart" uri="{C3380CC4-5D6E-409C-BE32-E72D297353CC}">
                <c16:uniqueId val="{0000081D-B861-4943-8ABB-0EFD67D9E823}"/>
              </c:ext>
            </c:extLst>
          </c:dPt>
          <c:dPt>
            <c:idx val="1038"/>
            <c:invertIfNegative val="1"/>
            <c:bubble3D val="0"/>
            <c:spPr>
              <a:solidFill>
                <a:srgbClr val="AEABAB"/>
              </a:solidFill>
            </c:spPr>
            <c:extLst>
              <c:ext xmlns:c16="http://schemas.microsoft.com/office/drawing/2014/chart" uri="{C3380CC4-5D6E-409C-BE32-E72D297353CC}">
                <c16:uniqueId val="{0000081F-B861-4943-8ABB-0EFD67D9E823}"/>
              </c:ext>
            </c:extLst>
          </c:dPt>
          <c:dPt>
            <c:idx val="1039"/>
            <c:invertIfNegative val="1"/>
            <c:bubble3D val="0"/>
            <c:spPr>
              <a:solidFill>
                <a:srgbClr val="AEABAB"/>
              </a:solidFill>
            </c:spPr>
            <c:extLst>
              <c:ext xmlns:c16="http://schemas.microsoft.com/office/drawing/2014/chart" uri="{C3380CC4-5D6E-409C-BE32-E72D297353CC}">
                <c16:uniqueId val="{00000821-B861-4943-8ABB-0EFD67D9E823}"/>
              </c:ext>
            </c:extLst>
          </c:dPt>
          <c:dPt>
            <c:idx val="1040"/>
            <c:invertIfNegative val="1"/>
            <c:bubble3D val="0"/>
            <c:spPr>
              <a:solidFill>
                <a:srgbClr val="AEABAB"/>
              </a:solidFill>
            </c:spPr>
            <c:extLst>
              <c:ext xmlns:c16="http://schemas.microsoft.com/office/drawing/2014/chart" uri="{C3380CC4-5D6E-409C-BE32-E72D297353CC}">
                <c16:uniqueId val="{00000823-B861-4943-8ABB-0EFD67D9E823}"/>
              </c:ext>
            </c:extLst>
          </c:dPt>
          <c:dPt>
            <c:idx val="1041"/>
            <c:invertIfNegative val="1"/>
            <c:bubble3D val="0"/>
            <c:spPr>
              <a:solidFill>
                <a:srgbClr val="AEABAB"/>
              </a:solidFill>
            </c:spPr>
            <c:extLst>
              <c:ext xmlns:c16="http://schemas.microsoft.com/office/drawing/2014/chart" uri="{C3380CC4-5D6E-409C-BE32-E72D297353CC}">
                <c16:uniqueId val="{00000825-B861-4943-8ABB-0EFD67D9E823}"/>
              </c:ext>
            </c:extLst>
          </c:dPt>
          <c:dPt>
            <c:idx val="1042"/>
            <c:invertIfNegative val="1"/>
            <c:bubble3D val="0"/>
            <c:spPr>
              <a:solidFill>
                <a:srgbClr val="AEABAB"/>
              </a:solidFill>
            </c:spPr>
            <c:extLst>
              <c:ext xmlns:c16="http://schemas.microsoft.com/office/drawing/2014/chart" uri="{C3380CC4-5D6E-409C-BE32-E72D297353CC}">
                <c16:uniqueId val="{00000827-B861-4943-8ABB-0EFD67D9E823}"/>
              </c:ext>
            </c:extLst>
          </c:dPt>
          <c:dPt>
            <c:idx val="1043"/>
            <c:invertIfNegative val="1"/>
            <c:bubble3D val="0"/>
            <c:spPr>
              <a:solidFill>
                <a:srgbClr val="AEABAB"/>
              </a:solidFill>
            </c:spPr>
            <c:extLst>
              <c:ext xmlns:c16="http://schemas.microsoft.com/office/drawing/2014/chart" uri="{C3380CC4-5D6E-409C-BE32-E72D297353CC}">
                <c16:uniqueId val="{00000829-B861-4943-8ABB-0EFD67D9E823}"/>
              </c:ext>
            </c:extLst>
          </c:dPt>
          <c:dPt>
            <c:idx val="1044"/>
            <c:invertIfNegative val="1"/>
            <c:bubble3D val="0"/>
            <c:spPr>
              <a:solidFill>
                <a:srgbClr val="AEABAB"/>
              </a:solidFill>
            </c:spPr>
            <c:extLst>
              <c:ext xmlns:c16="http://schemas.microsoft.com/office/drawing/2014/chart" uri="{C3380CC4-5D6E-409C-BE32-E72D297353CC}">
                <c16:uniqueId val="{0000082B-B861-4943-8ABB-0EFD67D9E823}"/>
              </c:ext>
            </c:extLst>
          </c:dPt>
          <c:dPt>
            <c:idx val="1045"/>
            <c:invertIfNegative val="1"/>
            <c:bubble3D val="0"/>
            <c:spPr>
              <a:solidFill>
                <a:srgbClr val="AEABAB"/>
              </a:solidFill>
            </c:spPr>
            <c:extLst>
              <c:ext xmlns:c16="http://schemas.microsoft.com/office/drawing/2014/chart" uri="{C3380CC4-5D6E-409C-BE32-E72D297353CC}">
                <c16:uniqueId val="{0000082D-B861-4943-8ABB-0EFD67D9E823}"/>
              </c:ext>
            </c:extLst>
          </c:dPt>
          <c:dPt>
            <c:idx val="1046"/>
            <c:invertIfNegative val="1"/>
            <c:bubble3D val="0"/>
            <c:spPr>
              <a:solidFill>
                <a:srgbClr val="AEABAB"/>
              </a:solidFill>
            </c:spPr>
            <c:extLst>
              <c:ext xmlns:c16="http://schemas.microsoft.com/office/drawing/2014/chart" uri="{C3380CC4-5D6E-409C-BE32-E72D297353CC}">
                <c16:uniqueId val="{0000082F-B861-4943-8ABB-0EFD67D9E823}"/>
              </c:ext>
            </c:extLst>
          </c:dPt>
          <c:dPt>
            <c:idx val="1047"/>
            <c:invertIfNegative val="1"/>
            <c:bubble3D val="0"/>
            <c:spPr>
              <a:solidFill>
                <a:srgbClr val="AEABAB"/>
              </a:solidFill>
            </c:spPr>
            <c:extLst>
              <c:ext xmlns:c16="http://schemas.microsoft.com/office/drawing/2014/chart" uri="{C3380CC4-5D6E-409C-BE32-E72D297353CC}">
                <c16:uniqueId val="{00000831-B861-4943-8ABB-0EFD67D9E823}"/>
              </c:ext>
            </c:extLst>
          </c:dPt>
          <c:dPt>
            <c:idx val="1048"/>
            <c:invertIfNegative val="1"/>
            <c:bubble3D val="0"/>
            <c:spPr>
              <a:solidFill>
                <a:srgbClr val="AEABAB"/>
              </a:solidFill>
            </c:spPr>
            <c:extLst>
              <c:ext xmlns:c16="http://schemas.microsoft.com/office/drawing/2014/chart" uri="{C3380CC4-5D6E-409C-BE32-E72D297353CC}">
                <c16:uniqueId val="{00000833-B861-4943-8ABB-0EFD67D9E823}"/>
              </c:ext>
            </c:extLst>
          </c:dPt>
          <c:dPt>
            <c:idx val="1049"/>
            <c:invertIfNegative val="1"/>
            <c:bubble3D val="0"/>
            <c:spPr>
              <a:solidFill>
                <a:srgbClr val="AEABAB"/>
              </a:solidFill>
            </c:spPr>
            <c:extLst>
              <c:ext xmlns:c16="http://schemas.microsoft.com/office/drawing/2014/chart" uri="{C3380CC4-5D6E-409C-BE32-E72D297353CC}">
                <c16:uniqueId val="{00000835-B861-4943-8ABB-0EFD67D9E823}"/>
              </c:ext>
            </c:extLst>
          </c:dPt>
          <c:dPt>
            <c:idx val="1050"/>
            <c:invertIfNegative val="1"/>
            <c:bubble3D val="0"/>
            <c:spPr>
              <a:solidFill>
                <a:srgbClr val="AEABAB"/>
              </a:solidFill>
            </c:spPr>
            <c:extLst>
              <c:ext xmlns:c16="http://schemas.microsoft.com/office/drawing/2014/chart" uri="{C3380CC4-5D6E-409C-BE32-E72D297353CC}">
                <c16:uniqueId val="{00000837-B861-4943-8ABB-0EFD67D9E823}"/>
              </c:ext>
            </c:extLst>
          </c:dPt>
          <c:dPt>
            <c:idx val="1051"/>
            <c:invertIfNegative val="1"/>
            <c:bubble3D val="0"/>
            <c:spPr>
              <a:solidFill>
                <a:srgbClr val="AEABAB"/>
              </a:solidFill>
            </c:spPr>
            <c:extLst>
              <c:ext xmlns:c16="http://schemas.microsoft.com/office/drawing/2014/chart" uri="{C3380CC4-5D6E-409C-BE32-E72D297353CC}">
                <c16:uniqueId val="{00000839-B861-4943-8ABB-0EFD67D9E823}"/>
              </c:ext>
            </c:extLst>
          </c:dPt>
          <c:dPt>
            <c:idx val="1052"/>
            <c:invertIfNegative val="1"/>
            <c:bubble3D val="0"/>
            <c:spPr>
              <a:solidFill>
                <a:srgbClr val="AEABAB"/>
              </a:solidFill>
            </c:spPr>
            <c:extLst>
              <c:ext xmlns:c16="http://schemas.microsoft.com/office/drawing/2014/chart" uri="{C3380CC4-5D6E-409C-BE32-E72D297353CC}">
                <c16:uniqueId val="{0000083B-B861-4943-8ABB-0EFD67D9E823}"/>
              </c:ext>
            </c:extLst>
          </c:dPt>
          <c:dPt>
            <c:idx val="1053"/>
            <c:invertIfNegative val="1"/>
            <c:bubble3D val="0"/>
            <c:spPr>
              <a:solidFill>
                <a:srgbClr val="AEABAB"/>
              </a:solidFill>
            </c:spPr>
            <c:extLst>
              <c:ext xmlns:c16="http://schemas.microsoft.com/office/drawing/2014/chart" uri="{C3380CC4-5D6E-409C-BE32-E72D297353CC}">
                <c16:uniqueId val="{0000083D-B861-4943-8ABB-0EFD67D9E823}"/>
              </c:ext>
            </c:extLst>
          </c:dPt>
          <c:dPt>
            <c:idx val="1054"/>
            <c:invertIfNegative val="1"/>
            <c:bubble3D val="0"/>
            <c:spPr>
              <a:solidFill>
                <a:srgbClr val="AEABAB"/>
              </a:solidFill>
            </c:spPr>
            <c:extLst>
              <c:ext xmlns:c16="http://schemas.microsoft.com/office/drawing/2014/chart" uri="{C3380CC4-5D6E-409C-BE32-E72D297353CC}">
                <c16:uniqueId val="{0000083F-B861-4943-8ABB-0EFD67D9E823}"/>
              </c:ext>
            </c:extLst>
          </c:dPt>
          <c:dPt>
            <c:idx val="1055"/>
            <c:invertIfNegative val="1"/>
            <c:bubble3D val="0"/>
            <c:spPr>
              <a:solidFill>
                <a:srgbClr val="AEABAB"/>
              </a:solidFill>
            </c:spPr>
            <c:extLst>
              <c:ext xmlns:c16="http://schemas.microsoft.com/office/drawing/2014/chart" uri="{C3380CC4-5D6E-409C-BE32-E72D297353CC}">
                <c16:uniqueId val="{00000841-B861-4943-8ABB-0EFD67D9E823}"/>
              </c:ext>
            </c:extLst>
          </c:dPt>
          <c:dPt>
            <c:idx val="1056"/>
            <c:invertIfNegative val="1"/>
            <c:bubble3D val="0"/>
            <c:spPr>
              <a:solidFill>
                <a:srgbClr val="AEABAB"/>
              </a:solidFill>
            </c:spPr>
            <c:extLst>
              <c:ext xmlns:c16="http://schemas.microsoft.com/office/drawing/2014/chart" uri="{C3380CC4-5D6E-409C-BE32-E72D297353CC}">
                <c16:uniqueId val="{00000843-B861-4943-8ABB-0EFD67D9E823}"/>
              </c:ext>
            </c:extLst>
          </c:dPt>
          <c:dPt>
            <c:idx val="1057"/>
            <c:invertIfNegative val="1"/>
            <c:bubble3D val="0"/>
            <c:spPr>
              <a:solidFill>
                <a:srgbClr val="AEABAB"/>
              </a:solidFill>
            </c:spPr>
            <c:extLst>
              <c:ext xmlns:c16="http://schemas.microsoft.com/office/drawing/2014/chart" uri="{C3380CC4-5D6E-409C-BE32-E72D297353CC}">
                <c16:uniqueId val="{00000845-B861-4943-8ABB-0EFD67D9E823}"/>
              </c:ext>
            </c:extLst>
          </c:dPt>
          <c:dPt>
            <c:idx val="1058"/>
            <c:invertIfNegative val="1"/>
            <c:bubble3D val="0"/>
            <c:spPr>
              <a:solidFill>
                <a:srgbClr val="AEABAB"/>
              </a:solidFill>
            </c:spPr>
            <c:extLst>
              <c:ext xmlns:c16="http://schemas.microsoft.com/office/drawing/2014/chart" uri="{C3380CC4-5D6E-409C-BE32-E72D297353CC}">
                <c16:uniqueId val="{00000847-B861-4943-8ABB-0EFD67D9E823}"/>
              </c:ext>
            </c:extLst>
          </c:dPt>
          <c:dPt>
            <c:idx val="1059"/>
            <c:invertIfNegative val="1"/>
            <c:bubble3D val="0"/>
            <c:spPr>
              <a:solidFill>
                <a:srgbClr val="AEABAB"/>
              </a:solidFill>
            </c:spPr>
            <c:extLst>
              <c:ext xmlns:c16="http://schemas.microsoft.com/office/drawing/2014/chart" uri="{C3380CC4-5D6E-409C-BE32-E72D297353CC}">
                <c16:uniqueId val="{00000849-B861-4943-8ABB-0EFD67D9E823}"/>
              </c:ext>
            </c:extLst>
          </c:dPt>
          <c:dPt>
            <c:idx val="1060"/>
            <c:invertIfNegative val="1"/>
            <c:bubble3D val="0"/>
            <c:spPr>
              <a:solidFill>
                <a:srgbClr val="AEABAB"/>
              </a:solidFill>
            </c:spPr>
            <c:extLst>
              <c:ext xmlns:c16="http://schemas.microsoft.com/office/drawing/2014/chart" uri="{C3380CC4-5D6E-409C-BE32-E72D297353CC}">
                <c16:uniqueId val="{0000084B-B861-4943-8ABB-0EFD67D9E823}"/>
              </c:ext>
            </c:extLst>
          </c:dPt>
          <c:dPt>
            <c:idx val="1061"/>
            <c:invertIfNegative val="1"/>
            <c:bubble3D val="0"/>
            <c:spPr>
              <a:solidFill>
                <a:srgbClr val="AEABAB"/>
              </a:solidFill>
            </c:spPr>
            <c:extLst>
              <c:ext xmlns:c16="http://schemas.microsoft.com/office/drawing/2014/chart" uri="{C3380CC4-5D6E-409C-BE32-E72D297353CC}">
                <c16:uniqueId val="{0000084D-B861-4943-8ABB-0EFD67D9E823}"/>
              </c:ext>
            </c:extLst>
          </c:dPt>
          <c:dPt>
            <c:idx val="1062"/>
            <c:invertIfNegative val="1"/>
            <c:bubble3D val="0"/>
            <c:spPr>
              <a:solidFill>
                <a:srgbClr val="AEABAB"/>
              </a:solidFill>
            </c:spPr>
            <c:extLst>
              <c:ext xmlns:c16="http://schemas.microsoft.com/office/drawing/2014/chart" uri="{C3380CC4-5D6E-409C-BE32-E72D297353CC}">
                <c16:uniqueId val="{0000084F-B861-4943-8ABB-0EFD67D9E823}"/>
              </c:ext>
            </c:extLst>
          </c:dPt>
          <c:dPt>
            <c:idx val="1063"/>
            <c:invertIfNegative val="1"/>
            <c:bubble3D val="0"/>
            <c:spPr>
              <a:solidFill>
                <a:srgbClr val="AEABAB"/>
              </a:solidFill>
            </c:spPr>
            <c:extLst>
              <c:ext xmlns:c16="http://schemas.microsoft.com/office/drawing/2014/chart" uri="{C3380CC4-5D6E-409C-BE32-E72D297353CC}">
                <c16:uniqueId val="{00000851-B861-4943-8ABB-0EFD67D9E823}"/>
              </c:ext>
            </c:extLst>
          </c:dPt>
          <c:dPt>
            <c:idx val="1064"/>
            <c:invertIfNegative val="1"/>
            <c:bubble3D val="0"/>
            <c:spPr>
              <a:solidFill>
                <a:srgbClr val="AEABAB"/>
              </a:solidFill>
            </c:spPr>
            <c:extLst>
              <c:ext xmlns:c16="http://schemas.microsoft.com/office/drawing/2014/chart" uri="{C3380CC4-5D6E-409C-BE32-E72D297353CC}">
                <c16:uniqueId val="{00000853-B861-4943-8ABB-0EFD67D9E823}"/>
              </c:ext>
            </c:extLst>
          </c:dPt>
          <c:dPt>
            <c:idx val="1065"/>
            <c:invertIfNegative val="1"/>
            <c:bubble3D val="0"/>
            <c:spPr>
              <a:solidFill>
                <a:srgbClr val="AEABAB"/>
              </a:solidFill>
            </c:spPr>
            <c:extLst>
              <c:ext xmlns:c16="http://schemas.microsoft.com/office/drawing/2014/chart" uri="{C3380CC4-5D6E-409C-BE32-E72D297353CC}">
                <c16:uniqueId val="{00000855-B861-4943-8ABB-0EFD67D9E823}"/>
              </c:ext>
            </c:extLst>
          </c:dPt>
          <c:dPt>
            <c:idx val="1066"/>
            <c:invertIfNegative val="1"/>
            <c:bubble3D val="0"/>
            <c:spPr>
              <a:solidFill>
                <a:srgbClr val="AEABAB"/>
              </a:solidFill>
            </c:spPr>
            <c:extLst>
              <c:ext xmlns:c16="http://schemas.microsoft.com/office/drawing/2014/chart" uri="{C3380CC4-5D6E-409C-BE32-E72D297353CC}">
                <c16:uniqueId val="{00000857-B861-4943-8ABB-0EFD67D9E823}"/>
              </c:ext>
            </c:extLst>
          </c:dPt>
          <c:dPt>
            <c:idx val="1067"/>
            <c:invertIfNegative val="1"/>
            <c:bubble3D val="0"/>
            <c:spPr>
              <a:solidFill>
                <a:srgbClr val="AEABAB"/>
              </a:solidFill>
            </c:spPr>
            <c:extLst>
              <c:ext xmlns:c16="http://schemas.microsoft.com/office/drawing/2014/chart" uri="{C3380CC4-5D6E-409C-BE32-E72D297353CC}">
                <c16:uniqueId val="{00000859-B861-4943-8ABB-0EFD67D9E823}"/>
              </c:ext>
            </c:extLst>
          </c:dPt>
          <c:dPt>
            <c:idx val="1068"/>
            <c:invertIfNegative val="1"/>
            <c:bubble3D val="0"/>
            <c:spPr>
              <a:solidFill>
                <a:srgbClr val="AEABAB"/>
              </a:solidFill>
            </c:spPr>
            <c:extLst>
              <c:ext xmlns:c16="http://schemas.microsoft.com/office/drawing/2014/chart" uri="{C3380CC4-5D6E-409C-BE32-E72D297353CC}">
                <c16:uniqueId val="{0000085B-B861-4943-8ABB-0EFD67D9E823}"/>
              </c:ext>
            </c:extLst>
          </c:dPt>
          <c:dPt>
            <c:idx val="1069"/>
            <c:invertIfNegative val="1"/>
            <c:bubble3D val="0"/>
            <c:spPr>
              <a:solidFill>
                <a:srgbClr val="AEABAB"/>
              </a:solidFill>
            </c:spPr>
            <c:extLst>
              <c:ext xmlns:c16="http://schemas.microsoft.com/office/drawing/2014/chart" uri="{C3380CC4-5D6E-409C-BE32-E72D297353CC}">
                <c16:uniqueId val="{0000085D-B861-4943-8ABB-0EFD67D9E823}"/>
              </c:ext>
            </c:extLst>
          </c:dPt>
          <c:dPt>
            <c:idx val="1070"/>
            <c:invertIfNegative val="1"/>
            <c:bubble3D val="0"/>
            <c:spPr>
              <a:solidFill>
                <a:srgbClr val="AEABAB"/>
              </a:solidFill>
            </c:spPr>
            <c:extLst>
              <c:ext xmlns:c16="http://schemas.microsoft.com/office/drawing/2014/chart" uri="{C3380CC4-5D6E-409C-BE32-E72D297353CC}">
                <c16:uniqueId val="{0000085F-B861-4943-8ABB-0EFD67D9E823}"/>
              </c:ext>
            </c:extLst>
          </c:dPt>
          <c:dPt>
            <c:idx val="1071"/>
            <c:invertIfNegative val="1"/>
            <c:bubble3D val="0"/>
            <c:spPr>
              <a:solidFill>
                <a:srgbClr val="AEABAB"/>
              </a:solidFill>
            </c:spPr>
            <c:extLst>
              <c:ext xmlns:c16="http://schemas.microsoft.com/office/drawing/2014/chart" uri="{C3380CC4-5D6E-409C-BE32-E72D297353CC}">
                <c16:uniqueId val="{00000861-B861-4943-8ABB-0EFD67D9E823}"/>
              </c:ext>
            </c:extLst>
          </c:dPt>
          <c:dPt>
            <c:idx val="1072"/>
            <c:invertIfNegative val="1"/>
            <c:bubble3D val="0"/>
            <c:spPr>
              <a:solidFill>
                <a:srgbClr val="AEABAB"/>
              </a:solidFill>
            </c:spPr>
            <c:extLst>
              <c:ext xmlns:c16="http://schemas.microsoft.com/office/drawing/2014/chart" uri="{C3380CC4-5D6E-409C-BE32-E72D297353CC}">
                <c16:uniqueId val="{00000863-B861-4943-8ABB-0EFD67D9E823}"/>
              </c:ext>
            </c:extLst>
          </c:dPt>
          <c:dPt>
            <c:idx val="1073"/>
            <c:invertIfNegative val="1"/>
            <c:bubble3D val="0"/>
            <c:spPr>
              <a:solidFill>
                <a:srgbClr val="AEABAB"/>
              </a:solidFill>
            </c:spPr>
            <c:extLst>
              <c:ext xmlns:c16="http://schemas.microsoft.com/office/drawing/2014/chart" uri="{C3380CC4-5D6E-409C-BE32-E72D297353CC}">
                <c16:uniqueId val="{00000865-B861-4943-8ABB-0EFD67D9E823}"/>
              </c:ext>
            </c:extLst>
          </c:dPt>
          <c:dPt>
            <c:idx val="1074"/>
            <c:invertIfNegative val="1"/>
            <c:bubble3D val="0"/>
            <c:spPr>
              <a:solidFill>
                <a:srgbClr val="AEABAB"/>
              </a:solidFill>
            </c:spPr>
            <c:extLst>
              <c:ext xmlns:c16="http://schemas.microsoft.com/office/drawing/2014/chart" uri="{C3380CC4-5D6E-409C-BE32-E72D297353CC}">
                <c16:uniqueId val="{00000867-B861-4943-8ABB-0EFD67D9E823}"/>
              </c:ext>
            </c:extLst>
          </c:dPt>
          <c:dPt>
            <c:idx val="1075"/>
            <c:invertIfNegative val="1"/>
            <c:bubble3D val="0"/>
            <c:spPr>
              <a:solidFill>
                <a:srgbClr val="AEABAB"/>
              </a:solidFill>
            </c:spPr>
            <c:extLst>
              <c:ext xmlns:c16="http://schemas.microsoft.com/office/drawing/2014/chart" uri="{C3380CC4-5D6E-409C-BE32-E72D297353CC}">
                <c16:uniqueId val="{00000869-B861-4943-8ABB-0EFD67D9E823}"/>
              </c:ext>
            </c:extLst>
          </c:dPt>
          <c:dPt>
            <c:idx val="1076"/>
            <c:invertIfNegative val="1"/>
            <c:bubble3D val="0"/>
            <c:spPr>
              <a:solidFill>
                <a:srgbClr val="AEABAB"/>
              </a:solidFill>
            </c:spPr>
            <c:extLst>
              <c:ext xmlns:c16="http://schemas.microsoft.com/office/drawing/2014/chart" uri="{C3380CC4-5D6E-409C-BE32-E72D297353CC}">
                <c16:uniqueId val="{0000086B-B861-4943-8ABB-0EFD67D9E823}"/>
              </c:ext>
            </c:extLst>
          </c:dPt>
          <c:dPt>
            <c:idx val="1077"/>
            <c:invertIfNegative val="1"/>
            <c:bubble3D val="0"/>
            <c:spPr>
              <a:solidFill>
                <a:srgbClr val="AEABAB"/>
              </a:solidFill>
            </c:spPr>
            <c:extLst>
              <c:ext xmlns:c16="http://schemas.microsoft.com/office/drawing/2014/chart" uri="{C3380CC4-5D6E-409C-BE32-E72D297353CC}">
                <c16:uniqueId val="{0000086D-B861-4943-8ABB-0EFD67D9E823}"/>
              </c:ext>
            </c:extLst>
          </c:dPt>
          <c:dPt>
            <c:idx val="1078"/>
            <c:invertIfNegative val="1"/>
            <c:bubble3D val="0"/>
            <c:spPr>
              <a:solidFill>
                <a:srgbClr val="AEABAB"/>
              </a:solidFill>
            </c:spPr>
            <c:extLst>
              <c:ext xmlns:c16="http://schemas.microsoft.com/office/drawing/2014/chart" uri="{C3380CC4-5D6E-409C-BE32-E72D297353CC}">
                <c16:uniqueId val="{0000086F-B861-4943-8ABB-0EFD67D9E823}"/>
              </c:ext>
            </c:extLst>
          </c:dPt>
          <c:dPt>
            <c:idx val="1079"/>
            <c:invertIfNegative val="1"/>
            <c:bubble3D val="0"/>
            <c:spPr>
              <a:solidFill>
                <a:srgbClr val="AEABAB"/>
              </a:solidFill>
            </c:spPr>
            <c:extLst>
              <c:ext xmlns:c16="http://schemas.microsoft.com/office/drawing/2014/chart" uri="{C3380CC4-5D6E-409C-BE32-E72D297353CC}">
                <c16:uniqueId val="{00000871-B861-4943-8ABB-0EFD67D9E823}"/>
              </c:ext>
            </c:extLst>
          </c:dPt>
          <c:dPt>
            <c:idx val="1080"/>
            <c:invertIfNegative val="1"/>
            <c:bubble3D val="0"/>
            <c:spPr>
              <a:solidFill>
                <a:srgbClr val="AEABAB"/>
              </a:solidFill>
            </c:spPr>
            <c:extLst>
              <c:ext xmlns:c16="http://schemas.microsoft.com/office/drawing/2014/chart" uri="{C3380CC4-5D6E-409C-BE32-E72D297353CC}">
                <c16:uniqueId val="{00000873-B861-4943-8ABB-0EFD67D9E823}"/>
              </c:ext>
            </c:extLst>
          </c:dPt>
          <c:dPt>
            <c:idx val="1081"/>
            <c:invertIfNegative val="1"/>
            <c:bubble3D val="0"/>
            <c:spPr>
              <a:solidFill>
                <a:srgbClr val="AEABAB"/>
              </a:solidFill>
            </c:spPr>
            <c:extLst>
              <c:ext xmlns:c16="http://schemas.microsoft.com/office/drawing/2014/chart" uri="{C3380CC4-5D6E-409C-BE32-E72D297353CC}">
                <c16:uniqueId val="{00000875-B861-4943-8ABB-0EFD67D9E823}"/>
              </c:ext>
            </c:extLst>
          </c:dPt>
          <c:dPt>
            <c:idx val="1082"/>
            <c:invertIfNegative val="1"/>
            <c:bubble3D val="0"/>
            <c:spPr>
              <a:solidFill>
                <a:srgbClr val="AEABAB"/>
              </a:solidFill>
            </c:spPr>
            <c:extLst>
              <c:ext xmlns:c16="http://schemas.microsoft.com/office/drawing/2014/chart" uri="{C3380CC4-5D6E-409C-BE32-E72D297353CC}">
                <c16:uniqueId val="{00000877-B861-4943-8ABB-0EFD67D9E823}"/>
              </c:ext>
            </c:extLst>
          </c:dPt>
          <c:dPt>
            <c:idx val="1083"/>
            <c:invertIfNegative val="1"/>
            <c:bubble3D val="0"/>
            <c:spPr>
              <a:solidFill>
                <a:srgbClr val="AEABAB"/>
              </a:solidFill>
            </c:spPr>
            <c:extLst>
              <c:ext xmlns:c16="http://schemas.microsoft.com/office/drawing/2014/chart" uri="{C3380CC4-5D6E-409C-BE32-E72D297353CC}">
                <c16:uniqueId val="{00000879-B861-4943-8ABB-0EFD67D9E823}"/>
              </c:ext>
            </c:extLst>
          </c:dPt>
          <c:dPt>
            <c:idx val="1084"/>
            <c:invertIfNegative val="1"/>
            <c:bubble3D val="0"/>
            <c:spPr>
              <a:solidFill>
                <a:srgbClr val="AEABAB"/>
              </a:solidFill>
            </c:spPr>
            <c:extLst>
              <c:ext xmlns:c16="http://schemas.microsoft.com/office/drawing/2014/chart" uri="{C3380CC4-5D6E-409C-BE32-E72D297353CC}">
                <c16:uniqueId val="{0000087B-B861-4943-8ABB-0EFD67D9E823}"/>
              </c:ext>
            </c:extLst>
          </c:dPt>
          <c:dPt>
            <c:idx val="1085"/>
            <c:invertIfNegative val="1"/>
            <c:bubble3D val="0"/>
            <c:spPr>
              <a:solidFill>
                <a:srgbClr val="AEABAB"/>
              </a:solidFill>
            </c:spPr>
            <c:extLst>
              <c:ext xmlns:c16="http://schemas.microsoft.com/office/drawing/2014/chart" uri="{C3380CC4-5D6E-409C-BE32-E72D297353CC}">
                <c16:uniqueId val="{0000087D-B861-4943-8ABB-0EFD67D9E823}"/>
              </c:ext>
            </c:extLst>
          </c:dPt>
          <c:dPt>
            <c:idx val="1086"/>
            <c:invertIfNegative val="1"/>
            <c:bubble3D val="0"/>
            <c:spPr>
              <a:solidFill>
                <a:srgbClr val="AEABAB"/>
              </a:solidFill>
            </c:spPr>
            <c:extLst>
              <c:ext xmlns:c16="http://schemas.microsoft.com/office/drawing/2014/chart" uri="{C3380CC4-5D6E-409C-BE32-E72D297353CC}">
                <c16:uniqueId val="{0000087F-B861-4943-8ABB-0EFD67D9E823}"/>
              </c:ext>
            </c:extLst>
          </c:dPt>
          <c:dPt>
            <c:idx val="1087"/>
            <c:invertIfNegative val="1"/>
            <c:bubble3D val="0"/>
            <c:spPr>
              <a:solidFill>
                <a:srgbClr val="AEABAB"/>
              </a:solidFill>
            </c:spPr>
            <c:extLst>
              <c:ext xmlns:c16="http://schemas.microsoft.com/office/drawing/2014/chart" uri="{C3380CC4-5D6E-409C-BE32-E72D297353CC}">
                <c16:uniqueId val="{00000881-B861-4943-8ABB-0EFD67D9E823}"/>
              </c:ext>
            </c:extLst>
          </c:dPt>
          <c:dPt>
            <c:idx val="1088"/>
            <c:invertIfNegative val="1"/>
            <c:bubble3D val="0"/>
            <c:spPr>
              <a:solidFill>
                <a:srgbClr val="AEABAB"/>
              </a:solidFill>
            </c:spPr>
            <c:extLst>
              <c:ext xmlns:c16="http://schemas.microsoft.com/office/drawing/2014/chart" uri="{C3380CC4-5D6E-409C-BE32-E72D297353CC}">
                <c16:uniqueId val="{00000883-B861-4943-8ABB-0EFD67D9E823}"/>
              </c:ext>
            </c:extLst>
          </c:dPt>
          <c:dPt>
            <c:idx val="1089"/>
            <c:invertIfNegative val="1"/>
            <c:bubble3D val="0"/>
            <c:spPr>
              <a:solidFill>
                <a:srgbClr val="AEABAB"/>
              </a:solidFill>
            </c:spPr>
            <c:extLst>
              <c:ext xmlns:c16="http://schemas.microsoft.com/office/drawing/2014/chart" uri="{C3380CC4-5D6E-409C-BE32-E72D297353CC}">
                <c16:uniqueId val="{00000885-B861-4943-8ABB-0EFD67D9E823}"/>
              </c:ext>
            </c:extLst>
          </c:dPt>
          <c:dPt>
            <c:idx val="1090"/>
            <c:invertIfNegative val="1"/>
            <c:bubble3D val="0"/>
            <c:spPr>
              <a:solidFill>
                <a:srgbClr val="AEABAB"/>
              </a:solidFill>
            </c:spPr>
            <c:extLst>
              <c:ext xmlns:c16="http://schemas.microsoft.com/office/drawing/2014/chart" uri="{C3380CC4-5D6E-409C-BE32-E72D297353CC}">
                <c16:uniqueId val="{00000887-B861-4943-8ABB-0EFD67D9E823}"/>
              </c:ext>
            </c:extLst>
          </c:dPt>
          <c:dPt>
            <c:idx val="1091"/>
            <c:invertIfNegative val="1"/>
            <c:bubble3D val="0"/>
            <c:spPr>
              <a:solidFill>
                <a:srgbClr val="AEABAB"/>
              </a:solidFill>
            </c:spPr>
            <c:extLst>
              <c:ext xmlns:c16="http://schemas.microsoft.com/office/drawing/2014/chart" uri="{C3380CC4-5D6E-409C-BE32-E72D297353CC}">
                <c16:uniqueId val="{00000889-B861-4943-8ABB-0EFD67D9E823}"/>
              </c:ext>
            </c:extLst>
          </c:dPt>
          <c:dPt>
            <c:idx val="1092"/>
            <c:invertIfNegative val="1"/>
            <c:bubble3D val="0"/>
            <c:spPr>
              <a:solidFill>
                <a:srgbClr val="AEABAB"/>
              </a:solidFill>
            </c:spPr>
            <c:extLst>
              <c:ext xmlns:c16="http://schemas.microsoft.com/office/drawing/2014/chart" uri="{C3380CC4-5D6E-409C-BE32-E72D297353CC}">
                <c16:uniqueId val="{0000088B-B861-4943-8ABB-0EFD67D9E823}"/>
              </c:ext>
            </c:extLst>
          </c:dPt>
          <c:dPt>
            <c:idx val="1093"/>
            <c:invertIfNegative val="1"/>
            <c:bubble3D val="0"/>
            <c:spPr>
              <a:solidFill>
                <a:srgbClr val="AEABAB"/>
              </a:solidFill>
            </c:spPr>
            <c:extLst>
              <c:ext xmlns:c16="http://schemas.microsoft.com/office/drawing/2014/chart" uri="{C3380CC4-5D6E-409C-BE32-E72D297353CC}">
                <c16:uniqueId val="{0000088D-B861-4943-8ABB-0EFD67D9E823}"/>
              </c:ext>
            </c:extLst>
          </c:dPt>
          <c:dPt>
            <c:idx val="1094"/>
            <c:invertIfNegative val="1"/>
            <c:bubble3D val="0"/>
            <c:spPr>
              <a:solidFill>
                <a:srgbClr val="AEABAB"/>
              </a:solidFill>
            </c:spPr>
            <c:extLst>
              <c:ext xmlns:c16="http://schemas.microsoft.com/office/drawing/2014/chart" uri="{C3380CC4-5D6E-409C-BE32-E72D297353CC}">
                <c16:uniqueId val="{0000088F-B861-4943-8ABB-0EFD67D9E823}"/>
              </c:ext>
            </c:extLst>
          </c:dPt>
          <c:dPt>
            <c:idx val="1095"/>
            <c:invertIfNegative val="1"/>
            <c:bubble3D val="0"/>
            <c:spPr>
              <a:solidFill>
                <a:srgbClr val="AEABAB"/>
              </a:solidFill>
            </c:spPr>
            <c:extLst>
              <c:ext xmlns:c16="http://schemas.microsoft.com/office/drawing/2014/chart" uri="{C3380CC4-5D6E-409C-BE32-E72D297353CC}">
                <c16:uniqueId val="{00000891-B861-4943-8ABB-0EFD67D9E823}"/>
              </c:ext>
            </c:extLst>
          </c:dPt>
          <c:dPt>
            <c:idx val="1096"/>
            <c:invertIfNegative val="1"/>
            <c:bubble3D val="0"/>
            <c:spPr>
              <a:solidFill>
                <a:srgbClr val="AEABAB"/>
              </a:solidFill>
            </c:spPr>
            <c:extLst>
              <c:ext xmlns:c16="http://schemas.microsoft.com/office/drawing/2014/chart" uri="{C3380CC4-5D6E-409C-BE32-E72D297353CC}">
                <c16:uniqueId val="{00000893-B861-4943-8ABB-0EFD67D9E823}"/>
              </c:ext>
            </c:extLst>
          </c:dPt>
          <c:dPt>
            <c:idx val="1097"/>
            <c:invertIfNegative val="1"/>
            <c:bubble3D val="0"/>
            <c:spPr>
              <a:solidFill>
                <a:srgbClr val="AEABAB"/>
              </a:solidFill>
            </c:spPr>
            <c:extLst>
              <c:ext xmlns:c16="http://schemas.microsoft.com/office/drawing/2014/chart" uri="{C3380CC4-5D6E-409C-BE32-E72D297353CC}">
                <c16:uniqueId val="{00000895-B861-4943-8ABB-0EFD67D9E823}"/>
              </c:ext>
            </c:extLst>
          </c:dPt>
          <c:dPt>
            <c:idx val="1098"/>
            <c:invertIfNegative val="1"/>
            <c:bubble3D val="0"/>
            <c:spPr>
              <a:solidFill>
                <a:srgbClr val="AEABAB"/>
              </a:solidFill>
            </c:spPr>
            <c:extLst>
              <c:ext xmlns:c16="http://schemas.microsoft.com/office/drawing/2014/chart" uri="{C3380CC4-5D6E-409C-BE32-E72D297353CC}">
                <c16:uniqueId val="{00000897-B861-4943-8ABB-0EFD67D9E823}"/>
              </c:ext>
            </c:extLst>
          </c:dPt>
          <c:dPt>
            <c:idx val="1099"/>
            <c:invertIfNegative val="1"/>
            <c:bubble3D val="0"/>
            <c:spPr>
              <a:solidFill>
                <a:srgbClr val="AEABAB"/>
              </a:solidFill>
            </c:spPr>
            <c:extLst>
              <c:ext xmlns:c16="http://schemas.microsoft.com/office/drawing/2014/chart" uri="{C3380CC4-5D6E-409C-BE32-E72D297353CC}">
                <c16:uniqueId val="{00000899-B861-4943-8ABB-0EFD67D9E823}"/>
              </c:ext>
            </c:extLst>
          </c:dPt>
          <c:dPt>
            <c:idx val="1100"/>
            <c:invertIfNegative val="1"/>
            <c:bubble3D val="0"/>
            <c:spPr>
              <a:solidFill>
                <a:srgbClr val="AEABAB"/>
              </a:solidFill>
            </c:spPr>
            <c:extLst>
              <c:ext xmlns:c16="http://schemas.microsoft.com/office/drawing/2014/chart" uri="{C3380CC4-5D6E-409C-BE32-E72D297353CC}">
                <c16:uniqueId val="{0000089B-B861-4943-8ABB-0EFD67D9E823}"/>
              </c:ext>
            </c:extLst>
          </c:dPt>
          <c:dPt>
            <c:idx val="1101"/>
            <c:invertIfNegative val="1"/>
            <c:bubble3D val="0"/>
            <c:spPr>
              <a:solidFill>
                <a:srgbClr val="AEABAB"/>
              </a:solidFill>
            </c:spPr>
            <c:extLst>
              <c:ext xmlns:c16="http://schemas.microsoft.com/office/drawing/2014/chart" uri="{C3380CC4-5D6E-409C-BE32-E72D297353CC}">
                <c16:uniqueId val="{0000089D-B861-4943-8ABB-0EFD67D9E823}"/>
              </c:ext>
            </c:extLst>
          </c:dPt>
          <c:dPt>
            <c:idx val="1102"/>
            <c:invertIfNegative val="1"/>
            <c:bubble3D val="0"/>
            <c:spPr>
              <a:solidFill>
                <a:srgbClr val="AEABAB"/>
              </a:solidFill>
            </c:spPr>
            <c:extLst>
              <c:ext xmlns:c16="http://schemas.microsoft.com/office/drawing/2014/chart" uri="{C3380CC4-5D6E-409C-BE32-E72D297353CC}">
                <c16:uniqueId val="{0000089F-B861-4943-8ABB-0EFD67D9E823}"/>
              </c:ext>
            </c:extLst>
          </c:dPt>
          <c:dPt>
            <c:idx val="1103"/>
            <c:invertIfNegative val="1"/>
            <c:bubble3D val="0"/>
            <c:spPr>
              <a:solidFill>
                <a:srgbClr val="AEABAB"/>
              </a:solidFill>
            </c:spPr>
            <c:extLst>
              <c:ext xmlns:c16="http://schemas.microsoft.com/office/drawing/2014/chart" uri="{C3380CC4-5D6E-409C-BE32-E72D297353CC}">
                <c16:uniqueId val="{000008A1-B861-4943-8ABB-0EFD67D9E823}"/>
              </c:ext>
            </c:extLst>
          </c:dPt>
          <c:dPt>
            <c:idx val="1104"/>
            <c:invertIfNegative val="1"/>
            <c:bubble3D val="0"/>
            <c:spPr>
              <a:solidFill>
                <a:srgbClr val="AEABAB"/>
              </a:solidFill>
            </c:spPr>
            <c:extLst>
              <c:ext xmlns:c16="http://schemas.microsoft.com/office/drawing/2014/chart" uri="{C3380CC4-5D6E-409C-BE32-E72D297353CC}">
                <c16:uniqueId val="{000008A3-B861-4943-8ABB-0EFD67D9E823}"/>
              </c:ext>
            </c:extLst>
          </c:dPt>
          <c:dPt>
            <c:idx val="1105"/>
            <c:invertIfNegative val="1"/>
            <c:bubble3D val="0"/>
            <c:spPr>
              <a:solidFill>
                <a:srgbClr val="AEABAB"/>
              </a:solidFill>
            </c:spPr>
            <c:extLst>
              <c:ext xmlns:c16="http://schemas.microsoft.com/office/drawing/2014/chart" uri="{C3380CC4-5D6E-409C-BE32-E72D297353CC}">
                <c16:uniqueId val="{000008A5-B861-4943-8ABB-0EFD67D9E823}"/>
              </c:ext>
            </c:extLst>
          </c:dPt>
          <c:dPt>
            <c:idx val="1106"/>
            <c:invertIfNegative val="1"/>
            <c:bubble3D val="0"/>
            <c:spPr>
              <a:solidFill>
                <a:srgbClr val="AEABAB"/>
              </a:solidFill>
            </c:spPr>
            <c:extLst>
              <c:ext xmlns:c16="http://schemas.microsoft.com/office/drawing/2014/chart" uri="{C3380CC4-5D6E-409C-BE32-E72D297353CC}">
                <c16:uniqueId val="{000008A7-B861-4943-8ABB-0EFD67D9E823}"/>
              </c:ext>
            </c:extLst>
          </c:dPt>
          <c:dPt>
            <c:idx val="1107"/>
            <c:invertIfNegative val="1"/>
            <c:bubble3D val="0"/>
            <c:spPr>
              <a:solidFill>
                <a:srgbClr val="AEABAB"/>
              </a:solidFill>
            </c:spPr>
            <c:extLst>
              <c:ext xmlns:c16="http://schemas.microsoft.com/office/drawing/2014/chart" uri="{C3380CC4-5D6E-409C-BE32-E72D297353CC}">
                <c16:uniqueId val="{000008A9-B861-4943-8ABB-0EFD67D9E823}"/>
              </c:ext>
            </c:extLst>
          </c:dPt>
          <c:dPt>
            <c:idx val="1108"/>
            <c:invertIfNegative val="1"/>
            <c:bubble3D val="0"/>
            <c:spPr>
              <a:solidFill>
                <a:srgbClr val="AEABAB"/>
              </a:solidFill>
            </c:spPr>
            <c:extLst>
              <c:ext xmlns:c16="http://schemas.microsoft.com/office/drawing/2014/chart" uri="{C3380CC4-5D6E-409C-BE32-E72D297353CC}">
                <c16:uniqueId val="{000008AB-B861-4943-8ABB-0EFD67D9E823}"/>
              </c:ext>
            </c:extLst>
          </c:dPt>
          <c:dPt>
            <c:idx val="1109"/>
            <c:invertIfNegative val="1"/>
            <c:bubble3D val="0"/>
            <c:spPr>
              <a:solidFill>
                <a:srgbClr val="AEABAB"/>
              </a:solidFill>
            </c:spPr>
            <c:extLst>
              <c:ext xmlns:c16="http://schemas.microsoft.com/office/drawing/2014/chart" uri="{C3380CC4-5D6E-409C-BE32-E72D297353CC}">
                <c16:uniqueId val="{000008AD-B861-4943-8ABB-0EFD67D9E823}"/>
              </c:ext>
            </c:extLst>
          </c:dPt>
          <c:dPt>
            <c:idx val="1110"/>
            <c:invertIfNegative val="1"/>
            <c:bubble3D val="0"/>
            <c:spPr>
              <a:solidFill>
                <a:srgbClr val="AEABAB"/>
              </a:solidFill>
            </c:spPr>
            <c:extLst>
              <c:ext xmlns:c16="http://schemas.microsoft.com/office/drawing/2014/chart" uri="{C3380CC4-5D6E-409C-BE32-E72D297353CC}">
                <c16:uniqueId val="{000008AF-B861-4943-8ABB-0EFD67D9E823}"/>
              </c:ext>
            </c:extLst>
          </c:dPt>
          <c:dPt>
            <c:idx val="1111"/>
            <c:invertIfNegative val="1"/>
            <c:bubble3D val="0"/>
            <c:spPr>
              <a:solidFill>
                <a:srgbClr val="AEABAB"/>
              </a:solidFill>
            </c:spPr>
            <c:extLst>
              <c:ext xmlns:c16="http://schemas.microsoft.com/office/drawing/2014/chart" uri="{C3380CC4-5D6E-409C-BE32-E72D297353CC}">
                <c16:uniqueId val="{000008B1-B861-4943-8ABB-0EFD67D9E823}"/>
              </c:ext>
            </c:extLst>
          </c:dPt>
          <c:dPt>
            <c:idx val="1112"/>
            <c:invertIfNegative val="1"/>
            <c:bubble3D val="0"/>
            <c:spPr>
              <a:solidFill>
                <a:srgbClr val="AEABAB"/>
              </a:solidFill>
            </c:spPr>
            <c:extLst>
              <c:ext xmlns:c16="http://schemas.microsoft.com/office/drawing/2014/chart" uri="{C3380CC4-5D6E-409C-BE32-E72D297353CC}">
                <c16:uniqueId val="{000008B3-B861-4943-8ABB-0EFD67D9E823}"/>
              </c:ext>
            </c:extLst>
          </c:dPt>
          <c:dPt>
            <c:idx val="1113"/>
            <c:invertIfNegative val="1"/>
            <c:bubble3D val="0"/>
            <c:spPr>
              <a:solidFill>
                <a:srgbClr val="AEABAB"/>
              </a:solidFill>
            </c:spPr>
            <c:extLst>
              <c:ext xmlns:c16="http://schemas.microsoft.com/office/drawing/2014/chart" uri="{C3380CC4-5D6E-409C-BE32-E72D297353CC}">
                <c16:uniqueId val="{000008B5-B861-4943-8ABB-0EFD67D9E823}"/>
              </c:ext>
            </c:extLst>
          </c:dPt>
          <c:dPt>
            <c:idx val="1114"/>
            <c:invertIfNegative val="1"/>
            <c:bubble3D val="0"/>
            <c:spPr>
              <a:solidFill>
                <a:srgbClr val="AEABAB"/>
              </a:solidFill>
            </c:spPr>
            <c:extLst>
              <c:ext xmlns:c16="http://schemas.microsoft.com/office/drawing/2014/chart" uri="{C3380CC4-5D6E-409C-BE32-E72D297353CC}">
                <c16:uniqueId val="{000008B7-B861-4943-8ABB-0EFD67D9E823}"/>
              </c:ext>
            </c:extLst>
          </c:dPt>
          <c:dPt>
            <c:idx val="1115"/>
            <c:invertIfNegative val="1"/>
            <c:bubble3D val="0"/>
            <c:spPr>
              <a:solidFill>
                <a:srgbClr val="AEABAB"/>
              </a:solidFill>
            </c:spPr>
            <c:extLst>
              <c:ext xmlns:c16="http://schemas.microsoft.com/office/drawing/2014/chart" uri="{C3380CC4-5D6E-409C-BE32-E72D297353CC}">
                <c16:uniqueId val="{000008B9-B861-4943-8ABB-0EFD67D9E823}"/>
              </c:ext>
            </c:extLst>
          </c:dPt>
          <c:dPt>
            <c:idx val="1116"/>
            <c:invertIfNegative val="1"/>
            <c:bubble3D val="0"/>
            <c:spPr>
              <a:solidFill>
                <a:srgbClr val="AEABAB"/>
              </a:solidFill>
            </c:spPr>
            <c:extLst>
              <c:ext xmlns:c16="http://schemas.microsoft.com/office/drawing/2014/chart" uri="{C3380CC4-5D6E-409C-BE32-E72D297353CC}">
                <c16:uniqueId val="{000008BB-B861-4943-8ABB-0EFD67D9E823}"/>
              </c:ext>
            </c:extLst>
          </c:dPt>
          <c:dPt>
            <c:idx val="1117"/>
            <c:invertIfNegative val="1"/>
            <c:bubble3D val="0"/>
            <c:spPr>
              <a:solidFill>
                <a:srgbClr val="AEABAB"/>
              </a:solidFill>
            </c:spPr>
            <c:extLst>
              <c:ext xmlns:c16="http://schemas.microsoft.com/office/drawing/2014/chart" uri="{C3380CC4-5D6E-409C-BE32-E72D297353CC}">
                <c16:uniqueId val="{000008BD-B861-4943-8ABB-0EFD67D9E823}"/>
              </c:ext>
            </c:extLst>
          </c:dPt>
          <c:dPt>
            <c:idx val="1118"/>
            <c:invertIfNegative val="1"/>
            <c:bubble3D val="0"/>
            <c:spPr>
              <a:solidFill>
                <a:srgbClr val="AEABAB"/>
              </a:solidFill>
            </c:spPr>
            <c:extLst>
              <c:ext xmlns:c16="http://schemas.microsoft.com/office/drawing/2014/chart" uri="{C3380CC4-5D6E-409C-BE32-E72D297353CC}">
                <c16:uniqueId val="{000008BF-B861-4943-8ABB-0EFD67D9E823}"/>
              </c:ext>
            </c:extLst>
          </c:dPt>
          <c:dPt>
            <c:idx val="1119"/>
            <c:invertIfNegative val="1"/>
            <c:bubble3D val="0"/>
            <c:spPr>
              <a:solidFill>
                <a:srgbClr val="AEABAB"/>
              </a:solidFill>
            </c:spPr>
            <c:extLst>
              <c:ext xmlns:c16="http://schemas.microsoft.com/office/drawing/2014/chart" uri="{C3380CC4-5D6E-409C-BE32-E72D297353CC}">
                <c16:uniqueId val="{000008C1-B861-4943-8ABB-0EFD67D9E823}"/>
              </c:ext>
            </c:extLst>
          </c:dPt>
          <c:dPt>
            <c:idx val="1120"/>
            <c:invertIfNegative val="1"/>
            <c:bubble3D val="0"/>
            <c:spPr>
              <a:solidFill>
                <a:srgbClr val="AEABAB"/>
              </a:solidFill>
            </c:spPr>
            <c:extLst>
              <c:ext xmlns:c16="http://schemas.microsoft.com/office/drawing/2014/chart" uri="{C3380CC4-5D6E-409C-BE32-E72D297353CC}">
                <c16:uniqueId val="{000008C3-B861-4943-8ABB-0EFD67D9E823}"/>
              </c:ext>
            </c:extLst>
          </c:dPt>
          <c:dPt>
            <c:idx val="1121"/>
            <c:invertIfNegative val="1"/>
            <c:bubble3D val="0"/>
            <c:spPr>
              <a:solidFill>
                <a:srgbClr val="AEABAB"/>
              </a:solidFill>
            </c:spPr>
            <c:extLst>
              <c:ext xmlns:c16="http://schemas.microsoft.com/office/drawing/2014/chart" uri="{C3380CC4-5D6E-409C-BE32-E72D297353CC}">
                <c16:uniqueId val="{000008C5-B861-4943-8ABB-0EFD67D9E823}"/>
              </c:ext>
            </c:extLst>
          </c:dPt>
          <c:dPt>
            <c:idx val="1122"/>
            <c:invertIfNegative val="1"/>
            <c:bubble3D val="0"/>
            <c:spPr>
              <a:solidFill>
                <a:srgbClr val="AEABAB"/>
              </a:solidFill>
            </c:spPr>
            <c:extLst>
              <c:ext xmlns:c16="http://schemas.microsoft.com/office/drawing/2014/chart" uri="{C3380CC4-5D6E-409C-BE32-E72D297353CC}">
                <c16:uniqueId val="{000008C7-B861-4943-8ABB-0EFD67D9E823}"/>
              </c:ext>
            </c:extLst>
          </c:dPt>
          <c:dPt>
            <c:idx val="1123"/>
            <c:invertIfNegative val="1"/>
            <c:bubble3D val="0"/>
            <c:spPr>
              <a:solidFill>
                <a:srgbClr val="AEABAB"/>
              </a:solidFill>
            </c:spPr>
            <c:extLst>
              <c:ext xmlns:c16="http://schemas.microsoft.com/office/drawing/2014/chart" uri="{C3380CC4-5D6E-409C-BE32-E72D297353CC}">
                <c16:uniqueId val="{000008C9-B861-4943-8ABB-0EFD67D9E823}"/>
              </c:ext>
            </c:extLst>
          </c:dPt>
          <c:dPt>
            <c:idx val="1124"/>
            <c:invertIfNegative val="1"/>
            <c:bubble3D val="0"/>
            <c:spPr>
              <a:solidFill>
                <a:srgbClr val="AEABAB"/>
              </a:solidFill>
            </c:spPr>
            <c:extLst>
              <c:ext xmlns:c16="http://schemas.microsoft.com/office/drawing/2014/chart" uri="{C3380CC4-5D6E-409C-BE32-E72D297353CC}">
                <c16:uniqueId val="{000008CB-B861-4943-8ABB-0EFD67D9E823}"/>
              </c:ext>
            </c:extLst>
          </c:dPt>
          <c:dPt>
            <c:idx val="1125"/>
            <c:invertIfNegative val="1"/>
            <c:bubble3D val="0"/>
            <c:spPr>
              <a:solidFill>
                <a:srgbClr val="AEABAB"/>
              </a:solidFill>
            </c:spPr>
            <c:extLst>
              <c:ext xmlns:c16="http://schemas.microsoft.com/office/drawing/2014/chart" uri="{C3380CC4-5D6E-409C-BE32-E72D297353CC}">
                <c16:uniqueId val="{000008CD-B861-4943-8ABB-0EFD67D9E823}"/>
              </c:ext>
            </c:extLst>
          </c:dPt>
          <c:dPt>
            <c:idx val="1126"/>
            <c:invertIfNegative val="1"/>
            <c:bubble3D val="0"/>
            <c:spPr>
              <a:solidFill>
                <a:srgbClr val="AEABAB"/>
              </a:solidFill>
            </c:spPr>
            <c:extLst>
              <c:ext xmlns:c16="http://schemas.microsoft.com/office/drawing/2014/chart" uri="{C3380CC4-5D6E-409C-BE32-E72D297353CC}">
                <c16:uniqueId val="{000008CF-B861-4943-8ABB-0EFD67D9E823}"/>
              </c:ext>
            </c:extLst>
          </c:dPt>
          <c:dPt>
            <c:idx val="1127"/>
            <c:invertIfNegative val="1"/>
            <c:bubble3D val="0"/>
            <c:spPr>
              <a:solidFill>
                <a:srgbClr val="AEABAB"/>
              </a:solidFill>
            </c:spPr>
            <c:extLst>
              <c:ext xmlns:c16="http://schemas.microsoft.com/office/drawing/2014/chart" uri="{C3380CC4-5D6E-409C-BE32-E72D297353CC}">
                <c16:uniqueId val="{000008D1-B861-4943-8ABB-0EFD67D9E823}"/>
              </c:ext>
            </c:extLst>
          </c:dPt>
          <c:dPt>
            <c:idx val="1128"/>
            <c:invertIfNegative val="1"/>
            <c:bubble3D val="0"/>
            <c:spPr>
              <a:solidFill>
                <a:srgbClr val="AEABAB"/>
              </a:solidFill>
            </c:spPr>
            <c:extLst>
              <c:ext xmlns:c16="http://schemas.microsoft.com/office/drawing/2014/chart" uri="{C3380CC4-5D6E-409C-BE32-E72D297353CC}">
                <c16:uniqueId val="{000008D3-B861-4943-8ABB-0EFD67D9E823}"/>
              </c:ext>
            </c:extLst>
          </c:dPt>
          <c:dPt>
            <c:idx val="1129"/>
            <c:invertIfNegative val="1"/>
            <c:bubble3D val="0"/>
            <c:spPr>
              <a:solidFill>
                <a:srgbClr val="AEABAB"/>
              </a:solidFill>
            </c:spPr>
            <c:extLst>
              <c:ext xmlns:c16="http://schemas.microsoft.com/office/drawing/2014/chart" uri="{C3380CC4-5D6E-409C-BE32-E72D297353CC}">
                <c16:uniqueId val="{000008D5-B861-4943-8ABB-0EFD67D9E823}"/>
              </c:ext>
            </c:extLst>
          </c:dPt>
          <c:dPt>
            <c:idx val="1130"/>
            <c:invertIfNegative val="1"/>
            <c:bubble3D val="0"/>
            <c:spPr>
              <a:solidFill>
                <a:srgbClr val="AEABAB"/>
              </a:solidFill>
            </c:spPr>
            <c:extLst>
              <c:ext xmlns:c16="http://schemas.microsoft.com/office/drawing/2014/chart" uri="{C3380CC4-5D6E-409C-BE32-E72D297353CC}">
                <c16:uniqueId val="{000008D7-B861-4943-8ABB-0EFD67D9E823}"/>
              </c:ext>
            </c:extLst>
          </c:dPt>
          <c:dPt>
            <c:idx val="1131"/>
            <c:invertIfNegative val="1"/>
            <c:bubble3D val="0"/>
            <c:spPr>
              <a:solidFill>
                <a:srgbClr val="AEABAB"/>
              </a:solidFill>
            </c:spPr>
            <c:extLst>
              <c:ext xmlns:c16="http://schemas.microsoft.com/office/drawing/2014/chart" uri="{C3380CC4-5D6E-409C-BE32-E72D297353CC}">
                <c16:uniqueId val="{000008D9-B861-4943-8ABB-0EFD67D9E823}"/>
              </c:ext>
            </c:extLst>
          </c:dPt>
          <c:dPt>
            <c:idx val="1132"/>
            <c:invertIfNegative val="1"/>
            <c:bubble3D val="0"/>
            <c:spPr>
              <a:solidFill>
                <a:srgbClr val="AEABAB"/>
              </a:solidFill>
            </c:spPr>
            <c:extLst>
              <c:ext xmlns:c16="http://schemas.microsoft.com/office/drawing/2014/chart" uri="{C3380CC4-5D6E-409C-BE32-E72D297353CC}">
                <c16:uniqueId val="{000008DB-B861-4943-8ABB-0EFD67D9E823}"/>
              </c:ext>
            </c:extLst>
          </c:dPt>
          <c:dPt>
            <c:idx val="1133"/>
            <c:invertIfNegative val="1"/>
            <c:bubble3D val="0"/>
            <c:spPr>
              <a:solidFill>
                <a:srgbClr val="AEABAB"/>
              </a:solidFill>
            </c:spPr>
            <c:extLst>
              <c:ext xmlns:c16="http://schemas.microsoft.com/office/drawing/2014/chart" uri="{C3380CC4-5D6E-409C-BE32-E72D297353CC}">
                <c16:uniqueId val="{000008DD-B861-4943-8ABB-0EFD67D9E823}"/>
              </c:ext>
            </c:extLst>
          </c:dPt>
          <c:dPt>
            <c:idx val="1134"/>
            <c:invertIfNegative val="1"/>
            <c:bubble3D val="0"/>
            <c:spPr>
              <a:solidFill>
                <a:srgbClr val="AEABAB"/>
              </a:solidFill>
            </c:spPr>
            <c:extLst>
              <c:ext xmlns:c16="http://schemas.microsoft.com/office/drawing/2014/chart" uri="{C3380CC4-5D6E-409C-BE32-E72D297353CC}">
                <c16:uniqueId val="{000008DF-B861-4943-8ABB-0EFD67D9E823}"/>
              </c:ext>
            </c:extLst>
          </c:dPt>
          <c:dPt>
            <c:idx val="1135"/>
            <c:invertIfNegative val="1"/>
            <c:bubble3D val="0"/>
            <c:spPr>
              <a:solidFill>
                <a:srgbClr val="AEABAB"/>
              </a:solidFill>
            </c:spPr>
            <c:extLst>
              <c:ext xmlns:c16="http://schemas.microsoft.com/office/drawing/2014/chart" uri="{C3380CC4-5D6E-409C-BE32-E72D297353CC}">
                <c16:uniqueId val="{000008E1-B861-4943-8ABB-0EFD67D9E823}"/>
              </c:ext>
            </c:extLst>
          </c:dPt>
          <c:dPt>
            <c:idx val="1136"/>
            <c:invertIfNegative val="1"/>
            <c:bubble3D val="0"/>
            <c:spPr>
              <a:solidFill>
                <a:srgbClr val="AEABAB"/>
              </a:solidFill>
            </c:spPr>
            <c:extLst>
              <c:ext xmlns:c16="http://schemas.microsoft.com/office/drawing/2014/chart" uri="{C3380CC4-5D6E-409C-BE32-E72D297353CC}">
                <c16:uniqueId val="{000008E3-B861-4943-8ABB-0EFD67D9E823}"/>
              </c:ext>
            </c:extLst>
          </c:dPt>
          <c:dPt>
            <c:idx val="1137"/>
            <c:invertIfNegative val="1"/>
            <c:bubble3D val="0"/>
            <c:spPr>
              <a:solidFill>
                <a:srgbClr val="AEABAB"/>
              </a:solidFill>
            </c:spPr>
            <c:extLst>
              <c:ext xmlns:c16="http://schemas.microsoft.com/office/drawing/2014/chart" uri="{C3380CC4-5D6E-409C-BE32-E72D297353CC}">
                <c16:uniqueId val="{000008E5-B861-4943-8ABB-0EFD67D9E823}"/>
              </c:ext>
            </c:extLst>
          </c:dPt>
          <c:dPt>
            <c:idx val="1138"/>
            <c:invertIfNegative val="1"/>
            <c:bubble3D val="0"/>
            <c:spPr>
              <a:solidFill>
                <a:srgbClr val="AEABAB"/>
              </a:solidFill>
            </c:spPr>
            <c:extLst>
              <c:ext xmlns:c16="http://schemas.microsoft.com/office/drawing/2014/chart" uri="{C3380CC4-5D6E-409C-BE32-E72D297353CC}">
                <c16:uniqueId val="{000008E7-B861-4943-8ABB-0EFD67D9E823}"/>
              </c:ext>
            </c:extLst>
          </c:dPt>
          <c:dPt>
            <c:idx val="1139"/>
            <c:invertIfNegative val="1"/>
            <c:bubble3D val="0"/>
            <c:spPr>
              <a:solidFill>
                <a:srgbClr val="AEABAB"/>
              </a:solidFill>
            </c:spPr>
            <c:extLst>
              <c:ext xmlns:c16="http://schemas.microsoft.com/office/drawing/2014/chart" uri="{C3380CC4-5D6E-409C-BE32-E72D297353CC}">
                <c16:uniqueId val="{000008E9-B861-4943-8ABB-0EFD67D9E823}"/>
              </c:ext>
            </c:extLst>
          </c:dPt>
          <c:dPt>
            <c:idx val="1140"/>
            <c:invertIfNegative val="1"/>
            <c:bubble3D val="0"/>
            <c:spPr>
              <a:solidFill>
                <a:srgbClr val="AEABAB"/>
              </a:solidFill>
            </c:spPr>
            <c:extLst>
              <c:ext xmlns:c16="http://schemas.microsoft.com/office/drawing/2014/chart" uri="{C3380CC4-5D6E-409C-BE32-E72D297353CC}">
                <c16:uniqueId val="{000008EB-B861-4943-8ABB-0EFD67D9E823}"/>
              </c:ext>
            </c:extLst>
          </c:dPt>
          <c:dPt>
            <c:idx val="1141"/>
            <c:invertIfNegative val="1"/>
            <c:bubble3D val="0"/>
            <c:spPr>
              <a:solidFill>
                <a:srgbClr val="AEABAB"/>
              </a:solidFill>
            </c:spPr>
            <c:extLst>
              <c:ext xmlns:c16="http://schemas.microsoft.com/office/drawing/2014/chart" uri="{C3380CC4-5D6E-409C-BE32-E72D297353CC}">
                <c16:uniqueId val="{000008ED-B861-4943-8ABB-0EFD67D9E823}"/>
              </c:ext>
            </c:extLst>
          </c:dPt>
          <c:dPt>
            <c:idx val="1142"/>
            <c:invertIfNegative val="1"/>
            <c:bubble3D val="0"/>
            <c:spPr>
              <a:solidFill>
                <a:srgbClr val="AEABAB"/>
              </a:solidFill>
            </c:spPr>
            <c:extLst>
              <c:ext xmlns:c16="http://schemas.microsoft.com/office/drawing/2014/chart" uri="{C3380CC4-5D6E-409C-BE32-E72D297353CC}">
                <c16:uniqueId val="{000008EF-B861-4943-8ABB-0EFD67D9E823}"/>
              </c:ext>
            </c:extLst>
          </c:dPt>
          <c:dPt>
            <c:idx val="1143"/>
            <c:invertIfNegative val="1"/>
            <c:bubble3D val="0"/>
            <c:spPr>
              <a:solidFill>
                <a:srgbClr val="AEABAB"/>
              </a:solidFill>
            </c:spPr>
            <c:extLst>
              <c:ext xmlns:c16="http://schemas.microsoft.com/office/drawing/2014/chart" uri="{C3380CC4-5D6E-409C-BE32-E72D297353CC}">
                <c16:uniqueId val="{000008F1-B861-4943-8ABB-0EFD67D9E823}"/>
              </c:ext>
            </c:extLst>
          </c:dPt>
          <c:dPt>
            <c:idx val="1144"/>
            <c:invertIfNegative val="1"/>
            <c:bubble3D val="0"/>
            <c:spPr>
              <a:solidFill>
                <a:srgbClr val="AEABAB"/>
              </a:solidFill>
            </c:spPr>
            <c:extLst>
              <c:ext xmlns:c16="http://schemas.microsoft.com/office/drawing/2014/chart" uri="{C3380CC4-5D6E-409C-BE32-E72D297353CC}">
                <c16:uniqueId val="{000008F3-B861-4943-8ABB-0EFD67D9E823}"/>
              </c:ext>
            </c:extLst>
          </c:dPt>
          <c:dPt>
            <c:idx val="1145"/>
            <c:invertIfNegative val="1"/>
            <c:bubble3D val="0"/>
            <c:spPr>
              <a:solidFill>
                <a:srgbClr val="AEABAB"/>
              </a:solidFill>
            </c:spPr>
            <c:extLst>
              <c:ext xmlns:c16="http://schemas.microsoft.com/office/drawing/2014/chart" uri="{C3380CC4-5D6E-409C-BE32-E72D297353CC}">
                <c16:uniqueId val="{000008F5-B861-4943-8ABB-0EFD67D9E823}"/>
              </c:ext>
            </c:extLst>
          </c:dPt>
          <c:dPt>
            <c:idx val="1146"/>
            <c:invertIfNegative val="1"/>
            <c:bubble3D val="0"/>
            <c:spPr>
              <a:solidFill>
                <a:srgbClr val="AEABAB"/>
              </a:solidFill>
            </c:spPr>
            <c:extLst>
              <c:ext xmlns:c16="http://schemas.microsoft.com/office/drawing/2014/chart" uri="{C3380CC4-5D6E-409C-BE32-E72D297353CC}">
                <c16:uniqueId val="{000008F7-B861-4943-8ABB-0EFD67D9E823}"/>
              </c:ext>
            </c:extLst>
          </c:dPt>
          <c:dPt>
            <c:idx val="1147"/>
            <c:invertIfNegative val="1"/>
            <c:bubble3D val="0"/>
            <c:spPr>
              <a:solidFill>
                <a:srgbClr val="AEABAB"/>
              </a:solidFill>
            </c:spPr>
            <c:extLst>
              <c:ext xmlns:c16="http://schemas.microsoft.com/office/drawing/2014/chart" uri="{C3380CC4-5D6E-409C-BE32-E72D297353CC}">
                <c16:uniqueId val="{000008F9-B861-4943-8ABB-0EFD67D9E823}"/>
              </c:ext>
            </c:extLst>
          </c:dPt>
          <c:dPt>
            <c:idx val="1148"/>
            <c:invertIfNegative val="1"/>
            <c:bubble3D val="0"/>
            <c:spPr>
              <a:solidFill>
                <a:srgbClr val="AEABAB"/>
              </a:solidFill>
            </c:spPr>
            <c:extLst>
              <c:ext xmlns:c16="http://schemas.microsoft.com/office/drawing/2014/chart" uri="{C3380CC4-5D6E-409C-BE32-E72D297353CC}">
                <c16:uniqueId val="{000008FB-B861-4943-8ABB-0EFD67D9E823}"/>
              </c:ext>
            </c:extLst>
          </c:dPt>
          <c:dPt>
            <c:idx val="1149"/>
            <c:invertIfNegative val="1"/>
            <c:bubble3D val="0"/>
            <c:spPr>
              <a:solidFill>
                <a:srgbClr val="AEABAB"/>
              </a:solidFill>
            </c:spPr>
            <c:extLst>
              <c:ext xmlns:c16="http://schemas.microsoft.com/office/drawing/2014/chart" uri="{C3380CC4-5D6E-409C-BE32-E72D297353CC}">
                <c16:uniqueId val="{000008FD-B861-4943-8ABB-0EFD67D9E823}"/>
              </c:ext>
            </c:extLst>
          </c:dPt>
          <c:dPt>
            <c:idx val="1150"/>
            <c:invertIfNegative val="1"/>
            <c:bubble3D val="0"/>
            <c:spPr>
              <a:solidFill>
                <a:srgbClr val="AEABAB"/>
              </a:solidFill>
            </c:spPr>
            <c:extLst>
              <c:ext xmlns:c16="http://schemas.microsoft.com/office/drawing/2014/chart" uri="{C3380CC4-5D6E-409C-BE32-E72D297353CC}">
                <c16:uniqueId val="{000008FF-B861-4943-8ABB-0EFD67D9E823}"/>
              </c:ext>
            </c:extLst>
          </c:dPt>
          <c:dPt>
            <c:idx val="1151"/>
            <c:invertIfNegative val="1"/>
            <c:bubble3D val="0"/>
            <c:spPr>
              <a:solidFill>
                <a:srgbClr val="AEABAB"/>
              </a:solidFill>
            </c:spPr>
            <c:extLst>
              <c:ext xmlns:c16="http://schemas.microsoft.com/office/drawing/2014/chart" uri="{C3380CC4-5D6E-409C-BE32-E72D297353CC}">
                <c16:uniqueId val="{00000901-B861-4943-8ABB-0EFD67D9E823}"/>
              </c:ext>
            </c:extLst>
          </c:dPt>
          <c:dPt>
            <c:idx val="1152"/>
            <c:invertIfNegative val="1"/>
            <c:bubble3D val="0"/>
            <c:spPr>
              <a:solidFill>
                <a:srgbClr val="AEABAB"/>
              </a:solidFill>
            </c:spPr>
            <c:extLst>
              <c:ext xmlns:c16="http://schemas.microsoft.com/office/drawing/2014/chart" uri="{C3380CC4-5D6E-409C-BE32-E72D297353CC}">
                <c16:uniqueId val="{00000903-B861-4943-8ABB-0EFD67D9E823}"/>
              </c:ext>
            </c:extLst>
          </c:dPt>
          <c:dPt>
            <c:idx val="1153"/>
            <c:invertIfNegative val="1"/>
            <c:bubble3D val="0"/>
            <c:spPr>
              <a:solidFill>
                <a:srgbClr val="AEABAB"/>
              </a:solidFill>
            </c:spPr>
            <c:extLst>
              <c:ext xmlns:c16="http://schemas.microsoft.com/office/drawing/2014/chart" uri="{C3380CC4-5D6E-409C-BE32-E72D297353CC}">
                <c16:uniqueId val="{00000905-B861-4943-8ABB-0EFD67D9E823}"/>
              </c:ext>
            </c:extLst>
          </c:dPt>
          <c:dPt>
            <c:idx val="1154"/>
            <c:invertIfNegative val="1"/>
            <c:bubble3D val="0"/>
            <c:spPr>
              <a:solidFill>
                <a:srgbClr val="AEABAB"/>
              </a:solidFill>
            </c:spPr>
            <c:extLst>
              <c:ext xmlns:c16="http://schemas.microsoft.com/office/drawing/2014/chart" uri="{C3380CC4-5D6E-409C-BE32-E72D297353CC}">
                <c16:uniqueId val="{00000907-B861-4943-8ABB-0EFD67D9E823}"/>
              </c:ext>
            </c:extLst>
          </c:dPt>
          <c:dPt>
            <c:idx val="1155"/>
            <c:invertIfNegative val="1"/>
            <c:bubble3D val="0"/>
            <c:spPr>
              <a:solidFill>
                <a:srgbClr val="AEABAB"/>
              </a:solidFill>
            </c:spPr>
            <c:extLst>
              <c:ext xmlns:c16="http://schemas.microsoft.com/office/drawing/2014/chart" uri="{C3380CC4-5D6E-409C-BE32-E72D297353CC}">
                <c16:uniqueId val="{00000909-B861-4943-8ABB-0EFD67D9E823}"/>
              </c:ext>
            </c:extLst>
          </c:dPt>
          <c:dPt>
            <c:idx val="1156"/>
            <c:invertIfNegative val="1"/>
            <c:bubble3D val="0"/>
            <c:spPr>
              <a:solidFill>
                <a:srgbClr val="AEABAB"/>
              </a:solidFill>
            </c:spPr>
            <c:extLst>
              <c:ext xmlns:c16="http://schemas.microsoft.com/office/drawing/2014/chart" uri="{C3380CC4-5D6E-409C-BE32-E72D297353CC}">
                <c16:uniqueId val="{0000090B-B861-4943-8ABB-0EFD67D9E823}"/>
              </c:ext>
            </c:extLst>
          </c:dPt>
          <c:dPt>
            <c:idx val="1157"/>
            <c:invertIfNegative val="1"/>
            <c:bubble3D val="0"/>
            <c:spPr>
              <a:solidFill>
                <a:srgbClr val="AEABAB"/>
              </a:solidFill>
            </c:spPr>
            <c:extLst>
              <c:ext xmlns:c16="http://schemas.microsoft.com/office/drawing/2014/chart" uri="{C3380CC4-5D6E-409C-BE32-E72D297353CC}">
                <c16:uniqueId val="{0000090D-B861-4943-8ABB-0EFD67D9E823}"/>
              </c:ext>
            </c:extLst>
          </c:dPt>
          <c:dPt>
            <c:idx val="1158"/>
            <c:invertIfNegative val="1"/>
            <c:bubble3D val="0"/>
            <c:spPr>
              <a:solidFill>
                <a:srgbClr val="AEABAB"/>
              </a:solidFill>
            </c:spPr>
            <c:extLst>
              <c:ext xmlns:c16="http://schemas.microsoft.com/office/drawing/2014/chart" uri="{C3380CC4-5D6E-409C-BE32-E72D297353CC}">
                <c16:uniqueId val="{0000090F-B861-4943-8ABB-0EFD67D9E823}"/>
              </c:ext>
            </c:extLst>
          </c:dPt>
          <c:dPt>
            <c:idx val="1159"/>
            <c:invertIfNegative val="1"/>
            <c:bubble3D val="0"/>
            <c:spPr>
              <a:solidFill>
                <a:srgbClr val="AEABAB"/>
              </a:solidFill>
            </c:spPr>
            <c:extLst>
              <c:ext xmlns:c16="http://schemas.microsoft.com/office/drawing/2014/chart" uri="{C3380CC4-5D6E-409C-BE32-E72D297353CC}">
                <c16:uniqueId val="{00000911-B861-4943-8ABB-0EFD67D9E823}"/>
              </c:ext>
            </c:extLst>
          </c:dPt>
          <c:dPt>
            <c:idx val="1160"/>
            <c:invertIfNegative val="1"/>
            <c:bubble3D val="0"/>
            <c:spPr>
              <a:solidFill>
                <a:srgbClr val="AEABAB"/>
              </a:solidFill>
            </c:spPr>
            <c:extLst>
              <c:ext xmlns:c16="http://schemas.microsoft.com/office/drawing/2014/chart" uri="{C3380CC4-5D6E-409C-BE32-E72D297353CC}">
                <c16:uniqueId val="{00000913-B861-4943-8ABB-0EFD67D9E823}"/>
              </c:ext>
            </c:extLst>
          </c:dPt>
          <c:dPt>
            <c:idx val="1161"/>
            <c:invertIfNegative val="1"/>
            <c:bubble3D val="0"/>
            <c:spPr>
              <a:solidFill>
                <a:srgbClr val="AEABAB"/>
              </a:solidFill>
            </c:spPr>
            <c:extLst>
              <c:ext xmlns:c16="http://schemas.microsoft.com/office/drawing/2014/chart" uri="{C3380CC4-5D6E-409C-BE32-E72D297353CC}">
                <c16:uniqueId val="{00000915-B861-4943-8ABB-0EFD67D9E823}"/>
              </c:ext>
            </c:extLst>
          </c:dPt>
          <c:dPt>
            <c:idx val="1162"/>
            <c:invertIfNegative val="1"/>
            <c:bubble3D val="0"/>
            <c:spPr>
              <a:solidFill>
                <a:srgbClr val="AEABAB"/>
              </a:solidFill>
            </c:spPr>
            <c:extLst>
              <c:ext xmlns:c16="http://schemas.microsoft.com/office/drawing/2014/chart" uri="{C3380CC4-5D6E-409C-BE32-E72D297353CC}">
                <c16:uniqueId val="{00000917-B861-4943-8ABB-0EFD67D9E823}"/>
              </c:ext>
            </c:extLst>
          </c:dPt>
          <c:dPt>
            <c:idx val="1163"/>
            <c:invertIfNegative val="1"/>
            <c:bubble3D val="0"/>
            <c:spPr>
              <a:solidFill>
                <a:srgbClr val="AEABAB"/>
              </a:solidFill>
            </c:spPr>
            <c:extLst>
              <c:ext xmlns:c16="http://schemas.microsoft.com/office/drawing/2014/chart" uri="{C3380CC4-5D6E-409C-BE32-E72D297353CC}">
                <c16:uniqueId val="{00000919-B861-4943-8ABB-0EFD67D9E823}"/>
              </c:ext>
            </c:extLst>
          </c:dPt>
          <c:dPt>
            <c:idx val="1164"/>
            <c:invertIfNegative val="1"/>
            <c:bubble3D val="0"/>
            <c:spPr>
              <a:solidFill>
                <a:srgbClr val="AEABAB"/>
              </a:solidFill>
            </c:spPr>
            <c:extLst>
              <c:ext xmlns:c16="http://schemas.microsoft.com/office/drawing/2014/chart" uri="{C3380CC4-5D6E-409C-BE32-E72D297353CC}">
                <c16:uniqueId val="{0000091B-B861-4943-8ABB-0EFD67D9E823}"/>
              </c:ext>
            </c:extLst>
          </c:dPt>
          <c:dPt>
            <c:idx val="1165"/>
            <c:invertIfNegative val="1"/>
            <c:bubble3D val="0"/>
            <c:spPr>
              <a:solidFill>
                <a:srgbClr val="AEABAB"/>
              </a:solidFill>
            </c:spPr>
            <c:extLst>
              <c:ext xmlns:c16="http://schemas.microsoft.com/office/drawing/2014/chart" uri="{C3380CC4-5D6E-409C-BE32-E72D297353CC}">
                <c16:uniqueId val="{0000091D-B861-4943-8ABB-0EFD67D9E823}"/>
              </c:ext>
            </c:extLst>
          </c:dPt>
          <c:dPt>
            <c:idx val="1166"/>
            <c:invertIfNegative val="1"/>
            <c:bubble3D val="0"/>
            <c:spPr>
              <a:solidFill>
                <a:srgbClr val="AEABAB"/>
              </a:solidFill>
            </c:spPr>
            <c:extLst>
              <c:ext xmlns:c16="http://schemas.microsoft.com/office/drawing/2014/chart" uri="{C3380CC4-5D6E-409C-BE32-E72D297353CC}">
                <c16:uniqueId val="{0000091F-B861-4943-8ABB-0EFD67D9E823}"/>
              </c:ext>
            </c:extLst>
          </c:dPt>
          <c:dPt>
            <c:idx val="1167"/>
            <c:invertIfNegative val="1"/>
            <c:bubble3D val="0"/>
            <c:spPr>
              <a:solidFill>
                <a:srgbClr val="AEABAB"/>
              </a:solidFill>
            </c:spPr>
            <c:extLst>
              <c:ext xmlns:c16="http://schemas.microsoft.com/office/drawing/2014/chart" uri="{C3380CC4-5D6E-409C-BE32-E72D297353CC}">
                <c16:uniqueId val="{00000921-B861-4943-8ABB-0EFD67D9E823}"/>
              </c:ext>
            </c:extLst>
          </c:dPt>
          <c:dPt>
            <c:idx val="1168"/>
            <c:invertIfNegative val="1"/>
            <c:bubble3D val="0"/>
            <c:spPr>
              <a:solidFill>
                <a:srgbClr val="AEABAB"/>
              </a:solidFill>
            </c:spPr>
            <c:extLst>
              <c:ext xmlns:c16="http://schemas.microsoft.com/office/drawing/2014/chart" uri="{C3380CC4-5D6E-409C-BE32-E72D297353CC}">
                <c16:uniqueId val="{00000923-B861-4943-8ABB-0EFD67D9E823}"/>
              </c:ext>
            </c:extLst>
          </c:dPt>
          <c:dPt>
            <c:idx val="1169"/>
            <c:invertIfNegative val="1"/>
            <c:bubble3D val="0"/>
            <c:spPr>
              <a:solidFill>
                <a:srgbClr val="AEABAB"/>
              </a:solidFill>
            </c:spPr>
            <c:extLst>
              <c:ext xmlns:c16="http://schemas.microsoft.com/office/drawing/2014/chart" uri="{C3380CC4-5D6E-409C-BE32-E72D297353CC}">
                <c16:uniqueId val="{00000925-B861-4943-8ABB-0EFD67D9E823}"/>
              </c:ext>
            </c:extLst>
          </c:dPt>
          <c:dPt>
            <c:idx val="1170"/>
            <c:invertIfNegative val="1"/>
            <c:bubble3D val="0"/>
            <c:spPr>
              <a:solidFill>
                <a:srgbClr val="AEABAB"/>
              </a:solidFill>
            </c:spPr>
            <c:extLst>
              <c:ext xmlns:c16="http://schemas.microsoft.com/office/drawing/2014/chart" uri="{C3380CC4-5D6E-409C-BE32-E72D297353CC}">
                <c16:uniqueId val="{00000927-B861-4943-8ABB-0EFD67D9E823}"/>
              </c:ext>
            </c:extLst>
          </c:dPt>
          <c:dPt>
            <c:idx val="1171"/>
            <c:invertIfNegative val="1"/>
            <c:bubble3D val="0"/>
            <c:spPr>
              <a:solidFill>
                <a:srgbClr val="AEABAB"/>
              </a:solidFill>
            </c:spPr>
            <c:extLst>
              <c:ext xmlns:c16="http://schemas.microsoft.com/office/drawing/2014/chart" uri="{C3380CC4-5D6E-409C-BE32-E72D297353CC}">
                <c16:uniqueId val="{00000929-B861-4943-8ABB-0EFD67D9E823}"/>
              </c:ext>
            </c:extLst>
          </c:dPt>
          <c:dPt>
            <c:idx val="1172"/>
            <c:invertIfNegative val="1"/>
            <c:bubble3D val="0"/>
            <c:spPr>
              <a:solidFill>
                <a:srgbClr val="AEABAB"/>
              </a:solidFill>
            </c:spPr>
            <c:extLst>
              <c:ext xmlns:c16="http://schemas.microsoft.com/office/drawing/2014/chart" uri="{C3380CC4-5D6E-409C-BE32-E72D297353CC}">
                <c16:uniqueId val="{0000092B-B861-4943-8ABB-0EFD67D9E823}"/>
              </c:ext>
            </c:extLst>
          </c:dPt>
          <c:dPt>
            <c:idx val="1173"/>
            <c:invertIfNegative val="1"/>
            <c:bubble3D val="0"/>
            <c:spPr>
              <a:solidFill>
                <a:srgbClr val="AEABAB"/>
              </a:solidFill>
            </c:spPr>
            <c:extLst>
              <c:ext xmlns:c16="http://schemas.microsoft.com/office/drawing/2014/chart" uri="{C3380CC4-5D6E-409C-BE32-E72D297353CC}">
                <c16:uniqueId val="{0000092D-B861-4943-8ABB-0EFD67D9E823}"/>
              </c:ext>
            </c:extLst>
          </c:dPt>
          <c:dPt>
            <c:idx val="1174"/>
            <c:invertIfNegative val="1"/>
            <c:bubble3D val="0"/>
            <c:spPr>
              <a:solidFill>
                <a:srgbClr val="AEABAB"/>
              </a:solidFill>
            </c:spPr>
            <c:extLst>
              <c:ext xmlns:c16="http://schemas.microsoft.com/office/drawing/2014/chart" uri="{C3380CC4-5D6E-409C-BE32-E72D297353CC}">
                <c16:uniqueId val="{0000092F-B861-4943-8ABB-0EFD67D9E823}"/>
              </c:ext>
            </c:extLst>
          </c:dPt>
          <c:dPt>
            <c:idx val="1175"/>
            <c:invertIfNegative val="1"/>
            <c:bubble3D val="0"/>
            <c:spPr>
              <a:solidFill>
                <a:srgbClr val="AEABAB"/>
              </a:solidFill>
            </c:spPr>
            <c:extLst>
              <c:ext xmlns:c16="http://schemas.microsoft.com/office/drawing/2014/chart" uri="{C3380CC4-5D6E-409C-BE32-E72D297353CC}">
                <c16:uniqueId val="{00000931-B861-4943-8ABB-0EFD67D9E823}"/>
              </c:ext>
            </c:extLst>
          </c:dPt>
          <c:dPt>
            <c:idx val="1176"/>
            <c:invertIfNegative val="1"/>
            <c:bubble3D val="0"/>
            <c:spPr>
              <a:solidFill>
                <a:srgbClr val="AEABAB"/>
              </a:solidFill>
            </c:spPr>
            <c:extLst>
              <c:ext xmlns:c16="http://schemas.microsoft.com/office/drawing/2014/chart" uri="{C3380CC4-5D6E-409C-BE32-E72D297353CC}">
                <c16:uniqueId val="{00000933-B861-4943-8ABB-0EFD67D9E823}"/>
              </c:ext>
            </c:extLst>
          </c:dPt>
          <c:dPt>
            <c:idx val="1177"/>
            <c:invertIfNegative val="1"/>
            <c:bubble3D val="0"/>
            <c:spPr>
              <a:solidFill>
                <a:srgbClr val="AEABAB"/>
              </a:solidFill>
            </c:spPr>
            <c:extLst>
              <c:ext xmlns:c16="http://schemas.microsoft.com/office/drawing/2014/chart" uri="{C3380CC4-5D6E-409C-BE32-E72D297353CC}">
                <c16:uniqueId val="{00000935-B861-4943-8ABB-0EFD67D9E823}"/>
              </c:ext>
            </c:extLst>
          </c:dPt>
          <c:dPt>
            <c:idx val="1178"/>
            <c:invertIfNegative val="1"/>
            <c:bubble3D val="0"/>
            <c:spPr>
              <a:solidFill>
                <a:srgbClr val="AEABAB"/>
              </a:solidFill>
            </c:spPr>
            <c:extLst>
              <c:ext xmlns:c16="http://schemas.microsoft.com/office/drawing/2014/chart" uri="{C3380CC4-5D6E-409C-BE32-E72D297353CC}">
                <c16:uniqueId val="{00000937-B861-4943-8ABB-0EFD67D9E823}"/>
              </c:ext>
            </c:extLst>
          </c:dPt>
          <c:dPt>
            <c:idx val="1179"/>
            <c:invertIfNegative val="1"/>
            <c:bubble3D val="0"/>
            <c:spPr>
              <a:solidFill>
                <a:srgbClr val="AEABAB"/>
              </a:solidFill>
            </c:spPr>
            <c:extLst>
              <c:ext xmlns:c16="http://schemas.microsoft.com/office/drawing/2014/chart" uri="{C3380CC4-5D6E-409C-BE32-E72D297353CC}">
                <c16:uniqueId val="{00000939-B861-4943-8ABB-0EFD67D9E823}"/>
              </c:ext>
            </c:extLst>
          </c:dPt>
          <c:dPt>
            <c:idx val="1180"/>
            <c:invertIfNegative val="1"/>
            <c:bubble3D val="0"/>
            <c:spPr>
              <a:solidFill>
                <a:srgbClr val="AEABAB"/>
              </a:solidFill>
            </c:spPr>
            <c:extLst>
              <c:ext xmlns:c16="http://schemas.microsoft.com/office/drawing/2014/chart" uri="{C3380CC4-5D6E-409C-BE32-E72D297353CC}">
                <c16:uniqueId val="{0000093B-B861-4943-8ABB-0EFD67D9E823}"/>
              </c:ext>
            </c:extLst>
          </c:dPt>
          <c:dPt>
            <c:idx val="1181"/>
            <c:invertIfNegative val="1"/>
            <c:bubble3D val="0"/>
            <c:spPr>
              <a:solidFill>
                <a:srgbClr val="AEABAB"/>
              </a:solidFill>
            </c:spPr>
            <c:extLst>
              <c:ext xmlns:c16="http://schemas.microsoft.com/office/drawing/2014/chart" uri="{C3380CC4-5D6E-409C-BE32-E72D297353CC}">
                <c16:uniqueId val="{0000093D-B861-4943-8ABB-0EFD67D9E823}"/>
              </c:ext>
            </c:extLst>
          </c:dPt>
          <c:dPt>
            <c:idx val="1182"/>
            <c:invertIfNegative val="1"/>
            <c:bubble3D val="0"/>
            <c:spPr>
              <a:solidFill>
                <a:srgbClr val="AEABAB"/>
              </a:solidFill>
            </c:spPr>
            <c:extLst>
              <c:ext xmlns:c16="http://schemas.microsoft.com/office/drawing/2014/chart" uri="{C3380CC4-5D6E-409C-BE32-E72D297353CC}">
                <c16:uniqueId val="{0000093F-B861-4943-8ABB-0EFD67D9E823}"/>
              </c:ext>
            </c:extLst>
          </c:dPt>
          <c:dPt>
            <c:idx val="1183"/>
            <c:invertIfNegative val="1"/>
            <c:bubble3D val="0"/>
            <c:spPr>
              <a:solidFill>
                <a:srgbClr val="AEABAB"/>
              </a:solidFill>
            </c:spPr>
            <c:extLst>
              <c:ext xmlns:c16="http://schemas.microsoft.com/office/drawing/2014/chart" uri="{C3380CC4-5D6E-409C-BE32-E72D297353CC}">
                <c16:uniqueId val="{00000941-B861-4943-8ABB-0EFD67D9E823}"/>
              </c:ext>
            </c:extLst>
          </c:dPt>
          <c:dPt>
            <c:idx val="1184"/>
            <c:invertIfNegative val="1"/>
            <c:bubble3D val="0"/>
            <c:spPr>
              <a:solidFill>
                <a:srgbClr val="AEABAB"/>
              </a:solidFill>
            </c:spPr>
            <c:extLst>
              <c:ext xmlns:c16="http://schemas.microsoft.com/office/drawing/2014/chart" uri="{C3380CC4-5D6E-409C-BE32-E72D297353CC}">
                <c16:uniqueId val="{00000943-B861-4943-8ABB-0EFD67D9E823}"/>
              </c:ext>
            </c:extLst>
          </c:dPt>
          <c:dPt>
            <c:idx val="1185"/>
            <c:invertIfNegative val="1"/>
            <c:bubble3D val="0"/>
            <c:spPr>
              <a:solidFill>
                <a:srgbClr val="AEABAB"/>
              </a:solidFill>
            </c:spPr>
            <c:extLst>
              <c:ext xmlns:c16="http://schemas.microsoft.com/office/drawing/2014/chart" uri="{C3380CC4-5D6E-409C-BE32-E72D297353CC}">
                <c16:uniqueId val="{00000945-B861-4943-8ABB-0EFD67D9E823}"/>
              </c:ext>
            </c:extLst>
          </c:dPt>
          <c:dPt>
            <c:idx val="1186"/>
            <c:invertIfNegative val="1"/>
            <c:bubble3D val="0"/>
            <c:spPr>
              <a:solidFill>
                <a:srgbClr val="AEABAB"/>
              </a:solidFill>
            </c:spPr>
            <c:extLst>
              <c:ext xmlns:c16="http://schemas.microsoft.com/office/drawing/2014/chart" uri="{C3380CC4-5D6E-409C-BE32-E72D297353CC}">
                <c16:uniqueId val="{00000947-B861-4943-8ABB-0EFD67D9E823}"/>
              </c:ext>
            </c:extLst>
          </c:dPt>
          <c:dPt>
            <c:idx val="1187"/>
            <c:invertIfNegative val="1"/>
            <c:bubble3D val="0"/>
            <c:spPr>
              <a:solidFill>
                <a:srgbClr val="AEABAB"/>
              </a:solidFill>
            </c:spPr>
            <c:extLst>
              <c:ext xmlns:c16="http://schemas.microsoft.com/office/drawing/2014/chart" uri="{C3380CC4-5D6E-409C-BE32-E72D297353CC}">
                <c16:uniqueId val="{00000949-B861-4943-8ABB-0EFD67D9E823}"/>
              </c:ext>
            </c:extLst>
          </c:dPt>
          <c:dPt>
            <c:idx val="1188"/>
            <c:invertIfNegative val="1"/>
            <c:bubble3D val="0"/>
            <c:spPr>
              <a:solidFill>
                <a:srgbClr val="AEABAB"/>
              </a:solidFill>
            </c:spPr>
            <c:extLst>
              <c:ext xmlns:c16="http://schemas.microsoft.com/office/drawing/2014/chart" uri="{C3380CC4-5D6E-409C-BE32-E72D297353CC}">
                <c16:uniqueId val="{0000094B-B861-4943-8ABB-0EFD67D9E823}"/>
              </c:ext>
            </c:extLst>
          </c:dPt>
          <c:dPt>
            <c:idx val="1189"/>
            <c:invertIfNegative val="1"/>
            <c:bubble3D val="0"/>
            <c:spPr>
              <a:solidFill>
                <a:srgbClr val="AEABAB"/>
              </a:solidFill>
            </c:spPr>
            <c:extLst>
              <c:ext xmlns:c16="http://schemas.microsoft.com/office/drawing/2014/chart" uri="{C3380CC4-5D6E-409C-BE32-E72D297353CC}">
                <c16:uniqueId val="{0000094D-B861-4943-8ABB-0EFD67D9E823}"/>
              </c:ext>
            </c:extLst>
          </c:dPt>
          <c:dPt>
            <c:idx val="1190"/>
            <c:invertIfNegative val="1"/>
            <c:bubble3D val="0"/>
            <c:spPr>
              <a:solidFill>
                <a:srgbClr val="AEABAB"/>
              </a:solidFill>
            </c:spPr>
            <c:extLst>
              <c:ext xmlns:c16="http://schemas.microsoft.com/office/drawing/2014/chart" uri="{C3380CC4-5D6E-409C-BE32-E72D297353CC}">
                <c16:uniqueId val="{0000094F-B861-4943-8ABB-0EFD67D9E823}"/>
              </c:ext>
            </c:extLst>
          </c:dPt>
          <c:dPt>
            <c:idx val="1191"/>
            <c:invertIfNegative val="1"/>
            <c:bubble3D val="0"/>
            <c:spPr>
              <a:solidFill>
                <a:srgbClr val="AEABAB"/>
              </a:solidFill>
            </c:spPr>
            <c:extLst>
              <c:ext xmlns:c16="http://schemas.microsoft.com/office/drawing/2014/chart" uri="{C3380CC4-5D6E-409C-BE32-E72D297353CC}">
                <c16:uniqueId val="{00000951-B861-4943-8ABB-0EFD67D9E823}"/>
              </c:ext>
            </c:extLst>
          </c:dPt>
          <c:dPt>
            <c:idx val="1192"/>
            <c:invertIfNegative val="1"/>
            <c:bubble3D val="0"/>
            <c:spPr>
              <a:solidFill>
                <a:srgbClr val="AEABAB"/>
              </a:solidFill>
            </c:spPr>
            <c:extLst>
              <c:ext xmlns:c16="http://schemas.microsoft.com/office/drawing/2014/chart" uri="{C3380CC4-5D6E-409C-BE32-E72D297353CC}">
                <c16:uniqueId val="{00000953-B861-4943-8ABB-0EFD67D9E823}"/>
              </c:ext>
            </c:extLst>
          </c:dPt>
          <c:dPt>
            <c:idx val="1193"/>
            <c:invertIfNegative val="1"/>
            <c:bubble3D val="0"/>
            <c:spPr>
              <a:solidFill>
                <a:srgbClr val="AEABAB"/>
              </a:solidFill>
            </c:spPr>
            <c:extLst>
              <c:ext xmlns:c16="http://schemas.microsoft.com/office/drawing/2014/chart" uri="{C3380CC4-5D6E-409C-BE32-E72D297353CC}">
                <c16:uniqueId val="{00000955-B861-4943-8ABB-0EFD67D9E823}"/>
              </c:ext>
            </c:extLst>
          </c:dPt>
          <c:dPt>
            <c:idx val="1194"/>
            <c:invertIfNegative val="1"/>
            <c:bubble3D val="0"/>
            <c:spPr>
              <a:solidFill>
                <a:srgbClr val="AEABAB"/>
              </a:solidFill>
            </c:spPr>
            <c:extLst>
              <c:ext xmlns:c16="http://schemas.microsoft.com/office/drawing/2014/chart" uri="{C3380CC4-5D6E-409C-BE32-E72D297353CC}">
                <c16:uniqueId val="{00000957-B861-4943-8ABB-0EFD67D9E823}"/>
              </c:ext>
            </c:extLst>
          </c:dPt>
          <c:dPt>
            <c:idx val="1195"/>
            <c:invertIfNegative val="1"/>
            <c:bubble3D val="0"/>
            <c:spPr>
              <a:solidFill>
                <a:srgbClr val="AEABAB"/>
              </a:solidFill>
            </c:spPr>
            <c:extLst>
              <c:ext xmlns:c16="http://schemas.microsoft.com/office/drawing/2014/chart" uri="{C3380CC4-5D6E-409C-BE32-E72D297353CC}">
                <c16:uniqueId val="{00000959-B861-4943-8ABB-0EFD67D9E823}"/>
              </c:ext>
            </c:extLst>
          </c:dPt>
          <c:dPt>
            <c:idx val="1196"/>
            <c:invertIfNegative val="1"/>
            <c:bubble3D val="0"/>
            <c:spPr>
              <a:solidFill>
                <a:srgbClr val="AEABAB"/>
              </a:solidFill>
            </c:spPr>
            <c:extLst>
              <c:ext xmlns:c16="http://schemas.microsoft.com/office/drawing/2014/chart" uri="{C3380CC4-5D6E-409C-BE32-E72D297353CC}">
                <c16:uniqueId val="{0000095B-B861-4943-8ABB-0EFD67D9E823}"/>
              </c:ext>
            </c:extLst>
          </c:dPt>
          <c:dPt>
            <c:idx val="1197"/>
            <c:invertIfNegative val="1"/>
            <c:bubble3D val="0"/>
            <c:spPr>
              <a:solidFill>
                <a:srgbClr val="AEABAB"/>
              </a:solidFill>
            </c:spPr>
            <c:extLst>
              <c:ext xmlns:c16="http://schemas.microsoft.com/office/drawing/2014/chart" uri="{C3380CC4-5D6E-409C-BE32-E72D297353CC}">
                <c16:uniqueId val="{0000095D-B861-4943-8ABB-0EFD67D9E823}"/>
              </c:ext>
            </c:extLst>
          </c:dPt>
          <c:dPt>
            <c:idx val="1198"/>
            <c:invertIfNegative val="1"/>
            <c:bubble3D val="0"/>
            <c:spPr>
              <a:solidFill>
                <a:srgbClr val="AEABAB"/>
              </a:solidFill>
            </c:spPr>
            <c:extLst>
              <c:ext xmlns:c16="http://schemas.microsoft.com/office/drawing/2014/chart" uri="{C3380CC4-5D6E-409C-BE32-E72D297353CC}">
                <c16:uniqueId val="{0000095F-B861-4943-8ABB-0EFD67D9E823}"/>
              </c:ext>
            </c:extLst>
          </c:dPt>
          <c:dPt>
            <c:idx val="1199"/>
            <c:invertIfNegative val="1"/>
            <c:bubble3D val="0"/>
            <c:spPr>
              <a:solidFill>
                <a:srgbClr val="AEABAB"/>
              </a:solidFill>
            </c:spPr>
            <c:extLst>
              <c:ext xmlns:c16="http://schemas.microsoft.com/office/drawing/2014/chart" uri="{C3380CC4-5D6E-409C-BE32-E72D297353CC}">
                <c16:uniqueId val="{00000961-B861-4943-8ABB-0EFD67D9E823}"/>
              </c:ext>
            </c:extLst>
          </c:dPt>
          <c:dPt>
            <c:idx val="1200"/>
            <c:invertIfNegative val="1"/>
            <c:bubble3D val="0"/>
            <c:spPr>
              <a:solidFill>
                <a:srgbClr val="AEABAB"/>
              </a:solidFill>
            </c:spPr>
            <c:extLst>
              <c:ext xmlns:c16="http://schemas.microsoft.com/office/drawing/2014/chart" uri="{C3380CC4-5D6E-409C-BE32-E72D297353CC}">
                <c16:uniqueId val="{00000963-B861-4943-8ABB-0EFD67D9E823}"/>
              </c:ext>
            </c:extLst>
          </c:dPt>
          <c:dPt>
            <c:idx val="1201"/>
            <c:invertIfNegative val="1"/>
            <c:bubble3D val="0"/>
            <c:spPr>
              <a:solidFill>
                <a:srgbClr val="AEABAB"/>
              </a:solidFill>
            </c:spPr>
            <c:extLst>
              <c:ext xmlns:c16="http://schemas.microsoft.com/office/drawing/2014/chart" uri="{C3380CC4-5D6E-409C-BE32-E72D297353CC}">
                <c16:uniqueId val="{00000965-B861-4943-8ABB-0EFD67D9E823}"/>
              </c:ext>
            </c:extLst>
          </c:dPt>
          <c:dPt>
            <c:idx val="1202"/>
            <c:invertIfNegative val="1"/>
            <c:bubble3D val="0"/>
            <c:spPr>
              <a:solidFill>
                <a:srgbClr val="AEABAB"/>
              </a:solidFill>
            </c:spPr>
            <c:extLst>
              <c:ext xmlns:c16="http://schemas.microsoft.com/office/drawing/2014/chart" uri="{C3380CC4-5D6E-409C-BE32-E72D297353CC}">
                <c16:uniqueId val="{00000967-B861-4943-8ABB-0EFD67D9E823}"/>
              </c:ext>
            </c:extLst>
          </c:dPt>
          <c:dPt>
            <c:idx val="1203"/>
            <c:invertIfNegative val="1"/>
            <c:bubble3D val="0"/>
            <c:spPr>
              <a:solidFill>
                <a:srgbClr val="AEABAB"/>
              </a:solidFill>
            </c:spPr>
            <c:extLst>
              <c:ext xmlns:c16="http://schemas.microsoft.com/office/drawing/2014/chart" uri="{C3380CC4-5D6E-409C-BE32-E72D297353CC}">
                <c16:uniqueId val="{00000969-B861-4943-8ABB-0EFD67D9E823}"/>
              </c:ext>
            </c:extLst>
          </c:dPt>
          <c:dPt>
            <c:idx val="1204"/>
            <c:invertIfNegative val="1"/>
            <c:bubble3D val="0"/>
            <c:spPr>
              <a:solidFill>
                <a:srgbClr val="AEABAB"/>
              </a:solidFill>
            </c:spPr>
            <c:extLst>
              <c:ext xmlns:c16="http://schemas.microsoft.com/office/drawing/2014/chart" uri="{C3380CC4-5D6E-409C-BE32-E72D297353CC}">
                <c16:uniqueId val="{0000096B-B861-4943-8ABB-0EFD67D9E823}"/>
              </c:ext>
            </c:extLst>
          </c:dPt>
          <c:dPt>
            <c:idx val="1205"/>
            <c:invertIfNegative val="1"/>
            <c:bubble3D val="0"/>
            <c:spPr>
              <a:solidFill>
                <a:srgbClr val="AEABAB"/>
              </a:solidFill>
            </c:spPr>
            <c:extLst>
              <c:ext xmlns:c16="http://schemas.microsoft.com/office/drawing/2014/chart" uri="{C3380CC4-5D6E-409C-BE32-E72D297353CC}">
                <c16:uniqueId val="{0000096D-B861-4943-8ABB-0EFD67D9E823}"/>
              </c:ext>
            </c:extLst>
          </c:dPt>
          <c:dPt>
            <c:idx val="1206"/>
            <c:invertIfNegative val="1"/>
            <c:bubble3D val="0"/>
            <c:spPr>
              <a:solidFill>
                <a:srgbClr val="AEABAB"/>
              </a:solidFill>
            </c:spPr>
            <c:extLst>
              <c:ext xmlns:c16="http://schemas.microsoft.com/office/drawing/2014/chart" uri="{C3380CC4-5D6E-409C-BE32-E72D297353CC}">
                <c16:uniqueId val="{0000096F-B861-4943-8ABB-0EFD67D9E823}"/>
              </c:ext>
            </c:extLst>
          </c:dPt>
          <c:dPt>
            <c:idx val="1207"/>
            <c:invertIfNegative val="1"/>
            <c:bubble3D val="0"/>
            <c:spPr>
              <a:solidFill>
                <a:srgbClr val="AEABAB"/>
              </a:solidFill>
            </c:spPr>
            <c:extLst>
              <c:ext xmlns:c16="http://schemas.microsoft.com/office/drawing/2014/chart" uri="{C3380CC4-5D6E-409C-BE32-E72D297353CC}">
                <c16:uniqueId val="{00000971-B861-4943-8ABB-0EFD67D9E823}"/>
              </c:ext>
            </c:extLst>
          </c:dPt>
          <c:dPt>
            <c:idx val="1208"/>
            <c:invertIfNegative val="1"/>
            <c:bubble3D val="0"/>
            <c:spPr>
              <a:solidFill>
                <a:srgbClr val="AEABAB"/>
              </a:solidFill>
            </c:spPr>
            <c:extLst>
              <c:ext xmlns:c16="http://schemas.microsoft.com/office/drawing/2014/chart" uri="{C3380CC4-5D6E-409C-BE32-E72D297353CC}">
                <c16:uniqueId val="{00000973-B861-4943-8ABB-0EFD67D9E823}"/>
              </c:ext>
            </c:extLst>
          </c:dPt>
          <c:dPt>
            <c:idx val="1209"/>
            <c:invertIfNegative val="1"/>
            <c:bubble3D val="0"/>
            <c:spPr>
              <a:solidFill>
                <a:srgbClr val="AEABAB"/>
              </a:solidFill>
            </c:spPr>
            <c:extLst>
              <c:ext xmlns:c16="http://schemas.microsoft.com/office/drawing/2014/chart" uri="{C3380CC4-5D6E-409C-BE32-E72D297353CC}">
                <c16:uniqueId val="{00000975-B861-4943-8ABB-0EFD67D9E823}"/>
              </c:ext>
            </c:extLst>
          </c:dPt>
          <c:dPt>
            <c:idx val="1210"/>
            <c:invertIfNegative val="1"/>
            <c:bubble3D val="0"/>
            <c:spPr>
              <a:solidFill>
                <a:srgbClr val="AEABAB"/>
              </a:solidFill>
            </c:spPr>
            <c:extLst>
              <c:ext xmlns:c16="http://schemas.microsoft.com/office/drawing/2014/chart" uri="{C3380CC4-5D6E-409C-BE32-E72D297353CC}">
                <c16:uniqueId val="{00000977-B861-4943-8ABB-0EFD67D9E823}"/>
              </c:ext>
            </c:extLst>
          </c:dPt>
          <c:dPt>
            <c:idx val="1211"/>
            <c:invertIfNegative val="1"/>
            <c:bubble3D val="0"/>
            <c:spPr>
              <a:solidFill>
                <a:srgbClr val="AEABAB"/>
              </a:solidFill>
            </c:spPr>
            <c:extLst>
              <c:ext xmlns:c16="http://schemas.microsoft.com/office/drawing/2014/chart" uri="{C3380CC4-5D6E-409C-BE32-E72D297353CC}">
                <c16:uniqueId val="{00000979-B861-4943-8ABB-0EFD67D9E823}"/>
              </c:ext>
            </c:extLst>
          </c:dPt>
          <c:dPt>
            <c:idx val="1212"/>
            <c:invertIfNegative val="1"/>
            <c:bubble3D val="0"/>
            <c:spPr>
              <a:solidFill>
                <a:srgbClr val="AEABAB"/>
              </a:solidFill>
            </c:spPr>
            <c:extLst>
              <c:ext xmlns:c16="http://schemas.microsoft.com/office/drawing/2014/chart" uri="{C3380CC4-5D6E-409C-BE32-E72D297353CC}">
                <c16:uniqueId val="{0000097B-B861-4943-8ABB-0EFD67D9E823}"/>
              </c:ext>
            </c:extLst>
          </c:dPt>
          <c:dPt>
            <c:idx val="1213"/>
            <c:invertIfNegative val="1"/>
            <c:bubble3D val="0"/>
            <c:spPr>
              <a:solidFill>
                <a:srgbClr val="AEABAB"/>
              </a:solidFill>
            </c:spPr>
            <c:extLst>
              <c:ext xmlns:c16="http://schemas.microsoft.com/office/drawing/2014/chart" uri="{C3380CC4-5D6E-409C-BE32-E72D297353CC}">
                <c16:uniqueId val="{0000097D-B861-4943-8ABB-0EFD67D9E823}"/>
              </c:ext>
            </c:extLst>
          </c:dPt>
          <c:dPt>
            <c:idx val="1214"/>
            <c:invertIfNegative val="1"/>
            <c:bubble3D val="0"/>
            <c:spPr>
              <a:solidFill>
                <a:srgbClr val="AEABAB"/>
              </a:solidFill>
            </c:spPr>
            <c:extLst>
              <c:ext xmlns:c16="http://schemas.microsoft.com/office/drawing/2014/chart" uri="{C3380CC4-5D6E-409C-BE32-E72D297353CC}">
                <c16:uniqueId val="{0000097F-B861-4943-8ABB-0EFD67D9E823}"/>
              </c:ext>
            </c:extLst>
          </c:dPt>
          <c:dPt>
            <c:idx val="1215"/>
            <c:invertIfNegative val="1"/>
            <c:bubble3D val="0"/>
            <c:spPr>
              <a:solidFill>
                <a:srgbClr val="AEABAB"/>
              </a:solidFill>
            </c:spPr>
            <c:extLst>
              <c:ext xmlns:c16="http://schemas.microsoft.com/office/drawing/2014/chart" uri="{C3380CC4-5D6E-409C-BE32-E72D297353CC}">
                <c16:uniqueId val="{00000981-B861-4943-8ABB-0EFD67D9E823}"/>
              </c:ext>
            </c:extLst>
          </c:dPt>
          <c:dPt>
            <c:idx val="1216"/>
            <c:invertIfNegative val="1"/>
            <c:bubble3D val="0"/>
            <c:spPr>
              <a:solidFill>
                <a:srgbClr val="AEABAB"/>
              </a:solidFill>
            </c:spPr>
            <c:extLst>
              <c:ext xmlns:c16="http://schemas.microsoft.com/office/drawing/2014/chart" uri="{C3380CC4-5D6E-409C-BE32-E72D297353CC}">
                <c16:uniqueId val="{00000983-B861-4943-8ABB-0EFD67D9E823}"/>
              </c:ext>
            </c:extLst>
          </c:dPt>
          <c:dPt>
            <c:idx val="1217"/>
            <c:invertIfNegative val="1"/>
            <c:bubble3D val="0"/>
            <c:spPr>
              <a:solidFill>
                <a:srgbClr val="AEABAB"/>
              </a:solidFill>
            </c:spPr>
            <c:extLst>
              <c:ext xmlns:c16="http://schemas.microsoft.com/office/drawing/2014/chart" uri="{C3380CC4-5D6E-409C-BE32-E72D297353CC}">
                <c16:uniqueId val="{00000985-B861-4943-8ABB-0EFD67D9E823}"/>
              </c:ext>
            </c:extLst>
          </c:dPt>
          <c:dPt>
            <c:idx val="1218"/>
            <c:invertIfNegative val="1"/>
            <c:bubble3D val="0"/>
            <c:spPr>
              <a:solidFill>
                <a:srgbClr val="AEABAB"/>
              </a:solidFill>
            </c:spPr>
            <c:extLst>
              <c:ext xmlns:c16="http://schemas.microsoft.com/office/drawing/2014/chart" uri="{C3380CC4-5D6E-409C-BE32-E72D297353CC}">
                <c16:uniqueId val="{00000987-B861-4943-8ABB-0EFD67D9E823}"/>
              </c:ext>
            </c:extLst>
          </c:dPt>
          <c:dPt>
            <c:idx val="1219"/>
            <c:invertIfNegative val="1"/>
            <c:bubble3D val="0"/>
            <c:spPr>
              <a:solidFill>
                <a:srgbClr val="AEABAB"/>
              </a:solidFill>
            </c:spPr>
            <c:extLst>
              <c:ext xmlns:c16="http://schemas.microsoft.com/office/drawing/2014/chart" uri="{C3380CC4-5D6E-409C-BE32-E72D297353CC}">
                <c16:uniqueId val="{00000989-B861-4943-8ABB-0EFD67D9E823}"/>
              </c:ext>
            </c:extLst>
          </c:dPt>
          <c:dPt>
            <c:idx val="1220"/>
            <c:invertIfNegative val="1"/>
            <c:bubble3D val="0"/>
            <c:spPr>
              <a:solidFill>
                <a:srgbClr val="AEABAB"/>
              </a:solidFill>
            </c:spPr>
            <c:extLst>
              <c:ext xmlns:c16="http://schemas.microsoft.com/office/drawing/2014/chart" uri="{C3380CC4-5D6E-409C-BE32-E72D297353CC}">
                <c16:uniqueId val="{0000098B-B861-4943-8ABB-0EFD67D9E823}"/>
              </c:ext>
            </c:extLst>
          </c:dPt>
          <c:dPt>
            <c:idx val="1221"/>
            <c:invertIfNegative val="1"/>
            <c:bubble3D val="0"/>
            <c:spPr>
              <a:solidFill>
                <a:srgbClr val="AEABAB"/>
              </a:solidFill>
            </c:spPr>
            <c:extLst>
              <c:ext xmlns:c16="http://schemas.microsoft.com/office/drawing/2014/chart" uri="{C3380CC4-5D6E-409C-BE32-E72D297353CC}">
                <c16:uniqueId val="{0000098D-B861-4943-8ABB-0EFD67D9E823}"/>
              </c:ext>
            </c:extLst>
          </c:dPt>
          <c:dPt>
            <c:idx val="1222"/>
            <c:invertIfNegative val="1"/>
            <c:bubble3D val="0"/>
            <c:spPr>
              <a:solidFill>
                <a:srgbClr val="AEABAB"/>
              </a:solidFill>
            </c:spPr>
            <c:extLst>
              <c:ext xmlns:c16="http://schemas.microsoft.com/office/drawing/2014/chart" uri="{C3380CC4-5D6E-409C-BE32-E72D297353CC}">
                <c16:uniqueId val="{0000098F-B861-4943-8ABB-0EFD67D9E823}"/>
              </c:ext>
            </c:extLst>
          </c:dPt>
          <c:dPt>
            <c:idx val="1223"/>
            <c:invertIfNegative val="1"/>
            <c:bubble3D val="0"/>
            <c:spPr>
              <a:solidFill>
                <a:srgbClr val="AEABAB"/>
              </a:solidFill>
            </c:spPr>
            <c:extLst>
              <c:ext xmlns:c16="http://schemas.microsoft.com/office/drawing/2014/chart" uri="{C3380CC4-5D6E-409C-BE32-E72D297353CC}">
                <c16:uniqueId val="{00000991-B861-4943-8ABB-0EFD67D9E823}"/>
              </c:ext>
            </c:extLst>
          </c:dPt>
          <c:dPt>
            <c:idx val="1224"/>
            <c:invertIfNegative val="1"/>
            <c:bubble3D val="0"/>
            <c:spPr>
              <a:solidFill>
                <a:srgbClr val="AEABAB"/>
              </a:solidFill>
            </c:spPr>
            <c:extLst>
              <c:ext xmlns:c16="http://schemas.microsoft.com/office/drawing/2014/chart" uri="{C3380CC4-5D6E-409C-BE32-E72D297353CC}">
                <c16:uniqueId val="{00000993-B861-4943-8ABB-0EFD67D9E823}"/>
              </c:ext>
            </c:extLst>
          </c:dPt>
          <c:dPt>
            <c:idx val="1225"/>
            <c:invertIfNegative val="1"/>
            <c:bubble3D val="0"/>
            <c:spPr>
              <a:solidFill>
                <a:srgbClr val="AEABAB"/>
              </a:solidFill>
            </c:spPr>
            <c:extLst>
              <c:ext xmlns:c16="http://schemas.microsoft.com/office/drawing/2014/chart" uri="{C3380CC4-5D6E-409C-BE32-E72D297353CC}">
                <c16:uniqueId val="{00000995-B861-4943-8ABB-0EFD67D9E823}"/>
              </c:ext>
            </c:extLst>
          </c:dPt>
          <c:dPt>
            <c:idx val="1226"/>
            <c:invertIfNegative val="1"/>
            <c:bubble3D val="0"/>
            <c:spPr>
              <a:solidFill>
                <a:srgbClr val="AEABAB"/>
              </a:solidFill>
            </c:spPr>
            <c:extLst>
              <c:ext xmlns:c16="http://schemas.microsoft.com/office/drawing/2014/chart" uri="{C3380CC4-5D6E-409C-BE32-E72D297353CC}">
                <c16:uniqueId val="{00000997-B861-4943-8ABB-0EFD67D9E823}"/>
              </c:ext>
            </c:extLst>
          </c:dPt>
          <c:dPt>
            <c:idx val="1227"/>
            <c:invertIfNegative val="1"/>
            <c:bubble3D val="0"/>
            <c:spPr>
              <a:solidFill>
                <a:srgbClr val="AEABAB"/>
              </a:solidFill>
            </c:spPr>
            <c:extLst>
              <c:ext xmlns:c16="http://schemas.microsoft.com/office/drawing/2014/chart" uri="{C3380CC4-5D6E-409C-BE32-E72D297353CC}">
                <c16:uniqueId val="{00000999-B861-4943-8ABB-0EFD67D9E823}"/>
              </c:ext>
            </c:extLst>
          </c:dPt>
          <c:dPt>
            <c:idx val="1228"/>
            <c:invertIfNegative val="1"/>
            <c:bubble3D val="0"/>
            <c:spPr>
              <a:solidFill>
                <a:srgbClr val="AEABAB"/>
              </a:solidFill>
            </c:spPr>
            <c:extLst>
              <c:ext xmlns:c16="http://schemas.microsoft.com/office/drawing/2014/chart" uri="{C3380CC4-5D6E-409C-BE32-E72D297353CC}">
                <c16:uniqueId val="{0000099B-B861-4943-8ABB-0EFD67D9E823}"/>
              </c:ext>
            </c:extLst>
          </c:dPt>
          <c:dPt>
            <c:idx val="1229"/>
            <c:invertIfNegative val="1"/>
            <c:bubble3D val="0"/>
            <c:spPr>
              <a:solidFill>
                <a:srgbClr val="AEABAB"/>
              </a:solidFill>
            </c:spPr>
            <c:extLst>
              <c:ext xmlns:c16="http://schemas.microsoft.com/office/drawing/2014/chart" uri="{C3380CC4-5D6E-409C-BE32-E72D297353CC}">
                <c16:uniqueId val="{0000099D-B861-4943-8ABB-0EFD67D9E823}"/>
              </c:ext>
            </c:extLst>
          </c:dPt>
          <c:dPt>
            <c:idx val="1230"/>
            <c:invertIfNegative val="1"/>
            <c:bubble3D val="0"/>
            <c:spPr>
              <a:solidFill>
                <a:srgbClr val="AEABAB"/>
              </a:solidFill>
            </c:spPr>
            <c:extLst>
              <c:ext xmlns:c16="http://schemas.microsoft.com/office/drawing/2014/chart" uri="{C3380CC4-5D6E-409C-BE32-E72D297353CC}">
                <c16:uniqueId val="{0000099F-B861-4943-8ABB-0EFD67D9E823}"/>
              </c:ext>
            </c:extLst>
          </c:dPt>
          <c:dPt>
            <c:idx val="1231"/>
            <c:invertIfNegative val="1"/>
            <c:bubble3D val="0"/>
            <c:spPr>
              <a:solidFill>
                <a:srgbClr val="AEABAB"/>
              </a:solidFill>
            </c:spPr>
            <c:extLst>
              <c:ext xmlns:c16="http://schemas.microsoft.com/office/drawing/2014/chart" uri="{C3380CC4-5D6E-409C-BE32-E72D297353CC}">
                <c16:uniqueId val="{000009A1-B861-4943-8ABB-0EFD67D9E823}"/>
              </c:ext>
            </c:extLst>
          </c:dPt>
          <c:dPt>
            <c:idx val="1232"/>
            <c:invertIfNegative val="1"/>
            <c:bubble3D val="0"/>
            <c:spPr>
              <a:solidFill>
                <a:srgbClr val="AEABAB"/>
              </a:solidFill>
            </c:spPr>
            <c:extLst>
              <c:ext xmlns:c16="http://schemas.microsoft.com/office/drawing/2014/chart" uri="{C3380CC4-5D6E-409C-BE32-E72D297353CC}">
                <c16:uniqueId val="{000009A3-B861-4943-8ABB-0EFD67D9E823}"/>
              </c:ext>
            </c:extLst>
          </c:dPt>
          <c:dPt>
            <c:idx val="1233"/>
            <c:invertIfNegative val="1"/>
            <c:bubble3D val="0"/>
            <c:spPr>
              <a:solidFill>
                <a:srgbClr val="AEABAB"/>
              </a:solidFill>
            </c:spPr>
            <c:extLst>
              <c:ext xmlns:c16="http://schemas.microsoft.com/office/drawing/2014/chart" uri="{C3380CC4-5D6E-409C-BE32-E72D297353CC}">
                <c16:uniqueId val="{000009A5-B861-4943-8ABB-0EFD67D9E823}"/>
              </c:ext>
            </c:extLst>
          </c:dPt>
          <c:dPt>
            <c:idx val="1234"/>
            <c:invertIfNegative val="1"/>
            <c:bubble3D val="0"/>
            <c:spPr>
              <a:solidFill>
                <a:srgbClr val="AEABAB"/>
              </a:solidFill>
            </c:spPr>
            <c:extLst>
              <c:ext xmlns:c16="http://schemas.microsoft.com/office/drawing/2014/chart" uri="{C3380CC4-5D6E-409C-BE32-E72D297353CC}">
                <c16:uniqueId val="{000009A7-B861-4943-8ABB-0EFD67D9E823}"/>
              </c:ext>
            </c:extLst>
          </c:dPt>
          <c:dPt>
            <c:idx val="1235"/>
            <c:invertIfNegative val="1"/>
            <c:bubble3D val="0"/>
            <c:spPr>
              <a:solidFill>
                <a:srgbClr val="AEABAB"/>
              </a:solidFill>
            </c:spPr>
            <c:extLst>
              <c:ext xmlns:c16="http://schemas.microsoft.com/office/drawing/2014/chart" uri="{C3380CC4-5D6E-409C-BE32-E72D297353CC}">
                <c16:uniqueId val="{000009A9-B861-4943-8ABB-0EFD67D9E823}"/>
              </c:ext>
            </c:extLst>
          </c:dPt>
          <c:dPt>
            <c:idx val="1236"/>
            <c:invertIfNegative val="1"/>
            <c:bubble3D val="0"/>
            <c:spPr>
              <a:solidFill>
                <a:srgbClr val="AEABAB"/>
              </a:solidFill>
            </c:spPr>
            <c:extLst>
              <c:ext xmlns:c16="http://schemas.microsoft.com/office/drawing/2014/chart" uri="{C3380CC4-5D6E-409C-BE32-E72D297353CC}">
                <c16:uniqueId val="{000009AB-B861-4943-8ABB-0EFD67D9E823}"/>
              </c:ext>
            </c:extLst>
          </c:dPt>
          <c:dPt>
            <c:idx val="1237"/>
            <c:invertIfNegative val="1"/>
            <c:bubble3D val="0"/>
            <c:spPr>
              <a:solidFill>
                <a:srgbClr val="AEABAB"/>
              </a:solidFill>
            </c:spPr>
            <c:extLst>
              <c:ext xmlns:c16="http://schemas.microsoft.com/office/drawing/2014/chart" uri="{C3380CC4-5D6E-409C-BE32-E72D297353CC}">
                <c16:uniqueId val="{000009AD-B861-4943-8ABB-0EFD67D9E823}"/>
              </c:ext>
            </c:extLst>
          </c:dPt>
          <c:dPt>
            <c:idx val="1238"/>
            <c:invertIfNegative val="1"/>
            <c:bubble3D val="0"/>
            <c:spPr>
              <a:solidFill>
                <a:srgbClr val="AEABAB"/>
              </a:solidFill>
            </c:spPr>
            <c:extLst>
              <c:ext xmlns:c16="http://schemas.microsoft.com/office/drawing/2014/chart" uri="{C3380CC4-5D6E-409C-BE32-E72D297353CC}">
                <c16:uniqueId val="{000009AF-B861-4943-8ABB-0EFD67D9E823}"/>
              </c:ext>
            </c:extLst>
          </c:dPt>
          <c:dPt>
            <c:idx val="1239"/>
            <c:invertIfNegative val="1"/>
            <c:bubble3D val="0"/>
            <c:spPr>
              <a:solidFill>
                <a:srgbClr val="AEABAB"/>
              </a:solidFill>
            </c:spPr>
            <c:extLst>
              <c:ext xmlns:c16="http://schemas.microsoft.com/office/drawing/2014/chart" uri="{C3380CC4-5D6E-409C-BE32-E72D297353CC}">
                <c16:uniqueId val="{000009B1-B861-4943-8ABB-0EFD67D9E823}"/>
              </c:ext>
            </c:extLst>
          </c:dPt>
          <c:dPt>
            <c:idx val="1240"/>
            <c:invertIfNegative val="1"/>
            <c:bubble3D val="0"/>
            <c:spPr>
              <a:solidFill>
                <a:srgbClr val="AEABAB"/>
              </a:solidFill>
            </c:spPr>
            <c:extLst>
              <c:ext xmlns:c16="http://schemas.microsoft.com/office/drawing/2014/chart" uri="{C3380CC4-5D6E-409C-BE32-E72D297353CC}">
                <c16:uniqueId val="{000009B3-B861-4943-8ABB-0EFD67D9E823}"/>
              </c:ext>
            </c:extLst>
          </c:dPt>
          <c:dPt>
            <c:idx val="1241"/>
            <c:invertIfNegative val="1"/>
            <c:bubble3D val="0"/>
            <c:spPr>
              <a:solidFill>
                <a:srgbClr val="AEABAB"/>
              </a:solidFill>
            </c:spPr>
            <c:extLst>
              <c:ext xmlns:c16="http://schemas.microsoft.com/office/drawing/2014/chart" uri="{C3380CC4-5D6E-409C-BE32-E72D297353CC}">
                <c16:uniqueId val="{000009B5-B861-4943-8ABB-0EFD67D9E823}"/>
              </c:ext>
            </c:extLst>
          </c:dPt>
          <c:dPt>
            <c:idx val="1242"/>
            <c:invertIfNegative val="1"/>
            <c:bubble3D val="0"/>
            <c:spPr>
              <a:solidFill>
                <a:srgbClr val="AEABAB"/>
              </a:solidFill>
            </c:spPr>
            <c:extLst>
              <c:ext xmlns:c16="http://schemas.microsoft.com/office/drawing/2014/chart" uri="{C3380CC4-5D6E-409C-BE32-E72D297353CC}">
                <c16:uniqueId val="{000009B7-B861-4943-8ABB-0EFD67D9E823}"/>
              </c:ext>
            </c:extLst>
          </c:dPt>
          <c:dPt>
            <c:idx val="1243"/>
            <c:invertIfNegative val="1"/>
            <c:bubble3D val="0"/>
            <c:spPr>
              <a:solidFill>
                <a:srgbClr val="AEABAB"/>
              </a:solidFill>
            </c:spPr>
            <c:extLst>
              <c:ext xmlns:c16="http://schemas.microsoft.com/office/drawing/2014/chart" uri="{C3380CC4-5D6E-409C-BE32-E72D297353CC}">
                <c16:uniqueId val="{000009B9-B861-4943-8ABB-0EFD67D9E823}"/>
              </c:ext>
            </c:extLst>
          </c:dPt>
          <c:dPt>
            <c:idx val="1244"/>
            <c:invertIfNegative val="1"/>
            <c:bubble3D val="0"/>
            <c:spPr>
              <a:solidFill>
                <a:srgbClr val="AEABAB"/>
              </a:solidFill>
            </c:spPr>
            <c:extLst>
              <c:ext xmlns:c16="http://schemas.microsoft.com/office/drawing/2014/chart" uri="{C3380CC4-5D6E-409C-BE32-E72D297353CC}">
                <c16:uniqueId val="{000009BB-B861-4943-8ABB-0EFD67D9E823}"/>
              </c:ext>
            </c:extLst>
          </c:dPt>
          <c:dPt>
            <c:idx val="1245"/>
            <c:invertIfNegative val="1"/>
            <c:bubble3D val="0"/>
            <c:spPr>
              <a:solidFill>
                <a:srgbClr val="AEABAB"/>
              </a:solidFill>
            </c:spPr>
            <c:extLst>
              <c:ext xmlns:c16="http://schemas.microsoft.com/office/drawing/2014/chart" uri="{C3380CC4-5D6E-409C-BE32-E72D297353CC}">
                <c16:uniqueId val="{000009BD-B861-4943-8ABB-0EFD67D9E823}"/>
              </c:ext>
            </c:extLst>
          </c:dPt>
          <c:dPt>
            <c:idx val="1246"/>
            <c:invertIfNegative val="1"/>
            <c:bubble3D val="0"/>
            <c:spPr>
              <a:solidFill>
                <a:srgbClr val="AEABAB"/>
              </a:solidFill>
            </c:spPr>
            <c:extLst>
              <c:ext xmlns:c16="http://schemas.microsoft.com/office/drawing/2014/chart" uri="{C3380CC4-5D6E-409C-BE32-E72D297353CC}">
                <c16:uniqueId val="{000009BF-B861-4943-8ABB-0EFD67D9E823}"/>
              </c:ext>
            </c:extLst>
          </c:dPt>
          <c:dPt>
            <c:idx val="1247"/>
            <c:invertIfNegative val="1"/>
            <c:bubble3D val="0"/>
            <c:spPr>
              <a:solidFill>
                <a:srgbClr val="AEABAB"/>
              </a:solidFill>
            </c:spPr>
            <c:extLst>
              <c:ext xmlns:c16="http://schemas.microsoft.com/office/drawing/2014/chart" uri="{C3380CC4-5D6E-409C-BE32-E72D297353CC}">
                <c16:uniqueId val="{000009C1-B861-4943-8ABB-0EFD67D9E823}"/>
              </c:ext>
            </c:extLst>
          </c:dPt>
          <c:dPt>
            <c:idx val="1248"/>
            <c:invertIfNegative val="1"/>
            <c:bubble3D val="0"/>
            <c:spPr>
              <a:solidFill>
                <a:srgbClr val="AEABAB"/>
              </a:solidFill>
            </c:spPr>
            <c:extLst>
              <c:ext xmlns:c16="http://schemas.microsoft.com/office/drawing/2014/chart" uri="{C3380CC4-5D6E-409C-BE32-E72D297353CC}">
                <c16:uniqueId val="{000009C3-B861-4943-8ABB-0EFD67D9E823}"/>
              </c:ext>
            </c:extLst>
          </c:dPt>
          <c:dPt>
            <c:idx val="1249"/>
            <c:invertIfNegative val="1"/>
            <c:bubble3D val="0"/>
            <c:spPr>
              <a:solidFill>
                <a:srgbClr val="AEABAB"/>
              </a:solidFill>
            </c:spPr>
            <c:extLst>
              <c:ext xmlns:c16="http://schemas.microsoft.com/office/drawing/2014/chart" uri="{C3380CC4-5D6E-409C-BE32-E72D297353CC}">
                <c16:uniqueId val="{000009C5-B861-4943-8ABB-0EFD67D9E823}"/>
              </c:ext>
            </c:extLst>
          </c:dPt>
          <c:dPt>
            <c:idx val="1250"/>
            <c:invertIfNegative val="1"/>
            <c:bubble3D val="0"/>
            <c:spPr>
              <a:solidFill>
                <a:srgbClr val="AEABAB"/>
              </a:solidFill>
            </c:spPr>
            <c:extLst>
              <c:ext xmlns:c16="http://schemas.microsoft.com/office/drawing/2014/chart" uri="{C3380CC4-5D6E-409C-BE32-E72D297353CC}">
                <c16:uniqueId val="{000009C7-B861-4943-8ABB-0EFD67D9E823}"/>
              </c:ext>
            </c:extLst>
          </c:dPt>
          <c:dPt>
            <c:idx val="1251"/>
            <c:invertIfNegative val="1"/>
            <c:bubble3D val="0"/>
            <c:spPr>
              <a:solidFill>
                <a:srgbClr val="AEABAB"/>
              </a:solidFill>
            </c:spPr>
            <c:extLst>
              <c:ext xmlns:c16="http://schemas.microsoft.com/office/drawing/2014/chart" uri="{C3380CC4-5D6E-409C-BE32-E72D297353CC}">
                <c16:uniqueId val="{000009C9-B861-4943-8ABB-0EFD67D9E823}"/>
              </c:ext>
            </c:extLst>
          </c:dPt>
          <c:dPt>
            <c:idx val="1252"/>
            <c:invertIfNegative val="1"/>
            <c:bubble3D val="0"/>
            <c:spPr>
              <a:solidFill>
                <a:srgbClr val="AEABAB"/>
              </a:solidFill>
            </c:spPr>
            <c:extLst>
              <c:ext xmlns:c16="http://schemas.microsoft.com/office/drawing/2014/chart" uri="{C3380CC4-5D6E-409C-BE32-E72D297353CC}">
                <c16:uniqueId val="{000009CB-B861-4943-8ABB-0EFD67D9E823}"/>
              </c:ext>
            </c:extLst>
          </c:dPt>
          <c:dPt>
            <c:idx val="1253"/>
            <c:invertIfNegative val="1"/>
            <c:bubble3D val="0"/>
            <c:spPr>
              <a:solidFill>
                <a:srgbClr val="AEABAB"/>
              </a:solidFill>
            </c:spPr>
            <c:extLst>
              <c:ext xmlns:c16="http://schemas.microsoft.com/office/drawing/2014/chart" uri="{C3380CC4-5D6E-409C-BE32-E72D297353CC}">
                <c16:uniqueId val="{000009CD-B861-4943-8ABB-0EFD67D9E823}"/>
              </c:ext>
            </c:extLst>
          </c:dPt>
          <c:dPt>
            <c:idx val="1254"/>
            <c:invertIfNegative val="1"/>
            <c:bubble3D val="0"/>
            <c:spPr>
              <a:solidFill>
                <a:srgbClr val="AEABAB"/>
              </a:solidFill>
            </c:spPr>
            <c:extLst>
              <c:ext xmlns:c16="http://schemas.microsoft.com/office/drawing/2014/chart" uri="{C3380CC4-5D6E-409C-BE32-E72D297353CC}">
                <c16:uniqueId val="{000009CF-B861-4943-8ABB-0EFD67D9E823}"/>
              </c:ext>
            </c:extLst>
          </c:dPt>
          <c:dPt>
            <c:idx val="1255"/>
            <c:invertIfNegative val="1"/>
            <c:bubble3D val="0"/>
            <c:spPr>
              <a:solidFill>
                <a:srgbClr val="AEABAB"/>
              </a:solidFill>
            </c:spPr>
            <c:extLst>
              <c:ext xmlns:c16="http://schemas.microsoft.com/office/drawing/2014/chart" uri="{C3380CC4-5D6E-409C-BE32-E72D297353CC}">
                <c16:uniqueId val="{000009D1-B861-4943-8ABB-0EFD67D9E823}"/>
              </c:ext>
            </c:extLst>
          </c:dPt>
          <c:dPt>
            <c:idx val="1256"/>
            <c:invertIfNegative val="1"/>
            <c:bubble3D val="0"/>
            <c:spPr>
              <a:solidFill>
                <a:srgbClr val="AEABAB"/>
              </a:solidFill>
            </c:spPr>
            <c:extLst>
              <c:ext xmlns:c16="http://schemas.microsoft.com/office/drawing/2014/chart" uri="{C3380CC4-5D6E-409C-BE32-E72D297353CC}">
                <c16:uniqueId val="{000009D3-B861-4943-8ABB-0EFD67D9E823}"/>
              </c:ext>
            </c:extLst>
          </c:dPt>
          <c:dPt>
            <c:idx val="1257"/>
            <c:invertIfNegative val="1"/>
            <c:bubble3D val="0"/>
            <c:spPr>
              <a:solidFill>
                <a:srgbClr val="AEABAB"/>
              </a:solidFill>
            </c:spPr>
            <c:extLst>
              <c:ext xmlns:c16="http://schemas.microsoft.com/office/drawing/2014/chart" uri="{C3380CC4-5D6E-409C-BE32-E72D297353CC}">
                <c16:uniqueId val="{000009D5-B861-4943-8ABB-0EFD67D9E823}"/>
              </c:ext>
            </c:extLst>
          </c:dPt>
          <c:dPt>
            <c:idx val="1258"/>
            <c:invertIfNegative val="1"/>
            <c:bubble3D val="0"/>
            <c:spPr>
              <a:solidFill>
                <a:srgbClr val="AEABAB"/>
              </a:solidFill>
            </c:spPr>
            <c:extLst>
              <c:ext xmlns:c16="http://schemas.microsoft.com/office/drawing/2014/chart" uri="{C3380CC4-5D6E-409C-BE32-E72D297353CC}">
                <c16:uniqueId val="{000009D7-B861-4943-8ABB-0EFD67D9E823}"/>
              </c:ext>
            </c:extLst>
          </c:dPt>
          <c:dPt>
            <c:idx val="1259"/>
            <c:invertIfNegative val="1"/>
            <c:bubble3D val="0"/>
            <c:spPr>
              <a:solidFill>
                <a:srgbClr val="AEABAB"/>
              </a:solidFill>
            </c:spPr>
            <c:extLst>
              <c:ext xmlns:c16="http://schemas.microsoft.com/office/drawing/2014/chart" uri="{C3380CC4-5D6E-409C-BE32-E72D297353CC}">
                <c16:uniqueId val="{000009D9-B861-4943-8ABB-0EFD67D9E823}"/>
              </c:ext>
            </c:extLst>
          </c:dPt>
          <c:dPt>
            <c:idx val="1260"/>
            <c:invertIfNegative val="1"/>
            <c:bubble3D val="0"/>
            <c:spPr>
              <a:solidFill>
                <a:srgbClr val="AEABAB"/>
              </a:solidFill>
            </c:spPr>
            <c:extLst>
              <c:ext xmlns:c16="http://schemas.microsoft.com/office/drawing/2014/chart" uri="{C3380CC4-5D6E-409C-BE32-E72D297353CC}">
                <c16:uniqueId val="{000009DB-B861-4943-8ABB-0EFD67D9E823}"/>
              </c:ext>
            </c:extLst>
          </c:dPt>
          <c:dPt>
            <c:idx val="1261"/>
            <c:invertIfNegative val="1"/>
            <c:bubble3D val="0"/>
            <c:spPr>
              <a:solidFill>
                <a:srgbClr val="AEABAB"/>
              </a:solidFill>
            </c:spPr>
            <c:extLst>
              <c:ext xmlns:c16="http://schemas.microsoft.com/office/drawing/2014/chart" uri="{C3380CC4-5D6E-409C-BE32-E72D297353CC}">
                <c16:uniqueId val="{000009DD-B861-4943-8ABB-0EFD67D9E823}"/>
              </c:ext>
            </c:extLst>
          </c:dPt>
          <c:dPt>
            <c:idx val="1262"/>
            <c:invertIfNegative val="1"/>
            <c:bubble3D val="0"/>
            <c:spPr>
              <a:solidFill>
                <a:srgbClr val="AEABAB"/>
              </a:solidFill>
            </c:spPr>
            <c:extLst>
              <c:ext xmlns:c16="http://schemas.microsoft.com/office/drawing/2014/chart" uri="{C3380CC4-5D6E-409C-BE32-E72D297353CC}">
                <c16:uniqueId val="{000009DF-B861-4943-8ABB-0EFD67D9E823}"/>
              </c:ext>
            </c:extLst>
          </c:dPt>
          <c:dPt>
            <c:idx val="1263"/>
            <c:invertIfNegative val="1"/>
            <c:bubble3D val="0"/>
            <c:spPr>
              <a:solidFill>
                <a:srgbClr val="AEABAB"/>
              </a:solidFill>
            </c:spPr>
            <c:extLst>
              <c:ext xmlns:c16="http://schemas.microsoft.com/office/drawing/2014/chart" uri="{C3380CC4-5D6E-409C-BE32-E72D297353CC}">
                <c16:uniqueId val="{000009E1-B861-4943-8ABB-0EFD67D9E823}"/>
              </c:ext>
            </c:extLst>
          </c:dPt>
          <c:dPt>
            <c:idx val="1264"/>
            <c:invertIfNegative val="1"/>
            <c:bubble3D val="0"/>
            <c:spPr>
              <a:solidFill>
                <a:srgbClr val="AEABAB"/>
              </a:solidFill>
            </c:spPr>
            <c:extLst>
              <c:ext xmlns:c16="http://schemas.microsoft.com/office/drawing/2014/chart" uri="{C3380CC4-5D6E-409C-BE32-E72D297353CC}">
                <c16:uniqueId val="{000009E3-B861-4943-8ABB-0EFD67D9E823}"/>
              </c:ext>
            </c:extLst>
          </c:dPt>
          <c:dPt>
            <c:idx val="1265"/>
            <c:invertIfNegative val="1"/>
            <c:bubble3D val="0"/>
            <c:spPr>
              <a:solidFill>
                <a:srgbClr val="AEABAB"/>
              </a:solidFill>
            </c:spPr>
            <c:extLst>
              <c:ext xmlns:c16="http://schemas.microsoft.com/office/drawing/2014/chart" uri="{C3380CC4-5D6E-409C-BE32-E72D297353CC}">
                <c16:uniqueId val="{000009E5-B861-4943-8ABB-0EFD67D9E823}"/>
              </c:ext>
            </c:extLst>
          </c:dPt>
          <c:dPt>
            <c:idx val="1266"/>
            <c:invertIfNegative val="1"/>
            <c:bubble3D val="0"/>
            <c:spPr>
              <a:solidFill>
                <a:srgbClr val="AEABAB"/>
              </a:solidFill>
            </c:spPr>
            <c:extLst>
              <c:ext xmlns:c16="http://schemas.microsoft.com/office/drawing/2014/chart" uri="{C3380CC4-5D6E-409C-BE32-E72D297353CC}">
                <c16:uniqueId val="{000009E7-B861-4943-8ABB-0EFD67D9E823}"/>
              </c:ext>
            </c:extLst>
          </c:dPt>
          <c:dPt>
            <c:idx val="1267"/>
            <c:invertIfNegative val="1"/>
            <c:bubble3D val="0"/>
            <c:spPr>
              <a:solidFill>
                <a:srgbClr val="AEABAB"/>
              </a:solidFill>
            </c:spPr>
            <c:extLst>
              <c:ext xmlns:c16="http://schemas.microsoft.com/office/drawing/2014/chart" uri="{C3380CC4-5D6E-409C-BE32-E72D297353CC}">
                <c16:uniqueId val="{000009E9-B861-4943-8ABB-0EFD67D9E823}"/>
              </c:ext>
            </c:extLst>
          </c:dPt>
          <c:dPt>
            <c:idx val="1268"/>
            <c:invertIfNegative val="1"/>
            <c:bubble3D val="0"/>
            <c:spPr>
              <a:solidFill>
                <a:srgbClr val="AEABAB"/>
              </a:solidFill>
            </c:spPr>
            <c:extLst>
              <c:ext xmlns:c16="http://schemas.microsoft.com/office/drawing/2014/chart" uri="{C3380CC4-5D6E-409C-BE32-E72D297353CC}">
                <c16:uniqueId val="{000009EB-B861-4943-8ABB-0EFD67D9E823}"/>
              </c:ext>
            </c:extLst>
          </c:dPt>
          <c:dPt>
            <c:idx val="1269"/>
            <c:invertIfNegative val="1"/>
            <c:bubble3D val="0"/>
            <c:spPr>
              <a:solidFill>
                <a:srgbClr val="AEABAB"/>
              </a:solidFill>
            </c:spPr>
            <c:extLst>
              <c:ext xmlns:c16="http://schemas.microsoft.com/office/drawing/2014/chart" uri="{C3380CC4-5D6E-409C-BE32-E72D297353CC}">
                <c16:uniqueId val="{000009ED-B861-4943-8ABB-0EFD67D9E823}"/>
              </c:ext>
            </c:extLst>
          </c:dPt>
          <c:dPt>
            <c:idx val="1270"/>
            <c:invertIfNegative val="1"/>
            <c:bubble3D val="0"/>
            <c:spPr>
              <a:solidFill>
                <a:srgbClr val="AEABAB"/>
              </a:solidFill>
            </c:spPr>
            <c:extLst>
              <c:ext xmlns:c16="http://schemas.microsoft.com/office/drawing/2014/chart" uri="{C3380CC4-5D6E-409C-BE32-E72D297353CC}">
                <c16:uniqueId val="{000009EF-B861-4943-8ABB-0EFD67D9E823}"/>
              </c:ext>
            </c:extLst>
          </c:dPt>
          <c:dPt>
            <c:idx val="1271"/>
            <c:invertIfNegative val="1"/>
            <c:bubble3D val="0"/>
            <c:spPr>
              <a:solidFill>
                <a:srgbClr val="AEABAB"/>
              </a:solidFill>
            </c:spPr>
            <c:extLst>
              <c:ext xmlns:c16="http://schemas.microsoft.com/office/drawing/2014/chart" uri="{C3380CC4-5D6E-409C-BE32-E72D297353CC}">
                <c16:uniqueId val="{000009F1-B861-4943-8ABB-0EFD67D9E823}"/>
              </c:ext>
            </c:extLst>
          </c:dPt>
          <c:dPt>
            <c:idx val="1272"/>
            <c:invertIfNegative val="1"/>
            <c:bubble3D val="0"/>
            <c:spPr>
              <a:solidFill>
                <a:srgbClr val="AEABAB"/>
              </a:solidFill>
            </c:spPr>
            <c:extLst>
              <c:ext xmlns:c16="http://schemas.microsoft.com/office/drawing/2014/chart" uri="{C3380CC4-5D6E-409C-BE32-E72D297353CC}">
                <c16:uniqueId val="{000009F3-B861-4943-8ABB-0EFD67D9E823}"/>
              </c:ext>
            </c:extLst>
          </c:dPt>
          <c:dPt>
            <c:idx val="1273"/>
            <c:invertIfNegative val="1"/>
            <c:bubble3D val="0"/>
            <c:spPr>
              <a:solidFill>
                <a:srgbClr val="AEABAB"/>
              </a:solidFill>
            </c:spPr>
            <c:extLst>
              <c:ext xmlns:c16="http://schemas.microsoft.com/office/drawing/2014/chart" uri="{C3380CC4-5D6E-409C-BE32-E72D297353CC}">
                <c16:uniqueId val="{000009F5-B861-4943-8ABB-0EFD67D9E823}"/>
              </c:ext>
            </c:extLst>
          </c:dPt>
          <c:dPt>
            <c:idx val="1274"/>
            <c:invertIfNegative val="1"/>
            <c:bubble3D val="0"/>
            <c:spPr>
              <a:solidFill>
                <a:srgbClr val="AEABAB"/>
              </a:solidFill>
            </c:spPr>
            <c:extLst>
              <c:ext xmlns:c16="http://schemas.microsoft.com/office/drawing/2014/chart" uri="{C3380CC4-5D6E-409C-BE32-E72D297353CC}">
                <c16:uniqueId val="{000009F7-B861-4943-8ABB-0EFD67D9E823}"/>
              </c:ext>
            </c:extLst>
          </c:dPt>
          <c:dPt>
            <c:idx val="1275"/>
            <c:invertIfNegative val="1"/>
            <c:bubble3D val="0"/>
            <c:spPr>
              <a:solidFill>
                <a:srgbClr val="AEABAB"/>
              </a:solidFill>
            </c:spPr>
            <c:extLst>
              <c:ext xmlns:c16="http://schemas.microsoft.com/office/drawing/2014/chart" uri="{C3380CC4-5D6E-409C-BE32-E72D297353CC}">
                <c16:uniqueId val="{000009F9-B861-4943-8ABB-0EFD67D9E823}"/>
              </c:ext>
            </c:extLst>
          </c:dPt>
          <c:dPt>
            <c:idx val="1276"/>
            <c:invertIfNegative val="1"/>
            <c:bubble3D val="0"/>
            <c:spPr>
              <a:solidFill>
                <a:srgbClr val="AEABAB"/>
              </a:solidFill>
            </c:spPr>
            <c:extLst>
              <c:ext xmlns:c16="http://schemas.microsoft.com/office/drawing/2014/chart" uri="{C3380CC4-5D6E-409C-BE32-E72D297353CC}">
                <c16:uniqueId val="{000009FB-B861-4943-8ABB-0EFD67D9E823}"/>
              </c:ext>
            </c:extLst>
          </c:dPt>
          <c:dPt>
            <c:idx val="1277"/>
            <c:invertIfNegative val="1"/>
            <c:bubble3D val="0"/>
            <c:spPr>
              <a:solidFill>
                <a:srgbClr val="AEABAB"/>
              </a:solidFill>
            </c:spPr>
            <c:extLst>
              <c:ext xmlns:c16="http://schemas.microsoft.com/office/drawing/2014/chart" uri="{C3380CC4-5D6E-409C-BE32-E72D297353CC}">
                <c16:uniqueId val="{000009FD-B861-4943-8ABB-0EFD67D9E823}"/>
              </c:ext>
            </c:extLst>
          </c:dPt>
          <c:dPt>
            <c:idx val="1278"/>
            <c:invertIfNegative val="1"/>
            <c:bubble3D val="0"/>
            <c:spPr>
              <a:solidFill>
                <a:srgbClr val="AEABAB"/>
              </a:solidFill>
            </c:spPr>
            <c:extLst>
              <c:ext xmlns:c16="http://schemas.microsoft.com/office/drawing/2014/chart" uri="{C3380CC4-5D6E-409C-BE32-E72D297353CC}">
                <c16:uniqueId val="{000009FF-B861-4943-8ABB-0EFD67D9E823}"/>
              </c:ext>
            </c:extLst>
          </c:dPt>
          <c:dPt>
            <c:idx val="1279"/>
            <c:invertIfNegative val="1"/>
            <c:bubble3D val="0"/>
            <c:spPr>
              <a:solidFill>
                <a:srgbClr val="AEABAB"/>
              </a:solidFill>
            </c:spPr>
            <c:extLst>
              <c:ext xmlns:c16="http://schemas.microsoft.com/office/drawing/2014/chart" uri="{C3380CC4-5D6E-409C-BE32-E72D297353CC}">
                <c16:uniqueId val="{00000A01-B861-4943-8ABB-0EFD67D9E823}"/>
              </c:ext>
            </c:extLst>
          </c:dPt>
          <c:dPt>
            <c:idx val="1280"/>
            <c:invertIfNegative val="1"/>
            <c:bubble3D val="0"/>
            <c:spPr>
              <a:solidFill>
                <a:srgbClr val="AEABAB"/>
              </a:solidFill>
            </c:spPr>
            <c:extLst>
              <c:ext xmlns:c16="http://schemas.microsoft.com/office/drawing/2014/chart" uri="{C3380CC4-5D6E-409C-BE32-E72D297353CC}">
                <c16:uniqueId val="{00000A03-B861-4943-8ABB-0EFD67D9E823}"/>
              </c:ext>
            </c:extLst>
          </c:dPt>
          <c:dPt>
            <c:idx val="1281"/>
            <c:invertIfNegative val="1"/>
            <c:bubble3D val="0"/>
            <c:spPr>
              <a:solidFill>
                <a:srgbClr val="AEABAB"/>
              </a:solidFill>
            </c:spPr>
            <c:extLst>
              <c:ext xmlns:c16="http://schemas.microsoft.com/office/drawing/2014/chart" uri="{C3380CC4-5D6E-409C-BE32-E72D297353CC}">
                <c16:uniqueId val="{00000A05-B861-4943-8ABB-0EFD67D9E823}"/>
              </c:ext>
            </c:extLst>
          </c:dPt>
          <c:dPt>
            <c:idx val="1282"/>
            <c:invertIfNegative val="1"/>
            <c:bubble3D val="0"/>
            <c:spPr>
              <a:solidFill>
                <a:srgbClr val="AEABAB"/>
              </a:solidFill>
            </c:spPr>
            <c:extLst>
              <c:ext xmlns:c16="http://schemas.microsoft.com/office/drawing/2014/chart" uri="{C3380CC4-5D6E-409C-BE32-E72D297353CC}">
                <c16:uniqueId val="{00000A07-B861-4943-8ABB-0EFD67D9E823}"/>
              </c:ext>
            </c:extLst>
          </c:dPt>
          <c:dPt>
            <c:idx val="1283"/>
            <c:invertIfNegative val="1"/>
            <c:bubble3D val="0"/>
            <c:spPr>
              <a:solidFill>
                <a:srgbClr val="AEABAB"/>
              </a:solidFill>
            </c:spPr>
            <c:extLst>
              <c:ext xmlns:c16="http://schemas.microsoft.com/office/drawing/2014/chart" uri="{C3380CC4-5D6E-409C-BE32-E72D297353CC}">
                <c16:uniqueId val="{00000A09-B861-4943-8ABB-0EFD67D9E823}"/>
              </c:ext>
            </c:extLst>
          </c:dPt>
          <c:dPt>
            <c:idx val="1284"/>
            <c:invertIfNegative val="1"/>
            <c:bubble3D val="0"/>
            <c:spPr>
              <a:solidFill>
                <a:srgbClr val="AEABAB"/>
              </a:solidFill>
            </c:spPr>
            <c:extLst>
              <c:ext xmlns:c16="http://schemas.microsoft.com/office/drawing/2014/chart" uri="{C3380CC4-5D6E-409C-BE32-E72D297353CC}">
                <c16:uniqueId val="{00000A0B-B861-4943-8ABB-0EFD67D9E823}"/>
              </c:ext>
            </c:extLst>
          </c:dPt>
          <c:dPt>
            <c:idx val="1285"/>
            <c:invertIfNegative val="1"/>
            <c:bubble3D val="0"/>
            <c:spPr>
              <a:solidFill>
                <a:srgbClr val="AEABAB"/>
              </a:solidFill>
            </c:spPr>
            <c:extLst>
              <c:ext xmlns:c16="http://schemas.microsoft.com/office/drawing/2014/chart" uri="{C3380CC4-5D6E-409C-BE32-E72D297353CC}">
                <c16:uniqueId val="{00000A0D-B861-4943-8ABB-0EFD67D9E823}"/>
              </c:ext>
            </c:extLst>
          </c:dPt>
          <c:dPt>
            <c:idx val="1286"/>
            <c:invertIfNegative val="1"/>
            <c:bubble3D val="0"/>
            <c:spPr>
              <a:solidFill>
                <a:srgbClr val="AEABAB"/>
              </a:solidFill>
            </c:spPr>
            <c:extLst>
              <c:ext xmlns:c16="http://schemas.microsoft.com/office/drawing/2014/chart" uri="{C3380CC4-5D6E-409C-BE32-E72D297353CC}">
                <c16:uniqueId val="{00000A0F-B861-4943-8ABB-0EFD67D9E823}"/>
              </c:ext>
            </c:extLst>
          </c:dPt>
          <c:dPt>
            <c:idx val="1287"/>
            <c:invertIfNegative val="1"/>
            <c:bubble3D val="0"/>
            <c:spPr>
              <a:solidFill>
                <a:srgbClr val="AEABAB"/>
              </a:solidFill>
            </c:spPr>
            <c:extLst>
              <c:ext xmlns:c16="http://schemas.microsoft.com/office/drawing/2014/chart" uri="{C3380CC4-5D6E-409C-BE32-E72D297353CC}">
                <c16:uniqueId val="{00000A11-B861-4943-8ABB-0EFD67D9E823}"/>
              </c:ext>
            </c:extLst>
          </c:dPt>
          <c:dPt>
            <c:idx val="1288"/>
            <c:invertIfNegative val="1"/>
            <c:bubble3D val="0"/>
            <c:spPr>
              <a:solidFill>
                <a:srgbClr val="AEABAB"/>
              </a:solidFill>
            </c:spPr>
            <c:extLst>
              <c:ext xmlns:c16="http://schemas.microsoft.com/office/drawing/2014/chart" uri="{C3380CC4-5D6E-409C-BE32-E72D297353CC}">
                <c16:uniqueId val="{00000A13-B861-4943-8ABB-0EFD67D9E823}"/>
              </c:ext>
            </c:extLst>
          </c:dPt>
          <c:dPt>
            <c:idx val="1289"/>
            <c:invertIfNegative val="1"/>
            <c:bubble3D val="0"/>
            <c:spPr>
              <a:solidFill>
                <a:srgbClr val="AEABAB"/>
              </a:solidFill>
            </c:spPr>
            <c:extLst>
              <c:ext xmlns:c16="http://schemas.microsoft.com/office/drawing/2014/chart" uri="{C3380CC4-5D6E-409C-BE32-E72D297353CC}">
                <c16:uniqueId val="{00000A15-B861-4943-8ABB-0EFD67D9E823}"/>
              </c:ext>
            </c:extLst>
          </c:dPt>
          <c:dPt>
            <c:idx val="1290"/>
            <c:invertIfNegative val="1"/>
            <c:bubble3D val="0"/>
            <c:spPr>
              <a:solidFill>
                <a:srgbClr val="AEABAB"/>
              </a:solidFill>
            </c:spPr>
            <c:extLst>
              <c:ext xmlns:c16="http://schemas.microsoft.com/office/drawing/2014/chart" uri="{C3380CC4-5D6E-409C-BE32-E72D297353CC}">
                <c16:uniqueId val="{00000A17-B861-4943-8ABB-0EFD67D9E823}"/>
              </c:ext>
            </c:extLst>
          </c:dPt>
          <c:dPt>
            <c:idx val="1291"/>
            <c:invertIfNegative val="1"/>
            <c:bubble3D val="0"/>
            <c:spPr>
              <a:solidFill>
                <a:srgbClr val="AEABAB"/>
              </a:solidFill>
            </c:spPr>
            <c:extLst>
              <c:ext xmlns:c16="http://schemas.microsoft.com/office/drawing/2014/chart" uri="{C3380CC4-5D6E-409C-BE32-E72D297353CC}">
                <c16:uniqueId val="{00000A19-B861-4943-8ABB-0EFD67D9E823}"/>
              </c:ext>
            </c:extLst>
          </c:dPt>
          <c:dPt>
            <c:idx val="1292"/>
            <c:invertIfNegative val="1"/>
            <c:bubble3D val="0"/>
            <c:spPr>
              <a:solidFill>
                <a:srgbClr val="AEABAB"/>
              </a:solidFill>
            </c:spPr>
            <c:extLst>
              <c:ext xmlns:c16="http://schemas.microsoft.com/office/drawing/2014/chart" uri="{C3380CC4-5D6E-409C-BE32-E72D297353CC}">
                <c16:uniqueId val="{00000A1B-B861-4943-8ABB-0EFD67D9E823}"/>
              </c:ext>
            </c:extLst>
          </c:dPt>
          <c:dPt>
            <c:idx val="1293"/>
            <c:invertIfNegative val="1"/>
            <c:bubble3D val="0"/>
            <c:spPr>
              <a:solidFill>
                <a:srgbClr val="AEABAB"/>
              </a:solidFill>
            </c:spPr>
            <c:extLst>
              <c:ext xmlns:c16="http://schemas.microsoft.com/office/drawing/2014/chart" uri="{C3380CC4-5D6E-409C-BE32-E72D297353CC}">
                <c16:uniqueId val="{00000A1D-B861-4943-8ABB-0EFD67D9E823}"/>
              </c:ext>
            </c:extLst>
          </c:dPt>
          <c:dPt>
            <c:idx val="1294"/>
            <c:invertIfNegative val="1"/>
            <c:bubble3D val="0"/>
            <c:spPr>
              <a:solidFill>
                <a:srgbClr val="AEABAB"/>
              </a:solidFill>
            </c:spPr>
            <c:extLst>
              <c:ext xmlns:c16="http://schemas.microsoft.com/office/drawing/2014/chart" uri="{C3380CC4-5D6E-409C-BE32-E72D297353CC}">
                <c16:uniqueId val="{00000A1F-B861-4943-8ABB-0EFD67D9E823}"/>
              </c:ext>
            </c:extLst>
          </c:dPt>
          <c:dPt>
            <c:idx val="1295"/>
            <c:invertIfNegative val="1"/>
            <c:bubble3D val="0"/>
            <c:spPr>
              <a:solidFill>
                <a:srgbClr val="AEABAB"/>
              </a:solidFill>
            </c:spPr>
            <c:extLst>
              <c:ext xmlns:c16="http://schemas.microsoft.com/office/drawing/2014/chart" uri="{C3380CC4-5D6E-409C-BE32-E72D297353CC}">
                <c16:uniqueId val="{00000A21-B861-4943-8ABB-0EFD67D9E823}"/>
              </c:ext>
            </c:extLst>
          </c:dPt>
          <c:dPt>
            <c:idx val="1296"/>
            <c:invertIfNegative val="1"/>
            <c:bubble3D val="0"/>
            <c:spPr>
              <a:solidFill>
                <a:srgbClr val="AEABAB"/>
              </a:solidFill>
            </c:spPr>
            <c:extLst>
              <c:ext xmlns:c16="http://schemas.microsoft.com/office/drawing/2014/chart" uri="{C3380CC4-5D6E-409C-BE32-E72D297353CC}">
                <c16:uniqueId val="{00000A23-B861-4943-8ABB-0EFD67D9E823}"/>
              </c:ext>
            </c:extLst>
          </c:dPt>
          <c:dPt>
            <c:idx val="1297"/>
            <c:invertIfNegative val="1"/>
            <c:bubble3D val="0"/>
            <c:spPr>
              <a:solidFill>
                <a:srgbClr val="AEABAB"/>
              </a:solidFill>
            </c:spPr>
            <c:extLst>
              <c:ext xmlns:c16="http://schemas.microsoft.com/office/drawing/2014/chart" uri="{C3380CC4-5D6E-409C-BE32-E72D297353CC}">
                <c16:uniqueId val="{00000A25-B861-4943-8ABB-0EFD67D9E823}"/>
              </c:ext>
            </c:extLst>
          </c:dPt>
          <c:dPt>
            <c:idx val="1298"/>
            <c:invertIfNegative val="1"/>
            <c:bubble3D val="0"/>
            <c:spPr>
              <a:solidFill>
                <a:srgbClr val="AEABAB"/>
              </a:solidFill>
            </c:spPr>
            <c:extLst>
              <c:ext xmlns:c16="http://schemas.microsoft.com/office/drawing/2014/chart" uri="{C3380CC4-5D6E-409C-BE32-E72D297353CC}">
                <c16:uniqueId val="{00000A27-B861-4943-8ABB-0EFD67D9E823}"/>
              </c:ext>
            </c:extLst>
          </c:dPt>
          <c:dPt>
            <c:idx val="1299"/>
            <c:invertIfNegative val="1"/>
            <c:bubble3D val="0"/>
            <c:spPr>
              <a:solidFill>
                <a:srgbClr val="AEABAB"/>
              </a:solidFill>
            </c:spPr>
            <c:extLst>
              <c:ext xmlns:c16="http://schemas.microsoft.com/office/drawing/2014/chart" uri="{C3380CC4-5D6E-409C-BE32-E72D297353CC}">
                <c16:uniqueId val="{00000A29-B861-4943-8ABB-0EFD67D9E823}"/>
              </c:ext>
            </c:extLst>
          </c:dPt>
          <c:dPt>
            <c:idx val="1300"/>
            <c:invertIfNegative val="1"/>
            <c:bubble3D val="0"/>
            <c:spPr>
              <a:solidFill>
                <a:srgbClr val="AEABAB"/>
              </a:solidFill>
            </c:spPr>
            <c:extLst>
              <c:ext xmlns:c16="http://schemas.microsoft.com/office/drawing/2014/chart" uri="{C3380CC4-5D6E-409C-BE32-E72D297353CC}">
                <c16:uniqueId val="{00000A2B-B861-4943-8ABB-0EFD67D9E823}"/>
              </c:ext>
            </c:extLst>
          </c:dPt>
          <c:dPt>
            <c:idx val="1301"/>
            <c:invertIfNegative val="1"/>
            <c:bubble3D val="0"/>
            <c:spPr>
              <a:solidFill>
                <a:srgbClr val="AEABAB"/>
              </a:solidFill>
            </c:spPr>
            <c:extLst>
              <c:ext xmlns:c16="http://schemas.microsoft.com/office/drawing/2014/chart" uri="{C3380CC4-5D6E-409C-BE32-E72D297353CC}">
                <c16:uniqueId val="{00000A2D-B861-4943-8ABB-0EFD67D9E823}"/>
              </c:ext>
            </c:extLst>
          </c:dPt>
          <c:dPt>
            <c:idx val="1302"/>
            <c:invertIfNegative val="1"/>
            <c:bubble3D val="0"/>
            <c:spPr>
              <a:solidFill>
                <a:srgbClr val="AEABAB"/>
              </a:solidFill>
            </c:spPr>
            <c:extLst>
              <c:ext xmlns:c16="http://schemas.microsoft.com/office/drawing/2014/chart" uri="{C3380CC4-5D6E-409C-BE32-E72D297353CC}">
                <c16:uniqueId val="{00000A2F-B861-4943-8ABB-0EFD67D9E823}"/>
              </c:ext>
            </c:extLst>
          </c:dPt>
          <c:dPt>
            <c:idx val="1303"/>
            <c:invertIfNegative val="1"/>
            <c:bubble3D val="0"/>
            <c:spPr>
              <a:solidFill>
                <a:srgbClr val="AEABAB"/>
              </a:solidFill>
            </c:spPr>
            <c:extLst>
              <c:ext xmlns:c16="http://schemas.microsoft.com/office/drawing/2014/chart" uri="{C3380CC4-5D6E-409C-BE32-E72D297353CC}">
                <c16:uniqueId val="{00000A31-B861-4943-8ABB-0EFD67D9E823}"/>
              </c:ext>
            </c:extLst>
          </c:dPt>
          <c:dPt>
            <c:idx val="1304"/>
            <c:invertIfNegative val="1"/>
            <c:bubble3D val="0"/>
            <c:spPr>
              <a:solidFill>
                <a:srgbClr val="AEABAB"/>
              </a:solidFill>
            </c:spPr>
            <c:extLst>
              <c:ext xmlns:c16="http://schemas.microsoft.com/office/drawing/2014/chart" uri="{C3380CC4-5D6E-409C-BE32-E72D297353CC}">
                <c16:uniqueId val="{00000A33-B861-4943-8ABB-0EFD67D9E823}"/>
              </c:ext>
            </c:extLst>
          </c:dPt>
          <c:dPt>
            <c:idx val="1305"/>
            <c:invertIfNegative val="1"/>
            <c:bubble3D val="0"/>
            <c:spPr>
              <a:solidFill>
                <a:srgbClr val="AEABAB"/>
              </a:solidFill>
            </c:spPr>
            <c:extLst>
              <c:ext xmlns:c16="http://schemas.microsoft.com/office/drawing/2014/chart" uri="{C3380CC4-5D6E-409C-BE32-E72D297353CC}">
                <c16:uniqueId val="{00000A35-B861-4943-8ABB-0EFD67D9E823}"/>
              </c:ext>
            </c:extLst>
          </c:dPt>
          <c:dPt>
            <c:idx val="1306"/>
            <c:invertIfNegative val="1"/>
            <c:bubble3D val="0"/>
            <c:spPr>
              <a:solidFill>
                <a:srgbClr val="AEABAB"/>
              </a:solidFill>
            </c:spPr>
            <c:extLst>
              <c:ext xmlns:c16="http://schemas.microsoft.com/office/drawing/2014/chart" uri="{C3380CC4-5D6E-409C-BE32-E72D297353CC}">
                <c16:uniqueId val="{00000A37-B861-4943-8ABB-0EFD67D9E823}"/>
              </c:ext>
            </c:extLst>
          </c:dPt>
          <c:dPt>
            <c:idx val="1307"/>
            <c:invertIfNegative val="1"/>
            <c:bubble3D val="0"/>
            <c:spPr>
              <a:solidFill>
                <a:srgbClr val="AEABAB"/>
              </a:solidFill>
            </c:spPr>
            <c:extLst>
              <c:ext xmlns:c16="http://schemas.microsoft.com/office/drawing/2014/chart" uri="{C3380CC4-5D6E-409C-BE32-E72D297353CC}">
                <c16:uniqueId val="{00000A39-B861-4943-8ABB-0EFD67D9E823}"/>
              </c:ext>
            </c:extLst>
          </c:dPt>
          <c:dPt>
            <c:idx val="1308"/>
            <c:invertIfNegative val="1"/>
            <c:bubble3D val="0"/>
            <c:spPr>
              <a:solidFill>
                <a:srgbClr val="AEABAB"/>
              </a:solidFill>
            </c:spPr>
            <c:extLst>
              <c:ext xmlns:c16="http://schemas.microsoft.com/office/drawing/2014/chart" uri="{C3380CC4-5D6E-409C-BE32-E72D297353CC}">
                <c16:uniqueId val="{00000A3B-B861-4943-8ABB-0EFD67D9E823}"/>
              </c:ext>
            </c:extLst>
          </c:dPt>
          <c:dPt>
            <c:idx val="1309"/>
            <c:invertIfNegative val="1"/>
            <c:bubble3D val="0"/>
            <c:spPr>
              <a:solidFill>
                <a:srgbClr val="AEABAB"/>
              </a:solidFill>
            </c:spPr>
            <c:extLst>
              <c:ext xmlns:c16="http://schemas.microsoft.com/office/drawing/2014/chart" uri="{C3380CC4-5D6E-409C-BE32-E72D297353CC}">
                <c16:uniqueId val="{00000A3D-B861-4943-8ABB-0EFD67D9E823}"/>
              </c:ext>
            </c:extLst>
          </c:dPt>
          <c:dPt>
            <c:idx val="1310"/>
            <c:invertIfNegative val="1"/>
            <c:bubble3D val="0"/>
            <c:spPr>
              <a:solidFill>
                <a:srgbClr val="AEABAB"/>
              </a:solidFill>
            </c:spPr>
            <c:extLst>
              <c:ext xmlns:c16="http://schemas.microsoft.com/office/drawing/2014/chart" uri="{C3380CC4-5D6E-409C-BE32-E72D297353CC}">
                <c16:uniqueId val="{00000A3F-B861-4943-8ABB-0EFD67D9E823}"/>
              </c:ext>
            </c:extLst>
          </c:dPt>
          <c:dPt>
            <c:idx val="1311"/>
            <c:invertIfNegative val="1"/>
            <c:bubble3D val="0"/>
            <c:spPr>
              <a:solidFill>
                <a:srgbClr val="AEABAB"/>
              </a:solidFill>
            </c:spPr>
            <c:extLst>
              <c:ext xmlns:c16="http://schemas.microsoft.com/office/drawing/2014/chart" uri="{C3380CC4-5D6E-409C-BE32-E72D297353CC}">
                <c16:uniqueId val="{00000A41-B861-4943-8ABB-0EFD67D9E823}"/>
              </c:ext>
            </c:extLst>
          </c:dPt>
          <c:dPt>
            <c:idx val="1312"/>
            <c:invertIfNegative val="1"/>
            <c:bubble3D val="0"/>
            <c:spPr>
              <a:solidFill>
                <a:srgbClr val="AEABAB"/>
              </a:solidFill>
            </c:spPr>
            <c:extLst>
              <c:ext xmlns:c16="http://schemas.microsoft.com/office/drawing/2014/chart" uri="{C3380CC4-5D6E-409C-BE32-E72D297353CC}">
                <c16:uniqueId val="{00000A43-B861-4943-8ABB-0EFD67D9E823}"/>
              </c:ext>
            </c:extLst>
          </c:dPt>
          <c:dPt>
            <c:idx val="1313"/>
            <c:invertIfNegative val="1"/>
            <c:bubble3D val="0"/>
            <c:spPr>
              <a:solidFill>
                <a:srgbClr val="AEABAB"/>
              </a:solidFill>
            </c:spPr>
            <c:extLst>
              <c:ext xmlns:c16="http://schemas.microsoft.com/office/drawing/2014/chart" uri="{C3380CC4-5D6E-409C-BE32-E72D297353CC}">
                <c16:uniqueId val="{00000A45-B861-4943-8ABB-0EFD67D9E823}"/>
              </c:ext>
            </c:extLst>
          </c:dPt>
          <c:dPt>
            <c:idx val="1314"/>
            <c:invertIfNegative val="1"/>
            <c:bubble3D val="0"/>
            <c:spPr>
              <a:solidFill>
                <a:srgbClr val="AEABAB"/>
              </a:solidFill>
            </c:spPr>
            <c:extLst>
              <c:ext xmlns:c16="http://schemas.microsoft.com/office/drawing/2014/chart" uri="{C3380CC4-5D6E-409C-BE32-E72D297353CC}">
                <c16:uniqueId val="{00000A47-B861-4943-8ABB-0EFD67D9E823}"/>
              </c:ext>
            </c:extLst>
          </c:dPt>
          <c:dPt>
            <c:idx val="1315"/>
            <c:invertIfNegative val="1"/>
            <c:bubble3D val="0"/>
            <c:spPr>
              <a:solidFill>
                <a:srgbClr val="AEABAB"/>
              </a:solidFill>
            </c:spPr>
            <c:extLst>
              <c:ext xmlns:c16="http://schemas.microsoft.com/office/drawing/2014/chart" uri="{C3380CC4-5D6E-409C-BE32-E72D297353CC}">
                <c16:uniqueId val="{00000A49-B861-4943-8ABB-0EFD67D9E823}"/>
              </c:ext>
            </c:extLst>
          </c:dPt>
          <c:dPt>
            <c:idx val="1316"/>
            <c:invertIfNegative val="1"/>
            <c:bubble3D val="0"/>
            <c:spPr>
              <a:solidFill>
                <a:srgbClr val="AEABAB"/>
              </a:solidFill>
            </c:spPr>
            <c:extLst>
              <c:ext xmlns:c16="http://schemas.microsoft.com/office/drawing/2014/chart" uri="{C3380CC4-5D6E-409C-BE32-E72D297353CC}">
                <c16:uniqueId val="{00000A4B-B861-4943-8ABB-0EFD67D9E823}"/>
              </c:ext>
            </c:extLst>
          </c:dPt>
          <c:dPt>
            <c:idx val="1317"/>
            <c:invertIfNegative val="1"/>
            <c:bubble3D val="0"/>
            <c:spPr>
              <a:solidFill>
                <a:srgbClr val="AEABAB"/>
              </a:solidFill>
            </c:spPr>
            <c:extLst>
              <c:ext xmlns:c16="http://schemas.microsoft.com/office/drawing/2014/chart" uri="{C3380CC4-5D6E-409C-BE32-E72D297353CC}">
                <c16:uniqueId val="{00000A4D-B861-4943-8ABB-0EFD67D9E823}"/>
              </c:ext>
            </c:extLst>
          </c:dPt>
          <c:dPt>
            <c:idx val="1318"/>
            <c:invertIfNegative val="1"/>
            <c:bubble3D val="0"/>
            <c:spPr>
              <a:solidFill>
                <a:srgbClr val="AEABAB"/>
              </a:solidFill>
            </c:spPr>
            <c:extLst>
              <c:ext xmlns:c16="http://schemas.microsoft.com/office/drawing/2014/chart" uri="{C3380CC4-5D6E-409C-BE32-E72D297353CC}">
                <c16:uniqueId val="{00000A4F-B861-4943-8ABB-0EFD67D9E823}"/>
              </c:ext>
            </c:extLst>
          </c:dPt>
          <c:dPt>
            <c:idx val="1319"/>
            <c:invertIfNegative val="1"/>
            <c:bubble3D val="0"/>
            <c:spPr>
              <a:solidFill>
                <a:srgbClr val="AEABAB"/>
              </a:solidFill>
            </c:spPr>
            <c:extLst>
              <c:ext xmlns:c16="http://schemas.microsoft.com/office/drawing/2014/chart" uri="{C3380CC4-5D6E-409C-BE32-E72D297353CC}">
                <c16:uniqueId val="{00000A51-B861-4943-8ABB-0EFD67D9E823}"/>
              </c:ext>
            </c:extLst>
          </c:dPt>
          <c:dPt>
            <c:idx val="1320"/>
            <c:invertIfNegative val="1"/>
            <c:bubble3D val="0"/>
            <c:spPr>
              <a:solidFill>
                <a:srgbClr val="AEABAB"/>
              </a:solidFill>
            </c:spPr>
            <c:extLst>
              <c:ext xmlns:c16="http://schemas.microsoft.com/office/drawing/2014/chart" uri="{C3380CC4-5D6E-409C-BE32-E72D297353CC}">
                <c16:uniqueId val="{00000A53-B861-4943-8ABB-0EFD67D9E823}"/>
              </c:ext>
            </c:extLst>
          </c:dPt>
          <c:dPt>
            <c:idx val="1321"/>
            <c:invertIfNegative val="1"/>
            <c:bubble3D val="0"/>
            <c:spPr>
              <a:solidFill>
                <a:srgbClr val="AEABAB"/>
              </a:solidFill>
            </c:spPr>
            <c:extLst>
              <c:ext xmlns:c16="http://schemas.microsoft.com/office/drawing/2014/chart" uri="{C3380CC4-5D6E-409C-BE32-E72D297353CC}">
                <c16:uniqueId val="{00000A55-B861-4943-8ABB-0EFD67D9E823}"/>
              </c:ext>
            </c:extLst>
          </c:dPt>
          <c:dPt>
            <c:idx val="1322"/>
            <c:invertIfNegative val="1"/>
            <c:bubble3D val="0"/>
            <c:spPr>
              <a:solidFill>
                <a:srgbClr val="AEABAB"/>
              </a:solidFill>
            </c:spPr>
            <c:extLst>
              <c:ext xmlns:c16="http://schemas.microsoft.com/office/drawing/2014/chart" uri="{C3380CC4-5D6E-409C-BE32-E72D297353CC}">
                <c16:uniqueId val="{00000A57-B861-4943-8ABB-0EFD67D9E823}"/>
              </c:ext>
            </c:extLst>
          </c:dPt>
          <c:dPt>
            <c:idx val="1323"/>
            <c:invertIfNegative val="1"/>
            <c:bubble3D val="0"/>
            <c:spPr>
              <a:solidFill>
                <a:srgbClr val="AEABAB"/>
              </a:solidFill>
            </c:spPr>
            <c:extLst>
              <c:ext xmlns:c16="http://schemas.microsoft.com/office/drawing/2014/chart" uri="{C3380CC4-5D6E-409C-BE32-E72D297353CC}">
                <c16:uniqueId val="{00000A59-B861-4943-8ABB-0EFD67D9E823}"/>
              </c:ext>
            </c:extLst>
          </c:dPt>
          <c:dPt>
            <c:idx val="1324"/>
            <c:invertIfNegative val="1"/>
            <c:bubble3D val="0"/>
            <c:spPr>
              <a:solidFill>
                <a:srgbClr val="AEABAB"/>
              </a:solidFill>
            </c:spPr>
            <c:extLst>
              <c:ext xmlns:c16="http://schemas.microsoft.com/office/drawing/2014/chart" uri="{C3380CC4-5D6E-409C-BE32-E72D297353CC}">
                <c16:uniqueId val="{00000A5B-B861-4943-8ABB-0EFD67D9E823}"/>
              </c:ext>
            </c:extLst>
          </c:dPt>
          <c:dPt>
            <c:idx val="1325"/>
            <c:invertIfNegative val="1"/>
            <c:bubble3D val="0"/>
            <c:spPr>
              <a:solidFill>
                <a:srgbClr val="AEABAB"/>
              </a:solidFill>
            </c:spPr>
            <c:extLst>
              <c:ext xmlns:c16="http://schemas.microsoft.com/office/drawing/2014/chart" uri="{C3380CC4-5D6E-409C-BE32-E72D297353CC}">
                <c16:uniqueId val="{00000A5D-B861-4943-8ABB-0EFD67D9E823}"/>
              </c:ext>
            </c:extLst>
          </c:dPt>
          <c:dPt>
            <c:idx val="1326"/>
            <c:invertIfNegative val="1"/>
            <c:bubble3D val="0"/>
            <c:spPr>
              <a:solidFill>
                <a:srgbClr val="AEABAB"/>
              </a:solidFill>
            </c:spPr>
            <c:extLst>
              <c:ext xmlns:c16="http://schemas.microsoft.com/office/drawing/2014/chart" uri="{C3380CC4-5D6E-409C-BE32-E72D297353CC}">
                <c16:uniqueId val="{00000A5F-B861-4943-8ABB-0EFD67D9E823}"/>
              </c:ext>
            </c:extLst>
          </c:dPt>
          <c:dPt>
            <c:idx val="1327"/>
            <c:invertIfNegative val="1"/>
            <c:bubble3D val="0"/>
            <c:spPr>
              <a:solidFill>
                <a:srgbClr val="AEABAB"/>
              </a:solidFill>
            </c:spPr>
            <c:extLst>
              <c:ext xmlns:c16="http://schemas.microsoft.com/office/drawing/2014/chart" uri="{C3380CC4-5D6E-409C-BE32-E72D297353CC}">
                <c16:uniqueId val="{00000A61-B861-4943-8ABB-0EFD67D9E823}"/>
              </c:ext>
            </c:extLst>
          </c:dPt>
          <c:dPt>
            <c:idx val="1328"/>
            <c:invertIfNegative val="1"/>
            <c:bubble3D val="0"/>
            <c:spPr>
              <a:solidFill>
                <a:srgbClr val="AEABAB"/>
              </a:solidFill>
            </c:spPr>
            <c:extLst>
              <c:ext xmlns:c16="http://schemas.microsoft.com/office/drawing/2014/chart" uri="{C3380CC4-5D6E-409C-BE32-E72D297353CC}">
                <c16:uniqueId val="{00000A63-B861-4943-8ABB-0EFD67D9E823}"/>
              </c:ext>
            </c:extLst>
          </c:dPt>
          <c:dPt>
            <c:idx val="1329"/>
            <c:invertIfNegative val="1"/>
            <c:bubble3D val="0"/>
            <c:spPr>
              <a:solidFill>
                <a:srgbClr val="AEABAB"/>
              </a:solidFill>
            </c:spPr>
            <c:extLst>
              <c:ext xmlns:c16="http://schemas.microsoft.com/office/drawing/2014/chart" uri="{C3380CC4-5D6E-409C-BE32-E72D297353CC}">
                <c16:uniqueId val="{00000A65-B861-4943-8ABB-0EFD67D9E823}"/>
              </c:ext>
            </c:extLst>
          </c:dPt>
          <c:dPt>
            <c:idx val="1330"/>
            <c:invertIfNegative val="1"/>
            <c:bubble3D val="0"/>
            <c:spPr>
              <a:solidFill>
                <a:srgbClr val="AEABAB"/>
              </a:solidFill>
            </c:spPr>
            <c:extLst>
              <c:ext xmlns:c16="http://schemas.microsoft.com/office/drawing/2014/chart" uri="{C3380CC4-5D6E-409C-BE32-E72D297353CC}">
                <c16:uniqueId val="{00000A67-B861-4943-8ABB-0EFD67D9E823}"/>
              </c:ext>
            </c:extLst>
          </c:dPt>
          <c:dPt>
            <c:idx val="1331"/>
            <c:invertIfNegative val="1"/>
            <c:bubble3D val="0"/>
            <c:spPr>
              <a:solidFill>
                <a:srgbClr val="AEABAB"/>
              </a:solidFill>
            </c:spPr>
            <c:extLst>
              <c:ext xmlns:c16="http://schemas.microsoft.com/office/drawing/2014/chart" uri="{C3380CC4-5D6E-409C-BE32-E72D297353CC}">
                <c16:uniqueId val="{00000A69-B861-4943-8ABB-0EFD67D9E823}"/>
              </c:ext>
            </c:extLst>
          </c:dPt>
          <c:dPt>
            <c:idx val="1332"/>
            <c:invertIfNegative val="1"/>
            <c:bubble3D val="0"/>
            <c:spPr>
              <a:solidFill>
                <a:srgbClr val="AEABAB"/>
              </a:solidFill>
            </c:spPr>
            <c:extLst>
              <c:ext xmlns:c16="http://schemas.microsoft.com/office/drawing/2014/chart" uri="{C3380CC4-5D6E-409C-BE32-E72D297353CC}">
                <c16:uniqueId val="{00000A6B-B861-4943-8ABB-0EFD67D9E823}"/>
              </c:ext>
            </c:extLst>
          </c:dPt>
          <c:dPt>
            <c:idx val="1333"/>
            <c:invertIfNegative val="1"/>
            <c:bubble3D val="0"/>
            <c:spPr>
              <a:solidFill>
                <a:srgbClr val="AEABAB"/>
              </a:solidFill>
            </c:spPr>
            <c:extLst>
              <c:ext xmlns:c16="http://schemas.microsoft.com/office/drawing/2014/chart" uri="{C3380CC4-5D6E-409C-BE32-E72D297353CC}">
                <c16:uniqueId val="{00000A6D-B861-4943-8ABB-0EFD67D9E823}"/>
              </c:ext>
            </c:extLst>
          </c:dPt>
          <c:dPt>
            <c:idx val="1334"/>
            <c:invertIfNegative val="1"/>
            <c:bubble3D val="0"/>
            <c:spPr>
              <a:solidFill>
                <a:srgbClr val="AEABAB"/>
              </a:solidFill>
            </c:spPr>
            <c:extLst>
              <c:ext xmlns:c16="http://schemas.microsoft.com/office/drawing/2014/chart" uri="{C3380CC4-5D6E-409C-BE32-E72D297353CC}">
                <c16:uniqueId val="{00000A6F-B861-4943-8ABB-0EFD67D9E823}"/>
              </c:ext>
            </c:extLst>
          </c:dPt>
          <c:dPt>
            <c:idx val="1335"/>
            <c:invertIfNegative val="1"/>
            <c:bubble3D val="0"/>
            <c:spPr>
              <a:solidFill>
                <a:srgbClr val="AEABAB"/>
              </a:solidFill>
            </c:spPr>
            <c:extLst>
              <c:ext xmlns:c16="http://schemas.microsoft.com/office/drawing/2014/chart" uri="{C3380CC4-5D6E-409C-BE32-E72D297353CC}">
                <c16:uniqueId val="{00000A71-B861-4943-8ABB-0EFD67D9E823}"/>
              </c:ext>
            </c:extLst>
          </c:dPt>
          <c:dPt>
            <c:idx val="1336"/>
            <c:invertIfNegative val="1"/>
            <c:bubble3D val="0"/>
            <c:spPr>
              <a:solidFill>
                <a:srgbClr val="AEABAB"/>
              </a:solidFill>
            </c:spPr>
            <c:extLst>
              <c:ext xmlns:c16="http://schemas.microsoft.com/office/drawing/2014/chart" uri="{C3380CC4-5D6E-409C-BE32-E72D297353CC}">
                <c16:uniqueId val="{00000A73-B861-4943-8ABB-0EFD67D9E823}"/>
              </c:ext>
            </c:extLst>
          </c:dPt>
          <c:dPt>
            <c:idx val="1337"/>
            <c:invertIfNegative val="1"/>
            <c:bubble3D val="0"/>
            <c:spPr>
              <a:solidFill>
                <a:srgbClr val="AEABAB"/>
              </a:solidFill>
            </c:spPr>
            <c:extLst>
              <c:ext xmlns:c16="http://schemas.microsoft.com/office/drawing/2014/chart" uri="{C3380CC4-5D6E-409C-BE32-E72D297353CC}">
                <c16:uniqueId val="{00000A75-B861-4943-8ABB-0EFD67D9E823}"/>
              </c:ext>
            </c:extLst>
          </c:dPt>
          <c:dPt>
            <c:idx val="1338"/>
            <c:invertIfNegative val="1"/>
            <c:bubble3D val="0"/>
            <c:spPr>
              <a:solidFill>
                <a:srgbClr val="AEABAB"/>
              </a:solidFill>
            </c:spPr>
            <c:extLst>
              <c:ext xmlns:c16="http://schemas.microsoft.com/office/drawing/2014/chart" uri="{C3380CC4-5D6E-409C-BE32-E72D297353CC}">
                <c16:uniqueId val="{00000A77-B861-4943-8ABB-0EFD67D9E823}"/>
              </c:ext>
            </c:extLst>
          </c:dPt>
          <c:dPt>
            <c:idx val="1339"/>
            <c:invertIfNegative val="1"/>
            <c:bubble3D val="0"/>
            <c:spPr>
              <a:solidFill>
                <a:srgbClr val="AEABAB"/>
              </a:solidFill>
            </c:spPr>
            <c:extLst>
              <c:ext xmlns:c16="http://schemas.microsoft.com/office/drawing/2014/chart" uri="{C3380CC4-5D6E-409C-BE32-E72D297353CC}">
                <c16:uniqueId val="{00000A79-B861-4943-8ABB-0EFD67D9E823}"/>
              </c:ext>
            </c:extLst>
          </c:dPt>
          <c:dPt>
            <c:idx val="1340"/>
            <c:invertIfNegative val="1"/>
            <c:bubble3D val="0"/>
            <c:spPr>
              <a:solidFill>
                <a:srgbClr val="AEABAB"/>
              </a:solidFill>
            </c:spPr>
            <c:extLst>
              <c:ext xmlns:c16="http://schemas.microsoft.com/office/drawing/2014/chart" uri="{C3380CC4-5D6E-409C-BE32-E72D297353CC}">
                <c16:uniqueId val="{00000A7B-B861-4943-8ABB-0EFD67D9E823}"/>
              </c:ext>
            </c:extLst>
          </c:dPt>
          <c:dPt>
            <c:idx val="1341"/>
            <c:invertIfNegative val="1"/>
            <c:bubble3D val="0"/>
            <c:spPr>
              <a:solidFill>
                <a:srgbClr val="AEABAB"/>
              </a:solidFill>
            </c:spPr>
            <c:extLst>
              <c:ext xmlns:c16="http://schemas.microsoft.com/office/drawing/2014/chart" uri="{C3380CC4-5D6E-409C-BE32-E72D297353CC}">
                <c16:uniqueId val="{00000A7D-B861-4943-8ABB-0EFD67D9E823}"/>
              </c:ext>
            </c:extLst>
          </c:dPt>
          <c:dPt>
            <c:idx val="1342"/>
            <c:invertIfNegative val="1"/>
            <c:bubble3D val="0"/>
            <c:spPr>
              <a:solidFill>
                <a:srgbClr val="AEABAB"/>
              </a:solidFill>
            </c:spPr>
            <c:extLst>
              <c:ext xmlns:c16="http://schemas.microsoft.com/office/drawing/2014/chart" uri="{C3380CC4-5D6E-409C-BE32-E72D297353CC}">
                <c16:uniqueId val="{00000A7F-B861-4943-8ABB-0EFD67D9E823}"/>
              </c:ext>
            </c:extLst>
          </c:dPt>
          <c:dPt>
            <c:idx val="1343"/>
            <c:invertIfNegative val="1"/>
            <c:bubble3D val="0"/>
            <c:spPr>
              <a:solidFill>
                <a:srgbClr val="AEABAB"/>
              </a:solidFill>
            </c:spPr>
            <c:extLst>
              <c:ext xmlns:c16="http://schemas.microsoft.com/office/drawing/2014/chart" uri="{C3380CC4-5D6E-409C-BE32-E72D297353CC}">
                <c16:uniqueId val="{00000A81-B861-4943-8ABB-0EFD67D9E823}"/>
              </c:ext>
            </c:extLst>
          </c:dPt>
          <c:dPt>
            <c:idx val="1344"/>
            <c:invertIfNegative val="1"/>
            <c:bubble3D val="0"/>
            <c:spPr>
              <a:solidFill>
                <a:srgbClr val="AEABAB"/>
              </a:solidFill>
            </c:spPr>
            <c:extLst>
              <c:ext xmlns:c16="http://schemas.microsoft.com/office/drawing/2014/chart" uri="{C3380CC4-5D6E-409C-BE32-E72D297353CC}">
                <c16:uniqueId val="{00000A83-B861-4943-8ABB-0EFD67D9E823}"/>
              </c:ext>
            </c:extLst>
          </c:dPt>
          <c:dPt>
            <c:idx val="1345"/>
            <c:invertIfNegative val="1"/>
            <c:bubble3D val="0"/>
            <c:spPr>
              <a:solidFill>
                <a:srgbClr val="AEABAB"/>
              </a:solidFill>
            </c:spPr>
            <c:extLst>
              <c:ext xmlns:c16="http://schemas.microsoft.com/office/drawing/2014/chart" uri="{C3380CC4-5D6E-409C-BE32-E72D297353CC}">
                <c16:uniqueId val="{00000A85-B861-4943-8ABB-0EFD67D9E823}"/>
              </c:ext>
            </c:extLst>
          </c:dPt>
          <c:dPt>
            <c:idx val="1346"/>
            <c:invertIfNegative val="1"/>
            <c:bubble3D val="0"/>
            <c:spPr>
              <a:solidFill>
                <a:srgbClr val="AEABAB"/>
              </a:solidFill>
            </c:spPr>
            <c:extLst>
              <c:ext xmlns:c16="http://schemas.microsoft.com/office/drawing/2014/chart" uri="{C3380CC4-5D6E-409C-BE32-E72D297353CC}">
                <c16:uniqueId val="{00000A87-B861-4943-8ABB-0EFD67D9E823}"/>
              </c:ext>
            </c:extLst>
          </c:dPt>
          <c:dPt>
            <c:idx val="1347"/>
            <c:invertIfNegative val="1"/>
            <c:bubble3D val="0"/>
            <c:spPr>
              <a:solidFill>
                <a:srgbClr val="AEABAB"/>
              </a:solidFill>
            </c:spPr>
            <c:extLst>
              <c:ext xmlns:c16="http://schemas.microsoft.com/office/drawing/2014/chart" uri="{C3380CC4-5D6E-409C-BE32-E72D297353CC}">
                <c16:uniqueId val="{00000A89-B861-4943-8ABB-0EFD67D9E823}"/>
              </c:ext>
            </c:extLst>
          </c:dPt>
          <c:dPt>
            <c:idx val="1348"/>
            <c:invertIfNegative val="1"/>
            <c:bubble3D val="0"/>
            <c:spPr>
              <a:solidFill>
                <a:srgbClr val="AEABAB"/>
              </a:solidFill>
            </c:spPr>
            <c:extLst>
              <c:ext xmlns:c16="http://schemas.microsoft.com/office/drawing/2014/chart" uri="{C3380CC4-5D6E-409C-BE32-E72D297353CC}">
                <c16:uniqueId val="{00000A8B-B861-4943-8ABB-0EFD67D9E823}"/>
              </c:ext>
            </c:extLst>
          </c:dPt>
          <c:dPt>
            <c:idx val="1349"/>
            <c:invertIfNegative val="1"/>
            <c:bubble3D val="0"/>
            <c:spPr>
              <a:solidFill>
                <a:srgbClr val="AEABAB"/>
              </a:solidFill>
            </c:spPr>
            <c:extLst>
              <c:ext xmlns:c16="http://schemas.microsoft.com/office/drawing/2014/chart" uri="{C3380CC4-5D6E-409C-BE32-E72D297353CC}">
                <c16:uniqueId val="{00000A8D-B861-4943-8ABB-0EFD67D9E823}"/>
              </c:ext>
            </c:extLst>
          </c:dPt>
          <c:dPt>
            <c:idx val="1350"/>
            <c:invertIfNegative val="1"/>
            <c:bubble3D val="0"/>
            <c:spPr>
              <a:solidFill>
                <a:srgbClr val="AEABAB"/>
              </a:solidFill>
            </c:spPr>
            <c:extLst>
              <c:ext xmlns:c16="http://schemas.microsoft.com/office/drawing/2014/chart" uri="{C3380CC4-5D6E-409C-BE32-E72D297353CC}">
                <c16:uniqueId val="{00000A8F-B861-4943-8ABB-0EFD67D9E823}"/>
              </c:ext>
            </c:extLst>
          </c:dPt>
          <c:dPt>
            <c:idx val="1351"/>
            <c:invertIfNegative val="1"/>
            <c:bubble3D val="0"/>
            <c:spPr>
              <a:solidFill>
                <a:srgbClr val="AEABAB"/>
              </a:solidFill>
            </c:spPr>
            <c:extLst>
              <c:ext xmlns:c16="http://schemas.microsoft.com/office/drawing/2014/chart" uri="{C3380CC4-5D6E-409C-BE32-E72D297353CC}">
                <c16:uniqueId val="{00000A91-B861-4943-8ABB-0EFD67D9E823}"/>
              </c:ext>
            </c:extLst>
          </c:dPt>
          <c:dPt>
            <c:idx val="1352"/>
            <c:invertIfNegative val="1"/>
            <c:bubble3D val="0"/>
            <c:spPr>
              <a:solidFill>
                <a:srgbClr val="AEABAB"/>
              </a:solidFill>
            </c:spPr>
            <c:extLst>
              <c:ext xmlns:c16="http://schemas.microsoft.com/office/drawing/2014/chart" uri="{C3380CC4-5D6E-409C-BE32-E72D297353CC}">
                <c16:uniqueId val="{00000A93-B861-4943-8ABB-0EFD67D9E823}"/>
              </c:ext>
            </c:extLst>
          </c:dPt>
          <c:dPt>
            <c:idx val="1353"/>
            <c:invertIfNegative val="1"/>
            <c:bubble3D val="0"/>
            <c:spPr>
              <a:solidFill>
                <a:srgbClr val="AEABAB"/>
              </a:solidFill>
            </c:spPr>
            <c:extLst>
              <c:ext xmlns:c16="http://schemas.microsoft.com/office/drawing/2014/chart" uri="{C3380CC4-5D6E-409C-BE32-E72D297353CC}">
                <c16:uniqueId val="{00000A95-B861-4943-8ABB-0EFD67D9E823}"/>
              </c:ext>
            </c:extLst>
          </c:dPt>
          <c:dPt>
            <c:idx val="1354"/>
            <c:invertIfNegative val="1"/>
            <c:bubble3D val="0"/>
            <c:spPr>
              <a:solidFill>
                <a:srgbClr val="AEABAB"/>
              </a:solidFill>
            </c:spPr>
            <c:extLst>
              <c:ext xmlns:c16="http://schemas.microsoft.com/office/drawing/2014/chart" uri="{C3380CC4-5D6E-409C-BE32-E72D297353CC}">
                <c16:uniqueId val="{00000A97-B861-4943-8ABB-0EFD67D9E823}"/>
              </c:ext>
            </c:extLst>
          </c:dPt>
          <c:dPt>
            <c:idx val="1355"/>
            <c:invertIfNegative val="1"/>
            <c:bubble3D val="0"/>
            <c:spPr>
              <a:solidFill>
                <a:srgbClr val="AEABAB"/>
              </a:solidFill>
            </c:spPr>
            <c:extLst>
              <c:ext xmlns:c16="http://schemas.microsoft.com/office/drawing/2014/chart" uri="{C3380CC4-5D6E-409C-BE32-E72D297353CC}">
                <c16:uniqueId val="{00000A99-B861-4943-8ABB-0EFD67D9E823}"/>
              </c:ext>
            </c:extLst>
          </c:dPt>
          <c:dPt>
            <c:idx val="1356"/>
            <c:invertIfNegative val="1"/>
            <c:bubble3D val="0"/>
            <c:spPr>
              <a:solidFill>
                <a:srgbClr val="AEABAB"/>
              </a:solidFill>
            </c:spPr>
            <c:extLst>
              <c:ext xmlns:c16="http://schemas.microsoft.com/office/drawing/2014/chart" uri="{C3380CC4-5D6E-409C-BE32-E72D297353CC}">
                <c16:uniqueId val="{00000A9B-B861-4943-8ABB-0EFD67D9E823}"/>
              </c:ext>
            </c:extLst>
          </c:dPt>
          <c:dPt>
            <c:idx val="1357"/>
            <c:invertIfNegative val="1"/>
            <c:bubble3D val="0"/>
            <c:spPr>
              <a:solidFill>
                <a:srgbClr val="AEABAB"/>
              </a:solidFill>
            </c:spPr>
            <c:extLst>
              <c:ext xmlns:c16="http://schemas.microsoft.com/office/drawing/2014/chart" uri="{C3380CC4-5D6E-409C-BE32-E72D297353CC}">
                <c16:uniqueId val="{00000A9D-B861-4943-8ABB-0EFD67D9E823}"/>
              </c:ext>
            </c:extLst>
          </c:dPt>
          <c:dPt>
            <c:idx val="1358"/>
            <c:invertIfNegative val="1"/>
            <c:bubble3D val="0"/>
            <c:spPr>
              <a:solidFill>
                <a:srgbClr val="AEABAB"/>
              </a:solidFill>
            </c:spPr>
            <c:extLst>
              <c:ext xmlns:c16="http://schemas.microsoft.com/office/drawing/2014/chart" uri="{C3380CC4-5D6E-409C-BE32-E72D297353CC}">
                <c16:uniqueId val="{00000A9F-B861-4943-8ABB-0EFD67D9E823}"/>
              </c:ext>
            </c:extLst>
          </c:dPt>
          <c:dPt>
            <c:idx val="1359"/>
            <c:invertIfNegative val="1"/>
            <c:bubble3D val="0"/>
            <c:spPr>
              <a:solidFill>
                <a:srgbClr val="AEABAB"/>
              </a:solidFill>
            </c:spPr>
            <c:extLst>
              <c:ext xmlns:c16="http://schemas.microsoft.com/office/drawing/2014/chart" uri="{C3380CC4-5D6E-409C-BE32-E72D297353CC}">
                <c16:uniqueId val="{00000AA1-B861-4943-8ABB-0EFD67D9E823}"/>
              </c:ext>
            </c:extLst>
          </c:dPt>
          <c:dPt>
            <c:idx val="1360"/>
            <c:invertIfNegative val="1"/>
            <c:bubble3D val="0"/>
            <c:spPr>
              <a:solidFill>
                <a:srgbClr val="AEABAB"/>
              </a:solidFill>
            </c:spPr>
            <c:extLst>
              <c:ext xmlns:c16="http://schemas.microsoft.com/office/drawing/2014/chart" uri="{C3380CC4-5D6E-409C-BE32-E72D297353CC}">
                <c16:uniqueId val="{00000AA3-B861-4943-8ABB-0EFD67D9E823}"/>
              </c:ext>
            </c:extLst>
          </c:dPt>
          <c:dPt>
            <c:idx val="1361"/>
            <c:invertIfNegative val="1"/>
            <c:bubble3D val="0"/>
            <c:spPr>
              <a:solidFill>
                <a:srgbClr val="AEABAB"/>
              </a:solidFill>
            </c:spPr>
            <c:extLst>
              <c:ext xmlns:c16="http://schemas.microsoft.com/office/drawing/2014/chart" uri="{C3380CC4-5D6E-409C-BE32-E72D297353CC}">
                <c16:uniqueId val="{00000AA5-B861-4943-8ABB-0EFD67D9E823}"/>
              </c:ext>
            </c:extLst>
          </c:dPt>
          <c:dPt>
            <c:idx val="1362"/>
            <c:invertIfNegative val="1"/>
            <c:bubble3D val="0"/>
            <c:spPr>
              <a:solidFill>
                <a:srgbClr val="AEABAB"/>
              </a:solidFill>
            </c:spPr>
            <c:extLst>
              <c:ext xmlns:c16="http://schemas.microsoft.com/office/drawing/2014/chart" uri="{C3380CC4-5D6E-409C-BE32-E72D297353CC}">
                <c16:uniqueId val="{00000AA7-B861-4943-8ABB-0EFD67D9E823}"/>
              </c:ext>
            </c:extLst>
          </c:dPt>
          <c:dPt>
            <c:idx val="1363"/>
            <c:invertIfNegative val="1"/>
            <c:bubble3D val="0"/>
            <c:spPr>
              <a:solidFill>
                <a:srgbClr val="AEABAB"/>
              </a:solidFill>
            </c:spPr>
            <c:extLst>
              <c:ext xmlns:c16="http://schemas.microsoft.com/office/drawing/2014/chart" uri="{C3380CC4-5D6E-409C-BE32-E72D297353CC}">
                <c16:uniqueId val="{00000AA9-B861-4943-8ABB-0EFD67D9E823}"/>
              </c:ext>
            </c:extLst>
          </c:dPt>
          <c:dPt>
            <c:idx val="1364"/>
            <c:invertIfNegative val="1"/>
            <c:bubble3D val="0"/>
            <c:spPr>
              <a:solidFill>
                <a:srgbClr val="AEABAB"/>
              </a:solidFill>
            </c:spPr>
            <c:extLst>
              <c:ext xmlns:c16="http://schemas.microsoft.com/office/drawing/2014/chart" uri="{C3380CC4-5D6E-409C-BE32-E72D297353CC}">
                <c16:uniqueId val="{00000AAB-B861-4943-8ABB-0EFD67D9E823}"/>
              </c:ext>
            </c:extLst>
          </c:dPt>
          <c:dPt>
            <c:idx val="1365"/>
            <c:invertIfNegative val="1"/>
            <c:bubble3D val="0"/>
            <c:spPr>
              <a:solidFill>
                <a:srgbClr val="AEABAB"/>
              </a:solidFill>
            </c:spPr>
            <c:extLst>
              <c:ext xmlns:c16="http://schemas.microsoft.com/office/drawing/2014/chart" uri="{C3380CC4-5D6E-409C-BE32-E72D297353CC}">
                <c16:uniqueId val="{00000AAD-B861-4943-8ABB-0EFD67D9E823}"/>
              </c:ext>
            </c:extLst>
          </c:dPt>
          <c:dPt>
            <c:idx val="1366"/>
            <c:invertIfNegative val="1"/>
            <c:bubble3D val="0"/>
            <c:spPr>
              <a:solidFill>
                <a:srgbClr val="AEABAB"/>
              </a:solidFill>
            </c:spPr>
            <c:extLst>
              <c:ext xmlns:c16="http://schemas.microsoft.com/office/drawing/2014/chart" uri="{C3380CC4-5D6E-409C-BE32-E72D297353CC}">
                <c16:uniqueId val="{00000AAF-B861-4943-8ABB-0EFD67D9E823}"/>
              </c:ext>
            </c:extLst>
          </c:dPt>
          <c:dPt>
            <c:idx val="1367"/>
            <c:invertIfNegative val="1"/>
            <c:bubble3D val="0"/>
            <c:spPr>
              <a:solidFill>
                <a:srgbClr val="AEABAB"/>
              </a:solidFill>
            </c:spPr>
            <c:extLst>
              <c:ext xmlns:c16="http://schemas.microsoft.com/office/drawing/2014/chart" uri="{C3380CC4-5D6E-409C-BE32-E72D297353CC}">
                <c16:uniqueId val="{00000AB1-B861-4943-8ABB-0EFD67D9E823}"/>
              </c:ext>
            </c:extLst>
          </c:dPt>
          <c:dPt>
            <c:idx val="1368"/>
            <c:invertIfNegative val="1"/>
            <c:bubble3D val="0"/>
            <c:spPr>
              <a:solidFill>
                <a:srgbClr val="AEABAB"/>
              </a:solidFill>
            </c:spPr>
            <c:extLst>
              <c:ext xmlns:c16="http://schemas.microsoft.com/office/drawing/2014/chart" uri="{C3380CC4-5D6E-409C-BE32-E72D297353CC}">
                <c16:uniqueId val="{00000AB3-B861-4943-8ABB-0EFD67D9E823}"/>
              </c:ext>
            </c:extLst>
          </c:dPt>
          <c:dPt>
            <c:idx val="1369"/>
            <c:invertIfNegative val="1"/>
            <c:bubble3D val="0"/>
            <c:spPr>
              <a:solidFill>
                <a:srgbClr val="AEABAB"/>
              </a:solidFill>
            </c:spPr>
            <c:extLst>
              <c:ext xmlns:c16="http://schemas.microsoft.com/office/drawing/2014/chart" uri="{C3380CC4-5D6E-409C-BE32-E72D297353CC}">
                <c16:uniqueId val="{00000AB5-B861-4943-8ABB-0EFD67D9E823}"/>
              </c:ext>
            </c:extLst>
          </c:dPt>
          <c:dPt>
            <c:idx val="1370"/>
            <c:invertIfNegative val="1"/>
            <c:bubble3D val="0"/>
            <c:spPr>
              <a:solidFill>
                <a:srgbClr val="AEABAB"/>
              </a:solidFill>
            </c:spPr>
            <c:extLst>
              <c:ext xmlns:c16="http://schemas.microsoft.com/office/drawing/2014/chart" uri="{C3380CC4-5D6E-409C-BE32-E72D297353CC}">
                <c16:uniqueId val="{00000AB7-B861-4943-8ABB-0EFD67D9E823}"/>
              </c:ext>
            </c:extLst>
          </c:dPt>
          <c:dPt>
            <c:idx val="1371"/>
            <c:invertIfNegative val="1"/>
            <c:bubble3D val="0"/>
            <c:spPr>
              <a:solidFill>
                <a:srgbClr val="AEABAB"/>
              </a:solidFill>
            </c:spPr>
            <c:extLst>
              <c:ext xmlns:c16="http://schemas.microsoft.com/office/drawing/2014/chart" uri="{C3380CC4-5D6E-409C-BE32-E72D297353CC}">
                <c16:uniqueId val="{00000AB9-B861-4943-8ABB-0EFD67D9E823}"/>
              </c:ext>
            </c:extLst>
          </c:dPt>
          <c:dPt>
            <c:idx val="1372"/>
            <c:invertIfNegative val="1"/>
            <c:bubble3D val="0"/>
            <c:spPr>
              <a:solidFill>
                <a:srgbClr val="AEABAB"/>
              </a:solidFill>
            </c:spPr>
            <c:extLst>
              <c:ext xmlns:c16="http://schemas.microsoft.com/office/drawing/2014/chart" uri="{C3380CC4-5D6E-409C-BE32-E72D297353CC}">
                <c16:uniqueId val="{00000ABB-B861-4943-8ABB-0EFD67D9E823}"/>
              </c:ext>
            </c:extLst>
          </c:dPt>
          <c:dPt>
            <c:idx val="1373"/>
            <c:invertIfNegative val="1"/>
            <c:bubble3D val="0"/>
            <c:spPr>
              <a:solidFill>
                <a:srgbClr val="AEABAB"/>
              </a:solidFill>
            </c:spPr>
            <c:extLst>
              <c:ext xmlns:c16="http://schemas.microsoft.com/office/drawing/2014/chart" uri="{C3380CC4-5D6E-409C-BE32-E72D297353CC}">
                <c16:uniqueId val="{00000ABD-B861-4943-8ABB-0EFD67D9E823}"/>
              </c:ext>
            </c:extLst>
          </c:dPt>
          <c:dPt>
            <c:idx val="1374"/>
            <c:invertIfNegative val="1"/>
            <c:bubble3D val="0"/>
            <c:spPr>
              <a:solidFill>
                <a:srgbClr val="AEABAB"/>
              </a:solidFill>
            </c:spPr>
            <c:extLst>
              <c:ext xmlns:c16="http://schemas.microsoft.com/office/drawing/2014/chart" uri="{C3380CC4-5D6E-409C-BE32-E72D297353CC}">
                <c16:uniqueId val="{00000ABF-B861-4943-8ABB-0EFD67D9E823}"/>
              </c:ext>
            </c:extLst>
          </c:dPt>
          <c:dPt>
            <c:idx val="1375"/>
            <c:invertIfNegative val="1"/>
            <c:bubble3D val="0"/>
            <c:spPr>
              <a:solidFill>
                <a:srgbClr val="AEABAB"/>
              </a:solidFill>
            </c:spPr>
            <c:extLst>
              <c:ext xmlns:c16="http://schemas.microsoft.com/office/drawing/2014/chart" uri="{C3380CC4-5D6E-409C-BE32-E72D297353CC}">
                <c16:uniqueId val="{00000AC1-B861-4943-8ABB-0EFD67D9E823}"/>
              </c:ext>
            </c:extLst>
          </c:dPt>
          <c:dPt>
            <c:idx val="1376"/>
            <c:invertIfNegative val="1"/>
            <c:bubble3D val="0"/>
            <c:spPr>
              <a:solidFill>
                <a:srgbClr val="AEABAB"/>
              </a:solidFill>
            </c:spPr>
            <c:extLst>
              <c:ext xmlns:c16="http://schemas.microsoft.com/office/drawing/2014/chart" uri="{C3380CC4-5D6E-409C-BE32-E72D297353CC}">
                <c16:uniqueId val="{00000AC3-B861-4943-8ABB-0EFD67D9E823}"/>
              </c:ext>
            </c:extLst>
          </c:dPt>
          <c:dPt>
            <c:idx val="1377"/>
            <c:invertIfNegative val="1"/>
            <c:bubble3D val="0"/>
            <c:spPr>
              <a:solidFill>
                <a:srgbClr val="AEABAB"/>
              </a:solidFill>
            </c:spPr>
            <c:extLst>
              <c:ext xmlns:c16="http://schemas.microsoft.com/office/drawing/2014/chart" uri="{C3380CC4-5D6E-409C-BE32-E72D297353CC}">
                <c16:uniqueId val="{00000AC5-B861-4943-8ABB-0EFD67D9E823}"/>
              </c:ext>
            </c:extLst>
          </c:dPt>
          <c:dPt>
            <c:idx val="1378"/>
            <c:invertIfNegative val="1"/>
            <c:bubble3D val="0"/>
            <c:spPr>
              <a:solidFill>
                <a:srgbClr val="AEABAB"/>
              </a:solidFill>
            </c:spPr>
            <c:extLst>
              <c:ext xmlns:c16="http://schemas.microsoft.com/office/drawing/2014/chart" uri="{C3380CC4-5D6E-409C-BE32-E72D297353CC}">
                <c16:uniqueId val="{00000AC7-B861-4943-8ABB-0EFD67D9E823}"/>
              </c:ext>
            </c:extLst>
          </c:dPt>
          <c:dPt>
            <c:idx val="1379"/>
            <c:invertIfNegative val="1"/>
            <c:bubble3D val="0"/>
            <c:spPr>
              <a:solidFill>
                <a:srgbClr val="AEABAB"/>
              </a:solidFill>
            </c:spPr>
            <c:extLst>
              <c:ext xmlns:c16="http://schemas.microsoft.com/office/drawing/2014/chart" uri="{C3380CC4-5D6E-409C-BE32-E72D297353CC}">
                <c16:uniqueId val="{00000AC9-B861-4943-8ABB-0EFD67D9E823}"/>
              </c:ext>
            </c:extLst>
          </c:dPt>
          <c:dPt>
            <c:idx val="1380"/>
            <c:invertIfNegative val="1"/>
            <c:bubble3D val="0"/>
            <c:spPr>
              <a:solidFill>
                <a:srgbClr val="AEABAB"/>
              </a:solidFill>
            </c:spPr>
            <c:extLst>
              <c:ext xmlns:c16="http://schemas.microsoft.com/office/drawing/2014/chart" uri="{C3380CC4-5D6E-409C-BE32-E72D297353CC}">
                <c16:uniqueId val="{00000ACB-B861-4943-8ABB-0EFD67D9E823}"/>
              </c:ext>
            </c:extLst>
          </c:dPt>
          <c:dPt>
            <c:idx val="1381"/>
            <c:invertIfNegative val="1"/>
            <c:bubble3D val="0"/>
            <c:spPr>
              <a:solidFill>
                <a:srgbClr val="AEABAB"/>
              </a:solidFill>
            </c:spPr>
            <c:extLst>
              <c:ext xmlns:c16="http://schemas.microsoft.com/office/drawing/2014/chart" uri="{C3380CC4-5D6E-409C-BE32-E72D297353CC}">
                <c16:uniqueId val="{00000ACD-B861-4943-8ABB-0EFD67D9E823}"/>
              </c:ext>
            </c:extLst>
          </c:dPt>
          <c:dPt>
            <c:idx val="1382"/>
            <c:invertIfNegative val="1"/>
            <c:bubble3D val="0"/>
            <c:spPr>
              <a:solidFill>
                <a:srgbClr val="AEABAB"/>
              </a:solidFill>
            </c:spPr>
            <c:extLst>
              <c:ext xmlns:c16="http://schemas.microsoft.com/office/drawing/2014/chart" uri="{C3380CC4-5D6E-409C-BE32-E72D297353CC}">
                <c16:uniqueId val="{00000ACF-B861-4943-8ABB-0EFD67D9E823}"/>
              </c:ext>
            </c:extLst>
          </c:dPt>
          <c:dPt>
            <c:idx val="1383"/>
            <c:invertIfNegative val="1"/>
            <c:bubble3D val="0"/>
            <c:spPr>
              <a:solidFill>
                <a:srgbClr val="AEABAB"/>
              </a:solidFill>
            </c:spPr>
            <c:extLst>
              <c:ext xmlns:c16="http://schemas.microsoft.com/office/drawing/2014/chart" uri="{C3380CC4-5D6E-409C-BE32-E72D297353CC}">
                <c16:uniqueId val="{00000AD1-B861-4943-8ABB-0EFD67D9E823}"/>
              </c:ext>
            </c:extLst>
          </c:dPt>
          <c:dPt>
            <c:idx val="1384"/>
            <c:invertIfNegative val="1"/>
            <c:bubble3D val="0"/>
            <c:spPr>
              <a:solidFill>
                <a:srgbClr val="AEABAB"/>
              </a:solidFill>
            </c:spPr>
            <c:extLst>
              <c:ext xmlns:c16="http://schemas.microsoft.com/office/drawing/2014/chart" uri="{C3380CC4-5D6E-409C-BE32-E72D297353CC}">
                <c16:uniqueId val="{00000AD3-B861-4943-8ABB-0EFD67D9E823}"/>
              </c:ext>
            </c:extLst>
          </c:dPt>
          <c:dPt>
            <c:idx val="1385"/>
            <c:invertIfNegative val="1"/>
            <c:bubble3D val="0"/>
            <c:spPr>
              <a:solidFill>
                <a:srgbClr val="AEABAB"/>
              </a:solidFill>
            </c:spPr>
            <c:extLst>
              <c:ext xmlns:c16="http://schemas.microsoft.com/office/drawing/2014/chart" uri="{C3380CC4-5D6E-409C-BE32-E72D297353CC}">
                <c16:uniqueId val="{00000AD5-B861-4943-8ABB-0EFD67D9E823}"/>
              </c:ext>
            </c:extLst>
          </c:dPt>
          <c:dPt>
            <c:idx val="1386"/>
            <c:invertIfNegative val="1"/>
            <c:bubble3D val="0"/>
            <c:spPr>
              <a:solidFill>
                <a:srgbClr val="AEABAB"/>
              </a:solidFill>
            </c:spPr>
            <c:extLst>
              <c:ext xmlns:c16="http://schemas.microsoft.com/office/drawing/2014/chart" uri="{C3380CC4-5D6E-409C-BE32-E72D297353CC}">
                <c16:uniqueId val="{00000AD7-B861-4943-8ABB-0EFD67D9E823}"/>
              </c:ext>
            </c:extLst>
          </c:dPt>
          <c:dPt>
            <c:idx val="1387"/>
            <c:invertIfNegative val="1"/>
            <c:bubble3D val="0"/>
            <c:spPr>
              <a:solidFill>
                <a:srgbClr val="AEABAB"/>
              </a:solidFill>
            </c:spPr>
            <c:extLst>
              <c:ext xmlns:c16="http://schemas.microsoft.com/office/drawing/2014/chart" uri="{C3380CC4-5D6E-409C-BE32-E72D297353CC}">
                <c16:uniqueId val="{00000AD9-B861-4943-8ABB-0EFD67D9E823}"/>
              </c:ext>
            </c:extLst>
          </c:dPt>
          <c:dPt>
            <c:idx val="1388"/>
            <c:invertIfNegative val="1"/>
            <c:bubble3D val="0"/>
            <c:spPr>
              <a:solidFill>
                <a:srgbClr val="AEABAB"/>
              </a:solidFill>
            </c:spPr>
            <c:extLst>
              <c:ext xmlns:c16="http://schemas.microsoft.com/office/drawing/2014/chart" uri="{C3380CC4-5D6E-409C-BE32-E72D297353CC}">
                <c16:uniqueId val="{00000ADB-B861-4943-8ABB-0EFD67D9E823}"/>
              </c:ext>
            </c:extLst>
          </c:dPt>
          <c:dPt>
            <c:idx val="1389"/>
            <c:invertIfNegative val="1"/>
            <c:bubble3D val="0"/>
            <c:spPr>
              <a:solidFill>
                <a:srgbClr val="AEABAB"/>
              </a:solidFill>
            </c:spPr>
            <c:extLst>
              <c:ext xmlns:c16="http://schemas.microsoft.com/office/drawing/2014/chart" uri="{C3380CC4-5D6E-409C-BE32-E72D297353CC}">
                <c16:uniqueId val="{00000ADD-B861-4943-8ABB-0EFD67D9E823}"/>
              </c:ext>
            </c:extLst>
          </c:dPt>
          <c:dPt>
            <c:idx val="1390"/>
            <c:invertIfNegative val="1"/>
            <c:bubble3D val="0"/>
            <c:spPr>
              <a:solidFill>
                <a:srgbClr val="AEABAB"/>
              </a:solidFill>
            </c:spPr>
            <c:extLst>
              <c:ext xmlns:c16="http://schemas.microsoft.com/office/drawing/2014/chart" uri="{C3380CC4-5D6E-409C-BE32-E72D297353CC}">
                <c16:uniqueId val="{00000ADF-B861-4943-8ABB-0EFD67D9E823}"/>
              </c:ext>
            </c:extLst>
          </c:dPt>
          <c:dPt>
            <c:idx val="1391"/>
            <c:invertIfNegative val="1"/>
            <c:bubble3D val="0"/>
            <c:spPr>
              <a:solidFill>
                <a:srgbClr val="AEABAB"/>
              </a:solidFill>
            </c:spPr>
            <c:extLst>
              <c:ext xmlns:c16="http://schemas.microsoft.com/office/drawing/2014/chart" uri="{C3380CC4-5D6E-409C-BE32-E72D297353CC}">
                <c16:uniqueId val="{00000AE1-B861-4943-8ABB-0EFD67D9E823}"/>
              </c:ext>
            </c:extLst>
          </c:dPt>
          <c:dPt>
            <c:idx val="1392"/>
            <c:invertIfNegative val="1"/>
            <c:bubble3D val="0"/>
            <c:spPr>
              <a:solidFill>
                <a:srgbClr val="AEABAB"/>
              </a:solidFill>
            </c:spPr>
            <c:extLst>
              <c:ext xmlns:c16="http://schemas.microsoft.com/office/drawing/2014/chart" uri="{C3380CC4-5D6E-409C-BE32-E72D297353CC}">
                <c16:uniqueId val="{00000AE3-B861-4943-8ABB-0EFD67D9E823}"/>
              </c:ext>
            </c:extLst>
          </c:dPt>
          <c:dPt>
            <c:idx val="1393"/>
            <c:invertIfNegative val="1"/>
            <c:bubble3D val="0"/>
            <c:spPr>
              <a:solidFill>
                <a:srgbClr val="AEABAB"/>
              </a:solidFill>
            </c:spPr>
            <c:extLst>
              <c:ext xmlns:c16="http://schemas.microsoft.com/office/drawing/2014/chart" uri="{C3380CC4-5D6E-409C-BE32-E72D297353CC}">
                <c16:uniqueId val="{00000AE5-B861-4943-8ABB-0EFD67D9E823}"/>
              </c:ext>
            </c:extLst>
          </c:dPt>
          <c:dPt>
            <c:idx val="1394"/>
            <c:invertIfNegative val="1"/>
            <c:bubble3D val="0"/>
            <c:spPr>
              <a:solidFill>
                <a:srgbClr val="AEABAB"/>
              </a:solidFill>
            </c:spPr>
            <c:extLst>
              <c:ext xmlns:c16="http://schemas.microsoft.com/office/drawing/2014/chart" uri="{C3380CC4-5D6E-409C-BE32-E72D297353CC}">
                <c16:uniqueId val="{00000AE7-B861-4943-8ABB-0EFD67D9E823}"/>
              </c:ext>
            </c:extLst>
          </c:dPt>
          <c:dPt>
            <c:idx val="1395"/>
            <c:invertIfNegative val="1"/>
            <c:bubble3D val="0"/>
            <c:spPr>
              <a:solidFill>
                <a:srgbClr val="AEABAB"/>
              </a:solidFill>
            </c:spPr>
            <c:extLst>
              <c:ext xmlns:c16="http://schemas.microsoft.com/office/drawing/2014/chart" uri="{C3380CC4-5D6E-409C-BE32-E72D297353CC}">
                <c16:uniqueId val="{00000AE9-B861-4943-8ABB-0EFD67D9E823}"/>
              </c:ext>
            </c:extLst>
          </c:dPt>
          <c:dPt>
            <c:idx val="1396"/>
            <c:invertIfNegative val="1"/>
            <c:bubble3D val="0"/>
            <c:spPr>
              <a:solidFill>
                <a:srgbClr val="AEABAB"/>
              </a:solidFill>
            </c:spPr>
            <c:extLst>
              <c:ext xmlns:c16="http://schemas.microsoft.com/office/drawing/2014/chart" uri="{C3380CC4-5D6E-409C-BE32-E72D297353CC}">
                <c16:uniqueId val="{00000AEB-B861-4943-8ABB-0EFD67D9E823}"/>
              </c:ext>
            </c:extLst>
          </c:dPt>
          <c:dPt>
            <c:idx val="1397"/>
            <c:invertIfNegative val="1"/>
            <c:bubble3D val="0"/>
            <c:spPr>
              <a:solidFill>
                <a:srgbClr val="AEABAB"/>
              </a:solidFill>
            </c:spPr>
            <c:extLst>
              <c:ext xmlns:c16="http://schemas.microsoft.com/office/drawing/2014/chart" uri="{C3380CC4-5D6E-409C-BE32-E72D297353CC}">
                <c16:uniqueId val="{00000AED-B861-4943-8ABB-0EFD67D9E823}"/>
              </c:ext>
            </c:extLst>
          </c:dPt>
          <c:dPt>
            <c:idx val="1398"/>
            <c:invertIfNegative val="1"/>
            <c:bubble3D val="0"/>
            <c:spPr>
              <a:solidFill>
                <a:srgbClr val="AEABAB"/>
              </a:solidFill>
            </c:spPr>
            <c:extLst>
              <c:ext xmlns:c16="http://schemas.microsoft.com/office/drawing/2014/chart" uri="{C3380CC4-5D6E-409C-BE32-E72D297353CC}">
                <c16:uniqueId val="{00000AEF-B861-4943-8ABB-0EFD67D9E823}"/>
              </c:ext>
            </c:extLst>
          </c:dPt>
          <c:dPt>
            <c:idx val="1399"/>
            <c:invertIfNegative val="1"/>
            <c:bubble3D val="0"/>
            <c:spPr>
              <a:solidFill>
                <a:srgbClr val="AEABAB"/>
              </a:solidFill>
            </c:spPr>
            <c:extLst>
              <c:ext xmlns:c16="http://schemas.microsoft.com/office/drawing/2014/chart" uri="{C3380CC4-5D6E-409C-BE32-E72D297353CC}">
                <c16:uniqueId val="{00000AF1-B861-4943-8ABB-0EFD67D9E823}"/>
              </c:ext>
            </c:extLst>
          </c:dPt>
          <c:dPt>
            <c:idx val="1400"/>
            <c:invertIfNegative val="1"/>
            <c:bubble3D val="0"/>
            <c:spPr>
              <a:solidFill>
                <a:srgbClr val="AEABAB"/>
              </a:solidFill>
            </c:spPr>
            <c:extLst>
              <c:ext xmlns:c16="http://schemas.microsoft.com/office/drawing/2014/chart" uri="{C3380CC4-5D6E-409C-BE32-E72D297353CC}">
                <c16:uniqueId val="{00000AF3-B861-4943-8ABB-0EFD67D9E823}"/>
              </c:ext>
            </c:extLst>
          </c:dPt>
          <c:dPt>
            <c:idx val="1401"/>
            <c:invertIfNegative val="1"/>
            <c:bubble3D val="0"/>
            <c:spPr>
              <a:solidFill>
                <a:srgbClr val="AEABAB"/>
              </a:solidFill>
            </c:spPr>
            <c:extLst>
              <c:ext xmlns:c16="http://schemas.microsoft.com/office/drawing/2014/chart" uri="{C3380CC4-5D6E-409C-BE32-E72D297353CC}">
                <c16:uniqueId val="{00000AF5-B861-4943-8ABB-0EFD67D9E823}"/>
              </c:ext>
            </c:extLst>
          </c:dPt>
          <c:dPt>
            <c:idx val="1402"/>
            <c:invertIfNegative val="1"/>
            <c:bubble3D val="0"/>
            <c:spPr>
              <a:solidFill>
                <a:srgbClr val="AEABAB"/>
              </a:solidFill>
            </c:spPr>
            <c:extLst>
              <c:ext xmlns:c16="http://schemas.microsoft.com/office/drawing/2014/chart" uri="{C3380CC4-5D6E-409C-BE32-E72D297353CC}">
                <c16:uniqueId val="{00000AF7-B861-4943-8ABB-0EFD67D9E823}"/>
              </c:ext>
            </c:extLst>
          </c:dPt>
          <c:dPt>
            <c:idx val="1403"/>
            <c:invertIfNegative val="1"/>
            <c:bubble3D val="0"/>
            <c:spPr>
              <a:solidFill>
                <a:srgbClr val="AEABAB"/>
              </a:solidFill>
            </c:spPr>
            <c:extLst>
              <c:ext xmlns:c16="http://schemas.microsoft.com/office/drawing/2014/chart" uri="{C3380CC4-5D6E-409C-BE32-E72D297353CC}">
                <c16:uniqueId val="{00000AF9-B861-4943-8ABB-0EFD67D9E823}"/>
              </c:ext>
            </c:extLst>
          </c:dPt>
          <c:dPt>
            <c:idx val="1404"/>
            <c:invertIfNegative val="1"/>
            <c:bubble3D val="0"/>
            <c:spPr>
              <a:solidFill>
                <a:srgbClr val="AEABAB"/>
              </a:solidFill>
            </c:spPr>
            <c:extLst>
              <c:ext xmlns:c16="http://schemas.microsoft.com/office/drawing/2014/chart" uri="{C3380CC4-5D6E-409C-BE32-E72D297353CC}">
                <c16:uniqueId val="{00000AFB-B861-4943-8ABB-0EFD67D9E823}"/>
              </c:ext>
            </c:extLst>
          </c:dPt>
          <c:dPt>
            <c:idx val="1405"/>
            <c:invertIfNegative val="1"/>
            <c:bubble3D val="0"/>
            <c:spPr>
              <a:solidFill>
                <a:srgbClr val="AEABAB"/>
              </a:solidFill>
            </c:spPr>
            <c:extLst>
              <c:ext xmlns:c16="http://schemas.microsoft.com/office/drawing/2014/chart" uri="{C3380CC4-5D6E-409C-BE32-E72D297353CC}">
                <c16:uniqueId val="{00000AFD-B861-4943-8ABB-0EFD67D9E823}"/>
              </c:ext>
            </c:extLst>
          </c:dPt>
          <c:dPt>
            <c:idx val="1406"/>
            <c:invertIfNegative val="1"/>
            <c:bubble3D val="0"/>
            <c:spPr>
              <a:solidFill>
                <a:srgbClr val="AEABAB"/>
              </a:solidFill>
            </c:spPr>
            <c:extLst>
              <c:ext xmlns:c16="http://schemas.microsoft.com/office/drawing/2014/chart" uri="{C3380CC4-5D6E-409C-BE32-E72D297353CC}">
                <c16:uniqueId val="{00000AFF-B861-4943-8ABB-0EFD67D9E823}"/>
              </c:ext>
            </c:extLst>
          </c:dPt>
          <c:dPt>
            <c:idx val="1407"/>
            <c:invertIfNegative val="1"/>
            <c:bubble3D val="0"/>
            <c:spPr>
              <a:solidFill>
                <a:srgbClr val="AEABAB"/>
              </a:solidFill>
            </c:spPr>
            <c:extLst>
              <c:ext xmlns:c16="http://schemas.microsoft.com/office/drawing/2014/chart" uri="{C3380CC4-5D6E-409C-BE32-E72D297353CC}">
                <c16:uniqueId val="{00000B01-B861-4943-8ABB-0EFD67D9E823}"/>
              </c:ext>
            </c:extLst>
          </c:dPt>
          <c:dPt>
            <c:idx val="1408"/>
            <c:invertIfNegative val="1"/>
            <c:bubble3D val="0"/>
            <c:spPr>
              <a:solidFill>
                <a:srgbClr val="AEABAB"/>
              </a:solidFill>
            </c:spPr>
            <c:extLst>
              <c:ext xmlns:c16="http://schemas.microsoft.com/office/drawing/2014/chart" uri="{C3380CC4-5D6E-409C-BE32-E72D297353CC}">
                <c16:uniqueId val="{00000B03-B861-4943-8ABB-0EFD67D9E823}"/>
              </c:ext>
            </c:extLst>
          </c:dPt>
          <c:dPt>
            <c:idx val="1409"/>
            <c:invertIfNegative val="1"/>
            <c:bubble3D val="0"/>
            <c:spPr>
              <a:solidFill>
                <a:srgbClr val="AEABAB"/>
              </a:solidFill>
            </c:spPr>
            <c:extLst>
              <c:ext xmlns:c16="http://schemas.microsoft.com/office/drawing/2014/chart" uri="{C3380CC4-5D6E-409C-BE32-E72D297353CC}">
                <c16:uniqueId val="{00000B05-B861-4943-8ABB-0EFD67D9E823}"/>
              </c:ext>
            </c:extLst>
          </c:dPt>
          <c:dPt>
            <c:idx val="1410"/>
            <c:invertIfNegative val="1"/>
            <c:bubble3D val="0"/>
            <c:spPr>
              <a:solidFill>
                <a:srgbClr val="AEABAB"/>
              </a:solidFill>
            </c:spPr>
            <c:extLst>
              <c:ext xmlns:c16="http://schemas.microsoft.com/office/drawing/2014/chart" uri="{C3380CC4-5D6E-409C-BE32-E72D297353CC}">
                <c16:uniqueId val="{00000B07-B861-4943-8ABB-0EFD67D9E823}"/>
              </c:ext>
            </c:extLst>
          </c:dPt>
          <c:dPt>
            <c:idx val="1411"/>
            <c:invertIfNegative val="1"/>
            <c:bubble3D val="0"/>
            <c:spPr>
              <a:solidFill>
                <a:srgbClr val="AEABAB"/>
              </a:solidFill>
            </c:spPr>
            <c:extLst>
              <c:ext xmlns:c16="http://schemas.microsoft.com/office/drawing/2014/chart" uri="{C3380CC4-5D6E-409C-BE32-E72D297353CC}">
                <c16:uniqueId val="{00000B09-B861-4943-8ABB-0EFD67D9E823}"/>
              </c:ext>
            </c:extLst>
          </c:dPt>
          <c:dPt>
            <c:idx val="1412"/>
            <c:invertIfNegative val="1"/>
            <c:bubble3D val="0"/>
            <c:spPr>
              <a:solidFill>
                <a:srgbClr val="AEABAB"/>
              </a:solidFill>
            </c:spPr>
            <c:extLst>
              <c:ext xmlns:c16="http://schemas.microsoft.com/office/drawing/2014/chart" uri="{C3380CC4-5D6E-409C-BE32-E72D297353CC}">
                <c16:uniqueId val="{00000B0B-B861-4943-8ABB-0EFD67D9E823}"/>
              </c:ext>
            </c:extLst>
          </c:dPt>
          <c:dPt>
            <c:idx val="1413"/>
            <c:invertIfNegative val="1"/>
            <c:bubble3D val="0"/>
            <c:spPr>
              <a:solidFill>
                <a:srgbClr val="AEABAB"/>
              </a:solidFill>
            </c:spPr>
            <c:extLst>
              <c:ext xmlns:c16="http://schemas.microsoft.com/office/drawing/2014/chart" uri="{C3380CC4-5D6E-409C-BE32-E72D297353CC}">
                <c16:uniqueId val="{00000B0D-B861-4943-8ABB-0EFD67D9E823}"/>
              </c:ext>
            </c:extLst>
          </c:dPt>
          <c:dPt>
            <c:idx val="1414"/>
            <c:invertIfNegative val="1"/>
            <c:bubble3D val="0"/>
            <c:spPr>
              <a:solidFill>
                <a:srgbClr val="AEABAB"/>
              </a:solidFill>
            </c:spPr>
            <c:extLst>
              <c:ext xmlns:c16="http://schemas.microsoft.com/office/drawing/2014/chart" uri="{C3380CC4-5D6E-409C-BE32-E72D297353CC}">
                <c16:uniqueId val="{00000B0F-B861-4943-8ABB-0EFD67D9E823}"/>
              </c:ext>
            </c:extLst>
          </c:dPt>
          <c:dPt>
            <c:idx val="1415"/>
            <c:invertIfNegative val="1"/>
            <c:bubble3D val="0"/>
            <c:spPr>
              <a:solidFill>
                <a:srgbClr val="AEABAB"/>
              </a:solidFill>
            </c:spPr>
            <c:extLst>
              <c:ext xmlns:c16="http://schemas.microsoft.com/office/drawing/2014/chart" uri="{C3380CC4-5D6E-409C-BE32-E72D297353CC}">
                <c16:uniqueId val="{00000B11-B861-4943-8ABB-0EFD67D9E823}"/>
              </c:ext>
            </c:extLst>
          </c:dPt>
          <c:dPt>
            <c:idx val="1416"/>
            <c:invertIfNegative val="1"/>
            <c:bubble3D val="0"/>
            <c:spPr>
              <a:solidFill>
                <a:srgbClr val="AEABAB"/>
              </a:solidFill>
            </c:spPr>
            <c:extLst>
              <c:ext xmlns:c16="http://schemas.microsoft.com/office/drawing/2014/chart" uri="{C3380CC4-5D6E-409C-BE32-E72D297353CC}">
                <c16:uniqueId val="{00000B13-B861-4943-8ABB-0EFD67D9E823}"/>
              </c:ext>
            </c:extLst>
          </c:dPt>
          <c:dPt>
            <c:idx val="1417"/>
            <c:invertIfNegative val="1"/>
            <c:bubble3D val="0"/>
            <c:spPr>
              <a:solidFill>
                <a:srgbClr val="AEABAB"/>
              </a:solidFill>
            </c:spPr>
            <c:extLst>
              <c:ext xmlns:c16="http://schemas.microsoft.com/office/drawing/2014/chart" uri="{C3380CC4-5D6E-409C-BE32-E72D297353CC}">
                <c16:uniqueId val="{00000B15-B861-4943-8ABB-0EFD67D9E823}"/>
              </c:ext>
            </c:extLst>
          </c:dPt>
          <c:dPt>
            <c:idx val="1418"/>
            <c:invertIfNegative val="1"/>
            <c:bubble3D val="0"/>
            <c:spPr>
              <a:solidFill>
                <a:srgbClr val="AEABAB"/>
              </a:solidFill>
            </c:spPr>
            <c:extLst>
              <c:ext xmlns:c16="http://schemas.microsoft.com/office/drawing/2014/chart" uri="{C3380CC4-5D6E-409C-BE32-E72D297353CC}">
                <c16:uniqueId val="{00000B17-B861-4943-8ABB-0EFD67D9E823}"/>
              </c:ext>
            </c:extLst>
          </c:dPt>
          <c:dPt>
            <c:idx val="1419"/>
            <c:invertIfNegative val="1"/>
            <c:bubble3D val="0"/>
            <c:spPr>
              <a:solidFill>
                <a:srgbClr val="AEABAB"/>
              </a:solidFill>
            </c:spPr>
            <c:extLst>
              <c:ext xmlns:c16="http://schemas.microsoft.com/office/drawing/2014/chart" uri="{C3380CC4-5D6E-409C-BE32-E72D297353CC}">
                <c16:uniqueId val="{00000B19-B861-4943-8ABB-0EFD67D9E823}"/>
              </c:ext>
            </c:extLst>
          </c:dPt>
          <c:dPt>
            <c:idx val="1420"/>
            <c:invertIfNegative val="1"/>
            <c:bubble3D val="0"/>
            <c:spPr>
              <a:solidFill>
                <a:srgbClr val="AEABAB"/>
              </a:solidFill>
            </c:spPr>
            <c:extLst>
              <c:ext xmlns:c16="http://schemas.microsoft.com/office/drawing/2014/chart" uri="{C3380CC4-5D6E-409C-BE32-E72D297353CC}">
                <c16:uniqueId val="{00000B1B-B861-4943-8ABB-0EFD67D9E823}"/>
              </c:ext>
            </c:extLst>
          </c:dPt>
          <c:dPt>
            <c:idx val="1421"/>
            <c:invertIfNegative val="1"/>
            <c:bubble3D val="0"/>
            <c:spPr>
              <a:solidFill>
                <a:srgbClr val="AEABAB"/>
              </a:solidFill>
            </c:spPr>
            <c:extLst>
              <c:ext xmlns:c16="http://schemas.microsoft.com/office/drawing/2014/chart" uri="{C3380CC4-5D6E-409C-BE32-E72D297353CC}">
                <c16:uniqueId val="{00000B1D-B861-4943-8ABB-0EFD67D9E823}"/>
              </c:ext>
            </c:extLst>
          </c:dPt>
          <c:dPt>
            <c:idx val="1422"/>
            <c:invertIfNegative val="1"/>
            <c:bubble3D val="0"/>
            <c:spPr>
              <a:solidFill>
                <a:srgbClr val="AEABAB"/>
              </a:solidFill>
            </c:spPr>
            <c:extLst>
              <c:ext xmlns:c16="http://schemas.microsoft.com/office/drawing/2014/chart" uri="{C3380CC4-5D6E-409C-BE32-E72D297353CC}">
                <c16:uniqueId val="{00000B1F-B861-4943-8ABB-0EFD67D9E823}"/>
              </c:ext>
            </c:extLst>
          </c:dPt>
          <c:dPt>
            <c:idx val="1423"/>
            <c:invertIfNegative val="1"/>
            <c:bubble3D val="0"/>
            <c:spPr>
              <a:solidFill>
                <a:srgbClr val="AEABAB"/>
              </a:solidFill>
            </c:spPr>
            <c:extLst>
              <c:ext xmlns:c16="http://schemas.microsoft.com/office/drawing/2014/chart" uri="{C3380CC4-5D6E-409C-BE32-E72D297353CC}">
                <c16:uniqueId val="{00000B21-B861-4943-8ABB-0EFD67D9E823}"/>
              </c:ext>
            </c:extLst>
          </c:dPt>
          <c:dPt>
            <c:idx val="1424"/>
            <c:invertIfNegative val="1"/>
            <c:bubble3D val="0"/>
            <c:spPr>
              <a:solidFill>
                <a:srgbClr val="AEABAB"/>
              </a:solidFill>
            </c:spPr>
            <c:extLst>
              <c:ext xmlns:c16="http://schemas.microsoft.com/office/drawing/2014/chart" uri="{C3380CC4-5D6E-409C-BE32-E72D297353CC}">
                <c16:uniqueId val="{00000B23-B861-4943-8ABB-0EFD67D9E823}"/>
              </c:ext>
            </c:extLst>
          </c:dPt>
          <c:dPt>
            <c:idx val="1425"/>
            <c:invertIfNegative val="1"/>
            <c:bubble3D val="0"/>
            <c:spPr>
              <a:solidFill>
                <a:srgbClr val="AEABAB"/>
              </a:solidFill>
            </c:spPr>
            <c:extLst>
              <c:ext xmlns:c16="http://schemas.microsoft.com/office/drawing/2014/chart" uri="{C3380CC4-5D6E-409C-BE32-E72D297353CC}">
                <c16:uniqueId val="{00000B25-B861-4943-8ABB-0EFD67D9E823}"/>
              </c:ext>
            </c:extLst>
          </c:dPt>
          <c:dPt>
            <c:idx val="1426"/>
            <c:invertIfNegative val="1"/>
            <c:bubble3D val="0"/>
            <c:spPr>
              <a:solidFill>
                <a:srgbClr val="AEABAB"/>
              </a:solidFill>
            </c:spPr>
            <c:extLst>
              <c:ext xmlns:c16="http://schemas.microsoft.com/office/drawing/2014/chart" uri="{C3380CC4-5D6E-409C-BE32-E72D297353CC}">
                <c16:uniqueId val="{00000B27-B861-4943-8ABB-0EFD67D9E823}"/>
              </c:ext>
            </c:extLst>
          </c:dPt>
          <c:dPt>
            <c:idx val="1427"/>
            <c:invertIfNegative val="1"/>
            <c:bubble3D val="0"/>
            <c:spPr>
              <a:solidFill>
                <a:srgbClr val="AEABAB"/>
              </a:solidFill>
            </c:spPr>
            <c:extLst>
              <c:ext xmlns:c16="http://schemas.microsoft.com/office/drawing/2014/chart" uri="{C3380CC4-5D6E-409C-BE32-E72D297353CC}">
                <c16:uniqueId val="{00000B29-B861-4943-8ABB-0EFD67D9E823}"/>
              </c:ext>
            </c:extLst>
          </c:dPt>
          <c:dPt>
            <c:idx val="1428"/>
            <c:invertIfNegative val="1"/>
            <c:bubble3D val="0"/>
            <c:spPr>
              <a:solidFill>
                <a:srgbClr val="AEABAB"/>
              </a:solidFill>
            </c:spPr>
            <c:extLst>
              <c:ext xmlns:c16="http://schemas.microsoft.com/office/drawing/2014/chart" uri="{C3380CC4-5D6E-409C-BE32-E72D297353CC}">
                <c16:uniqueId val="{00000B2B-B861-4943-8ABB-0EFD67D9E823}"/>
              </c:ext>
            </c:extLst>
          </c:dPt>
          <c:dPt>
            <c:idx val="1429"/>
            <c:invertIfNegative val="1"/>
            <c:bubble3D val="0"/>
            <c:spPr>
              <a:solidFill>
                <a:srgbClr val="AEABAB"/>
              </a:solidFill>
            </c:spPr>
            <c:extLst>
              <c:ext xmlns:c16="http://schemas.microsoft.com/office/drawing/2014/chart" uri="{C3380CC4-5D6E-409C-BE32-E72D297353CC}">
                <c16:uniqueId val="{00000B2D-B861-4943-8ABB-0EFD67D9E823}"/>
              </c:ext>
            </c:extLst>
          </c:dPt>
          <c:dPt>
            <c:idx val="1430"/>
            <c:invertIfNegative val="1"/>
            <c:bubble3D val="0"/>
            <c:spPr>
              <a:solidFill>
                <a:srgbClr val="AEABAB"/>
              </a:solidFill>
            </c:spPr>
            <c:extLst>
              <c:ext xmlns:c16="http://schemas.microsoft.com/office/drawing/2014/chart" uri="{C3380CC4-5D6E-409C-BE32-E72D297353CC}">
                <c16:uniqueId val="{00000B2F-B861-4943-8ABB-0EFD67D9E823}"/>
              </c:ext>
            </c:extLst>
          </c:dPt>
          <c:dPt>
            <c:idx val="1431"/>
            <c:invertIfNegative val="1"/>
            <c:bubble3D val="0"/>
            <c:spPr>
              <a:solidFill>
                <a:srgbClr val="AEABAB"/>
              </a:solidFill>
            </c:spPr>
            <c:extLst>
              <c:ext xmlns:c16="http://schemas.microsoft.com/office/drawing/2014/chart" uri="{C3380CC4-5D6E-409C-BE32-E72D297353CC}">
                <c16:uniqueId val="{00000B31-B861-4943-8ABB-0EFD67D9E823}"/>
              </c:ext>
            </c:extLst>
          </c:dPt>
          <c:dPt>
            <c:idx val="1432"/>
            <c:invertIfNegative val="1"/>
            <c:bubble3D val="0"/>
            <c:spPr>
              <a:solidFill>
                <a:srgbClr val="AEABAB"/>
              </a:solidFill>
            </c:spPr>
            <c:extLst>
              <c:ext xmlns:c16="http://schemas.microsoft.com/office/drawing/2014/chart" uri="{C3380CC4-5D6E-409C-BE32-E72D297353CC}">
                <c16:uniqueId val="{00000B33-B861-4943-8ABB-0EFD67D9E823}"/>
              </c:ext>
            </c:extLst>
          </c:dPt>
          <c:dPt>
            <c:idx val="1433"/>
            <c:invertIfNegative val="1"/>
            <c:bubble3D val="0"/>
            <c:spPr>
              <a:solidFill>
                <a:srgbClr val="AEABAB"/>
              </a:solidFill>
            </c:spPr>
            <c:extLst>
              <c:ext xmlns:c16="http://schemas.microsoft.com/office/drawing/2014/chart" uri="{C3380CC4-5D6E-409C-BE32-E72D297353CC}">
                <c16:uniqueId val="{00000B35-B861-4943-8ABB-0EFD67D9E823}"/>
              </c:ext>
            </c:extLst>
          </c:dPt>
          <c:dPt>
            <c:idx val="1434"/>
            <c:invertIfNegative val="1"/>
            <c:bubble3D val="0"/>
            <c:spPr>
              <a:solidFill>
                <a:srgbClr val="AEABAB"/>
              </a:solidFill>
            </c:spPr>
            <c:extLst>
              <c:ext xmlns:c16="http://schemas.microsoft.com/office/drawing/2014/chart" uri="{C3380CC4-5D6E-409C-BE32-E72D297353CC}">
                <c16:uniqueId val="{00000B37-B861-4943-8ABB-0EFD67D9E823}"/>
              </c:ext>
            </c:extLst>
          </c:dPt>
          <c:dPt>
            <c:idx val="1435"/>
            <c:invertIfNegative val="1"/>
            <c:bubble3D val="0"/>
            <c:spPr>
              <a:solidFill>
                <a:srgbClr val="AEABAB"/>
              </a:solidFill>
            </c:spPr>
            <c:extLst>
              <c:ext xmlns:c16="http://schemas.microsoft.com/office/drawing/2014/chart" uri="{C3380CC4-5D6E-409C-BE32-E72D297353CC}">
                <c16:uniqueId val="{00000B39-B861-4943-8ABB-0EFD67D9E823}"/>
              </c:ext>
            </c:extLst>
          </c:dPt>
          <c:dPt>
            <c:idx val="1436"/>
            <c:invertIfNegative val="1"/>
            <c:bubble3D val="0"/>
            <c:spPr>
              <a:solidFill>
                <a:srgbClr val="AEABAB"/>
              </a:solidFill>
            </c:spPr>
            <c:extLst>
              <c:ext xmlns:c16="http://schemas.microsoft.com/office/drawing/2014/chart" uri="{C3380CC4-5D6E-409C-BE32-E72D297353CC}">
                <c16:uniqueId val="{00000B3B-B861-4943-8ABB-0EFD67D9E823}"/>
              </c:ext>
            </c:extLst>
          </c:dPt>
          <c:dPt>
            <c:idx val="1437"/>
            <c:invertIfNegative val="1"/>
            <c:bubble3D val="0"/>
            <c:spPr>
              <a:solidFill>
                <a:srgbClr val="AEABAB"/>
              </a:solidFill>
            </c:spPr>
            <c:extLst>
              <c:ext xmlns:c16="http://schemas.microsoft.com/office/drawing/2014/chart" uri="{C3380CC4-5D6E-409C-BE32-E72D297353CC}">
                <c16:uniqueId val="{00000B3D-B861-4943-8ABB-0EFD67D9E823}"/>
              </c:ext>
            </c:extLst>
          </c:dPt>
          <c:dPt>
            <c:idx val="1438"/>
            <c:invertIfNegative val="1"/>
            <c:bubble3D val="0"/>
            <c:spPr>
              <a:solidFill>
                <a:srgbClr val="AEABAB"/>
              </a:solidFill>
            </c:spPr>
            <c:extLst>
              <c:ext xmlns:c16="http://schemas.microsoft.com/office/drawing/2014/chart" uri="{C3380CC4-5D6E-409C-BE32-E72D297353CC}">
                <c16:uniqueId val="{00000B3F-B861-4943-8ABB-0EFD67D9E823}"/>
              </c:ext>
            </c:extLst>
          </c:dPt>
          <c:dPt>
            <c:idx val="1439"/>
            <c:invertIfNegative val="1"/>
            <c:bubble3D val="0"/>
            <c:spPr>
              <a:solidFill>
                <a:srgbClr val="AEABAB"/>
              </a:solidFill>
            </c:spPr>
            <c:extLst>
              <c:ext xmlns:c16="http://schemas.microsoft.com/office/drawing/2014/chart" uri="{C3380CC4-5D6E-409C-BE32-E72D297353CC}">
                <c16:uniqueId val="{00000B41-B861-4943-8ABB-0EFD67D9E823}"/>
              </c:ext>
            </c:extLst>
          </c:dPt>
          <c:dPt>
            <c:idx val="1440"/>
            <c:invertIfNegative val="1"/>
            <c:bubble3D val="0"/>
            <c:spPr>
              <a:solidFill>
                <a:srgbClr val="AEABAB"/>
              </a:solidFill>
            </c:spPr>
            <c:extLst>
              <c:ext xmlns:c16="http://schemas.microsoft.com/office/drawing/2014/chart" uri="{C3380CC4-5D6E-409C-BE32-E72D297353CC}">
                <c16:uniqueId val="{00000B43-B861-4943-8ABB-0EFD67D9E823}"/>
              </c:ext>
            </c:extLst>
          </c:dPt>
          <c:dPt>
            <c:idx val="1441"/>
            <c:invertIfNegative val="1"/>
            <c:bubble3D val="0"/>
            <c:spPr>
              <a:solidFill>
                <a:srgbClr val="AEABAB"/>
              </a:solidFill>
            </c:spPr>
            <c:extLst>
              <c:ext xmlns:c16="http://schemas.microsoft.com/office/drawing/2014/chart" uri="{C3380CC4-5D6E-409C-BE32-E72D297353CC}">
                <c16:uniqueId val="{00000B45-B861-4943-8ABB-0EFD67D9E823}"/>
              </c:ext>
            </c:extLst>
          </c:dPt>
          <c:dPt>
            <c:idx val="1442"/>
            <c:invertIfNegative val="1"/>
            <c:bubble3D val="0"/>
            <c:spPr>
              <a:solidFill>
                <a:srgbClr val="AEABAB"/>
              </a:solidFill>
            </c:spPr>
            <c:extLst>
              <c:ext xmlns:c16="http://schemas.microsoft.com/office/drawing/2014/chart" uri="{C3380CC4-5D6E-409C-BE32-E72D297353CC}">
                <c16:uniqueId val="{00000B47-B861-4943-8ABB-0EFD67D9E823}"/>
              </c:ext>
            </c:extLst>
          </c:dPt>
          <c:dPt>
            <c:idx val="1443"/>
            <c:invertIfNegative val="1"/>
            <c:bubble3D val="0"/>
            <c:spPr>
              <a:solidFill>
                <a:srgbClr val="AEABAB"/>
              </a:solidFill>
            </c:spPr>
            <c:extLst>
              <c:ext xmlns:c16="http://schemas.microsoft.com/office/drawing/2014/chart" uri="{C3380CC4-5D6E-409C-BE32-E72D297353CC}">
                <c16:uniqueId val="{00000B49-B861-4943-8ABB-0EFD67D9E823}"/>
              </c:ext>
            </c:extLst>
          </c:dPt>
          <c:dPt>
            <c:idx val="1444"/>
            <c:invertIfNegative val="1"/>
            <c:bubble3D val="0"/>
            <c:spPr>
              <a:solidFill>
                <a:srgbClr val="AEABAB"/>
              </a:solidFill>
            </c:spPr>
            <c:extLst>
              <c:ext xmlns:c16="http://schemas.microsoft.com/office/drawing/2014/chart" uri="{C3380CC4-5D6E-409C-BE32-E72D297353CC}">
                <c16:uniqueId val="{00000B4B-B861-4943-8ABB-0EFD67D9E823}"/>
              </c:ext>
            </c:extLst>
          </c:dPt>
          <c:dPt>
            <c:idx val="1445"/>
            <c:invertIfNegative val="1"/>
            <c:bubble3D val="0"/>
            <c:spPr>
              <a:solidFill>
                <a:srgbClr val="AEABAB"/>
              </a:solidFill>
            </c:spPr>
            <c:extLst>
              <c:ext xmlns:c16="http://schemas.microsoft.com/office/drawing/2014/chart" uri="{C3380CC4-5D6E-409C-BE32-E72D297353CC}">
                <c16:uniqueId val="{00000B4D-B861-4943-8ABB-0EFD67D9E823}"/>
              </c:ext>
            </c:extLst>
          </c:dPt>
          <c:dPt>
            <c:idx val="1446"/>
            <c:invertIfNegative val="1"/>
            <c:bubble3D val="0"/>
            <c:spPr>
              <a:solidFill>
                <a:srgbClr val="AEABAB"/>
              </a:solidFill>
            </c:spPr>
            <c:extLst>
              <c:ext xmlns:c16="http://schemas.microsoft.com/office/drawing/2014/chart" uri="{C3380CC4-5D6E-409C-BE32-E72D297353CC}">
                <c16:uniqueId val="{00000B4F-B861-4943-8ABB-0EFD67D9E823}"/>
              </c:ext>
            </c:extLst>
          </c:dPt>
          <c:dPt>
            <c:idx val="1447"/>
            <c:invertIfNegative val="1"/>
            <c:bubble3D val="0"/>
            <c:spPr>
              <a:solidFill>
                <a:srgbClr val="AEABAB"/>
              </a:solidFill>
            </c:spPr>
            <c:extLst>
              <c:ext xmlns:c16="http://schemas.microsoft.com/office/drawing/2014/chart" uri="{C3380CC4-5D6E-409C-BE32-E72D297353CC}">
                <c16:uniqueId val="{00000B51-B861-4943-8ABB-0EFD67D9E823}"/>
              </c:ext>
            </c:extLst>
          </c:dPt>
          <c:dPt>
            <c:idx val="1448"/>
            <c:invertIfNegative val="1"/>
            <c:bubble3D val="0"/>
            <c:spPr>
              <a:solidFill>
                <a:srgbClr val="AEABAB"/>
              </a:solidFill>
            </c:spPr>
            <c:extLst>
              <c:ext xmlns:c16="http://schemas.microsoft.com/office/drawing/2014/chart" uri="{C3380CC4-5D6E-409C-BE32-E72D297353CC}">
                <c16:uniqueId val="{00000B53-B861-4943-8ABB-0EFD67D9E823}"/>
              </c:ext>
            </c:extLst>
          </c:dPt>
          <c:dPt>
            <c:idx val="1449"/>
            <c:invertIfNegative val="1"/>
            <c:bubble3D val="0"/>
            <c:spPr>
              <a:solidFill>
                <a:srgbClr val="AEABAB"/>
              </a:solidFill>
            </c:spPr>
            <c:extLst>
              <c:ext xmlns:c16="http://schemas.microsoft.com/office/drawing/2014/chart" uri="{C3380CC4-5D6E-409C-BE32-E72D297353CC}">
                <c16:uniqueId val="{00000B55-B861-4943-8ABB-0EFD67D9E823}"/>
              </c:ext>
            </c:extLst>
          </c:dPt>
          <c:dPt>
            <c:idx val="1450"/>
            <c:invertIfNegative val="1"/>
            <c:bubble3D val="0"/>
            <c:spPr>
              <a:solidFill>
                <a:srgbClr val="AEABAB"/>
              </a:solidFill>
            </c:spPr>
            <c:extLst>
              <c:ext xmlns:c16="http://schemas.microsoft.com/office/drawing/2014/chart" uri="{C3380CC4-5D6E-409C-BE32-E72D297353CC}">
                <c16:uniqueId val="{00000B57-B861-4943-8ABB-0EFD67D9E823}"/>
              </c:ext>
            </c:extLst>
          </c:dPt>
          <c:dPt>
            <c:idx val="1451"/>
            <c:invertIfNegative val="1"/>
            <c:bubble3D val="0"/>
            <c:spPr>
              <a:solidFill>
                <a:srgbClr val="AEABAB"/>
              </a:solidFill>
            </c:spPr>
            <c:extLst>
              <c:ext xmlns:c16="http://schemas.microsoft.com/office/drawing/2014/chart" uri="{C3380CC4-5D6E-409C-BE32-E72D297353CC}">
                <c16:uniqueId val="{00000B59-B861-4943-8ABB-0EFD67D9E823}"/>
              </c:ext>
            </c:extLst>
          </c:dPt>
          <c:dPt>
            <c:idx val="1452"/>
            <c:invertIfNegative val="1"/>
            <c:bubble3D val="0"/>
            <c:spPr>
              <a:solidFill>
                <a:srgbClr val="AEABAB"/>
              </a:solidFill>
            </c:spPr>
            <c:extLst>
              <c:ext xmlns:c16="http://schemas.microsoft.com/office/drawing/2014/chart" uri="{C3380CC4-5D6E-409C-BE32-E72D297353CC}">
                <c16:uniqueId val="{00000B5B-B861-4943-8ABB-0EFD67D9E823}"/>
              </c:ext>
            </c:extLst>
          </c:dPt>
          <c:dPt>
            <c:idx val="1453"/>
            <c:invertIfNegative val="1"/>
            <c:bubble3D val="0"/>
            <c:spPr>
              <a:solidFill>
                <a:srgbClr val="AEABAB"/>
              </a:solidFill>
            </c:spPr>
            <c:extLst>
              <c:ext xmlns:c16="http://schemas.microsoft.com/office/drawing/2014/chart" uri="{C3380CC4-5D6E-409C-BE32-E72D297353CC}">
                <c16:uniqueId val="{00000B5D-B861-4943-8ABB-0EFD67D9E823}"/>
              </c:ext>
            </c:extLst>
          </c:dPt>
          <c:dPt>
            <c:idx val="1454"/>
            <c:invertIfNegative val="1"/>
            <c:bubble3D val="0"/>
            <c:spPr>
              <a:solidFill>
                <a:srgbClr val="AEABAB"/>
              </a:solidFill>
            </c:spPr>
            <c:extLst>
              <c:ext xmlns:c16="http://schemas.microsoft.com/office/drawing/2014/chart" uri="{C3380CC4-5D6E-409C-BE32-E72D297353CC}">
                <c16:uniqueId val="{00000B5F-B861-4943-8ABB-0EFD67D9E823}"/>
              </c:ext>
            </c:extLst>
          </c:dPt>
          <c:dPt>
            <c:idx val="1455"/>
            <c:invertIfNegative val="1"/>
            <c:bubble3D val="0"/>
            <c:spPr>
              <a:solidFill>
                <a:srgbClr val="AEABAB"/>
              </a:solidFill>
            </c:spPr>
            <c:extLst>
              <c:ext xmlns:c16="http://schemas.microsoft.com/office/drawing/2014/chart" uri="{C3380CC4-5D6E-409C-BE32-E72D297353CC}">
                <c16:uniqueId val="{00000B61-B861-4943-8ABB-0EFD67D9E823}"/>
              </c:ext>
            </c:extLst>
          </c:dPt>
          <c:dPt>
            <c:idx val="1456"/>
            <c:invertIfNegative val="1"/>
            <c:bubble3D val="0"/>
            <c:spPr>
              <a:solidFill>
                <a:srgbClr val="AEABAB"/>
              </a:solidFill>
            </c:spPr>
            <c:extLst>
              <c:ext xmlns:c16="http://schemas.microsoft.com/office/drawing/2014/chart" uri="{C3380CC4-5D6E-409C-BE32-E72D297353CC}">
                <c16:uniqueId val="{00000B63-B861-4943-8ABB-0EFD67D9E823}"/>
              </c:ext>
            </c:extLst>
          </c:dPt>
          <c:dPt>
            <c:idx val="1457"/>
            <c:invertIfNegative val="1"/>
            <c:bubble3D val="0"/>
            <c:spPr>
              <a:solidFill>
                <a:srgbClr val="AEABAB"/>
              </a:solidFill>
            </c:spPr>
            <c:extLst>
              <c:ext xmlns:c16="http://schemas.microsoft.com/office/drawing/2014/chart" uri="{C3380CC4-5D6E-409C-BE32-E72D297353CC}">
                <c16:uniqueId val="{00000B65-B861-4943-8ABB-0EFD67D9E823}"/>
              </c:ext>
            </c:extLst>
          </c:dPt>
          <c:dPt>
            <c:idx val="1458"/>
            <c:invertIfNegative val="1"/>
            <c:bubble3D val="0"/>
            <c:spPr>
              <a:solidFill>
                <a:srgbClr val="AEABAB"/>
              </a:solidFill>
            </c:spPr>
            <c:extLst>
              <c:ext xmlns:c16="http://schemas.microsoft.com/office/drawing/2014/chart" uri="{C3380CC4-5D6E-409C-BE32-E72D297353CC}">
                <c16:uniqueId val="{00000B67-B861-4943-8ABB-0EFD67D9E823}"/>
              </c:ext>
            </c:extLst>
          </c:dPt>
          <c:dPt>
            <c:idx val="1459"/>
            <c:invertIfNegative val="1"/>
            <c:bubble3D val="0"/>
            <c:spPr>
              <a:solidFill>
                <a:srgbClr val="AEABAB"/>
              </a:solidFill>
            </c:spPr>
            <c:extLst>
              <c:ext xmlns:c16="http://schemas.microsoft.com/office/drawing/2014/chart" uri="{C3380CC4-5D6E-409C-BE32-E72D297353CC}">
                <c16:uniqueId val="{00000B69-B861-4943-8ABB-0EFD67D9E823}"/>
              </c:ext>
            </c:extLst>
          </c:dPt>
          <c:dPt>
            <c:idx val="1460"/>
            <c:invertIfNegative val="1"/>
            <c:bubble3D val="0"/>
            <c:spPr>
              <a:solidFill>
                <a:srgbClr val="AEABAB"/>
              </a:solidFill>
            </c:spPr>
            <c:extLst>
              <c:ext xmlns:c16="http://schemas.microsoft.com/office/drawing/2014/chart" uri="{C3380CC4-5D6E-409C-BE32-E72D297353CC}">
                <c16:uniqueId val="{00000B6B-B861-4943-8ABB-0EFD67D9E823}"/>
              </c:ext>
            </c:extLst>
          </c:dPt>
          <c:dPt>
            <c:idx val="1461"/>
            <c:invertIfNegative val="1"/>
            <c:bubble3D val="0"/>
            <c:spPr>
              <a:solidFill>
                <a:srgbClr val="AEABAB"/>
              </a:solidFill>
            </c:spPr>
            <c:extLst>
              <c:ext xmlns:c16="http://schemas.microsoft.com/office/drawing/2014/chart" uri="{C3380CC4-5D6E-409C-BE32-E72D297353CC}">
                <c16:uniqueId val="{00000B6D-B861-4943-8ABB-0EFD67D9E823}"/>
              </c:ext>
            </c:extLst>
          </c:dPt>
          <c:dPt>
            <c:idx val="1462"/>
            <c:invertIfNegative val="1"/>
            <c:bubble3D val="0"/>
            <c:spPr>
              <a:solidFill>
                <a:srgbClr val="AEABAB"/>
              </a:solidFill>
            </c:spPr>
            <c:extLst>
              <c:ext xmlns:c16="http://schemas.microsoft.com/office/drawing/2014/chart" uri="{C3380CC4-5D6E-409C-BE32-E72D297353CC}">
                <c16:uniqueId val="{00000B6F-B861-4943-8ABB-0EFD67D9E823}"/>
              </c:ext>
            </c:extLst>
          </c:dPt>
          <c:dPt>
            <c:idx val="1463"/>
            <c:invertIfNegative val="1"/>
            <c:bubble3D val="0"/>
            <c:spPr>
              <a:solidFill>
                <a:srgbClr val="AEABAB"/>
              </a:solidFill>
            </c:spPr>
            <c:extLst>
              <c:ext xmlns:c16="http://schemas.microsoft.com/office/drawing/2014/chart" uri="{C3380CC4-5D6E-409C-BE32-E72D297353CC}">
                <c16:uniqueId val="{00000B71-B861-4943-8ABB-0EFD67D9E823}"/>
              </c:ext>
            </c:extLst>
          </c:dPt>
          <c:dPt>
            <c:idx val="1464"/>
            <c:invertIfNegative val="1"/>
            <c:bubble3D val="0"/>
            <c:spPr>
              <a:solidFill>
                <a:srgbClr val="AEABAB"/>
              </a:solidFill>
            </c:spPr>
            <c:extLst>
              <c:ext xmlns:c16="http://schemas.microsoft.com/office/drawing/2014/chart" uri="{C3380CC4-5D6E-409C-BE32-E72D297353CC}">
                <c16:uniqueId val="{00000B73-B861-4943-8ABB-0EFD67D9E823}"/>
              </c:ext>
            </c:extLst>
          </c:dPt>
          <c:dPt>
            <c:idx val="1465"/>
            <c:invertIfNegative val="1"/>
            <c:bubble3D val="0"/>
            <c:spPr>
              <a:solidFill>
                <a:srgbClr val="AEABAB"/>
              </a:solidFill>
            </c:spPr>
            <c:extLst>
              <c:ext xmlns:c16="http://schemas.microsoft.com/office/drawing/2014/chart" uri="{C3380CC4-5D6E-409C-BE32-E72D297353CC}">
                <c16:uniqueId val="{00000B75-B861-4943-8ABB-0EFD67D9E823}"/>
              </c:ext>
            </c:extLst>
          </c:dPt>
          <c:dPt>
            <c:idx val="1466"/>
            <c:invertIfNegative val="1"/>
            <c:bubble3D val="0"/>
            <c:spPr>
              <a:solidFill>
                <a:srgbClr val="AEABAB"/>
              </a:solidFill>
            </c:spPr>
            <c:extLst>
              <c:ext xmlns:c16="http://schemas.microsoft.com/office/drawing/2014/chart" uri="{C3380CC4-5D6E-409C-BE32-E72D297353CC}">
                <c16:uniqueId val="{00000B77-B861-4943-8ABB-0EFD67D9E823}"/>
              </c:ext>
            </c:extLst>
          </c:dPt>
          <c:dPt>
            <c:idx val="1467"/>
            <c:invertIfNegative val="1"/>
            <c:bubble3D val="0"/>
            <c:spPr>
              <a:solidFill>
                <a:srgbClr val="AEABAB"/>
              </a:solidFill>
            </c:spPr>
            <c:extLst>
              <c:ext xmlns:c16="http://schemas.microsoft.com/office/drawing/2014/chart" uri="{C3380CC4-5D6E-409C-BE32-E72D297353CC}">
                <c16:uniqueId val="{00000B79-B861-4943-8ABB-0EFD67D9E823}"/>
              </c:ext>
            </c:extLst>
          </c:dPt>
          <c:dPt>
            <c:idx val="1468"/>
            <c:invertIfNegative val="1"/>
            <c:bubble3D val="0"/>
            <c:spPr>
              <a:solidFill>
                <a:srgbClr val="AEABAB"/>
              </a:solidFill>
            </c:spPr>
            <c:extLst>
              <c:ext xmlns:c16="http://schemas.microsoft.com/office/drawing/2014/chart" uri="{C3380CC4-5D6E-409C-BE32-E72D297353CC}">
                <c16:uniqueId val="{00000B7B-B861-4943-8ABB-0EFD67D9E823}"/>
              </c:ext>
            </c:extLst>
          </c:dPt>
          <c:dPt>
            <c:idx val="1469"/>
            <c:invertIfNegative val="1"/>
            <c:bubble3D val="0"/>
            <c:spPr>
              <a:solidFill>
                <a:srgbClr val="AEABAB"/>
              </a:solidFill>
            </c:spPr>
            <c:extLst>
              <c:ext xmlns:c16="http://schemas.microsoft.com/office/drawing/2014/chart" uri="{C3380CC4-5D6E-409C-BE32-E72D297353CC}">
                <c16:uniqueId val="{00000B7D-B861-4943-8ABB-0EFD67D9E823}"/>
              </c:ext>
            </c:extLst>
          </c:dPt>
          <c:dPt>
            <c:idx val="1470"/>
            <c:invertIfNegative val="1"/>
            <c:bubble3D val="0"/>
            <c:spPr>
              <a:solidFill>
                <a:srgbClr val="AEABAB"/>
              </a:solidFill>
            </c:spPr>
            <c:extLst>
              <c:ext xmlns:c16="http://schemas.microsoft.com/office/drawing/2014/chart" uri="{C3380CC4-5D6E-409C-BE32-E72D297353CC}">
                <c16:uniqueId val="{00000B7F-B861-4943-8ABB-0EFD67D9E823}"/>
              </c:ext>
            </c:extLst>
          </c:dPt>
          <c:dPt>
            <c:idx val="1471"/>
            <c:invertIfNegative val="1"/>
            <c:bubble3D val="0"/>
            <c:spPr>
              <a:solidFill>
                <a:srgbClr val="AEABAB"/>
              </a:solidFill>
            </c:spPr>
            <c:extLst>
              <c:ext xmlns:c16="http://schemas.microsoft.com/office/drawing/2014/chart" uri="{C3380CC4-5D6E-409C-BE32-E72D297353CC}">
                <c16:uniqueId val="{00000B81-B861-4943-8ABB-0EFD67D9E823}"/>
              </c:ext>
            </c:extLst>
          </c:dPt>
          <c:dPt>
            <c:idx val="1472"/>
            <c:invertIfNegative val="1"/>
            <c:bubble3D val="0"/>
            <c:spPr>
              <a:solidFill>
                <a:srgbClr val="AEABAB"/>
              </a:solidFill>
            </c:spPr>
            <c:extLst>
              <c:ext xmlns:c16="http://schemas.microsoft.com/office/drawing/2014/chart" uri="{C3380CC4-5D6E-409C-BE32-E72D297353CC}">
                <c16:uniqueId val="{00000B83-B861-4943-8ABB-0EFD67D9E823}"/>
              </c:ext>
            </c:extLst>
          </c:dPt>
          <c:dPt>
            <c:idx val="1473"/>
            <c:invertIfNegative val="1"/>
            <c:bubble3D val="0"/>
            <c:spPr>
              <a:solidFill>
                <a:srgbClr val="AEABAB"/>
              </a:solidFill>
            </c:spPr>
            <c:extLst>
              <c:ext xmlns:c16="http://schemas.microsoft.com/office/drawing/2014/chart" uri="{C3380CC4-5D6E-409C-BE32-E72D297353CC}">
                <c16:uniqueId val="{00000B85-B861-4943-8ABB-0EFD67D9E823}"/>
              </c:ext>
            </c:extLst>
          </c:dPt>
          <c:dPt>
            <c:idx val="1474"/>
            <c:invertIfNegative val="1"/>
            <c:bubble3D val="0"/>
            <c:spPr>
              <a:solidFill>
                <a:srgbClr val="AEABAB"/>
              </a:solidFill>
            </c:spPr>
            <c:extLst>
              <c:ext xmlns:c16="http://schemas.microsoft.com/office/drawing/2014/chart" uri="{C3380CC4-5D6E-409C-BE32-E72D297353CC}">
                <c16:uniqueId val="{00000B87-B861-4943-8ABB-0EFD67D9E823}"/>
              </c:ext>
            </c:extLst>
          </c:dPt>
          <c:dPt>
            <c:idx val="1475"/>
            <c:invertIfNegative val="1"/>
            <c:bubble3D val="0"/>
            <c:spPr>
              <a:solidFill>
                <a:srgbClr val="AEABAB"/>
              </a:solidFill>
            </c:spPr>
            <c:extLst>
              <c:ext xmlns:c16="http://schemas.microsoft.com/office/drawing/2014/chart" uri="{C3380CC4-5D6E-409C-BE32-E72D297353CC}">
                <c16:uniqueId val="{00000B89-B861-4943-8ABB-0EFD67D9E823}"/>
              </c:ext>
            </c:extLst>
          </c:dPt>
          <c:dPt>
            <c:idx val="1476"/>
            <c:invertIfNegative val="1"/>
            <c:bubble3D val="0"/>
            <c:spPr>
              <a:solidFill>
                <a:srgbClr val="AEABAB"/>
              </a:solidFill>
            </c:spPr>
            <c:extLst>
              <c:ext xmlns:c16="http://schemas.microsoft.com/office/drawing/2014/chart" uri="{C3380CC4-5D6E-409C-BE32-E72D297353CC}">
                <c16:uniqueId val="{00000B8B-B861-4943-8ABB-0EFD67D9E823}"/>
              </c:ext>
            </c:extLst>
          </c:dPt>
          <c:dPt>
            <c:idx val="1477"/>
            <c:invertIfNegative val="1"/>
            <c:bubble3D val="0"/>
            <c:spPr>
              <a:solidFill>
                <a:srgbClr val="AEABAB"/>
              </a:solidFill>
            </c:spPr>
            <c:extLst>
              <c:ext xmlns:c16="http://schemas.microsoft.com/office/drawing/2014/chart" uri="{C3380CC4-5D6E-409C-BE32-E72D297353CC}">
                <c16:uniqueId val="{00000B8D-B861-4943-8ABB-0EFD67D9E823}"/>
              </c:ext>
            </c:extLst>
          </c:dPt>
          <c:dPt>
            <c:idx val="1478"/>
            <c:invertIfNegative val="1"/>
            <c:bubble3D val="0"/>
            <c:spPr>
              <a:solidFill>
                <a:srgbClr val="AEABAB"/>
              </a:solidFill>
            </c:spPr>
            <c:extLst>
              <c:ext xmlns:c16="http://schemas.microsoft.com/office/drawing/2014/chart" uri="{C3380CC4-5D6E-409C-BE32-E72D297353CC}">
                <c16:uniqueId val="{00000B8F-B861-4943-8ABB-0EFD67D9E823}"/>
              </c:ext>
            </c:extLst>
          </c:dPt>
          <c:dPt>
            <c:idx val="1479"/>
            <c:invertIfNegative val="1"/>
            <c:bubble3D val="0"/>
            <c:spPr>
              <a:solidFill>
                <a:srgbClr val="AEABAB"/>
              </a:solidFill>
            </c:spPr>
            <c:extLst>
              <c:ext xmlns:c16="http://schemas.microsoft.com/office/drawing/2014/chart" uri="{C3380CC4-5D6E-409C-BE32-E72D297353CC}">
                <c16:uniqueId val="{00000B91-B861-4943-8ABB-0EFD67D9E823}"/>
              </c:ext>
            </c:extLst>
          </c:dPt>
          <c:dPt>
            <c:idx val="1480"/>
            <c:invertIfNegative val="1"/>
            <c:bubble3D val="0"/>
            <c:spPr>
              <a:solidFill>
                <a:srgbClr val="AEABAB"/>
              </a:solidFill>
            </c:spPr>
            <c:extLst>
              <c:ext xmlns:c16="http://schemas.microsoft.com/office/drawing/2014/chart" uri="{C3380CC4-5D6E-409C-BE32-E72D297353CC}">
                <c16:uniqueId val="{00000B93-B861-4943-8ABB-0EFD67D9E823}"/>
              </c:ext>
            </c:extLst>
          </c:dPt>
          <c:dPt>
            <c:idx val="1481"/>
            <c:invertIfNegative val="1"/>
            <c:bubble3D val="0"/>
            <c:spPr>
              <a:solidFill>
                <a:srgbClr val="AEABAB"/>
              </a:solidFill>
            </c:spPr>
            <c:extLst>
              <c:ext xmlns:c16="http://schemas.microsoft.com/office/drawing/2014/chart" uri="{C3380CC4-5D6E-409C-BE32-E72D297353CC}">
                <c16:uniqueId val="{00000B95-B861-4943-8ABB-0EFD67D9E823}"/>
              </c:ext>
            </c:extLst>
          </c:dPt>
          <c:dPt>
            <c:idx val="1482"/>
            <c:invertIfNegative val="1"/>
            <c:bubble3D val="0"/>
            <c:spPr>
              <a:solidFill>
                <a:srgbClr val="AEABAB"/>
              </a:solidFill>
            </c:spPr>
            <c:extLst>
              <c:ext xmlns:c16="http://schemas.microsoft.com/office/drawing/2014/chart" uri="{C3380CC4-5D6E-409C-BE32-E72D297353CC}">
                <c16:uniqueId val="{00000B97-B861-4943-8ABB-0EFD67D9E823}"/>
              </c:ext>
            </c:extLst>
          </c:dPt>
          <c:dPt>
            <c:idx val="1483"/>
            <c:invertIfNegative val="1"/>
            <c:bubble3D val="0"/>
            <c:spPr>
              <a:solidFill>
                <a:srgbClr val="AEABAB"/>
              </a:solidFill>
            </c:spPr>
            <c:extLst>
              <c:ext xmlns:c16="http://schemas.microsoft.com/office/drawing/2014/chart" uri="{C3380CC4-5D6E-409C-BE32-E72D297353CC}">
                <c16:uniqueId val="{00000B99-B861-4943-8ABB-0EFD67D9E823}"/>
              </c:ext>
            </c:extLst>
          </c:dPt>
          <c:dPt>
            <c:idx val="1484"/>
            <c:invertIfNegative val="1"/>
            <c:bubble3D val="0"/>
            <c:spPr>
              <a:solidFill>
                <a:srgbClr val="AEABAB"/>
              </a:solidFill>
            </c:spPr>
            <c:extLst>
              <c:ext xmlns:c16="http://schemas.microsoft.com/office/drawing/2014/chart" uri="{C3380CC4-5D6E-409C-BE32-E72D297353CC}">
                <c16:uniqueId val="{00000B9B-B861-4943-8ABB-0EFD67D9E823}"/>
              </c:ext>
            </c:extLst>
          </c:dPt>
          <c:dPt>
            <c:idx val="1485"/>
            <c:invertIfNegative val="1"/>
            <c:bubble3D val="0"/>
            <c:spPr>
              <a:solidFill>
                <a:srgbClr val="AEABAB"/>
              </a:solidFill>
            </c:spPr>
            <c:extLst>
              <c:ext xmlns:c16="http://schemas.microsoft.com/office/drawing/2014/chart" uri="{C3380CC4-5D6E-409C-BE32-E72D297353CC}">
                <c16:uniqueId val="{00000B9D-B861-4943-8ABB-0EFD67D9E823}"/>
              </c:ext>
            </c:extLst>
          </c:dPt>
          <c:dPt>
            <c:idx val="1486"/>
            <c:invertIfNegative val="1"/>
            <c:bubble3D val="0"/>
            <c:spPr>
              <a:solidFill>
                <a:srgbClr val="AEABAB"/>
              </a:solidFill>
            </c:spPr>
            <c:extLst>
              <c:ext xmlns:c16="http://schemas.microsoft.com/office/drawing/2014/chart" uri="{C3380CC4-5D6E-409C-BE32-E72D297353CC}">
                <c16:uniqueId val="{00000B9F-B861-4943-8ABB-0EFD67D9E823}"/>
              </c:ext>
            </c:extLst>
          </c:dPt>
          <c:dPt>
            <c:idx val="1487"/>
            <c:invertIfNegative val="1"/>
            <c:bubble3D val="0"/>
            <c:spPr>
              <a:solidFill>
                <a:srgbClr val="AEABAB"/>
              </a:solidFill>
            </c:spPr>
            <c:extLst>
              <c:ext xmlns:c16="http://schemas.microsoft.com/office/drawing/2014/chart" uri="{C3380CC4-5D6E-409C-BE32-E72D297353CC}">
                <c16:uniqueId val="{00000BA1-B861-4943-8ABB-0EFD67D9E823}"/>
              </c:ext>
            </c:extLst>
          </c:dPt>
          <c:dPt>
            <c:idx val="1488"/>
            <c:invertIfNegative val="1"/>
            <c:bubble3D val="0"/>
            <c:spPr>
              <a:solidFill>
                <a:srgbClr val="AEABAB"/>
              </a:solidFill>
            </c:spPr>
            <c:extLst>
              <c:ext xmlns:c16="http://schemas.microsoft.com/office/drawing/2014/chart" uri="{C3380CC4-5D6E-409C-BE32-E72D297353CC}">
                <c16:uniqueId val="{00000BA3-B861-4943-8ABB-0EFD67D9E823}"/>
              </c:ext>
            </c:extLst>
          </c:dPt>
          <c:dPt>
            <c:idx val="1489"/>
            <c:invertIfNegative val="1"/>
            <c:bubble3D val="0"/>
            <c:spPr>
              <a:solidFill>
                <a:srgbClr val="AEABAB"/>
              </a:solidFill>
            </c:spPr>
            <c:extLst>
              <c:ext xmlns:c16="http://schemas.microsoft.com/office/drawing/2014/chart" uri="{C3380CC4-5D6E-409C-BE32-E72D297353CC}">
                <c16:uniqueId val="{00000BA5-B861-4943-8ABB-0EFD67D9E823}"/>
              </c:ext>
            </c:extLst>
          </c:dPt>
          <c:dPt>
            <c:idx val="1490"/>
            <c:invertIfNegative val="1"/>
            <c:bubble3D val="0"/>
            <c:spPr>
              <a:solidFill>
                <a:srgbClr val="AEABAB"/>
              </a:solidFill>
            </c:spPr>
            <c:extLst>
              <c:ext xmlns:c16="http://schemas.microsoft.com/office/drawing/2014/chart" uri="{C3380CC4-5D6E-409C-BE32-E72D297353CC}">
                <c16:uniqueId val="{00000BA7-B861-4943-8ABB-0EFD67D9E823}"/>
              </c:ext>
            </c:extLst>
          </c:dPt>
          <c:dPt>
            <c:idx val="1491"/>
            <c:invertIfNegative val="1"/>
            <c:bubble3D val="0"/>
            <c:spPr>
              <a:solidFill>
                <a:srgbClr val="AEABAB"/>
              </a:solidFill>
            </c:spPr>
            <c:extLst>
              <c:ext xmlns:c16="http://schemas.microsoft.com/office/drawing/2014/chart" uri="{C3380CC4-5D6E-409C-BE32-E72D297353CC}">
                <c16:uniqueId val="{00000BA9-B861-4943-8ABB-0EFD67D9E823}"/>
              </c:ext>
            </c:extLst>
          </c:dPt>
          <c:dPt>
            <c:idx val="1492"/>
            <c:invertIfNegative val="1"/>
            <c:bubble3D val="0"/>
            <c:spPr>
              <a:solidFill>
                <a:srgbClr val="AEABAB"/>
              </a:solidFill>
            </c:spPr>
            <c:extLst>
              <c:ext xmlns:c16="http://schemas.microsoft.com/office/drawing/2014/chart" uri="{C3380CC4-5D6E-409C-BE32-E72D297353CC}">
                <c16:uniqueId val="{00000BAB-B861-4943-8ABB-0EFD67D9E823}"/>
              </c:ext>
            </c:extLst>
          </c:dPt>
          <c:dPt>
            <c:idx val="1493"/>
            <c:invertIfNegative val="1"/>
            <c:bubble3D val="0"/>
            <c:spPr>
              <a:solidFill>
                <a:srgbClr val="AEABAB"/>
              </a:solidFill>
            </c:spPr>
            <c:extLst>
              <c:ext xmlns:c16="http://schemas.microsoft.com/office/drawing/2014/chart" uri="{C3380CC4-5D6E-409C-BE32-E72D297353CC}">
                <c16:uniqueId val="{00000BAD-B861-4943-8ABB-0EFD67D9E823}"/>
              </c:ext>
            </c:extLst>
          </c:dPt>
          <c:dPt>
            <c:idx val="1494"/>
            <c:invertIfNegative val="1"/>
            <c:bubble3D val="0"/>
            <c:spPr>
              <a:solidFill>
                <a:srgbClr val="AEABAB"/>
              </a:solidFill>
            </c:spPr>
            <c:extLst>
              <c:ext xmlns:c16="http://schemas.microsoft.com/office/drawing/2014/chart" uri="{C3380CC4-5D6E-409C-BE32-E72D297353CC}">
                <c16:uniqueId val="{00000BAF-B861-4943-8ABB-0EFD67D9E823}"/>
              </c:ext>
            </c:extLst>
          </c:dPt>
          <c:dPt>
            <c:idx val="1495"/>
            <c:invertIfNegative val="1"/>
            <c:bubble3D val="0"/>
            <c:spPr>
              <a:solidFill>
                <a:srgbClr val="AEABAB"/>
              </a:solidFill>
            </c:spPr>
            <c:extLst>
              <c:ext xmlns:c16="http://schemas.microsoft.com/office/drawing/2014/chart" uri="{C3380CC4-5D6E-409C-BE32-E72D297353CC}">
                <c16:uniqueId val="{00000BB1-B861-4943-8ABB-0EFD67D9E823}"/>
              </c:ext>
            </c:extLst>
          </c:dPt>
          <c:dPt>
            <c:idx val="1496"/>
            <c:invertIfNegative val="1"/>
            <c:bubble3D val="0"/>
            <c:spPr>
              <a:solidFill>
                <a:srgbClr val="AEABAB"/>
              </a:solidFill>
            </c:spPr>
            <c:extLst>
              <c:ext xmlns:c16="http://schemas.microsoft.com/office/drawing/2014/chart" uri="{C3380CC4-5D6E-409C-BE32-E72D297353CC}">
                <c16:uniqueId val="{00000BB3-B861-4943-8ABB-0EFD67D9E823}"/>
              </c:ext>
            </c:extLst>
          </c:dPt>
          <c:dPt>
            <c:idx val="1497"/>
            <c:invertIfNegative val="1"/>
            <c:bubble3D val="0"/>
            <c:spPr>
              <a:solidFill>
                <a:srgbClr val="AEABAB"/>
              </a:solidFill>
            </c:spPr>
            <c:extLst>
              <c:ext xmlns:c16="http://schemas.microsoft.com/office/drawing/2014/chart" uri="{C3380CC4-5D6E-409C-BE32-E72D297353CC}">
                <c16:uniqueId val="{00000BB5-B861-4943-8ABB-0EFD67D9E823}"/>
              </c:ext>
            </c:extLst>
          </c:dPt>
          <c:dPt>
            <c:idx val="1498"/>
            <c:invertIfNegative val="1"/>
            <c:bubble3D val="0"/>
            <c:spPr>
              <a:solidFill>
                <a:srgbClr val="AEABAB"/>
              </a:solidFill>
            </c:spPr>
            <c:extLst>
              <c:ext xmlns:c16="http://schemas.microsoft.com/office/drawing/2014/chart" uri="{C3380CC4-5D6E-409C-BE32-E72D297353CC}">
                <c16:uniqueId val="{00000BB7-B861-4943-8ABB-0EFD67D9E823}"/>
              </c:ext>
            </c:extLst>
          </c:dPt>
          <c:dPt>
            <c:idx val="1499"/>
            <c:invertIfNegative val="1"/>
            <c:bubble3D val="0"/>
            <c:spPr>
              <a:solidFill>
                <a:srgbClr val="AEABAB"/>
              </a:solidFill>
            </c:spPr>
            <c:extLst>
              <c:ext xmlns:c16="http://schemas.microsoft.com/office/drawing/2014/chart" uri="{C3380CC4-5D6E-409C-BE32-E72D297353CC}">
                <c16:uniqueId val="{00000BB9-B861-4943-8ABB-0EFD67D9E823}"/>
              </c:ext>
            </c:extLst>
          </c:dPt>
          <c:dPt>
            <c:idx val="1500"/>
            <c:invertIfNegative val="1"/>
            <c:bubble3D val="0"/>
            <c:spPr>
              <a:solidFill>
                <a:srgbClr val="AEABAB"/>
              </a:solidFill>
            </c:spPr>
            <c:extLst>
              <c:ext xmlns:c16="http://schemas.microsoft.com/office/drawing/2014/chart" uri="{C3380CC4-5D6E-409C-BE32-E72D297353CC}">
                <c16:uniqueId val="{00000BBB-B861-4943-8ABB-0EFD67D9E823}"/>
              </c:ext>
            </c:extLst>
          </c:dPt>
          <c:dPt>
            <c:idx val="1501"/>
            <c:invertIfNegative val="1"/>
            <c:bubble3D val="0"/>
            <c:spPr>
              <a:solidFill>
                <a:srgbClr val="AEABAB"/>
              </a:solidFill>
            </c:spPr>
            <c:extLst>
              <c:ext xmlns:c16="http://schemas.microsoft.com/office/drawing/2014/chart" uri="{C3380CC4-5D6E-409C-BE32-E72D297353CC}">
                <c16:uniqueId val="{00000BBD-B861-4943-8ABB-0EFD67D9E823}"/>
              </c:ext>
            </c:extLst>
          </c:dPt>
          <c:dPt>
            <c:idx val="1502"/>
            <c:invertIfNegative val="1"/>
            <c:bubble3D val="0"/>
            <c:spPr>
              <a:solidFill>
                <a:srgbClr val="AEABAB"/>
              </a:solidFill>
            </c:spPr>
            <c:extLst>
              <c:ext xmlns:c16="http://schemas.microsoft.com/office/drawing/2014/chart" uri="{C3380CC4-5D6E-409C-BE32-E72D297353CC}">
                <c16:uniqueId val="{00000BBF-B861-4943-8ABB-0EFD67D9E823}"/>
              </c:ext>
            </c:extLst>
          </c:dPt>
          <c:dPt>
            <c:idx val="1503"/>
            <c:invertIfNegative val="1"/>
            <c:bubble3D val="0"/>
            <c:spPr>
              <a:solidFill>
                <a:srgbClr val="AEABAB"/>
              </a:solidFill>
            </c:spPr>
            <c:extLst>
              <c:ext xmlns:c16="http://schemas.microsoft.com/office/drawing/2014/chart" uri="{C3380CC4-5D6E-409C-BE32-E72D297353CC}">
                <c16:uniqueId val="{00000BC1-B861-4943-8ABB-0EFD67D9E823}"/>
              </c:ext>
            </c:extLst>
          </c:dPt>
          <c:dPt>
            <c:idx val="1504"/>
            <c:invertIfNegative val="1"/>
            <c:bubble3D val="0"/>
            <c:spPr>
              <a:solidFill>
                <a:srgbClr val="AEABAB"/>
              </a:solidFill>
            </c:spPr>
            <c:extLst>
              <c:ext xmlns:c16="http://schemas.microsoft.com/office/drawing/2014/chart" uri="{C3380CC4-5D6E-409C-BE32-E72D297353CC}">
                <c16:uniqueId val="{00000BC3-B861-4943-8ABB-0EFD67D9E823}"/>
              </c:ext>
            </c:extLst>
          </c:dPt>
          <c:dPt>
            <c:idx val="1505"/>
            <c:invertIfNegative val="1"/>
            <c:bubble3D val="0"/>
            <c:spPr>
              <a:solidFill>
                <a:srgbClr val="AEABAB"/>
              </a:solidFill>
            </c:spPr>
            <c:extLst>
              <c:ext xmlns:c16="http://schemas.microsoft.com/office/drawing/2014/chart" uri="{C3380CC4-5D6E-409C-BE32-E72D297353CC}">
                <c16:uniqueId val="{00000BC5-B861-4943-8ABB-0EFD67D9E823}"/>
              </c:ext>
            </c:extLst>
          </c:dPt>
          <c:dPt>
            <c:idx val="1506"/>
            <c:invertIfNegative val="1"/>
            <c:bubble3D val="0"/>
            <c:spPr>
              <a:solidFill>
                <a:srgbClr val="AEABAB"/>
              </a:solidFill>
            </c:spPr>
            <c:extLst>
              <c:ext xmlns:c16="http://schemas.microsoft.com/office/drawing/2014/chart" uri="{C3380CC4-5D6E-409C-BE32-E72D297353CC}">
                <c16:uniqueId val="{00000BC7-B861-4943-8ABB-0EFD67D9E823}"/>
              </c:ext>
            </c:extLst>
          </c:dPt>
          <c:dPt>
            <c:idx val="1507"/>
            <c:invertIfNegative val="1"/>
            <c:bubble3D val="0"/>
            <c:spPr>
              <a:solidFill>
                <a:srgbClr val="AEABAB"/>
              </a:solidFill>
            </c:spPr>
            <c:extLst>
              <c:ext xmlns:c16="http://schemas.microsoft.com/office/drawing/2014/chart" uri="{C3380CC4-5D6E-409C-BE32-E72D297353CC}">
                <c16:uniqueId val="{00000BC9-B861-4943-8ABB-0EFD67D9E823}"/>
              </c:ext>
            </c:extLst>
          </c:dPt>
          <c:dPt>
            <c:idx val="1508"/>
            <c:invertIfNegative val="1"/>
            <c:bubble3D val="0"/>
            <c:spPr>
              <a:solidFill>
                <a:srgbClr val="AEABAB"/>
              </a:solidFill>
            </c:spPr>
            <c:extLst>
              <c:ext xmlns:c16="http://schemas.microsoft.com/office/drawing/2014/chart" uri="{C3380CC4-5D6E-409C-BE32-E72D297353CC}">
                <c16:uniqueId val="{00000BCB-B861-4943-8ABB-0EFD67D9E823}"/>
              </c:ext>
            </c:extLst>
          </c:dPt>
          <c:dPt>
            <c:idx val="1509"/>
            <c:invertIfNegative val="1"/>
            <c:bubble3D val="0"/>
            <c:spPr>
              <a:solidFill>
                <a:srgbClr val="AEABAB"/>
              </a:solidFill>
            </c:spPr>
            <c:extLst>
              <c:ext xmlns:c16="http://schemas.microsoft.com/office/drawing/2014/chart" uri="{C3380CC4-5D6E-409C-BE32-E72D297353CC}">
                <c16:uniqueId val="{00000BCD-B861-4943-8ABB-0EFD67D9E823}"/>
              </c:ext>
            </c:extLst>
          </c:dPt>
          <c:dPt>
            <c:idx val="1510"/>
            <c:invertIfNegative val="1"/>
            <c:bubble3D val="0"/>
            <c:spPr>
              <a:solidFill>
                <a:srgbClr val="AEABAB"/>
              </a:solidFill>
            </c:spPr>
            <c:extLst>
              <c:ext xmlns:c16="http://schemas.microsoft.com/office/drawing/2014/chart" uri="{C3380CC4-5D6E-409C-BE32-E72D297353CC}">
                <c16:uniqueId val="{00000BCF-B861-4943-8ABB-0EFD67D9E823}"/>
              </c:ext>
            </c:extLst>
          </c:dPt>
          <c:dPt>
            <c:idx val="1511"/>
            <c:invertIfNegative val="1"/>
            <c:bubble3D val="0"/>
            <c:spPr>
              <a:solidFill>
                <a:srgbClr val="AEABAB"/>
              </a:solidFill>
            </c:spPr>
            <c:extLst>
              <c:ext xmlns:c16="http://schemas.microsoft.com/office/drawing/2014/chart" uri="{C3380CC4-5D6E-409C-BE32-E72D297353CC}">
                <c16:uniqueId val="{00000BD1-B861-4943-8ABB-0EFD67D9E823}"/>
              </c:ext>
            </c:extLst>
          </c:dPt>
          <c:dPt>
            <c:idx val="1512"/>
            <c:invertIfNegative val="1"/>
            <c:bubble3D val="0"/>
            <c:spPr>
              <a:solidFill>
                <a:srgbClr val="AEABAB"/>
              </a:solidFill>
            </c:spPr>
            <c:extLst>
              <c:ext xmlns:c16="http://schemas.microsoft.com/office/drawing/2014/chart" uri="{C3380CC4-5D6E-409C-BE32-E72D297353CC}">
                <c16:uniqueId val="{00000BD3-B861-4943-8ABB-0EFD67D9E823}"/>
              </c:ext>
            </c:extLst>
          </c:dPt>
          <c:dPt>
            <c:idx val="1513"/>
            <c:invertIfNegative val="1"/>
            <c:bubble3D val="0"/>
            <c:spPr>
              <a:solidFill>
                <a:srgbClr val="AEABAB"/>
              </a:solidFill>
            </c:spPr>
            <c:extLst>
              <c:ext xmlns:c16="http://schemas.microsoft.com/office/drawing/2014/chart" uri="{C3380CC4-5D6E-409C-BE32-E72D297353CC}">
                <c16:uniqueId val="{00000BD5-B861-4943-8ABB-0EFD67D9E823}"/>
              </c:ext>
            </c:extLst>
          </c:dPt>
          <c:dPt>
            <c:idx val="1514"/>
            <c:invertIfNegative val="1"/>
            <c:bubble3D val="0"/>
            <c:spPr>
              <a:solidFill>
                <a:srgbClr val="AEABAB"/>
              </a:solidFill>
            </c:spPr>
            <c:extLst>
              <c:ext xmlns:c16="http://schemas.microsoft.com/office/drawing/2014/chart" uri="{C3380CC4-5D6E-409C-BE32-E72D297353CC}">
                <c16:uniqueId val="{00000BD7-B861-4943-8ABB-0EFD67D9E823}"/>
              </c:ext>
            </c:extLst>
          </c:dPt>
          <c:dPt>
            <c:idx val="1515"/>
            <c:invertIfNegative val="1"/>
            <c:bubble3D val="0"/>
            <c:spPr>
              <a:solidFill>
                <a:srgbClr val="AEABAB"/>
              </a:solidFill>
            </c:spPr>
            <c:extLst>
              <c:ext xmlns:c16="http://schemas.microsoft.com/office/drawing/2014/chart" uri="{C3380CC4-5D6E-409C-BE32-E72D297353CC}">
                <c16:uniqueId val="{00000BD9-B861-4943-8ABB-0EFD67D9E823}"/>
              </c:ext>
            </c:extLst>
          </c:dPt>
          <c:cat>
            <c:strRef>
              <c:f>Sheet1!$A$2:$A$1517</c:f>
              <c:strCache>
                <c:ptCount val="1516"/>
                <c:pt idx="0">
                  <c:v>Private Lab</c:v>
                </c:pt>
                <c:pt idx="1">
                  <c:v>Private Lab</c:v>
                </c:pt>
                <c:pt idx="2">
                  <c:v>Private Lab</c:v>
                </c:pt>
                <c:pt idx="3">
                  <c:v>Private Lab</c:v>
                </c:pt>
                <c:pt idx="4">
                  <c:v>Private Lab</c:v>
                </c:pt>
                <c:pt idx="5">
                  <c:v>Caprice Des</c:v>
                </c:pt>
                <c:pt idx="6">
                  <c:v>Private Lab</c:v>
                </c:pt>
                <c:pt idx="7">
                  <c:v>Private Lab</c:v>
                </c:pt>
                <c:pt idx="8">
                  <c:v>Private Lab</c:v>
                </c:pt>
                <c:pt idx="9">
                  <c:v>Mini Babybe</c:v>
                </c:pt>
                <c:pt idx="10">
                  <c:v>Private Lab</c:v>
                </c:pt>
                <c:pt idx="11">
                  <c:v>Private Lab</c:v>
                </c:pt>
                <c:pt idx="12">
                  <c:v>President</c:v>
                </c:pt>
                <c:pt idx="13">
                  <c:v>Richesmonts</c:v>
                </c:pt>
                <c:pt idx="14">
                  <c:v>Private Lab</c:v>
                </c:pt>
                <c:pt idx="15">
                  <c:v>Coeur De Li</c:v>
                </c:pt>
                <c:pt idx="16">
                  <c:v>Private Lab</c:v>
                </c:pt>
                <c:pt idx="17">
                  <c:v>Private Lab</c:v>
                </c:pt>
                <c:pt idx="18">
                  <c:v>Soignon</c:v>
                </c:pt>
                <c:pt idx="19">
                  <c:v>Entremont</c:v>
                </c:pt>
                <c:pt idx="20">
                  <c:v>Chaussee Au</c:v>
                </c:pt>
                <c:pt idx="21">
                  <c:v>Private Lab</c:v>
                </c:pt>
                <c:pt idx="22">
                  <c:v>Caprice Des</c:v>
                </c:pt>
                <c:pt idx="23">
                  <c:v>La Vache Qu</c:v>
                </c:pt>
                <c:pt idx="24">
                  <c:v>Private Lab</c:v>
                </c:pt>
                <c:pt idx="25">
                  <c:v>Private Lab</c:v>
                </c:pt>
                <c:pt idx="26">
                  <c:v>President</c:v>
                </c:pt>
                <c:pt idx="27">
                  <c:v>President</c:v>
                </c:pt>
                <c:pt idx="28">
                  <c:v>Private Lab</c:v>
                </c:pt>
                <c:pt idx="29">
                  <c:v>Private Lab</c:v>
                </c:pt>
                <c:pt idx="30">
                  <c:v>President</c:v>
                </c:pt>
                <c:pt idx="31">
                  <c:v>Leerdammer</c:v>
                </c:pt>
                <c:pt idx="32">
                  <c:v>Entremont</c:v>
                </c:pt>
                <c:pt idx="33">
                  <c:v>Private Lab</c:v>
                </c:pt>
                <c:pt idx="34">
                  <c:v>Private Lab</c:v>
                </c:pt>
                <c:pt idx="35">
                  <c:v>Private Lab</c:v>
                </c:pt>
                <c:pt idx="36">
                  <c:v>Private Lab</c:v>
                </c:pt>
                <c:pt idx="37">
                  <c:v>Private Lab</c:v>
                </c:pt>
                <c:pt idx="38">
                  <c:v>President</c:v>
                </c:pt>
                <c:pt idx="39">
                  <c:v>Soignon</c:v>
                </c:pt>
                <c:pt idx="40">
                  <c:v>St Moret</c:v>
                </c:pt>
                <c:pt idx="41">
                  <c:v>Le Rustique</c:v>
                </c:pt>
                <c:pt idx="42">
                  <c:v>Private Lab</c:v>
                </c:pt>
                <c:pt idx="43">
                  <c:v>St Moret</c:v>
                </c:pt>
                <c:pt idx="44">
                  <c:v>Private Lab</c:v>
                </c:pt>
                <c:pt idx="45">
                  <c:v>All Others</c:v>
                </c:pt>
                <c:pt idx="46">
                  <c:v>Private Lab</c:v>
                </c:pt>
                <c:pt idx="47">
                  <c:v>President</c:v>
                </c:pt>
                <c:pt idx="48">
                  <c:v>La Vache Qu</c:v>
                </c:pt>
                <c:pt idx="49">
                  <c:v>President</c:v>
                </c:pt>
                <c:pt idx="50">
                  <c:v>Societe</c:v>
                </c:pt>
                <c:pt idx="51">
                  <c:v>St Moret</c:v>
                </c:pt>
                <c:pt idx="52">
                  <c:v>Private Lab</c:v>
                </c:pt>
                <c:pt idx="53">
                  <c:v>Private Lab</c:v>
                </c:pt>
                <c:pt idx="54">
                  <c:v>Private Lab</c:v>
                </c:pt>
                <c:pt idx="55">
                  <c:v>Private Lab</c:v>
                </c:pt>
                <c:pt idx="56">
                  <c:v>Coeur De Li</c:v>
                </c:pt>
                <c:pt idx="57">
                  <c:v>La Vache Qu</c:v>
                </c:pt>
                <c:pt idx="58">
                  <c:v>Private Lab</c:v>
                </c:pt>
                <c:pt idx="59">
                  <c:v>Private Lab</c:v>
                </c:pt>
                <c:pt idx="60">
                  <c:v>Chaussee Au</c:v>
                </c:pt>
                <c:pt idx="61">
                  <c:v>Entremont</c:v>
                </c:pt>
                <c:pt idx="62">
                  <c:v>St Moret</c:v>
                </c:pt>
                <c:pt idx="63">
                  <c:v>Tartare</c:v>
                </c:pt>
                <c:pt idx="64">
                  <c:v>Mini Babybe</c:v>
                </c:pt>
                <c:pt idx="65">
                  <c:v>Private Lab</c:v>
                </c:pt>
                <c:pt idx="66">
                  <c:v>Private Lab</c:v>
                </c:pt>
                <c:pt idx="67">
                  <c:v>Soignon</c:v>
                </c:pt>
                <c:pt idx="68">
                  <c:v>President</c:v>
                </c:pt>
                <c:pt idx="69">
                  <c:v>Saint Agur</c:v>
                </c:pt>
                <c:pt idx="70">
                  <c:v>Leerdammer</c:v>
                </c:pt>
                <c:pt idx="71">
                  <c:v>Entremont</c:v>
                </c:pt>
                <c:pt idx="72">
                  <c:v>Bresse Bleu</c:v>
                </c:pt>
                <c:pt idx="73">
                  <c:v>Entremont</c:v>
                </c:pt>
                <c:pt idx="74">
                  <c:v>Private Lab</c:v>
                </c:pt>
                <c:pt idx="75">
                  <c:v>Private Lab</c:v>
                </c:pt>
                <c:pt idx="76">
                  <c:v>Galbani</c:v>
                </c:pt>
                <c:pt idx="77">
                  <c:v>Kiri</c:v>
                </c:pt>
                <c:pt idx="78">
                  <c:v>Private Lab</c:v>
                </c:pt>
                <c:pt idx="79">
                  <c:v>Juraflore</c:v>
                </c:pt>
                <c:pt idx="80">
                  <c:v>Saint Albra</c:v>
                </c:pt>
                <c:pt idx="81">
                  <c:v>Kiri</c:v>
                </c:pt>
                <c:pt idx="82">
                  <c:v>Private Lab</c:v>
                </c:pt>
                <c:pt idx="83">
                  <c:v>Apericube</c:v>
                </c:pt>
                <c:pt idx="84">
                  <c:v>Leerdammer</c:v>
                </c:pt>
                <c:pt idx="85">
                  <c:v>President</c:v>
                </c:pt>
                <c:pt idx="86">
                  <c:v>Private Lab</c:v>
                </c:pt>
                <c:pt idx="87">
                  <c:v>Galbani</c:v>
                </c:pt>
                <c:pt idx="88">
                  <c:v>Ficello</c:v>
                </c:pt>
                <c:pt idx="89">
                  <c:v>Private Lab</c:v>
                </c:pt>
                <c:pt idx="90">
                  <c:v>President</c:v>
                </c:pt>
                <c:pt idx="91">
                  <c:v>Richesmonts</c:v>
                </c:pt>
                <c:pt idx="92">
                  <c:v>Richesmonts</c:v>
                </c:pt>
                <c:pt idx="93">
                  <c:v>Entremont</c:v>
                </c:pt>
                <c:pt idx="94">
                  <c:v>Entremont</c:v>
                </c:pt>
                <c:pt idx="95">
                  <c:v>Galbani</c:v>
                </c:pt>
                <c:pt idx="96">
                  <c:v>President</c:v>
                </c:pt>
                <c:pt idx="97">
                  <c:v>President</c:v>
                </c:pt>
                <c:pt idx="98">
                  <c:v>Salakis</c:v>
                </c:pt>
                <c:pt idx="99">
                  <c:v>Private Lab</c:v>
                </c:pt>
                <c:pt idx="100">
                  <c:v>Apericube</c:v>
                </c:pt>
                <c:pt idx="101">
                  <c:v>Private Lab</c:v>
                </c:pt>
                <c:pt idx="102">
                  <c:v>Private Lab</c:v>
                </c:pt>
                <c:pt idx="103">
                  <c:v>Private Lab</c:v>
                </c:pt>
                <c:pt idx="104">
                  <c:v>L'Ortolan</c:v>
                </c:pt>
                <c:pt idx="105">
                  <c:v>Private Lab</c:v>
                </c:pt>
                <c:pt idx="106">
                  <c:v>Private Lab</c:v>
                </c:pt>
                <c:pt idx="107">
                  <c:v>Entremont</c:v>
                </c:pt>
                <c:pt idx="108">
                  <c:v>Private Lab</c:v>
                </c:pt>
                <c:pt idx="109">
                  <c:v>Private Lab</c:v>
                </c:pt>
                <c:pt idx="110">
                  <c:v>Apericube</c:v>
                </c:pt>
                <c:pt idx="111">
                  <c:v>Private Lab</c:v>
                </c:pt>
                <c:pt idx="112">
                  <c:v>Pochat</c:v>
                </c:pt>
                <c:pt idx="113">
                  <c:v>Leerdammer</c:v>
                </c:pt>
                <c:pt idx="114">
                  <c:v>Paysan Bret</c:v>
                </c:pt>
                <c:pt idx="115">
                  <c:v>Private Lab</c:v>
                </c:pt>
                <c:pt idx="116">
                  <c:v>Private Lab</c:v>
                </c:pt>
                <c:pt idx="117">
                  <c:v>Istara</c:v>
                </c:pt>
                <c:pt idx="118">
                  <c:v>Private Lab</c:v>
                </c:pt>
                <c:pt idx="119">
                  <c:v>Private Lab</c:v>
                </c:pt>
                <c:pt idx="120">
                  <c:v>Private Lab</c:v>
                </c:pt>
                <c:pt idx="121">
                  <c:v>Private Lab</c:v>
                </c:pt>
                <c:pt idx="122">
                  <c:v>Saint Agur</c:v>
                </c:pt>
                <c:pt idx="123">
                  <c:v>Saint Albra</c:v>
                </c:pt>
                <c:pt idx="124">
                  <c:v>Private Lab</c:v>
                </c:pt>
                <c:pt idx="125">
                  <c:v>Entremont</c:v>
                </c:pt>
                <c:pt idx="126">
                  <c:v>Private Lab</c:v>
                </c:pt>
                <c:pt idx="127">
                  <c:v>Leerdammer</c:v>
                </c:pt>
                <c:pt idx="128">
                  <c:v>L'Ortolan</c:v>
                </c:pt>
                <c:pt idx="129">
                  <c:v>Boursin</c:v>
                </c:pt>
                <c:pt idx="130">
                  <c:v>St Moret</c:v>
                </c:pt>
                <c:pt idx="131">
                  <c:v>Private Lab</c:v>
                </c:pt>
                <c:pt idx="132">
                  <c:v>President</c:v>
                </c:pt>
                <c:pt idx="133">
                  <c:v>Entremont</c:v>
                </c:pt>
                <c:pt idx="134">
                  <c:v>Casa Azzurr</c:v>
                </c:pt>
                <c:pt idx="135">
                  <c:v>Paysan Bret</c:v>
                </c:pt>
                <c:pt idx="136">
                  <c:v>Philadelphi</c:v>
                </c:pt>
                <c:pt idx="137">
                  <c:v>Private Lab</c:v>
                </c:pt>
                <c:pt idx="138">
                  <c:v>Galbani</c:v>
                </c:pt>
                <c:pt idx="139">
                  <c:v>Apericube</c:v>
                </c:pt>
                <c:pt idx="140">
                  <c:v>Apericube</c:v>
                </c:pt>
                <c:pt idx="141">
                  <c:v>Parmareggio</c:v>
                </c:pt>
                <c:pt idx="142">
                  <c:v>Kiri</c:v>
                </c:pt>
                <c:pt idx="143">
                  <c:v>President</c:v>
                </c:pt>
                <c:pt idx="144">
                  <c:v>Lou Perac</c:v>
                </c:pt>
                <c:pt idx="145">
                  <c:v>Galbani</c:v>
                </c:pt>
                <c:pt idx="146">
                  <c:v>Tartare</c:v>
                </c:pt>
                <c:pt idx="147">
                  <c:v>Boursin</c:v>
                </c:pt>
                <c:pt idx="148">
                  <c:v>Entremont</c:v>
                </c:pt>
                <c:pt idx="149">
                  <c:v>Private Lab</c:v>
                </c:pt>
                <c:pt idx="150">
                  <c:v>Galbani</c:v>
                </c:pt>
                <c:pt idx="151">
                  <c:v>Private Lab</c:v>
                </c:pt>
                <c:pt idx="152">
                  <c:v>All Others</c:v>
                </c:pt>
                <c:pt idx="153">
                  <c:v>Leerdammer</c:v>
                </c:pt>
                <c:pt idx="154">
                  <c:v>All Others</c:v>
                </c:pt>
                <c:pt idx="155">
                  <c:v>Islos</c:v>
                </c:pt>
                <c:pt idx="156">
                  <c:v>Mini Babybe</c:v>
                </c:pt>
                <c:pt idx="157">
                  <c:v>Private Lab</c:v>
                </c:pt>
                <c:pt idx="158">
                  <c:v>Lepetit</c:v>
                </c:pt>
                <c:pt idx="159">
                  <c:v>Caprice Des</c:v>
                </c:pt>
                <c:pt idx="160">
                  <c:v>Boursin</c:v>
                </c:pt>
                <c:pt idx="161">
                  <c:v>Private Lab</c:v>
                </c:pt>
                <c:pt idx="162">
                  <c:v>Private Lab</c:v>
                </c:pt>
                <c:pt idx="163">
                  <c:v>Entremont</c:v>
                </c:pt>
                <c:pt idx="164">
                  <c:v>Leerdammer</c:v>
                </c:pt>
                <c:pt idx="165">
                  <c:v>Salakis</c:v>
                </c:pt>
                <c:pt idx="166">
                  <c:v>Port Salut</c:v>
                </c:pt>
                <c:pt idx="167">
                  <c:v>Galbani</c:v>
                </c:pt>
                <c:pt idx="168">
                  <c:v>President</c:v>
                </c:pt>
                <c:pt idx="169">
                  <c:v>President</c:v>
                </c:pt>
                <c:pt idx="170">
                  <c:v>Richesmonts</c:v>
                </c:pt>
                <c:pt idx="171">
                  <c:v>All Others</c:v>
                </c:pt>
                <c:pt idx="172">
                  <c:v>Coeur De Li</c:v>
                </c:pt>
                <c:pt idx="173">
                  <c:v>Boursin</c:v>
                </c:pt>
                <c:pt idx="174">
                  <c:v>President</c:v>
                </c:pt>
                <c:pt idx="175">
                  <c:v>Private Lab</c:v>
                </c:pt>
                <c:pt idx="176">
                  <c:v>Private Lab</c:v>
                </c:pt>
                <c:pt idx="177">
                  <c:v>Entremont</c:v>
                </c:pt>
                <c:pt idx="178">
                  <c:v>Kiri</c:v>
                </c:pt>
                <c:pt idx="179">
                  <c:v>Apericube</c:v>
                </c:pt>
                <c:pt idx="180">
                  <c:v>President</c:v>
                </c:pt>
                <c:pt idx="181">
                  <c:v>Private Lab</c:v>
                </c:pt>
                <c:pt idx="182">
                  <c:v>Carre Frais</c:v>
                </c:pt>
                <c:pt idx="183">
                  <c:v>President</c:v>
                </c:pt>
                <c:pt idx="184">
                  <c:v>Private Lab</c:v>
                </c:pt>
                <c:pt idx="185">
                  <c:v>Richesmonts</c:v>
                </c:pt>
                <c:pt idx="186">
                  <c:v>Carre Frais</c:v>
                </c:pt>
                <c:pt idx="187">
                  <c:v>Entremont</c:v>
                </c:pt>
                <c:pt idx="188">
                  <c:v>Coeur De Li</c:v>
                </c:pt>
                <c:pt idx="189">
                  <c:v>Coeur De Li</c:v>
                </c:pt>
                <c:pt idx="190">
                  <c:v>Private Lab</c:v>
                </c:pt>
                <c:pt idx="191">
                  <c:v>St Moret</c:v>
                </c:pt>
                <c:pt idx="192">
                  <c:v>Private Lab</c:v>
                </c:pt>
                <c:pt idx="193">
                  <c:v>Private Lab</c:v>
                </c:pt>
                <c:pt idx="194">
                  <c:v>All Others</c:v>
                </c:pt>
                <c:pt idx="195">
                  <c:v>Private Lab</c:v>
                </c:pt>
                <c:pt idx="196">
                  <c:v>Private Lab</c:v>
                </c:pt>
                <c:pt idx="197">
                  <c:v>Casa Azzurr</c:v>
                </c:pt>
                <c:pt idx="198">
                  <c:v>Pave D'Affi</c:v>
                </c:pt>
                <c:pt idx="199">
                  <c:v>Saint Agur</c:v>
                </c:pt>
                <c:pt idx="200">
                  <c:v>Saint Agur</c:v>
                </c:pt>
                <c:pt idx="201">
                  <c:v>Private Lab</c:v>
                </c:pt>
                <c:pt idx="202">
                  <c:v>Apericube</c:v>
                </c:pt>
                <c:pt idx="203">
                  <c:v>President</c:v>
                </c:pt>
                <c:pt idx="204">
                  <c:v>All Others</c:v>
                </c:pt>
                <c:pt idx="205">
                  <c:v>All Others</c:v>
                </c:pt>
                <c:pt idx="206">
                  <c:v>Galbani</c:v>
                </c:pt>
                <c:pt idx="207">
                  <c:v>President</c:v>
                </c:pt>
                <c:pt idx="208">
                  <c:v>Kiri</c:v>
                </c:pt>
                <c:pt idx="209">
                  <c:v>Salakis</c:v>
                </c:pt>
                <c:pt idx="210">
                  <c:v>Vieux Pane</c:v>
                </c:pt>
                <c:pt idx="211">
                  <c:v>Soignon</c:v>
                </c:pt>
                <c:pt idx="212">
                  <c:v>Private Lab</c:v>
                </c:pt>
                <c:pt idx="213">
                  <c:v>Private Lab</c:v>
                </c:pt>
                <c:pt idx="214">
                  <c:v>All Others</c:v>
                </c:pt>
                <c:pt idx="215">
                  <c:v>Private Lab</c:v>
                </c:pt>
                <c:pt idx="216">
                  <c:v>Saint Agur</c:v>
                </c:pt>
                <c:pt idx="217">
                  <c:v>Private Lab</c:v>
                </c:pt>
                <c:pt idx="218">
                  <c:v>Private Lab</c:v>
                </c:pt>
                <c:pt idx="219">
                  <c:v>Private Lab</c:v>
                </c:pt>
                <c:pt idx="220">
                  <c:v>President</c:v>
                </c:pt>
                <c:pt idx="221">
                  <c:v>Pochat</c:v>
                </c:pt>
                <c:pt idx="222">
                  <c:v>Apericube</c:v>
                </c:pt>
                <c:pt idx="223">
                  <c:v>Private Lab</c:v>
                </c:pt>
                <c:pt idx="224">
                  <c:v>Casa Azzurr</c:v>
                </c:pt>
                <c:pt idx="225">
                  <c:v>Lactalis: A</c:v>
                </c:pt>
                <c:pt idx="226">
                  <c:v>Private Lab</c:v>
                </c:pt>
                <c:pt idx="227">
                  <c:v>Societe</c:v>
                </c:pt>
                <c:pt idx="228">
                  <c:v>All Others</c:v>
                </c:pt>
                <c:pt idx="229">
                  <c:v>Private Lab</c:v>
                </c:pt>
                <c:pt idx="230">
                  <c:v>Istara</c:v>
                </c:pt>
                <c:pt idx="231">
                  <c:v>Private Lab</c:v>
                </c:pt>
                <c:pt idx="232">
                  <c:v>Private Lab</c:v>
                </c:pt>
                <c:pt idx="233">
                  <c:v>Entremont</c:v>
                </c:pt>
                <c:pt idx="234">
                  <c:v>Private Lab</c:v>
                </c:pt>
                <c:pt idx="235">
                  <c:v>La Vache Qu</c:v>
                </c:pt>
                <c:pt idx="236">
                  <c:v>Casa Azzurr</c:v>
                </c:pt>
                <c:pt idx="237">
                  <c:v>Private Lab</c:v>
                </c:pt>
                <c:pt idx="238">
                  <c:v>All Others</c:v>
                </c:pt>
                <c:pt idx="239">
                  <c:v>Petit Billy</c:v>
                </c:pt>
                <c:pt idx="240">
                  <c:v>Richesmonts</c:v>
                </c:pt>
                <c:pt idx="241">
                  <c:v>Babybel</c:v>
                </c:pt>
                <c:pt idx="242">
                  <c:v>Soignon</c:v>
                </c:pt>
                <c:pt idx="243">
                  <c:v>Private Lab</c:v>
                </c:pt>
                <c:pt idx="244">
                  <c:v>Tartare</c:v>
                </c:pt>
                <c:pt idx="245">
                  <c:v>Private Lab</c:v>
                </c:pt>
                <c:pt idx="246">
                  <c:v>President</c:v>
                </c:pt>
                <c:pt idx="247">
                  <c:v>Private Lab</c:v>
                </c:pt>
                <c:pt idx="248">
                  <c:v>Private Lab</c:v>
                </c:pt>
                <c:pt idx="249">
                  <c:v>Entremont</c:v>
                </c:pt>
                <c:pt idx="250">
                  <c:v>Richesmonts</c:v>
                </c:pt>
                <c:pt idx="251">
                  <c:v>Private Lab</c:v>
                </c:pt>
                <c:pt idx="252">
                  <c:v>La Vache Qu</c:v>
                </c:pt>
                <c:pt idx="253">
                  <c:v>St Moret</c:v>
                </c:pt>
                <c:pt idx="254">
                  <c:v>Aperivrais</c:v>
                </c:pt>
                <c:pt idx="255">
                  <c:v>Le Rustique</c:v>
                </c:pt>
                <c:pt idx="256">
                  <c:v>President</c:v>
                </c:pt>
                <c:pt idx="257">
                  <c:v>Boursin</c:v>
                </c:pt>
                <c:pt idx="258">
                  <c:v>Private Lab</c:v>
                </c:pt>
                <c:pt idx="259">
                  <c:v>President</c:v>
                </c:pt>
                <c:pt idx="260">
                  <c:v>Cousteron</c:v>
                </c:pt>
                <c:pt idx="261">
                  <c:v>Entremont</c:v>
                </c:pt>
                <c:pt idx="262">
                  <c:v>Societe</c:v>
                </c:pt>
                <c:pt idx="263">
                  <c:v>Private Lab</c:v>
                </c:pt>
                <c:pt idx="264">
                  <c:v>St Moret</c:v>
                </c:pt>
                <c:pt idx="265">
                  <c:v>Private Lab</c:v>
                </c:pt>
                <c:pt idx="266">
                  <c:v>Entremont</c:v>
                </c:pt>
                <c:pt idx="267">
                  <c:v>Lactalis: A</c:v>
                </c:pt>
                <c:pt idx="268">
                  <c:v>Private Lab</c:v>
                </c:pt>
                <c:pt idx="269">
                  <c:v>Private Lab</c:v>
                </c:pt>
                <c:pt idx="270">
                  <c:v>Soignon</c:v>
                </c:pt>
                <c:pt idx="271">
                  <c:v>Apericube</c:v>
                </c:pt>
                <c:pt idx="272">
                  <c:v>Private Lab</c:v>
                </c:pt>
                <c:pt idx="273">
                  <c:v>Private Lab</c:v>
                </c:pt>
                <c:pt idx="274">
                  <c:v>Societe</c:v>
                </c:pt>
                <c:pt idx="275">
                  <c:v>Le Rustique</c:v>
                </c:pt>
                <c:pt idx="276">
                  <c:v>Fauquet</c:v>
                </c:pt>
                <c:pt idx="277">
                  <c:v>Savencia: A</c:v>
                </c:pt>
                <c:pt idx="278">
                  <c:v>Coeur De Li</c:v>
                </c:pt>
                <c:pt idx="279">
                  <c:v>Private Lab</c:v>
                </c:pt>
                <c:pt idx="280">
                  <c:v>Entremont</c:v>
                </c:pt>
                <c:pt idx="281">
                  <c:v>Casa Azzurr</c:v>
                </c:pt>
                <c:pt idx="282">
                  <c:v>Casa Azzurr</c:v>
                </c:pt>
                <c:pt idx="283">
                  <c:v>Private Lab</c:v>
                </c:pt>
                <c:pt idx="284">
                  <c:v>Soignon</c:v>
                </c:pt>
                <c:pt idx="285">
                  <c:v>Private Lab</c:v>
                </c:pt>
                <c:pt idx="286">
                  <c:v>Private Lab</c:v>
                </c:pt>
                <c:pt idx="287">
                  <c:v>Private Lab</c:v>
                </c:pt>
                <c:pt idx="288">
                  <c:v>Private Lab</c:v>
                </c:pt>
                <c:pt idx="289">
                  <c:v>Leerdammer</c:v>
                </c:pt>
                <c:pt idx="290">
                  <c:v>Richesmonts</c:v>
                </c:pt>
                <c:pt idx="291">
                  <c:v>Casa Azzurr</c:v>
                </c:pt>
                <c:pt idx="292">
                  <c:v>Caprice Des</c:v>
                </c:pt>
                <c:pt idx="293">
                  <c:v>Savencia: A</c:v>
                </c:pt>
                <c:pt idx="294">
                  <c:v>Private Lab</c:v>
                </c:pt>
                <c:pt idx="295">
                  <c:v>Ficello</c:v>
                </c:pt>
                <c:pt idx="296">
                  <c:v>Private Lab</c:v>
                </c:pt>
                <c:pt idx="297">
                  <c:v>Private Lab</c:v>
                </c:pt>
                <c:pt idx="298">
                  <c:v>Private Lab</c:v>
                </c:pt>
                <c:pt idx="299">
                  <c:v>Apericube</c:v>
                </c:pt>
                <c:pt idx="300">
                  <c:v>Pave D'Affi</c:v>
                </c:pt>
                <c:pt idx="301">
                  <c:v>Philadelphi</c:v>
                </c:pt>
                <c:pt idx="302">
                  <c:v>Galbani</c:v>
                </c:pt>
                <c:pt idx="303">
                  <c:v>Private Lab</c:v>
                </c:pt>
                <c:pt idx="304">
                  <c:v>Leerdammer</c:v>
                </c:pt>
                <c:pt idx="305">
                  <c:v>Private Lab</c:v>
                </c:pt>
                <c:pt idx="306">
                  <c:v>Galbani</c:v>
                </c:pt>
                <c:pt idx="307">
                  <c:v>All Others</c:v>
                </c:pt>
                <c:pt idx="308">
                  <c:v>Private Lab</c:v>
                </c:pt>
                <c:pt idx="309">
                  <c:v>President</c:v>
                </c:pt>
                <c:pt idx="310">
                  <c:v>Etorki</c:v>
                </c:pt>
                <c:pt idx="311">
                  <c:v>Paysan Bret</c:v>
                </c:pt>
                <c:pt idx="312">
                  <c:v>Bresse Bleu</c:v>
                </c:pt>
                <c:pt idx="313">
                  <c:v>P'Tit Louis</c:v>
                </c:pt>
                <c:pt idx="314">
                  <c:v>Ficello</c:v>
                </c:pt>
                <c:pt idx="315">
                  <c:v>Galbani</c:v>
                </c:pt>
                <c:pt idx="316">
                  <c:v>Private Lab</c:v>
                </c:pt>
                <c:pt idx="317">
                  <c:v>Private Lab</c:v>
                </c:pt>
                <c:pt idx="318">
                  <c:v>All Others</c:v>
                </c:pt>
                <c:pt idx="319">
                  <c:v>All Others</c:v>
                </c:pt>
                <c:pt idx="320">
                  <c:v>Private Lab</c:v>
                </c:pt>
                <c:pt idx="321">
                  <c:v>St Moret</c:v>
                </c:pt>
                <c:pt idx="322">
                  <c:v>Private Lab</c:v>
                </c:pt>
                <c:pt idx="323">
                  <c:v>Private Lab</c:v>
                </c:pt>
                <c:pt idx="324">
                  <c:v>Fol Epi</c:v>
                </c:pt>
                <c:pt idx="325">
                  <c:v>Private Lab</c:v>
                </c:pt>
                <c:pt idx="326">
                  <c:v>Private Lab</c:v>
                </c:pt>
                <c:pt idx="327">
                  <c:v>Private Lab</c:v>
                </c:pt>
                <c:pt idx="328">
                  <c:v>Le Rustique</c:v>
                </c:pt>
                <c:pt idx="329">
                  <c:v>Pave D'Affi</c:v>
                </c:pt>
                <c:pt idx="330">
                  <c:v>Richesmonts</c:v>
                </c:pt>
                <c:pt idx="331">
                  <c:v>All Others</c:v>
                </c:pt>
                <c:pt idx="332">
                  <c:v>Parmareggio</c:v>
                </c:pt>
                <c:pt idx="333">
                  <c:v>Chavroux</c:v>
                </c:pt>
                <c:pt idx="334">
                  <c:v>Soignon</c:v>
                </c:pt>
                <c:pt idx="335">
                  <c:v>Lactalis: A</c:v>
                </c:pt>
                <c:pt idx="336">
                  <c:v>Private Lab</c:v>
                </c:pt>
                <c:pt idx="337">
                  <c:v>Private Lab</c:v>
                </c:pt>
                <c:pt idx="338">
                  <c:v>Casa Azzurr</c:v>
                </c:pt>
                <c:pt idx="339">
                  <c:v>Private Lab</c:v>
                </c:pt>
                <c:pt idx="340">
                  <c:v>Private Lab</c:v>
                </c:pt>
                <c:pt idx="341">
                  <c:v>Salakis</c:v>
                </c:pt>
                <c:pt idx="342">
                  <c:v>Boursin</c:v>
                </c:pt>
                <c:pt idx="343">
                  <c:v>Private Lab</c:v>
                </c:pt>
                <c:pt idx="344">
                  <c:v>Boursin</c:v>
                </c:pt>
                <c:pt idx="345">
                  <c:v>Private Lab</c:v>
                </c:pt>
                <c:pt idx="346">
                  <c:v>Paysan Bret</c:v>
                </c:pt>
                <c:pt idx="347">
                  <c:v>Soignon</c:v>
                </c:pt>
                <c:pt idx="348">
                  <c:v>Savencia: A</c:v>
                </c:pt>
                <c:pt idx="349">
                  <c:v>Boursin</c:v>
                </c:pt>
                <c:pt idx="350">
                  <c:v>President</c:v>
                </c:pt>
                <c:pt idx="351">
                  <c:v>President</c:v>
                </c:pt>
                <c:pt idx="352">
                  <c:v>Paysan Bret</c:v>
                </c:pt>
                <c:pt idx="353">
                  <c:v>Salakis</c:v>
                </c:pt>
                <c:pt idx="354">
                  <c:v>Aperivrais</c:v>
                </c:pt>
                <c:pt idx="355">
                  <c:v>Boursin</c:v>
                </c:pt>
                <c:pt idx="356">
                  <c:v>Private Lab</c:v>
                </c:pt>
                <c:pt idx="357">
                  <c:v>President</c:v>
                </c:pt>
                <c:pt idx="358">
                  <c:v>Casa Azzurr</c:v>
                </c:pt>
                <c:pt idx="359">
                  <c:v>Tartare</c:v>
                </c:pt>
                <c:pt idx="360">
                  <c:v>Private Lab</c:v>
                </c:pt>
                <c:pt idx="361">
                  <c:v>Private Lab</c:v>
                </c:pt>
                <c:pt idx="362">
                  <c:v>Milleret: A</c:v>
                </c:pt>
                <c:pt idx="363">
                  <c:v>Carre Frais</c:v>
                </c:pt>
                <c:pt idx="364">
                  <c:v>Le Brebiou</c:v>
                </c:pt>
                <c:pt idx="365">
                  <c:v>Galbani</c:v>
                </c:pt>
                <c:pt idx="366">
                  <c:v>Private Lab</c:v>
                </c:pt>
                <c:pt idx="367">
                  <c:v>Societe</c:v>
                </c:pt>
                <c:pt idx="368">
                  <c:v>Galbani</c:v>
                </c:pt>
                <c:pt idx="369">
                  <c:v>Casa Azzurr</c:v>
                </c:pt>
                <c:pt idx="370">
                  <c:v>Private Lab</c:v>
                </c:pt>
                <c:pt idx="371">
                  <c:v>Societe</c:v>
                </c:pt>
                <c:pt idx="372">
                  <c:v>Pave D'Affi</c:v>
                </c:pt>
                <c:pt idx="373">
                  <c:v>L'Ortolan</c:v>
                </c:pt>
                <c:pt idx="374">
                  <c:v>Private Lab</c:v>
                </c:pt>
                <c:pt idx="375">
                  <c:v>Aperivrais</c:v>
                </c:pt>
                <c:pt idx="376">
                  <c:v>Soignon</c:v>
                </c:pt>
                <c:pt idx="377">
                  <c:v>Private Lab</c:v>
                </c:pt>
                <c:pt idx="378">
                  <c:v>Soignon</c:v>
                </c:pt>
                <c:pt idx="379">
                  <c:v>Paysan Bret</c:v>
                </c:pt>
                <c:pt idx="380">
                  <c:v>Entremont</c:v>
                </c:pt>
                <c:pt idx="381">
                  <c:v>Pave D'Affi</c:v>
                </c:pt>
                <c:pt idx="382">
                  <c:v>St Moret</c:v>
                </c:pt>
                <c:pt idx="383">
                  <c:v>Private Lab</c:v>
                </c:pt>
                <c:pt idx="384">
                  <c:v>Private Lab</c:v>
                </c:pt>
                <c:pt idx="385">
                  <c:v>Private Lab</c:v>
                </c:pt>
                <c:pt idx="386">
                  <c:v>Boursin</c:v>
                </c:pt>
                <c:pt idx="387">
                  <c:v>Private Lab</c:v>
                </c:pt>
                <c:pt idx="388">
                  <c:v>Private Lab</c:v>
                </c:pt>
                <c:pt idx="389">
                  <c:v>All Others</c:v>
                </c:pt>
                <c:pt idx="390">
                  <c:v>La Vache Qu</c:v>
                </c:pt>
                <c:pt idx="391">
                  <c:v>Private Lab</c:v>
                </c:pt>
                <c:pt idx="392">
                  <c:v>Private Lab</c:v>
                </c:pt>
                <c:pt idx="393">
                  <c:v>Private Lab</c:v>
                </c:pt>
                <c:pt idx="394">
                  <c:v>All Others</c:v>
                </c:pt>
                <c:pt idx="395">
                  <c:v>Private Lab</c:v>
                </c:pt>
                <c:pt idx="396">
                  <c:v>All Others</c:v>
                </c:pt>
                <c:pt idx="397">
                  <c:v>Galbani</c:v>
                </c:pt>
                <c:pt idx="398">
                  <c:v>Mini Babybe</c:v>
                </c:pt>
                <c:pt idx="399">
                  <c:v>Etorki</c:v>
                </c:pt>
                <c:pt idx="400">
                  <c:v>Galbani</c:v>
                </c:pt>
                <c:pt idx="401">
                  <c:v>Tartare</c:v>
                </c:pt>
                <c:pt idx="402">
                  <c:v>Caprice Des</c:v>
                </c:pt>
                <c:pt idx="403">
                  <c:v>Chavroux</c:v>
                </c:pt>
                <c:pt idx="404">
                  <c:v>Private Lab</c:v>
                </c:pt>
                <c:pt idx="405">
                  <c:v>Private Lab</c:v>
                </c:pt>
                <c:pt idx="406">
                  <c:v>All Others</c:v>
                </c:pt>
                <c:pt idx="407">
                  <c:v>Private Lab</c:v>
                </c:pt>
                <c:pt idx="408">
                  <c:v>President</c:v>
                </c:pt>
                <c:pt idx="409">
                  <c:v>Societe</c:v>
                </c:pt>
                <c:pt idx="410">
                  <c:v>Private Lab</c:v>
                </c:pt>
                <c:pt idx="411">
                  <c:v>Boursin</c:v>
                </c:pt>
                <c:pt idx="412">
                  <c:v>Private Lab</c:v>
                </c:pt>
                <c:pt idx="413">
                  <c:v>All Others</c:v>
                </c:pt>
                <c:pt idx="414">
                  <c:v>Private Lab</c:v>
                </c:pt>
                <c:pt idx="415">
                  <c:v>Private Lab</c:v>
                </c:pt>
                <c:pt idx="416">
                  <c:v>Lactalis: A</c:v>
                </c:pt>
                <c:pt idx="417">
                  <c:v>Galbani</c:v>
                </c:pt>
                <c:pt idx="418">
                  <c:v>Soignon</c:v>
                </c:pt>
                <c:pt idx="419">
                  <c:v>Private Lab</c:v>
                </c:pt>
                <c:pt idx="420">
                  <c:v>Soignon</c:v>
                </c:pt>
                <c:pt idx="421">
                  <c:v>Casa Azzurr</c:v>
                </c:pt>
                <c:pt idx="422">
                  <c:v>La Belle Et</c:v>
                </c:pt>
                <c:pt idx="423">
                  <c:v>Private Lab</c:v>
                </c:pt>
                <c:pt idx="424">
                  <c:v>Private Lab</c:v>
                </c:pt>
                <c:pt idx="425">
                  <c:v>Apericube</c:v>
                </c:pt>
                <c:pt idx="426">
                  <c:v>Private Lab</c:v>
                </c:pt>
                <c:pt idx="427">
                  <c:v>La Belle Et</c:v>
                </c:pt>
                <c:pt idx="428">
                  <c:v>President</c:v>
                </c:pt>
                <c:pt idx="429">
                  <c:v>Private Lab</c:v>
                </c:pt>
                <c:pt idx="430">
                  <c:v>Boursin</c:v>
                </c:pt>
                <c:pt idx="431">
                  <c:v>Mini Babybe</c:v>
                </c:pt>
                <c:pt idx="432">
                  <c:v>Paysan Bret</c:v>
                </c:pt>
                <c:pt idx="433">
                  <c:v>Les Mousque</c:v>
                </c:pt>
                <c:pt idx="434">
                  <c:v>All Others</c:v>
                </c:pt>
                <c:pt idx="435">
                  <c:v>Lou Perac</c:v>
                </c:pt>
                <c:pt idx="436">
                  <c:v>Private Lab</c:v>
                </c:pt>
                <c:pt idx="437">
                  <c:v>Leerdammer</c:v>
                </c:pt>
                <c:pt idx="438">
                  <c:v>Private Lab</c:v>
                </c:pt>
                <c:pt idx="439">
                  <c:v>President</c:v>
                </c:pt>
                <c:pt idx="440">
                  <c:v>Private Lab</c:v>
                </c:pt>
                <c:pt idx="441">
                  <c:v>Private Lab</c:v>
                </c:pt>
                <c:pt idx="442">
                  <c:v>Juraflore</c:v>
                </c:pt>
                <c:pt idx="443">
                  <c:v>All Others</c:v>
                </c:pt>
                <c:pt idx="444">
                  <c:v>St Moret</c:v>
                </c:pt>
                <c:pt idx="445">
                  <c:v>President</c:v>
                </c:pt>
                <c:pt idx="446">
                  <c:v>All Others</c:v>
                </c:pt>
                <c:pt idx="447">
                  <c:v>Richesmonts</c:v>
                </c:pt>
                <c:pt idx="448">
                  <c:v>Boursin</c:v>
                </c:pt>
                <c:pt idx="449">
                  <c:v>Galbani</c:v>
                </c:pt>
                <c:pt idx="450">
                  <c:v>Saint Agur</c:v>
                </c:pt>
                <c:pt idx="451">
                  <c:v>Private Lab</c:v>
                </c:pt>
                <c:pt idx="452">
                  <c:v>Private Lab</c:v>
                </c:pt>
                <c:pt idx="453">
                  <c:v>Etoile Du V</c:v>
                </c:pt>
                <c:pt idx="454">
                  <c:v>All Others</c:v>
                </c:pt>
                <c:pt idx="455">
                  <c:v>Les Mousque</c:v>
                </c:pt>
                <c:pt idx="456">
                  <c:v>Caprice Des</c:v>
                </c:pt>
                <c:pt idx="457">
                  <c:v>Private Lab</c:v>
                </c:pt>
                <c:pt idx="458">
                  <c:v>Savencia: A</c:v>
                </c:pt>
                <c:pt idx="459">
                  <c:v>Private Lab</c:v>
                </c:pt>
                <c:pt idx="460">
                  <c:v>Le Rustique</c:v>
                </c:pt>
                <c:pt idx="461">
                  <c:v>Private Lab</c:v>
                </c:pt>
                <c:pt idx="462">
                  <c:v>Aperivrais</c:v>
                </c:pt>
                <c:pt idx="463">
                  <c:v>Private Lab</c:v>
                </c:pt>
                <c:pt idx="464">
                  <c:v>Salakis</c:v>
                </c:pt>
                <c:pt idx="465">
                  <c:v>Caprice Des</c:v>
                </c:pt>
                <c:pt idx="466">
                  <c:v>Caprice Des</c:v>
                </c:pt>
                <c:pt idx="467">
                  <c:v>Aperivrais</c:v>
                </c:pt>
                <c:pt idx="468">
                  <c:v>Tartare</c:v>
                </c:pt>
                <c:pt idx="469">
                  <c:v>Lou Perac</c:v>
                </c:pt>
                <c:pt idx="470">
                  <c:v>Tartare</c:v>
                </c:pt>
                <c:pt idx="471">
                  <c:v>All Others</c:v>
                </c:pt>
                <c:pt idx="472">
                  <c:v>Private Lab</c:v>
                </c:pt>
                <c:pt idx="473">
                  <c:v>Boursin</c:v>
                </c:pt>
                <c:pt idx="474">
                  <c:v>Private Lab</c:v>
                </c:pt>
                <c:pt idx="475">
                  <c:v>Casa Azzurr</c:v>
                </c:pt>
                <c:pt idx="476">
                  <c:v>Eurial Autr</c:v>
                </c:pt>
                <c:pt idx="477">
                  <c:v>Richesmonts</c:v>
                </c:pt>
                <c:pt idx="478">
                  <c:v>Kiri</c:v>
                </c:pt>
                <c:pt idx="479">
                  <c:v>La Vache Qu</c:v>
                </c:pt>
                <c:pt idx="480">
                  <c:v>Eurial Autr</c:v>
                </c:pt>
                <c:pt idx="481">
                  <c:v>La Belle Et</c:v>
                </c:pt>
                <c:pt idx="482">
                  <c:v>St Moret</c:v>
                </c:pt>
                <c:pt idx="483">
                  <c:v>Savencia: A</c:v>
                </c:pt>
                <c:pt idx="484">
                  <c:v>Pochat</c:v>
                </c:pt>
                <c:pt idx="485">
                  <c:v>President</c:v>
                </c:pt>
                <c:pt idx="486">
                  <c:v>Private Lab</c:v>
                </c:pt>
                <c:pt idx="487">
                  <c:v>Juraflore</c:v>
                </c:pt>
                <c:pt idx="488">
                  <c:v>Boursin</c:v>
                </c:pt>
                <c:pt idx="489">
                  <c:v>Bresse Bleu</c:v>
                </c:pt>
                <c:pt idx="490">
                  <c:v>Lactalis: A</c:v>
                </c:pt>
                <c:pt idx="491">
                  <c:v>Vieux Pane</c:v>
                </c:pt>
                <c:pt idx="492">
                  <c:v>All Others</c:v>
                </c:pt>
                <c:pt idx="493">
                  <c:v>Leerdammer</c:v>
                </c:pt>
                <c:pt idx="494">
                  <c:v>Entremont</c:v>
                </c:pt>
                <c:pt idx="495">
                  <c:v>Private Lab</c:v>
                </c:pt>
                <c:pt idx="496">
                  <c:v>L'Ortolan</c:v>
                </c:pt>
                <c:pt idx="497">
                  <c:v>Casa Azzurr</c:v>
                </c:pt>
                <c:pt idx="498">
                  <c:v>Paysan Bret</c:v>
                </c:pt>
                <c:pt idx="499">
                  <c:v>L'Ortolan</c:v>
                </c:pt>
                <c:pt idx="500">
                  <c:v>Private Lab</c:v>
                </c:pt>
                <c:pt idx="501">
                  <c:v>Private Lab</c:v>
                </c:pt>
                <c:pt idx="502">
                  <c:v>All Others</c:v>
                </c:pt>
                <c:pt idx="503">
                  <c:v>Vieux Pane</c:v>
                </c:pt>
                <c:pt idx="504">
                  <c:v>Private Lab</c:v>
                </c:pt>
                <c:pt idx="505">
                  <c:v>Entremont</c:v>
                </c:pt>
                <c:pt idx="506">
                  <c:v>Pochat</c:v>
                </c:pt>
                <c:pt idx="507">
                  <c:v>All Others</c:v>
                </c:pt>
                <c:pt idx="508">
                  <c:v>Paysan Bret</c:v>
                </c:pt>
                <c:pt idx="509">
                  <c:v>Casa Azzurr</c:v>
                </c:pt>
                <c:pt idx="510">
                  <c:v>Lou Perac</c:v>
                </c:pt>
                <c:pt idx="511">
                  <c:v>Private Lab</c:v>
                </c:pt>
                <c:pt idx="512">
                  <c:v>Private Lab</c:v>
                </c:pt>
                <c:pt idx="513">
                  <c:v>All Others</c:v>
                </c:pt>
                <c:pt idx="514">
                  <c:v>P'Tit Louis</c:v>
                </c:pt>
                <c:pt idx="515">
                  <c:v>All Others</c:v>
                </c:pt>
                <c:pt idx="516">
                  <c:v>Private Lab</c:v>
                </c:pt>
                <c:pt idx="517">
                  <c:v>Private Lab</c:v>
                </c:pt>
                <c:pt idx="518">
                  <c:v>Kiri</c:v>
                </c:pt>
                <c:pt idx="519">
                  <c:v>Lactalis: A</c:v>
                </c:pt>
                <c:pt idx="520">
                  <c:v>Private Lab</c:v>
                </c:pt>
                <c:pt idx="521">
                  <c:v>All Others</c:v>
                </c:pt>
                <c:pt idx="522">
                  <c:v>St Moret</c:v>
                </c:pt>
                <c:pt idx="523">
                  <c:v>Savencia: A</c:v>
                </c:pt>
                <c:pt idx="524">
                  <c:v>All Others</c:v>
                </c:pt>
                <c:pt idx="525">
                  <c:v>Entremont</c:v>
                </c:pt>
                <c:pt idx="526">
                  <c:v>Soignon</c:v>
                </c:pt>
                <c:pt idx="527">
                  <c:v>Richesmonts</c:v>
                </c:pt>
                <c:pt idx="528">
                  <c:v>Tartare</c:v>
                </c:pt>
                <c:pt idx="529">
                  <c:v>Soignon</c:v>
                </c:pt>
                <c:pt idx="530">
                  <c:v>President</c:v>
                </c:pt>
                <c:pt idx="531">
                  <c:v>Mini Babybe</c:v>
                </c:pt>
                <c:pt idx="532">
                  <c:v>All Others</c:v>
                </c:pt>
                <c:pt idx="533">
                  <c:v>Le Coq Crem</c:v>
                </c:pt>
                <c:pt idx="534">
                  <c:v>Galbani</c:v>
                </c:pt>
                <c:pt idx="535">
                  <c:v>Apericube</c:v>
                </c:pt>
                <c:pt idx="536">
                  <c:v>Savencia: A</c:v>
                </c:pt>
                <c:pt idx="537">
                  <c:v>All Others</c:v>
                </c:pt>
                <c:pt idx="538">
                  <c:v>All Others</c:v>
                </c:pt>
                <c:pt idx="539">
                  <c:v>Private Lab</c:v>
                </c:pt>
                <c:pt idx="540">
                  <c:v>Soignon</c:v>
                </c:pt>
                <c:pt idx="541">
                  <c:v>Casa Azzurr</c:v>
                </c:pt>
                <c:pt idx="542">
                  <c:v>Le Saint Am</c:v>
                </c:pt>
                <c:pt idx="543">
                  <c:v>Islos</c:v>
                </c:pt>
                <c:pt idx="544">
                  <c:v>All Others</c:v>
                </c:pt>
                <c:pt idx="545">
                  <c:v>Kiri</c:v>
                </c:pt>
                <c:pt idx="546">
                  <c:v>Private Lab</c:v>
                </c:pt>
                <c:pt idx="547">
                  <c:v>Lactalis: A</c:v>
                </c:pt>
                <c:pt idx="548">
                  <c:v>Fol Epi</c:v>
                </c:pt>
                <c:pt idx="549">
                  <c:v>All Others</c:v>
                </c:pt>
                <c:pt idx="550">
                  <c:v>La Belle Et</c:v>
                </c:pt>
                <c:pt idx="551">
                  <c:v>Lactalis: A</c:v>
                </c:pt>
                <c:pt idx="552">
                  <c:v>Bresse Bleu</c:v>
                </c:pt>
                <c:pt idx="553">
                  <c:v>Saint Albra</c:v>
                </c:pt>
                <c:pt idx="554">
                  <c:v>Coeur De Li</c:v>
                </c:pt>
                <c:pt idx="555">
                  <c:v>Private Lab</c:v>
                </c:pt>
                <c:pt idx="556">
                  <c:v>Societe</c:v>
                </c:pt>
                <c:pt idx="557">
                  <c:v>Istara</c:v>
                </c:pt>
                <c:pt idx="558">
                  <c:v>Paysan Bret</c:v>
                </c:pt>
                <c:pt idx="559">
                  <c:v>Entremont</c:v>
                </c:pt>
                <c:pt idx="560">
                  <c:v>Private Lab</c:v>
                </c:pt>
                <c:pt idx="561">
                  <c:v>Savencia: A</c:v>
                </c:pt>
                <c:pt idx="562">
                  <c:v>Corsica</c:v>
                </c:pt>
                <c:pt idx="563">
                  <c:v>All Others</c:v>
                </c:pt>
                <c:pt idx="564">
                  <c:v>Paysan Bret</c:v>
                </c:pt>
                <c:pt idx="565">
                  <c:v>Paysan Bret</c:v>
                </c:pt>
                <c:pt idx="566">
                  <c:v>Kiri</c:v>
                </c:pt>
                <c:pt idx="567">
                  <c:v>Eurial Autr</c:v>
                </c:pt>
                <c:pt idx="568">
                  <c:v>Milleret: A</c:v>
                </c:pt>
                <c:pt idx="569">
                  <c:v>Etoile Du Q</c:v>
                </c:pt>
                <c:pt idx="570">
                  <c:v>Boursin</c:v>
                </c:pt>
                <c:pt idx="571">
                  <c:v>Private Lab</c:v>
                </c:pt>
                <c:pt idx="572">
                  <c:v>Les Mousque</c:v>
                </c:pt>
                <c:pt idx="573">
                  <c:v>All Others</c:v>
                </c:pt>
                <c:pt idx="574">
                  <c:v>Private Lab</c:v>
                </c:pt>
                <c:pt idx="575">
                  <c:v>Private Lab</c:v>
                </c:pt>
                <c:pt idx="576">
                  <c:v>Private Lab</c:v>
                </c:pt>
                <c:pt idx="577">
                  <c:v>Galbani</c:v>
                </c:pt>
                <c:pt idx="578">
                  <c:v>Violife</c:v>
                </c:pt>
                <c:pt idx="579">
                  <c:v>Entremont</c:v>
                </c:pt>
                <c:pt idx="580">
                  <c:v>Private Lab</c:v>
                </c:pt>
                <c:pt idx="581">
                  <c:v>Lactalis: A</c:v>
                </c:pt>
                <c:pt idx="582">
                  <c:v>All Others</c:v>
                </c:pt>
                <c:pt idx="583">
                  <c:v>Mini Babybe</c:v>
                </c:pt>
                <c:pt idx="584">
                  <c:v>Savencia: A</c:v>
                </c:pt>
                <c:pt idx="585">
                  <c:v>Salakis</c:v>
                </c:pt>
                <c:pt idx="586">
                  <c:v>Milleret: A</c:v>
                </c:pt>
                <c:pt idx="587">
                  <c:v>Private Lab</c:v>
                </c:pt>
                <c:pt idx="588">
                  <c:v>Entremont</c:v>
                </c:pt>
                <c:pt idx="589">
                  <c:v>Mini Babybe</c:v>
                </c:pt>
                <c:pt idx="590">
                  <c:v>Entremont</c:v>
                </c:pt>
                <c:pt idx="591">
                  <c:v>Soignon</c:v>
                </c:pt>
                <c:pt idx="592">
                  <c:v>Pochat</c:v>
                </c:pt>
                <c:pt idx="593">
                  <c:v>Paysan Bret</c:v>
                </c:pt>
                <c:pt idx="594">
                  <c:v>Soignon</c:v>
                </c:pt>
                <c:pt idx="595">
                  <c:v>Private Lab</c:v>
                </c:pt>
                <c:pt idx="596">
                  <c:v>Savencia: A</c:v>
                </c:pt>
                <c:pt idx="597">
                  <c:v>Kiri</c:v>
                </c:pt>
                <c:pt idx="598">
                  <c:v>Saint Agur</c:v>
                </c:pt>
                <c:pt idx="599">
                  <c:v>All Others</c:v>
                </c:pt>
                <c:pt idx="600">
                  <c:v>Soignon</c:v>
                </c:pt>
                <c:pt idx="601">
                  <c:v>L'Ortolan</c:v>
                </c:pt>
                <c:pt idx="602">
                  <c:v>Lactalis: A</c:v>
                </c:pt>
                <c:pt idx="603">
                  <c:v>Richesmonts</c:v>
                </c:pt>
                <c:pt idx="604">
                  <c:v>Raguin</c:v>
                </c:pt>
                <c:pt idx="605">
                  <c:v>Les Mousque</c:v>
                </c:pt>
                <c:pt idx="606">
                  <c:v>All Others</c:v>
                </c:pt>
                <c:pt idx="607">
                  <c:v>La Belle Et</c:v>
                </c:pt>
                <c:pt idx="608">
                  <c:v>Galbani</c:v>
                </c:pt>
                <c:pt idx="609">
                  <c:v>All Others</c:v>
                </c:pt>
                <c:pt idx="610">
                  <c:v>Soignon</c:v>
                </c:pt>
                <c:pt idx="611">
                  <c:v>Private Lab</c:v>
                </c:pt>
                <c:pt idx="612">
                  <c:v>Carre Frais</c:v>
                </c:pt>
                <c:pt idx="613">
                  <c:v>Lactalis: A</c:v>
                </c:pt>
                <c:pt idx="614">
                  <c:v>All Others</c:v>
                </c:pt>
                <c:pt idx="615">
                  <c:v>Raguin</c:v>
                </c:pt>
                <c:pt idx="616">
                  <c:v>Lactalis: A</c:v>
                </c:pt>
                <c:pt idx="617">
                  <c:v>Les Mousque</c:v>
                </c:pt>
                <c:pt idx="618">
                  <c:v>Salakis</c:v>
                </c:pt>
                <c:pt idx="619">
                  <c:v>Triballat N</c:v>
                </c:pt>
                <c:pt idx="620">
                  <c:v>All Others</c:v>
                </c:pt>
                <c:pt idx="621">
                  <c:v>All Others</c:v>
                </c:pt>
                <c:pt idx="622">
                  <c:v>All Others</c:v>
                </c:pt>
                <c:pt idx="623">
                  <c:v>Private Lab</c:v>
                </c:pt>
                <c:pt idx="624">
                  <c:v>Paysan Bret</c:v>
                </c:pt>
                <c:pt idx="625">
                  <c:v>All Others</c:v>
                </c:pt>
                <c:pt idx="626">
                  <c:v>President</c:v>
                </c:pt>
                <c:pt idx="627">
                  <c:v>All Others</c:v>
                </c:pt>
                <c:pt idx="628">
                  <c:v>All Others</c:v>
                </c:pt>
                <c:pt idx="629">
                  <c:v>All Others</c:v>
                </c:pt>
                <c:pt idx="630">
                  <c:v>All Others</c:v>
                </c:pt>
                <c:pt idx="631">
                  <c:v>Private Lab</c:v>
                </c:pt>
                <c:pt idx="632">
                  <c:v>Etoile Du V</c:v>
                </c:pt>
                <c:pt idx="633">
                  <c:v>All Others</c:v>
                </c:pt>
                <c:pt idx="634">
                  <c:v>Raguin</c:v>
                </c:pt>
                <c:pt idx="635">
                  <c:v>Private Lab</c:v>
                </c:pt>
                <c:pt idx="636">
                  <c:v>Savencia: A</c:v>
                </c:pt>
                <c:pt idx="637">
                  <c:v>Raguin</c:v>
                </c:pt>
                <c:pt idx="638">
                  <c:v>All Others</c:v>
                </c:pt>
                <c:pt idx="639">
                  <c:v>Etoile Du V</c:v>
                </c:pt>
                <c:pt idx="640">
                  <c:v>Le Brebiou</c:v>
                </c:pt>
                <c:pt idx="641">
                  <c:v>Boursin</c:v>
                </c:pt>
                <c:pt idx="642">
                  <c:v>All Others</c:v>
                </c:pt>
                <c:pt idx="643">
                  <c:v>Nurishh</c:v>
                </c:pt>
                <c:pt idx="644">
                  <c:v>Apericube</c:v>
                </c:pt>
                <c:pt idx="645">
                  <c:v>Entremont</c:v>
                </c:pt>
                <c:pt idx="646">
                  <c:v>Entremont</c:v>
                </c:pt>
                <c:pt idx="647">
                  <c:v>All Others</c:v>
                </c:pt>
                <c:pt idx="648">
                  <c:v>Private Lab</c:v>
                </c:pt>
                <c:pt idx="649">
                  <c:v>Private Lab</c:v>
                </c:pt>
                <c:pt idx="650">
                  <c:v>All Others</c:v>
                </c:pt>
                <c:pt idx="651">
                  <c:v>Milleret: A</c:v>
                </c:pt>
                <c:pt idx="652">
                  <c:v>Milleret: A</c:v>
                </c:pt>
                <c:pt idx="653">
                  <c:v>All Others</c:v>
                </c:pt>
                <c:pt idx="654">
                  <c:v>Galbani</c:v>
                </c:pt>
                <c:pt idx="655">
                  <c:v>Eurial Autr</c:v>
                </c:pt>
                <c:pt idx="656">
                  <c:v>Casa Azzurr</c:v>
                </c:pt>
                <c:pt idx="657">
                  <c:v>Milleret: A</c:v>
                </c:pt>
                <c:pt idx="658">
                  <c:v>Aperivrais</c:v>
                </c:pt>
                <c:pt idx="659">
                  <c:v>All Others</c:v>
                </c:pt>
                <c:pt idx="660">
                  <c:v>Savencia: A</c:v>
                </c:pt>
                <c:pt idx="661">
                  <c:v>Entremont</c:v>
                </c:pt>
                <c:pt idx="662">
                  <c:v>All Others</c:v>
                </c:pt>
                <c:pt idx="663">
                  <c:v>Triballat N</c:v>
                </c:pt>
                <c:pt idx="664">
                  <c:v>Paysan Bret</c:v>
                </c:pt>
                <c:pt idx="665">
                  <c:v>Nurishh</c:v>
                </c:pt>
                <c:pt idx="666">
                  <c:v>Apericube</c:v>
                </c:pt>
                <c:pt idx="667">
                  <c:v>President</c:v>
                </c:pt>
                <c:pt idx="668">
                  <c:v>Etoile Du V</c:v>
                </c:pt>
                <c:pt idx="669">
                  <c:v>Casa Azzurr</c:v>
                </c:pt>
                <c:pt idx="670">
                  <c:v>All Others</c:v>
                </c:pt>
                <c:pt idx="671">
                  <c:v>All Others</c:v>
                </c:pt>
                <c:pt idx="672">
                  <c:v>All Others</c:v>
                </c:pt>
                <c:pt idx="673">
                  <c:v>Pochat</c:v>
                </c:pt>
                <c:pt idx="674">
                  <c:v>Etorki</c:v>
                </c:pt>
                <c:pt idx="675">
                  <c:v>Saint Agur</c:v>
                </c:pt>
                <c:pt idx="676">
                  <c:v>Entremont</c:v>
                </c:pt>
                <c:pt idx="677">
                  <c:v>President</c:v>
                </c:pt>
                <c:pt idx="678">
                  <c:v>All Others</c:v>
                </c:pt>
                <c:pt idx="679">
                  <c:v>Tartare</c:v>
                </c:pt>
                <c:pt idx="680">
                  <c:v>All Others</c:v>
                </c:pt>
                <c:pt idx="681">
                  <c:v>All Others</c:v>
                </c:pt>
                <c:pt idx="682">
                  <c:v>Apericube</c:v>
                </c:pt>
                <c:pt idx="683">
                  <c:v>Nurishh</c:v>
                </c:pt>
                <c:pt idx="684">
                  <c:v>Private Lab</c:v>
                </c:pt>
                <c:pt idx="685">
                  <c:v>Private Lab</c:v>
                </c:pt>
                <c:pt idx="686">
                  <c:v>Violife</c:v>
                </c:pt>
                <c:pt idx="687">
                  <c:v>Entremont</c:v>
                </c:pt>
                <c:pt idx="688">
                  <c:v>Entremont</c:v>
                </c:pt>
                <c:pt idx="689">
                  <c:v>Islos</c:v>
                </c:pt>
                <c:pt idx="690">
                  <c:v>Entremont</c:v>
                </c:pt>
                <c:pt idx="691">
                  <c:v>All Others</c:v>
                </c:pt>
                <c:pt idx="692">
                  <c:v>All Others</c:v>
                </c:pt>
                <c:pt idx="693">
                  <c:v>All Others</c:v>
                </c:pt>
                <c:pt idx="694">
                  <c:v>All Others</c:v>
                </c:pt>
                <c:pt idx="695">
                  <c:v>All Others</c:v>
                </c:pt>
                <c:pt idx="696">
                  <c:v>Boursin</c:v>
                </c:pt>
                <c:pt idx="697">
                  <c:v>Galbani</c:v>
                </c:pt>
                <c:pt idx="698">
                  <c:v>All Others</c:v>
                </c:pt>
                <c:pt idx="699">
                  <c:v>Richesmonts</c:v>
                </c:pt>
                <c:pt idx="700">
                  <c:v>All Others</c:v>
                </c:pt>
                <c:pt idx="701">
                  <c:v>Lactalis: A</c:v>
                </c:pt>
                <c:pt idx="702">
                  <c:v>All Others</c:v>
                </c:pt>
                <c:pt idx="703">
                  <c:v>Paysan Bret</c:v>
                </c:pt>
                <c:pt idx="704">
                  <c:v>All Others</c:v>
                </c:pt>
                <c:pt idx="705">
                  <c:v>Nurishh</c:v>
                </c:pt>
                <c:pt idx="706">
                  <c:v>Violife</c:v>
                </c:pt>
                <c:pt idx="707">
                  <c:v>Nurishh</c:v>
                </c:pt>
                <c:pt idx="708">
                  <c:v>All Others</c:v>
                </c:pt>
                <c:pt idx="709">
                  <c:v>Casa Azzurr</c:v>
                </c:pt>
                <c:pt idx="710">
                  <c:v>All Others</c:v>
                </c:pt>
                <c:pt idx="711">
                  <c:v>Milleret: A</c:v>
                </c:pt>
                <c:pt idx="712">
                  <c:v>All Others</c:v>
                </c:pt>
                <c:pt idx="713">
                  <c:v>All Others</c:v>
                </c:pt>
                <c:pt idx="714">
                  <c:v>All Others</c:v>
                </c:pt>
                <c:pt idx="715">
                  <c:v>All Others</c:v>
                </c:pt>
                <c:pt idx="716">
                  <c:v>Tartare</c:v>
                </c:pt>
                <c:pt idx="717">
                  <c:v>All Others</c:v>
                </c:pt>
                <c:pt idx="718">
                  <c:v>All Others</c:v>
                </c:pt>
                <c:pt idx="719">
                  <c:v>Triballat N</c:v>
                </c:pt>
                <c:pt idx="720">
                  <c:v>Apericube</c:v>
                </c:pt>
                <c:pt idx="721">
                  <c:v>Boursin</c:v>
                </c:pt>
                <c:pt idx="722">
                  <c:v>All Others</c:v>
                </c:pt>
                <c:pt idx="723">
                  <c:v>Mini Babybe</c:v>
                </c:pt>
                <c:pt idx="724">
                  <c:v>All Others</c:v>
                </c:pt>
                <c:pt idx="725">
                  <c:v>All Others</c:v>
                </c:pt>
                <c:pt idx="726">
                  <c:v>All Others</c:v>
                </c:pt>
                <c:pt idx="727">
                  <c:v>Etoile Du V</c:v>
                </c:pt>
                <c:pt idx="728">
                  <c:v>All Others</c:v>
                </c:pt>
                <c:pt idx="729">
                  <c:v>La Belle Et</c:v>
                </c:pt>
                <c:pt idx="730">
                  <c:v>All Others</c:v>
                </c:pt>
                <c:pt idx="731">
                  <c:v>All Others</c:v>
                </c:pt>
                <c:pt idx="732">
                  <c:v>Pochat</c:v>
                </c:pt>
                <c:pt idx="733">
                  <c:v>All Others</c:v>
                </c:pt>
                <c:pt idx="734">
                  <c:v>Lactalis: A</c:v>
                </c:pt>
                <c:pt idx="735">
                  <c:v>Savencia: A</c:v>
                </c:pt>
                <c:pt idx="736">
                  <c:v>All Others</c:v>
                </c:pt>
                <c:pt idx="737">
                  <c:v>All Others</c:v>
                </c:pt>
                <c:pt idx="738">
                  <c:v>Chavroux</c:v>
                </c:pt>
                <c:pt idx="739">
                  <c:v>All Others</c:v>
                </c:pt>
                <c:pt idx="740">
                  <c:v>All Others</c:v>
                </c:pt>
                <c:pt idx="741">
                  <c:v>All Others</c:v>
                </c:pt>
                <c:pt idx="742">
                  <c:v>All Others</c:v>
                </c:pt>
                <c:pt idx="743">
                  <c:v>All Others</c:v>
                </c:pt>
                <c:pt idx="744">
                  <c:v>All Others</c:v>
                </c:pt>
                <c:pt idx="745">
                  <c:v>Casa Azzurr</c:v>
                </c:pt>
                <c:pt idx="746">
                  <c:v>All Others</c:v>
                </c:pt>
                <c:pt idx="747">
                  <c:v>Etoile Du V</c:v>
                </c:pt>
                <c:pt idx="748">
                  <c:v>All Others</c:v>
                </c:pt>
                <c:pt idx="749">
                  <c:v>Paysan Bret</c:v>
                </c:pt>
                <c:pt idx="750">
                  <c:v>Savencia: A</c:v>
                </c:pt>
                <c:pt idx="751">
                  <c:v>Nurishh</c:v>
                </c:pt>
                <c:pt idx="752">
                  <c:v>Fauquet</c:v>
                </c:pt>
                <c:pt idx="753">
                  <c:v>La Belle Et</c:v>
                </c:pt>
                <c:pt idx="754">
                  <c:v>Lactalis: A</c:v>
                </c:pt>
                <c:pt idx="755">
                  <c:v>All Others</c:v>
                </c:pt>
                <c:pt idx="756">
                  <c:v>All Others</c:v>
                </c:pt>
                <c:pt idx="757">
                  <c:v>All Others</c:v>
                </c:pt>
                <c:pt idx="758">
                  <c:v>All Others</c:v>
                </c:pt>
                <c:pt idx="759">
                  <c:v>Fol Epi</c:v>
                </c:pt>
                <c:pt idx="760">
                  <c:v>All Others</c:v>
                </c:pt>
                <c:pt idx="761">
                  <c:v>All Others</c:v>
                </c:pt>
                <c:pt idx="762">
                  <c:v>All Others</c:v>
                </c:pt>
                <c:pt idx="763">
                  <c:v>All Others</c:v>
                </c:pt>
                <c:pt idx="764">
                  <c:v>Chavroux</c:v>
                </c:pt>
                <c:pt idx="765">
                  <c:v>All Others</c:v>
                </c:pt>
                <c:pt idx="766">
                  <c:v>All Others</c:v>
                </c:pt>
                <c:pt idx="767">
                  <c:v>All Others</c:v>
                </c:pt>
                <c:pt idx="768">
                  <c:v>All Others</c:v>
                </c:pt>
                <c:pt idx="769">
                  <c:v>All Others</c:v>
                </c:pt>
                <c:pt idx="770">
                  <c:v>Entremont</c:v>
                </c:pt>
                <c:pt idx="771">
                  <c:v>Private Lab</c:v>
                </c:pt>
                <c:pt idx="772">
                  <c:v>All Others</c:v>
                </c:pt>
                <c:pt idx="773">
                  <c:v>Boursin</c:v>
                </c:pt>
                <c:pt idx="774">
                  <c:v>All Others</c:v>
                </c:pt>
                <c:pt idx="775">
                  <c:v>La Belle Et</c:v>
                </c:pt>
                <c:pt idx="776">
                  <c:v>All Others</c:v>
                </c:pt>
                <c:pt idx="777">
                  <c:v>La Belle Et</c:v>
                </c:pt>
                <c:pt idx="778">
                  <c:v>All Others</c:v>
                </c:pt>
                <c:pt idx="779">
                  <c:v>Triballat N</c:v>
                </c:pt>
                <c:pt idx="780">
                  <c:v>All Others</c:v>
                </c:pt>
                <c:pt idx="781">
                  <c:v>Aperivrais</c:v>
                </c:pt>
                <c:pt idx="782">
                  <c:v>All Others</c:v>
                </c:pt>
                <c:pt idx="783">
                  <c:v>All Others</c:v>
                </c:pt>
                <c:pt idx="784">
                  <c:v>Milleret: A</c:v>
                </c:pt>
                <c:pt idx="785">
                  <c:v>La Belle Et</c:v>
                </c:pt>
                <c:pt idx="786">
                  <c:v>Istara</c:v>
                </c:pt>
                <c:pt idx="787">
                  <c:v>Pave D'Affi</c:v>
                </c:pt>
                <c:pt idx="788">
                  <c:v>All Others</c:v>
                </c:pt>
                <c:pt idx="789">
                  <c:v>All Others</c:v>
                </c:pt>
                <c:pt idx="790">
                  <c:v>La Belle Et</c:v>
                </c:pt>
                <c:pt idx="791">
                  <c:v>All Others</c:v>
                </c:pt>
                <c:pt idx="792">
                  <c:v>Entremont</c:v>
                </c:pt>
                <c:pt idx="793">
                  <c:v>All Others</c:v>
                </c:pt>
                <c:pt idx="794">
                  <c:v>All Others</c:v>
                </c:pt>
                <c:pt idx="795">
                  <c:v>Chavroux</c:v>
                </c:pt>
                <c:pt idx="796">
                  <c:v>All Others</c:v>
                </c:pt>
                <c:pt idx="797">
                  <c:v>All Others</c:v>
                </c:pt>
                <c:pt idx="798">
                  <c:v>All Others</c:v>
                </c:pt>
                <c:pt idx="799">
                  <c:v>All Others</c:v>
                </c:pt>
                <c:pt idx="800">
                  <c:v>La Belle Et</c:v>
                </c:pt>
                <c:pt idx="801">
                  <c:v>All Others</c:v>
                </c:pt>
                <c:pt idx="802">
                  <c:v>La Belle Et</c:v>
                </c:pt>
                <c:pt idx="803">
                  <c:v>All Others</c:v>
                </c:pt>
                <c:pt idx="804">
                  <c:v>Entremont</c:v>
                </c:pt>
                <c:pt idx="805">
                  <c:v>Entremont</c:v>
                </c:pt>
                <c:pt idx="806">
                  <c:v>All Others</c:v>
                </c:pt>
                <c:pt idx="807">
                  <c:v>All Others</c:v>
                </c:pt>
                <c:pt idx="808">
                  <c:v>All Others</c:v>
                </c:pt>
                <c:pt idx="809">
                  <c:v>All Others</c:v>
                </c:pt>
                <c:pt idx="810">
                  <c:v>Aperivrais</c:v>
                </c:pt>
                <c:pt idx="811">
                  <c:v>Chaussee Au</c:v>
                </c:pt>
                <c:pt idx="812">
                  <c:v>All Others</c:v>
                </c:pt>
                <c:pt idx="813">
                  <c:v>L'Ortolan</c:v>
                </c:pt>
                <c:pt idx="814">
                  <c:v>All Others</c:v>
                </c:pt>
                <c:pt idx="815">
                  <c:v>Etoile Du V</c:v>
                </c:pt>
                <c:pt idx="816">
                  <c:v>Lactalis: A</c:v>
                </c:pt>
                <c:pt idx="817">
                  <c:v>All Others</c:v>
                </c:pt>
                <c:pt idx="818">
                  <c:v>All Others</c:v>
                </c:pt>
                <c:pt idx="819">
                  <c:v>All Others</c:v>
                </c:pt>
                <c:pt idx="820">
                  <c:v>Savencia: A</c:v>
                </c:pt>
                <c:pt idx="821">
                  <c:v>Milleret: A</c:v>
                </c:pt>
                <c:pt idx="822">
                  <c:v>Les Mousque</c:v>
                </c:pt>
                <c:pt idx="823">
                  <c:v>All Others</c:v>
                </c:pt>
                <c:pt idx="824">
                  <c:v>All Others</c:v>
                </c:pt>
                <c:pt idx="825">
                  <c:v>All Others</c:v>
                </c:pt>
                <c:pt idx="826">
                  <c:v>All Others</c:v>
                </c:pt>
                <c:pt idx="827">
                  <c:v>Les Mousque</c:v>
                </c:pt>
                <c:pt idx="828">
                  <c:v>Societe</c:v>
                </c:pt>
                <c:pt idx="829">
                  <c:v>Petit Billy</c:v>
                </c:pt>
                <c:pt idx="830">
                  <c:v>Savencia: A</c:v>
                </c:pt>
                <c:pt idx="831">
                  <c:v>All Others</c:v>
                </c:pt>
                <c:pt idx="832">
                  <c:v>Boursin</c:v>
                </c:pt>
                <c:pt idx="833">
                  <c:v>All Others</c:v>
                </c:pt>
                <c:pt idx="834">
                  <c:v>Galbani</c:v>
                </c:pt>
                <c:pt idx="835">
                  <c:v>All Others</c:v>
                </c:pt>
                <c:pt idx="836">
                  <c:v>All Others</c:v>
                </c:pt>
                <c:pt idx="837">
                  <c:v>All Others</c:v>
                </c:pt>
                <c:pt idx="838">
                  <c:v>All Others</c:v>
                </c:pt>
                <c:pt idx="839">
                  <c:v>All Others</c:v>
                </c:pt>
                <c:pt idx="840">
                  <c:v>All Others</c:v>
                </c:pt>
                <c:pt idx="841">
                  <c:v>All Others</c:v>
                </c:pt>
                <c:pt idx="842">
                  <c:v>Raguin</c:v>
                </c:pt>
                <c:pt idx="843">
                  <c:v>All Others</c:v>
                </c:pt>
                <c:pt idx="844">
                  <c:v>All Others</c:v>
                </c:pt>
                <c:pt idx="845">
                  <c:v>All Others</c:v>
                </c:pt>
                <c:pt idx="846">
                  <c:v>All Others</c:v>
                </c:pt>
                <c:pt idx="847">
                  <c:v>Savencia: A</c:v>
                </c:pt>
                <c:pt idx="848">
                  <c:v>All Others</c:v>
                </c:pt>
                <c:pt idx="849">
                  <c:v>All Others</c:v>
                </c:pt>
                <c:pt idx="850">
                  <c:v>Richesmonts</c:v>
                </c:pt>
                <c:pt idx="851">
                  <c:v>All Others</c:v>
                </c:pt>
                <c:pt idx="852">
                  <c:v>All Others</c:v>
                </c:pt>
                <c:pt idx="853">
                  <c:v>All Others</c:v>
                </c:pt>
                <c:pt idx="854">
                  <c:v>All Others</c:v>
                </c:pt>
                <c:pt idx="855">
                  <c:v>All Others</c:v>
                </c:pt>
                <c:pt idx="856">
                  <c:v>Raguin</c:v>
                </c:pt>
                <c:pt idx="857">
                  <c:v>Private Lab</c:v>
                </c:pt>
                <c:pt idx="858">
                  <c:v>All Others</c:v>
                </c:pt>
                <c:pt idx="859">
                  <c:v>All Others</c:v>
                </c:pt>
                <c:pt idx="860">
                  <c:v>All Others</c:v>
                </c:pt>
                <c:pt idx="861">
                  <c:v>All Others</c:v>
                </c:pt>
                <c:pt idx="862">
                  <c:v>All Others</c:v>
                </c:pt>
                <c:pt idx="863">
                  <c:v>All Others</c:v>
                </c:pt>
                <c:pt idx="864">
                  <c:v>All Others</c:v>
                </c:pt>
                <c:pt idx="865">
                  <c:v>All Others</c:v>
                </c:pt>
                <c:pt idx="866">
                  <c:v>Soignon</c:v>
                </c:pt>
                <c:pt idx="867">
                  <c:v>All Others</c:v>
                </c:pt>
                <c:pt idx="868">
                  <c:v>Boursin</c:v>
                </c:pt>
                <c:pt idx="869">
                  <c:v>All Others</c:v>
                </c:pt>
                <c:pt idx="870">
                  <c:v>Boursin</c:v>
                </c:pt>
                <c:pt idx="871">
                  <c:v>All Others</c:v>
                </c:pt>
                <c:pt idx="872">
                  <c:v>All Others</c:v>
                </c:pt>
                <c:pt idx="873">
                  <c:v>All Others</c:v>
                </c:pt>
                <c:pt idx="874">
                  <c:v>All Others</c:v>
                </c:pt>
                <c:pt idx="875">
                  <c:v>President</c:v>
                </c:pt>
                <c:pt idx="876">
                  <c:v>Raguin</c:v>
                </c:pt>
                <c:pt idx="877">
                  <c:v>All Others</c:v>
                </c:pt>
                <c:pt idx="878">
                  <c:v>All Others</c:v>
                </c:pt>
                <c:pt idx="879">
                  <c:v>All Others</c:v>
                </c:pt>
                <c:pt idx="880">
                  <c:v>Salakis</c:v>
                </c:pt>
                <c:pt idx="881">
                  <c:v>All Others</c:v>
                </c:pt>
                <c:pt idx="882">
                  <c:v>All Others</c:v>
                </c:pt>
                <c:pt idx="883">
                  <c:v>All Others</c:v>
                </c:pt>
                <c:pt idx="884">
                  <c:v>Boursin</c:v>
                </c:pt>
                <c:pt idx="885">
                  <c:v>La Belle Et</c:v>
                </c:pt>
                <c:pt idx="886">
                  <c:v>All Others</c:v>
                </c:pt>
                <c:pt idx="887">
                  <c:v>Fol Epi</c:v>
                </c:pt>
                <c:pt idx="888">
                  <c:v>All Others</c:v>
                </c:pt>
                <c:pt idx="889">
                  <c:v>La Belle Et</c:v>
                </c:pt>
                <c:pt idx="890">
                  <c:v>All Others</c:v>
                </c:pt>
                <c:pt idx="891">
                  <c:v>All Others</c:v>
                </c:pt>
                <c:pt idx="892">
                  <c:v>All Others</c:v>
                </c:pt>
                <c:pt idx="893">
                  <c:v>All Others</c:v>
                </c:pt>
                <c:pt idx="894">
                  <c:v>Juraflore</c:v>
                </c:pt>
                <c:pt idx="895">
                  <c:v>Richesmonts</c:v>
                </c:pt>
                <c:pt idx="896">
                  <c:v>Savencia: A</c:v>
                </c:pt>
                <c:pt idx="897">
                  <c:v>All Others</c:v>
                </c:pt>
                <c:pt idx="898">
                  <c:v>Savencia: A</c:v>
                </c:pt>
                <c:pt idx="899">
                  <c:v>All Others</c:v>
                </c:pt>
                <c:pt idx="900">
                  <c:v>All Others</c:v>
                </c:pt>
                <c:pt idx="901">
                  <c:v>All Others</c:v>
                </c:pt>
                <c:pt idx="902">
                  <c:v>All Others</c:v>
                </c:pt>
                <c:pt idx="903">
                  <c:v>Lactalis: A</c:v>
                </c:pt>
                <c:pt idx="904">
                  <c:v>La Belle Et</c:v>
                </c:pt>
                <c:pt idx="905">
                  <c:v>Raguin</c:v>
                </c:pt>
                <c:pt idx="906">
                  <c:v>Entremont</c:v>
                </c:pt>
                <c:pt idx="907">
                  <c:v>All Others</c:v>
                </c:pt>
                <c:pt idx="908">
                  <c:v>All Others</c:v>
                </c:pt>
                <c:pt idx="909">
                  <c:v>Salakis</c:v>
                </c:pt>
                <c:pt idx="910">
                  <c:v>All Others</c:v>
                </c:pt>
                <c:pt idx="911">
                  <c:v>All Others</c:v>
                </c:pt>
                <c:pt idx="912">
                  <c:v>All Others</c:v>
                </c:pt>
                <c:pt idx="913">
                  <c:v>All Others</c:v>
                </c:pt>
                <c:pt idx="914">
                  <c:v>All Others</c:v>
                </c:pt>
                <c:pt idx="915">
                  <c:v>La Vache Qu</c:v>
                </c:pt>
                <c:pt idx="916">
                  <c:v>Chavroux</c:v>
                </c:pt>
                <c:pt idx="917">
                  <c:v>All Others</c:v>
                </c:pt>
                <c:pt idx="918">
                  <c:v>Raguin</c:v>
                </c:pt>
                <c:pt idx="919">
                  <c:v>All Others</c:v>
                </c:pt>
                <c:pt idx="920">
                  <c:v>All Others</c:v>
                </c:pt>
                <c:pt idx="921">
                  <c:v>Mini Babybe</c:v>
                </c:pt>
                <c:pt idx="922">
                  <c:v>Raguin</c:v>
                </c:pt>
                <c:pt idx="923">
                  <c:v>All Others</c:v>
                </c:pt>
                <c:pt idx="924">
                  <c:v>Entremont</c:v>
                </c:pt>
                <c:pt idx="925">
                  <c:v>All Others</c:v>
                </c:pt>
                <c:pt idx="926">
                  <c:v>All Others</c:v>
                </c:pt>
                <c:pt idx="927">
                  <c:v>All Others</c:v>
                </c:pt>
                <c:pt idx="928">
                  <c:v>All Others</c:v>
                </c:pt>
                <c:pt idx="929">
                  <c:v>All Others</c:v>
                </c:pt>
                <c:pt idx="930">
                  <c:v>All Others</c:v>
                </c:pt>
                <c:pt idx="931">
                  <c:v>All Others</c:v>
                </c:pt>
                <c:pt idx="932">
                  <c:v>All Others</c:v>
                </c:pt>
                <c:pt idx="933">
                  <c:v>All Others</c:v>
                </c:pt>
                <c:pt idx="934">
                  <c:v>All Others</c:v>
                </c:pt>
                <c:pt idx="935">
                  <c:v>All Others</c:v>
                </c:pt>
                <c:pt idx="936">
                  <c:v>Chavroux</c:v>
                </c:pt>
                <c:pt idx="937">
                  <c:v>All Others</c:v>
                </c:pt>
                <c:pt idx="938">
                  <c:v>All Others</c:v>
                </c:pt>
                <c:pt idx="939">
                  <c:v>All Others</c:v>
                </c:pt>
                <c:pt idx="940">
                  <c:v>Raguin</c:v>
                </c:pt>
                <c:pt idx="941">
                  <c:v>All Others</c:v>
                </c:pt>
                <c:pt idx="942">
                  <c:v>All Others</c:v>
                </c:pt>
                <c:pt idx="943">
                  <c:v>Corsica</c:v>
                </c:pt>
                <c:pt idx="944">
                  <c:v>La Belle Et</c:v>
                </c:pt>
                <c:pt idx="945">
                  <c:v>All Others</c:v>
                </c:pt>
                <c:pt idx="946">
                  <c:v>All Others</c:v>
                </c:pt>
                <c:pt idx="947">
                  <c:v>All Others</c:v>
                </c:pt>
                <c:pt idx="948">
                  <c:v>All Others</c:v>
                </c:pt>
                <c:pt idx="949">
                  <c:v>Raguin</c:v>
                </c:pt>
                <c:pt idx="950">
                  <c:v>All Others</c:v>
                </c:pt>
                <c:pt idx="951">
                  <c:v>Etoile Du V</c:v>
                </c:pt>
                <c:pt idx="952">
                  <c:v>All Others</c:v>
                </c:pt>
                <c:pt idx="953">
                  <c:v>Milleret: A</c:v>
                </c:pt>
                <c:pt idx="954">
                  <c:v>All Others</c:v>
                </c:pt>
                <c:pt idx="955">
                  <c:v>La Belle Et</c:v>
                </c:pt>
                <c:pt idx="956">
                  <c:v>All Others</c:v>
                </c:pt>
                <c:pt idx="957">
                  <c:v>Lactalis: A</c:v>
                </c:pt>
                <c:pt idx="958">
                  <c:v>All Others</c:v>
                </c:pt>
                <c:pt idx="959">
                  <c:v>All Others</c:v>
                </c:pt>
                <c:pt idx="960">
                  <c:v>All Others</c:v>
                </c:pt>
                <c:pt idx="961">
                  <c:v>Rians</c:v>
                </c:pt>
                <c:pt idx="962">
                  <c:v>Mini Babybe</c:v>
                </c:pt>
                <c:pt idx="963">
                  <c:v>All Others</c:v>
                </c:pt>
                <c:pt idx="964">
                  <c:v>All Others</c:v>
                </c:pt>
                <c:pt idx="965">
                  <c:v>All Others</c:v>
                </c:pt>
                <c:pt idx="966">
                  <c:v>All Others</c:v>
                </c:pt>
                <c:pt idx="967">
                  <c:v>All Others</c:v>
                </c:pt>
                <c:pt idx="968">
                  <c:v>Lactalis: A</c:v>
                </c:pt>
                <c:pt idx="969">
                  <c:v>Casa Azzurr</c:v>
                </c:pt>
                <c:pt idx="970">
                  <c:v>All Others</c:v>
                </c:pt>
                <c:pt idx="971">
                  <c:v>All Others</c:v>
                </c:pt>
                <c:pt idx="972">
                  <c:v>All Others</c:v>
                </c:pt>
                <c:pt idx="973">
                  <c:v>All Others</c:v>
                </c:pt>
                <c:pt idx="974">
                  <c:v>All Others</c:v>
                </c:pt>
                <c:pt idx="975">
                  <c:v>All Others</c:v>
                </c:pt>
                <c:pt idx="976">
                  <c:v>All Others</c:v>
                </c:pt>
                <c:pt idx="977">
                  <c:v>All Others</c:v>
                </c:pt>
                <c:pt idx="978">
                  <c:v>All Others</c:v>
                </c:pt>
                <c:pt idx="979">
                  <c:v>All Others</c:v>
                </c:pt>
                <c:pt idx="980">
                  <c:v>Raguin</c:v>
                </c:pt>
                <c:pt idx="981">
                  <c:v>All Others</c:v>
                </c:pt>
                <c:pt idx="982">
                  <c:v>Lactalis: A</c:v>
                </c:pt>
                <c:pt idx="983">
                  <c:v>All Others</c:v>
                </c:pt>
                <c:pt idx="984">
                  <c:v>All Others</c:v>
                </c:pt>
                <c:pt idx="985">
                  <c:v>Etoile Du V</c:v>
                </c:pt>
                <c:pt idx="986">
                  <c:v>All Others</c:v>
                </c:pt>
                <c:pt idx="987">
                  <c:v>Violife</c:v>
                </c:pt>
                <c:pt idx="988">
                  <c:v>All Others</c:v>
                </c:pt>
                <c:pt idx="989">
                  <c:v>All Others</c:v>
                </c:pt>
                <c:pt idx="990">
                  <c:v>All Others</c:v>
                </c:pt>
                <c:pt idx="991">
                  <c:v>All Others</c:v>
                </c:pt>
                <c:pt idx="992">
                  <c:v>Paysan Bret</c:v>
                </c:pt>
                <c:pt idx="993">
                  <c:v>All Others</c:v>
                </c:pt>
                <c:pt idx="994">
                  <c:v>All Others</c:v>
                </c:pt>
                <c:pt idx="995">
                  <c:v>Kiri</c:v>
                </c:pt>
                <c:pt idx="996">
                  <c:v>Raguin</c:v>
                </c:pt>
                <c:pt idx="997">
                  <c:v>All Others</c:v>
                </c:pt>
                <c:pt idx="998">
                  <c:v>All Others</c:v>
                </c:pt>
                <c:pt idx="999">
                  <c:v>All Others</c:v>
                </c:pt>
                <c:pt idx="1000">
                  <c:v>All Others</c:v>
                </c:pt>
                <c:pt idx="1001">
                  <c:v>All Others</c:v>
                </c:pt>
                <c:pt idx="1002">
                  <c:v>All Others</c:v>
                </c:pt>
                <c:pt idx="1003">
                  <c:v>All Others</c:v>
                </c:pt>
                <c:pt idx="1004">
                  <c:v>All Others</c:v>
                </c:pt>
                <c:pt idx="1005">
                  <c:v>Other Suppl</c:v>
                </c:pt>
                <c:pt idx="1006">
                  <c:v>All Others</c:v>
                </c:pt>
                <c:pt idx="1007">
                  <c:v>Lactalis: A</c:v>
                </c:pt>
                <c:pt idx="1008">
                  <c:v>All Others</c:v>
                </c:pt>
                <c:pt idx="1009">
                  <c:v>All Others</c:v>
                </c:pt>
                <c:pt idx="1010">
                  <c:v>All Others</c:v>
                </c:pt>
                <c:pt idx="1011">
                  <c:v>La Belle Et</c:v>
                </c:pt>
                <c:pt idx="1012">
                  <c:v>All Others</c:v>
                </c:pt>
                <c:pt idx="1013">
                  <c:v>All Others</c:v>
                </c:pt>
                <c:pt idx="1014">
                  <c:v>All Others</c:v>
                </c:pt>
                <c:pt idx="1015">
                  <c:v>All Others</c:v>
                </c:pt>
                <c:pt idx="1016">
                  <c:v>All Others</c:v>
                </c:pt>
                <c:pt idx="1017">
                  <c:v>All Others</c:v>
                </c:pt>
                <c:pt idx="1018">
                  <c:v>All Others</c:v>
                </c:pt>
                <c:pt idx="1019">
                  <c:v>Private Lab</c:v>
                </c:pt>
                <c:pt idx="1020">
                  <c:v>All Others</c:v>
                </c:pt>
                <c:pt idx="1021">
                  <c:v>All Others</c:v>
                </c:pt>
                <c:pt idx="1022">
                  <c:v>Lactalis: A</c:v>
                </c:pt>
                <c:pt idx="1023">
                  <c:v>All Others</c:v>
                </c:pt>
                <c:pt idx="1024">
                  <c:v>All Others</c:v>
                </c:pt>
                <c:pt idx="1025">
                  <c:v>All Others</c:v>
                </c:pt>
                <c:pt idx="1026">
                  <c:v>All Others</c:v>
                </c:pt>
                <c:pt idx="1027">
                  <c:v>All Others</c:v>
                </c:pt>
                <c:pt idx="1028">
                  <c:v>All Others</c:v>
                </c:pt>
                <c:pt idx="1029">
                  <c:v>All Others</c:v>
                </c:pt>
                <c:pt idx="1030">
                  <c:v>All Others</c:v>
                </c:pt>
                <c:pt idx="1031">
                  <c:v>All Others</c:v>
                </c:pt>
                <c:pt idx="1032">
                  <c:v>All Others</c:v>
                </c:pt>
                <c:pt idx="1033">
                  <c:v>All Others</c:v>
                </c:pt>
                <c:pt idx="1034">
                  <c:v>Lactalis: A</c:v>
                </c:pt>
                <c:pt idx="1035">
                  <c:v>All Others</c:v>
                </c:pt>
                <c:pt idx="1036">
                  <c:v>All Others</c:v>
                </c:pt>
                <c:pt idx="1037">
                  <c:v>L'Ortolan</c:v>
                </c:pt>
                <c:pt idx="1038">
                  <c:v>All Others</c:v>
                </c:pt>
                <c:pt idx="1039">
                  <c:v>All Others</c:v>
                </c:pt>
                <c:pt idx="1040">
                  <c:v>All Others</c:v>
                </c:pt>
                <c:pt idx="1041">
                  <c:v>All Others</c:v>
                </c:pt>
                <c:pt idx="1042">
                  <c:v>Entremont</c:v>
                </c:pt>
                <c:pt idx="1043">
                  <c:v>Raguin</c:v>
                </c:pt>
                <c:pt idx="1044">
                  <c:v>All Others</c:v>
                </c:pt>
                <c:pt idx="1045">
                  <c:v>All Others</c:v>
                </c:pt>
                <c:pt idx="1046">
                  <c:v>Raguin</c:v>
                </c:pt>
                <c:pt idx="1047">
                  <c:v>All Others</c:v>
                </c:pt>
                <c:pt idx="1048">
                  <c:v>All Others</c:v>
                </c:pt>
                <c:pt idx="1049">
                  <c:v>All Others</c:v>
                </c:pt>
                <c:pt idx="1050">
                  <c:v>All Others</c:v>
                </c:pt>
                <c:pt idx="1051">
                  <c:v>Raguin</c:v>
                </c:pt>
                <c:pt idx="1052">
                  <c:v>All Others</c:v>
                </c:pt>
                <c:pt idx="1053">
                  <c:v>Paysan Bret</c:v>
                </c:pt>
                <c:pt idx="1054">
                  <c:v>All Others</c:v>
                </c:pt>
                <c:pt idx="1055">
                  <c:v>All Others</c:v>
                </c:pt>
                <c:pt idx="1056">
                  <c:v>All Others</c:v>
                </c:pt>
                <c:pt idx="1057">
                  <c:v>All Others</c:v>
                </c:pt>
                <c:pt idx="1058">
                  <c:v>All Others</c:v>
                </c:pt>
                <c:pt idx="1059">
                  <c:v>All Others</c:v>
                </c:pt>
                <c:pt idx="1060">
                  <c:v>All Others</c:v>
                </c:pt>
                <c:pt idx="1061">
                  <c:v>All Others</c:v>
                </c:pt>
                <c:pt idx="1062">
                  <c:v>All Others</c:v>
                </c:pt>
                <c:pt idx="1063">
                  <c:v>All Others</c:v>
                </c:pt>
                <c:pt idx="1064">
                  <c:v>Raguin</c:v>
                </c:pt>
                <c:pt idx="1065">
                  <c:v>All Others</c:v>
                </c:pt>
                <c:pt idx="1066">
                  <c:v>All Others</c:v>
                </c:pt>
                <c:pt idx="1067">
                  <c:v>All Others</c:v>
                </c:pt>
                <c:pt idx="1068">
                  <c:v>All Others</c:v>
                </c:pt>
                <c:pt idx="1069">
                  <c:v>All Others</c:v>
                </c:pt>
                <c:pt idx="1070">
                  <c:v>All Others</c:v>
                </c:pt>
                <c:pt idx="1071">
                  <c:v>All Others</c:v>
                </c:pt>
                <c:pt idx="1072">
                  <c:v>All Others</c:v>
                </c:pt>
                <c:pt idx="1073">
                  <c:v>All Others</c:v>
                </c:pt>
                <c:pt idx="1074">
                  <c:v>All Others</c:v>
                </c:pt>
                <c:pt idx="1075">
                  <c:v>All Others</c:v>
                </c:pt>
                <c:pt idx="1076">
                  <c:v>Raguin</c:v>
                </c:pt>
                <c:pt idx="1077">
                  <c:v>All Others</c:v>
                </c:pt>
                <c:pt idx="1078">
                  <c:v>All Others</c:v>
                </c:pt>
                <c:pt idx="1079">
                  <c:v>All Others</c:v>
                </c:pt>
                <c:pt idx="1080">
                  <c:v>Raguin</c:v>
                </c:pt>
                <c:pt idx="1081">
                  <c:v>All Others</c:v>
                </c:pt>
                <c:pt idx="1082">
                  <c:v>All Others</c:v>
                </c:pt>
                <c:pt idx="1083">
                  <c:v>All Others</c:v>
                </c:pt>
                <c:pt idx="1084">
                  <c:v>All Others</c:v>
                </c:pt>
                <c:pt idx="1085">
                  <c:v>All Others</c:v>
                </c:pt>
                <c:pt idx="1086">
                  <c:v>All Others</c:v>
                </c:pt>
                <c:pt idx="1087">
                  <c:v>Lindahls Pr</c:v>
                </c:pt>
                <c:pt idx="1088">
                  <c:v>All Others</c:v>
                </c:pt>
                <c:pt idx="1089">
                  <c:v>All Others</c:v>
                </c:pt>
                <c:pt idx="1090">
                  <c:v>Raguin</c:v>
                </c:pt>
                <c:pt idx="1091">
                  <c:v>All Others</c:v>
                </c:pt>
                <c:pt idx="1092">
                  <c:v>All Others</c:v>
                </c:pt>
                <c:pt idx="1093">
                  <c:v>All Others</c:v>
                </c:pt>
                <c:pt idx="1094">
                  <c:v>All Others</c:v>
                </c:pt>
                <c:pt idx="1095">
                  <c:v>All Others</c:v>
                </c:pt>
                <c:pt idx="1096">
                  <c:v>All Others</c:v>
                </c:pt>
                <c:pt idx="1097">
                  <c:v>Pave D'Affi</c:v>
                </c:pt>
                <c:pt idx="1098">
                  <c:v>All Others</c:v>
                </c:pt>
                <c:pt idx="1099">
                  <c:v>All Others</c:v>
                </c:pt>
                <c:pt idx="1100">
                  <c:v>All Others</c:v>
                </c:pt>
                <c:pt idx="1101">
                  <c:v>All Others</c:v>
                </c:pt>
                <c:pt idx="1102">
                  <c:v>Limiano</c:v>
                </c:pt>
                <c:pt idx="1103">
                  <c:v>All Others</c:v>
                </c:pt>
                <c:pt idx="1104">
                  <c:v>Private Lab</c:v>
                </c:pt>
                <c:pt idx="1105">
                  <c:v>All Others</c:v>
                </c:pt>
                <c:pt idx="1106">
                  <c:v>Lactalis: A</c:v>
                </c:pt>
                <c:pt idx="1107">
                  <c:v>All Others</c:v>
                </c:pt>
                <c:pt idx="1108">
                  <c:v>All Others</c:v>
                </c:pt>
                <c:pt idx="1109">
                  <c:v>All Others</c:v>
                </c:pt>
                <c:pt idx="1110">
                  <c:v>Raguin</c:v>
                </c:pt>
                <c:pt idx="1111">
                  <c:v>All Others</c:v>
                </c:pt>
                <c:pt idx="1112">
                  <c:v>All Others</c:v>
                </c:pt>
                <c:pt idx="1113">
                  <c:v>All Others</c:v>
                </c:pt>
                <c:pt idx="1114">
                  <c:v>All Others</c:v>
                </c:pt>
                <c:pt idx="1115">
                  <c:v>All Others</c:v>
                </c:pt>
                <c:pt idx="1116">
                  <c:v>All Others</c:v>
                </c:pt>
                <c:pt idx="1117">
                  <c:v>All Others</c:v>
                </c:pt>
                <c:pt idx="1118">
                  <c:v>All Others</c:v>
                </c:pt>
                <c:pt idx="1119">
                  <c:v>All Others</c:v>
                </c:pt>
                <c:pt idx="1120">
                  <c:v>All Others</c:v>
                </c:pt>
                <c:pt idx="1121">
                  <c:v>All Others</c:v>
                </c:pt>
                <c:pt idx="1122">
                  <c:v>All Others</c:v>
                </c:pt>
                <c:pt idx="1123">
                  <c:v>Gillot</c:v>
                </c:pt>
                <c:pt idx="1124">
                  <c:v>All Others</c:v>
                </c:pt>
                <c:pt idx="1125">
                  <c:v>All Others</c:v>
                </c:pt>
                <c:pt idx="1126">
                  <c:v>All Others</c:v>
                </c:pt>
                <c:pt idx="1127">
                  <c:v>All Others</c:v>
                </c:pt>
                <c:pt idx="1128">
                  <c:v>Savencia: A</c:v>
                </c:pt>
                <c:pt idx="1129">
                  <c:v>All Others</c:v>
                </c:pt>
                <c:pt idx="1130">
                  <c:v>All Others</c:v>
                </c:pt>
                <c:pt idx="1131">
                  <c:v>All Others</c:v>
                </c:pt>
                <c:pt idx="1132">
                  <c:v>All Others</c:v>
                </c:pt>
                <c:pt idx="1133">
                  <c:v>All Others</c:v>
                </c:pt>
                <c:pt idx="1134">
                  <c:v>All Others</c:v>
                </c:pt>
                <c:pt idx="1135">
                  <c:v>All Others</c:v>
                </c:pt>
                <c:pt idx="1136">
                  <c:v>All Others</c:v>
                </c:pt>
                <c:pt idx="1137">
                  <c:v>All Others</c:v>
                </c:pt>
                <c:pt idx="1138">
                  <c:v>All Others</c:v>
                </c:pt>
                <c:pt idx="1139">
                  <c:v>All Others</c:v>
                </c:pt>
                <c:pt idx="1140">
                  <c:v>All Others</c:v>
                </c:pt>
                <c:pt idx="1141">
                  <c:v>All Others</c:v>
                </c:pt>
                <c:pt idx="1142">
                  <c:v>All Others</c:v>
                </c:pt>
                <c:pt idx="1143">
                  <c:v>All Others</c:v>
                </c:pt>
                <c:pt idx="1144">
                  <c:v>All Others</c:v>
                </c:pt>
                <c:pt idx="1145">
                  <c:v>All Others</c:v>
                </c:pt>
                <c:pt idx="1146">
                  <c:v>All Others</c:v>
                </c:pt>
                <c:pt idx="1147">
                  <c:v>All Others</c:v>
                </c:pt>
                <c:pt idx="1148">
                  <c:v>All Others</c:v>
                </c:pt>
                <c:pt idx="1149">
                  <c:v>Paysan Bret</c:v>
                </c:pt>
                <c:pt idx="1150">
                  <c:v>All Others</c:v>
                </c:pt>
                <c:pt idx="1151">
                  <c:v>All Others</c:v>
                </c:pt>
                <c:pt idx="1152">
                  <c:v>All Others</c:v>
                </c:pt>
                <c:pt idx="1153">
                  <c:v>All Others</c:v>
                </c:pt>
                <c:pt idx="1154">
                  <c:v>All Others</c:v>
                </c:pt>
                <c:pt idx="1155">
                  <c:v>All Others</c:v>
                </c:pt>
                <c:pt idx="1156">
                  <c:v>All Others</c:v>
                </c:pt>
                <c:pt idx="1157">
                  <c:v>All Others</c:v>
                </c:pt>
                <c:pt idx="1158">
                  <c:v>All Others</c:v>
                </c:pt>
                <c:pt idx="1159">
                  <c:v>All Others</c:v>
                </c:pt>
                <c:pt idx="1160">
                  <c:v>All Others</c:v>
                </c:pt>
                <c:pt idx="1161">
                  <c:v>All Others</c:v>
                </c:pt>
                <c:pt idx="1162">
                  <c:v>All Others</c:v>
                </c:pt>
                <c:pt idx="1163">
                  <c:v>All Others</c:v>
                </c:pt>
                <c:pt idx="1164">
                  <c:v>All Others</c:v>
                </c:pt>
                <c:pt idx="1165">
                  <c:v>All Others</c:v>
                </c:pt>
                <c:pt idx="1166">
                  <c:v>All Others</c:v>
                </c:pt>
                <c:pt idx="1167">
                  <c:v>All Others</c:v>
                </c:pt>
                <c:pt idx="1168">
                  <c:v>All Others</c:v>
                </c:pt>
                <c:pt idx="1169">
                  <c:v>All Others</c:v>
                </c:pt>
                <c:pt idx="1170">
                  <c:v>All Others</c:v>
                </c:pt>
                <c:pt idx="1171">
                  <c:v>All Others</c:v>
                </c:pt>
                <c:pt idx="1172">
                  <c:v>All Others</c:v>
                </c:pt>
                <c:pt idx="1173">
                  <c:v>Milleret</c:v>
                </c:pt>
                <c:pt idx="1174">
                  <c:v>All Others</c:v>
                </c:pt>
                <c:pt idx="1175">
                  <c:v>All Others</c:v>
                </c:pt>
                <c:pt idx="1176">
                  <c:v>All Others</c:v>
                </c:pt>
                <c:pt idx="1177">
                  <c:v>All Others</c:v>
                </c:pt>
                <c:pt idx="1178">
                  <c:v>La Table M</c:v>
                </c:pt>
                <c:pt idx="1179">
                  <c:v>All Others</c:v>
                </c:pt>
                <c:pt idx="1180">
                  <c:v>All Others</c:v>
                </c:pt>
                <c:pt idx="1181">
                  <c:v>Gillot</c:v>
                </c:pt>
                <c:pt idx="1182">
                  <c:v>All Others</c:v>
                </c:pt>
                <c:pt idx="1183">
                  <c:v>All Others</c:v>
                </c:pt>
                <c:pt idx="1184">
                  <c:v>All Others</c:v>
                </c:pt>
                <c:pt idx="1185">
                  <c:v>All Others</c:v>
                </c:pt>
                <c:pt idx="1186">
                  <c:v>All Others</c:v>
                </c:pt>
                <c:pt idx="1187">
                  <c:v>All Others</c:v>
                </c:pt>
                <c:pt idx="1188">
                  <c:v>All Others</c:v>
                </c:pt>
                <c:pt idx="1189">
                  <c:v>All Others</c:v>
                </c:pt>
                <c:pt idx="1190">
                  <c:v>All Others</c:v>
                </c:pt>
                <c:pt idx="1191">
                  <c:v>Savencia: A</c:v>
                </c:pt>
                <c:pt idx="1192">
                  <c:v>All Others</c:v>
                </c:pt>
                <c:pt idx="1193">
                  <c:v>All Others</c:v>
                </c:pt>
                <c:pt idx="1194">
                  <c:v>Baillon</c:v>
                </c:pt>
                <c:pt idx="1195">
                  <c:v>All Others</c:v>
                </c:pt>
                <c:pt idx="1196">
                  <c:v>All Others</c:v>
                </c:pt>
                <c:pt idx="1197">
                  <c:v>All Others</c:v>
                </c:pt>
                <c:pt idx="1198">
                  <c:v>All Others</c:v>
                </c:pt>
                <c:pt idx="1199">
                  <c:v>All Others</c:v>
                </c:pt>
                <c:pt idx="1200">
                  <c:v>All Others</c:v>
                </c:pt>
                <c:pt idx="1201">
                  <c:v>All Others</c:v>
                </c:pt>
                <c:pt idx="1202">
                  <c:v>All Others</c:v>
                </c:pt>
                <c:pt idx="1203">
                  <c:v>All Others</c:v>
                </c:pt>
                <c:pt idx="1204">
                  <c:v>All Others</c:v>
                </c:pt>
                <c:pt idx="1205">
                  <c:v>All Others</c:v>
                </c:pt>
                <c:pt idx="1206">
                  <c:v>All Others</c:v>
                </c:pt>
                <c:pt idx="1207">
                  <c:v>All Others</c:v>
                </c:pt>
                <c:pt idx="1208">
                  <c:v>All Others</c:v>
                </c:pt>
                <c:pt idx="1209">
                  <c:v>All Others</c:v>
                </c:pt>
                <c:pt idx="1210">
                  <c:v>All Others</c:v>
                </c:pt>
                <c:pt idx="1211">
                  <c:v>All Others</c:v>
                </c:pt>
                <c:pt idx="1212">
                  <c:v>All Others</c:v>
                </c:pt>
                <c:pt idx="1213">
                  <c:v>All Others</c:v>
                </c:pt>
                <c:pt idx="1214">
                  <c:v>All Others</c:v>
                </c:pt>
                <c:pt idx="1215">
                  <c:v>All Others</c:v>
                </c:pt>
                <c:pt idx="1216">
                  <c:v>All Others</c:v>
                </c:pt>
                <c:pt idx="1217">
                  <c:v>All Others</c:v>
                </c:pt>
                <c:pt idx="1218">
                  <c:v>All Others</c:v>
                </c:pt>
                <c:pt idx="1219">
                  <c:v>All Others</c:v>
                </c:pt>
                <c:pt idx="1220">
                  <c:v>All Others</c:v>
                </c:pt>
                <c:pt idx="1221">
                  <c:v>All Others</c:v>
                </c:pt>
                <c:pt idx="1222">
                  <c:v>All Others</c:v>
                </c:pt>
                <c:pt idx="1223">
                  <c:v>All Others</c:v>
                </c:pt>
                <c:pt idx="1224">
                  <c:v>All Others</c:v>
                </c:pt>
                <c:pt idx="1225">
                  <c:v>All Others</c:v>
                </c:pt>
                <c:pt idx="1226">
                  <c:v>All Others</c:v>
                </c:pt>
                <c:pt idx="1227">
                  <c:v>All Others</c:v>
                </c:pt>
                <c:pt idx="1228">
                  <c:v>All Others</c:v>
                </c:pt>
                <c:pt idx="1229">
                  <c:v>All Others</c:v>
                </c:pt>
                <c:pt idx="1230">
                  <c:v>All Others</c:v>
                </c:pt>
                <c:pt idx="1231">
                  <c:v>All Others</c:v>
                </c:pt>
                <c:pt idx="1232">
                  <c:v>All Others</c:v>
                </c:pt>
                <c:pt idx="1233">
                  <c:v>Pave D'Affi</c:v>
                </c:pt>
                <c:pt idx="1234">
                  <c:v>All Others</c:v>
                </c:pt>
                <c:pt idx="1235">
                  <c:v>Other Suppl</c:v>
                </c:pt>
                <c:pt idx="1236">
                  <c:v>All Others</c:v>
                </c:pt>
                <c:pt idx="1237">
                  <c:v>All Others</c:v>
                </c:pt>
                <c:pt idx="1238">
                  <c:v>All Others</c:v>
                </c:pt>
                <c:pt idx="1239">
                  <c:v>All Others</c:v>
                </c:pt>
                <c:pt idx="1240">
                  <c:v>All Others</c:v>
                </c:pt>
                <c:pt idx="1241">
                  <c:v>All Others</c:v>
                </c:pt>
                <c:pt idx="1242">
                  <c:v>All Others</c:v>
                </c:pt>
                <c:pt idx="1243">
                  <c:v>All Others</c:v>
                </c:pt>
                <c:pt idx="1244">
                  <c:v>All Others</c:v>
                </c:pt>
                <c:pt idx="1245">
                  <c:v>All Others</c:v>
                </c:pt>
                <c:pt idx="1246">
                  <c:v>Limiano</c:v>
                </c:pt>
                <c:pt idx="1247">
                  <c:v>All Others</c:v>
                </c:pt>
                <c:pt idx="1248">
                  <c:v>All Others</c:v>
                </c:pt>
                <c:pt idx="1249">
                  <c:v>All Others</c:v>
                </c:pt>
                <c:pt idx="1250">
                  <c:v>All Others</c:v>
                </c:pt>
                <c:pt idx="1251">
                  <c:v>All Others</c:v>
                </c:pt>
                <c:pt idx="1252">
                  <c:v>All Others</c:v>
                </c:pt>
                <c:pt idx="1253">
                  <c:v>All Others</c:v>
                </c:pt>
                <c:pt idx="1254">
                  <c:v>All Others</c:v>
                </c:pt>
                <c:pt idx="1255">
                  <c:v>All Others</c:v>
                </c:pt>
                <c:pt idx="1256">
                  <c:v>All Others</c:v>
                </c:pt>
                <c:pt idx="1257">
                  <c:v>Lactalis: A</c:v>
                </c:pt>
                <c:pt idx="1258">
                  <c:v>All Others</c:v>
                </c:pt>
                <c:pt idx="1259">
                  <c:v>All Others</c:v>
                </c:pt>
                <c:pt idx="1260">
                  <c:v>All Others</c:v>
                </c:pt>
                <c:pt idx="1261">
                  <c:v>All Others</c:v>
                </c:pt>
                <c:pt idx="1262">
                  <c:v>All Others</c:v>
                </c:pt>
                <c:pt idx="1263">
                  <c:v>All Others</c:v>
                </c:pt>
                <c:pt idx="1264">
                  <c:v>Lactalis: A</c:v>
                </c:pt>
                <c:pt idx="1265">
                  <c:v>Pochat</c:v>
                </c:pt>
                <c:pt idx="1266">
                  <c:v>All Others</c:v>
                </c:pt>
                <c:pt idx="1267">
                  <c:v>Pave D'Affi</c:v>
                </c:pt>
                <c:pt idx="1268">
                  <c:v>All Others</c:v>
                </c:pt>
                <c:pt idx="1269">
                  <c:v>All Others</c:v>
                </c:pt>
                <c:pt idx="1270">
                  <c:v>All Others</c:v>
                </c:pt>
                <c:pt idx="1271">
                  <c:v>All Others</c:v>
                </c:pt>
                <c:pt idx="1272">
                  <c:v>All Others</c:v>
                </c:pt>
                <c:pt idx="1273">
                  <c:v>All Others</c:v>
                </c:pt>
                <c:pt idx="1274">
                  <c:v>All Others</c:v>
                </c:pt>
                <c:pt idx="1275">
                  <c:v>All Others</c:v>
                </c:pt>
                <c:pt idx="1276">
                  <c:v>Other Suppl</c:v>
                </c:pt>
                <c:pt idx="1277">
                  <c:v>All Others</c:v>
                </c:pt>
                <c:pt idx="1278">
                  <c:v>All Others</c:v>
                </c:pt>
                <c:pt idx="1279">
                  <c:v>All Others</c:v>
                </c:pt>
                <c:pt idx="1280">
                  <c:v>All Others</c:v>
                </c:pt>
                <c:pt idx="1281">
                  <c:v>All Others</c:v>
                </c:pt>
                <c:pt idx="1282">
                  <c:v>All Others</c:v>
                </c:pt>
                <c:pt idx="1283">
                  <c:v>All Others</c:v>
                </c:pt>
                <c:pt idx="1284">
                  <c:v>All Others</c:v>
                </c:pt>
                <c:pt idx="1285">
                  <c:v>All Others</c:v>
                </c:pt>
                <c:pt idx="1286">
                  <c:v>All Others</c:v>
                </c:pt>
                <c:pt idx="1287">
                  <c:v>All Others</c:v>
                </c:pt>
                <c:pt idx="1288">
                  <c:v>Pochat</c:v>
                </c:pt>
                <c:pt idx="1289">
                  <c:v>All Others</c:v>
                </c:pt>
                <c:pt idx="1290">
                  <c:v>All Others</c:v>
                </c:pt>
                <c:pt idx="1291">
                  <c:v>All Others</c:v>
                </c:pt>
                <c:pt idx="1292">
                  <c:v>All Others</c:v>
                </c:pt>
                <c:pt idx="1293">
                  <c:v>All Others</c:v>
                </c:pt>
                <c:pt idx="1294">
                  <c:v>All Others</c:v>
                </c:pt>
                <c:pt idx="1295">
                  <c:v>All Others</c:v>
                </c:pt>
                <c:pt idx="1296">
                  <c:v>Other Suppl</c:v>
                </c:pt>
                <c:pt idx="1297">
                  <c:v>All Others</c:v>
                </c:pt>
                <c:pt idx="1298">
                  <c:v>All Others</c:v>
                </c:pt>
                <c:pt idx="1299">
                  <c:v>All Others</c:v>
                </c:pt>
                <c:pt idx="1300">
                  <c:v>All Others</c:v>
                </c:pt>
                <c:pt idx="1301">
                  <c:v>All Others</c:v>
                </c:pt>
                <c:pt idx="1302">
                  <c:v>All Others</c:v>
                </c:pt>
                <c:pt idx="1303">
                  <c:v>All Others</c:v>
                </c:pt>
                <c:pt idx="1304">
                  <c:v>All Others</c:v>
                </c:pt>
                <c:pt idx="1305">
                  <c:v>All Others</c:v>
                </c:pt>
                <c:pt idx="1306">
                  <c:v>All Others</c:v>
                </c:pt>
                <c:pt idx="1307">
                  <c:v>All Others</c:v>
                </c:pt>
                <c:pt idx="1308">
                  <c:v>All Others</c:v>
                </c:pt>
                <c:pt idx="1309">
                  <c:v>All Others</c:v>
                </c:pt>
                <c:pt idx="1310">
                  <c:v>All Others</c:v>
                </c:pt>
                <c:pt idx="1311">
                  <c:v>All Others</c:v>
                </c:pt>
                <c:pt idx="1312">
                  <c:v>All Others</c:v>
                </c:pt>
                <c:pt idx="1313">
                  <c:v>All Others</c:v>
                </c:pt>
                <c:pt idx="1314">
                  <c:v>All Others</c:v>
                </c:pt>
                <c:pt idx="1315">
                  <c:v>All Others</c:v>
                </c:pt>
                <c:pt idx="1316">
                  <c:v>All Others</c:v>
                </c:pt>
                <c:pt idx="1317">
                  <c:v>Etoile Du V</c:v>
                </c:pt>
                <c:pt idx="1318">
                  <c:v>All Others</c:v>
                </c:pt>
                <c:pt idx="1319">
                  <c:v>All Others</c:v>
                </c:pt>
                <c:pt idx="1320">
                  <c:v>All Others</c:v>
                </c:pt>
                <c:pt idx="1321">
                  <c:v>All Others</c:v>
                </c:pt>
                <c:pt idx="1322">
                  <c:v>All Others</c:v>
                </c:pt>
                <c:pt idx="1323">
                  <c:v>All Others</c:v>
                </c:pt>
                <c:pt idx="1324">
                  <c:v>All Others</c:v>
                </c:pt>
                <c:pt idx="1325">
                  <c:v>All Others</c:v>
                </c:pt>
                <c:pt idx="1326">
                  <c:v>All Others</c:v>
                </c:pt>
                <c:pt idx="1327">
                  <c:v>All Others</c:v>
                </c:pt>
                <c:pt idx="1328">
                  <c:v>All Others</c:v>
                </c:pt>
                <c:pt idx="1329">
                  <c:v>All Others</c:v>
                </c:pt>
                <c:pt idx="1330">
                  <c:v>All Others</c:v>
                </c:pt>
                <c:pt idx="1331">
                  <c:v>All Others</c:v>
                </c:pt>
                <c:pt idx="1332">
                  <c:v>Lincet</c:v>
                </c:pt>
                <c:pt idx="1333">
                  <c:v>Etoile Du V</c:v>
                </c:pt>
                <c:pt idx="1334">
                  <c:v>All Others</c:v>
                </c:pt>
                <c:pt idx="1335">
                  <c:v>All Others</c:v>
                </c:pt>
                <c:pt idx="1336">
                  <c:v>All Others</c:v>
                </c:pt>
                <c:pt idx="1337">
                  <c:v>All Others</c:v>
                </c:pt>
                <c:pt idx="1338">
                  <c:v>All Others</c:v>
                </c:pt>
                <c:pt idx="1339">
                  <c:v>All Others</c:v>
                </c:pt>
                <c:pt idx="1340">
                  <c:v>All Others</c:v>
                </c:pt>
                <c:pt idx="1341">
                  <c:v>All Others</c:v>
                </c:pt>
                <c:pt idx="1342">
                  <c:v>All Others</c:v>
                </c:pt>
                <c:pt idx="1343">
                  <c:v>Dodin</c:v>
                </c:pt>
                <c:pt idx="1344">
                  <c:v>Other Suppl</c:v>
                </c:pt>
                <c:pt idx="1345">
                  <c:v>All Others</c:v>
                </c:pt>
                <c:pt idx="1346">
                  <c:v>All Others</c:v>
                </c:pt>
                <c:pt idx="1347">
                  <c:v>All Others</c:v>
                </c:pt>
                <c:pt idx="1348">
                  <c:v>All Others</c:v>
                </c:pt>
                <c:pt idx="1349">
                  <c:v>All Others</c:v>
                </c:pt>
                <c:pt idx="1350">
                  <c:v>All Others</c:v>
                </c:pt>
                <c:pt idx="1351">
                  <c:v>All Others</c:v>
                </c:pt>
                <c:pt idx="1352">
                  <c:v>All Others</c:v>
                </c:pt>
                <c:pt idx="1353">
                  <c:v>All Others</c:v>
                </c:pt>
                <c:pt idx="1354">
                  <c:v>Private Lab</c:v>
                </c:pt>
                <c:pt idx="1355">
                  <c:v>All Others</c:v>
                </c:pt>
                <c:pt idx="1356">
                  <c:v>All Others</c:v>
                </c:pt>
                <c:pt idx="1357">
                  <c:v>All Others</c:v>
                </c:pt>
                <c:pt idx="1358">
                  <c:v>All Others</c:v>
                </c:pt>
                <c:pt idx="1359">
                  <c:v>Gillot</c:v>
                </c:pt>
                <c:pt idx="1360">
                  <c:v>All Others</c:v>
                </c:pt>
                <c:pt idx="1361">
                  <c:v>All Others</c:v>
                </c:pt>
                <c:pt idx="1362">
                  <c:v>All Others</c:v>
                </c:pt>
                <c:pt idx="1363">
                  <c:v>All Others</c:v>
                </c:pt>
                <c:pt idx="1364">
                  <c:v>Other Suppl</c:v>
                </c:pt>
                <c:pt idx="1365">
                  <c:v>All Others</c:v>
                </c:pt>
                <c:pt idx="1366">
                  <c:v>Other Suppl</c:v>
                </c:pt>
                <c:pt idx="1367">
                  <c:v>All Others</c:v>
                </c:pt>
                <c:pt idx="1368">
                  <c:v>All Others</c:v>
                </c:pt>
                <c:pt idx="1369">
                  <c:v>All Others</c:v>
                </c:pt>
                <c:pt idx="1370">
                  <c:v>Laiteries H</c:v>
                </c:pt>
                <c:pt idx="1371">
                  <c:v>All Others</c:v>
                </c:pt>
                <c:pt idx="1372">
                  <c:v>Private Lab</c:v>
                </c:pt>
                <c:pt idx="1373">
                  <c:v>All Others</c:v>
                </c:pt>
                <c:pt idx="1374">
                  <c:v>All Others</c:v>
                </c:pt>
                <c:pt idx="1375">
                  <c:v>All Others</c:v>
                </c:pt>
                <c:pt idx="1376">
                  <c:v>All Others</c:v>
                </c:pt>
                <c:pt idx="1377">
                  <c:v>Etoile Du V</c:v>
                </c:pt>
                <c:pt idx="1378">
                  <c:v>Pave D'Affi</c:v>
                </c:pt>
                <c:pt idx="1379">
                  <c:v>Pochat</c:v>
                </c:pt>
                <c:pt idx="1380">
                  <c:v>Milleret: A</c:v>
                </c:pt>
                <c:pt idx="1381">
                  <c:v>All Others</c:v>
                </c:pt>
                <c:pt idx="1382">
                  <c:v>All Others</c:v>
                </c:pt>
                <c:pt idx="1383">
                  <c:v>All Others</c:v>
                </c:pt>
                <c:pt idx="1384">
                  <c:v>Private Lab</c:v>
                </c:pt>
                <c:pt idx="1385">
                  <c:v>All Others</c:v>
                </c:pt>
                <c:pt idx="1386">
                  <c:v>Lactalis: A</c:v>
                </c:pt>
                <c:pt idx="1387">
                  <c:v>All Others</c:v>
                </c:pt>
                <c:pt idx="1388">
                  <c:v>Private Lab</c:v>
                </c:pt>
                <c:pt idx="1389">
                  <c:v>All Others</c:v>
                </c:pt>
                <c:pt idx="1390">
                  <c:v>All Others</c:v>
                </c:pt>
                <c:pt idx="1391">
                  <c:v>All Others</c:v>
                </c:pt>
                <c:pt idx="1392">
                  <c:v>All Others</c:v>
                </c:pt>
                <c:pt idx="1393">
                  <c:v>All Others</c:v>
                </c:pt>
                <c:pt idx="1394">
                  <c:v>Other Suppl</c:v>
                </c:pt>
                <c:pt idx="1395">
                  <c:v>All Others</c:v>
                </c:pt>
                <c:pt idx="1396">
                  <c:v>Private Lab</c:v>
                </c:pt>
                <c:pt idx="1397">
                  <c:v>All Others</c:v>
                </c:pt>
                <c:pt idx="1398">
                  <c:v>All Others</c:v>
                </c:pt>
                <c:pt idx="1399">
                  <c:v>All Others</c:v>
                </c:pt>
                <c:pt idx="1400">
                  <c:v>All Others</c:v>
                </c:pt>
                <c:pt idx="1401">
                  <c:v>Richesmonts</c:v>
                </c:pt>
                <c:pt idx="1402">
                  <c:v>All Others</c:v>
                </c:pt>
                <c:pt idx="1403">
                  <c:v>Private Lab</c:v>
                </c:pt>
                <c:pt idx="1404">
                  <c:v>All Others</c:v>
                </c:pt>
                <c:pt idx="1405">
                  <c:v>All Others</c:v>
                </c:pt>
                <c:pt idx="1406">
                  <c:v>All Others</c:v>
                </c:pt>
                <c:pt idx="1407">
                  <c:v>All Others</c:v>
                </c:pt>
                <c:pt idx="1408">
                  <c:v>All Others</c:v>
                </c:pt>
                <c:pt idx="1409">
                  <c:v>All Others</c:v>
                </c:pt>
                <c:pt idx="1410">
                  <c:v>All Others</c:v>
                </c:pt>
                <c:pt idx="1411">
                  <c:v>All Others</c:v>
                </c:pt>
                <c:pt idx="1412">
                  <c:v>All Others</c:v>
                </c:pt>
                <c:pt idx="1413">
                  <c:v>All Others</c:v>
                </c:pt>
                <c:pt idx="1414">
                  <c:v>All Others</c:v>
                </c:pt>
                <c:pt idx="1415">
                  <c:v>All Others</c:v>
                </c:pt>
                <c:pt idx="1416">
                  <c:v>La Vache Qu</c:v>
                </c:pt>
                <c:pt idx="1417">
                  <c:v>Private Lab</c:v>
                </c:pt>
                <c:pt idx="1418">
                  <c:v>All Others</c:v>
                </c:pt>
                <c:pt idx="1419">
                  <c:v>All Others</c:v>
                </c:pt>
                <c:pt idx="1420">
                  <c:v>All Others</c:v>
                </c:pt>
                <c:pt idx="1421">
                  <c:v>All Others</c:v>
                </c:pt>
                <c:pt idx="1422">
                  <c:v>All Others</c:v>
                </c:pt>
                <c:pt idx="1423">
                  <c:v>Private Lab</c:v>
                </c:pt>
                <c:pt idx="1424">
                  <c:v>All Others</c:v>
                </c:pt>
                <c:pt idx="1425">
                  <c:v>All Others</c:v>
                </c:pt>
                <c:pt idx="1426">
                  <c:v>Private Lab</c:v>
                </c:pt>
                <c:pt idx="1427">
                  <c:v>All Others</c:v>
                </c:pt>
                <c:pt idx="1428">
                  <c:v>All Others</c:v>
                </c:pt>
                <c:pt idx="1429">
                  <c:v>All Others</c:v>
                </c:pt>
                <c:pt idx="1430">
                  <c:v>All Others</c:v>
                </c:pt>
                <c:pt idx="1431">
                  <c:v>All Others</c:v>
                </c:pt>
                <c:pt idx="1432">
                  <c:v>All Others</c:v>
                </c:pt>
                <c:pt idx="1433">
                  <c:v>Private Lab</c:v>
                </c:pt>
                <c:pt idx="1434">
                  <c:v>All Others</c:v>
                </c:pt>
                <c:pt idx="1435">
                  <c:v>Private Lab</c:v>
                </c:pt>
                <c:pt idx="1436">
                  <c:v>Societe</c:v>
                </c:pt>
                <c:pt idx="1437">
                  <c:v>All Others</c:v>
                </c:pt>
                <c:pt idx="1438">
                  <c:v>All Others</c:v>
                </c:pt>
                <c:pt idx="1439">
                  <c:v>All Others</c:v>
                </c:pt>
                <c:pt idx="1440">
                  <c:v>All Others</c:v>
                </c:pt>
                <c:pt idx="1441">
                  <c:v>All Others</c:v>
                </c:pt>
                <c:pt idx="1442">
                  <c:v>All Others</c:v>
                </c:pt>
                <c:pt idx="1443">
                  <c:v>All Others</c:v>
                </c:pt>
                <c:pt idx="1444">
                  <c:v>All Others</c:v>
                </c:pt>
                <c:pt idx="1445">
                  <c:v>All Others</c:v>
                </c:pt>
                <c:pt idx="1446">
                  <c:v>All Others</c:v>
                </c:pt>
                <c:pt idx="1447">
                  <c:v>Les Mousque</c:v>
                </c:pt>
                <c:pt idx="1448">
                  <c:v>All Others</c:v>
                </c:pt>
                <c:pt idx="1449">
                  <c:v>All Others</c:v>
                </c:pt>
                <c:pt idx="1450">
                  <c:v>All Others</c:v>
                </c:pt>
                <c:pt idx="1451">
                  <c:v>All Others</c:v>
                </c:pt>
                <c:pt idx="1452">
                  <c:v>All Others</c:v>
                </c:pt>
                <c:pt idx="1453">
                  <c:v>All Others</c:v>
                </c:pt>
                <c:pt idx="1454">
                  <c:v>All Others</c:v>
                </c:pt>
                <c:pt idx="1455">
                  <c:v>All Others</c:v>
                </c:pt>
                <c:pt idx="1456">
                  <c:v>All Others</c:v>
                </c:pt>
                <c:pt idx="1457">
                  <c:v>Private Lab</c:v>
                </c:pt>
                <c:pt idx="1458">
                  <c:v>All Others</c:v>
                </c:pt>
                <c:pt idx="1459">
                  <c:v>All Others</c:v>
                </c:pt>
                <c:pt idx="1460">
                  <c:v>All Others</c:v>
                </c:pt>
                <c:pt idx="1461">
                  <c:v>All Others</c:v>
                </c:pt>
                <c:pt idx="1462">
                  <c:v>All Others</c:v>
                </c:pt>
                <c:pt idx="1463">
                  <c:v>All Others</c:v>
                </c:pt>
                <c:pt idx="1464">
                  <c:v>All Others</c:v>
                </c:pt>
                <c:pt idx="1465">
                  <c:v>All Others</c:v>
                </c:pt>
                <c:pt idx="1466">
                  <c:v>All Others</c:v>
                </c:pt>
                <c:pt idx="1467">
                  <c:v>Private Lab</c:v>
                </c:pt>
                <c:pt idx="1468">
                  <c:v>All Others</c:v>
                </c:pt>
                <c:pt idx="1469">
                  <c:v>Lactalis: A</c:v>
                </c:pt>
                <c:pt idx="1470">
                  <c:v>Private Lab</c:v>
                </c:pt>
                <c:pt idx="1471">
                  <c:v>All Others</c:v>
                </c:pt>
                <c:pt idx="1472">
                  <c:v>Private Lab</c:v>
                </c:pt>
                <c:pt idx="1473">
                  <c:v>Etoile Du V</c:v>
                </c:pt>
                <c:pt idx="1474">
                  <c:v>All Others</c:v>
                </c:pt>
                <c:pt idx="1475">
                  <c:v>All Others</c:v>
                </c:pt>
                <c:pt idx="1476">
                  <c:v>All Others</c:v>
                </c:pt>
                <c:pt idx="1477">
                  <c:v>All Others</c:v>
                </c:pt>
                <c:pt idx="1478">
                  <c:v>Gillot</c:v>
                </c:pt>
                <c:pt idx="1479">
                  <c:v>Les Mousque</c:v>
                </c:pt>
                <c:pt idx="1480">
                  <c:v>All Others</c:v>
                </c:pt>
                <c:pt idx="1481">
                  <c:v>Lactalis: A</c:v>
                </c:pt>
                <c:pt idx="1482">
                  <c:v>All Others</c:v>
                </c:pt>
                <c:pt idx="1483">
                  <c:v>All Others</c:v>
                </c:pt>
                <c:pt idx="1484">
                  <c:v>Private Lab</c:v>
                </c:pt>
                <c:pt idx="1485">
                  <c:v>All Others</c:v>
                </c:pt>
                <c:pt idx="1486">
                  <c:v>All Others</c:v>
                </c:pt>
                <c:pt idx="1487">
                  <c:v>All Others</c:v>
                </c:pt>
                <c:pt idx="1488">
                  <c:v>Lactalis: A</c:v>
                </c:pt>
                <c:pt idx="1489">
                  <c:v>All Others</c:v>
                </c:pt>
                <c:pt idx="1490">
                  <c:v>O'Tapas Ape</c:v>
                </c:pt>
                <c:pt idx="1491">
                  <c:v>Leerdammer</c:v>
                </c:pt>
                <c:pt idx="1492">
                  <c:v>Lactalis: A</c:v>
                </c:pt>
                <c:pt idx="1493">
                  <c:v>All Others</c:v>
                </c:pt>
                <c:pt idx="1494">
                  <c:v>Private Lab</c:v>
                </c:pt>
                <c:pt idx="1495">
                  <c:v>Private Lab</c:v>
                </c:pt>
                <c:pt idx="1496">
                  <c:v>Gillot</c:v>
                </c:pt>
                <c:pt idx="1497">
                  <c:v>Lactalis: A</c:v>
                </c:pt>
                <c:pt idx="1498">
                  <c:v>Apericube</c:v>
                </c:pt>
                <c:pt idx="1499">
                  <c:v>All Others</c:v>
                </c:pt>
                <c:pt idx="1500">
                  <c:v>All Others</c:v>
                </c:pt>
                <c:pt idx="1501">
                  <c:v>Private Lab</c:v>
                </c:pt>
                <c:pt idx="1502">
                  <c:v>Private Lab</c:v>
                </c:pt>
                <c:pt idx="1503">
                  <c:v>All Others</c:v>
                </c:pt>
                <c:pt idx="1504">
                  <c:v>All Others</c:v>
                </c:pt>
                <c:pt idx="1505">
                  <c:v>All Others</c:v>
                </c:pt>
                <c:pt idx="1506">
                  <c:v>All Others</c:v>
                </c:pt>
                <c:pt idx="1507">
                  <c:v>Private Lab</c:v>
                </c:pt>
                <c:pt idx="1508">
                  <c:v>President</c:v>
                </c:pt>
                <c:pt idx="1509">
                  <c:v>Private Lab</c:v>
                </c:pt>
                <c:pt idx="1510">
                  <c:v>All Others</c:v>
                </c:pt>
                <c:pt idx="1511">
                  <c:v>Private Lab</c:v>
                </c:pt>
                <c:pt idx="1512">
                  <c:v>Private Lab</c:v>
                </c:pt>
                <c:pt idx="1513">
                  <c:v>Les Mousque</c:v>
                </c:pt>
                <c:pt idx="1514">
                  <c:v>All Others</c:v>
                </c:pt>
                <c:pt idx="1515">
                  <c:v>All Others</c:v>
                </c:pt>
              </c:strCache>
            </c:strRef>
          </c:cat>
          <c:val>
            <c:numRef>
              <c:f>Sheet1!$C$2:$C$1517</c:f>
              <c:numCache>
                <c:formatCode>General</c:formatCode>
                <c:ptCount val="1516"/>
                <c:pt idx="0">
                  <c:v>2.0099955606297289E-2</c:v>
                </c:pt>
                <c:pt idx="1">
                  <c:v>3.8224767976882804E-2</c:v>
                </c:pt>
                <c:pt idx="2">
                  <c:v>5.6045305959334948E-2</c:v>
                </c:pt>
                <c:pt idx="3">
                  <c:v>6.9617376052588026E-2</c:v>
                </c:pt>
                <c:pt idx="4">
                  <c:v>8.2448690602230854E-2</c:v>
                </c:pt>
                <c:pt idx="5">
                  <c:v>9.3195947398660023E-2</c:v>
                </c:pt>
                <c:pt idx="6">
                  <c:v>0.10202742466267967</c:v>
                </c:pt>
                <c:pt idx="7">
                  <c:v>0.11030371474346129</c:v>
                </c:pt>
                <c:pt idx="8">
                  <c:v>0.11844915561345279</c:v>
                </c:pt>
                <c:pt idx="9">
                  <c:v>0.12603172360601805</c:v>
                </c:pt>
                <c:pt idx="10">
                  <c:v>0.13360120240173562</c:v>
                </c:pt>
                <c:pt idx="11">
                  <c:v>0.14114070805906126</c:v>
                </c:pt>
                <c:pt idx="12">
                  <c:v>0.14843721109332575</c:v>
                </c:pt>
                <c:pt idx="13">
                  <c:v>0.15567405646519178</c:v>
                </c:pt>
                <c:pt idx="14">
                  <c:v>0.16282105190312299</c:v>
                </c:pt>
                <c:pt idx="15">
                  <c:v>0.16996285762682833</c:v>
                </c:pt>
                <c:pt idx="16">
                  <c:v>0.17706192704265533</c:v>
                </c:pt>
                <c:pt idx="17">
                  <c:v>0.18398988019622206</c:v>
                </c:pt>
                <c:pt idx="18">
                  <c:v>0.19078599536749324</c:v>
                </c:pt>
                <c:pt idx="19">
                  <c:v>0.19756120737466834</c:v>
                </c:pt>
                <c:pt idx="20">
                  <c:v>0.20411499335644423</c:v>
                </c:pt>
                <c:pt idx="21">
                  <c:v>0.21028653630834973</c:v>
                </c:pt>
                <c:pt idx="22">
                  <c:v>0.21642756630606844</c:v>
                </c:pt>
                <c:pt idx="23">
                  <c:v>0.22247521351598695</c:v>
                </c:pt>
                <c:pt idx="24">
                  <c:v>0.22842162121317014</c:v>
                </c:pt>
                <c:pt idx="25">
                  <c:v>0.23400246137830438</c:v>
                </c:pt>
                <c:pt idx="26">
                  <c:v>0.23958199743399361</c:v>
                </c:pt>
                <c:pt idx="27">
                  <c:v>0.24491955170639218</c:v>
                </c:pt>
                <c:pt idx="28">
                  <c:v>0.25006162317980996</c:v>
                </c:pt>
                <c:pt idx="29">
                  <c:v>0.25517644731736427</c:v>
                </c:pt>
                <c:pt idx="30">
                  <c:v>0.26028392782222415</c:v>
                </c:pt>
                <c:pt idx="31">
                  <c:v>0.26520546049224214</c:v>
                </c:pt>
                <c:pt idx="32">
                  <c:v>0.27004415548894767</c:v>
                </c:pt>
                <c:pt idx="33">
                  <c:v>0.27484453959835059</c:v>
                </c:pt>
                <c:pt idx="34">
                  <c:v>0.27961345405032628</c:v>
                </c:pt>
                <c:pt idx="35">
                  <c:v>0.28436949309388793</c:v>
                </c:pt>
                <c:pt idx="36">
                  <c:v>0.28907605614920173</c:v>
                </c:pt>
                <c:pt idx="37">
                  <c:v>0.29373614694375988</c:v>
                </c:pt>
                <c:pt idx="38">
                  <c:v>0.29833416426661974</c:v>
                </c:pt>
                <c:pt idx="39">
                  <c:v>0.30292274817484666</c:v>
                </c:pt>
                <c:pt idx="40">
                  <c:v>0.30746356105758371</c:v>
                </c:pt>
                <c:pt idx="41">
                  <c:v>0.31196780008404124</c:v>
                </c:pt>
                <c:pt idx="42">
                  <c:v>0.31637341316136425</c:v>
                </c:pt>
                <c:pt idx="43">
                  <c:v>0.32073254863322082</c:v>
                </c:pt>
                <c:pt idx="44">
                  <c:v>0.32506583173874326</c:v>
                </c:pt>
                <c:pt idx="45">
                  <c:v>0.32930204955069659</c:v>
                </c:pt>
                <c:pt idx="46">
                  <c:v>0.33353420003770051</c:v>
                </c:pt>
                <c:pt idx="47">
                  <c:v>0.33767423443337335</c:v>
                </c:pt>
                <c:pt idx="48">
                  <c:v>0.3417911422652406</c:v>
                </c:pt>
                <c:pt idx="49">
                  <c:v>0.34573838759619607</c:v>
                </c:pt>
                <c:pt idx="50">
                  <c:v>0.34960712981433051</c:v>
                </c:pt>
                <c:pt idx="51">
                  <c:v>0.35346297524520748</c:v>
                </c:pt>
                <c:pt idx="52">
                  <c:v>0.35730330498051532</c:v>
                </c:pt>
                <c:pt idx="53">
                  <c:v>0.36110024100851146</c:v>
                </c:pt>
                <c:pt idx="54">
                  <c:v>0.36487890881485574</c:v>
                </c:pt>
                <c:pt idx="55">
                  <c:v>0.36861154262673329</c:v>
                </c:pt>
                <c:pt idx="56">
                  <c:v>0.37233183550128079</c:v>
                </c:pt>
                <c:pt idx="57">
                  <c:v>0.37603668216150005</c:v>
                </c:pt>
                <c:pt idx="58">
                  <c:v>0.37971887793717851</c:v>
                </c:pt>
                <c:pt idx="59">
                  <c:v>0.38337624218629335</c:v>
                </c:pt>
                <c:pt idx="60">
                  <c:v>0.38691558987534541</c:v>
                </c:pt>
                <c:pt idx="61">
                  <c:v>0.39042995104121947</c:v>
                </c:pt>
                <c:pt idx="62">
                  <c:v>0.39393736408300123</c:v>
                </c:pt>
                <c:pt idx="63">
                  <c:v>0.39740327010039789</c:v>
                </c:pt>
                <c:pt idx="64">
                  <c:v>0.40077626366454827</c:v>
                </c:pt>
                <c:pt idx="65">
                  <c:v>0.40414150739798038</c:v>
                </c:pt>
                <c:pt idx="66">
                  <c:v>0.40749642515006917</c:v>
                </c:pt>
                <c:pt idx="67">
                  <c:v>0.41081776208394893</c:v>
                </c:pt>
                <c:pt idx="68">
                  <c:v>0.41412705203959482</c:v>
                </c:pt>
                <c:pt idx="69">
                  <c:v>0.41743188985111085</c:v>
                </c:pt>
                <c:pt idx="70">
                  <c:v>0.42070509231916364</c:v>
                </c:pt>
                <c:pt idx="71">
                  <c:v>0.42395960967811902</c:v>
                </c:pt>
                <c:pt idx="72">
                  <c:v>0.42718521215142885</c:v>
                </c:pt>
                <c:pt idx="73">
                  <c:v>0.43039626632183164</c:v>
                </c:pt>
                <c:pt idx="74">
                  <c:v>0.4336022002592495</c:v>
                </c:pt>
                <c:pt idx="75">
                  <c:v>0.43680631165027084</c:v>
                </c:pt>
                <c:pt idx="76">
                  <c:v>0.43999902811778085</c:v>
                </c:pt>
                <c:pt idx="77">
                  <c:v>0.44315792325509401</c:v>
                </c:pt>
                <c:pt idx="78">
                  <c:v>0.4463010461507177</c:v>
                </c:pt>
                <c:pt idx="79">
                  <c:v>0.44943544647825012</c:v>
                </c:pt>
                <c:pt idx="80">
                  <c:v>0.45255829154094601</c:v>
                </c:pt>
                <c:pt idx="81">
                  <c:v>0.45568063954553378</c:v>
                </c:pt>
                <c:pt idx="82">
                  <c:v>0.45878835373184101</c:v>
                </c:pt>
                <c:pt idx="83">
                  <c:v>0.46185195801958395</c:v>
                </c:pt>
                <c:pt idx="84">
                  <c:v>0.46490434375927331</c:v>
                </c:pt>
                <c:pt idx="85">
                  <c:v>0.46789232038862727</c:v>
                </c:pt>
                <c:pt idx="86">
                  <c:v>0.4708674964355189</c:v>
                </c:pt>
                <c:pt idx="87">
                  <c:v>0.47380037978553191</c:v>
                </c:pt>
                <c:pt idx="88">
                  <c:v>0.47672919581059553</c:v>
                </c:pt>
                <c:pt idx="89">
                  <c:v>0.47964809739705055</c:v>
                </c:pt>
                <c:pt idx="90">
                  <c:v>0.48256034481850951</c:v>
                </c:pt>
                <c:pt idx="91">
                  <c:v>0.48545894719319338</c:v>
                </c:pt>
                <c:pt idx="92">
                  <c:v>0.48830554018669114</c:v>
                </c:pt>
                <c:pt idx="93">
                  <c:v>0.49114899583492572</c:v>
                </c:pt>
                <c:pt idx="94">
                  <c:v>0.49399147340107652</c:v>
                </c:pt>
                <c:pt idx="95">
                  <c:v>0.49683235824339694</c:v>
                </c:pt>
                <c:pt idx="96">
                  <c:v>0.49965530623613763</c:v>
                </c:pt>
                <c:pt idx="97">
                  <c:v>0.50245623936492745</c:v>
                </c:pt>
                <c:pt idx="98">
                  <c:v>0.50521404067723674</c:v>
                </c:pt>
                <c:pt idx="99">
                  <c:v>0.50795321032755703</c:v>
                </c:pt>
                <c:pt idx="100">
                  <c:v>0.51066824860843374</c:v>
                </c:pt>
                <c:pt idx="101">
                  <c:v>0.51337903249948169</c:v>
                </c:pt>
                <c:pt idx="102">
                  <c:v>0.51608198104443792</c:v>
                </c:pt>
                <c:pt idx="103">
                  <c:v>0.51874654922085051</c:v>
                </c:pt>
                <c:pt idx="104">
                  <c:v>0.52139026768027541</c:v>
                </c:pt>
                <c:pt idx="105">
                  <c:v>0.52401459552877205</c:v>
                </c:pt>
                <c:pt idx="106">
                  <c:v>0.5266263258938183</c:v>
                </c:pt>
                <c:pt idx="107">
                  <c:v>0.52922611083013671</c:v>
                </c:pt>
                <c:pt idx="108">
                  <c:v>0.5318198027960972</c:v>
                </c:pt>
                <c:pt idx="109">
                  <c:v>0.53430709760336159</c:v>
                </c:pt>
                <c:pt idx="110">
                  <c:v>0.5367804373706222</c:v>
                </c:pt>
                <c:pt idx="111">
                  <c:v>0.53924981136243932</c:v>
                </c:pt>
                <c:pt idx="112">
                  <c:v>0.54171761935398033</c:v>
                </c:pt>
                <c:pt idx="113">
                  <c:v>0.5441839201370644</c:v>
                </c:pt>
                <c:pt idx="114">
                  <c:v>0.54663072341500341</c:v>
                </c:pt>
                <c:pt idx="115">
                  <c:v>0.54905392979458278</c:v>
                </c:pt>
                <c:pt idx="116">
                  <c:v>0.551468814459384</c:v>
                </c:pt>
                <c:pt idx="117">
                  <c:v>0.55387172162719223</c:v>
                </c:pt>
                <c:pt idx="118">
                  <c:v>0.55627026751095487</c:v>
                </c:pt>
                <c:pt idx="119">
                  <c:v>0.55864619457844178</c:v>
                </c:pt>
                <c:pt idx="120">
                  <c:v>0.56102100460136306</c:v>
                </c:pt>
                <c:pt idx="121">
                  <c:v>0.56337971635523365</c:v>
                </c:pt>
                <c:pt idx="122">
                  <c:v>0.56571621014614148</c:v>
                </c:pt>
                <c:pt idx="123">
                  <c:v>0.56803517863020425</c:v>
                </c:pt>
                <c:pt idx="124">
                  <c:v>0.57035061426040157</c:v>
                </c:pt>
                <c:pt idx="125">
                  <c:v>0.57263855135332598</c:v>
                </c:pt>
                <c:pt idx="126">
                  <c:v>0.57492116511425362</c:v>
                </c:pt>
                <c:pt idx="127">
                  <c:v>0.57719120811528501</c:v>
                </c:pt>
                <c:pt idx="128">
                  <c:v>0.5794456712842172</c:v>
                </c:pt>
                <c:pt idx="129">
                  <c:v>0.581636425499934</c:v>
                </c:pt>
                <c:pt idx="130">
                  <c:v>0.58377509016380214</c:v>
                </c:pt>
                <c:pt idx="131">
                  <c:v>0.58591213538028564</c:v>
                </c:pt>
                <c:pt idx="132">
                  <c:v>0.58803892944137759</c:v>
                </c:pt>
                <c:pt idx="133">
                  <c:v>0.59016381544069962</c:v>
                </c:pt>
                <c:pt idx="134">
                  <c:v>0.59228058816896623</c:v>
                </c:pt>
                <c:pt idx="135">
                  <c:v>0.59438080298304985</c:v>
                </c:pt>
                <c:pt idx="136">
                  <c:v>0.59646995424569427</c:v>
                </c:pt>
                <c:pt idx="137">
                  <c:v>0.59855717072301451</c:v>
                </c:pt>
                <c:pt idx="138">
                  <c:v>0.60060235639428727</c:v>
                </c:pt>
                <c:pt idx="139">
                  <c:v>0.60263181792626819</c:v>
                </c:pt>
                <c:pt idx="140">
                  <c:v>0.60465863917109397</c:v>
                </c:pt>
                <c:pt idx="141">
                  <c:v>0.60666169783152424</c:v>
                </c:pt>
                <c:pt idx="142">
                  <c:v>0.60865180091287774</c:v>
                </c:pt>
                <c:pt idx="143">
                  <c:v>0.61062876135027522</c:v>
                </c:pt>
                <c:pt idx="144">
                  <c:v>0.61256286789615588</c:v>
                </c:pt>
                <c:pt idx="145">
                  <c:v>0.6144776265887949</c:v>
                </c:pt>
                <c:pt idx="146">
                  <c:v>0.61638450717765547</c:v>
                </c:pt>
                <c:pt idx="147">
                  <c:v>0.61826213081937675</c:v>
                </c:pt>
                <c:pt idx="148">
                  <c:v>0.62013862138239984</c:v>
                </c:pt>
                <c:pt idx="149">
                  <c:v>0.62200482872176643</c:v>
                </c:pt>
                <c:pt idx="150">
                  <c:v>0.62386374587554694</c:v>
                </c:pt>
                <c:pt idx="151">
                  <c:v>0.62569989990585895</c:v>
                </c:pt>
                <c:pt idx="152">
                  <c:v>0.6275341084614251</c:v>
                </c:pt>
                <c:pt idx="153">
                  <c:v>0.62935219202438641</c:v>
                </c:pt>
                <c:pt idx="154">
                  <c:v>0.63116394744971283</c:v>
                </c:pt>
                <c:pt idx="155">
                  <c:v>0.63295947633292837</c:v>
                </c:pt>
                <c:pt idx="156">
                  <c:v>0.6347480731261842</c:v>
                </c:pt>
                <c:pt idx="157">
                  <c:v>0.63652476724839879</c:v>
                </c:pt>
                <c:pt idx="158">
                  <c:v>0.63828456673964751</c:v>
                </c:pt>
                <c:pt idx="159">
                  <c:v>0.64004158163654845</c:v>
                </c:pt>
                <c:pt idx="160">
                  <c:v>0.64179667243754701</c:v>
                </c:pt>
                <c:pt idx="161">
                  <c:v>0.64354511441826034</c:v>
                </c:pt>
                <c:pt idx="162">
                  <c:v>0.64527715348140502</c:v>
                </c:pt>
                <c:pt idx="163">
                  <c:v>0.64700127168308452</c:v>
                </c:pt>
                <c:pt idx="164">
                  <c:v>0.64871022159539948</c:v>
                </c:pt>
                <c:pt idx="165">
                  <c:v>0.6504145643669702</c:v>
                </c:pt>
                <c:pt idx="166">
                  <c:v>0.65210917976481164</c:v>
                </c:pt>
                <c:pt idx="167">
                  <c:v>0.65378321268120743</c:v>
                </c:pt>
                <c:pt idx="168">
                  <c:v>0.65545530012285746</c:v>
                </c:pt>
                <c:pt idx="169">
                  <c:v>0.65711741433407966</c:v>
                </c:pt>
                <c:pt idx="170">
                  <c:v>0.65877011650951223</c:v>
                </c:pt>
                <c:pt idx="171">
                  <c:v>0.66040938742660327</c:v>
                </c:pt>
                <c:pt idx="172">
                  <c:v>0.66204416878658856</c:v>
                </c:pt>
                <c:pt idx="173">
                  <c:v>0.66364789203188135</c:v>
                </c:pt>
                <c:pt idx="174">
                  <c:v>0.66523543683746089</c:v>
                </c:pt>
                <c:pt idx="175">
                  <c:v>0.66682251130848647</c:v>
                </c:pt>
                <c:pt idx="176">
                  <c:v>0.66839916359337359</c:v>
                </c:pt>
                <c:pt idx="177">
                  <c:v>0.66996503025178522</c:v>
                </c:pt>
                <c:pt idx="178">
                  <c:v>0.67152315242418936</c:v>
                </c:pt>
                <c:pt idx="179">
                  <c:v>0.67307916343581164</c:v>
                </c:pt>
                <c:pt idx="180">
                  <c:v>0.67462453847286186</c:v>
                </c:pt>
                <c:pt idx="181">
                  <c:v>0.67616545067636047</c:v>
                </c:pt>
                <c:pt idx="182">
                  <c:v>0.67769409142377002</c:v>
                </c:pt>
                <c:pt idx="183">
                  <c:v>0.67922197322224021</c:v>
                </c:pt>
                <c:pt idx="184">
                  <c:v>0.68074353757249728</c:v>
                </c:pt>
                <c:pt idx="185">
                  <c:v>0.68226443383389934</c:v>
                </c:pt>
                <c:pt idx="186">
                  <c:v>0.68377625477629467</c:v>
                </c:pt>
                <c:pt idx="187">
                  <c:v>0.68528286997033161</c:v>
                </c:pt>
                <c:pt idx="188">
                  <c:v>0.68676665255965919</c:v>
                </c:pt>
                <c:pt idx="189">
                  <c:v>0.68824991671203528</c:v>
                </c:pt>
                <c:pt idx="190">
                  <c:v>0.68972773460406522</c:v>
                </c:pt>
                <c:pt idx="191">
                  <c:v>0.69120398115110815</c:v>
                </c:pt>
                <c:pt idx="192">
                  <c:v>0.6926656419822681</c:v>
                </c:pt>
                <c:pt idx="193">
                  <c:v>0.69411451292038739</c:v>
                </c:pt>
                <c:pt idx="194">
                  <c:v>0.69555931118884651</c:v>
                </c:pt>
                <c:pt idx="195">
                  <c:v>0.69700112710865669</c:v>
                </c:pt>
                <c:pt idx="196">
                  <c:v>0.69843860846797545</c:v>
                </c:pt>
                <c:pt idx="197">
                  <c:v>0.69986500489701164</c:v>
                </c:pt>
                <c:pt idx="198">
                  <c:v>0.70129098443860227</c:v>
                </c:pt>
                <c:pt idx="199">
                  <c:v>0.70271640813026559</c:v>
                </c:pt>
                <c:pt idx="200">
                  <c:v>0.70413846465409957</c:v>
                </c:pt>
                <c:pt idx="201">
                  <c:v>0.70555890173054892</c:v>
                </c:pt>
                <c:pt idx="202">
                  <c:v>0.70697588612379547</c:v>
                </c:pt>
                <c:pt idx="203">
                  <c:v>0.7083891078406106</c:v>
                </c:pt>
                <c:pt idx="204">
                  <c:v>0.70978472407991799</c:v>
                </c:pt>
                <c:pt idx="205">
                  <c:v>0.7111697791706052</c:v>
                </c:pt>
                <c:pt idx="206">
                  <c:v>0.71253614380748409</c:v>
                </c:pt>
                <c:pt idx="207">
                  <c:v>0.71390023159754512</c:v>
                </c:pt>
                <c:pt idx="208">
                  <c:v>0.71526274269790824</c:v>
                </c:pt>
                <c:pt idx="209">
                  <c:v>0.71661610899802375</c:v>
                </c:pt>
                <c:pt idx="210">
                  <c:v>0.71795129793657175</c:v>
                </c:pt>
                <c:pt idx="211">
                  <c:v>0.71928411382350665</c:v>
                </c:pt>
                <c:pt idx="212">
                  <c:v>0.72061476510255129</c:v>
                </c:pt>
                <c:pt idx="213">
                  <c:v>0.72194216145269419</c:v>
                </c:pt>
                <c:pt idx="214">
                  <c:v>0.72326195227931145</c:v>
                </c:pt>
                <c:pt idx="215">
                  <c:v>0.72457989918068888</c:v>
                </c:pt>
                <c:pt idx="216">
                  <c:v>0.72589600750153727</c:v>
                </c:pt>
                <c:pt idx="217">
                  <c:v>0.72720686731634054</c:v>
                </c:pt>
                <c:pt idx="218">
                  <c:v>0.72851081642002746</c:v>
                </c:pt>
                <c:pt idx="219">
                  <c:v>0.7298063422594302</c:v>
                </c:pt>
                <c:pt idx="220">
                  <c:v>0.73108223697591679</c:v>
                </c:pt>
                <c:pt idx="221">
                  <c:v>0.732347843124036</c:v>
                </c:pt>
                <c:pt idx="222">
                  <c:v>0.73361300031644461</c:v>
                </c:pt>
                <c:pt idx="223">
                  <c:v>0.73486922649703923</c:v>
                </c:pt>
                <c:pt idx="224">
                  <c:v>0.73611600322886839</c:v>
                </c:pt>
                <c:pt idx="225">
                  <c:v>0.73735012368542796</c:v>
                </c:pt>
                <c:pt idx="226">
                  <c:v>0.7385769165434255</c:v>
                </c:pt>
                <c:pt idx="227">
                  <c:v>0.73980274735347185</c:v>
                </c:pt>
                <c:pt idx="228">
                  <c:v>0.74102505599907453</c:v>
                </c:pt>
                <c:pt idx="229">
                  <c:v>0.7422322391129994</c:v>
                </c:pt>
                <c:pt idx="230">
                  <c:v>0.74343817690929848</c:v>
                </c:pt>
                <c:pt idx="231">
                  <c:v>0.74463866844525139</c:v>
                </c:pt>
                <c:pt idx="232">
                  <c:v>0.74583729467712101</c:v>
                </c:pt>
                <c:pt idx="233">
                  <c:v>0.74702434426531072</c:v>
                </c:pt>
                <c:pt idx="234">
                  <c:v>0.74821047456323597</c:v>
                </c:pt>
                <c:pt idx="235">
                  <c:v>0.74939484110658394</c:v>
                </c:pt>
                <c:pt idx="236">
                  <c:v>0.75057888696728148</c:v>
                </c:pt>
                <c:pt idx="237">
                  <c:v>0.75176180509399171</c:v>
                </c:pt>
                <c:pt idx="238">
                  <c:v>0.75293811181339265</c:v>
                </c:pt>
                <c:pt idx="239">
                  <c:v>0.75410739558274953</c:v>
                </c:pt>
                <c:pt idx="240">
                  <c:v>0.755265220292065</c:v>
                </c:pt>
                <c:pt idx="241">
                  <c:v>0.7564192449119731</c:v>
                </c:pt>
                <c:pt idx="242">
                  <c:v>0.7575657548684398</c:v>
                </c:pt>
                <c:pt idx="243">
                  <c:v>0.7587114203605938</c:v>
                </c:pt>
                <c:pt idx="244">
                  <c:v>0.75985476090353232</c:v>
                </c:pt>
                <c:pt idx="245">
                  <c:v>0.76099456859260539</c:v>
                </c:pt>
                <c:pt idx="246">
                  <c:v>0.76213247356461944</c:v>
                </c:pt>
                <c:pt idx="247">
                  <c:v>0.76327037853663349</c:v>
                </c:pt>
                <c:pt idx="248">
                  <c:v>0.76440488961726394</c:v>
                </c:pt>
                <c:pt idx="249">
                  <c:v>0.76553286411653687</c:v>
                </c:pt>
                <c:pt idx="250">
                  <c:v>0.76665288568607948</c:v>
                </c:pt>
                <c:pt idx="251">
                  <c:v>0.76776673945931251</c:v>
                </c:pt>
                <c:pt idx="252">
                  <c:v>0.76887356493779069</c:v>
                </c:pt>
                <c:pt idx="253">
                  <c:v>0.76996871222308294</c:v>
                </c:pt>
                <c:pt idx="254">
                  <c:v>0.77106302573348418</c:v>
                </c:pt>
                <c:pt idx="255">
                  <c:v>0.77215633978295828</c:v>
                </c:pt>
                <c:pt idx="256">
                  <c:v>0.77324704026883151</c:v>
                </c:pt>
                <c:pt idx="257">
                  <c:v>0.77433731317783749</c:v>
                </c:pt>
                <c:pt idx="258">
                  <c:v>0.77542551233903756</c:v>
                </c:pt>
                <c:pt idx="259">
                  <c:v>0.77651296324071994</c:v>
                </c:pt>
                <c:pt idx="260">
                  <c:v>0.7775967049130792</c:v>
                </c:pt>
                <c:pt idx="261">
                  <c:v>0.77867895541111409</c:v>
                </c:pt>
                <c:pt idx="262">
                  <c:v>0.77976113108319722</c:v>
                </c:pt>
                <c:pt idx="263">
                  <c:v>0.78084321055048522</c:v>
                </c:pt>
                <c:pt idx="264">
                  <c:v>0.78192405004485821</c:v>
                </c:pt>
                <c:pt idx="265">
                  <c:v>0.78300487884980952</c:v>
                </c:pt>
                <c:pt idx="266">
                  <c:v>0.78408446768184592</c:v>
                </c:pt>
                <c:pt idx="267">
                  <c:v>0.78516133605606464</c:v>
                </c:pt>
                <c:pt idx="268">
                  <c:v>0.78623527018403216</c:v>
                </c:pt>
                <c:pt idx="269">
                  <c:v>0.78730803916503644</c:v>
                </c:pt>
                <c:pt idx="270">
                  <c:v>0.78837787389978953</c:v>
                </c:pt>
                <c:pt idx="271">
                  <c:v>0.78944474232002626</c:v>
                </c:pt>
                <c:pt idx="272">
                  <c:v>0.79050554983817023</c:v>
                </c:pt>
                <c:pt idx="273">
                  <c:v>0.79156308639327999</c:v>
                </c:pt>
                <c:pt idx="274">
                  <c:v>0.79261653424459688</c:v>
                </c:pt>
                <c:pt idx="275">
                  <c:v>0.79366764111256582</c:v>
                </c:pt>
                <c:pt idx="276">
                  <c:v>0.79470772184207139</c:v>
                </c:pt>
                <c:pt idx="277">
                  <c:v>0.7957373269383301</c:v>
                </c:pt>
                <c:pt idx="278">
                  <c:v>0.79676356486675948</c:v>
                </c:pt>
                <c:pt idx="279">
                  <c:v>0.79777866976250877</c:v>
                </c:pt>
                <c:pt idx="280">
                  <c:v>0.79879260416658404</c:v>
                </c:pt>
                <c:pt idx="281">
                  <c:v>0.79980333174415519</c:v>
                </c:pt>
                <c:pt idx="282">
                  <c:v>0.80081262159451028</c:v>
                </c:pt>
                <c:pt idx="283">
                  <c:v>0.80182056992244444</c:v>
                </c:pt>
                <c:pt idx="284">
                  <c:v>0.80282715534911442</c:v>
                </c:pt>
                <c:pt idx="285">
                  <c:v>0.80382537095860862</c:v>
                </c:pt>
                <c:pt idx="286">
                  <c:v>0.80481965820563528</c:v>
                </c:pt>
                <c:pt idx="287">
                  <c:v>0.80581227790287979</c:v>
                </c:pt>
                <c:pt idx="288">
                  <c:v>0.80680304833017358</c:v>
                </c:pt>
                <c:pt idx="289">
                  <c:v>0.80779075623815588</c:v>
                </c:pt>
                <c:pt idx="290">
                  <c:v>0.80877771054190972</c:v>
                </c:pt>
                <c:pt idx="291">
                  <c:v>0.80975359060480268</c:v>
                </c:pt>
                <c:pt idx="292">
                  <c:v>0.81072531248266189</c:v>
                </c:pt>
                <c:pt idx="293">
                  <c:v>0.81168921504856184</c:v>
                </c:pt>
                <c:pt idx="294">
                  <c:v>0.81265061094507773</c:v>
                </c:pt>
                <c:pt idx="295">
                  <c:v>0.81360751728448788</c:v>
                </c:pt>
                <c:pt idx="296">
                  <c:v>0.81455734722674555</c:v>
                </c:pt>
                <c:pt idx="297">
                  <c:v>0.81550393292952328</c:v>
                </c:pt>
                <c:pt idx="298">
                  <c:v>0.81644302000299218</c:v>
                </c:pt>
                <c:pt idx="299">
                  <c:v>0.81737456034475464</c:v>
                </c:pt>
                <c:pt idx="300">
                  <c:v>0.81830495157368655</c:v>
                </c:pt>
                <c:pt idx="301">
                  <c:v>0.81923220011264442</c:v>
                </c:pt>
                <c:pt idx="302">
                  <c:v>0.82015383670522002</c:v>
                </c:pt>
                <c:pt idx="303">
                  <c:v>0.82107103184308738</c:v>
                </c:pt>
                <c:pt idx="304">
                  <c:v>0.8219868427008471</c:v>
                </c:pt>
                <c:pt idx="305">
                  <c:v>0.82289743712082686</c:v>
                </c:pt>
                <c:pt idx="306">
                  <c:v>0.82379887070642643</c:v>
                </c:pt>
                <c:pt idx="307">
                  <c:v>0.82469982861276125</c:v>
                </c:pt>
                <c:pt idx="308">
                  <c:v>0.82557693307461621</c:v>
                </c:pt>
                <c:pt idx="309">
                  <c:v>0.82644858593141413</c:v>
                </c:pt>
                <c:pt idx="310">
                  <c:v>0.82731295394733684</c:v>
                </c:pt>
                <c:pt idx="311">
                  <c:v>0.82817107399628731</c:v>
                </c:pt>
                <c:pt idx="312">
                  <c:v>0.82902491293185476</c:v>
                </c:pt>
                <c:pt idx="313">
                  <c:v>0.82986909931964481</c:v>
                </c:pt>
                <c:pt idx="314">
                  <c:v>0.83071274589164001</c:v>
                </c:pt>
                <c:pt idx="315">
                  <c:v>0.8315542545792991</c:v>
                </c:pt>
                <c:pt idx="316">
                  <c:v>0.83239222506838195</c:v>
                </c:pt>
                <c:pt idx="317">
                  <c:v>0.8332292923013328</c:v>
                </c:pt>
                <c:pt idx="318">
                  <c:v>0.83406514628492301</c:v>
                </c:pt>
                <c:pt idx="319">
                  <c:v>0.83489617933933535</c:v>
                </c:pt>
                <c:pt idx="320">
                  <c:v>0.83572499433874892</c:v>
                </c:pt>
                <c:pt idx="321">
                  <c:v>0.83655209903069361</c:v>
                </c:pt>
                <c:pt idx="322">
                  <c:v>0.8373785837361809</c:v>
                </c:pt>
                <c:pt idx="323">
                  <c:v>0.83820240143095892</c:v>
                </c:pt>
                <c:pt idx="324">
                  <c:v>0.83902335436072661</c:v>
                </c:pt>
                <c:pt idx="325">
                  <c:v>0.83984396522900051</c:v>
                </c:pt>
                <c:pt idx="326">
                  <c:v>0.84066422869106983</c:v>
                </c:pt>
                <c:pt idx="327">
                  <c:v>0.84148382940899491</c:v>
                </c:pt>
                <c:pt idx="328">
                  <c:v>0.84230318427022133</c:v>
                </c:pt>
                <c:pt idx="329">
                  <c:v>0.84311768613400484</c:v>
                </c:pt>
                <c:pt idx="330">
                  <c:v>0.84391315548248635</c:v>
                </c:pt>
                <c:pt idx="331">
                  <c:v>0.84470388941716346</c:v>
                </c:pt>
                <c:pt idx="332">
                  <c:v>0.84549372544041934</c:v>
                </c:pt>
                <c:pt idx="333">
                  <c:v>0.84628118841206224</c:v>
                </c:pt>
                <c:pt idx="334">
                  <c:v>0.84706487267314112</c:v>
                </c:pt>
                <c:pt idx="335">
                  <c:v>0.84784765902279879</c:v>
                </c:pt>
                <c:pt idx="336">
                  <c:v>0.84862911988416811</c:v>
                </c:pt>
                <c:pt idx="337">
                  <c:v>0.84940292711961429</c:v>
                </c:pt>
                <c:pt idx="338">
                  <c:v>0.85017588454603688</c:v>
                </c:pt>
                <c:pt idx="339">
                  <c:v>0.85094544808107586</c:v>
                </c:pt>
                <c:pt idx="340">
                  <c:v>0.8517112008372858</c:v>
                </c:pt>
                <c:pt idx="341">
                  <c:v>0.85247538224850872</c:v>
                </c:pt>
                <c:pt idx="342">
                  <c:v>0.85323934987129801</c:v>
                </c:pt>
                <c:pt idx="343">
                  <c:v>0.85400210424472656</c:v>
                </c:pt>
                <c:pt idx="344">
                  <c:v>0.85475932149772471</c:v>
                </c:pt>
                <c:pt idx="345">
                  <c:v>0.85550608984103016</c:v>
                </c:pt>
                <c:pt idx="346">
                  <c:v>0.8562525268122636</c:v>
                </c:pt>
                <c:pt idx="347">
                  <c:v>0.85699783604950974</c:v>
                </c:pt>
                <c:pt idx="348">
                  <c:v>0.85774106619423895</c:v>
                </c:pt>
                <c:pt idx="349">
                  <c:v>0.85847632203039459</c:v>
                </c:pt>
                <c:pt idx="350">
                  <c:v>0.85920689589985422</c:v>
                </c:pt>
                <c:pt idx="351">
                  <c:v>0.85993691391938643</c:v>
                </c:pt>
                <c:pt idx="352">
                  <c:v>0.86066650970676228</c:v>
                </c:pt>
                <c:pt idx="353">
                  <c:v>0.86139397295451292</c:v>
                </c:pt>
                <c:pt idx="354">
                  <c:v>0.86211921814726489</c:v>
                </c:pt>
                <c:pt idx="355">
                  <c:v>0.86284084497077795</c:v>
                </c:pt>
                <c:pt idx="356">
                  <c:v>0.86356071872913553</c:v>
                </c:pt>
                <c:pt idx="357">
                  <c:v>0.86426565402069466</c:v>
                </c:pt>
                <c:pt idx="358">
                  <c:v>0.86496499874471489</c:v>
                </c:pt>
                <c:pt idx="359">
                  <c:v>0.86565777481911255</c:v>
                </c:pt>
                <c:pt idx="360">
                  <c:v>0.86634775026502997</c:v>
                </c:pt>
                <c:pt idx="361">
                  <c:v>0.86703769898739314</c:v>
                </c:pt>
                <c:pt idx="362">
                  <c:v>0.86772488983896279</c:v>
                </c:pt>
                <c:pt idx="363">
                  <c:v>0.86840842490831771</c:v>
                </c:pt>
                <c:pt idx="364">
                  <c:v>0.86909034587499889</c:v>
                </c:pt>
                <c:pt idx="365">
                  <c:v>0.8697717484047286</c:v>
                </c:pt>
                <c:pt idx="366">
                  <c:v>0.87045100770541139</c:v>
                </c:pt>
                <c:pt idx="367">
                  <c:v>0.87112940650764892</c:v>
                </c:pt>
                <c:pt idx="368">
                  <c:v>0.87180560328902024</c:v>
                </c:pt>
                <c:pt idx="369">
                  <c:v>0.87247693638352697</c:v>
                </c:pt>
                <c:pt idx="370">
                  <c:v>0.87314007069160482</c:v>
                </c:pt>
                <c:pt idx="371">
                  <c:v>0.87380091211873223</c:v>
                </c:pt>
                <c:pt idx="372">
                  <c:v>0.87445963169565599</c:v>
                </c:pt>
                <c:pt idx="373">
                  <c:v>0.87511587667146074</c:v>
                </c:pt>
                <c:pt idx="374">
                  <c:v>0.87577210026842212</c:v>
                </c:pt>
                <c:pt idx="375">
                  <c:v>0.87642579581715607</c:v>
                </c:pt>
                <c:pt idx="376">
                  <c:v>0.87707816053289089</c:v>
                </c:pt>
                <c:pt idx="377">
                  <c:v>0.87772242266699196</c:v>
                </c:pt>
                <c:pt idx="378">
                  <c:v>0.87836600602281634</c:v>
                </c:pt>
                <c:pt idx="379">
                  <c:v>0.87900903352871329</c:v>
                </c:pt>
                <c:pt idx="380">
                  <c:v>0.8796475126856852</c:v>
                </c:pt>
                <c:pt idx="381">
                  <c:v>0.880281080053395</c:v>
                </c:pt>
                <c:pt idx="382">
                  <c:v>0.88090555606796561</c:v>
                </c:pt>
                <c:pt idx="383">
                  <c:v>0.88152977553641587</c:v>
                </c:pt>
                <c:pt idx="384">
                  <c:v>0.88214936648527853</c:v>
                </c:pt>
                <c:pt idx="385">
                  <c:v>0.88276858330438235</c:v>
                </c:pt>
                <c:pt idx="386">
                  <c:v>0.88338674187073973</c:v>
                </c:pt>
                <c:pt idx="387">
                  <c:v>0.88400345202045949</c:v>
                </c:pt>
                <c:pt idx="388">
                  <c:v>0.88461399437386956</c:v>
                </c:pt>
                <c:pt idx="389">
                  <c:v>0.88522299210584687</c:v>
                </c:pt>
                <c:pt idx="390">
                  <c:v>0.88582951523670517</c:v>
                </c:pt>
                <c:pt idx="391">
                  <c:v>0.8864347770158052</c:v>
                </c:pt>
                <c:pt idx="392">
                  <c:v>0.88703810935429184</c:v>
                </c:pt>
                <c:pt idx="393">
                  <c:v>0.88763913812240636</c:v>
                </c:pt>
                <c:pt idx="394">
                  <c:v>0.88823820538164255</c:v>
                </c:pt>
                <c:pt idx="395">
                  <c:v>0.88883412995090472</c:v>
                </c:pt>
                <c:pt idx="396">
                  <c:v>0.88942655907927737</c:v>
                </c:pt>
                <c:pt idx="397">
                  <c:v>0.89001663119016949</c:v>
                </c:pt>
                <c:pt idx="398">
                  <c:v>0.89059844572281344</c:v>
                </c:pt>
                <c:pt idx="399">
                  <c:v>0.89117761462359146</c:v>
                </c:pt>
                <c:pt idx="400">
                  <c:v>0.8917548006366478</c:v>
                </c:pt>
                <c:pt idx="401">
                  <c:v>0.89232958152982611</c:v>
                </c:pt>
                <c:pt idx="402">
                  <c:v>0.89289698137733398</c:v>
                </c:pt>
                <c:pt idx="403">
                  <c:v>0.89345792481414688</c:v>
                </c:pt>
                <c:pt idx="404">
                  <c:v>0.89401540487833531</c:v>
                </c:pt>
                <c:pt idx="405">
                  <c:v>0.89457286890839127</c:v>
                </c:pt>
                <c:pt idx="406">
                  <c:v>0.89512812557287025</c:v>
                </c:pt>
                <c:pt idx="407">
                  <c:v>0.89568205140434998</c:v>
                </c:pt>
                <c:pt idx="408">
                  <c:v>0.89623215576757898</c:v>
                </c:pt>
                <c:pt idx="409">
                  <c:v>0.89678118049921829</c:v>
                </c:pt>
                <c:pt idx="410">
                  <c:v>0.89732655479335366</c:v>
                </c:pt>
                <c:pt idx="411">
                  <c:v>0.89787157099186277</c:v>
                </c:pt>
                <c:pt idx="412">
                  <c:v>0.89841616495821552</c:v>
                </c:pt>
                <c:pt idx="413">
                  <c:v>0.89895818811865413</c:v>
                </c:pt>
                <c:pt idx="414">
                  <c:v>0.8994989392379128</c:v>
                </c:pt>
                <c:pt idx="415">
                  <c:v>0.90003925209088254</c:v>
                </c:pt>
                <c:pt idx="416">
                  <c:v>0.90057947408376793</c:v>
                </c:pt>
                <c:pt idx="417">
                  <c:v>0.90111935935987042</c:v>
                </c:pt>
                <c:pt idx="418">
                  <c:v>0.90165860861538294</c:v>
                </c:pt>
                <c:pt idx="419">
                  <c:v>0.90219691185707673</c:v>
                </c:pt>
                <c:pt idx="420">
                  <c:v>0.90273442408156612</c:v>
                </c:pt>
                <c:pt idx="421">
                  <c:v>0.90327159424456183</c:v>
                </c:pt>
                <c:pt idx="422">
                  <c:v>0.90380413054325903</c:v>
                </c:pt>
                <c:pt idx="423">
                  <c:v>0.90433654391360696</c:v>
                </c:pt>
                <c:pt idx="424">
                  <c:v>0.90486885573444886</c:v>
                </c:pt>
                <c:pt idx="425">
                  <c:v>0.9053995641420387</c:v>
                </c:pt>
                <c:pt idx="426">
                  <c:v>0.90592973807854449</c:v>
                </c:pt>
                <c:pt idx="427">
                  <c:v>0.90645935616512296</c:v>
                </c:pt>
                <c:pt idx="428">
                  <c:v>0.90698604000545013</c:v>
                </c:pt>
                <c:pt idx="429">
                  <c:v>0.90751181524493452</c:v>
                </c:pt>
                <c:pt idx="430">
                  <c:v>0.90803714152870829</c:v>
                </c:pt>
                <c:pt idx="431">
                  <c:v>0.90856236626297604</c:v>
                </c:pt>
                <c:pt idx="432">
                  <c:v>0.90908464606157091</c:v>
                </c:pt>
                <c:pt idx="433">
                  <c:v>0.90960037858938647</c:v>
                </c:pt>
                <c:pt idx="434">
                  <c:v>0.9101133639358302</c:v>
                </c:pt>
                <c:pt idx="435">
                  <c:v>0.91062339365717926</c:v>
                </c:pt>
                <c:pt idx="436">
                  <c:v>0.91112860244935046</c:v>
                </c:pt>
                <c:pt idx="437">
                  <c:v>0.91163066855154762</c:v>
                </c:pt>
                <c:pt idx="438">
                  <c:v>0.91213263844894965</c:v>
                </c:pt>
                <c:pt idx="439">
                  <c:v>0.91263263080334078</c:v>
                </c:pt>
                <c:pt idx="440">
                  <c:v>0.91312914375097498</c:v>
                </c:pt>
                <c:pt idx="441">
                  <c:v>0.91362443275982674</c:v>
                </c:pt>
                <c:pt idx="442">
                  <c:v>0.91411694786375242</c:v>
                </c:pt>
                <c:pt idx="443">
                  <c:v>0.91460136038604434</c:v>
                </c:pt>
                <c:pt idx="444">
                  <c:v>0.9150843351811202</c:v>
                </c:pt>
                <c:pt idx="445">
                  <c:v>0.91556632654940151</c:v>
                </c:pt>
                <c:pt idx="446">
                  <c:v>0.91604815223164682</c:v>
                </c:pt>
                <c:pt idx="447">
                  <c:v>0.91652779727186928</c:v>
                </c:pt>
                <c:pt idx="448">
                  <c:v>0.91699809975754298</c:v>
                </c:pt>
                <c:pt idx="449">
                  <c:v>0.9174669271030248</c:v>
                </c:pt>
                <c:pt idx="450">
                  <c:v>0.9179347442981578</c:v>
                </c:pt>
                <c:pt idx="451">
                  <c:v>0.91839671972434256</c:v>
                </c:pt>
                <c:pt idx="452">
                  <c:v>0.91885855618804546</c:v>
                </c:pt>
                <c:pt idx="453">
                  <c:v>0.91931928095189352</c:v>
                </c:pt>
                <c:pt idx="454">
                  <c:v>0.91977946589994675</c:v>
                </c:pt>
                <c:pt idx="455">
                  <c:v>0.92023899879327742</c:v>
                </c:pt>
                <c:pt idx="456">
                  <c:v>0.92069841410296971</c:v>
                </c:pt>
                <c:pt idx="457">
                  <c:v>0.92115487913227811</c:v>
                </c:pt>
                <c:pt idx="458">
                  <c:v>0.92161097003182779</c:v>
                </c:pt>
                <c:pt idx="459">
                  <c:v>0.92206039073224888</c:v>
                </c:pt>
                <c:pt idx="460">
                  <c:v>0.92250391621661321</c:v>
                </c:pt>
                <c:pt idx="461">
                  <c:v>0.92294438987108773</c:v>
                </c:pt>
                <c:pt idx="462">
                  <c:v>0.92338484749142968</c:v>
                </c:pt>
                <c:pt idx="463">
                  <c:v>0.92381886473520924</c:v>
                </c:pt>
                <c:pt idx="464">
                  <c:v>0.92424976066785813</c:v>
                </c:pt>
                <c:pt idx="465">
                  <c:v>0.92467999385636279</c:v>
                </c:pt>
                <c:pt idx="466">
                  <c:v>0.92510977808915684</c:v>
                </c:pt>
                <c:pt idx="467">
                  <c:v>0.92553833838316857</c:v>
                </c:pt>
                <c:pt idx="468">
                  <c:v>0.9259651990591331</c:v>
                </c:pt>
                <c:pt idx="469">
                  <c:v>0.92639169629476048</c:v>
                </c:pt>
                <c:pt idx="470">
                  <c:v>0.9268180011207976</c:v>
                </c:pt>
                <c:pt idx="471">
                  <c:v>0.92724001414403001</c:v>
                </c:pt>
                <c:pt idx="472">
                  <c:v>0.92766081926261257</c:v>
                </c:pt>
                <c:pt idx="473">
                  <c:v>0.9280814105927615</c:v>
                </c:pt>
                <c:pt idx="474">
                  <c:v>0.92849695117116648</c:v>
                </c:pt>
                <c:pt idx="475">
                  <c:v>0.92891085092334347</c:v>
                </c:pt>
                <c:pt idx="476">
                  <c:v>0.92932288002672636</c:v>
                </c:pt>
                <c:pt idx="477">
                  <c:v>0.92973193212617122</c:v>
                </c:pt>
                <c:pt idx="478">
                  <c:v>0.93014067957709823</c:v>
                </c:pt>
                <c:pt idx="479">
                  <c:v>0.93054283165484841</c:v>
                </c:pt>
                <c:pt idx="480">
                  <c:v>0.93094253585503384</c:v>
                </c:pt>
                <c:pt idx="481">
                  <c:v>0.93134220798695422</c:v>
                </c:pt>
                <c:pt idx="482">
                  <c:v>0.9317417090881277</c:v>
                </c:pt>
                <c:pt idx="483">
                  <c:v>0.93213984728803689</c:v>
                </c:pt>
                <c:pt idx="484">
                  <c:v>0.93253584225889918</c:v>
                </c:pt>
                <c:pt idx="485">
                  <c:v>0.93293036743428037</c:v>
                </c:pt>
                <c:pt idx="486">
                  <c:v>0.93332188353745849</c:v>
                </c:pt>
                <c:pt idx="487">
                  <c:v>0.93371269413880575</c:v>
                </c:pt>
                <c:pt idx="488">
                  <c:v>0.93410284199600879</c:v>
                </c:pt>
                <c:pt idx="489">
                  <c:v>0.9344883239206484</c:v>
                </c:pt>
                <c:pt idx="490">
                  <c:v>0.93487298810452946</c:v>
                </c:pt>
                <c:pt idx="491">
                  <c:v>0.93525615576937526</c:v>
                </c:pt>
                <c:pt idx="492">
                  <c:v>0.93563835604155898</c:v>
                </c:pt>
                <c:pt idx="493">
                  <c:v>0.93602025700993563</c:v>
                </c:pt>
                <c:pt idx="494">
                  <c:v>0.93639418901444949</c:v>
                </c:pt>
                <c:pt idx="495">
                  <c:v>0.93676681690951835</c:v>
                </c:pt>
                <c:pt idx="496">
                  <c:v>0.93713775587596171</c:v>
                </c:pt>
                <c:pt idx="497">
                  <c:v>0.93750810157950182</c:v>
                </c:pt>
                <c:pt idx="498">
                  <c:v>0.93787774712592187</c:v>
                </c:pt>
                <c:pt idx="499">
                  <c:v>0.93824279622101925</c:v>
                </c:pt>
                <c:pt idx="500">
                  <c:v>0.93860576087888903</c:v>
                </c:pt>
                <c:pt idx="501">
                  <c:v>0.9389670312634224</c:v>
                </c:pt>
                <c:pt idx="502">
                  <c:v>0.93932763890381166</c:v>
                </c:pt>
                <c:pt idx="503">
                  <c:v>0.93968702260541848</c:v>
                </c:pt>
                <c:pt idx="504">
                  <c:v>0.94004428980153254</c:v>
                </c:pt>
                <c:pt idx="505">
                  <c:v>0.94039939773446712</c:v>
                </c:pt>
                <c:pt idx="506">
                  <c:v>0.94075399257516112</c:v>
                </c:pt>
                <c:pt idx="507">
                  <c:v>0.94110841638510823</c:v>
                </c:pt>
                <c:pt idx="508">
                  <c:v>0.94146231106868217</c:v>
                </c:pt>
                <c:pt idx="509">
                  <c:v>0.94181303633872782</c:v>
                </c:pt>
                <c:pt idx="510">
                  <c:v>0.94216118545814853</c:v>
                </c:pt>
                <c:pt idx="511">
                  <c:v>0.94250605826982414</c:v>
                </c:pt>
                <c:pt idx="512">
                  <c:v>0.94284570395429801</c:v>
                </c:pt>
                <c:pt idx="513">
                  <c:v>0.94318452655330254</c:v>
                </c:pt>
                <c:pt idx="514">
                  <c:v>0.94351994457150179</c:v>
                </c:pt>
                <c:pt idx="515">
                  <c:v>0.94385344918322023</c:v>
                </c:pt>
                <c:pt idx="516">
                  <c:v>0.94418602915996341</c:v>
                </c:pt>
                <c:pt idx="517">
                  <c:v>0.94451204048708393</c:v>
                </c:pt>
                <c:pt idx="518">
                  <c:v>0.94483673701533777</c:v>
                </c:pt>
                <c:pt idx="519">
                  <c:v>0.94515962703132761</c:v>
                </c:pt>
                <c:pt idx="520">
                  <c:v>0.94548229791417293</c:v>
                </c:pt>
                <c:pt idx="521">
                  <c:v>0.94580298056458578</c:v>
                </c:pt>
                <c:pt idx="522">
                  <c:v>0.94612152533066252</c:v>
                </c:pt>
                <c:pt idx="523">
                  <c:v>0.94643873391902922</c:v>
                </c:pt>
                <c:pt idx="524">
                  <c:v>0.94674847060164125</c:v>
                </c:pt>
                <c:pt idx="525">
                  <c:v>0.94705704748200092</c:v>
                </c:pt>
                <c:pt idx="526">
                  <c:v>0.94736384457365086</c:v>
                </c:pt>
                <c:pt idx="527">
                  <c:v>0.94766959410197615</c:v>
                </c:pt>
                <c:pt idx="528">
                  <c:v>0.94797419986218157</c:v>
                </c:pt>
                <c:pt idx="529">
                  <c:v>0.94827713272789405</c:v>
                </c:pt>
                <c:pt idx="530">
                  <c:v>0.94857994266525714</c:v>
                </c:pt>
                <c:pt idx="531">
                  <c:v>0.94888172641813895</c:v>
                </c:pt>
                <c:pt idx="532">
                  <c:v>0.94918327500374378</c:v>
                </c:pt>
                <c:pt idx="533">
                  <c:v>0.94948393636734918</c:v>
                </c:pt>
                <c:pt idx="534">
                  <c:v>0.94978375326664177</c:v>
                </c:pt>
                <c:pt idx="535">
                  <c:v>0.9500833296539466</c:v>
                </c:pt>
                <c:pt idx="536">
                  <c:v>0.95038267621868533</c:v>
                </c:pt>
                <c:pt idx="537">
                  <c:v>0.95068167003250859</c:v>
                </c:pt>
                <c:pt idx="538">
                  <c:v>0.95097993162094674</c:v>
                </c:pt>
                <c:pt idx="539">
                  <c:v>0.95127635462885585</c:v>
                </c:pt>
                <c:pt idx="540">
                  <c:v>0.95157261195072884</c:v>
                </c:pt>
                <c:pt idx="541">
                  <c:v>0.95186847376399975</c:v>
                </c:pt>
                <c:pt idx="542">
                  <c:v>0.95216231527657302</c:v>
                </c:pt>
                <c:pt idx="543">
                  <c:v>0.95245574524641163</c:v>
                </c:pt>
                <c:pt idx="544">
                  <c:v>0.95274703198720323</c:v>
                </c:pt>
                <c:pt idx="545">
                  <c:v>0.95303611670712873</c:v>
                </c:pt>
                <c:pt idx="546">
                  <c:v>0.95332418058728374</c:v>
                </c:pt>
                <c:pt idx="547">
                  <c:v>0.95361184895883655</c:v>
                </c:pt>
                <c:pt idx="548">
                  <c:v>0.95389641205339115</c:v>
                </c:pt>
                <c:pt idx="549">
                  <c:v>0.95418079342777729</c:v>
                </c:pt>
                <c:pt idx="550">
                  <c:v>0.9544641112047062</c:v>
                </c:pt>
                <c:pt idx="551">
                  <c:v>0.95474492231225105</c:v>
                </c:pt>
                <c:pt idx="552">
                  <c:v>0.95502541808185626</c:v>
                </c:pt>
                <c:pt idx="553">
                  <c:v>0.95530579626782297</c:v>
                </c:pt>
                <c:pt idx="554">
                  <c:v>0.95558502534095913</c:v>
                </c:pt>
                <c:pt idx="555">
                  <c:v>0.95586163016107273</c:v>
                </c:pt>
                <c:pt idx="556">
                  <c:v>0.95613592606610331</c:v>
                </c:pt>
                <c:pt idx="557">
                  <c:v>0.95640699376578642</c:v>
                </c:pt>
                <c:pt idx="558">
                  <c:v>0.95667744147901201</c:v>
                </c:pt>
                <c:pt idx="559">
                  <c:v>0.95694572992905824</c:v>
                </c:pt>
                <c:pt idx="560">
                  <c:v>0.95721318994892424</c:v>
                </c:pt>
                <c:pt idx="561">
                  <c:v>0.95747307651352964</c:v>
                </c:pt>
                <c:pt idx="562">
                  <c:v>0.95773265308490629</c:v>
                </c:pt>
                <c:pt idx="563">
                  <c:v>0.9579914653626328</c:v>
                </c:pt>
                <c:pt idx="564">
                  <c:v>0.95824874905305901</c:v>
                </c:pt>
                <c:pt idx="565">
                  <c:v>0.95850095526818702</c:v>
                </c:pt>
                <c:pt idx="566">
                  <c:v>0.9587496125953171</c:v>
                </c:pt>
                <c:pt idx="567">
                  <c:v>0.95899492413346121</c:v>
                </c:pt>
                <c:pt idx="568">
                  <c:v>0.95923633403269193</c:v>
                </c:pt>
                <c:pt idx="569">
                  <c:v>0.95947637568594757</c:v>
                </c:pt>
                <c:pt idx="570">
                  <c:v>0.95971606458828784</c:v>
                </c:pt>
                <c:pt idx="571">
                  <c:v>0.95995575349062812</c:v>
                </c:pt>
                <c:pt idx="572">
                  <c:v>0.96019485447477593</c:v>
                </c:pt>
                <c:pt idx="573">
                  <c:v>0.9604330735816351</c:v>
                </c:pt>
                <c:pt idx="574">
                  <c:v>0.96066988702954326</c:v>
                </c:pt>
                <c:pt idx="575">
                  <c:v>0.96090614462752411</c:v>
                </c:pt>
                <c:pt idx="576">
                  <c:v>0.96113997038207266</c:v>
                </c:pt>
                <c:pt idx="577">
                  <c:v>0.96137331511264557</c:v>
                </c:pt>
                <c:pt idx="578">
                  <c:v>0.96160517935831569</c:v>
                </c:pt>
                <c:pt idx="579">
                  <c:v>0.96183511950808331</c:v>
                </c:pt>
                <c:pt idx="580">
                  <c:v>0.96206487259297158</c:v>
                </c:pt>
                <c:pt idx="581">
                  <c:v>0.96229460964372737</c:v>
                </c:pt>
                <c:pt idx="582">
                  <c:v>0.96252352360901372</c:v>
                </c:pt>
                <c:pt idx="583">
                  <c:v>0.96275178551957752</c:v>
                </c:pt>
                <c:pt idx="584">
                  <c:v>0.96297940606484056</c:v>
                </c:pt>
                <c:pt idx="585">
                  <c:v>0.9632051613060203</c:v>
                </c:pt>
                <c:pt idx="586">
                  <c:v>0.96342878935228571</c:v>
                </c:pt>
                <c:pt idx="587">
                  <c:v>0.96365240136441854</c:v>
                </c:pt>
                <c:pt idx="588">
                  <c:v>0.96387253931450523</c:v>
                </c:pt>
                <c:pt idx="589">
                  <c:v>0.96409175797432745</c:v>
                </c:pt>
                <c:pt idx="590">
                  <c:v>0.96430810652442844</c:v>
                </c:pt>
                <c:pt idx="591">
                  <c:v>0.9645239099140237</c:v>
                </c:pt>
                <c:pt idx="592">
                  <c:v>0.96473855884607751</c:v>
                </c:pt>
                <c:pt idx="593">
                  <c:v>0.96494955734062748</c:v>
                </c:pt>
                <c:pt idx="594">
                  <c:v>0.96516016567128615</c:v>
                </c:pt>
                <c:pt idx="595">
                  <c:v>0.965370164704909</c:v>
                </c:pt>
                <c:pt idx="596">
                  <c:v>0.96557991788183317</c:v>
                </c:pt>
                <c:pt idx="597">
                  <c:v>0.96578559304438627</c:v>
                </c:pt>
                <c:pt idx="598">
                  <c:v>0.96598934411103687</c:v>
                </c:pt>
                <c:pt idx="599">
                  <c:v>0.9661911069452549</c:v>
                </c:pt>
                <c:pt idx="600">
                  <c:v>0.96639188100796747</c:v>
                </c:pt>
                <c:pt idx="601">
                  <c:v>0.96659189612174079</c:v>
                </c:pt>
                <c:pt idx="602">
                  <c:v>0.96679022765159939</c:v>
                </c:pt>
                <c:pt idx="603">
                  <c:v>0.96698619147455578</c:v>
                </c:pt>
                <c:pt idx="604">
                  <c:v>0.96718198961147617</c:v>
                </c:pt>
                <c:pt idx="605">
                  <c:v>0.96737626985051794</c:v>
                </c:pt>
                <c:pt idx="606">
                  <c:v>0.9675705019871621</c:v>
                </c:pt>
                <c:pt idx="607">
                  <c:v>0.9677635315638673</c:v>
                </c:pt>
                <c:pt idx="608">
                  <c:v>0.96795523030757324</c:v>
                </c:pt>
                <c:pt idx="609">
                  <c:v>0.96814512788372609</c:v>
                </c:pt>
                <c:pt idx="610">
                  <c:v>0.96833486511855371</c:v>
                </c:pt>
                <c:pt idx="611">
                  <c:v>0.96852439925436939</c:v>
                </c:pt>
                <c:pt idx="612">
                  <c:v>0.96871367149935383</c:v>
                </c:pt>
                <c:pt idx="613">
                  <c:v>0.96890231841316998</c:v>
                </c:pt>
                <c:pt idx="614">
                  <c:v>0.96909014224151679</c:v>
                </c:pt>
                <c:pt idx="615">
                  <c:v>0.96927560370767218</c:v>
                </c:pt>
                <c:pt idx="616">
                  <c:v>0.96946104379498421</c:v>
                </c:pt>
                <c:pt idx="617">
                  <c:v>0.96964634491981438</c:v>
                </c:pt>
                <c:pt idx="618">
                  <c:v>0.96983147501389766</c:v>
                </c:pt>
                <c:pt idx="619">
                  <c:v>0.97001656235029421</c:v>
                </c:pt>
                <c:pt idx="620">
                  <c:v>0.9701982397611747</c:v>
                </c:pt>
                <c:pt idx="621">
                  <c:v>0.97037977820957344</c:v>
                </c:pt>
                <c:pt idx="622">
                  <c:v>0.97056087304697236</c:v>
                </c:pt>
                <c:pt idx="623">
                  <c:v>0.97074130514022716</c:v>
                </c:pt>
                <c:pt idx="624">
                  <c:v>0.97092118138355454</c:v>
                </c:pt>
                <c:pt idx="625">
                  <c:v>0.97110034678034018</c:v>
                </c:pt>
                <c:pt idx="626">
                  <c:v>0.97127677568517568</c:v>
                </c:pt>
                <c:pt idx="627">
                  <c:v>0.97145268080834879</c:v>
                </c:pt>
                <c:pt idx="628">
                  <c:v>0.97162855386325686</c:v>
                </c:pt>
                <c:pt idx="629">
                  <c:v>0.97180287695202128</c:v>
                </c:pt>
                <c:pt idx="630">
                  <c:v>0.97197649988366563</c:v>
                </c:pt>
                <c:pt idx="631">
                  <c:v>0.97214844992081695</c:v>
                </c:pt>
                <c:pt idx="632">
                  <c:v>0.9723170488242715</c:v>
                </c:pt>
                <c:pt idx="633">
                  <c:v>0.97248363811645011</c:v>
                </c:pt>
                <c:pt idx="634">
                  <c:v>0.97264997086250837</c:v>
                </c:pt>
                <c:pt idx="635">
                  <c:v>0.97281571569037428</c:v>
                </c:pt>
                <c:pt idx="636">
                  <c:v>0.97297935470216912</c:v>
                </c:pt>
                <c:pt idx="637">
                  <c:v>0.9731422935568439</c:v>
                </c:pt>
                <c:pt idx="638">
                  <c:v>0.97330503465721752</c:v>
                </c:pt>
                <c:pt idx="639">
                  <c:v>0.97346681370963994</c:v>
                </c:pt>
                <c:pt idx="640">
                  <c:v>0.97362792467320736</c:v>
                </c:pt>
                <c:pt idx="641">
                  <c:v>0.97378869891999187</c:v>
                </c:pt>
                <c:pt idx="642">
                  <c:v>0.97394943575380044</c:v>
                </c:pt>
                <c:pt idx="643">
                  <c:v>0.97410970759776594</c:v>
                </c:pt>
                <c:pt idx="644">
                  <c:v>0.97426739794639561</c:v>
                </c:pt>
                <c:pt idx="645">
                  <c:v>0.97442342608995391</c:v>
                </c:pt>
                <c:pt idx="646">
                  <c:v>0.97457700101123657</c:v>
                </c:pt>
                <c:pt idx="647">
                  <c:v>0.97472734238246095</c:v>
                </c:pt>
                <c:pt idx="648">
                  <c:v>0.97487395314551883</c:v>
                </c:pt>
                <c:pt idx="649">
                  <c:v>0.97502031805187805</c:v>
                </c:pt>
                <c:pt idx="650">
                  <c:v>0.97516343337404643</c:v>
                </c:pt>
                <c:pt idx="651">
                  <c:v>0.97530605698281758</c:v>
                </c:pt>
                <c:pt idx="652">
                  <c:v>0.97544698097354154</c:v>
                </c:pt>
                <c:pt idx="653">
                  <c:v>0.97558777669120533</c:v>
                </c:pt>
                <c:pt idx="654">
                  <c:v>0.97572844948051973</c:v>
                </c:pt>
                <c:pt idx="655">
                  <c:v>0.97586876417420787</c:v>
                </c:pt>
                <c:pt idx="656">
                  <c:v>0.97600829854011328</c:v>
                </c:pt>
                <c:pt idx="657">
                  <c:v>0.97614612794326072</c:v>
                </c:pt>
                <c:pt idx="658">
                  <c:v>0.97628355114838428</c:v>
                </c:pt>
                <c:pt idx="659">
                  <c:v>0.97642091021697774</c:v>
                </c:pt>
                <c:pt idx="660">
                  <c:v>0.9765581677360653</c:v>
                </c:pt>
                <c:pt idx="661">
                  <c:v>0.97669526491382763</c:v>
                </c:pt>
                <c:pt idx="662">
                  <c:v>0.97683230329977067</c:v>
                </c:pt>
                <c:pt idx="663">
                  <c:v>0.97696929892802697</c:v>
                </c:pt>
                <c:pt idx="664">
                  <c:v>0.97710584025586189</c:v>
                </c:pt>
                <c:pt idx="665">
                  <c:v>0.97724137677805889</c:v>
                </c:pt>
                <c:pt idx="666">
                  <c:v>0.97737636813975015</c:v>
                </c:pt>
                <c:pt idx="667">
                  <c:v>0.97751121519424877</c:v>
                </c:pt>
                <c:pt idx="668">
                  <c:v>0.977644704692194</c:v>
                </c:pt>
                <c:pt idx="669">
                  <c:v>0.97777801781468143</c:v>
                </c:pt>
                <c:pt idx="670">
                  <c:v>0.97791102628865101</c:v>
                </c:pt>
                <c:pt idx="671">
                  <c:v>0.97804283754739241</c:v>
                </c:pt>
                <c:pt idx="672">
                  <c:v>0.97817451518836274</c:v>
                </c:pt>
                <c:pt idx="673">
                  <c:v>0.97830586145726095</c:v>
                </c:pt>
                <c:pt idx="674">
                  <c:v>0.9784366839444969</c:v>
                </c:pt>
                <c:pt idx="675">
                  <c:v>0.97856650697080572</c:v>
                </c:pt>
                <c:pt idx="676">
                  <c:v>0.97869575276834375</c:v>
                </c:pt>
                <c:pt idx="677">
                  <c:v>0.978824993221171</c:v>
                </c:pt>
                <c:pt idx="678">
                  <c:v>0.97895289749628811</c:v>
                </c:pt>
                <c:pt idx="679">
                  <c:v>0.97907916094517733</c:v>
                </c:pt>
                <c:pt idx="680">
                  <c:v>0.97920441424371774</c:v>
                </c:pt>
                <c:pt idx="681">
                  <c:v>0.97932746017668115</c:v>
                </c:pt>
                <c:pt idx="682">
                  <c:v>0.97945049007551199</c:v>
                </c:pt>
                <c:pt idx="683">
                  <c:v>0.97957343980368028</c:v>
                </c:pt>
                <c:pt idx="684">
                  <c:v>0.97969605815977645</c:v>
                </c:pt>
                <c:pt idx="685">
                  <c:v>0.97981699293195801</c:v>
                </c:pt>
                <c:pt idx="686">
                  <c:v>0.97993775132868177</c:v>
                </c:pt>
                <c:pt idx="687">
                  <c:v>0.98005840817589962</c:v>
                </c:pt>
                <c:pt idx="688">
                  <c:v>0.98017862675682854</c:v>
                </c:pt>
                <c:pt idx="689">
                  <c:v>0.98029794208162546</c:v>
                </c:pt>
                <c:pt idx="690">
                  <c:v>0.9804170222391454</c:v>
                </c:pt>
                <c:pt idx="691">
                  <c:v>0.98053523120879837</c:v>
                </c:pt>
                <c:pt idx="692">
                  <c:v>0.980653017946295</c:v>
                </c:pt>
                <c:pt idx="693">
                  <c:v>0.98076988539352716</c:v>
                </c:pt>
                <c:pt idx="694">
                  <c:v>0.98088657646530153</c:v>
                </c:pt>
                <c:pt idx="695">
                  <c:v>0.98100277047896778</c:v>
                </c:pt>
                <c:pt idx="696">
                  <c:v>0.98111746797359878</c:v>
                </c:pt>
                <c:pt idx="697">
                  <c:v>0.98122920449842432</c:v>
                </c:pt>
                <c:pt idx="698">
                  <c:v>0.98133950864074471</c:v>
                </c:pt>
                <c:pt idx="699">
                  <c:v>0.98144926762255935</c:v>
                </c:pt>
                <c:pt idx="700">
                  <c:v>0.98155869523230188</c:v>
                </c:pt>
                <c:pt idx="701">
                  <c:v>0.98166811215262273</c:v>
                </c:pt>
                <c:pt idx="702">
                  <c:v>0.98177699994657042</c:v>
                </c:pt>
                <c:pt idx="703">
                  <c:v>0.98188577015687961</c:v>
                </c:pt>
                <c:pt idx="704">
                  <c:v>0.9819944869200804</c:v>
                </c:pt>
                <c:pt idx="705">
                  <c:v>0.98210277610641394</c:v>
                </c:pt>
                <c:pt idx="706">
                  <c:v>0.98221064840530192</c:v>
                </c:pt>
                <c:pt idx="707">
                  <c:v>0.98231799157781674</c:v>
                </c:pt>
                <c:pt idx="708">
                  <c:v>0.98242484303693434</c:v>
                </c:pt>
                <c:pt idx="709">
                  <c:v>0.98253169449605193</c:v>
                </c:pt>
                <c:pt idx="710">
                  <c:v>0.98263758925192912</c:v>
                </c:pt>
                <c:pt idx="711">
                  <c:v>0.98274310453333658</c:v>
                </c:pt>
                <c:pt idx="712">
                  <c:v>0.98284692019669684</c:v>
                </c:pt>
                <c:pt idx="713">
                  <c:v>0.98295057551873199</c:v>
                </c:pt>
                <c:pt idx="714">
                  <c:v>0.98305378188505654</c:v>
                </c:pt>
                <c:pt idx="715">
                  <c:v>0.98315614378706828</c:v>
                </c:pt>
                <c:pt idx="716">
                  <c:v>0.98325850034436924</c:v>
                </c:pt>
                <c:pt idx="717">
                  <c:v>0.98336059501083894</c:v>
                </c:pt>
                <c:pt idx="718">
                  <c:v>0.9834620483120079</c:v>
                </c:pt>
                <c:pt idx="719">
                  <c:v>0.98356149200190091</c:v>
                </c:pt>
                <c:pt idx="720">
                  <c:v>0.98365986140491501</c:v>
                </c:pt>
                <c:pt idx="721">
                  <c:v>0.98375787805701365</c:v>
                </c:pt>
                <c:pt idx="722">
                  <c:v>0.98385562212885946</c:v>
                </c:pt>
                <c:pt idx="723">
                  <c:v>0.98395273018011531</c:v>
                </c:pt>
                <c:pt idx="724">
                  <c:v>0.9840494159992148</c:v>
                </c:pt>
                <c:pt idx="725">
                  <c:v>0.9841458719957481</c:v>
                </c:pt>
                <c:pt idx="726">
                  <c:v>0.98424079406027032</c:v>
                </c:pt>
                <c:pt idx="727">
                  <c:v>0.98433544354453961</c:v>
                </c:pt>
                <c:pt idx="728">
                  <c:v>0.98442998078988131</c:v>
                </c:pt>
                <c:pt idx="729">
                  <c:v>0.98452424545497019</c:v>
                </c:pt>
                <c:pt idx="730">
                  <c:v>0.9846184940859265</c:v>
                </c:pt>
                <c:pt idx="731">
                  <c:v>0.98471249686018414</c:v>
                </c:pt>
                <c:pt idx="732">
                  <c:v>0.98480617895179146</c:v>
                </c:pt>
                <c:pt idx="733">
                  <c:v>0.98489952967132666</c:v>
                </c:pt>
                <c:pt idx="734">
                  <c:v>0.98499274677309079</c:v>
                </c:pt>
                <c:pt idx="735">
                  <c:v>0.98508382064580802</c:v>
                </c:pt>
                <c:pt idx="736">
                  <c:v>0.98517436004744119</c:v>
                </c:pt>
                <c:pt idx="737">
                  <c:v>0.98526448256162891</c:v>
                </c:pt>
                <c:pt idx="738">
                  <c:v>0.98535374457737135</c:v>
                </c:pt>
                <c:pt idx="739">
                  <c:v>0.98544175058606631</c:v>
                </c:pt>
                <c:pt idx="740">
                  <c:v>0.98552960159814695</c:v>
                </c:pt>
                <c:pt idx="741">
                  <c:v>0.98561706244633618</c:v>
                </c:pt>
                <c:pt idx="742">
                  <c:v>0.98570433622964604</c:v>
                </c:pt>
                <c:pt idx="743">
                  <c:v>0.98579147639518483</c:v>
                </c:pt>
                <c:pt idx="744">
                  <c:v>0.98587773468343509</c:v>
                </c:pt>
                <c:pt idx="745">
                  <c:v>0.98596383263036014</c:v>
                </c:pt>
                <c:pt idx="746">
                  <c:v>0.98604974351240571</c:v>
                </c:pt>
                <c:pt idx="747">
                  <c:v>0.98613493285848786</c:v>
                </c:pt>
                <c:pt idx="748">
                  <c:v>0.98621941670273916</c:v>
                </c:pt>
                <c:pt idx="749">
                  <c:v>0.98630388985756878</c:v>
                </c:pt>
                <c:pt idx="750">
                  <c:v>0.98638830956529</c:v>
                </c:pt>
                <c:pt idx="751">
                  <c:v>0.98647079983239783</c:v>
                </c:pt>
                <c:pt idx="752">
                  <c:v>0.98655300682983116</c:v>
                </c:pt>
                <c:pt idx="753">
                  <c:v>0.98663431591584327</c:v>
                </c:pt>
                <c:pt idx="754">
                  <c:v>0.9867155662100362</c:v>
                </c:pt>
                <c:pt idx="755">
                  <c:v>0.98679675236769904</c:v>
                </c:pt>
                <c:pt idx="756">
                  <c:v>0.98687714216344669</c:v>
                </c:pt>
                <c:pt idx="757">
                  <c:v>0.98695752126977265</c:v>
                </c:pt>
                <c:pt idx="758">
                  <c:v>0.98703780951601439</c:v>
                </c:pt>
                <c:pt idx="759">
                  <c:v>0.98711757398059374</c:v>
                </c:pt>
                <c:pt idx="760">
                  <c:v>0.9871969963836793</c:v>
                </c:pt>
                <c:pt idx="761">
                  <c:v>0.98727632792668063</c:v>
                </c:pt>
                <c:pt idx="762">
                  <c:v>0.98735311004261117</c:v>
                </c:pt>
                <c:pt idx="763">
                  <c:v>0.98742960888886711</c:v>
                </c:pt>
                <c:pt idx="764">
                  <c:v>0.98750609704570136</c:v>
                </c:pt>
                <c:pt idx="765">
                  <c:v>0.98758190107954813</c:v>
                </c:pt>
                <c:pt idx="766">
                  <c:v>0.98765765701099728</c:v>
                </c:pt>
                <c:pt idx="767">
                  <c:v>0.98773336484004892</c:v>
                </c:pt>
                <c:pt idx="768">
                  <c:v>0.98780905663496799</c:v>
                </c:pt>
                <c:pt idx="769">
                  <c:v>0.98788451860732096</c:v>
                </c:pt>
                <c:pt idx="770">
                  <c:v>0.98795993247727643</c:v>
                </c:pt>
                <c:pt idx="771">
                  <c:v>0.98803450188291908</c:v>
                </c:pt>
                <c:pt idx="772">
                  <c:v>0.98810904990971837</c:v>
                </c:pt>
                <c:pt idx="773">
                  <c:v>0.98818188228433801</c:v>
                </c:pt>
                <c:pt idx="774">
                  <c:v>0.98825463983300588</c:v>
                </c:pt>
                <c:pt idx="775">
                  <c:v>0.98832711411199914</c:v>
                </c:pt>
                <c:pt idx="776">
                  <c:v>0.98839942804966718</c:v>
                </c:pt>
                <c:pt idx="777">
                  <c:v>0.98847029891540839</c:v>
                </c:pt>
                <c:pt idx="778">
                  <c:v>0.98854017566493335</c:v>
                </c:pt>
                <c:pt idx="779">
                  <c:v>0.9886097263870971</c:v>
                </c:pt>
                <c:pt idx="780">
                  <c:v>0.98867876401702015</c:v>
                </c:pt>
                <c:pt idx="781">
                  <c:v>0.98874659908700413</c:v>
                </c:pt>
                <c:pt idx="782">
                  <c:v>0.98881380348110892</c:v>
                </c:pt>
                <c:pt idx="783">
                  <c:v>0.98888091167041869</c:v>
                </c:pt>
                <c:pt idx="784">
                  <c:v>0.9889479450337767</c:v>
                </c:pt>
                <c:pt idx="785">
                  <c:v>0.98901455082026746</c:v>
                </c:pt>
                <c:pt idx="786">
                  <c:v>0.98908094281832459</c:v>
                </c:pt>
                <c:pt idx="787">
                  <c:v>0.98914669345108086</c:v>
                </c:pt>
                <c:pt idx="788">
                  <c:v>0.98921174927142796</c:v>
                </c:pt>
                <c:pt idx="789">
                  <c:v>0.98927678905764249</c:v>
                </c:pt>
                <c:pt idx="790">
                  <c:v>0.98934166315782102</c:v>
                </c:pt>
                <c:pt idx="791">
                  <c:v>0.98940641432965015</c:v>
                </c:pt>
                <c:pt idx="792">
                  <c:v>0.98947095705775656</c:v>
                </c:pt>
                <c:pt idx="793">
                  <c:v>0.98953468738981532</c:v>
                </c:pt>
                <c:pt idx="794">
                  <c:v>0.98959797411087425</c:v>
                </c:pt>
                <c:pt idx="795">
                  <c:v>0.98966051791712639</c:v>
                </c:pt>
                <c:pt idx="796">
                  <c:v>0.98972267690419813</c:v>
                </c:pt>
                <c:pt idx="797">
                  <c:v>0.98978480382300482</c:v>
                </c:pt>
                <c:pt idx="798">
                  <c:v>0.98984677574519708</c:v>
                </c:pt>
                <c:pt idx="799">
                  <c:v>0.98990849646597989</c:v>
                </c:pt>
                <c:pt idx="800">
                  <c:v>0.98996995529593146</c:v>
                </c:pt>
                <c:pt idx="801">
                  <c:v>0.99003096517017253</c:v>
                </c:pt>
                <c:pt idx="802">
                  <c:v>0.99009187349490757</c:v>
                </c:pt>
                <c:pt idx="803">
                  <c:v>0.99015205493896841</c:v>
                </c:pt>
                <c:pt idx="804">
                  <c:v>0.99021162708599342</c:v>
                </c:pt>
                <c:pt idx="805">
                  <c:v>0.9902707609667295</c:v>
                </c:pt>
                <c:pt idx="806">
                  <c:v>0.99032980933209214</c:v>
                </c:pt>
                <c:pt idx="807">
                  <c:v>0.99038827512397321</c:v>
                </c:pt>
                <c:pt idx="808">
                  <c:v>0.99044636144138465</c:v>
                </c:pt>
                <c:pt idx="809">
                  <c:v>0.99050441034582026</c:v>
                </c:pt>
                <c:pt idx="810">
                  <c:v>0.9905622775300873</c:v>
                </c:pt>
                <c:pt idx="811">
                  <c:v>0.99062006988840257</c:v>
                </c:pt>
                <c:pt idx="812">
                  <c:v>0.99067778207605517</c:v>
                </c:pt>
                <c:pt idx="813">
                  <c:v>0.99073358085722696</c:v>
                </c:pt>
                <c:pt idx="814">
                  <c:v>0.9907893475701337</c:v>
                </c:pt>
                <c:pt idx="815">
                  <c:v>0.990845028767667</c:v>
                </c:pt>
                <c:pt idx="816">
                  <c:v>0.99090049083205589</c:v>
                </c:pt>
                <c:pt idx="817">
                  <c:v>0.99095504429560199</c:v>
                </c:pt>
                <c:pt idx="818">
                  <c:v>0.99100939466013616</c:v>
                </c:pt>
                <c:pt idx="819">
                  <c:v>0.99106372364582695</c:v>
                </c:pt>
                <c:pt idx="820">
                  <c:v>0.99111793504787926</c:v>
                </c:pt>
                <c:pt idx="821">
                  <c:v>0.99117206093455812</c:v>
                </c:pt>
                <c:pt idx="822">
                  <c:v>0.99122602113520086</c:v>
                </c:pt>
                <c:pt idx="823">
                  <c:v>0.99127967668732575</c:v>
                </c:pt>
                <c:pt idx="824">
                  <c:v>0.99133327344763145</c:v>
                </c:pt>
                <c:pt idx="825">
                  <c:v>0.99138642125222654</c:v>
                </c:pt>
                <c:pt idx="826">
                  <c:v>0.99143923234003872</c:v>
                </c:pt>
                <c:pt idx="827">
                  <c:v>0.99149197929132082</c:v>
                </c:pt>
                <c:pt idx="828">
                  <c:v>0.99154425590804895</c:v>
                </c:pt>
                <c:pt idx="829">
                  <c:v>0.99159608891377737</c:v>
                </c:pt>
                <c:pt idx="830">
                  <c:v>0.99164788450652985</c:v>
                </c:pt>
                <c:pt idx="831">
                  <c:v>0.99169935407192111</c:v>
                </c:pt>
                <c:pt idx="832">
                  <c:v>0.99175068467483052</c:v>
                </c:pt>
                <c:pt idx="833">
                  <c:v>0.99180175873161958</c:v>
                </c:pt>
                <c:pt idx="834">
                  <c:v>0.99185272589419182</c:v>
                </c:pt>
                <c:pt idx="835">
                  <c:v>0.99190360754139062</c:v>
                </c:pt>
                <c:pt idx="836">
                  <c:v>0.99195441436263765</c:v>
                </c:pt>
                <c:pt idx="837">
                  <c:v>0.99200474550461992</c:v>
                </c:pt>
                <c:pt idx="838">
                  <c:v>0.99205497509709628</c:v>
                </c:pt>
                <c:pt idx="839">
                  <c:v>0.99210511917419919</c:v>
                </c:pt>
                <c:pt idx="840">
                  <c:v>0.9921550334287359</c:v>
                </c:pt>
                <c:pt idx="841">
                  <c:v>0.99220480872079075</c:v>
                </c:pt>
                <c:pt idx="842">
                  <c:v>0.992253969371099</c:v>
                </c:pt>
                <c:pt idx="843">
                  <c:v>0.99230288416470869</c:v>
                </c:pt>
                <c:pt idx="844">
                  <c:v>0.9923515584463305</c:v>
                </c:pt>
                <c:pt idx="845">
                  <c:v>0.99239863465941114</c:v>
                </c:pt>
                <c:pt idx="846">
                  <c:v>0.99244548639463648</c:v>
                </c:pt>
                <c:pt idx="847">
                  <c:v>0.99249233278515092</c:v>
                </c:pt>
                <c:pt idx="848">
                  <c:v>0.99253864470458142</c:v>
                </c:pt>
                <c:pt idx="849">
                  <c:v>0.99258472680144572</c:v>
                </c:pt>
                <c:pt idx="850">
                  <c:v>0.99263010874118995</c:v>
                </c:pt>
                <c:pt idx="851">
                  <c:v>0.99267474776612741</c:v>
                </c:pt>
                <c:pt idx="852">
                  <c:v>0.99271918369205292</c:v>
                </c:pt>
                <c:pt idx="853">
                  <c:v>0.99276348065549658</c:v>
                </c:pt>
                <c:pt idx="854">
                  <c:v>0.99280769744827768</c:v>
                </c:pt>
                <c:pt idx="855">
                  <c:v>0.99285183407039612</c:v>
                </c:pt>
                <c:pt idx="856">
                  <c:v>0.99289586914300865</c:v>
                </c:pt>
                <c:pt idx="857">
                  <c:v>0.99293984542380187</c:v>
                </c:pt>
                <c:pt idx="858">
                  <c:v>0.99298375222335422</c:v>
                </c:pt>
                <c:pt idx="859">
                  <c:v>0.99302692145281057</c:v>
                </c:pt>
                <c:pt idx="860">
                  <c:v>0.99307003723515863</c:v>
                </c:pt>
                <c:pt idx="861">
                  <c:v>0.99311307819155492</c:v>
                </c:pt>
                <c:pt idx="862">
                  <c:v>0.99315607104555359</c:v>
                </c:pt>
                <c:pt idx="863">
                  <c:v>0.993198705803926</c:v>
                </c:pt>
                <c:pt idx="864">
                  <c:v>0.99324126573634663</c:v>
                </c:pt>
                <c:pt idx="865">
                  <c:v>0.99328354774380356</c:v>
                </c:pt>
                <c:pt idx="866">
                  <c:v>0.99332568544406785</c:v>
                </c:pt>
                <c:pt idx="867">
                  <c:v>0.99336762539003098</c:v>
                </c:pt>
                <c:pt idx="868">
                  <c:v>0.99340951723359661</c:v>
                </c:pt>
                <c:pt idx="869">
                  <c:v>0.99345123804641533</c:v>
                </c:pt>
                <c:pt idx="870">
                  <c:v>0.9934927611049329</c:v>
                </c:pt>
                <c:pt idx="871">
                  <c:v>0.99353419330336623</c:v>
                </c:pt>
                <c:pt idx="872">
                  <c:v>0.99357544912634188</c:v>
                </c:pt>
                <c:pt idx="873">
                  <c:v>0.99361610099699249</c:v>
                </c:pt>
                <c:pt idx="874">
                  <c:v>0.99365662993929382</c:v>
                </c:pt>
                <c:pt idx="875">
                  <c:v>0.99369693974845075</c:v>
                </c:pt>
                <c:pt idx="876">
                  <c:v>0.99373653871106593</c:v>
                </c:pt>
                <c:pt idx="877">
                  <c:v>0.99377611095012686</c:v>
                </c:pt>
                <c:pt idx="878">
                  <c:v>0.99381524492289885</c:v>
                </c:pt>
                <c:pt idx="879">
                  <c:v>0.99385416510723734</c:v>
                </c:pt>
                <c:pt idx="880">
                  <c:v>0.99389287150314221</c:v>
                </c:pt>
                <c:pt idx="881">
                  <c:v>0.99393147100483026</c:v>
                </c:pt>
                <c:pt idx="882">
                  <c:v>0.99396984602866301</c:v>
                </c:pt>
                <c:pt idx="883">
                  <c:v>0.99400808743472469</c:v>
                </c:pt>
                <c:pt idx="884">
                  <c:v>0.99404632349607558</c:v>
                </c:pt>
                <c:pt idx="885">
                  <c:v>0.99408397163923401</c:v>
                </c:pt>
                <c:pt idx="886">
                  <c:v>0.99412083410989893</c:v>
                </c:pt>
                <c:pt idx="887">
                  <c:v>0.99415738124262432</c:v>
                </c:pt>
                <c:pt idx="888">
                  <c:v>0.99419386958353051</c:v>
                </c:pt>
                <c:pt idx="889">
                  <c:v>0.99423028309848493</c:v>
                </c:pt>
                <c:pt idx="890">
                  <c:v>0.99426643472260812</c:v>
                </c:pt>
                <c:pt idx="891">
                  <c:v>0.99430244738424944</c:v>
                </c:pt>
                <c:pt idx="892">
                  <c:v>0.99433842797762573</c:v>
                </c:pt>
                <c:pt idx="893">
                  <c:v>0.99437439788158033</c:v>
                </c:pt>
                <c:pt idx="894">
                  <c:v>0.99441031968313742</c:v>
                </c:pt>
                <c:pt idx="895">
                  <c:v>0.99444595287030912</c:v>
                </c:pt>
                <c:pt idx="896">
                  <c:v>0.99448116382532448</c:v>
                </c:pt>
                <c:pt idx="897">
                  <c:v>0.99451631064380974</c:v>
                </c:pt>
                <c:pt idx="898">
                  <c:v>0.99455129177625889</c:v>
                </c:pt>
                <c:pt idx="899">
                  <c:v>0.99458602705200949</c:v>
                </c:pt>
                <c:pt idx="900">
                  <c:v>0.99462038819800125</c:v>
                </c:pt>
                <c:pt idx="901">
                  <c:v>0.9946545248661377</c:v>
                </c:pt>
                <c:pt idx="902">
                  <c:v>0.99468856532947902</c:v>
                </c:pt>
                <c:pt idx="903">
                  <c:v>0.99472205528760382</c:v>
                </c:pt>
                <c:pt idx="904">
                  <c:v>0.99475524059721065</c:v>
                </c:pt>
                <c:pt idx="905">
                  <c:v>0.99478724472572189</c:v>
                </c:pt>
                <c:pt idx="906">
                  <c:v>0.99481922747538976</c:v>
                </c:pt>
                <c:pt idx="907">
                  <c:v>0.99485119953563594</c:v>
                </c:pt>
                <c:pt idx="908">
                  <c:v>0.99488217747966579</c:v>
                </c:pt>
                <c:pt idx="909">
                  <c:v>0.9949130592189005</c:v>
                </c:pt>
                <c:pt idx="910">
                  <c:v>0.99494386613218344</c:v>
                </c:pt>
                <c:pt idx="911">
                  <c:v>0.99497463028777966</c:v>
                </c:pt>
                <c:pt idx="912">
                  <c:v>0.99500529823858086</c:v>
                </c:pt>
                <c:pt idx="913">
                  <c:v>0.99503575240094844</c:v>
                </c:pt>
                <c:pt idx="914">
                  <c:v>0.99506619587389433</c:v>
                </c:pt>
                <c:pt idx="915">
                  <c:v>0.99509652710791252</c:v>
                </c:pt>
                <c:pt idx="916">
                  <c:v>0.99512684230779824</c:v>
                </c:pt>
                <c:pt idx="917">
                  <c:v>0.99515711474999724</c:v>
                </c:pt>
                <c:pt idx="918">
                  <c:v>0.99518726426384685</c:v>
                </c:pt>
                <c:pt idx="919">
                  <c:v>0.99521729619405797</c:v>
                </c:pt>
                <c:pt idx="920">
                  <c:v>0.99524729605600404</c:v>
                </c:pt>
                <c:pt idx="921">
                  <c:v>0.99527724247084171</c:v>
                </c:pt>
                <c:pt idx="922">
                  <c:v>0.99530680406649896</c:v>
                </c:pt>
                <c:pt idx="923">
                  <c:v>0.99533633893860196</c:v>
                </c:pt>
                <c:pt idx="924">
                  <c:v>0.99536572950351232</c:v>
                </c:pt>
                <c:pt idx="925">
                  <c:v>0.99539477800692888</c:v>
                </c:pt>
                <c:pt idx="926">
                  <c:v>0.99542361272191182</c:v>
                </c:pt>
                <c:pt idx="927">
                  <c:v>0.99545222830375035</c:v>
                </c:pt>
                <c:pt idx="928">
                  <c:v>0.99548046975583004</c:v>
                </c:pt>
                <c:pt idx="929">
                  <c:v>0.99550860965840382</c:v>
                </c:pt>
                <c:pt idx="930">
                  <c:v>0.99553662663262821</c:v>
                </c:pt>
                <c:pt idx="931">
                  <c:v>0.99556433895833474</c:v>
                </c:pt>
                <c:pt idx="932">
                  <c:v>0.99559178939321002</c:v>
                </c:pt>
                <c:pt idx="933">
                  <c:v>0.99561919707039859</c:v>
                </c:pt>
                <c:pt idx="934">
                  <c:v>0.99564614510245497</c:v>
                </c:pt>
                <c:pt idx="935">
                  <c:v>0.99567298089558365</c:v>
                </c:pt>
                <c:pt idx="936">
                  <c:v>0.99569969376036305</c:v>
                </c:pt>
                <c:pt idx="937">
                  <c:v>0.99572626766266059</c:v>
                </c:pt>
                <c:pt idx="938">
                  <c:v>0.99575273467074132</c:v>
                </c:pt>
                <c:pt idx="939">
                  <c:v>0.99577910012931614</c:v>
                </c:pt>
                <c:pt idx="940">
                  <c:v>0.9958054388643367</c:v>
                </c:pt>
                <c:pt idx="941">
                  <c:v>0.99583174553109222</c:v>
                </c:pt>
                <c:pt idx="942">
                  <c:v>0.99585789185652251</c:v>
                </c:pt>
                <c:pt idx="943">
                  <c:v>0.9958837656017</c:v>
                </c:pt>
                <c:pt idx="944">
                  <c:v>0.99590960727861244</c:v>
                </c:pt>
                <c:pt idx="945">
                  <c:v>0.99593530464833224</c:v>
                </c:pt>
                <c:pt idx="946">
                  <c:v>0.99596095391565442</c:v>
                </c:pt>
                <c:pt idx="947">
                  <c:v>0.99598653370173573</c:v>
                </c:pt>
                <c:pt idx="948">
                  <c:v>0.99601210814310615</c:v>
                </c:pt>
                <c:pt idx="949">
                  <c:v>0.99603751689844056</c:v>
                </c:pt>
                <c:pt idx="950">
                  <c:v>0.99606289358550992</c:v>
                </c:pt>
                <c:pt idx="951">
                  <c:v>0.99608790683224213</c:v>
                </c:pt>
                <c:pt idx="952">
                  <c:v>0.99611282387417921</c:v>
                </c:pt>
                <c:pt idx="953">
                  <c:v>0.99613770350314046</c:v>
                </c:pt>
                <c:pt idx="954">
                  <c:v>0.99616251365086073</c:v>
                </c:pt>
                <c:pt idx="955">
                  <c:v>0.99618715276783409</c:v>
                </c:pt>
                <c:pt idx="956">
                  <c:v>0.9962117705059641</c:v>
                </c:pt>
                <c:pt idx="957">
                  <c:v>0.99623613704268466</c:v>
                </c:pt>
                <c:pt idx="958">
                  <c:v>0.99626017755204399</c:v>
                </c:pt>
                <c:pt idx="959">
                  <c:v>0.99628338963122309</c:v>
                </c:pt>
                <c:pt idx="960">
                  <c:v>0.99630658567626962</c:v>
                </c:pt>
                <c:pt idx="961">
                  <c:v>0.99632974430834031</c:v>
                </c:pt>
                <c:pt idx="962">
                  <c:v>0.99635288156156765</c:v>
                </c:pt>
                <c:pt idx="963">
                  <c:v>0.99637596002297568</c:v>
                </c:pt>
                <c:pt idx="964">
                  <c:v>0.99639892624545612</c:v>
                </c:pt>
                <c:pt idx="965">
                  <c:v>0.99642184971024983</c:v>
                </c:pt>
                <c:pt idx="966">
                  <c:v>0.99644468765967009</c:v>
                </c:pt>
                <c:pt idx="967">
                  <c:v>0.99646702855098224</c:v>
                </c:pt>
                <c:pt idx="968">
                  <c:v>0.99648928392692093</c:v>
                </c:pt>
                <c:pt idx="969">
                  <c:v>0.99651143240864282</c:v>
                </c:pt>
                <c:pt idx="970">
                  <c:v>0.99653355416681044</c:v>
                </c:pt>
                <c:pt idx="971">
                  <c:v>0.99655561178844798</c:v>
                </c:pt>
                <c:pt idx="972">
                  <c:v>0.99657754648173624</c:v>
                </c:pt>
                <c:pt idx="973">
                  <c:v>0.9965994223832052</c:v>
                </c:pt>
                <c:pt idx="974">
                  <c:v>0.99662123414814408</c:v>
                </c:pt>
                <c:pt idx="975">
                  <c:v>0.9966430191895288</c:v>
                </c:pt>
                <c:pt idx="976">
                  <c:v>0.99666468130256414</c:v>
                </c:pt>
                <c:pt idx="977">
                  <c:v>0.99668630065791275</c:v>
                </c:pt>
                <c:pt idx="978">
                  <c:v>0.9967079039791289</c:v>
                </c:pt>
                <c:pt idx="979">
                  <c:v>0.99672947523208</c:v>
                </c:pt>
                <c:pt idx="980">
                  <c:v>0.99675076856006739</c:v>
                </c:pt>
                <c:pt idx="981">
                  <c:v>0.99677183206548869</c:v>
                </c:pt>
                <c:pt idx="982">
                  <c:v>0.99679284746851238</c:v>
                </c:pt>
                <c:pt idx="983">
                  <c:v>0.99681362235954829</c:v>
                </c:pt>
                <c:pt idx="984">
                  <c:v>0.99683438121645163</c:v>
                </c:pt>
                <c:pt idx="985">
                  <c:v>0.99685512938393328</c:v>
                </c:pt>
                <c:pt idx="986">
                  <c:v>0.99687585617257168</c:v>
                </c:pt>
                <c:pt idx="987">
                  <c:v>0.99689656158236672</c:v>
                </c:pt>
                <c:pt idx="988">
                  <c:v>0.99691722423447504</c:v>
                </c:pt>
                <c:pt idx="989">
                  <c:v>0.99693784947360742</c:v>
                </c:pt>
                <c:pt idx="990">
                  <c:v>0.99695845867860733</c:v>
                </c:pt>
                <c:pt idx="991">
                  <c:v>0.9969790304706313</c:v>
                </c:pt>
                <c:pt idx="992">
                  <c:v>0.99699931899298078</c:v>
                </c:pt>
                <c:pt idx="993">
                  <c:v>0.99701954337880017</c:v>
                </c:pt>
                <c:pt idx="994">
                  <c:v>0.99703951121849921</c:v>
                </c:pt>
                <c:pt idx="995">
                  <c:v>0.99705942026637895</c:v>
                </c:pt>
                <c:pt idx="996">
                  <c:v>0.99707925983301782</c:v>
                </c:pt>
                <c:pt idx="997">
                  <c:v>0.99709898716072909</c:v>
                </c:pt>
                <c:pt idx="998">
                  <c:v>0.99711860224951265</c:v>
                </c:pt>
                <c:pt idx="999">
                  <c:v>0.99713817992532039</c:v>
                </c:pt>
                <c:pt idx="1000">
                  <c:v>0.99715764536220042</c:v>
                </c:pt>
                <c:pt idx="1001">
                  <c:v>0.99717704666255036</c:v>
                </c:pt>
                <c:pt idx="1002">
                  <c:v>0.99719635710281607</c:v>
                </c:pt>
                <c:pt idx="1003">
                  <c:v>0.99721563013010583</c:v>
                </c:pt>
                <c:pt idx="1004">
                  <c:v>0.99723480160788969</c:v>
                </c:pt>
                <c:pt idx="1005">
                  <c:v>0.9972539356726976</c:v>
                </c:pt>
                <c:pt idx="1006">
                  <c:v>0.99727300560097554</c:v>
                </c:pt>
                <c:pt idx="1007">
                  <c:v>0.99729200604801249</c:v>
                </c:pt>
                <c:pt idx="1008">
                  <c:v>0.9973108087407484</c:v>
                </c:pt>
                <c:pt idx="1009">
                  <c:v>0.99732950988397828</c:v>
                </c:pt>
                <c:pt idx="1010">
                  <c:v>0.99734821102720816</c:v>
                </c:pt>
                <c:pt idx="1011">
                  <c:v>0.997366880102173</c:v>
                </c:pt>
                <c:pt idx="1012">
                  <c:v>0.99738547435118607</c:v>
                </c:pt>
                <c:pt idx="1013">
                  <c:v>0.99740395101656065</c:v>
                </c:pt>
                <c:pt idx="1014">
                  <c:v>0.99742238492424851</c:v>
                </c:pt>
                <c:pt idx="1015">
                  <c:v>0.99744080814251468</c:v>
                </c:pt>
                <c:pt idx="1016">
                  <c:v>0.99745903360647981</c:v>
                </c:pt>
                <c:pt idx="1017">
                  <c:v>0.99747680477002354</c:v>
                </c:pt>
                <c:pt idx="1018">
                  <c:v>0.99749445300521788</c:v>
                </c:pt>
                <c:pt idx="1019">
                  <c:v>0.99751208520627976</c:v>
                </c:pt>
                <c:pt idx="1020">
                  <c:v>0.99752953568717306</c:v>
                </c:pt>
                <c:pt idx="1021">
                  <c:v>0.99754697547864468</c:v>
                </c:pt>
                <c:pt idx="1022">
                  <c:v>0.99756432441003207</c:v>
                </c:pt>
                <c:pt idx="1023">
                  <c:v>0.99758125645397389</c:v>
                </c:pt>
                <c:pt idx="1024">
                  <c:v>0.99759814574022898</c:v>
                </c:pt>
                <c:pt idx="1025">
                  <c:v>0.99761494951111063</c:v>
                </c:pt>
                <c:pt idx="1026">
                  <c:v>0.99763172655843801</c:v>
                </c:pt>
                <c:pt idx="1027">
                  <c:v>0.99764841809039195</c:v>
                </c:pt>
                <c:pt idx="1028">
                  <c:v>0.9976650454858158</c:v>
                </c:pt>
                <c:pt idx="1029">
                  <c:v>0.99768167288123966</c:v>
                </c:pt>
                <c:pt idx="1030">
                  <c:v>0.99769804907525406</c:v>
                </c:pt>
                <c:pt idx="1031">
                  <c:v>0.99771442526926846</c:v>
                </c:pt>
                <c:pt idx="1032">
                  <c:v>0.99773057698542755</c:v>
                </c:pt>
                <c:pt idx="1033">
                  <c:v>0.99774665922034578</c:v>
                </c:pt>
                <c:pt idx="1034">
                  <c:v>0.99776266662931223</c:v>
                </c:pt>
                <c:pt idx="1035">
                  <c:v>0.99777856714406188</c:v>
                </c:pt>
                <c:pt idx="1036">
                  <c:v>0.99779444627996816</c:v>
                </c:pt>
                <c:pt idx="1037">
                  <c:v>0.99781027731347682</c:v>
                </c:pt>
                <c:pt idx="1038">
                  <c:v>0.99782604955516629</c:v>
                </c:pt>
                <c:pt idx="1039">
                  <c:v>0.99784169352379559</c:v>
                </c:pt>
                <c:pt idx="1040">
                  <c:v>0.99785728404531648</c:v>
                </c:pt>
                <c:pt idx="1041">
                  <c:v>0.99787263939956039</c:v>
                </c:pt>
                <c:pt idx="1042">
                  <c:v>0.99788776493123821</c:v>
                </c:pt>
                <c:pt idx="1043">
                  <c:v>0.99790277822398832</c:v>
                </c:pt>
                <c:pt idx="1044">
                  <c:v>0.9979177541037626</c:v>
                </c:pt>
                <c:pt idx="1045">
                  <c:v>0.99793267119171769</c:v>
                </c:pt>
                <c:pt idx="1046">
                  <c:v>0.99794738518066084</c:v>
                </c:pt>
                <c:pt idx="1047">
                  <c:v>0.9979620350330739</c:v>
                </c:pt>
                <c:pt idx="1048">
                  <c:v>0.99797656195713758</c:v>
                </c:pt>
                <c:pt idx="1049">
                  <c:v>0.99799104077880374</c:v>
                </c:pt>
                <c:pt idx="1050">
                  <c:v>0.9980054661533615</c:v>
                </c:pt>
                <c:pt idx="1051">
                  <c:v>0.99801982204667827</c:v>
                </c:pt>
                <c:pt idx="1052">
                  <c:v>0.99803408707991081</c:v>
                </c:pt>
                <c:pt idx="1053">
                  <c:v>0.99804814901413141</c:v>
                </c:pt>
                <c:pt idx="1054">
                  <c:v>0.99806209870942442</c:v>
                </c:pt>
                <c:pt idx="1055">
                  <c:v>0.99807580789272954</c:v>
                </c:pt>
                <c:pt idx="1056">
                  <c:v>0.99808947431834794</c:v>
                </c:pt>
                <c:pt idx="1057">
                  <c:v>0.99810313539925555</c:v>
                </c:pt>
                <c:pt idx="1058">
                  <c:v>0.99811678579074148</c:v>
                </c:pt>
                <c:pt idx="1059">
                  <c:v>0.99813043618222741</c:v>
                </c:pt>
                <c:pt idx="1060">
                  <c:v>0.99814408657371334</c:v>
                </c:pt>
                <c:pt idx="1061">
                  <c:v>0.99815771558635591</c:v>
                </c:pt>
                <c:pt idx="1062">
                  <c:v>0.99817117356825158</c:v>
                </c:pt>
                <c:pt idx="1063">
                  <c:v>0.99818462086072557</c:v>
                </c:pt>
                <c:pt idx="1064">
                  <c:v>0.99819805746377788</c:v>
                </c:pt>
                <c:pt idx="1065">
                  <c:v>0.99821147803269761</c:v>
                </c:pt>
                <c:pt idx="1066">
                  <c:v>0.99822479705211142</c:v>
                </c:pt>
                <c:pt idx="1067">
                  <c:v>0.99823805727970605</c:v>
                </c:pt>
                <c:pt idx="1068">
                  <c:v>0.99825128009432473</c:v>
                </c:pt>
                <c:pt idx="1069">
                  <c:v>0.99826420360513635</c:v>
                </c:pt>
                <c:pt idx="1070">
                  <c:v>0.99827694539577938</c:v>
                </c:pt>
                <c:pt idx="1071">
                  <c:v>0.99828967649700073</c:v>
                </c:pt>
                <c:pt idx="1072">
                  <c:v>0.99830239156408962</c:v>
                </c:pt>
                <c:pt idx="1073">
                  <c:v>0.99831507456291346</c:v>
                </c:pt>
                <c:pt idx="1074">
                  <c:v>0.99832767739107464</c:v>
                </c:pt>
                <c:pt idx="1075">
                  <c:v>0.99834017332501901</c:v>
                </c:pt>
                <c:pt idx="1076">
                  <c:v>0.99835262650127665</c:v>
                </c:pt>
                <c:pt idx="1077">
                  <c:v>0.99836487123381157</c:v>
                </c:pt>
                <c:pt idx="1078">
                  <c:v>0.99837706786394897</c:v>
                </c:pt>
                <c:pt idx="1079">
                  <c:v>0.99838921639168876</c:v>
                </c:pt>
                <c:pt idx="1080">
                  <c:v>0.99840134354058518</c:v>
                </c:pt>
                <c:pt idx="1081">
                  <c:v>0.99841342793179488</c:v>
                </c:pt>
                <c:pt idx="1082">
                  <c:v>0.9984255069782938</c:v>
                </c:pt>
                <c:pt idx="1083">
                  <c:v>0.99843755930123845</c:v>
                </c:pt>
                <c:pt idx="1084">
                  <c:v>0.99844959024533975</c:v>
                </c:pt>
                <c:pt idx="1085">
                  <c:v>0.99846154101877849</c:v>
                </c:pt>
                <c:pt idx="1086">
                  <c:v>0.99847338489800042</c:v>
                </c:pt>
                <c:pt idx="1087">
                  <c:v>0.99848514860655968</c:v>
                </c:pt>
                <c:pt idx="1088">
                  <c:v>0.99849686955743222</c:v>
                </c:pt>
                <c:pt idx="1089">
                  <c:v>0.99850854240590725</c:v>
                </c:pt>
                <c:pt idx="1090">
                  <c:v>0.99852002284479202</c:v>
                </c:pt>
                <c:pt idx="1091">
                  <c:v>0.99853142845772502</c:v>
                </c:pt>
                <c:pt idx="1092">
                  <c:v>0.9985427966576822</c:v>
                </c:pt>
                <c:pt idx="1093">
                  <c:v>0.99855401520573583</c:v>
                </c:pt>
                <c:pt idx="1094">
                  <c:v>0.99856520703023521</c:v>
                </c:pt>
                <c:pt idx="1095">
                  <c:v>0.99857639351002381</c:v>
                </c:pt>
                <c:pt idx="1096">
                  <c:v>0.99858750516386063</c:v>
                </c:pt>
                <c:pt idx="1097">
                  <c:v>0.99859857406001074</c:v>
                </c:pt>
                <c:pt idx="1098">
                  <c:v>0.99860956813020907</c:v>
                </c:pt>
                <c:pt idx="1099">
                  <c:v>0.99862046599561227</c:v>
                </c:pt>
                <c:pt idx="1100">
                  <c:v>0.99863125696679866</c:v>
                </c:pt>
                <c:pt idx="1101">
                  <c:v>0.99864198380145497</c:v>
                </c:pt>
                <c:pt idx="1102">
                  <c:v>0.99865271063611127</c:v>
                </c:pt>
                <c:pt idx="1103">
                  <c:v>0.99866342143663511</c:v>
                </c:pt>
                <c:pt idx="1104">
                  <c:v>0.99867413223715895</c:v>
                </c:pt>
                <c:pt idx="1105">
                  <c:v>0.99868483234826111</c:v>
                </c:pt>
                <c:pt idx="1106">
                  <c:v>0.9986955110805199</c:v>
                </c:pt>
                <c:pt idx="1107">
                  <c:v>0.9987061844680678</c:v>
                </c:pt>
                <c:pt idx="1108">
                  <c:v>0.99871675096139889</c:v>
                </c:pt>
                <c:pt idx="1109">
                  <c:v>0.99872723728406743</c:v>
                </c:pt>
                <c:pt idx="1110">
                  <c:v>0.99873760602309747</c:v>
                </c:pt>
                <c:pt idx="1111">
                  <c:v>0.99874794269386247</c:v>
                </c:pt>
                <c:pt idx="1112">
                  <c:v>0.99875823660694074</c:v>
                </c:pt>
                <c:pt idx="1113">
                  <c:v>0.99876841828109131</c:v>
                </c:pt>
                <c:pt idx="1114">
                  <c:v>0.99877841289036251</c:v>
                </c:pt>
                <c:pt idx="1115">
                  <c:v>0.99878838612079035</c:v>
                </c:pt>
                <c:pt idx="1116">
                  <c:v>0.99879835935121819</c:v>
                </c:pt>
                <c:pt idx="1117">
                  <c:v>0.99880832189222435</c:v>
                </c:pt>
                <c:pt idx="1118">
                  <c:v>0.99881819357314627</c:v>
                </c:pt>
                <c:pt idx="1119">
                  <c:v>0.99882786215505626</c:v>
                </c:pt>
                <c:pt idx="1120">
                  <c:v>0.99883750401341198</c:v>
                </c:pt>
                <c:pt idx="1121">
                  <c:v>0.99884711914821356</c:v>
                </c:pt>
                <c:pt idx="1122">
                  <c:v>0.99885663273350911</c:v>
                </c:pt>
                <c:pt idx="1123">
                  <c:v>0.99886607683756379</c:v>
                </c:pt>
                <c:pt idx="1124">
                  <c:v>0.99887551559690757</c:v>
                </c:pt>
                <c:pt idx="1125">
                  <c:v>0.99888478332550446</c:v>
                </c:pt>
                <c:pt idx="1126">
                  <c:v>0.99889405105410134</c:v>
                </c:pt>
                <c:pt idx="1127">
                  <c:v>0.99890323861203567</c:v>
                </c:pt>
                <c:pt idx="1128">
                  <c:v>0.99891241013583743</c:v>
                </c:pt>
                <c:pt idx="1129">
                  <c:v>0.99892149614426584</c:v>
                </c:pt>
                <c:pt idx="1130">
                  <c:v>0.9989305607738509</c:v>
                </c:pt>
                <c:pt idx="1131">
                  <c:v>0.9989395398880625</c:v>
                </c:pt>
                <c:pt idx="1132">
                  <c:v>0.99894848158929817</c:v>
                </c:pt>
                <c:pt idx="1133">
                  <c:v>0.99895732174102791</c:v>
                </c:pt>
                <c:pt idx="1134">
                  <c:v>0.99896615654804677</c:v>
                </c:pt>
                <c:pt idx="1135">
                  <c:v>0.99897496463151148</c:v>
                </c:pt>
                <c:pt idx="1136">
                  <c:v>0.9989837620255545</c:v>
                </c:pt>
                <c:pt idx="1137">
                  <c:v>0.99899230287347718</c:v>
                </c:pt>
                <c:pt idx="1138">
                  <c:v>0.99900081165313481</c:v>
                </c:pt>
                <c:pt idx="1139">
                  <c:v>0.99900930439865987</c:v>
                </c:pt>
                <c:pt idx="1140">
                  <c:v>0.99901755128748637</c:v>
                </c:pt>
                <c:pt idx="1141">
                  <c:v>0.99902578748689119</c:v>
                </c:pt>
                <c:pt idx="1142">
                  <c:v>0.99903401299687433</c:v>
                </c:pt>
                <c:pt idx="1143">
                  <c:v>0.99904177886172518</c:v>
                </c:pt>
                <c:pt idx="1144">
                  <c:v>0.99904952869244346</c:v>
                </c:pt>
                <c:pt idx="1145">
                  <c:v>0.99905726783374005</c:v>
                </c:pt>
                <c:pt idx="1146">
                  <c:v>0.99906499628561496</c:v>
                </c:pt>
                <c:pt idx="1147">
                  <c:v>0.99907263922211642</c:v>
                </c:pt>
                <c:pt idx="1148">
                  <c:v>0.9990802180220878</c:v>
                </c:pt>
                <c:pt idx="1149">
                  <c:v>0.99908779682205917</c:v>
                </c:pt>
                <c:pt idx="1150">
                  <c:v>0.99909533820905472</c:v>
                </c:pt>
                <c:pt idx="1151">
                  <c:v>0.99910281011480928</c:v>
                </c:pt>
                <c:pt idx="1152">
                  <c:v>0.99911013236866042</c:v>
                </c:pt>
                <c:pt idx="1153">
                  <c:v>0.9991174332436682</c:v>
                </c:pt>
                <c:pt idx="1154">
                  <c:v>0.99912462722445916</c:v>
                </c:pt>
                <c:pt idx="1155">
                  <c:v>0.99913176775814172</c:v>
                </c:pt>
                <c:pt idx="1156">
                  <c:v>0.99913884415529419</c:v>
                </c:pt>
                <c:pt idx="1157">
                  <c:v>0.99914578693467559</c:v>
                </c:pt>
                <c:pt idx="1158">
                  <c:v>0.99915272436934621</c:v>
                </c:pt>
                <c:pt idx="1159">
                  <c:v>0.99915965645930593</c:v>
                </c:pt>
                <c:pt idx="1160">
                  <c:v>0.99916656717042229</c:v>
                </c:pt>
                <c:pt idx="1161">
                  <c:v>0.99917341374500857</c:v>
                </c:pt>
                <c:pt idx="1162">
                  <c:v>0.99918019083835397</c:v>
                </c:pt>
                <c:pt idx="1163">
                  <c:v>0.99918691982930175</c:v>
                </c:pt>
                <c:pt idx="1164">
                  <c:v>0.99919364347553874</c:v>
                </c:pt>
                <c:pt idx="1165">
                  <c:v>0.99920036177706484</c:v>
                </c:pt>
                <c:pt idx="1166">
                  <c:v>0.99920704266561511</c:v>
                </c:pt>
                <c:pt idx="1167">
                  <c:v>0.9992137075200328</c:v>
                </c:pt>
                <c:pt idx="1168">
                  <c:v>0.99922035634031803</c:v>
                </c:pt>
                <c:pt idx="1169">
                  <c:v>0.99922696774762743</c:v>
                </c:pt>
                <c:pt idx="1170">
                  <c:v>0.99923355777609346</c:v>
                </c:pt>
                <c:pt idx="1171">
                  <c:v>0.9992401478045595</c:v>
                </c:pt>
                <c:pt idx="1172">
                  <c:v>0.99924672714360385</c:v>
                </c:pt>
                <c:pt idx="1173">
                  <c:v>0.99925327975909395</c:v>
                </c:pt>
                <c:pt idx="1174">
                  <c:v>0.99925978427218654</c:v>
                </c:pt>
                <c:pt idx="1175">
                  <c:v>0.99926628878527912</c:v>
                </c:pt>
                <c:pt idx="1176">
                  <c:v>0.99927275054068498</c:v>
                </c:pt>
                <c:pt idx="1177">
                  <c:v>0.99927920160666917</c:v>
                </c:pt>
                <c:pt idx="1178">
                  <c:v>0.99928562594909909</c:v>
                </c:pt>
                <c:pt idx="1179">
                  <c:v>0.99929205029152901</c:v>
                </c:pt>
                <c:pt idx="1180">
                  <c:v>0.99929846394453725</c:v>
                </c:pt>
                <c:pt idx="1181">
                  <c:v>0.99930486156341303</c:v>
                </c:pt>
                <c:pt idx="1182">
                  <c:v>0.99931123245873454</c:v>
                </c:pt>
                <c:pt idx="1183">
                  <c:v>0.99931754990694766</c:v>
                </c:pt>
                <c:pt idx="1184">
                  <c:v>0.99932386201044998</c:v>
                </c:pt>
                <c:pt idx="1185">
                  <c:v>0.99933014739039805</c:v>
                </c:pt>
                <c:pt idx="1186">
                  <c:v>0.99933640070208107</c:v>
                </c:pt>
                <c:pt idx="1187">
                  <c:v>0.99934264332434242</c:v>
                </c:pt>
                <c:pt idx="1188">
                  <c:v>0.99934877905238695</c:v>
                </c:pt>
                <c:pt idx="1189">
                  <c:v>0.99935489340158812</c:v>
                </c:pt>
                <c:pt idx="1190">
                  <c:v>0.99936091689070505</c:v>
                </c:pt>
                <c:pt idx="1191">
                  <c:v>0.9993668762432919</c:v>
                </c:pt>
                <c:pt idx="1192">
                  <c:v>0.99937283559587875</c:v>
                </c:pt>
                <c:pt idx="1193">
                  <c:v>0.99937878425904392</c:v>
                </c:pt>
                <c:pt idx="1194">
                  <c:v>0.99938471688807651</c:v>
                </c:pt>
                <c:pt idx="1195">
                  <c:v>0.99939057469115733</c:v>
                </c:pt>
                <c:pt idx="1196">
                  <c:v>0.99939642180481647</c:v>
                </c:pt>
                <c:pt idx="1197">
                  <c:v>0.99940217805839138</c:v>
                </c:pt>
                <c:pt idx="1198">
                  <c:v>0.99940790224370124</c:v>
                </c:pt>
                <c:pt idx="1199">
                  <c:v>0.99941358901603528</c:v>
                </c:pt>
                <c:pt idx="1200">
                  <c:v>0.99941924372010427</c:v>
                </c:pt>
                <c:pt idx="1201">
                  <c:v>0.9994248770453299</c:v>
                </c:pt>
                <c:pt idx="1202">
                  <c:v>0.99943041951047118</c:v>
                </c:pt>
                <c:pt idx="1203">
                  <c:v>0.99943595663090168</c:v>
                </c:pt>
                <c:pt idx="1204">
                  <c:v>0.99944148840662128</c:v>
                </c:pt>
                <c:pt idx="1205">
                  <c:v>0.99944696139052169</c:v>
                </c:pt>
                <c:pt idx="1206">
                  <c:v>0.99945241834028953</c:v>
                </c:pt>
                <c:pt idx="1207">
                  <c:v>0.99945784856650322</c:v>
                </c:pt>
                <c:pt idx="1208">
                  <c:v>0.99946320396676513</c:v>
                </c:pt>
                <c:pt idx="1209">
                  <c:v>0.99946853798818369</c:v>
                </c:pt>
                <c:pt idx="1210">
                  <c:v>0.99947386132018057</c:v>
                </c:pt>
                <c:pt idx="1211">
                  <c:v>0.99947918465217744</c:v>
                </c:pt>
                <c:pt idx="1212">
                  <c:v>0.99948448660533096</c:v>
                </c:pt>
                <c:pt idx="1213">
                  <c:v>0.99948977786906279</c:v>
                </c:pt>
                <c:pt idx="1214">
                  <c:v>0.99949498361742117</c:v>
                </c:pt>
                <c:pt idx="1215">
                  <c:v>0.99950003971387602</c:v>
                </c:pt>
                <c:pt idx="1216">
                  <c:v>0.99950508512090919</c:v>
                </c:pt>
                <c:pt idx="1217">
                  <c:v>0.99951010914909899</c:v>
                </c:pt>
                <c:pt idx="1218">
                  <c:v>0.99951502628307198</c:v>
                </c:pt>
                <c:pt idx="1219">
                  <c:v>0.99951993807233419</c:v>
                </c:pt>
                <c:pt idx="1220">
                  <c:v>0.99952483382746382</c:v>
                </c:pt>
                <c:pt idx="1221">
                  <c:v>0.99952972958259345</c:v>
                </c:pt>
                <c:pt idx="1222">
                  <c:v>0.99953451844350627</c:v>
                </c:pt>
                <c:pt idx="1223">
                  <c:v>0.99953930730441909</c:v>
                </c:pt>
                <c:pt idx="1224">
                  <c:v>0.99954406944177776</c:v>
                </c:pt>
                <c:pt idx="1225">
                  <c:v>0.99954878347673881</c:v>
                </c:pt>
                <c:pt idx="1226">
                  <c:v>0.99955340130690473</c:v>
                </c:pt>
                <c:pt idx="1227">
                  <c:v>0.99955800310293819</c:v>
                </c:pt>
                <c:pt idx="1228">
                  <c:v>0.99956259955426074</c:v>
                </c:pt>
                <c:pt idx="1229">
                  <c:v>0.99956719066087252</c:v>
                </c:pt>
                <c:pt idx="1230">
                  <c:v>0.99957175504393003</c:v>
                </c:pt>
                <c:pt idx="1231">
                  <c:v>0.99958077691582825</c:v>
                </c:pt>
                <c:pt idx="1232">
                  <c:v>0.99958523440466895</c:v>
                </c:pt>
                <c:pt idx="1233">
                  <c:v>0.99958968120408798</c:v>
                </c:pt>
                <c:pt idx="1234">
                  <c:v>0.99959411196937453</c:v>
                </c:pt>
                <c:pt idx="1235">
                  <c:v>0.99959850532168515</c:v>
                </c:pt>
                <c:pt idx="1236">
                  <c:v>0.99960289332928498</c:v>
                </c:pt>
                <c:pt idx="1237">
                  <c:v>0.99960722254506551</c:v>
                </c:pt>
                <c:pt idx="1238">
                  <c:v>0.99961138607481004</c:v>
                </c:pt>
                <c:pt idx="1239">
                  <c:v>0.99961552288100042</c:v>
                </c:pt>
                <c:pt idx="1240">
                  <c:v>0.9996196543424799</c:v>
                </c:pt>
                <c:pt idx="1241">
                  <c:v>0.99962376976982692</c:v>
                </c:pt>
                <c:pt idx="1242">
                  <c:v>0.99962787985246304</c:v>
                </c:pt>
                <c:pt idx="1243">
                  <c:v>0.99963196321154502</c:v>
                </c:pt>
                <c:pt idx="1244">
                  <c:v>0.99963604122591609</c:v>
                </c:pt>
                <c:pt idx="1245">
                  <c:v>0.99964006044846798</c:v>
                </c:pt>
                <c:pt idx="1246">
                  <c:v>0.99964404760275483</c:v>
                </c:pt>
                <c:pt idx="1247">
                  <c:v>0.99964799734406573</c:v>
                </c:pt>
                <c:pt idx="1248">
                  <c:v>0.99965193105124417</c:v>
                </c:pt>
                <c:pt idx="1249">
                  <c:v>0.99965582200073588</c:v>
                </c:pt>
                <c:pt idx="1250">
                  <c:v>0.99965969691609502</c:v>
                </c:pt>
                <c:pt idx="1251">
                  <c:v>0.99966356648674337</c:v>
                </c:pt>
                <c:pt idx="1252">
                  <c:v>0.99966742536797004</c:v>
                </c:pt>
                <c:pt idx="1253">
                  <c:v>0.99967124683622077</c:v>
                </c:pt>
                <c:pt idx="1254">
                  <c:v>0.99967495072083301</c:v>
                </c:pt>
                <c:pt idx="1255">
                  <c:v>0.99967858512420438</c:v>
                </c:pt>
                <c:pt idx="1256">
                  <c:v>0.99968221952757574</c:v>
                </c:pt>
                <c:pt idx="1257">
                  <c:v>0.99968580582854949</c:v>
                </c:pt>
                <c:pt idx="1258">
                  <c:v>0.99968938678481245</c:v>
                </c:pt>
                <c:pt idx="1259">
                  <c:v>0.99969294636223205</c:v>
                </c:pt>
                <c:pt idx="1260">
                  <c:v>0.99969647921609739</c:v>
                </c:pt>
                <c:pt idx="1261">
                  <c:v>0.99970001206996273</c:v>
                </c:pt>
                <c:pt idx="1262">
                  <c:v>0.99970351820027392</c:v>
                </c:pt>
                <c:pt idx="1263">
                  <c:v>0.99970700829645254</c:v>
                </c:pt>
                <c:pt idx="1264">
                  <c:v>0.99971046632436611</c:v>
                </c:pt>
                <c:pt idx="1265">
                  <c:v>0.999713913662858</c:v>
                </c:pt>
                <c:pt idx="1266">
                  <c:v>0.99971733962250653</c:v>
                </c:pt>
                <c:pt idx="1267">
                  <c:v>0.99972069075620329</c:v>
                </c:pt>
                <c:pt idx="1268">
                  <c:v>0.99972403120047837</c:v>
                </c:pt>
                <c:pt idx="1269">
                  <c:v>0.99972732354235594</c:v>
                </c:pt>
                <c:pt idx="1270">
                  <c:v>0.99973061588423351</c:v>
                </c:pt>
                <c:pt idx="1271">
                  <c:v>0.99973383874487021</c:v>
                </c:pt>
                <c:pt idx="1272">
                  <c:v>0.99973705091608522</c:v>
                </c:pt>
                <c:pt idx="1273">
                  <c:v>0.99974024705316766</c:v>
                </c:pt>
                <c:pt idx="1274">
                  <c:v>0.99974340043256338</c:v>
                </c:pt>
                <c:pt idx="1275">
                  <c:v>0.99974654846724831</c:v>
                </c:pt>
                <c:pt idx="1276">
                  <c:v>0.99974962167598147</c:v>
                </c:pt>
                <c:pt idx="1277">
                  <c:v>0.99974962167598147</c:v>
                </c:pt>
                <c:pt idx="1278">
                  <c:v>0.99975265747173869</c:v>
                </c:pt>
                <c:pt idx="1279">
                  <c:v>0.99975568792278513</c:v>
                </c:pt>
                <c:pt idx="1280">
                  <c:v>0.99975870768440989</c:v>
                </c:pt>
                <c:pt idx="1281">
                  <c:v>0.99976171675661296</c:v>
                </c:pt>
                <c:pt idx="1282">
                  <c:v>0.99976472048410514</c:v>
                </c:pt>
                <c:pt idx="1283">
                  <c:v>0.99976770817746485</c:v>
                </c:pt>
                <c:pt idx="1284">
                  <c:v>0.99977360339352161</c:v>
                </c:pt>
                <c:pt idx="1285">
                  <c:v>0.99977654298448371</c:v>
                </c:pt>
                <c:pt idx="1286">
                  <c:v>0.99977945050718076</c:v>
                </c:pt>
                <c:pt idx="1287">
                  <c:v>0.99978235268516702</c:v>
                </c:pt>
                <c:pt idx="1288">
                  <c:v>0.99978525486315328</c:v>
                </c:pt>
                <c:pt idx="1289">
                  <c:v>0.99978814635171787</c:v>
                </c:pt>
                <c:pt idx="1290">
                  <c:v>0.99979100042730651</c:v>
                </c:pt>
                <c:pt idx="1291">
                  <c:v>0.99979384915818437</c:v>
                </c:pt>
                <c:pt idx="1292">
                  <c:v>0.99979667651021886</c:v>
                </c:pt>
                <c:pt idx="1293">
                  <c:v>0.9997994771386991</c:v>
                </c:pt>
                <c:pt idx="1294">
                  <c:v>0.99980220828593847</c:v>
                </c:pt>
                <c:pt idx="1295">
                  <c:v>0.99980492339904525</c:v>
                </c:pt>
                <c:pt idx="1296">
                  <c:v>0.99980763851215204</c:v>
                </c:pt>
                <c:pt idx="1297">
                  <c:v>0.99981030017815042</c:v>
                </c:pt>
                <c:pt idx="1298">
                  <c:v>0.99981295649943802</c:v>
                </c:pt>
                <c:pt idx="1299">
                  <c:v>0.99981559144188226</c:v>
                </c:pt>
                <c:pt idx="1300">
                  <c:v>0.99981819966077223</c:v>
                </c:pt>
                <c:pt idx="1301">
                  <c:v>0.99982077046668638</c:v>
                </c:pt>
                <c:pt idx="1302">
                  <c:v>0.99982329317020291</c:v>
                </c:pt>
                <c:pt idx="1303">
                  <c:v>0.99982578915016529</c:v>
                </c:pt>
                <c:pt idx="1304">
                  <c:v>0.99982827978541677</c:v>
                </c:pt>
                <c:pt idx="1305">
                  <c:v>0.99983071697355996</c:v>
                </c:pt>
                <c:pt idx="1306">
                  <c:v>0.99983314881699226</c:v>
                </c:pt>
                <c:pt idx="1307">
                  <c:v>0.99983558066042455</c:v>
                </c:pt>
                <c:pt idx="1308">
                  <c:v>0.99983799646972438</c:v>
                </c:pt>
                <c:pt idx="1309">
                  <c:v>0.99984039624489163</c:v>
                </c:pt>
                <c:pt idx="1310">
                  <c:v>0.99984274791766137</c:v>
                </c:pt>
                <c:pt idx="1311">
                  <c:v>0.99984506217745517</c:v>
                </c:pt>
                <c:pt idx="1312">
                  <c:v>0.99984736574782729</c:v>
                </c:pt>
                <c:pt idx="1313">
                  <c:v>0.99984964259464526</c:v>
                </c:pt>
                <c:pt idx="1314">
                  <c:v>0.99985190875204155</c:v>
                </c:pt>
                <c:pt idx="1315">
                  <c:v>0.99985411077290776</c:v>
                </c:pt>
                <c:pt idx="1316">
                  <c:v>0.99985630744906306</c:v>
                </c:pt>
                <c:pt idx="1317">
                  <c:v>0.99985847205695333</c:v>
                </c:pt>
                <c:pt idx="1318">
                  <c:v>0.99986061528600023</c:v>
                </c:pt>
                <c:pt idx="1319">
                  <c:v>0.99986272644678209</c:v>
                </c:pt>
                <c:pt idx="1320">
                  <c:v>0.99986478416045554</c:v>
                </c:pt>
                <c:pt idx="1321">
                  <c:v>0.99986680980586395</c:v>
                </c:pt>
                <c:pt idx="1322">
                  <c:v>0.99986880872771822</c:v>
                </c:pt>
                <c:pt idx="1323">
                  <c:v>0.9998707969601508</c:v>
                </c:pt>
                <c:pt idx="1324">
                  <c:v>0.99987275312431834</c:v>
                </c:pt>
                <c:pt idx="1325">
                  <c:v>0.99987470394377498</c:v>
                </c:pt>
                <c:pt idx="1326">
                  <c:v>0.99987660666083411</c:v>
                </c:pt>
                <c:pt idx="1327">
                  <c:v>0.99987850403318235</c:v>
                </c:pt>
                <c:pt idx="1328">
                  <c:v>0.99988035864784386</c:v>
                </c:pt>
                <c:pt idx="1329">
                  <c:v>0.99988221326250537</c:v>
                </c:pt>
                <c:pt idx="1330">
                  <c:v>0.9998840037406368</c:v>
                </c:pt>
                <c:pt idx="1331">
                  <c:v>0.99988577283992486</c:v>
                </c:pt>
                <c:pt idx="1332">
                  <c:v>0.99988752590508045</c:v>
                </c:pt>
                <c:pt idx="1333">
                  <c:v>0.99988927897023605</c:v>
                </c:pt>
                <c:pt idx="1334">
                  <c:v>0.9998909999671266</c:v>
                </c:pt>
                <c:pt idx="1335">
                  <c:v>0.99989269958517379</c:v>
                </c:pt>
                <c:pt idx="1336">
                  <c:v>0.99989431903255843</c:v>
                </c:pt>
                <c:pt idx="1337">
                  <c:v>0.99989590641167803</c:v>
                </c:pt>
                <c:pt idx="1338">
                  <c:v>0.99989746706724336</c:v>
                </c:pt>
                <c:pt idx="1339">
                  <c:v>0.99989898496512197</c:v>
                </c:pt>
                <c:pt idx="1340">
                  <c:v>0.9999004921735789</c:v>
                </c:pt>
                <c:pt idx="1341">
                  <c:v>0.99990199938203583</c:v>
                </c:pt>
                <c:pt idx="1342">
                  <c:v>0.99990350124578198</c:v>
                </c:pt>
                <c:pt idx="1343">
                  <c:v>0.99990498173068476</c:v>
                </c:pt>
                <c:pt idx="1344">
                  <c:v>0.99990645687087665</c:v>
                </c:pt>
                <c:pt idx="1345">
                  <c:v>0.99990787321924934</c:v>
                </c:pt>
                <c:pt idx="1346">
                  <c:v>0.99990928422291114</c:v>
                </c:pt>
                <c:pt idx="1347">
                  <c:v>0.99991068453715126</c:v>
                </c:pt>
                <c:pt idx="1348">
                  <c:v>0.99991205812783723</c:v>
                </c:pt>
                <c:pt idx="1349">
                  <c:v>0.99991341568439063</c:v>
                </c:pt>
                <c:pt idx="1350">
                  <c:v>0.99991475720681156</c:v>
                </c:pt>
                <c:pt idx="1351">
                  <c:v>0.99991608269509991</c:v>
                </c:pt>
                <c:pt idx="1352">
                  <c:v>0.99991733870214738</c:v>
                </c:pt>
                <c:pt idx="1353">
                  <c:v>0.99991858401977318</c:v>
                </c:pt>
                <c:pt idx="1354">
                  <c:v>0.99991982933739898</c:v>
                </c:pt>
                <c:pt idx="1355">
                  <c:v>0.99992106931031388</c:v>
                </c:pt>
                <c:pt idx="1356">
                  <c:v>0.99992230928322878</c:v>
                </c:pt>
                <c:pt idx="1357">
                  <c:v>0.99992354925614368</c:v>
                </c:pt>
                <c:pt idx="1358">
                  <c:v>0.9999247838843478</c:v>
                </c:pt>
                <c:pt idx="1359">
                  <c:v>0.99992600782313024</c:v>
                </c:pt>
                <c:pt idx="1360">
                  <c:v>0.99992723176191267</c:v>
                </c:pt>
                <c:pt idx="1361">
                  <c:v>0.99992843966656253</c:v>
                </c:pt>
                <c:pt idx="1362">
                  <c:v>0.99992961015823656</c:v>
                </c:pt>
                <c:pt idx="1363">
                  <c:v>0.99993076461577801</c:v>
                </c:pt>
                <c:pt idx="1364">
                  <c:v>0.99993191907331946</c:v>
                </c:pt>
                <c:pt idx="1365">
                  <c:v>0.99993306284143924</c:v>
                </c:pt>
                <c:pt idx="1366">
                  <c:v>0.99993417454129396</c:v>
                </c:pt>
                <c:pt idx="1367">
                  <c:v>0.99993523279404029</c:v>
                </c:pt>
                <c:pt idx="1368">
                  <c:v>0.99993628570207582</c:v>
                </c:pt>
                <c:pt idx="1369">
                  <c:v>0.9999373118865571</c:v>
                </c:pt>
                <c:pt idx="1370">
                  <c:v>0.99993833807103838</c:v>
                </c:pt>
                <c:pt idx="1371">
                  <c:v>0.99993936425551966</c:v>
                </c:pt>
                <c:pt idx="1372">
                  <c:v>0.99994037440586847</c:v>
                </c:pt>
                <c:pt idx="1373">
                  <c:v>0.99994137921150639</c:v>
                </c:pt>
                <c:pt idx="1374">
                  <c:v>0.9999423840171443</c:v>
                </c:pt>
                <c:pt idx="1375">
                  <c:v>0.99994338347807143</c:v>
                </c:pt>
                <c:pt idx="1376">
                  <c:v>0.99994432949189016</c:v>
                </c:pt>
                <c:pt idx="1377">
                  <c:v>0.99994527016099799</c:v>
                </c:pt>
                <c:pt idx="1378">
                  <c:v>0.99994619479597335</c:v>
                </c:pt>
                <c:pt idx="1379">
                  <c:v>0.99994711943094872</c:v>
                </c:pt>
                <c:pt idx="1380">
                  <c:v>0.99994802268708072</c:v>
                </c:pt>
                <c:pt idx="1381">
                  <c:v>0.99994888318552599</c:v>
                </c:pt>
                <c:pt idx="1382">
                  <c:v>0.99994973833926037</c:v>
                </c:pt>
                <c:pt idx="1383">
                  <c:v>0.99995059349299475</c:v>
                </c:pt>
                <c:pt idx="1384">
                  <c:v>0.99995144864672914</c:v>
                </c:pt>
                <c:pt idx="1385">
                  <c:v>0.99995311085180039</c:v>
                </c:pt>
                <c:pt idx="1386">
                  <c:v>0.99995392324784815</c:v>
                </c:pt>
                <c:pt idx="1387">
                  <c:v>0.99995473564389592</c:v>
                </c:pt>
                <c:pt idx="1388">
                  <c:v>0.99995552666110032</c:v>
                </c:pt>
                <c:pt idx="1389">
                  <c:v>0.99995631233359383</c:v>
                </c:pt>
                <c:pt idx="1390">
                  <c:v>0.99995709266137656</c:v>
                </c:pt>
                <c:pt idx="1391">
                  <c:v>0.9999578569550267</c:v>
                </c:pt>
                <c:pt idx="1392">
                  <c:v>0.99995862124867685</c:v>
                </c:pt>
                <c:pt idx="1393">
                  <c:v>0.99995938019761621</c:v>
                </c:pt>
                <c:pt idx="1394">
                  <c:v>0.99996011776771221</c:v>
                </c:pt>
                <c:pt idx="1395">
                  <c:v>0.99996085533780821</c:v>
                </c:pt>
                <c:pt idx="1396">
                  <c:v>0.99996156618434995</c:v>
                </c:pt>
                <c:pt idx="1397">
                  <c:v>0.9999622716861809</c:v>
                </c:pt>
                <c:pt idx="1398">
                  <c:v>0.99996297184330096</c:v>
                </c:pt>
                <c:pt idx="1399">
                  <c:v>0.99996367200042102</c:v>
                </c:pt>
                <c:pt idx="1400">
                  <c:v>0.99996435077869772</c:v>
                </c:pt>
                <c:pt idx="1401">
                  <c:v>0.99996502421226363</c:v>
                </c:pt>
                <c:pt idx="1402">
                  <c:v>0.99996569230111865</c:v>
                </c:pt>
                <c:pt idx="1403">
                  <c:v>0.99996636038997366</c:v>
                </c:pt>
                <c:pt idx="1404">
                  <c:v>0.99996702313411789</c:v>
                </c:pt>
                <c:pt idx="1405">
                  <c:v>0.99996768053355123</c:v>
                </c:pt>
                <c:pt idx="1406">
                  <c:v>0.99996833258827378</c:v>
                </c:pt>
                <c:pt idx="1407">
                  <c:v>0.99996897395357465</c:v>
                </c:pt>
                <c:pt idx="1408">
                  <c:v>0.99996959394003215</c:v>
                </c:pt>
                <c:pt idx="1409">
                  <c:v>0.99997020858177876</c:v>
                </c:pt>
                <c:pt idx="1410">
                  <c:v>0.99997081787881459</c:v>
                </c:pt>
                <c:pt idx="1411">
                  <c:v>0.99997140579700705</c:v>
                </c:pt>
                <c:pt idx="1412">
                  <c:v>0.99997199371519951</c:v>
                </c:pt>
                <c:pt idx="1413">
                  <c:v>0.9999725709439703</c:v>
                </c:pt>
                <c:pt idx="1414">
                  <c:v>0.9999731374833194</c:v>
                </c:pt>
                <c:pt idx="1415">
                  <c:v>0.99997368798853592</c:v>
                </c:pt>
                <c:pt idx="1416">
                  <c:v>0.99997422780433076</c:v>
                </c:pt>
                <c:pt idx="1417">
                  <c:v>0.99997476227541482</c:v>
                </c:pt>
                <c:pt idx="1418">
                  <c:v>0.99997529674649888</c:v>
                </c:pt>
                <c:pt idx="1419">
                  <c:v>0.99997582052816125</c:v>
                </c:pt>
                <c:pt idx="1420">
                  <c:v>0.99997633896511273</c:v>
                </c:pt>
                <c:pt idx="1421">
                  <c:v>0.99997685205735343</c:v>
                </c:pt>
                <c:pt idx="1422">
                  <c:v>0.99997735980488323</c:v>
                </c:pt>
                <c:pt idx="1423">
                  <c:v>0.99997785151828056</c:v>
                </c:pt>
                <c:pt idx="1424">
                  <c:v>0.99997833788696699</c:v>
                </c:pt>
                <c:pt idx="1425">
                  <c:v>0.99997879218738839</c:v>
                </c:pt>
                <c:pt idx="1426">
                  <c:v>0.99997923045367731</c:v>
                </c:pt>
                <c:pt idx="1427">
                  <c:v>0.99997966337525535</c:v>
                </c:pt>
                <c:pt idx="1428">
                  <c:v>0.99998009629683338</c:v>
                </c:pt>
                <c:pt idx="1429">
                  <c:v>0.99998052387370062</c:v>
                </c:pt>
                <c:pt idx="1430">
                  <c:v>0.99998095145056787</c:v>
                </c:pt>
                <c:pt idx="1431">
                  <c:v>0.99998137902743511</c:v>
                </c:pt>
                <c:pt idx="1432">
                  <c:v>0.99998180125959146</c:v>
                </c:pt>
                <c:pt idx="1433">
                  <c:v>0.99998221814703703</c:v>
                </c:pt>
                <c:pt idx="1434">
                  <c:v>0.99998262434506091</c:v>
                </c:pt>
                <c:pt idx="1435">
                  <c:v>0.9999830251983739</c:v>
                </c:pt>
                <c:pt idx="1436">
                  <c:v>0.9999834207069761</c:v>
                </c:pt>
                <c:pt idx="1437">
                  <c:v>0.99998379483673494</c:v>
                </c:pt>
                <c:pt idx="1438">
                  <c:v>0.99998454309625262</c:v>
                </c:pt>
                <c:pt idx="1439">
                  <c:v>0.99998491188130056</c:v>
                </c:pt>
                <c:pt idx="1440">
                  <c:v>0.99998526997692683</c:v>
                </c:pt>
                <c:pt idx="1441">
                  <c:v>0.99998562807255309</c:v>
                </c:pt>
                <c:pt idx="1442">
                  <c:v>0.999986301506119</c:v>
                </c:pt>
                <c:pt idx="1443">
                  <c:v>0.99998662218876944</c:v>
                </c:pt>
                <c:pt idx="1444">
                  <c:v>0.99998693752670897</c:v>
                </c:pt>
                <c:pt idx="1445">
                  <c:v>0.99998725286464851</c:v>
                </c:pt>
                <c:pt idx="1446">
                  <c:v>0.99998756820258805</c:v>
                </c:pt>
                <c:pt idx="1447">
                  <c:v>0.99998788354052759</c:v>
                </c:pt>
                <c:pt idx="1448">
                  <c:v>0.99998819353375634</c:v>
                </c:pt>
                <c:pt idx="1449">
                  <c:v>0.9999884981822742</c:v>
                </c:pt>
                <c:pt idx="1450">
                  <c:v>0.99998879214137038</c:v>
                </c:pt>
                <c:pt idx="1451">
                  <c:v>0.99998908075575577</c:v>
                </c:pt>
                <c:pt idx="1452">
                  <c:v>0.99998936937014116</c:v>
                </c:pt>
                <c:pt idx="1453">
                  <c:v>0.99998965263981565</c:v>
                </c:pt>
                <c:pt idx="1454">
                  <c:v>0.99998993056477936</c:v>
                </c:pt>
                <c:pt idx="1455">
                  <c:v>0.99999020848974307</c:v>
                </c:pt>
                <c:pt idx="1456">
                  <c:v>0.9999904757252851</c:v>
                </c:pt>
                <c:pt idx="1457">
                  <c:v>0.99999073761611623</c:v>
                </c:pt>
                <c:pt idx="1458">
                  <c:v>0.99999099950694736</c:v>
                </c:pt>
                <c:pt idx="1459">
                  <c:v>0.99999125605306771</c:v>
                </c:pt>
                <c:pt idx="1460">
                  <c:v>0.99999150725447716</c:v>
                </c:pt>
                <c:pt idx="1461">
                  <c:v>0.99999174776646493</c:v>
                </c:pt>
                <c:pt idx="1462">
                  <c:v>0.9999919882784527</c:v>
                </c:pt>
                <c:pt idx="1463">
                  <c:v>0.99999222879044047</c:v>
                </c:pt>
                <c:pt idx="1464">
                  <c:v>0.99999246395771746</c:v>
                </c:pt>
                <c:pt idx="1465">
                  <c:v>0.99999269912499444</c:v>
                </c:pt>
                <c:pt idx="1466">
                  <c:v>0.99999292894756053</c:v>
                </c:pt>
                <c:pt idx="1467">
                  <c:v>0.99999315342541584</c:v>
                </c:pt>
                <c:pt idx="1468">
                  <c:v>0.99999337790327114</c:v>
                </c:pt>
                <c:pt idx="1469">
                  <c:v>0.99999358634699387</c:v>
                </c:pt>
                <c:pt idx="1470">
                  <c:v>0.99999379479071659</c:v>
                </c:pt>
                <c:pt idx="1471">
                  <c:v>0.99999399788972854</c:v>
                </c:pt>
                <c:pt idx="1472">
                  <c:v>0.99999420098874048</c:v>
                </c:pt>
                <c:pt idx="1473">
                  <c:v>0.99999439874304152</c:v>
                </c:pt>
                <c:pt idx="1474">
                  <c:v>0.99999459649734257</c:v>
                </c:pt>
                <c:pt idx="1475">
                  <c:v>0.99999478356222193</c:v>
                </c:pt>
                <c:pt idx="1476">
                  <c:v>0.9999949706271013</c:v>
                </c:pt>
                <c:pt idx="1477">
                  <c:v>0.99999515769198066</c:v>
                </c:pt>
                <c:pt idx="1478">
                  <c:v>0.99999534475686003</c:v>
                </c:pt>
                <c:pt idx="1479">
                  <c:v>0.99999553182173939</c:v>
                </c:pt>
                <c:pt idx="1480">
                  <c:v>0.99999571888661876</c:v>
                </c:pt>
                <c:pt idx="1481">
                  <c:v>0.99999590060678734</c:v>
                </c:pt>
                <c:pt idx="1482">
                  <c:v>0.99999607163753423</c:v>
                </c:pt>
                <c:pt idx="1483">
                  <c:v>0.99999624266828113</c:v>
                </c:pt>
                <c:pt idx="1484">
                  <c:v>0.99999640300960635</c:v>
                </c:pt>
                <c:pt idx="1485">
                  <c:v>0.99999656335093157</c:v>
                </c:pt>
                <c:pt idx="1486">
                  <c:v>0.99999672369225678</c:v>
                </c:pt>
                <c:pt idx="1487">
                  <c:v>0.9999968786888711</c:v>
                </c:pt>
                <c:pt idx="1488">
                  <c:v>0.99999702834077464</c:v>
                </c:pt>
                <c:pt idx="1489">
                  <c:v>0.99999717264796728</c:v>
                </c:pt>
                <c:pt idx="1490">
                  <c:v>0.99999730626573824</c:v>
                </c:pt>
                <c:pt idx="1491">
                  <c:v>0.99999743453879841</c:v>
                </c:pt>
                <c:pt idx="1492">
                  <c:v>0.99999769108491876</c:v>
                </c:pt>
                <c:pt idx="1493">
                  <c:v>0.99999793694161732</c:v>
                </c:pt>
                <c:pt idx="1494">
                  <c:v>0.99999805986996659</c:v>
                </c:pt>
                <c:pt idx="1495">
                  <c:v>0.99999817745360509</c:v>
                </c:pt>
                <c:pt idx="1496">
                  <c:v>0.99999828969253268</c:v>
                </c:pt>
                <c:pt idx="1497">
                  <c:v>0.99999840193146028</c:v>
                </c:pt>
                <c:pt idx="1498">
                  <c:v>0.99999850882567709</c:v>
                </c:pt>
                <c:pt idx="1499">
                  <c:v>0.99999861037518301</c:v>
                </c:pt>
                <c:pt idx="1500">
                  <c:v>0.99999870657997814</c:v>
                </c:pt>
                <c:pt idx="1501">
                  <c:v>0.99999880278477327</c:v>
                </c:pt>
                <c:pt idx="1502">
                  <c:v>0.99999899519436353</c:v>
                </c:pt>
                <c:pt idx="1503">
                  <c:v>0.99999909139915866</c:v>
                </c:pt>
                <c:pt idx="1504">
                  <c:v>0.99999918225924289</c:v>
                </c:pt>
                <c:pt idx="1505">
                  <c:v>0.99999927311932713</c:v>
                </c:pt>
                <c:pt idx="1506">
                  <c:v>0.99999936397941136</c:v>
                </c:pt>
                <c:pt idx="1507">
                  <c:v>0.99999943880536313</c:v>
                </c:pt>
                <c:pt idx="1508">
                  <c:v>0.9999995136313149</c:v>
                </c:pt>
                <c:pt idx="1509">
                  <c:v>0.99999958845726666</c:v>
                </c:pt>
                <c:pt idx="1510">
                  <c:v>0.99999972207503762</c:v>
                </c:pt>
                <c:pt idx="1511">
                  <c:v>0.99999978086685681</c:v>
                </c:pt>
                <c:pt idx="1512">
                  <c:v>0.999999839658676</c:v>
                </c:pt>
                <c:pt idx="1513">
                  <c:v>0.99999989845049519</c:v>
                </c:pt>
                <c:pt idx="1514">
                  <c:v>0.9999999518976036</c:v>
                </c:pt>
                <c:pt idx="1515">
                  <c:v>1.000000000000001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58</c:f>
              <c:strCache>
                <c:ptCount val="1257"/>
                <c:pt idx="0">
                  <c:v>Private Lab</c:v>
                </c:pt>
                <c:pt idx="1">
                  <c:v>Private Lab</c:v>
                </c:pt>
                <c:pt idx="2">
                  <c:v>Private Lab</c:v>
                </c:pt>
                <c:pt idx="3">
                  <c:v>Private Lab</c:v>
                </c:pt>
                <c:pt idx="4">
                  <c:v>Private Lab</c:v>
                </c:pt>
                <c:pt idx="5">
                  <c:v>Private Lab</c:v>
                </c:pt>
                <c:pt idx="6">
                  <c:v>Private Lab</c:v>
                </c:pt>
                <c:pt idx="7">
                  <c:v>Private Lab</c:v>
                </c:pt>
                <c:pt idx="8">
                  <c:v>Private Lab</c:v>
                </c:pt>
                <c:pt idx="9">
                  <c:v>Caprice Des</c:v>
                </c:pt>
                <c:pt idx="10">
                  <c:v>Private Lab</c:v>
                </c:pt>
                <c:pt idx="11">
                  <c:v>Private Lab</c:v>
                </c:pt>
                <c:pt idx="12">
                  <c:v>Private Lab</c:v>
                </c:pt>
                <c:pt idx="13">
                  <c:v>Private Lab</c:v>
                </c:pt>
                <c:pt idx="14">
                  <c:v>Private Lab</c:v>
                </c:pt>
                <c:pt idx="15">
                  <c:v>Private Lab</c:v>
                </c:pt>
                <c:pt idx="16">
                  <c:v>President</c:v>
                </c:pt>
                <c:pt idx="17">
                  <c:v>Private Lab</c:v>
                </c:pt>
                <c:pt idx="18">
                  <c:v>Soignon</c:v>
                </c:pt>
                <c:pt idx="19">
                  <c:v>Private Lab</c:v>
                </c:pt>
                <c:pt idx="20">
                  <c:v>Private Lab</c:v>
                </c:pt>
                <c:pt idx="21">
                  <c:v>President</c:v>
                </c:pt>
                <c:pt idx="22">
                  <c:v>Private Lab</c:v>
                </c:pt>
                <c:pt idx="23">
                  <c:v>Private Lab</c:v>
                </c:pt>
                <c:pt idx="24">
                  <c:v>Private Lab</c:v>
                </c:pt>
                <c:pt idx="25">
                  <c:v>Entremont</c:v>
                </c:pt>
                <c:pt idx="26">
                  <c:v>President</c:v>
                </c:pt>
                <c:pt idx="27">
                  <c:v>Coeur De Li</c:v>
                </c:pt>
                <c:pt idx="28">
                  <c:v>Private Lab</c:v>
                </c:pt>
                <c:pt idx="29">
                  <c:v>Richesmonts</c:v>
                </c:pt>
                <c:pt idx="30">
                  <c:v>Mini Babybe</c:v>
                </c:pt>
                <c:pt idx="31">
                  <c:v>Caprice Des</c:v>
                </c:pt>
                <c:pt idx="32">
                  <c:v>President</c:v>
                </c:pt>
                <c:pt idx="33">
                  <c:v>Entremont</c:v>
                </c:pt>
                <c:pt idx="34">
                  <c:v>Galbani</c:v>
                </c:pt>
                <c:pt idx="35">
                  <c:v>Private Lab</c:v>
                </c:pt>
                <c:pt idx="36">
                  <c:v>Private Lab</c:v>
                </c:pt>
                <c:pt idx="37">
                  <c:v>Chaussee Au</c:v>
                </c:pt>
                <c:pt idx="38">
                  <c:v>Leerdammer</c:v>
                </c:pt>
                <c:pt idx="39">
                  <c:v>Private Lab</c:v>
                </c:pt>
                <c:pt idx="40">
                  <c:v>Private Lab</c:v>
                </c:pt>
                <c:pt idx="41">
                  <c:v>La Vache Qu</c:v>
                </c:pt>
                <c:pt idx="42">
                  <c:v>Le Rustique</c:v>
                </c:pt>
                <c:pt idx="43">
                  <c:v>Mini Babybe</c:v>
                </c:pt>
                <c:pt idx="44">
                  <c:v>St Moret</c:v>
                </c:pt>
                <c:pt idx="45">
                  <c:v>St Moret</c:v>
                </c:pt>
                <c:pt idx="46">
                  <c:v>Private Lab</c:v>
                </c:pt>
                <c:pt idx="47">
                  <c:v>Soignon</c:v>
                </c:pt>
                <c:pt idx="48">
                  <c:v>Private Lab</c:v>
                </c:pt>
                <c:pt idx="49">
                  <c:v>Salakis</c:v>
                </c:pt>
                <c:pt idx="50">
                  <c:v>Private Lab</c:v>
                </c:pt>
                <c:pt idx="51">
                  <c:v>Private Lab</c:v>
                </c:pt>
                <c:pt idx="52">
                  <c:v>President</c:v>
                </c:pt>
                <c:pt idx="53">
                  <c:v>President</c:v>
                </c:pt>
                <c:pt idx="54">
                  <c:v>Private Lab</c:v>
                </c:pt>
                <c:pt idx="55">
                  <c:v>Private Lab</c:v>
                </c:pt>
                <c:pt idx="56">
                  <c:v>Societe</c:v>
                </c:pt>
                <c:pt idx="57">
                  <c:v>Entremont</c:v>
                </c:pt>
                <c:pt idx="58">
                  <c:v>President</c:v>
                </c:pt>
                <c:pt idx="59">
                  <c:v>Private Lab</c:v>
                </c:pt>
                <c:pt idx="60">
                  <c:v>Private Lab</c:v>
                </c:pt>
                <c:pt idx="61">
                  <c:v>Private Lab</c:v>
                </c:pt>
                <c:pt idx="62">
                  <c:v>Private Lab</c:v>
                </c:pt>
                <c:pt idx="63">
                  <c:v>Saint Agur</c:v>
                </c:pt>
                <c:pt idx="64">
                  <c:v>Private Lab</c:v>
                </c:pt>
                <c:pt idx="65">
                  <c:v>Private Lab</c:v>
                </c:pt>
                <c:pt idx="66">
                  <c:v>La Vache Qu</c:v>
                </c:pt>
                <c:pt idx="67">
                  <c:v>President</c:v>
                </c:pt>
                <c:pt idx="68">
                  <c:v>Private Lab</c:v>
                </c:pt>
                <c:pt idx="69">
                  <c:v>Tartare</c:v>
                </c:pt>
                <c:pt idx="70">
                  <c:v>Private Lab</c:v>
                </c:pt>
                <c:pt idx="71">
                  <c:v>Private Lab</c:v>
                </c:pt>
                <c:pt idx="72">
                  <c:v>Private Lab</c:v>
                </c:pt>
                <c:pt idx="73">
                  <c:v>Private Lab</c:v>
                </c:pt>
                <c:pt idx="74">
                  <c:v>Juraflore</c:v>
                </c:pt>
                <c:pt idx="75">
                  <c:v>St Moret</c:v>
                </c:pt>
                <c:pt idx="76">
                  <c:v>St Moret</c:v>
                </c:pt>
                <c:pt idx="77">
                  <c:v>Private Lab</c:v>
                </c:pt>
                <c:pt idx="78">
                  <c:v>Private Lab</c:v>
                </c:pt>
                <c:pt idx="79">
                  <c:v>Private Lab</c:v>
                </c:pt>
                <c:pt idx="80">
                  <c:v>Kiri</c:v>
                </c:pt>
                <c:pt idx="81">
                  <c:v>Private Lab</c:v>
                </c:pt>
                <c:pt idx="82">
                  <c:v>Private Lab</c:v>
                </c:pt>
                <c:pt idx="83">
                  <c:v>Entremont</c:v>
                </c:pt>
                <c:pt idx="84">
                  <c:v>President</c:v>
                </c:pt>
                <c:pt idx="85">
                  <c:v>Private Lab</c:v>
                </c:pt>
                <c:pt idx="86">
                  <c:v>Parmareggio</c:v>
                </c:pt>
                <c:pt idx="87">
                  <c:v>Private Lab</c:v>
                </c:pt>
                <c:pt idx="88">
                  <c:v>Private Lab</c:v>
                </c:pt>
                <c:pt idx="89">
                  <c:v>Entremont</c:v>
                </c:pt>
                <c:pt idx="90">
                  <c:v>Paysan Bret</c:v>
                </c:pt>
                <c:pt idx="91">
                  <c:v>Private Lab</c:v>
                </c:pt>
                <c:pt idx="92">
                  <c:v>Private Lab</c:v>
                </c:pt>
                <c:pt idx="93">
                  <c:v>La Vache Qu</c:v>
                </c:pt>
                <c:pt idx="94">
                  <c:v>Galbani</c:v>
                </c:pt>
                <c:pt idx="95">
                  <c:v>Private Lab</c:v>
                </c:pt>
                <c:pt idx="96">
                  <c:v>Private Lab</c:v>
                </c:pt>
                <c:pt idx="97">
                  <c:v>Private Lab</c:v>
                </c:pt>
                <c:pt idx="98">
                  <c:v>Private Lab</c:v>
                </c:pt>
                <c:pt idx="99">
                  <c:v>Entremont</c:v>
                </c:pt>
                <c:pt idx="100">
                  <c:v>Saint Agur</c:v>
                </c:pt>
                <c:pt idx="101">
                  <c:v>Casa Azzurr</c:v>
                </c:pt>
                <c:pt idx="102">
                  <c:v>Coeur De Li</c:v>
                </c:pt>
                <c:pt idx="103">
                  <c:v>Private Lab</c:v>
                </c:pt>
                <c:pt idx="104">
                  <c:v>Leerdammer</c:v>
                </c:pt>
                <c:pt idx="105">
                  <c:v>Saint Albra</c:v>
                </c:pt>
                <c:pt idx="106">
                  <c:v>Private Lab</c:v>
                </c:pt>
                <c:pt idx="107">
                  <c:v>Private Lab</c:v>
                </c:pt>
                <c:pt idx="108">
                  <c:v>Private Lab</c:v>
                </c:pt>
                <c:pt idx="109">
                  <c:v>Private Lab</c:v>
                </c:pt>
                <c:pt idx="110">
                  <c:v>Entremont</c:v>
                </c:pt>
                <c:pt idx="111">
                  <c:v>Leerdammer</c:v>
                </c:pt>
                <c:pt idx="112">
                  <c:v>Private Lab</c:v>
                </c:pt>
                <c:pt idx="113">
                  <c:v>L'Ortolan</c:v>
                </c:pt>
                <c:pt idx="114">
                  <c:v>Istara</c:v>
                </c:pt>
                <c:pt idx="115">
                  <c:v>Kiri</c:v>
                </c:pt>
                <c:pt idx="116">
                  <c:v>Galbani</c:v>
                </c:pt>
                <c:pt idx="117">
                  <c:v>Private Lab</c:v>
                </c:pt>
                <c:pt idx="118">
                  <c:v>Private Lab</c:v>
                </c:pt>
                <c:pt idx="119">
                  <c:v>Private Lab</c:v>
                </c:pt>
                <c:pt idx="120">
                  <c:v>Private Lab</c:v>
                </c:pt>
                <c:pt idx="121">
                  <c:v>Carre Frais</c:v>
                </c:pt>
                <c:pt idx="122">
                  <c:v>All Others</c:v>
                </c:pt>
                <c:pt idx="123">
                  <c:v>Philadelphi</c:v>
                </c:pt>
                <c:pt idx="124">
                  <c:v>Private Lab</c:v>
                </c:pt>
                <c:pt idx="125">
                  <c:v>Boursin</c:v>
                </c:pt>
                <c:pt idx="126">
                  <c:v>Carre Frais</c:v>
                </c:pt>
                <c:pt idx="127">
                  <c:v>Private Lab</c:v>
                </c:pt>
                <c:pt idx="128">
                  <c:v>Chaussee Au</c:v>
                </c:pt>
                <c:pt idx="129">
                  <c:v>Private Lab</c:v>
                </c:pt>
                <c:pt idx="130">
                  <c:v>Boursin</c:v>
                </c:pt>
                <c:pt idx="131">
                  <c:v>Apericube</c:v>
                </c:pt>
                <c:pt idx="132">
                  <c:v>Galbani</c:v>
                </c:pt>
                <c:pt idx="133">
                  <c:v>Private Lab</c:v>
                </c:pt>
                <c:pt idx="134">
                  <c:v>Private Lab</c:v>
                </c:pt>
                <c:pt idx="135">
                  <c:v>Leerdammer</c:v>
                </c:pt>
                <c:pt idx="136">
                  <c:v>Paysan Bret</c:v>
                </c:pt>
                <c:pt idx="137">
                  <c:v>Lou Perac</c:v>
                </c:pt>
                <c:pt idx="138">
                  <c:v>Entremont</c:v>
                </c:pt>
                <c:pt idx="139">
                  <c:v>Bresse Bleu</c:v>
                </c:pt>
                <c:pt idx="140">
                  <c:v>Galbani</c:v>
                </c:pt>
                <c:pt idx="141">
                  <c:v>Kiri</c:v>
                </c:pt>
                <c:pt idx="142">
                  <c:v>Private Lab</c:v>
                </c:pt>
                <c:pt idx="143">
                  <c:v>Private Lab</c:v>
                </c:pt>
                <c:pt idx="144">
                  <c:v>Private Lab</c:v>
                </c:pt>
                <c:pt idx="145">
                  <c:v>President</c:v>
                </c:pt>
                <c:pt idx="146">
                  <c:v>Ficello</c:v>
                </c:pt>
                <c:pt idx="147">
                  <c:v>Private Lab</c:v>
                </c:pt>
                <c:pt idx="148">
                  <c:v>Soignon</c:v>
                </c:pt>
                <c:pt idx="149">
                  <c:v>Islos</c:v>
                </c:pt>
                <c:pt idx="150">
                  <c:v>Apericube</c:v>
                </c:pt>
                <c:pt idx="151">
                  <c:v>Tartare</c:v>
                </c:pt>
                <c:pt idx="152">
                  <c:v>Lepetit</c:v>
                </c:pt>
                <c:pt idx="153">
                  <c:v>Private Lab</c:v>
                </c:pt>
                <c:pt idx="154">
                  <c:v>Private Lab</c:v>
                </c:pt>
                <c:pt idx="155">
                  <c:v>Philadelphi</c:v>
                </c:pt>
                <c:pt idx="156">
                  <c:v>Private Lab</c:v>
                </c:pt>
                <c:pt idx="157">
                  <c:v>Petit Billy</c:v>
                </c:pt>
                <c:pt idx="158">
                  <c:v>Galbani</c:v>
                </c:pt>
                <c:pt idx="159">
                  <c:v>Private Lab</c:v>
                </c:pt>
                <c:pt idx="160">
                  <c:v>Private Lab</c:v>
                </c:pt>
                <c:pt idx="161">
                  <c:v>Galbani</c:v>
                </c:pt>
                <c:pt idx="162">
                  <c:v>President</c:v>
                </c:pt>
                <c:pt idx="163">
                  <c:v>Private Lab</c:v>
                </c:pt>
                <c:pt idx="164">
                  <c:v>Private Lab</c:v>
                </c:pt>
                <c:pt idx="165">
                  <c:v>Private Lab</c:v>
                </c:pt>
                <c:pt idx="166">
                  <c:v>Private Lab</c:v>
                </c:pt>
                <c:pt idx="167">
                  <c:v>Kiri</c:v>
                </c:pt>
                <c:pt idx="168">
                  <c:v>Private Lab</c:v>
                </c:pt>
                <c:pt idx="169">
                  <c:v>Private Lab</c:v>
                </c:pt>
                <c:pt idx="170">
                  <c:v>President</c:v>
                </c:pt>
                <c:pt idx="171">
                  <c:v>All Others</c:v>
                </c:pt>
                <c:pt idx="172">
                  <c:v>Salakis</c:v>
                </c:pt>
                <c:pt idx="173">
                  <c:v>Private Lab</c:v>
                </c:pt>
                <c:pt idx="174">
                  <c:v>Babybel</c:v>
                </c:pt>
                <c:pt idx="175">
                  <c:v>Richesmonts</c:v>
                </c:pt>
                <c:pt idx="176">
                  <c:v>Private Lab</c:v>
                </c:pt>
                <c:pt idx="177">
                  <c:v>Private Lab</c:v>
                </c:pt>
                <c:pt idx="178">
                  <c:v>Private Lab</c:v>
                </c:pt>
                <c:pt idx="179">
                  <c:v>St Moret</c:v>
                </c:pt>
                <c:pt idx="180">
                  <c:v>Private Lab</c:v>
                </c:pt>
                <c:pt idx="181">
                  <c:v>Boursin</c:v>
                </c:pt>
                <c:pt idx="182">
                  <c:v>St Moret</c:v>
                </c:pt>
                <c:pt idx="183">
                  <c:v>Leerdammer</c:v>
                </c:pt>
                <c:pt idx="184">
                  <c:v>Private Lab</c:v>
                </c:pt>
                <c:pt idx="185">
                  <c:v>Boursin</c:v>
                </c:pt>
                <c:pt idx="186">
                  <c:v>Entremont</c:v>
                </c:pt>
                <c:pt idx="187">
                  <c:v>President</c:v>
                </c:pt>
                <c:pt idx="188">
                  <c:v>Private Lab</c:v>
                </c:pt>
                <c:pt idx="189">
                  <c:v>Private Lab</c:v>
                </c:pt>
                <c:pt idx="190">
                  <c:v>President</c:v>
                </c:pt>
                <c:pt idx="191">
                  <c:v>Kiri</c:v>
                </c:pt>
                <c:pt idx="192">
                  <c:v>Le Rustique</c:v>
                </c:pt>
                <c:pt idx="193">
                  <c:v>Port Salut</c:v>
                </c:pt>
                <c:pt idx="194">
                  <c:v>Les Mousque</c:v>
                </c:pt>
                <c:pt idx="195">
                  <c:v>Private Lab</c:v>
                </c:pt>
                <c:pt idx="196">
                  <c:v>Caprice Des</c:v>
                </c:pt>
                <c:pt idx="197">
                  <c:v>Entremont</c:v>
                </c:pt>
                <c:pt idx="198">
                  <c:v>Coeur De Li</c:v>
                </c:pt>
                <c:pt idx="199">
                  <c:v>Private Lab</c:v>
                </c:pt>
                <c:pt idx="200">
                  <c:v>Private Lab</c:v>
                </c:pt>
                <c:pt idx="201">
                  <c:v>Private Lab</c:v>
                </c:pt>
                <c:pt idx="202">
                  <c:v>Soignon</c:v>
                </c:pt>
                <c:pt idx="203">
                  <c:v>Private Lab</c:v>
                </c:pt>
                <c:pt idx="204">
                  <c:v>Aperivrais</c:v>
                </c:pt>
                <c:pt idx="205">
                  <c:v>Private Lab</c:v>
                </c:pt>
                <c:pt idx="206">
                  <c:v>Coeur De Li</c:v>
                </c:pt>
                <c:pt idx="207">
                  <c:v>Leerdammer</c:v>
                </c:pt>
                <c:pt idx="208">
                  <c:v>President</c:v>
                </c:pt>
                <c:pt idx="209">
                  <c:v>Soignon</c:v>
                </c:pt>
                <c:pt idx="210">
                  <c:v>Etorki</c:v>
                </c:pt>
                <c:pt idx="211">
                  <c:v>L'Ortolan</c:v>
                </c:pt>
                <c:pt idx="212">
                  <c:v>Parmareggio</c:v>
                </c:pt>
                <c:pt idx="213">
                  <c:v>Ficello</c:v>
                </c:pt>
                <c:pt idx="214">
                  <c:v>Societe</c:v>
                </c:pt>
                <c:pt idx="215">
                  <c:v>President</c:v>
                </c:pt>
                <c:pt idx="216">
                  <c:v>Pochat</c:v>
                </c:pt>
                <c:pt idx="217">
                  <c:v>Pave D'Affi</c:v>
                </c:pt>
                <c:pt idx="218">
                  <c:v>Private Lab</c:v>
                </c:pt>
                <c:pt idx="219">
                  <c:v>St Moret</c:v>
                </c:pt>
                <c:pt idx="220">
                  <c:v>Richesmonts</c:v>
                </c:pt>
                <c:pt idx="221">
                  <c:v>Apericube</c:v>
                </c:pt>
                <c:pt idx="222">
                  <c:v>Private Lab</c:v>
                </c:pt>
                <c:pt idx="223">
                  <c:v>Private Lab</c:v>
                </c:pt>
                <c:pt idx="224">
                  <c:v>Ficello</c:v>
                </c:pt>
                <c:pt idx="225">
                  <c:v>Private Lab</c:v>
                </c:pt>
                <c:pt idx="226">
                  <c:v>Entremont</c:v>
                </c:pt>
                <c:pt idx="227">
                  <c:v>All Others</c:v>
                </c:pt>
                <c:pt idx="228">
                  <c:v>Fol Epi</c:v>
                </c:pt>
                <c:pt idx="229">
                  <c:v>All Others</c:v>
                </c:pt>
                <c:pt idx="230">
                  <c:v>Private Lab</c:v>
                </c:pt>
                <c:pt idx="231">
                  <c:v>President</c:v>
                </c:pt>
                <c:pt idx="232">
                  <c:v>Entremont</c:v>
                </c:pt>
                <c:pt idx="233">
                  <c:v>Boursin</c:v>
                </c:pt>
                <c:pt idx="234">
                  <c:v>Casa Azzurr</c:v>
                </c:pt>
                <c:pt idx="235">
                  <c:v>Entremont</c:v>
                </c:pt>
                <c:pt idx="236">
                  <c:v>President</c:v>
                </c:pt>
                <c:pt idx="237">
                  <c:v>Private Lab</c:v>
                </c:pt>
                <c:pt idx="238">
                  <c:v>Private Lab</c:v>
                </c:pt>
                <c:pt idx="239">
                  <c:v>Vieux Pane</c:v>
                </c:pt>
                <c:pt idx="240">
                  <c:v>Apericube</c:v>
                </c:pt>
                <c:pt idx="241">
                  <c:v>President</c:v>
                </c:pt>
                <c:pt idx="242">
                  <c:v>Soignon</c:v>
                </c:pt>
                <c:pt idx="243">
                  <c:v>Private Lab</c:v>
                </c:pt>
                <c:pt idx="244">
                  <c:v>Private Lab</c:v>
                </c:pt>
                <c:pt idx="245">
                  <c:v>La Vache Qu</c:v>
                </c:pt>
                <c:pt idx="246">
                  <c:v>President</c:v>
                </c:pt>
                <c:pt idx="247">
                  <c:v>Private Lab</c:v>
                </c:pt>
                <c:pt idx="248">
                  <c:v>Private Lab</c:v>
                </c:pt>
                <c:pt idx="249">
                  <c:v>Private Lab</c:v>
                </c:pt>
                <c:pt idx="250">
                  <c:v>President</c:v>
                </c:pt>
                <c:pt idx="251">
                  <c:v>All Others</c:v>
                </c:pt>
                <c:pt idx="252">
                  <c:v>Private Lab</c:v>
                </c:pt>
                <c:pt idx="253">
                  <c:v>Leerdammer</c:v>
                </c:pt>
                <c:pt idx="254">
                  <c:v>Chavroux</c:v>
                </c:pt>
                <c:pt idx="255">
                  <c:v>Casa Azzurr</c:v>
                </c:pt>
                <c:pt idx="256">
                  <c:v>Pochat</c:v>
                </c:pt>
                <c:pt idx="257">
                  <c:v>Entremont</c:v>
                </c:pt>
                <c:pt idx="258">
                  <c:v>Private Lab</c:v>
                </c:pt>
                <c:pt idx="259">
                  <c:v>Private Lab</c:v>
                </c:pt>
                <c:pt idx="260">
                  <c:v>Private Lab</c:v>
                </c:pt>
                <c:pt idx="261">
                  <c:v>Cousteron</c:v>
                </c:pt>
                <c:pt idx="262">
                  <c:v>Boursin</c:v>
                </c:pt>
                <c:pt idx="263">
                  <c:v>Private Lab</c:v>
                </c:pt>
                <c:pt idx="264">
                  <c:v>Private Lab</c:v>
                </c:pt>
                <c:pt idx="265">
                  <c:v>President</c:v>
                </c:pt>
                <c:pt idx="266">
                  <c:v>Private Lab</c:v>
                </c:pt>
                <c:pt idx="267">
                  <c:v>Private Lab</c:v>
                </c:pt>
                <c:pt idx="268">
                  <c:v>Soignon</c:v>
                </c:pt>
                <c:pt idx="269">
                  <c:v>Apericube</c:v>
                </c:pt>
                <c:pt idx="270">
                  <c:v>Private Lab</c:v>
                </c:pt>
                <c:pt idx="271">
                  <c:v>Private Lab</c:v>
                </c:pt>
                <c:pt idx="272">
                  <c:v>Private Lab</c:v>
                </c:pt>
                <c:pt idx="273">
                  <c:v>P'Tit Louis</c:v>
                </c:pt>
                <c:pt idx="274">
                  <c:v>Le Brebiou</c:v>
                </c:pt>
                <c:pt idx="275">
                  <c:v>Leerdammer</c:v>
                </c:pt>
                <c:pt idx="276">
                  <c:v>Private Lab</c:v>
                </c:pt>
                <c:pt idx="277">
                  <c:v>Soignon</c:v>
                </c:pt>
                <c:pt idx="278">
                  <c:v>Private Lab</c:v>
                </c:pt>
                <c:pt idx="279">
                  <c:v>All Others</c:v>
                </c:pt>
                <c:pt idx="280">
                  <c:v>President</c:v>
                </c:pt>
                <c:pt idx="281">
                  <c:v>Private Lab</c:v>
                </c:pt>
                <c:pt idx="282">
                  <c:v>Boursin</c:v>
                </c:pt>
                <c:pt idx="283">
                  <c:v>Istara</c:v>
                </c:pt>
                <c:pt idx="284">
                  <c:v>Soignon</c:v>
                </c:pt>
                <c:pt idx="285">
                  <c:v>Tartare</c:v>
                </c:pt>
                <c:pt idx="286">
                  <c:v>Lactalis: A</c:v>
                </c:pt>
                <c:pt idx="287">
                  <c:v>Caprice Des</c:v>
                </c:pt>
                <c:pt idx="288">
                  <c:v>Leerdammer</c:v>
                </c:pt>
                <c:pt idx="289">
                  <c:v>Private Lab</c:v>
                </c:pt>
                <c:pt idx="290">
                  <c:v>Private Lab</c:v>
                </c:pt>
                <c:pt idx="291">
                  <c:v>Private Lab</c:v>
                </c:pt>
                <c:pt idx="292">
                  <c:v>Paysan Bret</c:v>
                </c:pt>
                <c:pt idx="293">
                  <c:v>Galbani</c:v>
                </c:pt>
                <c:pt idx="294">
                  <c:v>Private Lab</c:v>
                </c:pt>
                <c:pt idx="295">
                  <c:v>Apericube</c:v>
                </c:pt>
                <c:pt idx="296">
                  <c:v>Lou Perac</c:v>
                </c:pt>
                <c:pt idx="297">
                  <c:v>Saint Albra</c:v>
                </c:pt>
                <c:pt idx="298">
                  <c:v>Galbani</c:v>
                </c:pt>
                <c:pt idx="299">
                  <c:v>Private Lab</c:v>
                </c:pt>
                <c:pt idx="300">
                  <c:v>All Others</c:v>
                </c:pt>
                <c:pt idx="301">
                  <c:v>Private Lab</c:v>
                </c:pt>
                <c:pt idx="302">
                  <c:v>Private Lab</c:v>
                </c:pt>
                <c:pt idx="303">
                  <c:v>Richesmonts</c:v>
                </c:pt>
                <c:pt idx="304">
                  <c:v>All Others</c:v>
                </c:pt>
                <c:pt idx="305">
                  <c:v>Boursin</c:v>
                </c:pt>
                <c:pt idx="306">
                  <c:v>Private Lab</c:v>
                </c:pt>
                <c:pt idx="307">
                  <c:v>Private Lab</c:v>
                </c:pt>
                <c:pt idx="308">
                  <c:v>Entremont</c:v>
                </c:pt>
                <c:pt idx="309">
                  <c:v>Paysan Bret</c:v>
                </c:pt>
                <c:pt idx="310">
                  <c:v>Private Lab</c:v>
                </c:pt>
                <c:pt idx="311">
                  <c:v>All Others</c:v>
                </c:pt>
                <c:pt idx="312">
                  <c:v>Private Lab</c:v>
                </c:pt>
                <c:pt idx="313">
                  <c:v>President</c:v>
                </c:pt>
                <c:pt idx="314">
                  <c:v>Casa Azzurr</c:v>
                </c:pt>
                <c:pt idx="315">
                  <c:v>Private Lab</c:v>
                </c:pt>
                <c:pt idx="316">
                  <c:v>Private Lab</c:v>
                </c:pt>
                <c:pt idx="317">
                  <c:v>Private Lab</c:v>
                </c:pt>
                <c:pt idx="318">
                  <c:v>Boursin</c:v>
                </c:pt>
                <c:pt idx="319">
                  <c:v>Richesmonts</c:v>
                </c:pt>
                <c:pt idx="320">
                  <c:v>Private Lab</c:v>
                </c:pt>
                <c:pt idx="321">
                  <c:v>All Others</c:v>
                </c:pt>
                <c:pt idx="322">
                  <c:v>Soignon</c:v>
                </c:pt>
                <c:pt idx="323">
                  <c:v>Private Lab</c:v>
                </c:pt>
                <c:pt idx="324">
                  <c:v>Galbani</c:v>
                </c:pt>
                <c:pt idx="325">
                  <c:v>Private Lab</c:v>
                </c:pt>
                <c:pt idx="326">
                  <c:v>Private Lab</c:v>
                </c:pt>
                <c:pt idx="327">
                  <c:v>Boursin</c:v>
                </c:pt>
                <c:pt idx="328">
                  <c:v>Apericube</c:v>
                </c:pt>
                <c:pt idx="329">
                  <c:v>President</c:v>
                </c:pt>
                <c:pt idx="330">
                  <c:v>Private Lab</c:v>
                </c:pt>
                <c:pt idx="331">
                  <c:v>Private Lab</c:v>
                </c:pt>
                <c:pt idx="332">
                  <c:v>Bresse Bleu</c:v>
                </c:pt>
                <c:pt idx="333">
                  <c:v>Private Lab</c:v>
                </c:pt>
                <c:pt idx="334">
                  <c:v>Private Lab</c:v>
                </c:pt>
                <c:pt idx="335">
                  <c:v>Private Lab</c:v>
                </c:pt>
                <c:pt idx="336">
                  <c:v>All Others</c:v>
                </c:pt>
                <c:pt idx="337">
                  <c:v>All Others</c:v>
                </c:pt>
                <c:pt idx="338">
                  <c:v>Apericube</c:v>
                </c:pt>
                <c:pt idx="339">
                  <c:v>Private Lab</c:v>
                </c:pt>
                <c:pt idx="340">
                  <c:v>Apericube</c:v>
                </c:pt>
                <c:pt idx="341">
                  <c:v>Private Lab</c:v>
                </c:pt>
                <c:pt idx="342">
                  <c:v>Salakis</c:v>
                </c:pt>
                <c:pt idx="343">
                  <c:v>Private Lab</c:v>
                </c:pt>
                <c:pt idx="344">
                  <c:v>Galbani</c:v>
                </c:pt>
                <c:pt idx="345">
                  <c:v>St Moret</c:v>
                </c:pt>
                <c:pt idx="346">
                  <c:v>Galbani</c:v>
                </c:pt>
                <c:pt idx="347">
                  <c:v>All Others</c:v>
                </c:pt>
                <c:pt idx="348">
                  <c:v>Private Lab</c:v>
                </c:pt>
                <c:pt idx="349">
                  <c:v>Le Rustique</c:v>
                </c:pt>
                <c:pt idx="350">
                  <c:v>Private Lab</c:v>
                </c:pt>
                <c:pt idx="351">
                  <c:v>Mini Babybe</c:v>
                </c:pt>
                <c:pt idx="352">
                  <c:v>Private Lab</c:v>
                </c:pt>
                <c:pt idx="353">
                  <c:v>Richesmonts</c:v>
                </c:pt>
                <c:pt idx="354">
                  <c:v>Private Lab</c:v>
                </c:pt>
                <c:pt idx="355">
                  <c:v>Private Lab</c:v>
                </c:pt>
                <c:pt idx="356">
                  <c:v>Boursin</c:v>
                </c:pt>
                <c:pt idx="357">
                  <c:v>Societe</c:v>
                </c:pt>
                <c:pt idx="358">
                  <c:v>Aperivrais</c:v>
                </c:pt>
                <c:pt idx="359">
                  <c:v>Private Lab</c:v>
                </c:pt>
                <c:pt idx="360">
                  <c:v>Paysan Bret</c:v>
                </c:pt>
                <c:pt idx="361">
                  <c:v>Private Lab</c:v>
                </c:pt>
                <c:pt idx="362">
                  <c:v>Savencia: A</c:v>
                </c:pt>
                <c:pt idx="363">
                  <c:v>Private Lab</c:v>
                </c:pt>
                <c:pt idx="364">
                  <c:v>La Vache Qu</c:v>
                </c:pt>
                <c:pt idx="365">
                  <c:v>Societe</c:v>
                </c:pt>
                <c:pt idx="366">
                  <c:v>Casa Azzurr</c:v>
                </c:pt>
                <c:pt idx="367">
                  <c:v>Saint Agur</c:v>
                </c:pt>
                <c:pt idx="368">
                  <c:v>Milleret: A</c:v>
                </c:pt>
                <c:pt idx="369">
                  <c:v>Savencia: A</c:v>
                </c:pt>
                <c:pt idx="370">
                  <c:v>Private Lab</c:v>
                </c:pt>
                <c:pt idx="371">
                  <c:v>Soignon</c:v>
                </c:pt>
                <c:pt idx="372">
                  <c:v>Private Lab</c:v>
                </c:pt>
                <c:pt idx="373">
                  <c:v>Entremont</c:v>
                </c:pt>
                <c:pt idx="374">
                  <c:v>Aperivrais</c:v>
                </c:pt>
                <c:pt idx="375">
                  <c:v>Lou Perac</c:v>
                </c:pt>
                <c:pt idx="376">
                  <c:v>Boursin</c:v>
                </c:pt>
                <c:pt idx="377">
                  <c:v>Galbani</c:v>
                </c:pt>
                <c:pt idx="378">
                  <c:v>Chavroux</c:v>
                </c:pt>
                <c:pt idx="379">
                  <c:v>Coeur De Li</c:v>
                </c:pt>
                <c:pt idx="380">
                  <c:v>Private Lab</c:v>
                </c:pt>
                <c:pt idx="381">
                  <c:v>Private Lab</c:v>
                </c:pt>
                <c:pt idx="382">
                  <c:v>Carre Frais</c:v>
                </c:pt>
                <c:pt idx="383">
                  <c:v>Private Lab</c:v>
                </c:pt>
                <c:pt idx="384">
                  <c:v>Entremont</c:v>
                </c:pt>
                <c:pt idx="385">
                  <c:v>President</c:v>
                </c:pt>
                <c:pt idx="386">
                  <c:v>Juraflore</c:v>
                </c:pt>
                <c:pt idx="387">
                  <c:v>Private Lab</c:v>
                </c:pt>
                <c:pt idx="388">
                  <c:v>Lactalis: A</c:v>
                </c:pt>
                <c:pt idx="389">
                  <c:v>Casa Azzurr</c:v>
                </c:pt>
                <c:pt idx="390">
                  <c:v>Pave D'Affi</c:v>
                </c:pt>
                <c:pt idx="391">
                  <c:v>Private Lab</c:v>
                </c:pt>
                <c:pt idx="392">
                  <c:v>President</c:v>
                </c:pt>
                <c:pt idx="393">
                  <c:v>Private Lab</c:v>
                </c:pt>
                <c:pt idx="394">
                  <c:v>Private Lab</c:v>
                </c:pt>
                <c:pt idx="395">
                  <c:v>Galbani</c:v>
                </c:pt>
                <c:pt idx="396">
                  <c:v>All Others</c:v>
                </c:pt>
                <c:pt idx="397">
                  <c:v>Private Lab</c:v>
                </c:pt>
                <c:pt idx="398">
                  <c:v>Private Lab</c:v>
                </c:pt>
                <c:pt idx="399">
                  <c:v>Saint Agur</c:v>
                </c:pt>
                <c:pt idx="400">
                  <c:v>All Others</c:v>
                </c:pt>
                <c:pt idx="401">
                  <c:v>Salakis</c:v>
                </c:pt>
                <c:pt idx="402">
                  <c:v>Casa Azzurr</c:v>
                </c:pt>
                <c:pt idx="403">
                  <c:v>Tartare</c:v>
                </c:pt>
                <c:pt idx="404">
                  <c:v>President</c:v>
                </c:pt>
                <c:pt idx="405">
                  <c:v>La Vache Qu</c:v>
                </c:pt>
                <c:pt idx="406">
                  <c:v>Tartare</c:v>
                </c:pt>
                <c:pt idx="407">
                  <c:v>Private Lab</c:v>
                </c:pt>
                <c:pt idx="408">
                  <c:v>Les Mousque</c:v>
                </c:pt>
                <c:pt idx="409">
                  <c:v>L'Ortolan</c:v>
                </c:pt>
                <c:pt idx="410">
                  <c:v>Savencia: A</c:v>
                </c:pt>
                <c:pt idx="411">
                  <c:v>Paysan Bret</c:v>
                </c:pt>
                <c:pt idx="412">
                  <c:v>Private Lab</c:v>
                </c:pt>
                <c:pt idx="413">
                  <c:v>All Others</c:v>
                </c:pt>
                <c:pt idx="414">
                  <c:v>Richesmonts</c:v>
                </c:pt>
                <c:pt idx="415">
                  <c:v>Private Lab</c:v>
                </c:pt>
                <c:pt idx="416">
                  <c:v>Private Lab</c:v>
                </c:pt>
                <c:pt idx="417">
                  <c:v>Coeur De Li</c:v>
                </c:pt>
                <c:pt idx="418">
                  <c:v>All Others</c:v>
                </c:pt>
                <c:pt idx="419">
                  <c:v>All Others</c:v>
                </c:pt>
                <c:pt idx="420">
                  <c:v>Mini Babybe</c:v>
                </c:pt>
                <c:pt idx="421">
                  <c:v>Private Lab</c:v>
                </c:pt>
                <c:pt idx="422">
                  <c:v>Salakis</c:v>
                </c:pt>
                <c:pt idx="423">
                  <c:v>Eurial Autr</c:v>
                </c:pt>
                <c:pt idx="424">
                  <c:v>Savencia: A</c:v>
                </c:pt>
                <c:pt idx="425">
                  <c:v>Richesmonts</c:v>
                </c:pt>
                <c:pt idx="426">
                  <c:v>Paysan Bret</c:v>
                </c:pt>
                <c:pt idx="427">
                  <c:v>All Others</c:v>
                </c:pt>
                <c:pt idx="428">
                  <c:v>Lactalis: A</c:v>
                </c:pt>
                <c:pt idx="429">
                  <c:v>Richesmonts</c:v>
                </c:pt>
                <c:pt idx="430">
                  <c:v>Casa Azzurr</c:v>
                </c:pt>
                <c:pt idx="431">
                  <c:v>Paysan Bret</c:v>
                </c:pt>
                <c:pt idx="432">
                  <c:v>Apericube</c:v>
                </c:pt>
                <c:pt idx="433">
                  <c:v>Richesmonts</c:v>
                </c:pt>
                <c:pt idx="434">
                  <c:v>Private Lab</c:v>
                </c:pt>
                <c:pt idx="435">
                  <c:v>Kiri</c:v>
                </c:pt>
                <c:pt idx="436">
                  <c:v>All Others</c:v>
                </c:pt>
                <c:pt idx="437">
                  <c:v>La Belle Et</c:v>
                </c:pt>
                <c:pt idx="438">
                  <c:v>President</c:v>
                </c:pt>
                <c:pt idx="439">
                  <c:v>Triballat N</c:v>
                </c:pt>
                <c:pt idx="440">
                  <c:v>Soignon</c:v>
                </c:pt>
                <c:pt idx="441">
                  <c:v>Casa Azzurr</c:v>
                </c:pt>
                <c:pt idx="442">
                  <c:v>Societe</c:v>
                </c:pt>
                <c:pt idx="443">
                  <c:v>Private Lab</c:v>
                </c:pt>
                <c:pt idx="444">
                  <c:v>Boursin</c:v>
                </c:pt>
                <c:pt idx="445">
                  <c:v>Fauquet</c:v>
                </c:pt>
                <c:pt idx="446">
                  <c:v>Caprice Des</c:v>
                </c:pt>
                <c:pt idx="447">
                  <c:v>President</c:v>
                </c:pt>
                <c:pt idx="448">
                  <c:v>Le Rustique</c:v>
                </c:pt>
                <c:pt idx="449">
                  <c:v>St Moret</c:v>
                </c:pt>
                <c:pt idx="450">
                  <c:v>Savencia: A</c:v>
                </c:pt>
                <c:pt idx="451">
                  <c:v>Kiri</c:v>
                </c:pt>
                <c:pt idx="452">
                  <c:v>Private Lab</c:v>
                </c:pt>
                <c:pt idx="453">
                  <c:v>Saint Agur</c:v>
                </c:pt>
                <c:pt idx="454">
                  <c:v>Societe</c:v>
                </c:pt>
                <c:pt idx="455">
                  <c:v>Boursin</c:v>
                </c:pt>
                <c:pt idx="456">
                  <c:v>Private Lab</c:v>
                </c:pt>
                <c:pt idx="457">
                  <c:v>Casa Azzurr</c:v>
                </c:pt>
                <c:pt idx="458">
                  <c:v>Galbani</c:v>
                </c:pt>
                <c:pt idx="459">
                  <c:v>Private Lab</c:v>
                </c:pt>
                <c:pt idx="460">
                  <c:v>Caprice Des</c:v>
                </c:pt>
                <c:pt idx="461">
                  <c:v>Le Saint Am</c:v>
                </c:pt>
                <c:pt idx="462">
                  <c:v>Tartare</c:v>
                </c:pt>
                <c:pt idx="463">
                  <c:v>Casa Azzurr</c:v>
                </c:pt>
                <c:pt idx="464">
                  <c:v>Private Lab</c:v>
                </c:pt>
                <c:pt idx="465">
                  <c:v>All Others</c:v>
                </c:pt>
                <c:pt idx="466">
                  <c:v>Leerdammer</c:v>
                </c:pt>
                <c:pt idx="467">
                  <c:v>Galbani</c:v>
                </c:pt>
                <c:pt idx="468">
                  <c:v>Pochat</c:v>
                </c:pt>
                <c:pt idx="469">
                  <c:v>Lactalis: A</c:v>
                </c:pt>
                <c:pt idx="470">
                  <c:v>Mini Babybe</c:v>
                </c:pt>
                <c:pt idx="471">
                  <c:v>President</c:v>
                </c:pt>
                <c:pt idx="472">
                  <c:v>Les Mousque</c:v>
                </c:pt>
                <c:pt idx="473">
                  <c:v>Paysan Bret</c:v>
                </c:pt>
                <c:pt idx="474">
                  <c:v>Private Lab</c:v>
                </c:pt>
                <c:pt idx="475">
                  <c:v>Savencia: A</c:v>
                </c:pt>
                <c:pt idx="476">
                  <c:v>Soignon</c:v>
                </c:pt>
                <c:pt idx="477">
                  <c:v>Casa Azzurr</c:v>
                </c:pt>
                <c:pt idx="478">
                  <c:v>Les Mousque</c:v>
                </c:pt>
                <c:pt idx="479">
                  <c:v>Caprice Des</c:v>
                </c:pt>
                <c:pt idx="480">
                  <c:v>Lactalis: A</c:v>
                </c:pt>
                <c:pt idx="481">
                  <c:v>Galbani</c:v>
                </c:pt>
                <c:pt idx="482">
                  <c:v>All Others</c:v>
                </c:pt>
                <c:pt idx="483">
                  <c:v>Private Lab</c:v>
                </c:pt>
                <c:pt idx="484">
                  <c:v>St Moret</c:v>
                </c:pt>
                <c:pt idx="485">
                  <c:v>All Others</c:v>
                </c:pt>
                <c:pt idx="486">
                  <c:v>Etorki</c:v>
                </c:pt>
                <c:pt idx="487">
                  <c:v>All Others</c:v>
                </c:pt>
                <c:pt idx="488">
                  <c:v>All Others</c:v>
                </c:pt>
                <c:pt idx="489">
                  <c:v>All Others</c:v>
                </c:pt>
                <c:pt idx="490">
                  <c:v>Tartare</c:v>
                </c:pt>
                <c:pt idx="491">
                  <c:v>Milleret: A</c:v>
                </c:pt>
                <c:pt idx="492">
                  <c:v>Soignon</c:v>
                </c:pt>
                <c:pt idx="493">
                  <c:v>Pave D'Affi</c:v>
                </c:pt>
                <c:pt idx="494">
                  <c:v>All Others</c:v>
                </c:pt>
                <c:pt idx="495">
                  <c:v>Casa Azzurr</c:v>
                </c:pt>
                <c:pt idx="496">
                  <c:v>Private Lab</c:v>
                </c:pt>
                <c:pt idx="497">
                  <c:v>Aperivrais</c:v>
                </c:pt>
                <c:pt idx="498">
                  <c:v>St Moret</c:v>
                </c:pt>
                <c:pt idx="499">
                  <c:v>Entremont</c:v>
                </c:pt>
                <c:pt idx="500">
                  <c:v>La Belle Et</c:v>
                </c:pt>
                <c:pt idx="501">
                  <c:v>All Others</c:v>
                </c:pt>
                <c:pt idx="502">
                  <c:v>Corsica</c:v>
                </c:pt>
                <c:pt idx="503">
                  <c:v>Entremont</c:v>
                </c:pt>
                <c:pt idx="504">
                  <c:v>Kiri</c:v>
                </c:pt>
                <c:pt idx="505">
                  <c:v>Soignon</c:v>
                </c:pt>
                <c:pt idx="506">
                  <c:v>Boursin</c:v>
                </c:pt>
                <c:pt idx="507">
                  <c:v>Eurial Autr</c:v>
                </c:pt>
                <c:pt idx="508">
                  <c:v>All Others</c:v>
                </c:pt>
                <c:pt idx="509">
                  <c:v>Entremont</c:v>
                </c:pt>
                <c:pt idx="510">
                  <c:v>All Others</c:v>
                </c:pt>
                <c:pt idx="511">
                  <c:v>Entremont</c:v>
                </c:pt>
                <c:pt idx="512">
                  <c:v>Salakis</c:v>
                </c:pt>
                <c:pt idx="513">
                  <c:v>Galbani</c:v>
                </c:pt>
                <c:pt idx="514">
                  <c:v>Soignon</c:v>
                </c:pt>
                <c:pt idx="515">
                  <c:v>All Others</c:v>
                </c:pt>
                <c:pt idx="516">
                  <c:v>Juraflore</c:v>
                </c:pt>
                <c:pt idx="517">
                  <c:v>All Others</c:v>
                </c:pt>
                <c:pt idx="518">
                  <c:v>La Vache Qu</c:v>
                </c:pt>
                <c:pt idx="519">
                  <c:v>Lou Perac</c:v>
                </c:pt>
                <c:pt idx="520">
                  <c:v>All Others</c:v>
                </c:pt>
                <c:pt idx="521">
                  <c:v>All Others</c:v>
                </c:pt>
                <c:pt idx="522">
                  <c:v>President</c:v>
                </c:pt>
                <c:pt idx="523">
                  <c:v>Kiri</c:v>
                </c:pt>
                <c:pt idx="524">
                  <c:v>Private Lab</c:v>
                </c:pt>
                <c:pt idx="525">
                  <c:v>Tartare</c:v>
                </c:pt>
                <c:pt idx="526">
                  <c:v>All Others</c:v>
                </c:pt>
                <c:pt idx="527">
                  <c:v>All Others</c:v>
                </c:pt>
                <c:pt idx="528">
                  <c:v>Pave D'Affi</c:v>
                </c:pt>
                <c:pt idx="529">
                  <c:v>Salakis</c:v>
                </c:pt>
                <c:pt idx="530">
                  <c:v>Galbani</c:v>
                </c:pt>
                <c:pt idx="531">
                  <c:v>Casa Azzurr</c:v>
                </c:pt>
                <c:pt idx="532">
                  <c:v>All Others</c:v>
                </c:pt>
                <c:pt idx="533">
                  <c:v>All Others</c:v>
                </c:pt>
                <c:pt idx="534">
                  <c:v>All Others</c:v>
                </c:pt>
                <c:pt idx="535">
                  <c:v>Mini Babybe</c:v>
                </c:pt>
                <c:pt idx="536">
                  <c:v>Raguin</c:v>
                </c:pt>
                <c:pt idx="537">
                  <c:v>Les Mousque</c:v>
                </c:pt>
                <c:pt idx="538">
                  <c:v>All Others</c:v>
                </c:pt>
                <c:pt idx="539">
                  <c:v>Entremont</c:v>
                </c:pt>
                <c:pt idx="540">
                  <c:v>Raguin</c:v>
                </c:pt>
                <c:pt idx="541">
                  <c:v>President</c:v>
                </c:pt>
                <c:pt idx="542">
                  <c:v>Aperivrais</c:v>
                </c:pt>
                <c:pt idx="543">
                  <c:v>L'Ortolan</c:v>
                </c:pt>
                <c:pt idx="544">
                  <c:v>Mini Babybe</c:v>
                </c:pt>
                <c:pt idx="545">
                  <c:v>L'Ortolan</c:v>
                </c:pt>
                <c:pt idx="546">
                  <c:v>Private Lab</c:v>
                </c:pt>
                <c:pt idx="547">
                  <c:v>La Table M</c:v>
                </c:pt>
                <c:pt idx="548">
                  <c:v>Paysan Bret</c:v>
                </c:pt>
                <c:pt idx="549">
                  <c:v>Saint Agur</c:v>
                </c:pt>
                <c:pt idx="550">
                  <c:v>Private Lab</c:v>
                </c:pt>
                <c:pt idx="551">
                  <c:v>Triballat N</c:v>
                </c:pt>
                <c:pt idx="552">
                  <c:v>All Others</c:v>
                </c:pt>
                <c:pt idx="553">
                  <c:v>All Others</c:v>
                </c:pt>
                <c:pt idx="554">
                  <c:v>Private Lab</c:v>
                </c:pt>
                <c:pt idx="555">
                  <c:v>Private Lab</c:v>
                </c:pt>
                <c:pt idx="556">
                  <c:v>All Others</c:v>
                </c:pt>
                <c:pt idx="557">
                  <c:v>All Others</c:v>
                </c:pt>
                <c:pt idx="558">
                  <c:v>La Belle Et</c:v>
                </c:pt>
                <c:pt idx="559">
                  <c:v>Casa Azzurr</c:v>
                </c:pt>
                <c:pt idx="560">
                  <c:v>Casa Azzurr</c:v>
                </c:pt>
                <c:pt idx="561">
                  <c:v>All Others</c:v>
                </c:pt>
                <c:pt idx="562">
                  <c:v>All Others</c:v>
                </c:pt>
                <c:pt idx="563">
                  <c:v>St Moret</c:v>
                </c:pt>
                <c:pt idx="564">
                  <c:v>Lactalis: A</c:v>
                </c:pt>
                <c:pt idx="565">
                  <c:v>All Others</c:v>
                </c:pt>
                <c:pt idx="566">
                  <c:v>Apericube</c:v>
                </c:pt>
                <c:pt idx="567">
                  <c:v>Vieux Pane</c:v>
                </c:pt>
                <c:pt idx="568">
                  <c:v>La Belle Et</c:v>
                </c:pt>
                <c:pt idx="569">
                  <c:v>Milleret: A</c:v>
                </c:pt>
                <c:pt idx="570">
                  <c:v>All Others</c:v>
                </c:pt>
                <c:pt idx="571">
                  <c:v>All Others</c:v>
                </c:pt>
                <c:pt idx="572">
                  <c:v>President</c:v>
                </c:pt>
                <c:pt idx="573">
                  <c:v>Galbani</c:v>
                </c:pt>
                <c:pt idx="574">
                  <c:v>All Others</c:v>
                </c:pt>
                <c:pt idx="575">
                  <c:v>Raguin</c:v>
                </c:pt>
                <c:pt idx="576">
                  <c:v>All Others</c:v>
                </c:pt>
                <c:pt idx="577">
                  <c:v>All Others</c:v>
                </c:pt>
                <c:pt idx="578">
                  <c:v>Islos</c:v>
                </c:pt>
                <c:pt idx="579">
                  <c:v>Kiri</c:v>
                </c:pt>
                <c:pt idx="580">
                  <c:v>Istara</c:v>
                </c:pt>
                <c:pt idx="581">
                  <c:v>L'Ortolan</c:v>
                </c:pt>
                <c:pt idx="582">
                  <c:v>La Belle Et</c:v>
                </c:pt>
                <c:pt idx="583">
                  <c:v>Entremont</c:v>
                </c:pt>
                <c:pt idx="584">
                  <c:v>Societe</c:v>
                </c:pt>
                <c:pt idx="585">
                  <c:v>All Others</c:v>
                </c:pt>
                <c:pt idx="586">
                  <c:v>All Others</c:v>
                </c:pt>
                <c:pt idx="587">
                  <c:v>Private Lab</c:v>
                </c:pt>
                <c:pt idx="588">
                  <c:v>Entremont</c:v>
                </c:pt>
                <c:pt idx="589">
                  <c:v>Lactalis: A</c:v>
                </c:pt>
                <c:pt idx="590">
                  <c:v>Paysan Bret</c:v>
                </c:pt>
                <c:pt idx="591">
                  <c:v>L'Ortolan</c:v>
                </c:pt>
                <c:pt idx="592">
                  <c:v>All Others</c:v>
                </c:pt>
                <c:pt idx="593">
                  <c:v>Le Coq Crem</c:v>
                </c:pt>
                <c:pt idx="594">
                  <c:v>Milleret: A</c:v>
                </c:pt>
                <c:pt idx="595">
                  <c:v>Raguin</c:v>
                </c:pt>
                <c:pt idx="596">
                  <c:v>All Others</c:v>
                </c:pt>
                <c:pt idx="597">
                  <c:v>Mini Babybe</c:v>
                </c:pt>
                <c:pt idx="598">
                  <c:v>Lactalis: A</c:v>
                </c:pt>
                <c:pt idx="599">
                  <c:v>Leerdammer</c:v>
                </c:pt>
                <c:pt idx="600">
                  <c:v>All Others</c:v>
                </c:pt>
                <c:pt idx="601">
                  <c:v>All Others</c:v>
                </c:pt>
                <c:pt idx="602">
                  <c:v>Milleret: A</c:v>
                </c:pt>
                <c:pt idx="603">
                  <c:v>Etoile Du Q</c:v>
                </c:pt>
                <c:pt idx="604">
                  <c:v>Private Lab</c:v>
                </c:pt>
                <c:pt idx="605">
                  <c:v>Boursin</c:v>
                </c:pt>
                <c:pt idx="606">
                  <c:v>Apericube</c:v>
                </c:pt>
                <c:pt idx="607">
                  <c:v>Paysan Bret</c:v>
                </c:pt>
                <c:pt idx="608">
                  <c:v>Pochat</c:v>
                </c:pt>
                <c:pt idx="609">
                  <c:v>All Others</c:v>
                </c:pt>
                <c:pt idx="610">
                  <c:v>Eurial Autr</c:v>
                </c:pt>
                <c:pt idx="611">
                  <c:v>All Others</c:v>
                </c:pt>
                <c:pt idx="612">
                  <c:v>Entremont</c:v>
                </c:pt>
                <c:pt idx="613">
                  <c:v>All Others</c:v>
                </c:pt>
                <c:pt idx="614">
                  <c:v>All Others</c:v>
                </c:pt>
                <c:pt idx="615">
                  <c:v>Galbani</c:v>
                </c:pt>
                <c:pt idx="616">
                  <c:v>All Others</c:v>
                </c:pt>
                <c:pt idx="617">
                  <c:v>Milleret: A</c:v>
                </c:pt>
                <c:pt idx="618">
                  <c:v>All Others</c:v>
                </c:pt>
                <c:pt idx="619">
                  <c:v>All Others</c:v>
                </c:pt>
                <c:pt idx="620">
                  <c:v>Entremont</c:v>
                </c:pt>
                <c:pt idx="621">
                  <c:v>Entremont</c:v>
                </c:pt>
                <c:pt idx="622">
                  <c:v>All Others</c:v>
                </c:pt>
                <c:pt idx="623">
                  <c:v>All Others</c:v>
                </c:pt>
                <c:pt idx="624">
                  <c:v>Galbani</c:v>
                </c:pt>
                <c:pt idx="625">
                  <c:v>Soignon</c:v>
                </c:pt>
                <c:pt idx="626">
                  <c:v>Soignon</c:v>
                </c:pt>
                <c:pt idx="627">
                  <c:v>All Others</c:v>
                </c:pt>
                <c:pt idx="628">
                  <c:v>All Others</c:v>
                </c:pt>
                <c:pt idx="629">
                  <c:v>Private Lab</c:v>
                </c:pt>
                <c:pt idx="630">
                  <c:v>All Others</c:v>
                </c:pt>
                <c:pt idx="631">
                  <c:v>La Belle Et</c:v>
                </c:pt>
                <c:pt idx="632">
                  <c:v>Bresse Bleu</c:v>
                </c:pt>
                <c:pt idx="633">
                  <c:v>Pochat</c:v>
                </c:pt>
                <c:pt idx="634">
                  <c:v>Savencia: A</c:v>
                </c:pt>
                <c:pt idx="635">
                  <c:v>Triballat N</c:v>
                </c:pt>
                <c:pt idx="636">
                  <c:v>Savencia: A</c:v>
                </c:pt>
                <c:pt idx="637">
                  <c:v>Etoile Du V</c:v>
                </c:pt>
                <c:pt idx="638">
                  <c:v>All Others</c:v>
                </c:pt>
                <c:pt idx="639">
                  <c:v>Savencia: A</c:v>
                </c:pt>
                <c:pt idx="640">
                  <c:v>Societe</c:v>
                </c:pt>
                <c:pt idx="641">
                  <c:v>Milleret: A</c:v>
                </c:pt>
                <c:pt idx="642">
                  <c:v>Nurishh</c:v>
                </c:pt>
                <c:pt idx="643">
                  <c:v>Richesmonts</c:v>
                </c:pt>
                <c:pt idx="644">
                  <c:v>All Others</c:v>
                </c:pt>
                <c:pt idx="645">
                  <c:v>Richesmonts</c:v>
                </c:pt>
                <c:pt idx="646">
                  <c:v>All Others</c:v>
                </c:pt>
                <c:pt idx="647">
                  <c:v>Paysan Bret</c:v>
                </c:pt>
                <c:pt idx="648">
                  <c:v>L'Ortolan</c:v>
                </c:pt>
                <c:pt idx="649">
                  <c:v>All Others</c:v>
                </c:pt>
                <c:pt idx="650">
                  <c:v>President</c:v>
                </c:pt>
                <c:pt idx="651">
                  <c:v>All Others</c:v>
                </c:pt>
                <c:pt idx="652">
                  <c:v>Lactalis: A</c:v>
                </c:pt>
                <c:pt idx="653">
                  <c:v>Boursin</c:v>
                </c:pt>
                <c:pt idx="654">
                  <c:v>All Others</c:v>
                </c:pt>
                <c:pt idx="655">
                  <c:v>Eurial Autr</c:v>
                </c:pt>
                <c:pt idx="656">
                  <c:v>All Others</c:v>
                </c:pt>
                <c:pt idx="657">
                  <c:v>Private Lab</c:v>
                </c:pt>
                <c:pt idx="658">
                  <c:v>All Others</c:v>
                </c:pt>
                <c:pt idx="659">
                  <c:v>All Others</c:v>
                </c:pt>
                <c:pt idx="660">
                  <c:v>Le Rustique</c:v>
                </c:pt>
                <c:pt idx="661">
                  <c:v>Paysan Bret</c:v>
                </c:pt>
                <c:pt idx="662">
                  <c:v>All Others</c:v>
                </c:pt>
                <c:pt idx="663">
                  <c:v>All Others</c:v>
                </c:pt>
                <c:pt idx="664">
                  <c:v>All Others</c:v>
                </c:pt>
                <c:pt idx="665">
                  <c:v>Salakis</c:v>
                </c:pt>
                <c:pt idx="666">
                  <c:v>Savencia: A</c:v>
                </c:pt>
                <c:pt idx="667">
                  <c:v>All Others</c:v>
                </c:pt>
                <c:pt idx="668">
                  <c:v>Soignon</c:v>
                </c:pt>
                <c:pt idx="669">
                  <c:v>Private Lab</c:v>
                </c:pt>
                <c:pt idx="670">
                  <c:v>Violife</c:v>
                </c:pt>
                <c:pt idx="671">
                  <c:v>All Others</c:v>
                </c:pt>
                <c:pt idx="672">
                  <c:v>All Others</c:v>
                </c:pt>
                <c:pt idx="673">
                  <c:v>All Others</c:v>
                </c:pt>
                <c:pt idx="674">
                  <c:v>All Others</c:v>
                </c:pt>
                <c:pt idx="675">
                  <c:v>All Others</c:v>
                </c:pt>
                <c:pt idx="676">
                  <c:v>Islos</c:v>
                </c:pt>
                <c:pt idx="677">
                  <c:v>All Others</c:v>
                </c:pt>
                <c:pt idx="678">
                  <c:v>All Others</c:v>
                </c:pt>
                <c:pt idx="679">
                  <c:v>All Others</c:v>
                </c:pt>
                <c:pt idx="680">
                  <c:v>Carre Frais</c:v>
                </c:pt>
                <c:pt idx="681">
                  <c:v>Nurishh</c:v>
                </c:pt>
                <c:pt idx="682">
                  <c:v>Triballat N</c:v>
                </c:pt>
                <c:pt idx="683">
                  <c:v>All Others</c:v>
                </c:pt>
                <c:pt idx="684">
                  <c:v>All Others</c:v>
                </c:pt>
                <c:pt idx="685">
                  <c:v>Nurishh</c:v>
                </c:pt>
                <c:pt idx="686">
                  <c:v>All Others</c:v>
                </c:pt>
                <c:pt idx="687">
                  <c:v>All Others</c:v>
                </c:pt>
                <c:pt idx="688">
                  <c:v>All Others</c:v>
                </c:pt>
                <c:pt idx="689">
                  <c:v>All Others</c:v>
                </c:pt>
                <c:pt idx="690">
                  <c:v>Pave D'Affi</c:v>
                </c:pt>
                <c:pt idx="691">
                  <c:v>All Others</c:v>
                </c:pt>
                <c:pt idx="692">
                  <c:v>All Others</c:v>
                </c:pt>
                <c:pt idx="693">
                  <c:v>Entremont</c:v>
                </c:pt>
                <c:pt idx="694">
                  <c:v>Entremont</c:v>
                </c:pt>
                <c:pt idx="695">
                  <c:v>Les Mousque</c:v>
                </c:pt>
                <c:pt idx="696">
                  <c:v>All Others</c:v>
                </c:pt>
                <c:pt idx="697">
                  <c:v>All Others</c:v>
                </c:pt>
                <c:pt idx="698">
                  <c:v>All Others</c:v>
                </c:pt>
                <c:pt idx="699">
                  <c:v>Lactalis: A</c:v>
                </c:pt>
                <c:pt idx="700">
                  <c:v>All Others</c:v>
                </c:pt>
                <c:pt idx="701">
                  <c:v>All Others</c:v>
                </c:pt>
                <c:pt idx="702">
                  <c:v>All Others</c:v>
                </c:pt>
                <c:pt idx="703">
                  <c:v>Lactalis: A</c:v>
                </c:pt>
                <c:pt idx="704">
                  <c:v>All Others</c:v>
                </c:pt>
                <c:pt idx="705">
                  <c:v>Pochat</c:v>
                </c:pt>
                <c:pt idx="706">
                  <c:v>All Others</c:v>
                </c:pt>
                <c:pt idx="707">
                  <c:v>All Others</c:v>
                </c:pt>
                <c:pt idx="708">
                  <c:v>Violife</c:v>
                </c:pt>
                <c:pt idx="709">
                  <c:v>Le Brebiou</c:v>
                </c:pt>
                <c:pt idx="710">
                  <c:v>All Others</c:v>
                </c:pt>
                <c:pt idx="711">
                  <c:v>All Others</c:v>
                </c:pt>
                <c:pt idx="712">
                  <c:v>Entremont</c:v>
                </c:pt>
                <c:pt idx="713">
                  <c:v>All Others</c:v>
                </c:pt>
                <c:pt idx="714">
                  <c:v>All Others</c:v>
                </c:pt>
                <c:pt idx="715">
                  <c:v>All Others</c:v>
                </c:pt>
                <c:pt idx="716">
                  <c:v>Coeur De Li</c:v>
                </c:pt>
                <c:pt idx="717">
                  <c:v>All Others</c:v>
                </c:pt>
                <c:pt idx="718">
                  <c:v>Casa Azzurr</c:v>
                </c:pt>
                <c:pt idx="719">
                  <c:v>All Others</c:v>
                </c:pt>
                <c:pt idx="720">
                  <c:v>Boursin</c:v>
                </c:pt>
                <c:pt idx="721">
                  <c:v>All Others</c:v>
                </c:pt>
                <c:pt idx="722">
                  <c:v>President</c:v>
                </c:pt>
                <c:pt idx="723">
                  <c:v>Soignon</c:v>
                </c:pt>
                <c:pt idx="724">
                  <c:v>Paysan Bret</c:v>
                </c:pt>
                <c:pt idx="725">
                  <c:v>Etoile Du V</c:v>
                </c:pt>
                <c:pt idx="726">
                  <c:v>All Others</c:v>
                </c:pt>
                <c:pt idx="727">
                  <c:v>Etoile Du V</c:v>
                </c:pt>
                <c:pt idx="728">
                  <c:v>Etoile Du V</c:v>
                </c:pt>
                <c:pt idx="729">
                  <c:v>All Others</c:v>
                </c:pt>
                <c:pt idx="730">
                  <c:v>Etoile Du V</c:v>
                </c:pt>
                <c:pt idx="731">
                  <c:v>All Others</c:v>
                </c:pt>
                <c:pt idx="732">
                  <c:v>Fol Epi</c:v>
                </c:pt>
                <c:pt idx="733">
                  <c:v>Caprice Des</c:v>
                </c:pt>
                <c:pt idx="734">
                  <c:v>All Others</c:v>
                </c:pt>
                <c:pt idx="735">
                  <c:v>All Others</c:v>
                </c:pt>
                <c:pt idx="736">
                  <c:v>Etoile Du V</c:v>
                </c:pt>
                <c:pt idx="737">
                  <c:v>Apericube</c:v>
                </c:pt>
                <c:pt idx="738">
                  <c:v>All Others</c:v>
                </c:pt>
                <c:pt idx="739">
                  <c:v>P'Tit Louis</c:v>
                </c:pt>
                <c:pt idx="740">
                  <c:v>Pochat</c:v>
                </c:pt>
                <c:pt idx="741">
                  <c:v>Entremont</c:v>
                </c:pt>
                <c:pt idx="742">
                  <c:v>Nurishh</c:v>
                </c:pt>
                <c:pt idx="743">
                  <c:v>Nurishh</c:v>
                </c:pt>
                <c:pt idx="744">
                  <c:v>All Others</c:v>
                </c:pt>
                <c:pt idx="745">
                  <c:v>Les Mousque</c:v>
                </c:pt>
                <c:pt idx="746">
                  <c:v>Boursin</c:v>
                </c:pt>
                <c:pt idx="747">
                  <c:v>Milleret: A</c:v>
                </c:pt>
                <c:pt idx="748">
                  <c:v>Milleret: A</c:v>
                </c:pt>
                <c:pt idx="749">
                  <c:v>All Others</c:v>
                </c:pt>
                <c:pt idx="750">
                  <c:v>All Others</c:v>
                </c:pt>
                <c:pt idx="751">
                  <c:v>All Others</c:v>
                </c:pt>
                <c:pt idx="752">
                  <c:v>All Others</c:v>
                </c:pt>
                <c:pt idx="753">
                  <c:v>Apericube</c:v>
                </c:pt>
                <c:pt idx="754">
                  <c:v>Milleret: A</c:v>
                </c:pt>
                <c:pt idx="755">
                  <c:v>La Belle Et</c:v>
                </c:pt>
                <c:pt idx="756">
                  <c:v>Istara</c:v>
                </c:pt>
                <c:pt idx="757">
                  <c:v>Mini Babybe</c:v>
                </c:pt>
                <c:pt idx="758">
                  <c:v>All Others</c:v>
                </c:pt>
                <c:pt idx="759">
                  <c:v>All Others</c:v>
                </c:pt>
                <c:pt idx="760">
                  <c:v>All Others</c:v>
                </c:pt>
                <c:pt idx="761">
                  <c:v>Private Lab</c:v>
                </c:pt>
                <c:pt idx="762">
                  <c:v>Lactalis: A</c:v>
                </c:pt>
                <c:pt idx="763">
                  <c:v>All Others</c:v>
                </c:pt>
                <c:pt idx="764">
                  <c:v>All Others</c:v>
                </c:pt>
                <c:pt idx="765">
                  <c:v>Entremont</c:v>
                </c:pt>
                <c:pt idx="766">
                  <c:v>Fauquet</c:v>
                </c:pt>
                <c:pt idx="767">
                  <c:v>Bresse Bleu</c:v>
                </c:pt>
                <c:pt idx="768">
                  <c:v>Lactalis: A</c:v>
                </c:pt>
                <c:pt idx="769">
                  <c:v>Savencia: A</c:v>
                </c:pt>
                <c:pt idx="770">
                  <c:v>All Others</c:v>
                </c:pt>
                <c:pt idx="771">
                  <c:v>Mini Babybe</c:v>
                </c:pt>
                <c:pt idx="772">
                  <c:v>All Others</c:v>
                </c:pt>
                <c:pt idx="773">
                  <c:v>Nurishh</c:v>
                </c:pt>
                <c:pt idx="774">
                  <c:v>All Others</c:v>
                </c:pt>
                <c:pt idx="775">
                  <c:v>All Others</c:v>
                </c:pt>
                <c:pt idx="776">
                  <c:v>All Others</c:v>
                </c:pt>
                <c:pt idx="777">
                  <c:v>All Others</c:v>
                </c:pt>
                <c:pt idx="778">
                  <c:v>All Others</c:v>
                </c:pt>
                <c:pt idx="779">
                  <c:v>Casa Azzurr</c:v>
                </c:pt>
                <c:pt idx="780">
                  <c:v>All Others</c:v>
                </c:pt>
                <c:pt idx="781">
                  <c:v>Saint Agur</c:v>
                </c:pt>
                <c:pt idx="782">
                  <c:v>All Others</c:v>
                </c:pt>
                <c:pt idx="783">
                  <c:v>All Others</c:v>
                </c:pt>
                <c:pt idx="784">
                  <c:v>St Moret</c:v>
                </c:pt>
                <c:pt idx="785">
                  <c:v>Entremont</c:v>
                </c:pt>
                <c:pt idx="786">
                  <c:v>Aperivrais</c:v>
                </c:pt>
                <c:pt idx="787">
                  <c:v>All Others</c:v>
                </c:pt>
                <c:pt idx="788">
                  <c:v>Chavroux</c:v>
                </c:pt>
                <c:pt idx="789">
                  <c:v>Paysan Bret</c:v>
                </c:pt>
                <c:pt idx="790">
                  <c:v>All Others</c:v>
                </c:pt>
                <c:pt idx="791">
                  <c:v>All Others</c:v>
                </c:pt>
                <c:pt idx="792">
                  <c:v>All Others</c:v>
                </c:pt>
                <c:pt idx="793">
                  <c:v>All Others</c:v>
                </c:pt>
                <c:pt idx="794">
                  <c:v>All Others</c:v>
                </c:pt>
                <c:pt idx="795">
                  <c:v>All Others</c:v>
                </c:pt>
                <c:pt idx="796">
                  <c:v>Casa Azzurr</c:v>
                </c:pt>
                <c:pt idx="797">
                  <c:v>All Others</c:v>
                </c:pt>
                <c:pt idx="798">
                  <c:v>All Others</c:v>
                </c:pt>
                <c:pt idx="799">
                  <c:v>All Others</c:v>
                </c:pt>
                <c:pt idx="800">
                  <c:v>Saint Agur</c:v>
                </c:pt>
                <c:pt idx="801">
                  <c:v>All Others</c:v>
                </c:pt>
                <c:pt idx="802">
                  <c:v>Boursin</c:v>
                </c:pt>
                <c:pt idx="803">
                  <c:v>Private Lab</c:v>
                </c:pt>
                <c:pt idx="804">
                  <c:v>All Others</c:v>
                </c:pt>
                <c:pt idx="805">
                  <c:v>All Others</c:v>
                </c:pt>
                <c:pt idx="806">
                  <c:v>All Others</c:v>
                </c:pt>
                <c:pt idx="807">
                  <c:v>All Others</c:v>
                </c:pt>
                <c:pt idx="808">
                  <c:v>All Others</c:v>
                </c:pt>
                <c:pt idx="809">
                  <c:v>All Others</c:v>
                </c:pt>
                <c:pt idx="810">
                  <c:v>Saint Albra</c:v>
                </c:pt>
                <c:pt idx="811">
                  <c:v>Richesmonts</c:v>
                </c:pt>
                <c:pt idx="812">
                  <c:v>All Others</c:v>
                </c:pt>
                <c:pt idx="813">
                  <c:v>All Others</c:v>
                </c:pt>
                <c:pt idx="814">
                  <c:v>All Others</c:v>
                </c:pt>
                <c:pt idx="815">
                  <c:v>All Others</c:v>
                </c:pt>
                <c:pt idx="816">
                  <c:v>All Others</c:v>
                </c:pt>
                <c:pt idx="817">
                  <c:v>All Others</c:v>
                </c:pt>
                <c:pt idx="818">
                  <c:v>All Others</c:v>
                </c:pt>
                <c:pt idx="819">
                  <c:v>All Others</c:v>
                </c:pt>
                <c:pt idx="820">
                  <c:v>All Others</c:v>
                </c:pt>
                <c:pt idx="821">
                  <c:v>Lactalis: A</c:v>
                </c:pt>
                <c:pt idx="822">
                  <c:v>All Others</c:v>
                </c:pt>
                <c:pt idx="823">
                  <c:v>All Others</c:v>
                </c:pt>
                <c:pt idx="824">
                  <c:v>All Others</c:v>
                </c:pt>
                <c:pt idx="825">
                  <c:v>All Others</c:v>
                </c:pt>
                <c:pt idx="826">
                  <c:v>President</c:v>
                </c:pt>
                <c:pt idx="827">
                  <c:v>All Others</c:v>
                </c:pt>
                <c:pt idx="828">
                  <c:v>Vieux Pane</c:v>
                </c:pt>
                <c:pt idx="829">
                  <c:v>All Others</c:v>
                </c:pt>
                <c:pt idx="830">
                  <c:v>All Others</c:v>
                </c:pt>
                <c:pt idx="831">
                  <c:v>Tartare</c:v>
                </c:pt>
                <c:pt idx="832">
                  <c:v>All Others</c:v>
                </c:pt>
                <c:pt idx="833">
                  <c:v>Violife</c:v>
                </c:pt>
                <c:pt idx="834">
                  <c:v>All Others</c:v>
                </c:pt>
                <c:pt idx="835">
                  <c:v>All Others</c:v>
                </c:pt>
                <c:pt idx="836">
                  <c:v>All Others</c:v>
                </c:pt>
                <c:pt idx="837">
                  <c:v>All Others</c:v>
                </c:pt>
                <c:pt idx="838">
                  <c:v>All Others</c:v>
                </c:pt>
                <c:pt idx="839">
                  <c:v>All Others</c:v>
                </c:pt>
                <c:pt idx="840">
                  <c:v>All Others</c:v>
                </c:pt>
                <c:pt idx="841">
                  <c:v>La Belle Et</c:v>
                </c:pt>
                <c:pt idx="842">
                  <c:v>All Others</c:v>
                </c:pt>
                <c:pt idx="843">
                  <c:v>All Others</c:v>
                </c:pt>
                <c:pt idx="844">
                  <c:v>Boursin</c:v>
                </c:pt>
                <c:pt idx="845">
                  <c:v>La Belle Et</c:v>
                </c:pt>
                <c:pt idx="846">
                  <c:v>Etoile Du V</c:v>
                </c:pt>
                <c:pt idx="847">
                  <c:v>All Others</c:v>
                </c:pt>
                <c:pt idx="848">
                  <c:v>All Others</c:v>
                </c:pt>
                <c:pt idx="849">
                  <c:v>All Others</c:v>
                </c:pt>
                <c:pt idx="850">
                  <c:v>Lindahls Pr</c:v>
                </c:pt>
                <c:pt idx="851">
                  <c:v>All Others</c:v>
                </c:pt>
                <c:pt idx="852">
                  <c:v>All Others</c:v>
                </c:pt>
                <c:pt idx="853">
                  <c:v>Savencia: A</c:v>
                </c:pt>
                <c:pt idx="854">
                  <c:v>Aperivrais</c:v>
                </c:pt>
                <c:pt idx="855">
                  <c:v>Richesmonts</c:v>
                </c:pt>
                <c:pt idx="856">
                  <c:v>Entremont</c:v>
                </c:pt>
                <c:pt idx="857">
                  <c:v>All Others</c:v>
                </c:pt>
                <c:pt idx="858">
                  <c:v>All Others</c:v>
                </c:pt>
                <c:pt idx="859">
                  <c:v>All Others</c:v>
                </c:pt>
                <c:pt idx="860">
                  <c:v>All Others</c:v>
                </c:pt>
                <c:pt idx="861">
                  <c:v>All Others</c:v>
                </c:pt>
                <c:pt idx="862">
                  <c:v>La Belle Et</c:v>
                </c:pt>
                <c:pt idx="863">
                  <c:v>All Others</c:v>
                </c:pt>
                <c:pt idx="864">
                  <c:v>Paysan Bret</c:v>
                </c:pt>
                <c:pt idx="865">
                  <c:v>All Others</c:v>
                </c:pt>
                <c:pt idx="866">
                  <c:v>All Others</c:v>
                </c:pt>
                <c:pt idx="867">
                  <c:v>Lactalis: A</c:v>
                </c:pt>
                <c:pt idx="868">
                  <c:v>All Others</c:v>
                </c:pt>
                <c:pt idx="869">
                  <c:v>All Others</c:v>
                </c:pt>
                <c:pt idx="870">
                  <c:v>La Belle Et</c:v>
                </c:pt>
                <c:pt idx="871">
                  <c:v>All Others</c:v>
                </c:pt>
                <c:pt idx="872">
                  <c:v>All Others</c:v>
                </c:pt>
                <c:pt idx="873">
                  <c:v>All Others</c:v>
                </c:pt>
                <c:pt idx="874">
                  <c:v>All Others</c:v>
                </c:pt>
                <c:pt idx="875">
                  <c:v>All Others</c:v>
                </c:pt>
                <c:pt idx="876">
                  <c:v>Entremont</c:v>
                </c:pt>
                <c:pt idx="877">
                  <c:v>All Others</c:v>
                </c:pt>
                <c:pt idx="878">
                  <c:v>All Others</c:v>
                </c:pt>
                <c:pt idx="879">
                  <c:v>All Others</c:v>
                </c:pt>
                <c:pt idx="880">
                  <c:v>All Others</c:v>
                </c:pt>
                <c:pt idx="881">
                  <c:v>All Others</c:v>
                </c:pt>
                <c:pt idx="882">
                  <c:v>All Others</c:v>
                </c:pt>
                <c:pt idx="883">
                  <c:v>President</c:v>
                </c:pt>
                <c:pt idx="884">
                  <c:v>All Others</c:v>
                </c:pt>
                <c:pt idx="885">
                  <c:v>Private Lab</c:v>
                </c:pt>
                <c:pt idx="886">
                  <c:v>All Others</c:v>
                </c:pt>
                <c:pt idx="887">
                  <c:v>All Others</c:v>
                </c:pt>
                <c:pt idx="888">
                  <c:v>All Others</c:v>
                </c:pt>
                <c:pt idx="889">
                  <c:v>La Belle Et</c:v>
                </c:pt>
                <c:pt idx="890">
                  <c:v>All Others</c:v>
                </c:pt>
                <c:pt idx="891">
                  <c:v>All Others</c:v>
                </c:pt>
                <c:pt idx="892">
                  <c:v>All Others</c:v>
                </c:pt>
                <c:pt idx="893">
                  <c:v>All Others</c:v>
                </c:pt>
                <c:pt idx="894">
                  <c:v>Pave D'Affi</c:v>
                </c:pt>
                <c:pt idx="895">
                  <c:v>All Others</c:v>
                </c:pt>
                <c:pt idx="896">
                  <c:v>All Others</c:v>
                </c:pt>
                <c:pt idx="897">
                  <c:v>All Others</c:v>
                </c:pt>
                <c:pt idx="898">
                  <c:v>Boursin</c:v>
                </c:pt>
                <c:pt idx="899">
                  <c:v>All Others</c:v>
                </c:pt>
                <c:pt idx="900">
                  <c:v>La Belle Et</c:v>
                </c:pt>
                <c:pt idx="901">
                  <c:v>Chavroux</c:v>
                </c:pt>
                <c:pt idx="902">
                  <c:v>All Others</c:v>
                </c:pt>
                <c:pt idx="903">
                  <c:v>All Others</c:v>
                </c:pt>
                <c:pt idx="904">
                  <c:v>All Others</c:v>
                </c:pt>
                <c:pt idx="905">
                  <c:v>All Others</c:v>
                </c:pt>
                <c:pt idx="906">
                  <c:v>Etorki</c:v>
                </c:pt>
                <c:pt idx="907">
                  <c:v>Apericube</c:v>
                </c:pt>
                <c:pt idx="908">
                  <c:v>All Others</c:v>
                </c:pt>
                <c:pt idx="909">
                  <c:v>All Others</c:v>
                </c:pt>
                <c:pt idx="910">
                  <c:v>All Others</c:v>
                </c:pt>
                <c:pt idx="911">
                  <c:v>La Belle Et</c:v>
                </c:pt>
                <c:pt idx="912">
                  <c:v>All Others</c:v>
                </c:pt>
                <c:pt idx="913">
                  <c:v>Salakis</c:v>
                </c:pt>
                <c:pt idx="914">
                  <c:v>All Others</c:v>
                </c:pt>
                <c:pt idx="915">
                  <c:v>All Others</c:v>
                </c:pt>
                <c:pt idx="916">
                  <c:v>All Others</c:v>
                </c:pt>
                <c:pt idx="917">
                  <c:v>Entremont</c:v>
                </c:pt>
                <c:pt idx="918">
                  <c:v>Soignon</c:v>
                </c:pt>
                <c:pt idx="919">
                  <c:v>All Others</c:v>
                </c:pt>
                <c:pt idx="920">
                  <c:v>Casa Azzurr</c:v>
                </c:pt>
                <c:pt idx="921">
                  <c:v>All Others</c:v>
                </c:pt>
                <c:pt idx="922">
                  <c:v>All Others</c:v>
                </c:pt>
                <c:pt idx="923">
                  <c:v>All Others</c:v>
                </c:pt>
                <c:pt idx="924">
                  <c:v>Apericube</c:v>
                </c:pt>
                <c:pt idx="925">
                  <c:v>All Others</c:v>
                </c:pt>
                <c:pt idx="926">
                  <c:v>All Others</c:v>
                </c:pt>
                <c:pt idx="927">
                  <c:v>Boursin</c:v>
                </c:pt>
                <c:pt idx="928">
                  <c:v>Salakis</c:v>
                </c:pt>
                <c:pt idx="929">
                  <c:v>All Others</c:v>
                </c:pt>
                <c:pt idx="930">
                  <c:v>All Others</c:v>
                </c:pt>
                <c:pt idx="931">
                  <c:v>All Others</c:v>
                </c:pt>
                <c:pt idx="932">
                  <c:v>Galbani</c:v>
                </c:pt>
                <c:pt idx="933">
                  <c:v>All Others</c:v>
                </c:pt>
                <c:pt idx="934">
                  <c:v>All Others</c:v>
                </c:pt>
                <c:pt idx="935">
                  <c:v>President</c:v>
                </c:pt>
                <c:pt idx="936">
                  <c:v>Boursin</c:v>
                </c:pt>
                <c:pt idx="937">
                  <c:v>Lactalis: A</c:v>
                </c:pt>
                <c:pt idx="938">
                  <c:v>Tartare</c:v>
                </c:pt>
                <c:pt idx="939">
                  <c:v>All Others</c:v>
                </c:pt>
                <c:pt idx="940">
                  <c:v>All Others</c:v>
                </c:pt>
                <c:pt idx="941">
                  <c:v>All Others</c:v>
                </c:pt>
                <c:pt idx="942">
                  <c:v>All Others</c:v>
                </c:pt>
                <c:pt idx="943">
                  <c:v>All Others</c:v>
                </c:pt>
                <c:pt idx="944">
                  <c:v>All Others</c:v>
                </c:pt>
                <c:pt idx="945">
                  <c:v>All Others</c:v>
                </c:pt>
                <c:pt idx="946">
                  <c:v>La Belle Et</c:v>
                </c:pt>
                <c:pt idx="947">
                  <c:v>All Others</c:v>
                </c:pt>
                <c:pt idx="948">
                  <c:v>All Others</c:v>
                </c:pt>
                <c:pt idx="949">
                  <c:v>Lactalis: A</c:v>
                </c:pt>
                <c:pt idx="950">
                  <c:v>All Others</c:v>
                </c:pt>
                <c:pt idx="951">
                  <c:v>Lactalis: A</c:v>
                </c:pt>
                <c:pt idx="952">
                  <c:v>All Others</c:v>
                </c:pt>
                <c:pt idx="953">
                  <c:v>All Others</c:v>
                </c:pt>
                <c:pt idx="954">
                  <c:v>Societe</c:v>
                </c:pt>
                <c:pt idx="955">
                  <c:v>Pave D'Affi</c:v>
                </c:pt>
                <c:pt idx="956">
                  <c:v>All Others</c:v>
                </c:pt>
                <c:pt idx="957">
                  <c:v>All Others</c:v>
                </c:pt>
                <c:pt idx="958">
                  <c:v>All Others</c:v>
                </c:pt>
                <c:pt idx="959">
                  <c:v>All Others</c:v>
                </c:pt>
                <c:pt idx="960">
                  <c:v>All Others</c:v>
                </c:pt>
                <c:pt idx="961">
                  <c:v>All Others</c:v>
                </c:pt>
                <c:pt idx="962">
                  <c:v>All Others</c:v>
                </c:pt>
                <c:pt idx="963">
                  <c:v>All Others</c:v>
                </c:pt>
                <c:pt idx="964">
                  <c:v>Lactalis: A</c:v>
                </c:pt>
                <c:pt idx="965">
                  <c:v>All Others</c:v>
                </c:pt>
                <c:pt idx="966">
                  <c:v>All Others</c:v>
                </c:pt>
                <c:pt idx="967">
                  <c:v>All Others</c:v>
                </c:pt>
                <c:pt idx="968">
                  <c:v>All Others</c:v>
                </c:pt>
                <c:pt idx="969">
                  <c:v>All Others</c:v>
                </c:pt>
                <c:pt idx="970">
                  <c:v>Fol Epi</c:v>
                </c:pt>
                <c:pt idx="971">
                  <c:v>All Others</c:v>
                </c:pt>
                <c:pt idx="972">
                  <c:v>All Others</c:v>
                </c:pt>
                <c:pt idx="973">
                  <c:v>All Others</c:v>
                </c:pt>
                <c:pt idx="974">
                  <c:v>All Others</c:v>
                </c:pt>
                <c:pt idx="975">
                  <c:v>All Others</c:v>
                </c:pt>
                <c:pt idx="976">
                  <c:v>Chaussee Au</c:v>
                </c:pt>
                <c:pt idx="977">
                  <c:v>All Others</c:v>
                </c:pt>
                <c:pt idx="978">
                  <c:v>La Belle Et</c:v>
                </c:pt>
                <c:pt idx="979">
                  <c:v>All Others</c:v>
                </c:pt>
                <c:pt idx="980">
                  <c:v>Savencia: A</c:v>
                </c:pt>
                <c:pt idx="981">
                  <c:v>All Others</c:v>
                </c:pt>
                <c:pt idx="982">
                  <c:v>All Others</c:v>
                </c:pt>
                <c:pt idx="983">
                  <c:v>Savencia: A</c:v>
                </c:pt>
                <c:pt idx="984">
                  <c:v>All Others</c:v>
                </c:pt>
                <c:pt idx="985">
                  <c:v>All Others</c:v>
                </c:pt>
                <c:pt idx="986">
                  <c:v>Milleret</c:v>
                </c:pt>
                <c:pt idx="987">
                  <c:v>All Others</c:v>
                </c:pt>
                <c:pt idx="988">
                  <c:v>All Others</c:v>
                </c:pt>
                <c:pt idx="989">
                  <c:v>All Others</c:v>
                </c:pt>
                <c:pt idx="990">
                  <c:v>All Others</c:v>
                </c:pt>
                <c:pt idx="991">
                  <c:v>All Others</c:v>
                </c:pt>
                <c:pt idx="992">
                  <c:v>All Others</c:v>
                </c:pt>
                <c:pt idx="993">
                  <c:v>All Others</c:v>
                </c:pt>
                <c:pt idx="994">
                  <c:v>All Others</c:v>
                </c:pt>
                <c:pt idx="995">
                  <c:v>All Others</c:v>
                </c:pt>
                <c:pt idx="996">
                  <c:v>All Others</c:v>
                </c:pt>
                <c:pt idx="997">
                  <c:v>All Others</c:v>
                </c:pt>
                <c:pt idx="998">
                  <c:v>All Others</c:v>
                </c:pt>
                <c:pt idx="999">
                  <c:v>All Others</c:v>
                </c:pt>
                <c:pt idx="1000">
                  <c:v>All Others</c:v>
                </c:pt>
                <c:pt idx="1001">
                  <c:v>All Others</c:v>
                </c:pt>
                <c:pt idx="1002">
                  <c:v>All Others</c:v>
                </c:pt>
                <c:pt idx="1003">
                  <c:v>All Others</c:v>
                </c:pt>
                <c:pt idx="1004">
                  <c:v>All Others</c:v>
                </c:pt>
                <c:pt idx="1005">
                  <c:v>Lactalis: A</c:v>
                </c:pt>
                <c:pt idx="1006">
                  <c:v>All Others</c:v>
                </c:pt>
                <c:pt idx="1007">
                  <c:v>Entremont</c:v>
                </c:pt>
                <c:pt idx="1008">
                  <c:v>All Others</c:v>
                </c:pt>
                <c:pt idx="1009">
                  <c:v>All Others</c:v>
                </c:pt>
                <c:pt idx="1010">
                  <c:v>All Others</c:v>
                </c:pt>
                <c:pt idx="1011">
                  <c:v>All Others</c:v>
                </c:pt>
                <c:pt idx="1012">
                  <c:v>All Others</c:v>
                </c:pt>
                <c:pt idx="1013">
                  <c:v>La Belle Et</c:v>
                </c:pt>
                <c:pt idx="1014">
                  <c:v>All Others</c:v>
                </c:pt>
                <c:pt idx="1015">
                  <c:v>All Others</c:v>
                </c:pt>
                <c:pt idx="1016">
                  <c:v>All Others</c:v>
                </c:pt>
                <c:pt idx="1017">
                  <c:v>All Others</c:v>
                </c:pt>
                <c:pt idx="1018">
                  <c:v>Etoile Du V</c:v>
                </c:pt>
                <c:pt idx="1019">
                  <c:v>All Others</c:v>
                </c:pt>
                <c:pt idx="1020">
                  <c:v>All Others</c:v>
                </c:pt>
                <c:pt idx="1021">
                  <c:v>Entremont</c:v>
                </c:pt>
                <c:pt idx="1022">
                  <c:v>All Others</c:v>
                </c:pt>
                <c:pt idx="1023">
                  <c:v>All Others</c:v>
                </c:pt>
                <c:pt idx="1024">
                  <c:v>All Others</c:v>
                </c:pt>
                <c:pt idx="1025">
                  <c:v>All Others</c:v>
                </c:pt>
                <c:pt idx="1026">
                  <c:v>Richesmonts</c:v>
                </c:pt>
                <c:pt idx="1027">
                  <c:v>Paysan Bret</c:v>
                </c:pt>
                <c:pt idx="1028">
                  <c:v>Aperivrais</c:v>
                </c:pt>
                <c:pt idx="1029">
                  <c:v>All Others</c:v>
                </c:pt>
                <c:pt idx="1030">
                  <c:v>All Others</c:v>
                </c:pt>
                <c:pt idx="1031">
                  <c:v>Lactalis: A</c:v>
                </c:pt>
                <c:pt idx="1032">
                  <c:v>Entremont</c:v>
                </c:pt>
                <c:pt idx="1033">
                  <c:v>All Others</c:v>
                </c:pt>
                <c:pt idx="1034">
                  <c:v>All Others</c:v>
                </c:pt>
                <c:pt idx="1035">
                  <c:v>Entremont</c:v>
                </c:pt>
                <c:pt idx="1036">
                  <c:v>Lactalis: A</c:v>
                </c:pt>
                <c:pt idx="1037">
                  <c:v>All Others</c:v>
                </c:pt>
                <c:pt idx="1038">
                  <c:v>All Others</c:v>
                </c:pt>
                <c:pt idx="1039">
                  <c:v>Other Suppl</c:v>
                </c:pt>
                <c:pt idx="1040">
                  <c:v>All Others</c:v>
                </c:pt>
                <c:pt idx="1041">
                  <c:v>All Others</c:v>
                </c:pt>
                <c:pt idx="1042">
                  <c:v>All Others</c:v>
                </c:pt>
                <c:pt idx="1043">
                  <c:v>All Others</c:v>
                </c:pt>
                <c:pt idx="1044">
                  <c:v>All Others</c:v>
                </c:pt>
                <c:pt idx="1045">
                  <c:v>All Others</c:v>
                </c:pt>
                <c:pt idx="1046">
                  <c:v>Petit Billy</c:v>
                </c:pt>
                <c:pt idx="1047">
                  <c:v>All Others</c:v>
                </c:pt>
                <c:pt idx="1048">
                  <c:v>All Others</c:v>
                </c:pt>
                <c:pt idx="1049">
                  <c:v>Lincet</c:v>
                </c:pt>
                <c:pt idx="1050">
                  <c:v>All Others</c:v>
                </c:pt>
                <c:pt idx="1051">
                  <c:v>All Others</c:v>
                </c:pt>
                <c:pt idx="1052">
                  <c:v>All Others</c:v>
                </c:pt>
                <c:pt idx="1053">
                  <c:v>All Others</c:v>
                </c:pt>
                <c:pt idx="1054">
                  <c:v>All Others</c:v>
                </c:pt>
                <c:pt idx="1055">
                  <c:v>All Others</c:v>
                </c:pt>
                <c:pt idx="1056">
                  <c:v>All Others</c:v>
                </c:pt>
                <c:pt idx="1057">
                  <c:v>All Others</c:v>
                </c:pt>
                <c:pt idx="1058">
                  <c:v>All Others</c:v>
                </c:pt>
                <c:pt idx="1059">
                  <c:v>La Belle Et</c:v>
                </c:pt>
                <c:pt idx="1060">
                  <c:v>All Others</c:v>
                </c:pt>
                <c:pt idx="1061">
                  <c:v>All Others</c:v>
                </c:pt>
                <c:pt idx="1062">
                  <c:v>All Others</c:v>
                </c:pt>
                <c:pt idx="1063">
                  <c:v>All Others</c:v>
                </c:pt>
                <c:pt idx="1064">
                  <c:v>All Others</c:v>
                </c:pt>
                <c:pt idx="1065">
                  <c:v>All Others</c:v>
                </c:pt>
                <c:pt idx="1066">
                  <c:v>All Others</c:v>
                </c:pt>
                <c:pt idx="1067">
                  <c:v>All Others</c:v>
                </c:pt>
                <c:pt idx="1068">
                  <c:v>All Others</c:v>
                </c:pt>
                <c:pt idx="1069">
                  <c:v>All Others</c:v>
                </c:pt>
                <c:pt idx="1070">
                  <c:v>All Others</c:v>
                </c:pt>
                <c:pt idx="1071">
                  <c:v>All Others</c:v>
                </c:pt>
                <c:pt idx="1072">
                  <c:v>All Others</c:v>
                </c:pt>
                <c:pt idx="1073">
                  <c:v>Richesmonts</c:v>
                </c:pt>
                <c:pt idx="1074">
                  <c:v>Fol Epi</c:v>
                </c:pt>
                <c:pt idx="1075">
                  <c:v>All Others</c:v>
                </c:pt>
                <c:pt idx="1076">
                  <c:v>All Others</c:v>
                </c:pt>
                <c:pt idx="1077">
                  <c:v>Dodin</c:v>
                </c:pt>
                <c:pt idx="1078">
                  <c:v>All Others</c:v>
                </c:pt>
                <c:pt idx="1079">
                  <c:v>Entremont</c:v>
                </c:pt>
                <c:pt idx="1080">
                  <c:v>All Others</c:v>
                </c:pt>
                <c:pt idx="1081">
                  <c:v>All Others</c:v>
                </c:pt>
                <c:pt idx="1082">
                  <c:v>All Others</c:v>
                </c:pt>
                <c:pt idx="1083">
                  <c:v>All Others</c:v>
                </c:pt>
                <c:pt idx="1084">
                  <c:v>All Others</c:v>
                </c:pt>
                <c:pt idx="1085">
                  <c:v>All Others</c:v>
                </c:pt>
                <c:pt idx="1086">
                  <c:v>All Others</c:v>
                </c:pt>
                <c:pt idx="1087">
                  <c:v>All Others</c:v>
                </c:pt>
                <c:pt idx="1088">
                  <c:v>All Others</c:v>
                </c:pt>
                <c:pt idx="1089">
                  <c:v>All Others</c:v>
                </c:pt>
                <c:pt idx="1090">
                  <c:v>All Others</c:v>
                </c:pt>
                <c:pt idx="1091">
                  <c:v>All Others</c:v>
                </c:pt>
                <c:pt idx="1092">
                  <c:v>All Others</c:v>
                </c:pt>
                <c:pt idx="1093">
                  <c:v>All Others</c:v>
                </c:pt>
                <c:pt idx="1094">
                  <c:v>All Others</c:v>
                </c:pt>
                <c:pt idx="1095">
                  <c:v>All Others</c:v>
                </c:pt>
                <c:pt idx="1096">
                  <c:v>All Others</c:v>
                </c:pt>
                <c:pt idx="1097">
                  <c:v>All Others</c:v>
                </c:pt>
                <c:pt idx="1098">
                  <c:v>All Others</c:v>
                </c:pt>
                <c:pt idx="1099">
                  <c:v>All Others</c:v>
                </c:pt>
                <c:pt idx="1100">
                  <c:v>All Others</c:v>
                </c:pt>
                <c:pt idx="1101">
                  <c:v>All Others</c:v>
                </c:pt>
                <c:pt idx="1102">
                  <c:v>All Others</c:v>
                </c:pt>
                <c:pt idx="1103">
                  <c:v>All Others</c:v>
                </c:pt>
                <c:pt idx="1104">
                  <c:v>All Others</c:v>
                </c:pt>
                <c:pt idx="1105">
                  <c:v>All Others</c:v>
                </c:pt>
                <c:pt idx="1106">
                  <c:v>Chavroux</c:v>
                </c:pt>
                <c:pt idx="1107">
                  <c:v>All Others</c:v>
                </c:pt>
                <c:pt idx="1108">
                  <c:v>All Others</c:v>
                </c:pt>
                <c:pt idx="1109">
                  <c:v>All Others</c:v>
                </c:pt>
                <c:pt idx="1110">
                  <c:v>All Others</c:v>
                </c:pt>
                <c:pt idx="1111">
                  <c:v>All Others</c:v>
                </c:pt>
                <c:pt idx="1112">
                  <c:v>All Others</c:v>
                </c:pt>
                <c:pt idx="1113">
                  <c:v>All Others</c:v>
                </c:pt>
                <c:pt idx="1114">
                  <c:v>All Others</c:v>
                </c:pt>
                <c:pt idx="1115">
                  <c:v>All Others</c:v>
                </c:pt>
                <c:pt idx="1116">
                  <c:v>All Others</c:v>
                </c:pt>
                <c:pt idx="1117">
                  <c:v>All Others</c:v>
                </c:pt>
                <c:pt idx="1118">
                  <c:v>Paysan Bret</c:v>
                </c:pt>
                <c:pt idx="1119">
                  <c:v>La Belle Et</c:v>
                </c:pt>
                <c:pt idx="1120">
                  <c:v>All Others</c:v>
                </c:pt>
                <c:pt idx="1121">
                  <c:v>All Others</c:v>
                </c:pt>
                <c:pt idx="1122">
                  <c:v>Paysan Bret</c:v>
                </c:pt>
                <c:pt idx="1123">
                  <c:v>All Others</c:v>
                </c:pt>
                <c:pt idx="1124">
                  <c:v>All Others</c:v>
                </c:pt>
                <c:pt idx="1125">
                  <c:v>All Others</c:v>
                </c:pt>
                <c:pt idx="1126">
                  <c:v>All Others</c:v>
                </c:pt>
                <c:pt idx="1127">
                  <c:v>Pave D'Affi</c:v>
                </c:pt>
                <c:pt idx="1128">
                  <c:v>All Others</c:v>
                </c:pt>
                <c:pt idx="1129">
                  <c:v>All Others</c:v>
                </c:pt>
                <c:pt idx="1130">
                  <c:v>All Others</c:v>
                </c:pt>
                <c:pt idx="1131">
                  <c:v>All Others</c:v>
                </c:pt>
                <c:pt idx="1132">
                  <c:v>All Others</c:v>
                </c:pt>
                <c:pt idx="1133">
                  <c:v>Corsica</c:v>
                </c:pt>
                <c:pt idx="1134">
                  <c:v>Lactalis: A</c:v>
                </c:pt>
                <c:pt idx="1135">
                  <c:v>All Others</c:v>
                </c:pt>
                <c:pt idx="1136">
                  <c:v>All Others</c:v>
                </c:pt>
                <c:pt idx="1137">
                  <c:v>All Others</c:v>
                </c:pt>
                <c:pt idx="1138">
                  <c:v>All Others</c:v>
                </c:pt>
                <c:pt idx="1139">
                  <c:v>Rians</c:v>
                </c:pt>
                <c:pt idx="1140">
                  <c:v>Laiteries H</c:v>
                </c:pt>
                <c:pt idx="1141">
                  <c:v>All Others</c:v>
                </c:pt>
                <c:pt idx="1142">
                  <c:v>All Others</c:v>
                </c:pt>
                <c:pt idx="1143">
                  <c:v>All Others</c:v>
                </c:pt>
                <c:pt idx="1144">
                  <c:v>All Others</c:v>
                </c:pt>
                <c:pt idx="1145">
                  <c:v>All Others</c:v>
                </c:pt>
                <c:pt idx="1146">
                  <c:v>Lactalis: A</c:v>
                </c:pt>
                <c:pt idx="1147">
                  <c:v>All Others</c:v>
                </c:pt>
                <c:pt idx="1148">
                  <c:v>All Others</c:v>
                </c:pt>
                <c:pt idx="1149">
                  <c:v>All Others</c:v>
                </c:pt>
                <c:pt idx="1150">
                  <c:v>All Others</c:v>
                </c:pt>
                <c:pt idx="1151">
                  <c:v>All Others</c:v>
                </c:pt>
                <c:pt idx="1152">
                  <c:v>All Others</c:v>
                </c:pt>
                <c:pt idx="1153">
                  <c:v>All Others</c:v>
                </c:pt>
                <c:pt idx="1154">
                  <c:v>All Others</c:v>
                </c:pt>
                <c:pt idx="1155">
                  <c:v>Pave D'Affi</c:v>
                </c:pt>
                <c:pt idx="1156">
                  <c:v>All Others</c:v>
                </c:pt>
                <c:pt idx="1157">
                  <c:v>All Others</c:v>
                </c:pt>
                <c:pt idx="1158">
                  <c:v>All Others</c:v>
                </c:pt>
                <c:pt idx="1159">
                  <c:v>Savencia: A</c:v>
                </c:pt>
                <c:pt idx="1160">
                  <c:v>All Others</c:v>
                </c:pt>
                <c:pt idx="1161">
                  <c:v>All Others</c:v>
                </c:pt>
                <c:pt idx="1162">
                  <c:v>Savencia: A</c:v>
                </c:pt>
                <c:pt idx="1163">
                  <c:v>All Others</c:v>
                </c:pt>
                <c:pt idx="1164">
                  <c:v>All Others</c:v>
                </c:pt>
                <c:pt idx="1165">
                  <c:v>All Others</c:v>
                </c:pt>
                <c:pt idx="1166">
                  <c:v>All Others</c:v>
                </c:pt>
                <c:pt idx="1167">
                  <c:v>All Others</c:v>
                </c:pt>
                <c:pt idx="1168">
                  <c:v>All Others</c:v>
                </c:pt>
                <c:pt idx="1169">
                  <c:v>All Others</c:v>
                </c:pt>
                <c:pt idx="1170">
                  <c:v>All Others</c:v>
                </c:pt>
                <c:pt idx="1171">
                  <c:v>Etoile Du V</c:v>
                </c:pt>
                <c:pt idx="1172">
                  <c:v>Mini Babybe</c:v>
                </c:pt>
                <c:pt idx="1173">
                  <c:v>All Others</c:v>
                </c:pt>
                <c:pt idx="1174">
                  <c:v>All Others</c:v>
                </c:pt>
                <c:pt idx="1175">
                  <c:v>All Others</c:v>
                </c:pt>
                <c:pt idx="1176">
                  <c:v>All Others</c:v>
                </c:pt>
                <c:pt idx="1177">
                  <c:v>All Others</c:v>
                </c:pt>
                <c:pt idx="1178">
                  <c:v>All Others</c:v>
                </c:pt>
                <c:pt idx="1179">
                  <c:v>All Others</c:v>
                </c:pt>
                <c:pt idx="1180">
                  <c:v>All Others</c:v>
                </c:pt>
                <c:pt idx="1181">
                  <c:v>Baillon</c:v>
                </c:pt>
                <c:pt idx="1182">
                  <c:v>All Others</c:v>
                </c:pt>
                <c:pt idx="1183">
                  <c:v>All Others</c:v>
                </c:pt>
                <c:pt idx="1184">
                  <c:v>All Others</c:v>
                </c:pt>
                <c:pt idx="1185">
                  <c:v>All Others</c:v>
                </c:pt>
                <c:pt idx="1186">
                  <c:v>Violife</c:v>
                </c:pt>
                <c:pt idx="1187">
                  <c:v>Richesmonts</c:v>
                </c:pt>
                <c:pt idx="1188">
                  <c:v>All Others</c:v>
                </c:pt>
                <c:pt idx="1189">
                  <c:v>All Others</c:v>
                </c:pt>
                <c:pt idx="1190">
                  <c:v>Gillot</c:v>
                </c:pt>
                <c:pt idx="1191">
                  <c:v>Gillot</c:v>
                </c:pt>
                <c:pt idx="1192">
                  <c:v>Private Lab</c:v>
                </c:pt>
                <c:pt idx="1193">
                  <c:v>All Others</c:v>
                </c:pt>
                <c:pt idx="1194">
                  <c:v>All Others</c:v>
                </c:pt>
                <c:pt idx="1195">
                  <c:v>All Others</c:v>
                </c:pt>
                <c:pt idx="1196">
                  <c:v>Netto</c:v>
                </c:pt>
                <c:pt idx="1197">
                  <c:v>All Others</c:v>
                </c:pt>
                <c:pt idx="1198">
                  <c:v>Private Lab</c:v>
                </c:pt>
                <c:pt idx="1199">
                  <c:v>All Others</c:v>
                </c:pt>
                <c:pt idx="1200">
                  <c:v>All Others</c:v>
                </c:pt>
                <c:pt idx="1201">
                  <c:v>Raguin</c:v>
                </c:pt>
                <c:pt idx="1202">
                  <c:v>Milleret: A</c:v>
                </c:pt>
                <c:pt idx="1203">
                  <c:v>All Others</c:v>
                </c:pt>
                <c:pt idx="1204">
                  <c:v>Private Lab</c:v>
                </c:pt>
                <c:pt idx="1205">
                  <c:v>All Others</c:v>
                </c:pt>
                <c:pt idx="1206">
                  <c:v>All Others</c:v>
                </c:pt>
                <c:pt idx="1207">
                  <c:v>Lactalis: A</c:v>
                </c:pt>
                <c:pt idx="1208">
                  <c:v>All Others</c:v>
                </c:pt>
                <c:pt idx="1209">
                  <c:v>La Vache Qu</c:v>
                </c:pt>
                <c:pt idx="1210">
                  <c:v>All Others</c:v>
                </c:pt>
                <c:pt idx="1211">
                  <c:v>All Others</c:v>
                </c:pt>
                <c:pt idx="1212">
                  <c:v>All Others</c:v>
                </c:pt>
                <c:pt idx="1213">
                  <c:v>All Others</c:v>
                </c:pt>
                <c:pt idx="1214">
                  <c:v>Lactalis: A</c:v>
                </c:pt>
                <c:pt idx="1215">
                  <c:v>All Others</c:v>
                </c:pt>
                <c:pt idx="1216">
                  <c:v>All Others</c:v>
                </c:pt>
                <c:pt idx="1217">
                  <c:v>Private Lab</c:v>
                </c:pt>
                <c:pt idx="1218">
                  <c:v>All Others</c:v>
                </c:pt>
                <c:pt idx="1219">
                  <c:v>All Others</c:v>
                </c:pt>
                <c:pt idx="1220">
                  <c:v>All Others</c:v>
                </c:pt>
                <c:pt idx="1221">
                  <c:v>All Others</c:v>
                </c:pt>
                <c:pt idx="1222">
                  <c:v>All Others</c:v>
                </c:pt>
                <c:pt idx="1223">
                  <c:v>All Others</c:v>
                </c:pt>
                <c:pt idx="1224">
                  <c:v>Savencia: A</c:v>
                </c:pt>
                <c:pt idx="1225">
                  <c:v>Savencia: A</c:v>
                </c:pt>
                <c:pt idx="1226">
                  <c:v>All Others</c:v>
                </c:pt>
                <c:pt idx="1227">
                  <c:v>All Others</c:v>
                </c:pt>
                <c:pt idx="1228">
                  <c:v>All Others</c:v>
                </c:pt>
                <c:pt idx="1229">
                  <c:v>Raguin</c:v>
                </c:pt>
                <c:pt idx="1230">
                  <c:v>All Others</c:v>
                </c:pt>
                <c:pt idx="1231">
                  <c:v>All Others</c:v>
                </c:pt>
                <c:pt idx="1232">
                  <c:v>Private Lab</c:v>
                </c:pt>
                <c:pt idx="1233">
                  <c:v>All Others</c:v>
                </c:pt>
                <c:pt idx="1234">
                  <c:v>Gillot</c:v>
                </c:pt>
                <c:pt idx="1235">
                  <c:v>All Others</c:v>
                </c:pt>
                <c:pt idx="1236">
                  <c:v>All Others</c:v>
                </c:pt>
                <c:pt idx="1237">
                  <c:v>All Others</c:v>
                </c:pt>
                <c:pt idx="1238">
                  <c:v>Private Lab</c:v>
                </c:pt>
                <c:pt idx="1239">
                  <c:v>La Vache Qu</c:v>
                </c:pt>
                <c:pt idx="1240">
                  <c:v>All Others</c:v>
                </c:pt>
                <c:pt idx="1241">
                  <c:v>All Others</c:v>
                </c:pt>
                <c:pt idx="1242">
                  <c:v>All Others</c:v>
                </c:pt>
                <c:pt idx="1243">
                  <c:v>All Others</c:v>
                </c:pt>
                <c:pt idx="1244">
                  <c:v>All Others</c:v>
                </c:pt>
                <c:pt idx="1245">
                  <c:v>All Others</c:v>
                </c:pt>
                <c:pt idx="1246">
                  <c:v>Netto</c:v>
                </c:pt>
                <c:pt idx="1247">
                  <c:v>President</c:v>
                </c:pt>
                <c:pt idx="1248">
                  <c:v>All Others</c:v>
                </c:pt>
                <c:pt idx="1249">
                  <c:v>Kiri</c:v>
                </c:pt>
                <c:pt idx="1250">
                  <c:v>La Vache Qu</c:v>
                </c:pt>
                <c:pt idx="1251">
                  <c:v>All Others</c:v>
                </c:pt>
                <c:pt idx="1252">
                  <c:v>All Others</c:v>
                </c:pt>
                <c:pt idx="1253">
                  <c:v>All Others</c:v>
                </c:pt>
                <c:pt idx="1254">
                  <c:v>All Others</c:v>
                </c:pt>
                <c:pt idx="1255">
                  <c:v>All Others</c:v>
                </c:pt>
                <c:pt idx="1256">
                  <c:v>La Vache Qu</c:v>
                </c:pt>
              </c:strCache>
            </c:strRef>
          </c:cat>
          <c:val>
            <c:numRef>
              <c:f>Sheet1!$B$2:$B$1258</c:f>
              <c:numCache>
                <c:formatCode>General</c:formatCode>
                <c:ptCount val="1257"/>
                <c:pt idx="0">
                  <c:v>0.99</c:v>
                </c:pt>
                <c:pt idx="1">
                  <c:v>0.99</c:v>
                </c:pt>
                <c:pt idx="2">
                  <c:v>0.98</c:v>
                </c:pt>
                <c:pt idx="3">
                  <c:v>0.99</c:v>
                </c:pt>
                <c:pt idx="4">
                  <c:v>0.99</c:v>
                </c:pt>
                <c:pt idx="5">
                  <c:v>1</c:v>
                </c:pt>
                <c:pt idx="6">
                  <c:v>0.99</c:v>
                </c:pt>
                <c:pt idx="7">
                  <c:v>0.99</c:v>
                </c:pt>
                <c:pt idx="8">
                  <c:v>0.94</c:v>
                </c:pt>
                <c:pt idx="9">
                  <c:v>0.93</c:v>
                </c:pt>
                <c:pt idx="10">
                  <c:v>0.98</c:v>
                </c:pt>
                <c:pt idx="11">
                  <c:v>0.69</c:v>
                </c:pt>
                <c:pt idx="12">
                  <c:v>1</c:v>
                </c:pt>
                <c:pt idx="13">
                  <c:v>1</c:v>
                </c:pt>
                <c:pt idx="14">
                  <c:v>0.98</c:v>
                </c:pt>
                <c:pt idx="15">
                  <c:v>0.96</c:v>
                </c:pt>
                <c:pt idx="16">
                  <c:v>0.98</c:v>
                </c:pt>
                <c:pt idx="17">
                  <c:v>0.79</c:v>
                </c:pt>
                <c:pt idx="18">
                  <c:v>0.99</c:v>
                </c:pt>
                <c:pt idx="19">
                  <c:v>1</c:v>
                </c:pt>
                <c:pt idx="20">
                  <c:v>0.97</c:v>
                </c:pt>
                <c:pt idx="21">
                  <c:v>0.99</c:v>
                </c:pt>
                <c:pt idx="22">
                  <c:v>0.99</c:v>
                </c:pt>
                <c:pt idx="23">
                  <c:v>0.99</c:v>
                </c:pt>
                <c:pt idx="24">
                  <c:v>0.94</c:v>
                </c:pt>
                <c:pt idx="25">
                  <c:v>0.94</c:v>
                </c:pt>
                <c:pt idx="26">
                  <c:v>0.97</c:v>
                </c:pt>
                <c:pt idx="27">
                  <c:v>0.98</c:v>
                </c:pt>
                <c:pt idx="28">
                  <c:v>0.97</c:v>
                </c:pt>
                <c:pt idx="29">
                  <c:v>0.94</c:v>
                </c:pt>
                <c:pt idx="30">
                  <c:v>0.88</c:v>
                </c:pt>
                <c:pt idx="31">
                  <c:v>0.91</c:v>
                </c:pt>
                <c:pt idx="32">
                  <c:v>0.98</c:v>
                </c:pt>
                <c:pt idx="33">
                  <c:v>0.74</c:v>
                </c:pt>
                <c:pt idx="34">
                  <c:v>0.96</c:v>
                </c:pt>
                <c:pt idx="35">
                  <c:v>0.98</c:v>
                </c:pt>
                <c:pt idx="36">
                  <c:v>0.99</c:v>
                </c:pt>
                <c:pt idx="37">
                  <c:v>0.99</c:v>
                </c:pt>
                <c:pt idx="38">
                  <c:v>0.97</c:v>
                </c:pt>
                <c:pt idx="39">
                  <c:v>0.98</c:v>
                </c:pt>
                <c:pt idx="40">
                  <c:v>0.89</c:v>
                </c:pt>
                <c:pt idx="41">
                  <c:v>0.98</c:v>
                </c:pt>
                <c:pt idx="42">
                  <c:v>0.97</c:v>
                </c:pt>
                <c:pt idx="43">
                  <c:v>0.98</c:v>
                </c:pt>
                <c:pt idx="44">
                  <c:v>0.99</c:v>
                </c:pt>
                <c:pt idx="45">
                  <c:v>0.88</c:v>
                </c:pt>
                <c:pt idx="46">
                  <c:v>0.93</c:v>
                </c:pt>
                <c:pt idx="47">
                  <c:v>0.95</c:v>
                </c:pt>
                <c:pt idx="48">
                  <c:v>0.97</c:v>
                </c:pt>
                <c:pt idx="49">
                  <c:v>0.94</c:v>
                </c:pt>
                <c:pt idx="50">
                  <c:v>0.95</c:v>
                </c:pt>
                <c:pt idx="51">
                  <c:v>0.97</c:v>
                </c:pt>
                <c:pt idx="52">
                  <c:v>0.95</c:v>
                </c:pt>
                <c:pt idx="53">
                  <c:v>0.91</c:v>
                </c:pt>
                <c:pt idx="54">
                  <c:v>0.97</c:v>
                </c:pt>
                <c:pt idx="55">
                  <c:v>0.99</c:v>
                </c:pt>
                <c:pt idx="56">
                  <c:v>0.98</c:v>
                </c:pt>
                <c:pt idx="57">
                  <c:v>0.91</c:v>
                </c:pt>
                <c:pt idx="58">
                  <c:v>0.9</c:v>
                </c:pt>
                <c:pt idx="59">
                  <c:v>1</c:v>
                </c:pt>
                <c:pt idx="60">
                  <c:v>0.99</c:v>
                </c:pt>
                <c:pt idx="61">
                  <c:v>0.78</c:v>
                </c:pt>
                <c:pt idx="62">
                  <c:v>0.92</c:v>
                </c:pt>
                <c:pt idx="63">
                  <c:v>0.97</c:v>
                </c:pt>
                <c:pt idx="64">
                  <c:v>0.95</c:v>
                </c:pt>
                <c:pt idx="65">
                  <c:v>0.98</c:v>
                </c:pt>
                <c:pt idx="66">
                  <c:v>0.68</c:v>
                </c:pt>
                <c:pt idx="67">
                  <c:v>0.94</c:v>
                </c:pt>
                <c:pt idx="68">
                  <c:v>0.92</c:v>
                </c:pt>
                <c:pt idx="69">
                  <c:v>0.93</c:v>
                </c:pt>
                <c:pt idx="70">
                  <c:v>0.84</c:v>
                </c:pt>
                <c:pt idx="71">
                  <c:v>0.99</c:v>
                </c:pt>
                <c:pt idx="72">
                  <c:v>0.76</c:v>
                </c:pt>
                <c:pt idx="73">
                  <c:v>0.85</c:v>
                </c:pt>
                <c:pt idx="74">
                  <c:v>0.84</c:v>
                </c:pt>
                <c:pt idx="75">
                  <c:v>0.97</c:v>
                </c:pt>
                <c:pt idx="76">
                  <c:v>0.76</c:v>
                </c:pt>
                <c:pt idx="77">
                  <c:v>0.97</c:v>
                </c:pt>
                <c:pt idx="78">
                  <c:v>0.76</c:v>
                </c:pt>
                <c:pt idx="79">
                  <c:v>0.97</c:v>
                </c:pt>
                <c:pt idx="80">
                  <c:v>0.85</c:v>
                </c:pt>
                <c:pt idx="81">
                  <c:v>0.98</c:v>
                </c:pt>
                <c:pt idx="82">
                  <c:v>0.94</c:v>
                </c:pt>
                <c:pt idx="83">
                  <c:v>0.82</c:v>
                </c:pt>
                <c:pt idx="84">
                  <c:v>0.91</c:v>
                </c:pt>
                <c:pt idx="85">
                  <c:v>0.91</c:v>
                </c:pt>
                <c:pt idx="86">
                  <c:v>0.86</c:v>
                </c:pt>
                <c:pt idx="87">
                  <c:v>0.93</c:v>
                </c:pt>
                <c:pt idx="88">
                  <c:v>0.98</c:v>
                </c:pt>
                <c:pt idx="89">
                  <c:v>0.64</c:v>
                </c:pt>
                <c:pt idx="90">
                  <c:v>0.87</c:v>
                </c:pt>
                <c:pt idx="91">
                  <c:v>0.97</c:v>
                </c:pt>
                <c:pt idx="92">
                  <c:v>0.96</c:v>
                </c:pt>
                <c:pt idx="93">
                  <c:v>0.68</c:v>
                </c:pt>
                <c:pt idx="94">
                  <c:v>0.73</c:v>
                </c:pt>
                <c:pt idx="95">
                  <c:v>0.94</c:v>
                </c:pt>
                <c:pt idx="96">
                  <c:v>0.92</c:v>
                </c:pt>
                <c:pt idx="97">
                  <c:v>0.95</c:v>
                </c:pt>
                <c:pt idx="98">
                  <c:v>0.79</c:v>
                </c:pt>
                <c:pt idx="99">
                  <c:v>0.86</c:v>
                </c:pt>
                <c:pt idx="100">
                  <c:v>0.94</c:v>
                </c:pt>
                <c:pt idx="101">
                  <c:v>0.74</c:v>
                </c:pt>
                <c:pt idx="102">
                  <c:v>0.9</c:v>
                </c:pt>
                <c:pt idx="103">
                  <c:v>0.83</c:v>
                </c:pt>
                <c:pt idx="104">
                  <c:v>0.72</c:v>
                </c:pt>
                <c:pt idx="105">
                  <c:v>0.96</c:v>
                </c:pt>
                <c:pt idx="106">
                  <c:v>0.67</c:v>
                </c:pt>
                <c:pt idx="107">
                  <c:v>0.95</c:v>
                </c:pt>
                <c:pt idx="108">
                  <c:v>0.7</c:v>
                </c:pt>
                <c:pt idx="109">
                  <c:v>0.98</c:v>
                </c:pt>
                <c:pt idx="110">
                  <c:v>0.68</c:v>
                </c:pt>
                <c:pt idx="111">
                  <c:v>0.87</c:v>
                </c:pt>
                <c:pt idx="112">
                  <c:v>0.96</c:v>
                </c:pt>
                <c:pt idx="113">
                  <c:v>0.72</c:v>
                </c:pt>
                <c:pt idx="114">
                  <c:v>0.87</c:v>
                </c:pt>
                <c:pt idx="115">
                  <c:v>0.92</c:v>
                </c:pt>
                <c:pt idx="116">
                  <c:v>0.85</c:v>
                </c:pt>
                <c:pt idx="117">
                  <c:v>0.68</c:v>
                </c:pt>
                <c:pt idx="118">
                  <c:v>0.91</c:v>
                </c:pt>
                <c:pt idx="119">
                  <c:v>0.98</c:v>
                </c:pt>
                <c:pt idx="120">
                  <c:v>0.95</c:v>
                </c:pt>
                <c:pt idx="121">
                  <c:v>0.91</c:v>
                </c:pt>
                <c:pt idx="122">
                  <c:v>0.89</c:v>
                </c:pt>
                <c:pt idx="123">
                  <c:v>0.92</c:v>
                </c:pt>
                <c:pt idx="124">
                  <c:v>0.88</c:v>
                </c:pt>
                <c:pt idx="125">
                  <c:v>0.98</c:v>
                </c:pt>
                <c:pt idx="126">
                  <c:v>0.74</c:v>
                </c:pt>
                <c:pt idx="127">
                  <c:v>0.85</c:v>
                </c:pt>
                <c:pt idx="128">
                  <c:v>0.63</c:v>
                </c:pt>
                <c:pt idx="129">
                  <c:v>0.98</c:v>
                </c:pt>
                <c:pt idx="130">
                  <c:v>0.9</c:v>
                </c:pt>
                <c:pt idx="131">
                  <c:v>0.75</c:v>
                </c:pt>
                <c:pt idx="132">
                  <c:v>0.7</c:v>
                </c:pt>
                <c:pt idx="133">
                  <c:v>0.91</c:v>
                </c:pt>
                <c:pt idx="134">
                  <c:v>0.66</c:v>
                </c:pt>
                <c:pt idx="135">
                  <c:v>0.74</c:v>
                </c:pt>
                <c:pt idx="136">
                  <c:v>0.47</c:v>
                </c:pt>
                <c:pt idx="137">
                  <c:v>0.83</c:v>
                </c:pt>
                <c:pt idx="138">
                  <c:v>0.69</c:v>
                </c:pt>
                <c:pt idx="139">
                  <c:v>0.61</c:v>
                </c:pt>
                <c:pt idx="140">
                  <c:v>0.63</c:v>
                </c:pt>
                <c:pt idx="141">
                  <c:v>0.9</c:v>
                </c:pt>
                <c:pt idx="142">
                  <c:v>0.85</c:v>
                </c:pt>
                <c:pt idx="143">
                  <c:v>0.98</c:v>
                </c:pt>
                <c:pt idx="144">
                  <c:v>0.95</c:v>
                </c:pt>
                <c:pt idx="145">
                  <c:v>0.85</c:v>
                </c:pt>
                <c:pt idx="146">
                  <c:v>0.84</c:v>
                </c:pt>
                <c:pt idx="147">
                  <c:v>0.92</c:v>
                </c:pt>
                <c:pt idx="148">
                  <c:v>0.53</c:v>
                </c:pt>
                <c:pt idx="149">
                  <c:v>0.63</c:v>
                </c:pt>
                <c:pt idx="150">
                  <c:v>0.82</c:v>
                </c:pt>
                <c:pt idx="151">
                  <c:v>0.77</c:v>
                </c:pt>
                <c:pt idx="152">
                  <c:v>0.76</c:v>
                </c:pt>
                <c:pt idx="153">
                  <c:v>0.72</c:v>
                </c:pt>
                <c:pt idx="154">
                  <c:v>0.86</c:v>
                </c:pt>
                <c:pt idx="155">
                  <c:v>0.62</c:v>
                </c:pt>
                <c:pt idx="156">
                  <c:v>0.84</c:v>
                </c:pt>
                <c:pt idx="157">
                  <c:v>0.8</c:v>
                </c:pt>
                <c:pt idx="158">
                  <c:v>0.92</c:v>
                </c:pt>
                <c:pt idx="159">
                  <c:v>0.75</c:v>
                </c:pt>
                <c:pt idx="160">
                  <c:v>0.79</c:v>
                </c:pt>
                <c:pt idx="161">
                  <c:v>0.64</c:v>
                </c:pt>
                <c:pt idx="162">
                  <c:v>0.37</c:v>
                </c:pt>
                <c:pt idx="163">
                  <c:v>0.93</c:v>
                </c:pt>
                <c:pt idx="164">
                  <c:v>0.88</c:v>
                </c:pt>
                <c:pt idx="165">
                  <c:v>0.87</c:v>
                </c:pt>
                <c:pt idx="166">
                  <c:v>0.86</c:v>
                </c:pt>
                <c:pt idx="167">
                  <c:v>0.52</c:v>
                </c:pt>
                <c:pt idx="168">
                  <c:v>0.9</c:v>
                </c:pt>
                <c:pt idx="169">
                  <c:v>0.97</c:v>
                </c:pt>
                <c:pt idx="170">
                  <c:v>0.81</c:v>
                </c:pt>
                <c:pt idx="171">
                  <c:v>0.35</c:v>
                </c:pt>
                <c:pt idx="172">
                  <c:v>0.96</c:v>
                </c:pt>
                <c:pt idx="173">
                  <c:v>0.81</c:v>
                </c:pt>
                <c:pt idx="174">
                  <c:v>0.93</c:v>
                </c:pt>
                <c:pt idx="175">
                  <c:v>0.75</c:v>
                </c:pt>
                <c:pt idx="176">
                  <c:v>0.8</c:v>
                </c:pt>
                <c:pt idx="177">
                  <c:v>0.93</c:v>
                </c:pt>
                <c:pt idx="178">
                  <c:v>0.64</c:v>
                </c:pt>
                <c:pt idx="179">
                  <c:v>0.75</c:v>
                </c:pt>
                <c:pt idx="180">
                  <c:v>0.6</c:v>
                </c:pt>
                <c:pt idx="181">
                  <c:v>0.85</c:v>
                </c:pt>
                <c:pt idx="182">
                  <c:v>0.56000000000000005</c:v>
                </c:pt>
                <c:pt idx="183">
                  <c:v>0.63</c:v>
                </c:pt>
                <c:pt idx="184">
                  <c:v>0.81</c:v>
                </c:pt>
                <c:pt idx="185">
                  <c:v>0.89</c:v>
                </c:pt>
                <c:pt idx="186">
                  <c:v>0.53</c:v>
                </c:pt>
                <c:pt idx="187">
                  <c:v>0.85</c:v>
                </c:pt>
                <c:pt idx="188">
                  <c:v>0.85</c:v>
                </c:pt>
                <c:pt idx="189">
                  <c:v>0.87</c:v>
                </c:pt>
                <c:pt idx="190">
                  <c:v>0.75</c:v>
                </c:pt>
                <c:pt idx="191">
                  <c:v>0.68</c:v>
                </c:pt>
                <c:pt idx="192">
                  <c:v>0.7</c:v>
                </c:pt>
                <c:pt idx="193">
                  <c:v>0.81</c:v>
                </c:pt>
                <c:pt idx="194">
                  <c:v>0.79</c:v>
                </c:pt>
                <c:pt idx="195">
                  <c:v>0.86</c:v>
                </c:pt>
                <c:pt idx="196">
                  <c:v>0.74</c:v>
                </c:pt>
                <c:pt idx="197">
                  <c:v>0.86</c:v>
                </c:pt>
                <c:pt idx="198">
                  <c:v>0.87</c:v>
                </c:pt>
                <c:pt idx="199">
                  <c:v>0.64</c:v>
                </c:pt>
                <c:pt idx="200">
                  <c:v>0.7</c:v>
                </c:pt>
                <c:pt idx="201">
                  <c:v>0.6</c:v>
                </c:pt>
                <c:pt idx="202">
                  <c:v>0.7</c:v>
                </c:pt>
                <c:pt idx="203">
                  <c:v>0.79</c:v>
                </c:pt>
                <c:pt idx="204">
                  <c:v>0.9</c:v>
                </c:pt>
                <c:pt idx="205">
                  <c:v>0.33</c:v>
                </c:pt>
                <c:pt idx="206">
                  <c:v>0.74</c:v>
                </c:pt>
                <c:pt idx="207">
                  <c:v>0.66</c:v>
                </c:pt>
                <c:pt idx="208">
                  <c:v>0.71</c:v>
                </c:pt>
                <c:pt idx="209">
                  <c:v>0.75</c:v>
                </c:pt>
                <c:pt idx="210">
                  <c:v>0.66</c:v>
                </c:pt>
                <c:pt idx="211">
                  <c:v>0.37</c:v>
                </c:pt>
                <c:pt idx="212">
                  <c:v>0.41</c:v>
                </c:pt>
                <c:pt idx="213">
                  <c:v>0.7</c:v>
                </c:pt>
                <c:pt idx="214">
                  <c:v>0.84</c:v>
                </c:pt>
                <c:pt idx="215">
                  <c:v>0.53</c:v>
                </c:pt>
                <c:pt idx="216">
                  <c:v>0.66</c:v>
                </c:pt>
                <c:pt idx="217">
                  <c:v>0.81</c:v>
                </c:pt>
                <c:pt idx="218">
                  <c:v>0.71</c:v>
                </c:pt>
                <c:pt idx="219">
                  <c:v>0.6</c:v>
                </c:pt>
                <c:pt idx="220">
                  <c:v>0.72</c:v>
                </c:pt>
                <c:pt idx="221">
                  <c:v>0.71</c:v>
                </c:pt>
                <c:pt idx="222">
                  <c:v>0.8</c:v>
                </c:pt>
                <c:pt idx="223">
                  <c:v>0.79</c:v>
                </c:pt>
                <c:pt idx="224">
                  <c:v>0.37</c:v>
                </c:pt>
                <c:pt idx="225">
                  <c:v>0.67</c:v>
                </c:pt>
                <c:pt idx="226">
                  <c:v>0.54</c:v>
                </c:pt>
                <c:pt idx="227">
                  <c:v>0.7</c:v>
                </c:pt>
                <c:pt idx="228">
                  <c:v>0.73</c:v>
                </c:pt>
                <c:pt idx="229">
                  <c:v>0.54</c:v>
                </c:pt>
                <c:pt idx="230">
                  <c:v>0.62</c:v>
                </c:pt>
                <c:pt idx="231">
                  <c:v>0.74</c:v>
                </c:pt>
                <c:pt idx="232">
                  <c:v>0.48</c:v>
                </c:pt>
                <c:pt idx="233">
                  <c:v>0.81</c:v>
                </c:pt>
                <c:pt idx="234">
                  <c:v>0.57999999999999996</c:v>
                </c:pt>
                <c:pt idx="235">
                  <c:v>0.56999999999999995</c:v>
                </c:pt>
                <c:pt idx="236">
                  <c:v>0.86</c:v>
                </c:pt>
                <c:pt idx="237">
                  <c:v>0.79</c:v>
                </c:pt>
                <c:pt idx="238">
                  <c:v>0.31</c:v>
                </c:pt>
                <c:pt idx="239">
                  <c:v>0.87</c:v>
                </c:pt>
                <c:pt idx="240">
                  <c:v>0.7</c:v>
                </c:pt>
                <c:pt idx="241">
                  <c:v>0.87</c:v>
                </c:pt>
                <c:pt idx="242">
                  <c:v>0.75</c:v>
                </c:pt>
                <c:pt idx="243">
                  <c:v>0.85</c:v>
                </c:pt>
                <c:pt idx="244">
                  <c:v>0.7</c:v>
                </c:pt>
                <c:pt idx="245">
                  <c:v>0.82</c:v>
                </c:pt>
                <c:pt idx="246">
                  <c:v>0.4</c:v>
                </c:pt>
                <c:pt idx="247">
                  <c:v>0.72</c:v>
                </c:pt>
                <c:pt idx="248">
                  <c:v>0.49</c:v>
                </c:pt>
                <c:pt idx="249">
                  <c:v>0.73</c:v>
                </c:pt>
                <c:pt idx="250">
                  <c:v>0.46</c:v>
                </c:pt>
                <c:pt idx="251">
                  <c:v>0.4</c:v>
                </c:pt>
                <c:pt idx="252">
                  <c:v>0.65</c:v>
                </c:pt>
                <c:pt idx="253">
                  <c:v>0.56999999999999995</c:v>
                </c:pt>
                <c:pt idx="254">
                  <c:v>0.92</c:v>
                </c:pt>
                <c:pt idx="255">
                  <c:v>0.65</c:v>
                </c:pt>
                <c:pt idx="256">
                  <c:v>0.28999999999999998</c:v>
                </c:pt>
                <c:pt idx="257">
                  <c:v>0.71</c:v>
                </c:pt>
                <c:pt idx="258">
                  <c:v>0.59</c:v>
                </c:pt>
                <c:pt idx="259">
                  <c:v>0.64</c:v>
                </c:pt>
                <c:pt idx="260">
                  <c:v>0.41</c:v>
                </c:pt>
                <c:pt idx="261">
                  <c:v>0.81</c:v>
                </c:pt>
                <c:pt idx="262">
                  <c:v>0.89</c:v>
                </c:pt>
                <c:pt idx="263">
                  <c:v>0.45</c:v>
                </c:pt>
                <c:pt idx="264">
                  <c:v>0.68</c:v>
                </c:pt>
                <c:pt idx="265">
                  <c:v>0.69</c:v>
                </c:pt>
                <c:pt idx="266">
                  <c:v>0.55000000000000004</c:v>
                </c:pt>
                <c:pt idx="267">
                  <c:v>0.8</c:v>
                </c:pt>
                <c:pt idx="268">
                  <c:v>0.72</c:v>
                </c:pt>
                <c:pt idx="269">
                  <c:v>0.71</c:v>
                </c:pt>
                <c:pt idx="270">
                  <c:v>0.74</c:v>
                </c:pt>
                <c:pt idx="271">
                  <c:v>0.75</c:v>
                </c:pt>
                <c:pt idx="272">
                  <c:v>0.5</c:v>
                </c:pt>
                <c:pt idx="273">
                  <c:v>0.67</c:v>
                </c:pt>
                <c:pt idx="274">
                  <c:v>0.62</c:v>
                </c:pt>
                <c:pt idx="275">
                  <c:v>0.53</c:v>
                </c:pt>
                <c:pt idx="276">
                  <c:v>0.7</c:v>
                </c:pt>
                <c:pt idx="277">
                  <c:v>0.59</c:v>
                </c:pt>
                <c:pt idx="278">
                  <c:v>0.67</c:v>
                </c:pt>
                <c:pt idx="279">
                  <c:v>0.6</c:v>
                </c:pt>
                <c:pt idx="280">
                  <c:v>0.73</c:v>
                </c:pt>
                <c:pt idx="281">
                  <c:v>0.7</c:v>
                </c:pt>
                <c:pt idx="282">
                  <c:v>0.74</c:v>
                </c:pt>
                <c:pt idx="283">
                  <c:v>0.43</c:v>
                </c:pt>
                <c:pt idx="284">
                  <c:v>0.56999999999999995</c:v>
                </c:pt>
                <c:pt idx="285">
                  <c:v>0.77</c:v>
                </c:pt>
                <c:pt idx="286">
                  <c:v>0.53</c:v>
                </c:pt>
                <c:pt idx="287">
                  <c:v>0.67</c:v>
                </c:pt>
                <c:pt idx="288">
                  <c:v>0.68</c:v>
                </c:pt>
                <c:pt idx="289">
                  <c:v>0.61</c:v>
                </c:pt>
                <c:pt idx="290">
                  <c:v>0.35</c:v>
                </c:pt>
                <c:pt idx="291">
                  <c:v>0.54</c:v>
                </c:pt>
                <c:pt idx="292">
                  <c:v>0.49</c:v>
                </c:pt>
                <c:pt idx="293">
                  <c:v>0.55000000000000004</c:v>
                </c:pt>
                <c:pt idx="294">
                  <c:v>0.79</c:v>
                </c:pt>
                <c:pt idx="295">
                  <c:v>0.75</c:v>
                </c:pt>
                <c:pt idx="296">
                  <c:v>0.55000000000000004</c:v>
                </c:pt>
                <c:pt idx="297">
                  <c:v>0.47</c:v>
                </c:pt>
                <c:pt idx="298">
                  <c:v>0.48</c:v>
                </c:pt>
                <c:pt idx="299">
                  <c:v>0.38</c:v>
                </c:pt>
                <c:pt idx="300">
                  <c:v>0.56999999999999995</c:v>
                </c:pt>
                <c:pt idx="301">
                  <c:v>0.72</c:v>
                </c:pt>
                <c:pt idx="302">
                  <c:v>0.68</c:v>
                </c:pt>
                <c:pt idx="303">
                  <c:v>0.76</c:v>
                </c:pt>
                <c:pt idx="304">
                  <c:v>0.5</c:v>
                </c:pt>
                <c:pt idx="305">
                  <c:v>0.85</c:v>
                </c:pt>
                <c:pt idx="306">
                  <c:v>0.5</c:v>
                </c:pt>
                <c:pt idx="307">
                  <c:v>0.62</c:v>
                </c:pt>
                <c:pt idx="308">
                  <c:v>0.86</c:v>
                </c:pt>
                <c:pt idx="309">
                  <c:v>0.51</c:v>
                </c:pt>
                <c:pt idx="310">
                  <c:v>0.47</c:v>
                </c:pt>
                <c:pt idx="311">
                  <c:v>0.39</c:v>
                </c:pt>
                <c:pt idx="312">
                  <c:v>0.85</c:v>
                </c:pt>
                <c:pt idx="313">
                  <c:v>0.51</c:v>
                </c:pt>
                <c:pt idx="314">
                  <c:v>0.51</c:v>
                </c:pt>
                <c:pt idx="315">
                  <c:v>0.62</c:v>
                </c:pt>
                <c:pt idx="316">
                  <c:v>0.43</c:v>
                </c:pt>
                <c:pt idx="317">
                  <c:v>0.39</c:v>
                </c:pt>
                <c:pt idx="318">
                  <c:v>0.83</c:v>
                </c:pt>
                <c:pt idx="319">
                  <c:v>0.67</c:v>
                </c:pt>
                <c:pt idx="320">
                  <c:v>0.71</c:v>
                </c:pt>
                <c:pt idx="321">
                  <c:v>0.16</c:v>
                </c:pt>
                <c:pt idx="322">
                  <c:v>0.51</c:v>
                </c:pt>
                <c:pt idx="323">
                  <c:v>0.47</c:v>
                </c:pt>
                <c:pt idx="324">
                  <c:v>0.59</c:v>
                </c:pt>
                <c:pt idx="325">
                  <c:v>0.34</c:v>
                </c:pt>
                <c:pt idx="326">
                  <c:v>0.43</c:v>
                </c:pt>
                <c:pt idx="327">
                  <c:v>0.73</c:v>
                </c:pt>
                <c:pt idx="328">
                  <c:v>0.46</c:v>
                </c:pt>
                <c:pt idx="329">
                  <c:v>0.78</c:v>
                </c:pt>
                <c:pt idx="330">
                  <c:v>0.47</c:v>
                </c:pt>
                <c:pt idx="331">
                  <c:v>0.37</c:v>
                </c:pt>
                <c:pt idx="332">
                  <c:v>0.43</c:v>
                </c:pt>
                <c:pt idx="333">
                  <c:v>0.52</c:v>
                </c:pt>
                <c:pt idx="334">
                  <c:v>0.68</c:v>
                </c:pt>
                <c:pt idx="335">
                  <c:v>0.75</c:v>
                </c:pt>
                <c:pt idx="336">
                  <c:v>0.52</c:v>
                </c:pt>
                <c:pt idx="337">
                  <c:v>0.25</c:v>
                </c:pt>
                <c:pt idx="338">
                  <c:v>0.45</c:v>
                </c:pt>
                <c:pt idx="339">
                  <c:v>0.55000000000000004</c:v>
                </c:pt>
                <c:pt idx="340">
                  <c:v>0.41</c:v>
                </c:pt>
                <c:pt idx="341">
                  <c:v>0.49</c:v>
                </c:pt>
                <c:pt idx="342">
                  <c:v>0.42</c:v>
                </c:pt>
                <c:pt idx="343">
                  <c:v>0.5</c:v>
                </c:pt>
                <c:pt idx="344">
                  <c:v>0.65</c:v>
                </c:pt>
                <c:pt idx="345">
                  <c:v>0.69</c:v>
                </c:pt>
                <c:pt idx="346">
                  <c:v>0.47</c:v>
                </c:pt>
                <c:pt idx="347">
                  <c:v>0.51</c:v>
                </c:pt>
                <c:pt idx="348">
                  <c:v>0.64</c:v>
                </c:pt>
                <c:pt idx="349">
                  <c:v>0.41</c:v>
                </c:pt>
                <c:pt idx="350">
                  <c:v>0.43</c:v>
                </c:pt>
                <c:pt idx="351">
                  <c:v>0.39</c:v>
                </c:pt>
                <c:pt idx="352">
                  <c:v>0.6</c:v>
                </c:pt>
                <c:pt idx="353">
                  <c:v>0.64</c:v>
                </c:pt>
                <c:pt idx="354">
                  <c:v>0.37</c:v>
                </c:pt>
                <c:pt idx="355">
                  <c:v>0.4</c:v>
                </c:pt>
                <c:pt idx="356">
                  <c:v>0.56000000000000005</c:v>
                </c:pt>
                <c:pt idx="357">
                  <c:v>0.57999999999999996</c:v>
                </c:pt>
                <c:pt idx="358">
                  <c:v>0.74</c:v>
                </c:pt>
                <c:pt idx="359">
                  <c:v>0.61</c:v>
                </c:pt>
                <c:pt idx="360">
                  <c:v>0.28999999999999998</c:v>
                </c:pt>
                <c:pt idx="361">
                  <c:v>0.49</c:v>
                </c:pt>
                <c:pt idx="362">
                  <c:v>0.38</c:v>
                </c:pt>
                <c:pt idx="363">
                  <c:v>0.71</c:v>
                </c:pt>
                <c:pt idx="364">
                  <c:v>0.5</c:v>
                </c:pt>
                <c:pt idx="365">
                  <c:v>0.62</c:v>
                </c:pt>
                <c:pt idx="366">
                  <c:v>0.43</c:v>
                </c:pt>
                <c:pt idx="367">
                  <c:v>0.45</c:v>
                </c:pt>
                <c:pt idx="368">
                  <c:v>0.38</c:v>
                </c:pt>
                <c:pt idx="369">
                  <c:v>0.52</c:v>
                </c:pt>
                <c:pt idx="370">
                  <c:v>0.71</c:v>
                </c:pt>
                <c:pt idx="371">
                  <c:v>0.49</c:v>
                </c:pt>
                <c:pt idx="372">
                  <c:v>0.59</c:v>
                </c:pt>
                <c:pt idx="373">
                  <c:v>0.21</c:v>
                </c:pt>
                <c:pt idx="374">
                  <c:v>0.78</c:v>
                </c:pt>
                <c:pt idx="375">
                  <c:v>0.53</c:v>
                </c:pt>
                <c:pt idx="376">
                  <c:v>0.75</c:v>
                </c:pt>
                <c:pt idx="377">
                  <c:v>0.25</c:v>
                </c:pt>
                <c:pt idx="378">
                  <c:v>0.51</c:v>
                </c:pt>
                <c:pt idx="379">
                  <c:v>0.37</c:v>
                </c:pt>
                <c:pt idx="380">
                  <c:v>0.66</c:v>
                </c:pt>
                <c:pt idx="381">
                  <c:v>0.32</c:v>
                </c:pt>
                <c:pt idx="382">
                  <c:v>0.39</c:v>
                </c:pt>
                <c:pt idx="383">
                  <c:v>0.43</c:v>
                </c:pt>
                <c:pt idx="384">
                  <c:v>0.12</c:v>
                </c:pt>
                <c:pt idx="385">
                  <c:v>0.49</c:v>
                </c:pt>
                <c:pt idx="386">
                  <c:v>0.32</c:v>
                </c:pt>
                <c:pt idx="387">
                  <c:v>0.41</c:v>
                </c:pt>
                <c:pt idx="388">
                  <c:v>0.24</c:v>
                </c:pt>
                <c:pt idx="389">
                  <c:v>0.11</c:v>
                </c:pt>
                <c:pt idx="390">
                  <c:v>0.37</c:v>
                </c:pt>
                <c:pt idx="391">
                  <c:v>0.37</c:v>
                </c:pt>
                <c:pt idx="392">
                  <c:v>0.41</c:v>
                </c:pt>
                <c:pt idx="393">
                  <c:v>0.32</c:v>
                </c:pt>
                <c:pt idx="394">
                  <c:v>0.63</c:v>
                </c:pt>
                <c:pt idx="395">
                  <c:v>0.48</c:v>
                </c:pt>
                <c:pt idx="396">
                  <c:v>7.0000000000000007E-2</c:v>
                </c:pt>
                <c:pt idx="397">
                  <c:v>0.27</c:v>
                </c:pt>
                <c:pt idx="398">
                  <c:v>0.37</c:v>
                </c:pt>
                <c:pt idx="399">
                  <c:v>0.45</c:v>
                </c:pt>
                <c:pt idx="400">
                  <c:v>0.27</c:v>
                </c:pt>
                <c:pt idx="401">
                  <c:v>0.2</c:v>
                </c:pt>
                <c:pt idx="402">
                  <c:v>0.22</c:v>
                </c:pt>
                <c:pt idx="403">
                  <c:v>0.62</c:v>
                </c:pt>
                <c:pt idx="404">
                  <c:v>0.67</c:v>
                </c:pt>
                <c:pt idx="405">
                  <c:v>0.42</c:v>
                </c:pt>
                <c:pt idx="406">
                  <c:v>0.73</c:v>
                </c:pt>
                <c:pt idx="407">
                  <c:v>0.37</c:v>
                </c:pt>
                <c:pt idx="408">
                  <c:v>0.68</c:v>
                </c:pt>
                <c:pt idx="409">
                  <c:v>0.28000000000000003</c:v>
                </c:pt>
                <c:pt idx="410">
                  <c:v>0.39</c:v>
                </c:pt>
                <c:pt idx="411">
                  <c:v>0.19</c:v>
                </c:pt>
                <c:pt idx="412">
                  <c:v>0.6</c:v>
                </c:pt>
                <c:pt idx="413">
                  <c:v>0.37</c:v>
                </c:pt>
                <c:pt idx="414">
                  <c:v>0.61</c:v>
                </c:pt>
                <c:pt idx="415">
                  <c:v>0.24</c:v>
                </c:pt>
                <c:pt idx="416">
                  <c:v>0.56000000000000005</c:v>
                </c:pt>
                <c:pt idx="417">
                  <c:v>0.4</c:v>
                </c:pt>
                <c:pt idx="418">
                  <c:v>0.16</c:v>
                </c:pt>
                <c:pt idx="419">
                  <c:v>0.4</c:v>
                </c:pt>
                <c:pt idx="420">
                  <c:v>0.41</c:v>
                </c:pt>
                <c:pt idx="421">
                  <c:v>0.45</c:v>
                </c:pt>
                <c:pt idx="422">
                  <c:v>0.75</c:v>
                </c:pt>
                <c:pt idx="423">
                  <c:v>0.18</c:v>
                </c:pt>
                <c:pt idx="424">
                  <c:v>0.23</c:v>
                </c:pt>
                <c:pt idx="425">
                  <c:v>0.56000000000000005</c:v>
                </c:pt>
                <c:pt idx="426">
                  <c:v>0.26</c:v>
                </c:pt>
                <c:pt idx="427">
                  <c:v>0.24</c:v>
                </c:pt>
                <c:pt idx="428">
                  <c:v>0.28999999999999998</c:v>
                </c:pt>
                <c:pt idx="429">
                  <c:v>0.34</c:v>
                </c:pt>
                <c:pt idx="430">
                  <c:v>0.28999999999999998</c:v>
                </c:pt>
                <c:pt idx="431">
                  <c:v>0.14000000000000001</c:v>
                </c:pt>
                <c:pt idx="432">
                  <c:v>0.45</c:v>
                </c:pt>
                <c:pt idx="433">
                  <c:v>0.56000000000000005</c:v>
                </c:pt>
                <c:pt idx="434">
                  <c:v>0.52</c:v>
                </c:pt>
                <c:pt idx="435">
                  <c:v>0.31</c:v>
                </c:pt>
                <c:pt idx="436">
                  <c:v>0.56999999999999995</c:v>
                </c:pt>
                <c:pt idx="437">
                  <c:v>0.04</c:v>
                </c:pt>
                <c:pt idx="438">
                  <c:v>0.6</c:v>
                </c:pt>
                <c:pt idx="439">
                  <c:v>0.39</c:v>
                </c:pt>
                <c:pt idx="440">
                  <c:v>0.31</c:v>
                </c:pt>
                <c:pt idx="441">
                  <c:v>0.49</c:v>
                </c:pt>
                <c:pt idx="442">
                  <c:v>0.51</c:v>
                </c:pt>
                <c:pt idx="443">
                  <c:v>0.33</c:v>
                </c:pt>
                <c:pt idx="444">
                  <c:v>0.64</c:v>
                </c:pt>
                <c:pt idx="445">
                  <c:v>0.13</c:v>
                </c:pt>
                <c:pt idx="446">
                  <c:v>0.64</c:v>
                </c:pt>
                <c:pt idx="447">
                  <c:v>0.65</c:v>
                </c:pt>
                <c:pt idx="448">
                  <c:v>0.73</c:v>
                </c:pt>
                <c:pt idx="449">
                  <c:v>0.34</c:v>
                </c:pt>
                <c:pt idx="450">
                  <c:v>0.69</c:v>
                </c:pt>
                <c:pt idx="451">
                  <c:v>0.44</c:v>
                </c:pt>
                <c:pt idx="452">
                  <c:v>0.77</c:v>
                </c:pt>
                <c:pt idx="453">
                  <c:v>0.31</c:v>
                </c:pt>
                <c:pt idx="454">
                  <c:v>0.4</c:v>
                </c:pt>
                <c:pt idx="455">
                  <c:v>0.56999999999999995</c:v>
                </c:pt>
                <c:pt idx="456">
                  <c:v>0.25</c:v>
                </c:pt>
                <c:pt idx="457">
                  <c:v>0.2</c:v>
                </c:pt>
                <c:pt idx="458">
                  <c:v>0.19</c:v>
                </c:pt>
                <c:pt idx="459">
                  <c:v>0.28000000000000003</c:v>
                </c:pt>
                <c:pt idx="460">
                  <c:v>0.56999999999999995</c:v>
                </c:pt>
                <c:pt idx="461">
                  <c:v>0.21</c:v>
                </c:pt>
                <c:pt idx="462">
                  <c:v>0.36</c:v>
                </c:pt>
                <c:pt idx="463">
                  <c:v>0.24</c:v>
                </c:pt>
                <c:pt idx="464">
                  <c:v>0.37</c:v>
                </c:pt>
                <c:pt idx="465">
                  <c:v>0.36</c:v>
                </c:pt>
                <c:pt idx="466">
                  <c:v>0.48</c:v>
                </c:pt>
                <c:pt idx="467">
                  <c:v>0.23</c:v>
                </c:pt>
                <c:pt idx="468">
                  <c:v>0.19</c:v>
                </c:pt>
                <c:pt idx="469">
                  <c:v>0.26</c:v>
                </c:pt>
                <c:pt idx="470">
                  <c:v>0.36</c:v>
                </c:pt>
                <c:pt idx="471">
                  <c:v>0.56000000000000005</c:v>
                </c:pt>
                <c:pt idx="472">
                  <c:v>0.59</c:v>
                </c:pt>
                <c:pt idx="473">
                  <c:v>0.28000000000000003</c:v>
                </c:pt>
                <c:pt idx="474">
                  <c:v>0.18</c:v>
                </c:pt>
                <c:pt idx="475">
                  <c:v>0.09</c:v>
                </c:pt>
                <c:pt idx="476">
                  <c:v>0.57999999999999996</c:v>
                </c:pt>
                <c:pt idx="477">
                  <c:v>0.34</c:v>
                </c:pt>
                <c:pt idx="478">
                  <c:v>0.67</c:v>
                </c:pt>
                <c:pt idx="479">
                  <c:v>0.54</c:v>
                </c:pt>
                <c:pt idx="480">
                  <c:v>0.27</c:v>
                </c:pt>
                <c:pt idx="481">
                  <c:v>0.44</c:v>
                </c:pt>
                <c:pt idx="482">
                  <c:v>0.47</c:v>
                </c:pt>
                <c:pt idx="483">
                  <c:v>0.15</c:v>
                </c:pt>
                <c:pt idx="484">
                  <c:v>0.45</c:v>
                </c:pt>
                <c:pt idx="485">
                  <c:v>0.04</c:v>
                </c:pt>
                <c:pt idx="486">
                  <c:v>0.18</c:v>
                </c:pt>
                <c:pt idx="487">
                  <c:v>0.08</c:v>
                </c:pt>
                <c:pt idx="488">
                  <c:v>0.18</c:v>
                </c:pt>
                <c:pt idx="489">
                  <c:v>0.02</c:v>
                </c:pt>
                <c:pt idx="490">
                  <c:v>0.67</c:v>
                </c:pt>
                <c:pt idx="491">
                  <c:v>0.1</c:v>
                </c:pt>
                <c:pt idx="492">
                  <c:v>0.26</c:v>
                </c:pt>
                <c:pt idx="493">
                  <c:v>0.24</c:v>
                </c:pt>
                <c:pt idx="494">
                  <c:v>0.13</c:v>
                </c:pt>
                <c:pt idx="495">
                  <c:v>0.16</c:v>
                </c:pt>
                <c:pt idx="496">
                  <c:v>0.28000000000000003</c:v>
                </c:pt>
                <c:pt idx="497">
                  <c:v>0.55000000000000004</c:v>
                </c:pt>
                <c:pt idx="498">
                  <c:v>0.52</c:v>
                </c:pt>
                <c:pt idx="499">
                  <c:v>0.2</c:v>
                </c:pt>
                <c:pt idx="500">
                  <c:v>0.04</c:v>
                </c:pt>
                <c:pt idx="501">
                  <c:v>0.15</c:v>
                </c:pt>
                <c:pt idx="502">
                  <c:v>0.14000000000000001</c:v>
                </c:pt>
                <c:pt idx="503">
                  <c:v>0.62</c:v>
                </c:pt>
                <c:pt idx="504">
                  <c:v>0.59</c:v>
                </c:pt>
                <c:pt idx="505">
                  <c:v>0.21</c:v>
                </c:pt>
                <c:pt idx="506">
                  <c:v>0.46</c:v>
                </c:pt>
                <c:pt idx="507">
                  <c:v>0.25</c:v>
                </c:pt>
                <c:pt idx="508">
                  <c:v>0.12</c:v>
                </c:pt>
                <c:pt idx="509">
                  <c:v>0.1</c:v>
                </c:pt>
                <c:pt idx="510">
                  <c:v>0.09</c:v>
                </c:pt>
                <c:pt idx="511">
                  <c:v>0.21</c:v>
                </c:pt>
                <c:pt idx="512">
                  <c:v>0.69</c:v>
                </c:pt>
                <c:pt idx="513">
                  <c:v>0.14000000000000001</c:v>
                </c:pt>
                <c:pt idx="514">
                  <c:v>0.4</c:v>
                </c:pt>
                <c:pt idx="515">
                  <c:v>0.03</c:v>
                </c:pt>
                <c:pt idx="516">
                  <c:v>0.13</c:v>
                </c:pt>
                <c:pt idx="517">
                  <c:v>0.14000000000000001</c:v>
                </c:pt>
                <c:pt idx="518">
                  <c:v>0.33</c:v>
                </c:pt>
                <c:pt idx="519">
                  <c:v>0.16</c:v>
                </c:pt>
                <c:pt idx="520">
                  <c:v>0.21</c:v>
                </c:pt>
                <c:pt idx="521">
                  <c:v>7.0000000000000007E-2</c:v>
                </c:pt>
                <c:pt idx="522">
                  <c:v>0.21</c:v>
                </c:pt>
                <c:pt idx="523">
                  <c:v>0.38</c:v>
                </c:pt>
                <c:pt idx="524">
                  <c:v>0.15</c:v>
                </c:pt>
                <c:pt idx="525">
                  <c:v>0.16</c:v>
                </c:pt>
                <c:pt idx="526">
                  <c:v>0.16</c:v>
                </c:pt>
                <c:pt idx="527">
                  <c:v>0.16</c:v>
                </c:pt>
                <c:pt idx="528">
                  <c:v>0.33</c:v>
                </c:pt>
                <c:pt idx="529">
                  <c:v>0.22</c:v>
                </c:pt>
                <c:pt idx="530">
                  <c:v>0.22</c:v>
                </c:pt>
                <c:pt idx="531">
                  <c:v>0.34</c:v>
                </c:pt>
                <c:pt idx="532">
                  <c:v>0.06</c:v>
                </c:pt>
                <c:pt idx="533">
                  <c:v>0.09</c:v>
                </c:pt>
                <c:pt idx="534">
                  <c:v>0.11</c:v>
                </c:pt>
                <c:pt idx="535">
                  <c:v>0.73</c:v>
                </c:pt>
                <c:pt idx="536">
                  <c:v>0.02</c:v>
                </c:pt>
                <c:pt idx="537">
                  <c:v>0.25</c:v>
                </c:pt>
                <c:pt idx="538">
                  <c:v>0.08</c:v>
                </c:pt>
                <c:pt idx="539">
                  <c:v>0.56000000000000005</c:v>
                </c:pt>
                <c:pt idx="540">
                  <c:v>0.04</c:v>
                </c:pt>
                <c:pt idx="541">
                  <c:v>0.16</c:v>
                </c:pt>
                <c:pt idx="542">
                  <c:v>0.53</c:v>
                </c:pt>
                <c:pt idx="543">
                  <c:v>0.2</c:v>
                </c:pt>
                <c:pt idx="544">
                  <c:v>0.3</c:v>
                </c:pt>
                <c:pt idx="545">
                  <c:v>0.06</c:v>
                </c:pt>
                <c:pt idx="546">
                  <c:v>0.25</c:v>
                </c:pt>
                <c:pt idx="547">
                  <c:v>0.11</c:v>
                </c:pt>
                <c:pt idx="548">
                  <c:v>0.12</c:v>
                </c:pt>
                <c:pt idx="549">
                  <c:v>0.41</c:v>
                </c:pt>
                <c:pt idx="550">
                  <c:v>0.25</c:v>
                </c:pt>
                <c:pt idx="551">
                  <c:v>0.25</c:v>
                </c:pt>
                <c:pt idx="552">
                  <c:v>0.1</c:v>
                </c:pt>
                <c:pt idx="553">
                  <c:v>0.16</c:v>
                </c:pt>
                <c:pt idx="554">
                  <c:v>0.24</c:v>
                </c:pt>
                <c:pt idx="555">
                  <c:v>0.17</c:v>
                </c:pt>
                <c:pt idx="556">
                  <c:v>0.08</c:v>
                </c:pt>
                <c:pt idx="557">
                  <c:v>0.08</c:v>
                </c:pt>
                <c:pt idx="558">
                  <c:v>0.08</c:v>
                </c:pt>
                <c:pt idx="559">
                  <c:v>0.13</c:v>
                </c:pt>
                <c:pt idx="560">
                  <c:v>0.36</c:v>
                </c:pt>
                <c:pt idx="561">
                  <c:v>0.16</c:v>
                </c:pt>
                <c:pt idx="562">
                  <c:v>0.41</c:v>
                </c:pt>
                <c:pt idx="563">
                  <c:v>0.53</c:v>
                </c:pt>
                <c:pt idx="564">
                  <c:v>0.24</c:v>
                </c:pt>
                <c:pt idx="565">
                  <c:v>0.01</c:v>
                </c:pt>
                <c:pt idx="566">
                  <c:v>0.37</c:v>
                </c:pt>
                <c:pt idx="567">
                  <c:v>0.2</c:v>
                </c:pt>
                <c:pt idx="568">
                  <c:v>0.08</c:v>
                </c:pt>
                <c:pt idx="569">
                  <c:v>0.13</c:v>
                </c:pt>
                <c:pt idx="570">
                  <c:v>0.12</c:v>
                </c:pt>
                <c:pt idx="571">
                  <c:v>0.18</c:v>
                </c:pt>
                <c:pt idx="572">
                  <c:v>0.51</c:v>
                </c:pt>
                <c:pt idx="573">
                  <c:v>0.27</c:v>
                </c:pt>
                <c:pt idx="574">
                  <c:v>0.19</c:v>
                </c:pt>
                <c:pt idx="575">
                  <c:v>0.02</c:v>
                </c:pt>
                <c:pt idx="576">
                  <c:v>0.13</c:v>
                </c:pt>
                <c:pt idx="577">
                  <c:v>7.0000000000000007E-2</c:v>
                </c:pt>
                <c:pt idx="578">
                  <c:v>0.2</c:v>
                </c:pt>
                <c:pt idx="579">
                  <c:v>0.5</c:v>
                </c:pt>
                <c:pt idx="580">
                  <c:v>0.09</c:v>
                </c:pt>
                <c:pt idx="581">
                  <c:v>0.12</c:v>
                </c:pt>
                <c:pt idx="582">
                  <c:v>0.02</c:v>
                </c:pt>
                <c:pt idx="583">
                  <c:v>0.27</c:v>
                </c:pt>
                <c:pt idx="584">
                  <c:v>0.28999999999999998</c:v>
                </c:pt>
                <c:pt idx="585">
                  <c:v>0.17</c:v>
                </c:pt>
                <c:pt idx="586">
                  <c:v>0.08</c:v>
                </c:pt>
                <c:pt idx="587">
                  <c:v>0.16</c:v>
                </c:pt>
                <c:pt idx="588">
                  <c:v>0.26</c:v>
                </c:pt>
                <c:pt idx="589">
                  <c:v>0.12</c:v>
                </c:pt>
                <c:pt idx="590">
                  <c:v>0.17</c:v>
                </c:pt>
                <c:pt idx="591">
                  <c:v>0.17</c:v>
                </c:pt>
                <c:pt idx="592">
                  <c:v>0.04</c:v>
                </c:pt>
                <c:pt idx="593">
                  <c:v>0.17</c:v>
                </c:pt>
                <c:pt idx="594">
                  <c:v>0.08</c:v>
                </c:pt>
                <c:pt idx="595">
                  <c:v>0.04</c:v>
                </c:pt>
                <c:pt idx="596">
                  <c:v>0.02</c:v>
                </c:pt>
                <c:pt idx="597">
                  <c:v>0.28999999999999998</c:v>
                </c:pt>
                <c:pt idx="598">
                  <c:v>0.18</c:v>
                </c:pt>
                <c:pt idx="599">
                  <c:v>0.51</c:v>
                </c:pt>
                <c:pt idx="600">
                  <c:v>0.11</c:v>
                </c:pt>
                <c:pt idx="601">
                  <c:v>0.1</c:v>
                </c:pt>
                <c:pt idx="602">
                  <c:v>0.16</c:v>
                </c:pt>
                <c:pt idx="603">
                  <c:v>0.06</c:v>
                </c:pt>
                <c:pt idx="604">
                  <c:v>0.48</c:v>
                </c:pt>
                <c:pt idx="605">
                  <c:v>0.43</c:v>
                </c:pt>
                <c:pt idx="606">
                  <c:v>0.33</c:v>
                </c:pt>
                <c:pt idx="607">
                  <c:v>0.16</c:v>
                </c:pt>
                <c:pt idx="608">
                  <c:v>0.1</c:v>
                </c:pt>
                <c:pt idx="609">
                  <c:v>7.0000000000000007E-2</c:v>
                </c:pt>
                <c:pt idx="610">
                  <c:v>0.17</c:v>
                </c:pt>
                <c:pt idx="611">
                  <c:v>0.09</c:v>
                </c:pt>
                <c:pt idx="612">
                  <c:v>0.06</c:v>
                </c:pt>
                <c:pt idx="613">
                  <c:v>0.04</c:v>
                </c:pt>
                <c:pt idx="614">
                  <c:v>0.1</c:v>
                </c:pt>
                <c:pt idx="615">
                  <c:v>0.14000000000000001</c:v>
                </c:pt>
                <c:pt idx="616">
                  <c:v>0.03</c:v>
                </c:pt>
                <c:pt idx="617">
                  <c:v>0.16</c:v>
                </c:pt>
                <c:pt idx="618">
                  <c:v>7.0000000000000007E-2</c:v>
                </c:pt>
                <c:pt idx="619">
                  <c:v>0.16</c:v>
                </c:pt>
                <c:pt idx="620">
                  <c:v>0.2</c:v>
                </c:pt>
                <c:pt idx="621">
                  <c:v>0.18</c:v>
                </c:pt>
                <c:pt idx="622">
                  <c:v>0.15</c:v>
                </c:pt>
                <c:pt idx="623">
                  <c:v>0.19</c:v>
                </c:pt>
                <c:pt idx="624">
                  <c:v>0.09</c:v>
                </c:pt>
                <c:pt idx="625">
                  <c:v>0.17</c:v>
                </c:pt>
                <c:pt idx="626">
                  <c:v>0.19</c:v>
                </c:pt>
                <c:pt idx="627">
                  <c:v>0.08</c:v>
                </c:pt>
                <c:pt idx="628">
                  <c:v>0.02</c:v>
                </c:pt>
                <c:pt idx="629">
                  <c:v>0.13</c:v>
                </c:pt>
                <c:pt idx="630">
                  <c:v>0.1</c:v>
                </c:pt>
                <c:pt idx="631">
                  <c:v>0.02</c:v>
                </c:pt>
                <c:pt idx="632">
                  <c:v>0.11</c:v>
                </c:pt>
                <c:pt idx="633">
                  <c:v>0.11</c:v>
                </c:pt>
                <c:pt idx="634">
                  <c:v>0.09</c:v>
                </c:pt>
                <c:pt idx="635">
                  <c:v>0.12</c:v>
                </c:pt>
                <c:pt idx="636">
                  <c:v>0.1</c:v>
                </c:pt>
                <c:pt idx="637">
                  <c:v>0.06</c:v>
                </c:pt>
                <c:pt idx="638">
                  <c:v>0.06</c:v>
                </c:pt>
                <c:pt idx="639">
                  <c:v>0.09</c:v>
                </c:pt>
                <c:pt idx="640">
                  <c:v>0.41</c:v>
                </c:pt>
                <c:pt idx="641">
                  <c:v>0.09</c:v>
                </c:pt>
                <c:pt idx="642">
                  <c:v>0.16</c:v>
                </c:pt>
                <c:pt idx="643">
                  <c:v>0.38</c:v>
                </c:pt>
                <c:pt idx="644">
                  <c:v>7.0000000000000007E-2</c:v>
                </c:pt>
                <c:pt idx="645">
                  <c:v>0.13</c:v>
                </c:pt>
                <c:pt idx="646">
                  <c:v>0.05</c:v>
                </c:pt>
                <c:pt idx="647">
                  <c:v>0.03</c:v>
                </c:pt>
                <c:pt idx="648">
                  <c:v>0.05</c:v>
                </c:pt>
                <c:pt idx="649">
                  <c:v>0.15</c:v>
                </c:pt>
                <c:pt idx="650">
                  <c:v>0.23</c:v>
                </c:pt>
                <c:pt idx="651">
                  <c:v>0.18</c:v>
                </c:pt>
                <c:pt idx="652">
                  <c:v>0.03</c:v>
                </c:pt>
                <c:pt idx="653">
                  <c:v>0.47</c:v>
                </c:pt>
                <c:pt idx="654">
                  <c:v>0.05</c:v>
                </c:pt>
                <c:pt idx="655">
                  <c:v>0.18</c:v>
                </c:pt>
                <c:pt idx="656">
                  <c:v>0.05</c:v>
                </c:pt>
                <c:pt idx="657">
                  <c:v>0.17</c:v>
                </c:pt>
                <c:pt idx="658">
                  <c:v>0.02</c:v>
                </c:pt>
                <c:pt idx="659">
                  <c:v>0.12</c:v>
                </c:pt>
                <c:pt idx="660">
                  <c:v>0.13</c:v>
                </c:pt>
                <c:pt idx="661">
                  <c:v>0.16</c:v>
                </c:pt>
                <c:pt idx="662">
                  <c:v>0.13</c:v>
                </c:pt>
                <c:pt idx="663">
                  <c:v>0.12</c:v>
                </c:pt>
                <c:pt idx="664">
                  <c:v>0.08</c:v>
                </c:pt>
                <c:pt idx="665">
                  <c:v>0.13</c:v>
                </c:pt>
                <c:pt idx="666">
                  <c:v>0.18</c:v>
                </c:pt>
                <c:pt idx="667">
                  <c:v>0.11</c:v>
                </c:pt>
                <c:pt idx="668">
                  <c:v>0.13</c:v>
                </c:pt>
                <c:pt idx="669">
                  <c:v>0.12</c:v>
                </c:pt>
                <c:pt idx="670">
                  <c:v>0.06</c:v>
                </c:pt>
                <c:pt idx="671">
                  <c:v>0.08</c:v>
                </c:pt>
                <c:pt idx="672">
                  <c:v>0.04</c:v>
                </c:pt>
                <c:pt idx="673">
                  <c:v>0.03</c:v>
                </c:pt>
                <c:pt idx="674">
                  <c:v>0.02</c:v>
                </c:pt>
                <c:pt idx="675">
                  <c:v>0.01</c:v>
                </c:pt>
                <c:pt idx="676">
                  <c:v>0.18</c:v>
                </c:pt>
                <c:pt idx="677">
                  <c:v>0.06</c:v>
                </c:pt>
                <c:pt idx="678">
                  <c:v>0.09</c:v>
                </c:pt>
                <c:pt idx="679">
                  <c:v>0.09</c:v>
                </c:pt>
                <c:pt idx="680">
                  <c:v>0.1</c:v>
                </c:pt>
                <c:pt idx="681">
                  <c:v>0.14000000000000001</c:v>
                </c:pt>
                <c:pt idx="682">
                  <c:v>0.11</c:v>
                </c:pt>
                <c:pt idx="683">
                  <c:v>0.11</c:v>
                </c:pt>
                <c:pt idx="684">
                  <c:v>0.06</c:v>
                </c:pt>
                <c:pt idx="685">
                  <c:v>0.13</c:v>
                </c:pt>
                <c:pt idx="686">
                  <c:v>7.0000000000000007E-2</c:v>
                </c:pt>
                <c:pt idx="687">
                  <c:v>0.03</c:v>
                </c:pt>
                <c:pt idx="688">
                  <c:v>0.26</c:v>
                </c:pt>
                <c:pt idx="689">
                  <c:v>0.12</c:v>
                </c:pt>
                <c:pt idx="690">
                  <c:v>0.06</c:v>
                </c:pt>
                <c:pt idx="691">
                  <c:v>0.03</c:v>
                </c:pt>
                <c:pt idx="692">
                  <c:v>0.06</c:v>
                </c:pt>
                <c:pt idx="693">
                  <c:v>0.36</c:v>
                </c:pt>
                <c:pt idx="694">
                  <c:v>0.3</c:v>
                </c:pt>
                <c:pt idx="695">
                  <c:v>0.25</c:v>
                </c:pt>
                <c:pt idx="696">
                  <c:v>0.08</c:v>
                </c:pt>
                <c:pt idx="697">
                  <c:v>0.04</c:v>
                </c:pt>
                <c:pt idx="698">
                  <c:v>0.08</c:v>
                </c:pt>
                <c:pt idx="699">
                  <c:v>0.16</c:v>
                </c:pt>
                <c:pt idx="700">
                  <c:v>0.1</c:v>
                </c:pt>
                <c:pt idx="701">
                  <c:v>0.03</c:v>
                </c:pt>
                <c:pt idx="702">
                  <c:v>0.05</c:v>
                </c:pt>
                <c:pt idx="703">
                  <c:v>0.15</c:v>
                </c:pt>
                <c:pt idx="704">
                  <c:v>0.03</c:v>
                </c:pt>
                <c:pt idx="705">
                  <c:v>0.06</c:v>
                </c:pt>
                <c:pt idx="706">
                  <c:v>0.02</c:v>
                </c:pt>
                <c:pt idx="707">
                  <c:v>0.06</c:v>
                </c:pt>
                <c:pt idx="708">
                  <c:v>0.1</c:v>
                </c:pt>
                <c:pt idx="709">
                  <c:v>0.41</c:v>
                </c:pt>
                <c:pt idx="710">
                  <c:v>0.06</c:v>
                </c:pt>
                <c:pt idx="711">
                  <c:v>0.1</c:v>
                </c:pt>
                <c:pt idx="712">
                  <c:v>0.42</c:v>
                </c:pt>
                <c:pt idx="713">
                  <c:v>7.0000000000000007E-2</c:v>
                </c:pt>
                <c:pt idx="714">
                  <c:v>0.06</c:v>
                </c:pt>
                <c:pt idx="715">
                  <c:v>0.04</c:v>
                </c:pt>
                <c:pt idx="716">
                  <c:v>0.19</c:v>
                </c:pt>
                <c:pt idx="717">
                  <c:v>0.06</c:v>
                </c:pt>
                <c:pt idx="718">
                  <c:v>0.1</c:v>
                </c:pt>
                <c:pt idx="719">
                  <c:v>0.02</c:v>
                </c:pt>
                <c:pt idx="720">
                  <c:v>0.12</c:v>
                </c:pt>
                <c:pt idx="721">
                  <c:v>7.0000000000000007E-2</c:v>
                </c:pt>
                <c:pt idx="722">
                  <c:v>0.11</c:v>
                </c:pt>
                <c:pt idx="723">
                  <c:v>0.09</c:v>
                </c:pt>
                <c:pt idx="724">
                  <c:v>0.04</c:v>
                </c:pt>
                <c:pt idx="725">
                  <c:v>0.03</c:v>
                </c:pt>
                <c:pt idx="726">
                  <c:v>0.01</c:v>
                </c:pt>
                <c:pt idx="727">
                  <c:v>0.03</c:v>
                </c:pt>
                <c:pt idx="728">
                  <c:v>0.05</c:v>
                </c:pt>
                <c:pt idx="729">
                  <c:v>0.1</c:v>
                </c:pt>
                <c:pt idx="730">
                  <c:v>0.02</c:v>
                </c:pt>
                <c:pt idx="731">
                  <c:v>7.0000000000000007E-2</c:v>
                </c:pt>
                <c:pt idx="732">
                  <c:v>0.2</c:v>
                </c:pt>
                <c:pt idx="733">
                  <c:v>0.03</c:v>
                </c:pt>
                <c:pt idx="734">
                  <c:v>0.14000000000000001</c:v>
                </c:pt>
                <c:pt idx="735">
                  <c:v>0.03</c:v>
                </c:pt>
                <c:pt idx="736">
                  <c:v>0.02</c:v>
                </c:pt>
                <c:pt idx="737">
                  <c:v>0.4</c:v>
                </c:pt>
                <c:pt idx="738">
                  <c:v>7.0000000000000007E-2</c:v>
                </c:pt>
                <c:pt idx="739">
                  <c:v>7.0000000000000007E-2</c:v>
                </c:pt>
                <c:pt idx="740">
                  <c:v>0.09</c:v>
                </c:pt>
                <c:pt idx="741">
                  <c:v>0.05</c:v>
                </c:pt>
                <c:pt idx="742">
                  <c:v>0.08</c:v>
                </c:pt>
                <c:pt idx="743">
                  <c:v>0.09</c:v>
                </c:pt>
                <c:pt idx="744">
                  <c:v>0.03</c:v>
                </c:pt>
                <c:pt idx="745">
                  <c:v>0.21</c:v>
                </c:pt>
                <c:pt idx="746">
                  <c:v>0.28000000000000003</c:v>
                </c:pt>
                <c:pt idx="747">
                  <c:v>0.04</c:v>
                </c:pt>
                <c:pt idx="748">
                  <c:v>0.08</c:v>
                </c:pt>
                <c:pt idx="749">
                  <c:v>0.01</c:v>
                </c:pt>
                <c:pt idx="750">
                  <c:v>0.14000000000000001</c:v>
                </c:pt>
                <c:pt idx="751">
                  <c:v>0.06</c:v>
                </c:pt>
                <c:pt idx="752">
                  <c:v>7.0000000000000007E-2</c:v>
                </c:pt>
                <c:pt idx="753">
                  <c:v>0.16</c:v>
                </c:pt>
                <c:pt idx="754">
                  <c:v>0.08</c:v>
                </c:pt>
                <c:pt idx="755">
                  <c:v>0.02</c:v>
                </c:pt>
                <c:pt idx="756">
                  <c:v>0.03</c:v>
                </c:pt>
                <c:pt idx="757">
                  <c:v>0.13</c:v>
                </c:pt>
                <c:pt idx="758">
                  <c:v>7.0000000000000007E-2</c:v>
                </c:pt>
                <c:pt idx="759">
                  <c:v>0.09</c:v>
                </c:pt>
                <c:pt idx="760">
                  <c:v>0.13</c:v>
                </c:pt>
                <c:pt idx="761">
                  <c:v>0.11</c:v>
                </c:pt>
                <c:pt idx="762">
                  <c:v>0.01</c:v>
                </c:pt>
                <c:pt idx="763">
                  <c:v>0.02</c:v>
                </c:pt>
                <c:pt idx="764">
                  <c:v>0.04</c:v>
                </c:pt>
                <c:pt idx="765">
                  <c:v>0.34</c:v>
                </c:pt>
                <c:pt idx="766">
                  <c:v>0.02</c:v>
                </c:pt>
                <c:pt idx="767">
                  <c:v>0.02</c:v>
                </c:pt>
                <c:pt idx="768">
                  <c:v>0.05</c:v>
                </c:pt>
                <c:pt idx="769">
                  <c:v>0.06</c:v>
                </c:pt>
                <c:pt idx="770">
                  <c:v>0.14000000000000001</c:v>
                </c:pt>
                <c:pt idx="771">
                  <c:v>0.19</c:v>
                </c:pt>
                <c:pt idx="772">
                  <c:v>0.06</c:v>
                </c:pt>
                <c:pt idx="773">
                  <c:v>0.11</c:v>
                </c:pt>
                <c:pt idx="774">
                  <c:v>0.02</c:v>
                </c:pt>
                <c:pt idx="775">
                  <c:v>0.04</c:v>
                </c:pt>
                <c:pt idx="776">
                  <c:v>0.02</c:v>
                </c:pt>
                <c:pt idx="777">
                  <c:v>0.1</c:v>
                </c:pt>
                <c:pt idx="778">
                  <c:v>0.02</c:v>
                </c:pt>
                <c:pt idx="779">
                  <c:v>0.08</c:v>
                </c:pt>
                <c:pt idx="780">
                  <c:v>0.04</c:v>
                </c:pt>
                <c:pt idx="781">
                  <c:v>0.25</c:v>
                </c:pt>
                <c:pt idx="782">
                  <c:v>0.02</c:v>
                </c:pt>
                <c:pt idx="783">
                  <c:v>7.0000000000000007E-2</c:v>
                </c:pt>
                <c:pt idx="784">
                  <c:v>0.03</c:v>
                </c:pt>
                <c:pt idx="785">
                  <c:v>0.06</c:v>
                </c:pt>
                <c:pt idx="786">
                  <c:v>0.59</c:v>
                </c:pt>
                <c:pt idx="787">
                  <c:v>0.13</c:v>
                </c:pt>
                <c:pt idx="788">
                  <c:v>0.12</c:v>
                </c:pt>
                <c:pt idx="789">
                  <c:v>0.03</c:v>
                </c:pt>
                <c:pt idx="790">
                  <c:v>0.24</c:v>
                </c:pt>
                <c:pt idx="791">
                  <c:v>7.0000000000000007E-2</c:v>
                </c:pt>
                <c:pt idx="792">
                  <c:v>0.06</c:v>
                </c:pt>
                <c:pt idx="793">
                  <c:v>0.06</c:v>
                </c:pt>
                <c:pt idx="794">
                  <c:v>0.01</c:v>
                </c:pt>
                <c:pt idx="795">
                  <c:v>0.02</c:v>
                </c:pt>
                <c:pt idx="796">
                  <c:v>0.05</c:v>
                </c:pt>
                <c:pt idx="797">
                  <c:v>0.05</c:v>
                </c:pt>
                <c:pt idx="798">
                  <c:v>0.02</c:v>
                </c:pt>
                <c:pt idx="799">
                  <c:v>0.03</c:v>
                </c:pt>
                <c:pt idx="800">
                  <c:v>0.25</c:v>
                </c:pt>
                <c:pt idx="801">
                  <c:v>0.03</c:v>
                </c:pt>
                <c:pt idx="802">
                  <c:v>0.41</c:v>
                </c:pt>
                <c:pt idx="803">
                  <c:v>0.13</c:v>
                </c:pt>
                <c:pt idx="804">
                  <c:v>0.03</c:v>
                </c:pt>
                <c:pt idx="805">
                  <c:v>0.03</c:v>
                </c:pt>
                <c:pt idx="806">
                  <c:v>0.02</c:v>
                </c:pt>
                <c:pt idx="807">
                  <c:v>0.14000000000000001</c:v>
                </c:pt>
                <c:pt idx="808">
                  <c:v>0.05</c:v>
                </c:pt>
                <c:pt idx="809">
                  <c:v>0.02</c:v>
                </c:pt>
                <c:pt idx="810">
                  <c:v>0.05</c:v>
                </c:pt>
                <c:pt idx="811">
                  <c:v>0.06</c:v>
                </c:pt>
                <c:pt idx="812">
                  <c:v>0.02</c:v>
                </c:pt>
                <c:pt idx="813">
                  <c:v>0.03</c:v>
                </c:pt>
                <c:pt idx="814">
                  <c:v>0.05</c:v>
                </c:pt>
                <c:pt idx="815">
                  <c:v>7.0000000000000007E-2</c:v>
                </c:pt>
                <c:pt idx="816">
                  <c:v>0.13</c:v>
                </c:pt>
                <c:pt idx="817">
                  <c:v>0.09</c:v>
                </c:pt>
                <c:pt idx="818">
                  <c:v>0.09</c:v>
                </c:pt>
                <c:pt idx="819">
                  <c:v>0.02</c:v>
                </c:pt>
                <c:pt idx="820">
                  <c:v>7.0000000000000007E-2</c:v>
                </c:pt>
                <c:pt idx="821">
                  <c:v>0.02</c:v>
                </c:pt>
                <c:pt idx="822">
                  <c:v>0.08</c:v>
                </c:pt>
                <c:pt idx="823">
                  <c:v>0.04</c:v>
                </c:pt>
                <c:pt idx="824">
                  <c:v>0.01</c:v>
                </c:pt>
                <c:pt idx="825">
                  <c:v>0.08</c:v>
                </c:pt>
                <c:pt idx="826">
                  <c:v>0.09</c:v>
                </c:pt>
                <c:pt idx="827">
                  <c:v>7.0000000000000007E-2</c:v>
                </c:pt>
                <c:pt idx="828">
                  <c:v>0.14000000000000001</c:v>
                </c:pt>
                <c:pt idx="829">
                  <c:v>0.05</c:v>
                </c:pt>
                <c:pt idx="830">
                  <c:v>0.03</c:v>
                </c:pt>
                <c:pt idx="831">
                  <c:v>0.06</c:v>
                </c:pt>
                <c:pt idx="832">
                  <c:v>0.27</c:v>
                </c:pt>
                <c:pt idx="833">
                  <c:v>0.03</c:v>
                </c:pt>
                <c:pt idx="834">
                  <c:v>0.03</c:v>
                </c:pt>
                <c:pt idx="835">
                  <c:v>0.05</c:v>
                </c:pt>
                <c:pt idx="836">
                  <c:v>0.05</c:v>
                </c:pt>
                <c:pt idx="837">
                  <c:v>0.06</c:v>
                </c:pt>
                <c:pt idx="838">
                  <c:v>0.02</c:v>
                </c:pt>
                <c:pt idx="839">
                  <c:v>0.1</c:v>
                </c:pt>
                <c:pt idx="840">
                  <c:v>0.01</c:v>
                </c:pt>
                <c:pt idx="841">
                  <c:v>0.02</c:v>
                </c:pt>
                <c:pt idx="842">
                  <c:v>0.03</c:v>
                </c:pt>
                <c:pt idx="843">
                  <c:v>7.0000000000000007E-2</c:v>
                </c:pt>
                <c:pt idx="844">
                  <c:v>0.33</c:v>
                </c:pt>
                <c:pt idx="845">
                  <c:v>0.02</c:v>
                </c:pt>
                <c:pt idx="846">
                  <c:v>0.02</c:v>
                </c:pt>
                <c:pt idx="847">
                  <c:v>0.05</c:v>
                </c:pt>
                <c:pt idx="848">
                  <c:v>0.01</c:v>
                </c:pt>
                <c:pt idx="849">
                  <c:v>0.06</c:v>
                </c:pt>
                <c:pt idx="850">
                  <c:v>0.2</c:v>
                </c:pt>
                <c:pt idx="851">
                  <c:v>0.02</c:v>
                </c:pt>
                <c:pt idx="852">
                  <c:v>0.03</c:v>
                </c:pt>
                <c:pt idx="853">
                  <c:v>0.05</c:v>
                </c:pt>
                <c:pt idx="854">
                  <c:v>0.05</c:v>
                </c:pt>
                <c:pt idx="855">
                  <c:v>0.03</c:v>
                </c:pt>
                <c:pt idx="856">
                  <c:v>0.24</c:v>
                </c:pt>
                <c:pt idx="857">
                  <c:v>0.03</c:v>
                </c:pt>
                <c:pt idx="858">
                  <c:v>0.02</c:v>
                </c:pt>
                <c:pt idx="859">
                  <c:v>0.08</c:v>
                </c:pt>
                <c:pt idx="860">
                  <c:v>0.06</c:v>
                </c:pt>
                <c:pt idx="861">
                  <c:v>0.1</c:v>
                </c:pt>
                <c:pt idx="862">
                  <c:v>0.03</c:v>
                </c:pt>
                <c:pt idx="863">
                  <c:v>0.02</c:v>
                </c:pt>
                <c:pt idx="864">
                  <c:v>0.02</c:v>
                </c:pt>
                <c:pt idx="865">
                  <c:v>0.01</c:v>
                </c:pt>
                <c:pt idx="866">
                  <c:v>0.01</c:v>
                </c:pt>
                <c:pt idx="867">
                  <c:v>0.02</c:v>
                </c:pt>
                <c:pt idx="868">
                  <c:v>0.02</c:v>
                </c:pt>
                <c:pt idx="869">
                  <c:v>0.02</c:v>
                </c:pt>
                <c:pt idx="870">
                  <c:v>0.02</c:v>
                </c:pt>
                <c:pt idx="871">
                  <c:v>0.06</c:v>
                </c:pt>
                <c:pt idx="872">
                  <c:v>0.03</c:v>
                </c:pt>
                <c:pt idx="873">
                  <c:v>0.05</c:v>
                </c:pt>
                <c:pt idx="874">
                  <c:v>0.02</c:v>
                </c:pt>
                <c:pt idx="875">
                  <c:v>0.02</c:v>
                </c:pt>
                <c:pt idx="876">
                  <c:v>0.3</c:v>
                </c:pt>
                <c:pt idx="877">
                  <c:v>0.04</c:v>
                </c:pt>
                <c:pt idx="878">
                  <c:v>0.04</c:v>
                </c:pt>
                <c:pt idx="879">
                  <c:v>0.05</c:v>
                </c:pt>
                <c:pt idx="880">
                  <c:v>0.03</c:v>
                </c:pt>
                <c:pt idx="881">
                  <c:v>0.01</c:v>
                </c:pt>
                <c:pt idx="882">
                  <c:v>0.01</c:v>
                </c:pt>
                <c:pt idx="883">
                  <c:v>0.15</c:v>
                </c:pt>
                <c:pt idx="884">
                  <c:v>0.02</c:v>
                </c:pt>
                <c:pt idx="885">
                  <c:v>0.11</c:v>
                </c:pt>
                <c:pt idx="886">
                  <c:v>0.01</c:v>
                </c:pt>
                <c:pt idx="887">
                  <c:v>0.01</c:v>
                </c:pt>
                <c:pt idx="888">
                  <c:v>0.01</c:v>
                </c:pt>
                <c:pt idx="889">
                  <c:v>0.04</c:v>
                </c:pt>
                <c:pt idx="890">
                  <c:v>0.05</c:v>
                </c:pt>
                <c:pt idx="891">
                  <c:v>0.02</c:v>
                </c:pt>
                <c:pt idx="892">
                  <c:v>0.04</c:v>
                </c:pt>
                <c:pt idx="893">
                  <c:v>0.01</c:v>
                </c:pt>
                <c:pt idx="894">
                  <c:v>0.22</c:v>
                </c:pt>
                <c:pt idx="895">
                  <c:v>0.08</c:v>
                </c:pt>
                <c:pt idx="896">
                  <c:v>0.02</c:v>
                </c:pt>
                <c:pt idx="897">
                  <c:v>0.06</c:v>
                </c:pt>
                <c:pt idx="898">
                  <c:v>0.14000000000000001</c:v>
                </c:pt>
                <c:pt idx="899">
                  <c:v>0.01</c:v>
                </c:pt>
                <c:pt idx="900">
                  <c:v>0.02</c:v>
                </c:pt>
                <c:pt idx="901">
                  <c:v>0.3</c:v>
                </c:pt>
                <c:pt idx="902">
                  <c:v>0.04</c:v>
                </c:pt>
                <c:pt idx="903">
                  <c:v>0.02</c:v>
                </c:pt>
                <c:pt idx="904">
                  <c:v>0.09</c:v>
                </c:pt>
                <c:pt idx="905">
                  <c:v>0.01</c:v>
                </c:pt>
                <c:pt idx="906">
                  <c:v>0.04</c:v>
                </c:pt>
                <c:pt idx="907">
                  <c:v>0.09</c:v>
                </c:pt>
                <c:pt idx="908">
                  <c:v>0.01</c:v>
                </c:pt>
                <c:pt idx="909">
                  <c:v>0.02</c:v>
                </c:pt>
                <c:pt idx="910">
                  <c:v>0.04</c:v>
                </c:pt>
                <c:pt idx="911">
                  <c:v>0.02</c:v>
                </c:pt>
                <c:pt idx="912">
                  <c:v>0.08</c:v>
                </c:pt>
                <c:pt idx="913">
                  <c:v>0.08</c:v>
                </c:pt>
                <c:pt idx="914">
                  <c:v>0.03</c:v>
                </c:pt>
                <c:pt idx="915">
                  <c:v>0.06</c:v>
                </c:pt>
                <c:pt idx="916">
                  <c:v>0.04</c:v>
                </c:pt>
                <c:pt idx="917">
                  <c:v>0.11</c:v>
                </c:pt>
                <c:pt idx="918">
                  <c:v>0.11</c:v>
                </c:pt>
                <c:pt idx="919">
                  <c:v>0.08</c:v>
                </c:pt>
                <c:pt idx="920">
                  <c:v>0.04</c:v>
                </c:pt>
                <c:pt idx="921">
                  <c:v>0.05</c:v>
                </c:pt>
                <c:pt idx="922">
                  <c:v>0.01</c:v>
                </c:pt>
                <c:pt idx="923">
                  <c:v>0.01</c:v>
                </c:pt>
                <c:pt idx="924">
                  <c:v>7.0000000000000007E-2</c:v>
                </c:pt>
                <c:pt idx="925">
                  <c:v>0.01</c:v>
                </c:pt>
                <c:pt idx="926">
                  <c:v>0.03</c:v>
                </c:pt>
                <c:pt idx="927">
                  <c:v>0.18</c:v>
                </c:pt>
                <c:pt idx="928">
                  <c:v>0.08</c:v>
                </c:pt>
                <c:pt idx="929">
                  <c:v>0.03</c:v>
                </c:pt>
                <c:pt idx="930">
                  <c:v>0.06</c:v>
                </c:pt>
                <c:pt idx="931">
                  <c:v>0.02</c:v>
                </c:pt>
                <c:pt idx="932">
                  <c:v>0.08</c:v>
                </c:pt>
                <c:pt idx="933">
                  <c:v>0.04</c:v>
                </c:pt>
                <c:pt idx="934">
                  <c:v>0.02</c:v>
                </c:pt>
                <c:pt idx="935">
                  <c:v>0.02</c:v>
                </c:pt>
                <c:pt idx="936">
                  <c:v>0.17</c:v>
                </c:pt>
                <c:pt idx="937">
                  <c:v>0.05</c:v>
                </c:pt>
                <c:pt idx="938">
                  <c:v>0.03</c:v>
                </c:pt>
                <c:pt idx="939">
                  <c:v>0.01</c:v>
                </c:pt>
                <c:pt idx="940">
                  <c:v>0.01</c:v>
                </c:pt>
                <c:pt idx="941">
                  <c:v>0.01</c:v>
                </c:pt>
                <c:pt idx="942">
                  <c:v>0.04</c:v>
                </c:pt>
                <c:pt idx="943">
                  <c:v>0.01</c:v>
                </c:pt>
                <c:pt idx="944">
                  <c:v>0.05</c:v>
                </c:pt>
                <c:pt idx="945">
                  <c:v>0.04</c:v>
                </c:pt>
                <c:pt idx="946">
                  <c:v>0.01</c:v>
                </c:pt>
                <c:pt idx="947">
                  <c:v>0.02</c:v>
                </c:pt>
                <c:pt idx="948">
                  <c:v>0.06</c:v>
                </c:pt>
                <c:pt idx="949">
                  <c:v>0.04</c:v>
                </c:pt>
                <c:pt idx="950">
                  <c:v>0.02</c:v>
                </c:pt>
                <c:pt idx="951">
                  <c:v>0.01</c:v>
                </c:pt>
                <c:pt idx="952">
                  <c:v>0.02</c:v>
                </c:pt>
                <c:pt idx="953">
                  <c:v>0.05</c:v>
                </c:pt>
                <c:pt idx="954">
                  <c:v>0.1</c:v>
                </c:pt>
                <c:pt idx="955">
                  <c:v>0.1</c:v>
                </c:pt>
                <c:pt idx="956">
                  <c:v>0.08</c:v>
                </c:pt>
                <c:pt idx="957">
                  <c:v>0.06</c:v>
                </c:pt>
                <c:pt idx="958">
                  <c:v>0.02</c:v>
                </c:pt>
                <c:pt idx="959">
                  <c:v>0.02</c:v>
                </c:pt>
                <c:pt idx="960">
                  <c:v>0.01</c:v>
                </c:pt>
                <c:pt idx="961">
                  <c:v>0.01</c:v>
                </c:pt>
                <c:pt idx="962">
                  <c:v>7.0000000000000007E-2</c:v>
                </c:pt>
                <c:pt idx="963">
                  <c:v>0.02</c:v>
                </c:pt>
                <c:pt idx="964">
                  <c:v>0.04</c:v>
                </c:pt>
                <c:pt idx="965">
                  <c:v>0.01</c:v>
                </c:pt>
                <c:pt idx="966">
                  <c:v>0.06</c:v>
                </c:pt>
                <c:pt idx="967">
                  <c:v>0.01</c:v>
                </c:pt>
                <c:pt idx="968">
                  <c:v>0.06</c:v>
                </c:pt>
                <c:pt idx="969">
                  <c:v>0.01</c:v>
                </c:pt>
                <c:pt idx="970">
                  <c:v>0.12</c:v>
                </c:pt>
                <c:pt idx="971">
                  <c:v>0.06</c:v>
                </c:pt>
                <c:pt idx="972">
                  <c:v>0.03</c:v>
                </c:pt>
                <c:pt idx="973">
                  <c:v>0.04</c:v>
                </c:pt>
                <c:pt idx="974">
                  <c:v>0.06</c:v>
                </c:pt>
                <c:pt idx="975">
                  <c:v>0.02</c:v>
                </c:pt>
                <c:pt idx="976">
                  <c:v>0.05</c:v>
                </c:pt>
                <c:pt idx="977">
                  <c:v>0.03</c:v>
                </c:pt>
                <c:pt idx="978">
                  <c:v>0.01</c:v>
                </c:pt>
                <c:pt idx="979">
                  <c:v>0.03</c:v>
                </c:pt>
                <c:pt idx="980">
                  <c:v>0.02</c:v>
                </c:pt>
                <c:pt idx="981">
                  <c:v>0.08</c:v>
                </c:pt>
                <c:pt idx="982">
                  <c:v>0.01</c:v>
                </c:pt>
                <c:pt idx="983">
                  <c:v>0.05</c:v>
                </c:pt>
                <c:pt idx="984">
                  <c:v>0.01</c:v>
                </c:pt>
                <c:pt idx="985">
                  <c:v>0.04</c:v>
                </c:pt>
                <c:pt idx="986">
                  <c:v>7.0000000000000007E-2</c:v>
                </c:pt>
                <c:pt idx="987">
                  <c:v>0.01</c:v>
                </c:pt>
                <c:pt idx="988">
                  <c:v>0.06</c:v>
                </c:pt>
                <c:pt idx="989">
                  <c:v>0.04</c:v>
                </c:pt>
                <c:pt idx="990">
                  <c:v>0.01</c:v>
                </c:pt>
                <c:pt idx="991">
                  <c:v>0.01</c:v>
                </c:pt>
                <c:pt idx="992">
                  <c:v>0.01</c:v>
                </c:pt>
                <c:pt idx="993">
                  <c:v>0.04</c:v>
                </c:pt>
                <c:pt idx="994">
                  <c:v>0.02</c:v>
                </c:pt>
                <c:pt idx="995">
                  <c:v>0.03</c:v>
                </c:pt>
                <c:pt idx="996">
                  <c:v>0.02</c:v>
                </c:pt>
                <c:pt idx="997">
                  <c:v>0.02</c:v>
                </c:pt>
                <c:pt idx="998">
                  <c:v>0.04</c:v>
                </c:pt>
                <c:pt idx="999">
                  <c:v>0.01</c:v>
                </c:pt>
                <c:pt idx="1000">
                  <c:v>0.02</c:v>
                </c:pt>
                <c:pt idx="1001">
                  <c:v>0.03</c:v>
                </c:pt>
                <c:pt idx="1002">
                  <c:v>0.01</c:v>
                </c:pt>
                <c:pt idx="1003">
                  <c:v>0.04</c:v>
                </c:pt>
                <c:pt idx="1004">
                  <c:v>0.02</c:v>
                </c:pt>
                <c:pt idx="1005">
                  <c:v>0.1</c:v>
                </c:pt>
                <c:pt idx="1006">
                  <c:v>0.02</c:v>
                </c:pt>
                <c:pt idx="1007">
                  <c:v>0.09</c:v>
                </c:pt>
                <c:pt idx="1008">
                  <c:v>0.05</c:v>
                </c:pt>
                <c:pt idx="1009">
                  <c:v>0.01</c:v>
                </c:pt>
                <c:pt idx="1010">
                  <c:v>0.02</c:v>
                </c:pt>
                <c:pt idx="1011">
                  <c:v>0.1</c:v>
                </c:pt>
                <c:pt idx="1012">
                  <c:v>0.01</c:v>
                </c:pt>
                <c:pt idx="1013">
                  <c:v>0.02</c:v>
                </c:pt>
                <c:pt idx="1014">
                  <c:v>0.01</c:v>
                </c:pt>
                <c:pt idx="1015">
                  <c:v>0.01</c:v>
                </c:pt>
                <c:pt idx="1016">
                  <c:v>0.01</c:v>
                </c:pt>
                <c:pt idx="1017">
                  <c:v>0.01</c:v>
                </c:pt>
                <c:pt idx="1018">
                  <c:v>0.01</c:v>
                </c:pt>
                <c:pt idx="1019">
                  <c:v>7.0000000000000007E-2</c:v>
                </c:pt>
                <c:pt idx="1020">
                  <c:v>0.01</c:v>
                </c:pt>
                <c:pt idx="1021">
                  <c:v>0.08</c:v>
                </c:pt>
                <c:pt idx="1022">
                  <c:v>0.01</c:v>
                </c:pt>
                <c:pt idx="1023">
                  <c:v>0.04</c:v>
                </c:pt>
                <c:pt idx="1024">
                  <c:v>0.01</c:v>
                </c:pt>
                <c:pt idx="1025">
                  <c:v>0.01</c:v>
                </c:pt>
                <c:pt idx="1026">
                  <c:v>0.04</c:v>
                </c:pt>
                <c:pt idx="1027">
                  <c:v>0.01</c:v>
                </c:pt>
                <c:pt idx="1028">
                  <c:v>0.05</c:v>
                </c:pt>
                <c:pt idx="1029">
                  <c:v>0.04</c:v>
                </c:pt>
                <c:pt idx="1030">
                  <c:v>0.03</c:v>
                </c:pt>
                <c:pt idx="1031">
                  <c:v>0.03</c:v>
                </c:pt>
                <c:pt idx="1032">
                  <c:v>0.09</c:v>
                </c:pt>
                <c:pt idx="1033">
                  <c:v>0.01</c:v>
                </c:pt>
                <c:pt idx="1034">
                  <c:v>0.01</c:v>
                </c:pt>
                <c:pt idx="1035">
                  <c:v>0.03</c:v>
                </c:pt>
                <c:pt idx="1036">
                  <c:v>0.04</c:v>
                </c:pt>
                <c:pt idx="1037">
                  <c:v>0.01</c:v>
                </c:pt>
                <c:pt idx="1038">
                  <c:v>0.02</c:v>
                </c:pt>
                <c:pt idx="1039">
                  <c:v>7.0000000000000007E-2</c:v>
                </c:pt>
                <c:pt idx="1040">
                  <c:v>0.01</c:v>
                </c:pt>
                <c:pt idx="1041">
                  <c:v>0.01</c:v>
                </c:pt>
                <c:pt idx="1042">
                  <c:v>0.01</c:v>
                </c:pt>
                <c:pt idx="1043">
                  <c:v>0.02</c:v>
                </c:pt>
                <c:pt idx="1044">
                  <c:v>0.05</c:v>
                </c:pt>
                <c:pt idx="1045">
                  <c:v>0.02</c:v>
                </c:pt>
                <c:pt idx="1046">
                  <c:v>0.03</c:v>
                </c:pt>
                <c:pt idx="1047">
                  <c:v>0.02</c:v>
                </c:pt>
                <c:pt idx="1048">
                  <c:v>0.06</c:v>
                </c:pt>
                <c:pt idx="1049">
                  <c:v>0.03</c:v>
                </c:pt>
                <c:pt idx="1050">
                  <c:v>0.01</c:v>
                </c:pt>
                <c:pt idx="1051">
                  <c:v>0.01</c:v>
                </c:pt>
                <c:pt idx="1052">
                  <c:v>7.0000000000000007E-2</c:v>
                </c:pt>
                <c:pt idx="1053">
                  <c:v>0.02</c:v>
                </c:pt>
                <c:pt idx="1054">
                  <c:v>0.01</c:v>
                </c:pt>
                <c:pt idx="1055">
                  <c:v>0.01</c:v>
                </c:pt>
                <c:pt idx="1056">
                  <c:v>0.01</c:v>
                </c:pt>
                <c:pt idx="1057">
                  <c:v>0.01</c:v>
                </c:pt>
                <c:pt idx="1058">
                  <c:v>0.01</c:v>
                </c:pt>
                <c:pt idx="1059">
                  <c:v>0.02</c:v>
                </c:pt>
                <c:pt idx="1060">
                  <c:v>0.01</c:v>
                </c:pt>
                <c:pt idx="1061">
                  <c:v>0.01</c:v>
                </c:pt>
                <c:pt idx="1062">
                  <c:v>0.01</c:v>
                </c:pt>
                <c:pt idx="1063">
                  <c:v>0.03</c:v>
                </c:pt>
                <c:pt idx="1064">
                  <c:v>0.01</c:v>
                </c:pt>
                <c:pt idx="1065">
                  <c:v>0.04</c:v>
                </c:pt>
                <c:pt idx="1066">
                  <c:v>0.03</c:v>
                </c:pt>
                <c:pt idx="1067">
                  <c:v>0.02</c:v>
                </c:pt>
                <c:pt idx="1068">
                  <c:v>0.03</c:v>
                </c:pt>
                <c:pt idx="1069">
                  <c:v>0.01</c:v>
                </c:pt>
                <c:pt idx="1070">
                  <c:v>0.11</c:v>
                </c:pt>
                <c:pt idx="1071">
                  <c:v>0.01</c:v>
                </c:pt>
                <c:pt idx="1072">
                  <c:v>0.03</c:v>
                </c:pt>
                <c:pt idx="1073">
                  <c:v>0.05</c:v>
                </c:pt>
                <c:pt idx="1074">
                  <c:v>0.02</c:v>
                </c:pt>
                <c:pt idx="1075">
                  <c:v>0.04</c:v>
                </c:pt>
                <c:pt idx="1076">
                  <c:v>0.01</c:v>
                </c:pt>
                <c:pt idx="1077">
                  <c:v>7.0000000000000007E-2</c:v>
                </c:pt>
                <c:pt idx="1078">
                  <c:v>0.01</c:v>
                </c:pt>
                <c:pt idx="1079">
                  <c:v>0.02</c:v>
                </c:pt>
                <c:pt idx="1080">
                  <c:v>0.01</c:v>
                </c:pt>
                <c:pt idx="1081">
                  <c:v>0.01</c:v>
                </c:pt>
                <c:pt idx="1082">
                  <c:v>0.01</c:v>
                </c:pt>
                <c:pt idx="1083">
                  <c:v>0.02</c:v>
                </c:pt>
                <c:pt idx="1084">
                  <c:v>0.01</c:v>
                </c:pt>
                <c:pt idx="1085">
                  <c:v>0.01</c:v>
                </c:pt>
                <c:pt idx="1086">
                  <c:v>0.01</c:v>
                </c:pt>
                <c:pt idx="1087">
                  <c:v>0.01</c:v>
                </c:pt>
                <c:pt idx="1088">
                  <c:v>7.0000000000000007E-2</c:v>
                </c:pt>
                <c:pt idx="1089">
                  <c:v>0.01</c:v>
                </c:pt>
                <c:pt idx="1090">
                  <c:v>0.01</c:v>
                </c:pt>
                <c:pt idx="1091">
                  <c:v>0.01</c:v>
                </c:pt>
                <c:pt idx="1092">
                  <c:v>0.01</c:v>
                </c:pt>
                <c:pt idx="1093">
                  <c:v>0.01</c:v>
                </c:pt>
                <c:pt idx="1094">
                  <c:v>0.01</c:v>
                </c:pt>
                <c:pt idx="1095">
                  <c:v>0.01</c:v>
                </c:pt>
                <c:pt idx="1096">
                  <c:v>0.02</c:v>
                </c:pt>
                <c:pt idx="1097">
                  <c:v>0.01</c:v>
                </c:pt>
                <c:pt idx="1098">
                  <c:v>0.03</c:v>
                </c:pt>
                <c:pt idx="1099">
                  <c:v>0.02</c:v>
                </c:pt>
                <c:pt idx="1100">
                  <c:v>0.01</c:v>
                </c:pt>
                <c:pt idx="1101">
                  <c:v>0.02</c:v>
                </c:pt>
                <c:pt idx="1102">
                  <c:v>0.01</c:v>
                </c:pt>
                <c:pt idx="1103">
                  <c:v>0.01</c:v>
                </c:pt>
                <c:pt idx="1104">
                  <c:v>0.01</c:v>
                </c:pt>
                <c:pt idx="1105">
                  <c:v>0.02</c:v>
                </c:pt>
                <c:pt idx="1106">
                  <c:v>0.03</c:v>
                </c:pt>
                <c:pt idx="1107">
                  <c:v>0.01</c:v>
                </c:pt>
                <c:pt idx="1108">
                  <c:v>0.01</c:v>
                </c:pt>
                <c:pt idx="1109">
                  <c:v>0.03</c:v>
                </c:pt>
                <c:pt idx="1110">
                  <c:v>0.01</c:v>
                </c:pt>
                <c:pt idx="1111">
                  <c:v>0.02</c:v>
                </c:pt>
                <c:pt idx="1112">
                  <c:v>0.04</c:v>
                </c:pt>
                <c:pt idx="1113">
                  <c:v>0.02</c:v>
                </c:pt>
                <c:pt idx="1114">
                  <c:v>0.03</c:v>
                </c:pt>
                <c:pt idx="1115">
                  <c:v>0.01</c:v>
                </c:pt>
                <c:pt idx="1116">
                  <c:v>0.01</c:v>
                </c:pt>
                <c:pt idx="1117">
                  <c:v>0.01</c:v>
                </c:pt>
                <c:pt idx="1118">
                  <c:v>0.04</c:v>
                </c:pt>
                <c:pt idx="1119">
                  <c:v>0.01</c:v>
                </c:pt>
                <c:pt idx="1120">
                  <c:v>0.02</c:v>
                </c:pt>
                <c:pt idx="1121">
                  <c:v>0.01</c:v>
                </c:pt>
                <c:pt idx="1122">
                  <c:v>0.01</c:v>
                </c:pt>
                <c:pt idx="1123">
                  <c:v>0.01</c:v>
                </c:pt>
                <c:pt idx="1124">
                  <c:v>0.01</c:v>
                </c:pt>
                <c:pt idx="1125">
                  <c:v>0.01</c:v>
                </c:pt>
                <c:pt idx="1126">
                  <c:v>0.01</c:v>
                </c:pt>
                <c:pt idx="1127">
                  <c:v>0.04</c:v>
                </c:pt>
                <c:pt idx="1128">
                  <c:v>0.01</c:v>
                </c:pt>
                <c:pt idx="1129">
                  <c:v>0.01</c:v>
                </c:pt>
                <c:pt idx="1130">
                  <c:v>0.02</c:v>
                </c:pt>
                <c:pt idx="1131">
                  <c:v>0.01</c:v>
                </c:pt>
                <c:pt idx="1132">
                  <c:v>0.01</c:v>
                </c:pt>
                <c:pt idx="1133">
                  <c:v>0.02</c:v>
                </c:pt>
                <c:pt idx="1134">
                  <c:v>0.01</c:v>
                </c:pt>
                <c:pt idx="1135">
                  <c:v>0.01</c:v>
                </c:pt>
                <c:pt idx="1136">
                  <c:v>0.03</c:v>
                </c:pt>
                <c:pt idx="1137">
                  <c:v>0.01</c:v>
                </c:pt>
                <c:pt idx="1138">
                  <c:v>0.01</c:v>
                </c:pt>
                <c:pt idx="1139">
                  <c:v>0.05</c:v>
                </c:pt>
                <c:pt idx="1140">
                  <c:v>0.01</c:v>
                </c:pt>
                <c:pt idx="1141">
                  <c:v>0.01</c:v>
                </c:pt>
                <c:pt idx="1142">
                  <c:v>0.05</c:v>
                </c:pt>
                <c:pt idx="1143">
                  <c:v>0.01</c:v>
                </c:pt>
                <c:pt idx="1144">
                  <c:v>0.02</c:v>
                </c:pt>
                <c:pt idx="1145">
                  <c:v>0.02</c:v>
                </c:pt>
                <c:pt idx="1146">
                  <c:v>0.01</c:v>
                </c:pt>
                <c:pt idx="1147">
                  <c:v>0.02</c:v>
                </c:pt>
                <c:pt idx="1148">
                  <c:v>0.01</c:v>
                </c:pt>
                <c:pt idx="1149">
                  <c:v>0.02</c:v>
                </c:pt>
                <c:pt idx="1150">
                  <c:v>0.01</c:v>
                </c:pt>
                <c:pt idx="1151">
                  <c:v>0.01</c:v>
                </c:pt>
                <c:pt idx="1152">
                  <c:v>0.01</c:v>
                </c:pt>
                <c:pt idx="1153">
                  <c:v>0.01</c:v>
                </c:pt>
                <c:pt idx="1154">
                  <c:v>0.01</c:v>
                </c:pt>
                <c:pt idx="1155">
                  <c:v>0.03</c:v>
                </c:pt>
                <c:pt idx="1156">
                  <c:v>0.01</c:v>
                </c:pt>
                <c:pt idx="1157">
                  <c:v>0.01</c:v>
                </c:pt>
                <c:pt idx="1158">
                  <c:v>0.02</c:v>
                </c:pt>
                <c:pt idx="1159">
                  <c:v>0.06</c:v>
                </c:pt>
                <c:pt idx="1160">
                  <c:v>0.01</c:v>
                </c:pt>
                <c:pt idx="1161">
                  <c:v>0.01</c:v>
                </c:pt>
                <c:pt idx="1162">
                  <c:v>0.05</c:v>
                </c:pt>
                <c:pt idx="1163">
                  <c:v>0.02</c:v>
                </c:pt>
                <c:pt idx="1164">
                  <c:v>0.03</c:v>
                </c:pt>
                <c:pt idx="1165">
                  <c:v>0.01</c:v>
                </c:pt>
                <c:pt idx="1166">
                  <c:v>0.01</c:v>
                </c:pt>
                <c:pt idx="1167">
                  <c:v>0.01</c:v>
                </c:pt>
                <c:pt idx="1168">
                  <c:v>0.01</c:v>
                </c:pt>
                <c:pt idx="1169">
                  <c:v>0.05</c:v>
                </c:pt>
                <c:pt idx="1170">
                  <c:v>0.03</c:v>
                </c:pt>
                <c:pt idx="1171">
                  <c:v>0.01</c:v>
                </c:pt>
                <c:pt idx="1172">
                  <c:v>0.05</c:v>
                </c:pt>
                <c:pt idx="1173">
                  <c:v>0.01</c:v>
                </c:pt>
                <c:pt idx="1174">
                  <c:v>0.01</c:v>
                </c:pt>
                <c:pt idx="1175">
                  <c:v>0.02</c:v>
                </c:pt>
                <c:pt idx="1176">
                  <c:v>0.01</c:v>
                </c:pt>
                <c:pt idx="1177">
                  <c:v>0.02</c:v>
                </c:pt>
                <c:pt idx="1178">
                  <c:v>0.02</c:v>
                </c:pt>
                <c:pt idx="1179">
                  <c:v>0.01</c:v>
                </c:pt>
                <c:pt idx="1180">
                  <c:v>0.01</c:v>
                </c:pt>
                <c:pt idx="1181">
                  <c:v>0.01</c:v>
                </c:pt>
                <c:pt idx="1182">
                  <c:v>0.01</c:v>
                </c:pt>
                <c:pt idx="1183">
                  <c:v>0.01</c:v>
                </c:pt>
                <c:pt idx="1184">
                  <c:v>0.01</c:v>
                </c:pt>
                <c:pt idx="1185">
                  <c:v>0.01</c:v>
                </c:pt>
                <c:pt idx="1186">
                  <c:v>0.01</c:v>
                </c:pt>
                <c:pt idx="1187">
                  <c:v>0.02</c:v>
                </c:pt>
                <c:pt idx="1188">
                  <c:v>0.01</c:v>
                </c:pt>
                <c:pt idx="1189">
                  <c:v>0.01</c:v>
                </c:pt>
                <c:pt idx="1190">
                  <c:v>0.01</c:v>
                </c:pt>
                <c:pt idx="1191">
                  <c:v>0.01</c:v>
                </c:pt>
                <c:pt idx="1192">
                  <c:v>0.01</c:v>
                </c:pt>
                <c:pt idx="1193">
                  <c:v>0.01</c:v>
                </c:pt>
                <c:pt idx="1194">
                  <c:v>0.01</c:v>
                </c:pt>
                <c:pt idx="1195">
                  <c:v>0.01</c:v>
                </c:pt>
                <c:pt idx="1196">
                  <c:v>0.01</c:v>
                </c:pt>
                <c:pt idx="1197">
                  <c:v>0.01</c:v>
                </c:pt>
                <c:pt idx="1198">
                  <c:v>0.01</c:v>
                </c:pt>
                <c:pt idx="1199">
                  <c:v>0.01</c:v>
                </c:pt>
                <c:pt idx="1200">
                  <c:v>0.01</c:v>
                </c:pt>
                <c:pt idx="1201">
                  <c:v>0.01</c:v>
                </c:pt>
                <c:pt idx="1202">
                  <c:v>0.01</c:v>
                </c:pt>
                <c:pt idx="1203">
                  <c:v>0.02</c:v>
                </c:pt>
                <c:pt idx="1204">
                  <c:v>0.03</c:v>
                </c:pt>
                <c:pt idx="1205">
                  <c:v>0.01</c:v>
                </c:pt>
                <c:pt idx="1206">
                  <c:v>0.02</c:v>
                </c:pt>
                <c:pt idx="1207">
                  <c:v>0.01</c:v>
                </c:pt>
                <c:pt idx="1208">
                  <c:v>0.01</c:v>
                </c:pt>
                <c:pt idx="1209">
                  <c:v>0.01</c:v>
                </c:pt>
                <c:pt idx="1210">
                  <c:v>0.01</c:v>
                </c:pt>
                <c:pt idx="1211">
                  <c:v>0.01</c:v>
                </c:pt>
                <c:pt idx="1212">
                  <c:v>0.01</c:v>
                </c:pt>
                <c:pt idx="1213">
                  <c:v>0.01</c:v>
                </c:pt>
                <c:pt idx="1214">
                  <c:v>0.01</c:v>
                </c:pt>
                <c:pt idx="1215">
                  <c:v>0.01</c:v>
                </c:pt>
                <c:pt idx="1216">
                  <c:v>0.01</c:v>
                </c:pt>
                <c:pt idx="1217">
                  <c:v>0.01</c:v>
                </c:pt>
                <c:pt idx="1218">
                  <c:v>0.01</c:v>
                </c:pt>
                <c:pt idx="1219">
                  <c:v>0.01</c:v>
                </c:pt>
                <c:pt idx="1220">
                  <c:v>0.01</c:v>
                </c:pt>
                <c:pt idx="1221">
                  <c:v>0.01</c:v>
                </c:pt>
                <c:pt idx="1222">
                  <c:v>0.01</c:v>
                </c:pt>
                <c:pt idx="1223">
                  <c:v>0.01</c:v>
                </c:pt>
                <c:pt idx="1224">
                  <c:v>0.02</c:v>
                </c:pt>
                <c:pt idx="1225">
                  <c:v>0.01</c:v>
                </c:pt>
                <c:pt idx="1226">
                  <c:v>0.01</c:v>
                </c:pt>
                <c:pt idx="1227">
                  <c:v>0.01</c:v>
                </c:pt>
                <c:pt idx="1228">
                  <c:v>0.01</c:v>
                </c:pt>
                <c:pt idx="1229">
                  <c:v>0.01</c:v>
                </c:pt>
                <c:pt idx="1230">
                  <c:v>0.01</c:v>
                </c:pt>
                <c:pt idx="1231">
                  <c:v>0.01</c:v>
                </c:pt>
                <c:pt idx="1232">
                  <c:v>0.01</c:v>
                </c:pt>
                <c:pt idx="1233">
                  <c:v>0.01</c:v>
                </c:pt>
                <c:pt idx="1234">
                  <c:v>0.01</c:v>
                </c:pt>
                <c:pt idx="1235">
                  <c:v>0.01</c:v>
                </c:pt>
                <c:pt idx="1236">
                  <c:v>0.01</c:v>
                </c:pt>
                <c:pt idx="1237">
                  <c:v>0.02</c:v>
                </c:pt>
                <c:pt idx="1238">
                  <c:v>0.01</c:v>
                </c:pt>
                <c:pt idx="1239">
                  <c:v>0.04</c:v>
                </c:pt>
                <c:pt idx="1240">
                  <c:v>0.01</c:v>
                </c:pt>
                <c:pt idx="1241">
                  <c:v>0.01</c:v>
                </c:pt>
                <c:pt idx="1242">
                  <c:v>0.01</c:v>
                </c:pt>
                <c:pt idx="1243">
                  <c:v>0.01</c:v>
                </c:pt>
                <c:pt idx="1244">
                  <c:v>0.01</c:v>
                </c:pt>
                <c:pt idx="1245">
                  <c:v>0.01</c:v>
                </c:pt>
                <c:pt idx="1246">
                  <c:v>0.01</c:v>
                </c:pt>
                <c:pt idx="1247">
                  <c:v>0.01</c:v>
                </c:pt>
                <c:pt idx="1248">
                  <c:v>0.01</c:v>
                </c:pt>
                <c:pt idx="1249">
                  <c:v>0.01</c:v>
                </c:pt>
                <c:pt idx="1250">
                  <c:v>0.01</c:v>
                </c:pt>
                <c:pt idx="1251">
                  <c:v>0.01</c:v>
                </c:pt>
                <c:pt idx="1252">
                  <c:v>0.01</c:v>
                </c:pt>
                <c:pt idx="1253">
                  <c:v>0.01</c:v>
                </c:pt>
                <c:pt idx="1254">
                  <c:v>0.01</c:v>
                </c:pt>
                <c:pt idx="1255">
                  <c:v>0.01</c:v>
                </c:pt>
                <c:pt idx="125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00A097"/>
              </a:solidFill>
            </c:spPr>
            <c:extLst>
              <c:ext xmlns:c16="http://schemas.microsoft.com/office/drawing/2014/chart" uri="{C3380CC4-5D6E-409C-BE32-E72D297353CC}">
                <c16:uniqueId val="{00000119-2993-41DE-A2CB-63102DE87051}"/>
              </c:ext>
            </c:extLst>
          </c:dPt>
          <c:dPt>
            <c:idx val="140"/>
            <c:invertIfNegative val="1"/>
            <c:bubble3D val="0"/>
            <c:spPr>
              <a:solidFill>
                <a:srgbClr val="00A097"/>
              </a:solidFill>
            </c:spPr>
            <c:extLst>
              <c:ext xmlns:c16="http://schemas.microsoft.com/office/drawing/2014/chart" uri="{C3380CC4-5D6E-409C-BE32-E72D297353CC}">
                <c16:uniqueId val="{0000011B-2993-41DE-A2CB-63102DE87051}"/>
              </c:ext>
            </c:extLst>
          </c:dPt>
          <c:dPt>
            <c:idx val="141"/>
            <c:invertIfNegative val="1"/>
            <c:bubble3D val="0"/>
            <c:spPr>
              <a:solidFill>
                <a:srgbClr val="00A097"/>
              </a:solidFill>
            </c:spPr>
            <c:extLst>
              <c:ext xmlns:c16="http://schemas.microsoft.com/office/drawing/2014/chart" uri="{C3380CC4-5D6E-409C-BE32-E72D297353CC}">
                <c16:uniqueId val="{0000011D-2993-41DE-A2CB-63102DE87051}"/>
              </c:ext>
            </c:extLst>
          </c:dPt>
          <c:dPt>
            <c:idx val="142"/>
            <c:invertIfNegative val="1"/>
            <c:bubble3D val="0"/>
            <c:spPr>
              <a:solidFill>
                <a:srgbClr val="00A097"/>
              </a:solidFill>
            </c:spPr>
            <c:extLst>
              <c:ext xmlns:c16="http://schemas.microsoft.com/office/drawing/2014/chart" uri="{C3380CC4-5D6E-409C-BE32-E72D297353CC}">
                <c16:uniqueId val="{0000011F-2993-41DE-A2CB-63102DE87051}"/>
              </c:ext>
            </c:extLst>
          </c:dPt>
          <c:dPt>
            <c:idx val="143"/>
            <c:invertIfNegative val="1"/>
            <c:bubble3D val="0"/>
            <c:spPr>
              <a:solidFill>
                <a:srgbClr val="00A097"/>
              </a:solidFill>
            </c:spPr>
            <c:extLst>
              <c:ext xmlns:c16="http://schemas.microsoft.com/office/drawing/2014/chart" uri="{C3380CC4-5D6E-409C-BE32-E72D297353CC}">
                <c16:uniqueId val="{00000121-2993-41DE-A2CB-63102DE87051}"/>
              </c:ext>
            </c:extLst>
          </c:dPt>
          <c:dPt>
            <c:idx val="144"/>
            <c:invertIfNegative val="1"/>
            <c:bubble3D val="0"/>
            <c:spPr>
              <a:solidFill>
                <a:srgbClr val="00A097"/>
              </a:solidFill>
            </c:spPr>
            <c:extLst>
              <c:ext xmlns:c16="http://schemas.microsoft.com/office/drawing/2014/chart" uri="{C3380CC4-5D6E-409C-BE32-E72D297353CC}">
                <c16:uniqueId val="{00000123-2993-41DE-A2CB-63102DE87051}"/>
              </c:ext>
            </c:extLst>
          </c:dPt>
          <c:dPt>
            <c:idx val="145"/>
            <c:invertIfNegative val="1"/>
            <c:bubble3D val="0"/>
            <c:spPr>
              <a:solidFill>
                <a:srgbClr val="00A097"/>
              </a:solidFill>
            </c:spPr>
            <c:extLst>
              <c:ext xmlns:c16="http://schemas.microsoft.com/office/drawing/2014/chart" uri="{C3380CC4-5D6E-409C-BE32-E72D297353CC}">
                <c16:uniqueId val="{00000125-2993-41DE-A2CB-63102DE87051}"/>
              </c:ext>
            </c:extLst>
          </c:dPt>
          <c:dPt>
            <c:idx val="146"/>
            <c:invertIfNegative val="1"/>
            <c:bubble3D val="0"/>
            <c:spPr>
              <a:solidFill>
                <a:srgbClr val="00A097"/>
              </a:solidFill>
            </c:spPr>
            <c:extLst>
              <c:ext xmlns:c16="http://schemas.microsoft.com/office/drawing/2014/chart" uri="{C3380CC4-5D6E-409C-BE32-E72D297353CC}">
                <c16:uniqueId val="{00000127-2993-41DE-A2CB-63102DE87051}"/>
              </c:ext>
            </c:extLst>
          </c:dPt>
          <c:dPt>
            <c:idx val="147"/>
            <c:invertIfNegative val="1"/>
            <c:bubble3D val="0"/>
            <c:spPr>
              <a:solidFill>
                <a:srgbClr val="00A097"/>
              </a:solidFill>
            </c:spPr>
            <c:extLst>
              <c:ext xmlns:c16="http://schemas.microsoft.com/office/drawing/2014/chart" uri="{C3380CC4-5D6E-409C-BE32-E72D297353CC}">
                <c16:uniqueId val="{00000129-2993-41DE-A2CB-63102DE87051}"/>
              </c:ext>
            </c:extLst>
          </c:dPt>
          <c:dPt>
            <c:idx val="148"/>
            <c:invertIfNegative val="1"/>
            <c:bubble3D val="0"/>
            <c:spPr>
              <a:solidFill>
                <a:srgbClr val="00A097"/>
              </a:solidFill>
            </c:spPr>
            <c:extLst>
              <c:ext xmlns:c16="http://schemas.microsoft.com/office/drawing/2014/chart" uri="{C3380CC4-5D6E-409C-BE32-E72D297353CC}">
                <c16:uniqueId val="{0000012B-2993-41DE-A2CB-63102DE87051}"/>
              </c:ext>
            </c:extLst>
          </c:dPt>
          <c:dPt>
            <c:idx val="149"/>
            <c:invertIfNegative val="1"/>
            <c:bubble3D val="0"/>
            <c:spPr>
              <a:solidFill>
                <a:srgbClr val="00A097"/>
              </a:solidFill>
            </c:spPr>
            <c:extLst>
              <c:ext xmlns:c16="http://schemas.microsoft.com/office/drawing/2014/chart" uri="{C3380CC4-5D6E-409C-BE32-E72D297353CC}">
                <c16:uniqueId val="{0000012D-2993-41DE-A2CB-63102DE87051}"/>
              </c:ext>
            </c:extLst>
          </c:dPt>
          <c:dPt>
            <c:idx val="150"/>
            <c:invertIfNegative val="1"/>
            <c:bubble3D val="0"/>
            <c:spPr>
              <a:solidFill>
                <a:srgbClr val="00A097"/>
              </a:solidFill>
            </c:spPr>
            <c:extLst>
              <c:ext xmlns:c16="http://schemas.microsoft.com/office/drawing/2014/chart" uri="{C3380CC4-5D6E-409C-BE32-E72D297353CC}">
                <c16:uniqueId val="{0000012F-2993-41DE-A2CB-63102DE87051}"/>
              </c:ext>
            </c:extLst>
          </c:dPt>
          <c:dPt>
            <c:idx val="151"/>
            <c:invertIfNegative val="1"/>
            <c:bubble3D val="0"/>
            <c:spPr>
              <a:solidFill>
                <a:srgbClr val="00A097"/>
              </a:solidFill>
            </c:spPr>
            <c:extLst>
              <c:ext xmlns:c16="http://schemas.microsoft.com/office/drawing/2014/chart" uri="{C3380CC4-5D6E-409C-BE32-E72D297353CC}">
                <c16:uniqueId val="{00000131-2993-41DE-A2CB-63102DE87051}"/>
              </c:ext>
            </c:extLst>
          </c:dPt>
          <c:dPt>
            <c:idx val="152"/>
            <c:invertIfNegative val="1"/>
            <c:bubble3D val="0"/>
            <c:spPr>
              <a:solidFill>
                <a:srgbClr val="00A097"/>
              </a:solidFill>
            </c:spPr>
            <c:extLst>
              <c:ext xmlns:c16="http://schemas.microsoft.com/office/drawing/2014/chart" uri="{C3380CC4-5D6E-409C-BE32-E72D297353CC}">
                <c16:uniqueId val="{00000133-2993-41DE-A2CB-63102DE87051}"/>
              </c:ext>
            </c:extLst>
          </c:dPt>
          <c:dPt>
            <c:idx val="153"/>
            <c:invertIfNegative val="1"/>
            <c:bubble3D val="0"/>
            <c:spPr>
              <a:solidFill>
                <a:srgbClr val="00A097"/>
              </a:solidFill>
            </c:spPr>
            <c:extLst>
              <c:ext xmlns:c16="http://schemas.microsoft.com/office/drawing/2014/chart" uri="{C3380CC4-5D6E-409C-BE32-E72D297353CC}">
                <c16:uniqueId val="{00000135-2993-41DE-A2CB-63102DE87051}"/>
              </c:ext>
            </c:extLst>
          </c:dPt>
          <c:dPt>
            <c:idx val="154"/>
            <c:invertIfNegative val="1"/>
            <c:bubble3D val="0"/>
            <c:spPr>
              <a:solidFill>
                <a:srgbClr val="00A097"/>
              </a:solidFill>
            </c:spPr>
            <c:extLst>
              <c:ext xmlns:c16="http://schemas.microsoft.com/office/drawing/2014/chart" uri="{C3380CC4-5D6E-409C-BE32-E72D297353CC}">
                <c16:uniqueId val="{00000137-2993-41DE-A2CB-63102DE87051}"/>
              </c:ext>
            </c:extLst>
          </c:dPt>
          <c:dPt>
            <c:idx val="155"/>
            <c:invertIfNegative val="1"/>
            <c:bubble3D val="0"/>
            <c:spPr>
              <a:solidFill>
                <a:srgbClr val="00A097"/>
              </a:solidFill>
            </c:spPr>
            <c:extLst>
              <c:ext xmlns:c16="http://schemas.microsoft.com/office/drawing/2014/chart" uri="{C3380CC4-5D6E-409C-BE32-E72D297353CC}">
                <c16:uniqueId val="{00000139-2993-41DE-A2CB-63102DE87051}"/>
              </c:ext>
            </c:extLst>
          </c:dPt>
          <c:dPt>
            <c:idx val="156"/>
            <c:invertIfNegative val="1"/>
            <c:bubble3D val="0"/>
            <c:spPr>
              <a:solidFill>
                <a:srgbClr val="00A097"/>
              </a:solidFill>
            </c:spPr>
            <c:extLst>
              <c:ext xmlns:c16="http://schemas.microsoft.com/office/drawing/2014/chart" uri="{C3380CC4-5D6E-409C-BE32-E72D297353CC}">
                <c16:uniqueId val="{0000013B-2993-41DE-A2CB-63102DE87051}"/>
              </c:ext>
            </c:extLst>
          </c:dPt>
          <c:dPt>
            <c:idx val="157"/>
            <c:invertIfNegative val="1"/>
            <c:bubble3D val="0"/>
            <c:spPr>
              <a:solidFill>
                <a:srgbClr val="00A097"/>
              </a:solidFill>
            </c:spPr>
            <c:extLst>
              <c:ext xmlns:c16="http://schemas.microsoft.com/office/drawing/2014/chart" uri="{C3380CC4-5D6E-409C-BE32-E72D297353CC}">
                <c16:uniqueId val="{0000013D-2993-41DE-A2CB-63102DE87051}"/>
              </c:ext>
            </c:extLst>
          </c:dPt>
          <c:dPt>
            <c:idx val="158"/>
            <c:invertIfNegative val="1"/>
            <c:bubble3D val="0"/>
            <c:spPr>
              <a:solidFill>
                <a:srgbClr val="00A097"/>
              </a:solidFill>
            </c:spPr>
            <c:extLst>
              <c:ext xmlns:c16="http://schemas.microsoft.com/office/drawing/2014/chart" uri="{C3380CC4-5D6E-409C-BE32-E72D297353CC}">
                <c16:uniqueId val="{0000013F-2993-41DE-A2CB-63102DE87051}"/>
              </c:ext>
            </c:extLst>
          </c:dPt>
          <c:dPt>
            <c:idx val="159"/>
            <c:invertIfNegative val="1"/>
            <c:bubble3D val="0"/>
            <c:spPr>
              <a:solidFill>
                <a:srgbClr val="00A097"/>
              </a:solidFill>
            </c:spPr>
            <c:extLst>
              <c:ext xmlns:c16="http://schemas.microsoft.com/office/drawing/2014/chart" uri="{C3380CC4-5D6E-409C-BE32-E72D297353CC}">
                <c16:uniqueId val="{00000141-2993-41DE-A2CB-63102DE87051}"/>
              </c:ext>
            </c:extLst>
          </c:dPt>
          <c:dPt>
            <c:idx val="160"/>
            <c:invertIfNegative val="1"/>
            <c:bubble3D val="0"/>
            <c:spPr>
              <a:solidFill>
                <a:srgbClr val="00A097"/>
              </a:solidFill>
            </c:spPr>
            <c:extLst>
              <c:ext xmlns:c16="http://schemas.microsoft.com/office/drawing/2014/chart" uri="{C3380CC4-5D6E-409C-BE32-E72D297353CC}">
                <c16:uniqueId val="{00000143-2993-41DE-A2CB-63102DE87051}"/>
              </c:ext>
            </c:extLst>
          </c:dPt>
          <c:dPt>
            <c:idx val="161"/>
            <c:invertIfNegative val="1"/>
            <c:bubble3D val="0"/>
            <c:spPr>
              <a:solidFill>
                <a:srgbClr val="00A097"/>
              </a:solidFill>
            </c:spPr>
            <c:extLst>
              <c:ext xmlns:c16="http://schemas.microsoft.com/office/drawing/2014/chart" uri="{C3380CC4-5D6E-409C-BE32-E72D297353CC}">
                <c16:uniqueId val="{00000145-2993-41DE-A2CB-63102DE87051}"/>
              </c:ext>
            </c:extLst>
          </c:dPt>
          <c:dPt>
            <c:idx val="162"/>
            <c:invertIfNegative val="1"/>
            <c:bubble3D val="0"/>
            <c:spPr>
              <a:solidFill>
                <a:srgbClr val="00A097"/>
              </a:solidFill>
            </c:spPr>
            <c:extLst>
              <c:ext xmlns:c16="http://schemas.microsoft.com/office/drawing/2014/chart" uri="{C3380CC4-5D6E-409C-BE32-E72D297353CC}">
                <c16:uniqueId val="{00000147-2993-41DE-A2CB-63102DE87051}"/>
              </c:ext>
            </c:extLst>
          </c:dPt>
          <c:dPt>
            <c:idx val="163"/>
            <c:invertIfNegative val="1"/>
            <c:bubble3D val="0"/>
            <c:spPr>
              <a:solidFill>
                <a:srgbClr val="00A097"/>
              </a:solidFill>
            </c:spPr>
            <c:extLst>
              <c:ext xmlns:c16="http://schemas.microsoft.com/office/drawing/2014/chart" uri="{C3380CC4-5D6E-409C-BE32-E72D297353CC}">
                <c16:uniqueId val="{00000149-2993-41DE-A2CB-63102DE87051}"/>
              </c:ext>
            </c:extLst>
          </c:dPt>
          <c:dPt>
            <c:idx val="164"/>
            <c:invertIfNegative val="1"/>
            <c:bubble3D val="0"/>
            <c:spPr>
              <a:solidFill>
                <a:srgbClr val="00A097"/>
              </a:solidFill>
            </c:spPr>
            <c:extLst>
              <c:ext xmlns:c16="http://schemas.microsoft.com/office/drawing/2014/chart" uri="{C3380CC4-5D6E-409C-BE32-E72D297353CC}">
                <c16:uniqueId val="{0000014B-2993-41DE-A2CB-63102DE87051}"/>
              </c:ext>
            </c:extLst>
          </c:dPt>
          <c:dPt>
            <c:idx val="165"/>
            <c:invertIfNegative val="1"/>
            <c:bubble3D val="0"/>
            <c:spPr>
              <a:solidFill>
                <a:srgbClr val="00A097"/>
              </a:solidFill>
            </c:spPr>
            <c:extLst>
              <c:ext xmlns:c16="http://schemas.microsoft.com/office/drawing/2014/chart" uri="{C3380CC4-5D6E-409C-BE32-E72D297353CC}">
                <c16:uniqueId val="{0000014D-2993-41DE-A2CB-63102DE87051}"/>
              </c:ext>
            </c:extLst>
          </c:dPt>
          <c:dPt>
            <c:idx val="166"/>
            <c:invertIfNegative val="1"/>
            <c:bubble3D val="0"/>
            <c:spPr>
              <a:solidFill>
                <a:srgbClr val="00A097"/>
              </a:solidFill>
            </c:spPr>
            <c:extLst>
              <c:ext xmlns:c16="http://schemas.microsoft.com/office/drawing/2014/chart" uri="{C3380CC4-5D6E-409C-BE32-E72D297353CC}">
                <c16:uniqueId val="{0000014F-2993-41DE-A2CB-63102DE87051}"/>
              </c:ext>
            </c:extLst>
          </c:dPt>
          <c:dPt>
            <c:idx val="167"/>
            <c:invertIfNegative val="1"/>
            <c:bubble3D val="0"/>
            <c:spPr>
              <a:solidFill>
                <a:srgbClr val="00A097"/>
              </a:solidFill>
            </c:spPr>
            <c:extLst>
              <c:ext xmlns:c16="http://schemas.microsoft.com/office/drawing/2014/chart" uri="{C3380CC4-5D6E-409C-BE32-E72D297353CC}">
                <c16:uniqueId val="{00000151-2993-41DE-A2CB-63102DE87051}"/>
              </c:ext>
            </c:extLst>
          </c:dPt>
          <c:dPt>
            <c:idx val="168"/>
            <c:invertIfNegative val="1"/>
            <c:bubble3D val="0"/>
            <c:spPr>
              <a:solidFill>
                <a:srgbClr val="00A097"/>
              </a:solidFill>
            </c:spPr>
            <c:extLst>
              <c:ext xmlns:c16="http://schemas.microsoft.com/office/drawing/2014/chart" uri="{C3380CC4-5D6E-409C-BE32-E72D297353CC}">
                <c16:uniqueId val="{00000153-2993-41DE-A2CB-63102DE87051}"/>
              </c:ext>
            </c:extLst>
          </c:dPt>
          <c:dPt>
            <c:idx val="169"/>
            <c:invertIfNegative val="1"/>
            <c:bubble3D val="0"/>
            <c:spPr>
              <a:solidFill>
                <a:srgbClr val="00A097"/>
              </a:solidFill>
            </c:spPr>
            <c:extLst>
              <c:ext xmlns:c16="http://schemas.microsoft.com/office/drawing/2014/chart" uri="{C3380CC4-5D6E-409C-BE32-E72D297353CC}">
                <c16:uniqueId val="{00000155-2993-41DE-A2CB-63102DE87051}"/>
              </c:ext>
            </c:extLst>
          </c:dPt>
          <c:dPt>
            <c:idx val="170"/>
            <c:invertIfNegative val="1"/>
            <c:bubble3D val="0"/>
            <c:spPr>
              <a:solidFill>
                <a:srgbClr val="00A097"/>
              </a:solidFill>
            </c:spPr>
            <c:extLst>
              <c:ext xmlns:c16="http://schemas.microsoft.com/office/drawing/2014/chart" uri="{C3380CC4-5D6E-409C-BE32-E72D297353CC}">
                <c16:uniqueId val="{00000157-2993-41DE-A2CB-63102DE87051}"/>
              </c:ext>
            </c:extLst>
          </c:dPt>
          <c:dPt>
            <c:idx val="171"/>
            <c:invertIfNegative val="1"/>
            <c:bubble3D val="0"/>
            <c:spPr>
              <a:solidFill>
                <a:srgbClr val="00A097"/>
              </a:solidFill>
            </c:spPr>
            <c:extLst>
              <c:ext xmlns:c16="http://schemas.microsoft.com/office/drawing/2014/chart" uri="{C3380CC4-5D6E-409C-BE32-E72D297353CC}">
                <c16:uniqueId val="{00000159-2993-41DE-A2CB-63102DE87051}"/>
              </c:ext>
            </c:extLst>
          </c:dPt>
          <c:dPt>
            <c:idx val="172"/>
            <c:invertIfNegative val="1"/>
            <c:bubble3D val="0"/>
            <c:spPr>
              <a:solidFill>
                <a:srgbClr val="00A097"/>
              </a:solidFill>
            </c:spPr>
            <c:extLst>
              <c:ext xmlns:c16="http://schemas.microsoft.com/office/drawing/2014/chart" uri="{C3380CC4-5D6E-409C-BE32-E72D297353CC}">
                <c16:uniqueId val="{0000015B-2993-41DE-A2CB-63102DE87051}"/>
              </c:ext>
            </c:extLst>
          </c:dPt>
          <c:dPt>
            <c:idx val="173"/>
            <c:invertIfNegative val="1"/>
            <c:bubble3D val="0"/>
            <c:spPr>
              <a:solidFill>
                <a:srgbClr val="00A097"/>
              </a:solidFill>
            </c:spPr>
            <c:extLst>
              <c:ext xmlns:c16="http://schemas.microsoft.com/office/drawing/2014/chart" uri="{C3380CC4-5D6E-409C-BE32-E72D297353CC}">
                <c16:uniqueId val="{0000015D-2993-41DE-A2CB-63102DE87051}"/>
              </c:ext>
            </c:extLst>
          </c:dPt>
          <c:dPt>
            <c:idx val="174"/>
            <c:invertIfNegative val="1"/>
            <c:bubble3D val="0"/>
            <c:spPr>
              <a:solidFill>
                <a:srgbClr val="00A097"/>
              </a:solidFill>
            </c:spPr>
            <c:extLst>
              <c:ext xmlns:c16="http://schemas.microsoft.com/office/drawing/2014/chart" uri="{C3380CC4-5D6E-409C-BE32-E72D297353CC}">
                <c16:uniqueId val="{0000015F-2993-41DE-A2CB-63102DE87051}"/>
              </c:ext>
            </c:extLst>
          </c:dPt>
          <c:dPt>
            <c:idx val="175"/>
            <c:invertIfNegative val="1"/>
            <c:bubble3D val="0"/>
            <c:spPr>
              <a:solidFill>
                <a:srgbClr val="00A097"/>
              </a:solidFill>
            </c:spPr>
            <c:extLst>
              <c:ext xmlns:c16="http://schemas.microsoft.com/office/drawing/2014/chart" uri="{C3380CC4-5D6E-409C-BE32-E72D297353CC}">
                <c16:uniqueId val="{00000161-2993-41DE-A2CB-63102DE87051}"/>
              </c:ext>
            </c:extLst>
          </c:dPt>
          <c:dPt>
            <c:idx val="176"/>
            <c:invertIfNegative val="1"/>
            <c:bubble3D val="0"/>
            <c:spPr>
              <a:solidFill>
                <a:srgbClr val="00A097"/>
              </a:solidFill>
            </c:spPr>
            <c:extLst>
              <c:ext xmlns:c16="http://schemas.microsoft.com/office/drawing/2014/chart" uri="{C3380CC4-5D6E-409C-BE32-E72D297353CC}">
                <c16:uniqueId val="{00000163-2993-41DE-A2CB-63102DE87051}"/>
              </c:ext>
            </c:extLst>
          </c:dPt>
          <c:dPt>
            <c:idx val="177"/>
            <c:invertIfNegative val="1"/>
            <c:bubble3D val="0"/>
            <c:spPr>
              <a:solidFill>
                <a:srgbClr val="00A097"/>
              </a:solidFill>
            </c:spPr>
            <c:extLst>
              <c:ext xmlns:c16="http://schemas.microsoft.com/office/drawing/2014/chart" uri="{C3380CC4-5D6E-409C-BE32-E72D297353CC}">
                <c16:uniqueId val="{00000165-2993-41DE-A2CB-63102DE87051}"/>
              </c:ext>
            </c:extLst>
          </c:dPt>
          <c:dPt>
            <c:idx val="178"/>
            <c:invertIfNegative val="1"/>
            <c:bubble3D val="0"/>
            <c:spPr>
              <a:solidFill>
                <a:srgbClr val="00A097"/>
              </a:solidFill>
            </c:spPr>
            <c:extLst>
              <c:ext xmlns:c16="http://schemas.microsoft.com/office/drawing/2014/chart" uri="{C3380CC4-5D6E-409C-BE32-E72D297353CC}">
                <c16:uniqueId val="{00000167-2993-41DE-A2CB-63102DE87051}"/>
              </c:ext>
            </c:extLst>
          </c:dPt>
          <c:dPt>
            <c:idx val="179"/>
            <c:invertIfNegative val="1"/>
            <c:bubble3D val="0"/>
            <c:spPr>
              <a:solidFill>
                <a:srgbClr val="00A097"/>
              </a:solidFill>
            </c:spPr>
            <c:extLst>
              <c:ext xmlns:c16="http://schemas.microsoft.com/office/drawing/2014/chart" uri="{C3380CC4-5D6E-409C-BE32-E72D297353CC}">
                <c16:uniqueId val="{00000169-2993-41DE-A2CB-63102DE87051}"/>
              </c:ext>
            </c:extLst>
          </c:dPt>
          <c:dPt>
            <c:idx val="180"/>
            <c:invertIfNegative val="1"/>
            <c:bubble3D val="0"/>
            <c:spPr>
              <a:solidFill>
                <a:srgbClr val="00A097"/>
              </a:solidFill>
            </c:spPr>
            <c:extLst>
              <c:ext xmlns:c16="http://schemas.microsoft.com/office/drawing/2014/chart" uri="{C3380CC4-5D6E-409C-BE32-E72D297353CC}">
                <c16:uniqueId val="{0000016B-2993-41DE-A2CB-63102DE87051}"/>
              </c:ext>
            </c:extLst>
          </c:dPt>
          <c:dPt>
            <c:idx val="181"/>
            <c:invertIfNegative val="1"/>
            <c:bubble3D val="0"/>
            <c:spPr>
              <a:solidFill>
                <a:srgbClr val="00A097"/>
              </a:solidFill>
            </c:spPr>
            <c:extLst>
              <c:ext xmlns:c16="http://schemas.microsoft.com/office/drawing/2014/chart" uri="{C3380CC4-5D6E-409C-BE32-E72D297353CC}">
                <c16:uniqueId val="{0000016D-2993-41DE-A2CB-63102DE87051}"/>
              </c:ext>
            </c:extLst>
          </c:dPt>
          <c:dPt>
            <c:idx val="182"/>
            <c:invertIfNegative val="1"/>
            <c:bubble3D val="0"/>
            <c:spPr>
              <a:solidFill>
                <a:srgbClr val="00A097"/>
              </a:solidFill>
            </c:spPr>
            <c:extLst>
              <c:ext xmlns:c16="http://schemas.microsoft.com/office/drawing/2014/chart" uri="{C3380CC4-5D6E-409C-BE32-E72D297353CC}">
                <c16:uniqueId val="{0000016F-2993-41DE-A2CB-63102DE87051}"/>
              </c:ext>
            </c:extLst>
          </c:dPt>
          <c:dPt>
            <c:idx val="183"/>
            <c:invertIfNegative val="1"/>
            <c:bubble3D val="0"/>
            <c:spPr>
              <a:solidFill>
                <a:srgbClr val="00A097"/>
              </a:solidFill>
            </c:spPr>
            <c:extLst>
              <c:ext xmlns:c16="http://schemas.microsoft.com/office/drawing/2014/chart" uri="{C3380CC4-5D6E-409C-BE32-E72D297353CC}">
                <c16:uniqueId val="{00000171-2993-41DE-A2CB-63102DE87051}"/>
              </c:ext>
            </c:extLst>
          </c:dPt>
          <c:dPt>
            <c:idx val="184"/>
            <c:invertIfNegative val="1"/>
            <c:bubble3D val="0"/>
            <c:spPr>
              <a:solidFill>
                <a:srgbClr val="00A097"/>
              </a:solidFill>
            </c:spPr>
            <c:extLst>
              <c:ext xmlns:c16="http://schemas.microsoft.com/office/drawing/2014/chart" uri="{C3380CC4-5D6E-409C-BE32-E72D297353CC}">
                <c16:uniqueId val="{00000173-2993-41DE-A2CB-63102DE87051}"/>
              </c:ext>
            </c:extLst>
          </c:dPt>
          <c:dPt>
            <c:idx val="185"/>
            <c:invertIfNegative val="1"/>
            <c:bubble3D val="0"/>
            <c:spPr>
              <a:solidFill>
                <a:srgbClr val="00A097"/>
              </a:solidFill>
            </c:spPr>
            <c:extLst>
              <c:ext xmlns:c16="http://schemas.microsoft.com/office/drawing/2014/chart" uri="{C3380CC4-5D6E-409C-BE32-E72D297353CC}">
                <c16:uniqueId val="{00000175-2993-41DE-A2CB-63102DE87051}"/>
              </c:ext>
            </c:extLst>
          </c:dPt>
          <c:dPt>
            <c:idx val="186"/>
            <c:invertIfNegative val="1"/>
            <c:bubble3D val="0"/>
            <c:spPr>
              <a:solidFill>
                <a:srgbClr val="00A097"/>
              </a:solidFill>
            </c:spPr>
            <c:extLst>
              <c:ext xmlns:c16="http://schemas.microsoft.com/office/drawing/2014/chart" uri="{C3380CC4-5D6E-409C-BE32-E72D297353CC}">
                <c16:uniqueId val="{00000177-2993-41DE-A2CB-63102DE87051}"/>
              </c:ext>
            </c:extLst>
          </c:dPt>
          <c:dPt>
            <c:idx val="187"/>
            <c:invertIfNegative val="1"/>
            <c:bubble3D val="0"/>
            <c:spPr>
              <a:solidFill>
                <a:srgbClr val="00A097"/>
              </a:solidFill>
            </c:spPr>
            <c:extLst>
              <c:ext xmlns:c16="http://schemas.microsoft.com/office/drawing/2014/chart" uri="{C3380CC4-5D6E-409C-BE32-E72D297353CC}">
                <c16:uniqueId val="{00000179-2993-41DE-A2CB-63102DE87051}"/>
              </c:ext>
            </c:extLst>
          </c:dPt>
          <c:dPt>
            <c:idx val="188"/>
            <c:invertIfNegative val="1"/>
            <c:bubble3D val="0"/>
            <c:spPr>
              <a:solidFill>
                <a:srgbClr val="00A097"/>
              </a:solidFill>
            </c:spPr>
            <c:extLst>
              <c:ext xmlns:c16="http://schemas.microsoft.com/office/drawing/2014/chart" uri="{C3380CC4-5D6E-409C-BE32-E72D297353CC}">
                <c16:uniqueId val="{0000017B-2993-41DE-A2CB-63102DE87051}"/>
              </c:ext>
            </c:extLst>
          </c:dPt>
          <c:dPt>
            <c:idx val="189"/>
            <c:invertIfNegative val="1"/>
            <c:bubble3D val="0"/>
            <c:spPr>
              <a:solidFill>
                <a:srgbClr val="00A097"/>
              </a:solidFill>
            </c:spPr>
            <c:extLst>
              <c:ext xmlns:c16="http://schemas.microsoft.com/office/drawing/2014/chart" uri="{C3380CC4-5D6E-409C-BE32-E72D297353CC}">
                <c16:uniqueId val="{0000017D-2993-41DE-A2CB-63102DE87051}"/>
              </c:ext>
            </c:extLst>
          </c:dPt>
          <c:dPt>
            <c:idx val="190"/>
            <c:invertIfNegative val="1"/>
            <c:bubble3D val="0"/>
            <c:spPr>
              <a:solidFill>
                <a:srgbClr val="00A097"/>
              </a:solidFill>
            </c:spPr>
            <c:extLst>
              <c:ext xmlns:c16="http://schemas.microsoft.com/office/drawing/2014/chart" uri="{C3380CC4-5D6E-409C-BE32-E72D297353CC}">
                <c16:uniqueId val="{0000017F-2993-41DE-A2CB-63102DE87051}"/>
              </c:ext>
            </c:extLst>
          </c:dPt>
          <c:dPt>
            <c:idx val="191"/>
            <c:invertIfNegative val="1"/>
            <c:bubble3D val="0"/>
            <c:spPr>
              <a:solidFill>
                <a:srgbClr val="00A097"/>
              </a:solidFill>
            </c:spPr>
            <c:extLst>
              <c:ext xmlns:c16="http://schemas.microsoft.com/office/drawing/2014/chart" uri="{C3380CC4-5D6E-409C-BE32-E72D297353CC}">
                <c16:uniqueId val="{00000181-2993-41DE-A2CB-63102DE87051}"/>
              </c:ext>
            </c:extLst>
          </c:dPt>
          <c:dPt>
            <c:idx val="192"/>
            <c:invertIfNegative val="1"/>
            <c:bubble3D val="0"/>
            <c:spPr>
              <a:solidFill>
                <a:srgbClr val="00A097"/>
              </a:solidFill>
            </c:spPr>
            <c:extLst>
              <c:ext xmlns:c16="http://schemas.microsoft.com/office/drawing/2014/chart" uri="{C3380CC4-5D6E-409C-BE32-E72D297353CC}">
                <c16:uniqueId val="{00000183-2993-41DE-A2CB-63102DE87051}"/>
              </c:ext>
            </c:extLst>
          </c:dPt>
          <c:dPt>
            <c:idx val="193"/>
            <c:invertIfNegative val="1"/>
            <c:bubble3D val="0"/>
            <c:spPr>
              <a:solidFill>
                <a:srgbClr val="00A097"/>
              </a:solidFill>
            </c:spPr>
            <c:extLst>
              <c:ext xmlns:c16="http://schemas.microsoft.com/office/drawing/2014/chart" uri="{C3380CC4-5D6E-409C-BE32-E72D297353CC}">
                <c16:uniqueId val="{00000185-2993-41DE-A2CB-63102DE87051}"/>
              </c:ext>
            </c:extLst>
          </c:dPt>
          <c:dPt>
            <c:idx val="194"/>
            <c:invertIfNegative val="1"/>
            <c:bubble3D val="0"/>
            <c:spPr>
              <a:solidFill>
                <a:srgbClr val="00A097"/>
              </a:solidFill>
            </c:spPr>
            <c:extLst>
              <c:ext xmlns:c16="http://schemas.microsoft.com/office/drawing/2014/chart" uri="{C3380CC4-5D6E-409C-BE32-E72D297353CC}">
                <c16:uniqueId val="{00000187-2993-41DE-A2CB-63102DE87051}"/>
              </c:ext>
            </c:extLst>
          </c:dPt>
          <c:dPt>
            <c:idx val="195"/>
            <c:invertIfNegative val="1"/>
            <c:bubble3D val="0"/>
            <c:spPr>
              <a:solidFill>
                <a:srgbClr val="00A097"/>
              </a:solidFill>
            </c:spPr>
            <c:extLst>
              <c:ext xmlns:c16="http://schemas.microsoft.com/office/drawing/2014/chart" uri="{C3380CC4-5D6E-409C-BE32-E72D297353CC}">
                <c16:uniqueId val="{00000189-2993-41DE-A2CB-63102DE87051}"/>
              </c:ext>
            </c:extLst>
          </c:dPt>
          <c:dPt>
            <c:idx val="196"/>
            <c:invertIfNegative val="1"/>
            <c:bubble3D val="0"/>
            <c:spPr>
              <a:solidFill>
                <a:srgbClr val="00A097"/>
              </a:solidFill>
            </c:spPr>
            <c:extLst>
              <c:ext xmlns:c16="http://schemas.microsoft.com/office/drawing/2014/chart" uri="{C3380CC4-5D6E-409C-BE32-E72D297353CC}">
                <c16:uniqueId val="{0000018B-2993-41DE-A2CB-63102DE87051}"/>
              </c:ext>
            </c:extLst>
          </c:dPt>
          <c:dPt>
            <c:idx val="197"/>
            <c:invertIfNegative val="1"/>
            <c:bubble3D val="0"/>
            <c:spPr>
              <a:solidFill>
                <a:srgbClr val="00A097"/>
              </a:solidFill>
            </c:spPr>
            <c:extLst>
              <c:ext xmlns:c16="http://schemas.microsoft.com/office/drawing/2014/chart" uri="{C3380CC4-5D6E-409C-BE32-E72D297353CC}">
                <c16:uniqueId val="{0000018D-2993-41DE-A2CB-63102DE87051}"/>
              </c:ext>
            </c:extLst>
          </c:dPt>
          <c:dPt>
            <c:idx val="198"/>
            <c:invertIfNegative val="1"/>
            <c:bubble3D val="0"/>
            <c:spPr>
              <a:solidFill>
                <a:srgbClr val="00A097"/>
              </a:solidFill>
            </c:spPr>
            <c:extLst>
              <c:ext xmlns:c16="http://schemas.microsoft.com/office/drawing/2014/chart" uri="{C3380CC4-5D6E-409C-BE32-E72D297353CC}">
                <c16:uniqueId val="{0000018F-2993-41DE-A2CB-63102DE87051}"/>
              </c:ext>
            </c:extLst>
          </c:dPt>
          <c:dPt>
            <c:idx val="199"/>
            <c:invertIfNegative val="1"/>
            <c:bubble3D val="0"/>
            <c:spPr>
              <a:solidFill>
                <a:srgbClr val="00A097"/>
              </a:solidFill>
            </c:spPr>
            <c:extLst>
              <c:ext xmlns:c16="http://schemas.microsoft.com/office/drawing/2014/chart" uri="{C3380CC4-5D6E-409C-BE32-E72D297353CC}">
                <c16:uniqueId val="{00000191-2993-41DE-A2CB-63102DE87051}"/>
              </c:ext>
            </c:extLst>
          </c:dPt>
          <c:dPt>
            <c:idx val="200"/>
            <c:invertIfNegative val="1"/>
            <c:bubble3D val="0"/>
            <c:spPr>
              <a:solidFill>
                <a:srgbClr val="00A097"/>
              </a:solidFill>
            </c:spPr>
            <c:extLst>
              <c:ext xmlns:c16="http://schemas.microsoft.com/office/drawing/2014/chart" uri="{C3380CC4-5D6E-409C-BE32-E72D297353CC}">
                <c16:uniqueId val="{00000193-2993-41DE-A2CB-63102DE87051}"/>
              </c:ext>
            </c:extLst>
          </c:dPt>
          <c:dPt>
            <c:idx val="201"/>
            <c:invertIfNegative val="1"/>
            <c:bubble3D val="0"/>
            <c:spPr>
              <a:solidFill>
                <a:srgbClr val="00A097"/>
              </a:solidFill>
            </c:spPr>
            <c:extLst>
              <c:ext xmlns:c16="http://schemas.microsoft.com/office/drawing/2014/chart" uri="{C3380CC4-5D6E-409C-BE32-E72D297353CC}">
                <c16:uniqueId val="{00000195-2993-41DE-A2CB-63102DE87051}"/>
              </c:ext>
            </c:extLst>
          </c:dPt>
          <c:dPt>
            <c:idx val="202"/>
            <c:invertIfNegative val="1"/>
            <c:bubble3D val="0"/>
            <c:spPr>
              <a:solidFill>
                <a:srgbClr val="00A097"/>
              </a:solidFill>
            </c:spPr>
            <c:extLst>
              <c:ext xmlns:c16="http://schemas.microsoft.com/office/drawing/2014/chart" uri="{C3380CC4-5D6E-409C-BE32-E72D297353CC}">
                <c16:uniqueId val="{00000197-2993-41DE-A2CB-63102DE87051}"/>
              </c:ext>
            </c:extLst>
          </c:dPt>
          <c:dPt>
            <c:idx val="203"/>
            <c:invertIfNegative val="1"/>
            <c:bubble3D val="0"/>
            <c:spPr>
              <a:solidFill>
                <a:srgbClr val="00A097"/>
              </a:solidFill>
            </c:spPr>
            <c:extLst>
              <c:ext xmlns:c16="http://schemas.microsoft.com/office/drawing/2014/chart" uri="{C3380CC4-5D6E-409C-BE32-E72D297353CC}">
                <c16:uniqueId val="{00000199-2993-41DE-A2CB-63102DE87051}"/>
              </c:ext>
            </c:extLst>
          </c:dPt>
          <c:dPt>
            <c:idx val="204"/>
            <c:invertIfNegative val="1"/>
            <c:bubble3D val="0"/>
            <c:spPr>
              <a:solidFill>
                <a:srgbClr val="00A097"/>
              </a:solidFill>
            </c:spPr>
            <c:extLst>
              <c:ext xmlns:c16="http://schemas.microsoft.com/office/drawing/2014/chart" uri="{C3380CC4-5D6E-409C-BE32-E72D297353CC}">
                <c16:uniqueId val="{0000019B-2993-41DE-A2CB-63102DE87051}"/>
              </c:ext>
            </c:extLst>
          </c:dPt>
          <c:dPt>
            <c:idx val="205"/>
            <c:invertIfNegative val="1"/>
            <c:bubble3D val="0"/>
            <c:spPr>
              <a:solidFill>
                <a:srgbClr val="00A097"/>
              </a:solidFill>
            </c:spPr>
            <c:extLst>
              <c:ext xmlns:c16="http://schemas.microsoft.com/office/drawing/2014/chart" uri="{C3380CC4-5D6E-409C-BE32-E72D297353CC}">
                <c16:uniqueId val="{0000019D-2993-41DE-A2CB-63102DE87051}"/>
              </c:ext>
            </c:extLst>
          </c:dPt>
          <c:dPt>
            <c:idx val="206"/>
            <c:invertIfNegative val="1"/>
            <c:bubble3D val="0"/>
            <c:spPr>
              <a:solidFill>
                <a:srgbClr val="00A097"/>
              </a:solidFill>
            </c:spPr>
            <c:extLst>
              <c:ext xmlns:c16="http://schemas.microsoft.com/office/drawing/2014/chart" uri="{C3380CC4-5D6E-409C-BE32-E72D297353CC}">
                <c16:uniqueId val="{0000019F-2993-41DE-A2CB-63102DE87051}"/>
              </c:ext>
            </c:extLst>
          </c:dPt>
          <c:dPt>
            <c:idx val="207"/>
            <c:invertIfNegative val="1"/>
            <c:bubble3D val="0"/>
            <c:spPr>
              <a:solidFill>
                <a:srgbClr val="00A097"/>
              </a:solidFill>
            </c:spPr>
            <c:extLst>
              <c:ext xmlns:c16="http://schemas.microsoft.com/office/drawing/2014/chart" uri="{C3380CC4-5D6E-409C-BE32-E72D297353CC}">
                <c16:uniqueId val="{000001A1-2993-41DE-A2CB-63102DE87051}"/>
              </c:ext>
            </c:extLst>
          </c:dPt>
          <c:dPt>
            <c:idx val="208"/>
            <c:invertIfNegative val="1"/>
            <c:bubble3D val="0"/>
            <c:spPr>
              <a:solidFill>
                <a:srgbClr val="00A097"/>
              </a:solidFill>
            </c:spPr>
            <c:extLst>
              <c:ext xmlns:c16="http://schemas.microsoft.com/office/drawing/2014/chart" uri="{C3380CC4-5D6E-409C-BE32-E72D297353CC}">
                <c16:uniqueId val="{000001A3-2993-41DE-A2CB-63102DE87051}"/>
              </c:ext>
            </c:extLst>
          </c:dPt>
          <c:dPt>
            <c:idx val="209"/>
            <c:invertIfNegative val="1"/>
            <c:bubble3D val="0"/>
            <c:spPr>
              <a:solidFill>
                <a:srgbClr val="00A097"/>
              </a:solidFill>
            </c:spPr>
            <c:extLst>
              <c:ext xmlns:c16="http://schemas.microsoft.com/office/drawing/2014/chart" uri="{C3380CC4-5D6E-409C-BE32-E72D297353CC}">
                <c16:uniqueId val="{000001A5-2993-41DE-A2CB-63102DE87051}"/>
              </c:ext>
            </c:extLst>
          </c:dPt>
          <c:dPt>
            <c:idx val="210"/>
            <c:invertIfNegative val="1"/>
            <c:bubble3D val="0"/>
            <c:spPr>
              <a:solidFill>
                <a:srgbClr val="00A097"/>
              </a:solidFill>
            </c:spPr>
            <c:extLst>
              <c:ext xmlns:c16="http://schemas.microsoft.com/office/drawing/2014/chart" uri="{C3380CC4-5D6E-409C-BE32-E72D297353CC}">
                <c16:uniqueId val="{000001A7-7B8A-44CE-B0AF-B4D4D3438E61}"/>
              </c:ext>
            </c:extLst>
          </c:dPt>
          <c:dPt>
            <c:idx val="211"/>
            <c:invertIfNegative val="1"/>
            <c:bubble3D val="0"/>
            <c:spPr>
              <a:solidFill>
                <a:srgbClr val="00A097"/>
              </a:solidFill>
            </c:spPr>
            <c:extLst>
              <c:ext xmlns:c16="http://schemas.microsoft.com/office/drawing/2014/chart" uri="{C3380CC4-5D6E-409C-BE32-E72D297353CC}">
                <c16:uniqueId val="{000001A9-7B8A-44CE-B0AF-B4D4D3438E61}"/>
              </c:ext>
            </c:extLst>
          </c:dPt>
          <c:dPt>
            <c:idx val="212"/>
            <c:invertIfNegative val="1"/>
            <c:bubble3D val="0"/>
            <c:spPr>
              <a:solidFill>
                <a:srgbClr val="00A097"/>
              </a:solidFill>
            </c:spPr>
            <c:extLst>
              <c:ext xmlns:c16="http://schemas.microsoft.com/office/drawing/2014/chart" uri="{C3380CC4-5D6E-409C-BE32-E72D297353CC}">
                <c16:uniqueId val="{000001AB-7B8A-44CE-B0AF-B4D4D3438E61}"/>
              </c:ext>
            </c:extLst>
          </c:dPt>
          <c:dPt>
            <c:idx val="213"/>
            <c:invertIfNegative val="1"/>
            <c:bubble3D val="0"/>
            <c:spPr>
              <a:solidFill>
                <a:srgbClr val="00A097"/>
              </a:solidFill>
            </c:spPr>
            <c:extLst>
              <c:ext xmlns:c16="http://schemas.microsoft.com/office/drawing/2014/chart" uri="{C3380CC4-5D6E-409C-BE32-E72D297353CC}">
                <c16:uniqueId val="{000001AD-7B8A-44CE-B0AF-B4D4D3438E61}"/>
              </c:ext>
            </c:extLst>
          </c:dPt>
          <c:dPt>
            <c:idx val="214"/>
            <c:invertIfNegative val="1"/>
            <c:bubble3D val="0"/>
            <c:spPr>
              <a:solidFill>
                <a:srgbClr val="00A097"/>
              </a:solidFill>
            </c:spPr>
            <c:extLst>
              <c:ext xmlns:c16="http://schemas.microsoft.com/office/drawing/2014/chart" uri="{C3380CC4-5D6E-409C-BE32-E72D297353CC}">
                <c16:uniqueId val="{000001AF-7B8A-44CE-B0AF-B4D4D3438E61}"/>
              </c:ext>
            </c:extLst>
          </c:dPt>
          <c:dPt>
            <c:idx val="215"/>
            <c:invertIfNegative val="1"/>
            <c:bubble3D val="0"/>
            <c:spPr>
              <a:solidFill>
                <a:srgbClr val="00A097"/>
              </a:solidFill>
            </c:spPr>
            <c:extLst>
              <c:ext xmlns:c16="http://schemas.microsoft.com/office/drawing/2014/chart" uri="{C3380CC4-5D6E-409C-BE32-E72D297353CC}">
                <c16:uniqueId val="{000001B1-7B8A-44CE-B0AF-B4D4D3438E61}"/>
              </c:ext>
            </c:extLst>
          </c:dPt>
          <c:dPt>
            <c:idx val="216"/>
            <c:invertIfNegative val="1"/>
            <c:bubble3D val="0"/>
            <c:spPr>
              <a:solidFill>
                <a:srgbClr val="00A097"/>
              </a:solidFill>
            </c:spPr>
            <c:extLst>
              <c:ext xmlns:c16="http://schemas.microsoft.com/office/drawing/2014/chart" uri="{C3380CC4-5D6E-409C-BE32-E72D297353CC}">
                <c16:uniqueId val="{000001B3-7B8A-44CE-B0AF-B4D4D3438E61}"/>
              </c:ext>
            </c:extLst>
          </c:dPt>
          <c:dPt>
            <c:idx val="217"/>
            <c:invertIfNegative val="1"/>
            <c:bubble3D val="0"/>
            <c:spPr>
              <a:solidFill>
                <a:srgbClr val="00A097"/>
              </a:solidFill>
            </c:spPr>
            <c:extLst>
              <c:ext xmlns:c16="http://schemas.microsoft.com/office/drawing/2014/chart" uri="{C3380CC4-5D6E-409C-BE32-E72D297353CC}">
                <c16:uniqueId val="{000001B5-7B8A-44CE-B0AF-B4D4D3438E61}"/>
              </c:ext>
            </c:extLst>
          </c:dPt>
          <c:dPt>
            <c:idx val="218"/>
            <c:invertIfNegative val="1"/>
            <c:bubble3D val="0"/>
            <c:spPr>
              <a:solidFill>
                <a:srgbClr val="00A097"/>
              </a:solidFill>
            </c:spPr>
            <c:extLst>
              <c:ext xmlns:c16="http://schemas.microsoft.com/office/drawing/2014/chart" uri="{C3380CC4-5D6E-409C-BE32-E72D297353CC}">
                <c16:uniqueId val="{000001B7-7B8A-44CE-B0AF-B4D4D3438E61}"/>
              </c:ext>
            </c:extLst>
          </c:dPt>
          <c:dPt>
            <c:idx val="219"/>
            <c:invertIfNegative val="1"/>
            <c:bubble3D val="0"/>
            <c:spPr>
              <a:solidFill>
                <a:srgbClr val="00A097"/>
              </a:solidFill>
            </c:spPr>
            <c:extLst>
              <c:ext xmlns:c16="http://schemas.microsoft.com/office/drawing/2014/chart" uri="{C3380CC4-5D6E-409C-BE32-E72D297353CC}">
                <c16:uniqueId val="{000001B9-7B8A-44CE-B0AF-B4D4D3438E61}"/>
              </c:ext>
            </c:extLst>
          </c:dPt>
          <c:dPt>
            <c:idx val="220"/>
            <c:invertIfNegative val="1"/>
            <c:bubble3D val="0"/>
            <c:spPr>
              <a:solidFill>
                <a:srgbClr val="00A097"/>
              </a:solidFill>
            </c:spPr>
            <c:extLst>
              <c:ext xmlns:c16="http://schemas.microsoft.com/office/drawing/2014/chart" uri="{C3380CC4-5D6E-409C-BE32-E72D297353CC}">
                <c16:uniqueId val="{000001BB-7B8A-44CE-B0AF-B4D4D3438E61}"/>
              </c:ext>
            </c:extLst>
          </c:dPt>
          <c:dPt>
            <c:idx val="221"/>
            <c:invertIfNegative val="1"/>
            <c:bubble3D val="0"/>
            <c:spPr>
              <a:solidFill>
                <a:srgbClr val="00A097"/>
              </a:solidFill>
            </c:spPr>
            <c:extLst>
              <c:ext xmlns:c16="http://schemas.microsoft.com/office/drawing/2014/chart" uri="{C3380CC4-5D6E-409C-BE32-E72D297353CC}">
                <c16:uniqueId val="{000001BD-7B8A-44CE-B0AF-B4D4D3438E61}"/>
              </c:ext>
            </c:extLst>
          </c:dPt>
          <c:dPt>
            <c:idx val="222"/>
            <c:invertIfNegative val="1"/>
            <c:bubble3D val="0"/>
            <c:spPr>
              <a:solidFill>
                <a:srgbClr val="00A097"/>
              </a:solidFill>
            </c:spPr>
            <c:extLst>
              <c:ext xmlns:c16="http://schemas.microsoft.com/office/drawing/2014/chart" uri="{C3380CC4-5D6E-409C-BE32-E72D297353CC}">
                <c16:uniqueId val="{000001BF-7B8A-44CE-B0AF-B4D4D3438E61}"/>
              </c:ext>
            </c:extLst>
          </c:dPt>
          <c:dPt>
            <c:idx val="223"/>
            <c:invertIfNegative val="1"/>
            <c:bubble3D val="0"/>
            <c:spPr>
              <a:solidFill>
                <a:srgbClr val="00A097"/>
              </a:solidFill>
            </c:spPr>
            <c:extLst>
              <c:ext xmlns:c16="http://schemas.microsoft.com/office/drawing/2014/chart" uri="{C3380CC4-5D6E-409C-BE32-E72D297353CC}">
                <c16:uniqueId val="{000001C1-7B8A-44CE-B0AF-B4D4D3438E61}"/>
              </c:ext>
            </c:extLst>
          </c:dPt>
          <c:dPt>
            <c:idx val="224"/>
            <c:invertIfNegative val="1"/>
            <c:bubble3D val="0"/>
            <c:spPr>
              <a:solidFill>
                <a:srgbClr val="00A097"/>
              </a:solidFill>
            </c:spPr>
            <c:extLst>
              <c:ext xmlns:c16="http://schemas.microsoft.com/office/drawing/2014/chart" uri="{C3380CC4-5D6E-409C-BE32-E72D297353CC}">
                <c16:uniqueId val="{000001C3-7B8A-44CE-B0AF-B4D4D3438E61}"/>
              </c:ext>
            </c:extLst>
          </c:dPt>
          <c:dPt>
            <c:idx val="225"/>
            <c:invertIfNegative val="1"/>
            <c:bubble3D val="0"/>
            <c:spPr>
              <a:solidFill>
                <a:srgbClr val="00A097"/>
              </a:solidFill>
            </c:spPr>
            <c:extLst>
              <c:ext xmlns:c16="http://schemas.microsoft.com/office/drawing/2014/chart" uri="{C3380CC4-5D6E-409C-BE32-E72D297353CC}">
                <c16:uniqueId val="{000001C5-7B8A-44CE-B0AF-B4D4D3438E61}"/>
              </c:ext>
            </c:extLst>
          </c:dPt>
          <c:dPt>
            <c:idx val="226"/>
            <c:invertIfNegative val="1"/>
            <c:bubble3D val="0"/>
            <c:spPr>
              <a:solidFill>
                <a:srgbClr val="7ECAC4"/>
              </a:solidFill>
            </c:spPr>
            <c:extLst>
              <c:ext xmlns:c16="http://schemas.microsoft.com/office/drawing/2014/chart" uri="{C3380CC4-5D6E-409C-BE32-E72D297353CC}">
                <c16:uniqueId val="{000001C7-7B8A-44CE-B0AF-B4D4D3438E61}"/>
              </c:ext>
            </c:extLst>
          </c:dPt>
          <c:dPt>
            <c:idx val="227"/>
            <c:invertIfNegative val="1"/>
            <c:bubble3D val="0"/>
            <c:spPr>
              <a:solidFill>
                <a:srgbClr val="7ECAC4"/>
              </a:solidFill>
            </c:spPr>
            <c:extLst>
              <c:ext xmlns:c16="http://schemas.microsoft.com/office/drawing/2014/chart" uri="{C3380CC4-5D6E-409C-BE32-E72D297353CC}">
                <c16:uniqueId val="{000001C9-7B8A-44CE-B0AF-B4D4D3438E61}"/>
              </c:ext>
            </c:extLst>
          </c:dPt>
          <c:dPt>
            <c:idx val="228"/>
            <c:invertIfNegative val="1"/>
            <c:bubble3D val="0"/>
            <c:spPr>
              <a:solidFill>
                <a:srgbClr val="7ECAC4"/>
              </a:solidFill>
            </c:spPr>
            <c:extLst>
              <c:ext xmlns:c16="http://schemas.microsoft.com/office/drawing/2014/chart" uri="{C3380CC4-5D6E-409C-BE32-E72D297353CC}">
                <c16:uniqueId val="{000001CB-7B8A-44CE-B0AF-B4D4D3438E61}"/>
              </c:ext>
            </c:extLst>
          </c:dPt>
          <c:dPt>
            <c:idx val="229"/>
            <c:invertIfNegative val="1"/>
            <c:bubble3D val="0"/>
            <c:spPr>
              <a:solidFill>
                <a:srgbClr val="7ECAC4"/>
              </a:solidFill>
            </c:spPr>
            <c:extLst>
              <c:ext xmlns:c16="http://schemas.microsoft.com/office/drawing/2014/chart" uri="{C3380CC4-5D6E-409C-BE32-E72D297353CC}">
                <c16:uniqueId val="{000001CD-7B8A-44CE-B0AF-B4D4D3438E61}"/>
              </c:ext>
            </c:extLst>
          </c:dPt>
          <c:dPt>
            <c:idx val="230"/>
            <c:invertIfNegative val="1"/>
            <c:bubble3D val="0"/>
            <c:spPr>
              <a:solidFill>
                <a:srgbClr val="7ECAC4"/>
              </a:solidFill>
            </c:spPr>
            <c:extLst>
              <c:ext xmlns:c16="http://schemas.microsoft.com/office/drawing/2014/chart" uri="{C3380CC4-5D6E-409C-BE32-E72D297353CC}">
                <c16:uniqueId val="{000001CF-7B8A-44CE-B0AF-B4D4D3438E61}"/>
              </c:ext>
            </c:extLst>
          </c:dPt>
          <c:dPt>
            <c:idx val="231"/>
            <c:invertIfNegative val="1"/>
            <c:bubble3D val="0"/>
            <c:spPr>
              <a:solidFill>
                <a:srgbClr val="7ECAC4"/>
              </a:solidFill>
            </c:spPr>
            <c:extLst>
              <c:ext xmlns:c16="http://schemas.microsoft.com/office/drawing/2014/chart" uri="{C3380CC4-5D6E-409C-BE32-E72D297353CC}">
                <c16:uniqueId val="{000001D1-7B8A-44CE-B0AF-B4D4D3438E61}"/>
              </c:ext>
            </c:extLst>
          </c:dPt>
          <c:dPt>
            <c:idx val="232"/>
            <c:invertIfNegative val="1"/>
            <c:bubble3D val="0"/>
            <c:spPr>
              <a:solidFill>
                <a:srgbClr val="7ECAC4"/>
              </a:solidFill>
            </c:spPr>
            <c:extLst>
              <c:ext xmlns:c16="http://schemas.microsoft.com/office/drawing/2014/chart" uri="{C3380CC4-5D6E-409C-BE32-E72D297353CC}">
                <c16:uniqueId val="{000001D3-7B8A-44CE-B0AF-B4D4D3438E61}"/>
              </c:ext>
            </c:extLst>
          </c:dPt>
          <c:dPt>
            <c:idx val="233"/>
            <c:invertIfNegative val="1"/>
            <c:bubble3D val="0"/>
            <c:spPr>
              <a:solidFill>
                <a:srgbClr val="7ECAC4"/>
              </a:solidFill>
            </c:spPr>
            <c:extLst>
              <c:ext xmlns:c16="http://schemas.microsoft.com/office/drawing/2014/chart" uri="{C3380CC4-5D6E-409C-BE32-E72D297353CC}">
                <c16:uniqueId val="{000001D5-7B8A-44CE-B0AF-B4D4D3438E61}"/>
              </c:ext>
            </c:extLst>
          </c:dPt>
          <c:dPt>
            <c:idx val="234"/>
            <c:invertIfNegative val="1"/>
            <c:bubble3D val="0"/>
            <c:spPr>
              <a:solidFill>
                <a:srgbClr val="7ECAC4"/>
              </a:solidFill>
            </c:spPr>
            <c:extLst>
              <c:ext xmlns:c16="http://schemas.microsoft.com/office/drawing/2014/chart" uri="{C3380CC4-5D6E-409C-BE32-E72D297353CC}">
                <c16:uniqueId val="{000001D7-7B8A-44CE-B0AF-B4D4D3438E61}"/>
              </c:ext>
            </c:extLst>
          </c:dPt>
          <c:dPt>
            <c:idx val="235"/>
            <c:invertIfNegative val="1"/>
            <c:bubble3D val="0"/>
            <c:spPr>
              <a:solidFill>
                <a:srgbClr val="7ECAC4"/>
              </a:solidFill>
            </c:spPr>
            <c:extLst>
              <c:ext xmlns:c16="http://schemas.microsoft.com/office/drawing/2014/chart" uri="{C3380CC4-5D6E-409C-BE32-E72D297353CC}">
                <c16:uniqueId val="{000001D9-7B8A-44CE-B0AF-B4D4D3438E61}"/>
              </c:ext>
            </c:extLst>
          </c:dPt>
          <c:dPt>
            <c:idx val="236"/>
            <c:invertIfNegative val="1"/>
            <c:bubble3D val="0"/>
            <c:spPr>
              <a:solidFill>
                <a:srgbClr val="7ECAC4"/>
              </a:solidFill>
            </c:spPr>
            <c:extLst>
              <c:ext xmlns:c16="http://schemas.microsoft.com/office/drawing/2014/chart" uri="{C3380CC4-5D6E-409C-BE32-E72D297353CC}">
                <c16:uniqueId val="{000001DB-7B8A-44CE-B0AF-B4D4D3438E61}"/>
              </c:ext>
            </c:extLst>
          </c:dPt>
          <c:dPt>
            <c:idx val="237"/>
            <c:invertIfNegative val="1"/>
            <c:bubble3D val="0"/>
            <c:spPr>
              <a:solidFill>
                <a:srgbClr val="7ECAC4"/>
              </a:solidFill>
            </c:spPr>
            <c:extLst>
              <c:ext xmlns:c16="http://schemas.microsoft.com/office/drawing/2014/chart" uri="{C3380CC4-5D6E-409C-BE32-E72D297353CC}">
                <c16:uniqueId val="{000001DD-7B8A-44CE-B0AF-B4D4D3438E61}"/>
              </c:ext>
            </c:extLst>
          </c:dPt>
          <c:dPt>
            <c:idx val="238"/>
            <c:invertIfNegative val="1"/>
            <c:bubble3D val="0"/>
            <c:spPr>
              <a:solidFill>
                <a:srgbClr val="7ECAC4"/>
              </a:solidFill>
            </c:spPr>
            <c:extLst>
              <c:ext xmlns:c16="http://schemas.microsoft.com/office/drawing/2014/chart" uri="{C3380CC4-5D6E-409C-BE32-E72D297353CC}">
                <c16:uniqueId val="{000001DF-7B8A-44CE-B0AF-B4D4D3438E61}"/>
              </c:ext>
            </c:extLst>
          </c:dPt>
          <c:dPt>
            <c:idx val="239"/>
            <c:invertIfNegative val="1"/>
            <c:bubble3D val="0"/>
            <c:spPr>
              <a:solidFill>
                <a:srgbClr val="7ECAC4"/>
              </a:solidFill>
            </c:spPr>
            <c:extLst>
              <c:ext xmlns:c16="http://schemas.microsoft.com/office/drawing/2014/chart" uri="{C3380CC4-5D6E-409C-BE32-E72D297353CC}">
                <c16:uniqueId val="{000001E1-7B8A-44CE-B0AF-B4D4D3438E61}"/>
              </c:ext>
            </c:extLst>
          </c:dPt>
          <c:dPt>
            <c:idx val="240"/>
            <c:invertIfNegative val="1"/>
            <c:bubble3D val="0"/>
            <c:spPr>
              <a:solidFill>
                <a:srgbClr val="7ECAC4"/>
              </a:solidFill>
            </c:spPr>
            <c:extLst>
              <c:ext xmlns:c16="http://schemas.microsoft.com/office/drawing/2014/chart" uri="{C3380CC4-5D6E-409C-BE32-E72D297353CC}">
                <c16:uniqueId val="{000001E3-7B8A-44CE-B0AF-B4D4D3438E61}"/>
              </c:ext>
            </c:extLst>
          </c:dPt>
          <c:dPt>
            <c:idx val="241"/>
            <c:invertIfNegative val="1"/>
            <c:bubble3D val="0"/>
            <c:spPr>
              <a:solidFill>
                <a:srgbClr val="7ECAC4"/>
              </a:solidFill>
            </c:spPr>
            <c:extLst>
              <c:ext xmlns:c16="http://schemas.microsoft.com/office/drawing/2014/chart" uri="{C3380CC4-5D6E-409C-BE32-E72D297353CC}">
                <c16:uniqueId val="{000001E5-7B8A-44CE-B0AF-B4D4D3438E61}"/>
              </c:ext>
            </c:extLst>
          </c:dPt>
          <c:dPt>
            <c:idx val="242"/>
            <c:invertIfNegative val="1"/>
            <c:bubble3D val="0"/>
            <c:spPr>
              <a:solidFill>
                <a:srgbClr val="7ECAC4"/>
              </a:solidFill>
            </c:spPr>
            <c:extLst>
              <c:ext xmlns:c16="http://schemas.microsoft.com/office/drawing/2014/chart" uri="{C3380CC4-5D6E-409C-BE32-E72D297353CC}">
                <c16:uniqueId val="{000001E7-7B8A-44CE-B0AF-B4D4D3438E61}"/>
              </c:ext>
            </c:extLst>
          </c:dPt>
          <c:dPt>
            <c:idx val="243"/>
            <c:invertIfNegative val="1"/>
            <c:bubble3D val="0"/>
            <c:spPr>
              <a:solidFill>
                <a:srgbClr val="7ECAC4"/>
              </a:solidFill>
            </c:spPr>
            <c:extLst>
              <c:ext xmlns:c16="http://schemas.microsoft.com/office/drawing/2014/chart" uri="{C3380CC4-5D6E-409C-BE32-E72D297353CC}">
                <c16:uniqueId val="{000001E9-7B8A-44CE-B0AF-B4D4D3438E61}"/>
              </c:ext>
            </c:extLst>
          </c:dPt>
          <c:dPt>
            <c:idx val="244"/>
            <c:invertIfNegative val="1"/>
            <c:bubble3D val="0"/>
            <c:spPr>
              <a:solidFill>
                <a:srgbClr val="7ECAC4"/>
              </a:solidFill>
            </c:spPr>
            <c:extLst>
              <c:ext xmlns:c16="http://schemas.microsoft.com/office/drawing/2014/chart" uri="{C3380CC4-5D6E-409C-BE32-E72D297353CC}">
                <c16:uniqueId val="{000001EB-7B8A-44CE-B0AF-B4D4D3438E61}"/>
              </c:ext>
            </c:extLst>
          </c:dPt>
          <c:dPt>
            <c:idx val="245"/>
            <c:invertIfNegative val="1"/>
            <c:bubble3D val="0"/>
            <c:spPr>
              <a:solidFill>
                <a:srgbClr val="7ECAC4"/>
              </a:solidFill>
            </c:spPr>
            <c:extLst>
              <c:ext xmlns:c16="http://schemas.microsoft.com/office/drawing/2014/chart" uri="{C3380CC4-5D6E-409C-BE32-E72D297353CC}">
                <c16:uniqueId val="{000001ED-7B8A-44CE-B0AF-B4D4D3438E61}"/>
              </c:ext>
            </c:extLst>
          </c:dPt>
          <c:dPt>
            <c:idx val="246"/>
            <c:invertIfNegative val="1"/>
            <c:bubble3D val="0"/>
            <c:spPr>
              <a:solidFill>
                <a:srgbClr val="7ECAC4"/>
              </a:solidFill>
            </c:spPr>
            <c:extLst>
              <c:ext xmlns:c16="http://schemas.microsoft.com/office/drawing/2014/chart" uri="{C3380CC4-5D6E-409C-BE32-E72D297353CC}">
                <c16:uniqueId val="{000001EF-7B8A-44CE-B0AF-B4D4D3438E61}"/>
              </c:ext>
            </c:extLst>
          </c:dPt>
          <c:dPt>
            <c:idx val="247"/>
            <c:invertIfNegative val="1"/>
            <c:bubble3D val="0"/>
            <c:spPr>
              <a:solidFill>
                <a:srgbClr val="7ECAC4"/>
              </a:solidFill>
            </c:spPr>
            <c:extLst>
              <c:ext xmlns:c16="http://schemas.microsoft.com/office/drawing/2014/chart" uri="{C3380CC4-5D6E-409C-BE32-E72D297353CC}">
                <c16:uniqueId val="{000001F1-7B8A-44CE-B0AF-B4D4D3438E61}"/>
              </c:ext>
            </c:extLst>
          </c:dPt>
          <c:dPt>
            <c:idx val="248"/>
            <c:invertIfNegative val="1"/>
            <c:bubble3D val="0"/>
            <c:spPr>
              <a:solidFill>
                <a:srgbClr val="7ECAC4"/>
              </a:solidFill>
            </c:spPr>
            <c:extLst>
              <c:ext xmlns:c16="http://schemas.microsoft.com/office/drawing/2014/chart" uri="{C3380CC4-5D6E-409C-BE32-E72D297353CC}">
                <c16:uniqueId val="{000001F3-7B8A-44CE-B0AF-B4D4D3438E61}"/>
              </c:ext>
            </c:extLst>
          </c:dPt>
          <c:dPt>
            <c:idx val="249"/>
            <c:invertIfNegative val="1"/>
            <c:bubble3D val="0"/>
            <c:spPr>
              <a:solidFill>
                <a:srgbClr val="7ECAC4"/>
              </a:solidFill>
            </c:spPr>
            <c:extLst>
              <c:ext xmlns:c16="http://schemas.microsoft.com/office/drawing/2014/chart" uri="{C3380CC4-5D6E-409C-BE32-E72D297353CC}">
                <c16:uniqueId val="{000001F5-7B8A-44CE-B0AF-B4D4D3438E61}"/>
              </c:ext>
            </c:extLst>
          </c:dPt>
          <c:dPt>
            <c:idx val="250"/>
            <c:invertIfNegative val="1"/>
            <c:bubble3D val="0"/>
            <c:spPr>
              <a:solidFill>
                <a:srgbClr val="7ECAC4"/>
              </a:solidFill>
            </c:spPr>
            <c:extLst>
              <c:ext xmlns:c16="http://schemas.microsoft.com/office/drawing/2014/chart" uri="{C3380CC4-5D6E-409C-BE32-E72D297353CC}">
                <c16:uniqueId val="{000001F7-7B8A-44CE-B0AF-B4D4D3438E61}"/>
              </c:ext>
            </c:extLst>
          </c:dPt>
          <c:dPt>
            <c:idx val="251"/>
            <c:invertIfNegative val="1"/>
            <c:bubble3D val="0"/>
            <c:spPr>
              <a:solidFill>
                <a:srgbClr val="7ECAC4"/>
              </a:solidFill>
            </c:spPr>
            <c:extLst>
              <c:ext xmlns:c16="http://schemas.microsoft.com/office/drawing/2014/chart" uri="{C3380CC4-5D6E-409C-BE32-E72D297353CC}">
                <c16:uniqueId val="{000001F9-7B8A-44CE-B0AF-B4D4D3438E61}"/>
              </c:ext>
            </c:extLst>
          </c:dPt>
          <c:dPt>
            <c:idx val="252"/>
            <c:invertIfNegative val="1"/>
            <c:bubble3D val="0"/>
            <c:spPr>
              <a:solidFill>
                <a:srgbClr val="7ECAC4"/>
              </a:solidFill>
            </c:spPr>
            <c:extLst>
              <c:ext xmlns:c16="http://schemas.microsoft.com/office/drawing/2014/chart" uri="{C3380CC4-5D6E-409C-BE32-E72D297353CC}">
                <c16:uniqueId val="{000001FB-7B8A-44CE-B0AF-B4D4D3438E61}"/>
              </c:ext>
            </c:extLst>
          </c:dPt>
          <c:dPt>
            <c:idx val="253"/>
            <c:invertIfNegative val="1"/>
            <c:bubble3D val="0"/>
            <c:spPr>
              <a:solidFill>
                <a:srgbClr val="7ECAC4"/>
              </a:solidFill>
            </c:spPr>
            <c:extLst>
              <c:ext xmlns:c16="http://schemas.microsoft.com/office/drawing/2014/chart" uri="{C3380CC4-5D6E-409C-BE32-E72D297353CC}">
                <c16:uniqueId val="{000001FD-7B8A-44CE-B0AF-B4D4D3438E61}"/>
              </c:ext>
            </c:extLst>
          </c:dPt>
          <c:dPt>
            <c:idx val="254"/>
            <c:invertIfNegative val="1"/>
            <c:bubble3D val="0"/>
            <c:spPr>
              <a:solidFill>
                <a:srgbClr val="7ECAC4"/>
              </a:solidFill>
            </c:spPr>
            <c:extLst>
              <c:ext xmlns:c16="http://schemas.microsoft.com/office/drawing/2014/chart" uri="{C3380CC4-5D6E-409C-BE32-E72D297353CC}">
                <c16:uniqueId val="{000001FF-7B8A-44CE-B0AF-B4D4D3438E61}"/>
              </c:ext>
            </c:extLst>
          </c:dPt>
          <c:dPt>
            <c:idx val="255"/>
            <c:invertIfNegative val="1"/>
            <c:bubble3D val="0"/>
            <c:spPr>
              <a:solidFill>
                <a:srgbClr val="7ECAC4"/>
              </a:solidFill>
            </c:spPr>
            <c:extLst>
              <c:ext xmlns:c16="http://schemas.microsoft.com/office/drawing/2014/chart" uri="{C3380CC4-5D6E-409C-BE32-E72D297353CC}">
                <c16:uniqueId val="{00000201-7B8A-44CE-B0AF-B4D4D3438E61}"/>
              </c:ext>
            </c:extLst>
          </c:dPt>
          <c:dPt>
            <c:idx val="256"/>
            <c:invertIfNegative val="1"/>
            <c:bubble3D val="0"/>
            <c:spPr>
              <a:solidFill>
                <a:srgbClr val="7ECAC4"/>
              </a:solidFill>
            </c:spPr>
            <c:extLst>
              <c:ext xmlns:c16="http://schemas.microsoft.com/office/drawing/2014/chart" uri="{C3380CC4-5D6E-409C-BE32-E72D297353CC}">
                <c16:uniqueId val="{00000203-7B8A-44CE-B0AF-B4D4D3438E61}"/>
              </c:ext>
            </c:extLst>
          </c:dPt>
          <c:dPt>
            <c:idx val="257"/>
            <c:invertIfNegative val="1"/>
            <c:bubble3D val="0"/>
            <c:spPr>
              <a:solidFill>
                <a:srgbClr val="7ECAC4"/>
              </a:solidFill>
            </c:spPr>
            <c:extLst>
              <c:ext xmlns:c16="http://schemas.microsoft.com/office/drawing/2014/chart" uri="{C3380CC4-5D6E-409C-BE32-E72D297353CC}">
                <c16:uniqueId val="{00000205-7B8A-44CE-B0AF-B4D4D3438E61}"/>
              </c:ext>
            </c:extLst>
          </c:dPt>
          <c:dPt>
            <c:idx val="258"/>
            <c:invertIfNegative val="1"/>
            <c:bubble3D val="0"/>
            <c:spPr>
              <a:solidFill>
                <a:srgbClr val="7ECAC4"/>
              </a:solidFill>
            </c:spPr>
            <c:extLst>
              <c:ext xmlns:c16="http://schemas.microsoft.com/office/drawing/2014/chart" uri="{C3380CC4-5D6E-409C-BE32-E72D297353CC}">
                <c16:uniqueId val="{00000207-7B8A-44CE-B0AF-B4D4D3438E61}"/>
              </c:ext>
            </c:extLst>
          </c:dPt>
          <c:dPt>
            <c:idx val="259"/>
            <c:invertIfNegative val="1"/>
            <c:bubble3D val="0"/>
            <c:spPr>
              <a:solidFill>
                <a:srgbClr val="7ECAC4"/>
              </a:solidFill>
            </c:spPr>
            <c:extLst>
              <c:ext xmlns:c16="http://schemas.microsoft.com/office/drawing/2014/chart" uri="{C3380CC4-5D6E-409C-BE32-E72D297353CC}">
                <c16:uniqueId val="{00000209-7B8A-44CE-B0AF-B4D4D3438E61}"/>
              </c:ext>
            </c:extLst>
          </c:dPt>
          <c:dPt>
            <c:idx val="260"/>
            <c:invertIfNegative val="1"/>
            <c:bubble3D val="0"/>
            <c:spPr>
              <a:solidFill>
                <a:srgbClr val="7ECAC4"/>
              </a:solidFill>
            </c:spPr>
            <c:extLst>
              <c:ext xmlns:c16="http://schemas.microsoft.com/office/drawing/2014/chart" uri="{C3380CC4-5D6E-409C-BE32-E72D297353CC}">
                <c16:uniqueId val="{0000020B-7B8A-44CE-B0AF-B4D4D3438E61}"/>
              </c:ext>
            </c:extLst>
          </c:dPt>
          <c:dPt>
            <c:idx val="261"/>
            <c:invertIfNegative val="1"/>
            <c:bubble3D val="0"/>
            <c:spPr>
              <a:solidFill>
                <a:srgbClr val="7ECAC4"/>
              </a:solidFill>
            </c:spPr>
            <c:extLst>
              <c:ext xmlns:c16="http://schemas.microsoft.com/office/drawing/2014/chart" uri="{C3380CC4-5D6E-409C-BE32-E72D297353CC}">
                <c16:uniqueId val="{0000020D-7B8A-44CE-B0AF-B4D4D3438E61}"/>
              </c:ext>
            </c:extLst>
          </c:dPt>
          <c:dPt>
            <c:idx val="262"/>
            <c:invertIfNegative val="1"/>
            <c:bubble3D val="0"/>
            <c:spPr>
              <a:solidFill>
                <a:srgbClr val="7ECAC4"/>
              </a:solidFill>
            </c:spPr>
            <c:extLst>
              <c:ext xmlns:c16="http://schemas.microsoft.com/office/drawing/2014/chart" uri="{C3380CC4-5D6E-409C-BE32-E72D297353CC}">
                <c16:uniqueId val="{0000020F-7B8A-44CE-B0AF-B4D4D3438E61}"/>
              </c:ext>
            </c:extLst>
          </c:dPt>
          <c:dPt>
            <c:idx val="263"/>
            <c:invertIfNegative val="1"/>
            <c:bubble3D val="0"/>
            <c:spPr>
              <a:solidFill>
                <a:srgbClr val="7ECAC4"/>
              </a:solidFill>
            </c:spPr>
            <c:extLst>
              <c:ext xmlns:c16="http://schemas.microsoft.com/office/drawing/2014/chart" uri="{C3380CC4-5D6E-409C-BE32-E72D297353CC}">
                <c16:uniqueId val="{00000211-7B8A-44CE-B0AF-B4D4D3438E61}"/>
              </c:ext>
            </c:extLst>
          </c:dPt>
          <c:dPt>
            <c:idx val="264"/>
            <c:invertIfNegative val="1"/>
            <c:bubble3D val="0"/>
            <c:spPr>
              <a:solidFill>
                <a:srgbClr val="7ECAC4"/>
              </a:solidFill>
            </c:spPr>
            <c:extLst>
              <c:ext xmlns:c16="http://schemas.microsoft.com/office/drawing/2014/chart" uri="{C3380CC4-5D6E-409C-BE32-E72D297353CC}">
                <c16:uniqueId val="{00000213-7B8A-44CE-B0AF-B4D4D3438E61}"/>
              </c:ext>
            </c:extLst>
          </c:dPt>
          <c:dPt>
            <c:idx val="265"/>
            <c:invertIfNegative val="1"/>
            <c:bubble3D val="0"/>
            <c:spPr>
              <a:solidFill>
                <a:srgbClr val="7ECAC4"/>
              </a:solidFill>
            </c:spPr>
            <c:extLst>
              <c:ext xmlns:c16="http://schemas.microsoft.com/office/drawing/2014/chart" uri="{C3380CC4-5D6E-409C-BE32-E72D297353CC}">
                <c16:uniqueId val="{00000215-7B8A-44CE-B0AF-B4D4D3438E61}"/>
              </c:ext>
            </c:extLst>
          </c:dPt>
          <c:dPt>
            <c:idx val="266"/>
            <c:invertIfNegative val="1"/>
            <c:bubble3D val="0"/>
            <c:spPr>
              <a:solidFill>
                <a:srgbClr val="7ECAC4"/>
              </a:solidFill>
            </c:spPr>
            <c:extLst>
              <c:ext xmlns:c16="http://schemas.microsoft.com/office/drawing/2014/chart" uri="{C3380CC4-5D6E-409C-BE32-E72D297353CC}">
                <c16:uniqueId val="{00000217-7B8A-44CE-B0AF-B4D4D3438E61}"/>
              </c:ext>
            </c:extLst>
          </c:dPt>
          <c:dPt>
            <c:idx val="267"/>
            <c:invertIfNegative val="1"/>
            <c:bubble3D val="0"/>
            <c:spPr>
              <a:solidFill>
                <a:srgbClr val="7ECAC4"/>
              </a:solidFill>
            </c:spPr>
            <c:extLst>
              <c:ext xmlns:c16="http://schemas.microsoft.com/office/drawing/2014/chart" uri="{C3380CC4-5D6E-409C-BE32-E72D297353CC}">
                <c16:uniqueId val="{00000219-7B8A-44CE-B0AF-B4D4D3438E61}"/>
              </c:ext>
            </c:extLst>
          </c:dPt>
          <c:dPt>
            <c:idx val="268"/>
            <c:invertIfNegative val="1"/>
            <c:bubble3D val="0"/>
            <c:spPr>
              <a:solidFill>
                <a:srgbClr val="7ECAC4"/>
              </a:solidFill>
            </c:spPr>
            <c:extLst>
              <c:ext xmlns:c16="http://schemas.microsoft.com/office/drawing/2014/chart" uri="{C3380CC4-5D6E-409C-BE32-E72D297353CC}">
                <c16:uniqueId val="{0000021B-7B8A-44CE-B0AF-B4D4D3438E61}"/>
              </c:ext>
            </c:extLst>
          </c:dPt>
          <c:dPt>
            <c:idx val="269"/>
            <c:invertIfNegative val="1"/>
            <c:bubble3D val="0"/>
            <c:spPr>
              <a:solidFill>
                <a:srgbClr val="7ECAC4"/>
              </a:solidFill>
            </c:spPr>
            <c:extLst>
              <c:ext xmlns:c16="http://schemas.microsoft.com/office/drawing/2014/chart" uri="{C3380CC4-5D6E-409C-BE32-E72D297353CC}">
                <c16:uniqueId val="{0000021D-7B8A-44CE-B0AF-B4D4D3438E61}"/>
              </c:ext>
            </c:extLst>
          </c:dPt>
          <c:dPt>
            <c:idx val="270"/>
            <c:invertIfNegative val="1"/>
            <c:bubble3D val="0"/>
            <c:spPr>
              <a:solidFill>
                <a:srgbClr val="7ECAC4"/>
              </a:solidFill>
            </c:spPr>
            <c:extLst>
              <c:ext xmlns:c16="http://schemas.microsoft.com/office/drawing/2014/chart" uri="{C3380CC4-5D6E-409C-BE32-E72D297353CC}">
                <c16:uniqueId val="{0000021F-7B8A-44CE-B0AF-B4D4D3438E61}"/>
              </c:ext>
            </c:extLst>
          </c:dPt>
          <c:dPt>
            <c:idx val="271"/>
            <c:invertIfNegative val="1"/>
            <c:bubble3D val="0"/>
            <c:spPr>
              <a:solidFill>
                <a:srgbClr val="7ECAC4"/>
              </a:solidFill>
            </c:spPr>
            <c:extLst>
              <c:ext xmlns:c16="http://schemas.microsoft.com/office/drawing/2014/chart" uri="{C3380CC4-5D6E-409C-BE32-E72D297353CC}">
                <c16:uniqueId val="{00000221-7B8A-44CE-B0AF-B4D4D3438E61}"/>
              </c:ext>
            </c:extLst>
          </c:dPt>
          <c:dPt>
            <c:idx val="272"/>
            <c:invertIfNegative val="1"/>
            <c:bubble3D val="0"/>
            <c:spPr>
              <a:solidFill>
                <a:srgbClr val="7ECAC4"/>
              </a:solidFill>
            </c:spPr>
            <c:extLst>
              <c:ext xmlns:c16="http://schemas.microsoft.com/office/drawing/2014/chart" uri="{C3380CC4-5D6E-409C-BE32-E72D297353CC}">
                <c16:uniqueId val="{00000223-7B8A-44CE-B0AF-B4D4D3438E61}"/>
              </c:ext>
            </c:extLst>
          </c:dPt>
          <c:dPt>
            <c:idx val="273"/>
            <c:invertIfNegative val="1"/>
            <c:bubble3D val="0"/>
            <c:spPr>
              <a:solidFill>
                <a:srgbClr val="7ECAC4"/>
              </a:solidFill>
            </c:spPr>
            <c:extLst>
              <c:ext xmlns:c16="http://schemas.microsoft.com/office/drawing/2014/chart" uri="{C3380CC4-5D6E-409C-BE32-E72D297353CC}">
                <c16:uniqueId val="{00000225-7B8A-44CE-B0AF-B4D4D3438E61}"/>
              </c:ext>
            </c:extLst>
          </c:dPt>
          <c:dPt>
            <c:idx val="274"/>
            <c:invertIfNegative val="1"/>
            <c:bubble3D val="0"/>
            <c:spPr>
              <a:solidFill>
                <a:srgbClr val="7ECAC4"/>
              </a:solidFill>
            </c:spPr>
            <c:extLst>
              <c:ext xmlns:c16="http://schemas.microsoft.com/office/drawing/2014/chart" uri="{C3380CC4-5D6E-409C-BE32-E72D297353CC}">
                <c16:uniqueId val="{00000227-7B8A-44CE-B0AF-B4D4D3438E61}"/>
              </c:ext>
            </c:extLst>
          </c:dPt>
          <c:dPt>
            <c:idx val="275"/>
            <c:invertIfNegative val="1"/>
            <c:bubble3D val="0"/>
            <c:spPr>
              <a:solidFill>
                <a:srgbClr val="7ECAC4"/>
              </a:solidFill>
            </c:spPr>
            <c:extLst>
              <c:ext xmlns:c16="http://schemas.microsoft.com/office/drawing/2014/chart" uri="{C3380CC4-5D6E-409C-BE32-E72D297353CC}">
                <c16:uniqueId val="{00000229-7B8A-44CE-B0AF-B4D4D3438E61}"/>
              </c:ext>
            </c:extLst>
          </c:dPt>
          <c:dPt>
            <c:idx val="276"/>
            <c:invertIfNegative val="1"/>
            <c:bubble3D val="0"/>
            <c:spPr>
              <a:solidFill>
                <a:srgbClr val="7ECAC4"/>
              </a:solidFill>
            </c:spPr>
            <c:extLst>
              <c:ext xmlns:c16="http://schemas.microsoft.com/office/drawing/2014/chart" uri="{C3380CC4-5D6E-409C-BE32-E72D297353CC}">
                <c16:uniqueId val="{0000022B-7B8A-44CE-B0AF-B4D4D3438E61}"/>
              </c:ext>
            </c:extLst>
          </c:dPt>
          <c:dPt>
            <c:idx val="277"/>
            <c:invertIfNegative val="1"/>
            <c:bubble3D val="0"/>
            <c:spPr>
              <a:solidFill>
                <a:srgbClr val="7ECAC4"/>
              </a:solidFill>
            </c:spPr>
            <c:extLst>
              <c:ext xmlns:c16="http://schemas.microsoft.com/office/drawing/2014/chart" uri="{C3380CC4-5D6E-409C-BE32-E72D297353CC}">
                <c16:uniqueId val="{0000022D-7B8A-44CE-B0AF-B4D4D3438E61}"/>
              </c:ext>
            </c:extLst>
          </c:dPt>
          <c:dPt>
            <c:idx val="278"/>
            <c:invertIfNegative val="1"/>
            <c:bubble3D val="0"/>
            <c:spPr>
              <a:solidFill>
                <a:srgbClr val="7ECAC4"/>
              </a:solidFill>
            </c:spPr>
            <c:extLst>
              <c:ext xmlns:c16="http://schemas.microsoft.com/office/drawing/2014/chart" uri="{C3380CC4-5D6E-409C-BE32-E72D297353CC}">
                <c16:uniqueId val="{0000022F-7B8A-44CE-B0AF-B4D4D3438E61}"/>
              </c:ext>
            </c:extLst>
          </c:dPt>
          <c:dPt>
            <c:idx val="279"/>
            <c:invertIfNegative val="1"/>
            <c:bubble3D val="0"/>
            <c:spPr>
              <a:solidFill>
                <a:srgbClr val="7ECAC4"/>
              </a:solidFill>
            </c:spPr>
            <c:extLst>
              <c:ext xmlns:c16="http://schemas.microsoft.com/office/drawing/2014/chart" uri="{C3380CC4-5D6E-409C-BE32-E72D297353CC}">
                <c16:uniqueId val="{00000231-7B8A-44CE-B0AF-B4D4D3438E61}"/>
              </c:ext>
            </c:extLst>
          </c:dPt>
          <c:dPt>
            <c:idx val="280"/>
            <c:invertIfNegative val="1"/>
            <c:bubble3D val="0"/>
            <c:spPr>
              <a:solidFill>
                <a:srgbClr val="7ECAC4"/>
              </a:solidFill>
            </c:spPr>
            <c:extLst>
              <c:ext xmlns:c16="http://schemas.microsoft.com/office/drawing/2014/chart" uri="{C3380CC4-5D6E-409C-BE32-E72D297353CC}">
                <c16:uniqueId val="{00000233-7B8A-44CE-B0AF-B4D4D3438E61}"/>
              </c:ext>
            </c:extLst>
          </c:dPt>
          <c:dPt>
            <c:idx val="281"/>
            <c:invertIfNegative val="1"/>
            <c:bubble3D val="0"/>
            <c:spPr>
              <a:solidFill>
                <a:srgbClr val="7ECAC4"/>
              </a:solidFill>
            </c:spPr>
            <c:extLst>
              <c:ext xmlns:c16="http://schemas.microsoft.com/office/drawing/2014/chart" uri="{C3380CC4-5D6E-409C-BE32-E72D297353CC}">
                <c16:uniqueId val="{00000235-7B8A-44CE-B0AF-B4D4D3438E61}"/>
              </c:ext>
            </c:extLst>
          </c:dPt>
          <c:dPt>
            <c:idx val="282"/>
            <c:invertIfNegative val="1"/>
            <c:bubble3D val="0"/>
            <c:spPr>
              <a:solidFill>
                <a:srgbClr val="7ECAC4"/>
              </a:solidFill>
            </c:spPr>
            <c:extLst>
              <c:ext xmlns:c16="http://schemas.microsoft.com/office/drawing/2014/chart" uri="{C3380CC4-5D6E-409C-BE32-E72D297353CC}">
                <c16:uniqueId val="{00000237-7B8A-44CE-B0AF-B4D4D3438E61}"/>
              </c:ext>
            </c:extLst>
          </c:dPt>
          <c:dPt>
            <c:idx val="283"/>
            <c:invertIfNegative val="1"/>
            <c:bubble3D val="0"/>
            <c:spPr>
              <a:solidFill>
                <a:srgbClr val="7ECAC4"/>
              </a:solidFill>
            </c:spPr>
            <c:extLst>
              <c:ext xmlns:c16="http://schemas.microsoft.com/office/drawing/2014/chart" uri="{C3380CC4-5D6E-409C-BE32-E72D297353CC}">
                <c16:uniqueId val="{00000239-7B8A-44CE-B0AF-B4D4D3438E61}"/>
              </c:ext>
            </c:extLst>
          </c:dPt>
          <c:dPt>
            <c:idx val="284"/>
            <c:invertIfNegative val="1"/>
            <c:bubble3D val="0"/>
            <c:spPr>
              <a:solidFill>
                <a:srgbClr val="7ECAC4"/>
              </a:solidFill>
            </c:spPr>
            <c:extLst>
              <c:ext xmlns:c16="http://schemas.microsoft.com/office/drawing/2014/chart" uri="{C3380CC4-5D6E-409C-BE32-E72D297353CC}">
                <c16:uniqueId val="{0000023B-7B8A-44CE-B0AF-B4D4D3438E61}"/>
              </c:ext>
            </c:extLst>
          </c:dPt>
          <c:dPt>
            <c:idx val="285"/>
            <c:invertIfNegative val="1"/>
            <c:bubble3D val="0"/>
            <c:spPr>
              <a:solidFill>
                <a:srgbClr val="7ECAC4"/>
              </a:solidFill>
            </c:spPr>
            <c:extLst>
              <c:ext xmlns:c16="http://schemas.microsoft.com/office/drawing/2014/chart" uri="{C3380CC4-5D6E-409C-BE32-E72D297353CC}">
                <c16:uniqueId val="{0000023D-7B8A-44CE-B0AF-B4D4D3438E61}"/>
              </c:ext>
            </c:extLst>
          </c:dPt>
          <c:dPt>
            <c:idx val="286"/>
            <c:invertIfNegative val="1"/>
            <c:bubble3D val="0"/>
            <c:spPr>
              <a:solidFill>
                <a:srgbClr val="7ECAC4"/>
              </a:solidFill>
            </c:spPr>
            <c:extLst>
              <c:ext xmlns:c16="http://schemas.microsoft.com/office/drawing/2014/chart" uri="{C3380CC4-5D6E-409C-BE32-E72D297353CC}">
                <c16:uniqueId val="{0000023F-7B8A-44CE-B0AF-B4D4D3438E61}"/>
              </c:ext>
            </c:extLst>
          </c:dPt>
          <c:dPt>
            <c:idx val="287"/>
            <c:invertIfNegative val="1"/>
            <c:bubble3D val="0"/>
            <c:spPr>
              <a:solidFill>
                <a:srgbClr val="7ECAC4"/>
              </a:solidFill>
            </c:spPr>
            <c:extLst>
              <c:ext xmlns:c16="http://schemas.microsoft.com/office/drawing/2014/chart" uri="{C3380CC4-5D6E-409C-BE32-E72D297353CC}">
                <c16:uniqueId val="{00000241-7B8A-44CE-B0AF-B4D4D3438E61}"/>
              </c:ext>
            </c:extLst>
          </c:dPt>
          <c:dPt>
            <c:idx val="288"/>
            <c:invertIfNegative val="1"/>
            <c:bubble3D val="0"/>
            <c:spPr>
              <a:solidFill>
                <a:srgbClr val="7ECAC4"/>
              </a:solidFill>
            </c:spPr>
            <c:extLst>
              <c:ext xmlns:c16="http://schemas.microsoft.com/office/drawing/2014/chart" uri="{C3380CC4-5D6E-409C-BE32-E72D297353CC}">
                <c16:uniqueId val="{00000243-7B8A-44CE-B0AF-B4D4D3438E61}"/>
              </c:ext>
            </c:extLst>
          </c:dPt>
          <c:dPt>
            <c:idx val="289"/>
            <c:invertIfNegative val="1"/>
            <c:bubble3D val="0"/>
            <c:spPr>
              <a:solidFill>
                <a:srgbClr val="7ECAC4"/>
              </a:solidFill>
            </c:spPr>
            <c:extLst>
              <c:ext xmlns:c16="http://schemas.microsoft.com/office/drawing/2014/chart" uri="{C3380CC4-5D6E-409C-BE32-E72D297353CC}">
                <c16:uniqueId val="{00000245-7B8A-44CE-B0AF-B4D4D3438E61}"/>
              </c:ext>
            </c:extLst>
          </c:dPt>
          <c:dPt>
            <c:idx val="290"/>
            <c:invertIfNegative val="1"/>
            <c:bubble3D val="0"/>
            <c:spPr>
              <a:solidFill>
                <a:srgbClr val="7ECAC4"/>
              </a:solidFill>
            </c:spPr>
            <c:extLst>
              <c:ext xmlns:c16="http://schemas.microsoft.com/office/drawing/2014/chart" uri="{C3380CC4-5D6E-409C-BE32-E72D297353CC}">
                <c16:uniqueId val="{00000247-7B8A-44CE-B0AF-B4D4D3438E61}"/>
              </c:ext>
            </c:extLst>
          </c:dPt>
          <c:dPt>
            <c:idx val="291"/>
            <c:invertIfNegative val="1"/>
            <c:bubble3D val="0"/>
            <c:spPr>
              <a:solidFill>
                <a:srgbClr val="7ECAC4"/>
              </a:solidFill>
            </c:spPr>
            <c:extLst>
              <c:ext xmlns:c16="http://schemas.microsoft.com/office/drawing/2014/chart" uri="{C3380CC4-5D6E-409C-BE32-E72D297353CC}">
                <c16:uniqueId val="{00000249-7B8A-44CE-B0AF-B4D4D3438E61}"/>
              </c:ext>
            </c:extLst>
          </c:dPt>
          <c:dPt>
            <c:idx val="292"/>
            <c:invertIfNegative val="1"/>
            <c:bubble3D val="0"/>
            <c:spPr>
              <a:solidFill>
                <a:srgbClr val="7ECAC4"/>
              </a:solidFill>
            </c:spPr>
            <c:extLst>
              <c:ext xmlns:c16="http://schemas.microsoft.com/office/drawing/2014/chart" uri="{C3380CC4-5D6E-409C-BE32-E72D297353CC}">
                <c16:uniqueId val="{0000024B-7B8A-44CE-B0AF-B4D4D3438E61}"/>
              </c:ext>
            </c:extLst>
          </c:dPt>
          <c:dPt>
            <c:idx val="293"/>
            <c:invertIfNegative val="1"/>
            <c:bubble3D val="0"/>
            <c:spPr>
              <a:solidFill>
                <a:srgbClr val="7ECAC4"/>
              </a:solidFill>
            </c:spPr>
            <c:extLst>
              <c:ext xmlns:c16="http://schemas.microsoft.com/office/drawing/2014/chart" uri="{C3380CC4-5D6E-409C-BE32-E72D297353CC}">
                <c16:uniqueId val="{0000024D-7B8A-44CE-B0AF-B4D4D3438E61}"/>
              </c:ext>
            </c:extLst>
          </c:dPt>
          <c:dPt>
            <c:idx val="294"/>
            <c:invertIfNegative val="1"/>
            <c:bubble3D val="0"/>
            <c:spPr>
              <a:solidFill>
                <a:srgbClr val="7ECAC4"/>
              </a:solidFill>
            </c:spPr>
            <c:extLst>
              <c:ext xmlns:c16="http://schemas.microsoft.com/office/drawing/2014/chart" uri="{C3380CC4-5D6E-409C-BE32-E72D297353CC}">
                <c16:uniqueId val="{0000024F-7B8A-44CE-B0AF-B4D4D3438E61}"/>
              </c:ext>
            </c:extLst>
          </c:dPt>
          <c:dPt>
            <c:idx val="295"/>
            <c:invertIfNegative val="1"/>
            <c:bubble3D val="0"/>
            <c:spPr>
              <a:solidFill>
                <a:srgbClr val="7ECAC4"/>
              </a:solidFill>
            </c:spPr>
            <c:extLst>
              <c:ext xmlns:c16="http://schemas.microsoft.com/office/drawing/2014/chart" uri="{C3380CC4-5D6E-409C-BE32-E72D297353CC}">
                <c16:uniqueId val="{00000251-7B8A-44CE-B0AF-B4D4D3438E61}"/>
              </c:ext>
            </c:extLst>
          </c:dPt>
          <c:dPt>
            <c:idx val="296"/>
            <c:invertIfNegative val="1"/>
            <c:bubble3D val="0"/>
            <c:spPr>
              <a:solidFill>
                <a:srgbClr val="7ECAC4"/>
              </a:solidFill>
            </c:spPr>
            <c:extLst>
              <c:ext xmlns:c16="http://schemas.microsoft.com/office/drawing/2014/chart" uri="{C3380CC4-5D6E-409C-BE32-E72D297353CC}">
                <c16:uniqueId val="{00000253-7B8A-44CE-B0AF-B4D4D3438E61}"/>
              </c:ext>
            </c:extLst>
          </c:dPt>
          <c:dPt>
            <c:idx val="297"/>
            <c:invertIfNegative val="1"/>
            <c:bubble3D val="0"/>
            <c:spPr>
              <a:solidFill>
                <a:srgbClr val="7ECAC4"/>
              </a:solidFill>
            </c:spPr>
            <c:extLst>
              <c:ext xmlns:c16="http://schemas.microsoft.com/office/drawing/2014/chart" uri="{C3380CC4-5D6E-409C-BE32-E72D297353CC}">
                <c16:uniqueId val="{00000255-7B8A-44CE-B0AF-B4D4D3438E61}"/>
              </c:ext>
            </c:extLst>
          </c:dPt>
          <c:dPt>
            <c:idx val="298"/>
            <c:invertIfNegative val="1"/>
            <c:bubble3D val="0"/>
            <c:spPr>
              <a:solidFill>
                <a:srgbClr val="7ECAC4"/>
              </a:solidFill>
            </c:spPr>
            <c:extLst>
              <c:ext xmlns:c16="http://schemas.microsoft.com/office/drawing/2014/chart" uri="{C3380CC4-5D6E-409C-BE32-E72D297353CC}">
                <c16:uniqueId val="{00000257-7B8A-44CE-B0AF-B4D4D3438E61}"/>
              </c:ext>
            </c:extLst>
          </c:dPt>
          <c:dPt>
            <c:idx val="299"/>
            <c:invertIfNegative val="1"/>
            <c:bubble3D val="0"/>
            <c:spPr>
              <a:solidFill>
                <a:srgbClr val="7ECAC4"/>
              </a:solidFill>
            </c:spPr>
            <c:extLst>
              <c:ext xmlns:c16="http://schemas.microsoft.com/office/drawing/2014/chart" uri="{C3380CC4-5D6E-409C-BE32-E72D297353CC}">
                <c16:uniqueId val="{00000259-7B8A-44CE-B0AF-B4D4D3438E61}"/>
              </c:ext>
            </c:extLst>
          </c:dPt>
          <c:dPt>
            <c:idx val="300"/>
            <c:invertIfNegative val="1"/>
            <c:bubble3D val="0"/>
            <c:spPr>
              <a:solidFill>
                <a:srgbClr val="7ECAC4"/>
              </a:solidFill>
            </c:spPr>
            <c:extLst>
              <c:ext xmlns:c16="http://schemas.microsoft.com/office/drawing/2014/chart" uri="{C3380CC4-5D6E-409C-BE32-E72D297353CC}">
                <c16:uniqueId val="{0000025B-7B8A-44CE-B0AF-B4D4D3438E61}"/>
              </c:ext>
            </c:extLst>
          </c:dPt>
          <c:dPt>
            <c:idx val="301"/>
            <c:invertIfNegative val="1"/>
            <c:bubble3D val="0"/>
            <c:spPr>
              <a:solidFill>
                <a:srgbClr val="7ECAC4"/>
              </a:solidFill>
            </c:spPr>
            <c:extLst>
              <c:ext xmlns:c16="http://schemas.microsoft.com/office/drawing/2014/chart" uri="{C3380CC4-5D6E-409C-BE32-E72D297353CC}">
                <c16:uniqueId val="{0000025D-7B8A-44CE-B0AF-B4D4D3438E61}"/>
              </c:ext>
            </c:extLst>
          </c:dPt>
          <c:dPt>
            <c:idx val="302"/>
            <c:invertIfNegative val="1"/>
            <c:bubble3D val="0"/>
            <c:spPr>
              <a:solidFill>
                <a:srgbClr val="7ECAC4"/>
              </a:solidFill>
            </c:spPr>
            <c:extLst>
              <c:ext xmlns:c16="http://schemas.microsoft.com/office/drawing/2014/chart" uri="{C3380CC4-5D6E-409C-BE32-E72D297353CC}">
                <c16:uniqueId val="{0000025F-7B8A-44CE-B0AF-B4D4D3438E61}"/>
              </c:ext>
            </c:extLst>
          </c:dPt>
          <c:dPt>
            <c:idx val="303"/>
            <c:invertIfNegative val="1"/>
            <c:bubble3D val="0"/>
            <c:spPr>
              <a:solidFill>
                <a:srgbClr val="7ECAC4"/>
              </a:solidFill>
            </c:spPr>
            <c:extLst>
              <c:ext xmlns:c16="http://schemas.microsoft.com/office/drawing/2014/chart" uri="{C3380CC4-5D6E-409C-BE32-E72D297353CC}">
                <c16:uniqueId val="{00000261-7B8A-44CE-B0AF-B4D4D3438E61}"/>
              </c:ext>
            </c:extLst>
          </c:dPt>
          <c:dPt>
            <c:idx val="304"/>
            <c:invertIfNegative val="1"/>
            <c:bubble3D val="0"/>
            <c:spPr>
              <a:solidFill>
                <a:srgbClr val="7ECAC4"/>
              </a:solidFill>
            </c:spPr>
            <c:extLst>
              <c:ext xmlns:c16="http://schemas.microsoft.com/office/drawing/2014/chart" uri="{C3380CC4-5D6E-409C-BE32-E72D297353CC}">
                <c16:uniqueId val="{00000263-7B8A-44CE-B0AF-B4D4D3438E61}"/>
              </c:ext>
            </c:extLst>
          </c:dPt>
          <c:dPt>
            <c:idx val="305"/>
            <c:invertIfNegative val="1"/>
            <c:bubble3D val="0"/>
            <c:spPr>
              <a:solidFill>
                <a:srgbClr val="7ECAC4"/>
              </a:solidFill>
            </c:spPr>
            <c:extLst>
              <c:ext xmlns:c16="http://schemas.microsoft.com/office/drawing/2014/chart" uri="{C3380CC4-5D6E-409C-BE32-E72D297353CC}">
                <c16:uniqueId val="{00000265-7B8A-44CE-B0AF-B4D4D3438E61}"/>
              </c:ext>
            </c:extLst>
          </c:dPt>
          <c:dPt>
            <c:idx val="306"/>
            <c:invertIfNegative val="1"/>
            <c:bubble3D val="0"/>
            <c:spPr>
              <a:solidFill>
                <a:srgbClr val="7ECAC4"/>
              </a:solidFill>
            </c:spPr>
            <c:extLst>
              <c:ext xmlns:c16="http://schemas.microsoft.com/office/drawing/2014/chart" uri="{C3380CC4-5D6E-409C-BE32-E72D297353CC}">
                <c16:uniqueId val="{00000267-7B8A-44CE-B0AF-B4D4D3438E61}"/>
              </c:ext>
            </c:extLst>
          </c:dPt>
          <c:dPt>
            <c:idx val="307"/>
            <c:invertIfNegative val="1"/>
            <c:bubble3D val="0"/>
            <c:spPr>
              <a:solidFill>
                <a:srgbClr val="7ECAC4"/>
              </a:solidFill>
            </c:spPr>
            <c:extLst>
              <c:ext xmlns:c16="http://schemas.microsoft.com/office/drawing/2014/chart" uri="{C3380CC4-5D6E-409C-BE32-E72D297353CC}">
                <c16:uniqueId val="{00000269-7B8A-44CE-B0AF-B4D4D3438E61}"/>
              </c:ext>
            </c:extLst>
          </c:dPt>
          <c:dPt>
            <c:idx val="308"/>
            <c:invertIfNegative val="1"/>
            <c:bubble3D val="0"/>
            <c:spPr>
              <a:solidFill>
                <a:srgbClr val="7ECAC4"/>
              </a:solidFill>
            </c:spPr>
            <c:extLst>
              <c:ext xmlns:c16="http://schemas.microsoft.com/office/drawing/2014/chart" uri="{C3380CC4-5D6E-409C-BE32-E72D297353CC}">
                <c16:uniqueId val="{0000026B-7B8A-44CE-B0AF-B4D4D3438E61}"/>
              </c:ext>
            </c:extLst>
          </c:dPt>
          <c:dPt>
            <c:idx val="309"/>
            <c:invertIfNegative val="1"/>
            <c:bubble3D val="0"/>
            <c:spPr>
              <a:solidFill>
                <a:srgbClr val="7ECAC4"/>
              </a:solidFill>
            </c:spPr>
            <c:extLst>
              <c:ext xmlns:c16="http://schemas.microsoft.com/office/drawing/2014/chart" uri="{C3380CC4-5D6E-409C-BE32-E72D297353CC}">
                <c16:uniqueId val="{0000026D-7B8A-44CE-B0AF-B4D4D3438E61}"/>
              </c:ext>
            </c:extLst>
          </c:dPt>
          <c:dPt>
            <c:idx val="310"/>
            <c:invertIfNegative val="1"/>
            <c:bubble3D val="0"/>
            <c:spPr>
              <a:solidFill>
                <a:srgbClr val="7ECAC4"/>
              </a:solidFill>
            </c:spPr>
            <c:extLst>
              <c:ext xmlns:c16="http://schemas.microsoft.com/office/drawing/2014/chart" uri="{C3380CC4-5D6E-409C-BE32-E72D297353CC}">
                <c16:uniqueId val="{0000026F-7B8A-44CE-B0AF-B4D4D3438E61}"/>
              </c:ext>
            </c:extLst>
          </c:dPt>
          <c:dPt>
            <c:idx val="311"/>
            <c:invertIfNegative val="1"/>
            <c:bubble3D val="0"/>
            <c:spPr>
              <a:solidFill>
                <a:srgbClr val="7ECAC4"/>
              </a:solidFill>
            </c:spPr>
            <c:extLst>
              <c:ext xmlns:c16="http://schemas.microsoft.com/office/drawing/2014/chart" uri="{C3380CC4-5D6E-409C-BE32-E72D297353CC}">
                <c16:uniqueId val="{00000271-7B8A-44CE-B0AF-B4D4D3438E61}"/>
              </c:ext>
            </c:extLst>
          </c:dPt>
          <c:dPt>
            <c:idx val="312"/>
            <c:invertIfNegative val="1"/>
            <c:bubble3D val="0"/>
            <c:spPr>
              <a:solidFill>
                <a:srgbClr val="7ECAC4"/>
              </a:solidFill>
            </c:spPr>
            <c:extLst>
              <c:ext xmlns:c16="http://schemas.microsoft.com/office/drawing/2014/chart" uri="{C3380CC4-5D6E-409C-BE32-E72D297353CC}">
                <c16:uniqueId val="{00000273-7B8A-44CE-B0AF-B4D4D3438E61}"/>
              </c:ext>
            </c:extLst>
          </c:dPt>
          <c:dPt>
            <c:idx val="313"/>
            <c:invertIfNegative val="1"/>
            <c:bubble3D val="0"/>
            <c:spPr>
              <a:solidFill>
                <a:srgbClr val="7ECAC4"/>
              </a:solidFill>
            </c:spPr>
            <c:extLst>
              <c:ext xmlns:c16="http://schemas.microsoft.com/office/drawing/2014/chart" uri="{C3380CC4-5D6E-409C-BE32-E72D297353CC}">
                <c16:uniqueId val="{00000275-7B8A-44CE-B0AF-B4D4D3438E61}"/>
              </c:ext>
            </c:extLst>
          </c:dPt>
          <c:dPt>
            <c:idx val="314"/>
            <c:invertIfNegative val="1"/>
            <c:bubble3D val="0"/>
            <c:spPr>
              <a:solidFill>
                <a:srgbClr val="7ECAC4"/>
              </a:solidFill>
            </c:spPr>
            <c:extLst>
              <c:ext xmlns:c16="http://schemas.microsoft.com/office/drawing/2014/chart" uri="{C3380CC4-5D6E-409C-BE32-E72D297353CC}">
                <c16:uniqueId val="{00000277-7B8A-44CE-B0AF-B4D4D3438E61}"/>
              </c:ext>
            </c:extLst>
          </c:dPt>
          <c:dPt>
            <c:idx val="315"/>
            <c:invertIfNegative val="1"/>
            <c:bubble3D val="0"/>
            <c:spPr>
              <a:solidFill>
                <a:srgbClr val="7ECAC4"/>
              </a:solidFill>
            </c:spPr>
            <c:extLst>
              <c:ext xmlns:c16="http://schemas.microsoft.com/office/drawing/2014/chart" uri="{C3380CC4-5D6E-409C-BE32-E72D297353CC}">
                <c16:uniqueId val="{00000279-7B8A-44CE-B0AF-B4D4D3438E61}"/>
              </c:ext>
            </c:extLst>
          </c:dPt>
          <c:dPt>
            <c:idx val="316"/>
            <c:invertIfNegative val="1"/>
            <c:bubble3D val="0"/>
            <c:spPr>
              <a:solidFill>
                <a:srgbClr val="7ECAC4"/>
              </a:solidFill>
            </c:spPr>
            <c:extLst>
              <c:ext xmlns:c16="http://schemas.microsoft.com/office/drawing/2014/chart" uri="{C3380CC4-5D6E-409C-BE32-E72D297353CC}">
                <c16:uniqueId val="{0000027B-7B8A-44CE-B0AF-B4D4D3438E61}"/>
              </c:ext>
            </c:extLst>
          </c:dPt>
          <c:dPt>
            <c:idx val="317"/>
            <c:invertIfNegative val="1"/>
            <c:bubble3D val="0"/>
            <c:spPr>
              <a:solidFill>
                <a:srgbClr val="7ECAC4"/>
              </a:solidFill>
            </c:spPr>
            <c:extLst>
              <c:ext xmlns:c16="http://schemas.microsoft.com/office/drawing/2014/chart" uri="{C3380CC4-5D6E-409C-BE32-E72D297353CC}">
                <c16:uniqueId val="{0000027D-7B8A-44CE-B0AF-B4D4D3438E61}"/>
              </c:ext>
            </c:extLst>
          </c:dPt>
          <c:dPt>
            <c:idx val="318"/>
            <c:invertIfNegative val="1"/>
            <c:bubble3D val="0"/>
            <c:spPr>
              <a:solidFill>
                <a:srgbClr val="7ECAC4"/>
              </a:solidFill>
            </c:spPr>
            <c:extLst>
              <c:ext xmlns:c16="http://schemas.microsoft.com/office/drawing/2014/chart" uri="{C3380CC4-5D6E-409C-BE32-E72D297353CC}">
                <c16:uniqueId val="{0000027F-7B8A-44CE-B0AF-B4D4D3438E61}"/>
              </c:ext>
            </c:extLst>
          </c:dPt>
          <c:dPt>
            <c:idx val="319"/>
            <c:invertIfNegative val="1"/>
            <c:bubble3D val="0"/>
            <c:spPr>
              <a:solidFill>
                <a:srgbClr val="7ECAC4"/>
              </a:solidFill>
            </c:spPr>
            <c:extLst>
              <c:ext xmlns:c16="http://schemas.microsoft.com/office/drawing/2014/chart" uri="{C3380CC4-5D6E-409C-BE32-E72D297353CC}">
                <c16:uniqueId val="{00000281-7B8A-44CE-B0AF-B4D4D3438E61}"/>
              </c:ext>
            </c:extLst>
          </c:dPt>
          <c:dPt>
            <c:idx val="320"/>
            <c:invertIfNegative val="1"/>
            <c:bubble3D val="0"/>
            <c:spPr>
              <a:solidFill>
                <a:srgbClr val="7ECAC4"/>
              </a:solidFill>
            </c:spPr>
            <c:extLst>
              <c:ext xmlns:c16="http://schemas.microsoft.com/office/drawing/2014/chart" uri="{C3380CC4-5D6E-409C-BE32-E72D297353CC}">
                <c16:uniqueId val="{00000283-7B8A-44CE-B0AF-B4D4D3438E61}"/>
              </c:ext>
            </c:extLst>
          </c:dPt>
          <c:dPt>
            <c:idx val="321"/>
            <c:invertIfNegative val="1"/>
            <c:bubble3D val="0"/>
            <c:spPr>
              <a:solidFill>
                <a:srgbClr val="7ECAC4"/>
              </a:solidFill>
            </c:spPr>
            <c:extLst>
              <c:ext xmlns:c16="http://schemas.microsoft.com/office/drawing/2014/chart" uri="{C3380CC4-5D6E-409C-BE32-E72D297353CC}">
                <c16:uniqueId val="{00000285-7B8A-44CE-B0AF-B4D4D3438E61}"/>
              </c:ext>
            </c:extLst>
          </c:dPt>
          <c:dPt>
            <c:idx val="322"/>
            <c:invertIfNegative val="1"/>
            <c:bubble3D val="0"/>
            <c:spPr>
              <a:solidFill>
                <a:srgbClr val="7ECAC4"/>
              </a:solidFill>
            </c:spPr>
            <c:extLst>
              <c:ext xmlns:c16="http://schemas.microsoft.com/office/drawing/2014/chart" uri="{C3380CC4-5D6E-409C-BE32-E72D297353CC}">
                <c16:uniqueId val="{00000287-7B8A-44CE-B0AF-B4D4D3438E61}"/>
              </c:ext>
            </c:extLst>
          </c:dPt>
          <c:dPt>
            <c:idx val="323"/>
            <c:invertIfNegative val="1"/>
            <c:bubble3D val="0"/>
            <c:spPr>
              <a:solidFill>
                <a:srgbClr val="7ECAC4"/>
              </a:solidFill>
            </c:spPr>
            <c:extLst>
              <c:ext xmlns:c16="http://schemas.microsoft.com/office/drawing/2014/chart" uri="{C3380CC4-5D6E-409C-BE32-E72D297353CC}">
                <c16:uniqueId val="{00000289-7B8A-44CE-B0AF-B4D4D3438E61}"/>
              </c:ext>
            </c:extLst>
          </c:dPt>
          <c:dPt>
            <c:idx val="324"/>
            <c:invertIfNegative val="1"/>
            <c:bubble3D val="0"/>
            <c:spPr>
              <a:solidFill>
                <a:srgbClr val="7ECAC4"/>
              </a:solidFill>
            </c:spPr>
            <c:extLst>
              <c:ext xmlns:c16="http://schemas.microsoft.com/office/drawing/2014/chart" uri="{C3380CC4-5D6E-409C-BE32-E72D297353CC}">
                <c16:uniqueId val="{0000028B-7B8A-44CE-B0AF-B4D4D3438E61}"/>
              </c:ext>
            </c:extLst>
          </c:dPt>
          <c:dPt>
            <c:idx val="325"/>
            <c:invertIfNegative val="1"/>
            <c:bubble3D val="0"/>
            <c:spPr>
              <a:solidFill>
                <a:srgbClr val="7ECAC4"/>
              </a:solidFill>
            </c:spPr>
            <c:extLst>
              <c:ext xmlns:c16="http://schemas.microsoft.com/office/drawing/2014/chart" uri="{C3380CC4-5D6E-409C-BE32-E72D297353CC}">
                <c16:uniqueId val="{0000028D-7B8A-44CE-B0AF-B4D4D3438E61}"/>
              </c:ext>
            </c:extLst>
          </c:dPt>
          <c:dPt>
            <c:idx val="326"/>
            <c:invertIfNegative val="1"/>
            <c:bubble3D val="0"/>
            <c:spPr>
              <a:solidFill>
                <a:srgbClr val="7ECAC4"/>
              </a:solidFill>
            </c:spPr>
            <c:extLst>
              <c:ext xmlns:c16="http://schemas.microsoft.com/office/drawing/2014/chart" uri="{C3380CC4-5D6E-409C-BE32-E72D297353CC}">
                <c16:uniqueId val="{0000028F-7B8A-44CE-B0AF-B4D4D3438E61}"/>
              </c:ext>
            </c:extLst>
          </c:dPt>
          <c:dPt>
            <c:idx val="327"/>
            <c:invertIfNegative val="1"/>
            <c:bubble3D val="0"/>
            <c:spPr>
              <a:solidFill>
                <a:srgbClr val="7ECAC4"/>
              </a:solidFill>
            </c:spPr>
            <c:extLst>
              <c:ext xmlns:c16="http://schemas.microsoft.com/office/drawing/2014/chart" uri="{C3380CC4-5D6E-409C-BE32-E72D297353CC}">
                <c16:uniqueId val="{00000291-7B8A-44CE-B0AF-B4D4D3438E61}"/>
              </c:ext>
            </c:extLst>
          </c:dPt>
          <c:dPt>
            <c:idx val="328"/>
            <c:invertIfNegative val="1"/>
            <c:bubble3D val="0"/>
            <c:spPr>
              <a:solidFill>
                <a:srgbClr val="7ECAC4"/>
              </a:solidFill>
            </c:spPr>
            <c:extLst>
              <c:ext xmlns:c16="http://schemas.microsoft.com/office/drawing/2014/chart" uri="{C3380CC4-5D6E-409C-BE32-E72D297353CC}">
                <c16:uniqueId val="{00000293-7B8A-44CE-B0AF-B4D4D3438E61}"/>
              </c:ext>
            </c:extLst>
          </c:dPt>
          <c:dPt>
            <c:idx val="329"/>
            <c:invertIfNegative val="1"/>
            <c:bubble3D val="0"/>
            <c:spPr>
              <a:solidFill>
                <a:srgbClr val="7ECAC4"/>
              </a:solidFill>
            </c:spPr>
            <c:extLst>
              <c:ext xmlns:c16="http://schemas.microsoft.com/office/drawing/2014/chart" uri="{C3380CC4-5D6E-409C-BE32-E72D297353CC}">
                <c16:uniqueId val="{00000295-7B8A-44CE-B0AF-B4D4D3438E61}"/>
              </c:ext>
            </c:extLst>
          </c:dPt>
          <c:dPt>
            <c:idx val="330"/>
            <c:invertIfNegative val="1"/>
            <c:bubble3D val="0"/>
            <c:spPr>
              <a:solidFill>
                <a:srgbClr val="7ECAC4"/>
              </a:solidFill>
            </c:spPr>
            <c:extLst>
              <c:ext xmlns:c16="http://schemas.microsoft.com/office/drawing/2014/chart" uri="{C3380CC4-5D6E-409C-BE32-E72D297353CC}">
                <c16:uniqueId val="{00000297-7B8A-44CE-B0AF-B4D4D3438E61}"/>
              </c:ext>
            </c:extLst>
          </c:dPt>
          <c:dPt>
            <c:idx val="331"/>
            <c:invertIfNegative val="1"/>
            <c:bubble3D val="0"/>
            <c:spPr>
              <a:solidFill>
                <a:srgbClr val="7ECAC4"/>
              </a:solidFill>
            </c:spPr>
            <c:extLst>
              <c:ext xmlns:c16="http://schemas.microsoft.com/office/drawing/2014/chart" uri="{C3380CC4-5D6E-409C-BE32-E72D297353CC}">
                <c16:uniqueId val="{00000299-7B8A-44CE-B0AF-B4D4D3438E61}"/>
              </c:ext>
            </c:extLst>
          </c:dPt>
          <c:dPt>
            <c:idx val="332"/>
            <c:invertIfNegative val="1"/>
            <c:bubble3D val="0"/>
            <c:spPr>
              <a:solidFill>
                <a:srgbClr val="7ECAC4"/>
              </a:solidFill>
            </c:spPr>
            <c:extLst>
              <c:ext xmlns:c16="http://schemas.microsoft.com/office/drawing/2014/chart" uri="{C3380CC4-5D6E-409C-BE32-E72D297353CC}">
                <c16:uniqueId val="{0000029B-7B8A-44CE-B0AF-B4D4D3438E61}"/>
              </c:ext>
            </c:extLst>
          </c:dPt>
          <c:dPt>
            <c:idx val="333"/>
            <c:invertIfNegative val="1"/>
            <c:bubble3D val="0"/>
            <c:spPr>
              <a:solidFill>
                <a:srgbClr val="7ECAC4"/>
              </a:solidFill>
            </c:spPr>
            <c:extLst>
              <c:ext xmlns:c16="http://schemas.microsoft.com/office/drawing/2014/chart" uri="{C3380CC4-5D6E-409C-BE32-E72D297353CC}">
                <c16:uniqueId val="{0000029D-7B8A-44CE-B0AF-B4D4D3438E61}"/>
              </c:ext>
            </c:extLst>
          </c:dPt>
          <c:dPt>
            <c:idx val="334"/>
            <c:invertIfNegative val="1"/>
            <c:bubble3D val="0"/>
            <c:spPr>
              <a:solidFill>
                <a:srgbClr val="7ECAC4"/>
              </a:solidFill>
            </c:spPr>
            <c:extLst>
              <c:ext xmlns:c16="http://schemas.microsoft.com/office/drawing/2014/chart" uri="{C3380CC4-5D6E-409C-BE32-E72D297353CC}">
                <c16:uniqueId val="{0000029F-7B8A-44CE-B0AF-B4D4D3438E61}"/>
              </c:ext>
            </c:extLst>
          </c:dPt>
          <c:dPt>
            <c:idx val="335"/>
            <c:invertIfNegative val="1"/>
            <c:bubble3D val="0"/>
            <c:spPr>
              <a:solidFill>
                <a:srgbClr val="7ECAC4"/>
              </a:solidFill>
            </c:spPr>
            <c:extLst>
              <c:ext xmlns:c16="http://schemas.microsoft.com/office/drawing/2014/chart" uri="{C3380CC4-5D6E-409C-BE32-E72D297353CC}">
                <c16:uniqueId val="{000002A1-7B8A-44CE-B0AF-B4D4D3438E61}"/>
              </c:ext>
            </c:extLst>
          </c:dPt>
          <c:dPt>
            <c:idx val="336"/>
            <c:invertIfNegative val="1"/>
            <c:bubble3D val="0"/>
            <c:spPr>
              <a:solidFill>
                <a:srgbClr val="7ECAC4"/>
              </a:solidFill>
            </c:spPr>
            <c:extLst>
              <c:ext xmlns:c16="http://schemas.microsoft.com/office/drawing/2014/chart" uri="{C3380CC4-5D6E-409C-BE32-E72D297353CC}">
                <c16:uniqueId val="{000002A3-7B8A-44CE-B0AF-B4D4D3438E61}"/>
              </c:ext>
            </c:extLst>
          </c:dPt>
          <c:dPt>
            <c:idx val="337"/>
            <c:invertIfNegative val="1"/>
            <c:bubble3D val="0"/>
            <c:spPr>
              <a:solidFill>
                <a:srgbClr val="7ECAC4"/>
              </a:solidFill>
            </c:spPr>
            <c:extLst>
              <c:ext xmlns:c16="http://schemas.microsoft.com/office/drawing/2014/chart" uri="{C3380CC4-5D6E-409C-BE32-E72D297353CC}">
                <c16:uniqueId val="{000002A5-7B8A-44CE-B0AF-B4D4D3438E61}"/>
              </c:ext>
            </c:extLst>
          </c:dPt>
          <c:dPt>
            <c:idx val="338"/>
            <c:invertIfNegative val="1"/>
            <c:bubble3D val="0"/>
            <c:spPr>
              <a:solidFill>
                <a:srgbClr val="7ECAC4"/>
              </a:solidFill>
            </c:spPr>
            <c:extLst>
              <c:ext xmlns:c16="http://schemas.microsoft.com/office/drawing/2014/chart" uri="{C3380CC4-5D6E-409C-BE32-E72D297353CC}">
                <c16:uniqueId val="{000002A7-7B8A-44CE-B0AF-B4D4D3438E61}"/>
              </c:ext>
            </c:extLst>
          </c:dPt>
          <c:dPt>
            <c:idx val="339"/>
            <c:invertIfNegative val="1"/>
            <c:bubble3D val="0"/>
            <c:spPr>
              <a:solidFill>
                <a:srgbClr val="7ECAC4"/>
              </a:solidFill>
            </c:spPr>
            <c:extLst>
              <c:ext xmlns:c16="http://schemas.microsoft.com/office/drawing/2014/chart" uri="{C3380CC4-5D6E-409C-BE32-E72D297353CC}">
                <c16:uniqueId val="{000002A9-7B8A-44CE-B0AF-B4D4D3438E61}"/>
              </c:ext>
            </c:extLst>
          </c:dPt>
          <c:dPt>
            <c:idx val="340"/>
            <c:invertIfNegative val="1"/>
            <c:bubble3D val="0"/>
            <c:spPr>
              <a:solidFill>
                <a:srgbClr val="7ECAC4"/>
              </a:solidFill>
            </c:spPr>
            <c:extLst>
              <c:ext xmlns:c16="http://schemas.microsoft.com/office/drawing/2014/chart" uri="{C3380CC4-5D6E-409C-BE32-E72D297353CC}">
                <c16:uniqueId val="{000002AB-7B8A-44CE-B0AF-B4D4D3438E61}"/>
              </c:ext>
            </c:extLst>
          </c:dPt>
          <c:dPt>
            <c:idx val="341"/>
            <c:invertIfNegative val="1"/>
            <c:bubble3D val="0"/>
            <c:spPr>
              <a:solidFill>
                <a:srgbClr val="7ECAC4"/>
              </a:solidFill>
            </c:spPr>
            <c:extLst>
              <c:ext xmlns:c16="http://schemas.microsoft.com/office/drawing/2014/chart" uri="{C3380CC4-5D6E-409C-BE32-E72D297353CC}">
                <c16:uniqueId val="{000002AD-7B8A-44CE-B0AF-B4D4D3438E61}"/>
              </c:ext>
            </c:extLst>
          </c:dPt>
          <c:dPt>
            <c:idx val="342"/>
            <c:invertIfNegative val="1"/>
            <c:bubble3D val="0"/>
            <c:spPr>
              <a:solidFill>
                <a:srgbClr val="7ECAC4"/>
              </a:solidFill>
            </c:spPr>
            <c:extLst>
              <c:ext xmlns:c16="http://schemas.microsoft.com/office/drawing/2014/chart" uri="{C3380CC4-5D6E-409C-BE32-E72D297353CC}">
                <c16:uniqueId val="{000002AF-7B8A-44CE-B0AF-B4D4D3438E61}"/>
              </c:ext>
            </c:extLst>
          </c:dPt>
          <c:dPt>
            <c:idx val="343"/>
            <c:invertIfNegative val="1"/>
            <c:bubble3D val="0"/>
            <c:spPr>
              <a:solidFill>
                <a:srgbClr val="7ECAC4"/>
              </a:solidFill>
            </c:spPr>
            <c:extLst>
              <c:ext xmlns:c16="http://schemas.microsoft.com/office/drawing/2014/chart" uri="{C3380CC4-5D6E-409C-BE32-E72D297353CC}">
                <c16:uniqueId val="{000002B1-7B8A-44CE-B0AF-B4D4D3438E61}"/>
              </c:ext>
            </c:extLst>
          </c:dPt>
          <c:dPt>
            <c:idx val="344"/>
            <c:invertIfNegative val="1"/>
            <c:bubble3D val="0"/>
            <c:spPr>
              <a:solidFill>
                <a:srgbClr val="7ECAC4"/>
              </a:solidFill>
            </c:spPr>
            <c:extLst>
              <c:ext xmlns:c16="http://schemas.microsoft.com/office/drawing/2014/chart" uri="{C3380CC4-5D6E-409C-BE32-E72D297353CC}">
                <c16:uniqueId val="{000002B3-7B8A-44CE-B0AF-B4D4D3438E61}"/>
              </c:ext>
            </c:extLst>
          </c:dPt>
          <c:dPt>
            <c:idx val="345"/>
            <c:invertIfNegative val="1"/>
            <c:bubble3D val="0"/>
            <c:spPr>
              <a:solidFill>
                <a:srgbClr val="7ECAC4"/>
              </a:solidFill>
            </c:spPr>
            <c:extLst>
              <c:ext xmlns:c16="http://schemas.microsoft.com/office/drawing/2014/chart" uri="{C3380CC4-5D6E-409C-BE32-E72D297353CC}">
                <c16:uniqueId val="{000002B5-7B8A-44CE-B0AF-B4D4D3438E61}"/>
              </c:ext>
            </c:extLst>
          </c:dPt>
          <c:dPt>
            <c:idx val="346"/>
            <c:invertIfNegative val="1"/>
            <c:bubble3D val="0"/>
            <c:spPr>
              <a:solidFill>
                <a:srgbClr val="7ECAC4"/>
              </a:solidFill>
            </c:spPr>
            <c:extLst>
              <c:ext xmlns:c16="http://schemas.microsoft.com/office/drawing/2014/chart" uri="{C3380CC4-5D6E-409C-BE32-E72D297353CC}">
                <c16:uniqueId val="{000002B7-7B8A-44CE-B0AF-B4D4D3438E61}"/>
              </c:ext>
            </c:extLst>
          </c:dPt>
          <c:dPt>
            <c:idx val="347"/>
            <c:invertIfNegative val="1"/>
            <c:bubble3D val="0"/>
            <c:spPr>
              <a:solidFill>
                <a:srgbClr val="7ECAC4"/>
              </a:solidFill>
            </c:spPr>
            <c:extLst>
              <c:ext xmlns:c16="http://schemas.microsoft.com/office/drawing/2014/chart" uri="{C3380CC4-5D6E-409C-BE32-E72D297353CC}">
                <c16:uniqueId val="{000002B9-7B8A-44CE-B0AF-B4D4D3438E61}"/>
              </c:ext>
            </c:extLst>
          </c:dPt>
          <c:dPt>
            <c:idx val="348"/>
            <c:invertIfNegative val="1"/>
            <c:bubble3D val="0"/>
            <c:spPr>
              <a:solidFill>
                <a:srgbClr val="7ECAC4"/>
              </a:solidFill>
            </c:spPr>
            <c:extLst>
              <c:ext xmlns:c16="http://schemas.microsoft.com/office/drawing/2014/chart" uri="{C3380CC4-5D6E-409C-BE32-E72D297353CC}">
                <c16:uniqueId val="{000002BB-7B8A-44CE-B0AF-B4D4D3438E61}"/>
              </c:ext>
            </c:extLst>
          </c:dPt>
          <c:dPt>
            <c:idx val="349"/>
            <c:invertIfNegative val="1"/>
            <c:bubble3D val="0"/>
            <c:spPr>
              <a:solidFill>
                <a:srgbClr val="7ECAC4"/>
              </a:solidFill>
            </c:spPr>
            <c:extLst>
              <c:ext xmlns:c16="http://schemas.microsoft.com/office/drawing/2014/chart" uri="{C3380CC4-5D6E-409C-BE32-E72D297353CC}">
                <c16:uniqueId val="{000002BD-7B8A-44CE-B0AF-B4D4D3438E61}"/>
              </c:ext>
            </c:extLst>
          </c:dPt>
          <c:dPt>
            <c:idx val="350"/>
            <c:invertIfNegative val="1"/>
            <c:bubble3D val="0"/>
            <c:spPr>
              <a:solidFill>
                <a:srgbClr val="7ECAC4"/>
              </a:solidFill>
            </c:spPr>
            <c:extLst>
              <c:ext xmlns:c16="http://schemas.microsoft.com/office/drawing/2014/chart" uri="{C3380CC4-5D6E-409C-BE32-E72D297353CC}">
                <c16:uniqueId val="{000002BF-7B8A-44CE-B0AF-B4D4D3438E61}"/>
              </c:ext>
            </c:extLst>
          </c:dPt>
          <c:dPt>
            <c:idx val="351"/>
            <c:invertIfNegative val="1"/>
            <c:bubble3D val="0"/>
            <c:spPr>
              <a:solidFill>
                <a:srgbClr val="7ECAC4"/>
              </a:solidFill>
            </c:spPr>
            <c:extLst>
              <c:ext xmlns:c16="http://schemas.microsoft.com/office/drawing/2014/chart" uri="{C3380CC4-5D6E-409C-BE32-E72D297353CC}">
                <c16:uniqueId val="{000002C1-7B8A-44CE-B0AF-B4D4D3438E61}"/>
              </c:ext>
            </c:extLst>
          </c:dPt>
          <c:dPt>
            <c:idx val="352"/>
            <c:invertIfNegative val="1"/>
            <c:bubble3D val="0"/>
            <c:spPr>
              <a:solidFill>
                <a:srgbClr val="7ECAC4"/>
              </a:solidFill>
            </c:spPr>
            <c:extLst>
              <c:ext xmlns:c16="http://schemas.microsoft.com/office/drawing/2014/chart" uri="{C3380CC4-5D6E-409C-BE32-E72D297353CC}">
                <c16:uniqueId val="{000002C3-7B8A-44CE-B0AF-B4D4D3438E61}"/>
              </c:ext>
            </c:extLst>
          </c:dPt>
          <c:dPt>
            <c:idx val="353"/>
            <c:invertIfNegative val="1"/>
            <c:bubble3D val="0"/>
            <c:spPr>
              <a:solidFill>
                <a:srgbClr val="7ECAC4"/>
              </a:solidFill>
            </c:spPr>
            <c:extLst>
              <c:ext xmlns:c16="http://schemas.microsoft.com/office/drawing/2014/chart" uri="{C3380CC4-5D6E-409C-BE32-E72D297353CC}">
                <c16:uniqueId val="{000002C5-7B8A-44CE-B0AF-B4D4D3438E61}"/>
              </c:ext>
            </c:extLst>
          </c:dPt>
          <c:dPt>
            <c:idx val="354"/>
            <c:invertIfNegative val="1"/>
            <c:bubble3D val="0"/>
            <c:spPr>
              <a:solidFill>
                <a:srgbClr val="7ECAC4"/>
              </a:solidFill>
            </c:spPr>
            <c:extLst>
              <c:ext xmlns:c16="http://schemas.microsoft.com/office/drawing/2014/chart" uri="{C3380CC4-5D6E-409C-BE32-E72D297353CC}">
                <c16:uniqueId val="{000002C7-7B8A-44CE-B0AF-B4D4D3438E61}"/>
              </c:ext>
            </c:extLst>
          </c:dPt>
          <c:dPt>
            <c:idx val="355"/>
            <c:invertIfNegative val="1"/>
            <c:bubble3D val="0"/>
            <c:spPr>
              <a:solidFill>
                <a:srgbClr val="7ECAC4"/>
              </a:solidFill>
            </c:spPr>
            <c:extLst>
              <c:ext xmlns:c16="http://schemas.microsoft.com/office/drawing/2014/chart" uri="{C3380CC4-5D6E-409C-BE32-E72D297353CC}">
                <c16:uniqueId val="{000002C9-7B8A-44CE-B0AF-B4D4D3438E61}"/>
              </c:ext>
            </c:extLst>
          </c:dPt>
          <c:dPt>
            <c:idx val="356"/>
            <c:invertIfNegative val="1"/>
            <c:bubble3D val="0"/>
            <c:spPr>
              <a:solidFill>
                <a:srgbClr val="7ECAC4"/>
              </a:solidFill>
            </c:spPr>
            <c:extLst>
              <c:ext xmlns:c16="http://schemas.microsoft.com/office/drawing/2014/chart" uri="{C3380CC4-5D6E-409C-BE32-E72D297353CC}">
                <c16:uniqueId val="{000002CB-7B8A-44CE-B0AF-B4D4D3438E61}"/>
              </c:ext>
            </c:extLst>
          </c:dPt>
          <c:dPt>
            <c:idx val="357"/>
            <c:invertIfNegative val="1"/>
            <c:bubble3D val="0"/>
            <c:spPr>
              <a:solidFill>
                <a:srgbClr val="7ECAC4"/>
              </a:solidFill>
            </c:spPr>
            <c:extLst>
              <c:ext xmlns:c16="http://schemas.microsoft.com/office/drawing/2014/chart" uri="{C3380CC4-5D6E-409C-BE32-E72D297353CC}">
                <c16:uniqueId val="{000002CD-7B8A-44CE-B0AF-B4D4D3438E61}"/>
              </c:ext>
            </c:extLst>
          </c:dPt>
          <c:dPt>
            <c:idx val="358"/>
            <c:invertIfNegative val="1"/>
            <c:bubble3D val="0"/>
            <c:spPr>
              <a:solidFill>
                <a:srgbClr val="7ECAC4"/>
              </a:solidFill>
            </c:spPr>
            <c:extLst>
              <c:ext xmlns:c16="http://schemas.microsoft.com/office/drawing/2014/chart" uri="{C3380CC4-5D6E-409C-BE32-E72D297353CC}">
                <c16:uniqueId val="{000002CF-7B8A-44CE-B0AF-B4D4D3438E61}"/>
              </c:ext>
            </c:extLst>
          </c:dPt>
          <c:dPt>
            <c:idx val="359"/>
            <c:invertIfNegative val="1"/>
            <c:bubble3D val="0"/>
            <c:spPr>
              <a:solidFill>
                <a:srgbClr val="7ECAC4"/>
              </a:solidFill>
            </c:spPr>
            <c:extLst>
              <c:ext xmlns:c16="http://schemas.microsoft.com/office/drawing/2014/chart" uri="{C3380CC4-5D6E-409C-BE32-E72D297353CC}">
                <c16:uniqueId val="{000002D1-7B8A-44CE-B0AF-B4D4D3438E61}"/>
              </c:ext>
            </c:extLst>
          </c:dPt>
          <c:dPt>
            <c:idx val="360"/>
            <c:invertIfNegative val="1"/>
            <c:bubble3D val="0"/>
            <c:spPr>
              <a:solidFill>
                <a:srgbClr val="7ECAC4"/>
              </a:solidFill>
            </c:spPr>
            <c:extLst>
              <c:ext xmlns:c16="http://schemas.microsoft.com/office/drawing/2014/chart" uri="{C3380CC4-5D6E-409C-BE32-E72D297353CC}">
                <c16:uniqueId val="{000002D3-7B8A-44CE-B0AF-B4D4D3438E61}"/>
              </c:ext>
            </c:extLst>
          </c:dPt>
          <c:dPt>
            <c:idx val="361"/>
            <c:invertIfNegative val="1"/>
            <c:bubble3D val="0"/>
            <c:spPr>
              <a:solidFill>
                <a:srgbClr val="7ECAC4"/>
              </a:solidFill>
            </c:spPr>
            <c:extLst>
              <c:ext xmlns:c16="http://schemas.microsoft.com/office/drawing/2014/chart" uri="{C3380CC4-5D6E-409C-BE32-E72D297353CC}">
                <c16:uniqueId val="{000002D5-7B8A-44CE-B0AF-B4D4D3438E61}"/>
              </c:ext>
            </c:extLst>
          </c:dPt>
          <c:dPt>
            <c:idx val="362"/>
            <c:invertIfNegative val="1"/>
            <c:bubble3D val="0"/>
            <c:spPr>
              <a:solidFill>
                <a:srgbClr val="7ECAC4"/>
              </a:solidFill>
            </c:spPr>
            <c:extLst>
              <c:ext xmlns:c16="http://schemas.microsoft.com/office/drawing/2014/chart" uri="{C3380CC4-5D6E-409C-BE32-E72D297353CC}">
                <c16:uniqueId val="{000002D7-7B8A-44CE-B0AF-B4D4D3438E61}"/>
              </c:ext>
            </c:extLst>
          </c:dPt>
          <c:dPt>
            <c:idx val="363"/>
            <c:invertIfNegative val="1"/>
            <c:bubble3D val="0"/>
            <c:spPr>
              <a:solidFill>
                <a:srgbClr val="7ECAC4"/>
              </a:solidFill>
            </c:spPr>
            <c:extLst>
              <c:ext xmlns:c16="http://schemas.microsoft.com/office/drawing/2014/chart" uri="{C3380CC4-5D6E-409C-BE32-E72D297353CC}">
                <c16:uniqueId val="{000002D9-7B8A-44CE-B0AF-B4D4D3438E61}"/>
              </c:ext>
            </c:extLst>
          </c:dPt>
          <c:dPt>
            <c:idx val="364"/>
            <c:invertIfNegative val="1"/>
            <c:bubble3D val="0"/>
            <c:spPr>
              <a:solidFill>
                <a:srgbClr val="7ECAC4"/>
              </a:solidFill>
            </c:spPr>
            <c:extLst>
              <c:ext xmlns:c16="http://schemas.microsoft.com/office/drawing/2014/chart" uri="{C3380CC4-5D6E-409C-BE32-E72D297353CC}">
                <c16:uniqueId val="{000002DB-7B8A-44CE-B0AF-B4D4D3438E61}"/>
              </c:ext>
            </c:extLst>
          </c:dPt>
          <c:dPt>
            <c:idx val="365"/>
            <c:invertIfNegative val="1"/>
            <c:bubble3D val="0"/>
            <c:spPr>
              <a:solidFill>
                <a:srgbClr val="7ECAC4"/>
              </a:solidFill>
            </c:spPr>
            <c:extLst>
              <c:ext xmlns:c16="http://schemas.microsoft.com/office/drawing/2014/chart" uri="{C3380CC4-5D6E-409C-BE32-E72D297353CC}">
                <c16:uniqueId val="{000002DD-7B8A-44CE-B0AF-B4D4D3438E61}"/>
              </c:ext>
            </c:extLst>
          </c:dPt>
          <c:dPt>
            <c:idx val="366"/>
            <c:invertIfNegative val="1"/>
            <c:bubble3D val="0"/>
            <c:spPr>
              <a:solidFill>
                <a:srgbClr val="7ECAC4"/>
              </a:solidFill>
            </c:spPr>
            <c:extLst>
              <c:ext xmlns:c16="http://schemas.microsoft.com/office/drawing/2014/chart" uri="{C3380CC4-5D6E-409C-BE32-E72D297353CC}">
                <c16:uniqueId val="{000002DF-7B8A-44CE-B0AF-B4D4D3438E61}"/>
              </c:ext>
            </c:extLst>
          </c:dPt>
          <c:dPt>
            <c:idx val="367"/>
            <c:invertIfNegative val="1"/>
            <c:bubble3D val="0"/>
            <c:spPr>
              <a:solidFill>
                <a:srgbClr val="7ECAC4"/>
              </a:solidFill>
            </c:spPr>
            <c:extLst>
              <c:ext xmlns:c16="http://schemas.microsoft.com/office/drawing/2014/chart" uri="{C3380CC4-5D6E-409C-BE32-E72D297353CC}">
                <c16:uniqueId val="{000002E1-7B8A-44CE-B0AF-B4D4D3438E61}"/>
              </c:ext>
            </c:extLst>
          </c:dPt>
          <c:dPt>
            <c:idx val="368"/>
            <c:invertIfNegative val="1"/>
            <c:bubble3D val="0"/>
            <c:spPr>
              <a:solidFill>
                <a:srgbClr val="7ECAC4"/>
              </a:solidFill>
            </c:spPr>
            <c:extLst>
              <c:ext xmlns:c16="http://schemas.microsoft.com/office/drawing/2014/chart" uri="{C3380CC4-5D6E-409C-BE32-E72D297353CC}">
                <c16:uniqueId val="{000002E3-7B8A-44CE-B0AF-B4D4D3438E61}"/>
              </c:ext>
            </c:extLst>
          </c:dPt>
          <c:dPt>
            <c:idx val="369"/>
            <c:invertIfNegative val="1"/>
            <c:bubble3D val="0"/>
            <c:spPr>
              <a:solidFill>
                <a:srgbClr val="7ECAC4"/>
              </a:solidFill>
            </c:spPr>
            <c:extLst>
              <c:ext xmlns:c16="http://schemas.microsoft.com/office/drawing/2014/chart" uri="{C3380CC4-5D6E-409C-BE32-E72D297353CC}">
                <c16:uniqueId val="{000002E5-7B8A-44CE-B0AF-B4D4D3438E61}"/>
              </c:ext>
            </c:extLst>
          </c:dPt>
          <c:dPt>
            <c:idx val="370"/>
            <c:invertIfNegative val="1"/>
            <c:bubble3D val="0"/>
            <c:spPr>
              <a:solidFill>
                <a:srgbClr val="7ECAC4"/>
              </a:solidFill>
            </c:spPr>
            <c:extLst>
              <c:ext xmlns:c16="http://schemas.microsoft.com/office/drawing/2014/chart" uri="{C3380CC4-5D6E-409C-BE32-E72D297353CC}">
                <c16:uniqueId val="{000002E7-7B8A-44CE-B0AF-B4D4D3438E61}"/>
              </c:ext>
            </c:extLst>
          </c:dPt>
          <c:dPt>
            <c:idx val="371"/>
            <c:invertIfNegative val="1"/>
            <c:bubble3D val="0"/>
            <c:spPr>
              <a:solidFill>
                <a:srgbClr val="7ECAC4"/>
              </a:solidFill>
            </c:spPr>
            <c:extLst>
              <c:ext xmlns:c16="http://schemas.microsoft.com/office/drawing/2014/chart" uri="{C3380CC4-5D6E-409C-BE32-E72D297353CC}">
                <c16:uniqueId val="{000002E9-7B8A-44CE-B0AF-B4D4D3438E61}"/>
              </c:ext>
            </c:extLst>
          </c:dPt>
          <c:dPt>
            <c:idx val="372"/>
            <c:invertIfNegative val="1"/>
            <c:bubble3D val="0"/>
            <c:spPr>
              <a:solidFill>
                <a:srgbClr val="7ECAC4"/>
              </a:solidFill>
            </c:spPr>
            <c:extLst>
              <c:ext xmlns:c16="http://schemas.microsoft.com/office/drawing/2014/chart" uri="{C3380CC4-5D6E-409C-BE32-E72D297353CC}">
                <c16:uniqueId val="{000002EB-7B8A-44CE-B0AF-B4D4D3438E61}"/>
              </c:ext>
            </c:extLst>
          </c:dPt>
          <c:dPt>
            <c:idx val="373"/>
            <c:invertIfNegative val="1"/>
            <c:bubble3D val="0"/>
            <c:spPr>
              <a:solidFill>
                <a:srgbClr val="7ECAC4"/>
              </a:solidFill>
            </c:spPr>
            <c:extLst>
              <c:ext xmlns:c16="http://schemas.microsoft.com/office/drawing/2014/chart" uri="{C3380CC4-5D6E-409C-BE32-E72D297353CC}">
                <c16:uniqueId val="{000002ED-7B8A-44CE-B0AF-B4D4D3438E61}"/>
              </c:ext>
            </c:extLst>
          </c:dPt>
          <c:dPt>
            <c:idx val="374"/>
            <c:invertIfNegative val="1"/>
            <c:bubble3D val="0"/>
            <c:spPr>
              <a:solidFill>
                <a:srgbClr val="7ECAC4"/>
              </a:solidFill>
            </c:spPr>
            <c:extLst>
              <c:ext xmlns:c16="http://schemas.microsoft.com/office/drawing/2014/chart" uri="{C3380CC4-5D6E-409C-BE32-E72D297353CC}">
                <c16:uniqueId val="{000002EF-7B8A-44CE-B0AF-B4D4D3438E61}"/>
              </c:ext>
            </c:extLst>
          </c:dPt>
          <c:dPt>
            <c:idx val="375"/>
            <c:invertIfNegative val="1"/>
            <c:bubble3D val="0"/>
            <c:spPr>
              <a:solidFill>
                <a:srgbClr val="7ECAC4"/>
              </a:solidFill>
            </c:spPr>
            <c:extLst>
              <c:ext xmlns:c16="http://schemas.microsoft.com/office/drawing/2014/chart" uri="{C3380CC4-5D6E-409C-BE32-E72D297353CC}">
                <c16:uniqueId val="{000002F1-7B8A-44CE-B0AF-B4D4D3438E61}"/>
              </c:ext>
            </c:extLst>
          </c:dPt>
          <c:dPt>
            <c:idx val="376"/>
            <c:invertIfNegative val="1"/>
            <c:bubble3D val="0"/>
            <c:spPr>
              <a:solidFill>
                <a:srgbClr val="7ECAC4"/>
              </a:solidFill>
            </c:spPr>
            <c:extLst>
              <c:ext xmlns:c16="http://schemas.microsoft.com/office/drawing/2014/chart" uri="{C3380CC4-5D6E-409C-BE32-E72D297353CC}">
                <c16:uniqueId val="{000002F3-7B8A-44CE-B0AF-B4D4D3438E61}"/>
              </c:ext>
            </c:extLst>
          </c:dPt>
          <c:dPt>
            <c:idx val="377"/>
            <c:invertIfNegative val="1"/>
            <c:bubble3D val="0"/>
            <c:spPr>
              <a:solidFill>
                <a:srgbClr val="7ECAC4"/>
              </a:solidFill>
            </c:spPr>
            <c:extLst>
              <c:ext xmlns:c16="http://schemas.microsoft.com/office/drawing/2014/chart" uri="{C3380CC4-5D6E-409C-BE32-E72D297353CC}">
                <c16:uniqueId val="{000002F5-7B8A-44CE-B0AF-B4D4D3438E61}"/>
              </c:ext>
            </c:extLst>
          </c:dPt>
          <c:dPt>
            <c:idx val="378"/>
            <c:invertIfNegative val="1"/>
            <c:bubble3D val="0"/>
            <c:spPr>
              <a:solidFill>
                <a:srgbClr val="7ECAC4"/>
              </a:solidFill>
            </c:spPr>
            <c:extLst>
              <c:ext xmlns:c16="http://schemas.microsoft.com/office/drawing/2014/chart" uri="{C3380CC4-5D6E-409C-BE32-E72D297353CC}">
                <c16:uniqueId val="{000002F7-7B8A-44CE-B0AF-B4D4D3438E61}"/>
              </c:ext>
            </c:extLst>
          </c:dPt>
          <c:dPt>
            <c:idx val="379"/>
            <c:invertIfNegative val="1"/>
            <c:bubble3D val="0"/>
            <c:spPr>
              <a:solidFill>
                <a:srgbClr val="7ECAC4"/>
              </a:solidFill>
            </c:spPr>
            <c:extLst>
              <c:ext xmlns:c16="http://schemas.microsoft.com/office/drawing/2014/chart" uri="{C3380CC4-5D6E-409C-BE32-E72D297353CC}">
                <c16:uniqueId val="{000002F9-7B8A-44CE-B0AF-B4D4D3438E61}"/>
              </c:ext>
            </c:extLst>
          </c:dPt>
          <c:dPt>
            <c:idx val="380"/>
            <c:invertIfNegative val="1"/>
            <c:bubble3D val="0"/>
            <c:spPr>
              <a:solidFill>
                <a:srgbClr val="7ECAC4"/>
              </a:solidFill>
            </c:spPr>
            <c:extLst>
              <c:ext xmlns:c16="http://schemas.microsoft.com/office/drawing/2014/chart" uri="{C3380CC4-5D6E-409C-BE32-E72D297353CC}">
                <c16:uniqueId val="{000002FB-7B8A-44CE-B0AF-B4D4D3438E61}"/>
              </c:ext>
            </c:extLst>
          </c:dPt>
          <c:dPt>
            <c:idx val="381"/>
            <c:invertIfNegative val="1"/>
            <c:bubble3D val="0"/>
            <c:spPr>
              <a:solidFill>
                <a:srgbClr val="7ECAC4"/>
              </a:solidFill>
            </c:spPr>
            <c:extLst>
              <c:ext xmlns:c16="http://schemas.microsoft.com/office/drawing/2014/chart" uri="{C3380CC4-5D6E-409C-BE32-E72D297353CC}">
                <c16:uniqueId val="{000002FD-7B8A-44CE-B0AF-B4D4D3438E61}"/>
              </c:ext>
            </c:extLst>
          </c:dPt>
          <c:dPt>
            <c:idx val="382"/>
            <c:invertIfNegative val="1"/>
            <c:bubble3D val="0"/>
            <c:spPr>
              <a:solidFill>
                <a:srgbClr val="7ECAC4"/>
              </a:solidFill>
            </c:spPr>
            <c:extLst>
              <c:ext xmlns:c16="http://schemas.microsoft.com/office/drawing/2014/chart" uri="{C3380CC4-5D6E-409C-BE32-E72D297353CC}">
                <c16:uniqueId val="{000002FF-7B8A-44CE-B0AF-B4D4D3438E61}"/>
              </c:ext>
            </c:extLst>
          </c:dPt>
          <c:dPt>
            <c:idx val="383"/>
            <c:invertIfNegative val="1"/>
            <c:bubble3D val="0"/>
            <c:spPr>
              <a:solidFill>
                <a:srgbClr val="7ECAC4"/>
              </a:solidFill>
            </c:spPr>
            <c:extLst>
              <c:ext xmlns:c16="http://schemas.microsoft.com/office/drawing/2014/chart" uri="{C3380CC4-5D6E-409C-BE32-E72D297353CC}">
                <c16:uniqueId val="{00000301-7B8A-44CE-B0AF-B4D4D3438E61}"/>
              </c:ext>
            </c:extLst>
          </c:dPt>
          <c:dPt>
            <c:idx val="384"/>
            <c:invertIfNegative val="1"/>
            <c:bubble3D val="0"/>
            <c:spPr>
              <a:solidFill>
                <a:srgbClr val="7ECAC4"/>
              </a:solidFill>
            </c:spPr>
            <c:extLst>
              <c:ext xmlns:c16="http://schemas.microsoft.com/office/drawing/2014/chart" uri="{C3380CC4-5D6E-409C-BE32-E72D297353CC}">
                <c16:uniqueId val="{00000303-7B8A-44CE-B0AF-B4D4D3438E61}"/>
              </c:ext>
            </c:extLst>
          </c:dPt>
          <c:dPt>
            <c:idx val="385"/>
            <c:invertIfNegative val="1"/>
            <c:bubble3D val="0"/>
            <c:spPr>
              <a:solidFill>
                <a:srgbClr val="7ECAC4"/>
              </a:solidFill>
            </c:spPr>
            <c:extLst>
              <c:ext xmlns:c16="http://schemas.microsoft.com/office/drawing/2014/chart" uri="{C3380CC4-5D6E-409C-BE32-E72D297353CC}">
                <c16:uniqueId val="{00000305-7B8A-44CE-B0AF-B4D4D3438E61}"/>
              </c:ext>
            </c:extLst>
          </c:dPt>
          <c:dPt>
            <c:idx val="386"/>
            <c:invertIfNegative val="1"/>
            <c:bubble3D val="0"/>
            <c:spPr>
              <a:solidFill>
                <a:srgbClr val="7ECAC4"/>
              </a:solidFill>
            </c:spPr>
            <c:extLst>
              <c:ext xmlns:c16="http://schemas.microsoft.com/office/drawing/2014/chart" uri="{C3380CC4-5D6E-409C-BE32-E72D297353CC}">
                <c16:uniqueId val="{00000307-7B8A-44CE-B0AF-B4D4D3438E61}"/>
              </c:ext>
            </c:extLst>
          </c:dPt>
          <c:dPt>
            <c:idx val="387"/>
            <c:invertIfNegative val="1"/>
            <c:bubble3D val="0"/>
            <c:spPr>
              <a:solidFill>
                <a:srgbClr val="7ECAC4"/>
              </a:solidFill>
            </c:spPr>
            <c:extLst>
              <c:ext xmlns:c16="http://schemas.microsoft.com/office/drawing/2014/chart" uri="{C3380CC4-5D6E-409C-BE32-E72D297353CC}">
                <c16:uniqueId val="{00000309-7B8A-44CE-B0AF-B4D4D3438E61}"/>
              </c:ext>
            </c:extLst>
          </c:dPt>
          <c:dPt>
            <c:idx val="388"/>
            <c:invertIfNegative val="1"/>
            <c:bubble3D val="0"/>
            <c:spPr>
              <a:solidFill>
                <a:srgbClr val="7ECAC4"/>
              </a:solidFill>
            </c:spPr>
            <c:extLst>
              <c:ext xmlns:c16="http://schemas.microsoft.com/office/drawing/2014/chart" uri="{C3380CC4-5D6E-409C-BE32-E72D297353CC}">
                <c16:uniqueId val="{0000030B-7B8A-44CE-B0AF-B4D4D3438E61}"/>
              </c:ext>
            </c:extLst>
          </c:dPt>
          <c:dPt>
            <c:idx val="389"/>
            <c:invertIfNegative val="1"/>
            <c:bubble3D val="0"/>
            <c:spPr>
              <a:solidFill>
                <a:srgbClr val="7ECAC4"/>
              </a:solidFill>
            </c:spPr>
            <c:extLst>
              <c:ext xmlns:c16="http://schemas.microsoft.com/office/drawing/2014/chart" uri="{C3380CC4-5D6E-409C-BE32-E72D297353CC}">
                <c16:uniqueId val="{0000030D-7B8A-44CE-B0AF-B4D4D3438E61}"/>
              </c:ext>
            </c:extLst>
          </c:dPt>
          <c:dPt>
            <c:idx val="390"/>
            <c:invertIfNegative val="1"/>
            <c:bubble3D val="0"/>
            <c:spPr>
              <a:solidFill>
                <a:srgbClr val="7ECAC4"/>
              </a:solidFill>
            </c:spPr>
            <c:extLst>
              <c:ext xmlns:c16="http://schemas.microsoft.com/office/drawing/2014/chart" uri="{C3380CC4-5D6E-409C-BE32-E72D297353CC}">
                <c16:uniqueId val="{0000030F-7B8A-44CE-B0AF-B4D4D3438E61}"/>
              </c:ext>
            </c:extLst>
          </c:dPt>
          <c:dPt>
            <c:idx val="391"/>
            <c:invertIfNegative val="1"/>
            <c:bubble3D val="0"/>
            <c:spPr>
              <a:solidFill>
                <a:srgbClr val="7ECAC4"/>
              </a:solidFill>
            </c:spPr>
            <c:extLst>
              <c:ext xmlns:c16="http://schemas.microsoft.com/office/drawing/2014/chart" uri="{C3380CC4-5D6E-409C-BE32-E72D297353CC}">
                <c16:uniqueId val="{00000311-7B8A-44CE-B0AF-B4D4D3438E61}"/>
              </c:ext>
            </c:extLst>
          </c:dPt>
          <c:dPt>
            <c:idx val="392"/>
            <c:invertIfNegative val="1"/>
            <c:bubble3D val="0"/>
            <c:spPr>
              <a:solidFill>
                <a:srgbClr val="7ECAC4"/>
              </a:solidFill>
            </c:spPr>
            <c:extLst>
              <c:ext xmlns:c16="http://schemas.microsoft.com/office/drawing/2014/chart" uri="{C3380CC4-5D6E-409C-BE32-E72D297353CC}">
                <c16:uniqueId val="{00000313-7B8A-44CE-B0AF-B4D4D3438E61}"/>
              </c:ext>
            </c:extLst>
          </c:dPt>
          <c:dPt>
            <c:idx val="393"/>
            <c:invertIfNegative val="1"/>
            <c:bubble3D val="0"/>
            <c:spPr>
              <a:solidFill>
                <a:srgbClr val="7ECAC4"/>
              </a:solidFill>
            </c:spPr>
            <c:extLst>
              <c:ext xmlns:c16="http://schemas.microsoft.com/office/drawing/2014/chart" uri="{C3380CC4-5D6E-409C-BE32-E72D297353CC}">
                <c16:uniqueId val="{00000315-7B8A-44CE-B0AF-B4D4D3438E61}"/>
              </c:ext>
            </c:extLst>
          </c:dPt>
          <c:dPt>
            <c:idx val="394"/>
            <c:invertIfNegative val="1"/>
            <c:bubble3D val="0"/>
            <c:spPr>
              <a:solidFill>
                <a:srgbClr val="7ECAC4"/>
              </a:solidFill>
            </c:spPr>
            <c:extLst>
              <c:ext xmlns:c16="http://schemas.microsoft.com/office/drawing/2014/chart" uri="{C3380CC4-5D6E-409C-BE32-E72D297353CC}">
                <c16:uniqueId val="{00000317-7B8A-44CE-B0AF-B4D4D3438E61}"/>
              </c:ext>
            </c:extLst>
          </c:dPt>
          <c:dPt>
            <c:idx val="395"/>
            <c:invertIfNegative val="1"/>
            <c:bubble3D val="0"/>
            <c:spPr>
              <a:solidFill>
                <a:srgbClr val="7ECAC4"/>
              </a:solidFill>
            </c:spPr>
            <c:extLst>
              <c:ext xmlns:c16="http://schemas.microsoft.com/office/drawing/2014/chart" uri="{C3380CC4-5D6E-409C-BE32-E72D297353CC}">
                <c16:uniqueId val="{00000319-7B8A-44CE-B0AF-B4D4D3438E61}"/>
              </c:ext>
            </c:extLst>
          </c:dPt>
          <c:dPt>
            <c:idx val="396"/>
            <c:invertIfNegative val="1"/>
            <c:bubble3D val="0"/>
            <c:spPr>
              <a:solidFill>
                <a:srgbClr val="7ECAC4"/>
              </a:solidFill>
            </c:spPr>
            <c:extLst>
              <c:ext xmlns:c16="http://schemas.microsoft.com/office/drawing/2014/chart" uri="{C3380CC4-5D6E-409C-BE32-E72D297353CC}">
                <c16:uniqueId val="{0000031B-7B8A-44CE-B0AF-B4D4D3438E61}"/>
              </c:ext>
            </c:extLst>
          </c:dPt>
          <c:dPt>
            <c:idx val="397"/>
            <c:invertIfNegative val="1"/>
            <c:bubble3D val="0"/>
            <c:spPr>
              <a:solidFill>
                <a:srgbClr val="7ECAC4"/>
              </a:solidFill>
            </c:spPr>
            <c:extLst>
              <c:ext xmlns:c16="http://schemas.microsoft.com/office/drawing/2014/chart" uri="{C3380CC4-5D6E-409C-BE32-E72D297353CC}">
                <c16:uniqueId val="{0000031D-7B8A-44CE-B0AF-B4D4D3438E61}"/>
              </c:ext>
            </c:extLst>
          </c:dPt>
          <c:dPt>
            <c:idx val="398"/>
            <c:invertIfNegative val="1"/>
            <c:bubble3D val="0"/>
            <c:spPr>
              <a:solidFill>
                <a:srgbClr val="7ECAC4"/>
              </a:solidFill>
            </c:spPr>
            <c:extLst>
              <c:ext xmlns:c16="http://schemas.microsoft.com/office/drawing/2014/chart" uri="{C3380CC4-5D6E-409C-BE32-E72D297353CC}">
                <c16:uniqueId val="{0000031F-7B8A-44CE-B0AF-B4D4D3438E61}"/>
              </c:ext>
            </c:extLst>
          </c:dPt>
          <c:dPt>
            <c:idx val="399"/>
            <c:invertIfNegative val="1"/>
            <c:bubble3D val="0"/>
            <c:spPr>
              <a:solidFill>
                <a:srgbClr val="7ECAC4"/>
              </a:solidFill>
            </c:spPr>
            <c:extLst>
              <c:ext xmlns:c16="http://schemas.microsoft.com/office/drawing/2014/chart" uri="{C3380CC4-5D6E-409C-BE32-E72D297353CC}">
                <c16:uniqueId val="{00000321-7B8A-44CE-B0AF-B4D4D3438E61}"/>
              </c:ext>
            </c:extLst>
          </c:dPt>
          <c:dPt>
            <c:idx val="400"/>
            <c:invertIfNegative val="1"/>
            <c:bubble3D val="0"/>
            <c:spPr>
              <a:solidFill>
                <a:srgbClr val="7ECAC4"/>
              </a:solidFill>
            </c:spPr>
            <c:extLst>
              <c:ext xmlns:c16="http://schemas.microsoft.com/office/drawing/2014/chart" uri="{C3380CC4-5D6E-409C-BE32-E72D297353CC}">
                <c16:uniqueId val="{00000323-7B8A-44CE-B0AF-B4D4D3438E61}"/>
              </c:ext>
            </c:extLst>
          </c:dPt>
          <c:dPt>
            <c:idx val="401"/>
            <c:invertIfNegative val="1"/>
            <c:bubble3D val="0"/>
            <c:spPr>
              <a:solidFill>
                <a:srgbClr val="7ECAC4"/>
              </a:solidFill>
            </c:spPr>
            <c:extLst>
              <c:ext xmlns:c16="http://schemas.microsoft.com/office/drawing/2014/chart" uri="{C3380CC4-5D6E-409C-BE32-E72D297353CC}">
                <c16:uniqueId val="{00000325-7B8A-44CE-B0AF-B4D4D3438E61}"/>
              </c:ext>
            </c:extLst>
          </c:dPt>
          <c:dPt>
            <c:idx val="402"/>
            <c:invertIfNegative val="1"/>
            <c:bubble3D val="0"/>
            <c:spPr>
              <a:solidFill>
                <a:srgbClr val="7ECAC4"/>
              </a:solidFill>
            </c:spPr>
            <c:extLst>
              <c:ext xmlns:c16="http://schemas.microsoft.com/office/drawing/2014/chart" uri="{C3380CC4-5D6E-409C-BE32-E72D297353CC}">
                <c16:uniqueId val="{00000327-7B8A-44CE-B0AF-B4D4D3438E61}"/>
              </c:ext>
            </c:extLst>
          </c:dPt>
          <c:dPt>
            <c:idx val="403"/>
            <c:invertIfNegative val="1"/>
            <c:bubble3D val="0"/>
            <c:spPr>
              <a:solidFill>
                <a:srgbClr val="7ECAC4"/>
              </a:solidFill>
            </c:spPr>
            <c:extLst>
              <c:ext xmlns:c16="http://schemas.microsoft.com/office/drawing/2014/chart" uri="{C3380CC4-5D6E-409C-BE32-E72D297353CC}">
                <c16:uniqueId val="{00000329-7B8A-44CE-B0AF-B4D4D3438E61}"/>
              </c:ext>
            </c:extLst>
          </c:dPt>
          <c:dPt>
            <c:idx val="404"/>
            <c:invertIfNegative val="1"/>
            <c:bubble3D val="0"/>
            <c:spPr>
              <a:solidFill>
                <a:srgbClr val="7ECAC4"/>
              </a:solidFill>
            </c:spPr>
            <c:extLst>
              <c:ext xmlns:c16="http://schemas.microsoft.com/office/drawing/2014/chart" uri="{C3380CC4-5D6E-409C-BE32-E72D297353CC}">
                <c16:uniqueId val="{0000032B-7B8A-44CE-B0AF-B4D4D3438E61}"/>
              </c:ext>
            </c:extLst>
          </c:dPt>
          <c:dPt>
            <c:idx val="405"/>
            <c:invertIfNegative val="1"/>
            <c:bubble3D val="0"/>
            <c:spPr>
              <a:solidFill>
                <a:srgbClr val="7ECAC4"/>
              </a:solidFill>
            </c:spPr>
            <c:extLst>
              <c:ext xmlns:c16="http://schemas.microsoft.com/office/drawing/2014/chart" uri="{C3380CC4-5D6E-409C-BE32-E72D297353CC}">
                <c16:uniqueId val="{0000032D-7B8A-44CE-B0AF-B4D4D3438E61}"/>
              </c:ext>
            </c:extLst>
          </c:dPt>
          <c:dPt>
            <c:idx val="406"/>
            <c:invertIfNegative val="1"/>
            <c:bubble3D val="0"/>
            <c:spPr>
              <a:solidFill>
                <a:srgbClr val="7ECAC4"/>
              </a:solidFill>
            </c:spPr>
            <c:extLst>
              <c:ext xmlns:c16="http://schemas.microsoft.com/office/drawing/2014/chart" uri="{C3380CC4-5D6E-409C-BE32-E72D297353CC}">
                <c16:uniqueId val="{0000032F-7B8A-44CE-B0AF-B4D4D3438E61}"/>
              </c:ext>
            </c:extLst>
          </c:dPt>
          <c:dPt>
            <c:idx val="407"/>
            <c:invertIfNegative val="1"/>
            <c:bubble3D val="0"/>
            <c:spPr>
              <a:solidFill>
                <a:srgbClr val="7ECAC4"/>
              </a:solidFill>
            </c:spPr>
            <c:extLst>
              <c:ext xmlns:c16="http://schemas.microsoft.com/office/drawing/2014/chart" uri="{C3380CC4-5D6E-409C-BE32-E72D297353CC}">
                <c16:uniqueId val="{00000331-7B8A-44CE-B0AF-B4D4D3438E61}"/>
              </c:ext>
            </c:extLst>
          </c:dPt>
          <c:dPt>
            <c:idx val="408"/>
            <c:invertIfNegative val="1"/>
            <c:bubble3D val="0"/>
            <c:spPr>
              <a:solidFill>
                <a:srgbClr val="7ECAC4"/>
              </a:solidFill>
            </c:spPr>
            <c:extLst>
              <c:ext xmlns:c16="http://schemas.microsoft.com/office/drawing/2014/chart" uri="{C3380CC4-5D6E-409C-BE32-E72D297353CC}">
                <c16:uniqueId val="{00000333-7B8A-44CE-B0AF-B4D4D3438E61}"/>
              </c:ext>
            </c:extLst>
          </c:dPt>
          <c:dPt>
            <c:idx val="409"/>
            <c:invertIfNegative val="1"/>
            <c:bubble3D val="0"/>
            <c:spPr>
              <a:solidFill>
                <a:srgbClr val="7ECAC4"/>
              </a:solidFill>
            </c:spPr>
            <c:extLst>
              <c:ext xmlns:c16="http://schemas.microsoft.com/office/drawing/2014/chart" uri="{C3380CC4-5D6E-409C-BE32-E72D297353CC}">
                <c16:uniqueId val="{00000335-7B8A-44CE-B0AF-B4D4D3438E61}"/>
              </c:ext>
            </c:extLst>
          </c:dPt>
          <c:dPt>
            <c:idx val="410"/>
            <c:invertIfNegative val="1"/>
            <c:bubble3D val="0"/>
            <c:spPr>
              <a:solidFill>
                <a:srgbClr val="7ECAC4"/>
              </a:solidFill>
            </c:spPr>
            <c:extLst>
              <c:ext xmlns:c16="http://schemas.microsoft.com/office/drawing/2014/chart" uri="{C3380CC4-5D6E-409C-BE32-E72D297353CC}">
                <c16:uniqueId val="{00000337-7B8A-44CE-B0AF-B4D4D3438E61}"/>
              </c:ext>
            </c:extLst>
          </c:dPt>
          <c:dPt>
            <c:idx val="411"/>
            <c:invertIfNegative val="1"/>
            <c:bubble3D val="0"/>
            <c:spPr>
              <a:solidFill>
                <a:srgbClr val="7ECAC4"/>
              </a:solidFill>
            </c:spPr>
            <c:extLst>
              <c:ext xmlns:c16="http://schemas.microsoft.com/office/drawing/2014/chart" uri="{C3380CC4-5D6E-409C-BE32-E72D297353CC}">
                <c16:uniqueId val="{00000339-7B8A-44CE-B0AF-B4D4D3438E61}"/>
              </c:ext>
            </c:extLst>
          </c:dPt>
          <c:dPt>
            <c:idx val="412"/>
            <c:invertIfNegative val="1"/>
            <c:bubble3D val="0"/>
            <c:spPr>
              <a:solidFill>
                <a:srgbClr val="7ECAC4"/>
              </a:solidFill>
            </c:spPr>
            <c:extLst>
              <c:ext xmlns:c16="http://schemas.microsoft.com/office/drawing/2014/chart" uri="{C3380CC4-5D6E-409C-BE32-E72D297353CC}">
                <c16:uniqueId val="{0000033B-7B8A-44CE-B0AF-B4D4D3438E61}"/>
              </c:ext>
            </c:extLst>
          </c:dPt>
          <c:dPt>
            <c:idx val="413"/>
            <c:invertIfNegative val="1"/>
            <c:bubble3D val="0"/>
            <c:spPr>
              <a:solidFill>
                <a:srgbClr val="7ECAC4"/>
              </a:solidFill>
            </c:spPr>
            <c:extLst>
              <c:ext xmlns:c16="http://schemas.microsoft.com/office/drawing/2014/chart" uri="{C3380CC4-5D6E-409C-BE32-E72D297353CC}">
                <c16:uniqueId val="{0000033D-7B8A-44CE-B0AF-B4D4D3438E61}"/>
              </c:ext>
            </c:extLst>
          </c:dPt>
          <c:dPt>
            <c:idx val="414"/>
            <c:invertIfNegative val="1"/>
            <c:bubble3D val="0"/>
            <c:spPr>
              <a:solidFill>
                <a:srgbClr val="7ECAC4"/>
              </a:solidFill>
            </c:spPr>
            <c:extLst>
              <c:ext xmlns:c16="http://schemas.microsoft.com/office/drawing/2014/chart" uri="{C3380CC4-5D6E-409C-BE32-E72D297353CC}">
                <c16:uniqueId val="{0000033F-7B8A-44CE-B0AF-B4D4D3438E61}"/>
              </c:ext>
            </c:extLst>
          </c:dPt>
          <c:dPt>
            <c:idx val="415"/>
            <c:invertIfNegative val="1"/>
            <c:bubble3D val="0"/>
            <c:spPr>
              <a:solidFill>
                <a:srgbClr val="7ECAC4"/>
              </a:solidFill>
            </c:spPr>
            <c:extLst>
              <c:ext xmlns:c16="http://schemas.microsoft.com/office/drawing/2014/chart" uri="{C3380CC4-5D6E-409C-BE32-E72D297353CC}">
                <c16:uniqueId val="{00000341-7B8A-44CE-B0AF-B4D4D3438E61}"/>
              </c:ext>
            </c:extLst>
          </c:dPt>
          <c:dPt>
            <c:idx val="416"/>
            <c:invertIfNegative val="1"/>
            <c:bubble3D val="0"/>
            <c:spPr>
              <a:solidFill>
                <a:srgbClr val="7ECAC4"/>
              </a:solidFill>
            </c:spPr>
            <c:extLst>
              <c:ext xmlns:c16="http://schemas.microsoft.com/office/drawing/2014/chart" uri="{C3380CC4-5D6E-409C-BE32-E72D297353CC}">
                <c16:uniqueId val="{00000343-7B8A-44CE-B0AF-B4D4D3438E61}"/>
              </c:ext>
            </c:extLst>
          </c:dPt>
          <c:dPt>
            <c:idx val="417"/>
            <c:invertIfNegative val="1"/>
            <c:bubble3D val="0"/>
            <c:spPr>
              <a:solidFill>
                <a:srgbClr val="7ECAC4"/>
              </a:solidFill>
            </c:spPr>
            <c:extLst>
              <c:ext xmlns:c16="http://schemas.microsoft.com/office/drawing/2014/chart" uri="{C3380CC4-5D6E-409C-BE32-E72D297353CC}">
                <c16:uniqueId val="{00000345-7B8A-44CE-B0AF-B4D4D3438E61}"/>
              </c:ext>
            </c:extLst>
          </c:dPt>
          <c:dPt>
            <c:idx val="418"/>
            <c:invertIfNegative val="1"/>
            <c:bubble3D val="0"/>
            <c:spPr>
              <a:solidFill>
                <a:srgbClr val="7ECAC4"/>
              </a:solidFill>
            </c:spPr>
            <c:extLst>
              <c:ext xmlns:c16="http://schemas.microsoft.com/office/drawing/2014/chart" uri="{C3380CC4-5D6E-409C-BE32-E72D297353CC}">
                <c16:uniqueId val="{00000347-7B8A-44CE-B0AF-B4D4D3438E61}"/>
              </c:ext>
            </c:extLst>
          </c:dPt>
          <c:dPt>
            <c:idx val="419"/>
            <c:invertIfNegative val="1"/>
            <c:bubble3D val="0"/>
            <c:spPr>
              <a:solidFill>
                <a:srgbClr val="7ECAC4"/>
              </a:solidFill>
            </c:spPr>
            <c:extLst>
              <c:ext xmlns:c16="http://schemas.microsoft.com/office/drawing/2014/chart" uri="{C3380CC4-5D6E-409C-BE32-E72D297353CC}">
                <c16:uniqueId val="{00000349-7B8A-44CE-B0AF-B4D4D3438E61}"/>
              </c:ext>
            </c:extLst>
          </c:dPt>
          <c:dPt>
            <c:idx val="420"/>
            <c:invertIfNegative val="1"/>
            <c:bubble3D val="0"/>
            <c:spPr>
              <a:solidFill>
                <a:srgbClr val="7ECAC4"/>
              </a:solidFill>
            </c:spPr>
            <c:extLst>
              <c:ext xmlns:c16="http://schemas.microsoft.com/office/drawing/2014/chart" uri="{C3380CC4-5D6E-409C-BE32-E72D297353CC}">
                <c16:uniqueId val="{0000034B-7B8A-44CE-B0AF-B4D4D3438E61}"/>
              </c:ext>
            </c:extLst>
          </c:dPt>
          <c:dPt>
            <c:idx val="421"/>
            <c:invertIfNegative val="1"/>
            <c:bubble3D val="0"/>
            <c:spPr>
              <a:solidFill>
                <a:srgbClr val="7ECAC4"/>
              </a:solidFill>
            </c:spPr>
            <c:extLst>
              <c:ext xmlns:c16="http://schemas.microsoft.com/office/drawing/2014/chart" uri="{C3380CC4-5D6E-409C-BE32-E72D297353CC}">
                <c16:uniqueId val="{0000034D-7B8A-44CE-B0AF-B4D4D3438E61}"/>
              </c:ext>
            </c:extLst>
          </c:dPt>
          <c:dPt>
            <c:idx val="422"/>
            <c:invertIfNegative val="1"/>
            <c:bubble3D val="0"/>
            <c:spPr>
              <a:solidFill>
                <a:srgbClr val="7ECAC4"/>
              </a:solidFill>
            </c:spPr>
            <c:extLst>
              <c:ext xmlns:c16="http://schemas.microsoft.com/office/drawing/2014/chart" uri="{C3380CC4-5D6E-409C-BE32-E72D297353CC}">
                <c16:uniqueId val="{0000034F-7B8A-44CE-B0AF-B4D4D3438E61}"/>
              </c:ext>
            </c:extLst>
          </c:dPt>
          <c:dPt>
            <c:idx val="423"/>
            <c:invertIfNegative val="1"/>
            <c:bubble3D val="0"/>
            <c:spPr>
              <a:solidFill>
                <a:srgbClr val="7ECAC4"/>
              </a:solidFill>
            </c:spPr>
            <c:extLst>
              <c:ext xmlns:c16="http://schemas.microsoft.com/office/drawing/2014/chart" uri="{C3380CC4-5D6E-409C-BE32-E72D297353CC}">
                <c16:uniqueId val="{00000351-7B8A-44CE-B0AF-B4D4D3438E61}"/>
              </c:ext>
            </c:extLst>
          </c:dPt>
          <c:dPt>
            <c:idx val="424"/>
            <c:invertIfNegative val="1"/>
            <c:bubble3D val="0"/>
            <c:spPr>
              <a:solidFill>
                <a:srgbClr val="7ECAC4"/>
              </a:solidFill>
            </c:spPr>
            <c:extLst>
              <c:ext xmlns:c16="http://schemas.microsoft.com/office/drawing/2014/chart" uri="{C3380CC4-5D6E-409C-BE32-E72D297353CC}">
                <c16:uniqueId val="{00000353-7B8A-44CE-B0AF-B4D4D3438E61}"/>
              </c:ext>
            </c:extLst>
          </c:dPt>
          <c:dPt>
            <c:idx val="425"/>
            <c:invertIfNegative val="1"/>
            <c:bubble3D val="0"/>
            <c:spPr>
              <a:solidFill>
                <a:srgbClr val="7ECAC4"/>
              </a:solidFill>
            </c:spPr>
            <c:extLst>
              <c:ext xmlns:c16="http://schemas.microsoft.com/office/drawing/2014/chart" uri="{C3380CC4-5D6E-409C-BE32-E72D297353CC}">
                <c16:uniqueId val="{00000355-7B8A-44CE-B0AF-B4D4D3438E61}"/>
              </c:ext>
            </c:extLst>
          </c:dPt>
          <c:dPt>
            <c:idx val="426"/>
            <c:invertIfNegative val="1"/>
            <c:bubble3D val="0"/>
            <c:spPr>
              <a:solidFill>
                <a:srgbClr val="7ECAC4"/>
              </a:solidFill>
            </c:spPr>
            <c:extLst>
              <c:ext xmlns:c16="http://schemas.microsoft.com/office/drawing/2014/chart" uri="{C3380CC4-5D6E-409C-BE32-E72D297353CC}">
                <c16:uniqueId val="{00000357-7B8A-44CE-B0AF-B4D4D3438E61}"/>
              </c:ext>
            </c:extLst>
          </c:dPt>
          <c:dPt>
            <c:idx val="427"/>
            <c:invertIfNegative val="1"/>
            <c:bubble3D val="0"/>
            <c:spPr>
              <a:solidFill>
                <a:srgbClr val="7ECAC4"/>
              </a:solidFill>
            </c:spPr>
            <c:extLst>
              <c:ext xmlns:c16="http://schemas.microsoft.com/office/drawing/2014/chart" uri="{C3380CC4-5D6E-409C-BE32-E72D297353CC}">
                <c16:uniqueId val="{00000359-7B8A-44CE-B0AF-B4D4D3438E61}"/>
              </c:ext>
            </c:extLst>
          </c:dPt>
          <c:dPt>
            <c:idx val="428"/>
            <c:invertIfNegative val="1"/>
            <c:bubble3D val="0"/>
            <c:spPr>
              <a:solidFill>
                <a:srgbClr val="7ECAC4"/>
              </a:solidFill>
            </c:spPr>
            <c:extLst>
              <c:ext xmlns:c16="http://schemas.microsoft.com/office/drawing/2014/chart" uri="{C3380CC4-5D6E-409C-BE32-E72D297353CC}">
                <c16:uniqueId val="{0000035B-7B8A-44CE-B0AF-B4D4D3438E61}"/>
              </c:ext>
            </c:extLst>
          </c:dPt>
          <c:dPt>
            <c:idx val="429"/>
            <c:invertIfNegative val="1"/>
            <c:bubble3D val="0"/>
            <c:spPr>
              <a:solidFill>
                <a:srgbClr val="7ECAC4"/>
              </a:solidFill>
            </c:spPr>
            <c:extLst>
              <c:ext xmlns:c16="http://schemas.microsoft.com/office/drawing/2014/chart" uri="{C3380CC4-5D6E-409C-BE32-E72D297353CC}">
                <c16:uniqueId val="{0000035D-7B8A-44CE-B0AF-B4D4D3438E61}"/>
              </c:ext>
            </c:extLst>
          </c:dPt>
          <c:dPt>
            <c:idx val="430"/>
            <c:invertIfNegative val="1"/>
            <c:bubble3D val="0"/>
            <c:spPr>
              <a:solidFill>
                <a:srgbClr val="7ECAC4"/>
              </a:solidFill>
            </c:spPr>
            <c:extLst>
              <c:ext xmlns:c16="http://schemas.microsoft.com/office/drawing/2014/chart" uri="{C3380CC4-5D6E-409C-BE32-E72D297353CC}">
                <c16:uniqueId val="{0000035F-7B8A-44CE-B0AF-B4D4D3438E61}"/>
              </c:ext>
            </c:extLst>
          </c:dPt>
          <c:dPt>
            <c:idx val="431"/>
            <c:invertIfNegative val="1"/>
            <c:bubble3D val="0"/>
            <c:spPr>
              <a:solidFill>
                <a:srgbClr val="7ECAC4"/>
              </a:solidFill>
            </c:spPr>
            <c:extLst>
              <c:ext xmlns:c16="http://schemas.microsoft.com/office/drawing/2014/chart" uri="{C3380CC4-5D6E-409C-BE32-E72D297353CC}">
                <c16:uniqueId val="{00000361-7B8A-44CE-B0AF-B4D4D3438E61}"/>
              </c:ext>
            </c:extLst>
          </c:dPt>
          <c:dPt>
            <c:idx val="432"/>
            <c:invertIfNegative val="1"/>
            <c:bubble3D val="0"/>
            <c:spPr>
              <a:solidFill>
                <a:srgbClr val="7ECAC4"/>
              </a:solidFill>
            </c:spPr>
            <c:extLst>
              <c:ext xmlns:c16="http://schemas.microsoft.com/office/drawing/2014/chart" uri="{C3380CC4-5D6E-409C-BE32-E72D297353CC}">
                <c16:uniqueId val="{00000363-7B8A-44CE-B0AF-B4D4D3438E61}"/>
              </c:ext>
            </c:extLst>
          </c:dPt>
          <c:dPt>
            <c:idx val="433"/>
            <c:invertIfNegative val="1"/>
            <c:bubble3D val="0"/>
            <c:spPr>
              <a:solidFill>
                <a:srgbClr val="7ECAC4"/>
              </a:solidFill>
            </c:spPr>
            <c:extLst>
              <c:ext xmlns:c16="http://schemas.microsoft.com/office/drawing/2014/chart" uri="{C3380CC4-5D6E-409C-BE32-E72D297353CC}">
                <c16:uniqueId val="{00000365-7B8A-44CE-B0AF-B4D4D3438E61}"/>
              </c:ext>
            </c:extLst>
          </c:dPt>
          <c:dPt>
            <c:idx val="434"/>
            <c:invertIfNegative val="1"/>
            <c:bubble3D val="0"/>
            <c:spPr>
              <a:solidFill>
                <a:srgbClr val="7ECAC4"/>
              </a:solidFill>
            </c:spPr>
            <c:extLst>
              <c:ext xmlns:c16="http://schemas.microsoft.com/office/drawing/2014/chart" uri="{C3380CC4-5D6E-409C-BE32-E72D297353CC}">
                <c16:uniqueId val="{00000367-7B8A-44CE-B0AF-B4D4D3438E61}"/>
              </c:ext>
            </c:extLst>
          </c:dPt>
          <c:dPt>
            <c:idx val="435"/>
            <c:invertIfNegative val="1"/>
            <c:bubble3D val="0"/>
            <c:spPr>
              <a:solidFill>
                <a:srgbClr val="7ECAC4"/>
              </a:solidFill>
            </c:spPr>
            <c:extLst>
              <c:ext xmlns:c16="http://schemas.microsoft.com/office/drawing/2014/chart" uri="{C3380CC4-5D6E-409C-BE32-E72D297353CC}">
                <c16:uniqueId val="{00000369-7B8A-44CE-B0AF-B4D4D3438E61}"/>
              </c:ext>
            </c:extLst>
          </c:dPt>
          <c:dPt>
            <c:idx val="436"/>
            <c:invertIfNegative val="1"/>
            <c:bubble3D val="0"/>
            <c:spPr>
              <a:solidFill>
                <a:srgbClr val="7ECAC4"/>
              </a:solidFill>
            </c:spPr>
            <c:extLst>
              <c:ext xmlns:c16="http://schemas.microsoft.com/office/drawing/2014/chart" uri="{C3380CC4-5D6E-409C-BE32-E72D297353CC}">
                <c16:uniqueId val="{0000036B-7B8A-44CE-B0AF-B4D4D3438E61}"/>
              </c:ext>
            </c:extLst>
          </c:dPt>
          <c:dPt>
            <c:idx val="437"/>
            <c:invertIfNegative val="1"/>
            <c:bubble3D val="0"/>
            <c:spPr>
              <a:solidFill>
                <a:srgbClr val="7ECAC4"/>
              </a:solidFill>
            </c:spPr>
            <c:extLst>
              <c:ext xmlns:c16="http://schemas.microsoft.com/office/drawing/2014/chart" uri="{C3380CC4-5D6E-409C-BE32-E72D297353CC}">
                <c16:uniqueId val="{0000036D-7B8A-44CE-B0AF-B4D4D3438E61}"/>
              </c:ext>
            </c:extLst>
          </c:dPt>
          <c:dPt>
            <c:idx val="438"/>
            <c:invertIfNegative val="1"/>
            <c:bubble3D val="0"/>
            <c:spPr>
              <a:solidFill>
                <a:srgbClr val="7ECAC4"/>
              </a:solidFill>
            </c:spPr>
            <c:extLst>
              <c:ext xmlns:c16="http://schemas.microsoft.com/office/drawing/2014/chart" uri="{C3380CC4-5D6E-409C-BE32-E72D297353CC}">
                <c16:uniqueId val="{0000036F-7B8A-44CE-B0AF-B4D4D3438E61}"/>
              </c:ext>
            </c:extLst>
          </c:dPt>
          <c:dPt>
            <c:idx val="439"/>
            <c:invertIfNegative val="1"/>
            <c:bubble3D val="0"/>
            <c:spPr>
              <a:solidFill>
                <a:srgbClr val="7ECAC4"/>
              </a:solidFill>
            </c:spPr>
            <c:extLst>
              <c:ext xmlns:c16="http://schemas.microsoft.com/office/drawing/2014/chart" uri="{C3380CC4-5D6E-409C-BE32-E72D297353CC}">
                <c16:uniqueId val="{00000371-7B8A-44CE-B0AF-B4D4D3438E61}"/>
              </c:ext>
            </c:extLst>
          </c:dPt>
          <c:dPt>
            <c:idx val="440"/>
            <c:invertIfNegative val="1"/>
            <c:bubble3D val="0"/>
            <c:spPr>
              <a:solidFill>
                <a:srgbClr val="AEABAB"/>
              </a:solidFill>
            </c:spPr>
            <c:extLst>
              <c:ext xmlns:c16="http://schemas.microsoft.com/office/drawing/2014/chart" uri="{C3380CC4-5D6E-409C-BE32-E72D297353CC}">
                <c16:uniqueId val="{00000373-7B8A-44CE-B0AF-B4D4D3438E61}"/>
              </c:ext>
            </c:extLst>
          </c:dPt>
          <c:dPt>
            <c:idx val="441"/>
            <c:invertIfNegative val="1"/>
            <c:bubble3D val="0"/>
            <c:spPr>
              <a:solidFill>
                <a:srgbClr val="AEABAB"/>
              </a:solidFill>
            </c:spPr>
            <c:extLst>
              <c:ext xmlns:c16="http://schemas.microsoft.com/office/drawing/2014/chart" uri="{C3380CC4-5D6E-409C-BE32-E72D297353CC}">
                <c16:uniqueId val="{00000375-7B8A-44CE-B0AF-B4D4D3438E61}"/>
              </c:ext>
            </c:extLst>
          </c:dPt>
          <c:dPt>
            <c:idx val="442"/>
            <c:invertIfNegative val="1"/>
            <c:bubble3D val="0"/>
            <c:spPr>
              <a:solidFill>
                <a:srgbClr val="AEABAB"/>
              </a:solidFill>
            </c:spPr>
            <c:extLst>
              <c:ext xmlns:c16="http://schemas.microsoft.com/office/drawing/2014/chart" uri="{C3380CC4-5D6E-409C-BE32-E72D297353CC}">
                <c16:uniqueId val="{00000377-7B8A-44CE-B0AF-B4D4D3438E61}"/>
              </c:ext>
            </c:extLst>
          </c:dPt>
          <c:dPt>
            <c:idx val="443"/>
            <c:invertIfNegative val="1"/>
            <c:bubble3D val="0"/>
            <c:spPr>
              <a:solidFill>
                <a:srgbClr val="AEABAB"/>
              </a:solidFill>
            </c:spPr>
            <c:extLst>
              <c:ext xmlns:c16="http://schemas.microsoft.com/office/drawing/2014/chart" uri="{C3380CC4-5D6E-409C-BE32-E72D297353CC}">
                <c16:uniqueId val="{00000379-7B8A-44CE-B0AF-B4D4D3438E61}"/>
              </c:ext>
            </c:extLst>
          </c:dPt>
          <c:dPt>
            <c:idx val="444"/>
            <c:invertIfNegative val="1"/>
            <c:bubble3D val="0"/>
            <c:spPr>
              <a:solidFill>
                <a:srgbClr val="AEABAB"/>
              </a:solidFill>
            </c:spPr>
            <c:extLst>
              <c:ext xmlns:c16="http://schemas.microsoft.com/office/drawing/2014/chart" uri="{C3380CC4-5D6E-409C-BE32-E72D297353CC}">
                <c16:uniqueId val="{0000037B-7B8A-44CE-B0AF-B4D4D3438E61}"/>
              </c:ext>
            </c:extLst>
          </c:dPt>
          <c:dPt>
            <c:idx val="445"/>
            <c:invertIfNegative val="1"/>
            <c:bubble3D val="0"/>
            <c:spPr>
              <a:solidFill>
                <a:srgbClr val="AEABAB"/>
              </a:solidFill>
            </c:spPr>
            <c:extLst>
              <c:ext xmlns:c16="http://schemas.microsoft.com/office/drawing/2014/chart" uri="{C3380CC4-5D6E-409C-BE32-E72D297353CC}">
                <c16:uniqueId val="{0000037D-7B8A-44CE-B0AF-B4D4D3438E61}"/>
              </c:ext>
            </c:extLst>
          </c:dPt>
          <c:dPt>
            <c:idx val="446"/>
            <c:invertIfNegative val="1"/>
            <c:bubble3D val="0"/>
            <c:spPr>
              <a:solidFill>
                <a:srgbClr val="AEABAB"/>
              </a:solidFill>
            </c:spPr>
            <c:extLst>
              <c:ext xmlns:c16="http://schemas.microsoft.com/office/drawing/2014/chart" uri="{C3380CC4-5D6E-409C-BE32-E72D297353CC}">
                <c16:uniqueId val="{0000037F-7B8A-44CE-B0AF-B4D4D3438E61}"/>
              </c:ext>
            </c:extLst>
          </c:dPt>
          <c:dPt>
            <c:idx val="447"/>
            <c:invertIfNegative val="1"/>
            <c:bubble3D val="0"/>
            <c:spPr>
              <a:solidFill>
                <a:srgbClr val="AEABAB"/>
              </a:solidFill>
            </c:spPr>
            <c:extLst>
              <c:ext xmlns:c16="http://schemas.microsoft.com/office/drawing/2014/chart" uri="{C3380CC4-5D6E-409C-BE32-E72D297353CC}">
                <c16:uniqueId val="{00000381-7B8A-44CE-B0AF-B4D4D3438E61}"/>
              </c:ext>
            </c:extLst>
          </c:dPt>
          <c:dPt>
            <c:idx val="448"/>
            <c:invertIfNegative val="1"/>
            <c:bubble3D val="0"/>
            <c:spPr>
              <a:solidFill>
                <a:srgbClr val="AEABAB"/>
              </a:solidFill>
            </c:spPr>
            <c:extLst>
              <c:ext xmlns:c16="http://schemas.microsoft.com/office/drawing/2014/chart" uri="{C3380CC4-5D6E-409C-BE32-E72D297353CC}">
                <c16:uniqueId val="{00000383-7B8A-44CE-B0AF-B4D4D3438E61}"/>
              </c:ext>
            </c:extLst>
          </c:dPt>
          <c:dPt>
            <c:idx val="449"/>
            <c:invertIfNegative val="1"/>
            <c:bubble3D val="0"/>
            <c:spPr>
              <a:solidFill>
                <a:srgbClr val="AEABAB"/>
              </a:solidFill>
            </c:spPr>
            <c:extLst>
              <c:ext xmlns:c16="http://schemas.microsoft.com/office/drawing/2014/chart" uri="{C3380CC4-5D6E-409C-BE32-E72D297353CC}">
                <c16:uniqueId val="{00000385-7B8A-44CE-B0AF-B4D4D3438E61}"/>
              </c:ext>
            </c:extLst>
          </c:dPt>
          <c:dPt>
            <c:idx val="450"/>
            <c:invertIfNegative val="1"/>
            <c:bubble3D val="0"/>
            <c:spPr>
              <a:solidFill>
                <a:srgbClr val="AEABAB"/>
              </a:solidFill>
            </c:spPr>
            <c:extLst>
              <c:ext xmlns:c16="http://schemas.microsoft.com/office/drawing/2014/chart" uri="{C3380CC4-5D6E-409C-BE32-E72D297353CC}">
                <c16:uniqueId val="{00000387-7B8A-44CE-B0AF-B4D4D3438E61}"/>
              </c:ext>
            </c:extLst>
          </c:dPt>
          <c:dPt>
            <c:idx val="451"/>
            <c:invertIfNegative val="1"/>
            <c:bubble3D val="0"/>
            <c:spPr>
              <a:solidFill>
                <a:srgbClr val="AEABAB"/>
              </a:solidFill>
            </c:spPr>
            <c:extLst>
              <c:ext xmlns:c16="http://schemas.microsoft.com/office/drawing/2014/chart" uri="{C3380CC4-5D6E-409C-BE32-E72D297353CC}">
                <c16:uniqueId val="{00000389-7B8A-44CE-B0AF-B4D4D3438E61}"/>
              </c:ext>
            </c:extLst>
          </c:dPt>
          <c:dPt>
            <c:idx val="452"/>
            <c:invertIfNegative val="1"/>
            <c:bubble3D val="0"/>
            <c:spPr>
              <a:solidFill>
                <a:srgbClr val="AEABAB"/>
              </a:solidFill>
            </c:spPr>
            <c:extLst>
              <c:ext xmlns:c16="http://schemas.microsoft.com/office/drawing/2014/chart" uri="{C3380CC4-5D6E-409C-BE32-E72D297353CC}">
                <c16:uniqueId val="{0000038B-7B8A-44CE-B0AF-B4D4D3438E61}"/>
              </c:ext>
            </c:extLst>
          </c:dPt>
          <c:dPt>
            <c:idx val="453"/>
            <c:invertIfNegative val="1"/>
            <c:bubble3D val="0"/>
            <c:spPr>
              <a:solidFill>
                <a:srgbClr val="AEABAB"/>
              </a:solidFill>
            </c:spPr>
            <c:extLst>
              <c:ext xmlns:c16="http://schemas.microsoft.com/office/drawing/2014/chart" uri="{C3380CC4-5D6E-409C-BE32-E72D297353CC}">
                <c16:uniqueId val="{0000038D-7B8A-44CE-B0AF-B4D4D3438E61}"/>
              </c:ext>
            </c:extLst>
          </c:dPt>
          <c:dPt>
            <c:idx val="454"/>
            <c:invertIfNegative val="1"/>
            <c:bubble3D val="0"/>
            <c:spPr>
              <a:solidFill>
                <a:srgbClr val="AEABAB"/>
              </a:solidFill>
            </c:spPr>
            <c:extLst>
              <c:ext xmlns:c16="http://schemas.microsoft.com/office/drawing/2014/chart" uri="{C3380CC4-5D6E-409C-BE32-E72D297353CC}">
                <c16:uniqueId val="{0000038F-7B8A-44CE-B0AF-B4D4D3438E61}"/>
              </c:ext>
            </c:extLst>
          </c:dPt>
          <c:dPt>
            <c:idx val="455"/>
            <c:invertIfNegative val="1"/>
            <c:bubble3D val="0"/>
            <c:spPr>
              <a:solidFill>
                <a:srgbClr val="AEABAB"/>
              </a:solidFill>
            </c:spPr>
            <c:extLst>
              <c:ext xmlns:c16="http://schemas.microsoft.com/office/drawing/2014/chart" uri="{C3380CC4-5D6E-409C-BE32-E72D297353CC}">
                <c16:uniqueId val="{00000391-7B8A-44CE-B0AF-B4D4D3438E61}"/>
              </c:ext>
            </c:extLst>
          </c:dPt>
          <c:dPt>
            <c:idx val="456"/>
            <c:invertIfNegative val="1"/>
            <c:bubble3D val="0"/>
            <c:spPr>
              <a:solidFill>
                <a:srgbClr val="AEABAB"/>
              </a:solidFill>
            </c:spPr>
            <c:extLst>
              <c:ext xmlns:c16="http://schemas.microsoft.com/office/drawing/2014/chart" uri="{C3380CC4-5D6E-409C-BE32-E72D297353CC}">
                <c16:uniqueId val="{00000393-7B8A-44CE-B0AF-B4D4D3438E61}"/>
              </c:ext>
            </c:extLst>
          </c:dPt>
          <c:dPt>
            <c:idx val="457"/>
            <c:invertIfNegative val="1"/>
            <c:bubble3D val="0"/>
            <c:spPr>
              <a:solidFill>
                <a:srgbClr val="AEABAB"/>
              </a:solidFill>
            </c:spPr>
            <c:extLst>
              <c:ext xmlns:c16="http://schemas.microsoft.com/office/drawing/2014/chart" uri="{C3380CC4-5D6E-409C-BE32-E72D297353CC}">
                <c16:uniqueId val="{00000395-7B8A-44CE-B0AF-B4D4D3438E61}"/>
              </c:ext>
            </c:extLst>
          </c:dPt>
          <c:dPt>
            <c:idx val="458"/>
            <c:invertIfNegative val="1"/>
            <c:bubble3D val="0"/>
            <c:spPr>
              <a:solidFill>
                <a:srgbClr val="AEABAB"/>
              </a:solidFill>
            </c:spPr>
            <c:extLst>
              <c:ext xmlns:c16="http://schemas.microsoft.com/office/drawing/2014/chart" uri="{C3380CC4-5D6E-409C-BE32-E72D297353CC}">
                <c16:uniqueId val="{00000397-7B8A-44CE-B0AF-B4D4D3438E61}"/>
              </c:ext>
            </c:extLst>
          </c:dPt>
          <c:dPt>
            <c:idx val="459"/>
            <c:invertIfNegative val="1"/>
            <c:bubble3D val="0"/>
            <c:spPr>
              <a:solidFill>
                <a:srgbClr val="AEABAB"/>
              </a:solidFill>
            </c:spPr>
            <c:extLst>
              <c:ext xmlns:c16="http://schemas.microsoft.com/office/drawing/2014/chart" uri="{C3380CC4-5D6E-409C-BE32-E72D297353CC}">
                <c16:uniqueId val="{00000399-7B8A-44CE-B0AF-B4D4D3438E61}"/>
              </c:ext>
            </c:extLst>
          </c:dPt>
          <c:dPt>
            <c:idx val="460"/>
            <c:invertIfNegative val="1"/>
            <c:bubble3D val="0"/>
            <c:spPr>
              <a:solidFill>
                <a:srgbClr val="AEABAB"/>
              </a:solidFill>
            </c:spPr>
            <c:extLst>
              <c:ext xmlns:c16="http://schemas.microsoft.com/office/drawing/2014/chart" uri="{C3380CC4-5D6E-409C-BE32-E72D297353CC}">
                <c16:uniqueId val="{0000039B-7B8A-44CE-B0AF-B4D4D3438E61}"/>
              </c:ext>
            </c:extLst>
          </c:dPt>
          <c:dPt>
            <c:idx val="461"/>
            <c:invertIfNegative val="1"/>
            <c:bubble3D val="0"/>
            <c:spPr>
              <a:solidFill>
                <a:srgbClr val="AEABAB"/>
              </a:solidFill>
            </c:spPr>
            <c:extLst>
              <c:ext xmlns:c16="http://schemas.microsoft.com/office/drawing/2014/chart" uri="{C3380CC4-5D6E-409C-BE32-E72D297353CC}">
                <c16:uniqueId val="{0000039D-7B8A-44CE-B0AF-B4D4D3438E61}"/>
              </c:ext>
            </c:extLst>
          </c:dPt>
          <c:dPt>
            <c:idx val="462"/>
            <c:invertIfNegative val="1"/>
            <c:bubble3D val="0"/>
            <c:spPr>
              <a:solidFill>
                <a:srgbClr val="AEABAB"/>
              </a:solidFill>
            </c:spPr>
            <c:extLst>
              <c:ext xmlns:c16="http://schemas.microsoft.com/office/drawing/2014/chart" uri="{C3380CC4-5D6E-409C-BE32-E72D297353CC}">
                <c16:uniqueId val="{0000039F-7B8A-44CE-B0AF-B4D4D3438E61}"/>
              </c:ext>
            </c:extLst>
          </c:dPt>
          <c:dPt>
            <c:idx val="463"/>
            <c:invertIfNegative val="1"/>
            <c:bubble3D val="0"/>
            <c:spPr>
              <a:solidFill>
                <a:srgbClr val="AEABAB"/>
              </a:solidFill>
            </c:spPr>
            <c:extLst>
              <c:ext xmlns:c16="http://schemas.microsoft.com/office/drawing/2014/chart" uri="{C3380CC4-5D6E-409C-BE32-E72D297353CC}">
                <c16:uniqueId val="{000003A1-7B8A-44CE-B0AF-B4D4D3438E61}"/>
              </c:ext>
            </c:extLst>
          </c:dPt>
          <c:dPt>
            <c:idx val="464"/>
            <c:invertIfNegative val="1"/>
            <c:bubble3D val="0"/>
            <c:spPr>
              <a:solidFill>
                <a:srgbClr val="AEABAB"/>
              </a:solidFill>
            </c:spPr>
            <c:extLst>
              <c:ext xmlns:c16="http://schemas.microsoft.com/office/drawing/2014/chart" uri="{C3380CC4-5D6E-409C-BE32-E72D297353CC}">
                <c16:uniqueId val="{000003A3-7B8A-44CE-B0AF-B4D4D3438E61}"/>
              </c:ext>
            </c:extLst>
          </c:dPt>
          <c:dPt>
            <c:idx val="465"/>
            <c:invertIfNegative val="1"/>
            <c:bubble3D val="0"/>
            <c:spPr>
              <a:solidFill>
                <a:srgbClr val="AEABAB"/>
              </a:solidFill>
            </c:spPr>
            <c:extLst>
              <c:ext xmlns:c16="http://schemas.microsoft.com/office/drawing/2014/chart" uri="{C3380CC4-5D6E-409C-BE32-E72D297353CC}">
                <c16:uniqueId val="{000003A5-7B8A-44CE-B0AF-B4D4D3438E61}"/>
              </c:ext>
            </c:extLst>
          </c:dPt>
          <c:dPt>
            <c:idx val="466"/>
            <c:invertIfNegative val="1"/>
            <c:bubble3D val="0"/>
            <c:spPr>
              <a:solidFill>
                <a:srgbClr val="AEABAB"/>
              </a:solidFill>
            </c:spPr>
            <c:extLst>
              <c:ext xmlns:c16="http://schemas.microsoft.com/office/drawing/2014/chart" uri="{C3380CC4-5D6E-409C-BE32-E72D297353CC}">
                <c16:uniqueId val="{000003A7-7B8A-44CE-B0AF-B4D4D3438E61}"/>
              </c:ext>
            </c:extLst>
          </c:dPt>
          <c:dPt>
            <c:idx val="467"/>
            <c:invertIfNegative val="1"/>
            <c:bubble3D val="0"/>
            <c:spPr>
              <a:solidFill>
                <a:srgbClr val="AEABAB"/>
              </a:solidFill>
            </c:spPr>
            <c:extLst>
              <c:ext xmlns:c16="http://schemas.microsoft.com/office/drawing/2014/chart" uri="{C3380CC4-5D6E-409C-BE32-E72D297353CC}">
                <c16:uniqueId val="{000003A9-7B8A-44CE-B0AF-B4D4D3438E61}"/>
              </c:ext>
            </c:extLst>
          </c:dPt>
          <c:dPt>
            <c:idx val="468"/>
            <c:invertIfNegative val="1"/>
            <c:bubble3D val="0"/>
            <c:spPr>
              <a:solidFill>
                <a:srgbClr val="AEABAB"/>
              </a:solidFill>
            </c:spPr>
            <c:extLst>
              <c:ext xmlns:c16="http://schemas.microsoft.com/office/drawing/2014/chart" uri="{C3380CC4-5D6E-409C-BE32-E72D297353CC}">
                <c16:uniqueId val="{000003AB-7B8A-44CE-B0AF-B4D4D3438E61}"/>
              </c:ext>
            </c:extLst>
          </c:dPt>
          <c:dPt>
            <c:idx val="469"/>
            <c:invertIfNegative val="1"/>
            <c:bubble3D val="0"/>
            <c:spPr>
              <a:solidFill>
                <a:srgbClr val="AEABAB"/>
              </a:solidFill>
            </c:spPr>
            <c:extLst>
              <c:ext xmlns:c16="http://schemas.microsoft.com/office/drawing/2014/chart" uri="{C3380CC4-5D6E-409C-BE32-E72D297353CC}">
                <c16:uniqueId val="{000003AD-7B8A-44CE-B0AF-B4D4D3438E61}"/>
              </c:ext>
            </c:extLst>
          </c:dPt>
          <c:dPt>
            <c:idx val="470"/>
            <c:invertIfNegative val="1"/>
            <c:bubble3D val="0"/>
            <c:spPr>
              <a:solidFill>
                <a:srgbClr val="AEABAB"/>
              </a:solidFill>
            </c:spPr>
            <c:extLst>
              <c:ext xmlns:c16="http://schemas.microsoft.com/office/drawing/2014/chart" uri="{C3380CC4-5D6E-409C-BE32-E72D297353CC}">
                <c16:uniqueId val="{000003AF-7B8A-44CE-B0AF-B4D4D3438E61}"/>
              </c:ext>
            </c:extLst>
          </c:dPt>
          <c:dPt>
            <c:idx val="471"/>
            <c:invertIfNegative val="1"/>
            <c:bubble3D val="0"/>
            <c:spPr>
              <a:solidFill>
                <a:srgbClr val="AEABAB"/>
              </a:solidFill>
            </c:spPr>
            <c:extLst>
              <c:ext xmlns:c16="http://schemas.microsoft.com/office/drawing/2014/chart" uri="{C3380CC4-5D6E-409C-BE32-E72D297353CC}">
                <c16:uniqueId val="{000003B1-7B8A-44CE-B0AF-B4D4D3438E61}"/>
              </c:ext>
            </c:extLst>
          </c:dPt>
          <c:dPt>
            <c:idx val="472"/>
            <c:invertIfNegative val="1"/>
            <c:bubble3D val="0"/>
            <c:spPr>
              <a:solidFill>
                <a:srgbClr val="AEABAB"/>
              </a:solidFill>
            </c:spPr>
            <c:extLst>
              <c:ext xmlns:c16="http://schemas.microsoft.com/office/drawing/2014/chart" uri="{C3380CC4-5D6E-409C-BE32-E72D297353CC}">
                <c16:uniqueId val="{000003B3-7B8A-44CE-B0AF-B4D4D3438E61}"/>
              </c:ext>
            </c:extLst>
          </c:dPt>
          <c:dPt>
            <c:idx val="473"/>
            <c:invertIfNegative val="1"/>
            <c:bubble3D val="0"/>
            <c:spPr>
              <a:solidFill>
                <a:srgbClr val="AEABAB"/>
              </a:solidFill>
            </c:spPr>
            <c:extLst>
              <c:ext xmlns:c16="http://schemas.microsoft.com/office/drawing/2014/chart" uri="{C3380CC4-5D6E-409C-BE32-E72D297353CC}">
                <c16:uniqueId val="{000003B5-7B8A-44CE-B0AF-B4D4D3438E61}"/>
              </c:ext>
            </c:extLst>
          </c:dPt>
          <c:dPt>
            <c:idx val="474"/>
            <c:invertIfNegative val="1"/>
            <c:bubble3D val="0"/>
            <c:spPr>
              <a:solidFill>
                <a:srgbClr val="AEABAB"/>
              </a:solidFill>
            </c:spPr>
            <c:extLst>
              <c:ext xmlns:c16="http://schemas.microsoft.com/office/drawing/2014/chart" uri="{C3380CC4-5D6E-409C-BE32-E72D297353CC}">
                <c16:uniqueId val="{000003B7-7B8A-44CE-B0AF-B4D4D3438E61}"/>
              </c:ext>
            </c:extLst>
          </c:dPt>
          <c:dPt>
            <c:idx val="475"/>
            <c:invertIfNegative val="1"/>
            <c:bubble3D val="0"/>
            <c:spPr>
              <a:solidFill>
                <a:srgbClr val="AEABAB"/>
              </a:solidFill>
            </c:spPr>
            <c:extLst>
              <c:ext xmlns:c16="http://schemas.microsoft.com/office/drawing/2014/chart" uri="{C3380CC4-5D6E-409C-BE32-E72D297353CC}">
                <c16:uniqueId val="{000003B9-7B8A-44CE-B0AF-B4D4D3438E61}"/>
              </c:ext>
            </c:extLst>
          </c:dPt>
          <c:dPt>
            <c:idx val="476"/>
            <c:invertIfNegative val="1"/>
            <c:bubble3D val="0"/>
            <c:spPr>
              <a:solidFill>
                <a:srgbClr val="AEABAB"/>
              </a:solidFill>
            </c:spPr>
            <c:extLst>
              <c:ext xmlns:c16="http://schemas.microsoft.com/office/drawing/2014/chart" uri="{C3380CC4-5D6E-409C-BE32-E72D297353CC}">
                <c16:uniqueId val="{000003BB-7B8A-44CE-B0AF-B4D4D3438E61}"/>
              </c:ext>
            </c:extLst>
          </c:dPt>
          <c:dPt>
            <c:idx val="477"/>
            <c:invertIfNegative val="1"/>
            <c:bubble3D val="0"/>
            <c:spPr>
              <a:solidFill>
                <a:srgbClr val="AEABAB"/>
              </a:solidFill>
            </c:spPr>
            <c:extLst>
              <c:ext xmlns:c16="http://schemas.microsoft.com/office/drawing/2014/chart" uri="{C3380CC4-5D6E-409C-BE32-E72D297353CC}">
                <c16:uniqueId val="{000003BD-7B8A-44CE-B0AF-B4D4D3438E61}"/>
              </c:ext>
            </c:extLst>
          </c:dPt>
          <c:dPt>
            <c:idx val="478"/>
            <c:invertIfNegative val="1"/>
            <c:bubble3D val="0"/>
            <c:spPr>
              <a:solidFill>
                <a:srgbClr val="AEABAB"/>
              </a:solidFill>
            </c:spPr>
            <c:extLst>
              <c:ext xmlns:c16="http://schemas.microsoft.com/office/drawing/2014/chart" uri="{C3380CC4-5D6E-409C-BE32-E72D297353CC}">
                <c16:uniqueId val="{000003BF-7B8A-44CE-B0AF-B4D4D3438E61}"/>
              </c:ext>
            </c:extLst>
          </c:dPt>
          <c:dPt>
            <c:idx val="479"/>
            <c:invertIfNegative val="1"/>
            <c:bubble3D val="0"/>
            <c:spPr>
              <a:solidFill>
                <a:srgbClr val="AEABAB"/>
              </a:solidFill>
            </c:spPr>
            <c:extLst>
              <c:ext xmlns:c16="http://schemas.microsoft.com/office/drawing/2014/chart" uri="{C3380CC4-5D6E-409C-BE32-E72D297353CC}">
                <c16:uniqueId val="{000003C1-7B8A-44CE-B0AF-B4D4D3438E61}"/>
              </c:ext>
            </c:extLst>
          </c:dPt>
          <c:dPt>
            <c:idx val="480"/>
            <c:invertIfNegative val="1"/>
            <c:bubble3D val="0"/>
            <c:spPr>
              <a:solidFill>
                <a:srgbClr val="AEABAB"/>
              </a:solidFill>
            </c:spPr>
            <c:extLst>
              <c:ext xmlns:c16="http://schemas.microsoft.com/office/drawing/2014/chart" uri="{C3380CC4-5D6E-409C-BE32-E72D297353CC}">
                <c16:uniqueId val="{000003C3-7B8A-44CE-B0AF-B4D4D3438E61}"/>
              </c:ext>
            </c:extLst>
          </c:dPt>
          <c:dPt>
            <c:idx val="481"/>
            <c:invertIfNegative val="1"/>
            <c:bubble3D val="0"/>
            <c:spPr>
              <a:solidFill>
                <a:srgbClr val="AEABAB"/>
              </a:solidFill>
            </c:spPr>
            <c:extLst>
              <c:ext xmlns:c16="http://schemas.microsoft.com/office/drawing/2014/chart" uri="{C3380CC4-5D6E-409C-BE32-E72D297353CC}">
                <c16:uniqueId val="{000003C5-7B8A-44CE-B0AF-B4D4D3438E61}"/>
              </c:ext>
            </c:extLst>
          </c:dPt>
          <c:dPt>
            <c:idx val="482"/>
            <c:invertIfNegative val="1"/>
            <c:bubble3D val="0"/>
            <c:spPr>
              <a:solidFill>
                <a:srgbClr val="AEABAB"/>
              </a:solidFill>
            </c:spPr>
            <c:extLst>
              <c:ext xmlns:c16="http://schemas.microsoft.com/office/drawing/2014/chart" uri="{C3380CC4-5D6E-409C-BE32-E72D297353CC}">
                <c16:uniqueId val="{000003C7-7B8A-44CE-B0AF-B4D4D3438E61}"/>
              </c:ext>
            </c:extLst>
          </c:dPt>
          <c:dPt>
            <c:idx val="483"/>
            <c:invertIfNegative val="1"/>
            <c:bubble3D val="0"/>
            <c:spPr>
              <a:solidFill>
                <a:srgbClr val="AEABAB"/>
              </a:solidFill>
            </c:spPr>
            <c:extLst>
              <c:ext xmlns:c16="http://schemas.microsoft.com/office/drawing/2014/chart" uri="{C3380CC4-5D6E-409C-BE32-E72D297353CC}">
                <c16:uniqueId val="{000003C9-7B8A-44CE-B0AF-B4D4D3438E61}"/>
              </c:ext>
            </c:extLst>
          </c:dPt>
          <c:dPt>
            <c:idx val="484"/>
            <c:invertIfNegative val="1"/>
            <c:bubble3D val="0"/>
            <c:spPr>
              <a:solidFill>
                <a:srgbClr val="AEABAB"/>
              </a:solidFill>
            </c:spPr>
            <c:extLst>
              <c:ext xmlns:c16="http://schemas.microsoft.com/office/drawing/2014/chart" uri="{C3380CC4-5D6E-409C-BE32-E72D297353CC}">
                <c16:uniqueId val="{000003CB-7B8A-44CE-B0AF-B4D4D3438E61}"/>
              </c:ext>
            </c:extLst>
          </c:dPt>
          <c:dPt>
            <c:idx val="485"/>
            <c:invertIfNegative val="1"/>
            <c:bubble3D val="0"/>
            <c:spPr>
              <a:solidFill>
                <a:srgbClr val="AEABAB"/>
              </a:solidFill>
            </c:spPr>
            <c:extLst>
              <c:ext xmlns:c16="http://schemas.microsoft.com/office/drawing/2014/chart" uri="{C3380CC4-5D6E-409C-BE32-E72D297353CC}">
                <c16:uniqueId val="{000003CD-7B8A-44CE-B0AF-B4D4D3438E61}"/>
              </c:ext>
            </c:extLst>
          </c:dPt>
          <c:dPt>
            <c:idx val="486"/>
            <c:invertIfNegative val="1"/>
            <c:bubble3D val="0"/>
            <c:spPr>
              <a:solidFill>
                <a:srgbClr val="AEABAB"/>
              </a:solidFill>
            </c:spPr>
            <c:extLst>
              <c:ext xmlns:c16="http://schemas.microsoft.com/office/drawing/2014/chart" uri="{C3380CC4-5D6E-409C-BE32-E72D297353CC}">
                <c16:uniqueId val="{000003CF-7B8A-44CE-B0AF-B4D4D3438E61}"/>
              </c:ext>
            </c:extLst>
          </c:dPt>
          <c:dPt>
            <c:idx val="487"/>
            <c:invertIfNegative val="1"/>
            <c:bubble3D val="0"/>
            <c:spPr>
              <a:solidFill>
                <a:srgbClr val="AEABAB"/>
              </a:solidFill>
            </c:spPr>
            <c:extLst>
              <c:ext xmlns:c16="http://schemas.microsoft.com/office/drawing/2014/chart" uri="{C3380CC4-5D6E-409C-BE32-E72D297353CC}">
                <c16:uniqueId val="{000003D1-7B8A-44CE-B0AF-B4D4D3438E61}"/>
              </c:ext>
            </c:extLst>
          </c:dPt>
          <c:dPt>
            <c:idx val="488"/>
            <c:invertIfNegative val="1"/>
            <c:bubble3D val="0"/>
            <c:spPr>
              <a:solidFill>
                <a:srgbClr val="AEABAB"/>
              </a:solidFill>
            </c:spPr>
            <c:extLst>
              <c:ext xmlns:c16="http://schemas.microsoft.com/office/drawing/2014/chart" uri="{C3380CC4-5D6E-409C-BE32-E72D297353CC}">
                <c16:uniqueId val="{000003D3-7B8A-44CE-B0AF-B4D4D3438E61}"/>
              </c:ext>
            </c:extLst>
          </c:dPt>
          <c:dPt>
            <c:idx val="489"/>
            <c:invertIfNegative val="1"/>
            <c:bubble3D val="0"/>
            <c:spPr>
              <a:solidFill>
                <a:srgbClr val="AEABAB"/>
              </a:solidFill>
            </c:spPr>
            <c:extLst>
              <c:ext xmlns:c16="http://schemas.microsoft.com/office/drawing/2014/chart" uri="{C3380CC4-5D6E-409C-BE32-E72D297353CC}">
                <c16:uniqueId val="{000003D5-7B8A-44CE-B0AF-B4D4D3438E61}"/>
              </c:ext>
            </c:extLst>
          </c:dPt>
          <c:dPt>
            <c:idx val="490"/>
            <c:invertIfNegative val="1"/>
            <c:bubble3D val="0"/>
            <c:spPr>
              <a:solidFill>
                <a:srgbClr val="AEABAB"/>
              </a:solidFill>
            </c:spPr>
            <c:extLst>
              <c:ext xmlns:c16="http://schemas.microsoft.com/office/drawing/2014/chart" uri="{C3380CC4-5D6E-409C-BE32-E72D297353CC}">
                <c16:uniqueId val="{000003D7-7B8A-44CE-B0AF-B4D4D3438E61}"/>
              </c:ext>
            </c:extLst>
          </c:dPt>
          <c:dPt>
            <c:idx val="491"/>
            <c:invertIfNegative val="1"/>
            <c:bubble3D val="0"/>
            <c:spPr>
              <a:solidFill>
                <a:srgbClr val="AEABAB"/>
              </a:solidFill>
            </c:spPr>
            <c:extLst>
              <c:ext xmlns:c16="http://schemas.microsoft.com/office/drawing/2014/chart" uri="{C3380CC4-5D6E-409C-BE32-E72D297353CC}">
                <c16:uniqueId val="{000003D9-7B8A-44CE-B0AF-B4D4D3438E61}"/>
              </c:ext>
            </c:extLst>
          </c:dPt>
          <c:dPt>
            <c:idx val="492"/>
            <c:invertIfNegative val="1"/>
            <c:bubble3D val="0"/>
            <c:spPr>
              <a:solidFill>
                <a:srgbClr val="AEABAB"/>
              </a:solidFill>
            </c:spPr>
            <c:extLst>
              <c:ext xmlns:c16="http://schemas.microsoft.com/office/drawing/2014/chart" uri="{C3380CC4-5D6E-409C-BE32-E72D297353CC}">
                <c16:uniqueId val="{000003DB-7B8A-44CE-B0AF-B4D4D3438E61}"/>
              </c:ext>
            </c:extLst>
          </c:dPt>
          <c:dPt>
            <c:idx val="493"/>
            <c:invertIfNegative val="1"/>
            <c:bubble3D val="0"/>
            <c:spPr>
              <a:solidFill>
                <a:srgbClr val="AEABAB"/>
              </a:solidFill>
            </c:spPr>
            <c:extLst>
              <c:ext xmlns:c16="http://schemas.microsoft.com/office/drawing/2014/chart" uri="{C3380CC4-5D6E-409C-BE32-E72D297353CC}">
                <c16:uniqueId val="{000003DD-7B8A-44CE-B0AF-B4D4D3438E61}"/>
              </c:ext>
            </c:extLst>
          </c:dPt>
          <c:dPt>
            <c:idx val="494"/>
            <c:invertIfNegative val="1"/>
            <c:bubble3D val="0"/>
            <c:spPr>
              <a:solidFill>
                <a:srgbClr val="AEABAB"/>
              </a:solidFill>
            </c:spPr>
            <c:extLst>
              <c:ext xmlns:c16="http://schemas.microsoft.com/office/drawing/2014/chart" uri="{C3380CC4-5D6E-409C-BE32-E72D297353CC}">
                <c16:uniqueId val="{000003DF-7B8A-44CE-B0AF-B4D4D3438E61}"/>
              </c:ext>
            </c:extLst>
          </c:dPt>
          <c:dPt>
            <c:idx val="495"/>
            <c:invertIfNegative val="1"/>
            <c:bubble3D val="0"/>
            <c:spPr>
              <a:solidFill>
                <a:srgbClr val="AEABAB"/>
              </a:solidFill>
            </c:spPr>
            <c:extLst>
              <c:ext xmlns:c16="http://schemas.microsoft.com/office/drawing/2014/chart" uri="{C3380CC4-5D6E-409C-BE32-E72D297353CC}">
                <c16:uniqueId val="{000003E1-7B8A-44CE-B0AF-B4D4D3438E61}"/>
              </c:ext>
            </c:extLst>
          </c:dPt>
          <c:dPt>
            <c:idx val="496"/>
            <c:invertIfNegative val="1"/>
            <c:bubble3D val="0"/>
            <c:spPr>
              <a:solidFill>
                <a:srgbClr val="AEABAB"/>
              </a:solidFill>
            </c:spPr>
            <c:extLst>
              <c:ext xmlns:c16="http://schemas.microsoft.com/office/drawing/2014/chart" uri="{C3380CC4-5D6E-409C-BE32-E72D297353CC}">
                <c16:uniqueId val="{000003E3-7B8A-44CE-B0AF-B4D4D3438E61}"/>
              </c:ext>
            </c:extLst>
          </c:dPt>
          <c:dPt>
            <c:idx val="497"/>
            <c:invertIfNegative val="1"/>
            <c:bubble3D val="0"/>
            <c:spPr>
              <a:solidFill>
                <a:srgbClr val="AEABAB"/>
              </a:solidFill>
            </c:spPr>
            <c:extLst>
              <c:ext xmlns:c16="http://schemas.microsoft.com/office/drawing/2014/chart" uri="{C3380CC4-5D6E-409C-BE32-E72D297353CC}">
                <c16:uniqueId val="{000003E5-7B8A-44CE-B0AF-B4D4D3438E61}"/>
              </c:ext>
            </c:extLst>
          </c:dPt>
          <c:dPt>
            <c:idx val="498"/>
            <c:invertIfNegative val="1"/>
            <c:bubble3D val="0"/>
            <c:spPr>
              <a:solidFill>
                <a:srgbClr val="AEABAB"/>
              </a:solidFill>
            </c:spPr>
            <c:extLst>
              <c:ext xmlns:c16="http://schemas.microsoft.com/office/drawing/2014/chart" uri="{C3380CC4-5D6E-409C-BE32-E72D297353CC}">
                <c16:uniqueId val="{000003E7-7B8A-44CE-B0AF-B4D4D3438E61}"/>
              </c:ext>
            </c:extLst>
          </c:dPt>
          <c:dPt>
            <c:idx val="499"/>
            <c:invertIfNegative val="1"/>
            <c:bubble3D val="0"/>
            <c:spPr>
              <a:solidFill>
                <a:srgbClr val="AEABAB"/>
              </a:solidFill>
            </c:spPr>
            <c:extLst>
              <c:ext xmlns:c16="http://schemas.microsoft.com/office/drawing/2014/chart" uri="{C3380CC4-5D6E-409C-BE32-E72D297353CC}">
                <c16:uniqueId val="{000003E9-7B8A-44CE-B0AF-B4D4D3438E61}"/>
              </c:ext>
            </c:extLst>
          </c:dPt>
          <c:dPt>
            <c:idx val="500"/>
            <c:invertIfNegative val="1"/>
            <c:bubble3D val="0"/>
            <c:spPr>
              <a:solidFill>
                <a:srgbClr val="AEABAB"/>
              </a:solidFill>
            </c:spPr>
            <c:extLst>
              <c:ext xmlns:c16="http://schemas.microsoft.com/office/drawing/2014/chart" uri="{C3380CC4-5D6E-409C-BE32-E72D297353CC}">
                <c16:uniqueId val="{000003EB-7B8A-44CE-B0AF-B4D4D3438E61}"/>
              </c:ext>
            </c:extLst>
          </c:dPt>
          <c:dPt>
            <c:idx val="501"/>
            <c:invertIfNegative val="1"/>
            <c:bubble3D val="0"/>
            <c:spPr>
              <a:solidFill>
                <a:srgbClr val="AEABAB"/>
              </a:solidFill>
            </c:spPr>
            <c:extLst>
              <c:ext xmlns:c16="http://schemas.microsoft.com/office/drawing/2014/chart" uri="{C3380CC4-5D6E-409C-BE32-E72D297353CC}">
                <c16:uniqueId val="{000003ED-7B8A-44CE-B0AF-B4D4D3438E61}"/>
              </c:ext>
            </c:extLst>
          </c:dPt>
          <c:dPt>
            <c:idx val="502"/>
            <c:invertIfNegative val="1"/>
            <c:bubble3D val="0"/>
            <c:spPr>
              <a:solidFill>
                <a:srgbClr val="AEABAB"/>
              </a:solidFill>
            </c:spPr>
            <c:extLst>
              <c:ext xmlns:c16="http://schemas.microsoft.com/office/drawing/2014/chart" uri="{C3380CC4-5D6E-409C-BE32-E72D297353CC}">
                <c16:uniqueId val="{000003EF-7B8A-44CE-B0AF-B4D4D3438E61}"/>
              </c:ext>
            </c:extLst>
          </c:dPt>
          <c:dPt>
            <c:idx val="503"/>
            <c:invertIfNegative val="1"/>
            <c:bubble3D val="0"/>
            <c:spPr>
              <a:solidFill>
                <a:srgbClr val="AEABAB"/>
              </a:solidFill>
            </c:spPr>
            <c:extLst>
              <c:ext xmlns:c16="http://schemas.microsoft.com/office/drawing/2014/chart" uri="{C3380CC4-5D6E-409C-BE32-E72D297353CC}">
                <c16:uniqueId val="{000003F1-7B8A-44CE-B0AF-B4D4D3438E61}"/>
              </c:ext>
            </c:extLst>
          </c:dPt>
          <c:dPt>
            <c:idx val="504"/>
            <c:invertIfNegative val="1"/>
            <c:bubble3D val="0"/>
            <c:spPr>
              <a:solidFill>
                <a:srgbClr val="AEABAB"/>
              </a:solidFill>
            </c:spPr>
            <c:extLst>
              <c:ext xmlns:c16="http://schemas.microsoft.com/office/drawing/2014/chart" uri="{C3380CC4-5D6E-409C-BE32-E72D297353CC}">
                <c16:uniqueId val="{000003F3-7B8A-44CE-B0AF-B4D4D3438E61}"/>
              </c:ext>
            </c:extLst>
          </c:dPt>
          <c:dPt>
            <c:idx val="505"/>
            <c:invertIfNegative val="1"/>
            <c:bubble3D val="0"/>
            <c:spPr>
              <a:solidFill>
                <a:srgbClr val="AEABAB"/>
              </a:solidFill>
            </c:spPr>
            <c:extLst>
              <c:ext xmlns:c16="http://schemas.microsoft.com/office/drawing/2014/chart" uri="{C3380CC4-5D6E-409C-BE32-E72D297353CC}">
                <c16:uniqueId val="{000003F5-7B8A-44CE-B0AF-B4D4D3438E61}"/>
              </c:ext>
            </c:extLst>
          </c:dPt>
          <c:dPt>
            <c:idx val="506"/>
            <c:invertIfNegative val="1"/>
            <c:bubble3D val="0"/>
            <c:spPr>
              <a:solidFill>
                <a:srgbClr val="AEABAB"/>
              </a:solidFill>
            </c:spPr>
            <c:extLst>
              <c:ext xmlns:c16="http://schemas.microsoft.com/office/drawing/2014/chart" uri="{C3380CC4-5D6E-409C-BE32-E72D297353CC}">
                <c16:uniqueId val="{000003F7-7B8A-44CE-B0AF-B4D4D3438E61}"/>
              </c:ext>
            </c:extLst>
          </c:dPt>
          <c:dPt>
            <c:idx val="507"/>
            <c:invertIfNegative val="1"/>
            <c:bubble3D val="0"/>
            <c:spPr>
              <a:solidFill>
                <a:srgbClr val="AEABAB"/>
              </a:solidFill>
            </c:spPr>
            <c:extLst>
              <c:ext xmlns:c16="http://schemas.microsoft.com/office/drawing/2014/chart" uri="{C3380CC4-5D6E-409C-BE32-E72D297353CC}">
                <c16:uniqueId val="{000003F9-7B8A-44CE-B0AF-B4D4D3438E61}"/>
              </c:ext>
            </c:extLst>
          </c:dPt>
          <c:dPt>
            <c:idx val="508"/>
            <c:invertIfNegative val="1"/>
            <c:bubble3D val="0"/>
            <c:spPr>
              <a:solidFill>
                <a:srgbClr val="AEABAB"/>
              </a:solidFill>
            </c:spPr>
            <c:extLst>
              <c:ext xmlns:c16="http://schemas.microsoft.com/office/drawing/2014/chart" uri="{C3380CC4-5D6E-409C-BE32-E72D297353CC}">
                <c16:uniqueId val="{000003FB-7B8A-44CE-B0AF-B4D4D3438E61}"/>
              </c:ext>
            </c:extLst>
          </c:dPt>
          <c:dPt>
            <c:idx val="509"/>
            <c:invertIfNegative val="1"/>
            <c:bubble3D val="0"/>
            <c:spPr>
              <a:solidFill>
                <a:srgbClr val="AEABAB"/>
              </a:solidFill>
            </c:spPr>
            <c:extLst>
              <c:ext xmlns:c16="http://schemas.microsoft.com/office/drawing/2014/chart" uri="{C3380CC4-5D6E-409C-BE32-E72D297353CC}">
                <c16:uniqueId val="{000003FD-7B8A-44CE-B0AF-B4D4D3438E61}"/>
              </c:ext>
            </c:extLst>
          </c:dPt>
          <c:dPt>
            <c:idx val="510"/>
            <c:invertIfNegative val="1"/>
            <c:bubble3D val="0"/>
            <c:spPr>
              <a:solidFill>
                <a:srgbClr val="AEABAB"/>
              </a:solidFill>
            </c:spPr>
            <c:extLst>
              <c:ext xmlns:c16="http://schemas.microsoft.com/office/drawing/2014/chart" uri="{C3380CC4-5D6E-409C-BE32-E72D297353CC}">
                <c16:uniqueId val="{000003FF-7B8A-44CE-B0AF-B4D4D3438E61}"/>
              </c:ext>
            </c:extLst>
          </c:dPt>
          <c:dPt>
            <c:idx val="511"/>
            <c:invertIfNegative val="1"/>
            <c:bubble3D val="0"/>
            <c:spPr>
              <a:solidFill>
                <a:srgbClr val="AEABAB"/>
              </a:solidFill>
            </c:spPr>
            <c:extLst>
              <c:ext xmlns:c16="http://schemas.microsoft.com/office/drawing/2014/chart" uri="{C3380CC4-5D6E-409C-BE32-E72D297353CC}">
                <c16:uniqueId val="{00000401-7B8A-44CE-B0AF-B4D4D3438E61}"/>
              </c:ext>
            </c:extLst>
          </c:dPt>
          <c:dPt>
            <c:idx val="512"/>
            <c:invertIfNegative val="1"/>
            <c:bubble3D val="0"/>
            <c:spPr>
              <a:solidFill>
                <a:srgbClr val="AEABAB"/>
              </a:solidFill>
            </c:spPr>
            <c:extLst>
              <c:ext xmlns:c16="http://schemas.microsoft.com/office/drawing/2014/chart" uri="{C3380CC4-5D6E-409C-BE32-E72D297353CC}">
                <c16:uniqueId val="{00000403-7B8A-44CE-B0AF-B4D4D3438E61}"/>
              </c:ext>
            </c:extLst>
          </c:dPt>
          <c:dPt>
            <c:idx val="513"/>
            <c:invertIfNegative val="1"/>
            <c:bubble3D val="0"/>
            <c:spPr>
              <a:solidFill>
                <a:srgbClr val="AEABAB"/>
              </a:solidFill>
            </c:spPr>
            <c:extLst>
              <c:ext xmlns:c16="http://schemas.microsoft.com/office/drawing/2014/chart" uri="{C3380CC4-5D6E-409C-BE32-E72D297353CC}">
                <c16:uniqueId val="{00000405-7B8A-44CE-B0AF-B4D4D3438E61}"/>
              </c:ext>
            </c:extLst>
          </c:dPt>
          <c:dPt>
            <c:idx val="514"/>
            <c:invertIfNegative val="1"/>
            <c:bubble3D val="0"/>
            <c:spPr>
              <a:solidFill>
                <a:srgbClr val="AEABAB"/>
              </a:solidFill>
            </c:spPr>
            <c:extLst>
              <c:ext xmlns:c16="http://schemas.microsoft.com/office/drawing/2014/chart" uri="{C3380CC4-5D6E-409C-BE32-E72D297353CC}">
                <c16:uniqueId val="{00000407-7B8A-44CE-B0AF-B4D4D3438E61}"/>
              </c:ext>
            </c:extLst>
          </c:dPt>
          <c:dPt>
            <c:idx val="515"/>
            <c:invertIfNegative val="1"/>
            <c:bubble3D val="0"/>
            <c:spPr>
              <a:solidFill>
                <a:srgbClr val="AEABAB"/>
              </a:solidFill>
            </c:spPr>
            <c:extLst>
              <c:ext xmlns:c16="http://schemas.microsoft.com/office/drawing/2014/chart" uri="{C3380CC4-5D6E-409C-BE32-E72D297353CC}">
                <c16:uniqueId val="{00000409-7B8A-44CE-B0AF-B4D4D3438E61}"/>
              </c:ext>
            </c:extLst>
          </c:dPt>
          <c:dPt>
            <c:idx val="516"/>
            <c:invertIfNegative val="1"/>
            <c:bubble3D val="0"/>
            <c:spPr>
              <a:solidFill>
                <a:srgbClr val="AEABAB"/>
              </a:solidFill>
            </c:spPr>
            <c:extLst>
              <c:ext xmlns:c16="http://schemas.microsoft.com/office/drawing/2014/chart" uri="{C3380CC4-5D6E-409C-BE32-E72D297353CC}">
                <c16:uniqueId val="{0000040B-7B8A-44CE-B0AF-B4D4D3438E61}"/>
              </c:ext>
            </c:extLst>
          </c:dPt>
          <c:dPt>
            <c:idx val="517"/>
            <c:invertIfNegative val="1"/>
            <c:bubble3D val="0"/>
            <c:spPr>
              <a:solidFill>
                <a:srgbClr val="AEABAB"/>
              </a:solidFill>
            </c:spPr>
            <c:extLst>
              <c:ext xmlns:c16="http://schemas.microsoft.com/office/drawing/2014/chart" uri="{C3380CC4-5D6E-409C-BE32-E72D297353CC}">
                <c16:uniqueId val="{0000040D-7B8A-44CE-B0AF-B4D4D3438E61}"/>
              </c:ext>
            </c:extLst>
          </c:dPt>
          <c:dPt>
            <c:idx val="518"/>
            <c:invertIfNegative val="1"/>
            <c:bubble3D val="0"/>
            <c:spPr>
              <a:solidFill>
                <a:srgbClr val="AEABAB"/>
              </a:solidFill>
            </c:spPr>
            <c:extLst>
              <c:ext xmlns:c16="http://schemas.microsoft.com/office/drawing/2014/chart" uri="{C3380CC4-5D6E-409C-BE32-E72D297353CC}">
                <c16:uniqueId val="{0000040F-7B8A-44CE-B0AF-B4D4D3438E61}"/>
              </c:ext>
            </c:extLst>
          </c:dPt>
          <c:dPt>
            <c:idx val="519"/>
            <c:invertIfNegative val="1"/>
            <c:bubble3D val="0"/>
            <c:spPr>
              <a:solidFill>
                <a:srgbClr val="AEABAB"/>
              </a:solidFill>
            </c:spPr>
            <c:extLst>
              <c:ext xmlns:c16="http://schemas.microsoft.com/office/drawing/2014/chart" uri="{C3380CC4-5D6E-409C-BE32-E72D297353CC}">
                <c16:uniqueId val="{00000411-7B8A-44CE-B0AF-B4D4D3438E61}"/>
              </c:ext>
            </c:extLst>
          </c:dPt>
          <c:dPt>
            <c:idx val="520"/>
            <c:invertIfNegative val="1"/>
            <c:bubble3D val="0"/>
            <c:spPr>
              <a:solidFill>
                <a:srgbClr val="AEABAB"/>
              </a:solidFill>
            </c:spPr>
            <c:extLst>
              <c:ext xmlns:c16="http://schemas.microsoft.com/office/drawing/2014/chart" uri="{C3380CC4-5D6E-409C-BE32-E72D297353CC}">
                <c16:uniqueId val="{00000413-7B8A-44CE-B0AF-B4D4D3438E61}"/>
              </c:ext>
            </c:extLst>
          </c:dPt>
          <c:dPt>
            <c:idx val="521"/>
            <c:invertIfNegative val="1"/>
            <c:bubble3D val="0"/>
            <c:spPr>
              <a:solidFill>
                <a:srgbClr val="AEABAB"/>
              </a:solidFill>
            </c:spPr>
            <c:extLst>
              <c:ext xmlns:c16="http://schemas.microsoft.com/office/drawing/2014/chart" uri="{C3380CC4-5D6E-409C-BE32-E72D297353CC}">
                <c16:uniqueId val="{00000415-7B8A-44CE-B0AF-B4D4D3438E61}"/>
              </c:ext>
            </c:extLst>
          </c:dPt>
          <c:dPt>
            <c:idx val="522"/>
            <c:invertIfNegative val="1"/>
            <c:bubble3D val="0"/>
            <c:spPr>
              <a:solidFill>
                <a:srgbClr val="AEABAB"/>
              </a:solidFill>
            </c:spPr>
            <c:extLst>
              <c:ext xmlns:c16="http://schemas.microsoft.com/office/drawing/2014/chart" uri="{C3380CC4-5D6E-409C-BE32-E72D297353CC}">
                <c16:uniqueId val="{00000417-7B8A-44CE-B0AF-B4D4D3438E61}"/>
              </c:ext>
            </c:extLst>
          </c:dPt>
          <c:dPt>
            <c:idx val="523"/>
            <c:invertIfNegative val="1"/>
            <c:bubble3D val="0"/>
            <c:spPr>
              <a:solidFill>
                <a:srgbClr val="AEABAB"/>
              </a:solidFill>
            </c:spPr>
            <c:extLst>
              <c:ext xmlns:c16="http://schemas.microsoft.com/office/drawing/2014/chart" uri="{C3380CC4-5D6E-409C-BE32-E72D297353CC}">
                <c16:uniqueId val="{00000419-7B8A-44CE-B0AF-B4D4D3438E61}"/>
              </c:ext>
            </c:extLst>
          </c:dPt>
          <c:dPt>
            <c:idx val="524"/>
            <c:invertIfNegative val="1"/>
            <c:bubble3D val="0"/>
            <c:spPr>
              <a:solidFill>
                <a:srgbClr val="AEABAB"/>
              </a:solidFill>
            </c:spPr>
            <c:extLst>
              <c:ext xmlns:c16="http://schemas.microsoft.com/office/drawing/2014/chart" uri="{C3380CC4-5D6E-409C-BE32-E72D297353CC}">
                <c16:uniqueId val="{0000041B-7B8A-44CE-B0AF-B4D4D3438E61}"/>
              </c:ext>
            </c:extLst>
          </c:dPt>
          <c:dPt>
            <c:idx val="525"/>
            <c:invertIfNegative val="1"/>
            <c:bubble3D val="0"/>
            <c:spPr>
              <a:solidFill>
                <a:srgbClr val="AEABAB"/>
              </a:solidFill>
            </c:spPr>
            <c:extLst>
              <c:ext xmlns:c16="http://schemas.microsoft.com/office/drawing/2014/chart" uri="{C3380CC4-5D6E-409C-BE32-E72D297353CC}">
                <c16:uniqueId val="{0000041D-7B8A-44CE-B0AF-B4D4D3438E61}"/>
              </c:ext>
            </c:extLst>
          </c:dPt>
          <c:dPt>
            <c:idx val="526"/>
            <c:invertIfNegative val="1"/>
            <c:bubble3D val="0"/>
            <c:spPr>
              <a:solidFill>
                <a:srgbClr val="AEABAB"/>
              </a:solidFill>
            </c:spPr>
            <c:extLst>
              <c:ext xmlns:c16="http://schemas.microsoft.com/office/drawing/2014/chart" uri="{C3380CC4-5D6E-409C-BE32-E72D297353CC}">
                <c16:uniqueId val="{0000041F-7B8A-44CE-B0AF-B4D4D3438E61}"/>
              </c:ext>
            </c:extLst>
          </c:dPt>
          <c:dPt>
            <c:idx val="527"/>
            <c:invertIfNegative val="1"/>
            <c:bubble3D val="0"/>
            <c:spPr>
              <a:solidFill>
                <a:srgbClr val="AEABAB"/>
              </a:solidFill>
            </c:spPr>
            <c:extLst>
              <c:ext xmlns:c16="http://schemas.microsoft.com/office/drawing/2014/chart" uri="{C3380CC4-5D6E-409C-BE32-E72D297353CC}">
                <c16:uniqueId val="{00000421-7B8A-44CE-B0AF-B4D4D3438E61}"/>
              </c:ext>
            </c:extLst>
          </c:dPt>
          <c:dPt>
            <c:idx val="528"/>
            <c:invertIfNegative val="1"/>
            <c:bubble3D val="0"/>
            <c:spPr>
              <a:solidFill>
                <a:srgbClr val="AEABAB"/>
              </a:solidFill>
            </c:spPr>
            <c:extLst>
              <c:ext xmlns:c16="http://schemas.microsoft.com/office/drawing/2014/chart" uri="{C3380CC4-5D6E-409C-BE32-E72D297353CC}">
                <c16:uniqueId val="{00000423-7B8A-44CE-B0AF-B4D4D3438E61}"/>
              </c:ext>
            </c:extLst>
          </c:dPt>
          <c:dPt>
            <c:idx val="529"/>
            <c:invertIfNegative val="1"/>
            <c:bubble3D val="0"/>
            <c:spPr>
              <a:solidFill>
                <a:srgbClr val="AEABAB"/>
              </a:solidFill>
            </c:spPr>
            <c:extLst>
              <c:ext xmlns:c16="http://schemas.microsoft.com/office/drawing/2014/chart" uri="{C3380CC4-5D6E-409C-BE32-E72D297353CC}">
                <c16:uniqueId val="{00000425-7B8A-44CE-B0AF-B4D4D3438E61}"/>
              </c:ext>
            </c:extLst>
          </c:dPt>
          <c:dPt>
            <c:idx val="530"/>
            <c:invertIfNegative val="1"/>
            <c:bubble3D val="0"/>
            <c:spPr>
              <a:solidFill>
                <a:srgbClr val="AEABAB"/>
              </a:solidFill>
            </c:spPr>
            <c:extLst>
              <c:ext xmlns:c16="http://schemas.microsoft.com/office/drawing/2014/chart" uri="{C3380CC4-5D6E-409C-BE32-E72D297353CC}">
                <c16:uniqueId val="{00000427-7B8A-44CE-B0AF-B4D4D3438E61}"/>
              </c:ext>
            </c:extLst>
          </c:dPt>
          <c:dPt>
            <c:idx val="531"/>
            <c:invertIfNegative val="1"/>
            <c:bubble3D val="0"/>
            <c:spPr>
              <a:solidFill>
                <a:srgbClr val="AEABAB"/>
              </a:solidFill>
            </c:spPr>
            <c:extLst>
              <c:ext xmlns:c16="http://schemas.microsoft.com/office/drawing/2014/chart" uri="{C3380CC4-5D6E-409C-BE32-E72D297353CC}">
                <c16:uniqueId val="{00000429-7B8A-44CE-B0AF-B4D4D3438E61}"/>
              </c:ext>
            </c:extLst>
          </c:dPt>
          <c:dPt>
            <c:idx val="532"/>
            <c:invertIfNegative val="1"/>
            <c:bubble3D val="0"/>
            <c:spPr>
              <a:solidFill>
                <a:srgbClr val="AEABAB"/>
              </a:solidFill>
            </c:spPr>
            <c:extLst>
              <c:ext xmlns:c16="http://schemas.microsoft.com/office/drawing/2014/chart" uri="{C3380CC4-5D6E-409C-BE32-E72D297353CC}">
                <c16:uniqueId val="{0000042B-7B8A-44CE-B0AF-B4D4D3438E61}"/>
              </c:ext>
            </c:extLst>
          </c:dPt>
          <c:dPt>
            <c:idx val="533"/>
            <c:invertIfNegative val="1"/>
            <c:bubble3D val="0"/>
            <c:spPr>
              <a:solidFill>
                <a:srgbClr val="AEABAB"/>
              </a:solidFill>
            </c:spPr>
            <c:extLst>
              <c:ext xmlns:c16="http://schemas.microsoft.com/office/drawing/2014/chart" uri="{C3380CC4-5D6E-409C-BE32-E72D297353CC}">
                <c16:uniqueId val="{0000042D-7B8A-44CE-B0AF-B4D4D3438E61}"/>
              </c:ext>
            </c:extLst>
          </c:dPt>
          <c:dPt>
            <c:idx val="534"/>
            <c:invertIfNegative val="1"/>
            <c:bubble3D val="0"/>
            <c:spPr>
              <a:solidFill>
                <a:srgbClr val="AEABAB"/>
              </a:solidFill>
            </c:spPr>
            <c:extLst>
              <c:ext xmlns:c16="http://schemas.microsoft.com/office/drawing/2014/chart" uri="{C3380CC4-5D6E-409C-BE32-E72D297353CC}">
                <c16:uniqueId val="{0000042F-7B8A-44CE-B0AF-B4D4D3438E61}"/>
              </c:ext>
            </c:extLst>
          </c:dPt>
          <c:dPt>
            <c:idx val="535"/>
            <c:invertIfNegative val="1"/>
            <c:bubble3D val="0"/>
            <c:spPr>
              <a:solidFill>
                <a:srgbClr val="AEABAB"/>
              </a:solidFill>
            </c:spPr>
            <c:extLst>
              <c:ext xmlns:c16="http://schemas.microsoft.com/office/drawing/2014/chart" uri="{C3380CC4-5D6E-409C-BE32-E72D297353CC}">
                <c16:uniqueId val="{00000431-7B8A-44CE-B0AF-B4D4D3438E61}"/>
              </c:ext>
            </c:extLst>
          </c:dPt>
          <c:dPt>
            <c:idx val="536"/>
            <c:invertIfNegative val="1"/>
            <c:bubble3D val="0"/>
            <c:spPr>
              <a:solidFill>
                <a:srgbClr val="AEABAB"/>
              </a:solidFill>
            </c:spPr>
            <c:extLst>
              <c:ext xmlns:c16="http://schemas.microsoft.com/office/drawing/2014/chart" uri="{C3380CC4-5D6E-409C-BE32-E72D297353CC}">
                <c16:uniqueId val="{00000433-7B8A-44CE-B0AF-B4D4D3438E61}"/>
              </c:ext>
            </c:extLst>
          </c:dPt>
          <c:dPt>
            <c:idx val="537"/>
            <c:invertIfNegative val="1"/>
            <c:bubble3D val="0"/>
            <c:spPr>
              <a:solidFill>
                <a:srgbClr val="AEABAB"/>
              </a:solidFill>
            </c:spPr>
            <c:extLst>
              <c:ext xmlns:c16="http://schemas.microsoft.com/office/drawing/2014/chart" uri="{C3380CC4-5D6E-409C-BE32-E72D297353CC}">
                <c16:uniqueId val="{00000435-7B8A-44CE-B0AF-B4D4D3438E61}"/>
              </c:ext>
            </c:extLst>
          </c:dPt>
          <c:dPt>
            <c:idx val="538"/>
            <c:invertIfNegative val="1"/>
            <c:bubble3D val="0"/>
            <c:spPr>
              <a:solidFill>
                <a:srgbClr val="AEABAB"/>
              </a:solidFill>
            </c:spPr>
            <c:extLst>
              <c:ext xmlns:c16="http://schemas.microsoft.com/office/drawing/2014/chart" uri="{C3380CC4-5D6E-409C-BE32-E72D297353CC}">
                <c16:uniqueId val="{00000437-7B8A-44CE-B0AF-B4D4D3438E61}"/>
              </c:ext>
            </c:extLst>
          </c:dPt>
          <c:dPt>
            <c:idx val="539"/>
            <c:invertIfNegative val="1"/>
            <c:bubble3D val="0"/>
            <c:spPr>
              <a:solidFill>
                <a:srgbClr val="AEABAB"/>
              </a:solidFill>
            </c:spPr>
            <c:extLst>
              <c:ext xmlns:c16="http://schemas.microsoft.com/office/drawing/2014/chart" uri="{C3380CC4-5D6E-409C-BE32-E72D297353CC}">
                <c16:uniqueId val="{00000439-7B8A-44CE-B0AF-B4D4D3438E61}"/>
              </c:ext>
            </c:extLst>
          </c:dPt>
          <c:dPt>
            <c:idx val="540"/>
            <c:invertIfNegative val="1"/>
            <c:bubble3D val="0"/>
            <c:spPr>
              <a:solidFill>
                <a:srgbClr val="AEABAB"/>
              </a:solidFill>
            </c:spPr>
            <c:extLst>
              <c:ext xmlns:c16="http://schemas.microsoft.com/office/drawing/2014/chart" uri="{C3380CC4-5D6E-409C-BE32-E72D297353CC}">
                <c16:uniqueId val="{0000043B-7B8A-44CE-B0AF-B4D4D3438E61}"/>
              </c:ext>
            </c:extLst>
          </c:dPt>
          <c:dPt>
            <c:idx val="541"/>
            <c:invertIfNegative val="1"/>
            <c:bubble3D val="0"/>
            <c:spPr>
              <a:solidFill>
                <a:srgbClr val="AEABAB"/>
              </a:solidFill>
            </c:spPr>
            <c:extLst>
              <c:ext xmlns:c16="http://schemas.microsoft.com/office/drawing/2014/chart" uri="{C3380CC4-5D6E-409C-BE32-E72D297353CC}">
                <c16:uniqueId val="{0000043D-7B8A-44CE-B0AF-B4D4D3438E61}"/>
              </c:ext>
            </c:extLst>
          </c:dPt>
          <c:dPt>
            <c:idx val="542"/>
            <c:invertIfNegative val="1"/>
            <c:bubble3D val="0"/>
            <c:spPr>
              <a:solidFill>
                <a:srgbClr val="AEABAB"/>
              </a:solidFill>
            </c:spPr>
            <c:extLst>
              <c:ext xmlns:c16="http://schemas.microsoft.com/office/drawing/2014/chart" uri="{C3380CC4-5D6E-409C-BE32-E72D297353CC}">
                <c16:uniqueId val="{0000043F-7B8A-44CE-B0AF-B4D4D3438E61}"/>
              </c:ext>
            </c:extLst>
          </c:dPt>
          <c:dPt>
            <c:idx val="543"/>
            <c:invertIfNegative val="1"/>
            <c:bubble3D val="0"/>
            <c:spPr>
              <a:solidFill>
                <a:srgbClr val="AEABAB"/>
              </a:solidFill>
            </c:spPr>
            <c:extLst>
              <c:ext xmlns:c16="http://schemas.microsoft.com/office/drawing/2014/chart" uri="{C3380CC4-5D6E-409C-BE32-E72D297353CC}">
                <c16:uniqueId val="{00000441-7B8A-44CE-B0AF-B4D4D3438E61}"/>
              </c:ext>
            </c:extLst>
          </c:dPt>
          <c:dPt>
            <c:idx val="544"/>
            <c:invertIfNegative val="1"/>
            <c:bubble3D val="0"/>
            <c:spPr>
              <a:solidFill>
                <a:srgbClr val="AEABAB"/>
              </a:solidFill>
            </c:spPr>
            <c:extLst>
              <c:ext xmlns:c16="http://schemas.microsoft.com/office/drawing/2014/chart" uri="{C3380CC4-5D6E-409C-BE32-E72D297353CC}">
                <c16:uniqueId val="{00000443-7B8A-44CE-B0AF-B4D4D3438E61}"/>
              </c:ext>
            </c:extLst>
          </c:dPt>
          <c:dPt>
            <c:idx val="545"/>
            <c:invertIfNegative val="1"/>
            <c:bubble3D val="0"/>
            <c:spPr>
              <a:solidFill>
                <a:srgbClr val="AEABAB"/>
              </a:solidFill>
            </c:spPr>
            <c:extLst>
              <c:ext xmlns:c16="http://schemas.microsoft.com/office/drawing/2014/chart" uri="{C3380CC4-5D6E-409C-BE32-E72D297353CC}">
                <c16:uniqueId val="{00000445-7B8A-44CE-B0AF-B4D4D3438E61}"/>
              </c:ext>
            </c:extLst>
          </c:dPt>
          <c:dPt>
            <c:idx val="546"/>
            <c:invertIfNegative val="1"/>
            <c:bubble3D val="0"/>
            <c:spPr>
              <a:solidFill>
                <a:srgbClr val="AEABAB"/>
              </a:solidFill>
            </c:spPr>
            <c:extLst>
              <c:ext xmlns:c16="http://schemas.microsoft.com/office/drawing/2014/chart" uri="{C3380CC4-5D6E-409C-BE32-E72D297353CC}">
                <c16:uniqueId val="{00000447-7B8A-44CE-B0AF-B4D4D3438E61}"/>
              </c:ext>
            </c:extLst>
          </c:dPt>
          <c:dPt>
            <c:idx val="547"/>
            <c:invertIfNegative val="1"/>
            <c:bubble3D val="0"/>
            <c:spPr>
              <a:solidFill>
                <a:srgbClr val="AEABAB"/>
              </a:solidFill>
            </c:spPr>
            <c:extLst>
              <c:ext xmlns:c16="http://schemas.microsoft.com/office/drawing/2014/chart" uri="{C3380CC4-5D6E-409C-BE32-E72D297353CC}">
                <c16:uniqueId val="{00000449-7B8A-44CE-B0AF-B4D4D3438E61}"/>
              </c:ext>
            </c:extLst>
          </c:dPt>
          <c:dPt>
            <c:idx val="548"/>
            <c:invertIfNegative val="1"/>
            <c:bubble3D val="0"/>
            <c:spPr>
              <a:solidFill>
                <a:srgbClr val="AEABAB"/>
              </a:solidFill>
            </c:spPr>
            <c:extLst>
              <c:ext xmlns:c16="http://schemas.microsoft.com/office/drawing/2014/chart" uri="{C3380CC4-5D6E-409C-BE32-E72D297353CC}">
                <c16:uniqueId val="{0000044B-7B8A-44CE-B0AF-B4D4D3438E61}"/>
              </c:ext>
            </c:extLst>
          </c:dPt>
          <c:dPt>
            <c:idx val="549"/>
            <c:invertIfNegative val="1"/>
            <c:bubble3D val="0"/>
            <c:spPr>
              <a:solidFill>
                <a:srgbClr val="AEABAB"/>
              </a:solidFill>
            </c:spPr>
            <c:extLst>
              <c:ext xmlns:c16="http://schemas.microsoft.com/office/drawing/2014/chart" uri="{C3380CC4-5D6E-409C-BE32-E72D297353CC}">
                <c16:uniqueId val="{0000044D-7B8A-44CE-B0AF-B4D4D3438E61}"/>
              </c:ext>
            </c:extLst>
          </c:dPt>
          <c:dPt>
            <c:idx val="550"/>
            <c:invertIfNegative val="1"/>
            <c:bubble3D val="0"/>
            <c:spPr>
              <a:solidFill>
                <a:srgbClr val="AEABAB"/>
              </a:solidFill>
            </c:spPr>
            <c:extLst>
              <c:ext xmlns:c16="http://schemas.microsoft.com/office/drawing/2014/chart" uri="{C3380CC4-5D6E-409C-BE32-E72D297353CC}">
                <c16:uniqueId val="{0000044F-7B8A-44CE-B0AF-B4D4D3438E61}"/>
              </c:ext>
            </c:extLst>
          </c:dPt>
          <c:dPt>
            <c:idx val="551"/>
            <c:invertIfNegative val="1"/>
            <c:bubble3D val="0"/>
            <c:spPr>
              <a:solidFill>
                <a:srgbClr val="AEABAB"/>
              </a:solidFill>
            </c:spPr>
            <c:extLst>
              <c:ext xmlns:c16="http://schemas.microsoft.com/office/drawing/2014/chart" uri="{C3380CC4-5D6E-409C-BE32-E72D297353CC}">
                <c16:uniqueId val="{00000451-7B8A-44CE-B0AF-B4D4D3438E61}"/>
              </c:ext>
            </c:extLst>
          </c:dPt>
          <c:dPt>
            <c:idx val="552"/>
            <c:invertIfNegative val="1"/>
            <c:bubble3D val="0"/>
            <c:spPr>
              <a:solidFill>
                <a:srgbClr val="AEABAB"/>
              </a:solidFill>
            </c:spPr>
            <c:extLst>
              <c:ext xmlns:c16="http://schemas.microsoft.com/office/drawing/2014/chart" uri="{C3380CC4-5D6E-409C-BE32-E72D297353CC}">
                <c16:uniqueId val="{00000453-7B8A-44CE-B0AF-B4D4D3438E61}"/>
              </c:ext>
            </c:extLst>
          </c:dPt>
          <c:dPt>
            <c:idx val="553"/>
            <c:invertIfNegative val="1"/>
            <c:bubble3D val="0"/>
            <c:spPr>
              <a:solidFill>
                <a:srgbClr val="AEABAB"/>
              </a:solidFill>
            </c:spPr>
            <c:extLst>
              <c:ext xmlns:c16="http://schemas.microsoft.com/office/drawing/2014/chart" uri="{C3380CC4-5D6E-409C-BE32-E72D297353CC}">
                <c16:uniqueId val="{00000455-7B8A-44CE-B0AF-B4D4D3438E61}"/>
              </c:ext>
            </c:extLst>
          </c:dPt>
          <c:dPt>
            <c:idx val="554"/>
            <c:invertIfNegative val="1"/>
            <c:bubble3D val="0"/>
            <c:spPr>
              <a:solidFill>
                <a:srgbClr val="AEABAB"/>
              </a:solidFill>
            </c:spPr>
            <c:extLst>
              <c:ext xmlns:c16="http://schemas.microsoft.com/office/drawing/2014/chart" uri="{C3380CC4-5D6E-409C-BE32-E72D297353CC}">
                <c16:uniqueId val="{00000457-7B8A-44CE-B0AF-B4D4D3438E61}"/>
              </c:ext>
            </c:extLst>
          </c:dPt>
          <c:dPt>
            <c:idx val="555"/>
            <c:invertIfNegative val="1"/>
            <c:bubble3D val="0"/>
            <c:spPr>
              <a:solidFill>
                <a:srgbClr val="AEABAB"/>
              </a:solidFill>
            </c:spPr>
            <c:extLst>
              <c:ext xmlns:c16="http://schemas.microsoft.com/office/drawing/2014/chart" uri="{C3380CC4-5D6E-409C-BE32-E72D297353CC}">
                <c16:uniqueId val="{00000459-7B8A-44CE-B0AF-B4D4D3438E61}"/>
              </c:ext>
            </c:extLst>
          </c:dPt>
          <c:dPt>
            <c:idx val="556"/>
            <c:invertIfNegative val="1"/>
            <c:bubble3D val="0"/>
            <c:spPr>
              <a:solidFill>
                <a:srgbClr val="AEABAB"/>
              </a:solidFill>
            </c:spPr>
            <c:extLst>
              <c:ext xmlns:c16="http://schemas.microsoft.com/office/drawing/2014/chart" uri="{C3380CC4-5D6E-409C-BE32-E72D297353CC}">
                <c16:uniqueId val="{0000045B-7B8A-44CE-B0AF-B4D4D3438E61}"/>
              </c:ext>
            </c:extLst>
          </c:dPt>
          <c:dPt>
            <c:idx val="557"/>
            <c:invertIfNegative val="1"/>
            <c:bubble3D val="0"/>
            <c:spPr>
              <a:solidFill>
                <a:srgbClr val="AEABAB"/>
              </a:solidFill>
            </c:spPr>
            <c:extLst>
              <c:ext xmlns:c16="http://schemas.microsoft.com/office/drawing/2014/chart" uri="{C3380CC4-5D6E-409C-BE32-E72D297353CC}">
                <c16:uniqueId val="{0000045D-7B8A-44CE-B0AF-B4D4D3438E61}"/>
              </c:ext>
            </c:extLst>
          </c:dPt>
          <c:dPt>
            <c:idx val="558"/>
            <c:invertIfNegative val="1"/>
            <c:bubble3D val="0"/>
            <c:spPr>
              <a:solidFill>
                <a:srgbClr val="AEABAB"/>
              </a:solidFill>
            </c:spPr>
            <c:extLst>
              <c:ext xmlns:c16="http://schemas.microsoft.com/office/drawing/2014/chart" uri="{C3380CC4-5D6E-409C-BE32-E72D297353CC}">
                <c16:uniqueId val="{0000045F-7B8A-44CE-B0AF-B4D4D3438E61}"/>
              </c:ext>
            </c:extLst>
          </c:dPt>
          <c:dPt>
            <c:idx val="559"/>
            <c:invertIfNegative val="1"/>
            <c:bubble3D val="0"/>
            <c:spPr>
              <a:solidFill>
                <a:srgbClr val="AEABAB"/>
              </a:solidFill>
            </c:spPr>
            <c:extLst>
              <c:ext xmlns:c16="http://schemas.microsoft.com/office/drawing/2014/chart" uri="{C3380CC4-5D6E-409C-BE32-E72D297353CC}">
                <c16:uniqueId val="{00000461-7B8A-44CE-B0AF-B4D4D3438E61}"/>
              </c:ext>
            </c:extLst>
          </c:dPt>
          <c:dPt>
            <c:idx val="560"/>
            <c:invertIfNegative val="1"/>
            <c:bubble3D val="0"/>
            <c:spPr>
              <a:solidFill>
                <a:srgbClr val="AEABAB"/>
              </a:solidFill>
            </c:spPr>
            <c:extLst>
              <c:ext xmlns:c16="http://schemas.microsoft.com/office/drawing/2014/chart" uri="{C3380CC4-5D6E-409C-BE32-E72D297353CC}">
                <c16:uniqueId val="{00000463-7B8A-44CE-B0AF-B4D4D3438E61}"/>
              </c:ext>
            </c:extLst>
          </c:dPt>
          <c:dPt>
            <c:idx val="561"/>
            <c:invertIfNegative val="1"/>
            <c:bubble3D val="0"/>
            <c:spPr>
              <a:solidFill>
                <a:srgbClr val="AEABAB"/>
              </a:solidFill>
            </c:spPr>
            <c:extLst>
              <c:ext xmlns:c16="http://schemas.microsoft.com/office/drawing/2014/chart" uri="{C3380CC4-5D6E-409C-BE32-E72D297353CC}">
                <c16:uniqueId val="{00000465-7B8A-44CE-B0AF-B4D4D3438E61}"/>
              </c:ext>
            </c:extLst>
          </c:dPt>
          <c:dPt>
            <c:idx val="562"/>
            <c:invertIfNegative val="1"/>
            <c:bubble3D val="0"/>
            <c:spPr>
              <a:solidFill>
                <a:srgbClr val="AEABAB"/>
              </a:solidFill>
            </c:spPr>
            <c:extLst>
              <c:ext xmlns:c16="http://schemas.microsoft.com/office/drawing/2014/chart" uri="{C3380CC4-5D6E-409C-BE32-E72D297353CC}">
                <c16:uniqueId val="{00000467-7B8A-44CE-B0AF-B4D4D3438E61}"/>
              </c:ext>
            </c:extLst>
          </c:dPt>
          <c:dPt>
            <c:idx val="563"/>
            <c:invertIfNegative val="1"/>
            <c:bubble3D val="0"/>
            <c:spPr>
              <a:solidFill>
                <a:srgbClr val="AEABAB"/>
              </a:solidFill>
            </c:spPr>
            <c:extLst>
              <c:ext xmlns:c16="http://schemas.microsoft.com/office/drawing/2014/chart" uri="{C3380CC4-5D6E-409C-BE32-E72D297353CC}">
                <c16:uniqueId val="{00000469-7B8A-44CE-B0AF-B4D4D3438E61}"/>
              </c:ext>
            </c:extLst>
          </c:dPt>
          <c:dPt>
            <c:idx val="564"/>
            <c:invertIfNegative val="1"/>
            <c:bubble3D val="0"/>
            <c:spPr>
              <a:solidFill>
                <a:srgbClr val="AEABAB"/>
              </a:solidFill>
            </c:spPr>
            <c:extLst>
              <c:ext xmlns:c16="http://schemas.microsoft.com/office/drawing/2014/chart" uri="{C3380CC4-5D6E-409C-BE32-E72D297353CC}">
                <c16:uniqueId val="{0000046B-7B8A-44CE-B0AF-B4D4D3438E61}"/>
              </c:ext>
            </c:extLst>
          </c:dPt>
          <c:dPt>
            <c:idx val="565"/>
            <c:invertIfNegative val="1"/>
            <c:bubble3D val="0"/>
            <c:spPr>
              <a:solidFill>
                <a:srgbClr val="AEABAB"/>
              </a:solidFill>
            </c:spPr>
            <c:extLst>
              <c:ext xmlns:c16="http://schemas.microsoft.com/office/drawing/2014/chart" uri="{C3380CC4-5D6E-409C-BE32-E72D297353CC}">
                <c16:uniqueId val="{0000046D-7B8A-44CE-B0AF-B4D4D3438E61}"/>
              </c:ext>
            </c:extLst>
          </c:dPt>
          <c:dPt>
            <c:idx val="566"/>
            <c:invertIfNegative val="1"/>
            <c:bubble3D val="0"/>
            <c:spPr>
              <a:solidFill>
                <a:srgbClr val="AEABAB"/>
              </a:solidFill>
            </c:spPr>
            <c:extLst>
              <c:ext xmlns:c16="http://schemas.microsoft.com/office/drawing/2014/chart" uri="{C3380CC4-5D6E-409C-BE32-E72D297353CC}">
                <c16:uniqueId val="{0000046F-7B8A-44CE-B0AF-B4D4D3438E61}"/>
              </c:ext>
            </c:extLst>
          </c:dPt>
          <c:dPt>
            <c:idx val="567"/>
            <c:invertIfNegative val="1"/>
            <c:bubble3D val="0"/>
            <c:spPr>
              <a:solidFill>
                <a:srgbClr val="AEABAB"/>
              </a:solidFill>
            </c:spPr>
            <c:extLst>
              <c:ext xmlns:c16="http://schemas.microsoft.com/office/drawing/2014/chart" uri="{C3380CC4-5D6E-409C-BE32-E72D297353CC}">
                <c16:uniqueId val="{00000471-7B8A-44CE-B0AF-B4D4D3438E61}"/>
              </c:ext>
            </c:extLst>
          </c:dPt>
          <c:dPt>
            <c:idx val="568"/>
            <c:invertIfNegative val="1"/>
            <c:bubble3D val="0"/>
            <c:spPr>
              <a:solidFill>
                <a:srgbClr val="AEABAB"/>
              </a:solidFill>
            </c:spPr>
            <c:extLst>
              <c:ext xmlns:c16="http://schemas.microsoft.com/office/drawing/2014/chart" uri="{C3380CC4-5D6E-409C-BE32-E72D297353CC}">
                <c16:uniqueId val="{00000473-7B8A-44CE-B0AF-B4D4D3438E61}"/>
              </c:ext>
            </c:extLst>
          </c:dPt>
          <c:dPt>
            <c:idx val="569"/>
            <c:invertIfNegative val="1"/>
            <c:bubble3D val="0"/>
            <c:spPr>
              <a:solidFill>
                <a:srgbClr val="AEABAB"/>
              </a:solidFill>
            </c:spPr>
            <c:extLst>
              <c:ext xmlns:c16="http://schemas.microsoft.com/office/drawing/2014/chart" uri="{C3380CC4-5D6E-409C-BE32-E72D297353CC}">
                <c16:uniqueId val="{00000475-7B8A-44CE-B0AF-B4D4D3438E61}"/>
              </c:ext>
            </c:extLst>
          </c:dPt>
          <c:dPt>
            <c:idx val="570"/>
            <c:invertIfNegative val="1"/>
            <c:bubble3D val="0"/>
            <c:spPr>
              <a:solidFill>
                <a:srgbClr val="AEABAB"/>
              </a:solidFill>
            </c:spPr>
            <c:extLst>
              <c:ext xmlns:c16="http://schemas.microsoft.com/office/drawing/2014/chart" uri="{C3380CC4-5D6E-409C-BE32-E72D297353CC}">
                <c16:uniqueId val="{00000477-7B8A-44CE-B0AF-B4D4D3438E61}"/>
              </c:ext>
            </c:extLst>
          </c:dPt>
          <c:dPt>
            <c:idx val="571"/>
            <c:invertIfNegative val="1"/>
            <c:bubble3D val="0"/>
            <c:spPr>
              <a:solidFill>
                <a:srgbClr val="AEABAB"/>
              </a:solidFill>
            </c:spPr>
            <c:extLst>
              <c:ext xmlns:c16="http://schemas.microsoft.com/office/drawing/2014/chart" uri="{C3380CC4-5D6E-409C-BE32-E72D297353CC}">
                <c16:uniqueId val="{00000479-7B8A-44CE-B0AF-B4D4D3438E61}"/>
              </c:ext>
            </c:extLst>
          </c:dPt>
          <c:dPt>
            <c:idx val="572"/>
            <c:invertIfNegative val="1"/>
            <c:bubble3D val="0"/>
            <c:spPr>
              <a:solidFill>
                <a:srgbClr val="AEABAB"/>
              </a:solidFill>
            </c:spPr>
            <c:extLst>
              <c:ext xmlns:c16="http://schemas.microsoft.com/office/drawing/2014/chart" uri="{C3380CC4-5D6E-409C-BE32-E72D297353CC}">
                <c16:uniqueId val="{0000047B-7B8A-44CE-B0AF-B4D4D3438E61}"/>
              </c:ext>
            </c:extLst>
          </c:dPt>
          <c:dPt>
            <c:idx val="573"/>
            <c:invertIfNegative val="1"/>
            <c:bubble3D val="0"/>
            <c:spPr>
              <a:solidFill>
                <a:srgbClr val="AEABAB"/>
              </a:solidFill>
            </c:spPr>
            <c:extLst>
              <c:ext xmlns:c16="http://schemas.microsoft.com/office/drawing/2014/chart" uri="{C3380CC4-5D6E-409C-BE32-E72D297353CC}">
                <c16:uniqueId val="{0000047D-7B8A-44CE-B0AF-B4D4D3438E61}"/>
              </c:ext>
            </c:extLst>
          </c:dPt>
          <c:dPt>
            <c:idx val="574"/>
            <c:invertIfNegative val="1"/>
            <c:bubble3D val="0"/>
            <c:spPr>
              <a:solidFill>
                <a:srgbClr val="AEABAB"/>
              </a:solidFill>
            </c:spPr>
            <c:extLst>
              <c:ext xmlns:c16="http://schemas.microsoft.com/office/drawing/2014/chart" uri="{C3380CC4-5D6E-409C-BE32-E72D297353CC}">
                <c16:uniqueId val="{0000047F-7B8A-44CE-B0AF-B4D4D3438E61}"/>
              </c:ext>
            </c:extLst>
          </c:dPt>
          <c:dPt>
            <c:idx val="575"/>
            <c:invertIfNegative val="1"/>
            <c:bubble3D val="0"/>
            <c:spPr>
              <a:solidFill>
                <a:srgbClr val="AEABAB"/>
              </a:solidFill>
            </c:spPr>
            <c:extLst>
              <c:ext xmlns:c16="http://schemas.microsoft.com/office/drawing/2014/chart" uri="{C3380CC4-5D6E-409C-BE32-E72D297353CC}">
                <c16:uniqueId val="{00000481-7B8A-44CE-B0AF-B4D4D3438E61}"/>
              </c:ext>
            </c:extLst>
          </c:dPt>
          <c:dPt>
            <c:idx val="576"/>
            <c:invertIfNegative val="1"/>
            <c:bubble3D val="0"/>
            <c:spPr>
              <a:solidFill>
                <a:srgbClr val="AEABAB"/>
              </a:solidFill>
            </c:spPr>
            <c:extLst>
              <c:ext xmlns:c16="http://schemas.microsoft.com/office/drawing/2014/chart" uri="{C3380CC4-5D6E-409C-BE32-E72D297353CC}">
                <c16:uniqueId val="{00000483-7B8A-44CE-B0AF-B4D4D3438E61}"/>
              </c:ext>
            </c:extLst>
          </c:dPt>
          <c:dPt>
            <c:idx val="577"/>
            <c:invertIfNegative val="1"/>
            <c:bubble3D val="0"/>
            <c:spPr>
              <a:solidFill>
                <a:srgbClr val="AEABAB"/>
              </a:solidFill>
            </c:spPr>
            <c:extLst>
              <c:ext xmlns:c16="http://schemas.microsoft.com/office/drawing/2014/chart" uri="{C3380CC4-5D6E-409C-BE32-E72D297353CC}">
                <c16:uniqueId val="{00000485-7B8A-44CE-B0AF-B4D4D3438E61}"/>
              </c:ext>
            </c:extLst>
          </c:dPt>
          <c:dPt>
            <c:idx val="578"/>
            <c:invertIfNegative val="1"/>
            <c:bubble3D val="0"/>
            <c:spPr>
              <a:solidFill>
                <a:srgbClr val="AEABAB"/>
              </a:solidFill>
            </c:spPr>
            <c:extLst>
              <c:ext xmlns:c16="http://schemas.microsoft.com/office/drawing/2014/chart" uri="{C3380CC4-5D6E-409C-BE32-E72D297353CC}">
                <c16:uniqueId val="{00000487-7B8A-44CE-B0AF-B4D4D3438E61}"/>
              </c:ext>
            </c:extLst>
          </c:dPt>
          <c:dPt>
            <c:idx val="579"/>
            <c:invertIfNegative val="1"/>
            <c:bubble3D val="0"/>
            <c:spPr>
              <a:solidFill>
                <a:srgbClr val="AEABAB"/>
              </a:solidFill>
            </c:spPr>
            <c:extLst>
              <c:ext xmlns:c16="http://schemas.microsoft.com/office/drawing/2014/chart" uri="{C3380CC4-5D6E-409C-BE32-E72D297353CC}">
                <c16:uniqueId val="{00000489-7B8A-44CE-B0AF-B4D4D3438E61}"/>
              </c:ext>
            </c:extLst>
          </c:dPt>
          <c:dPt>
            <c:idx val="580"/>
            <c:invertIfNegative val="1"/>
            <c:bubble3D val="0"/>
            <c:spPr>
              <a:solidFill>
                <a:srgbClr val="AEABAB"/>
              </a:solidFill>
            </c:spPr>
            <c:extLst>
              <c:ext xmlns:c16="http://schemas.microsoft.com/office/drawing/2014/chart" uri="{C3380CC4-5D6E-409C-BE32-E72D297353CC}">
                <c16:uniqueId val="{0000048B-7B8A-44CE-B0AF-B4D4D3438E61}"/>
              </c:ext>
            </c:extLst>
          </c:dPt>
          <c:dPt>
            <c:idx val="581"/>
            <c:invertIfNegative val="1"/>
            <c:bubble3D val="0"/>
            <c:spPr>
              <a:solidFill>
                <a:srgbClr val="AEABAB"/>
              </a:solidFill>
            </c:spPr>
            <c:extLst>
              <c:ext xmlns:c16="http://schemas.microsoft.com/office/drawing/2014/chart" uri="{C3380CC4-5D6E-409C-BE32-E72D297353CC}">
                <c16:uniqueId val="{0000048D-7B8A-44CE-B0AF-B4D4D3438E61}"/>
              </c:ext>
            </c:extLst>
          </c:dPt>
          <c:dPt>
            <c:idx val="582"/>
            <c:invertIfNegative val="1"/>
            <c:bubble3D val="0"/>
            <c:spPr>
              <a:solidFill>
                <a:srgbClr val="AEABAB"/>
              </a:solidFill>
            </c:spPr>
            <c:extLst>
              <c:ext xmlns:c16="http://schemas.microsoft.com/office/drawing/2014/chart" uri="{C3380CC4-5D6E-409C-BE32-E72D297353CC}">
                <c16:uniqueId val="{0000048F-7B8A-44CE-B0AF-B4D4D3438E61}"/>
              </c:ext>
            </c:extLst>
          </c:dPt>
          <c:dPt>
            <c:idx val="583"/>
            <c:invertIfNegative val="1"/>
            <c:bubble3D val="0"/>
            <c:spPr>
              <a:solidFill>
                <a:srgbClr val="AEABAB"/>
              </a:solidFill>
            </c:spPr>
            <c:extLst>
              <c:ext xmlns:c16="http://schemas.microsoft.com/office/drawing/2014/chart" uri="{C3380CC4-5D6E-409C-BE32-E72D297353CC}">
                <c16:uniqueId val="{00000491-7B8A-44CE-B0AF-B4D4D3438E61}"/>
              </c:ext>
            </c:extLst>
          </c:dPt>
          <c:dPt>
            <c:idx val="584"/>
            <c:invertIfNegative val="1"/>
            <c:bubble3D val="0"/>
            <c:spPr>
              <a:solidFill>
                <a:srgbClr val="AEABAB"/>
              </a:solidFill>
            </c:spPr>
            <c:extLst>
              <c:ext xmlns:c16="http://schemas.microsoft.com/office/drawing/2014/chart" uri="{C3380CC4-5D6E-409C-BE32-E72D297353CC}">
                <c16:uniqueId val="{00000493-7B8A-44CE-B0AF-B4D4D3438E61}"/>
              </c:ext>
            </c:extLst>
          </c:dPt>
          <c:dPt>
            <c:idx val="585"/>
            <c:invertIfNegative val="1"/>
            <c:bubble3D val="0"/>
            <c:spPr>
              <a:solidFill>
                <a:srgbClr val="AEABAB"/>
              </a:solidFill>
            </c:spPr>
            <c:extLst>
              <c:ext xmlns:c16="http://schemas.microsoft.com/office/drawing/2014/chart" uri="{C3380CC4-5D6E-409C-BE32-E72D297353CC}">
                <c16:uniqueId val="{00000495-7B8A-44CE-B0AF-B4D4D3438E61}"/>
              </c:ext>
            </c:extLst>
          </c:dPt>
          <c:dPt>
            <c:idx val="586"/>
            <c:invertIfNegative val="1"/>
            <c:bubble3D val="0"/>
            <c:spPr>
              <a:solidFill>
                <a:srgbClr val="AEABAB"/>
              </a:solidFill>
            </c:spPr>
            <c:extLst>
              <c:ext xmlns:c16="http://schemas.microsoft.com/office/drawing/2014/chart" uri="{C3380CC4-5D6E-409C-BE32-E72D297353CC}">
                <c16:uniqueId val="{00000497-7B8A-44CE-B0AF-B4D4D3438E61}"/>
              </c:ext>
            </c:extLst>
          </c:dPt>
          <c:dPt>
            <c:idx val="587"/>
            <c:invertIfNegative val="1"/>
            <c:bubble3D val="0"/>
            <c:spPr>
              <a:solidFill>
                <a:srgbClr val="AEABAB"/>
              </a:solidFill>
            </c:spPr>
            <c:extLst>
              <c:ext xmlns:c16="http://schemas.microsoft.com/office/drawing/2014/chart" uri="{C3380CC4-5D6E-409C-BE32-E72D297353CC}">
                <c16:uniqueId val="{00000499-7B8A-44CE-B0AF-B4D4D3438E61}"/>
              </c:ext>
            </c:extLst>
          </c:dPt>
          <c:dPt>
            <c:idx val="588"/>
            <c:invertIfNegative val="1"/>
            <c:bubble3D val="0"/>
            <c:spPr>
              <a:solidFill>
                <a:srgbClr val="AEABAB"/>
              </a:solidFill>
            </c:spPr>
            <c:extLst>
              <c:ext xmlns:c16="http://schemas.microsoft.com/office/drawing/2014/chart" uri="{C3380CC4-5D6E-409C-BE32-E72D297353CC}">
                <c16:uniqueId val="{0000049B-7B8A-44CE-B0AF-B4D4D3438E61}"/>
              </c:ext>
            </c:extLst>
          </c:dPt>
          <c:dPt>
            <c:idx val="589"/>
            <c:invertIfNegative val="1"/>
            <c:bubble3D val="0"/>
            <c:spPr>
              <a:solidFill>
                <a:srgbClr val="AEABAB"/>
              </a:solidFill>
            </c:spPr>
            <c:extLst>
              <c:ext xmlns:c16="http://schemas.microsoft.com/office/drawing/2014/chart" uri="{C3380CC4-5D6E-409C-BE32-E72D297353CC}">
                <c16:uniqueId val="{0000049D-7B8A-44CE-B0AF-B4D4D3438E61}"/>
              </c:ext>
            </c:extLst>
          </c:dPt>
          <c:dPt>
            <c:idx val="590"/>
            <c:invertIfNegative val="1"/>
            <c:bubble3D val="0"/>
            <c:spPr>
              <a:solidFill>
                <a:srgbClr val="AEABAB"/>
              </a:solidFill>
            </c:spPr>
            <c:extLst>
              <c:ext xmlns:c16="http://schemas.microsoft.com/office/drawing/2014/chart" uri="{C3380CC4-5D6E-409C-BE32-E72D297353CC}">
                <c16:uniqueId val="{0000049F-7B8A-44CE-B0AF-B4D4D3438E61}"/>
              </c:ext>
            </c:extLst>
          </c:dPt>
          <c:dPt>
            <c:idx val="591"/>
            <c:invertIfNegative val="1"/>
            <c:bubble3D val="0"/>
            <c:spPr>
              <a:solidFill>
                <a:srgbClr val="AEABAB"/>
              </a:solidFill>
            </c:spPr>
            <c:extLst>
              <c:ext xmlns:c16="http://schemas.microsoft.com/office/drawing/2014/chart" uri="{C3380CC4-5D6E-409C-BE32-E72D297353CC}">
                <c16:uniqueId val="{000004A1-7B8A-44CE-B0AF-B4D4D3438E61}"/>
              </c:ext>
            </c:extLst>
          </c:dPt>
          <c:dPt>
            <c:idx val="592"/>
            <c:invertIfNegative val="1"/>
            <c:bubble3D val="0"/>
            <c:spPr>
              <a:solidFill>
                <a:srgbClr val="AEABAB"/>
              </a:solidFill>
            </c:spPr>
            <c:extLst>
              <c:ext xmlns:c16="http://schemas.microsoft.com/office/drawing/2014/chart" uri="{C3380CC4-5D6E-409C-BE32-E72D297353CC}">
                <c16:uniqueId val="{000004A3-7B8A-44CE-B0AF-B4D4D3438E61}"/>
              </c:ext>
            </c:extLst>
          </c:dPt>
          <c:dPt>
            <c:idx val="593"/>
            <c:invertIfNegative val="1"/>
            <c:bubble3D val="0"/>
            <c:spPr>
              <a:solidFill>
                <a:srgbClr val="AEABAB"/>
              </a:solidFill>
            </c:spPr>
            <c:extLst>
              <c:ext xmlns:c16="http://schemas.microsoft.com/office/drawing/2014/chart" uri="{C3380CC4-5D6E-409C-BE32-E72D297353CC}">
                <c16:uniqueId val="{000004A5-7B8A-44CE-B0AF-B4D4D3438E61}"/>
              </c:ext>
            </c:extLst>
          </c:dPt>
          <c:dPt>
            <c:idx val="594"/>
            <c:invertIfNegative val="1"/>
            <c:bubble3D val="0"/>
            <c:spPr>
              <a:solidFill>
                <a:srgbClr val="AEABAB"/>
              </a:solidFill>
            </c:spPr>
            <c:extLst>
              <c:ext xmlns:c16="http://schemas.microsoft.com/office/drawing/2014/chart" uri="{C3380CC4-5D6E-409C-BE32-E72D297353CC}">
                <c16:uniqueId val="{000004A7-7B8A-44CE-B0AF-B4D4D3438E61}"/>
              </c:ext>
            </c:extLst>
          </c:dPt>
          <c:dPt>
            <c:idx val="595"/>
            <c:invertIfNegative val="1"/>
            <c:bubble3D val="0"/>
            <c:spPr>
              <a:solidFill>
                <a:srgbClr val="AEABAB"/>
              </a:solidFill>
            </c:spPr>
            <c:extLst>
              <c:ext xmlns:c16="http://schemas.microsoft.com/office/drawing/2014/chart" uri="{C3380CC4-5D6E-409C-BE32-E72D297353CC}">
                <c16:uniqueId val="{000004A9-7B8A-44CE-B0AF-B4D4D3438E61}"/>
              </c:ext>
            </c:extLst>
          </c:dPt>
          <c:dPt>
            <c:idx val="596"/>
            <c:invertIfNegative val="1"/>
            <c:bubble3D val="0"/>
            <c:spPr>
              <a:solidFill>
                <a:srgbClr val="AEABAB"/>
              </a:solidFill>
            </c:spPr>
            <c:extLst>
              <c:ext xmlns:c16="http://schemas.microsoft.com/office/drawing/2014/chart" uri="{C3380CC4-5D6E-409C-BE32-E72D297353CC}">
                <c16:uniqueId val="{000004AB-7B8A-44CE-B0AF-B4D4D3438E61}"/>
              </c:ext>
            </c:extLst>
          </c:dPt>
          <c:dPt>
            <c:idx val="597"/>
            <c:invertIfNegative val="1"/>
            <c:bubble3D val="0"/>
            <c:spPr>
              <a:solidFill>
                <a:srgbClr val="AEABAB"/>
              </a:solidFill>
            </c:spPr>
            <c:extLst>
              <c:ext xmlns:c16="http://schemas.microsoft.com/office/drawing/2014/chart" uri="{C3380CC4-5D6E-409C-BE32-E72D297353CC}">
                <c16:uniqueId val="{000004AD-7B8A-44CE-B0AF-B4D4D3438E61}"/>
              </c:ext>
            </c:extLst>
          </c:dPt>
          <c:dPt>
            <c:idx val="598"/>
            <c:invertIfNegative val="1"/>
            <c:bubble3D val="0"/>
            <c:spPr>
              <a:solidFill>
                <a:srgbClr val="AEABAB"/>
              </a:solidFill>
            </c:spPr>
            <c:extLst>
              <c:ext xmlns:c16="http://schemas.microsoft.com/office/drawing/2014/chart" uri="{C3380CC4-5D6E-409C-BE32-E72D297353CC}">
                <c16:uniqueId val="{000004AF-7B8A-44CE-B0AF-B4D4D3438E61}"/>
              </c:ext>
            </c:extLst>
          </c:dPt>
          <c:dPt>
            <c:idx val="599"/>
            <c:invertIfNegative val="1"/>
            <c:bubble3D val="0"/>
            <c:spPr>
              <a:solidFill>
                <a:srgbClr val="AEABAB"/>
              </a:solidFill>
            </c:spPr>
            <c:extLst>
              <c:ext xmlns:c16="http://schemas.microsoft.com/office/drawing/2014/chart" uri="{C3380CC4-5D6E-409C-BE32-E72D297353CC}">
                <c16:uniqueId val="{000004B1-7B8A-44CE-B0AF-B4D4D3438E61}"/>
              </c:ext>
            </c:extLst>
          </c:dPt>
          <c:dPt>
            <c:idx val="600"/>
            <c:invertIfNegative val="1"/>
            <c:bubble3D val="0"/>
            <c:spPr>
              <a:solidFill>
                <a:srgbClr val="AEABAB"/>
              </a:solidFill>
            </c:spPr>
            <c:extLst>
              <c:ext xmlns:c16="http://schemas.microsoft.com/office/drawing/2014/chart" uri="{C3380CC4-5D6E-409C-BE32-E72D297353CC}">
                <c16:uniqueId val="{000004B3-7B8A-44CE-B0AF-B4D4D3438E61}"/>
              </c:ext>
            </c:extLst>
          </c:dPt>
          <c:dPt>
            <c:idx val="601"/>
            <c:invertIfNegative val="1"/>
            <c:bubble3D val="0"/>
            <c:spPr>
              <a:solidFill>
                <a:srgbClr val="AEABAB"/>
              </a:solidFill>
            </c:spPr>
            <c:extLst>
              <c:ext xmlns:c16="http://schemas.microsoft.com/office/drawing/2014/chart" uri="{C3380CC4-5D6E-409C-BE32-E72D297353CC}">
                <c16:uniqueId val="{000004B5-7B8A-44CE-B0AF-B4D4D3438E61}"/>
              </c:ext>
            </c:extLst>
          </c:dPt>
          <c:dPt>
            <c:idx val="602"/>
            <c:invertIfNegative val="1"/>
            <c:bubble3D val="0"/>
            <c:spPr>
              <a:solidFill>
                <a:srgbClr val="AEABAB"/>
              </a:solidFill>
            </c:spPr>
            <c:extLst>
              <c:ext xmlns:c16="http://schemas.microsoft.com/office/drawing/2014/chart" uri="{C3380CC4-5D6E-409C-BE32-E72D297353CC}">
                <c16:uniqueId val="{000004B7-7B8A-44CE-B0AF-B4D4D3438E61}"/>
              </c:ext>
            </c:extLst>
          </c:dPt>
          <c:dPt>
            <c:idx val="603"/>
            <c:invertIfNegative val="1"/>
            <c:bubble3D val="0"/>
            <c:spPr>
              <a:solidFill>
                <a:srgbClr val="AEABAB"/>
              </a:solidFill>
            </c:spPr>
            <c:extLst>
              <c:ext xmlns:c16="http://schemas.microsoft.com/office/drawing/2014/chart" uri="{C3380CC4-5D6E-409C-BE32-E72D297353CC}">
                <c16:uniqueId val="{000004B9-7B8A-44CE-B0AF-B4D4D3438E61}"/>
              </c:ext>
            </c:extLst>
          </c:dPt>
          <c:dPt>
            <c:idx val="604"/>
            <c:invertIfNegative val="1"/>
            <c:bubble3D val="0"/>
            <c:spPr>
              <a:solidFill>
                <a:srgbClr val="AEABAB"/>
              </a:solidFill>
            </c:spPr>
            <c:extLst>
              <c:ext xmlns:c16="http://schemas.microsoft.com/office/drawing/2014/chart" uri="{C3380CC4-5D6E-409C-BE32-E72D297353CC}">
                <c16:uniqueId val="{000004BB-7B8A-44CE-B0AF-B4D4D3438E61}"/>
              </c:ext>
            </c:extLst>
          </c:dPt>
          <c:dPt>
            <c:idx val="605"/>
            <c:invertIfNegative val="1"/>
            <c:bubble3D val="0"/>
            <c:spPr>
              <a:solidFill>
                <a:srgbClr val="AEABAB"/>
              </a:solidFill>
            </c:spPr>
            <c:extLst>
              <c:ext xmlns:c16="http://schemas.microsoft.com/office/drawing/2014/chart" uri="{C3380CC4-5D6E-409C-BE32-E72D297353CC}">
                <c16:uniqueId val="{000004BD-7B8A-44CE-B0AF-B4D4D3438E61}"/>
              </c:ext>
            </c:extLst>
          </c:dPt>
          <c:dPt>
            <c:idx val="606"/>
            <c:invertIfNegative val="1"/>
            <c:bubble3D val="0"/>
            <c:spPr>
              <a:solidFill>
                <a:srgbClr val="AEABAB"/>
              </a:solidFill>
            </c:spPr>
            <c:extLst>
              <c:ext xmlns:c16="http://schemas.microsoft.com/office/drawing/2014/chart" uri="{C3380CC4-5D6E-409C-BE32-E72D297353CC}">
                <c16:uniqueId val="{000004BF-7B8A-44CE-B0AF-B4D4D3438E61}"/>
              </c:ext>
            </c:extLst>
          </c:dPt>
          <c:dPt>
            <c:idx val="607"/>
            <c:invertIfNegative val="1"/>
            <c:bubble3D val="0"/>
            <c:spPr>
              <a:solidFill>
                <a:srgbClr val="AEABAB"/>
              </a:solidFill>
            </c:spPr>
            <c:extLst>
              <c:ext xmlns:c16="http://schemas.microsoft.com/office/drawing/2014/chart" uri="{C3380CC4-5D6E-409C-BE32-E72D297353CC}">
                <c16:uniqueId val="{000004C1-7B8A-44CE-B0AF-B4D4D3438E61}"/>
              </c:ext>
            </c:extLst>
          </c:dPt>
          <c:dPt>
            <c:idx val="608"/>
            <c:invertIfNegative val="1"/>
            <c:bubble3D val="0"/>
            <c:spPr>
              <a:solidFill>
                <a:srgbClr val="AEABAB"/>
              </a:solidFill>
            </c:spPr>
            <c:extLst>
              <c:ext xmlns:c16="http://schemas.microsoft.com/office/drawing/2014/chart" uri="{C3380CC4-5D6E-409C-BE32-E72D297353CC}">
                <c16:uniqueId val="{000004C3-7B8A-44CE-B0AF-B4D4D3438E61}"/>
              </c:ext>
            </c:extLst>
          </c:dPt>
          <c:dPt>
            <c:idx val="609"/>
            <c:invertIfNegative val="1"/>
            <c:bubble3D val="0"/>
            <c:spPr>
              <a:solidFill>
                <a:srgbClr val="AEABAB"/>
              </a:solidFill>
            </c:spPr>
            <c:extLst>
              <c:ext xmlns:c16="http://schemas.microsoft.com/office/drawing/2014/chart" uri="{C3380CC4-5D6E-409C-BE32-E72D297353CC}">
                <c16:uniqueId val="{000004C5-7B8A-44CE-B0AF-B4D4D3438E61}"/>
              </c:ext>
            </c:extLst>
          </c:dPt>
          <c:dPt>
            <c:idx val="610"/>
            <c:invertIfNegative val="1"/>
            <c:bubble3D val="0"/>
            <c:spPr>
              <a:solidFill>
                <a:srgbClr val="AEABAB"/>
              </a:solidFill>
            </c:spPr>
            <c:extLst>
              <c:ext xmlns:c16="http://schemas.microsoft.com/office/drawing/2014/chart" uri="{C3380CC4-5D6E-409C-BE32-E72D297353CC}">
                <c16:uniqueId val="{000004C7-7B8A-44CE-B0AF-B4D4D3438E61}"/>
              </c:ext>
            </c:extLst>
          </c:dPt>
          <c:dPt>
            <c:idx val="611"/>
            <c:invertIfNegative val="1"/>
            <c:bubble3D val="0"/>
            <c:spPr>
              <a:solidFill>
                <a:srgbClr val="AEABAB"/>
              </a:solidFill>
            </c:spPr>
            <c:extLst>
              <c:ext xmlns:c16="http://schemas.microsoft.com/office/drawing/2014/chart" uri="{C3380CC4-5D6E-409C-BE32-E72D297353CC}">
                <c16:uniqueId val="{000004C9-7B8A-44CE-B0AF-B4D4D3438E61}"/>
              </c:ext>
            </c:extLst>
          </c:dPt>
          <c:dPt>
            <c:idx val="612"/>
            <c:invertIfNegative val="1"/>
            <c:bubble3D val="0"/>
            <c:spPr>
              <a:solidFill>
                <a:srgbClr val="AEABAB"/>
              </a:solidFill>
            </c:spPr>
            <c:extLst>
              <c:ext xmlns:c16="http://schemas.microsoft.com/office/drawing/2014/chart" uri="{C3380CC4-5D6E-409C-BE32-E72D297353CC}">
                <c16:uniqueId val="{000004CB-7B8A-44CE-B0AF-B4D4D3438E61}"/>
              </c:ext>
            </c:extLst>
          </c:dPt>
          <c:dPt>
            <c:idx val="613"/>
            <c:invertIfNegative val="1"/>
            <c:bubble3D val="0"/>
            <c:spPr>
              <a:solidFill>
                <a:srgbClr val="AEABAB"/>
              </a:solidFill>
            </c:spPr>
            <c:extLst>
              <c:ext xmlns:c16="http://schemas.microsoft.com/office/drawing/2014/chart" uri="{C3380CC4-5D6E-409C-BE32-E72D297353CC}">
                <c16:uniqueId val="{000004CD-7B8A-44CE-B0AF-B4D4D3438E61}"/>
              </c:ext>
            </c:extLst>
          </c:dPt>
          <c:dPt>
            <c:idx val="614"/>
            <c:invertIfNegative val="1"/>
            <c:bubble3D val="0"/>
            <c:spPr>
              <a:solidFill>
                <a:srgbClr val="AEABAB"/>
              </a:solidFill>
            </c:spPr>
            <c:extLst>
              <c:ext xmlns:c16="http://schemas.microsoft.com/office/drawing/2014/chart" uri="{C3380CC4-5D6E-409C-BE32-E72D297353CC}">
                <c16:uniqueId val="{000004CF-7B8A-44CE-B0AF-B4D4D3438E61}"/>
              </c:ext>
            </c:extLst>
          </c:dPt>
          <c:dPt>
            <c:idx val="615"/>
            <c:invertIfNegative val="1"/>
            <c:bubble3D val="0"/>
            <c:spPr>
              <a:solidFill>
                <a:srgbClr val="AEABAB"/>
              </a:solidFill>
            </c:spPr>
            <c:extLst>
              <c:ext xmlns:c16="http://schemas.microsoft.com/office/drawing/2014/chart" uri="{C3380CC4-5D6E-409C-BE32-E72D297353CC}">
                <c16:uniqueId val="{000004D1-7B8A-44CE-B0AF-B4D4D3438E61}"/>
              </c:ext>
            </c:extLst>
          </c:dPt>
          <c:dPt>
            <c:idx val="616"/>
            <c:invertIfNegative val="1"/>
            <c:bubble3D val="0"/>
            <c:spPr>
              <a:solidFill>
                <a:srgbClr val="AEABAB"/>
              </a:solidFill>
            </c:spPr>
            <c:extLst>
              <c:ext xmlns:c16="http://schemas.microsoft.com/office/drawing/2014/chart" uri="{C3380CC4-5D6E-409C-BE32-E72D297353CC}">
                <c16:uniqueId val="{000004D3-7B8A-44CE-B0AF-B4D4D3438E61}"/>
              </c:ext>
            </c:extLst>
          </c:dPt>
          <c:dPt>
            <c:idx val="617"/>
            <c:invertIfNegative val="1"/>
            <c:bubble3D val="0"/>
            <c:spPr>
              <a:solidFill>
                <a:srgbClr val="AEABAB"/>
              </a:solidFill>
            </c:spPr>
            <c:extLst>
              <c:ext xmlns:c16="http://schemas.microsoft.com/office/drawing/2014/chart" uri="{C3380CC4-5D6E-409C-BE32-E72D297353CC}">
                <c16:uniqueId val="{000004D5-7B8A-44CE-B0AF-B4D4D3438E61}"/>
              </c:ext>
            </c:extLst>
          </c:dPt>
          <c:dPt>
            <c:idx val="618"/>
            <c:invertIfNegative val="1"/>
            <c:bubble3D val="0"/>
            <c:spPr>
              <a:solidFill>
                <a:srgbClr val="AEABAB"/>
              </a:solidFill>
            </c:spPr>
            <c:extLst>
              <c:ext xmlns:c16="http://schemas.microsoft.com/office/drawing/2014/chart" uri="{C3380CC4-5D6E-409C-BE32-E72D297353CC}">
                <c16:uniqueId val="{000004D7-7B8A-44CE-B0AF-B4D4D3438E61}"/>
              </c:ext>
            </c:extLst>
          </c:dPt>
          <c:dPt>
            <c:idx val="619"/>
            <c:invertIfNegative val="1"/>
            <c:bubble3D val="0"/>
            <c:spPr>
              <a:solidFill>
                <a:srgbClr val="AEABAB"/>
              </a:solidFill>
            </c:spPr>
            <c:extLst>
              <c:ext xmlns:c16="http://schemas.microsoft.com/office/drawing/2014/chart" uri="{C3380CC4-5D6E-409C-BE32-E72D297353CC}">
                <c16:uniqueId val="{000004D9-7B8A-44CE-B0AF-B4D4D3438E61}"/>
              </c:ext>
            </c:extLst>
          </c:dPt>
          <c:dPt>
            <c:idx val="620"/>
            <c:invertIfNegative val="1"/>
            <c:bubble3D val="0"/>
            <c:spPr>
              <a:solidFill>
                <a:srgbClr val="AEABAB"/>
              </a:solidFill>
            </c:spPr>
            <c:extLst>
              <c:ext xmlns:c16="http://schemas.microsoft.com/office/drawing/2014/chart" uri="{C3380CC4-5D6E-409C-BE32-E72D297353CC}">
                <c16:uniqueId val="{000004DB-7B8A-44CE-B0AF-B4D4D3438E61}"/>
              </c:ext>
            </c:extLst>
          </c:dPt>
          <c:dPt>
            <c:idx val="621"/>
            <c:invertIfNegative val="1"/>
            <c:bubble3D val="0"/>
            <c:spPr>
              <a:solidFill>
                <a:srgbClr val="AEABAB"/>
              </a:solidFill>
            </c:spPr>
            <c:extLst>
              <c:ext xmlns:c16="http://schemas.microsoft.com/office/drawing/2014/chart" uri="{C3380CC4-5D6E-409C-BE32-E72D297353CC}">
                <c16:uniqueId val="{000004DD-7B8A-44CE-B0AF-B4D4D3438E61}"/>
              </c:ext>
            </c:extLst>
          </c:dPt>
          <c:dPt>
            <c:idx val="622"/>
            <c:invertIfNegative val="1"/>
            <c:bubble3D val="0"/>
            <c:spPr>
              <a:solidFill>
                <a:srgbClr val="AEABAB"/>
              </a:solidFill>
            </c:spPr>
            <c:extLst>
              <c:ext xmlns:c16="http://schemas.microsoft.com/office/drawing/2014/chart" uri="{C3380CC4-5D6E-409C-BE32-E72D297353CC}">
                <c16:uniqueId val="{000004DF-7B8A-44CE-B0AF-B4D4D3438E61}"/>
              </c:ext>
            </c:extLst>
          </c:dPt>
          <c:dPt>
            <c:idx val="623"/>
            <c:invertIfNegative val="1"/>
            <c:bubble3D val="0"/>
            <c:spPr>
              <a:solidFill>
                <a:srgbClr val="AEABAB"/>
              </a:solidFill>
            </c:spPr>
            <c:extLst>
              <c:ext xmlns:c16="http://schemas.microsoft.com/office/drawing/2014/chart" uri="{C3380CC4-5D6E-409C-BE32-E72D297353CC}">
                <c16:uniqueId val="{000004E1-7B8A-44CE-B0AF-B4D4D3438E61}"/>
              </c:ext>
            </c:extLst>
          </c:dPt>
          <c:dPt>
            <c:idx val="624"/>
            <c:invertIfNegative val="1"/>
            <c:bubble3D val="0"/>
            <c:spPr>
              <a:solidFill>
                <a:srgbClr val="AEABAB"/>
              </a:solidFill>
            </c:spPr>
            <c:extLst>
              <c:ext xmlns:c16="http://schemas.microsoft.com/office/drawing/2014/chart" uri="{C3380CC4-5D6E-409C-BE32-E72D297353CC}">
                <c16:uniqueId val="{000004E3-7B8A-44CE-B0AF-B4D4D3438E61}"/>
              </c:ext>
            </c:extLst>
          </c:dPt>
          <c:dPt>
            <c:idx val="625"/>
            <c:invertIfNegative val="1"/>
            <c:bubble3D val="0"/>
            <c:spPr>
              <a:solidFill>
                <a:srgbClr val="AEABAB"/>
              </a:solidFill>
            </c:spPr>
            <c:extLst>
              <c:ext xmlns:c16="http://schemas.microsoft.com/office/drawing/2014/chart" uri="{C3380CC4-5D6E-409C-BE32-E72D297353CC}">
                <c16:uniqueId val="{000004E5-7B8A-44CE-B0AF-B4D4D3438E61}"/>
              </c:ext>
            </c:extLst>
          </c:dPt>
          <c:dPt>
            <c:idx val="626"/>
            <c:invertIfNegative val="1"/>
            <c:bubble3D val="0"/>
            <c:spPr>
              <a:solidFill>
                <a:srgbClr val="AEABAB"/>
              </a:solidFill>
            </c:spPr>
            <c:extLst>
              <c:ext xmlns:c16="http://schemas.microsoft.com/office/drawing/2014/chart" uri="{C3380CC4-5D6E-409C-BE32-E72D297353CC}">
                <c16:uniqueId val="{000004E7-7B8A-44CE-B0AF-B4D4D3438E61}"/>
              </c:ext>
            </c:extLst>
          </c:dPt>
          <c:dPt>
            <c:idx val="627"/>
            <c:invertIfNegative val="1"/>
            <c:bubble3D val="0"/>
            <c:spPr>
              <a:solidFill>
                <a:srgbClr val="AEABAB"/>
              </a:solidFill>
            </c:spPr>
            <c:extLst>
              <c:ext xmlns:c16="http://schemas.microsoft.com/office/drawing/2014/chart" uri="{C3380CC4-5D6E-409C-BE32-E72D297353CC}">
                <c16:uniqueId val="{000004E9-7B8A-44CE-B0AF-B4D4D3438E61}"/>
              </c:ext>
            </c:extLst>
          </c:dPt>
          <c:dPt>
            <c:idx val="628"/>
            <c:invertIfNegative val="1"/>
            <c:bubble3D val="0"/>
            <c:spPr>
              <a:solidFill>
                <a:srgbClr val="AEABAB"/>
              </a:solidFill>
            </c:spPr>
            <c:extLst>
              <c:ext xmlns:c16="http://schemas.microsoft.com/office/drawing/2014/chart" uri="{C3380CC4-5D6E-409C-BE32-E72D297353CC}">
                <c16:uniqueId val="{000004EB-7B8A-44CE-B0AF-B4D4D3438E61}"/>
              </c:ext>
            </c:extLst>
          </c:dPt>
          <c:dPt>
            <c:idx val="629"/>
            <c:invertIfNegative val="1"/>
            <c:bubble3D val="0"/>
            <c:spPr>
              <a:solidFill>
                <a:srgbClr val="AEABAB"/>
              </a:solidFill>
            </c:spPr>
            <c:extLst>
              <c:ext xmlns:c16="http://schemas.microsoft.com/office/drawing/2014/chart" uri="{C3380CC4-5D6E-409C-BE32-E72D297353CC}">
                <c16:uniqueId val="{000004ED-7B8A-44CE-B0AF-B4D4D3438E61}"/>
              </c:ext>
            </c:extLst>
          </c:dPt>
          <c:dPt>
            <c:idx val="630"/>
            <c:invertIfNegative val="1"/>
            <c:bubble3D val="0"/>
            <c:spPr>
              <a:solidFill>
                <a:srgbClr val="AEABAB"/>
              </a:solidFill>
            </c:spPr>
            <c:extLst>
              <c:ext xmlns:c16="http://schemas.microsoft.com/office/drawing/2014/chart" uri="{C3380CC4-5D6E-409C-BE32-E72D297353CC}">
                <c16:uniqueId val="{000004EF-7B8A-44CE-B0AF-B4D4D3438E61}"/>
              </c:ext>
            </c:extLst>
          </c:dPt>
          <c:dPt>
            <c:idx val="631"/>
            <c:invertIfNegative val="1"/>
            <c:bubble3D val="0"/>
            <c:spPr>
              <a:solidFill>
                <a:srgbClr val="AEABAB"/>
              </a:solidFill>
            </c:spPr>
            <c:extLst>
              <c:ext xmlns:c16="http://schemas.microsoft.com/office/drawing/2014/chart" uri="{C3380CC4-5D6E-409C-BE32-E72D297353CC}">
                <c16:uniqueId val="{000004F1-7B8A-44CE-B0AF-B4D4D3438E61}"/>
              </c:ext>
            </c:extLst>
          </c:dPt>
          <c:dPt>
            <c:idx val="632"/>
            <c:invertIfNegative val="1"/>
            <c:bubble3D val="0"/>
            <c:spPr>
              <a:solidFill>
                <a:srgbClr val="AEABAB"/>
              </a:solidFill>
            </c:spPr>
            <c:extLst>
              <c:ext xmlns:c16="http://schemas.microsoft.com/office/drawing/2014/chart" uri="{C3380CC4-5D6E-409C-BE32-E72D297353CC}">
                <c16:uniqueId val="{000004F3-7B8A-44CE-B0AF-B4D4D3438E61}"/>
              </c:ext>
            </c:extLst>
          </c:dPt>
          <c:dPt>
            <c:idx val="633"/>
            <c:invertIfNegative val="1"/>
            <c:bubble3D val="0"/>
            <c:spPr>
              <a:solidFill>
                <a:srgbClr val="AEABAB"/>
              </a:solidFill>
            </c:spPr>
            <c:extLst>
              <c:ext xmlns:c16="http://schemas.microsoft.com/office/drawing/2014/chart" uri="{C3380CC4-5D6E-409C-BE32-E72D297353CC}">
                <c16:uniqueId val="{000004F5-7B8A-44CE-B0AF-B4D4D3438E61}"/>
              </c:ext>
            </c:extLst>
          </c:dPt>
          <c:dPt>
            <c:idx val="634"/>
            <c:invertIfNegative val="1"/>
            <c:bubble3D val="0"/>
            <c:spPr>
              <a:solidFill>
                <a:srgbClr val="AEABAB"/>
              </a:solidFill>
            </c:spPr>
            <c:extLst>
              <c:ext xmlns:c16="http://schemas.microsoft.com/office/drawing/2014/chart" uri="{C3380CC4-5D6E-409C-BE32-E72D297353CC}">
                <c16:uniqueId val="{000004F7-7B8A-44CE-B0AF-B4D4D3438E61}"/>
              </c:ext>
            </c:extLst>
          </c:dPt>
          <c:dPt>
            <c:idx val="635"/>
            <c:invertIfNegative val="1"/>
            <c:bubble3D val="0"/>
            <c:spPr>
              <a:solidFill>
                <a:srgbClr val="AEABAB"/>
              </a:solidFill>
            </c:spPr>
            <c:extLst>
              <c:ext xmlns:c16="http://schemas.microsoft.com/office/drawing/2014/chart" uri="{C3380CC4-5D6E-409C-BE32-E72D297353CC}">
                <c16:uniqueId val="{000004F9-7B8A-44CE-B0AF-B4D4D3438E61}"/>
              </c:ext>
            </c:extLst>
          </c:dPt>
          <c:dPt>
            <c:idx val="636"/>
            <c:invertIfNegative val="1"/>
            <c:bubble3D val="0"/>
            <c:spPr>
              <a:solidFill>
                <a:srgbClr val="AEABAB"/>
              </a:solidFill>
            </c:spPr>
            <c:extLst>
              <c:ext xmlns:c16="http://schemas.microsoft.com/office/drawing/2014/chart" uri="{C3380CC4-5D6E-409C-BE32-E72D297353CC}">
                <c16:uniqueId val="{000004FB-7B8A-44CE-B0AF-B4D4D3438E61}"/>
              </c:ext>
            </c:extLst>
          </c:dPt>
          <c:dPt>
            <c:idx val="637"/>
            <c:invertIfNegative val="1"/>
            <c:bubble3D val="0"/>
            <c:spPr>
              <a:solidFill>
                <a:srgbClr val="AEABAB"/>
              </a:solidFill>
            </c:spPr>
            <c:extLst>
              <c:ext xmlns:c16="http://schemas.microsoft.com/office/drawing/2014/chart" uri="{C3380CC4-5D6E-409C-BE32-E72D297353CC}">
                <c16:uniqueId val="{000004FD-7B8A-44CE-B0AF-B4D4D3438E61}"/>
              </c:ext>
            </c:extLst>
          </c:dPt>
          <c:dPt>
            <c:idx val="638"/>
            <c:invertIfNegative val="1"/>
            <c:bubble3D val="0"/>
            <c:spPr>
              <a:solidFill>
                <a:srgbClr val="AEABAB"/>
              </a:solidFill>
            </c:spPr>
            <c:extLst>
              <c:ext xmlns:c16="http://schemas.microsoft.com/office/drawing/2014/chart" uri="{C3380CC4-5D6E-409C-BE32-E72D297353CC}">
                <c16:uniqueId val="{000004FF-7B8A-44CE-B0AF-B4D4D3438E61}"/>
              </c:ext>
            </c:extLst>
          </c:dPt>
          <c:dPt>
            <c:idx val="639"/>
            <c:invertIfNegative val="1"/>
            <c:bubble3D val="0"/>
            <c:spPr>
              <a:solidFill>
                <a:srgbClr val="AEABAB"/>
              </a:solidFill>
            </c:spPr>
            <c:extLst>
              <c:ext xmlns:c16="http://schemas.microsoft.com/office/drawing/2014/chart" uri="{C3380CC4-5D6E-409C-BE32-E72D297353CC}">
                <c16:uniqueId val="{00000501-7B8A-44CE-B0AF-B4D4D3438E61}"/>
              </c:ext>
            </c:extLst>
          </c:dPt>
          <c:dPt>
            <c:idx val="640"/>
            <c:invertIfNegative val="1"/>
            <c:bubble3D val="0"/>
            <c:spPr>
              <a:solidFill>
                <a:srgbClr val="AEABAB"/>
              </a:solidFill>
            </c:spPr>
            <c:extLst>
              <c:ext xmlns:c16="http://schemas.microsoft.com/office/drawing/2014/chart" uri="{C3380CC4-5D6E-409C-BE32-E72D297353CC}">
                <c16:uniqueId val="{00000503-7B8A-44CE-B0AF-B4D4D3438E61}"/>
              </c:ext>
            </c:extLst>
          </c:dPt>
          <c:dPt>
            <c:idx val="641"/>
            <c:invertIfNegative val="1"/>
            <c:bubble3D val="0"/>
            <c:spPr>
              <a:solidFill>
                <a:srgbClr val="AEABAB"/>
              </a:solidFill>
            </c:spPr>
            <c:extLst>
              <c:ext xmlns:c16="http://schemas.microsoft.com/office/drawing/2014/chart" uri="{C3380CC4-5D6E-409C-BE32-E72D297353CC}">
                <c16:uniqueId val="{00000505-7B8A-44CE-B0AF-B4D4D3438E61}"/>
              </c:ext>
            </c:extLst>
          </c:dPt>
          <c:dPt>
            <c:idx val="642"/>
            <c:invertIfNegative val="1"/>
            <c:bubble3D val="0"/>
            <c:spPr>
              <a:solidFill>
                <a:srgbClr val="AEABAB"/>
              </a:solidFill>
            </c:spPr>
            <c:extLst>
              <c:ext xmlns:c16="http://schemas.microsoft.com/office/drawing/2014/chart" uri="{C3380CC4-5D6E-409C-BE32-E72D297353CC}">
                <c16:uniqueId val="{00000507-7B8A-44CE-B0AF-B4D4D3438E61}"/>
              </c:ext>
            </c:extLst>
          </c:dPt>
          <c:dPt>
            <c:idx val="643"/>
            <c:invertIfNegative val="1"/>
            <c:bubble3D val="0"/>
            <c:spPr>
              <a:solidFill>
                <a:srgbClr val="AEABAB"/>
              </a:solidFill>
            </c:spPr>
            <c:extLst>
              <c:ext xmlns:c16="http://schemas.microsoft.com/office/drawing/2014/chart" uri="{C3380CC4-5D6E-409C-BE32-E72D297353CC}">
                <c16:uniqueId val="{00000509-7B8A-44CE-B0AF-B4D4D3438E61}"/>
              </c:ext>
            </c:extLst>
          </c:dPt>
          <c:dPt>
            <c:idx val="644"/>
            <c:invertIfNegative val="1"/>
            <c:bubble3D val="0"/>
            <c:spPr>
              <a:solidFill>
                <a:srgbClr val="AEABAB"/>
              </a:solidFill>
            </c:spPr>
            <c:extLst>
              <c:ext xmlns:c16="http://schemas.microsoft.com/office/drawing/2014/chart" uri="{C3380CC4-5D6E-409C-BE32-E72D297353CC}">
                <c16:uniqueId val="{0000050B-7B8A-44CE-B0AF-B4D4D3438E61}"/>
              </c:ext>
            </c:extLst>
          </c:dPt>
          <c:dPt>
            <c:idx val="645"/>
            <c:invertIfNegative val="1"/>
            <c:bubble3D val="0"/>
            <c:spPr>
              <a:solidFill>
                <a:srgbClr val="AEABAB"/>
              </a:solidFill>
            </c:spPr>
            <c:extLst>
              <c:ext xmlns:c16="http://schemas.microsoft.com/office/drawing/2014/chart" uri="{C3380CC4-5D6E-409C-BE32-E72D297353CC}">
                <c16:uniqueId val="{0000050D-7B8A-44CE-B0AF-B4D4D3438E61}"/>
              </c:ext>
            </c:extLst>
          </c:dPt>
          <c:dPt>
            <c:idx val="646"/>
            <c:invertIfNegative val="1"/>
            <c:bubble3D val="0"/>
            <c:spPr>
              <a:solidFill>
                <a:srgbClr val="AEABAB"/>
              </a:solidFill>
            </c:spPr>
            <c:extLst>
              <c:ext xmlns:c16="http://schemas.microsoft.com/office/drawing/2014/chart" uri="{C3380CC4-5D6E-409C-BE32-E72D297353CC}">
                <c16:uniqueId val="{0000050F-7B8A-44CE-B0AF-B4D4D3438E61}"/>
              </c:ext>
            </c:extLst>
          </c:dPt>
          <c:dPt>
            <c:idx val="647"/>
            <c:invertIfNegative val="1"/>
            <c:bubble3D val="0"/>
            <c:spPr>
              <a:solidFill>
                <a:srgbClr val="AEABAB"/>
              </a:solidFill>
            </c:spPr>
            <c:extLst>
              <c:ext xmlns:c16="http://schemas.microsoft.com/office/drawing/2014/chart" uri="{C3380CC4-5D6E-409C-BE32-E72D297353CC}">
                <c16:uniqueId val="{00000511-7B8A-44CE-B0AF-B4D4D3438E61}"/>
              </c:ext>
            </c:extLst>
          </c:dPt>
          <c:dPt>
            <c:idx val="648"/>
            <c:invertIfNegative val="1"/>
            <c:bubble3D val="0"/>
            <c:spPr>
              <a:solidFill>
                <a:srgbClr val="AEABAB"/>
              </a:solidFill>
            </c:spPr>
            <c:extLst>
              <c:ext xmlns:c16="http://schemas.microsoft.com/office/drawing/2014/chart" uri="{C3380CC4-5D6E-409C-BE32-E72D297353CC}">
                <c16:uniqueId val="{00000513-7B8A-44CE-B0AF-B4D4D3438E61}"/>
              </c:ext>
            </c:extLst>
          </c:dPt>
          <c:dPt>
            <c:idx val="649"/>
            <c:invertIfNegative val="1"/>
            <c:bubble3D val="0"/>
            <c:spPr>
              <a:solidFill>
                <a:srgbClr val="AEABAB"/>
              </a:solidFill>
            </c:spPr>
            <c:extLst>
              <c:ext xmlns:c16="http://schemas.microsoft.com/office/drawing/2014/chart" uri="{C3380CC4-5D6E-409C-BE32-E72D297353CC}">
                <c16:uniqueId val="{00000515-7B8A-44CE-B0AF-B4D4D3438E61}"/>
              </c:ext>
            </c:extLst>
          </c:dPt>
          <c:dPt>
            <c:idx val="650"/>
            <c:invertIfNegative val="1"/>
            <c:bubble3D val="0"/>
            <c:spPr>
              <a:solidFill>
                <a:srgbClr val="AEABAB"/>
              </a:solidFill>
            </c:spPr>
            <c:extLst>
              <c:ext xmlns:c16="http://schemas.microsoft.com/office/drawing/2014/chart" uri="{C3380CC4-5D6E-409C-BE32-E72D297353CC}">
                <c16:uniqueId val="{00000517-7B8A-44CE-B0AF-B4D4D3438E61}"/>
              </c:ext>
            </c:extLst>
          </c:dPt>
          <c:dPt>
            <c:idx val="651"/>
            <c:invertIfNegative val="1"/>
            <c:bubble3D val="0"/>
            <c:spPr>
              <a:solidFill>
                <a:srgbClr val="AEABAB"/>
              </a:solidFill>
            </c:spPr>
            <c:extLst>
              <c:ext xmlns:c16="http://schemas.microsoft.com/office/drawing/2014/chart" uri="{C3380CC4-5D6E-409C-BE32-E72D297353CC}">
                <c16:uniqueId val="{00000519-7B8A-44CE-B0AF-B4D4D3438E61}"/>
              </c:ext>
            </c:extLst>
          </c:dPt>
          <c:dPt>
            <c:idx val="652"/>
            <c:invertIfNegative val="1"/>
            <c:bubble3D val="0"/>
            <c:spPr>
              <a:solidFill>
                <a:srgbClr val="AEABAB"/>
              </a:solidFill>
            </c:spPr>
            <c:extLst>
              <c:ext xmlns:c16="http://schemas.microsoft.com/office/drawing/2014/chart" uri="{C3380CC4-5D6E-409C-BE32-E72D297353CC}">
                <c16:uniqueId val="{0000051B-7B8A-44CE-B0AF-B4D4D3438E61}"/>
              </c:ext>
            </c:extLst>
          </c:dPt>
          <c:dPt>
            <c:idx val="653"/>
            <c:invertIfNegative val="1"/>
            <c:bubble3D val="0"/>
            <c:spPr>
              <a:solidFill>
                <a:srgbClr val="AEABAB"/>
              </a:solidFill>
            </c:spPr>
            <c:extLst>
              <c:ext xmlns:c16="http://schemas.microsoft.com/office/drawing/2014/chart" uri="{C3380CC4-5D6E-409C-BE32-E72D297353CC}">
                <c16:uniqueId val="{0000051D-7B8A-44CE-B0AF-B4D4D3438E61}"/>
              </c:ext>
            </c:extLst>
          </c:dPt>
          <c:dPt>
            <c:idx val="654"/>
            <c:invertIfNegative val="1"/>
            <c:bubble3D val="0"/>
            <c:spPr>
              <a:solidFill>
                <a:srgbClr val="AEABAB"/>
              </a:solidFill>
            </c:spPr>
            <c:extLst>
              <c:ext xmlns:c16="http://schemas.microsoft.com/office/drawing/2014/chart" uri="{C3380CC4-5D6E-409C-BE32-E72D297353CC}">
                <c16:uniqueId val="{0000051F-7B8A-44CE-B0AF-B4D4D3438E61}"/>
              </c:ext>
            </c:extLst>
          </c:dPt>
          <c:dPt>
            <c:idx val="655"/>
            <c:invertIfNegative val="1"/>
            <c:bubble3D val="0"/>
            <c:spPr>
              <a:solidFill>
                <a:srgbClr val="AEABAB"/>
              </a:solidFill>
            </c:spPr>
            <c:extLst>
              <c:ext xmlns:c16="http://schemas.microsoft.com/office/drawing/2014/chart" uri="{C3380CC4-5D6E-409C-BE32-E72D297353CC}">
                <c16:uniqueId val="{00000521-7B8A-44CE-B0AF-B4D4D3438E61}"/>
              </c:ext>
            </c:extLst>
          </c:dPt>
          <c:dPt>
            <c:idx val="656"/>
            <c:invertIfNegative val="1"/>
            <c:bubble3D val="0"/>
            <c:spPr>
              <a:solidFill>
                <a:srgbClr val="AEABAB"/>
              </a:solidFill>
            </c:spPr>
            <c:extLst>
              <c:ext xmlns:c16="http://schemas.microsoft.com/office/drawing/2014/chart" uri="{C3380CC4-5D6E-409C-BE32-E72D297353CC}">
                <c16:uniqueId val="{00000523-7B8A-44CE-B0AF-B4D4D3438E61}"/>
              </c:ext>
            </c:extLst>
          </c:dPt>
          <c:dPt>
            <c:idx val="657"/>
            <c:invertIfNegative val="1"/>
            <c:bubble3D val="0"/>
            <c:spPr>
              <a:solidFill>
                <a:srgbClr val="AEABAB"/>
              </a:solidFill>
            </c:spPr>
            <c:extLst>
              <c:ext xmlns:c16="http://schemas.microsoft.com/office/drawing/2014/chart" uri="{C3380CC4-5D6E-409C-BE32-E72D297353CC}">
                <c16:uniqueId val="{00000525-7B8A-44CE-B0AF-B4D4D3438E61}"/>
              </c:ext>
            </c:extLst>
          </c:dPt>
          <c:dPt>
            <c:idx val="658"/>
            <c:invertIfNegative val="1"/>
            <c:bubble3D val="0"/>
            <c:spPr>
              <a:solidFill>
                <a:srgbClr val="AEABAB"/>
              </a:solidFill>
            </c:spPr>
            <c:extLst>
              <c:ext xmlns:c16="http://schemas.microsoft.com/office/drawing/2014/chart" uri="{C3380CC4-5D6E-409C-BE32-E72D297353CC}">
                <c16:uniqueId val="{00000527-7B8A-44CE-B0AF-B4D4D3438E61}"/>
              </c:ext>
            </c:extLst>
          </c:dPt>
          <c:dPt>
            <c:idx val="659"/>
            <c:invertIfNegative val="1"/>
            <c:bubble3D val="0"/>
            <c:spPr>
              <a:solidFill>
                <a:srgbClr val="AEABAB"/>
              </a:solidFill>
            </c:spPr>
            <c:extLst>
              <c:ext xmlns:c16="http://schemas.microsoft.com/office/drawing/2014/chart" uri="{C3380CC4-5D6E-409C-BE32-E72D297353CC}">
                <c16:uniqueId val="{00000529-7B8A-44CE-B0AF-B4D4D3438E61}"/>
              </c:ext>
            </c:extLst>
          </c:dPt>
          <c:dPt>
            <c:idx val="660"/>
            <c:invertIfNegative val="1"/>
            <c:bubble3D val="0"/>
            <c:spPr>
              <a:solidFill>
                <a:srgbClr val="AEABAB"/>
              </a:solidFill>
            </c:spPr>
            <c:extLst>
              <c:ext xmlns:c16="http://schemas.microsoft.com/office/drawing/2014/chart" uri="{C3380CC4-5D6E-409C-BE32-E72D297353CC}">
                <c16:uniqueId val="{0000052B-7B8A-44CE-B0AF-B4D4D3438E61}"/>
              </c:ext>
            </c:extLst>
          </c:dPt>
          <c:dPt>
            <c:idx val="661"/>
            <c:invertIfNegative val="1"/>
            <c:bubble3D val="0"/>
            <c:spPr>
              <a:solidFill>
                <a:srgbClr val="AEABAB"/>
              </a:solidFill>
            </c:spPr>
            <c:extLst>
              <c:ext xmlns:c16="http://schemas.microsoft.com/office/drawing/2014/chart" uri="{C3380CC4-5D6E-409C-BE32-E72D297353CC}">
                <c16:uniqueId val="{0000052D-7B8A-44CE-B0AF-B4D4D3438E61}"/>
              </c:ext>
            </c:extLst>
          </c:dPt>
          <c:dPt>
            <c:idx val="662"/>
            <c:invertIfNegative val="1"/>
            <c:bubble3D val="0"/>
            <c:spPr>
              <a:solidFill>
                <a:srgbClr val="AEABAB"/>
              </a:solidFill>
            </c:spPr>
            <c:extLst>
              <c:ext xmlns:c16="http://schemas.microsoft.com/office/drawing/2014/chart" uri="{C3380CC4-5D6E-409C-BE32-E72D297353CC}">
                <c16:uniqueId val="{0000052F-7B8A-44CE-B0AF-B4D4D3438E61}"/>
              </c:ext>
            </c:extLst>
          </c:dPt>
          <c:dPt>
            <c:idx val="663"/>
            <c:invertIfNegative val="1"/>
            <c:bubble3D val="0"/>
            <c:spPr>
              <a:solidFill>
                <a:srgbClr val="AEABAB"/>
              </a:solidFill>
            </c:spPr>
            <c:extLst>
              <c:ext xmlns:c16="http://schemas.microsoft.com/office/drawing/2014/chart" uri="{C3380CC4-5D6E-409C-BE32-E72D297353CC}">
                <c16:uniqueId val="{00000531-7B8A-44CE-B0AF-B4D4D3438E61}"/>
              </c:ext>
            </c:extLst>
          </c:dPt>
          <c:dPt>
            <c:idx val="664"/>
            <c:invertIfNegative val="1"/>
            <c:bubble3D val="0"/>
            <c:spPr>
              <a:solidFill>
                <a:srgbClr val="AEABAB"/>
              </a:solidFill>
            </c:spPr>
            <c:extLst>
              <c:ext xmlns:c16="http://schemas.microsoft.com/office/drawing/2014/chart" uri="{C3380CC4-5D6E-409C-BE32-E72D297353CC}">
                <c16:uniqueId val="{00000533-7B8A-44CE-B0AF-B4D4D3438E61}"/>
              </c:ext>
            </c:extLst>
          </c:dPt>
          <c:dPt>
            <c:idx val="665"/>
            <c:invertIfNegative val="1"/>
            <c:bubble3D val="0"/>
            <c:spPr>
              <a:solidFill>
                <a:srgbClr val="AEABAB"/>
              </a:solidFill>
            </c:spPr>
            <c:extLst>
              <c:ext xmlns:c16="http://schemas.microsoft.com/office/drawing/2014/chart" uri="{C3380CC4-5D6E-409C-BE32-E72D297353CC}">
                <c16:uniqueId val="{00000535-7B8A-44CE-B0AF-B4D4D3438E61}"/>
              </c:ext>
            </c:extLst>
          </c:dPt>
          <c:dPt>
            <c:idx val="666"/>
            <c:invertIfNegative val="1"/>
            <c:bubble3D val="0"/>
            <c:spPr>
              <a:solidFill>
                <a:srgbClr val="AEABAB"/>
              </a:solidFill>
            </c:spPr>
            <c:extLst>
              <c:ext xmlns:c16="http://schemas.microsoft.com/office/drawing/2014/chart" uri="{C3380CC4-5D6E-409C-BE32-E72D297353CC}">
                <c16:uniqueId val="{00000537-7B8A-44CE-B0AF-B4D4D3438E61}"/>
              </c:ext>
            </c:extLst>
          </c:dPt>
          <c:dPt>
            <c:idx val="667"/>
            <c:invertIfNegative val="1"/>
            <c:bubble3D val="0"/>
            <c:spPr>
              <a:solidFill>
                <a:srgbClr val="AEABAB"/>
              </a:solidFill>
            </c:spPr>
            <c:extLst>
              <c:ext xmlns:c16="http://schemas.microsoft.com/office/drawing/2014/chart" uri="{C3380CC4-5D6E-409C-BE32-E72D297353CC}">
                <c16:uniqueId val="{00000539-7B8A-44CE-B0AF-B4D4D3438E61}"/>
              </c:ext>
            </c:extLst>
          </c:dPt>
          <c:dPt>
            <c:idx val="668"/>
            <c:invertIfNegative val="1"/>
            <c:bubble3D val="0"/>
            <c:spPr>
              <a:solidFill>
                <a:srgbClr val="AEABAB"/>
              </a:solidFill>
            </c:spPr>
            <c:extLst>
              <c:ext xmlns:c16="http://schemas.microsoft.com/office/drawing/2014/chart" uri="{C3380CC4-5D6E-409C-BE32-E72D297353CC}">
                <c16:uniqueId val="{0000053B-7B8A-44CE-B0AF-B4D4D3438E61}"/>
              </c:ext>
            </c:extLst>
          </c:dPt>
          <c:dPt>
            <c:idx val="669"/>
            <c:invertIfNegative val="1"/>
            <c:bubble3D val="0"/>
            <c:spPr>
              <a:solidFill>
                <a:srgbClr val="AEABAB"/>
              </a:solidFill>
            </c:spPr>
            <c:extLst>
              <c:ext xmlns:c16="http://schemas.microsoft.com/office/drawing/2014/chart" uri="{C3380CC4-5D6E-409C-BE32-E72D297353CC}">
                <c16:uniqueId val="{0000053D-7B8A-44CE-B0AF-B4D4D3438E61}"/>
              </c:ext>
            </c:extLst>
          </c:dPt>
          <c:dPt>
            <c:idx val="670"/>
            <c:invertIfNegative val="1"/>
            <c:bubble3D val="0"/>
            <c:spPr>
              <a:solidFill>
                <a:srgbClr val="AEABAB"/>
              </a:solidFill>
            </c:spPr>
            <c:extLst>
              <c:ext xmlns:c16="http://schemas.microsoft.com/office/drawing/2014/chart" uri="{C3380CC4-5D6E-409C-BE32-E72D297353CC}">
                <c16:uniqueId val="{0000053F-7B8A-44CE-B0AF-B4D4D3438E61}"/>
              </c:ext>
            </c:extLst>
          </c:dPt>
          <c:dPt>
            <c:idx val="671"/>
            <c:invertIfNegative val="1"/>
            <c:bubble3D val="0"/>
            <c:spPr>
              <a:solidFill>
                <a:srgbClr val="AEABAB"/>
              </a:solidFill>
            </c:spPr>
            <c:extLst>
              <c:ext xmlns:c16="http://schemas.microsoft.com/office/drawing/2014/chart" uri="{C3380CC4-5D6E-409C-BE32-E72D297353CC}">
                <c16:uniqueId val="{00000541-7B8A-44CE-B0AF-B4D4D3438E61}"/>
              </c:ext>
            </c:extLst>
          </c:dPt>
          <c:dPt>
            <c:idx val="672"/>
            <c:invertIfNegative val="1"/>
            <c:bubble3D val="0"/>
            <c:spPr>
              <a:solidFill>
                <a:srgbClr val="AEABAB"/>
              </a:solidFill>
            </c:spPr>
            <c:extLst>
              <c:ext xmlns:c16="http://schemas.microsoft.com/office/drawing/2014/chart" uri="{C3380CC4-5D6E-409C-BE32-E72D297353CC}">
                <c16:uniqueId val="{00000543-7B8A-44CE-B0AF-B4D4D3438E61}"/>
              </c:ext>
            </c:extLst>
          </c:dPt>
          <c:dPt>
            <c:idx val="673"/>
            <c:invertIfNegative val="1"/>
            <c:bubble3D val="0"/>
            <c:spPr>
              <a:solidFill>
                <a:srgbClr val="AEABAB"/>
              </a:solidFill>
            </c:spPr>
            <c:extLst>
              <c:ext xmlns:c16="http://schemas.microsoft.com/office/drawing/2014/chart" uri="{C3380CC4-5D6E-409C-BE32-E72D297353CC}">
                <c16:uniqueId val="{00000545-7B8A-44CE-B0AF-B4D4D3438E61}"/>
              </c:ext>
            </c:extLst>
          </c:dPt>
          <c:dPt>
            <c:idx val="674"/>
            <c:invertIfNegative val="1"/>
            <c:bubble3D val="0"/>
            <c:spPr>
              <a:solidFill>
                <a:srgbClr val="AEABAB"/>
              </a:solidFill>
            </c:spPr>
            <c:extLst>
              <c:ext xmlns:c16="http://schemas.microsoft.com/office/drawing/2014/chart" uri="{C3380CC4-5D6E-409C-BE32-E72D297353CC}">
                <c16:uniqueId val="{00000547-7B8A-44CE-B0AF-B4D4D3438E61}"/>
              </c:ext>
            </c:extLst>
          </c:dPt>
          <c:dPt>
            <c:idx val="675"/>
            <c:invertIfNegative val="1"/>
            <c:bubble3D val="0"/>
            <c:spPr>
              <a:solidFill>
                <a:srgbClr val="AEABAB"/>
              </a:solidFill>
            </c:spPr>
            <c:extLst>
              <c:ext xmlns:c16="http://schemas.microsoft.com/office/drawing/2014/chart" uri="{C3380CC4-5D6E-409C-BE32-E72D297353CC}">
                <c16:uniqueId val="{00000549-7B8A-44CE-B0AF-B4D4D3438E61}"/>
              </c:ext>
            </c:extLst>
          </c:dPt>
          <c:dPt>
            <c:idx val="676"/>
            <c:invertIfNegative val="1"/>
            <c:bubble3D val="0"/>
            <c:spPr>
              <a:solidFill>
                <a:srgbClr val="AEABAB"/>
              </a:solidFill>
            </c:spPr>
            <c:extLst>
              <c:ext xmlns:c16="http://schemas.microsoft.com/office/drawing/2014/chart" uri="{C3380CC4-5D6E-409C-BE32-E72D297353CC}">
                <c16:uniqueId val="{0000054B-7B8A-44CE-B0AF-B4D4D3438E61}"/>
              </c:ext>
            </c:extLst>
          </c:dPt>
          <c:dPt>
            <c:idx val="677"/>
            <c:invertIfNegative val="1"/>
            <c:bubble3D val="0"/>
            <c:spPr>
              <a:solidFill>
                <a:srgbClr val="AEABAB"/>
              </a:solidFill>
            </c:spPr>
            <c:extLst>
              <c:ext xmlns:c16="http://schemas.microsoft.com/office/drawing/2014/chart" uri="{C3380CC4-5D6E-409C-BE32-E72D297353CC}">
                <c16:uniqueId val="{0000054D-7B8A-44CE-B0AF-B4D4D3438E61}"/>
              </c:ext>
            </c:extLst>
          </c:dPt>
          <c:dPt>
            <c:idx val="678"/>
            <c:invertIfNegative val="1"/>
            <c:bubble3D val="0"/>
            <c:spPr>
              <a:solidFill>
                <a:srgbClr val="AEABAB"/>
              </a:solidFill>
            </c:spPr>
            <c:extLst>
              <c:ext xmlns:c16="http://schemas.microsoft.com/office/drawing/2014/chart" uri="{C3380CC4-5D6E-409C-BE32-E72D297353CC}">
                <c16:uniqueId val="{0000054F-7B8A-44CE-B0AF-B4D4D3438E61}"/>
              </c:ext>
            </c:extLst>
          </c:dPt>
          <c:dPt>
            <c:idx val="679"/>
            <c:invertIfNegative val="1"/>
            <c:bubble3D val="0"/>
            <c:spPr>
              <a:solidFill>
                <a:srgbClr val="AEABAB"/>
              </a:solidFill>
            </c:spPr>
            <c:extLst>
              <c:ext xmlns:c16="http://schemas.microsoft.com/office/drawing/2014/chart" uri="{C3380CC4-5D6E-409C-BE32-E72D297353CC}">
                <c16:uniqueId val="{00000551-7B8A-44CE-B0AF-B4D4D3438E61}"/>
              </c:ext>
            </c:extLst>
          </c:dPt>
          <c:dPt>
            <c:idx val="680"/>
            <c:invertIfNegative val="1"/>
            <c:bubble3D val="0"/>
            <c:spPr>
              <a:solidFill>
                <a:srgbClr val="AEABAB"/>
              </a:solidFill>
            </c:spPr>
            <c:extLst>
              <c:ext xmlns:c16="http://schemas.microsoft.com/office/drawing/2014/chart" uri="{C3380CC4-5D6E-409C-BE32-E72D297353CC}">
                <c16:uniqueId val="{00000553-7B8A-44CE-B0AF-B4D4D3438E61}"/>
              </c:ext>
            </c:extLst>
          </c:dPt>
          <c:dPt>
            <c:idx val="681"/>
            <c:invertIfNegative val="1"/>
            <c:bubble3D val="0"/>
            <c:spPr>
              <a:solidFill>
                <a:srgbClr val="AEABAB"/>
              </a:solidFill>
            </c:spPr>
            <c:extLst>
              <c:ext xmlns:c16="http://schemas.microsoft.com/office/drawing/2014/chart" uri="{C3380CC4-5D6E-409C-BE32-E72D297353CC}">
                <c16:uniqueId val="{00000555-7B8A-44CE-B0AF-B4D4D3438E61}"/>
              </c:ext>
            </c:extLst>
          </c:dPt>
          <c:dPt>
            <c:idx val="682"/>
            <c:invertIfNegative val="1"/>
            <c:bubble3D val="0"/>
            <c:spPr>
              <a:solidFill>
                <a:srgbClr val="AEABAB"/>
              </a:solidFill>
            </c:spPr>
            <c:extLst>
              <c:ext xmlns:c16="http://schemas.microsoft.com/office/drawing/2014/chart" uri="{C3380CC4-5D6E-409C-BE32-E72D297353CC}">
                <c16:uniqueId val="{00000557-7B8A-44CE-B0AF-B4D4D3438E61}"/>
              </c:ext>
            </c:extLst>
          </c:dPt>
          <c:dPt>
            <c:idx val="683"/>
            <c:invertIfNegative val="1"/>
            <c:bubble3D val="0"/>
            <c:spPr>
              <a:solidFill>
                <a:srgbClr val="AEABAB"/>
              </a:solidFill>
            </c:spPr>
            <c:extLst>
              <c:ext xmlns:c16="http://schemas.microsoft.com/office/drawing/2014/chart" uri="{C3380CC4-5D6E-409C-BE32-E72D297353CC}">
                <c16:uniqueId val="{00000559-7B8A-44CE-B0AF-B4D4D3438E61}"/>
              </c:ext>
            </c:extLst>
          </c:dPt>
          <c:dPt>
            <c:idx val="684"/>
            <c:invertIfNegative val="1"/>
            <c:bubble3D val="0"/>
            <c:spPr>
              <a:solidFill>
                <a:srgbClr val="AEABAB"/>
              </a:solidFill>
            </c:spPr>
            <c:extLst>
              <c:ext xmlns:c16="http://schemas.microsoft.com/office/drawing/2014/chart" uri="{C3380CC4-5D6E-409C-BE32-E72D297353CC}">
                <c16:uniqueId val="{0000055B-7B8A-44CE-B0AF-B4D4D3438E61}"/>
              </c:ext>
            </c:extLst>
          </c:dPt>
          <c:dPt>
            <c:idx val="685"/>
            <c:invertIfNegative val="1"/>
            <c:bubble3D val="0"/>
            <c:spPr>
              <a:solidFill>
                <a:srgbClr val="AEABAB"/>
              </a:solidFill>
            </c:spPr>
            <c:extLst>
              <c:ext xmlns:c16="http://schemas.microsoft.com/office/drawing/2014/chart" uri="{C3380CC4-5D6E-409C-BE32-E72D297353CC}">
                <c16:uniqueId val="{0000055D-7B8A-44CE-B0AF-B4D4D3438E61}"/>
              </c:ext>
            </c:extLst>
          </c:dPt>
          <c:dPt>
            <c:idx val="686"/>
            <c:invertIfNegative val="1"/>
            <c:bubble3D val="0"/>
            <c:spPr>
              <a:solidFill>
                <a:srgbClr val="AEABAB"/>
              </a:solidFill>
            </c:spPr>
            <c:extLst>
              <c:ext xmlns:c16="http://schemas.microsoft.com/office/drawing/2014/chart" uri="{C3380CC4-5D6E-409C-BE32-E72D297353CC}">
                <c16:uniqueId val="{0000055F-7B8A-44CE-B0AF-B4D4D3438E61}"/>
              </c:ext>
            </c:extLst>
          </c:dPt>
          <c:dPt>
            <c:idx val="687"/>
            <c:invertIfNegative val="1"/>
            <c:bubble3D val="0"/>
            <c:spPr>
              <a:solidFill>
                <a:srgbClr val="AEABAB"/>
              </a:solidFill>
            </c:spPr>
            <c:extLst>
              <c:ext xmlns:c16="http://schemas.microsoft.com/office/drawing/2014/chart" uri="{C3380CC4-5D6E-409C-BE32-E72D297353CC}">
                <c16:uniqueId val="{00000561-7B8A-44CE-B0AF-B4D4D3438E61}"/>
              </c:ext>
            </c:extLst>
          </c:dPt>
          <c:dPt>
            <c:idx val="688"/>
            <c:invertIfNegative val="1"/>
            <c:bubble3D val="0"/>
            <c:spPr>
              <a:solidFill>
                <a:srgbClr val="AEABAB"/>
              </a:solidFill>
            </c:spPr>
            <c:extLst>
              <c:ext xmlns:c16="http://schemas.microsoft.com/office/drawing/2014/chart" uri="{C3380CC4-5D6E-409C-BE32-E72D297353CC}">
                <c16:uniqueId val="{00000563-7B8A-44CE-B0AF-B4D4D3438E61}"/>
              </c:ext>
            </c:extLst>
          </c:dPt>
          <c:dPt>
            <c:idx val="689"/>
            <c:invertIfNegative val="1"/>
            <c:bubble3D val="0"/>
            <c:spPr>
              <a:solidFill>
                <a:srgbClr val="AEABAB"/>
              </a:solidFill>
            </c:spPr>
            <c:extLst>
              <c:ext xmlns:c16="http://schemas.microsoft.com/office/drawing/2014/chart" uri="{C3380CC4-5D6E-409C-BE32-E72D297353CC}">
                <c16:uniqueId val="{00000565-7B8A-44CE-B0AF-B4D4D3438E61}"/>
              </c:ext>
            </c:extLst>
          </c:dPt>
          <c:dPt>
            <c:idx val="690"/>
            <c:invertIfNegative val="1"/>
            <c:bubble3D val="0"/>
            <c:spPr>
              <a:solidFill>
                <a:srgbClr val="AEABAB"/>
              </a:solidFill>
            </c:spPr>
            <c:extLst>
              <c:ext xmlns:c16="http://schemas.microsoft.com/office/drawing/2014/chart" uri="{C3380CC4-5D6E-409C-BE32-E72D297353CC}">
                <c16:uniqueId val="{00000567-7B8A-44CE-B0AF-B4D4D3438E61}"/>
              </c:ext>
            </c:extLst>
          </c:dPt>
          <c:dPt>
            <c:idx val="691"/>
            <c:invertIfNegative val="1"/>
            <c:bubble3D val="0"/>
            <c:spPr>
              <a:solidFill>
                <a:srgbClr val="AEABAB"/>
              </a:solidFill>
            </c:spPr>
            <c:extLst>
              <c:ext xmlns:c16="http://schemas.microsoft.com/office/drawing/2014/chart" uri="{C3380CC4-5D6E-409C-BE32-E72D297353CC}">
                <c16:uniqueId val="{00000569-7B8A-44CE-B0AF-B4D4D3438E61}"/>
              </c:ext>
            </c:extLst>
          </c:dPt>
          <c:dPt>
            <c:idx val="692"/>
            <c:invertIfNegative val="1"/>
            <c:bubble3D val="0"/>
            <c:spPr>
              <a:solidFill>
                <a:srgbClr val="AEABAB"/>
              </a:solidFill>
            </c:spPr>
            <c:extLst>
              <c:ext xmlns:c16="http://schemas.microsoft.com/office/drawing/2014/chart" uri="{C3380CC4-5D6E-409C-BE32-E72D297353CC}">
                <c16:uniqueId val="{0000056B-7B8A-44CE-B0AF-B4D4D3438E61}"/>
              </c:ext>
            </c:extLst>
          </c:dPt>
          <c:dPt>
            <c:idx val="693"/>
            <c:invertIfNegative val="1"/>
            <c:bubble3D val="0"/>
            <c:spPr>
              <a:solidFill>
                <a:srgbClr val="AEABAB"/>
              </a:solidFill>
            </c:spPr>
            <c:extLst>
              <c:ext xmlns:c16="http://schemas.microsoft.com/office/drawing/2014/chart" uri="{C3380CC4-5D6E-409C-BE32-E72D297353CC}">
                <c16:uniqueId val="{0000056D-7B8A-44CE-B0AF-B4D4D3438E61}"/>
              </c:ext>
            </c:extLst>
          </c:dPt>
          <c:dPt>
            <c:idx val="694"/>
            <c:invertIfNegative val="1"/>
            <c:bubble3D val="0"/>
            <c:spPr>
              <a:solidFill>
                <a:srgbClr val="AEABAB"/>
              </a:solidFill>
            </c:spPr>
            <c:extLst>
              <c:ext xmlns:c16="http://schemas.microsoft.com/office/drawing/2014/chart" uri="{C3380CC4-5D6E-409C-BE32-E72D297353CC}">
                <c16:uniqueId val="{0000056F-7B8A-44CE-B0AF-B4D4D3438E61}"/>
              </c:ext>
            </c:extLst>
          </c:dPt>
          <c:dPt>
            <c:idx val="695"/>
            <c:invertIfNegative val="1"/>
            <c:bubble3D val="0"/>
            <c:spPr>
              <a:solidFill>
                <a:srgbClr val="AEABAB"/>
              </a:solidFill>
            </c:spPr>
            <c:extLst>
              <c:ext xmlns:c16="http://schemas.microsoft.com/office/drawing/2014/chart" uri="{C3380CC4-5D6E-409C-BE32-E72D297353CC}">
                <c16:uniqueId val="{00000571-7B8A-44CE-B0AF-B4D4D3438E61}"/>
              </c:ext>
            </c:extLst>
          </c:dPt>
          <c:dPt>
            <c:idx val="696"/>
            <c:invertIfNegative val="1"/>
            <c:bubble3D val="0"/>
            <c:spPr>
              <a:solidFill>
                <a:srgbClr val="AEABAB"/>
              </a:solidFill>
            </c:spPr>
            <c:extLst>
              <c:ext xmlns:c16="http://schemas.microsoft.com/office/drawing/2014/chart" uri="{C3380CC4-5D6E-409C-BE32-E72D297353CC}">
                <c16:uniqueId val="{00000573-7B8A-44CE-B0AF-B4D4D3438E61}"/>
              </c:ext>
            </c:extLst>
          </c:dPt>
          <c:dPt>
            <c:idx val="697"/>
            <c:invertIfNegative val="1"/>
            <c:bubble3D val="0"/>
            <c:spPr>
              <a:solidFill>
                <a:srgbClr val="AEABAB"/>
              </a:solidFill>
            </c:spPr>
            <c:extLst>
              <c:ext xmlns:c16="http://schemas.microsoft.com/office/drawing/2014/chart" uri="{C3380CC4-5D6E-409C-BE32-E72D297353CC}">
                <c16:uniqueId val="{00000575-7B8A-44CE-B0AF-B4D4D3438E61}"/>
              </c:ext>
            </c:extLst>
          </c:dPt>
          <c:dPt>
            <c:idx val="698"/>
            <c:invertIfNegative val="1"/>
            <c:bubble3D val="0"/>
            <c:spPr>
              <a:solidFill>
                <a:srgbClr val="AEABAB"/>
              </a:solidFill>
            </c:spPr>
            <c:extLst>
              <c:ext xmlns:c16="http://schemas.microsoft.com/office/drawing/2014/chart" uri="{C3380CC4-5D6E-409C-BE32-E72D297353CC}">
                <c16:uniqueId val="{00000577-7B8A-44CE-B0AF-B4D4D3438E61}"/>
              </c:ext>
            </c:extLst>
          </c:dPt>
          <c:dPt>
            <c:idx val="699"/>
            <c:invertIfNegative val="1"/>
            <c:bubble3D val="0"/>
            <c:spPr>
              <a:solidFill>
                <a:srgbClr val="AEABAB"/>
              </a:solidFill>
            </c:spPr>
            <c:extLst>
              <c:ext xmlns:c16="http://schemas.microsoft.com/office/drawing/2014/chart" uri="{C3380CC4-5D6E-409C-BE32-E72D297353CC}">
                <c16:uniqueId val="{00000579-7B8A-44CE-B0AF-B4D4D3438E61}"/>
              </c:ext>
            </c:extLst>
          </c:dPt>
          <c:dPt>
            <c:idx val="700"/>
            <c:invertIfNegative val="1"/>
            <c:bubble3D val="0"/>
            <c:spPr>
              <a:solidFill>
                <a:srgbClr val="AEABAB"/>
              </a:solidFill>
            </c:spPr>
            <c:extLst>
              <c:ext xmlns:c16="http://schemas.microsoft.com/office/drawing/2014/chart" uri="{C3380CC4-5D6E-409C-BE32-E72D297353CC}">
                <c16:uniqueId val="{0000057B-7B8A-44CE-B0AF-B4D4D3438E61}"/>
              </c:ext>
            </c:extLst>
          </c:dPt>
          <c:dPt>
            <c:idx val="701"/>
            <c:invertIfNegative val="1"/>
            <c:bubble3D val="0"/>
            <c:spPr>
              <a:solidFill>
                <a:srgbClr val="AEABAB"/>
              </a:solidFill>
            </c:spPr>
            <c:extLst>
              <c:ext xmlns:c16="http://schemas.microsoft.com/office/drawing/2014/chart" uri="{C3380CC4-5D6E-409C-BE32-E72D297353CC}">
                <c16:uniqueId val="{0000057D-7B8A-44CE-B0AF-B4D4D3438E61}"/>
              </c:ext>
            </c:extLst>
          </c:dPt>
          <c:dPt>
            <c:idx val="702"/>
            <c:invertIfNegative val="1"/>
            <c:bubble3D val="0"/>
            <c:spPr>
              <a:solidFill>
                <a:srgbClr val="AEABAB"/>
              </a:solidFill>
            </c:spPr>
            <c:extLst>
              <c:ext xmlns:c16="http://schemas.microsoft.com/office/drawing/2014/chart" uri="{C3380CC4-5D6E-409C-BE32-E72D297353CC}">
                <c16:uniqueId val="{0000057F-7B8A-44CE-B0AF-B4D4D3438E61}"/>
              </c:ext>
            </c:extLst>
          </c:dPt>
          <c:dPt>
            <c:idx val="703"/>
            <c:invertIfNegative val="1"/>
            <c:bubble3D val="0"/>
            <c:spPr>
              <a:solidFill>
                <a:srgbClr val="AEABAB"/>
              </a:solidFill>
            </c:spPr>
            <c:extLst>
              <c:ext xmlns:c16="http://schemas.microsoft.com/office/drawing/2014/chart" uri="{C3380CC4-5D6E-409C-BE32-E72D297353CC}">
                <c16:uniqueId val="{00000581-7B8A-44CE-B0AF-B4D4D3438E61}"/>
              </c:ext>
            </c:extLst>
          </c:dPt>
          <c:dPt>
            <c:idx val="704"/>
            <c:invertIfNegative val="1"/>
            <c:bubble3D val="0"/>
            <c:spPr>
              <a:solidFill>
                <a:srgbClr val="AEABAB"/>
              </a:solidFill>
            </c:spPr>
            <c:extLst>
              <c:ext xmlns:c16="http://schemas.microsoft.com/office/drawing/2014/chart" uri="{C3380CC4-5D6E-409C-BE32-E72D297353CC}">
                <c16:uniqueId val="{00000583-7B8A-44CE-B0AF-B4D4D3438E61}"/>
              </c:ext>
            </c:extLst>
          </c:dPt>
          <c:dPt>
            <c:idx val="705"/>
            <c:invertIfNegative val="1"/>
            <c:bubble3D val="0"/>
            <c:spPr>
              <a:solidFill>
                <a:srgbClr val="AEABAB"/>
              </a:solidFill>
            </c:spPr>
            <c:extLst>
              <c:ext xmlns:c16="http://schemas.microsoft.com/office/drawing/2014/chart" uri="{C3380CC4-5D6E-409C-BE32-E72D297353CC}">
                <c16:uniqueId val="{00000585-7B8A-44CE-B0AF-B4D4D3438E61}"/>
              </c:ext>
            </c:extLst>
          </c:dPt>
          <c:dPt>
            <c:idx val="706"/>
            <c:invertIfNegative val="1"/>
            <c:bubble3D val="0"/>
            <c:spPr>
              <a:solidFill>
                <a:srgbClr val="AEABAB"/>
              </a:solidFill>
            </c:spPr>
            <c:extLst>
              <c:ext xmlns:c16="http://schemas.microsoft.com/office/drawing/2014/chart" uri="{C3380CC4-5D6E-409C-BE32-E72D297353CC}">
                <c16:uniqueId val="{00000587-7B8A-44CE-B0AF-B4D4D3438E61}"/>
              </c:ext>
            </c:extLst>
          </c:dPt>
          <c:dPt>
            <c:idx val="707"/>
            <c:invertIfNegative val="1"/>
            <c:bubble3D val="0"/>
            <c:spPr>
              <a:solidFill>
                <a:srgbClr val="AEABAB"/>
              </a:solidFill>
            </c:spPr>
            <c:extLst>
              <c:ext xmlns:c16="http://schemas.microsoft.com/office/drawing/2014/chart" uri="{C3380CC4-5D6E-409C-BE32-E72D297353CC}">
                <c16:uniqueId val="{00000589-7B8A-44CE-B0AF-B4D4D3438E61}"/>
              </c:ext>
            </c:extLst>
          </c:dPt>
          <c:dPt>
            <c:idx val="708"/>
            <c:invertIfNegative val="1"/>
            <c:bubble3D val="0"/>
            <c:spPr>
              <a:solidFill>
                <a:srgbClr val="AEABAB"/>
              </a:solidFill>
            </c:spPr>
            <c:extLst>
              <c:ext xmlns:c16="http://schemas.microsoft.com/office/drawing/2014/chart" uri="{C3380CC4-5D6E-409C-BE32-E72D297353CC}">
                <c16:uniqueId val="{0000058B-7B8A-44CE-B0AF-B4D4D3438E61}"/>
              </c:ext>
            </c:extLst>
          </c:dPt>
          <c:dPt>
            <c:idx val="709"/>
            <c:invertIfNegative val="1"/>
            <c:bubble3D val="0"/>
            <c:spPr>
              <a:solidFill>
                <a:srgbClr val="AEABAB"/>
              </a:solidFill>
            </c:spPr>
            <c:extLst>
              <c:ext xmlns:c16="http://schemas.microsoft.com/office/drawing/2014/chart" uri="{C3380CC4-5D6E-409C-BE32-E72D297353CC}">
                <c16:uniqueId val="{0000058D-7B8A-44CE-B0AF-B4D4D3438E61}"/>
              </c:ext>
            </c:extLst>
          </c:dPt>
          <c:dPt>
            <c:idx val="710"/>
            <c:invertIfNegative val="1"/>
            <c:bubble3D val="0"/>
            <c:spPr>
              <a:solidFill>
                <a:srgbClr val="AEABAB"/>
              </a:solidFill>
            </c:spPr>
            <c:extLst>
              <c:ext xmlns:c16="http://schemas.microsoft.com/office/drawing/2014/chart" uri="{C3380CC4-5D6E-409C-BE32-E72D297353CC}">
                <c16:uniqueId val="{0000058F-7B8A-44CE-B0AF-B4D4D3438E61}"/>
              </c:ext>
            </c:extLst>
          </c:dPt>
          <c:dPt>
            <c:idx val="711"/>
            <c:invertIfNegative val="1"/>
            <c:bubble3D val="0"/>
            <c:spPr>
              <a:solidFill>
                <a:srgbClr val="AEABAB"/>
              </a:solidFill>
            </c:spPr>
            <c:extLst>
              <c:ext xmlns:c16="http://schemas.microsoft.com/office/drawing/2014/chart" uri="{C3380CC4-5D6E-409C-BE32-E72D297353CC}">
                <c16:uniqueId val="{00000591-7B8A-44CE-B0AF-B4D4D3438E61}"/>
              </c:ext>
            </c:extLst>
          </c:dPt>
          <c:dPt>
            <c:idx val="712"/>
            <c:invertIfNegative val="1"/>
            <c:bubble3D val="0"/>
            <c:spPr>
              <a:solidFill>
                <a:srgbClr val="AEABAB"/>
              </a:solidFill>
            </c:spPr>
            <c:extLst>
              <c:ext xmlns:c16="http://schemas.microsoft.com/office/drawing/2014/chart" uri="{C3380CC4-5D6E-409C-BE32-E72D297353CC}">
                <c16:uniqueId val="{00000593-7B8A-44CE-B0AF-B4D4D3438E61}"/>
              </c:ext>
            </c:extLst>
          </c:dPt>
          <c:dPt>
            <c:idx val="713"/>
            <c:invertIfNegative val="1"/>
            <c:bubble3D val="0"/>
            <c:spPr>
              <a:solidFill>
                <a:srgbClr val="AEABAB"/>
              </a:solidFill>
            </c:spPr>
            <c:extLst>
              <c:ext xmlns:c16="http://schemas.microsoft.com/office/drawing/2014/chart" uri="{C3380CC4-5D6E-409C-BE32-E72D297353CC}">
                <c16:uniqueId val="{00000595-7B8A-44CE-B0AF-B4D4D3438E61}"/>
              </c:ext>
            </c:extLst>
          </c:dPt>
          <c:dPt>
            <c:idx val="714"/>
            <c:invertIfNegative val="1"/>
            <c:bubble3D val="0"/>
            <c:spPr>
              <a:solidFill>
                <a:srgbClr val="AEABAB"/>
              </a:solidFill>
            </c:spPr>
            <c:extLst>
              <c:ext xmlns:c16="http://schemas.microsoft.com/office/drawing/2014/chart" uri="{C3380CC4-5D6E-409C-BE32-E72D297353CC}">
                <c16:uniqueId val="{00000597-7B8A-44CE-B0AF-B4D4D3438E61}"/>
              </c:ext>
            </c:extLst>
          </c:dPt>
          <c:dPt>
            <c:idx val="715"/>
            <c:invertIfNegative val="1"/>
            <c:bubble3D val="0"/>
            <c:spPr>
              <a:solidFill>
                <a:srgbClr val="AEABAB"/>
              </a:solidFill>
            </c:spPr>
            <c:extLst>
              <c:ext xmlns:c16="http://schemas.microsoft.com/office/drawing/2014/chart" uri="{C3380CC4-5D6E-409C-BE32-E72D297353CC}">
                <c16:uniqueId val="{00000599-7B8A-44CE-B0AF-B4D4D3438E61}"/>
              </c:ext>
            </c:extLst>
          </c:dPt>
          <c:dPt>
            <c:idx val="716"/>
            <c:invertIfNegative val="1"/>
            <c:bubble3D val="0"/>
            <c:spPr>
              <a:solidFill>
                <a:srgbClr val="AEABAB"/>
              </a:solidFill>
            </c:spPr>
            <c:extLst>
              <c:ext xmlns:c16="http://schemas.microsoft.com/office/drawing/2014/chart" uri="{C3380CC4-5D6E-409C-BE32-E72D297353CC}">
                <c16:uniqueId val="{0000059B-7B8A-44CE-B0AF-B4D4D3438E61}"/>
              </c:ext>
            </c:extLst>
          </c:dPt>
          <c:dPt>
            <c:idx val="717"/>
            <c:invertIfNegative val="1"/>
            <c:bubble3D val="0"/>
            <c:spPr>
              <a:solidFill>
                <a:srgbClr val="AEABAB"/>
              </a:solidFill>
            </c:spPr>
            <c:extLst>
              <c:ext xmlns:c16="http://schemas.microsoft.com/office/drawing/2014/chart" uri="{C3380CC4-5D6E-409C-BE32-E72D297353CC}">
                <c16:uniqueId val="{0000059D-7B8A-44CE-B0AF-B4D4D3438E61}"/>
              </c:ext>
            </c:extLst>
          </c:dPt>
          <c:dPt>
            <c:idx val="718"/>
            <c:invertIfNegative val="1"/>
            <c:bubble3D val="0"/>
            <c:spPr>
              <a:solidFill>
                <a:srgbClr val="AEABAB"/>
              </a:solidFill>
            </c:spPr>
            <c:extLst>
              <c:ext xmlns:c16="http://schemas.microsoft.com/office/drawing/2014/chart" uri="{C3380CC4-5D6E-409C-BE32-E72D297353CC}">
                <c16:uniqueId val="{0000059F-7B8A-44CE-B0AF-B4D4D3438E61}"/>
              </c:ext>
            </c:extLst>
          </c:dPt>
          <c:dPt>
            <c:idx val="719"/>
            <c:invertIfNegative val="1"/>
            <c:bubble3D val="0"/>
            <c:spPr>
              <a:solidFill>
                <a:srgbClr val="AEABAB"/>
              </a:solidFill>
            </c:spPr>
            <c:extLst>
              <c:ext xmlns:c16="http://schemas.microsoft.com/office/drawing/2014/chart" uri="{C3380CC4-5D6E-409C-BE32-E72D297353CC}">
                <c16:uniqueId val="{000005A1-7B8A-44CE-B0AF-B4D4D3438E61}"/>
              </c:ext>
            </c:extLst>
          </c:dPt>
          <c:dPt>
            <c:idx val="720"/>
            <c:invertIfNegative val="1"/>
            <c:bubble3D val="0"/>
            <c:spPr>
              <a:solidFill>
                <a:srgbClr val="AEABAB"/>
              </a:solidFill>
            </c:spPr>
            <c:extLst>
              <c:ext xmlns:c16="http://schemas.microsoft.com/office/drawing/2014/chart" uri="{C3380CC4-5D6E-409C-BE32-E72D297353CC}">
                <c16:uniqueId val="{000005A3-7B8A-44CE-B0AF-B4D4D3438E61}"/>
              </c:ext>
            </c:extLst>
          </c:dPt>
          <c:dPt>
            <c:idx val="721"/>
            <c:invertIfNegative val="1"/>
            <c:bubble3D val="0"/>
            <c:spPr>
              <a:solidFill>
                <a:srgbClr val="AEABAB"/>
              </a:solidFill>
            </c:spPr>
            <c:extLst>
              <c:ext xmlns:c16="http://schemas.microsoft.com/office/drawing/2014/chart" uri="{C3380CC4-5D6E-409C-BE32-E72D297353CC}">
                <c16:uniqueId val="{000005A5-7B8A-44CE-B0AF-B4D4D3438E61}"/>
              </c:ext>
            </c:extLst>
          </c:dPt>
          <c:dPt>
            <c:idx val="722"/>
            <c:invertIfNegative val="1"/>
            <c:bubble3D val="0"/>
            <c:spPr>
              <a:solidFill>
                <a:srgbClr val="AEABAB"/>
              </a:solidFill>
            </c:spPr>
            <c:extLst>
              <c:ext xmlns:c16="http://schemas.microsoft.com/office/drawing/2014/chart" uri="{C3380CC4-5D6E-409C-BE32-E72D297353CC}">
                <c16:uniqueId val="{000005A7-7B8A-44CE-B0AF-B4D4D3438E61}"/>
              </c:ext>
            </c:extLst>
          </c:dPt>
          <c:dPt>
            <c:idx val="723"/>
            <c:invertIfNegative val="1"/>
            <c:bubble3D val="0"/>
            <c:spPr>
              <a:solidFill>
                <a:srgbClr val="AEABAB"/>
              </a:solidFill>
            </c:spPr>
            <c:extLst>
              <c:ext xmlns:c16="http://schemas.microsoft.com/office/drawing/2014/chart" uri="{C3380CC4-5D6E-409C-BE32-E72D297353CC}">
                <c16:uniqueId val="{000005A9-7B8A-44CE-B0AF-B4D4D3438E61}"/>
              </c:ext>
            </c:extLst>
          </c:dPt>
          <c:dPt>
            <c:idx val="724"/>
            <c:invertIfNegative val="1"/>
            <c:bubble3D val="0"/>
            <c:spPr>
              <a:solidFill>
                <a:srgbClr val="AEABAB"/>
              </a:solidFill>
            </c:spPr>
            <c:extLst>
              <c:ext xmlns:c16="http://schemas.microsoft.com/office/drawing/2014/chart" uri="{C3380CC4-5D6E-409C-BE32-E72D297353CC}">
                <c16:uniqueId val="{000005AB-7B8A-44CE-B0AF-B4D4D3438E61}"/>
              </c:ext>
            </c:extLst>
          </c:dPt>
          <c:dPt>
            <c:idx val="725"/>
            <c:invertIfNegative val="1"/>
            <c:bubble3D val="0"/>
            <c:spPr>
              <a:solidFill>
                <a:srgbClr val="AEABAB"/>
              </a:solidFill>
            </c:spPr>
            <c:extLst>
              <c:ext xmlns:c16="http://schemas.microsoft.com/office/drawing/2014/chart" uri="{C3380CC4-5D6E-409C-BE32-E72D297353CC}">
                <c16:uniqueId val="{000005AD-7B8A-44CE-B0AF-B4D4D3438E61}"/>
              </c:ext>
            </c:extLst>
          </c:dPt>
          <c:dPt>
            <c:idx val="726"/>
            <c:invertIfNegative val="1"/>
            <c:bubble3D val="0"/>
            <c:spPr>
              <a:solidFill>
                <a:srgbClr val="AEABAB"/>
              </a:solidFill>
            </c:spPr>
            <c:extLst>
              <c:ext xmlns:c16="http://schemas.microsoft.com/office/drawing/2014/chart" uri="{C3380CC4-5D6E-409C-BE32-E72D297353CC}">
                <c16:uniqueId val="{000005AF-7B8A-44CE-B0AF-B4D4D3438E61}"/>
              </c:ext>
            </c:extLst>
          </c:dPt>
          <c:dPt>
            <c:idx val="727"/>
            <c:invertIfNegative val="1"/>
            <c:bubble3D val="0"/>
            <c:spPr>
              <a:solidFill>
                <a:srgbClr val="AEABAB"/>
              </a:solidFill>
            </c:spPr>
            <c:extLst>
              <c:ext xmlns:c16="http://schemas.microsoft.com/office/drawing/2014/chart" uri="{C3380CC4-5D6E-409C-BE32-E72D297353CC}">
                <c16:uniqueId val="{000005B1-7B8A-44CE-B0AF-B4D4D3438E61}"/>
              </c:ext>
            </c:extLst>
          </c:dPt>
          <c:dPt>
            <c:idx val="728"/>
            <c:invertIfNegative val="1"/>
            <c:bubble3D val="0"/>
            <c:spPr>
              <a:solidFill>
                <a:srgbClr val="AEABAB"/>
              </a:solidFill>
            </c:spPr>
            <c:extLst>
              <c:ext xmlns:c16="http://schemas.microsoft.com/office/drawing/2014/chart" uri="{C3380CC4-5D6E-409C-BE32-E72D297353CC}">
                <c16:uniqueId val="{000005B3-7B8A-44CE-B0AF-B4D4D3438E61}"/>
              </c:ext>
            </c:extLst>
          </c:dPt>
          <c:dPt>
            <c:idx val="729"/>
            <c:invertIfNegative val="1"/>
            <c:bubble3D val="0"/>
            <c:spPr>
              <a:solidFill>
                <a:srgbClr val="AEABAB"/>
              </a:solidFill>
            </c:spPr>
            <c:extLst>
              <c:ext xmlns:c16="http://schemas.microsoft.com/office/drawing/2014/chart" uri="{C3380CC4-5D6E-409C-BE32-E72D297353CC}">
                <c16:uniqueId val="{000005B5-7B8A-44CE-B0AF-B4D4D3438E61}"/>
              </c:ext>
            </c:extLst>
          </c:dPt>
          <c:dPt>
            <c:idx val="730"/>
            <c:invertIfNegative val="1"/>
            <c:bubble3D val="0"/>
            <c:spPr>
              <a:solidFill>
                <a:srgbClr val="AEABAB"/>
              </a:solidFill>
            </c:spPr>
            <c:extLst>
              <c:ext xmlns:c16="http://schemas.microsoft.com/office/drawing/2014/chart" uri="{C3380CC4-5D6E-409C-BE32-E72D297353CC}">
                <c16:uniqueId val="{000005B7-7B8A-44CE-B0AF-B4D4D3438E61}"/>
              </c:ext>
            </c:extLst>
          </c:dPt>
          <c:dPt>
            <c:idx val="731"/>
            <c:invertIfNegative val="1"/>
            <c:bubble3D val="0"/>
            <c:spPr>
              <a:solidFill>
                <a:srgbClr val="AEABAB"/>
              </a:solidFill>
            </c:spPr>
            <c:extLst>
              <c:ext xmlns:c16="http://schemas.microsoft.com/office/drawing/2014/chart" uri="{C3380CC4-5D6E-409C-BE32-E72D297353CC}">
                <c16:uniqueId val="{000005B9-7B8A-44CE-B0AF-B4D4D3438E61}"/>
              </c:ext>
            </c:extLst>
          </c:dPt>
          <c:dPt>
            <c:idx val="732"/>
            <c:invertIfNegative val="1"/>
            <c:bubble3D val="0"/>
            <c:spPr>
              <a:solidFill>
                <a:srgbClr val="AEABAB"/>
              </a:solidFill>
            </c:spPr>
            <c:extLst>
              <c:ext xmlns:c16="http://schemas.microsoft.com/office/drawing/2014/chart" uri="{C3380CC4-5D6E-409C-BE32-E72D297353CC}">
                <c16:uniqueId val="{000005BB-7B8A-44CE-B0AF-B4D4D3438E61}"/>
              </c:ext>
            </c:extLst>
          </c:dPt>
          <c:dPt>
            <c:idx val="733"/>
            <c:invertIfNegative val="1"/>
            <c:bubble3D val="0"/>
            <c:spPr>
              <a:solidFill>
                <a:srgbClr val="AEABAB"/>
              </a:solidFill>
            </c:spPr>
            <c:extLst>
              <c:ext xmlns:c16="http://schemas.microsoft.com/office/drawing/2014/chart" uri="{C3380CC4-5D6E-409C-BE32-E72D297353CC}">
                <c16:uniqueId val="{000005BD-7B8A-44CE-B0AF-B4D4D3438E61}"/>
              </c:ext>
            </c:extLst>
          </c:dPt>
          <c:dPt>
            <c:idx val="734"/>
            <c:invertIfNegative val="1"/>
            <c:bubble3D val="0"/>
            <c:spPr>
              <a:solidFill>
                <a:srgbClr val="AEABAB"/>
              </a:solidFill>
            </c:spPr>
            <c:extLst>
              <c:ext xmlns:c16="http://schemas.microsoft.com/office/drawing/2014/chart" uri="{C3380CC4-5D6E-409C-BE32-E72D297353CC}">
                <c16:uniqueId val="{000005BF-7B8A-44CE-B0AF-B4D4D3438E61}"/>
              </c:ext>
            </c:extLst>
          </c:dPt>
          <c:dPt>
            <c:idx val="735"/>
            <c:invertIfNegative val="1"/>
            <c:bubble3D val="0"/>
            <c:spPr>
              <a:solidFill>
                <a:srgbClr val="AEABAB"/>
              </a:solidFill>
            </c:spPr>
            <c:extLst>
              <c:ext xmlns:c16="http://schemas.microsoft.com/office/drawing/2014/chart" uri="{C3380CC4-5D6E-409C-BE32-E72D297353CC}">
                <c16:uniqueId val="{000005C1-7B8A-44CE-B0AF-B4D4D3438E61}"/>
              </c:ext>
            </c:extLst>
          </c:dPt>
          <c:dPt>
            <c:idx val="736"/>
            <c:invertIfNegative val="1"/>
            <c:bubble3D val="0"/>
            <c:spPr>
              <a:solidFill>
                <a:srgbClr val="AEABAB"/>
              </a:solidFill>
            </c:spPr>
            <c:extLst>
              <c:ext xmlns:c16="http://schemas.microsoft.com/office/drawing/2014/chart" uri="{C3380CC4-5D6E-409C-BE32-E72D297353CC}">
                <c16:uniqueId val="{000005C3-7B8A-44CE-B0AF-B4D4D3438E61}"/>
              </c:ext>
            </c:extLst>
          </c:dPt>
          <c:dPt>
            <c:idx val="737"/>
            <c:invertIfNegative val="1"/>
            <c:bubble3D val="0"/>
            <c:spPr>
              <a:solidFill>
                <a:srgbClr val="AEABAB"/>
              </a:solidFill>
            </c:spPr>
            <c:extLst>
              <c:ext xmlns:c16="http://schemas.microsoft.com/office/drawing/2014/chart" uri="{C3380CC4-5D6E-409C-BE32-E72D297353CC}">
                <c16:uniqueId val="{000005C5-7B8A-44CE-B0AF-B4D4D3438E61}"/>
              </c:ext>
            </c:extLst>
          </c:dPt>
          <c:dPt>
            <c:idx val="738"/>
            <c:invertIfNegative val="1"/>
            <c:bubble3D val="0"/>
            <c:spPr>
              <a:solidFill>
                <a:srgbClr val="AEABAB"/>
              </a:solidFill>
            </c:spPr>
            <c:extLst>
              <c:ext xmlns:c16="http://schemas.microsoft.com/office/drawing/2014/chart" uri="{C3380CC4-5D6E-409C-BE32-E72D297353CC}">
                <c16:uniqueId val="{000005C7-7B8A-44CE-B0AF-B4D4D3438E61}"/>
              </c:ext>
            </c:extLst>
          </c:dPt>
          <c:dPt>
            <c:idx val="739"/>
            <c:invertIfNegative val="1"/>
            <c:bubble3D val="0"/>
            <c:spPr>
              <a:solidFill>
                <a:srgbClr val="AEABAB"/>
              </a:solidFill>
            </c:spPr>
            <c:extLst>
              <c:ext xmlns:c16="http://schemas.microsoft.com/office/drawing/2014/chart" uri="{C3380CC4-5D6E-409C-BE32-E72D297353CC}">
                <c16:uniqueId val="{000005C9-7B8A-44CE-B0AF-B4D4D3438E61}"/>
              </c:ext>
            </c:extLst>
          </c:dPt>
          <c:dPt>
            <c:idx val="740"/>
            <c:invertIfNegative val="1"/>
            <c:bubble3D val="0"/>
            <c:spPr>
              <a:solidFill>
                <a:srgbClr val="AEABAB"/>
              </a:solidFill>
            </c:spPr>
            <c:extLst>
              <c:ext xmlns:c16="http://schemas.microsoft.com/office/drawing/2014/chart" uri="{C3380CC4-5D6E-409C-BE32-E72D297353CC}">
                <c16:uniqueId val="{000005CB-7B8A-44CE-B0AF-B4D4D3438E61}"/>
              </c:ext>
            </c:extLst>
          </c:dPt>
          <c:dPt>
            <c:idx val="741"/>
            <c:invertIfNegative val="1"/>
            <c:bubble3D val="0"/>
            <c:spPr>
              <a:solidFill>
                <a:srgbClr val="AEABAB"/>
              </a:solidFill>
            </c:spPr>
            <c:extLst>
              <c:ext xmlns:c16="http://schemas.microsoft.com/office/drawing/2014/chart" uri="{C3380CC4-5D6E-409C-BE32-E72D297353CC}">
                <c16:uniqueId val="{000005CD-7B8A-44CE-B0AF-B4D4D3438E61}"/>
              </c:ext>
            </c:extLst>
          </c:dPt>
          <c:dPt>
            <c:idx val="742"/>
            <c:invertIfNegative val="1"/>
            <c:bubble3D val="0"/>
            <c:spPr>
              <a:solidFill>
                <a:srgbClr val="AEABAB"/>
              </a:solidFill>
            </c:spPr>
            <c:extLst>
              <c:ext xmlns:c16="http://schemas.microsoft.com/office/drawing/2014/chart" uri="{C3380CC4-5D6E-409C-BE32-E72D297353CC}">
                <c16:uniqueId val="{000005CF-7B8A-44CE-B0AF-B4D4D3438E61}"/>
              </c:ext>
            </c:extLst>
          </c:dPt>
          <c:dPt>
            <c:idx val="743"/>
            <c:invertIfNegative val="1"/>
            <c:bubble3D val="0"/>
            <c:spPr>
              <a:solidFill>
                <a:srgbClr val="AEABAB"/>
              </a:solidFill>
            </c:spPr>
            <c:extLst>
              <c:ext xmlns:c16="http://schemas.microsoft.com/office/drawing/2014/chart" uri="{C3380CC4-5D6E-409C-BE32-E72D297353CC}">
                <c16:uniqueId val="{000005D1-7B8A-44CE-B0AF-B4D4D3438E61}"/>
              </c:ext>
            </c:extLst>
          </c:dPt>
          <c:dPt>
            <c:idx val="744"/>
            <c:invertIfNegative val="1"/>
            <c:bubble3D val="0"/>
            <c:spPr>
              <a:solidFill>
                <a:srgbClr val="AEABAB"/>
              </a:solidFill>
            </c:spPr>
            <c:extLst>
              <c:ext xmlns:c16="http://schemas.microsoft.com/office/drawing/2014/chart" uri="{C3380CC4-5D6E-409C-BE32-E72D297353CC}">
                <c16:uniqueId val="{000005D3-7B8A-44CE-B0AF-B4D4D3438E61}"/>
              </c:ext>
            </c:extLst>
          </c:dPt>
          <c:dPt>
            <c:idx val="745"/>
            <c:invertIfNegative val="1"/>
            <c:bubble3D val="0"/>
            <c:spPr>
              <a:solidFill>
                <a:srgbClr val="AEABAB"/>
              </a:solidFill>
            </c:spPr>
            <c:extLst>
              <c:ext xmlns:c16="http://schemas.microsoft.com/office/drawing/2014/chart" uri="{C3380CC4-5D6E-409C-BE32-E72D297353CC}">
                <c16:uniqueId val="{000005D5-7B8A-44CE-B0AF-B4D4D3438E61}"/>
              </c:ext>
            </c:extLst>
          </c:dPt>
          <c:dPt>
            <c:idx val="746"/>
            <c:invertIfNegative val="1"/>
            <c:bubble3D val="0"/>
            <c:spPr>
              <a:solidFill>
                <a:srgbClr val="AEABAB"/>
              </a:solidFill>
            </c:spPr>
            <c:extLst>
              <c:ext xmlns:c16="http://schemas.microsoft.com/office/drawing/2014/chart" uri="{C3380CC4-5D6E-409C-BE32-E72D297353CC}">
                <c16:uniqueId val="{000005D7-7B8A-44CE-B0AF-B4D4D3438E61}"/>
              </c:ext>
            </c:extLst>
          </c:dPt>
          <c:dPt>
            <c:idx val="747"/>
            <c:invertIfNegative val="1"/>
            <c:bubble3D val="0"/>
            <c:spPr>
              <a:solidFill>
                <a:srgbClr val="AEABAB"/>
              </a:solidFill>
            </c:spPr>
            <c:extLst>
              <c:ext xmlns:c16="http://schemas.microsoft.com/office/drawing/2014/chart" uri="{C3380CC4-5D6E-409C-BE32-E72D297353CC}">
                <c16:uniqueId val="{000005D9-7B8A-44CE-B0AF-B4D4D3438E61}"/>
              </c:ext>
            </c:extLst>
          </c:dPt>
          <c:dPt>
            <c:idx val="748"/>
            <c:invertIfNegative val="1"/>
            <c:bubble3D val="0"/>
            <c:spPr>
              <a:solidFill>
                <a:srgbClr val="AEABAB"/>
              </a:solidFill>
            </c:spPr>
            <c:extLst>
              <c:ext xmlns:c16="http://schemas.microsoft.com/office/drawing/2014/chart" uri="{C3380CC4-5D6E-409C-BE32-E72D297353CC}">
                <c16:uniqueId val="{000005DB-7B8A-44CE-B0AF-B4D4D3438E61}"/>
              </c:ext>
            </c:extLst>
          </c:dPt>
          <c:dPt>
            <c:idx val="749"/>
            <c:invertIfNegative val="1"/>
            <c:bubble3D val="0"/>
            <c:spPr>
              <a:solidFill>
                <a:srgbClr val="AEABAB"/>
              </a:solidFill>
            </c:spPr>
            <c:extLst>
              <c:ext xmlns:c16="http://schemas.microsoft.com/office/drawing/2014/chart" uri="{C3380CC4-5D6E-409C-BE32-E72D297353CC}">
                <c16:uniqueId val="{000005DD-7B8A-44CE-B0AF-B4D4D3438E61}"/>
              </c:ext>
            </c:extLst>
          </c:dPt>
          <c:dPt>
            <c:idx val="750"/>
            <c:invertIfNegative val="1"/>
            <c:bubble3D val="0"/>
            <c:spPr>
              <a:solidFill>
                <a:srgbClr val="AEABAB"/>
              </a:solidFill>
            </c:spPr>
            <c:extLst>
              <c:ext xmlns:c16="http://schemas.microsoft.com/office/drawing/2014/chart" uri="{C3380CC4-5D6E-409C-BE32-E72D297353CC}">
                <c16:uniqueId val="{000005DF-7B8A-44CE-B0AF-B4D4D3438E61}"/>
              </c:ext>
            </c:extLst>
          </c:dPt>
          <c:dPt>
            <c:idx val="751"/>
            <c:invertIfNegative val="1"/>
            <c:bubble3D val="0"/>
            <c:spPr>
              <a:solidFill>
                <a:srgbClr val="AEABAB"/>
              </a:solidFill>
            </c:spPr>
            <c:extLst>
              <c:ext xmlns:c16="http://schemas.microsoft.com/office/drawing/2014/chart" uri="{C3380CC4-5D6E-409C-BE32-E72D297353CC}">
                <c16:uniqueId val="{000005E1-7B8A-44CE-B0AF-B4D4D3438E61}"/>
              </c:ext>
            </c:extLst>
          </c:dPt>
          <c:dPt>
            <c:idx val="752"/>
            <c:invertIfNegative val="1"/>
            <c:bubble3D val="0"/>
            <c:spPr>
              <a:solidFill>
                <a:srgbClr val="AEABAB"/>
              </a:solidFill>
            </c:spPr>
            <c:extLst>
              <c:ext xmlns:c16="http://schemas.microsoft.com/office/drawing/2014/chart" uri="{C3380CC4-5D6E-409C-BE32-E72D297353CC}">
                <c16:uniqueId val="{000005E3-7B8A-44CE-B0AF-B4D4D3438E61}"/>
              </c:ext>
            </c:extLst>
          </c:dPt>
          <c:dPt>
            <c:idx val="753"/>
            <c:invertIfNegative val="1"/>
            <c:bubble3D val="0"/>
            <c:spPr>
              <a:solidFill>
                <a:srgbClr val="AEABAB"/>
              </a:solidFill>
            </c:spPr>
            <c:extLst>
              <c:ext xmlns:c16="http://schemas.microsoft.com/office/drawing/2014/chart" uri="{C3380CC4-5D6E-409C-BE32-E72D297353CC}">
                <c16:uniqueId val="{000005E5-7B8A-44CE-B0AF-B4D4D3438E61}"/>
              </c:ext>
            </c:extLst>
          </c:dPt>
          <c:dPt>
            <c:idx val="754"/>
            <c:invertIfNegative val="1"/>
            <c:bubble3D val="0"/>
            <c:spPr>
              <a:solidFill>
                <a:srgbClr val="AEABAB"/>
              </a:solidFill>
            </c:spPr>
            <c:extLst>
              <c:ext xmlns:c16="http://schemas.microsoft.com/office/drawing/2014/chart" uri="{C3380CC4-5D6E-409C-BE32-E72D297353CC}">
                <c16:uniqueId val="{000005E7-7B8A-44CE-B0AF-B4D4D3438E61}"/>
              </c:ext>
            </c:extLst>
          </c:dPt>
          <c:dPt>
            <c:idx val="755"/>
            <c:invertIfNegative val="1"/>
            <c:bubble3D val="0"/>
            <c:spPr>
              <a:solidFill>
                <a:srgbClr val="AEABAB"/>
              </a:solidFill>
            </c:spPr>
            <c:extLst>
              <c:ext xmlns:c16="http://schemas.microsoft.com/office/drawing/2014/chart" uri="{C3380CC4-5D6E-409C-BE32-E72D297353CC}">
                <c16:uniqueId val="{000005E9-7B8A-44CE-B0AF-B4D4D3438E61}"/>
              </c:ext>
            </c:extLst>
          </c:dPt>
          <c:dPt>
            <c:idx val="756"/>
            <c:invertIfNegative val="1"/>
            <c:bubble3D val="0"/>
            <c:spPr>
              <a:solidFill>
                <a:srgbClr val="AEABAB"/>
              </a:solidFill>
            </c:spPr>
            <c:extLst>
              <c:ext xmlns:c16="http://schemas.microsoft.com/office/drawing/2014/chart" uri="{C3380CC4-5D6E-409C-BE32-E72D297353CC}">
                <c16:uniqueId val="{000005EB-7B8A-44CE-B0AF-B4D4D3438E61}"/>
              </c:ext>
            </c:extLst>
          </c:dPt>
          <c:dPt>
            <c:idx val="757"/>
            <c:invertIfNegative val="1"/>
            <c:bubble3D val="0"/>
            <c:spPr>
              <a:solidFill>
                <a:srgbClr val="AEABAB"/>
              </a:solidFill>
            </c:spPr>
            <c:extLst>
              <c:ext xmlns:c16="http://schemas.microsoft.com/office/drawing/2014/chart" uri="{C3380CC4-5D6E-409C-BE32-E72D297353CC}">
                <c16:uniqueId val="{000005ED-7B8A-44CE-B0AF-B4D4D3438E61}"/>
              </c:ext>
            </c:extLst>
          </c:dPt>
          <c:dPt>
            <c:idx val="758"/>
            <c:invertIfNegative val="1"/>
            <c:bubble3D val="0"/>
            <c:spPr>
              <a:solidFill>
                <a:srgbClr val="AEABAB"/>
              </a:solidFill>
            </c:spPr>
            <c:extLst>
              <c:ext xmlns:c16="http://schemas.microsoft.com/office/drawing/2014/chart" uri="{C3380CC4-5D6E-409C-BE32-E72D297353CC}">
                <c16:uniqueId val="{000005EF-7B8A-44CE-B0AF-B4D4D3438E61}"/>
              </c:ext>
            </c:extLst>
          </c:dPt>
          <c:dPt>
            <c:idx val="759"/>
            <c:invertIfNegative val="1"/>
            <c:bubble3D val="0"/>
            <c:spPr>
              <a:solidFill>
                <a:srgbClr val="AEABAB"/>
              </a:solidFill>
            </c:spPr>
            <c:extLst>
              <c:ext xmlns:c16="http://schemas.microsoft.com/office/drawing/2014/chart" uri="{C3380CC4-5D6E-409C-BE32-E72D297353CC}">
                <c16:uniqueId val="{000005F1-7B8A-44CE-B0AF-B4D4D3438E61}"/>
              </c:ext>
            </c:extLst>
          </c:dPt>
          <c:dPt>
            <c:idx val="760"/>
            <c:invertIfNegative val="1"/>
            <c:bubble3D val="0"/>
            <c:spPr>
              <a:solidFill>
                <a:srgbClr val="AEABAB"/>
              </a:solidFill>
            </c:spPr>
            <c:extLst>
              <c:ext xmlns:c16="http://schemas.microsoft.com/office/drawing/2014/chart" uri="{C3380CC4-5D6E-409C-BE32-E72D297353CC}">
                <c16:uniqueId val="{000005F3-7B8A-44CE-B0AF-B4D4D3438E61}"/>
              </c:ext>
            </c:extLst>
          </c:dPt>
          <c:dPt>
            <c:idx val="761"/>
            <c:invertIfNegative val="1"/>
            <c:bubble3D val="0"/>
            <c:spPr>
              <a:solidFill>
                <a:srgbClr val="AEABAB"/>
              </a:solidFill>
            </c:spPr>
            <c:extLst>
              <c:ext xmlns:c16="http://schemas.microsoft.com/office/drawing/2014/chart" uri="{C3380CC4-5D6E-409C-BE32-E72D297353CC}">
                <c16:uniqueId val="{000005F5-7B8A-44CE-B0AF-B4D4D3438E61}"/>
              </c:ext>
            </c:extLst>
          </c:dPt>
          <c:dPt>
            <c:idx val="762"/>
            <c:invertIfNegative val="1"/>
            <c:bubble3D val="0"/>
            <c:spPr>
              <a:solidFill>
                <a:srgbClr val="AEABAB"/>
              </a:solidFill>
            </c:spPr>
            <c:extLst>
              <c:ext xmlns:c16="http://schemas.microsoft.com/office/drawing/2014/chart" uri="{C3380CC4-5D6E-409C-BE32-E72D297353CC}">
                <c16:uniqueId val="{000005F7-7B8A-44CE-B0AF-B4D4D3438E61}"/>
              </c:ext>
            </c:extLst>
          </c:dPt>
          <c:dPt>
            <c:idx val="763"/>
            <c:invertIfNegative val="1"/>
            <c:bubble3D val="0"/>
            <c:spPr>
              <a:solidFill>
                <a:srgbClr val="AEABAB"/>
              </a:solidFill>
            </c:spPr>
            <c:extLst>
              <c:ext xmlns:c16="http://schemas.microsoft.com/office/drawing/2014/chart" uri="{C3380CC4-5D6E-409C-BE32-E72D297353CC}">
                <c16:uniqueId val="{000005F9-7B8A-44CE-B0AF-B4D4D3438E61}"/>
              </c:ext>
            </c:extLst>
          </c:dPt>
          <c:dPt>
            <c:idx val="764"/>
            <c:invertIfNegative val="1"/>
            <c:bubble3D val="0"/>
            <c:spPr>
              <a:solidFill>
                <a:srgbClr val="AEABAB"/>
              </a:solidFill>
            </c:spPr>
            <c:extLst>
              <c:ext xmlns:c16="http://schemas.microsoft.com/office/drawing/2014/chart" uri="{C3380CC4-5D6E-409C-BE32-E72D297353CC}">
                <c16:uniqueId val="{000005FB-7B8A-44CE-B0AF-B4D4D3438E61}"/>
              </c:ext>
            </c:extLst>
          </c:dPt>
          <c:dPt>
            <c:idx val="765"/>
            <c:invertIfNegative val="1"/>
            <c:bubble3D val="0"/>
            <c:spPr>
              <a:solidFill>
                <a:srgbClr val="AEABAB"/>
              </a:solidFill>
            </c:spPr>
            <c:extLst>
              <c:ext xmlns:c16="http://schemas.microsoft.com/office/drawing/2014/chart" uri="{C3380CC4-5D6E-409C-BE32-E72D297353CC}">
                <c16:uniqueId val="{000005FD-7B8A-44CE-B0AF-B4D4D3438E61}"/>
              </c:ext>
            </c:extLst>
          </c:dPt>
          <c:dPt>
            <c:idx val="766"/>
            <c:invertIfNegative val="1"/>
            <c:bubble3D val="0"/>
            <c:spPr>
              <a:solidFill>
                <a:srgbClr val="AEABAB"/>
              </a:solidFill>
            </c:spPr>
            <c:extLst>
              <c:ext xmlns:c16="http://schemas.microsoft.com/office/drawing/2014/chart" uri="{C3380CC4-5D6E-409C-BE32-E72D297353CC}">
                <c16:uniqueId val="{000005FF-7B8A-44CE-B0AF-B4D4D3438E61}"/>
              </c:ext>
            </c:extLst>
          </c:dPt>
          <c:dPt>
            <c:idx val="767"/>
            <c:invertIfNegative val="1"/>
            <c:bubble3D val="0"/>
            <c:spPr>
              <a:solidFill>
                <a:srgbClr val="AEABAB"/>
              </a:solidFill>
            </c:spPr>
            <c:extLst>
              <c:ext xmlns:c16="http://schemas.microsoft.com/office/drawing/2014/chart" uri="{C3380CC4-5D6E-409C-BE32-E72D297353CC}">
                <c16:uniqueId val="{00000601-7B8A-44CE-B0AF-B4D4D3438E61}"/>
              </c:ext>
            </c:extLst>
          </c:dPt>
          <c:dPt>
            <c:idx val="768"/>
            <c:invertIfNegative val="1"/>
            <c:bubble3D val="0"/>
            <c:spPr>
              <a:solidFill>
                <a:srgbClr val="AEABAB"/>
              </a:solidFill>
            </c:spPr>
            <c:extLst>
              <c:ext xmlns:c16="http://schemas.microsoft.com/office/drawing/2014/chart" uri="{C3380CC4-5D6E-409C-BE32-E72D297353CC}">
                <c16:uniqueId val="{00000603-7B8A-44CE-B0AF-B4D4D3438E61}"/>
              </c:ext>
            </c:extLst>
          </c:dPt>
          <c:dPt>
            <c:idx val="769"/>
            <c:invertIfNegative val="1"/>
            <c:bubble3D val="0"/>
            <c:spPr>
              <a:solidFill>
                <a:srgbClr val="AEABAB"/>
              </a:solidFill>
            </c:spPr>
            <c:extLst>
              <c:ext xmlns:c16="http://schemas.microsoft.com/office/drawing/2014/chart" uri="{C3380CC4-5D6E-409C-BE32-E72D297353CC}">
                <c16:uniqueId val="{00000605-7B8A-44CE-B0AF-B4D4D3438E61}"/>
              </c:ext>
            </c:extLst>
          </c:dPt>
          <c:dPt>
            <c:idx val="770"/>
            <c:invertIfNegative val="1"/>
            <c:bubble3D val="0"/>
            <c:spPr>
              <a:solidFill>
                <a:srgbClr val="AEABAB"/>
              </a:solidFill>
            </c:spPr>
            <c:extLst>
              <c:ext xmlns:c16="http://schemas.microsoft.com/office/drawing/2014/chart" uri="{C3380CC4-5D6E-409C-BE32-E72D297353CC}">
                <c16:uniqueId val="{00000607-7B8A-44CE-B0AF-B4D4D3438E61}"/>
              </c:ext>
            </c:extLst>
          </c:dPt>
          <c:dPt>
            <c:idx val="771"/>
            <c:invertIfNegative val="1"/>
            <c:bubble3D val="0"/>
            <c:spPr>
              <a:solidFill>
                <a:srgbClr val="AEABAB"/>
              </a:solidFill>
            </c:spPr>
            <c:extLst>
              <c:ext xmlns:c16="http://schemas.microsoft.com/office/drawing/2014/chart" uri="{C3380CC4-5D6E-409C-BE32-E72D297353CC}">
                <c16:uniqueId val="{00000609-7B8A-44CE-B0AF-B4D4D3438E61}"/>
              </c:ext>
            </c:extLst>
          </c:dPt>
          <c:dPt>
            <c:idx val="772"/>
            <c:invertIfNegative val="1"/>
            <c:bubble3D val="0"/>
            <c:spPr>
              <a:solidFill>
                <a:srgbClr val="AEABAB"/>
              </a:solidFill>
            </c:spPr>
            <c:extLst>
              <c:ext xmlns:c16="http://schemas.microsoft.com/office/drawing/2014/chart" uri="{C3380CC4-5D6E-409C-BE32-E72D297353CC}">
                <c16:uniqueId val="{0000060B-7B8A-44CE-B0AF-B4D4D3438E61}"/>
              </c:ext>
            </c:extLst>
          </c:dPt>
          <c:dPt>
            <c:idx val="773"/>
            <c:invertIfNegative val="1"/>
            <c:bubble3D val="0"/>
            <c:spPr>
              <a:solidFill>
                <a:srgbClr val="AEABAB"/>
              </a:solidFill>
            </c:spPr>
            <c:extLst>
              <c:ext xmlns:c16="http://schemas.microsoft.com/office/drawing/2014/chart" uri="{C3380CC4-5D6E-409C-BE32-E72D297353CC}">
                <c16:uniqueId val="{0000060D-7B8A-44CE-B0AF-B4D4D3438E61}"/>
              </c:ext>
            </c:extLst>
          </c:dPt>
          <c:dPt>
            <c:idx val="774"/>
            <c:invertIfNegative val="1"/>
            <c:bubble3D val="0"/>
            <c:spPr>
              <a:solidFill>
                <a:srgbClr val="AEABAB"/>
              </a:solidFill>
            </c:spPr>
            <c:extLst>
              <c:ext xmlns:c16="http://schemas.microsoft.com/office/drawing/2014/chart" uri="{C3380CC4-5D6E-409C-BE32-E72D297353CC}">
                <c16:uniqueId val="{0000060F-7B8A-44CE-B0AF-B4D4D3438E61}"/>
              </c:ext>
            </c:extLst>
          </c:dPt>
          <c:dPt>
            <c:idx val="775"/>
            <c:invertIfNegative val="1"/>
            <c:bubble3D val="0"/>
            <c:spPr>
              <a:solidFill>
                <a:srgbClr val="AEABAB"/>
              </a:solidFill>
            </c:spPr>
            <c:extLst>
              <c:ext xmlns:c16="http://schemas.microsoft.com/office/drawing/2014/chart" uri="{C3380CC4-5D6E-409C-BE32-E72D297353CC}">
                <c16:uniqueId val="{00000611-7B8A-44CE-B0AF-B4D4D3438E61}"/>
              </c:ext>
            </c:extLst>
          </c:dPt>
          <c:dPt>
            <c:idx val="776"/>
            <c:invertIfNegative val="1"/>
            <c:bubble3D val="0"/>
            <c:spPr>
              <a:solidFill>
                <a:srgbClr val="AEABAB"/>
              </a:solidFill>
            </c:spPr>
            <c:extLst>
              <c:ext xmlns:c16="http://schemas.microsoft.com/office/drawing/2014/chart" uri="{C3380CC4-5D6E-409C-BE32-E72D297353CC}">
                <c16:uniqueId val="{00000613-7B8A-44CE-B0AF-B4D4D3438E61}"/>
              </c:ext>
            </c:extLst>
          </c:dPt>
          <c:dPt>
            <c:idx val="777"/>
            <c:invertIfNegative val="1"/>
            <c:bubble3D val="0"/>
            <c:spPr>
              <a:solidFill>
                <a:srgbClr val="AEABAB"/>
              </a:solidFill>
            </c:spPr>
            <c:extLst>
              <c:ext xmlns:c16="http://schemas.microsoft.com/office/drawing/2014/chart" uri="{C3380CC4-5D6E-409C-BE32-E72D297353CC}">
                <c16:uniqueId val="{00000615-7B8A-44CE-B0AF-B4D4D3438E61}"/>
              </c:ext>
            </c:extLst>
          </c:dPt>
          <c:dPt>
            <c:idx val="778"/>
            <c:invertIfNegative val="1"/>
            <c:bubble3D val="0"/>
            <c:spPr>
              <a:solidFill>
                <a:srgbClr val="AEABAB"/>
              </a:solidFill>
            </c:spPr>
            <c:extLst>
              <c:ext xmlns:c16="http://schemas.microsoft.com/office/drawing/2014/chart" uri="{C3380CC4-5D6E-409C-BE32-E72D297353CC}">
                <c16:uniqueId val="{00000617-7B8A-44CE-B0AF-B4D4D3438E61}"/>
              </c:ext>
            </c:extLst>
          </c:dPt>
          <c:dPt>
            <c:idx val="779"/>
            <c:invertIfNegative val="1"/>
            <c:bubble3D val="0"/>
            <c:spPr>
              <a:solidFill>
                <a:srgbClr val="AEABAB"/>
              </a:solidFill>
            </c:spPr>
            <c:extLst>
              <c:ext xmlns:c16="http://schemas.microsoft.com/office/drawing/2014/chart" uri="{C3380CC4-5D6E-409C-BE32-E72D297353CC}">
                <c16:uniqueId val="{00000619-7B8A-44CE-B0AF-B4D4D3438E61}"/>
              </c:ext>
            </c:extLst>
          </c:dPt>
          <c:dPt>
            <c:idx val="780"/>
            <c:invertIfNegative val="1"/>
            <c:bubble3D val="0"/>
            <c:spPr>
              <a:solidFill>
                <a:srgbClr val="AEABAB"/>
              </a:solidFill>
            </c:spPr>
            <c:extLst>
              <c:ext xmlns:c16="http://schemas.microsoft.com/office/drawing/2014/chart" uri="{C3380CC4-5D6E-409C-BE32-E72D297353CC}">
                <c16:uniqueId val="{0000061B-7B8A-44CE-B0AF-B4D4D3438E61}"/>
              </c:ext>
            </c:extLst>
          </c:dPt>
          <c:dPt>
            <c:idx val="781"/>
            <c:invertIfNegative val="1"/>
            <c:bubble3D val="0"/>
            <c:spPr>
              <a:solidFill>
                <a:srgbClr val="AEABAB"/>
              </a:solidFill>
            </c:spPr>
            <c:extLst>
              <c:ext xmlns:c16="http://schemas.microsoft.com/office/drawing/2014/chart" uri="{C3380CC4-5D6E-409C-BE32-E72D297353CC}">
                <c16:uniqueId val="{0000061D-7B8A-44CE-B0AF-B4D4D3438E61}"/>
              </c:ext>
            </c:extLst>
          </c:dPt>
          <c:dPt>
            <c:idx val="782"/>
            <c:invertIfNegative val="1"/>
            <c:bubble3D val="0"/>
            <c:spPr>
              <a:solidFill>
                <a:srgbClr val="AEABAB"/>
              </a:solidFill>
            </c:spPr>
            <c:extLst>
              <c:ext xmlns:c16="http://schemas.microsoft.com/office/drawing/2014/chart" uri="{C3380CC4-5D6E-409C-BE32-E72D297353CC}">
                <c16:uniqueId val="{0000061F-7B8A-44CE-B0AF-B4D4D3438E61}"/>
              </c:ext>
            </c:extLst>
          </c:dPt>
          <c:dPt>
            <c:idx val="783"/>
            <c:invertIfNegative val="1"/>
            <c:bubble3D val="0"/>
            <c:spPr>
              <a:solidFill>
                <a:srgbClr val="AEABAB"/>
              </a:solidFill>
            </c:spPr>
            <c:extLst>
              <c:ext xmlns:c16="http://schemas.microsoft.com/office/drawing/2014/chart" uri="{C3380CC4-5D6E-409C-BE32-E72D297353CC}">
                <c16:uniqueId val="{00000621-7B8A-44CE-B0AF-B4D4D3438E61}"/>
              </c:ext>
            </c:extLst>
          </c:dPt>
          <c:dPt>
            <c:idx val="784"/>
            <c:invertIfNegative val="1"/>
            <c:bubble3D val="0"/>
            <c:spPr>
              <a:solidFill>
                <a:srgbClr val="AEABAB"/>
              </a:solidFill>
            </c:spPr>
            <c:extLst>
              <c:ext xmlns:c16="http://schemas.microsoft.com/office/drawing/2014/chart" uri="{C3380CC4-5D6E-409C-BE32-E72D297353CC}">
                <c16:uniqueId val="{00000623-7B8A-44CE-B0AF-B4D4D3438E61}"/>
              </c:ext>
            </c:extLst>
          </c:dPt>
          <c:dPt>
            <c:idx val="785"/>
            <c:invertIfNegative val="1"/>
            <c:bubble3D val="0"/>
            <c:spPr>
              <a:solidFill>
                <a:srgbClr val="AEABAB"/>
              </a:solidFill>
            </c:spPr>
            <c:extLst>
              <c:ext xmlns:c16="http://schemas.microsoft.com/office/drawing/2014/chart" uri="{C3380CC4-5D6E-409C-BE32-E72D297353CC}">
                <c16:uniqueId val="{00000625-7B8A-44CE-B0AF-B4D4D3438E61}"/>
              </c:ext>
            </c:extLst>
          </c:dPt>
          <c:dPt>
            <c:idx val="786"/>
            <c:invertIfNegative val="1"/>
            <c:bubble3D val="0"/>
            <c:spPr>
              <a:solidFill>
                <a:srgbClr val="AEABAB"/>
              </a:solidFill>
            </c:spPr>
            <c:extLst>
              <c:ext xmlns:c16="http://schemas.microsoft.com/office/drawing/2014/chart" uri="{C3380CC4-5D6E-409C-BE32-E72D297353CC}">
                <c16:uniqueId val="{00000627-7B8A-44CE-B0AF-B4D4D3438E61}"/>
              </c:ext>
            </c:extLst>
          </c:dPt>
          <c:dPt>
            <c:idx val="787"/>
            <c:invertIfNegative val="1"/>
            <c:bubble3D val="0"/>
            <c:spPr>
              <a:solidFill>
                <a:srgbClr val="AEABAB"/>
              </a:solidFill>
            </c:spPr>
            <c:extLst>
              <c:ext xmlns:c16="http://schemas.microsoft.com/office/drawing/2014/chart" uri="{C3380CC4-5D6E-409C-BE32-E72D297353CC}">
                <c16:uniqueId val="{00000629-7B8A-44CE-B0AF-B4D4D3438E61}"/>
              </c:ext>
            </c:extLst>
          </c:dPt>
          <c:dPt>
            <c:idx val="788"/>
            <c:invertIfNegative val="1"/>
            <c:bubble3D val="0"/>
            <c:spPr>
              <a:solidFill>
                <a:srgbClr val="AEABAB"/>
              </a:solidFill>
            </c:spPr>
            <c:extLst>
              <c:ext xmlns:c16="http://schemas.microsoft.com/office/drawing/2014/chart" uri="{C3380CC4-5D6E-409C-BE32-E72D297353CC}">
                <c16:uniqueId val="{0000062B-7B8A-44CE-B0AF-B4D4D3438E61}"/>
              </c:ext>
            </c:extLst>
          </c:dPt>
          <c:dPt>
            <c:idx val="789"/>
            <c:invertIfNegative val="1"/>
            <c:bubble3D val="0"/>
            <c:spPr>
              <a:solidFill>
                <a:srgbClr val="AEABAB"/>
              </a:solidFill>
            </c:spPr>
            <c:extLst>
              <c:ext xmlns:c16="http://schemas.microsoft.com/office/drawing/2014/chart" uri="{C3380CC4-5D6E-409C-BE32-E72D297353CC}">
                <c16:uniqueId val="{0000062D-7B8A-44CE-B0AF-B4D4D3438E61}"/>
              </c:ext>
            </c:extLst>
          </c:dPt>
          <c:dPt>
            <c:idx val="790"/>
            <c:invertIfNegative val="1"/>
            <c:bubble3D val="0"/>
            <c:spPr>
              <a:solidFill>
                <a:srgbClr val="AEABAB"/>
              </a:solidFill>
            </c:spPr>
            <c:extLst>
              <c:ext xmlns:c16="http://schemas.microsoft.com/office/drawing/2014/chart" uri="{C3380CC4-5D6E-409C-BE32-E72D297353CC}">
                <c16:uniqueId val="{0000062F-7B8A-44CE-B0AF-B4D4D3438E61}"/>
              </c:ext>
            </c:extLst>
          </c:dPt>
          <c:dPt>
            <c:idx val="791"/>
            <c:invertIfNegative val="1"/>
            <c:bubble3D val="0"/>
            <c:spPr>
              <a:solidFill>
                <a:srgbClr val="AEABAB"/>
              </a:solidFill>
            </c:spPr>
            <c:extLst>
              <c:ext xmlns:c16="http://schemas.microsoft.com/office/drawing/2014/chart" uri="{C3380CC4-5D6E-409C-BE32-E72D297353CC}">
                <c16:uniqueId val="{00000631-7B8A-44CE-B0AF-B4D4D3438E61}"/>
              </c:ext>
            </c:extLst>
          </c:dPt>
          <c:dPt>
            <c:idx val="792"/>
            <c:invertIfNegative val="1"/>
            <c:bubble3D val="0"/>
            <c:spPr>
              <a:solidFill>
                <a:srgbClr val="AEABAB"/>
              </a:solidFill>
            </c:spPr>
            <c:extLst>
              <c:ext xmlns:c16="http://schemas.microsoft.com/office/drawing/2014/chart" uri="{C3380CC4-5D6E-409C-BE32-E72D297353CC}">
                <c16:uniqueId val="{00000633-7B8A-44CE-B0AF-B4D4D3438E61}"/>
              </c:ext>
            </c:extLst>
          </c:dPt>
          <c:dPt>
            <c:idx val="793"/>
            <c:invertIfNegative val="1"/>
            <c:bubble3D val="0"/>
            <c:spPr>
              <a:solidFill>
                <a:srgbClr val="AEABAB"/>
              </a:solidFill>
            </c:spPr>
            <c:extLst>
              <c:ext xmlns:c16="http://schemas.microsoft.com/office/drawing/2014/chart" uri="{C3380CC4-5D6E-409C-BE32-E72D297353CC}">
                <c16:uniqueId val="{00000635-7B8A-44CE-B0AF-B4D4D3438E61}"/>
              </c:ext>
            </c:extLst>
          </c:dPt>
          <c:dPt>
            <c:idx val="794"/>
            <c:invertIfNegative val="1"/>
            <c:bubble3D val="0"/>
            <c:spPr>
              <a:solidFill>
                <a:srgbClr val="AEABAB"/>
              </a:solidFill>
            </c:spPr>
            <c:extLst>
              <c:ext xmlns:c16="http://schemas.microsoft.com/office/drawing/2014/chart" uri="{C3380CC4-5D6E-409C-BE32-E72D297353CC}">
                <c16:uniqueId val="{00000637-7B8A-44CE-B0AF-B4D4D3438E61}"/>
              </c:ext>
            </c:extLst>
          </c:dPt>
          <c:dPt>
            <c:idx val="795"/>
            <c:invertIfNegative val="1"/>
            <c:bubble3D val="0"/>
            <c:spPr>
              <a:solidFill>
                <a:srgbClr val="AEABAB"/>
              </a:solidFill>
            </c:spPr>
            <c:extLst>
              <c:ext xmlns:c16="http://schemas.microsoft.com/office/drawing/2014/chart" uri="{C3380CC4-5D6E-409C-BE32-E72D297353CC}">
                <c16:uniqueId val="{00000639-7B8A-44CE-B0AF-B4D4D3438E61}"/>
              </c:ext>
            </c:extLst>
          </c:dPt>
          <c:dPt>
            <c:idx val="796"/>
            <c:invertIfNegative val="1"/>
            <c:bubble3D val="0"/>
            <c:spPr>
              <a:solidFill>
                <a:srgbClr val="AEABAB"/>
              </a:solidFill>
            </c:spPr>
            <c:extLst>
              <c:ext xmlns:c16="http://schemas.microsoft.com/office/drawing/2014/chart" uri="{C3380CC4-5D6E-409C-BE32-E72D297353CC}">
                <c16:uniqueId val="{0000063B-7B8A-44CE-B0AF-B4D4D3438E61}"/>
              </c:ext>
            </c:extLst>
          </c:dPt>
          <c:dPt>
            <c:idx val="797"/>
            <c:invertIfNegative val="1"/>
            <c:bubble3D val="0"/>
            <c:spPr>
              <a:solidFill>
                <a:srgbClr val="AEABAB"/>
              </a:solidFill>
            </c:spPr>
            <c:extLst>
              <c:ext xmlns:c16="http://schemas.microsoft.com/office/drawing/2014/chart" uri="{C3380CC4-5D6E-409C-BE32-E72D297353CC}">
                <c16:uniqueId val="{0000063D-7B8A-44CE-B0AF-B4D4D3438E61}"/>
              </c:ext>
            </c:extLst>
          </c:dPt>
          <c:dPt>
            <c:idx val="798"/>
            <c:invertIfNegative val="1"/>
            <c:bubble3D val="0"/>
            <c:spPr>
              <a:solidFill>
                <a:srgbClr val="AEABAB"/>
              </a:solidFill>
            </c:spPr>
            <c:extLst>
              <c:ext xmlns:c16="http://schemas.microsoft.com/office/drawing/2014/chart" uri="{C3380CC4-5D6E-409C-BE32-E72D297353CC}">
                <c16:uniqueId val="{0000063F-7B8A-44CE-B0AF-B4D4D3438E61}"/>
              </c:ext>
            </c:extLst>
          </c:dPt>
          <c:dPt>
            <c:idx val="799"/>
            <c:invertIfNegative val="1"/>
            <c:bubble3D val="0"/>
            <c:spPr>
              <a:solidFill>
                <a:srgbClr val="AEABAB"/>
              </a:solidFill>
            </c:spPr>
            <c:extLst>
              <c:ext xmlns:c16="http://schemas.microsoft.com/office/drawing/2014/chart" uri="{C3380CC4-5D6E-409C-BE32-E72D297353CC}">
                <c16:uniqueId val="{00000641-7B8A-44CE-B0AF-B4D4D3438E61}"/>
              </c:ext>
            </c:extLst>
          </c:dPt>
          <c:dPt>
            <c:idx val="800"/>
            <c:invertIfNegative val="1"/>
            <c:bubble3D val="0"/>
            <c:spPr>
              <a:solidFill>
                <a:srgbClr val="AEABAB"/>
              </a:solidFill>
            </c:spPr>
            <c:extLst>
              <c:ext xmlns:c16="http://schemas.microsoft.com/office/drawing/2014/chart" uri="{C3380CC4-5D6E-409C-BE32-E72D297353CC}">
                <c16:uniqueId val="{00000643-7B8A-44CE-B0AF-B4D4D3438E61}"/>
              </c:ext>
            </c:extLst>
          </c:dPt>
          <c:dPt>
            <c:idx val="801"/>
            <c:invertIfNegative val="1"/>
            <c:bubble3D val="0"/>
            <c:spPr>
              <a:solidFill>
                <a:srgbClr val="AEABAB"/>
              </a:solidFill>
            </c:spPr>
            <c:extLst>
              <c:ext xmlns:c16="http://schemas.microsoft.com/office/drawing/2014/chart" uri="{C3380CC4-5D6E-409C-BE32-E72D297353CC}">
                <c16:uniqueId val="{00000645-7B8A-44CE-B0AF-B4D4D3438E61}"/>
              </c:ext>
            </c:extLst>
          </c:dPt>
          <c:dPt>
            <c:idx val="802"/>
            <c:invertIfNegative val="1"/>
            <c:bubble3D val="0"/>
            <c:spPr>
              <a:solidFill>
                <a:srgbClr val="AEABAB"/>
              </a:solidFill>
            </c:spPr>
            <c:extLst>
              <c:ext xmlns:c16="http://schemas.microsoft.com/office/drawing/2014/chart" uri="{C3380CC4-5D6E-409C-BE32-E72D297353CC}">
                <c16:uniqueId val="{00000647-7B8A-44CE-B0AF-B4D4D3438E61}"/>
              </c:ext>
            </c:extLst>
          </c:dPt>
          <c:dPt>
            <c:idx val="803"/>
            <c:invertIfNegative val="1"/>
            <c:bubble3D val="0"/>
            <c:spPr>
              <a:solidFill>
                <a:srgbClr val="AEABAB"/>
              </a:solidFill>
            </c:spPr>
            <c:extLst>
              <c:ext xmlns:c16="http://schemas.microsoft.com/office/drawing/2014/chart" uri="{C3380CC4-5D6E-409C-BE32-E72D297353CC}">
                <c16:uniqueId val="{00000649-7B8A-44CE-B0AF-B4D4D3438E61}"/>
              </c:ext>
            </c:extLst>
          </c:dPt>
          <c:dPt>
            <c:idx val="804"/>
            <c:invertIfNegative val="1"/>
            <c:bubble3D val="0"/>
            <c:spPr>
              <a:solidFill>
                <a:srgbClr val="AEABAB"/>
              </a:solidFill>
            </c:spPr>
            <c:extLst>
              <c:ext xmlns:c16="http://schemas.microsoft.com/office/drawing/2014/chart" uri="{C3380CC4-5D6E-409C-BE32-E72D297353CC}">
                <c16:uniqueId val="{0000064B-7B8A-44CE-B0AF-B4D4D3438E61}"/>
              </c:ext>
            </c:extLst>
          </c:dPt>
          <c:dPt>
            <c:idx val="805"/>
            <c:invertIfNegative val="1"/>
            <c:bubble3D val="0"/>
            <c:spPr>
              <a:solidFill>
                <a:srgbClr val="AEABAB"/>
              </a:solidFill>
            </c:spPr>
            <c:extLst>
              <c:ext xmlns:c16="http://schemas.microsoft.com/office/drawing/2014/chart" uri="{C3380CC4-5D6E-409C-BE32-E72D297353CC}">
                <c16:uniqueId val="{0000064D-7B8A-44CE-B0AF-B4D4D3438E61}"/>
              </c:ext>
            </c:extLst>
          </c:dPt>
          <c:dPt>
            <c:idx val="806"/>
            <c:invertIfNegative val="1"/>
            <c:bubble3D val="0"/>
            <c:spPr>
              <a:solidFill>
                <a:srgbClr val="AEABAB"/>
              </a:solidFill>
            </c:spPr>
            <c:extLst>
              <c:ext xmlns:c16="http://schemas.microsoft.com/office/drawing/2014/chart" uri="{C3380CC4-5D6E-409C-BE32-E72D297353CC}">
                <c16:uniqueId val="{0000064F-7B8A-44CE-B0AF-B4D4D3438E61}"/>
              </c:ext>
            </c:extLst>
          </c:dPt>
          <c:dPt>
            <c:idx val="807"/>
            <c:invertIfNegative val="1"/>
            <c:bubble3D val="0"/>
            <c:spPr>
              <a:solidFill>
                <a:srgbClr val="AEABAB"/>
              </a:solidFill>
            </c:spPr>
            <c:extLst>
              <c:ext xmlns:c16="http://schemas.microsoft.com/office/drawing/2014/chart" uri="{C3380CC4-5D6E-409C-BE32-E72D297353CC}">
                <c16:uniqueId val="{00000651-7B8A-44CE-B0AF-B4D4D3438E61}"/>
              </c:ext>
            </c:extLst>
          </c:dPt>
          <c:dPt>
            <c:idx val="808"/>
            <c:invertIfNegative val="1"/>
            <c:bubble3D val="0"/>
            <c:spPr>
              <a:solidFill>
                <a:srgbClr val="AEABAB"/>
              </a:solidFill>
            </c:spPr>
            <c:extLst>
              <c:ext xmlns:c16="http://schemas.microsoft.com/office/drawing/2014/chart" uri="{C3380CC4-5D6E-409C-BE32-E72D297353CC}">
                <c16:uniqueId val="{00000653-7B8A-44CE-B0AF-B4D4D3438E61}"/>
              </c:ext>
            </c:extLst>
          </c:dPt>
          <c:dPt>
            <c:idx val="809"/>
            <c:invertIfNegative val="1"/>
            <c:bubble3D val="0"/>
            <c:spPr>
              <a:solidFill>
                <a:srgbClr val="AEABAB"/>
              </a:solidFill>
            </c:spPr>
            <c:extLst>
              <c:ext xmlns:c16="http://schemas.microsoft.com/office/drawing/2014/chart" uri="{C3380CC4-5D6E-409C-BE32-E72D297353CC}">
                <c16:uniqueId val="{00000655-7B8A-44CE-B0AF-B4D4D3438E61}"/>
              </c:ext>
            </c:extLst>
          </c:dPt>
          <c:dPt>
            <c:idx val="810"/>
            <c:invertIfNegative val="1"/>
            <c:bubble3D val="0"/>
            <c:spPr>
              <a:solidFill>
                <a:srgbClr val="AEABAB"/>
              </a:solidFill>
            </c:spPr>
            <c:extLst>
              <c:ext xmlns:c16="http://schemas.microsoft.com/office/drawing/2014/chart" uri="{C3380CC4-5D6E-409C-BE32-E72D297353CC}">
                <c16:uniqueId val="{00000657-7B8A-44CE-B0AF-B4D4D3438E61}"/>
              </c:ext>
            </c:extLst>
          </c:dPt>
          <c:dPt>
            <c:idx val="811"/>
            <c:invertIfNegative val="1"/>
            <c:bubble3D val="0"/>
            <c:spPr>
              <a:solidFill>
                <a:srgbClr val="AEABAB"/>
              </a:solidFill>
            </c:spPr>
            <c:extLst>
              <c:ext xmlns:c16="http://schemas.microsoft.com/office/drawing/2014/chart" uri="{C3380CC4-5D6E-409C-BE32-E72D297353CC}">
                <c16:uniqueId val="{00000659-7B8A-44CE-B0AF-B4D4D3438E61}"/>
              </c:ext>
            </c:extLst>
          </c:dPt>
          <c:dPt>
            <c:idx val="812"/>
            <c:invertIfNegative val="1"/>
            <c:bubble3D val="0"/>
            <c:spPr>
              <a:solidFill>
                <a:srgbClr val="AEABAB"/>
              </a:solidFill>
            </c:spPr>
            <c:extLst>
              <c:ext xmlns:c16="http://schemas.microsoft.com/office/drawing/2014/chart" uri="{C3380CC4-5D6E-409C-BE32-E72D297353CC}">
                <c16:uniqueId val="{0000065B-7B8A-44CE-B0AF-B4D4D3438E61}"/>
              </c:ext>
            </c:extLst>
          </c:dPt>
          <c:dPt>
            <c:idx val="813"/>
            <c:invertIfNegative val="1"/>
            <c:bubble3D val="0"/>
            <c:spPr>
              <a:solidFill>
                <a:srgbClr val="AEABAB"/>
              </a:solidFill>
            </c:spPr>
            <c:extLst>
              <c:ext xmlns:c16="http://schemas.microsoft.com/office/drawing/2014/chart" uri="{C3380CC4-5D6E-409C-BE32-E72D297353CC}">
                <c16:uniqueId val="{0000065D-7B8A-44CE-B0AF-B4D4D3438E61}"/>
              </c:ext>
            </c:extLst>
          </c:dPt>
          <c:dPt>
            <c:idx val="814"/>
            <c:invertIfNegative val="1"/>
            <c:bubble3D val="0"/>
            <c:spPr>
              <a:solidFill>
                <a:srgbClr val="AEABAB"/>
              </a:solidFill>
            </c:spPr>
            <c:extLst>
              <c:ext xmlns:c16="http://schemas.microsoft.com/office/drawing/2014/chart" uri="{C3380CC4-5D6E-409C-BE32-E72D297353CC}">
                <c16:uniqueId val="{0000065F-7B8A-44CE-B0AF-B4D4D3438E61}"/>
              </c:ext>
            </c:extLst>
          </c:dPt>
          <c:dPt>
            <c:idx val="815"/>
            <c:invertIfNegative val="1"/>
            <c:bubble3D val="0"/>
            <c:spPr>
              <a:solidFill>
                <a:srgbClr val="AEABAB"/>
              </a:solidFill>
            </c:spPr>
            <c:extLst>
              <c:ext xmlns:c16="http://schemas.microsoft.com/office/drawing/2014/chart" uri="{C3380CC4-5D6E-409C-BE32-E72D297353CC}">
                <c16:uniqueId val="{00000661-7B8A-44CE-B0AF-B4D4D3438E61}"/>
              </c:ext>
            </c:extLst>
          </c:dPt>
          <c:dPt>
            <c:idx val="816"/>
            <c:invertIfNegative val="1"/>
            <c:bubble3D val="0"/>
            <c:spPr>
              <a:solidFill>
                <a:srgbClr val="AEABAB"/>
              </a:solidFill>
            </c:spPr>
            <c:extLst>
              <c:ext xmlns:c16="http://schemas.microsoft.com/office/drawing/2014/chart" uri="{C3380CC4-5D6E-409C-BE32-E72D297353CC}">
                <c16:uniqueId val="{00000663-7B8A-44CE-B0AF-B4D4D3438E61}"/>
              </c:ext>
            </c:extLst>
          </c:dPt>
          <c:dPt>
            <c:idx val="817"/>
            <c:invertIfNegative val="1"/>
            <c:bubble3D val="0"/>
            <c:spPr>
              <a:solidFill>
                <a:srgbClr val="AEABAB"/>
              </a:solidFill>
            </c:spPr>
            <c:extLst>
              <c:ext xmlns:c16="http://schemas.microsoft.com/office/drawing/2014/chart" uri="{C3380CC4-5D6E-409C-BE32-E72D297353CC}">
                <c16:uniqueId val="{00000665-7B8A-44CE-B0AF-B4D4D3438E61}"/>
              </c:ext>
            </c:extLst>
          </c:dPt>
          <c:dPt>
            <c:idx val="818"/>
            <c:invertIfNegative val="1"/>
            <c:bubble3D val="0"/>
            <c:spPr>
              <a:solidFill>
                <a:srgbClr val="AEABAB"/>
              </a:solidFill>
            </c:spPr>
            <c:extLst>
              <c:ext xmlns:c16="http://schemas.microsoft.com/office/drawing/2014/chart" uri="{C3380CC4-5D6E-409C-BE32-E72D297353CC}">
                <c16:uniqueId val="{00000667-7B8A-44CE-B0AF-B4D4D3438E61}"/>
              </c:ext>
            </c:extLst>
          </c:dPt>
          <c:dPt>
            <c:idx val="819"/>
            <c:invertIfNegative val="1"/>
            <c:bubble3D val="0"/>
            <c:spPr>
              <a:solidFill>
                <a:srgbClr val="AEABAB"/>
              </a:solidFill>
            </c:spPr>
            <c:extLst>
              <c:ext xmlns:c16="http://schemas.microsoft.com/office/drawing/2014/chart" uri="{C3380CC4-5D6E-409C-BE32-E72D297353CC}">
                <c16:uniqueId val="{00000669-7B8A-44CE-B0AF-B4D4D3438E61}"/>
              </c:ext>
            </c:extLst>
          </c:dPt>
          <c:dPt>
            <c:idx val="820"/>
            <c:invertIfNegative val="1"/>
            <c:bubble3D val="0"/>
            <c:spPr>
              <a:solidFill>
                <a:srgbClr val="AEABAB"/>
              </a:solidFill>
            </c:spPr>
            <c:extLst>
              <c:ext xmlns:c16="http://schemas.microsoft.com/office/drawing/2014/chart" uri="{C3380CC4-5D6E-409C-BE32-E72D297353CC}">
                <c16:uniqueId val="{0000066B-7B8A-44CE-B0AF-B4D4D3438E61}"/>
              </c:ext>
            </c:extLst>
          </c:dPt>
          <c:dPt>
            <c:idx val="821"/>
            <c:invertIfNegative val="1"/>
            <c:bubble3D val="0"/>
            <c:spPr>
              <a:solidFill>
                <a:srgbClr val="AEABAB"/>
              </a:solidFill>
            </c:spPr>
            <c:extLst>
              <c:ext xmlns:c16="http://schemas.microsoft.com/office/drawing/2014/chart" uri="{C3380CC4-5D6E-409C-BE32-E72D297353CC}">
                <c16:uniqueId val="{0000066D-7B8A-44CE-B0AF-B4D4D3438E61}"/>
              </c:ext>
            </c:extLst>
          </c:dPt>
          <c:dPt>
            <c:idx val="822"/>
            <c:invertIfNegative val="1"/>
            <c:bubble3D val="0"/>
            <c:spPr>
              <a:solidFill>
                <a:srgbClr val="AEABAB"/>
              </a:solidFill>
            </c:spPr>
            <c:extLst>
              <c:ext xmlns:c16="http://schemas.microsoft.com/office/drawing/2014/chart" uri="{C3380CC4-5D6E-409C-BE32-E72D297353CC}">
                <c16:uniqueId val="{0000066F-7B8A-44CE-B0AF-B4D4D3438E61}"/>
              </c:ext>
            </c:extLst>
          </c:dPt>
          <c:dPt>
            <c:idx val="823"/>
            <c:invertIfNegative val="1"/>
            <c:bubble3D val="0"/>
            <c:spPr>
              <a:solidFill>
                <a:srgbClr val="AEABAB"/>
              </a:solidFill>
            </c:spPr>
            <c:extLst>
              <c:ext xmlns:c16="http://schemas.microsoft.com/office/drawing/2014/chart" uri="{C3380CC4-5D6E-409C-BE32-E72D297353CC}">
                <c16:uniqueId val="{00000671-7B8A-44CE-B0AF-B4D4D3438E61}"/>
              </c:ext>
            </c:extLst>
          </c:dPt>
          <c:dPt>
            <c:idx val="824"/>
            <c:invertIfNegative val="1"/>
            <c:bubble3D val="0"/>
            <c:spPr>
              <a:solidFill>
                <a:srgbClr val="AEABAB"/>
              </a:solidFill>
            </c:spPr>
            <c:extLst>
              <c:ext xmlns:c16="http://schemas.microsoft.com/office/drawing/2014/chart" uri="{C3380CC4-5D6E-409C-BE32-E72D297353CC}">
                <c16:uniqueId val="{00000673-7B8A-44CE-B0AF-B4D4D3438E61}"/>
              </c:ext>
            </c:extLst>
          </c:dPt>
          <c:dPt>
            <c:idx val="825"/>
            <c:invertIfNegative val="1"/>
            <c:bubble3D val="0"/>
            <c:spPr>
              <a:solidFill>
                <a:srgbClr val="AEABAB"/>
              </a:solidFill>
            </c:spPr>
            <c:extLst>
              <c:ext xmlns:c16="http://schemas.microsoft.com/office/drawing/2014/chart" uri="{C3380CC4-5D6E-409C-BE32-E72D297353CC}">
                <c16:uniqueId val="{00000675-7B8A-44CE-B0AF-B4D4D3438E61}"/>
              </c:ext>
            </c:extLst>
          </c:dPt>
          <c:dPt>
            <c:idx val="826"/>
            <c:invertIfNegative val="1"/>
            <c:bubble3D val="0"/>
            <c:spPr>
              <a:solidFill>
                <a:srgbClr val="AEABAB"/>
              </a:solidFill>
            </c:spPr>
            <c:extLst>
              <c:ext xmlns:c16="http://schemas.microsoft.com/office/drawing/2014/chart" uri="{C3380CC4-5D6E-409C-BE32-E72D297353CC}">
                <c16:uniqueId val="{00000677-7B8A-44CE-B0AF-B4D4D3438E61}"/>
              </c:ext>
            </c:extLst>
          </c:dPt>
          <c:dPt>
            <c:idx val="827"/>
            <c:invertIfNegative val="1"/>
            <c:bubble3D val="0"/>
            <c:spPr>
              <a:solidFill>
                <a:srgbClr val="AEABAB"/>
              </a:solidFill>
            </c:spPr>
            <c:extLst>
              <c:ext xmlns:c16="http://schemas.microsoft.com/office/drawing/2014/chart" uri="{C3380CC4-5D6E-409C-BE32-E72D297353CC}">
                <c16:uniqueId val="{00000679-7B8A-44CE-B0AF-B4D4D3438E61}"/>
              </c:ext>
            </c:extLst>
          </c:dPt>
          <c:dPt>
            <c:idx val="828"/>
            <c:invertIfNegative val="1"/>
            <c:bubble3D val="0"/>
            <c:spPr>
              <a:solidFill>
                <a:srgbClr val="AEABAB"/>
              </a:solidFill>
            </c:spPr>
            <c:extLst>
              <c:ext xmlns:c16="http://schemas.microsoft.com/office/drawing/2014/chart" uri="{C3380CC4-5D6E-409C-BE32-E72D297353CC}">
                <c16:uniqueId val="{0000067B-7B8A-44CE-B0AF-B4D4D3438E61}"/>
              </c:ext>
            </c:extLst>
          </c:dPt>
          <c:dPt>
            <c:idx val="829"/>
            <c:invertIfNegative val="1"/>
            <c:bubble3D val="0"/>
            <c:spPr>
              <a:solidFill>
                <a:srgbClr val="AEABAB"/>
              </a:solidFill>
            </c:spPr>
            <c:extLst>
              <c:ext xmlns:c16="http://schemas.microsoft.com/office/drawing/2014/chart" uri="{C3380CC4-5D6E-409C-BE32-E72D297353CC}">
                <c16:uniqueId val="{0000067D-7B8A-44CE-B0AF-B4D4D3438E61}"/>
              </c:ext>
            </c:extLst>
          </c:dPt>
          <c:dPt>
            <c:idx val="830"/>
            <c:invertIfNegative val="1"/>
            <c:bubble3D val="0"/>
            <c:spPr>
              <a:solidFill>
                <a:srgbClr val="AEABAB"/>
              </a:solidFill>
            </c:spPr>
            <c:extLst>
              <c:ext xmlns:c16="http://schemas.microsoft.com/office/drawing/2014/chart" uri="{C3380CC4-5D6E-409C-BE32-E72D297353CC}">
                <c16:uniqueId val="{0000067F-7B8A-44CE-B0AF-B4D4D3438E61}"/>
              </c:ext>
            </c:extLst>
          </c:dPt>
          <c:dPt>
            <c:idx val="831"/>
            <c:invertIfNegative val="1"/>
            <c:bubble3D val="0"/>
            <c:spPr>
              <a:solidFill>
                <a:srgbClr val="AEABAB"/>
              </a:solidFill>
            </c:spPr>
            <c:extLst>
              <c:ext xmlns:c16="http://schemas.microsoft.com/office/drawing/2014/chart" uri="{C3380CC4-5D6E-409C-BE32-E72D297353CC}">
                <c16:uniqueId val="{00000681-7B8A-44CE-B0AF-B4D4D3438E61}"/>
              </c:ext>
            </c:extLst>
          </c:dPt>
          <c:dPt>
            <c:idx val="832"/>
            <c:invertIfNegative val="1"/>
            <c:bubble3D val="0"/>
            <c:spPr>
              <a:solidFill>
                <a:srgbClr val="AEABAB"/>
              </a:solidFill>
            </c:spPr>
            <c:extLst>
              <c:ext xmlns:c16="http://schemas.microsoft.com/office/drawing/2014/chart" uri="{C3380CC4-5D6E-409C-BE32-E72D297353CC}">
                <c16:uniqueId val="{00000683-7B8A-44CE-B0AF-B4D4D3438E61}"/>
              </c:ext>
            </c:extLst>
          </c:dPt>
          <c:dPt>
            <c:idx val="833"/>
            <c:invertIfNegative val="1"/>
            <c:bubble3D val="0"/>
            <c:spPr>
              <a:solidFill>
                <a:srgbClr val="AEABAB"/>
              </a:solidFill>
            </c:spPr>
            <c:extLst>
              <c:ext xmlns:c16="http://schemas.microsoft.com/office/drawing/2014/chart" uri="{C3380CC4-5D6E-409C-BE32-E72D297353CC}">
                <c16:uniqueId val="{00000685-7B8A-44CE-B0AF-B4D4D3438E61}"/>
              </c:ext>
            </c:extLst>
          </c:dPt>
          <c:dPt>
            <c:idx val="834"/>
            <c:invertIfNegative val="1"/>
            <c:bubble3D val="0"/>
            <c:spPr>
              <a:solidFill>
                <a:srgbClr val="AEABAB"/>
              </a:solidFill>
            </c:spPr>
            <c:extLst>
              <c:ext xmlns:c16="http://schemas.microsoft.com/office/drawing/2014/chart" uri="{C3380CC4-5D6E-409C-BE32-E72D297353CC}">
                <c16:uniqueId val="{00000687-7B8A-44CE-B0AF-B4D4D3438E61}"/>
              </c:ext>
            </c:extLst>
          </c:dPt>
          <c:dPt>
            <c:idx val="835"/>
            <c:invertIfNegative val="1"/>
            <c:bubble3D val="0"/>
            <c:spPr>
              <a:solidFill>
                <a:srgbClr val="AEABAB"/>
              </a:solidFill>
            </c:spPr>
            <c:extLst>
              <c:ext xmlns:c16="http://schemas.microsoft.com/office/drawing/2014/chart" uri="{C3380CC4-5D6E-409C-BE32-E72D297353CC}">
                <c16:uniqueId val="{00000689-7B8A-44CE-B0AF-B4D4D3438E61}"/>
              </c:ext>
            </c:extLst>
          </c:dPt>
          <c:dPt>
            <c:idx val="836"/>
            <c:invertIfNegative val="1"/>
            <c:bubble3D val="0"/>
            <c:spPr>
              <a:solidFill>
                <a:srgbClr val="AEABAB"/>
              </a:solidFill>
            </c:spPr>
            <c:extLst>
              <c:ext xmlns:c16="http://schemas.microsoft.com/office/drawing/2014/chart" uri="{C3380CC4-5D6E-409C-BE32-E72D297353CC}">
                <c16:uniqueId val="{0000068B-7B8A-44CE-B0AF-B4D4D3438E61}"/>
              </c:ext>
            </c:extLst>
          </c:dPt>
          <c:dPt>
            <c:idx val="837"/>
            <c:invertIfNegative val="1"/>
            <c:bubble3D val="0"/>
            <c:spPr>
              <a:solidFill>
                <a:srgbClr val="AEABAB"/>
              </a:solidFill>
            </c:spPr>
            <c:extLst>
              <c:ext xmlns:c16="http://schemas.microsoft.com/office/drawing/2014/chart" uri="{C3380CC4-5D6E-409C-BE32-E72D297353CC}">
                <c16:uniqueId val="{0000068D-7B8A-44CE-B0AF-B4D4D3438E61}"/>
              </c:ext>
            </c:extLst>
          </c:dPt>
          <c:dPt>
            <c:idx val="838"/>
            <c:invertIfNegative val="1"/>
            <c:bubble3D val="0"/>
            <c:spPr>
              <a:solidFill>
                <a:srgbClr val="AEABAB"/>
              </a:solidFill>
            </c:spPr>
            <c:extLst>
              <c:ext xmlns:c16="http://schemas.microsoft.com/office/drawing/2014/chart" uri="{C3380CC4-5D6E-409C-BE32-E72D297353CC}">
                <c16:uniqueId val="{0000068F-7B8A-44CE-B0AF-B4D4D3438E61}"/>
              </c:ext>
            </c:extLst>
          </c:dPt>
          <c:dPt>
            <c:idx val="839"/>
            <c:invertIfNegative val="1"/>
            <c:bubble3D val="0"/>
            <c:spPr>
              <a:solidFill>
                <a:srgbClr val="AEABAB"/>
              </a:solidFill>
            </c:spPr>
            <c:extLst>
              <c:ext xmlns:c16="http://schemas.microsoft.com/office/drawing/2014/chart" uri="{C3380CC4-5D6E-409C-BE32-E72D297353CC}">
                <c16:uniqueId val="{00000691-7B8A-44CE-B0AF-B4D4D3438E61}"/>
              </c:ext>
            </c:extLst>
          </c:dPt>
          <c:dPt>
            <c:idx val="840"/>
            <c:invertIfNegative val="1"/>
            <c:bubble3D val="0"/>
            <c:spPr>
              <a:solidFill>
                <a:srgbClr val="AEABAB"/>
              </a:solidFill>
            </c:spPr>
            <c:extLst>
              <c:ext xmlns:c16="http://schemas.microsoft.com/office/drawing/2014/chart" uri="{C3380CC4-5D6E-409C-BE32-E72D297353CC}">
                <c16:uniqueId val="{00000693-7B8A-44CE-B0AF-B4D4D3438E61}"/>
              </c:ext>
            </c:extLst>
          </c:dPt>
          <c:dPt>
            <c:idx val="841"/>
            <c:invertIfNegative val="1"/>
            <c:bubble3D val="0"/>
            <c:spPr>
              <a:solidFill>
                <a:srgbClr val="AEABAB"/>
              </a:solidFill>
            </c:spPr>
            <c:extLst>
              <c:ext xmlns:c16="http://schemas.microsoft.com/office/drawing/2014/chart" uri="{C3380CC4-5D6E-409C-BE32-E72D297353CC}">
                <c16:uniqueId val="{00000695-7B8A-44CE-B0AF-B4D4D3438E61}"/>
              </c:ext>
            </c:extLst>
          </c:dPt>
          <c:dPt>
            <c:idx val="842"/>
            <c:invertIfNegative val="1"/>
            <c:bubble3D val="0"/>
            <c:spPr>
              <a:solidFill>
                <a:srgbClr val="AEABAB"/>
              </a:solidFill>
            </c:spPr>
            <c:extLst>
              <c:ext xmlns:c16="http://schemas.microsoft.com/office/drawing/2014/chart" uri="{C3380CC4-5D6E-409C-BE32-E72D297353CC}">
                <c16:uniqueId val="{00000697-7B8A-44CE-B0AF-B4D4D3438E61}"/>
              </c:ext>
            </c:extLst>
          </c:dPt>
          <c:dPt>
            <c:idx val="843"/>
            <c:invertIfNegative val="1"/>
            <c:bubble3D val="0"/>
            <c:spPr>
              <a:solidFill>
                <a:srgbClr val="AEABAB"/>
              </a:solidFill>
            </c:spPr>
            <c:extLst>
              <c:ext xmlns:c16="http://schemas.microsoft.com/office/drawing/2014/chart" uri="{C3380CC4-5D6E-409C-BE32-E72D297353CC}">
                <c16:uniqueId val="{00000699-7B8A-44CE-B0AF-B4D4D3438E61}"/>
              </c:ext>
            </c:extLst>
          </c:dPt>
          <c:dPt>
            <c:idx val="844"/>
            <c:invertIfNegative val="1"/>
            <c:bubble3D val="0"/>
            <c:spPr>
              <a:solidFill>
                <a:srgbClr val="AEABAB"/>
              </a:solidFill>
            </c:spPr>
            <c:extLst>
              <c:ext xmlns:c16="http://schemas.microsoft.com/office/drawing/2014/chart" uri="{C3380CC4-5D6E-409C-BE32-E72D297353CC}">
                <c16:uniqueId val="{0000069B-7B8A-44CE-B0AF-B4D4D3438E61}"/>
              </c:ext>
            </c:extLst>
          </c:dPt>
          <c:dPt>
            <c:idx val="845"/>
            <c:invertIfNegative val="1"/>
            <c:bubble3D val="0"/>
            <c:spPr>
              <a:solidFill>
                <a:srgbClr val="AEABAB"/>
              </a:solidFill>
            </c:spPr>
            <c:extLst>
              <c:ext xmlns:c16="http://schemas.microsoft.com/office/drawing/2014/chart" uri="{C3380CC4-5D6E-409C-BE32-E72D297353CC}">
                <c16:uniqueId val="{0000069D-7B8A-44CE-B0AF-B4D4D3438E61}"/>
              </c:ext>
            </c:extLst>
          </c:dPt>
          <c:dPt>
            <c:idx val="846"/>
            <c:invertIfNegative val="1"/>
            <c:bubble3D val="0"/>
            <c:spPr>
              <a:solidFill>
                <a:srgbClr val="AEABAB"/>
              </a:solidFill>
            </c:spPr>
            <c:extLst>
              <c:ext xmlns:c16="http://schemas.microsoft.com/office/drawing/2014/chart" uri="{C3380CC4-5D6E-409C-BE32-E72D297353CC}">
                <c16:uniqueId val="{0000069F-7B8A-44CE-B0AF-B4D4D3438E61}"/>
              </c:ext>
            </c:extLst>
          </c:dPt>
          <c:dPt>
            <c:idx val="847"/>
            <c:invertIfNegative val="1"/>
            <c:bubble3D val="0"/>
            <c:spPr>
              <a:solidFill>
                <a:srgbClr val="AEABAB"/>
              </a:solidFill>
            </c:spPr>
            <c:extLst>
              <c:ext xmlns:c16="http://schemas.microsoft.com/office/drawing/2014/chart" uri="{C3380CC4-5D6E-409C-BE32-E72D297353CC}">
                <c16:uniqueId val="{000006A1-7B8A-44CE-B0AF-B4D4D3438E61}"/>
              </c:ext>
            </c:extLst>
          </c:dPt>
          <c:dPt>
            <c:idx val="848"/>
            <c:invertIfNegative val="1"/>
            <c:bubble3D val="0"/>
            <c:spPr>
              <a:solidFill>
                <a:srgbClr val="AEABAB"/>
              </a:solidFill>
            </c:spPr>
            <c:extLst>
              <c:ext xmlns:c16="http://schemas.microsoft.com/office/drawing/2014/chart" uri="{C3380CC4-5D6E-409C-BE32-E72D297353CC}">
                <c16:uniqueId val="{000006A3-7B8A-44CE-B0AF-B4D4D3438E61}"/>
              </c:ext>
            </c:extLst>
          </c:dPt>
          <c:dPt>
            <c:idx val="849"/>
            <c:invertIfNegative val="1"/>
            <c:bubble3D val="0"/>
            <c:spPr>
              <a:solidFill>
                <a:srgbClr val="AEABAB"/>
              </a:solidFill>
            </c:spPr>
            <c:extLst>
              <c:ext xmlns:c16="http://schemas.microsoft.com/office/drawing/2014/chart" uri="{C3380CC4-5D6E-409C-BE32-E72D297353CC}">
                <c16:uniqueId val="{000006A5-7B8A-44CE-B0AF-B4D4D3438E61}"/>
              </c:ext>
            </c:extLst>
          </c:dPt>
          <c:dPt>
            <c:idx val="850"/>
            <c:invertIfNegative val="1"/>
            <c:bubble3D val="0"/>
            <c:spPr>
              <a:solidFill>
                <a:srgbClr val="AEABAB"/>
              </a:solidFill>
            </c:spPr>
            <c:extLst>
              <c:ext xmlns:c16="http://schemas.microsoft.com/office/drawing/2014/chart" uri="{C3380CC4-5D6E-409C-BE32-E72D297353CC}">
                <c16:uniqueId val="{000006A7-7B8A-44CE-B0AF-B4D4D3438E61}"/>
              </c:ext>
            </c:extLst>
          </c:dPt>
          <c:dPt>
            <c:idx val="851"/>
            <c:invertIfNegative val="1"/>
            <c:bubble3D val="0"/>
            <c:spPr>
              <a:solidFill>
                <a:srgbClr val="AEABAB"/>
              </a:solidFill>
            </c:spPr>
            <c:extLst>
              <c:ext xmlns:c16="http://schemas.microsoft.com/office/drawing/2014/chart" uri="{C3380CC4-5D6E-409C-BE32-E72D297353CC}">
                <c16:uniqueId val="{000006A9-7B8A-44CE-B0AF-B4D4D3438E61}"/>
              </c:ext>
            </c:extLst>
          </c:dPt>
          <c:dPt>
            <c:idx val="852"/>
            <c:invertIfNegative val="1"/>
            <c:bubble3D val="0"/>
            <c:spPr>
              <a:solidFill>
                <a:srgbClr val="AEABAB"/>
              </a:solidFill>
            </c:spPr>
            <c:extLst>
              <c:ext xmlns:c16="http://schemas.microsoft.com/office/drawing/2014/chart" uri="{C3380CC4-5D6E-409C-BE32-E72D297353CC}">
                <c16:uniqueId val="{000006AB-7B8A-44CE-B0AF-B4D4D3438E61}"/>
              </c:ext>
            </c:extLst>
          </c:dPt>
          <c:dPt>
            <c:idx val="853"/>
            <c:invertIfNegative val="1"/>
            <c:bubble3D val="0"/>
            <c:spPr>
              <a:solidFill>
                <a:srgbClr val="AEABAB"/>
              </a:solidFill>
            </c:spPr>
            <c:extLst>
              <c:ext xmlns:c16="http://schemas.microsoft.com/office/drawing/2014/chart" uri="{C3380CC4-5D6E-409C-BE32-E72D297353CC}">
                <c16:uniqueId val="{000006AD-7B8A-44CE-B0AF-B4D4D3438E61}"/>
              </c:ext>
            </c:extLst>
          </c:dPt>
          <c:dPt>
            <c:idx val="854"/>
            <c:invertIfNegative val="1"/>
            <c:bubble3D val="0"/>
            <c:spPr>
              <a:solidFill>
                <a:srgbClr val="AEABAB"/>
              </a:solidFill>
            </c:spPr>
            <c:extLst>
              <c:ext xmlns:c16="http://schemas.microsoft.com/office/drawing/2014/chart" uri="{C3380CC4-5D6E-409C-BE32-E72D297353CC}">
                <c16:uniqueId val="{000006AF-7B8A-44CE-B0AF-B4D4D3438E61}"/>
              </c:ext>
            </c:extLst>
          </c:dPt>
          <c:dPt>
            <c:idx val="855"/>
            <c:invertIfNegative val="1"/>
            <c:bubble3D val="0"/>
            <c:spPr>
              <a:solidFill>
                <a:srgbClr val="AEABAB"/>
              </a:solidFill>
            </c:spPr>
            <c:extLst>
              <c:ext xmlns:c16="http://schemas.microsoft.com/office/drawing/2014/chart" uri="{C3380CC4-5D6E-409C-BE32-E72D297353CC}">
                <c16:uniqueId val="{000006B1-7B8A-44CE-B0AF-B4D4D3438E61}"/>
              </c:ext>
            </c:extLst>
          </c:dPt>
          <c:dPt>
            <c:idx val="856"/>
            <c:invertIfNegative val="1"/>
            <c:bubble3D val="0"/>
            <c:spPr>
              <a:solidFill>
                <a:srgbClr val="AEABAB"/>
              </a:solidFill>
            </c:spPr>
            <c:extLst>
              <c:ext xmlns:c16="http://schemas.microsoft.com/office/drawing/2014/chart" uri="{C3380CC4-5D6E-409C-BE32-E72D297353CC}">
                <c16:uniqueId val="{000006B3-7B8A-44CE-B0AF-B4D4D3438E61}"/>
              </c:ext>
            </c:extLst>
          </c:dPt>
          <c:dPt>
            <c:idx val="857"/>
            <c:invertIfNegative val="1"/>
            <c:bubble3D val="0"/>
            <c:spPr>
              <a:solidFill>
                <a:srgbClr val="AEABAB"/>
              </a:solidFill>
            </c:spPr>
            <c:extLst>
              <c:ext xmlns:c16="http://schemas.microsoft.com/office/drawing/2014/chart" uri="{C3380CC4-5D6E-409C-BE32-E72D297353CC}">
                <c16:uniqueId val="{000006B5-7B8A-44CE-B0AF-B4D4D3438E61}"/>
              </c:ext>
            </c:extLst>
          </c:dPt>
          <c:dPt>
            <c:idx val="858"/>
            <c:invertIfNegative val="1"/>
            <c:bubble3D val="0"/>
            <c:spPr>
              <a:solidFill>
                <a:srgbClr val="AEABAB"/>
              </a:solidFill>
            </c:spPr>
            <c:extLst>
              <c:ext xmlns:c16="http://schemas.microsoft.com/office/drawing/2014/chart" uri="{C3380CC4-5D6E-409C-BE32-E72D297353CC}">
                <c16:uniqueId val="{000006B7-7B8A-44CE-B0AF-B4D4D3438E61}"/>
              </c:ext>
            </c:extLst>
          </c:dPt>
          <c:dPt>
            <c:idx val="859"/>
            <c:invertIfNegative val="1"/>
            <c:bubble3D val="0"/>
            <c:spPr>
              <a:solidFill>
                <a:srgbClr val="AEABAB"/>
              </a:solidFill>
            </c:spPr>
            <c:extLst>
              <c:ext xmlns:c16="http://schemas.microsoft.com/office/drawing/2014/chart" uri="{C3380CC4-5D6E-409C-BE32-E72D297353CC}">
                <c16:uniqueId val="{000006B9-7B8A-44CE-B0AF-B4D4D3438E61}"/>
              </c:ext>
            </c:extLst>
          </c:dPt>
          <c:dPt>
            <c:idx val="860"/>
            <c:invertIfNegative val="1"/>
            <c:bubble3D val="0"/>
            <c:spPr>
              <a:solidFill>
                <a:srgbClr val="AEABAB"/>
              </a:solidFill>
            </c:spPr>
            <c:extLst>
              <c:ext xmlns:c16="http://schemas.microsoft.com/office/drawing/2014/chart" uri="{C3380CC4-5D6E-409C-BE32-E72D297353CC}">
                <c16:uniqueId val="{000006BB-7B8A-44CE-B0AF-B4D4D3438E61}"/>
              </c:ext>
            </c:extLst>
          </c:dPt>
          <c:dPt>
            <c:idx val="861"/>
            <c:invertIfNegative val="1"/>
            <c:bubble3D val="0"/>
            <c:spPr>
              <a:solidFill>
                <a:srgbClr val="AEABAB"/>
              </a:solidFill>
            </c:spPr>
            <c:extLst>
              <c:ext xmlns:c16="http://schemas.microsoft.com/office/drawing/2014/chart" uri="{C3380CC4-5D6E-409C-BE32-E72D297353CC}">
                <c16:uniqueId val="{000006BD-7B8A-44CE-B0AF-B4D4D3438E61}"/>
              </c:ext>
            </c:extLst>
          </c:dPt>
          <c:dPt>
            <c:idx val="862"/>
            <c:invertIfNegative val="1"/>
            <c:bubble3D val="0"/>
            <c:spPr>
              <a:solidFill>
                <a:srgbClr val="AEABAB"/>
              </a:solidFill>
            </c:spPr>
            <c:extLst>
              <c:ext xmlns:c16="http://schemas.microsoft.com/office/drawing/2014/chart" uri="{C3380CC4-5D6E-409C-BE32-E72D297353CC}">
                <c16:uniqueId val="{000006BF-7B8A-44CE-B0AF-B4D4D3438E61}"/>
              </c:ext>
            </c:extLst>
          </c:dPt>
          <c:dPt>
            <c:idx val="863"/>
            <c:invertIfNegative val="1"/>
            <c:bubble3D val="0"/>
            <c:spPr>
              <a:solidFill>
                <a:srgbClr val="AEABAB"/>
              </a:solidFill>
            </c:spPr>
            <c:extLst>
              <c:ext xmlns:c16="http://schemas.microsoft.com/office/drawing/2014/chart" uri="{C3380CC4-5D6E-409C-BE32-E72D297353CC}">
                <c16:uniqueId val="{000006C1-7B8A-44CE-B0AF-B4D4D3438E61}"/>
              </c:ext>
            </c:extLst>
          </c:dPt>
          <c:dPt>
            <c:idx val="864"/>
            <c:invertIfNegative val="1"/>
            <c:bubble3D val="0"/>
            <c:spPr>
              <a:solidFill>
                <a:srgbClr val="AEABAB"/>
              </a:solidFill>
            </c:spPr>
            <c:extLst>
              <c:ext xmlns:c16="http://schemas.microsoft.com/office/drawing/2014/chart" uri="{C3380CC4-5D6E-409C-BE32-E72D297353CC}">
                <c16:uniqueId val="{000006C3-7B8A-44CE-B0AF-B4D4D3438E61}"/>
              </c:ext>
            </c:extLst>
          </c:dPt>
          <c:dPt>
            <c:idx val="865"/>
            <c:invertIfNegative val="1"/>
            <c:bubble3D val="0"/>
            <c:spPr>
              <a:solidFill>
                <a:srgbClr val="AEABAB"/>
              </a:solidFill>
            </c:spPr>
            <c:extLst>
              <c:ext xmlns:c16="http://schemas.microsoft.com/office/drawing/2014/chart" uri="{C3380CC4-5D6E-409C-BE32-E72D297353CC}">
                <c16:uniqueId val="{000006C5-7B8A-44CE-B0AF-B4D4D3438E61}"/>
              </c:ext>
            </c:extLst>
          </c:dPt>
          <c:dPt>
            <c:idx val="866"/>
            <c:invertIfNegative val="1"/>
            <c:bubble3D val="0"/>
            <c:spPr>
              <a:solidFill>
                <a:srgbClr val="AEABAB"/>
              </a:solidFill>
            </c:spPr>
            <c:extLst>
              <c:ext xmlns:c16="http://schemas.microsoft.com/office/drawing/2014/chart" uri="{C3380CC4-5D6E-409C-BE32-E72D297353CC}">
                <c16:uniqueId val="{000006C7-7B8A-44CE-B0AF-B4D4D3438E61}"/>
              </c:ext>
            </c:extLst>
          </c:dPt>
          <c:dPt>
            <c:idx val="867"/>
            <c:invertIfNegative val="1"/>
            <c:bubble3D val="0"/>
            <c:spPr>
              <a:solidFill>
                <a:srgbClr val="AEABAB"/>
              </a:solidFill>
            </c:spPr>
            <c:extLst>
              <c:ext xmlns:c16="http://schemas.microsoft.com/office/drawing/2014/chart" uri="{C3380CC4-5D6E-409C-BE32-E72D297353CC}">
                <c16:uniqueId val="{000006C9-7B8A-44CE-B0AF-B4D4D3438E61}"/>
              </c:ext>
            </c:extLst>
          </c:dPt>
          <c:dPt>
            <c:idx val="868"/>
            <c:invertIfNegative val="1"/>
            <c:bubble3D val="0"/>
            <c:spPr>
              <a:solidFill>
                <a:srgbClr val="AEABAB"/>
              </a:solidFill>
            </c:spPr>
            <c:extLst>
              <c:ext xmlns:c16="http://schemas.microsoft.com/office/drawing/2014/chart" uri="{C3380CC4-5D6E-409C-BE32-E72D297353CC}">
                <c16:uniqueId val="{000006CB-7B8A-44CE-B0AF-B4D4D3438E61}"/>
              </c:ext>
            </c:extLst>
          </c:dPt>
          <c:dPt>
            <c:idx val="869"/>
            <c:invertIfNegative val="1"/>
            <c:bubble3D val="0"/>
            <c:spPr>
              <a:solidFill>
                <a:srgbClr val="AEABAB"/>
              </a:solidFill>
            </c:spPr>
            <c:extLst>
              <c:ext xmlns:c16="http://schemas.microsoft.com/office/drawing/2014/chart" uri="{C3380CC4-5D6E-409C-BE32-E72D297353CC}">
                <c16:uniqueId val="{000006CD-7B8A-44CE-B0AF-B4D4D3438E61}"/>
              </c:ext>
            </c:extLst>
          </c:dPt>
          <c:dPt>
            <c:idx val="870"/>
            <c:invertIfNegative val="1"/>
            <c:bubble3D val="0"/>
            <c:spPr>
              <a:solidFill>
                <a:srgbClr val="AEABAB"/>
              </a:solidFill>
            </c:spPr>
            <c:extLst>
              <c:ext xmlns:c16="http://schemas.microsoft.com/office/drawing/2014/chart" uri="{C3380CC4-5D6E-409C-BE32-E72D297353CC}">
                <c16:uniqueId val="{000006CF-7B8A-44CE-B0AF-B4D4D3438E61}"/>
              </c:ext>
            </c:extLst>
          </c:dPt>
          <c:dPt>
            <c:idx val="871"/>
            <c:invertIfNegative val="1"/>
            <c:bubble3D val="0"/>
            <c:spPr>
              <a:solidFill>
                <a:srgbClr val="AEABAB"/>
              </a:solidFill>
            </c:spPr>
            <c:extLst>
              <c:ext xmlns:c16="http://schemas.microsoft.com/office/drawing/2014/chart" uri="{C3380CC4-5D6E-409C-BE32-E72D297353CC}">
                <c16:uniqueId val="{000006D1-7B8A-44CE-B0AF-B4D4D3438E61}"/>
              </c:ext>
            </c:extLst>
          </c:dPt>
          <c:dPt>
            <c:idx val="872"/>
            <c:invertIfNegative val="1"/>
            <c:bubble3D val="0"/>
            <c:spPr>
              <a:solidFill>
                <a:srgbClr val="AEABAB"/>
              </a:solidFill>
            </c:spPr>
            <c:extLst>
              <c:ext xmlns:c16="http://schemas.microsoft.com/office/drawing/2014/chart" uri="{C3380CC4-5D6E-409C-BE32-E72D297353CC}">
                <c16:uniqueId val="{000006D3-7B8A-44CE-B0AF-B4D4D3438E61}"/>
              </c:ext>
            </c:extLst>
          </c:dPt>
          <c:dPt>
            <c:idx val="873"/>
            <c:invertIfNegative val="1"/>
            <c:bubble3D val="0"/>
            <c:spPr>
              <a:solidFill>
                <a:srgbClr val="AEABAB"/>
              </a:solidFill>
            </c:spPr>
            <c:extLst>
              <c:ext xmlns:c16="http://schemas.microsoft.com/office/drawing/2014/chart" uri="{C3380CC4-5D6E-409C-BE32-E72D297353CC}">
                <c16:uniqueId val="{000006D5-7B8A-44CE-B0AF-B4D4D3438E61}"/>
              </c:ext>
            </c:extLst>
          </c:dPt>
          <c:dPt>
            <c:idx val="874"/>
            <c:invertIfNegative val="1"/>
            <c:bubble3D val="0"/>
            <c:spPr>
              <a:solidFill>
                <a:srgbClr val="AEABAB"/>
              </a:solidFill>
            </c:spPr>
            <c:extLst>
              <c:ext xmlns:c16="http://schemas.microsoft.com/office/drawing/2014/chart" uri="{C3380CC4-5D6E-409C-BE32-E72D297353CC}">
                <c16:uniqueId val="{000006D7-7B8A-44CE-B0AF-B4D4D3438E61}"/>
              </c:ext>
            </c:extLst>
          </c:dPt>
          <c:dPt>
            <c:idx val="875"/>
            <c:invertIfNegative val="1"/>
            <c:bubble3D val="0"/>
            <c:spPr>
              <a:solidFill>
                <a:srgbClr val="AEABAB"/>
              </a:solidFill>
            </c:spPr>
            <c:extLst>
              <c:ext xmlns:c16="http://schemas.microsoft.com/office/drawing/2014/chart" uri="{C3380CC4-5D6E-409C-BE32-E72D297353CC}">
                <c16:uniqueId val="{000006D9-7B8A-44CE-B0AF-B4D4D3438E61}"/>
              </c:ext>
            </c:extLst>
          </c:dPt>
          <c:dPt>
            <c:idx val="876"/>
            <c:invertIfNegative val="1"/>
            <c:bubble3D val="0"/>
            <c:spPr>
              <a:solidFill>
                <a:srgbClr val="AEABAB"/>
              </a:solidFill>
            </c:spPr>
            <c:extLst>
              <c:ext xmlns:c16="http://schemas.microsoft.com/office/drawing/2014/chart" uri="{C3380CC4-5D6E-409C-BE32-E72D297353CC}">
                <c16:uniqueId val="{000006DB-7B8A-44CE-B0AF-B4D4D3438E61}"/>
              </c:ext>
            </c:extLst>
          </c:dPt>
          <c:dPt>
            <c:idx val="877"/>
            <c:invertIfNegative val="1"/>
            <c:bubble3D val="0"/>
            <c:spPr>
              <a:solidFill>
                <a:srgbClr val="AEABAB"/>
              </a:solidFill>
            </c:spPr>
            <c:extLst>
              <c:ext xmlns:c16="http://schemas.microsoft.com/office/drawing/2014/chart" uri="{C3380CC4-5D6E-409C-BE32-E72D297353CC}">
                <c16:uniqueId val="{000006DD-7B8A-44CE-B0AF-B4D4D3438E61}"/>
              </c:ext>
            </c:extLst>
          </c:dPt>
          <c:dPt>
            <c:idx val="878"/>
            <c:invertIfNegative val="1"/>
            <c:bubble3D val="0"/>
            <c:spPr>
              <a:solidFill>
                <a:srgbClr val="AEABAB"/>
              </a:solidFill>
            </c:spPr>
            <c:extLst>
              <c:ext xmlns:c16="http://schemas.microsoft.com/office/drawing/2014/chart" uri="{C3380CC4-5D6E-409C-BE32-E72D297353CC}">
                <c16:uniqueId val="{000006DF-7B8A-44CE-B0AF-B4D4D3438E61}"/>
              </c:ext>
            </c:extLst>
          </c:dPt>
          <c:dPt>
            <c:idx val="879"/>
            <c:invertIfNegative val="1"/>
            <c:bubble3D val="0"/>
            <c:spPr>
              <a:solidFill>
                <a:srgbClr val="AEABAB"/>
              </a:solidFill>
            </c:spPr>
            <c:extLst>
              <c:ext xmlns:c16="http://schemas.microsoft.com/office/drawing/2014/chart" uri="{C3380CC4-5D6E-409C-BE32-E72D297353CC}">
                <c16:uniqueId val="{000006E1-7B8A-44CE-B0AF-B4D4D3438E61}"/>
              </c:ext>
            </c:extLst>
          </c:dPt>
          <c:dPt>
            <c:idx val="880"/>
            <c:invertIfNegative val="1"/>
            <c:bubble3D val="0"/>
            <c:spPr>
              <a:solidFill>
                <a:srgbClr val="AEABAB"/>
              </a:solidFill>
            </c:spPr>
            <c:extLst>
              <c:ext xmlns:c16="http://schemas.microsoft.com/office/drawing/2014/chart" uri="{C3380CC4-5D6E-409C-BE32-E72D297353CC}">
                <c16:uniqueId val="{000006E3-7B8A-44CE-B0AF-B4D4D3438E61}"/>
              </c:ext>
            </c:extLst>
          </c:dPt>
          <c:dPt>
            <c:idx val="881"/>
            <c:invertIfNegative val="1"/>
            <c:bubble3D val="0"/>
            <c:spPr>
              <a:solidFill>
                <a:srgbClr val="AEABAB"/>
              </a:solidFill>
            </c:spPr>
            <c:extLst>
              <c:ext xmlns:c16="http://schemas.microsoft.com/office/drawing/2014/chart" uri="{C3380CC4-5D6E-409C-BE32-E72D297353CC}">
                <c16:uniqueId val="{000006E5-7B8A-44CE-B0AF-B4D4D3438E61}"/>
              </c:ext>
            </c:extLst>
          </c:dPt>
          <c:dPt>
            <c:idx val="882"/>
            <c:invertIfNegative val="1"/>
            <c:bubble3D val="0"/>
            <c:spPr>
              <a:solidFill>
                <a:srgbClr val="AEABAB"/>
              </a:solidFill>
            </c:spPr>
            <c:extLst>
              <c:ext xmlns:c16="http://schemas.microsoft.com/office/drawing/2014/chart" uri="{C3380CC4-5D6E-409C-BE32-E72D297353CC}">
                <c16:uniqueId val="{000006E7-7B8A-44CE-B0AF-B4D4D3438E61}"/>
              </c:ext>
            </c:extLst>
          </c:dPt>
          <c:dPt>
            <c:idx val="883"/>
            <c:invertIfNegative val="1"/>
            <c:bubble3D val="0"/>
            <c:spPr>
              <a:solidFill>
                <a:srgbClr val="AEABAB"/>
              </a:solidFill>
            </c:spPr>
            <c:extLst>
              <c:ext xmlns:c16="http://schemas.microsoft.com/office/drawing/2014/chart" uri="{C3380CC4-5D6E-409C-BE32-E72D297353CC}">
                <c16:uniqueId val="{000006E9-7B8A-44CE-B0AF-B4D4D3438E61}"/>
              </c:ext>
            </c:extLst>
          </c:dPt>
          <c:dPt>
            <c:idx val="884"/>
            <c:invertIfNegative val="1"/>
            <c:bubble3D val="0"/>
            <c:spPr>
              <a:solidFill>
                <a:srgbClr val="AEABAB"/>
              </a:solidFill>
            </c:spPr>
            <c:extLst>
              <c:ext xmlns:c16="http://schemas.microsoft.com/office/drawing/2014/chart" uri="{C3380CC4-5D6E-409C-BE32-E72D297353CC}">
                <c16:uniqueId val="{000006EB-7B8A-44CE-B0AF-B4D4D3438E61}"/>
              </c:ext>
            </c:extLst>
          </c:dPt>
          <c:dPt>
            <c:idx val="885"/>
            <c:invertIfNegative val="1"/>
            <c:bubble3D val="0"/>
            <c:spPr>
              <a:solidFill>
                <a:srgbClr val="AEABAB"/>
              </a:solidFill>
            </c:spPr>
            <c:extLst>
              <c:ext xmlns:c16="http://schemas.microsoft.com/office/drawing/2014/chart" uri="{C3380CC4-5D6E-409C-BE32-E72D297353CC}">
                <c16:uniqueId val="{000006ED-7B8A-44CE-B0AF-B4D4D3438E61}"/>
              </c:ext>
            </c:extLst>
          </c:dPt>
          <c:dPt>
            <c:idx val="886"/>
            <c:invertIfNegative val="1"/>
            <c:bubble3D val="0"/>
            <c:spPr>
              <a:solidFill>
                <a:srgbClr val="AEABAB"/>
              </a:solidFill>
            </c:spPr>
            <c:extLst>
              <c:ext xmlns:c16="http://schemas.microsoft.com/office/drawing/2014/chart" uri="{C3380CC4-5D6E-409C-BE32-E72D297353CC}">
                <c16:uniqueId val="{000006EF-7B8A-44CE-B0AF-B4D4D3438E61}"/>
              </c:ext>
            </c:extLst>
          </c:dPt>
          <c:dPt>
            <c:idx val="887"/>
            <c:invertIfNegative val="1"/>
            <c:bubble3D val="0"/>
            <c:spPr>
              <a:solidFill>
                <a:srgbClr val="AEABAB"/>
              </a:solidFill>
            </c:spPr>
            <c:extLst>
              <c:ext xmlns:c16="http://schemas.microsoft.com/office/drawing/2014/chart" uri="{C3380CC4-5D6E-409C-BE32-E72D297353CC}">
                <c16:uniqueId val="{000006F1-7B8A-44CE-B0AF-B4D4D3438E61}"/>
              </c:ext>
            </c:extLst>
          </c:dPt>
          <c:dPt>
            <c:idx val="888"/>
            <c:invertIfNegative val="1"/>
            <c:bubble3D val="0"/>
            <c:spPr>
              <a:solidFill>
                <a:srgbClr val="AEABAB"/>
              </a:solidFill>
            </c:spPr>
            <c:extLst>
              <c:ext xmlns:c16="http://schemas.microsoft.com/office/drawing/2014/chart" uri="{C3380CC4-5D6E-409C-BE32-E72D297353CC}">
                <c16:uniqueId val="{000006F3-7B8A-44CE-B0AF-B4D4D3438E61}"/>
              </c:ext>
            </c:extLst>
          </c:dPt>
          <c:dPt>
            <c:idx val="889"/>
            <c:invertIfNegative val="1"/>
            <c:bubble3D val="0"/>
            <c:spPr>
              <a:solidFill>
                <a:srgbClr val="AEABAB"/>
              </a:solidFill>
            </c:spPr>
            <c:extLst>
              <c:ext xmlns:c16="http://schemas.microsoft.com/office/drawing/2014/chart" uri="{C3380CC4-5D6E-409C-BE32-E72D297353CC}">
                <c16:uniqueId val="{000006F5-7B8A-44CE-B0AF-B4D4D3438E61}"/>
              </c:ext>
            </c:extLst>
          </c:dPt>
          <c:dPt>
            <c:idx val="890"/>
            <c:invertIfNegative val="1"/>
            <c:bubble3D val="0"/>
            <c:spPr>
              <a:solidFill>
                <a:srgbClr val="AEABAB"/>
              </a:solidFill>
            </c:spPr>
            <c:extLst>
              <c:ext xmlns:c16="http://schemas.microsoft.com/office/drawing/2014/chart" uri="{C3380CC4-5D6E-409C-BE32-E72D297353CC}">
                <c16:uniqueId val="{000006F7-7B8A-44CE-B0AF-B4D4D3438E61}"/>
              </c:ext>
            </c:extLst>
          </c:dPt>
          <c:dPt>
            <c:idx val="891"/>
            <c:invertIfNegative val="1"/>
            <c:bubble3D val="0"/>
            <c:spPr>
              <a:solidFill>
                <a:srgbClr val="AEABAB"/>
              </a:solidFill>
            </c:spPr>
            <c:extLst>
              <c:ext xmlns:c16="http://schemas.microsoft.com/office/drawing/2014/chart" uri="{C3380CC4-5D6E-409C-BE32-E72D297353CC}">
                <c16:uniqueId val="{000006F9-7B8A-44CE-B0AF-B4D4D3438E61}"/>
              </c:ext>
            </c:extLst>
          </c:dPt>
          <c:dPt>
            <c:idx val="892"/>
            <c:invertIfNegative val="1"/>
            <c:bubble3D val="0"/>
            <c:spPr>
              <a:solidFill>
                <a:srgbClr val="AEABAB"/>
              </a:solidFill>
            </c:spPr>
            <c:extLst>
              <c:ext xmlns:c16="http://schemas.microsoft.com/office/drawing/2014/chart" uri="{C3380CC4-5D6E-409C-BE32-E72D297353CC}">
                <c16:uniqueId val="{000006FB-7B8A-44CE-B0AF-B4D4D3438E61}"/>
              </c:ext>
            </c:extLst>
          </c:dPt>
          <c:dPt>
            <c:idx val="893"/>
            <c:invertIfNegative val="1"/>
            <c:bubble3D val="0"/>
            <c:spPr>
              <a:solidFill>
                <a:srgbClr val="AEABAB"/>
              </a:solidFill>
            </c:spPr>
            <c:extLst>
              <c:ext xmlns:c16="http://schemas.microsoft.com/office/drawing/2014/chart" uri="{C3380CC4-5D6E-409C-BE32-E72D297353CC}">
                <c16:uniqueId val="{000006FD-7B8A-44CE-B0AF-B4D4D3438E61}"/>
              </c:ext>
            </c:extLst>
          </c:dPt>
          <c:dPt>
            <c:idx val="894"/>
            <c:invertIfNegative val="1"/>
            <c:bubble3D val="0"/>
            <c:spPr>
              <a:solidFill>
                <a:srgbClr val="AEABAB"/>
              </a:solidFill>
            </c:spPr>
            <c:extLst>
              <c:ext xmlns:c16="http://schemas.microsoft.com/office/drawing/2014/chart" uri="{C3380CC4-5D6E-409C-BE32-E72D297353CC}">
                <c16:uniqueId val="{000006FF-7B8A-44CE-B0AF-B4D4D3438E61}"/>
              </c:ext>
            </c:extLst>
          </c:dPt>
          <c:dPt>
            <c:idx val="895"/>
            <c:invertIfNegative val="1"/>
            <c:bubble3D val="0"/>
            <c:spPr>
              <a:solidFill>
                <a:srgbClr val="AEABAB"/>
              </a:solidFill>
            </c:spPr>
            <c:extLst>
              <c:ext xmlns:c16="http://schemas.microsoft.com/office/drawing/2014/chart" uri="{C3380CC4-5D6E-409C-BE32-E72D297353CC}">
                <c16:uniqueId val="{00000701-7B8A-44CE-B0AF-B4D4D3438E61}"/>
              </c:ext>
            </c:extLst>
          </c:dPt>
          <c:dPt>
            <c:idx val="896"/>
            <c:invertIfNegative val="1"/>
            <c:bubble3D val="0"/>
            <c:spPr>
              <a:solidFill>
                <a:srgbClr val="AEABAB"/>
              </a:solidFill>
            </c:spPr>
            <c:extLst>
              <c:ext xmlns:c16="http://schemas.microsoft.com/office/drawing/2014/chart" uri="{C3380CC4-5D6E-409C-BE32-E72D297353CC}">
                <c16:uniqueId val="{00000703-7B8A-44CE-B0AF-B4D4D3438E61}"/>
              </c:ext>
            </c:extLst>
          </c:dPt>
          <c:dPt>
            <c:idx val="897"/>
            <c:invertIfNegative val="1"/>
            <c:bubble3D val="0"/>
            <c:spPr>
              <a:solidFill>
                <a:srgbClr val="AEABAB"/>
              </a:solidFill>
            </c:spPr>
            <c:extLst>
              <c:ext xmlns:c16="http://schemas.microsoft.com/office/drawing/2014/chart" uri="{C3380CC4-5D6E-409C-BE32-E72D297353CC}">
                <c16:uniqueId val="{00000705-7B8A-44CE-B0AF-B4D4D3438E61}"/>
              </c:ext>
            </c:extLst>
          </c:dPt>
          <c:dPt>
            <c:idx val="898"/>
            <c:invertIfNegative val="1"/>
            <c:bubble3D val="0"/>
            <c:spPr>
              <a:solidFill>
                <a:srgbClr val="AEABAB"/>
              </a:solidFill>
            </c:spPr>
            <c:extLst>
              <c:ext xmlns:c16="http://schemas.microsoft.com/office/drawing/2014/chart" uri="{C3380CC4-5D6E-409C-BE32-E72D297353CC}">
                <c16:uniqueId val="{00000707-7B8A-44CE-B0AF-B4D4D3438E61}"/>
              </c:ext>
            </c:extLst>
          </c:dPt>
          <c:dPt>
            <c:idx val="899"/>
            <c:invertIfNegative val="1"/>
            <c:bubble3D val="0"/>
            <c:spPr>
              <a:solidFill>
                <a:srgbClr val="AEABAB"/>
              </a:solidFill>
            </c:spPr>
            <c:extLst>
              <c:ext xmlns:c16="http://schemas.microsoft.com/office/drawing/2014/chart" uri="{C3380CC4-5D6E-409C-BE32-E72D297353CC}">
                <c16:uniqueId val="{00000709-7B8A-44CE-B0AF-B4D4D3438E61}"/>
              </c:ext>
            </c:extLst>
          </c:dPt>
          <c:dPt>
            <c:idx val="900"/>
            <c:invertIfNegative val="1"/>
            <c:bubble3D val="0"/>
            <c:spPr>
              <a:solidFill>
                <a:srgbClr val="AEABAB"/>
              </a:solidFill>
            </c:spPr>
            <c:extLst>
              <c:ext xmlns:c16="http://schemas.microsoft.com/office/drawing/2014/chart" uri="{C3380CC4-5D6E-409C-BE32-E72D297353CC}">
                <c16:uniqueId val="{0000070B-7B8A-44CE-B0AF-B4D4D3438E61}"/>
              </c:ext>
            </c:extLst>
          </c:dPt>
          <c:dPt>
            <c:idx val="901"/>
            <c:invertIfNegative val="1"/>
            <c:bubble3D val="0"/>
            <c:spPr>
              <a:solidFill>
                <a:srgbClr val="AEABAB"/>
              </a:solidFill>
            </c:spPr>
            <c:extLst>
              <c:ext xmlns:c16="http://schemas.microsoft.com/office/drawing/2014/chart" uri="{C3380CC4-5D6E-409C-BE32-E72D297353CC}">
                <c16:uniqueId val="{0000070D-7B8A-44CE-B0AF-B4D4D3438E61}"/>
              </c:ext>
            </c:extLst>
          </c:dPt>
          <c:dPt>
            <c:idx val="902"/>
            <c:invertIfNegative val="1"/>
            <c:bubble3D val="0"/>
            <c:spPr>
              <a:solidFill>
                <a:srgbClr val="AEABAB"/>
              </a:solidFill>
            </c:spPr>
            <c:extLst>
              <c:ext xmlns:c16="http://schemas.microsoft.com/office/drawing/2014/chart" uri="{C3380CC4-5D6E-409C-BE32-E72D297353CC}">
                <c16:uniqueId val="{0000070F-7B8A-44CE-B0AF-B4D4D3438E61}"/>
              </c:ext>
            </c:extLst>
          </c:dPt>
          <c:dPt>
            <c:idx val="903"/>
            <c:invertIfNegative val="1"/>
            <c:bubble3D val="0"/>
            <c:spPr>
              <a:solidFill>
                <a:srgbClr val="AEABAB"/>
              </a:solidFill>
            </c:spPr>
            <c:extLst>
              <c:ext xmlns:c16="http://schemas.microsoft.com/office/drawing/2014/chart" uri="{C3380CC4-5D6E-409C-BE32-E72D297353CC}">
                <c16:uniqueId val="{00000711-7B8A-44CE-B0AF-B4D4D3438E61}"/>
              </c:ext>
            </c:extLst>
          </c:dPt>
          <c:dPt>
            <c:idx val="904"/>
            <c:invertIfNegative val="1"/>
            <c:bubble3D val="0"/>
            <c:spPr>
              <a:solidFill>
                <a:srgbClr val="AEABAB"/>
              </a:solidFill>
            </c:spPr>
            <c:extLst>
              <c:ext xmlns:c16="http://schemas.microsoft.com/office/drawing/2014/chart" uri="{C3380CC4-5D6E-409C-BE32-E72D297353CC}">
                <c16:uniqueId val="{00000713-7B8A-44CE-B0AF-B4D4D3438E61}"/>
              </c:ext>
            </c:extLst>
          </c:dPt>
          <c:dPt>
            <c:idx val="905"/>
            <c:invertIfNegative val="1"/>
            <c:bubble3D val="0"/>
            <c:spPr>
              <a:solidFill>
                <a:srgbClr val="AEABAB"/>
              </a:solidFill>
            </c:spPr>
            <c:extLst>
              <c:ext xmlns:c16="http://schemas.microsoft.com/office/drawing/2014/chart" uri="{C3380CC4-5D6E-409C-BE32-E72D297353CC}">
                <c16:uniqueId val="{00000715-7B8A-44CE-B0AF-B4D4D3438E61}"/>
              </c:ext>
            </c:extLst>
          </c:dPt>
          <c:dPt>
            <c:idx val="906"/>
            <c:invertIfNegative val="1"/>
            <c:bubble3D val="0"/>
            <c:spPr>
              <a:solidFill>
                <a:srgbClr val="AEABAB"/>
              </a:solidFill>
            </c:spPr>
            <c:extLst>
              <c:ext xmlns:c16="http://schemas.microsoft.com/office/drawing/2014/chart" uri="{C3380CC4-5D6E-409C-BE32-E72D297353CC}">
                <c16:uniqueId val="{00000717-7B8A-44CE-B0AF-B4D4D3438E61}"/>
              </c:ext>
            </c:extLst>
          </c:dPt>
          <c:dPt>
            <c:idx val="907"/>
            <c:invertIfNegative val="1"/>
            <c:bubble3D val="0"/>
            <c:spPr>
              <a:solidFill>
                <a:srgbClr val="AEABAB"/>
              </a:solidFill>
            </c:spPr>
            <c:extLst>
              <c:ext xmlns:c16="http://schemas.microsoft.com/office/drawing/2014/chart" uri="{C3380CC4-5D6E-409C-BE32-E72D297353CC}">
                <c16:uniqueId val="{00000719-7B8A-44CE-B0AF-B4D4D3438E61}"/>
              </c:ext>
            </c:extLst>
          </c:dPt>
          <c:dPt>
            <c:idx val="908"/>
            <c:invertIfNegative val="1"/>
            <c:bubble3D val="0"/>
            <c:spPr>
              <a:solidFill>
                <a:srgbClr val="AEABAB"/>
              </a:solidFill>
            </c:spPr>
            <c:extLst>
              <c:ext xmlns:c16="http://schemas.microsoft.com/office/drawing/2014/chart" uri="{C3380CC4-5D6E-409C-BE32-E72D297353CC}">
                <c16:uniqueId val="{0000071B-7B8A-44CE-B0AF-B4D4D3438E61}"/>
              </c:ext>
            </c:extLst>
          </c:dPt>
          <c:dPt>
            <c:idx val="909"/>
            <c:invertIfNegative val="1"/>
            <c:bubble3D val="0"/>
            <c:spPr>
              <a:solidFill>
                <a:srgbClr val="AEABAB"/>
              </a:solidFill>
            </c:spPr>
            <c:extLst>
              <c:ext xmlns:c16="http://schemas.microsoft.com/office/drawing/2014/chart" uri="{C3380CC4-5D6E-409C-BE32-E72D297353CC}">
                <c16:uniqueId val="{0000071D-7B8A-44CE-B0AF-B4D4D3438E61}"/>
              </c:ext>
            </c:extLst>
          </c:dPt>
          <c:dPt>
            <c:idx val="910"/>
            <c:invertIfNegative val="1"/>
            <c:bubble3D val="0"/>
            <c:spPr>
              <a:solidFill>
                <a:srgbClr val="AEABAB"/>
              </a:solidFill>
            </c:spPr>
            <c:extLst>
              <c:ext xmlns:c16="http://schemas.microsoft.com/office/drawing/2014/chart" uri="{C3380CC4-5D6E-409C-BE32-E72D297353CC}">
                <c16:uniqueId val="{0000071F-7B8A-44CE-B0AF-B4D4D3438E61}"/>
              </c:ext>
            </c:extLst>
          </c:dPt>
          <c:dPt>
            <c:idx val="911"/>
            <c:invertIfNegative val="1"/>
            <c:bubble3D val="0"/>
            <c:spPr>
              <a:solidFill>
                <a:srgbClr val="AEABAB"/>
              </a:solidFill>
            </c:spPr>
            <c:extLst>
              <c:ext xmlns:c16="http://schemas.microsoft.com/office/drawing/2014/chart" uri="{C3380CC4-5D6E-409C-BE32-E72D297353CC}">
                <c16:uniqueId val="{00000721-7B8A-44CE-B0AF-B4D4D3438E61}"/>
              </c:ext>
            </c:extLst>
          </c:dPt>
          <c:dPt>
            <c:idx val="912"/>
            <c:invertIfNegative val="1"/>
            <c:bubble3D val="0"/>
            <c:spPr>
              <a:solidFill>
                <a:srgbClr val="AEABAB"/>
              </a:solidFill>
            </c:spPr>
            <c:extLst>
              <c:ext xmlns:c16="http://schemas.microsoft.com/office/drawing/2014/chart" uri="{C3380CC4-5D6E-409C-BE32-E72D297353CC}">
                <c16:uniqueId val="{00000723-7B8A-44CE-B0AF-B4D4D3438E61}"/>
              </c:ext>
            </c:extLst>
          </c:dPt>
          <c:dPt>
            <c:idx val="913"/>
            <c:invertIfNegative val="1"/>
            <c:bubble3D val="0"/>
            <c:spPr>
              <a:solidFill>
                <a:srgbClr val="AEABAB"/>
              </a:solidFill>
            </c:spPr>
            <c:extLst>
              <c:ext xmlns:c16="http://schemas.microsoft.com/office/drawing/2014/chart" uri="{C3380CC4-5D6E-409C-BE32-E72D297353CC}">
                <c16:uniqueId val="{00000725-7B8A-44CE-B0AF-B4D4D3438E61}"/>
              </c:ext>
            </c:extLst>
          </c:dPt>
          <c:dPt>
            <c:idx val="914"/>
            <c:invertIfNegative val="1"/>
            <c:bubble3D val="0"/>
            <c:spPr>
              <a:solidFill>
                <a:srgbClr val="AEABAB"/>
              </a:solidFill>
            </c:spPr>
            <c:extLst>
              <c:ext xmlns:c16="http://schemas.microsoft.com/office/drawing/2014/chart" uri="{C3380CC4-5D6E-409C-BE32-E72D297353CC}">
                <c16:uniqueId val="{00000727-7B8A-44CE-B0AF-B4D4D3438E61}"/>
              </c:ext>
            </c:extLst>
          </c:dPt>
          <c:dPt>
            <c:idx val="915"/>
            <c:invertIfNegative val="1"/>
            <c:bubble3D val="0"/>
            <c:spPr>
              <a:solidFill>
                <a:srgbClr val="AEABAB"/>
              </a:solidFill>
            </c:spPr>
            <c:extLst>
              <c:ext xmlns:c16="http://schemas.microsoft.com/office/drawing/2014/chart" uri="{C3380CC4-5D6E-409C-BE32-E72D297353CC}">
                <c16:uniqueId val="{00000729-7B8A-44CE-B0AF-B4D4D3438E61}"/>
              </c:ext>
            </c:extLst>
          </c:dPt>
          <c:dPt>
            <c:idx val="916"/>
            <c:invertIfNegative val="1"/>
            <c:bubble3D val="0"/>
            <c:spPr>
              <a:solidFill>
                <a:srgbClr val="AEABAB"/>
              </a:solidFill>
            </c:spPr>
            <c:extLst>
              <c:ext xmlns:c16="http://schemas.microsoft.com/office/drawing/2014/chart" uri="{C3380CC4-5D6E-409C-BE32-E72D297353CC}">
                <c16:uniqueId val="{0000072B-7B8A-44CE-B0AF-B4D4D3438E61}"/>
              </c:ext>
            </c:extLst>
          </c:dPt>
          <c:dPt>
            <c:idx val="917"/>
            <c:invertIfNegative val="1"/>
            <c:bubble3D val="0"/>
            <c:spPr>
              <a:solidFill>
                <a:srgbClr val="AEABAB"/>
              </a:solidFill>
            </c:spPr>
            <c:extLst>
              <c:ext xmlns:c16="http://schemas.microsoft.com/office/drawing/2014/chart" uri="{C3380CC4-5D6E-409C-BE32-E72D297353CC}">
                <c16:uniqueId val="{0000072D-7B8A-44CE-B0AF-B4D4D3438E61}"/>
              </c:ext>
            </c:extLst>
          </c:dPt>
          <c:dPt>
            <c:idx val="918"/>
            <c:invertIfNegative val="1"/>
            <c:bubble3D val="0"/>
            <c:spPr>
              <a:solidFill>
                <a:srgbClr val="AEABAB"/>
              </a:solidFill>
            </c:spPr>
            <c:extLst>
              <c:ext xmlns:c16="http://schemas.microsoft.com/office/drawing/2014/chart" uri="{C3380CC4-5D6E-409C-BE32-E72D297353CC}">
                <c16:uniqueId val="{0000072F-7B8A-44CE-B0AF-B4D4D3438E61}"/>
              </c:ext>
            </c:extLst>
          </c:dPt>
          <c:dPt>
            <c:idx val="919"/>
            <c:invertIfNegative val="1"/>
            <c:bubble3D val="0"/>
            <c:spPr>
              <a:solidFill>
                <a:srgbClr val="AEABAB"/>
              </a:solidFill>
            </c:spPr>
            <c:extLst>
              <c:ext xmlns:c16="http://schemas.microsoft.com/office/drawing/2014/chart" uri="{C3380CC4-5D6E-409C-BE32-E72D297353CC}">
                <c16:uniqueId val="{00000731-7B8A-44CE-B0AF-B4D4D3438E61}"/>
              </c:ext>
            </c:extLst>
          </c:dPt>
          <c:dPt>
            <c:idx val="920"/>
            <c:invertIfNegative val="1"/>
            <c:bubble3D val="0"/>
            <c:spPr>
              <a:solidFill>
                <a:srgbClr val="AEABAB"/>
              </a:solidFill>
            </c:spPr>
            <c:extLst>
              <c:ext xmlns:c16="http://schemas.microsoft.com/office/drawing/2014/chart" uri="{C3380CC4-5D6E-409C-BE32-E72D297353CC}">
                <c16:uniqueId val="{00000733-7B8A-44CE-B0AF-B4D4D3438E61}"/>
              </c:ext>
            </c:extLst>
          </c:dPt>
          <c:dPt>
            <c:idx val="921"/>
            <c:invertIfNegative val="1"/>
            <c:bubble3D val="0"/>
            <c:spPr>
              <a:solidFill>
                <a:srgbClr val="AEABAB"/>
              </a:solidFill>
            </c:spPr>
            <c:extLst>
              <c:ext xmlns:c16="http://schemas.microsoft.com/office/drawing/2014/chart" uri="{C3380CC4-5D6E-409C-BE32-E72D297353CC}">
                <c16:uniqueId val="{00000735-7B8A-44CE-B0AF-B4D4D3438E61}"/>
              </c:ext>
            </c:extLst>
          </c:dPt>
          <c:dPt>
            <c:idx val="922"/>
            <c:invertIfNegative val="1"/>
            <c:bubble3D val="0"/>
            <c:spPr>
              <a:solidFill>
                <a:srgbClr val="AEABAB"/>
              </a:solidFill>
            </c:spPr>
            <c:extLst>
              <c:ext xmlns:c16="http://schemas.microsoft.com/office/drawing/2014/chart" uri="{C3380CC4-5D6E-409C-BE32-E72D297353CC}">
                <c16:uniqueId val="{00000737-7B8A-44CE-B0AF-B4D4D3438E61}"/>
              </c:ext>
            </c:extLst>
          </c:dPt>
          <c:dPt>
            <c:idx val="923"/>
            <c:invertIfNegative val="1"/>
            <c:bubble3D val="0"/>
            <c:spPr>
              <a:solidFill>
                <a:srgbClr val="AEABAB"/>
              </a:solidFill>
            </c:spPr>
            <c:extLst>
              <c:ext xmlns:c16="http://schemas.microsoft.com/office/drawing/2014/chart" uri="{C3380CC4-5D6E-409C-BE32-E72D297353CC}">
                <c16:uniqueId val="{00000739-7B8A-44CE-B0AF-B4D4D3438E61}"/>
              </c:ext>
            </c:extLst>
          </c:dPt>
          <c:dPt>
            <c:idx val="924"/>
            <c:invertIfNegative val="1"/>
            <c:bubble3D val="0"/>
            <c:spPr>
              <a:solidFill>
                <a:srgbClr val="AEABAB"/>
              </a:solidFill>
            </c:spPr>
            <c:extLst>
              <c:ext xmlns:c16="http://schemas.microsoft.com/office/drawing/2014/chart" uri="{C3380CC4-5D6E-409C-BE32-E72D297353CC}">
                <c16:uniqueId val="{0000073B-7B8A-44CE-B0AF-B4D4D3438E61}"/>
              </c:ext>
            </c:extLst>
          </c:dPt>
          <c:dPt>
            <c:idx val="925"/>
            <c:invertIfNegative val="1"/>
            <c:bubble3D val="0"/>
            <c:spPr>
              <a:solidFill>
                <a:srgbClr val="AEABAB"/>
              </a:solidFill>
            </c:spPr>
            <c:extLst>
              <c:ext xmlns:c16="http://schemas.microsoft.com/office/drawing/2014/chart" uri="{C3380CC4-5D6E-409C-BE32-E72D297353CC}">
                <c16:uniqueId val="{0000073D-7B8A-44CE-B0AF-B4D4D3438E61}"/>
              </c:ext>
            </c:extLst>
          </c:dPt>
          <c:dPt>
            <c:idx val="926"/>
            <c:invertIfNegative val="1"/>
            <c:bubble3D val="0"/>
            <c:spPr>
              <a:solidFill>
                <a:srgbClr val="AEABAB"/>
              </a:solidFill>
            </c:spPr>
            <c:extLst>
              <c:ext xmlns:c16="http://schemas.microsoft.com/office/drawing/2014/chart" uri="{C3380CC4-5D6E-409C-BE32-E72D297353CC}">
                <c16:uniqueId val="{0000073F-7B8A-44CE-B0AF-B4D4D3438E61}"/>
              </c:ext>
            </c:extLst>
          </c:dPt>
          <c:dPt>
            <c:idx val="927"/>
            <c:invertIfNegative val="1"/>
            <c:bubble3D val="0"/>
            <c:spPr>
              <a:solidFill>
                <a:srgbClr val="AEABAB"/>
              </a:solidFill>
            </c:spPr>
            <c:extLst>
              <c:ext xmlns:c16="http://schemas.microsoft.com/office/drawing/2014/chart" uri="{C3380CC4-5D6E-409C-BE32-E72D297353CC}">
                <c16:uniqueId val="{00000741-7B8A-44CE-B0AF-B4D4D3438E61}"/>
              </c:ext>
            </c:extLst>
          </c:dPt>
          <c:dPt>
            <c:idx val="928"/>
            <c:invertIfNegative val="1"/>
            <c:bubble3D val="0"/>
            <c:spPr>
              <a:solidFill>
                <a:srgbClr val="AEABAB"/>
              </a:solidFill>
            </c:spPr>
            <c:extLst>
              <c:ext xmlns:c16="http://schemas.microsoft.com/office/drawing/2014/chart" uri="{C3380CC4-5D6E-409C-BE32-E72D297353CC}">
                <c16:uniqueId val="{00000743-7B8A-44CE-B0AF-B4D4D3438E61}"/>
              </c:ext>
            </c:extLst>
          </c:dPt>
          <c:dPt>
            <c:idx val="929"/>
            <c:invertIfNegative val="1"/>
            <c:bubble3D val="0"/>
            <c:spPr>
              <a:solidFill>
                <a:srgbClr val="AEABAB"/>
              </a:solidFill>
            </c:spPr>
            <c:extLst>
              <c:ext xmlns:c16="http://schemas.microsoft.com/office/drawing/2014/chart" uri="{C3380CC4-5D6E-409C-BE32-E72D297353CC}">
                <c16:uniqueId val="{00000745-7B8A-44CE-B0AF-B4D4D3438E61}"/>
              </c:ext>
            </c:extLst>
          </c:dPt>
          <c:dPt>
            <c:idx val="930"/>
            <c:invertIfNegative val="1"/>
            <c:bubble3D val="0"/>
            <c:spPr>
              <a:solidFill>
                <a:srgbClr val="AEABAB"/>
              </a:solidFill>
            </c:spPr>
            <c:extLst>
              <c:ext xmlns:c16="http://schemas.microsoft.com/office/drawing/2014/chart" uri="{C3380CC4-5D6E-409C-BE32-E72D297353CC}">
                <c16:uniqueId val="{00000747-7B8A-44CE-B0AF-B4D4D3438E61}"/>
              </c:ext>
            </c:extLst>
          </c:dPt>
          <c:dPt>
            <c:idx val="931"/>
            <c:invertIfNegative val="1"/>
            <c:bubble3D val="0"/>
            <c:spPr>
              <a:solidFill>
                <a:srgbClr val="AEABAB"/>
              </a:solidFill>
            </c:spPr>
            <c:extLst>
              <c:ext xmlns:c16="http://schemas.microsoft.com/office/drawing/2014/chart" uri="{C3380CC4-5D6E-409C-BE32-E72D297353CC}">
                <c16:uniqueId val="{00000749-7B8A-44CE-B0AF-B4D4D3438E61}"/>
              </c:ext>
            </c:extLst>
          </c:dPt>
          <c:dPt>
            <c:idx val="932"/>
            <c:invertIfNegative val="1"/>
            <c:bubble3D val="0"/>
            <c:spPr>
              <a:solidFill>
                <a:srgbClr val="AEABAB"/>
              </a:solidFill>
            </c:spPr>
            <c:extLst>
              <c:ext xmlns:c16="http://schemas.microsoft.com/office/drawing/2014/chart" uri="{C3380CC4-5D6E-409C-BE32-E72D297353CC}">
                <c16:uniqueId val="{0000074B-7B8A-44CE-B0AF-B4D4D3438E61}"/>
              </c:ext>
            </c:extLst>
          </c:dPt>
          <c:dPt>
            <c:idx val="933"/>
            <c:invertIfNegative val="1"/>
            <c:bubble3D val="0"/>
            <c:spPr>
              <a:solidFill>
                <a:srgbClr val="AEABAB"/>
              </a:solidFill>
            </c:spPr>
            <c:extLst>
              <c:ext xmlns:c16="http://schemas.microsoft.com/office/drawing/2014/chart" uri="{C3380CC4-5D6E-409C-BE32-E72D297353CC}">
                <c16:uniqueId val="{0000074D-7B8A-44CE-B0AF-B4D4D3438E61}"/>
              </c:ext>
            </c:extLst>
          </c:dPt>
          <c:dPt>
            <c:idx val="934"/>
            <c:invertIfNegative val="1"/>
            <c:bubble3D val="0"/>
            <c:spPr>
              <a:solidFill>
                <a:srgbClr val="AEABAB"/>
              </a:solidFill>
            </c:spPr>
            <c:extLst>
              <c:ext xmlns:c16="http://schemas.microsoft.com/office/drawing/2014/chart" uri="{C3380CC4-5D6E-409C-BE32-E72D297353CC}">
                <c16:uniqueId val="{0000074F-7B8A-44CE-B0AF-B4D4D3438E61}"/>
              </c:ext>
            </c:extLst>
          </c:dPt>
          <c:dPt>
            <c:idx val="935"/>
            <c:invertIfNegative val="1"/>
            <c:bubble3D val="0"/>
            <c:spPr>
              <a:solidFill>
                <a:srgbClr val="AEABAB"/>
              </a:solidFill>
            </c:spPr>
            <c:extLst>
              <c:ext xmlns:c16="http://schemas.microsoft.com/office/drawing/2014/chart" uri="{C3380CC4-5D6E-409C-BE32-E72D297353CC}">
                <c16:uniqueId val="{00000751-7B8A-44CE-B0AF-B4D4D3438E61}"/>
              </c:ext>
            </c:extLst>
          </c:dPt>
          <c:dPt>
            <c:idx val="936"/>
            <c:invertIfNegative val="1"/>
            <c:bubble3D val="0"/>
            <c:spPr>
              <a:solidFill>
                <a:srgbClr val="AEABAB"/>
              </a:solidFill>
            </c:spPr>
            <c:extLst>
              <c:ext xmlns:c16="http://schemas.microsoft.com/office/drawing/2014/chart" uri="{C3380CC4-5D6E-409C-BE32-E72D297353CC}">
                <c16:uniqueId val="{00000753-7B8A-44CE-B0AF-B4D4D3438E61}"/>
              </c:ext>
            </c:extLst>
          </c:dPt>
          <c:dPt>
            <c:idx val="937"/>
            <c:invertIfNegative val="1"/>
            <c:bubble3D val="0"/>
            <c:spPr>
              <a:solidFill>
                <a:srgbClr val="AEABAB"/>
              </a:solidFill>
            </c:spPr>
            <c:extLst>
              <c:ext xmlns:c16="http://schemas.microsoft.com/office/drawing/2014/chart" uri="{C3380CC4-5D6E-409C-BE32-E72D297353CC}">
                <c16:uniqueId val="{00000755-7B8A-44CE-B0AF-B4D4D3438E61}"/>
              </c:ext>
            </c:extLst>
          </c:dPt>
          <c:dPt>
            <c:idx val="938"/>
            <c:invertIfNegative val="1"/>
            <c:bubble3D val="0"/>
            <c:spPr>
              <a:solidFill>
                <a:srgbClr val="AEABAB"/>
              </a:solidFill>
            </c:spPr>
            <c:extLst>
              <c:ext xmlns:c16="http://schemas.microsoft.com/office/drawing/2014/chart" uri="{C3380CC4-5D6E-409C-BE32-E72D297353CC}">
                <c16:uniqueId val="{00000757-7B8A-44CE-B0AF-B4D4D3438E61}"/>
              </c:ext>
            </c:extLst>
          </c:dPt>
          <c:dPt>
            <c:idx val="939"/>
            <c:invertIfNegative val="1"/>
            <c:bubble3D val="0"/>
            <c:spPr>
              <a:solidFill>
                <a:srgbClr val="AEABAB"/>
              </a:solidFill>
            </c:spPr>
            <c:extLst>
              <c:ext xmlns:c16="http://schemas.microsoft.com/office/drawing/2014/chart" uri="{C3380CC4-5D6E-409C-BE32-E72D297353CC}">
                <c16:uniqueId val="{00000759-7B8A-44CE-B0AF-B4D4D3438E61}"/>
              </c:ext>
            </c:extLst>
          </c:dPt>
          <c:dPt>
            <c:idx val="940"/>
            <c:invertIfNegative val="1"/>
            <c:bubble3D val="0"/>
            <c:spPr>
              <a:solidFill>
                <a:srgbClr val="AEABAB"/>
              </a:solidFill>
            </c:spPr>
            <c:extLst>
              <c:ext xmlns:c16="http://schemas.microsoft.com/office/drawing/2014/chart" uri="{C3380CC4-5D6E-409C-BE32-E72D297353CC}">
                <c16:uniqueId val="{0000075B-7B8A-44CE-B0AF-B4D4D3438E61}"/>
              </c:ext>
            </c:extLst>
          </c:dPt>
          <c:dPt>
            <c:idx val="941"/>
            <c:invertIfNegative val="1"/>
            <c:bubble3D val="0"/>
            <c:spPr>
              <a:solidFill>
                <a:srgbClr val="AEABAB"/>
              </a:solidFill>
            </c:spPr>
            <c:extLst>
              <c:ext xmlns:c16="http://schemas.microsoft.com/office/drawing/2014/chart" uri="{C3380CC4-5D6E-409C-BE32-E72D297353CC}">
                <c16:uniqueId val="{0000075D-7B8A-44CE-B0AF-B4D4D3438E61}"/>
              </c:ext>
            </c:extLst>
          </c:dPt>
          <c:dPt>
            <c:idx val="942"/>
            <c:invertIfNegative val="1"/>
            <c:bubble3D val="0"/>
            <c:spPr>
              <a:solidFill>
                <a:srgbClr val="AEABAB"/>
              </a:solidFill>
            </c:spPr>
            <c:extLst>
              <c:ext xmlns:c16="http://schemas.microsoft.com/office/drawing/2014/chart" uri="{C3380CC4-5D6E-409C-BE32-E72D297353CC}">
                <c16:uniqueId val="{0000075F-7B8A-44CE-B0AF-B4D4D3438E61}"/>
              </c:ext>
            </c:extLst>
          </c:dPt>
          <c:dPt>
            <c:idx val="943"/>
            <c:invertIfNegative val="1"/>
            <c:bubble3D val="0"/>
            <c:spPr>
              <a:solidFill>
                <a:srgbClr val="AEABAB"/>
              </a:solidFill>
            </c:spPr>
            <c:extLst>
              <c:ext xmlns:c16="http://schemas.microsoft.com/office/drawing/2014/chart" uri="{C3380CC4-5D6E-409C-BE32-E72D297353CC}">
                <c16:uniqueId val="{00000761-7B8A-44CE-B0AF-B4D4D3438E61}"/>
              </c:ext>
            </c:extLst>
          </c:dPt>
          <c:dPt>
            <c:idx val="944"/>
            <c:invertIfNegative val="1"/>
            <c:bubble3D val="0"/>
            <c:spPr>
              <a:solidFill>
                <a:srgbClr val="AEABAB"/>
              </a:solidFill>
            </c:spPr>
            <c:extLst>
              <c:ext xmlns:c16="http://schemas.microsoft.com/office/drawing/2014/chart" uri="{C3380CC4-5D6E-409C-BE32-E72D297353CC}">
                <c16:uniqueId val="{00000763-7B8A-44CE-B0AF-B4D4D3438E61}"/>
              </c:ext>
            </c:extLst>
          </c:dPt>
          <c:dPt>
            <c:idx val="945"/>
            <c:invertIfNegative val="1"/>
            <c:bubble3D val="0"/>
            <c:spPr>
              <a:solidFill>
                <a:srgbClr val="AEABAB"/>
              </a:solidFill>
            </c:spPr>
            <c:extLst>
              <c:ext xmlns:c16="http://schemas.microsoft.com/office/drawing/2014/chart" uri="{C3380CC4-5D6E-409C-BE32-E72D297353CC}">
                <c16:uniqueId val="{00000765-7B8A-44CE-B0AF-B4D4D3438E61}"/>
              </c:ext>
            </c:extLst>
          </c:dPt>
          <c:dPt>
            <c:idx val="946"/>
            <c:invertIfNegative val="1"/>
            <c:bubble3D val="0"/>
            <c:spPr>
              <a:solidFill>
                <a:srgbClr val="AEABAB"/>
              </a:solidFill>
            </c:spPr>
            <c:extLst>
              <c:ext xmlns:c16="http://schemas.microsoft.com/office/drawing/2014/chart" uri="{C3380CC4-5D6E-409C-BE32-E72D297353CC}">
                <c16:uniqueId val="{00000767-7B8A-44CE-B0AF-B4D4D3438E61}"/>
              </c:ext>
            </c:extLst>
          </c:dPt>
          <c:dPt>
            <c:idx val="947"/>
            <c:invertIfNegative val="1"/>
            <c:bubble3D val="0"/>
            <c:spPr>
              <a:solidFill>
                <a:srgbClr val="AEABAB"/>
              </a:solidFill>
            </c:spPr>
            <c:extLst>
              <c:ext xmlns:c16="http://schemas.microsoft.com/office/drawing/2014/chart" uri="{C3380CC4-5D6E-409C-BE32-E72D297353CC}">
                <c16:uniqueId val="{00000769-7B8A-44CE-B0AF-B4D4D3438E61}"/>
              </c:ext>
            </c:extLst>
          </c:dPt>
          <c:dPt>
            <c:idx val="948"/>
            <c:invertIfNegative val="1"/>
            <c:bubble3D val="0"/>
            <c:spPr>
              <a:solidFill>
                <a:srgbClr val="AEABAB"/>
              </a:solidFill>
            </c:spPr>
            <c:extLst>
              <c:ext xmlns:c16="http://schemas.microsoft.com/office/drawing/2014/chart" uri="{C3380CC4-5D6E-409C-BE32-E72D297353CC}">
                <c16:uniqueId val="{0000076B-7B8A-44CE-B0AF-B4D4D3438E61}"/>
              </c:ext>
            </c:extLst>
          </c:dPt>
          <c:dPt>
            <c:idx val="949"/>
            <c:invertIfNegative val="1"/>
            <c:bubble3D val="0"/>
            <c:spPr>
              <a:solidFill>
                <a:srgbClr val="AEABAB"/>
              </a:solidFill>
            </c:spPr>
            <c:extLst>
              <c:ext xmlns:c16="http://schemas.microsoft.com/office/drawing/2014/chart" uri="{C3380CC4-5D6E-409C-BE32-E72D297353CC}">
                <c16:uniqueId val="{0000076D-7B8A-44CE-B0AF-B4D4D3438E61}"/>
              </c:ext>
            </c:extLst>
          </c:dPt>
          <c:dPt>
            <c:idx val="950"/>
            <c:invertIfNegative val="1"/>
            <c:bubble3D val="0"/>
            <c:spPr>
              <a:solidFill>
                <a:srgbClr val="AEABAB"/>
              </a:solidFill>
            </c:spPr>
            <c:extLst>
              <c:ext xmlns:c16="http://schemas.microsoft.com/office/drawing/2014/chart" uri="{C3380CC4-5D6E-409C-BE32-E72D297353CC}">
                <c16:uniqueId val="{0000076F-7B8A-44CE-B0AF-B4D4D3438E61}"/>
              </c:ext>
            </c:extLst>
          </c:dPt>
          <c:dPt>
            <c:idx val="951"/>
            <c:invertIfNegative val="1"/>
            <c:bubble3D val="0"/>
            <c:spPr>
              <a:solidFill>
                <a:srgbClr val="AEABAB"/>
              </a:solidFill>
            </c:spPr>
            <c:extLst>
              <c:ext xmlns:c16="http://schemas.microsoft.com/office/drawing/2014/chart" uri="{C3380CC4-5D6E-409C-BE32-E72D297353CC}">
                <c16:uniqueId val="{00000771-7B8A-44CE-B0AF-B4D4D3438E61}"/>
              </c:ext>
            </c:extLst>
          </c:dPt>
          <c:dPt>
            <c:idx val="952"/>
            <c:invertIfNegative val="1"/>
            <c:bubble3D val="0"/>
            <c:spPr>
              <a:solidFill>
                <a:srgbClr val="AEABAB"/>
              </a:solidFill>
            </c:spPr>
            <c:extLst>
              <c:ext xmlns:c16="http://schemas.microsoft.com/office/drawing/2014/chart" uri="{C3380CC4-5D6E-409C-BE32-E72D297353CC}">
                <c16:uniqueId val="{00000773-7B8A-44CE-B0AF-B4D4D3438E61}"/>
              </c:ext>
            </c:extLst>
          </c:dPt>
          <c:dPt>
            <c:idx val="953"/>
            <c:invertIfNegative val="1"/>
            <c:bubble3D val="0"/>
            <c:spPr>
              <a:solidFill>
                <a:srgbClr val="AEABAB"/>
              </a:solidFill>
            </c:spPr>
            <c:extLst>
              <c:ext xmlns:c16="http://schemas.microsoft.com/office/drawing/2014/chart" uri="{C3380CC4-5D6E-409C-BE32-E72D297353CC}">
                <c16:uniqueId val="{00000775-7B8A-44CE-B0AF-B4D4D3438E61}"/>
              </c:ext>
            </c:extLst>
          </c:dPt>
          <c:dPt>
            <c:idx val="954"/>
            <c:invertIfNegative val="1"/>
            <c:bubble3D val="0"/>
            <c:spPr>
              <a:solidFill>
                <a:srgbClr val="AEABAB"/>
              </a:solidFill>
            </c:spPr>
            <c:extLst>
              <c:ext xmlns:c16="http://schemas.microsoft.com/office/drawing/2014/chart" uri="{C3380CC4-5D6E-409C-BE32-E72D297353CC}">
                <c16:uniqueId val="{00000777-7B8A-44CE-B0AF-B4D4D3438E61}"/>
              </c:ext>
            </c:extLst>
          </c:dPt>
          <c:dPt>
            <c:idx val="955"/>
            <c:invertIfNegative val="1"/>
            <c:bubble3D val="0"/>
            <c:spPr>
              <a:solidFill>
                <a:srgbClr val="AEABAB"/>
              </a:solidFill>
            </c:spPr>
            <c:extLst>
              <c:ext xmlns:c16="http://schemas.microsoft.com/office/drawing/2014/chart" uri="{C3380CC4-5D6E-409C-BE32-E72D297353CC}">
                <c16:uniqueId val="{00000779-7B8A-44CE-B0AF-B4D4D3438E61}"/>
              </c:ext>
            </c:extLst>
          </c:dPt>
          <c:dPt>
            <c:idx val="956"/>
            <c:invertIfNegative val="1"/>
            <c:bubble3D val="0"/>
            <c:spPr>
              <a:solidFill>
                <a:srgbClr val="AEABAB"/>
              </a:solidFill>
            </c:spPr>
            <c:extLst>
              <c:ext xmlns:c16="http://schemas.microsoft.com/office/drawing/2014/chart" uri="{C3380CC4-5D6E-409C-BE32-E72D297353CC}">
                <c16:uniqueId val="{0000077B-7B8A-44CE-B0AF-B4D4D3438E61}"/>
              </c:ext>
            </c:extLst>
          </c:dPt>
          <c:dPt>
            <c:idx val="957"/>
            <c:invertIfNegative val="1"/>
            <c:bubble3D val="0"/>
            <c:spPr>
              <a:solidFill>
                <a:srgbClr val="AEABAB"/>
              </a:solidFill>
            </c:spPr>
            <c:extLst>
              <c:ext xmlns:c16="http://schemas.microsoft.com/office/drawing/2014/chart" uri="{C3380CC4-5D6E-409C-BE32-E72D297353CC}">
                <c16:uniqueId val="{0000077D-7B8A-44CE-B0AF-B4D4D3438E61}"/>
              </c:ext>
            </c:extLst>
          </c:dPt>
          <c:dPt>
            <c:idx val="958"/>
            <c:invertIfNegative val="1"/>
            <c:bubble3D val="0"/>
            <c:spPr>
              <a:solidFill>
                <a:srgbClr val="AEABAB"/>
              </a:solidFill>
            </c:spPr>
            <c:extLst>
              <c:ext xmlns:c16="http://schemas.microsoft.com/office/drawing/2014/chart" uri="{C3380CC4-5D6E-409C-BE32-E72D297353CC}">
                <c16:uniqueId val="{0000077F-7B8A-44CE-B0AF-B4D4D3438E61}"/>
              </c:ext>
            </c:extLst>
          </c:dPt>
          <c:dPt>
            <c:idx val="959"/>
            <c:invertIfNegative val="1"/>
            <c:bubble3D val="0"/>
            <c:spPr>
              <a:solidFill>
                <a:srgbClr val="AEABAB"/>
              </a:solidFill>
            </c:spPr>
            <c:extLst>
              <c:ext xmlns:c16="http://schemas.microsoft.com/office/drawing/2014/chart" uri="{C3380CC4-5D6E-409C-BE32-E72D297353CC}">
                <c16:uniqueId val="{00000781-7B8A-44CE-B0AF-B4D4D3438E61}"/>
              </c:ext>
            </c:extLst>
          </c:dPt>
          <c:dPt>
            <c:idx val="960"/>
            <c:invertIfNegative val="1"/>
            <c:bubble3D val="0"/>
            <c:spPr>
              <a:solidFill>
                <a:srgbClr val="AEABAB"/>
              </a:solidFill>
            </c:spPr>
            <c:extLst>
              <c:ext xmlns:c16="http://schemas.microsoft.com/office/drawing/2014/chart" uri="{C3380CC4-5D6E-409C-BE32-E72D297353CC}">
                <c16:uniqueId val="{00000783-7B8A-44CE-B0AF-B4D4D3438E61}"/>
              </c:ext>
            </c:extLst>
          </c:dPt>
          <c:dPt>
            <c:idx val="961"/>
            <c:invertIfNegative val="1"/>
            <c:bubble3D val="0"/>
            <c:spPr>
              <a:solidFill>
                <a:srgbClr val="AEABAB"/>
              </a:solidFill>
            </c:spPr>
            <c:extLst>
              <c:ext xmlns:c16="http://schemas.microsoft.com/office/drawing/2014/chart" uri="{C3380CC4-5D6E-409C-BE32-E72D297353CC}">
                <c16:uniqueId val="{00000785-7B8A-44CE-B0AF-B4D4D3438E61}"/>
              </c:ext>
            </c:extLst>
          </c:dPt>
          <c:dPt>
            <c:idx val="962"/>
            <c:invertIfNegative val="1"/>
            <c:bubble3D val="0"/>
            <c:spPr>
              <a:solidFill>
                <a:srgbClr val="AEABAB"/>
              </a:solidFill>
            </c:spPr>
            <c:extLst>
              <c:ext xmlns:c16="http://schemas.microsoft.com/office/drawing/2014/chart" uri="{C3380CC4-5D6E-409C-BE32-E72D297353CC}">
                <c16:uniqueId val="{00000787-7B8A-44CE-B0AF-B4D4D3438E61}"/>
              </c:ext>
            </c:extLst>
          </c:dPt>
          <c:dPt>
            <c:idx val="963"/>
            <c:invertIfNegative val="1"/>
            <c:bubble3D val="0"/>
            <c:spPr>
              <a:solidFill>
                <a:srgbClr val="AEABAB"/>
              </a:solidFill>
            </c:spPr>
            <c:extLst>
              <c:ext xmlns:c16="http://schemas.microsoft.com/office/drawing/2014/chart" uri="{C3380CC4-5D6E-409C-BE32-E72D297353CC}">
                <c16:uniqueId val="{00000789-7B8A-44CE-B0AF-B4D4D3438E61}"/>
              </c:ext>
            </c:extLst>
          </c:dPt>
          <c:dPt>
            <c:idx val="964"/>
            <c:invertIfNegative val="1"/>
            <c:bubble3D val="0"/>
            <c:spPr>
              <a:solidFill>
                <a:srgbClr val="AEABAB"/>
              </a:solidFill>
            </c:spPr>
            <c:extLst>
              <c:ext xmlns:c16="http://schemas.microsoft.com/office/drawing/2014/chart" uri="{C3380CC4-5D6E-409C-BE32-E72D297353CC}">
                <c16:uniqueId val="{0000078B-7B8A-44CE-B0AF-B4D4D3438E61}"/>
              </c:ext>
            </c:extLst>
          </c:dPt>
          <c:dPt>
            <c:idx val="965"/>
            <c:invertIfNegative val="1"/>
            <c:bubble3D val="0"/>
            <c:spPr>
              <a:solidFill>
                <a:srgbClr val="AEABAB"/>
              </a:solidFill>
            </c:spPr>
            <c:extLst>
              <c:ext xmlns:c16="http://schemas.microsoft.com/office/drawing/2014/chart" uri="{C3380CC4-5D6E-409C-BE32-E72D297353CC}">
                <c16:uniqueId val="{0000078D-7B8A-44CE-B0AF-B4D4D3438E61}"/>
              </c:ext>
            </c:extLst>
          </c:dPt>
          <c:dPt>
            <c:idx val="966"/>
            <c:invertIfNegative val="1"/>
            <c:bubble3D val="0"/>
            <c:spPr>
              <a:solidFill>
                <a:srgbClr val="AEABAB"/>
              </a:solidFill>
            </c:spPr>
            <c:extLst>
              <c:ext xmlns:c16="http://schemas.microsoft.com/office/drawing/2014/chart" uri="{C3380CC4-5D6E-409C-BE32-E72D297353CC}">
                <c16:uniqueId val="{0000078F-7B8A-44CE-B0AF-B4D4D3438E61}"/>
              </c:ext>
            </c:extLst>
          </c:dPt>
          <c:dPt>
            <c:idx val="967"/>
            <c:invertIfNegative val="1"/>
            <c:bubble3D val="0"/>
            <c:spPr>
              <a:solidFill>
                <a:srgbClr val="AEABAB"/>
              </a:solidFill>
            </c:spPr>
            <c:extLst>
              <c:ext xmlns:c16="http://schemas.microsoft.com/office/drawing/2014/chart" uri="{C3380CC4-5D6E-409C-BE32-E72D297353CC}">
                <c16:uniqueId val="{00000791-7B8A-44CE-B0AF-B4D4D3438E61}"/>
              </c:ext>
            </c:extLst>
          </c:dPt>
          <c:dPt>
            <c:idx val="968"/>
            <c:invertIfNegative val="1"/>
            <c:bubble3D val="0"/>
            <c:spPr>
              <a:solidFill>
                <a:srgbClr val="AEABAB"/>
              </a:solidFill>
            </c:spPr>
            <c:extLst>
              <c:ext xmlns:c16="http://schemas.microsoft.com/office/drawing/2014/chart" uri="{C3380CC4-5D6E-409C-BE32-E72D297353CC}">
                <c16:uniqueId val="{00000793-7B8A-44CE-B0AF-B4D4D3438E61}"/>
              </c:ext>
            </c:extLst>
          </c:dPt>
          <c:dPt>
            <c:idx val="969"/>
            <c:invertIfNegative val="1"/>
            <c:bubble3D val="0"/>
            <c:spPr>
              <a:solidFill>
                <a:srgbClr val="AEABAB"/>
              </a:solidFill>
            </c:spPr>
            <c:extLst>
              <c:ext xmlns:c16="http://schemas.microsoft.com/office/drawing/2014/chart" uri="{C3380CC4-5D6E-409C-BE32-E72D297353CC}">
                <c16:uniqueId val="{00000795-7B8A-44CE-B0AF-B4D4D3438E61}"/>
              </c:ext>
            </c:extLst>
          </c:dPt>
          <c:dPt>
            <c:idx val="970"/>
            <c:invertIfNegative val="1"/>
            <c:bubble3D val="0"/>
            <c:spPr>
              <a:solidFill>
                <a:srgbClr val="AEABAB"/>
              </a:solidFill>
            </c:spPr>
            <c:extLst>
              <c:ext xmlns:c16="http://schemas.microsoft.com/office/drawing/2014/chart" uri="{C3380CC4-5D6E-409C-BE32-E72D297353CC}">
                <c16:uniqueId val="{00000797-7B8A-44CE-B0AF-B4D4D3438E61}"/>
              </c:ext>
            </c:extLst>
          </c:dPt>
          <c:dPt>
            <c:idx val="971"/>
            <c:invertIfNegative val="1"/>
            <c:bubble3D val="0"/>
            <c:spPr>
              <a:solidFill>
                <a:srgbClr val="AEABAB"/>
              </a:solidFill>
            </c:spPr>
            <c:extLst>
              <c:ext xmlns:c16="http://schemas.microsoft.com/office/drawing/2014/chart" uri="{C3380CC4-5D6E-409C-BE32-E72D297353CC}">
                <c16:uniqueId val="{00000799-7B8A-44CE-B0AF-B4D4D3438E61}"/>
              </c:ext>
            </c:extLst>
          </c:dPt>
          <c:dPt>
            <c:idx val="972"/>
            <c:invertIfNegative val="1"/>
            <c:bubble3D val="0"/>
            <c:spPr>
              <a:solidFill>
                <a:srgbClr val="AEABAB"/>
              </a:solidFill>
            </c:spPr>
            <c:extLst>
              <c:ext xmlns:c16="http://schemas.microsoft.com/office/drawing/2014/chart" uri="{C3380CC4-5D6E-409C-BE32-E72D297353CC}">
                <c16:uniqueId val="{0000079B-7B8A-44CE-B0AF-B4D4D3438E61}"/>
              </c:ext>
            </c:extLst>
          </c:dPt>
          <c:dPt>
            <c:idx val="973"/>
            <c:invertIfNegative val="1"/>
            <c:bubble3D val="0"/>
            <c:spPr>
              <a:solidFill>
                <a:srgbClr val="AEABAB"/>
              </a:solidFill>
            </c:spPr>
            <c:extLst>
              <c:ext xmlns:c16="http://schemas.microsoft.com/office/drawing/2014/chart" uri="{C3380CC4-5D6E-409C-BE32-E72D297353CC}">
                <c16:uniqueId val="{0000079D-7B8A-44CE-B0AF-B4D4D3438E61}"/>
              </c:ext>
            </c:extLst>
          </c:dPt>
          <c:dPt>
            <c:idx val="974"/>
            <c:invertIfNegative val="1"/>
            <c:bubble3D val="0"/>
            <c:spPr>
              <a:solidFill>
                <a:srgbClr val="AEABAB"/>
              </a:solidFill>
            </c:spPr>
            <c:extLst>
              <c:ext xmlns:c16="http://schemas.microsoft.com/office/drawing/2014/chart" uri="{C3380CC4-5D6E-409C-BE32-E72D297353CC}">
                <c16:uniqueId val="{0000079F-7B8A-44CE-B0AF-B4D4D3438E61}"/>
              </c:ext>
            </c:extLst>
          </c:dPt>
          <c:dPt>
            <c:idx val="975"/>
            <c:invertIfNegative val="1"/>
            <c:bubble3D val="0"/>
            <c:spPr>
              <a:solidFill>
                <a:srgbClr val="AEABAB"/>
              </a:solidFill>
            </c:spPr>
            <c:extLst>
              <c:ext xmlns:c16="http://schemas.microsoft.com/office/drawing/2014/chart" uri="{C3380CC4-5D6E-409C-BE32-E72D297353CC}">
                <c16:uniqueId val="{000007A1-7B8A-44CE-B0AF-B4D4D3438E61}"/>
              </c:ext>
            </c:extLst>
          </c:dPt>
          <c:dPt>
            <c:idx val="976"/>
            <c:invertIfNegative val="1"/>
            <c:bubble3D val="0"/>
            <c:spPr>
              <a:solidFill>
                <a:srgbClr val="AEABAB"/>
              </a:solidFill>
            </c:spPr>
            <c:extLst>
              <c:ext xmlns:c16="http://schemas.microsoft.com/office/drawing/2014/chart" uri="{C3380CC4-5D6E-409C-BE32-E72D297353CC}">
                <c16:uniqueId val="{000007A3-7B8A-44CE-B0AF-B4D4D3438E61}"/>
              </c:ext>
            </c:extLst>
          </c:dPt>
          <c:dPt>
            <c:idx val="977"/>
            <c:invertIfNegative val="1"/>
            <c:bubble3D val="0"/>
            <c:spPr>
              <a:solidFill>
                <a:srgbClr val="AEABAB"/>
              </a:solidFill>
            </c:spPr>
            <c:extLst>
              <c:ext xmlns:c16="http://schemas.microsoft.com/office/drawing/2014/chart" uri="{C3380CC4-5D6E-409C-BE32-E72D297353CC}">
                <c16:uniqueId val="{000007A5-7B8A-44CE-B0AF-B4D4D3438E61}"/>
              </c:ext>
            </c:extLst>
          </c:dPt>
          <c:dPt>
            <c:idx val="978"/>
            <c:invertIfNegative val="1"/>
            <c:bubble3D val="0"/>
            <c:spPr>
              <a:solidFill>
                <a:srgbClr val="AEABAB"/>
              </a:solidFill>
            </c:spPr>
            <c:extLst>
              <c:ext xmlns:c16="http://schemas.microsoft.com/office/drawing/2014/chart" uri="{C3380CC4-5D6E-409C-BE32-E72D297353CC}">
                <c16:uniqueId val="{000007A7-7B8A-44CE-B0AF-B4D4D3438E61}"/>
              </c:ext>
            </c:extLst>
          </c:dPt>
          <c:dPt>
            <c:idx val="979"/>
            <c:invertIfNegative val="1"/>
            <c:bubble3D val="0"/>
            <c:spPr>
              <a:solidFill>
                <a:srgbClr val="AEABAB"/>
              </a:solidFill>
            </c:spPr>
            <c:extLst>
              <c:ext xmlns:c16="http://schemas.microsoft.com/office/drawing/2014/chart" uri="{C3380CC4-5D6E-409C-BE32-E72D297353CC}">
                <c16:uniqueId val="{000007A9-7B8A-44CE-B0AF-B4D4D3438E61}"/>
              </c:ext>
            </c:extLst>
          </c:dPt>
          <c:dPt>
            <c:idx val="980"/>
            <c:invertIfNegative val="1"/>
            <c:bubble3D val="0"/>
            <c:spPr>
              <a:solidFill>
                <a:srgbClr val="AEABAB"/>
              </a:solidFill>
            </c:spPr>
            <c:extLst>
              <c:ext xmlns:c16="http://schemas.microsoft.com/office/drawing/2014/chart" uri="{C3380CC4-5D6E-409C-BE32-E72D297353CC}">
                <c16:uniqueId val="{000007AB-7B8A-44CE-B0AF-B4D4D3438E61}"/>
              </c:ext>
            </c:extLst>
          </c:dPt>
          <c:dPt>
            <c:idx val="981"/>
            <c:invertIfNegative val="1"/>
            <c:bubble3D val="0"/>
            <c:spPr>
              <a:solidFill>
                <a:srgbClr val="AEABAB"/>
              </a:solidFill>
            </c:spPr>
            <c:extLst>
              <c:ext xmlns:c16="http://schemas.microsoft.com/office/drawing/2014/chart" uri="{C3380CC4-5D6E-409C-BE32-E72D297353CC}">
                <c16:uniqueId val="{000007AD-7B8A-44CE-B0AF-B4D4D3438E61}"/>
              </c:ext>
            </c:extLst>
          </c:dPt>
          <c:dPt>
            <c:idx val="982"/>
            <c:invertIfNegative val="1"/>
            <c:bubble3D val="0"/>
            <c:spPr>
              <a:solidFill>
                <a:srgbClr val="AEABAB"/>
              </a:solidFill>
            </c:spPr>
            <c:extLst>
              <c:ext xmlns:c16="http://schemas.microsoft.com/office/drawing/2014/chart" uri="{C3380CC4-5D6E-409C-BE32-E72D297353CC}">
                <c16:uniqueId val="{000007AF-7B8A-44CE-B0AF-B4D4D3438E61}"/>
              </c:ext>
            </c:extLst>
          </c:dPt>
          <c:dPt>
            <c:idx val="983"/>
            <c:invertIfNegative val="1"/>
            <c:bubble3D val="0"/>
            <c:spPr>
              <a:solidFill>
                <a:srgbClr val="AEABAB"/>
              </a:solidFill>
            </c:spPr>
            <c:extLst>
              <c:ext xmlns:c16="http://schemas.microsoft.com/office/drawing/2014/chart" uri="{C3380CC4-5D6E-409C-BE32-E72D297353CC}">
                <c16:uniqueId val="{000007B1-7B8A-44CE-B0AF-B4D4D3438E61}"/>
              </c:ext>
            </c:extLst>
          </c:dPt>
          <c:dPt>
            <c:idx val="984"/>
            <c:invertIfNegative val="1"/>
            <c:bubble3D val="0"/>
            <c:spPr>
              <a:solidFill>
                <a:srgbClr val="AEABAB"/>
              </a:solidFill>
            </c:spPr>
            <c:extLst>
              <c:ext xmlns:c16="http://schemas.microsoft.com/office/drawing/2014/chart" uri="{C3380CC4-5D6E-409C-BE32-E72D297353CC}">
                <c16:uniqueId val="{000007B3-7B8A-44CE-B0AF-B4D4D3438E61}"/>
              </c:ext>
            </c:extLst>
          </c:dPt>
          <c:dPt>
            <c:idx val="985"/>
            <c:invertIfNegative val="1"/>
            <c:bubble3D val="0"/>
            <c:spPr>
              <a:solidFill>
                <a:srgbClr val="AEABAB"/>
              </a:solidFill>
            </c:spPr>
            <c:extLst>
              <c:ext xmlns:c16="http://schemas.microsoft.com/office/drawing/2014/chart" uri="{C3380CC4-5D6E-409C-BE32-E72D297353CC}">
                <c16:uniqueId val="{000007B5-7B8A-44CE-B0AF-B4D4D3438E61}"/>
              </c:ext>
            </c:extLst>
          </c:dPt>
          <c:dPt>
            <c:idx val="986"/>
            <c:invertIfNegative val="1"/>
            <c:bubble3D val="0"/>
            <c:spPr>
              <a:solidFill>
                <a:srgbClr val="AEABAB"/>
              </a:solidFill>
            </c:spPr>
            <c:extLst>
              <c:ext xmlns:c16="http://schemas.microsoft.com/office/drawing/2014/chart" uri="{C3380CC4-5D6E-409C-BE32-E72D297353CC}">
                <c16:uniqueId val="{000007B7-7B8A-44CE-B0AF-B4D4D3438E61}"/>
              </c:ext>
            </c:extLst>
          </c:dPt>
          <c:dPt>
            <c:idx val="987"/>
            <c:invertIfNegative val="1"/>
            <c:bubble3D val="0"/>
            <c:spPr>
              <a:solidFill>
                <a:srgbClr val="AEABAB"/>
              </a:solidFill>
            </c:spPr>
            <c:extLst>
              <c:ext xmlns:c16="http://schemas.microsoft.com/office/drawing/2014/chart" uri="{C3380CC4-5D6E-409C-BE32-E72D297353CC}">
                <c16:uniqueId val="{000007B9-7B8A-44CE-B0AF-B4D4D3438E61}"/>
              </c:ext>
            </c:extLst>
          </c:dPt>
          <c:dPt>
            <c:idx val="988"/>
            <c:invertIfNegative val="1"/>
            <c:bubble3D val="0"/>
            <c:spPr>
              <a:solidFill>
                <a:srgbClr val="AEABAB"/>
              </a:solidFill>
            </c:spPr>
            <c:extLst>
              <c:ext xmlns:c16="http://schemas.microsoft.com/office/drawing/2014/chart" uri="{C3380CC4-5D6E-409C-BE32-E72D297353CC}">
                <c16:uniqueId val="{000007BB-7B8A-44CE-B0AF-B4D4D3438E61}"/>
              </c:ext>
            </c:extLst>
          </c:dPt>
          <c:dPt>
            <c:idx val="989"/>
            <c:invertIfNegative val="1"/>
            <c:bubble3D val="0"/>
            <c:spPr>
              <a:solidFill>
                <a:srgbClr val="AEABAB"/>
              </a:solidFill>
            </c:spPr>
            <c:extLst>
              <c:ext xmlns:c16="http://schemas.microsoft.com/office/drawing/2014/chart" uri="{C3380CC4-5D6E-409C-BE32-E72D297353CC}">
                <c16:uniqueId val="{000007BD-7B8A-44CE-B0AF-B4D4D3438E61}"/>
              </c:ext>
            </c:extLst>
          </c:dPt>
          <c:dPt>
            <c:idx val="990"/>
            <c:invertIfNegative val="1"/>
            <c:bubble3D val="0"/>
            <c:spPr>
              <a:solidFill>
                <a:srgbClr val="AEABAB"/>
              </a:solidFill>
            </c:spPr>
            <c:extLst>
              <c:ext xmlns:c16="http://schemas.microsoft.com/office/drawing/2014/chart" uri="{C3380CC4-5D6E-409C-BE32-E72D297353CC}">
                <c16:uniqueId val="{000007BF-7B8A-44CE-B0AF-B4D4D3438E61}"/>
              </c:ext>
            </c:extLst>
          </c:dPt>
          <c:dPt>
            <c:idx val="991"/>
            <c:invertIfNegative val="1"/>
            <c:bubble3D val="0"/>
            <c:spPr>
              <a:solidFill>
                <a:srgbClr val="AEABAB"/>
              </a:solidFill>
            </c:spPr>
            <c:extLst>
              <c:ext xmlns:c16="http://schemas.microsoft.com/office/drawing/2014/chart" uri="{C3380CC4-5D6E-409C-BE32-E72D297353CC}">
                <c16:uniqueId val="{000007C1-7B8A-44CE-B0AF-B4D4D3438E61}"/>
              </c:ext>
            </c:extLst>
          </c:dPt>
          <c:dPt>
            <c:idx val="992"/>
            <c:invertIfNegative val="1"/>
            <c:bubble3D val="0"/>
            <c:spPr>
              <a:solidFill>
                <a:srgbClr val="AEABAB"/>
              </a:solidFill>
            </c:spPr>
            <c:extLst>
              <c:ext xmlns:c16="http://schemas.microsoft.com/office/drawing/2014/chart" uri="{C3380CC4-5D6E-409C-BE32-E72D297353CC}">
                <c16:uniqueId val="{000007C3-7B8A-44CE-B0AF-B4D4D3438E61}"/>
              </c:ext>
            </c:extLst>
          </c:dPt>
          <c:dPt>
            <c:idx val="993"/>
            <c:invertIfNegative val="1"/>
            <c:bubble3D val="0"/>
            <c:spPr>
              <a:solidFill>
                <a:srgbClr val="AEABAB"/>
              </a:solidFill>
            </c:spPr>
            <c:extLst>
              <c:ext xmlns:c16="http://schemas.microsoft.com/office/drawing/2014/chart" uri="{C3380CC4-5D6E-409C-BE32-E72D297353CC}">
                <c16:uniqueId val="{000007C5-7B8A-44CE-B0AF-B4D4D3438E61}"/>
              </c:ext>
            </c:extLst>
          </c:dPt>
          <c:dPt>
            <c:idx val="994"/>
            <c:invertIfNegative val="1"/>
            <c:bubble3D val="0"/>
            <c:spPr>
              <a:solidFill>
                <a:srgbClr val="AEABAB"/>
              </a:solidFill>
            </c:spPr>
            <c:extLst>
              <c:ext xmlns:c16="http://schemas.microsoft.com/office/drawing/2014/chart" uri="{C3380CC4-5D6E-409C-BE32-E72D297353CC}">
                <c16:uniqueId val="{000007C7-7B8A-44CE-B0AF-B4D4D3438E61}"/>
              </c:ext>
            </c:extLst>
          </c:dPt>
          <c:dPt>
            <c:idx val="995"/>
            <c:invertIfNegative val="1"/>
            <c:bubble3D val="0"/>
            <c:spPr>
              <a:solidFill>
                <a:srgbClr val="AEABAB"/>
              </a:solidFill>
            </c:spPr>
            <c:extLst>
              <c:ext xmlns:c16="http://schemas.microsoft.com/office/drawing/2014/chart" uri="{C3380CC4-5D6E-409C-BE32-E72D297353CC}">
                <c16:uniqueId val="{000007C9-7B8A-44CE-B0AF-B4D4D3438E61}"/>
              </c:ext>
            </c:extLst>
          </c:dPt>
          <c:dPt>
            <c:idx val="996"/>
            <c:invertIfNegative val="1"/>
            <c:bubble3D val="0"/>
            <c:spPr>
              <a:solidFill>
                <a:srgbClr val="AEABAB"/>
              </a:solidFill>
            </c:spPr>
            <c:extLst>
              <c:ext xmlns:c16="http://schemas.microsoft.com/office/drawing/2014/chart" uri="{C3380CC4-5D6E-409C-BE32-E72D297353CC}">
                <c16:uniqueId val="{000007CB-7B8A-44CE-B0AF-B4D4D3438E61}"/>
              </c:ext>
            </c:extLst>
          </c:dPt>
          <c:dPt>
            <c:idx val="997"/>
            <c:invertIfNegative val="1"/>
            <c:bubble3D val="0"/>
            <c:spPr>
              <a:solidFill>
                <a:srgbClr val="AEABAB"/>
              </a:solidFill>
            </c:spPr>
            <c:extLst>
              <c:ext xmlns:c16="http://schemas.microsoft.com/office/drawing/2014/chart" uri="{C3380CC4-5D6E-409C-BE32-E72D297353CC}">
                <c16:uniqueId val="{000007CD-7B8A-44CE-B0AF-B4D4D3438E61}"/>
              </c:ext>
            </c:extLst>
          </c:dPt>
          <c:dPt>
            <c:idx val="998"/>
            <c:invertIfNegative val="1"/>
            <c:bubble3D val="0"/>
            <c:spPr>
              <a:solidFill>
                <a:srgbClr val="AEABAB"/>
              </a:solidFill>
            </c:spPr>
            <c:extLst>
              <c:ext xmlns:c16="http://schemas.microsoft.com/office/drawing/2014/chart" uri="{C3380CC4-5D6E-409C-BE32-E72D297353CC}">
                <c16:uniqueId val="{000007CF-7B8A-44CE-B0AF-B4D4D3438E61}"/>
              </c:ext>
            </c:extLst>
          </c:dPt>
          <c:dPt>
            <c:idx val="999"/>
            <c:invertIfNegative val="1"/>
            <c:bubble3D val="0"/>
            <c:spPr>
              <a:solidFill>
                <a:srgbClr val="AEABAB"/>
              </a:solidFill>
            </c:spPr>
            <c:extLst>
              <c:ext xmlns:c16="http://schemas.microsoft.com/office/drawing/2014/chart" uri="{C3380CC4-5D6E-409C-BE32-E72D297353CC}">
                <c16:uniqueId val="{000007D1-7B8A-44CE-B0AF-B4D4D3438E61}"/>
              </c:ext>
            </c:extLst>
          </c:dPt>
          <c:dPt>
            <c:idx val="1000"/>
            <c:invertIfNegative val="1"/>
            <c:bubble3D val="0"/>
            <c:spPr>
              <a:solidFill>
                <a:srgbClr val="AEABAB"/>
              </a:solidFill>
            </c:spPr>
            <c:extLst>
              <c:ext xmlns:c16="http://schemas.microsoft.com/office/drawing/2014/chart" uri="{C3380CC4-5D6E-409C-BE32-E72D297353CC}">
                <c16:uniqueId val="{000007D3-7B8A-44CE-B0AF-B4D4D3438E61}"/>
              </c:ext>
            </c:extLst>
          </c:dPt>
          <c:dPt>
            <c:idx val="1001"/>
            <c:invertIfNegative val="1"/>
            <c:bubble3D val="0"/>
            <c:spPr>
              <a:solidFill>
                <a:srgbClr val="AEABAB"/>
              </a:solidFill>
            </c:spPr>
            <c:extLst>
              <c:ext xmlns:c16="http://schemas.microsoft.com/office/drawing/2014/chart" uri="{C3380CC4-5D6E-409C-BE32-E72D297353CC}">
                <c16:uniqueId val="{000007D5-7B8A-44CE-B0AF-B4D4D3438E61}"/>
              </c:ext>
            </c:extLst>
          </c:dPt>
          <c:dPt>
            <c:idx val="1002"/>
            <c:invertIfNegative val="1"/>
            <c:bubble3D val="0"/>
            <c:spPr>
              <a:solidFill>
                <a:srgbClr val="AEABAB"/>
              </a:solidFill>
            </c:spPr>
            <c:extLst>
              <c:ext xmlns:c16="http://schemas.microsoft.com/office/drawing/2014/chart" uri="{C3380CC4-5D6E-409C-BE32-E72D297353CC}">
                <c16:uniqueId val="{000007D7-7B8A-44CE-B0AF-B4D4D3438E61}"/>
              </c:ext>
            </c:extLst>
          </c:dPt>
          <c:dPt>
            <c:idx val="1003"/>
            <c:invertIfNegative val="1"/>
            <c:bubble3D val="0"/>
            <c:spPr>
              <a:solidFill>
                <a:srgbClr val="AEABAB"/>
              </a:solidFill>
            </c:spPr>
            <c:extLst>
              <c:ext xmlns:c16="http://schemas.microsoft.com/office/drawing/2014/chart" uri="{C3380CC4-5D6E-409C-BE32-E72D297353CC}">
                <c16:uniqueId val="{000007D9-7B8A-44CE-B0AF-B4D4D3438E61}"/>
              </c:ext>
            </c:extLst>
          </c:dPt>
          <c:dPt>
            <c:idx val="1004"/>
            <c:invertIfNegative val="1"/>
            <c:bubble3D val="0"/>
            <c:spPr>
              <a:solidFill>
                <a:srgbClr val="AEABAB"/>
              </a:solidFill>
            </c:spPr>
            <c:extLst>
              <c:ext xmlns:c16="http://schemas.microsoft.com/office/drawing/2014/chart" uri="{C3380CC4-5D6E-409C-BE32-E72D297353CC}">
                <c16:uniqueId val="{000007DB-7B8A-44CE-B0AF-B4D4D3438E61}"/>
              </c:ext>
            </c:extLst>
          </c:dPt>
          <c:dPt>
            <c:idx val="1005"/>
            <c:invertIfNegative val="1"/>
            <c:bubble3D val="0"/>
            <c:spPr>
              <a:solidFill>
                <a:srgbClr val="AEABAB"/>
              </a:solidFill>
            </c:spPr>
            <c:extLst>
              <c:ext xmlns:c16="http://schemas.microsoft.com/office/drawing/2014/chart" uri="{C3380CC4-5D6E-409C-BE32-E72D297353CC}">
                <c16:uniqueId val="{000007DD-7B8A-44CE-B0AF-B4D4D3438E61}"/>
              </c:ext>
            </c:extLst>
          </c:dPt>
          <c:dPt>
            <c:idx val="1006"/>
            <c:invertIfNegative val="1"/>
            <c:bubble3D val="0"/>
            <c:spPr>
              <a:solidFill>
                <a:srgbClr val="AEABAB"/>
              </a:solidFill>
            </c:spPr>
            <c:extLst>
              <c:ext xmlns:c16="http://schemas.microsoft.com/office/drawing/2014/chart" uri="{C3380CC4-5D6E-409C-BE32-E72D297353CC}">
                <c16:uniqueId val="{000007DF-7B8A-44CE-B0AF-B4D4D3438E61}"/>
              </c:ext>
            </c:extLst>
          </c:dPt>
          <c:dPt>
            <c:idx val="1007"/>
            <c:invertIfNegative val="1"/>
            <c:bubble3D val="0"/>
            <c:spPr>
              <a:solidFill>
                <a:srgbClr val="AEABAB"/>
              </a:solidFill>
            </c:spPr>
            <c:extLst>
              <c:ext xmlns:c16="http://schemas.microsoft.com/office/drawing/2014/chart" uri="{C3380CC4-5D6E-409C-BE32-E72D297353CC}">
                <c16:uniqueId val="{000007E1-7B8A-44CE-B0AF-B4D4D3438E61}"/>
              </c:ext>
            </c:extLst>
          </c:dPt>
          <c:dPt>
            <c:idx val="1008"/>
            <c:invertIfNegative val="1"/>
            <c:bubble3D val="0"/>
            <c:spPr>
              <a:solidFill>
                <a:srgbClr val="AEABAB"/>
              </a:solidFill>
            </c:spPr>
            <c:extLst>
              <c:ext xmlns:c16="http://schemas.microsoft.com/office/drawing/2014/chart" uri="{C3380CC4-5D6E-409C-BE32-E72D297353CC}">
                <c16:uniqueId val="{000007E3-7B8A-44CE-B0AF-B4D4D3438E61}"/>
              </c:ext>
            </c:extLst>
          </c:dPt>
          <c:dPt>
            <c:idx val="1009"/>
            <c:invertIfNegative val="1"/>
            <c:bubble3D val="0"/>
            <c:spPr>
              <a:solidFill>
                <a:srgbClr val="AEABAB"/>
              </a:solidFill>
            </c:spPr>
            <c:extLst>
              <c:ext xmlns:c16="http://schemas.microsoft.com/office/drawing/2014/chart" uri="{C3380CC4-5D6E-409C-BE32-E72D297353CC}">
                <c16:uniqueId val="{000007E5-7B8A-44CE-B0AF-B4D4D3438E61}"/>
              </c:ext>
            </c:extLst>
          </c:dPt>
          <c:dPt>
            <c:idx val="1010"/>
            <c:invertIfNegative val="1"/>
            <c:bubble3D val="0"/>
            <c:spPr>
              <a:solidFill>
                <a:srgbClr val="AEABAB"/>
              </a:solidFill>
            </c:spPr>
            <c:extLst>
              <c:ext xmlns:c16="http://schemas.microsoft.com/office/drawing/2014/chart" uri="{C3380CC4-5D6E-409C-BE32-E72D297353CC}">
                <c16:uniqueId val="{000007E7-7B8A-44CE-B0AF-B4D4D3438E61}"/>
              </c:ext>
            </c:extLst>
          </c:dPt>
          <c:dPt>
            <c:idx val="1011"/>
            <c:invertIfNegative val="1"/>
            <c:bubble3D val="0"/>
            <c:spPr>
              <a:solidFill>
                <a:srgbClr val="AEABAB"/>
              </a:solidFill>
            </c:spPr>
            <c:extLst>
              <c:ext xmlns:c16="http://schemas.microsoft.com/office/drawing/2014/chart" uri="{C3380CC4-5D6E-409C-BE32-E72D297353CC}">
                <c16:uniqueId val="{000007E9-7B8A-44CE-B0AF-B4D4D3438E61}"/>
              </c:ext>
            </c:extLst>
          </c:dPt>
          <c:dPt>
            <c:idx val="1012"/>
            <c:invertIfNegative val="1"/>
            <c:bubble3D val="0"/>
            <c:spPr>
              <a:solidFill>
                <a:srgbClr val="AEABAB"/>
              </a:solidFill>
            </c:spPr>
            <c:extLst>
              <c:ext xmlns:c16="http://schemas.microsoft.com/office/drawing/2014/chart" uri="{C3380CC4-5D6E-409C-BE32-E72D297353CC}">
                <c16:uniqueId val="{000007EB-7B8A-44CE-B0AF-B4D4D3438E61}"/>
              </c:ext>
            </c:extLst>
          </c:dPt>
          <c:dPt>
            <c:idx val="1013"/>
            <c:invertIfNegative val="1"/>
            <c:bubble3D val="0"/>
            <c:spPr>
              <a:solidFill>
                <a:srgbClr val="AEABAB"/>
              </a:solidFill>
            </c:spPr>
            <c:extLst>
              <c:ext xmlns:c16="http://schemas.microsoft.com/office/drawing/2014/chart" uri="{C3380CC4-5D6E-409C-BE32-E72D297353CC}">
                <c16:uniqueId val="{000007ED-7B8A-44CE-B0AF-B4D4D3438E61}"/>
              </c:ext>
            </c:extLst>
          </c:dPt>
          <c:dPt>
            <c:idx val="1014"/>
            <c:invertIfNegative val="1"/>
            <c:bubble3D val="0"/>
            <c:spPr>
              <a:solidFill>
                <a:srgbClr val="AEABAB"/>
              </a:solidFill>
            </c:spPr>
            <c:extLst>
              <c:ext xmlns:c16="http://schemas.microsoft.com/office/drawing/2014/chart" uri="{C3380CC4-5D6E-409C-BE32-E72D297353CC}">
                <c16:uniqueId val="{000007EF-7B8A-44CE-B0AF-B4D4D3438E61}"/>
              </c:ext>
            </c:extLst>
          </c:dPt>
          <c:dPt>
            <c:idx val="1015"/>
            <c:invertIfNegative val="1"/>
            <c:bubble3D val="0"/>
            <c:spPr>
              <a:solidFill>
                <a:srgbClr val="AEABAB"/>
              </a:solidFill>
            </c:spPr>
            <c:extLst>
              <c:ext xmlns:c16="http://schemas.microsoft.com/office/drawing/2014/chart" uri="{C3380CC4-5D6E-409C-BE32-E72D297353CC}">
                <c16:uniqueId val="{000007F1-7B8A-44CE-B0AF-B4D4D3438E61}"/>
              </c:ext>
            </c:extLst>
          </c:dPt>
          <c:dPt>
            <c:idx val="1016"/>
            <c:invertIfNegative val="1"/>
            <c:bubble3D val="0"/>
            <c:spPr>
              <a:solidFill>
                <a:srgbClr val="AEABAB"/>
              </a:solidFill>
            </c:spPr>
            <c:extLst>
              <c:ext xmlns:c16="http://schemas.microsoft.com/office/drawing/2014/chart" uri="{C3380CC4-5D6E-409C-BE32-E72D297353CC}">
                <c16:uniqueId val="{000007F3-7B8A-44CE-B0AF-B4D4D3438E61}"/>
              </c:ext>
            </c:extLst>
          </c:dPt>
          <c:dPt>
            <c:idx val="1017"/>
            <c:invertIfNegative val="1"/>
            <c:bubble3D val="0"/>
            <c:spPr>
              <a:solidFill>
                <a:srgbClr val="AEABAB"/>
              </a:solidFill>
            </c:spPr>
            <c:extLst>
              <c:ext xmlns:c16="http://schemas.microsoft.com/office/drawing/2014/chart" uri="{C3380CC4-5D6E-409C-BE32-E72D297353CC}">
                <c16:uniqueId val="{000007F5-7B8A-44CE-B0AF-B4D4D3438E61}"/>
              </c:ext>
            </c:extLst>
          </c:dPt>
          <c:dPt>
            <c:idx val="1018"/>
            <c:invertIfNegative val="1"/>
            <c:bubble3D val="0"/>
            <c:spPr>
              <a:solidFill>
                <a:srgbClr val="AEABAB"/>
              </a:solidFill>
            </c:spPr>
            <c:extLst>
              <c:ext xmlns:c16="http://schemas.microsoft.com/office/drawing/2014/chart" uri="{C3380CC4-5D6E-409C-BE32-E72D297353CC}">
                <c16:uniqueId val="{000007F7-7B8A-44CE-B0AF-B4D4D3438E61}"/>
              </c:ext>
            </c:extLst>
          </c:dPt>
          <c:dPt>
            <c:idx val="1019"/>
            <c:invertIfNegative val="1"/>
            <c:bubble3D val="0"/>
            <c:spPr>
              <a:solidFill>
                <a:srgbClr val="AEABAB"/>
              </a:solidFill>
            </c:spPr>
            <c:extLst>
              <c:ext xmlns:c16="http://schemas.microsoft.com/office/drawing/2014/chart" uri="{C3380CC4-5D6E-409C-BE32-E72D297353CC}">
                <c16:uniqueId val="{000007F9-7B8A-44CE-B0AF-B4D4D3438E61}"/>
              </c:ext>
            </c:extLst>
          </c:dPt>
          <c:dPt>
            <c:idx val="1020"/>
            <c:invertIfNegative val="1"/>
            <c:bubble3D val="0"/>
            <c:spPr>
              <a:solidFill>
                <a:srgbClr val="AEABAB"/>
              </a:solidFill>
            </c:spPr>
            <c:extLst>
              <c:ext xmlns:c16="http://schemas.microsoft.com/office/drawing/2014/chart" uri="{C3380CC4-5D6E-409C-BE32-E72D297353CC}">
                <c16:uniqueId val="{000007FB-7B8A-44CE-B0AF-B4D4D3438E61}"/>
              </c:ext>
            </c:extLst>
          </c:dPt>
          <c:dPt>
            <c:idx val="1021"/>
            <c:invertIfNegative val="1"/>
            <c:bubble3D val="0"/>
            <c:spPr>
              <a:solidFill>
                <a:srgbClr val="AEABAB"/>
              </a:solidFill>
            </c:spPr>
            <c:extLst>
              <c:ext xmlns:c16="http://schemas.microsoft.com/office/drawing/2014/chart" uri="{C3380CC4-5D6E-409C-BE32-E72D297353CC}">
                <c16:uniqueId val="{000007FD-7B8A-44CE-B0AF-B4D4D3438E61}"/>
              </c:ext>
            </c:extLst>
          </c:dPt>
          <c:dPt>
            <c:idx val="1022"/>
            <c:invertIfNegative val="1"/>
            <c:bubble3D val="0"/>
            <c:spPr>
              <a:solidFill>
                <a:srgbClr val="AEABAB"/>
              </a:solidFill>
            </c:spPr>
            <c:extLst>
              <c:ext xmlns:c16="http://schemas.microsoft.com/office/drawing/2014/chart" uri="{C3380CC4-5D6E-409C-BE32-E72D297353CC}">
                <c16:uniqueId val="{000007FF-7B8A-44CE-B0AF-B4D4D3438E61}"/>
              </c:ext>
            </c:extLst>
          </c:dPt>
          <c:dPt>
            <c:idx val="1023"/>
            <c:invertIfNegative val="1"/>
            <c:bubble3D val="0"/>
            <c:spPr>
              <a:solidFill>
                <a:srgbClr val="AEABAB"/>
              </a:solidFill>
            </c:spPr>
            <c:extLst>
              <c:ext xmlns:c16="http://schemas.microsoft.com/office/drawing/2014/chart" uri="{C3380CC4-5D6E-409C-BE32-E72D297353CC}">
                <c16:uniqueId val="{00000801-7B8A-44CE-B0AF-B4D4D3438E61}"/>
              </c:ext>
            </c:extLst>
          </c:dPt>
          <c:dPt>
            <c:idx val="1024"/>
            <c:invertIfNegative val="1"/>
            <c:bubble3D val="0"/>
            <c:spPr>
              <a:solidFill>
                <a:srgbClr val="AEABAB"/>
              </a:solidFill>
            </c:spPr>
            <c:extLst>
              <c:ext xmlns:c16="http://schemas.microsoft.com/office/drawing/2014/chart" uri="{C3380CC4-5D6E-409C-BE32-E72D297353CC}">
                <c16:uniqueId val="{00000803-7B8A-44CE-B0AF-B4D4D3438E61}"/>
              </c:ext>
            </c:extLst>
          </c:dPt>
          <c:dPt>
            <c:idx val="1025"/>
            <c:invertIfNegative val="1"/>
            <c:bubble3D val="0"/>
            <c:spPr>
              <a:solidFill>
                <a:srgbClr val="AEABAB"/>
              </a:solidFill>
            </c:spPr>
            <c:extLst>
              <c:ext xmlns:c16="http://schemas.microsoft.com/office/drawing/2014/chart" uri="{C3380CC4-5D6E-409C-BE32-E72D297353CC}">
                <c16:uniqueId val="{00000805-7B8A-44CE-B0AF-B4D4D3438E61}"/>
              </c:ext>
            </c:extLst>
          </c:dPt>
          <c:dPt>
            <c:idx val="1026"/>
            <c:invertIfNegative val="1"/>
            <c:bubble3D val="0"/>
            <c:spPr>
              <a:solidFill>
                <a:srgbClr val="AEABAB"/>
              </a:solidFill>
            </c:spPr>
            <c:extLst>
              <c:ext xmlns:c16="http://schemas.microsoft.com/office/drawing/2014/chart" uri="{C3380CC4-5D6E-409C-BE32-E72D297353CC}">
                <c16:uniqueId val="{00000807-7B8A-44CE-B0AF-B4D4D3438E61}"/>
              </c:ext>
            </c:extLst>
          </c:dPt>
          <c:dPt>
            <c:idx val="1027"/>
            <c:invertIfNegative val="1"/>
            <c:bubble3D val="0"/>
            <c:spPr>
              <a:solidFill>
                <a:srgbClr val="AEABAB"/>
              </a:solidFill>
            </c:spPr>
            <c:extLst>
              <c:ext xmlns:c16="http://schemas.microsoft.com/office/drawing/2014/chart" uri="{C3380CC4-5D6E-409C-BE32-E72D297353CC}">
                <c16:uniqueId val="{00000809-7B8A-44CE-B0AF-B4D4D3438E61}"/>
              </c:ext>
            </c:extLst>
          </c:dPt>
          <c:dPt>
            <c:idx val="1028"/>
            <c:invertIfNegative val="1"/>
            <c:bubble3D val="0"/>
            <c:spPr>
              <a:solidFill>
                <a:srgbClr val="AEABAB"/>
              </a:solidFill>
            </c:spPr>
            <c:extLst>
              <c:ext xmlns:c16="http://schemas.microsoft.com/office/drawing/2014/chart" uri="{C3380CC4-5D6E-409C-BE32-E72D297353CC}">
                <c16:uniqueId val="{0000080B-7B8A-44CE-B0AF-B4D4D3438E61}"/>
              </c:ext>
            </c:extLst>
          </c:dPt>
          <c:dPt>
            <c:idx val="1029"/>
            <c:invertIfNegative val="1"/>
            <c:bubble3D val="0"/>
            <c:spPr>
              <a:solidFill>
                <a:srgbClr val="AEABAB"/>
              </a:solidFill>
            </c:spPr>
            <c:extLst>
              <c:ext xmlns:c16="http://schemas.microsoft.com/office/drawing/2014/chart" uri="{C3380CC4-5D6E-409C-BE32-E72D297353CC}">
                <c16:uniqueId val="{0000080D-7B8A-44CE-B0AF-B4D4D3438E61}"/>
              </c:ext>
            </c:extLst>
          </c:dPt>
          <c:dPt>
            <c:idx val="1030"/>
            <c:invertIfNegative val="1"/>
            <c:bubble3D val="0"/>
            <c:spPr>
              <a:solidFill>
                <a:srgbClr val="AEABAB"/>
              </a:solidFill>
            </c:spPr>
            <c:extLst>
              <c:ext xmlns:c16="http://schemas.microsoft.com/office/drawing/2014/chart" uri="{C3380CC4-5D6E-409C-BE32-E72D297353CC}">
                <c16:uniqueId val="{0000080F-7B8A-44CE-B0AF-B4D4D3438E61}"/>
              </c:ext>
            </c:extLst>
          </c:dPt>
          <c:dPt>
            <c:idx val="1031"/>
            <c:invertIfNegative val="1"/>
            <c:bubble3D val="0"/>
            <c:spPr>
              <a:solidFill>
                <a:srgbClr val="AEABAB"/>
              </a:solidFill>
            </c:spPr>
            <c:extLst>
              <c:ext xmlns:c16="http://schemas.microsoft.com/office/drawing/2014/chart" uri="{C3380CC4-5D6E-409C-BE32-E72D297353CC}">
                <c16:uniqueId val="{00000811-7B8A-44CE-B0AF-B4D4D3438E61}"/>
              </c:ext>
            </c:extLst>
          </c:dPt>
          <c:dPt>
            <c:idx val="1032"/>
            <c:invertIfNegative val="1"/>
            <c:bubble3D val="0"/>
            <c:spPr>
              <a:solidFill>
                <a:srgbClr val="AEABAB"/>
              </a:solidFill>
            </c:spPr>
            <c:extLst>
              <c:ext xmlns:c16="http://schemas.microsoft.com/office/drawing/2014/chart" uri="{C3380CC4-5D6E-409C-BE32-E72D297353CC}">
                <c16:uniqueId val="{00000813-7B8A-44CE-B0AF-B4D4D3438E61}"/>
              </c:ext>
            </c:extLst>
          </c:dPt>
          <c:dPt>
            <c:idx val="1033"/>
            <c:invertIfNegative val="1"/>
            <c:bubble3D val="0"/>
            <c:spPr>
              <a:solidFill>
                <a:srgbClr val="AEABAB"/>
              </a:solidFill>
            </c:spPr>
            <c:extLst>
              <c:ext xmlns:c16="http://schemas.microsoft.com/office/drawing/2014/chart" uri="{C3380CC4-5D6E-409C-BE32-E72D297353CC}">
                <c16:uniqueId val="{00000815-7B8A-44CE-B0AF-B4D4D3438E61}"/>
              </c:ext>
            </c:extLst>
          </c:dPt>
          <c:dPt>
            <c:idx val="1034"/>
            <c:invertIfNegative val="1"/>
            <c:bubble3D val="0"/>
            <c:spPr>
              <a:solidFill>
                <a:srgbClr val="AEABAB"/>
              </a:solidFill>
            </c:spPr>
            <c:extLst>
              <c:ext xmlns:c16="http://schemas.microsoft.com/office/drawing/2014/chart" uri="{C3380CC4-5D6E-409C-BE32-E72D297353CC}">
                <c16:uniqueId val="{00000817-7B8A-44CE-B0AF-B4D4D3438E61}"/>
              </c:ext>
            </c:extLst>
          </c:dPt>
          <c:dPt>
            <c:idx val="1035"/>
            <c:invertIfNegative val="1"/>
            <c:bubble3D val="0"/>
            <c:spPr>
              <a:solidFill>
                <a:srgbClr val="AEABAB"/>
              </a:solidFill>
            </c:spPr>
            <c:extLst>
              <c:ext xmlns:c16="http://schemas.microsoft.com/office/drawing/2014/chart" uri="{C3380CC4-5D6E-409C-BE32-E72D297353CC}">
                <c16:uniqueId val="{00000819-7B8A-44CE-B0AF-B4D4D3438E61}"/>
              </c:ext>
            </c:extLst>
          </c:dPt>
          <c:dPt>
            <c:idx val="1036"/>
            <c:invertIfNegative val="1"/>
            <c:bubble3D val="0"/>
            <c:spPr>
              <a:solidFill>
                <a:srgbClr val="AEABAB"/>
              </a:solidFill>
            </c:spPr>
            <c:extLst>
              <c:ext xmlns:c16="http://schemas.microsoft.com/office/drawing/2014/chart" uri="{C3380CC4-5D6E-409C-BE32-E72D297353CC}">
                <c16:uniqueId val="{0000081B-7B8A-44CE-B0AF-B4D4D3438E61}"/>
              </c:ext>
            </c:extLst>
          </c:dPt>
          <c:dPt>
            <c:idx val="1037"/>
            <c:invertIfNegative val="1"/>
            <c:bubble3D val="0"/>
            <c:spPr>
              <a:solidFill>
                <a:srgbClr val="AEABAB"/>
              </a:solidFill>
            </c:spPr>
            <c:extLst>
              <c:ext xmlns:c16="http://schemas.microsoft.com/office/drawing/2014/chart" uri="{C3380CC4-5D6E-409C-BE32-E72D297353CC}">
                <c16:uniqueId val="{0000081D-7B8A-44CE-B0AF-B4D4D3438E61}"/>
              </c:ext>
            </c:extLst>
          </c:dPt>
          <c:dPt>
            <c:idx val="1038"/>
            <c:invertIfNegative val="1"/>
            <c:bubble3D val="0"/>
            <c:spPr>
              <a:solidFill>
                <a:srgbClr val="AEABAB"/>
              </a:solidFill>
            </c:spPr>
            <c:extLst>
              <c:ext xmlns:c16="http://schemas.microsoft.com/office/drawing/2014/chart" uri="{C3380CC4-5D6E-409C-BE32-E72D297353CC}">
                <c16:uniqueId val="{0000081F-7B8A-44CE-B0AF-B4D4D3438E61}"/>
              </c:ext>
            </c:extLst>
          </c:dPt>
          <c:dPt>
            <c:idx val="1039"/>
            <c:invertIfNegative val="1"/>
            <c:bubble3D val="0"/>
            <c:spPr>
              <a:solidFill>
                <a:srgbClr val="AEABAB"/>
              </a:solidFill>
            </c:spPr>
            <c:extLst>
              <c:ext xmlns:c16="http://schemas.microsoft.com/office/drawing/2014/chart" uri="{C3380CC4-5D6E-409C-BE32-E72D297353CC}">
                <c16:uniqueId val="{00000821-7B8A-44CE-B0AF-B4D4D3438E61}"/>
              </c:ext>
            </c:extLst>
          </c:dPt>
          <c:dPt>
            <c:idx val="1040"/>
            <c:invertIfNegative val="1"/>
            <c:bubble3D val="0"/>
            <c:spPr>
              <a:solidFill>
                <a:srgbClr val="AEABAB"/>
              </a:solidFill>
            </c:spPr>
            <c:extLst>
              <c:ext xmlns:c16="http://schemas.microsoft.com/office/drawing/2014/chart" uri="{C3380CC4-5D6E-409C-BE32-E72D297353CC}">
                <c16:uniqueId val="{00000823-7B8A-44CE-B0AF-B4D4D3438E61}"/>
              </c:ext>
            </c:extLst>
          </c:dPt>
          <c:dPt>
            <c:idx val="1041"/>
            <c:invertIfNegative val="1"/>
            <c:bubble3D val="0"/>
            <c:spPr>
              <a:solidFill>
                <a:srgbClr val="AEABAB"/>
              </a:solidFill>
            </c:spPr>
            <c:extLst>
              <c:ext xmlns:c16="http://schemas.microsoft.com/office/drawing/2014/chart" uri="{C3380CC4-5D6E-409C-BE32-E72D297353CC}">
                <c16:uniqueId val="{00000825-7B8A-44CE-B0AF-B4D4D3438E61}"/>
              </c:ext>
            </c:extLst>
          </c:dPt>
          <c:dPt>
            <c:idx val="1042"/>
            <c:invertIfNegative val="1"/>
            <c:bubble3D val="0"/>
            <c:spPr>
              <a:solidFill>
                <a:srgbClr val="AEABAB"/>
              </a:solidFill>
            </c:spPr>
            <c:extLst>
              <c:ext xmlns:c16="http://schemas.microsoft.com/office/drawing/2014/chart" uri="{C3380CC4-5D6E-409C-BE32-E72D297353CC}">
                <c16:uniqueId val="{00000827-7B8A-44CE-B0AF-B4D4D3438E61}"/>
              </c:ext>
            </c:extLst>
          </c:dPt>
          <c:dPt>
            <c:idx val="1043"/>
            <c:invertIfNegative val="1"/>
            <c:bubble3D val="0"/>
            <c:spPr>
              <a:solidFill>
                <a:srgbClr val="AEABAB"/>
              </a:solidFill>
            </c:spPr>
            <c:extLst>
              <c:ext xmlns:c16="http://schemas.microsoft.com/office/drawing/2014/chart" uri="{C3380CC4-5D6E-409C-BE32-E72D297353CC}">
                <c16:uniqueId val="{00000829-7B8A-44CE-B0AF-B4D4D3438E61}"/>
              </c:ext>
            </c:extLst>
          </c:dPt>
          <c:dPt>
            <c:idx val="1044"/>
            <c:invertIfNegative val="1"/>
            <c:bubble3D val="0"/>
            <c:spPr>
              <a:solidFill>
                <a:srgbClr val="AEABAB"/>
              </a:solidFill>
            </c:spPr>
            <c:extLst>
              <c:ext xmlns:c16="http://schemas.microsoft.com/office/drawing/2014/chart" uri="{C3380CC4-5D6E-409C-BE32-E72D297353CC}">
                <c16:uniqueId val="{0000082B-7B8A-44CE-B0AF-B4D4D3438E61}"/>
              </c:ext>
            </c:extLst>
          </c:dPt>
          <c:dPt>
            <c:idx val="1045"/>
            <c:invertIfNegative val="1"/>
            <c:bubble3D val="0"/>
            <c:spPr>
              <a:solidFill>
                <a:srgbClr val="AEABAB"/>
              </a:solidFill>
            </c:spPr>
            <c:extLst>
              <c:ext xmlns:c16="http://schemas.microsoft.com/office/drawing/2014/chart" uri="{C3380CC4-5D6E-409C-BE32-E72D297353CC}">
                <c16:uniqueId val="{0000082D-7B8A-44CE-B0AF-B4D4D3438E61}"/>
              </c:ext>
            </c:extLst>
          </c:dPt>
          <c:dPt>
            <c:idx val="1046"/>
            <c:invertIfNegative val="1"/>
            <c:bubble3D val="0"/>
            <c:spPr>
              <a:solidFill>
                <a:srgbClr val="AEABAB"/>
              </a:solidFill>
            </c:spPr>
            <c:extLst>
              <c:ext xmlns:c16="http://schemas.microsoft.com/office/drawing/2014/chart" uri="{C3380CC4-5D6E-409C-BE32-E72D297353CC}">
                <c16:uniqueId val="{0000082F-7B8A-44CE-B0AF-B4D4D3438E61}"/>
              </c:ext>
            </c:extLst>
          </c:dPt>
          <c:dPt>
            <c:idx val="1047"/>
            <c:invertIfNegative val="1"/>
            <c:bubble3D val="0"/>
            <c:spPr>
              <a:solidFill>
                <a:srgbClr val="AEABAB"/>
              </a:solidFill>
            </c:spPr>
            <c:extLst>
              <c:ext xmlns:c16="http://schemas.microsoft.com/office/drawing/2014/chart" uri="{C3380CC4-5D6E-409C-BE32-E72D297353CC}">
                <c16:uniqueId val="{00000831-7B8A-44CE-B0AF-B4D4D3438E61}"/>
              </c:ext>
            </c:extLst>
          </c:dPt>
          <c:dPt>
            <c:idx val="1048"/>
            <c:invertIfNegative val="1"/>
            <c:bubble3D val="0"/>
            <c:spPr>
              <a:solidFill>
                <a:srgbClr val="AEABAB"/>
              </a:solidFill>
            </c:spPr>
            <c:extLst>
              <c:ext xmlns:c16="http://schemas.microsoft.com/office/drawing/2014/chart" uri="{C3380CC4-5D6E-409C-BE32-E72D297353CC}">
                <c16:uniqueId val="{00000833-7B8A-44CE-B0AF-B4D4D3438E61}"/>
              </c:ext>
            </c:extLst>
          </c:dPt>
          <c:dPt>
            <c:idx val="1049"/>
            <c:invertIfNegative val="1"/>
            <c:bubble3D val="0"/>
            <c:spPr>
              <a:solidFill>
                <a:srgbClr val="AEABAB"/>
              </a:solidFill>
            </c:spPr>
            <c:extLst>
              <c:ext xmlns:c16="http://schemas.microsoft.com/office/drawing/2014/chart" uri="{C3380CC4-5D6E-409C-BE32-E72D297353CC}">
                <c16:uniqueId val="{00000835-7B8A-44CE-B0AF-B4D4D3438E61}"/>
              </c:ext>
            </c:extLst>
          </c:dPt>
          <c:dPt>
            <c:idx val="1050"/>
            <c:invertIfNegative val="1"/>
            <c:bubble3D val="0"/>
            <c:spPr>
              <a:solidFill>
                <a:srgbClr val="AEABAB"/>
              </a:solidFill>
            </c:spPr>
            <c:extLst>
              <c:ext xmlns:c16="http://schemas.microsoft.com/office/drawing/2014/chart" uri="{C3380CC4-5D6E-409C-BE32-E72D297353CC}">
                <c16:uniqueId val="{00000837-7B8A-44CE-B0AF-B4D4D3438E61}"/>
              </c:ext>
            </c:extLst>
          </c:dPt>
          <c:dPt>
            <c:idx val="1051"/>
            <c:invertIfNegative val="1"/>
            <c:bubble3D val="0"/>
            <c:spPr>
              <a:solidFill>
                <a:srgbClr val="AEABAB"/>
              </a:solidFill>
            </c:spPr>
            <c:extLst>
              <c:ext xmlns:c16="http://schemas.microsoft.com/office/drawing/2014/chart" uri="{C3380CC4-5D6E-409C-BE32-E72D297353CC}">
                <c16:uniqueId val="{00000839-7B8A-44CE-B0AF-B4D4D3438E61}"/>
              </c:ext>
            </c:extLst>
          </c:dPt>
          <c:dPt>
            <c:idx val="1052"/>
            <c:invertIfNegative val="1"/>
            <c:bubble3D val="0"/>
            <c:spPr>
              <a:solidFill>
                <a:srgbClr val="AEABAB"/>
              </a:solidFill>
            </c:spPr>
            <c:extLst>
              <c:ext xmlns:c16="http://schemas.microsoft.com/office/drawing/2014/chart" uri="{C3380CC4-5D6E-409C-BE32-E72D297353CC}">
                <c16:uniqueId val="{0000083B-7B8A-44CE-B0AF-B4D4D3438E61}"/>
              </c:ext>
            </c:extLst>
          </c:dPt>
          <c:dPt>
            <c:idx val="1053"/>
            <c:invertIfNegative val="1"/>
            <c:bubble3D val="0"/>
            <c:spPr>
              <a:solidFill>
                <a:srgbClr val="AEABAB"/>
              </a:solidFill>
            </c:spPr>
            <c:extLst>
              <c:ext xmlns:c16="http://schemas.microsoft.com/office/drawing/2014/chart" uri="{C3380CC4-5D6E-409C-BE32-E72D297353CC}">
                <c16:uniqueId val="{0000083D-7B8A-44CE-B0AF-B4D4D3438E61}"/>
              </c:ext>
            </c:extLst>
          </c:dPt>
          <c:dPt>
            <c:idx val="1054"/>
            <c:invertIfNegative val="1"/>
            <c:bubble3D val="0"/>
            <c:spPr>
              <a:solidFill>
                <a:srgbClr val="AEABAB"/>
              </a:solidFill>
            </c:spPr>
            <c:extLst>
              <c:ext xmlns:c16="http://schemas.microsoft.com/office/drawing/2014/chart" uri="{C3380CC4-5D6E-409C-BE32-E72D297353CC}">
                <c16:uniqueId val="{0000083F-7B8A-44CE-B0AF-B4D4D3438E61}"/>
              </c:ext>
            </c:extLst>
          </c:dPt>
          <c:dPt>
            <c:idx val="1055"/>
            <c:invertIfNegative val="1"/>
            <c:bubble3D val="0"/>
            <c:spPr>
              <a:solidFill>
                <a:srgbClr val="AEABAB"/>
              </a:solidFill>
            </c:spPr>
            <c:extLst>
              <c:ext xmlns:c16="http://schemas.microsoft.com/office/drawing/2014/chart" uri="{C3380CC4-5D6E-409C-BE32-E72D297353CC}">
                <c16:uniqueId val="{00000841-7B8A-44CE-B0AF-B4D4D3438E61}"/>
              </c:ext>
            </c:extLst>
          </c:dPt>
          <c:dPt>
            <c:idx val="1056"/>
            <c:invertIfNegative val="1"/>
            <c:bubble3D val="0"/>
            <c:spPr>
              <a:solidFill>
                <a:srgbClr val="AEABAB"/>
              </a:solidFill>
            </c:spPr>
            <c:extLst>
              <c:ext xmlns:c16="http://schemas.microsoft.com/office/drawing/2014/chart" uri="{C3380CC4-5D6E-409C-BE32-E72D297353CC}">
                <c16:uniqueId val="{00000843-7B8A-44CE-B0AF-B4D4D3438E61}"/>
              </c:ext>
            </c:extLst>
          </c:dPt>
          <c:dPt>
            <c:idx val="1057"/>
            <c:invertIfNegative val="1"/>
            <c:bubble3D val="0"/>
            <c:spPr>
              <a:solidFill>
                <a:srgbClr val="AEABAB"/>
              </a:solidFill>
            </c:spPr>
            <c:extLst>
              <c:ext xmlns:c16="http://schemas.microsoft.com/office/drawing/2014/chart" uri="{C3380CC4-5D6E-409C-BE32-E72D297353CC}">
                <c16:uniqueId val="{00000845-7B8A-44CE-B0AF-B4D4D3438E61}"/>
              </c:ext>
            </c:extLst>
          </c:dPt>
          <c:dPt>
            <c:idx val="1058"/>
            <c:invertIfNegative val="1"/>
            <c:bubble3D val="0"/>
            <c:spPr>
              <a:solidFill>
                <a:srgbClr val="AEABAB"/>
              </a:solidFill>
            </c:spPr>
            <c:extLst>
              <c:ext xmlns:c16="http://schemas.microsoft.com/office/drawing/2014/chart" uri="{C3380CC4-5D6E-409C-BE32-E72D297353CC}">
                <c16:uniqueId val="{00000847-7B8A-44CE-B0AF-B4D4D3438E61}"/>
              </c:ext>
            </c:extLst>
          </c:dPt>
          <c:dPt>
            <c:idx val="1059"/>
            <c:invertIfNegative val="1"/>
            <c:bubble3D val="0"/>
            <c:spPr>
              <a:solidFill>
                <a:srgbClr val="AEABAB"/>
              </a:solidFill>
            </c:spPr>
            <c:extLst>
              <c:ext xmlns:c16="http://schemas.microsoft.com/office/drawing/2014/chart" uri="{C3380CC4-5D6E-409C-BE32-E72D297353CC}">
                <c16:uniqueId val="{00000849-7B8A-44CE-B0AF-B4D4D3438E61}"/>
              </c:ext>
            </c:extLst>
          </c:dPt>
          <c:dPt>
            <c:idx val="1060"/>
            <c:invertIfNegative val="1"/>
            <c:bubble3D val="0"/>
            <c:spPr>
              <a:solidFill>
                <a:srgbClr val="AEABAB"/>
              </a:solidFill>
            </c:spPr>
            <c:extLst>
              <c:ext xmlns:c16="http://schemas.microsoft.com/office/drawing/2014/chart" uri="{C3380CC4-5D6E-409C-BE32-E72D297353CC}">
                <c16:uniqueId val="{0000084B-7B8A-44CE-B0AF-B4D4D3438E61}"/>
              </c:ext>
            </c:extLst>
          </c:dPt>
          <c:dPt>
            <c:idx val="1061"/>
            <c:invertIfNegative val="1"/>
            <c:bubble3D val="0"/>
            <c:spPr>
              <a:solidFill>
                <a:srgbClr val="AEABAB"/>
              </a:solidFill>
            </c:spPr>
            <c:extLst>
              <c:ext xmlns:c16="http://schemas.microsoft.com/office/drawing/2014/chart" uri="{C3380CC4-5D6E-409C-BE32-E72D297353CC}">
                <c16:uniqueId val="{0000084D-7B8A-44CE-B0AF-B4D4D3438E61}"/>
              </c:ext>
            </c:extLst>
          </c:dPt>
          <c:dPt>
            <c:idx val="1062"/>
            <c:invertIfNegative val="1"/>
            <c:bubble3D val="0"/>
            <c:spPr>
              <a:solidFill>
                <a:srgbClr val="AEABAB"/>
              </a:solidFill>
            </c:spPr>
            <c:extLst>
              <c:ext xmlns:c16="http://schemas.microsoft.com/office/drawing/2014/chart" uri="{C3380CC4-5D6E-409C-BE32-E72D297353CC}">
                <c16:uniqueId val="{0000084F-7B8A-44CE-B0AF-B4D4D3438E61}"/>
              </c:ext>
            </c:extLst>
          </c:dPt>
          <c:dPt>
            <c:idx val="1063"/>
            <c:invertIfNegative val="1"/>
            <c:bubble3D val="0"/>
            <c:spPr>
              <a:solidFill>
                <a:srgbClr val="AEABAB"/>
              </a:solidFill>
            </c:spPr>
            <c:extLst>
              <c:ext xmlns:c16="http://schemas.microsoft.com/office/drawing/2014/chart" uri="{C3380CC4-5D6E-409C-BE32-E72D297353CC}">
                <c16:uniqueId val="{00000851-7B8A-44CE-B0AF-B4D4D3438E61}"/>
              </c:ext>
            </c:extLst>
          </c:dPt>
          <c:dPt>
            <c:idx val="1064"/>
            <c:invertIfNegative val="1"/>
            <c:bubble3D val="0"/>
            <c:spPr>
              <a:solidFill>
                <a:srgbClr val="AEABAB"/>
              </a:solidFill>
            </c:spPr>
            <c:extLst>
              <c:ext xmlns:c16="http://schemas.microsoft.com/office/drawing/2014/chart" uri="{C3380CC4-5D6E-409C-BE32-E72D297353CC}">
                <c16:uniqueId val="{00000853-7B8A-44CE-B0AF-B4D4D3438E61}"/>
              </c:ext>
            </c:extLst>
          </c:dPt>
          <c:dPt>
            <c:idx val="1065"/>
            <c:invertIfNegative val="1"/>
            <c:bubble3D val="0"/>
            <c:spPr>
              <a:solidFill>
                <a:srgbClr val="AEABAB"/>
              </a:solidFill>
            </c:spPr>
            <c:extLst>
              <c:ext xmlns:c16="http://schemas.microsoft.com/office/drawing/2014/chart" uri="{C3380CC4-5D6E-409C-BE32-E72D297353CC}">
                <c16:uniqueId val="{00000855-7B8A-44CE-B0AF-B4D4D3438E61}"/>
              </c:ext>
            </c:extLst>
          </c:dPt>
          <c:dPt>
            <c:idx val="1066"/>
            <c:invertIfNegative val="1"/>
            <c:bubble3D val="0"/>
            <c:spPr>
              <a:solidFill>
                <a:srgbClr val="AEABAB"/>
              </a:solidFill>
            </c:spPr>
            <c:extLst>
              <c:ext xmlns:c16="http://schemas.microsoft.com/office/drawing/2014/chart" uri="{C3380CC4-5D6E-409C-BE32-E72D297353CC}">
                <c16:uniqueId val="{00000857-7B8A-44CE-B0AF-B4D4D3438E61}"/>
              </c:ext>
            </c:extLst>
          </c:dPt>
          <c:dPt>
            <c:idx val="1067"/>
            <c:invertIfNegative val="1"/>
            <c:bubble3D val="0"/>
            <c:spPr>
              <a:solidFill>
                <a:srgbClr val="AEABAB"/>
              </a:solidFill>
            </c:spPr>
            <c:extLst>
              <c:ext xmlns:c16="http://schemas.microsoft.com/office/drawing/2014/chart" uri="{C3380CC4-5D6E-409C-BE32-E72D297353CC}">
                <c16:uniqueId val="{00000859-7B8A-44CE-B0AF-B4D4D3438E61}"/>
              </c:ext>
            </c:extLst>
          </c:dPt>
          <c:dPt>
            <c:idx val="1068"/>
            <c:invertIfNegative val="1"/>
            <c:bubble3D val="0"/>
            <c:spPr>
              <a:solidFill>
                <a:srgbClr val="AEABAB"/>
              </a:solidFill>
            </c:spPr>
            <c:extLst>
              <c:ext xmlns:c16="http://schemas.microsoft.com/office/drawing/2014/chart" uri="{C3380CC4-5D6E-409C-BE32-E72D297353CC}">
                <c16:uniqueId val="{0000085B-7B8A-44CE-B0AF-B4D4D3438E61}"/>
              </c:ext>
            </c:extLst>
          </c:dPt>
          <c:dPt>
            <c:idx val="1069"/>
            <c:invertIfNegative val="1"/>
            <c:bubble3D val="0"/>
            <c:spPr>
              <a:solidFill>
                <a:srgbClr val="AEABAB"/>
              </a:solidFill>
            </c:spPr>
            <c:extLst>
              <c:ext xmlns:c16="http://schemas.microsoft.com/office/drawing/2014/chart" uri="{C3380CC4-5D6E-409C-BE32-E72D297353CC}">
                <c16:uniqueId val="{0000085D-7B8A-44CE-B0AF-B4D4D3438E61}"/>
              </c:ext>
            </c:extLst>
          </c:dPt>
          <c:dPt>
            <c:idx val="1070"/>
            <c:invertIfNegative val="1"/>
            <c:bubble3D val="0"/>
            <c:spPr>
              <a:solidFill>
                <a:srgbClr val="AEABAB"/>
              </a:solidFill>
            </c:spPr>
            <c:extLst>
              <c:ext xmlns:c16="http://schemas.microsoft.com/office/drawing/2014/chart" uri="{C3380CC4-5D6E-409C-BE32-E72D297353CC}">
                <c16:uniqueId val="{0000085F-7B8A-44CE-B0AF-B4D4D3438E61}"/>
              </c:ext>
            </c:extLst>
          </c:dPt>
          <c:dPt>
            <c:idx val="1071"/>
            <c:invertIfNegative val="1"/>
            <c:bubble3D val="0"/>
            <c:spPr>
              <a:solidFill>
                <a:srgbClr val="AEABAB"/>
              </a:solidFill>
            </c:spPr>
            <c:extLst>
              <c:ext xmlns:c16="http://schemas.microsoft.com/office/drawing/2014/chart" uri="{C3380CC4-5D6E-409C-BE32-E72D297353CC}">
                <c16:uniqueId val="{00000861-7B8A-44CE-B0AF-B4D4D3438E61}"/>
              </c:ext>
            </c:extLst>
          </c:dPt>
          <c:dPt>
            <c:idx val="1072"/>
            <c:invertIfNegative val="1"/>
            <c:bubble3D val="0"/>
            <c:spPr>
              <a:solidFill>
                <a:srgbClr val="AEABAB"/>
              </a:solidFill>
            </c:spPr>
            <c:extLst>
              <c:ext xmlns:c16="http://schemas.microsoft.com/office/drawing/2014/chart" uri="{C3380CC4-5D6E-409C-BE32-E72D297353CC}">
                <c16:uniqueId val="{00000863-7B8A-44CE-B0AF-B4D4D3438E61}"/>
              </c:ext>
            </c:extLst>
          </c:dPt>
          <c:dPt>
            <c:idx val="1073"/>
            <c:invertIfNegative val="1"/>
            <c:bubble3D val="0"/>
            <c:spPr>
              <a:solidFill>
                <a:srgbClr val="AEABAB"/>
              </a:solidFill>
            </c:spPr>
            <c:extLst>
              <c:ext xmlns:c16="http://schemas.microsoft.com/office/drawing/2014/chart" uri="{C3380CC4-5D6E-409C-BE32-E72D297353CC}">
                <c16:uniqueId val="{00000865-7B8A-44CE-B0AF-B4D4D3438E61}"/>
              </c:ext>
            </c:extLst>
          </c:dPt>
          <c:dPt>
            <c:idx val="1074"/>
            <c:invertIfNegative val="1"/>
            <c:bubble3D val="0"/>
            <c:spPr>
              <a:solidFill>
                <a:srgbClr val="AEABAB"/>
              </a:solidFill>
            </c:spPr>
            <c:extLst>
              <c:ext xmlns:c16="http://schemas.microsoft.com/office/drawing/2014/chart" uri="{C3380CC4-5D6E-409C-BE32-E72D297353CC}">
                <c16:uniqueId val="{00000867-7B8A-44CE-B0AF-B4D4D3438E61}"/>
              </c:ext>
            </c:extLst>
          </c:dPt>
          <c:dPt>
            <c:idx val="1075"/>
            <c:invertIfNegative val="1"/>
            <c:bubble3D val="0"/>
            <c:spPr>
              <a:solidFill>
                <a:srgbClr val="AEABAB"/>
              </a:solidFill>
            </c:spPr>
            <c:extLst>
              <c:ext xmlns:c16="http://schemas.microsoft.com/office/drawing/2014/chart" uri="{C3380CC4-5D6E-409C-BE32-E72D297353CC}">
                <c16:uniqueId val="{00000869-7B8A-44CE-B0AF-B4D4D3438E61}"/>
              </c:ext>
            </c:extLst>
          </c:dPt>
          <c:dPt>
            <c:idx val="1076"/>
            <c:invertIfNegative val="1"/>
            <c:bubble3D val="0"/>
            <c:spPr>
              <a:solidFill>
                <a:srgbClr val="AEABAB"/>
              </a:solidFill>
            </c:spPr>
            <c:extLst>
              <c:ext xmlns:c16="http://schemas.microsoft.com/office/drawing/2014/chart" uri="{C3380CC4-5D6E-409C-BE32-E72D297353CC}">
                <c16:uniqueId val="{0000086B-7B8A-44CE-B0AF-B4D4D3438E61}"/>
              </c:ext>
            </c:extLst>
          </c:dPt>
          <c:dPt>
            <c:idx val="1077"/>
            <c:invertIfNegative val="1"/>
            <c:bubble3D val="0"/>
            <c:spPr>
              <a:solidFill>
                <a:srgbClr val="AEABAB"/>
              </a:solidFill>
            </c:spPr>
            <c:extLst>
              <c:ext xmlns:c16="http://schemas.microsoft.com/office/drawing/2014/chart" uri="{C3380CC4-5D6E-409C-BE32-E72D297353CC}">
                <c16:uniqueId val="{0000086D-7B8A-44CE-B0AF-B4D4D3438E61}"/>
              </c:ext>
            </c:extLst>
          </c:dPt>
          <c:dPt>
            <c:idx val="1078"/>
            <c:invertIfNegative val="1"/>
            <c:bubble3D val="0"/>
            <c:spPr>
              <a:solidFill>
                <a:srgbClr val="AEABAB"/>
              </a:solidFill>
            </c:spPr>
            <c:extLst>
              <c:ext xmlns:c16="http://schemas.microsoft.com/office/drawing/2014/chart" uri="{C3380CC4-5D6E-409C-BE32-E72D297353CC}">
                <c16:uniqueId val="{0000086F-7B8A-44CE-B0AF-B4D4D3438E61}"/>
              </c:ext>
            </c:extLst>
          </c:dPt>
          <c:dPt>
            <c:idx val="1079"/>
            <c:invertIfNegative val="1"/>
            <c:bubble3D val="0"/>
            <c:spPr>
              <a:solidFill>
                <a:srgbClr val="AEABAB"/>
              </a:solidFill>
            </c:spPr>
            <c:extLst>
              <c:ext xmlns:c16="http://schemas.microsoft.com/office/drawing/2014/chart" uri="{C3380CC4-5D6E-409C-BE32-E72D297353CC}">
                <c16:uniqueId val="{00000871-7B8A-44CE-B0AF-B4D4D3438E61}"/>
              </c:ext>
            </c:extLst>
          </c:dPt>
          <c:dPt>
            <c:idx val="1080"/>
            <c:invertIfNegative val="1"/>
            <c:bubble3D val="0"/>
            <c:spPr>
              <a:solidFill>
                <a:srgbClr val="AEABAB"/>
              </a:solidFill>
            </c:spPr>
            <c:extLst>
              <c:ext xmlns:c16="http://schemas.microsoft.com/office/drawing/2014/chart" uri="{C3380CC4-5D6E-409C-BE32-E72D297353CC}">
                <c16:uniqueId val="{00000873-7B8A-44CE-B0AF-B4D4D3438E61}"/>
              </c:ext>
            </c:extLst>
          </c:dPt>
          <c:dPt>
            <c:idx val="1081"/>
            <c:invertIfNegative val="1"/>
            <c:bubble3D val="0"/>
            <c:spPr>
              <a:solidFill>
                <a:srgbClr val="AEABAB"/>
              </a:solidFill>
            </c:spPr>
            <c:extLst>
              <c:ext xmlns:c16="http://schemas.microsoft.com/office/drawing/2014/chart" uri="{C3380CC4-5D6E-409C-BE32-E72D297353CC}">
                <c16:uniqueId val="{00000875-7B8A-44CE-B0AF-B4D4D3438E61}"/>
              </c:ext>
            </c:extLst>
          </c:dPt>
          <c:dPt>
            <c:idx val="1082"/>
            <c:invertIfNegative val="1"/>
            <c:bubble3D val="0"/>
            <c:spPr>
              <a:solidFill>
                <a:srgbClr val="AEABAB"/>
              </a:solidFill>
            </c:spPr>
            <c:extLst>
              <c:ext xmlns:c16="http://schemas.microsoft.com/office/drawing/2014/chart" uri="{C3380CC4-5D6E-409C-BE32-E72D297353CC}">
                <c16:uniqueId val="{00000877-7B8A-44CE-B0AF-B4D4D3438E61}"/>
              </c:ext>
            </c:extLst>
          </c:dPt>
          <c:dPt>
            <c:idx val="1083"/>
            <c:invertIfNegative val="1"/>
            <c:bubble3D val="0"/>
            <c:spPr>
              <a:solidFill>
                <a:srgbClr val="AEABAB"/>
              </a:solidFill>
            </c:spPr>
            <c:extLst>
              <c:ext xmlns:c16="http://schemas.microsoft.com/office/drawing/2014/chart" uri="{C3380CC4-5D6E-409C-BE32-E72D297353CC}">
                <c16:uniqueId val="{00000879-7B8A-44CE-B0AF-B4D4D3438E61}"/>
              </c:ext>
            </c:extLst>
          </c:dPt>
          <c:dPt>
            <c:idx val="1084"/>
            <c:invertIfNegative val="1"/>
            <c:bubble3D val="0"/>
            <c:spPr>
              <a:solidFill>
                <a:srgbClr val="AEABAB"/>
              </a:solidFill>
            </c:spPr>
            <c:extLst>
              <c:ext xmlns:c16="http://schemas.microsoft.com/office/drawing/2014/chart" uri="{C3380CC4-5D6E-409C-BE32-E72D297353CC}">
                <c16:uniqueId val="{0000087B-7B8A-44CE-B0AF-B4D4D3438E61}"/>
              </c:ext>
            </c:extLst>
          </c:dPt>
          <c:dPt>
            <c:idx val="1085"/>
            <c:invertIfNegative val="1"/>
            <c:bubble3D val="0"/>
            <c:spPr>
              <a:solidFill>
                <a:srgbClr val="AEABAB"/>
              </a:solidFill>
            </c:spPr>
            <c:extLst>
              <c:ext xmlns:c16="http://schemas.microsoft.com/office/drawing/2014/chart" uri="{C3380CC4-5D6E-409C-BE32-E72D297353CC}">
                <c16:uniqueId val="{0000087D-7B8A-44CE-B0AF-B4D4D3438E61}"/>
              </c:ext>
            </c:extLst>
          </c:dPt>
          <c:dPt>
            <c:idx val="1086"/>
            <c:invertIfNegative val="1"/>
            <c:bubble3D val="0"/>
            <c:spPr>
              <a:solidFill>
                <a:srgbClr val="AEABAB"/>
              </a:solidFill>
            </c:spPr>
            <c:extLst>
              <c:ext xmlns:c16="http://schemas.microsoft.com/office/drawing/2014/chart" uri="{C3380CC4-5D6E-409C-BE32-E72D297353CC}">
                <c16:uniqueId val="{0000087F-7B8A-44CE-B0AF-B4D4D3438E61}"/>
              </c:ext>
            </c:extLst>
          </c:dPt>
          <c:dPt>
            <c:idx val="1087"/>
            <c:invertIfNegative val="1"/>
            <c:bubble3D val="0"/>
            <c:spPr>
              <a:solidFill>
                <a:srgbClr val="AEABAB"/>
              </a:solidFill>
            </c:spPr>
            <c:extLst>
              <c:ext xmlns:c16="http://schemas.microsoft.com/office/drawing/2014/chart" uri="{C3380CC4-5D6E-409C-BE32-E72D297353CC}">
                <c16:uniqueId val="{00000881-7B8A-44CE-B0AF-B4D4D3438E61}"/>
              </c:ext>
            </c:extLst>
          </c:dPt>
          <c:dPt>
            <c:idx val="1088"/>
            <c:invertIfNegative val="1"/>
            <c:bubble3D val="0"/>
            <c:spPr>
              <a:solidFill>
                <a:srgbClr val="AEABAB"/>
              </a:solidFill>
            </c:spPr>
            <c:extLst>
              <c:ext xmlns:c16="http://schemas.microsoft.com/office/drawing/2014/chart" uri="{C3380CC4-5D6E-409C-BE32-E72D297353CC}">
                <c16:uniqueId val="{00000883-7B8A-44CE-B0AF-B4D4D3438E61}"/>
              </c:ext>
            </c:extLst>
          </c:dPt>
          <c:dPt>
            <c:idx val="1089"/>
            <c:invertIfNegative val="1"/>
            <c:bubble3D val="0"/>
            <c:spPr>
              <a:solidFill>
                <a:srgbClr val="AEABAB"/>
              </a:solidFill>
            </c:spPr>
            <c:extLst>
              <c:ext xmlns:c16="http://schemas.microsoft.com/office/drawing/2014/chart" uri="{C3380CC4-5D6E-409C-BE32-E72D297353CC}">
                <c16:uniqueId val="{00000885-7B8A-44CE-B0AF-B4D4D3438E61}"/>
              </c:ext>
            </c:extLst>
          </c:dPt>
          <c:dPt>
            <c:idx val="1090"/>
            <c:invertIfNegative val="1"/>
            <c:bubble3D val="0"/>
            <c:spPr>
              <a:solidFill>
                <a:srgbClr val="AEABAB"/>
              </a:solidFill>
            </c:spPr>
            <c:extLst>
              <c:ext xmlns:c16="http://schemas.microsoft.com/office/drawing/2014/chart" uri="{C3380CC4-5D6E-409C-BE32-E72D297353CC}">
                <c16:uniqueId val="{00000887-7B8A-44CE-B0AF-B4D4D3438E61}"/>
              </c:ext>
            </c:extLst>
          </c:dPt>
          <c:dPt>
            <c:idx val="1091"/>
            <c:invertIfNegative val="1"/>
            <c:bubble3D val="0"/>
            <c:spPr>
              <a:solidFill>
                <a:srgbClr val="AEABAB"/>
              </a:solidFill>
            </c:spPr>
            <c:extLst>
              <c:ext xmlns:c16="http://schemas.microsoft.com/office/drawing/2014/chart" uri="{C3380CC4-5D6E-409C-BE32-E72D297353CC}">
                <c16:uniqueId val="{00000889-7B8A-44CE-B0AF-B4D4D3438E61}"/>
              </c:ext>
            </c:extLst>
          </c:dPt>
          <c:dPt>
            <c:idx val="1092"/>
            <c:invertIfNegative val="1"/>
            <c:bubble3D val="0"/>
            <c:spPr>
              <a:solidFill>
                <a:srgbClr val="AEABAB"/>
              </a:solidFill>
            </c:spPr>
            <c:extLst>
              <c:ext xmlns:c16="http://schemas.microsoft.com/office/drawing/2014/chart" uri="{C3380CC4-5D6E-409C-BE32-E72D297353CC}">
                <c16:uniqueId val="{0000088B-7B8A-44CE-B0AF-B4D4D3438E61}"/>
              </c:ext>
            </c:extLst>
          </c:dPt>
          <c:dPt>
            <c:idx val="1093"/>
            <c:invertIfNegative val="1"/>
            <c:bubble3D val="0"/>
            <c:spPr>
              <a:solidFill>
                <a:srgbClr val="AEABAB"/>
              </a:solidFill>
            </c:spPr>
            <c:extLst>
              <c:ext xmlns:c16="http://schemas.microsoft.com/office/drawing/2014/chart" uri="{C3380CC4-5D6E-409C-BE32-E72D297353CC}">
                <c16:uniqueId val="{0000088D-7B8A-44CE-B0AF-B4D4D3438E61}"/>
              </c:ext>
            </c:extLst>
          </c:dPt>
          <c:dPt>
            <c:idx val="1094"/>
            <c:invertIfNegative val="1"/>
            <c:bubble3D val="0"/>
            <c:spPr>
              <a:solidFill>
                <a:srgbClr val="AEABAB"/>
              </a:solidFill>
            </c:spPr>
            <c:extLst>
              <c:ext xmlns:c16="http://schemas.microsoft.com/office/drawing/2014/chart" uri="{C3380CC4-5D6E-409C-BE32-E72D297353CC}">
                <c16:uniqueId val="{0000088F-7B8A-44CE-B0AF-B4D4D3438E61}"/>
              </c:ext>
            </c:extLst>
          </c:dPt>
          <c:dPt>
            <c:idx val="1095"/>
            <c:invertIfNegative val="1"/>
            <c:bubble3D val="0"/>
            <c:spPr>
              <a:solidFill>
                <a:srgbClr val="AEABAB"/>
              </a:solidFill>
            </c:spPr>
            <c:extLst>
              <c:ext xmlns:c16="http://schemas.microsoft.com/office/drawing/2014/chart" uri="{C3380CC4-5D6E-409C-BE32-E72D297353CC}">
                <c16:uniqueId val="{00000891-7B8A-44CE-B0AF-B4D4D3438E61}"/>
              </c:ext>
            </c:extLst>
          </c:dPt>
          <c:dPt>
            <c:idx val="1096"/>
            <c:invertIfNegative val="1"/>
            <c:bubble3D val="0"/>
            <c:spPr>
              <a:solidFill>
                <a:srgbClr val="AEABAB"/>
              </a:solidFill>
            </c:spPr>
            <c:extLst>
              <c:ext xmlns:c16="http://schemas.microsoft.com/office/drawing/2014/chart" uri="{C3380CC4-5D6E-409C-BE32-E72D297353CC}">
                <c16:uniqueId val="{00000893-7B8A-44CE-B0AF-B4D4D3438E61}"/>
              </c:ext>
            </c:extLst>
          </c:dPt>
          <c:dPt>
            <c:idx val="1097"/>
            <c:invertIfNegative val="1"/>
            <c:bubble3D val="0"/>
            <c:spPr>
              <a:solidFill>
                <a:srgbClr val="AEABAB"/>
              </a:solidFill>
            </c:spPr>
            <c:extLst>
              <c:ext xmlns:c16="http://schemas.microsoft.com/office/drawing/2014/chart" uri="{C3380CC4-5D6E-409C-BE32-E72D297353CC}">
                <c16:uniqueId val="{00000895-7B8A-44CE-B0AF-B4D4D3438E61}"/>
              </c:ext>
            </c:extLst>
          </c:dPt>
          <c:dPt>
            <c:idx val="1098"/>
            <c:invertIfNegative val="1"/>
            <c:bubble3D val="0"/>
            <c:spPr>
              <a:solidFill>
                <a:srgbClr val="AEABAB"/>
              </a:solidFill>
            </c:spPr>
            <c:extLst>
              <c:ext xmlns:c16="http://schemas.microsoft.com/office/drawing/2014/chart" uri="{C3380CC4-5D6E-409C-BE32-E72D297353CC}">
                <c16:uniqueId val="{00000897-7B8A-44CE-B0AF-B4D4D3438E61}"/>
              </c:ext>
            </c:extLst>
          </c:dPt>
          <c:dPt>
            <c:idx val="1099"/>
            <c:invertIfNegative val="1"/>
            <c:bubble3D val="0"/>
            <c:spPr>
              <a:solidFill>
                <a:srgbClr val="AEABAB"/>
              </a:solidFill>
            </c:spPr>
            <c:extLst>
              <c:ext xmlns:c16="http://schemas.microsoft.com/office/drawing/2014/chart" uri="{C3380CC4-5D6E-409C-BE32-E72D297353CC}">
                <c16:uniqueId val="{00000899-7B8A-44CE-B0AF-B4D4D3438E61}"/>
              </c:ext>
            </c:extLst>
          </c:dPt>
          <c:dPt>
            <c:idx val="1100"/>
            <c:invertIfNegative val="1"/>
            <c:bubble3D val="0"/>
            <c:spPr>
              <a:solidFill>
                <a:srgbClr val="AEABAB"/>
              </a:solidFill>
            </c:spPr>
            <c:extLst>
              <c:ext xmlns:c16="http://schemas.microsoft.com/office/drawing/2014/chart" uri="{C3380CC4-5D6E-409C-BE32-E72D297353CC}">
                <c16:uniqueId val="{0000089B-7B8A-44CE-B0AF-B4D4D3438E61}"/>
              </c:ext>
            </c:extLst>
          </c:dPt>
          <c:dPt>
            <c:idx val="1101"/>
            <c:invertIfNegative val="1"/>
            <c:bubble3D val="0"/>
            <c:spPr>
              <a:solidFill>
                <a:srgbClr val="AEABAB"/>
              </a:solidFill>
            </c:spPr>
            <c:extLst>
              <c:ext xmlns:c16="http://schemas.microsoft.com/office/drawing/2014/chart" uri="{C3380CC4-5D6E-409C-BE32-E72D297353CC}">
                <c16:uniqueId val="{0000089D-7B8A-44CE-B0AF-B4D4D3438E61}"/>
              </c:ext>
            </c:extLst>
          </c:dPt>
          <c:dPt>
            <c:idx val="1102"/>
            <c:invertIfNegative val="1"/>
            <c:bubble3D val="0"/>
            <c:spPr>
              <a:solidFill>
                <a:srgbClr val="AEABAB"/>
              </a:solidFill>
            </c:spPr>
            <c:extLst>
              <c:ext xmlns:c16="http://schemas.microsoft.com/office/drawing/2014/chart" uri="{C3380CC4-5D6E-409C-BE32-E72D297353CC}">
                <c16:uniqueId val="{0000089F-7B8A-44CE-B0AF-B4D4D3438E61}"/>
              </c:ext>
            </c:extLst>
          </c:dPt>
          <c:dPt>
            <c:idx val="1103"/>
            <c:invertIfNegative val="1"/>
            <c:bubble3D val="0"/>
            <c:spPr>
              <a:solidFill>
                <a:srgbClr val="AEABAB"/>
              </a:solidFill>
            </c:spPr>
            <c:extLst>
              <c:ext xmlns:c16="http://schemas.microsoft.com/office/drawing/2014/chart" uri="{C3380CC4-5D6E-409C-BE32-E72D297353CC}">
                <c16:uniqueId val="{000008A1-7B8A-44CE-B0AF-B4D4D3438E61}"/>
              </c:ext>
            </c:extLst>
          </c:dPt>
          <c:dPt>
            <c:idx val="1104"/>
            <c:invertIfNegative val="1"/>
            <c:bubble3D val="0"/>
            <c:spPr>
              <a:solidFill>
                <a:srgbClr val="AEABAB"/>
              </a:solidFill>
            </c:spPr>
            <c:extLst>
              <c:ext xmlns:c16="http://schemas.microsoft.com/office/drawing/2014/chart" uri="{C3380CC4-5D6E-409C-BE32-E72D297353CC}">
                <c16:uniqueId val="{000008A3-7B8A-44CE-B0AF-B4D4D3438E61}"/>
              </c:ext>
            </c:extLst>
          </c:dPt>
          <c:dPt>
            <c:idx val="1105"/>
            <c:invertIfNegative val="1"/>
            <c:bubble3D val="0"/>
            <c:spPr>
              <a:solidFill>
                <a:srgbClr val="AEABAB"/>
              </a:solidFill>
            </c:spPr>
            <c:extLst>
              <c:ext xmlns:c16="http://schemas.microsoft.com/office/drawing/2014/chart" uri="{C3380CC4-5D6E-409C-BE32-E72D297353CC}">
                <c16:uniqueId val="{000008A5-7B8A-44CE-B0AF-B4D4D3438E61}"/>
              </c:ext>
            </c:extLst>
          </c:dPt>
          <c:dPt>
            <c:idx val="1106"/>
            <c:invertIfNegative val="1"/>
            <c:bubble3D val="0"/>
            <c:spPr>
              <a:solidFill>
                <a:srgbClr val="AEABAB"/>
              </a:solidFill>
            </c:spPr>
            <c:extLst>
              <c:ext xmlns:c16="http://schemas.microsoft.com/office/drawing/2014/chart" uri="{C3380CC4-5D6E-409C-BE32-E72D297353CC}">
                <c16:uniqueId val="{000008A7-7B8A-44CE-B0AF-B4D4D3438E61}"/>
              </c:ext>
            </c:extLst>
          </c:dPt>
          <c:dPt>
            <c:idx val="1107"/>
            <c:invertIfNegative val="1"/>
            <c:bubble3D val="0"/>
            <c:spPr>
              <a:solidFill>
                <a:srgbClr val="AEABAB"/>
              </a:solidFill>
            </c:spPr>
            <c:extLst>
              <c:ext xmlns:c16="http://schemas.microsoft.com/office/drawing/2014/chart" uri="{C3380CC4-5D6E-409C-BE32-E72D297353CC}">
                <c16:uniqueId val="{000008A9-7B8A-44CE-B0AF-B4D4D3438E61}"/>
              </c:ext>
            </c:extLst>
          </c:dPt>
          <c:dPt>
            <c:idx val="1108"/>
            <c:invertIfNegative val="1"/>
            <c:bubble3D val="0"/>
            <c:spPr>
              <a:solidFill>
                <a:srgbClr val="AEABAB"/>
              </a:solidFill>
            </c:spPr>
            <c:extLst>
              <c:ext xmlns:c16="http://schemas.microsoft.com/office/drawing/2014/chart" uri="{C3380CC4-5D6E-409C-BE32-E72D297353CC}">
                <c16:uniqueId val="{000008AB-7B8A-44CE-B0AF-B4D4D3438E61}"/>
              </c:ext>
            </c:extLst>
          </c:dPt>
          <c:dPt>
            <c:idx val="1109"/>
            <c:invertIfNegative val="1"/>
            <c:bubble3D val="0"/>
            <c:spPr>
              <a:solidFill>
                <a:srgbClr val="AEABAB"/>
              </a:solidFill>
            </c:spPr>
            <c:extLst>
              <c:ext xmlns:c16="http://schemas.microsoft.com/office/drawing/2014/chart" uri="{C3380CC4-5D6E-409C-BE32-E72D297353CC}">
                <c16:uniqueId val="{000008AD-7B8A-44CE-B0AF-B4D4D3438E61}"/>
              </c:ext>
            </c:extLst>
          </c:dPt>
          <c:dPt>
            <c:idx val="1110"/>
            <c:invertIfNegative val="1"/>
            <c:bubble3D val="0"/>
            <c:spPr>
              <a:solidFill>
                <a:srgbClr val="AEABAB"/>
              </a:solidFill>
            </c:spPr>
            <c:extLst>
              <c:ext xmlns:c16="http://schemas.microsoft.com/office/drawing/2014/chart" uri="{C3380CC4-5D6E-409C-BE32-E72D297353CC}">
                <c16:uniqueId val="{000008AF-7B8A-44CE-B0AF-B4D4D3438E61}"/>
              </c:ext>
            </c:extLst>
          </c:dPt>
          <c:dPt>
            <c:idx val="1111"/>
            <c:invertIfNegative val="1"/>
            <c:bubble3D val="0"/>
            <c:spPr>
              <a:solidFill>
                <a:srgbClr val="AEABAB"/>
              </a:solidFill>
            </c:spPr>
            <c:extLst>
              <c:ext xmlns:c16="http://schemas.microsoft.com/office/drawing/2014/chart" uri="{C3380CC4-5D6E-409C-BE32-E72D297353CC}">
                <c16:uniqueId val="{000008B1-7B8A-44CE-B0AF-B4D4D3438E61}"/>
              </c:ext>
            </c:extLst>
          </c:dPt>
          <c:dPt>
            <c:idx val="1112"/>
            <c:invertIfNegative val="1"/>
            <c:bubble3D val="0"/>
            <c:spPr>
              <a:solidFill>
                <a:srgbClr val="AEABAB"/>
              </a:solidFill>
            </c:spPr>
            <c:extLst>
              <c:ext xmlns:c16="http://schemas.microsoft.com/office/drawing/2014/chart" uri="{C3380CC4-5D6E-409C-BE32-E72D297353CC}">
                <c16:uniqueId val="{000008B3-7B8A-44CE-B0AF-B4D4D3438E61}"/>
              </c:ext>
            </c:extLst>
          </c:dPt>
          <c:dPt>
            <c:idx val="1113"/>
            <c:invertIfNegative val="1"/>
            <c:bubble3D val="0"/>
            <c:spPr>
              <a:solidFill>
                <a:srgbClr val="AEABAB"/>
              </a:solidFill>
            </c:spPr>
            <c:extLst>
              <c:ext xmlns:c16="http://schemas.microsoft.com/office/drawing/2014/chart" uri="{C3380CC4-5D6E-409C-BE32-E72D297353CC}">
                <c16:uniqueId val="{000008B5-7B8A-44CE-B0AF-B4D4D3438E61}"/>
              </c:ext>
            </c:extLst>
          </c:dPt>
          <c:dPt>
            <c:idx val="1114"/>
            <c:invertIfNegative val="1"/>
            <c:bubble3D val="0"/>
            <c:spPr>
              <a:solidFill>
                <a:srgbClr val="AEABAB"/>
              </a:solidFill>
            </c:spPr>
            <c:extLst>
              <c:ext xmlns:c16="http://schemas.microsoft.com/office/drawing/2014/chart" uri="{C3380CC4-5D6E-409C-BE32-E72D297353CC}">
                <c16:uniqueId val="{000008B7-7B8A-44CE-B0AF-B4D4D3438E61}"/>
              </c:ext>
            </c:extLst>
          </c:dPt>
          <c:dPt>
            <c:idx val="1115"/>
            <c:invertIfNegative val="1"/>
            <c:bubble3D val="0"/>
            <c:spPr>
              <a:solidFill>
                <a:srgbClr val="AEABAB"/>
              </a:solidFill>
            </c:spPr>
            <c:extLst>
              <c:ext xmlns:c16="http://schemas.microsoft.com/office/drawing/2014/chart" uri="{C3380CC4-5D6E-409C-BE32-E72D297353CC}">
                <c16:uniqueId val="{000008B9-7B8A-44CE-B0AF-B4D4D3438E61}"/>
              </c:ext>
            </c:extLst>
          </c:dPt>
          <c:dPt>
            <c:idx val="1116"/>
            <c:invertIfNegative val="1"/>
            <c:bubble3D val="0"/>
            <c:spPr>
              <a:solidFill>
                <a:srgbClr val="AEABAB"/>
              </a:solidFill>
            </c:spPr>
            <c:extLst>
              <c:ext xmlns:c16="http://schemas.microsoft.com/office/drawing/2014/chart" uri="{C3380CC4-5D6E-409C-BE32-E72D297353CC}">
                <c16:uniqueId val="{000008BB-7B8A-44CE-B0AF-B4D4D3438E61}"/>
              </c:ext>
            </c:extLst>
          </c:dPt>
          <c:dPt>
            <c:idx val="1117"/>
            <c:invertIfNegative val="1"/>
            <c:bubble3D val="0"/>
            <c:spPr>
              <a:solidFill>
                <a:srgbClr val="AEABAB"/>
              </a:solidFill>
            </c:spPr>
            <c:extLst>
              <c:ext xmlns:c16="http://schemas.microsoft.com/office/drawing/2014/chart" uri="{C3380CC4-5D6E-409C-BE32-E72D297353CC}">
                <c16:uniqueId val="{000008BD-7B8A-44CE-B0AF-B4D4D3438E61}"/>
              </c:ext>
            </c:extLst>
          </c:dPt>
          <c:dPt>
            <c:idx val="1118"/>
            <c:invertIfNegative val="1"/>
            <c:bubble3D val="0"/>
            <c:spPr>
              <a:solidFill>
                <a:srgbClr val="AEABAB"/>
              </a:solidFill>
            </c:spPr>
            <c:extLst>
              <c:ext xmlns:c16="http://schemas.microsoft.com/office/drawing/2014/chart" uri="{C3380CC4-5D6E-409C-BE32-E72D297353CC}">
                <c16:uniqueId val="{000008BF-7B8A-44CE-B0AF-B4D4D3438E61}"/>
              </c:ext>
            </c:extLst>
          </c:dPt>
          <c:dPt>
            <c:idx val="1119"/>
            <c:invertIfNegative val="1"/>
            <c:bubble3D val="0"/>
            <c:spPr>
              <a:solidFill>
                <a:srgbClr val="AEABAB"/>
              </a:solidFill>
            </c:spPr>
            <c:extLst>
              <c:ext xmlns:c16="http://schemas.microsoft.com/office/drawing/2014/chart" uri="{C3380CC4-5D6E-409C-BE32-E72D297353CC}">
                <c16:uniqueId val="{000008C1-7B8A-44CE-B0AF-B4D4D3438E61}"/>
              </c:ext>
            </c:extLst>
          </c:dPt>
          <c:dPt>
            <c:idx val="1120"/>
            <c:invertIfNegative val="1"/>
            <c:bubble3D val="0"/>
            <c:spPr>
              <a:solidFill>
                <a:srgbClr val="AEABAB"/>
              </a:solidFill>
            </c:spPr>
            <c:extLst>
              <c:ext xmlns:c16="http://schemas.microsoft.com/office/drawing/2014/chart" uri="{C3380CC4-5D6E-409C-BE32-E72D297353CC}">
                <c16:uniqueId val="{000008C3-7B8A-44CE-B0AF-B4D4D3438E61}"/>
              </c:ext>
            </c:extLst>
          </c:dPt>
          <c:dPt>
            <c:idx val="1121"/>
            <c:invertIfNegative val="1"/>
            <c:bubble3D val="0"/>
            <c:spPr>
              <a:solidFill>
                <a:srgbClr val="AEABAB"/>
              </a:solidFill>
            </c:spPr>
            <c:extLst>
              <c:ext xmlns:c16="http://schemas.microsoft.com/office/drawing/2014/chart" uri="{C3380CC4-5D6E-409C-BE32-E72D297353CC}">
                <c16:uniqueId val="{000008C5-7B8A-44CE-B0AF-B4D4D3438E61}"/>
              </c:ext>
            </c:extLst>
          </c:dPt>
          <c:dPt>
            <c:idx val="1122"/>
            <c:invertIfNegative val="1"/>
            <c:bubble3D val="0"/>
            <c:spPr>
              <a:solidFill>
                <a:srgbClr val="AEABAB"/>
              </a:solidFill>
            </c:spPr>
            <c:extLst>
              <c:ext xmlns:c16="http://schemas.microsoft.com/office/drawing/2014/chart" uri="{C3380CC4-5D6E-409C-BE32-E72D297353CC}">
                <c16:uniqueId val="{000008C7-7B8A-44CE-B0AF-B4D4D3438E61}"/>
              </c:ext>
            </c:extLst>
          </c:dPt>
          <c:dPt>
            <c:idx val="1123"/>
            <c:invertIfNegative val="1"/>
            <c:bubble3D val="0"/>
            <c:spPr>
              <a:solidFill>
                <a:srgbClr val="AEABAB"/>
              </a:solidFill>
            </c:spPr>
            <c:extLst>
              <c:ext xmlns:c16="http://schemas.microsoft.com/office/drawing/2014/chart" uri="{C3380CC4-5D6E-409C-BE32-E72D297353CC}">
                <c16:uniqueId val="{000008C9-7B8A-44CE-B0AF-B4D4D3438E61}"/>
              </c:ext>
            </c:extLst>
          </c:dPt>
          <c:dPt>
            <c:idx val="1124"/>
            <c:invertIfNegative val="1"/>
            <c:bubble3D val="0"/>
            <c:spPr>
              <a:solidFill>
                <a:srgbClr val="AEABAB"/>
              </a:solidFill>
            </c:spPr>
            <c:extLst>
              <c:ext xmlns:c16="http://schemas.microsoft.com/office/drawing/2014/chart" uri="{C3380CC4-5D6E-409C-BE32-E72D297353CC}">
                <c16:uniqueId val="{000008CB-7B8A-44CE-B0AF-B4D4D3438E61}"/>
              </c:ext>
            </c:extLst>
          </c:dPt>
          <c:dPt>
            <c:idx val="1125"/>
            <c:invertIfNegative val="1"/>
            <c:bubble3D val="0"/>
            <c:spPr>
              <a:solidFill>
                <a:srgbClr val="AEABAB"/>
              </a:solidFill>
            </c:spPr>
            <c:extLst>
              <c:ext xmlns:c16="http://schemas.microsoft.com/office/drawing/2014/chart" uri="{C3380CC4-5D6E-409C-BE32-E72D297353CC}">
                <c16:uniqueId val="{000008CD-7B8A-44CE-B0AF-B4D4D3438E61}"/>
              </c:ext>
            </c:extLst>
          </c:dPt>
          <c:dPt>
            <c:idx val="1126"/>
            <c:invertIfNegative val="1"/>
            <c:bubble3D val="0"/>
            <c:spPr>
              <a:solidFill>
                <a:srgbClr val="AEABAB"/>
              </a:solidFill>
            </c:spPr>
            <c:extLst>
              <c:ext xmlns:c16="http://schemas.microsoft.com/office/drawing/2014/chart" uri="{C3380CC4-5D6E-409C-BE32-E72D297353CC}">
                <c16:uniqueId val="{000008CF-7B8A-44CE-B0AF-B4D4D3438E61}"/>
              </c:ext>
            </c:extLst>
          </c:dPt>
          <c:dPt>
            <c:idx val="1127"/>
            <c:invertIfNegative val="1"/>
            <c:bubble3D val="0"/>
            <c:spPr>
              <a:solidFill>
                <a:srgbClr val="AEABAB"/>
              </a:solidFill>
            </c:spPr>
            <c:extLst>
              <c:ext xmlns:c16="http://schemas.microsoft.com/office/drawing/2014/chart" uri="{C3380CC4-5D6E-409C-BE32-E72D297353CC}">
                <c16:uniqueId val="{000008D1-7B8A-44CE-B0AF-B4D4D3438E61}"/>
              </c:ext>
            </c:extLst>
          </c:dPt>
          <c:dPt>
            <c:idx val="1128"/>
            <c:invertIfNegative val="1"/>
            <c:bubble3D val="0"/>
            <c:spPr>
              <a:solidFill>
                <a:srgbClr val="AEABAB"/>
              </a:solidFill>
            </c:spPr>
            <c:extLst>
              <c:ext xmlns:c16="http://schemas.microsoft.com/office/drawing/2014/chart" uri="{C3380CC4-5D6E-409C-BE32-E72D297353CC}">
                <c16:uniqueId val="{000008D3-7B8A-44CE-B0AF-B4D4D3438E61}"/>
              </c:ext>
            </c:extLst>
          </c:dPt>
          <c:dPt>
            <c:idx val="1129"/>
            <c:invertIfNegative val="1"/>
            <c:bubble3D val="0"/>
            <c:spPr>
              <a:solidFill>
                <a:srgbClr val="AEABAB"/>
              </a:solidFill>
            </c:spPr>
            <c:extLst>
              <c:ext xmlns:c16="http://schemas.microsoft.com/office/drawing/2014/chart" uri="{C3380CC4-5D6E-409C-BE32-E72D297353CC}">
                <c16:uniqueId val="{000008D5-7B8A-44CE-B0AF-B4D4D3438E61}"/>
              </c:ext>
            </c:extLst>
          </c:dPt>
          <c:dPt>
            <c:idx val="1130"/>
            <c:invertIfNegative val="1"/>
            <c:bubble3D val="0"/>
            <c:spPr>
              <a:solidFill>
                <a:srgbClr val="AEABAB"/>
              </a:solidFill>
            </c:spPr>
            <c:extLst>
              <c:ext xmlns:c16="http://schemas.microsoft.com/office/drawing/2014/chart" uri="{C3380CC4-5D6E-409C-BE32-E72D297353CC}">
                <c16:uniqueId val="{000008D7-7B8A-44CE-B0AF-B4D4D3438E61}"/>
              </c:ext>
            </c:extLst>
          </c:dPt>
          <c:dPt>
            <c:idx val="1131"/>
            <c:invertIfNegative val="1"/>
            <c:bubble3D val="0"/>
            <c:spPr>
              <a:solidFill>
                <a:srgbClr val="AEABAB"/>
              </a:solidFill>
            </c:spPr>
            <c:extLst>
              <c:ext xmlns:c16="http://schemas.microsoft.com/office/drawing/2014/chart" uri="{C3380CC4-5D6E-409C-BE32-E72D297353CC}">
                <c16:uniqueId val="{000008D9-7B8A-44CE-B0AF-B4D4D3438E61}"/>
              </c:ext>
            </c:extLst>
          </c:dPt>
          <c:dPt>
            <c:idx val="1132"/>
            <c:invertIfNegative val="1"/>
            <c:bubble3D val="0"/>
            <c:spPr>
              <a:solidFill>
                <a:srgbClr val="AEABAB"/>
              </a:solidFill>
            </c:spPr>
            <c:extLst>
              <c:ext xmlns:c16="http://schemas.microsoft.com/office/drawing/2014/chart" uri="{C3380CC4-5D6E-409C-BE32-E72D297353CC}">
                <c16:uniqueId val="{000008DB-7B8A-44CE-B0AF-B4D4D3438E61}"/>
              </c:ext>
            </c:extLst>
          </c:dPt>
          <c:dPt>
            <c:idx val="1133"/>
            <c:invertIfNegative val="1"/>
            <c:bubble3D val="0"/>
            <c:spPr>
              <a:solidFill>
                <a:srgbClr val="AEABAB"/>
              </a:solidFill>
            </c:spPr>
            <c:extLst>
              <c:ext xmlns:c16="http://schemas.microsoft.com/office/drawing/2014/chart" uri="{C3380CC4-5D6E-409C-BE32-E72D297353CC}">
                <c16:uniqueId val="{000008DD-7B8A-44CE-B0AF-B4D4D3438E61}"/>
              </c:ext>
            </c:extLst>
          </c:dPt>
          <c:dPt>
            <c:idx val="1134"/>
            <c:invertIfNegative val="1"/>
            <c:bubble3D val="0"/>
            <c:spPr>
              <a:solidFill>
                <a:srgbClr val="AEABAB"/>
              </a:solidFill>
            </c:spPr>
            <c:extLst>
              <c:ext xmlns:c16="http://schemas.microsoft.com/office/drawing/2014/chart" uri="{C3380CC4-5D6E-409C-BE32-E72D297353CC}">
                <c16:uniqueId val="{000008DF-7B8A-44CE-B0AF-B4D4D3438E61}"/>
              </c:ext>
            </c:extLst>
          </c:dPt>
          <c:dPt>
            <c:idx val="1135"/>
            <c:invertIfNegative val="1"/>
            <c:bubble3D val="0"/>
            <c:spPr>
              <a:solidFill>
                <a:srgbClr val="AEABAB"/>
              </a:solidFill>
            </c:spPr>
            <c:extLst>
              <c:ext xmlns:c16="http://schemas.microsoft.com/office/drawing/2014/chart" uri="{C3380CC4-5D6E-409C-BE32-E72D297353CC}">
                <c16:uniqueId val="{000008E1-7B8A-44CE-B0AF-B4D4D3438E61}"/>
              </c:ext>
            </c:extLst>
          </c:dPt>
          <c:dPt>
            <c:idx val="1136"/>
            <c:invertIfNegative val="1"/>
            <c:bubble3D val="0"/>
            <c:spPr>
              <a:solidFill>
                <a:srgbClr val="AEABAB"/>
              </a:solidFill>
            </c:spPr>
            <c:extLst>
              <c:ext xmlns:c16="http://schemas.microsoft.com/office/drawing/2014/chart" uri="{C3380CC4-5D6E-409C-BE32-E72D297353CC}">
                <c16:uniqueId val="{000008E3-7B8A-44CE-B0AF-B4D4D3438E61}"/>
              </c:ext>
            </c:extLst>
          </c:dPt>
          <c:dPt>
            <c:idx val="1137"/>
            <c:invertIfNegative val="1"/>
            <c:bubble3D val="0"/>
            <c:spPr>
              <a:solidFill>
                <a:srgbClr val="AEABAB"/>
              </a:solidFill>
            </c:spPr>
            <c:extLst>
              <c:ext xmlns:c16="http://schemas.microsoft.com/office/drawing/2014/chart" uri="{C3380CC4-5D6E-409C-BE32-E72D297353CC}">
                <c16:uniqueId val="{000008E5-7B8A-44CE-B0AF-B4D4D3438E61}"/>
              </c:ext>
            </c:extLst>
          </c:dPt>
          <c:dPt>
            <c:idx val="1138"/>
            <c:invertIfNegative val="1"/>
            <c:bubble3D val="0"/>
            <c:spPr>
              <a:solidFill>
                <a:srgbClr val="AEABAB"/>
              </a:solidFill>
            </c:spPr>
            <c:extLst>
              <c:ext xmlns:c16="http://schemas.microsoft.com/office/drawing/2014/chart" uri="{C3380CC4-5D6E-409C-BE32-E72D297353CC}">
                <c16:uniqueId val="{000008E7-7B8A-44CE-B0AF-B4D4D3438E61}"/>
              </c:ext>
            </c:extLst>
          </c:dPt>
          <c:dPt>
            <c:idx val="1139"/>
            <c:invertIfNegative val="1"/>
            <c:bubble3D val="0"/>
            <c:spPr>
              <a:solidFill>
                <a:srgbClr val="AEABAB"/>
              </a:solidFill>
            </c:spPr>
            <c:extLst>
              <c:ext xmlns:c16="http://schemas.microsoft.com/office/drawing/2014/chart" uri="{C3380CC4-5D6E-409C-BE32-E72D297353CC}">
                <c16:uniqueId val="{000008E9-7B8A-44CE-B0AF-B4D4D3438E61}"/>
              </c:ext>
            </c:extLst>
          </c:dPt>
          <c:dPt>
            <c:idx val="1140"/>
            <c:invertIfNegative val="1"/>
            <c:bubble3D val="0"/>
            <c:spPr>
              <a:solidFill>
                <a:srgbClr val="AEABAB"/>
              </a:solidFill>
            </c:spPr>
            <c:extLst>
              <c:ext xmlns:c16="http://schemas.microsoft.com/office/drawing/2014/chart" uri="{C3380CC4-5D6E-409C-BE32-E72D297353CC}">
                <c16:uniqueId val="{000008EB-7B8A-44CE-B0AF-B4D4D3438E61}"/>
              </c:ext>
            </c:extLst>
          </c:dPt>
          <c:dPt>
            <c:idx val="1141"/>
            <c:invertIfNegative val="1"/>
            <c:bubble3D val="0"/>
            <c:spPr>
              <a:solidFill>
                <a:srgbClr val="AEABAB"/>
              </a:solidFill>
            </c:spPr>
            <c:extLst>
              <c:ext xmlns:c16="http://schemas.microsoft.com/office/drawing/2014/chart" uri="{C3380CC4-5D6E-409C-BE32-E72D297353CC}">
                <c16:uniqueId val="{000008ED-7B8A-44CE-B0AF-B4D4D3438E61}"/>
              </c:ext>
            </c:extLst>
          </c:dPt>
          <c:dPt>
            <c:idx val="1142"/>
            <c:invertIfNegative val="1"/>
            <c:bubble3D val="0"/>
            <c:spPr>
              <a:solidFill>
                <a:srgbClr val="AEABAB"/>
              </a:solidFill>
            </c:spPr>
            <c:extLst>
              <c:ext xmlns:c16="http://schemas.microsoft.com/office/drawing/2014/chart" uri="{C3380CC4-5D6E-409C-BE32-E72D297353CC}">
                <c16:uniqueId val="{000008EF-7B8A-44CE-B0AF-B4D4D3438E61}"/>
              </c:ext>
            </c:extLst>
          </c:dPt>
          <c:dPt>
            <c:idx val="1143"/>
            <c:invertIfNegative val="1"/>
            <c:bubble3D val="0"/>
            <c:spPr>
              <a:solidFill>
                <a:srgbClr val="AEABAB"/>
              </a:solidFill>
            </c:spPr>
            <c:extLst>
              <c:ext xmlns:c16="http://schemas.microsoft.com/office/drawing/2014/chart" uri="{C3380CC4-5D6E-409C-BE32-E72D297353CC}">
                <c16:uniqueId val="{000008F1-7B8A-44CE-B0AF-B4D4D3438E61}"/>
              </c:ext>
            </c:extLst>
          </c:dPt>
          <c:dPt>
            <c:idx val="1144"/>
            <c:invertIfNegative val="1"/>
            <c:bubble3D val="0"/>
            <c:spPr>
              <a:solidFill>
                <a:srgbClr val="AEABAB"/>
              </a:solidFill>
            </c:spPr>
            <c:extLst>
              <c:ext xmlns:c16="http://schemas.microsoft.com/office/drawing/2014/chart" uri="{C3380CC4-5D6E-409C-BE32-E72D297353CC}">
                <c16:uniqueId val="{000008F3-7B8A-44CE-B0AF-B4D4D3438E61}"/>
              </c:ext>
            </c:extLst>
          </c:dPt>
          <c:dPt>
            <c:idx val="1145"/>
            <c:invertIfNegative val="1"/>
            <c:bubble3D val="0"/>
            <c:spPr>
              <a:solidFill>
                <a:srgbClr val="AEABAB"/>
              </a:solidFill>
            </c:spPr>
            <c:extLst>
              <c:ext xmlns:c16="http://schemas.microsoft.com/office/drawing/2014/chart" uri="{C3380CC4-5D6E-409C-BE32-E72D297353CC}">
                <c16:uniqueId val="{000008F5-7B8A-44CE-B0AF-B4D4D3438E61}"/>
              </c:ext>
            </c:extLst>
          </c:dPt>
          <c:dPt>
            <c:idx val="1146"/>
            <c:invertIfNegative val="1"/>
            <c:bubble3D val="0"/>
            <c:spPr>
              <a:solidFill>
                <a:srgbClr val="AEABAB"/>
              </a:solidFill>
            </c:spPr>
            <c:extLst>
              <c:ext xmlns:c16="http://schemas.microsoft.com/office/drawing/2014/chart" uri="{C3380CC4-5D6E-409C-BE32-E72D297353CC}">
                <c16:uniqueId val="{000008F7-7B8A-44CE-B0AF-B4D4D3438E61}"/>
              </c:ext>
            </c:extLst>
          </c:dPt>
          <c:dPt>
            <c:idx val="1147"/>
            <c:invertIfNegative val="1"/>
            <c:bubble3D val="0"/>
            <c:spPr>
              <a:solidFill>
                <a:srgbClr val="AEABAB"/>
              </a:solidFill>
            </c:spPr>
            <c:extLst>
              <c:ext xmlns:c16="http://schemas.microsoft.com/office/drawing/2014/chart" uri="{C3380CC4-5D6E-409C-BE32-E72D297353CC}">
                <c16:uniqueId val="{000008F9-7B8A-44CE-B0AF-B4D4D3438E61}"/>
              </c:ext>
            </c:extLst>
          </c:dPt>
          <c:dPt>
            <c:idx val="1148"/>
            <c:invertIfNegative val="1"/>
            <c:bubble3D val="0"/>
            <c:spPr>
              <a:solidFill>
                <a:srgbClr val="AEABAB"/>
              </a:solidFill>
            </c:spPr>
            <c:extLst>
              <c:ext xmlns:c16="http://schemas.microsoft.com/office/drawing/2014/chart" uri="{C3380CC4-5D6E-409C-BE32-E72D297353CC}">
                <c16:uniqueId val="{000008FB-7B8A-44CE-B0AF-B4D4D3438E61}"/>
              </c:ext>
            </c:extLst>
          </c:dPt>
          <c:dPt>
            <c:idx val="1149"/>
            <c:invertIfNegative val="1"/>
            <c:bubble3D val="0"/>
            <c:spPr>
              <a:solidFill>
                <a:srgbClr val="AEABAB"/>
              </a:solidFill>
            </c:spPr>
            <c:extLst>
              <c:ext xmlns:c16="http://schemas.microsoft.com/office/drawing/2014/chart" uri="{C3380CC4-5D6E-409C-BE32-E72D297353CC}">
                <c16:uniqueId val="{000008FD-7B8A-44CE-B0AF-B4D4D3438E61}"/>
              </c:ext>
            </c:extLst>
          </c:dPt>
          <c:dPt>
            <c:idx val="1150"/>
            <c:invertIfNegative val="1"/>
            <c:bubble3D val="0"/>
            <c:spPr>
              <a:solidFill>
                <a:srgbClr val="AEABAB"/>
              </a:solidFill>
            </c:spPr>
            <c:extLst>
              <c:ext xmlns:c16="http://schemas.microsoft.com/office/drawing/2014/chart" uri="{C3380CC4-5D6E-409C-BE32-E72D297353CC}">
                <c16:uniqueId val="{000008FF-7B8A-44CE-B0AF-B4D4D3438E61}"/>
              </c:ext>
            </c:extLst>
          </c:dPt>
          <c:dPt>
            <c:idx val="1151"/>
            <c:invertIfNegative val="1"/>
            <c:bubble3D val="0"/>
            <c:spPr>
              <a:solidFill>
                <a:srgbClr val="AEABAB"/>
              </a:solidFill>
            </c:spPr>
            <c:extLst>
              <c:ext xmlns:c16="http://schemas.microsoft.com/office/drawing/2014/chart" uri="{C3380CC4-5D6E-409C-BE32-E72D297353CC}">
                <c16:uniqueId val="{00000901-7B8A-44CE-B0AF-B4D4D3438E61}"/>
              </c:ext>
            </c:extLst>
          </c:dPt>
          <c:dPt>
            <c:idx val="1152"/>
            <c:invertIfNegative val="1"/>
            <c:bubble3D val="0"/>
            <c:spPr>
              <a:solidFill>
                <a:srgbClr val="AEABAB"/>
              </a:solidFill>
            </c:spPr>
            <c:extLst>
              <c:ext xmlns:c16="http://schemas.microsoft.com/office/drawing/2014/chart" uri="{C3380CC4-5D6E-409C-BE32-E72D297353CC}">
                <c16:uniqueId val="{00000903-7B8A-44CE-B0AF-B4D4D3438E61}"/>
              </c:ext>
            </c:extLst>
          </c:dPt>
          <c:dPt>
            <c:idx val="1153"/>
            <c:invertIfNegative val="1"/>
            <c:bubble3D val="0"/>
            <c:spPr>
              <a:solidFill>
                <a:srgbClr val="AEABAB"/>
              </a:solidFill>
            </c:spPr>
            <c:extLst>
              <c:ext xmlns:c16="http://schemas.microsoft.com/office/drawing/2014/chart" uri="{C3380CC4-5D6E-409C-BE32-E72D297353CC}">
                <c16:uniqueId val="{00000905-7B8A-44CE-B0AF-B4D4D3438E61}"/>
              </c:ext>
            </c:extLst>
          </c:dPt>
          <c:dPt>
            <c:idx val="1154"/>
            <c:invertIfNegative val="1"/>
            <c:bubble3D val="0"/>
            <c:spPr>
              <a:solidFill>
                <a:srgbClr val="AEABAB"/>
              </a:solidFill>
            </c:spPr>
            <c:extLst>
              <c:ext xmlns:c16="http://schemas.microsoft.com/office/drawing/2014/chart" uri="{C3380CC4-5D6E-409C-BE32-E72D297353CC}">
                <c16:uniqueId val="{00000907-7B8A-44CE-B0AF-B4D4D3438E61}"/>
              </c:ext>
            </c:extLst>
          </c:dPt>
          <c:dPt>
            <c:idx val="1155"/>
            <c:invertIfNegative val="1"/>
            <c:bubble3D val="0"/>
            <c:spPr>
              <a:solidFill>
                <a:srgbClr val="AEABAB"/>
              </a:solidFill>
            </c:spPr>
            <c:extLst>
              <c:ext xmlns:c16="http://schemas.microsoft.com/office/drawing/2014/chart" uri="{C3380CC4-5D6E-409C-BE32-E72D297353CC}">
                <c16:uniqueId val="{00000909-7B8A-44CE-B0AF-B4D4D3438E61}"/>
              </c:ext>
            </c:extLst>
          </c:dPt>
          <c:dPt>
            <c:idx val="1156"/>
            <c:invertIfNegative val="1"/>
            <c:bubble3D val="0"/>
            <c:spPr>
              <a:solidFill>
                <a:srgbClr val="AEABAB"/>
              </a:solidFill>
            </c:spPr>
            <c:extLst>
              <c:ext xmlns:c16="http://schemas.microsoft.com/office/drawing/2014/chart" uri="{C3380CC4-5D6E-409C-BE32-E72D297353CC}">
                <c16:uniqueId val="{0000090B-7B8A-44CE-B0AF-B4D4D3438E61}"/>
              </c:ext>
            </c:extLst>
          </c:dPt>
          <c:dPt>
            <c:idx val="1157"/>
            <c:invertIfNegative val="1"/>
            <c:bubble3D val="0"/>
            <c:spPr>
              <a:solidFill>
                <a:srgbClr val="AEABAB"/>
              </a:solidFill>
            </c:spPr>
            <c:extLst>
              <c:ext xmlns:c16="http://schemas.microsoft.com/office/drawing/2014/chart" uri="{C3380CC4-5D6E-409C-BE32-E72D297353CC}">
                <c16:uniqueId val="{0000090D-7B8A-44CE-B0AF-B4D4D3438E61}"/>
              </c:ext>
            </c:extLst>
          </c:dPt>
          <c:dPt>
            <c:idx val="1158"/>
            <c:invertIfNegative val="1"/>
            <c:bubble3D val="0"/>
            <c:spPr>
              <a:solidFill>
                <a:srgbClr val="AEABAB"/>
              </a:solidFill>
            </c:spPr>
            <c:extLst>
              <c:ext xmlns:c16="http://schemas.microsoft.com/office/drawing/2014/chart" uri="{C3380CC4-5D6E-409C-BE32-E72D297353CC}">
                <c16:uniqueId val="{0000090F-7B8A-44CE-B0AF-B4D4D3438E61}"/>
              </c:ext>
            </c:extLst>
          </c:dPt>
          <c:dPt>
            <c:idx val="1159"/>
            <c:invertIfNegative val="1"/>
            <c:bubble3D val="0"/>
            <c:spPr>
              <a:solidFill>
                <a:srgbClr val="AEABAB"/>
              </a:solidFill>
            </c:spPr>
            <c:extLst>
              <c:ext xmlns:c16="http://schemas.microsoft.com/office/drawing/2014/chart" uri="{C3380CC4-5D6E-409C-BE32-E72D297353CC}">
                <c16:uniqueId val="{00000911-7B8A-44CE-B0AF-B4D4D3438E61}"/>
              </c:ext>
            </c:extLst>
          </c:dPt>
          <c:dPt>
            <c:idx val="1160"/>
            <c:invertIfNegative val="1"/>
            <c:bubble3D val="0"/>
            <c:spPr>
              <a:solidFill>
                <a:srgbClr val="AEABAB"/>
              </a:solidFill>
            </c:spPr>
            <c:extLst>
              <c:ext xmlns:c16="http://schemas.microsoft.com/office/drawing/2014/chart" uri="{C3380CC4-5D6E-409C-BE32-E72D297353CC}">
                <c16:uniqueId val="{00000913-7B8A-44CE-B0AF-B4D4D3438E61}"/>
              </c:ext>
            </c:extLst>
          </c:dPt>
          <c:dPt>
            <c:idx val="1161"/>
            <c:invertIfNegative val="1"/>
            <c:bubble3D val="0"/>
            <c:spPr>
              <a:solidFill>
                <a:srgbClr val="AEABAB"/>
              </a:solidFill>
            </c:spPr>
            <c:extLst>
              <c:ext xmlns:c16="http://schemas.microsoft.com/office/drawing/2014/chart" uri="{C3380CC4-5D6E-409C-BE32-E72D297353CC}">
                <c16:uniqueId val="{00000915-7B8A-44CE-B0AF-B4D4D3438E61}"/>
              </c:ext>
            </c:extLst>
          </c:dPt>
          <c:dPt>
            <c:idx val="1162"/>
            <c:invertIfNegative val="1"/>
            <c:bubble3D val="0"/>
            <c:spPr>
              <a:solidFill>
                <a:srgbClr val="AEABAB"/>
              </a:solidFill>
            </c:spPr>
            <c:extLst>
              <c:ext xmlns:c16="http://schemas.microsoft.com/office/drawing/2014/chart" uri="{C3380CC4-5D6E-409C-BE32-E72D297353CC}">
                <c16:uniqueId val="{00000917-7B8A-44CE-B0AF-B4D4D3438E61}"/>
              </c:ext>
            </c:extLst>
          </c:dPt>
          <c:dPt>
            <c:idx val="1163"/>
            <c:invertIfNegative val="1"/>
            <c:bubble3D val="0"/>
            <c:spPr>
              <a:solidFill>
                <a:srgbClr val="AEABAB"/>
              </a:solidFill>
            </c:spPr>
            <c:extLst>
              <c:ext xmlns:c16="http://schemas.microsoft.com/office/drawing/2014/chart" uri="{C3380CC4-5D6E-409C-BE32-E72D297353CC}">
                <c16:uniqueId val="{00000919-7B8A-44CE-B0AF-B4D4D3438E61}"/>
              </c:ext>
            </c:extLst>
          </c:dPt>
          <c:dPt>
            <c:idx val="1164"/>
            <c:invertIfNegative val="1"/>
            <c:bubble3D val="0"/>
            <c:spPr>
              <a:solidFill>
                <a:srgbClr val="AEABAB"/>
              </a:solidFill>
            </c:spPr>
            <c:extLst>
              <c:ext xmlns:c16="http://schemas.microsoft.com/office/drawing/2014/chart" uri="{C3380CC4-5D6E-409C-BE32-E72D297353CC}">
                <c16:uniqueId val="{0000091B-7B8A-44CE-B0AF-B4D4D3438E61}"/>
              </c:ext>
            </c:extLst>
          </c:dPt>
          <c:dPt>
            <c:idx val="1165"/>
            <c:invertIfNegative val="1"/>
            <c:bubble3D val="0"/>
            <c:spPr>
              <a:solidFill>
                <a:srgbClr val="AEABAB"/>
              </a:solidFill>
            </c:spPr>
            <c:extLst>
              <c:ext xmlns:c16="http://schemas.microsoft.com/office/drawing/2014/chart" uri="{C3380CC4-5D6E-409C-BE32-E72D297353CC}">
                <c16:uniqueId val="{0000091D-7B8A-44CE-B0AF-B4D4D3438E61}"/>
              </c:ext>
            </c:extLst>
          </c:dPt>
          <c:dPt>
            <c:idx val="1166"/>
            <c:invertIfNegative val="1"/>
            <c:bubble3D val="0"/>
            <c:spPr>
              <a:solidFill>
                <a:srgbClr val="AEABAB"/>
              </a:solidFill>
            </c:spPr>
            <c:extLst>
              <c:ext xmlns:c16="http://schemas.microsoft.com/office/drawing/2014/chart" uri="{C3380CC4-5D6E-409C-BE32-E72D297353CC}">
                <c16:uniqueId val="{0000091F-7B8A-44CE-B0AF-B4D4D3438E61}"/>
              </c:ext>
            </c:extLst>
          </c:dPt>
          <c:dPt>
            <c:idx val="1167"/>
            <c:invertIfNegative val="1"/>
            <c:bubble3D val="0"/>
            <c:spPr>
              <a:solidFill>
                <a:srgbClr val="AEABAB"/>
              </a:solidFill>
            </c:spPr>
            <c:extLst>
              <c:ext xmlns:c16="http://schemas.microsoft.com/office/drawing/2014/chart" uri="{C3380CC4-5D6E-409C-BE32-E72D297353CC}">
                <c16:uniqueId val="{00000921-7B8A-44CE-B0AF-B4D4D3438E61}"/>
              </c:ext>
            </c:extLst>
          </c:dPt>
          <c:dPt>
            <c:idx val="1168"/>
            <c:invertIfNegative val="1"/>
            <c:bubble3D val="0"/>
            <c:spPr>
              <a:solidFill>
                <a:srgbClr val="AEABAB"/>
              </a:solidFill>
            </c:spPr>
            <c:extLst>
              <c:ext xmlns:c16="http://schemas.microsoft.com/office/drawing/2014/chart" uri="{C3380CC4-5D6E-409C-BE32-E72D297353CC}">
                <c16:uniqueId val="{00000923-7B8A-44CE-B0AF-B4D4D3438E61}"/>
              </c:ext>
            </c:extLst>
          </c:dPt>
          <c:dPt>
            <c:idx val="1169"/>
            <c:invertIfNegative val="1"/>
            <c:bubble3D val="0"/>
            <c:spPr>
              <a:solidFill>
                <a:srgbClr val="AEABAB"/>
              </a:solidFill>
            </c:spPr>
            <c:extLst>
              <c:ext xmlns:c16="http://schemas.microsoft.com/office/drawing/2014/chart" uri="{C3380CC4-5D6E-409C-BE32-E72D297353CC}">
                <c16:uniqueId val="{00000925-7B8A-44CE-B0AF-B4D4D3438E61}"/>
              </c:ext>
            </c:extLst>
          </c:dPt>
          <c:dPt>
            <c:idx val="1170"/>
            <c:invertIfNegative val="1"/>
            <c:bubble3D val="0"/>
            <c:spPr>
              <a:solidFill>
                <a:srgbClr val="AEABAB"/>
              </a:solidFill>
            </c:spPr>
            <c:extLst>
              <c:ext xmlns:c16="http://schemas.microsoft.com/office/drawing/2014/chart" uri="{C3380CC4-5D6E-409C-BE32-E72D297353CC}">
                <c16:uniqueId val="{00000927-7B8A-44CE-B0AF-B4D4D3438E61}"/>
              </c:ext>
            </c:extLst>
          </c:dPt>
          <c:dPt>
            <c:idx val="1171"/>
            <c:invertIfNegative val="1"/>
            <c:bubble3D val="0"/>
            <c:spPr>
              <a:solidFill>
                <a:srgbClr val="AEABAB"/>
              </a:solidFill>
            </c:spPr>
            <c:extLst>
              <c:ext xmlns:c16="http://schemas.microsoft.com/office/drawing/2014/chart" uri="{C3380CC4-5D6E-409C-BE32-E72D297353CC}">
                <c16:uniqueId val="{00000929-7B8A-44CE-B0AF-B4D4D3438E61}"/>
              </c:ext>
            </c:extLst>
          </c:dPt>
          <c:dPt>
            <c:idx val="1172"/>
            <c:invertIfNegative val="1"/>
            <c:bubble3D val="0"/>
            <c:spPr>
              <a:solidFill>
                <a:srgbClr val="AEABAB"/>
              </a:solidFill>
            </c:spPr>
            <c:extLst>
              <c:ext xmlns:c16="http://schemas.microsoft.com/office/drawing/2014/chart" uri="{C3380CC4-5D6E-409C-BE32-E72D297353CC}">
                <c16:uniqueId val="{0000092B-7B8A-44CE-B0AF-B4D4D3438E61}"/>
              </c:ext>
            </c:extLst>
          </c:dPt>
          <c:dPt>
            <c:idx val="1173"/>
            <c:invertIfNegative val="1"/>
            <c:bubble3D val="0"/>
            <c:spPr>
              <a:solidFill>
                <a:srgbClr val="AEABAB"/>
              </a:solidFill>
            </c:spPr>
            <c:extLst>
              <c:ext xmlns:c16="http://schemas.microsoft.com/office/drawing/2014/chart" uri="{C3380CC4-5D6E-409C-BE32-E72D297353CC}">
                <c16:uniqueId val="{0000092D-7B8A-44CE-B0AF-B4D4D3438E61}"/>
              </c:ext>
            </c:extLst>
          </c:dPt>
          <c:dPt>
            <c:idx val="1174"/>
            <c:invertIfNegative val="1"/>
            <c:bubble3D val="0"/>
            <c:spPr>
              <a:solidFill>
                <a:srgbClr val="AEABAB"/>
              </a:solidFill>
            </c:spPr>
            <c:extLst>
              <c:ext xmlns:c16="http://schemas.microsoft.com/office/drawing/2014/chart" uri="{C3380CC4-5D6E-409C-BE32-E72D297353CC}">
                <c16:uniqueId val="{0000092F-7B8A-44CE-B0AF-B4D4D3438E61}"/>
              </c:ext>
            </c:extLst>
          </c:dPt>
          <c:dPt>
            <c:idx val="1175"/>
            <c:invertIfNegative val="1"/>
            <c:bubble3D val="0"/>
            <c:spPr>
              <a:solidFill>
                <a:srgbClr val="AEABAB"/>
              </a:solidFill>
            </c:spPr>
            <c:extLst>
              <c:ext xmlns:c16="http://schemas.microsoft.com/office/drawing/2014/chart" uri="{C3380CC4-5D6E-409C-BE32-E72D297353CC}">
                <c16:uniqueId val="{00000931-7B8A-44CE-B0AF-B4D4D3438E61}"/>
              </c:ext>
            </c:extLst>
          </c:dPt>
          <c:dPt>
            <c:idx val="1176"/>
            <c:invertIfNegative val="1"/>
            <c:bubble3D val="0"/>
            <c:spPr>
              <a:solidFill>
                <a:srgbClr val="AEABAB"/>
              </a:solidFill>
            </c:spPr>
            <c:extLst>
              <c:ext xmlns:c16="http://schemas.microsoft.com/office/drawing/2014/chart" uri="{C3380CC4-5D6E-409C-BE32-E72D297353CC}">
                <c16:uniqueId val="{00000933-7B8A-44CE-B0AF-B4D4D3438E61}"/>
              </c:ext>
            </c:extLst>
          </c:dPt>
          <c:dPt>
            <c:idx val="1177"/>
            <c:invertIfNegative val="1"/>
            <c:bubble3D val="0"/>
            <c:spPr>
              <a:solidFill>
                <a:srgbClr val="AEABAB"/>
              </a:solidFill>
            </c:spPr>
            <c:extLst>
              <c:ext xmlns:c16="http://schemas.microsoft.com/office/drawing/2014/chart" uri="{C3380CC4-5D6E-409C-BE32-E72D297353CC}">
                <c16:uniqueId val="{00000935-7B8A-44CE-B0AF-B4D4D3438E61}"/>
              </c:ext>
            </c:extLst>
          </c:dPt>
          <c:dPt>
            <c:idx val="1178"/>
            <c:invertIfNegative val="1"/>
            <c:bubble3D val="0"/>
            <c:spPr>
              <a:solidFill>
                <a:srgbClr val="AEABAB"/>
              </a:solidFill>
            </c:spPr>
            <c:extLst>
              <c:ext xmlns:c16="http://schemas.microsoft.com/office/drawing/2014/chart" uri="{C3380CC4-5D6E-409C-BE32-E72D297353CC}">
                <c16:uniqueId val="{00000937-7B8A-44CE-B0AF-B4D4D3438E61}"/>
              </c:ext>
            </c:extLst>
          </c:dPt>
          <c:dPt>
            <c:idx val="1179"/>
            <c:invertIfNegative val="1"/>
            <c:bubble3D val="0"/>
            <c:spPr>
              <a:solidFill>
                <a:srgbClr val="AEABAB"/>
              </a:solidFill>
            </c:spPr>
            <c:extLst>
              <c:ext xmlns:c16="http://schemas.microsoft.com/office/drawing/2014/chart" uri="{C3380CC4-5D6E-409C-BE32-E72D297353CC}">
                <c16:uniqueId val="{00000939-7B8A-44CE-B0AF-B4D4D3438E61}"/>
              </c:ext>
            </c:extLst>
          </c:dPt>
          <c:dPt>
            <c:idx val="1180"/>
            <c:invertIfNegative val="1"/>
            <c:bubble3D val="0"/>
            <c:spPr>
              <a:solidFill>
                <a:srgbClr val="AEABAB"/>
              </a:solidFill>
            </c:spPr>
            <c:extLst>
              <c:ext xmlns:c16="http://schemas.microsoft.com/office/drawing/2014/chart" uri="{C3380CC4-5D6E-409C-BE32-E72D297353CC}">
                <c16:uniqueId val="{0000093B-7B8A-44CE-B0AF-B4D4D3438E61}"/>
              </c:ext>
            </c:extLst>
          </c:dPt>
          <c:dPt>
            <c:idx val="1181"/>
            <c:invertIfNegative val="1"/>
            <c:bubble3D val="0"/>
            <c:spPr>
              <a:solidFill>
                <a:srgbClr val="AEABAB"/>
              </a:solidFill>
            </c:spPr>
            <c:extLst>
              <c:ext xmlns:c16="http://schemas.microsoft.com/office/drawing/2014/chart" uri="{C3380CC4-5D6E-409C-BE32-E72D297353CC}">
                <c16:uniqueId val="{0000093D-7B8A-44CE-B0AF-B4D4D3438E61}"/>
              </c:ext>
            </c:extLst>
          </c:dPt>
          <c:dPt>
            <c:idx val="1182"/>
            <c:invertIfNegative val="1"/>
            <c:bubble3D val="0"/>
            <c:spPr>
              <a:solidFill>
                <a:srgbClr val="AEABAB"/>
              </a:solidFill>
            </c:spPr>
            <c:extLst>
              <c:ext xmlns:c16="http://schemas.microsoft.com/office/drawing/2014/chart" uri="{C3380CC4-5D6E-409C-BE32-E72D297353CC}">
                <c16:uniqueId val="{0000093F-7B8A-44CE-B0AF-B4D4D3438E61}"/>
              </c:ext>
            </c:extLst>
          </c:dPt>
          <c:dPt>
            <c:idx val="1183"/>
            <c:invertIfNegative val="1"/>
            <c:bubble3D val="0"/>
            <c:spPr>
              <a:solidFill>
                <a:srgbClr val="AEABAB"/>
              </a:solidFill>
            </c:spPr>
            <c:extLst>
              <c:ext xmlns:c16="http://schemas.microsoft.com/office/drawing/2014/chart" uri="{C3380CC4-5D6E-409C-BE32-E72D297353CC}">
                <c16:uniqueId val="{00000941-7B8A-44CE-B0AF-B4D4D3438E61}"/>
              </c:ext>
            </c:extLst>
          </c:dPt>
          <c:dPt>
            <c:idx val="1184"/>
            <c:invertIfNegative val="1"/>
            <c:bubble3D val="0"/>
            <c:spPr>
              <a:solidFill>
                <a:srgbClr val="AEABAB"/>
              </a:solidFill>
            </c:spPr>
            <c:extLst>
              <c:ext xmlns:c16="http://schemas.microsoft.com/office/drawing/2014/chart" uri="{C3380CC4-5D6E-409C-BE32-E72D297353CC}">
                <c16:uniqueId val="{00000943-7B8A-44CE-B0AF-B4D4D3438E61}"/>
              </c:ext>
            </c:extLst>
          </c:dPt>
          <c:dPt>
            <c:idx val="1185"/>
            <c:invertIfNegative val="1"/>
            <c:bubble3D val="0"/>
            <c:spPr>
              <a:solidFill>
                <a:srgbClr val="AEABAB"/>
              </a:solidFill>
            </c:spPr>
            <c:extLst>
              <c:ext xmlns:c16="http://schemas.microsoft.com/office/drawing/2014/chart" uri="{C3380CC4-5D6E-409C-BE32-E72D297353CC}">
                <c16:uniqueId val="{00000945-7B8A-44CE-B0AF-B4D4D3438E61}"/>
              </c:ext>
            </c:extLst>
          </c:dPt>
          <c:dPt>
            <c:idx val="1186"/>
            <c:invertIfNegative val="1"/>
            <c:bubble3D val="0"/>
            <c:spPr>
              <a:solidFill>
                <a:srgbClr val="AEABAB"/>
              </a:solidFill>
            </c:spPr>
            <c:extLst>
              <c:ext xmlns:c16="http://schemas.microsoft.com/office/drawing/2014/chart" uri="{C3380CC4-5D6E-409C-BE32-E72D297353CC}">
                <c16:uniqueId val="{00000947-7B8A-44CE-B0AF-B4D4D3438E61}"/>
              </c:ext>
            </c:extLst>
          </c:dPt>
          <c:dPt>
            <c:idx val="1187"/>
            <c:invertIfNegative val="1"/>
            <c:bubble3D val="0"/>
            <c:spPr>
              <a:solidFill>
                <a:srgbClr val="AEABAB"/>
              </a:solidFill>
            </c:spPr>
            <c:extLst>
              <c:ext xmlns:c16="http://schemas.microsoft.com/office/drawing/2014/chart" uri="{C3380CC4-5D6E-409C-BE32-E72D297353CC}">
                <c16:uniqueId val="{00000949-7B8A-44CE-B0AF-B4D4D3438E61}"/>
              </c:ext>
            </c:extLst>
          </c:dPt>
          <c:dPt>
            <c:idx val="1188"/>
            <c:invertIfNegative val="1"/>
            <c:bubble3D val="0"/>
            <c:spPr>
              <a:solidFill>
                <a:srgbClr val="AEABAB"/>
              </a:solidFill>
            </c:spPr>
            <c:extLst>
              <c:ext xmlns:c16="http://schemas.microsoft.com/office/drawing/2014/chart" uri="{C3380CC4-5D6E-409C-BE32-E72D297353CC}">
                <c16:uniqueId val="{0000094B-7B8A-44CE-B0AF-B4D4D3438E61}"/>
              </c:ext>
            </c:extLst>
          </c:dPt>
          <c:dPt>
            <c:idx val="1189"/>
            <c:invertIfNegative val="1"/>
            <c:bubble3D val="0"/>
            <c:spPr>
              <a:solidFill>
                <a:srgbClr val="AEABAB"/>
              </a:solidFill>
            </c:spPr>
            <c:extLst>
              <c:ext xmlns:c16="http://schemas.microsoft.com/office/drawing/2014/chart" uri="{C3380CC4-5D6E-409C-BE32-E72D297353CC}">
                <c16:uniqueId val="{0000094D-7B8A-44CE-B0AF-B4D4D3438E61}"/>
              </c:ext>
            </c:extLst>
          </c:dPt>
          <c:dPt>
            <c:idx val="1190"/>
            <c:invertIfNegative val="1"/>
            <c:bubble3D val="0"/>
            <c:spPr>
              <a:solidFill>
                <a:srgbClr val="AEABAB"/>
              </a:solidFill>
            </c:spPr>
            <c:extLst>
              <c:ext xmlns:c16="http://schemas.microsoft.com/office/drawing/2014/chart" uri="{C3380CC4-5D6E-409C-BE32-E72D297353CC}">
                <c16:uniqueId val="{0000094F-7B8A-44CE-B0AF-B4D4D3438E61}"/>
              </c:ext>
            </c:extLst>
          </c:dPt>
          <c:dPt>
            <c:idx val="1191"/>
            <c:invertIfNegative val="1"/>
            <c:bubble3D val="0"/>
            <c:spPr>
              <a:solidFill>
                <a:srgbClr val="AEABAB"/>
              </a:solidFill>
            </c:spPr>
            <c:extLst>
              <c:ext xmlns:c16="http://schemas.microsoft.com/office/drawing/2014/chart" uri="{C3380CC4-5D6E-409C-BE32-E72D297353CC}">
                <c16:uniqueId val="{00000951-7B8A-44CE-B0AF-B4D4D3438E61}"/>
              </c:ext>
            </c:extLst>
          </c:dPt>
          <c:dPt>
            <c:idx val="1192"/>
            <c:invertIfNegative val="1"/>
            <c:bubble3D val="0"/>
            <c:spPr>
              <a:solidFill>
                <a:srgbClr val="AEABAB"/>
              </a:solidFill>
            </c:spPr>
            <c:extLst>
              <c:ext xmlns:c16="http://schemas.microsoft.com/office/drawing/2014/chart" uri="{C3380CC4-5D6E-409C-BE32-E72D297353CC}">
                <c16:uniqueId val="{00000953-7B8A-44CE-B0AF-B4D4D3438E61}"/>
              </c:ext>
            </c:extLst>
          </c:dPt>
          <c:dPt>
            <c:idx val="1193"/>
            <c:invertIfNegative val="1"/>
            <c:bubble3D val="0"/>
            <c:spPr>
              <a:solidFill>
                <a:srgbClr val="AEABAB"/>
              </a:solidFill>
            </c:spPr>
            <c:extLst>
              <c:ext xmlns:c16="http://schemas.microsoft.com/office/drawing/2014/chart" uri="{C3380CC4-5D6E-409C-BE32-E72D297353CC}">
                <c16:uniqueId val="{00000955-7B8A-44CE-B0AF-B4D4D3438E61}"/>
              </c:ext>
            </c:extLst>
          </c:dPt>
          <c:dPt>
            <c:idx val="1194"/>
            <c:invertIfNegative val="1"/>
            <c:bubble3D val="0"/>
            <c:spPr>
              <a:solidFill>
                <a:srgbClr val="AEABAB"/>
              </a:solidFill>
            </c:spPr>
            <c:extLst>
              <c:ext xmlns:c16="http://schemas.microsoft.com/office/drawing/2014/chart" uri="{C3380CC4-5D6E-409C-BE32-E72D297353CC}">
                <c16:uniqueId val="{00000957-7B8A-44CE-B0AF-B4D4D3438E61}"/>
              </c:ext>
            </c:extLst>
          </c:dPt>
          <c:dPt>
            <c:idx val="1195"/>
            <c:invertIfNegative val="1"/>
            <c:bubble3D val="0"/>
            <c:spPr>
              <a:solidFill>
                <a:srgbClr val="AEABAB"/>
              </a:solidFill>
            </c:spPr>
            <c:extLst>
              <c:ext xmlns:c16="http://schemas.microsoft.com/office/drawing/2014/chart" uri="{C3380CC4-5D6E-409C-BE32-E72D297353CC}">
                <c16:uniqueId val="{00000959-7B8A-44CE-B0AF-B4D4D3438E61}"/>
              </c:ext>
            </c:extLst>
          </c:dPt>
          <c:dPt>
            <c:idx val="1196"/>
            <c:invertIfNegative val="1"/>
            <c:bubble3D val="0"/>
            <c:spPr>
              <a:solidFill>
                <a:srgbClr val="AEABAB"/>
              </a:solidFill>
            </c:spPr>
            <c:extLst>
              <c:ext xmlns:c16="http://schemas.microsoft.com/office/drawing/2014/chart" uri="{C3380CC4-5D6E-409C-BE32-E72D297353CC}">
                <c16:uniqueId val="{0000095B-7B8A-44CE-B0AF-B4D4D3438E61}"/>
              </c:ext>
            </c:extLst>
          </c:dPt>
          <c:dPt>
            <c:idx val="1197"/>
            <c:invertIfNegative val="1"/>
            <c:bubble3D val="0"/>
            <c:spPr>
              <a:solidFill>
                <a:srgbClr val="AEABAB"/>
              </a:solidFill>
            </c:spPr>
            <c:extLst>
              <c:ext xmlns:c16="http://schemas.microsoft.com/office/drawing/2014/chart" uri="{C3380CC4-5D6E-409C-BE32-E72D297353CC}">
                <c16:uniqueId val="{0000095D-7B8A-44CE-B0AF-B4D4D3438E61}"/>
              </c:ext>
            </c:extLst>
          </c:dPt>
          <c:dPt>
            <c:idx val="1198"/>
            <c:invertIfNegative val="1"/>
            <c:bubble3D val="0"/>
            <c:spPr>
              <a:solidFill>
                <a:srgbClr val="AEABAB"/>
              </a:solidFill>
            </c:spPr>
            <c:extLst>
              <c:ext xmlns:c16="http://schemas.microsoft.com/office/drawing/2014/chart" uri="{C3380CC4-5D6E-409C-BE32-E72D297353CC}">
                <c16:uniqueId val="{0000095F-7B8A-44CE-B0AF-B4D4D3438E61}"/>
              </c:ext>
            </c:extLst>
          </c:dPt>
          <c:dPt>
            <c:idx val="1199"/>
            <c:invertIfNegative val="1"/>
            <c:bubble3D val="0"/>
            <c:spPr>
              <a:solidFill>
                <a:srgbClr val="AEABAB"/>
              </a:solidFill>
            </c:spPr>
            <c:extLst>
              <c:ext xmlns:c16="http://schemas.microsoft.com/office/drawing/2014/chart" uri="{C3380CC4-5D6E-409C-BE32-E72D297353CC}">
                <c16:uniqueId val="{00000961-7B8A-44CE-B0AF-B4D4D3438E61}"/>
              </c:ext>
            </c:extLst>
          </c:dPt>
          <c:dPt>
            <c:idx val="1200"/>
            <c:invertIfNegative val="1"/>
            <c:bubble3D val="0"/>
            <c:spPr>
              <a:solidFill>
                <a:srgbClr val="AEABAB"/>
              </a:solidFill>
            </c:spPr>
            <c:extLst>
              <c:ext xmlns:c16="http://schemas.microsoft.com/office/drawing/2014/chart" uri="{C3380CC4-5D6E-409C-BE32-E72D297353CC}">
                <c16:uniqueId val="{00000963-7B8A-44CE-B0AF-B4D4D3438E61}"/>
              </c:ext>
            </c:extLst>
          </c:dPt>
          <c:dPt>
            <c:idx val="1201"/>
            <c:invertIfNegative val="1"/>
            <c:bubble3D val="0"/>
            <c:spPr>
              <a:solidFill>
                <a:srgbClr val="AEABAB"/>
              </a:solidFill>
            </c:spPr>
            <c:extLst>
              <c:ext xmlns:c16="http://schemas.microsoft.com/office/drawing/2014/chart" uri="{C3380CC4-5D6E-409C-BE32-E72D297353CC}">
                <c16:uniqueId val="{00000965-7B8A-44CE-B0AF-B4D4D3438E61}"/>
              </c:ext>
            </c:extLst>
          </c:dPt>
          <c:dPt>
            <c:idx val="1202"/>
            <c:invertIfNegative val="1"/>
            <c:bubble3D val="0"/>
            <c:spPr>
              <a:solidFill>
                <a:srgbClr val="AEABAB"/>
              </a:solidFill>
            </c:spPr>
            <c:extLst>
              <c:ext xmlns:c16="http://schemas.microsoft.com/office/drawing/2014/chart" uri="{C3380CC4-5D6E-409C-BE32-E72D297353CC}">
                <c16:uniqueId val="{00000967-7B8A-44CE-B0AF-B4D4D3438E61}"/>
              </c:ext>
            </c:extLst>
          </c:dPt>
          <c:dPt>
            <c:idx val="1203"/>
            <c:invertIfNegative val="1"/>
            <c:bubble3D val="0"/>
            <c:spPr>
              <a:solidFill>
                <a:srgbClr val="AEABAB"/>
              </a:solidFill>
            </c:spPr>
            <c:extLst>
              <c:ext xmlns:c16="http://schemas.microsoft.com/office/drawing/2014/chart" uri="{C3380CC4-5D6E-409C-BE32-E72D297353CC}">
                <c16:uniqueId val="{00000969-7B8A-44CE-B0AF-B4D4D3438E61}"/>
              </c:ext>
            </c:extLst>
          </c:dPt>
          <c:dPt>
            <c:idx val="1204"/>
            <c:invertIfNegative val="1"/>
            <c:bubble3D val="0"/>
            <c:spPr>
              <a:solidFill>
                <a:srgbClr val="AEABAB"/>
              </a:solidFill>
            </c:spPr>
            <c:extLst>
              <c:ext xmlns:c16="http://schemas.microsoft.com/office/drawing/2014/chart" uri="{C3380CC4-5D6E-409C-BE32-E72D297353CC}">
                <c16:uniqueId val="{0000096B-7B8A-44CE-B0AF-B4D4D3438E61}"/>
              </c:ext>
            </c:extLst>
          </c:dPt>
          <c:dPt>
            <c:idx val="1205"/>
            <c:invertIfNegative val="1"/>
            <c:bubble3D val="0"/>
            <c:spPr>
              <a:solidFill>
                <a:srgbClr val="AEABAB"/>
              </a:solidFill>
            </c:spPr>
            <c:extLst>
              <c:ext xmlns:c16="http://schemas.microsoft.com/office/drawing/2014/chart" uri="{C3380CC4-5D6E-409C-BE32-E72D297353CC}">
                <c16:uniqueId val="{0000096D-7B8A-44CE-B0AF-B4D4D3438E61}"/>
              </c:ext>
            </c:extLst>
          </c:dPt>
          <c:dPt>
            <c:idx val="1206"/>
            <c:invertIfNegative val="1"/>
            <c:bubble3D val="0"/>
            <c:spPr>
              <a:solidFill>
                <a:srgbClr val="AEABAB"/>
              </a:solidFill>
            </c:spPr>
            <c:extLst>
              <c:ext xmlns:c16="http://schemas.microsoft.com/office/drawing/2014/chart" uri="{C3380CC4-5D6E-409C-BE32-E72D297353CC}">
                <c16:uniqueId val="{0000096F-7B8A-44CE-B0AF-B4D4D3438E61}"/>
              </c:ext>
            </c:extLst>
          </c:dPt>
          <c:dPt>
            <c:idx val="1207"/>
            <c:invertIfNegative val="1"/>
            <c:bubble3D val="0"/>
            <c:spPr>
              <a:solidFill>
                <a:srgbClr val="AEABAB"/>
              </a:solidFill>
            </c:spPr>
            <c:extLst>
              <c:ext xmlns:c16="http://schemas.microsoft.com/office/drawing/2014/chart" uri="{C3380CC4-5D6E-409C-BE32-E72D297353CC}">
                <c16:uniqueId val="{00000971-7B8A-44CE-B0AF-B4D4D3438E61}"/>
              </c:ext>
            </c:extLst>
          </c:dPt>
          <c:dPt>
            <c:idx val="1208"/>
            <c:invertIfNegative val="1"/>
            <c:bubble3D val="0"/>
            <c:spPr>
              <a:solidFill>
                <a:srgbClr val="AEABAB"/>
              </a:solidFill>
            </c:spPr>
            <c:extLst>
              <c:ext xmlns:c16="http://schemas.microsoft.com/office/drawing/2014/chart" uri="{C3380CC4-5D6E-409C-BE32-E72D297353CC}">
                <c16:uniqueId val="{00000973-7B8A-44CE-B0AF-B4D4D3438E61}"/>
              </c:ext>
            </c:extLst>
          </c:dPt>
          <c:dPt>
            <c:idx val="1209"/>
            <c:invertIfNegative val="1"/>
            <c:bubble3D val="0"/>
            <c:spPr>
              <a:solidFill>
                <a:srgbClr val="AEABAB"/>
              </a:solidFill>
            </c:spPr>
            <c:extLst>
              <c:ext xmlns:c16="http://schemas.microsoft.com/office/drawing/2014/chart" uri="{C3380CC4-5D6E-409C-BE32-E72D297353CC}">
                <c16:uniqueId val="{00000975-7B8A-44CE-B0AF-B4D4D3438E61}"/>
              </c:ext>
            </c:extLst>
          </c:dPt>
          <c:dPt>
            <c:idx val="1210"/>
            <c:invertIfNegative val="1"/>
            <c:bubble3D val="0"/>
            <c:spPr>
              <a:solidFill>
                <a:srgbClr val="AEABAB"/>
              </a:solidFill>
            </c:spPr>
            <c:extLst>
              <c:ext xmlns:c16="http://schemas.microsoft.com/office/drawing/2014/chart" uri="{C3380CC4-5D6E-409C-BE32-E72D297353CC}">
                <c16:uniqueId val="{00000977-7B8A-44CE-B0AF-B4D4D3438E61}"/>
              </c:ext>
            </c:extLst>
          </c:dPt>
          <c:dPt>
            <c:idx val="1211"/>
            <c:invertIfNegative val="1"/>
            <c:bubble3D val="0"/>
            <c:spPr>
              <a:solidFill>
                <a:srgbClr val="AEABAB"/>
              </a:solidFill>
            </c:spPr>
            <c:extLst>
              <c:ext xmlns:c16="http://schemas.microsoft.com/office/drawing/2014/chart" uri="{C3380CC4-5D6E-409C-BE32-E72D297353CC}">
                <c16:uniqueId val="{00000979-7B8A-44CE-B0AF-B4D4D3438E61}"/>
              </c:ext>
            </c:extLst>
          </c:dPt>
          <c:dPt>
            <c:idx val="1212"/>
            <c:invertIfNegative val="1"/>
            <c:bubble3D val="0"/>
            <c:spPr>
              <a:solidFill>
                <a:srgbClr val="AEABAB"/>
              </a:solidFill>
            </c:spPr>
            <c:extLst>
              <c:ext xmlns:c16="http://schemas.microsoft.com/office/drawing/2014/chart" uri="{C3380CC4-5D6E-409C-BE32-E72D297353CC}">
                <c16:uniqueId val="{0000097B-7B8A-44CE-B0AF-B4D4D3438E61}"/>
              </c:ext>
            </c:extLst>
          </c:dPt>
          <c:dPt>
            <c:idx val="1213"/>
            <c:invertIfNegative val="1"/>
            <c:bubble3D val="0"/>
            <c:spPr>
              <a:solidFill>
                <a:srgbClr val="AEABAB"/>
              </a:solidFill>
            </c:spPr>
            <c:extLst>
              <c:ext xmlns:c16="http://schemas.microsoft.com/office/drawing/2014/chart" uri="{C3380CC4-5D6E-409C-BE32-E72D297353CC}">
                <c16:uniqueId val="{0000097D-7B8A-44CE-B0AF-B4D4D3438E61}"/>
              </c:ext>
            </c:extLst>
          </c:dPt>
          <c:dPt>
            <c:idx val="1214"/>
            <c:invertIfNegative val="1"/>
            <c:bubble3D val="0"/>
            <c:spPr>
              <a:solidFill>
                <a:srgbClr val="AEABAB"/>
              </a:solidFill>
            </c:spPr>
            <c:extLst>
              <c:ext xmlns:c16="http://schemas.microsoft.com/office/drawing/2014/chart" uri="{C3380CC4-5D6E-409C-BE32-E72D297353CC}">
                <c16:uniqueId val="{0000097F-7B8A-44CE-B0AF-B4D4D3438E61}"/>
              </c:ext>
            </c:extLst>
          </c:dPt>
          <c:dPt>
            <c:idx val="1215"/>
            <c:invertIfNegative val="1"/>
            <c:bubble3D val="0"/>
            <c:spPr>
              <a:solidFill>
                <a:srgbClr val="AEABAB"/>
              </a:solidFill>
            </c:spPr>
            <c:extLst>
              <c:ext xmlns:c16="http://schemas.microsoft.com/office/drawing/2014/chart" uri="{C3380CC4-5D6E-409C-BE32-E72D297353CC}">
                <c16:uniqueId val="{00000981-7B8A-44CE-B0AF-B4D4D3438E61}"/>
              </c:ext>
            </c:extLst>
          </c:dPt>
          <c:dPt>
            <c:idx val="1216"/>
            <c:invertIfNegative val="1"/>
            <c:bubble3D val="0"/>
            <c:spPr>
              <a:solidFill>
                <a:srgbClr val="AEABAB"/>
              </a:solidFill>
            </c:spPr>
            <c:extLst>
              <c:ext xmlns:c16="http://schemas.microsoft.com/office/drawing/2014/chart" uri="{C3380CC4-5D6E-409C-BE32-E72D297353CC}">
                <c16:uniqueId val="{00000983-7B8A-44CE-B0AF-B4D4D3438E61}"/>
              </c:ext>
            </c:extLst>
          </c:dPt>
          <c:dPt>
            <c:idx val="1217"/>
            <c:invertIfNegative val="1"/>
            <c:bubble3D val="0"/>
            <c:spPr>
              <a:solidFill>
                <a:srgbClr val="AEABAB"/>
              </a:solidFill>
            </c:spPr>
            <c:extLst>
              <c:ext xmlns:c16="http://schemas.microsoft.com/office/drawing/2014/chart" uri="{C3380CC4-5D6E-409C-BE32-E72D297353CC}">
                <c16:uniqueId val="{00000985-7B8A-44CE-B0AF-B4D4D3438E61}"/>
              </c:ext>
            </c:extLst>
          </c:dPt>
          <c:dPt>
            <c:idx val="1218"/>
            <c:invertIfNegative val="1"/>
            <c:bubble3D val="0"/>
            <c:spPr>
              <a:solidFill>
                <a:srgbClr val="AEABAB"/>
              </a:solidFill>
            </c:spPr>
            <c:extLst>
              <c:ext xmlns:c16="http://schemas.microsoft.com/office/drawing/2014/chart" uri="{C3380CC4-5D6E-409C-BE32-E72D297353CC}">
                <c16:uniqueId val="{00000987-7B8A-44CE-B0AF-B4D4D3438E61}"/>
              </c:ext>
            </c:extLst>
          </c:dPt>
          <c:dPt>
            <c:idx val="1219"/>
            <c:invertIfNegative val="1"/>
            <c:bubble3D val="0"/>
            <c:spPr>
              <a:solidFill>
                <a:srgbClr val="AEABAB"/>
              </a:solidFill>
            </c:spPr>
            <c:extLst>
              <c:ext xmlns:c16="http://schemas.microsoft.com/office/drawing/2014/chart" uri="{C3380CC4-5D6E-409C-BE32-E72D297353CC}">
                <c16:uniqueId val="{00000989-7B8A-44CE-B0AF-B4D4D3438E61}"/>
              </c:ext>
            </c:extLst>
          </c:dPt>
          <c:dPt>
            <c:idx val="1220"/>
            <c:invertIfNegative val="1"/>
            <c:bubble3D val="0"/>
            <c:spPr>
              <a:solidFill>
                <a:srgbClr val="AEABAB"/>
              </a:solidFill>
            </c:spPr>
            <c:extLst>
              <c:ext xmlns:c16="http://schemas.microsoft.com/office/drawing/2014/chart" uri="{C3380CC4-5D6E-409C-BE32-E72D297353CC}">
                <c16:uniqueId val="{0000098B-7B8A-44CE-B0AF-B4D4D3438E61}"/>
              </c:ext>
            </c:extLst>
          </c:dPt>
          <c:dPt>
            <c:idx val="1221"/>
            <c:invertIfNegative val="1"/>
            <c:bubble3D val="0"/>
            <c:spPr>
              <a:solidFill>
                <a:srgbClr val="AEABAB"/>
              </a:solidFill>
            </c:spPr>
            <c:extLst>
              <c:ext xmlns:c16="http://schemas.microsoft.com/office/drawing/2014/chart" uri="{C3380CC4-5D6E-409C-BE32-E72D297353CC}">
                <c16:uniqueId val="{0000098D-7B8A-44CE-B0AF-B4D4D3438E61}"/>
              </c:ext>
            </c:extLst>
          </c:dPt>
          <c:dPt>
            <c:idx val="1222"/>
            <c:invertIfNegative val="1"/>
            <c:bubble3D val="0"/>
            <c:spPr>
              <a:solidFill>
                <a:srgbClr val="AEABAB"/>
              </a:solidFill>
            </c:spPr>
            <c:extLst>
              <c:ext xmlns:c16="http://schemas.microsoft.com/office/drawing/2014/chart" uri="{C3380CC4-5D6E-409C-BE32-E72D297353CC}">
                <c16:uniqueId val="{0000098F-7B8A-44CE-B0AF-B4D4D3438E61}"/>
              </c:ext>
            </c:extLst>
          </c:dPt>
          <c:dPt>
            <c:idx val="1223"/>
            <c:invertIfNegative val="1"/>
            <c:bubble3D val="0"/>
            <c:spPr>
              <a:solidFill>
                <a:srgbClr val="AEABAB"/>
              </a:solidFill>
            </c:spPr>
            <c:extLst>
              <c:ext xmlns:c16="http://schemas.microsoft.com/office/drawing/2014/chart" uri="{C3380CC4-5D6E-409C-BE32-E72D297353CC}">
                <c16:uniqueId val="{00000991-7B8A-44CE-B0AF-B4D4D3438E61}"/>
              </c:ext>
            </c:extLst>
          </c:dPt>
          <c:dPt>
            <c:idx val="1224"/>
            <c:invertIfNegative val="1"/>
            <c:bubble3D val="0"/>
            <c:spPr>
              <a:solidFill>
                <a:srgbClr val="AEABAB"/>
              </a:solidFill>
            </c:spPr>
            <c:extLst>
              <c:ext xmlns:c16="http://schemas.microsoft.com/office/drawing/2014/chart" uri="{C3380CC4-5D6E-409C-BE32-E72D297353CC}">
                <c16:uniqueId val="{00000993-7B8A-44CE-B0AF-B4D4D3438E61}"/>
              </c:ext>
            </c:extLst>
          </c:dPt>
          <c:dPt>
            <c:idx val="1225"/>
            <c:invertIfNegative val="1"/>
            <c:bubble3D val="0"/>
            <c:spPr>
              <a:solidFill>
                <a:srgbClr val="AEABAB"/>
              </a:solidFill>
            </c:spPr>
            <c:extLst>
              <c:ext xmlns:c16="http://schemas.microsoft.com/office/drawing/2014/chart" uri="{C3380CC4-5D6E-409C-BE32-E72D297353CC}">
                <c16:uniqueId val="{00000995-7B8A-44CE-B0AF-B4D4D3438E61}"/>
              </c:ext>
            </c:extLst>
          </c:dPt>
          <c:dPt>
            <c:idx val="1226"/>
            <c:invertIfNegative val="1"/>
            <c:bubble3D val="0"/>
            <c:spPr>
              <a:solidFill>
                <a:srgbClr val="AEABAB"/>
              </a:solidFill>
            </c:spPr>
            <c:extLst>
              <c:ext xmlns:c16="http://schemas.microsoft.com/office/drawing/2014/chart" uri="{C3380CC4-5D6E-409C-BE32-E72D297353CC}">
                <c16:uniqueId val="{00000997-7B8A-44CE-B0AF-B4D4D3438E61}"/>
              </c:ext>
            </c:extLst>
          </c:dPt>
          <c:dPt>
            <c:idx val="1227"/>
            <c:invertIfNegative val="1"/>
            <c:bubble3D val="0"/>
            <c:spPr>
              <a:solidFill>
                <a:srgbClr val="AEABAB"/>
              </a:solidFill>
            </c:spPr>
            <c:extLst>
              <c:ext xmlns:c16="http://schemas.microsoft.com/office/drawing/2014/chart" uri="{C3380CC4-5D6E-409C-BE32-E72D297353CC}">
                <c16:uniqueId val="{00000999-7B8A-44CE-B0AF-B4D4D3438E61}"/>
              </c:ext>
            </c:extLst>
          </c:dPt>
          <c:dPt>
            <c:idx val="1228"/>
            <c:invertIfNegative val="1"/>
            <c:bubble3D val="0"/>
            <c:spPr>
              <a:solidFill>
                <a:srgbClr val="AEABAB"/>
              </a:solidFill>
            </c:spPr>
            <c:extLst>
              <c:ext xmlns:c16="http://schemas.microsoft.com/office/drawing/2014/chart" uri="{C3380CC4-5D6E-409C-BE32-E72D297353CC}">
                <c16:uniqueId val="{0000099B-7B8A-44CE-B0AF-B4D4D3438E61}"/>
              </c:ext>
            </c:extLst>
          </c:dPt>
          <c:dPt>
            <c:idx val="1229"/>
            <c:invertIfNegative val="1"/>
            <c:bubble3D val="0"/>
            <c:spPr>
              <a:solidFill>
                <a:srgbClr val="AEABAB"/>
              </a:solidFill>
            </c:spPr>
            <c:extLst>
              <c:ext xmlns:c16="http://schemas.microsoft.com/office/drawing/2014/chart" uri="{C3380CC4-5D6E-409C-BE32-E72D297353CC}">
                <c16:uniqueId val="{0000099D-7B8A-44CE-B0AF-B4D4D3438E61}"/>
              </c:ext>
            </c:extLst>
          </c:dPt>
          <c:dPt>
            <c:idx val="1230"/>
            <c:invertIfNegative val="1"/>
            <c:bubble3D val="0"/>
            <c:spPr>
              <a:solidFill>
                <a:srgbClr val="AEABAB"/>
              </a:solidFill>
            </c:spPr>
            <c:extLst>
              <c:ext xmlns:c16="http://schemas.microsoft.com/office/drawing/2014/chart" uri="{C3380CC4-5D6E-409C-BE32-E72D297353CC}">
                <c16:uniqueId val="{0000099F-7B8A-44CE-B0AF-B4D4D3438E61}"/>
              </c:ext>
            </c:extLst>
          </c:dPt>
          <c:dPt>
            <c:idx val="1231"/>
            <c:invertIfNegative val="1"/>
            <c:bubble3D val="0"/>
            <c:spPr>
              <a:solidFill>
                <a:srgbClr val="AEABAB"/>
              </a:solidFill>
            </c:spPr>
            <c:extLst>
              <c:ext xmlns:c16="http://schemas.microsoft.com/office/drawing/2014/chart" uri="{C3380CC4-5D6E-409C-BE32-E72D297353CC}">
                <c16:uniqueId val="{000009A1-7B8A-44CE-B0AF-B4D4D3438E61}"/>
              </c:ext>
            </c:extLst>
          </c:dPt>
          <c:dPt>
            <c:idx val="1232"/>
            <c:invertIfNegative val="1"/>
            <c:bubble3D val="0"/>
            <c:spPr>
              <a:solidFill>
                <a:srgbClr val="AEABAB"/>
              </a:solidFill>
            </c:spPr>
            <c:extLst>
              <c:ext xmlns:c16="http://schemas.microsoft.com/office/drawing/2014/chart" uri="{C3380CC4-5D6E-409C-BE32-E72D297353CC}">
                <c16:uniqueId val="{000009A3-7B8A-44CE-B0AF-B4D4D3438E61}"/>
              </c:ext>
            </c:extLst>
          </c:dPt>
          <c:dPt>
            <c:idx val="1233"/>
            <c:invertIfNegative val="1"/>
            <c:bubble3D val="0"/>
            <c:spPr>
              <a:solidFill>
                <a:srgbClr val="AEABAB"/>
              </a:solidFill>
            </c:spPr>
            <c:extLst>
              <c:ext xmlns:c16="http://schemas.microsoft.com/office/drawing/2014/chart" uri="{C3380CC4-5D6E-409C-BE32-E72D297353CC}">
                <c16:uniqueId val="{000009A5-7B8A-44CE-B0AF-B4D4D3438E61}"/>
              </c:ext>
            </c:extLst>
          </c:dPt>
          <c:dPt>
            <c:idx val="1234"/>
            <c:invertIfNegative val="1"/>
            <c:bubble3D val="0"/>
            <c:spPr>
              <a:solidFill>
                <a:srgbClr val="AEABAB"/>
              </a:solidFill>
            </c:spPr>
            <c:extLst>
              <c:ext xmlns:c16="http://schemas.microsoft.com/office/drawing/2014/chart" uri="{C3380CC4-5D6E-409C-BE32-E72D297353CC}">
                <c16:uniqueId val="{000009A7-7B8A-44CE-B0AF-B4D4D3438E61}"/>
              </c:ext>
            </c:extLst>
          </c:dPt>
          <c:dPt>
            <c:idx val="1235"/>
            <c:invertIfNegative val="1"/>
            <c:bubble3D val="0"/>
            <c:spPr>
              <a:solidFill>
                <a:srgbClr val="AEABAB"/>
              </a:solidFill>
            </c:spPr>
            <c:extLst>
              <c:ext xmlns:c16="http://schemas.microsoft.com/office/drawing/2014/chart" uri="{C3380CC4-5D6E-409C-BE32-E72D297353CC}">
                <c16:uniqueId val="{000009A9-7B8A-44CE-B0AF-B4D4D3438E61}"/>
              </c:ext>
            </c:extLst>
          </c:dPt>
          <c:dPt>
            <c:idx val="1236"/>
            <c:invertIfNegative val="1"/>
            <c:bubble3D val="0"/>
            <c:spPr>
              <a:solidFill>
                <a:srgbClr val="AEABAB"/>
              </a:solidFill>
            </c:spPr>
            <c:extLst>
              <c:ext xmlns:c16="http://schemas.microsoft.com/office/drawing/2014/chart" uri="{C3380CC4-5D6E-409C-BE32-E72D297353CC}">
                <c16:uniqueId val="{000009AB-7B8A-44CE-B0AF-B4D4D3438E61}"/>
              </c:ext>
            </c:extLst>
          </c:dPt>
          <c:dPt>
            <c:idx val="1237"/>
            <c:invertIfNegative val="1"/>
            <c:bubble3D val="0"/>
            <c:spPr>
              <a:solidFill>
                <a:srgbClr val="AEABAB"/>
              </a:solidFill>
            </c:spPr>
            <c:extLst>
              <c:ext xmlns:c16="http://schemas.microsoft.com/office/drawing/2014/chart" uri="{C3380CC4-5D6E-409C-BE32-E72D297353CC}">
                <c16:uniqueId val="{000009AD-7B8A-44CE-B0AF-B4D4D3438E61}"/>
              </c:ext>
            </c:extLst>
          </c:dPt>
          <c:dPt>
            <c:idx val="1238"/>
            <c:invertIfNegative val="1"/>
            <c:bubble3D val="0"/>
            <c:spPr>
              <a:solidFill>
                <a:srgbClr val="AEABAB"/>
              </a:solidFill>
            </c:spPr>
            <c:extLst>
              <c:ext xmlns:c16="http://schemas.microsoft.com/office/drawing/2014/chart" uri="{C3380CC4-5D6E-409C-BE32-E72D297353CC}">
                <c16:uniqueId val="{000009AF-7B8A-44CE-B0AF-B4D4D3438E61}"/>
              </c:ext>
            </c:extLst>
          </c:dPt>
          <c:dPt>
            <c:idx val="1239"/>
            <c:invertIfNegative val="1"/>
            <c:bubble3D val="0"/>
            <c:spPr>
              <a:solidFill>
                <a:srgbClr val="AEABAB"/>
              </a:solidFill>
            </c:spPr>
            <c:extLst>
              <c:ext xmlns:c16="http://schemas.microsoft.com/office/drawing/2014/chart" uri="{C3380CC4-5D6E-409C-BE32-E72D297353CC}">
                <c16:uniqueId val="{000009B1-7B8A-44CE-B0AF-B4D4D3438E61}"/>
              </c:ext>
            </c:extLst>
          </c:dPt>
          <c:dPt>
            <c:idx val="1240"/>
            <c:invertIfNegative val="1"/>
            <c:bubble3D val="0"/>
            <c:spPr>
              <a:solidFill>
                <a:srgbClr val="AEABAB"/>
              </a:solidFill>
            </c:spPr>
            <c:extLst>
              <c:ext xmlns:c16="http://schemas.microsoft.com/office/drawing/2014/chart" uri="{C3380CC4-5D6E-409C-BE32-E72D297353CC}">
                <c16:uniqueId val="{000009B3-7B8A-44CE-B0AF-B4D4D3438E61}"/>
              </c:ext>
            </c:extLst>
          </c:dPt>
          <c:dPt>
            <c:idx val="1241"/>
            <c:invertIfNegative val="1"/>
            <c:bubble3D val="0"/>
            <c:spPr>
              <a:solidFill>
                <a:srgbClr val="AEABAB"/>
              </a:solidFill>
            </c:spPr>
            <c:extLst>
              <c:ext xmlns:c16="http://schemas.microsoft.com/office/drawing/2014/chart" uri="{C3380CC4-5D6E-409C-BE32-E72D297353CC}">
                <c16:uniqueId val="{000009B5-7B8A-44CE-B0AF-B4D4D3438E61}"/>
              </c:ext>
            </c:extLst>
          </c:dPt>
          <c:dPt>
            <c:idx val="1242"/>
            <c:invertIfNegative val="1"/>
            <c:bubble3D val="0"/>
            <c:spPr>
              <a:solidFill>
                <a:srgbClr val="AEABAB"/>
              </a:solidFill>
            </c:spPr>
            <c:extLst>
              <c:ext xmlns:c16="http://schemas.microsoft.com/office/drawing/2014/chart" uri="{C3380CC4-5D6E-409C-BE32-E72D297353CC}">
                <c16:uniqueId val="{000009B7-7B8A-44CE-B0AF-B4D4D3438E61}"/>
              </c:ext>
            </c:extLst>
          </c:dPt>
          <c:dPt>
            <c:idx val="1243"/>
            <c:invertIfNegative val="1"/>
            <c:bubble3D val="0"/>
            <c:spPr>
              <a:solidFill>
                <a:srgbClr val="AEABAB"/>
              </a:solidFill>
            </c:spPr>
            <c:extLst>
              <c:ext xmlns:c16="http://schemas.microsoft.com/office/drawing/2014/chart" uri="{C3380CC4-5D6E-409C-BE32-E72D297353CC}">
                <c16:uniqueId val="{000009B9-7B8A-44CE-B0AF-B4D4D3438E61}"/>
              </c:ext>
            </c:extLst>
          </c:dPt>
          <c:dPt>
            <c:idx val="1244"/>
            <c:invertIfNegative val="1"/>
            <c:bubble3D val="0"/>
            <c:spPr>
              <a:solidFill>
                <a:srgbClr val="AEABAB"/>
              </a:solidFill>
            </c:spPr>
            <c:extLst>
              <c:ext xmlns:c16="http://schemas.microsoft.com/office/drawing/2014/chart" uri="{C3380CC4-5D6E-409C-BE32-E72D297353CC}">
                <c16:uniqueId val="{000009BB-7B8A-44CE-B0AF-B4D4D3438E61}"/>
              </c:ext>
            </c:extLst>
          </c:dPt>
          <c:dPt>
            <c:idx val="1245"/>
            <c:invertIfNegative val="1"/>
            <c:bubble3D val="0"/>
            <c:spPr>
              <a:solidFill>
                <a:srgbClr val="AEABAB"/>
              </a:solidFill>
            </c:spPr>
            <c:extLst>
              <c:ext xmlns:c16="http://schemas.microsoft.com/office/drawing/2014/chart" uri="{C3380CC4-5D6E-409C-BE32-E72D297353CC}">
                <c16:uniqueId val="{000009BD-7B8A-44CE-B0AF-B4D4D3438E61}"/>
              </c:ext>
            </c:extLst>
          </c:dPt>
          <c:dPt>
            <c:idx val="1246"/>
            <c:invertIfNegative val="1"/>
            <c:bubble3D val="0"/>
            <c:spPr>
              <a:solidFill>
                <a:srgbClr val="AEABAB"/>
              </a:solidFill>
            </c:spPr>
            <c:extLst>
              <c:ext xmlns:c16="http://schemas.microsoft.com/office/drawing/2014/chart" uri="{C3380CC4-5D6E-409C-BE32-E72D297353CC}">
                <c16:uniqueId val="{000009BF-7B8A-44CE-B0AF-B4D4D3438E61}"/>
              </c:ext>
            </c:extLst>
          </c:dPt>
          <c:dPt>
            <c:idx val="1247"/>
            <c:invertIfNegative val="1"/>
            <c:bubble3D val="0"/>
            <c:spPr>
              <a:solidFill>
                <a:srgbClr val="AEABAB"/>
              </a:solidFill>
            </c:spPr>
            <c:extLst>
              <c:ext xmlns:c16="http://schemas.microsoft.com/office/drawing/2014/chart" uri="{C3380CC4-5D6E-409C-BE32-E72D297353CC}">
                <c16:uniqueId val="{000009C1-7B8A-44CE-B0AF-B4D4D3438E61}"/>
              </c:ext>
            </c:extLst>
          </c:dPt>
          <c:dPt>
            <c:idx val="1248"/>
            <c:invertIfNegative val="1"/>
            <c:bubble3D val="0"/>
            <c:spPr>
              <a:solidFill>
                <a:srgbClr val="AEABAB"/>
              </a:solidFill>
            </c:spPr>
            <c:extLst>
              <c:ext xmlns:c16="http://schemas.microsoft.com/office/drawing/2014/chart" uri="{C3380CC4-5D6E-409C-BE32-E72D297353CC}">
                <c16:uniqueId val="{000009C3-7B8A-44CE-B0AF-B4D4D3438E61}"/>
              </c:ext>
            </c:extLst>
          </c:dPt>
          <c:dPt>
            <c:idx val="1249"/>
            <c:invertIfNegative val="1"/>
            <c:bubble3D val="0"/>
            <c:spPr>
              <a:solidFill>
                <a:srgbClr val="AEABAB"/>
              </a:solidFill>
            </c:spPr>
            <c:extLst>
              <c:ext xmlns:c16="http://schemas.microsoft.com/office/drawing/2014/chart" uri="{C3380CC4-5D6E-409C-BE32-E72D297353CC}">
                <c16:uniqueId val="{000009C5-7B8A-44CE-B0AF-B4D4D3438E61}"/>
              </c:ext>
            </c:extLst>
          </c:dPt>
          <c:dPt>
            <c:idx val="1250"/>
            <c:invertIfNegative val="1"/>
            <c:bubble3D val="0"/>
            <c:spPr>
              <a:solidFill>
                <a:srgbClr val="AEABAB"/>
              </a:solidFill>
            </c:spPr>
            <c:extLst>
              <c:ext xmlns:c16="http://schemas.microsoft.com/office/drawing/2014/chart" uri="{C3380CC4-5D6E-409C-BE32-E72D297353CC}">
                <c16:uniqueId val="{000009C7-7B8A-44CE-B0AF-B4D4D3438E61}"/>
              </c:ext>
            </c:extLst>
          </c:dPt>
          <c:dPt>
            <c:idx val="1251"/>
            <c:invertIfNegative val="1"/>
            <c:bubble3D val="0"/>
            <c:spPr>
              <a:solidFill>
                <a:srgbClr val="AEABAB"/>
              </a:solidFill>
            </c:spPr>
            <c:extLst>
              <c:ext xmlns:c16="http://schemas.microsoft.com/office/drawing/2014/chart" uri="{C3380CC4-5D6E-409C-BE32-E72D297353CC}">
                <c16:uniqueId val="{000009C9-7B8A-44CE-B0AF-B4D4D3438E61}"/>
              </c:ext>
            </c:extLst>
          </c:dPt>
          <c:dPt>
            <c:idx val="1252"/>
            <c:invertIfNegative val="1"/>
            <c:bubble3D val="0"/>
            <c:spPr>
              <a:solidFill>
                <a:srgbClr val="AEABAB"/>
              </a:solidFill>
            </c:spPr>
            <c:extLst>
              <c:ext xmlns:c16="http://schemas.microsoft.com/office/drawing/2014/chart" uri="{C3380CC4-5D6E-409C-BE32-E72D297353CC}">
                <c16:uniqueId val="{000009CB-7B8A-44CE-B0AF-B4D4D3438E61}"/>
              </c:ext>
            </c:extLst>
          </c:dPt>
          <c:dPt>
            <c:idx val="1253"/>
            <c:invertIfNegative val="1"/>
            <c:bubble3D val="0"/>
            <c:spPr>
              <a:solidFill>
                <a:srgbClr val="AEABAB"/>
              </a:solidFill>
            </c:spPr>
            <c:extLst>
              <c:ext xmlns:c16="http://schemas.microsoft.com/office/drawing/2014/chart" uri="{C3380CC4-5D6E-409C-BE32-E72D297353CC}">
                <c16:uniqueId val="{000009CD-7B8A-44CE-B0AF-B4D4D3438E61}"/>
              </c:ext>
            </c:extLst>
          </c:dPt>
          <c:dPt>
            <c:idx val="1254"/>
            <c:invertIfNegative val="1"/>
            <c:bubble3D val="0"/>
            <c:spPr>
              <a:solidFill>
                <a:srgbClr val="AEABAB"/>
              </a:solidFill>
            </c:spPr>
            <c:extLst>
              <c:ext xmlns:c16="http://schemas.microsoft.com/office/drawing/2014/chart" uri="{C3380CC4-5D6E-409C-BE32-E72D297353CC}">
                <c16:uniqueId val="{000009CF-7B8A-44CE-B0AF-B4D4D3438E61}"/>
              </c:ext>
            </c:extLst>
          </c:dPt>
          <c:dPt>
            <c:idx val="1255"/>
            <c:invertIfNegative val="1"/>
            <c:bubble3D val="0"/>
            <c:spPr>
              <a:solidFill>
                <a:srgbClr val="AEABAB"/>
              </a:solidFill>
            </c:spPr>
            <c:extLst>
              <c:ext xmlns:c16="http://schemas.microsoft.com/office/drawing/2014/chart" uri="{C3380CC4-5D6E-409C-BE32-E72D297353CC}">
                <c16:uniqueId val="{000009D1-7B8A-44CE-B0AF-B4D4D3438E61}"/>
              </c:ext>
            </c:extLst>
          </c:dPt>
          <c:dPt>
            <c:idx val="1256"/>
            <c:invertIfNegative val="1"/>
            <c:bubble3D val="0"/>
            <c:spPr>
              <a:solidFill>
                <a:srgbClr val="AEABAB"/>
              </a:solidFill>
            </c:spPr>
            <c:extLst>
              <c:ext xmlns:c16="http://schemas.microsoft.com/office/drawing/2014/chart" uri="{C3380CC4-5D6E-409C-BE32-E72D297353CC}">
                <c16:uniqueId val="{000009D3-7B8A-44CE-B0AF-B4D4D3438E61}"/>
              </c:ext>
            </c:extLst>
          </c:dPt>
          <c:cat>
            <c:strRef>
              <c:f>Sheet1!$A$2:$A$1258</c:f>
              <c:strCache>
                <c:ptCount val="1257"/>
                <c:pt idx="0">
                  <c:v>Private Lab</c:v>
                </c:pt>
                <c:pt idx="1">
                  <c:v>Private Lab</c:v>
                </c:pt>
                <c:pt idx="2">
                  <c:v>Private Lab</c:v>
                </c:pt>
                <c:pt idx="3">
                  <c:v>Private Lab</c:v>
                </c:pt>
                <c:pt idx="4">
                  <c:v>Private Lab</c:v>
                </c:pt>
                <c:pt idx="5">
                  <c:v>Private Lab</c:v>
                </c:pt>
                <c:pt idx="6">
                  <c:v>Private Lab</c:v>
                </c:pt>
                <c:pt idx="7">
                  <c:v>Private Lab</c:v>
                </c:pt>
                <c:pt idx="8">
                  <c:v>Private Lab</c:v>
                </c:pt>
                <c:pt idx="9">
                  <c:v>Caprice Des</c:v>
                </c:pt>
                <c:pt idx="10">
                  <c:v>Private Lab</c:v>
                </c:pt>
                <c:pt idx="11">
                  <c:v>Private Lab</c:v>
                </c:pt>
                <c:pt idx="12">
                  <c:v>Private Lab</c:v>
                </c:pt>
                <c:pt idx="13">
                  <c:v>Private Lab</c:v>
                </c:pt>
                <c:pt idx="14">
                  <c:v>Private Lab</c:v>
                </c:pt>
                <c:pt idx="15">
                  <c:v>Private Lab</c:v>
                </c:pt>
                <c:pt idx="16">
                  <c:v>President</c:v>
                </c:pt>
                <c:pt idx="17">
                  <c:v>Private Lab</c:v>
                </c:pt>
                <c:pt idx="18">
                  <c:v>Soignon</c:v>
                </c:pt>
                <c:pt idx="19">
                  <c:v>Private Lab</c:v>
                </c:pt>
                <c:pt idx="20">
                  <c:v>Private Lab</c:v>
                </c:pt>
                <c:pt idx="21">
                  <c:v>President</c:v>
                </c:pt>
                <c:pt idx="22">
                  <c:v>Private Lab</c:v>
                </c:pt>
                <c:pt idx="23">
                  <c:v>Private Lab</c:v>
                </c:pt>
                <c:pt idx="24">
                  <c:v>Private Lab</c:v>
                </c:pt>
                <c:pt idx="25">
                  <c:v>Entremont</c:v>
                </c:pt>
                <c:pt idx="26">
                  <c:v>President</c:v>
                </c:pt>
                <c:pt idx="27">
                  <c:v>Coeur De Li</c:v>
                </c:pt>
                <c:pt idx="28">
                  <c:v>Private Lab</c:v>
                </c:pt>
                <c:pt idx="29">
                  <c:v>Richesmonts</c:v>
                </c:pt>
                <c:pt idx="30">
                  <c:v>Mini Babybe</c:v>
                </c:pt>
                <c:pt idx="31">
                  <c:v>Caprice Des</c:v>
                </c:pt>
                <c:pt idx="32">
                  <c:v>President</c:v>
                </c:pt>
                <c:pt idx="33">
                  <c:v>Entremont</c:v>
                </c:pt>
                <c:pt idx="34">
                  <c:v>Galbani</c:v>
                </c:pt>
                <c:pt idx="35">
                  <c:v>Private Lab</c:v>
                </c:pt>
                <c:pt idx="36">
                  <c:v>Private Lab</c:v>
                </c:pt>
                <c:pt idx="37">
                  <c:v>Chaussee Au</c:v>
                </c:pt>
                <c:pt idx="38">
                  <c:v>Leerdammer</c:v>
                </c:pt>
                <c:pt idx="39">
                  <c:v>Private Lab</c:v>
                </c:pt>
                <c:pt idx="40">
                  <c:v>Private Lab</c:v>
                </c:pt>
                <c:pt idx="41">
                  <c:v>La Vache Qu</c:v>
                </c:pt>
                <c:pt idx="42">
                  <c:v>Le Rustique</c:v>
                </c:pt>
                <c:pt idx="43">
                  <c:v>Mini Babybe</c:v>
                </c:pt>
                <c:pt idx="44">
                  <c:v>St Moret</c:v>
                </c:pt>
                <c:pt idx="45">
                  <c:v>St Moret</c:v>
                </c:pt>
                <c:pt idx="46">
                  <c:v>Private Lab</c:v>
                </c:pt>
                <c:pt idx="47">
                  <c:v>Soignon</c:v>
                </c:pt>
                <c:pt idx="48">
                  <c:v>Private Lab</c:v>
                </c:pt>
                <c:pt idx="49">
                  <c:v>Salakis</c:v>
                </c:pt>
                <c:pt idx="50">
                  <c:v>Private Lab</c:v>
                </c:pt>
                <c:pt idx="51">
                  <c:v>Private Lab</c:v>
                </c:pt>
                <c:pt idx="52">
                  <c:v>President</c:v>
                </c:pt>
                <c:pt idx="53">
                  <c:v>President</c:v>
                </c:pt>
                <c:pt idx="54">
                  <c:v>Private Lab</c:v>
                </c:pt>
                <c:pt idx="55">
                  <c:v>Private Lab</c:v>
                </c:pt>
                <c:pt idx="56">
                  <c:v>Societe</c:v>
                </c:pt>
                <c:pt idx="57">
                  <c:v>Entremont</c:v>
                </c:pt>
                <c:pt idx="58">
                  <c:v>President</c:v>
                </c:pt>
                <c:pt idx="59">
                  <c:v>Private Lab</c:v>
                </c:pt>
                <c:pt idx="60">
                  <c:v>Private Lab</c:v>
                </c:pt>
                <c:pt idx="61">
                  <c:v>Private Lab</c:v>
                </c:pt>
                <c:pt idx="62">
                  <c:v>Private Lab</c:v>
                </c:pt>
                <c:pt idx="63">
                  <c:v>Saint Agur</c:v>
                </c:pt>
                <c:pt idx="64">
                  <c:v>Private Lab</c:v>
                </c:pt>
                <c:pt idx="65">
                  <c:v>Private Lab</c:v>
                </c:pt>
                <c:pt idx="66">
                  <c:v>La Vache Qu</c:v>
                </c:pt>
                <c:pt idx="67">
                  <c:v>President</c:v>
                </c:pt>
                <c:pt idx="68">
                  <c:v>Private Lab</c:v>
                </c:pt>
                <c:pt idx="69">
                  <c:v>Tartare</c:v>
                </c:pt>
                <c:pt idx="70">
                  <c:v>Private Lab</c:v>
                </c:pt>
                <c:pt idx="71">
                  <c:v>Private Lab</c:v>
                </c:pt>
                <c:pt idx="72">
                  <c:v>Private Lab</c:v>
                </c:pt>
                <c:pt idx="73">
                  <c:v>Private Lab</c:v>
                </c:pt>
                <c:pt idx="74">
                  <c:v>Juraflore</c:v>
                </c:pt>
                <c:pt idx="75">
                  <c:v>St Moret</c:v>
                </c:pt>
                <c:pt idx="76">
                  <c:v>St Moret</c:v>
                </c:pt>
                <c:pt idx="77">
                  <c:v>Private Lab</c:v>
                </c:pt>
                <c:pt idx="78">
                  <c:v>Private Lab</c:v>
                </c:pt>
                <c:pt idx="79">
                  <c:v>Private Lab</c:v>
                </c:pt>
                <c:pt idx="80">
                  <c:v>Kiri</c:v>
                </c:pt>
                <c:pt idx="81">
                  <c:v>Private Lab</c:v>
                </c:pt>
                <c:pt idx="82">
                  <c:v>Private Lab</c:v>
                </c:pt>
                <c:pt idx="83">
                  <c:v>Entremont</c:v>
                </c:pt>
                <c:pt idx="84">
                  <c:v>President</c:v>
                </c:pt>
                <c:pt idx="85">
                  <c:v>Private Lab</c:v>
                </c:pt>
                <c:pt idx="86">
                  <c:v>Parmareggio</c:v>
                </c:pt>
                <c:pt idx="87">
                  <c:v>Private Lab</c:v>
                </c:pt>
                <c:pt idx="88">
                  <c:v>Private Lab</c:v>
                </c:pt>
                <c:pt idx="89">
                  <c:v>Entremont</c:v>
                </c:pt>
                <c:pt idx="90">
                  <c:v>Paysan Bret</c:v>
                </c:pt>
                <c:pt idx="91">
                  <c:v>Private Lab</c:v>
                </c:pt>
                <c:pt idx="92">
                  <c:v>Private Lab</c:v>
                </c:pt>
                <c:pt idx="93">
                  <c:v>La Vache Qu</c:v>
                </c:pt>
                <c:pt idx="94">
                  <c:v>Galbani</c:v>
                </c:pt>
                <c:pt idx="95">
                  <c:v>Private Lab</c:v>
                </c:pt>
                <c:pt idx="96">
                  <c:v>Private Lab</c:v>
                </c:pt>
                <c:pt idx="97">
                  <c:v>Private Lab</c:v>
                </c:pt>
                <c:pt idx="98">
                  <c:v>Private Lab</c:v>
                </c:pt>
                <c:pt idx="99">
                  <c:v>Entremont</c:v>
                </c:pt>
                <c:pt idx="100">
                  <c:v>Saint Agur</c:v>
                </c:pt>
                <c:pt idx="101">
                  <c:v>Casa Azzurr</c:v>
                </c:pt>
                <c:pt idx="102">
                  <c:v>Coeur De Li</c:v>
                </c:pt>
                <c:pt idx="103">
                  <c:v>Private Lab</c:v>
                </c:pt>
                <c:pt idx="104">
                  <c:v>Leerdammer</c:v>
                </c:pt>
                <c:pt idx="105">
                  <c:v>Saint Albra</c:v>
                </c:pt>
                <c:pt idx="106">
                  <c:v>Private Lab</c:v>
                </c:pt>
                <c:pt idx="107">
                  <c:v>Private Lab</c:v>
                </c:pt>
                <c:pt idx="108">
                  <c:v>Private Lab</c:v>
                </c:pt>
                <c:pt idx="109">
                  <c:v>Private Lab</c:v>
                </c:pt>
                <c:pt idx="110">
                  <c:v>Entremont</c:v>
                </c:pt>
                <c:pt idx="111">
                  <c:v>Leerdammer</c:v>
                </c:pt>
                <c:pt idx="112">
                  <c:v>Private Lab</c:v>
                </c:pt>
                <c:pt idx="113">
                  <c:v>L'Ortolan</c:v>
                </c:pt>
                <c:pt idx="114">
                  <c:v>Istara</c:v>
                </c:pt>
                <c:pt idx="115">
                  <c:v>Kiri</c:v>
                </c:pt>
                <c:pt idx="116">
                  <c:v>Galbani</c:v>
                </c:pt>
                <c:pt idx="117">
                  <c:v>Private Lab</c:v>
                </c:pt>
                <c:pt idx="118">
                  <c:v>Private Lab</c:v>
                </c:pt>
                <c:pt idx="119">
                  <c:v>Private Lab</c:v>
                </c:pt>
                <c:pt idx="120">
                  <c:v>Private Lab</c:v>
                </c:pt>
                <c:pt idx="121">
                  <c:v>Carre Frais</c:v>
                </c:pt>
                <c:pt idx="122">
                  <c:v>All Others</c:v>
                </c:pt>
                <c:pt idx="123">
                  <c:v>Philadelphi</c:v>
                </c:pt>
                <c:pt idx="124">
                  <c:v>Private Lab</c:v>
                </c:pt>
                <c:pt idx="125">
                  <c:v>Boursin</c:v>
                </c:pt>
                <c:pt idx="126">
                  <c:v>Carre Frais</c:v>
                </c:pt>
                <c:pt idx="127">
                  <c:v>Private Lab</c:v>
                </c:pt>
                <c:pt idx="128">
                  <c:v>Chaussee Au</c:v>
                </c:pt>
                <c:pt idx="129">
                  <c:v>Private Lab</c:v>
                </c:pt>
                <c:pt idx="130">
                  <c:v>Boursin</c:v>
                </c:pt>
                <c:pt idx="131">
                  <c:v>Apericube</c:v>
                </c:pt>
                <c:pt idx="132">
                  <c:v>Galbani</c:v>
                </c:pt>
                <c:pt idx="133">
                  <c:v>Private Lab</c:v>
                </c:pt>
                <c:pt idx="134">
                  <c:v>Private Lab</c:v>
                </c:pt>
                <c:pt idx="135">
                  <c:v>Leerdammer</c:v>
                </c:pt>
                <c:pt idx="136">
                  <c:v>Paysan Bret</c:v>
                </c:pt>
                <c:pt idx="137">
                  <c:v>Lou Perac</c:v>
                </c:pt>
                <c:pt idx="138">
                  <c:v>Entremont</c:v>
                </c:pt>
                <c:pt idx="139">
                  <c:v>Bresse Bleu</c:v>
                </c:pt>
                <c:pt idx="140">
                  <c:v>Galbani</c:v>
                </c:pt>
                <c:pt idx="141">
                  <c:v>Kiri</c:v>
                </c:pt>
                <c:pt idx="142">
                  <c:v>Private Lab</c:v>
                </c:pt>
                <c:pt idx="143">
                  <c:v>Private Lab</c:v>
                </c:pt>
                <c:pt idx="144">
                  <c:v>Private Lab</c:v>
                </c:pt>
                <c:pt idx="145">
                  <c:v>President</c:v>
                </c:pt>
                <c:pt idx="146">
                  <c:v>Ficello</c:v>
                </c:pt>
                <c:pt idx="147">
                  <c:v>Private Lab</c:v>
                </c:pt>
                <c:pt idx="148">
                  <c:v>Soignon</c:v>
                </c:pt>
                <c:pt idx="149">
                  <c:v>Islos</c:v>
                </c:pt>
                <c:pt idx="150">
                  <c:v>Apericube</c:v>
                </c:pt>
                <c:pt idx="151">
                  <c:v>Tartare</c:v>
                </c:pt>
                <c:pt idx="152">
                  <c:v>Lepetit</c:v>
                </c:pt>
                <c:pt idx="153">
                  <c:v>Private Lab</c:v>
                </c:pt>
                <c:pt idx="154">
                  <c:v>Private Lab</c:v>
                </c:pt>
                <c:pt idx="155">
                  <c:v>Philadelphi</c:v>
                </c:pt>
                <c:pt idx="156">
                  <c:v>Private Lab</c:v>
                </c:pt>
                <c:pt idx="157">
                  <c:v>Petit Billy</c:v>
                </c:pt>
                <c:pt idx="158">
                  <c:v>Galbani</c:v>
                </c:pt>
                <c:pt idx="159">
                  <c:v>Private Lab</c:v>
                </c:pt>
                <c:pt idx="160">
                  <c:v>Private Lab</c:v>
                </c:pt>
                <c:pt idx="161">
                  <c:v>Galbani</c:v>
                </c:pt>
                <c:pt idx="162">
                  <c:v>President</c:v>
                </c:pt>
                <c:pt idx="163">
                  <c:v>Private Lab</c:v>
                </c:pt>
                <c:pt idx="164">
                  <c:v>Private Lab</c:v>
                </c:pt>
                <c:pt idx="165">
                  <c:v>Private Lab</c:v>
                </c:pt>
                <c:pt idx="166">
                  <c:v>Private Lab</c:v>
                </c:pt>
                <c:pt idx="167">
                  <c:v>Kiri</c:v>
                </c:pt>
                <c:pt idx="168">
                  <c:v>Private Lab</c:v>
                </c:pt>
                <c:pt idx="169">
                  <c:v>Private Lab</c:v>
                </c:pt>
                <c:pt idx="170">
                  <c:v>President</c:v>
                </c:pt>
                <c:pt idx="171">
                  <c:v>All Others</c:v>
                </c:pt>
                <c:pt idx="172">
                  <c:v>Salakis</c:v>
                </c:pt>
                <c:pt idx="173">
                  <c:v>Private Lab</c:v>
                </c:pt>
                <c:pt idx="174">
                  <c:v>Babybel</c:v>
                </c:pt>
                <c:pt idx="175">
                  <c:v>Richesmonts</c:v>
                </c:pt>
                <c:pt idx="176">
                  <c:v>Private Lab</c:v>
                </c:pt>
                <c:pt idx="177">
                  <c:v>Private Lab</c:v>
                </c:pt>
                <c:pt idx="178">
                  <c:v>Private Lab</c:v>
                </c:pt>
                <c:pt idx="179">
                  <c:v>St Moret</c:v>
                </c:pt>
                <c:pt idx="180">
                  <c:v>Private Lab</c:v>
                </c:pt>
                <c:pt idx="181">
                  <c:v>Boursin</c:v>
                </c:pt>
                <c:pt idx="182">
                  <c:v>St Moret</c:v>
                </c:pt>
                <c:pt idx="183">
                  <c:v>Leerdammer</c:v>
                </c:pt>
                <c:pt idx="184">
                  <c:v>Private Lab</c:v>
                </c:pt>
                <c:pt idx="185">
                  <c:v>Boursin</c:v>
                </c:pt>
                <c:pt idx="186">
                  <c:v>Entremont</c:v>
                </c:pt>
                <c:pt idx="187">
                  <c:v>President</c:v>
                </c:pt>
                <c:pt idx="188">
                  <c:v>Private Lab</c:v>
                </c:pt>
                <c:pt idx="189">
                  <c:v>Private Lab</c:v>
                </c:pt>
                <c:pt idx="190">
                  <c:v>President</c:v>
                </c:pt>
                <c:pt idx="191">
                  <c:v>Kiri</c:v>
                </c:pt>
                <c:pt idx="192">
                  <c:v>Le Rustique</c:v>
                </c:pt>
                <c:pt idx="193">
                  <c:v>Port Salut</c:v>
                </c:pt>
                <c:pt idx="194">
                  <c:v>Les Mousque</c:v>
                </c:pt>
                <c:pt idx="195">
                  <c:v>Private Lab</c:v>
                </c:pt>
                <c:pt idx="196">
                  <c:v>Caprice Des</c:v>
                </c:pt>
                <c:pt idx="197">
                  <c:v>Entremont</c:v>
                </c:pt>
                <c:pt idx="198">
                  <c:v>Coeur De Li</c:v>
                </c:pt>
                <c:pt idx="199">
                  <c:v>Private Lab</c:v>
                </c:pt>
                <c:pt idx="200">
                  <c:v>Private Lab</c:v>
                </c:pt>
                <c:pt idx="201">
                  <c:v>Private Lab</c:v>
                </c:pt>
                <c:pt idx="202">
                  <c:v>Soignon</c:v>
                </c:pt>
                <c:pt idx="203">
                  <c:v>Private Lab</c:v>
                </c:pt>
                <c:pt idx="204">
                  <c:v>Aperivrais</c:v>
                </c:pt>
                <c:pt idx="205">
                  <c:v>Private Lab</c:v>
                </c:pt>
                <c:pt idx="206">
                  <c:v>Coeur De Li</c:v>
                </c:pt>
                <c:pt idx="207">
                  <c:v>Leerdammer</c:v>
                </c:pt>
                <c:pt idx="208">
                  <c:v>President</c:v>
                </c:pt>
                <c:pt idx="209">
                  <c:v>Soignon</c:v>
                </c:pt>
                <c:pt idx="210">
                  <c:v>Etorki</c:v>
                </c:pt>
                <c:pt idx="211">
                  <c:v>L'Ortolan</c:v>
                </c:pt>
                <c:pt idx="212">
                  <c:v>Parmareggio</c:v>
                </c:pt>
                <c:pt idx="213">
                  <c:v>Ficello</c:v>
                </c:pt>
                <c:pt idx="214">
                  <c:v>Societe</c:v>
                </c:pt>
                <c:pt idx="215">
                  <c:v>President</c:v>
                </c:pt>
                <c:pt idx="216">
                  <c:v>Pochat</c:v>
                </c:pt>
                <c:pt idx="217">
                  <c:v>Pave D'Affi</c:v>
                </c:pt>
                <c:pt idx="218">
                  <c:v>Private Lab</c:v>
                </c:pt>
                <c:pt idx="219">
                  <c:v>St Moret</c:v>
                </c:pt>
                <c:pt idx="220">
                  <c:v>Richesmonts</c:v>
                </c:pt>
                <c:pt idx="221">
                  <c:v>Apericube</c:v>
                </c:pt>
                <c:pt idx="222">
                  <c:v>Private Lab</c:v>
                </c:pt>
                <c:pt idx="223">
                  <c:v>Private Lab</c:v>
                </c:pt>
                <c:pt idx="224">
                  <c:v>Ficello</c:v>
                </c:pt>
                <c:pt idx="225">
                  <c:v>Private Lab</c:v>
                </c:pt>
                <c:pt idx="226">
                  <c:v>Entremont</c:v>
                </c:pt>
                <c:pt idx="227">
                  <c:v>All Others</c:v>
                </c:pt>
                <c:pt idx="228">
                  <c:v>Fol Epi</c:v>
                </c:pt>
                <c:pt idx="229">
                  <c:v>All Others</c:v>
                </c:pt>
                <c:pt idx="230">
                  <c:v>Private Lab</c:v>
                </c:pt>
                <c:pt idx="231">
                  <c:v>President</c:v>
                </c:pt>
                <c:pt idx="232">
                  <c:v>Entremont</c:v>
                </c:pt>
                <c:pt idx="233">
                  <c:v>Boursin</c:v>
                </c:pt>
                <c:pt idx="234">
                  <c:v>Casa Azzurr</c:v>
                </c:pt>
                <c:pt idx="235">
                  <c:v>Entremont</c:v>
                </c:pt>
                <c:pt idx="236">
                  <c:v>President</c:v>
                </c:pt>
                <c:pt idx="237">
                  <c:v>Private Lab</c:v>
                </c:pt>
                <c:pt idx="238">
                  <c:v>Private Lab</c:v>
                </c:pt>
                <c:pt idx="239">
                  <c:v>Vieux Pane</c:v>
                </c:pt>
                <c:pt idx="240">
                  <c:v>Apericube</c:v>
                </c:pt>
                <c:pt idx="241">
                  <c:v>President</c:v>
                </c:pt>
                <c:pt idx="242">
                  <c:v>Soignon</c:v>
                </c:pt>
                <c:pt idx="243">
                  <c:v>Private Lab</c:v>
                </c:pt>
                <c:pt idx="244">
                  <c:v>Private Lab</c:v>
                </c:pt>
                <c:pt idx="245">
                  <c:v>La Vache Qu</c:v>
                </c:pt>
                <c:pt idx="246">
                  <c:v>President</c:v>
                </c:pt>
                <c:pt idx="247">
                  <c:v>Private Lab</c:v>
                </c:pt>
                <c:pt idx="248">
                  <c:v>Private Lab</c:v>
                </c:pt>
                <c:pt idx="249">
                  <c:v>Private Lab</c:v>
                </c:pt>
                <c:pt idx="250">
                  <c:v>President</c:v>
                </c:pt>
                <c:pt idx="251">
                  <c:v>All Others</c:v>
                </c:pt>
                <c:pt idx="252">
                  <c:v>Private Lab</c:v>
                </c:pt>
                <c:pt idx="253">
                  <c:v>Leerdammer</c:v>
                </c:pt>
                <c:pt idx="254">
                  <c:v>Chavroux</c:v>
                </c:pt>
                <c:pt idx="255">
                  <c:v>Casa Azzurr</c:v>
                </c:pt>
                <c:pt idx="256">
                  <c:v>Pochat</c:v>
                </c:pt>
                <c:pt idx="257">
                  <c:v>Entremont</c:v>
                </c:pt>
                <c:pt idx="258">
                  <c:v>Private Lab</c:v>
                </c:pt>
                <c:pt idx="259">
                  <c:v>Private Lab</c:v>
                </c:pt>
                <c:pt idx="260">
                  <c:v>Private Lab</c:v>
                </c:pt>
                <c:pt idx="261">
                  <c:v>Cousteron</c:v>
                </c:pt>
                <c:pt idx="262">
                  <c:v>Boursin</c:v>
                </c:pt>
                <c:pt idx="263">
                  <c:v>Private Lab</c:v>
                </c:pt>
                <c:pt idx="264">
                  <c:v>Private Lab</c:v>
                </c:pt>
                <c:pt idx="265">
                  <c:v>President</c:v>
                </c:pt>
                <c:pt idx="266">
                  <c:v>Private Lab</c:v>
                </c:pt>
                <c:pt idx="267">
                  <c:v>Private Lab</c:v>
                </c:pt>
                <c:pt idx="268">
                  <c:v>Soignon</c:v>
                </c:pt>
                <c:pt idx="269">
                  <c:v>Apericube</c:v>
                </c:pt>
                <c:pt idx="270">
                  <c:v>Private Lab</c:v>
                </c:pt>
                <c:pt idx="271">
                  <c:v>Private Lab</c:v>
                </c:pt>
                <c:pt idx="272">
                  <c:v>Private Lab</c:v>
                </c:pt>
                <c:pt idx="273">
                  <c:v>P'Tit Louis</c:v>
                </c:pt>
                <c:pt idx="274">
                  <c:v>Le Brebiou</c:v>
                </c:pt>
                <c:pt idx="275">
                  <c:v>Leerdammer</c:v>
                </c:pt>
                <c:pt idx="276">
                  <c:v>Private Lab</c:v>
                </c:pt>
                <c:pt idx="277">
                  <c:v>Soignon</c:v>
                </c:pt>
                <c:pt idx="278">
                  <c:v>Private Lab</c:v>
                </c:pt>
                <c:pt idx="279">
                  <c:v>All Others</c:v>
                </c:pt>
                <c:pt idx="280">
                  <c:v>President</c:v>
                </c:pt>
                <c:pt idx="281">
                  <c:v>Private Lab</c:v>
                </c:pt>
                <c:pt idx="282">
                  <c:v>Boursin</c:v>
                </c:pt>
                <c:pt idx="283">
                  <c:v>Istara</c:v>
                </c:pt>
                <c:pt idx="284">
                  <c:v>Soignon</c:v>
                </c:pt>
                <c:pt idx="285">
                  <c:v>Tartare</c:v>
                </c:pt>
                <c:pt idx="286">
                  <c:v>Lactalis: A</c:v>
                </c:pt>
                <c:pt idx="287">
                  <c:v>Caprice Des</c:v>
                </c:pt>
                <c:pt idx="288">
                  <c:v>Leerdammer</c:v>
                </c:pt>
                <c:pt idx="289">
                  <c:v>Private Lab</c:v>
                </c:pt>
                <c:pt idx="290">
                  <c:v>Private Lab</c:v>
                </c:pt>
                <c:pt idx="291">
                  <c:v>Private Lab</c:v>
                </c:pt>
                <c:pt idx="292">
                  <c:v>Paysan Bret</c:v>
                </c:pt>
                <c:pt idx="293">
                  <c:v>Galbani</c:v>
                </c:pt>
                <c:pt idx="294">
                  <c:v>Private Lab</c:v>
                </c:pt>
                <c:pt idx="295">
                  <c:v>Apericube</c:v>
                </c:pt>
                <c:pt idx="296">
                  <c:v>Lou Perac</c:v>
                </c:pt>
                <c:pt idx="297">
                  <c:v>Saint Albra</c:v>
                </c:pt>
                <c:pt idx="298">
                  <c:v>Galbani</c:v>
                </c:pt>
                <c:pt idx="299">
                  <c:v>Private Lab</c:v>
                </c:pt>
                <c:pt idx="300">
                  <c:v>All Others</c:v>
                </c:pt>
                <c:pt idx="301">
                  <c:v>Private Lab</c:v>
                </c:pt>
                <c:pt idx="302">
                  <c:v>Private Lab</c:v>
                </c:pt>
                <c:pt idx="303">
                  <c:v>Richesmonts</c:v>
                </c:pt>
                <c:pt idx="304">
                  <c:v>All Others</c:v>
                </c:pt>
                <c:pt idx="305">
                  <c:v>Boursin</c:v>
                </c:pt>
                <c:pt idx="306">
                  <c:v>Private Lab</c:v>
                </c:pt>
                <c:pt idx="307">
                  <c:v>Private Lab</c:v>
                </c:pt>
                <c:pt idx="308">
                  <c:v>Entremont</c:v>
                </c:pt>
                <c:pt idx="309">
                  <c:v>Paysan Bret</c:v>
                </c:pt>
                <c:pt idx="310">
                  <c:v>Private Lab</c:v>
                </c:pt>
                <c:pt idx="311">
                  <c:v>All Others</c:v>
                </c:pt>
                <c:pt idx="312">
                  <c:v>Private Lab</c:v>
                </c:pt>
                <c:pt idx="313">
                  <c:v>President</c:v>
                </c:pt>
                <c:pt idx="314">
                  <c:v>Casa Azzurr</c:v>
                </c:pt>
                <c:pt idx="315">
                  <c:v>Private Lab</c:v>
                </c:pt>
                <c:pt idx="316">
                  <c:v>Private Lab</c:v>
                </c:pt>
                <c:pt idx="317">
                  <c:v>Private Lab</c:v>
                </c:pt>
                <c:pt idx="318">
                  <c:v>Boursin</c:v>
                </c:pt>
                <c:pt idx="319">
                  <c:v>Richesmonts</c:v>
                </c:pt>
                <c:pt idx="320">
                  <c:v>Private Lab</c:v>
                </c:pt>
                <c:pt idx="321">
                  <c:v>All Others</c:v>
                </c:pt>
                <c:pt idx="322">
                  <c:v>Soignon</c:v>
                </c:pt>
                <c:pt idx="323">
                  <c:v>Private Lab</c:v>
                </c:pt>
                <c:pt idx="324">
                  <c:v>Galbani</c:v>
                </c:pt>
                <c:pt idx="325">
                  <c:v>Private Lab</c:v>
                </c:pt>
                <c:pt idx="326">
                  <c:v>Private Lab</c:v>
                </c:pt>
                <c:pt idx="327">
                  <c:v>Boursin</c:v>
                </c:pt>
                <c:pt idx="328">
                  <c:v>Apericube</c:v>
                </c:pt>
                <c:pt idx="329">
                  <c:v>President</c:v>
                </c:pt>
                <c:pt idx="330">
                  <c:v>Private Lab</c:v>
                </c:pt>
                <c:pt idx="331">
                  <c:v>Private Lab</c:v>
                </c:pt>
                <c:pt idx="332">
                  <c:v>Bresse Bleu</c:v>
                </c:pt>
                <c:pt idx="333">
                  <c:v>Private Lab</c:v>
                </c:pt>
                <c:pt idx="334">
                  <c:v>Private Lab</c:v>
                </c:pt>
                <c:pt idx="335">
                  <c:v>Private Lab</c:v>
                </c:pt>
                <c:pt idx="336">
                  <c:v>All Others</c:v>
                </c:pt>
                <c:pt idx="337">
                  <c:v>All Others</c:v>
                </c:pt>
                <c:pt idx="338">
                  <c:v>Apericube</c:v>
                </c:pt>
                <c:pt idx="339">
                  <c:v>Private Lab</c:v>
                </c:pt>
                <c:pt idx="340">
                  <c:v>Apericube</c:v>
                </c:pt>
                <c:pt idx="341">
                  <c:v>Private Lab</c:v>
                </c:pt>
                <c:pt idx="342">
                  <c:v>Salakis</c:v>
                </c:pt>
                <c:pt idx="343">
                  <c:v>Private Lab</c:v>
                </c:pt>
                <c:pt idx="344">
                  <c:v>Galbani</c:v>
                </c:pt>
                <c:pt idx="345">
                  <c:v>St Moret</c:v>
                </c:pt>
                <c:pt idx="346">
                  <c:v>Galbani</c:v>
                </c:pt>
                <c:pt idx="347">
                  <c:v>All Others</c:v>
                </c:pt>
                <c:pt idx="348">
                  <c:v>Private Lab</c:v>
                </c:pt>
                <c:pt idx="349">
                  <c:v>Le Rustique</c:v>
                </c:pt>
                <c:pt idx="350">
                  <c:v>Private Lab</c:v>
                </c:pt>
                <c:pt idx="351">
                  <c:v>Mini Babybe</c:v>
                </c:pt>
                <c:pt idx="352">
                  <c:v>Private Lab</c:v>
                </c:pt>
                <c:pt idx="353">
                  <c:v>Richesmonts</c:v>
                </c:pt>
                <c:pt idx="354">
                  <c:v>Private Lab</c:v>
                </c:pt>
                <c:pt idx="355">
                  <c:v>Private Lab</c:v>
                </c:pt>
                <c:pt idx="356">
                  <c:v>Boursin</c:v>
                </c:pt>
                <c:pt idx="357">
                  <c:v>Societe</c:v>
                </c:pt>
                <c:pt idx="358">
                  <c:v>Aperivrais</c:v>
                </c:pt>
                <c:pt idx="359">
                  <c:v>Private Lab</c:v>
                </c:pt>
                <c:pt idx="360">
                  <c:v>Paysan Bret</c:v>
                </c:pt>
                <c:pt idx="361">
                  <c:v>Private Lab</c:v>
                </c:pt>
                <c:pt idx="362">
                  <c:v>Savencia: A</c:v>
                </c:pt>
                <c:pt idx="363">
                  <c:v>Private Lab</c:v>
                </c:pt>
                <c:pt idx="364">
                  <c:v>La Vache Qu</c:v>
                </c:pt>
                <c:pt idx="365">
                  <c:v>Societe</c:v>
                </c:pt>
                <c:pt idx="366">
                  <c:v>Casa Azzurr</c:v>
                </c:pt>
                <c:pt idx="367">
                  <c:v>Saint Agur</c:v>
                </c:pt>
                <c:pt idx="368">
                  <c:v>Milleret: A</c:v>
                </c:pt>
                <c:pt idx="369">
                  <c:v>Savencia: A</c:v>
                </c:pt>
                <c:pt idx="370">
                  <c:v>Private Lab</c:v>
                </c:pt>
                <c:pt idx="371">
                  <c:v>Soignon</c:v>
                </c:pt>
                <c:pt idx="372">
                  <c:v>Private Lab</c:v>
                </c:pt>
                <c:pt idx="373">
                  <c:v>Entremont</c:v>
                </c:pt>
                <c:pt idx="374">
                  <c:v>Aperivrais</c:v>
                </c:pt>
                <c:pt idx="375">
                  <c:v>Lou Perac</c:v>
                </c:pt>
                <c:pt idx="376">
                  <c:v>Boursin</c:v>
                </c:pt>
                <c:pt idx="377">
                  <c:v>Galbani</c:v>
                </c:pt>
                <c:pt idx="378">
                  <c:v>Chavroux</c:v>
                </c:pt>
                <c:pt idx="379">
                  <c:v>Coeur De Li</c:v>
                </c:pt>
                <c:pt idx="380">
                  <c:v>Private Lab</c:v>
                </c:pt>
                <c:pt idx="381">
                  <c:v>Private Lab</c:v>
                </c:pt>
                <c:pt idx="382">
                  <c:v>Carre Frais</c:v>
                </c:pt>
                <c:pt idx="383">
                  <c:v>Private Lab</c:v>
                </c:pt>
                <c:pt idx="384">
                  <c:v>Entremont</c:v>
                </c:pt>
                <c:pt idx="385">
                  <c:v>President</c:v>
                </c:pt>
                <c:pt idx="386">
                  <c:v>Juraflore</c:v>
                </c:pt>
                <c:pt idx="387">
                  <c:v>Private Lab</c:v>
                </c:pt>
                <c:pt idx="388">
                  <c:v>Lactalis: A</c:v>
                </c:pt>
                <c:pt idx="389">
                  <c:v>Casa Azzurr</c:v>
                </c:pt>
                <c:pt idx="390">
                  <c:v>Pave D'Affi</c:v>
                </c:pt>
                <c:pt idx="391">
                  <c:v>Private Lab</c:v>
                </c:pt>
                <c:pt idx="392">
                  <c:v>President</c:v>
                </c:pt>
                <c:pt idx="393">
                  <c:v>Private Lab</c:v>
                </c:pt>
                <c:pt idx="394">
                  <c:v>Private Lab</c:v>
                </c:pt>
                <c:pt idx="395">
                  <c:v>Galbani</c:v>
                </c:pt>
                <c:pt idx="396">
                  <c:v>All Others</c:v>
                </c:pt>
                <c:pt idx="397">
                  <c:v>Private Lab</c:v>
                </c:pt>
                <c:pt idx="398">
                  <c:v>Private Lab</c:v>
                </c:pt>
                <c:pt idx="399">
                  <c:v>Saint Agur</c:v>
                </c:pt>
                <c:pt idx="400">
                  <c:v>All Others</c:v>
                </c:pt>
                <c:pt idx="401">
                  <c:v>Salakis</c:v>
                </c:pt>
                <c:pt idx="402">
                  <c:v>Casa Azzurr</c:v>
                </c:pt>
                <c:pt idx="403">
                  <c:v>Tartare</c:v>
                </c:pt>
                <c:pt idx="404">
                  <c:v>President</c:v>
                </c:pt>
                <c:pt idx="405">
                  <c:v>La Vache Qu</c:v>
                </c:pt>
                <c:pt idx="406">
                  <c:v>Tartare</c:v>
                </c:pt>
                <c:pt idx="407">
                  <c:v>Private Lab</c:v>
                </c:pt>
                <c:pt idx="408">
                  <c:v>Les Mousque</c:v>
                </c:pt>
                <c:pt idx="409">
                  <c:v>L'Ortolan</c:v>
                </c:pt>
                <c:pt idx="410">
                  <c:v>Savencia: A</c:v>
                </c:pt>
                <c:pt idx="411">
                  <c:v>Paysan Bret</c:v>
                </c:pt>
                <c:pt idx="412">
                  <c:v>Private Lab</c:v>
                </c:pt>
                <c:pt idx="413">
                  <c:v>All Others</c:v>
                </c:pt>
                <c:pt idx="414">
                  <c:v>Richesmonts</c:v>
                </c:pt>
                <c:pt idx="415">
                  <c:v>Private Lab</c:v>
                </c:pt>
                <c:pt idx="416">
                  <c:v>Private Lab</c:v>
                </c:pt>
                <c:pt idx="417">
                  <c:v>Coeur De Li</c:v>
                </c:pt>
                <c:pt idx="418">
                  <c:v>All Others</c:v>
                </c:pt>
                <c:pt idx="419">
                  <c:v>All Others</c:v>
                </c:pt>
                <c:pt idx="420">
                  <c:v>Mini Babybe</c:v>
                </c:pt>
                <c:pt idx="421">
                  <c:v>Private Lab</c:v>
                </c:pt>
                <c:pt idx="422">
                  <c:v>Salakis</c:v>
                </c:pt>
                <c:pt idx="423">
                  <c:v>Eurial Autr</c:v>
                </c:pt>
                <c:pt idx="424">
                  <c:v>Savencia: A</c:v>
                </c:pt>
                <c:pt idx="425">
                  <c:v>Richesmonts</c:v>
                </c:pt>
                <c:pt idx="426">
                  <c:v>Paysan Bret</c:v>
                </c:pt>
                <c:pt idx="427">
                  <c:v>All Others</c:v>
                </c:pt>
                <c:pt idx="428">
                  <c:v>Lactalis: A</c:v>
                </c:pt>
                <c:pt idx="429">
                  <c:v>Richesmonts</c:v>
                </c:pt>
                <c:pt idx="430">
                  <c:v>Casa Azzurr</c:v>
                </c:pt>
                <c:pt idx="431">
                  <c:v>Paysan Bret</c:v>
                </c:pt>
                <c:pt idx="432">
                  <c:v>Apericube</c:v>
                </c:pt>
                <c:pt idx="433">
                  <c:v>Richesmonts</c:v>
                </c:pt>
                <c:pt idx="434">
                  <c:v>Private Lab</c:v>
                </c:pt>
                <c:pt idx="435">
                  <c:v>Kiri</c:v>
                </c:pt>
                <c:pt idx="436">
                  <c:v>All Others</c:v>
                </c:pt>
                <c:pt idx="437">
                  <c:v>La Belle Et</c:v>
                </c:pt>
                <c:pt idx="438">
                  <c:v>President</c:v>
                </c:pt>
                <c:pt idx="439">
                  <c:v>Triballat N</c:v>
                </c:pt>
                <c:pt idx="440">
                  <c:v>Soignon</c:v>
                </c:pt>
                <c:pt idx="441">
                  <c:v>Casa Azzurr</c:v>
                </c:pt>
                <c:pt idx="442">
                  <c:v>Societe</c:v>
                </c:pt>
                <c:pt idx="443">
                  <c:v>Private Lab</c:v>
                </c:pt>
                <c:pt idx="444">
                  <c:v>Boursin</c:v>
                </c:pt>
                <c:pt idx="445">
                  <c:v>Fauquet</c:v>
                </c:pt>
                <c:pt idx="446">
                  <c:v>Caprice Des</c:v>
                </c:pt>
                <c:pt idx="447">
                  <c:v>President</c:v>
                </c:pt>
                <c:pt idx="448">
                  <c:v>Le Rustique</c:v>
                </c:pt>
                <c:pt idx="449">
                  <c:v>St Moret</c:v>
                </c:pt>
                <c:pt idx="450">
                  <c:v>Savencia: A</c:v>
                </c:pt>
                <c:pt idx="451">
                  <c:v>Kiri</c:v>
                </c:pt>
                <c:pt idx="452">
                  <c:v>Private Lab</c:v>
                </c:pt>
                <c:pt idx="453">
                  <c:v>Saint Agur</c:v>
                </c:pt>
                <c:pt idx="454">
                  <c:v>Societe</c:v>
                </c:pt>
                <c:pt idx="455">
                  <c:v>Boursin</c:v>
                </c:pt>
                <c:pt idx="456">
                  <c:v>Private Lab</c:v>
                </c:pt>
                <c:pt idx="457">
                  <c:v>Casa Azzurr</c:v>
                </c:pt>
                <c:pt idx="458">
                  <c:v>Galbani</c:v>
                </c:pt>
                <c:pt idx="459">
                  <c:v>Private Lab</c:v>
                </c:pt>
                <c:pt idx="460">
                  <c:v>Caprice Des</c:v>
                </c:pt>
                <c:pt idx="461">
                  <c:v>Le Saint Am</c:v>
                </c:pt>
                <c:pt idx="462">
                  <c:v>Tartare</c:v>
                </c:pt>
                <c:pt idx="463">
                  <c:v>Casa Azzurr</c:v>
                </c:pt>
                <c:pt idx="464">
                  <c:v>Private Lab</c:v>
                </c:pt>
                <c:pt idx="465">
                  <c:v>All Others</c:v>
                </c:pt>
                <c:pt idx="466">
                  <c:v>Leerdammer</c:v>
                </c:pt>
                <c:pt idx="467">
                  <c:v>Galbani</c:v>
                </c:pt>
                <c:pt idx="468">
                  <c:v>Pochat</c:v>
                </c:pt>
                <c:pt idx="469">
                  <c:v>Lactalis: A</c:v>
                </c:pt>
                <c:pt idx="470">
                  <c:v>Mini Babybe</c:v>
                </c:pt>
                <c:pt idx="471">
                  <c:v>President</c:v>
                </c:pt>
                <c:pt idx="472">
                  <c:v>Les Mousque</c:v>
                </c:pt>
                <c:pt idx="473">
                  <c:v>Paysan Bret</c:v>
                </c:pt>
                <c:pt idx="474">
                  <c:v>Private Lab</c:v>
                </c:pt>
                <c:pt idx="475">
                  <c:v>Savencia: A</c:v>
                </c:pt>
                <c:pt idx="476">
                  <c:v>Soignon</c:v>
                </c:pt>
                <c:pt idx="477">
                  <c:v>Casa Azzurr</c:v>
                </c:pt>
                <c:pt idx="478">
                  <c:v>Les Mousque</c:v>
                </c:pt>
                <c:pt idx="479">
                  <c:v>Caprice Des</c:v>
                </c:pt>
                <c:pt idx="480">
                  <c:v>Lactalis: A</c:v>
                </c:pt>
                <c:pt idx="481">
                  <c:v>Galbani</c:v>
                </c:pt>
                <c:pt idx="482">
                  <c:v>All Others</c:v>
                </c:pt>
                <c:pt idx="483">
                  <c:v>Private Lab</c:v>
                </c:pt>
                <c:pt idx="484">
                  <c:v>St Moret</c:v>
                </c:pt>
                <c:pt idx="485">
                  <c:v>All Others</c:v>
                </c:pt>
                <c:pt idx="486">
                  <c:v>Etorki</c:v>
                </c:pt>
                <c:pt idx="487">
                  <c:v>All Others</c:v>
                </c:pt>
                <c:pt idx="488">
                  <c:v>All Others</c:v>
                </c:pt>
                <c:pt idx="489">
                  <c:v>All Others</c:v>
                </c:pt>
                <c:pt idx="490">
                  <c:v>Tartare</c:v>
                </c:pt>
                <c:pt idx="491">
                  <c:v>Milleret: A</c:v>
                </c:pt>
                <c:pt idx="492">
                  <c:v>Soignon</c:v>
                </c:pt>
                <c:pt idx="493">
                  <c:v>Pave D'Affi</c:v>
                </c:pt>
                <c:pt idx="494">
                  <c:v>All Others</c:v>
                </c:pt>
                <c:pt idx="495">
                  <c:v>Casa Azzurr</c:v>
                </c:pt>
                <c:pt idx="496">
                  <c:v>Private Lab</c:v>
                </c:pt>
                <c:pt idx="497">
                  <c:v>Aperivrais</c:v>
                </c:pt>
                <c:pt idx="498">
                  <c:v>St Moret</c:v>
                </c:pt>
                <c:pt idx="499">
                  <c:v>Entremont</c:v>
                </c:pt>
                <c:pt idx="500">
                  <c:v>La Belle Et</c:v>
                </c:pt>
                <c:pt idx="501">
                  <c:v>All Others</c:v>
                </c:pt>
                <c:pt idx="502">
                  <c:v>Corsica</c:v>
                </c:pt>
                <c:pt idx="503">
                  <c:v>Entremont</c:v>
                </c:pt>
                <c:pt idx="504">
                  <c:v>Kiri</c:v>
                </c:pt>
                <c:pt idx="505">
                  <c:v>Soignon</c:v>
                </c:pt>
                <c:pt idx="506">
                  <c:v>Boursin</c:v>
                </c:pt>
                <c:pt idx="507">
                  <c:v>Eurial Autr</c:v>
                </c:pt>
                <c:pt idx="508">
                  <c:v>All Others</c:v>
                </c:pt>
                <c:pt idx="509">
                  <c:v>Entremont</c:v>
                </c:pt>
                <c:pt idx="510">
                  <c:v>All Others</c:v>
                </c:pt>
                <c:pt idx="511">
                  <c:v>Entremont</c:v>
                </c:pt>
                <c:pt idx="512">
                  <c:v>Salakis</c:v>
                </c:pt>
                <c:pt idx="513">
                  <c:v>Galbani</c:v>
                </c:pt>
                <c:pt idx="514">
                  <c:v>Soignon</c:v>
                </c:pt>
                <c:pt idx="515">
                  <c:v>All Others</c:v>
                </c:pt>
                <c:pt idx="516">
                  <c:v>Juraflore</c:v>
                </c:pt>
                <c:pt idx="517">
                  <c:v>All Others</c:v>
                </c:pt>
                <c:pt idx="518">
                  <c:v>La Vache Qu</c:v>
                </c:pt>
                <c:pt idx="519">
                  <c:v>Lou Perac</c:v>
                </c:pt>
                <c:pt idx="520">
                  <c:v>All Others</c:v>
                </c:pt>
                <c:pt idx="521">
                  <c:v>All Others</c:v>
                </c:pt>
                <c:pt idx="522">
                  <c:v>President</c:v>
                </c:pt>
                <c:pt idx="523">
                  <c:v>Kiri</c:v>
                </c:pt>
                <c:pt idx="524">
                  <c:v>Private Lab</c:v>
                </c:pt>
                <c:pt idx="525">
                  <c:v>Tartare</c:v>
                </c:pt>
                <c:pt idx="526">
                  <c:v>All Others</c:v>
                </c:pt>
                <c:pt idx="527">
                  <c:v>All Others</c:v>
                </c:pt>
                <c:pt idx="528">
                  <c:v>Pave D'Affi</c:v>
                </c:pt>
                <c:pt idx="529">
                  <c:v>Salakis</c:v>
                </c:pt>
                <c:pt idx="530">
                  <c:v>Galbani</c:v>
                </c:pt>
                <c:pt idx="531">
                  <c:v>Casa Azzurr</c:v>
                </c:pt>
                <c:pt idx="532">
                  <c:v>All Others</c:v>
                </c:pt>
                <c:pt idx="533">
                  <c:v>All Others</c:v>
                </c:pt>
                <c:pt idx="534">
                  <c:v>All Others</c:v>
                </c:pt>
                <c:pt idx="535">
                  <c:v>Mini Babybe</c:v>
                </c:pt>
                <c:pt idx="536">
                  <c:v>Raguin</c:v>
                </c:pt>
                <c:pt idx="537">
                  <c:v>Les Mousque</c:v>
                </c:pt>
                <c:pt idx="538">
                  <c:v>All Others</c:v>
                </c:pt>
                <c:pt idx="539">
                  <c:v>Entremont</c:v>
                </c:pt>
                <c:pt idx="540">
                  <c:v>Raguin</c:v>
                </c:pt>
                <c:pt idx="541">
                  <c:v>President</c:v>
                </c:pt>
                <c:pt idx="542">
                  <c:v>Aperivrais</c:v>
                </c:pt>
                <c:pt idx="543">
                  <c:v>L'Ortolan</c:v>
                </c:pt>
                <c:pt idx="544">
                  <c:v>Mini Babybe</c:v>
                </c:pt>
                <c:pt idx="545">
                  <c:v>L'Ortolan</c:v>
                </c:pt>
                <c:pt idx="546">
                  <c:v>Private Lab</c:v>
                </c:pt>
                <c:pt idx="547">
                  <c:v>La Table M</c:v>
                </c:pt>
                <c:pt idx="548">
                  <c:v>Paysan Bret</c:v>
                </c:pt>
                <c:pt idx="549">
                  <c:v>Saint Agur</c:v>
                </c:pt>
                <c:pt idx="550">
                  <c:v>Private Lab</c:v>
                </c:pt>
                <c:pt idx="551">
                  <c:v>Triballat N</c:v>
                </c:pt>
                <c:pt idx="552">
                  <c:v>All Others</c:v>
                </c:pt>
                <c:pt idx="553">
                  <c:v>All Others</c:v>
                </c:pt>
                <c:pt idx="554">
                  <c:v>Private Lab</c:v>
                </c:pt>
                <c:pt idx="555">
                  <c:v>Private Lab</c:v>
                </c:pt>
                <c:pt idx="556">
                  <c:v>All Others</c:v>
                </c:pt>
                <c:pt idx="557">
                  <c:v>All Others</c:v>
                </c:pt>
                <c:pt idx="558">
                  <c:v>La Belle Et</c:v>
                </c:pt>
                <c:pt idx="559">
                  <c:v>Casa Azzurr</c:v>
                </c:pt>
                <c:pt idx="560">
                  <c:v>Casa Azzurr</c:v>
                </c:pt>
                <c:pt idx="561">
                  <c:v>All Others</c:v>
                </c:pt>
                <c:pt idx="562">
                  <c:v>All Others</c:v>
                </c:pt>
                <c:pt idx="563">
                  <c:v>St Moret</c:v>
                </c:pt>
                <c:pt idx="564">
                  <c:v>Lactalis: A</c:v>
                </c:pt>
                <c:pt idx="565">
                  <c:v>All Others</c:v>
                </c:pt>
                <c:pt idx="566">
                  <c:v>Apericube</c:v>
                </c:pt>
                <c:pt idx="567">
                  <c:v>Vieux Pane</c:v>
                </c:pt>
                <c:pt idx="568">
                  <c:v>La Belle Et</c:v>
                </c:pt>
                <c:pt idx="569">
                  <c:v>Milleret: A</c:v>
                </c:pt>
                <c:pt idx="570">
                  <c:v>All Others</c:v>
                </c:pt>
                <c:pt idx="571">
                  <c:v>All Others</c:v>
                </c:pt>
                <c:pt idx="572">
                  <c:v>President</c:v>
                </c:pt>
                <c:pt idx="573">
                  <c:v>Galbani</c:v>
                </c:pt>
                <c:pt idx="574">
                  <c:v>All Others</c:v>
                </c:pt>
                <c:pt idx="575">
                  <c:v>Raguin</c:v>
                </c:pt>
                <c:pt idx="576">
                  <c:v>All Others</c:v>
                </c:pt>
                <c:pt idx="577">
                  <c:v>All Others</c:v>
                </c:pt>
                <c:pt idx="578">
                  <c:v>Islos</c:v>
                </c:pt>
                <c:pt idx="579">
                  <c:v>Kiri</c:v>
                </c:pt>
                <c:pt idx="580">
                  <c:v>Istara</c:v>
                </c:pt>
                <c:pt idx="581">
                  <c:v>L'Ortolan</c:v>
                </c:pt>
                <c:pt idx="582">
                  <c:v>La Belle Et</c:v>
                </c:pt>
                <c:pt idx="583">
                  <c:v>Entremont</c:v>
                </c:pt>
                <c:pt idx="584">
                  <c:v>Societe</c:v>
                </c:pt>
                <c:pt idx="585">
                  <c:v>All Others</c:v>
                </c:pt>
                <c:pt idx="586">
                  <c:v>All Others</c:v>
                </c:pt>
                <c:pt idx="587">
                  <c:v>Private Lab</c:v>
                </c:pt>
                <c:pt idx="588">
                  <c:v>Entremont</c:v>
                </c:pt>
                <c:pt idx="589">
                  <c:v>Lactalis: A</c:v>
                </c:pt>
                <c:pt idx="590">
                  <c:v>Paysan Bret</c:v>
                </c:pt>
                <c:pt idx="591">
                  <c:v>L'Ortolan</c:v>
                </c:pt>
                <c:pt idx="592">
                  <c:v>All Others</c:v>
                </c:pt>
                <c:pt idx="593">
                  <c:v>Le Coq Crem</c:v>
                </c:pt>
                <c:pt idx="594">
                  <c:v>Milleret: A</c:v>
                </c:pt>
                <c:pt idx="595">
                  <c:v>Raguin</c:v>
                </c:pt>
                <c:pt idx="596">
                  <c:v>All Others</c:v>
                </c:pt>
                <c:pt idx="597">
                  <c:v>Mini Babybe</c:v>
                </c:pt>
                <c:pt idx="598">
                  <c:v>Lactalis: A</c:v>
                </c:pt>
                <c:pt idx="599">
                  <c:v>Leerdammer</c:v>
                </c:pt>
                <c:pt idx="600">
                  <c:v>All Others</c:v>
                </c:pt>
                <c:pt idx="601">
                  <c:v>All Others</c:v>
                </c:pt>
                <c:pt idx="602">
                  <c:v>Milleret: A</c:v>
                </c:pt>
                <c:pt idx="603">
                  <c:v>Etoile Du Q</c:v>
                </c:pt>
                <c:pt idx="604">
                  <c:v>Private Lab</c:v>
                </c:pt>
                <c:pt idx="605">
                  <c:v>Boursin</c:v>
                </c:pt>
                <c:pt idx="606">
                  <c:v>Apericube</c:v>
                </c:pt>
                <c:pt idx="607">
                  <c:v>Paysan Bret</c:v>
                </c:pt>
                <c:pt idx="608">
                  <c:v>Pochat</c:v>
                </c:pt>
                <c:pt idx="609">
                  <c:v>All Others</c:v>
                </c:pt>
                <c:pt idx="610">
                  <c:v>Eurial Autr</c:v>
                </c:pt>
                <c:pt idx="611">
                  <c:v>All Others</c:v>
                </c:pt>
                <c:pt idx="612">
                  <c:v>Entremont</c:v>
                </c:pt>
                <c:pt idx="613">
                  <c:v>All Others</c:v>
                </c:pt>
                <c:pt idx="614">
                  <c:v>All Others</c:v>
                </c:pt>
                <c:pt idx="615">
                  <c:v>Galbani</c:v>
                </c:pt>
                <c:pt idx="616">
                  <c:v>All Others</c:v>
                </c:pt>
                <c:pt idx="617">
                  <c:v>Milleret: A</c:v>
                </c:pt>
                <c:pt idx="618">
                  <c:v>All Others</c:v>
                </c:pt>
                <c:pt idx="619">
                  <c:v>All Others</c:v>
                </c:pt>
                <c:pt idx="620">
                  <c:v>Entremont</c:v>
                </c:pt>
                <c:pt idx="621">
                  <c:v>Entremont</c:v>
                </c:pt>
                <c:pt idx="622">
                  <c:v>All Others</c:v>
                </c:pt>
                <c:pt idx="623">
                  <c:v>All Others</c:v>
                </c:pt>
                <c:pt idx="624">
                  <c:v>Galbani</c:v>
                </c:pt>
                <c:pt idx="625">
                  <c:v>Soignon</c:v>
                </c:pt>
                <c:pt idx="626">
                  <c:v>Soignon</c:v>
                </c:pt>
                <c:pt idx="627">
                  <c:v>All Others</c:v>
                </c:pt>
                <c:pt idx="628">
                  <c:v>All Others</c:v>
                </c:pt>
                <c:pt idx="629">
                  <c:v>Private Lab</c:v>
                </c:pt>
                <c:pt idx="630">
                  <c:v>All Others</c:v>
                </c:pt>
                <c:pt idx="631">
                  <c:v>La Belle Et</c:v>
                </c:pt>
                <c:pt idx="632">
                  <c:v>Bresse Bleu</c:v>
                </c:pt>
                <c:pt idx="633">
                  <c:v>Pochat</c:v>
                </c:pt>
                <c:pt idx="634">
                  <c:v>Savencia: A</c:v>
                </c:pt>
                <c:pt idx="635">
                  <c:v>Triballat N</c:v>
                </c:pt>
                <c:pt idx="636">
                  <c:v>Savencia: A</c:v>
                </c:pt>
                <c:pt idx="637">
                  <c:v>Etoile Du V</c:v>
                </c:pt>
                <c:pt idx="638">
                  <c:v>All Others</c:v>
                </c:pt>
                <c:pt idx="639">
                  <c:v>Savencia: A</c:v>
                </c:pt>
                <c:pt idx="640">
                  <c:v>Societe</c:v>
                </c:pt>
                <c:pt idx="641">
                  <c:v>Milleret: A</c:v>
                </c:pt>
                <c:pt idx="642">
                  <c:v>Nurishh</c:v>
                </c:pt>
                <c:pt idx="643">
                  <c:v>Richesmonts</c:v>
                </c:pt>
                <c:pt idx="644">
                  <c:v>All Others</c:v>
                </c:pt>
                <c:pt idx="645">
                  <c:v>Richesmonts</c:v>
                </c:pt>
                <c:pt idx="646">
                  <c:v>All Others</c:v>
                </c:pt>
                <c:pt idx="647">
                  <c:v>Paysan Bret</c:v>
                </c:pt>
                <c:pt idx="648">
                  <c:v>L'Ortolan</c:v>
                </c:pt>
                <c:pt idx="649">
                  <c:v>All Others</c:v>
                </c:pt>
                <c:pt idx="650">
                  <c:v>President</c:v>
                </c:pt>
                <c:pt idx="651">
                  <c:v>All Others</c:v>
                </c:pt>
                <c:pt idx="652">
                  <c:v>Lactalis: A</c:v>
                </c:pt>
                <c:pt idx="653">
                  <c:v>Boursin</c:v>
                </c:pt>
                <c:pt idx="654">
                  <c:v>All Others</c:v>
                </c:pt>
                <c:pt idx="655">
                  <c:v>Eurial Autr</c:v>
                </c:pt>
                <c:pt idx="656">
                  <c:v>All Others</c:v>
                </c:pt>
                <c:pt idx="657">
                  <c:v>Private Lab</c:v>
                </c:pt>
                <c:pt idx="658">
                  <c:v>All Others</c:v>
                </c:pt>
                <c:pt idx="659">
                  <c:v>All Others</c:v>
                </c:pt>
                <c:pt idx="660">
                  <c:v>Le Rustique</c:v>
                </c:pt>
                <c:pt idx="661">
                  <c:v>Paysan Bret</c:v>
                </c:pt>
                <c:pt idx="662">
                  <c:v>All Others</c:v>
                </c:pt>
                <c:pt idx="663">
                  <c:v>All Others</c:v>
                </c:pt>
                <c:pt idx="664">
                  <c:v>All Others</c:v>
                </c:pt>
                <c:pt idx="665">
                  <c:v>Salakis</c:v>
                </c:pt>
                <c:pt idx="666">
                  <c:v>Savencia: A</c:v>
                </c:pt>
                <c:pt idx="667">
                  <c:v>All Others</c:v>
                </c:pt>
                <c:pt idx="668">
                  <c:v>Soignon</c:v>
                </c:pt>
                <c:pt idx="669">
                  <c:v>Private Lab</c:v>
                </c:pt>
                <c:pt idx="670">
                  <c:v>Violife</c:v>
                </c:pt>
                <c:pt idx="671">
                  <c:v>All Others</c:v>
                </c:pt>
                <c:pt idx="672">
                  <c:v>All Others</c:v>
                </c:pt>
                <c:pt idx="673">
                  <c:v>All Others</c:v>
                </c:pt>
                <c:pt idx="674">
                  <c:v>All Others</c:v>
                </c:pt>
                <c:pt idx="675">
                  <c:v>All Others</c:v>
                </c:pt>
                <c:pt idx="676">
                  <c:v>Islos</c:v>
                </c:pt>
                <c:pt idx="677">
                  <c:v>All Others</c:v>
                </c:pt>
                <c:pt idx="678">
                  <c:v>All Others</c:v>
                </c:pt>
                <c:pt idx="679">
                  <c:v>All Others</c:v>
                </c:pt>
                <c:pt idx="680">
                  <c:v>Carre Frais</c:v>
                </c:pt>
                <c:pt idx="681">
                  <c:v>Nurishh</c:v>
                </c:pt>
                <c:pt idx="682">
                  <c:v>Triballat N</c:v>
                </c:pt>
                <c:pt idx="683">
                  <c:v>All Others</c:v>
                </c:pt>
                <c:pt idx="684">
                  <c:v>All Others</c:v>
                </c:pt>
                <c:pt idx="685">
                  <c:v>Nurishh</c:v>
                </c:pt>
                <c:pt idx="686">
                  <c:v>All Others</c:v>
                </c:pt>
                <c:pt idx="687">
                  <c:v>All Others</c:v>
                </c:pt>
                <c:pt idx="688">
                  <c:v>All Others</c:v>
                </c:pt>
                <c:pt idx="689">
                  <c:v>All Others</c:v>
                </c:pt>
                <c:pt idx="690">
                  <c:v>Pave D'Affi</c:v>
                </c:pt>
                <c:pt idx="691">
                  <c:v>All Others</c:v>
                </c:pt>
                <c:pt idx="692">
                  <c:v>All Others</c:v>
                </c:pt>
                <c:pt idx="693">
                  <c:v>Entremont</c:v>
                </c:pt>
                <c:pt idx="694">
                  <c:v>Entremont</c:v>
                </c:pt>
                <c:pt idx="695">
                  <c:v>Les Mousque</c:v>
                </c:pt>
                <c:pt idx="696">
                  <c:v>All Others</c:v>
                </c:pt>
                <c:pt idx="697">
                  <c:v>All Others</c:v>
                </c:pt>
                <c:pt idx="698">
                  <c:v>All Others</c:v>
                </c:pt>
                <c:pt idx="699">
                  <c:v>Lactalis: A</c:v>
                </c:pt>
                <c:pt idx="700">
                  <c:v>All Others</c:v>
                </c:pt>
                <c:pt idx="701">
                  <c:v>All Others</c:v>
                </c:pt>
                <c:pt idx="702">
                  <c:v>All Others</c:v>
                </c:pt>
                <c:pt idx="703">
                  <c:v>Lactalis: A</c:v>
                </c:pt>
                <c:pt idx="704">
                  <c:v>All Others</c:v>
                </c:pt>
                <c:pt idx="705">
                  <c:v>Pochat</c:v>
                </c:pt>
                <c:pt idx="706">
                  <c:v>All Others</c:v>
                </c:pt>
                <c:pt idx="707">
                  <c:v>All Others</c:v>
                </c:pt>
                <c:pt idx="708">
                  <c:v>Violife</c:v>
                </c:pt>
                <c:pt idx="709">
                  <c:v>Le Brebiou</c:v>
                </c:pt>
                <c:pt idx="710">
                  <c:v>All Others</c:v>
                </c:pt>
                <c:pt idx="711">
                  <c:v>All Others</c:v>
                </c:pt>
                <c:pt idx="712">
                  <c:v>Entremont</c:v>
                </c:pt>
                <c:pt idx="713">
                  <c:v>All Others</c:v>
                </c:pt>
                <c:pt idx="714">
                  <c:v>All Others</c:v>
                </c:pt>
                <c:pt idx="715">
                  <c:v>All Others</c:v>
                </c:pt>
                <c:pt idx="716">
                  <c:v>Coeur De Li</c:v>
                </c:pt>
                <c:pt idx="717">
                  <c:v>All Others</c:v>
                </c:pt>
                <c:pt idx="718">
                  <c:v>Casa Azzurr</c:v>
                </c:pt>
                <c:pt idx="719">
                  <c:v>All Others</c:v>
                </c:pt>
                <c:pt idx="720">
                  <c:v>Boursin</c:v>
                </c:pt>
                <c:pt idx="721">
                  <c:v>All Others</c:v>
                </c:pt>
                <c:pt idx="722">
                  <c:v>President</c:v>
                </c:pt>
                <c:pt idx="723">
                  <c:v>Soignon</c:v>
                </c:pt>
                <c:pt idx="724">
                  <c:v>Paysan Bret</c:v>
                </c:pt>
                <c:pt idx="725">
                  <c:v>Etoile Du V</c:v>
                </c:pt>
                <c:pt idx="726">
                  <c:v>All Others</c:v>
                </c:pt>
                <c:pt idx="727">
                  <c:v>Etoile Du V</c:v>
                </c:pt>
                <c:pt idx="728">
                  <c:v>Etoile Du V</c:v>
                </c:pt>
                <c:pt idx="729">
                  <c:v>All Others</c:v>
                </c:pt>
                <c:pt idx="730">
                  <c:v>Etoile Du V</c:v>
                </c:pt>
                <c:pt idx="731">
                  <c:v>All Others</c:v>
                </c:pt>
                <c:pt idx="732">
                  <c:v>Fol Epi</c:v>
                </c:pt>
                <c:pt idx="733">
                  <c:v>Caprice Des</c:v>
                </c:pt>
                <c:pt idx="734">
                  <c:v>All Others</c:v>
                </c:pt>
                <c:pt idx="735">
                  <c:v>All Others</c:v>
                </c:pt>
                <c:pt idx="736">
                  <c:v>Etoile Du V</c:v>
                </c:pt>
                <c:pt idx="737">
                  <c:v>Apericube</c:v>
                </c:pt>
                <c:pt idx="738">
                  <c:v>All Others</c:v>
                </c:pt>
                <c:pt idx="739">
                  <c:v>P'Tit Louis</c:v>
                </c:pt>
                <c:pt idx="740">
                  <c:v>Pochat</c:v>
                </c:pt>
                <c:pt idx="741">
                  <c:v>Entremont</c:v>
                </c:pt>
                <c:pt idx="742">
                  <c:v>Nurishh</c:v>
                </c:pt>
                <c:pt idx="743">
                  <c:v>Nurishh</c:v>
                </c:pt>
                <c:pt idx="744">
                  <c:v>All Others</c:v>
                </c:pt>
                <c:pt idx="745">
                  <c:v>Les Mousque</c:v>
                </c:pt>
                <c:pt idx="746">
                  <c:v>Boursin</c:v>
                </c:pt>
                <c:pt idx="747">
                  <c:v>Milleret: A</c:v>
                </c:pt>
                <c:pt idx="748">
                  <c:v>Milleret: A</c:v>
                </c:pt>
                <c:pt idx="749">
                  <c:v>All Others</c:v>
                </c:pt>
                <c:pt idx="750">
                  <c:v>All Others</c:v>
                </c:pt>
                <c:pt idx="751">
                  <c:v>All Others</c:v>
                </c:pt>
                <c:pt idx="752">
                  <c:v>All Others</c:v>
                </c:pt>
                <c:pt idx="753">
                  <c:v>Apericube</c:v>
                </c:pt>
                <c:pt idx="754">
                  <c:v>Milleret: A</c:v>
                </c:pt>
                <c:pt idx="755">
                  <c:v>La Belle Et</c:v>
                </c:pt>
                <c:pt idx="756">
                  <c:v>Istara</c:v>
                </c:pt>
                <c:pt idx="757">
                  <c:v>Mini Babybe</c:v>
                </c:pt>
                <c:pt idx="758">
                  <c:v>All Others</c:v>
                </c:pt>
                <c:pt idx="759">
                  <c:v>All Others</c:v>
                </c:pt>
                <c:pt idx="760">
                  <c:v>All Others</c:v>
                </c:pt>
                <c:pt idx="761">
                  <c:v>Private Lab</c:v>
                </c:pt>
                <c:pt idx="762">
                  <c:v>Lactalis: A</c:v>
                </c:pt>
                <c:pt idx="763">
                  <c:v>All Others</c:v>
                </c:pt>
                <c:pt idx="764">
                  <c:v>All Others</c:v>
                </c:pt>
                <c:pt idx="765">
                  <c:v>Entremont</c:v>
                </c:pt>
                <c:pt idx="766">
                  <c:v>Fauquet</c:v>
                </c:pt>
                <c:pt idx="767">
                  <c:v>Bresse Bleu</c:v>
                </c:pt>
                <c:pt idx="768">
                  <c:v>Lactalis: A</c:v>
                </c:pt>
                <c:pt idx="769">
                  <c:v>Savencia: A</c:v>
                </c:pt>
                <c:pt idx="770">
                  <c:v>All Others</c:v>
                </c:pt>
                <c:pt idx="771">
                  <c:v>Mini Babybe</c:v>
                </c:pt>
                <c:pt idx="772">
                  <c:v>All Others</c:v>
                </c:pt>
                <c:pt idx="773">
                  <c:v>Nurishh</c:v>
                </c:pt>
                <c:pt idx="774">
                  <c:v>All Others</c:v>
                </c:pt>
                <c:pt idx="775">
                  <c:v>All Others</c:v>
                </c:pt>
                <c:pt idx="776">
                  <c:v>All Others</c:v>
                </c:pt>
                <c:pt idx="777">
                  <c:v>All Others</c:v>
                </c:pt>
                <c:pt idx="778">
                  <c:v>All Others</c:v>
                </c:pt>
                <c:pt idx="779">
                  <c:v>Casa Azzurr</c:v>
                </c:pt>
                <c:pt idx="780">
                  <c:v>All Others</c:v>
                </c:pt>
                <c:pt idx="781">
                  <c:v>Saint Agur</c:v>
                </c:pt>
                <c:pt idx="782">
                  <c:v>All Others</c:v>
                </c:pt>
                <c:pt idx="783">
                  <c:v>All Others</c:v>
                </c:pt>
                <c:pt idx="784">
                  <c:v>St Moret</c:v>
                </c:pt>
                <c:pt idx="785">
                  <c:v>Entremont</c:v>
                </c:pt>
                <c:pt idx="786">
                  <c:v>Aperivrais</c:v>
                </c:pt>
                <c:pt idx="787">
                  <c:v>All Others</c:v>
                </c:pt>
                <c:pt idx="788">
                  <c:v>Chavroux</c:v>
                </c:pt>
                <c:pt idx="789">
                  <c:v>Paysan Bret</c:v>
                </c:pt>
                <c:pt idx="790">
                  <c:v>All Others</c:v>
                </c:pt>
                <c:pt idx="791">
                  <c:v>All Others</c:v>
                </c:pt>
                <c:pt idx="792">
                  <c:v>All Others</c:v>
                </c:pt>
                <c:pt idx="793">
                  <c:v>All Others</c:v>
                </c:pt>
                <c:pt idx="794">
                  <c:v>All Others</c:v>
                </c:pt>
                <c:pt idx="795">
                  <c:v>All Others</c:v>
                </c:pt>
                <c:pt idx="796">
                  <c:v>Casa Azzurr</c:v>
                </c:pt>
                <c:pt idx="797">
                  <c:v>All Others</c:v>
                </c:pt>
                <c:pt idx="798">
                  <c:v>All Others</c:v>
                </c:pt>
                <c:pt idx="799">
                  <c:v>All Others</c:v>
                </c:pt>
                <c:pt idx="800">
                  <c:v>Saint Agur</c:v>
                </c:pt>
                <c:pt idx="801">
                  <c:v>All Others</c:v>
                </c:pt>
                <c:pt idx="802">
                  <c:v>Boursin</c:v>
                </c:pt>
                <c:pt idx="803">
                  <c:v>Private Lab</c:v>
                </c:pt>
                <c:pt idx="804">
                  <c:v>All Others</c:v>
                </c:pt>
                <c:pt idx="805">
                  <c:v>All Others</c:v>
                </c:pt>
                <c:pt idx="806">
                  <c:v>All Others</c:v>
                </c:pt>
                <c:pt idx="807">
                  <c:v>All Others</c:v>
                </c:pt>
                <c:pt idx="808">
                  <c:v>All Others</c:v>
                </c:pt>
                <c:pt idx="809">
                  <c:v>All Others</c:v>
                </c:pt>
                <c:pt idx="810">
                  <c:v>Saint Albra</c:v>
                </c:pt>
                <c:pt idx="811">
                  <c:v>Richesmonts</c:v>
                </c:pt>
                <c:pt idx="812">
                  <c:v>All Others</c:v>
                </c:pt>
                <c:pt idx="813">
                  <c:v>All Others</c:v>
                </c:pt>
                <c:pt idx="814">
                  <c:v>All Others</c:v>
                </c:pt>
                <c:pt idx="815">
                  <c:v>All Others</c:v>
                </c:pt>
                <c:pt idx="816">
                  <c:v>All Others</c:v>
                </c:pt>
                <c:pt idx="817">
                  <c:v>All Others</c:v>
                </c:pt>
                <c:pt idx="818">
                  <c:v>All Others</c:v>
                </c:pt>
                <c:pt idx="819">
                  <c:v>All Others</c:v>
                </c:pt>
                <c:pt idx="820">
                  <c:v>All Others</c:v>
                </c:pt>
                <c:pt idx="821">
                  <c:v>Lactalis: A</c:v>
                </c:pt>
                <c:pt idx="822">
                  <c:v>All Others</c:v>
                </c:pt>
                <c:pt idx="823">
                  <c:v>All Others</c:v>
                </c:pt>
                <c:pt idx="824">
                  <c:v>All Others</c:v>
                </c:pt>
                <c:pt idx="825">
                  <c:v>All Others</c:v>
                </c:pt>
                <c:pt idx="826">
                  <c:v>President</c:v>
                </c:pt>
                <c:pt idx="827">
                  <c:v>All Others</c:v>
                </c:pt>
                <c:pt idx="828">
                  <c:v>Vieux Pane</c:v>
                </c:pt>
                <c:pt idx="829">
                  <c:v>All Others</c:v>
                </c:pt>
                <c:pt idx="830">
                  <c:v>All Others</c:v>
                </c:pt>
                <c:pt idx="831">
                  <c:v>Tartare</c:v>
                </c:pt>
                <c:pt idx="832">
                  <c:v>All Others</c:v>
                </c:pt>
                <c:pt idx="833">
                  <c:v>Violife</c:v>
                </c:pt>
                <c:pt idx="834">
                  <c:v>All Others</c:v>
                </c:pt>
                <c:pt idx="835">
                  <c:v>All Others</c:v>
                </c:pt>
                <c:pt idx="836">
                  <c:v>All Others</c:v>
                </c:pt>
                <c:pt idx="837">
                  <c:v>All Others</c:v>
                </c:pt>
                <c:pt idx="838">
                  <c:v>All Others</c:v>
                </c:pt>
                <c:pt idx="839">
                  <c:v>All Others</c:v>
                </c:pt>
                <c:pt idx="840">
                  <c:v>All Others</c:v>
                </c:pt>
                <c:pt idx="841">
                  <c:v>La Belle Et</c:v>
                </c:pt>
                <c:pt idx="842">
                  <c:v>All Others</c:v>
                </c:pt>
                <c:pt idx="843">
                  <c:v>All Others</c:v>
                </c:pt>
                <c:pt idx="844">
                  <c:v>Boursin</c:v>
                </c:pt>
                <c:pt idx="845">
                  <c:v>La Belle Et</c:v>
                </c:pt>
                <c:pt idx="846">
                  <c:v>Etoile Du V</c:v>
                </c:pt>
                <c:pt idx="847">
                  <c:v>All Others</c:v>
                </c:pt>
                <c:pt idx="848">
                  <c:v>All Others</c:v>
                </c:pt>
                <c:pt idx="849">
                  <c:v>All Others</c:v>
                </c:pt>
                <c:pt idx="850">
                  <c:v>Lindahls Pr</c:v>
                </c:pt>
                <c:pt idx="851">
                  <c:v>All Others</c:v>
                </c:pt>
                <c:pt idx="852">
                  <c:v>All Others</c:v>
                </c:pt>
                <c:pt idx="853">
                  <c:v>Savencia: A</c:v>
                </c:pt>
                <c:pt idx="854">
                  <c:v>Aperivrais</c:v>
                </c:pt>
                <c:pt idx="855">
                  <c:v>Richesmonts</c:v>
                </c:pt>
                <c:pt idx="856">
                  <c:v>Entremont</c:v>
                </c:pt>
                <c:pt idx="857">
                  <c:v>All Others</c:v>
                </c:pt>
                <c:pt idx="858">
                  <c:v>All Others</c:v>
                </c:pt>
                <c:pt idx="859">
                  <c:v>All Others</c:v>
                </c:pt>
                <c:pt idx="860">
                  <c:v>All Others</c:v>
                </c:pt>
                <c:pt idx="861">
                  <c:v>All Others</c:v>
                </c:pt>
                <c:pt idx="862">
                  <c:v>La Belle Et</c:v>
                </c:pt>
                <c:pt idx="863">
                  <c:v>All Others</c:v>
                </c:pt>
                <c:pt idx="864">
                  <c:v>Paysan Bret</c:v>
                </c:pt>
                <c:pt idx="865">
                  <c:v>All Others</c:v>
                </c:pt>
                <c:pt idx="866">
                  <c:v>All Others</c:v>
                </c:pt>
                <c:pt idx="867">
                  <c:v>Lactalis: A</c:v>
                </c:pt>
                <c:pt idx="868">
                  <c:v>All Others</c:v>
                </c:pt>
                <c:pt idx="869">
                  <c:v>All Others</c:v>
                </c:pt>
                <c:pt idx="870">
                  <c:v>La Belle Et</c:v>
                </c:pt>
                <c:pt idx="871">
                  <c:v>All Others</c:v>
                </c:pt>
                <c:pt idx="872">
                  <c:v>All Others</c:v>
                </c:pt>
                <c:pt idx="873">
                  <c:v>All Others</c:v>
                </c:pt>
                <c:pt idx="874">
                  <c:v>All Others</c:v>
                </c:pt>
                <c:pt idx="875">
                  <c:v>All Others</c:v>
                </c:pt>
                <c:pt idx="876">
                  <c:v>Entremont</c:v>
                </c:pt>
                <c:pt idx="877">
                  <c:v>All Others</c:v>
                </c:pt>
                <c:pt idx="878">
                  <c:v>All Others</c:v>
                </c:pt>
                <c:pt idx="879">
                  <c:v>All Others</c:v>
                </c:pt>
                <c:pt idx="880">
                  <c:v>All Others</c:v>
                </c:pt>
                <c:pt idx="881">
                  <c:v>All Others</c:v>
                </c:pt>
                <c:pt idx="882">
                  <c:v>All Others</c:v>
                </c:pt>
                <c:pt idx="883">
                  <c:v>President</c:v>
                </c:pt>
                <c:pt idx="884">
                  <c:v>All Others</c:v>
                </c:pt>
                <c:pt idx="885">
                  <c:v>Private Lab</c:v>
                </c:pt>
                <c:pt idx="886">
                  <c:v>All Others</c:v>
                </c:pt>
                <c:pt idx="887">
                  <c:v>All Others</c:v>
                </c:pt>
                <c:pt idx="888">
                  <c:v>All Others</c:v>
                </c:pt>
                <c:pt idx="889">
                  <c:v>La Belle Et</c:v>
                </c:pt>
                <c:pt idx="890">
                  <c:v>All Others</c:v>
                </c:pt>
                <c:pt idx="891">
                  <c:v>All Others</c:v>
                </c:pt>
                <c:pt idx="892">
                  <c:v>All Others</c:v>
                </c:pt>
                <c:pt idx="893">
                  <c:v>All Others</c:v>
                </c:pt>
                <c:pt idx="894">
                  <c:v>Pave D'Affi</c:v>
                </c:pt>
                <c:pt idx="895">
                  <c:v>All Others</c:v>
                </c:pt>
                <c:pt idx="896">
                  <c:v>All Others</c:v>
                </c:pt>
                <c:pt idx="897">
                  <c:v>All Others</c:v>
                </c:pt>
                <c:pt idx="898">
                  <c:v>Boursin</c:v>
                </c:pt>
                <c:pt idx="899">
                  <c:v>All Others</c:v>
                </c:pt>
                <c:pt idx="900">
                  <c:v>La Belle Et</c:v>
                </c:pt>
                <c:pt idx="901">
                  <c:v>Chavroux</c:v>
                </c:pt>
                <c:pt idx="902">
                  <c:v>All Others</c:v>
                </c:pt>
                <c:pt idx="903">
                  <c:v>All Others</c:v>
                </c:pt>
                <c:pt idx="904">
                  <c:v>All Others</c:v>
                </c:pt>
                <c:pt idx="905">
                  <c:v>All Others</c:v>
                </c:pt>
                <c:pt idx="906">
                  <c:v>Etorki</c:v>
                </c:pt>
                <c:pt idx="907">
                  <c:v>Apericube</c:v>
                </c:pt>
                <c:pt idx="908">
                  <c:v>All Others</c:v>
                </c:pt>
                <c:pt idx="909">
                  <c:v>All Others</c:v>
                </c:pt>
                <c:pt idx="910">
                  <c:v>All Others</c:v>
                </c:pt>
                <c:pt idx="911">
                  <c:v>La Belle Et</c:v>
                </c:pt>
                <c:pt idx="912">
                  <c:v>All Others</c:v>
                </c:pt>
                <c:pt idx="913">
                  <c:v>Salakis</c:v>
                </c:pt>
                <c:pt idx="914">
                  <c:v>All Others</c:v>
                </c:pt>
                <c:pt idx="915">
                  <c:v>All Others</c:v>
                </c:pt>
                <c:pt idx="916">
                  <c:v>All Others</c:v>
                </c:pt>
                <c:pt idx="917">
                  <c:v>Entremont</c:v>
                </c:pt>
                <c:pt idx="918">
                  <c:v>Soignon</c:v>
                </c:pt>
                <c:pt idx="919">
                  <c:v>All Others</c:v>
                </c:pt>
                <c:pt idx="920">
                  <c:v>Casa Azzurr</c:v>
                </c:pt>
                <c:pt idx="921">
                  <c:v>All Others</c:v>
                </c:pt>
                <c:pt idx="922">
                  <c:v>All Others</c:v>
                </c:pt>
                <c:pt idx="923">
                  <c:v>All Others</c:v>
                </c:pt>
                <c:pt idx="924">
                  <c:v>Apericube</c:v>
                </c:pt>
                <c:pt idx="925">
                  <c:v>All Others</c:v>
                </c:pt>
                <c:pt idx="926">
                  <c:v>All Others</c:v>
                </c:pt>
                <c:pt idx="927">
                  <c:v>Boursin</c:v>
                </c:pt>
                <c:pt idx="928">
                  <c:v>Salakis</c:v>
                </c:pt>
                <c:pt idx="929">
                  <c:v>All Others</c:v>
                </c:pt>
                <c:pt idx="930">
                  <c:v>All Others</c:v>
                </c:pt>
                <c:pt idx="931">
                  <c:v>All Others</c:v>
                </c:pt>
                <c:pt idx="932">
                  <c:v>Galbani</c:v>
                </c:pt>
                <c:pt idx="933">
                  <c:v>All Others</c:v>
                </c:pt>
                <c:pt idx="934">
                  <c:v>All Others</c:v>
                </c:pt>
                <c:pt idx="935">
                  <c:v>President</c:v>
                </c:pt>
                <c:pt idx="936">
                  <c:v>Boursin</c:v>
                </c:pt>
                <c:pt idx="937">
                  <c:v>Lactalis: A</c:v>
                </c:pt>
                <c:pt idx="938">
                  <c:v>Tartare</c:v>
                </c:pt>
                <c:pt idx="939">
                  <c:v>All Others</c:v>
                </c:pt>
                <c:pt idx="940">
                  <c:v>All Others</c:v>
                </c:pt>
                <c:pt idx="941">
                  <c:v>All Others</c:v>
                </c:pt>
                <c:pt idx="942">
                  <c:v>All Others</c:v>
                </c:pt>
                <c:pt idx="943">
                  <c:v>All Others</c:v>
                </c:pt>
                <c:pt idx="944">
                  <c:v>All Others</c:v>
                </c:pt>
                <c:pt idx="945">
                  <c:v>All Others</c:v>
                </c:pt>
                <c:pt idx="946">
                  <c:v>La Belle Et</c:v>
                </c:pt>
                <c:pt idx="947">
                  <c:v>All Others</c:v>
                </c:pt>
                <c:pt idx="948">
                  <c:v>All Others</c:v>
                </c:pt>
                <c:pt idx="949">
                  <c:v>Lactalis: A</c:v>
                </c:pt>
                <c:pt idx="950">
                  <c:v>All Others</c:v>
                </c:pt>
                <c:pt idx="951">
                  <c:v>Lactalis: A</c:v>
                </c:pt>
                <c:pt idx="952">
                  <c:v>All Others</c:v>
                </c:pt>
                <c:pt idx="953">
                  <c:v>All Others</c:v>
                </c:pt>
                <c:pt idx="954">
                  <c:v>Societe</c:v>
                </c:pt>
                <c:pt idx="955">
                  <c:v>Pave D'Affi</c:v>
                </c:pt>
                <c:pt idx="956">
                  <c:v>All Others</c:v>
                </c:pt>
                <c:pt idx="957">
                  <c:v>All Others</c:v>
                </c:pt>
                <c:pt idx="958">
                  <c:v>All Others</c:v>
                </c:pt>
                <c:pt idx="959">
                  <c:v>All Others</c:v>
                </c:pt>
                <c:pt idx="960">
                  <c:v>All Others</c:v>
                </c:pt>
                <c:pt idx="961">
                  <c:v>All Others</c:v>
                </c:pt>
                <c:pt idx="962">
                  <c:v>All Others</c:v>
                </c:pt>
                <c:pt idx="963">
                  <c:v>All Others</c:v>
                </c:pt>
                <c:pt idx="964">
                  <c:v>Lactalis: A</c:v>
                </c:pt>
                <c:pt idx="965">
                  <c:v>All Others</c:v>
                </c:pt>
                <c:pt idx="966">
                  <c:v>All Others</c:v>
                </c:pt>
                <c:pt idx="967">
                  <c:v>All Others</c:v>
                </c:pt>
                <c:pt idx="968">
                  <c:v>All Others</c:v>
                </c:pt>
                <c:pt idx="969">
                  <c:v>All Others</c:v>
                </c:pt>
                <c:pt idx="970">
                  <c:v>Fol Epi</c:v>
                </c:pt>
                <c:pt idx="971">
                  <c:v>All Others</c:v>
                </c:pt>
                <c:pt idx="972">
                  <c:v>All Others</c:v>
                </c:pt>
                <c:pt idx="973">
                  <c:v>All Others</c:v>
                </c:pt>
                <c:pt idx="974">
                  <c:v>All Others</c:v>
                </c:pt>
                <c:pt idx="975">
                  <c:v>All Others</c:v>
                </c:pt>
                <c:pt idx="976">
                  <c:v>Chaussee Au</c:v>
                </c:pt>
                <c:pt idx="977">
                  <c:v>All Others</c:v>
                </c:pt>
                <c:pt idx="978">
                  <c:v>La Belle Et</c:v>
                </c:pt>
                <c:pt idx="979">
                  <c:v>All Others</c:v>
                </c:pt>
                <c:pt idx="980">
                  <c:v>Savencia: A</c:v>
                </c:pt>
                <c:pt idx="981">
                  <c:v>All Others</c:v>
                </c:pt>
                <c:pt idx="982">
                  <c:v>All Others</c:v>
                </c:pt>
                <c:pt idx="983">
                  <c:v>Savencia: A</c:v>
                </c:pt>
                <c:pt idx="984">
                  <c:v>All Others</c:v>
                </c:pt>
                <c:pt idx="985">
                  <c:v>All Others</c:v>
                </c:pt>
                <c:pt idx="986">
                  <c:v>Milleret</c:v>
                </c:pt>
                <c:pt idx="987">
                  <c:v>All Others</c:v>
                </c:pt>
                <c:pt idx="988">
                  <c:v>All Others</c:v>
                </c:pt>
                <c:pt idx="989">
                  <c:v>All Others</c:v>
                </c:pt>
                <c:pt idx="990">
                  <c:v>All Others</c:v>
                </c:pt>
                <c:pt idx="991">
                  <c:v>All Others</c:v>
                </c:pt>
                <c:pt idx="992">
                  <c:v>All Others</c:v>
                </c:pt>
                <c:pt idx="993">
                  <c:v>All Others</c:v>
                </c:pt>
                <c:pt idx="994">
                  <c:v>All Others</c:v>
                </c:pt>
                <c:pt idx="995">
                  <c:v>All Others</c:v>
                </c:pt>
                <c:pt idx="996">
                  <c:v>All Others</c:v>
                </c:pt>
                <c:pt idx="997">
                  <c:v>All Others</c:v>
                </c:pt>
                <c:pt idx="998">
                  <c:v>All Others</c:v>
                </c:pt>
                <c:pt idx="999">
                  <c:v>All Others</c:v>
                </c:pt>
                <c:pt idx="1000">
                  <c:v>All Others</c:v>
                </c:pt>
                <c:pt idx="1001">
                  <c:v>All Others</c:v>
                </c:pt>
                <c:pt idx="1002">
                  <c:v>All Others</c:v>
                </c:pt>
                <c:pt idx="1003">
                  <c:v>All Others</c:v>
                </c:pt>
                <c:pt idx="1004">
                  <c:v>All Others</c:v>
                </c:pt>
                <c:pt idx="1005">
                  <c:v>Lactalis: A</c:v>
                </c:pt>
                <c:pt idx="1006">
                  <c:v>All Others</c:v>
                </c:pt>
                <c:pt idx="1007">
                  <c:v>Entremont</c:v>
                </c:pt>
                <c:pt idx="1008">
                  <c:v>All Others</c:v>
                </c:pt>
                <c:pt idx="1009">
                  <c:v>All Others</c:v>
                </c:pt>
                <c:pt idx="1010">
                  <c:v>All Others</c:v>
                </c:pt>
                <c:pt idx="1011">
                  <c:v>All Others</c:v>
                </c:pt>
                <c:pt idx="1012">
                  <c:v>All Others</c:v>
                </c:pt>
                <c:pt idx="1013">
                  <c:v>La Belle Et</c:v>
                </c:pt>
                <c:pt idx="1014">
                  <c:v>All Others</c:v>
                </c:pt>
                <c:pt idx="1015">
                  <c:v>All Others</c:v>
                </c:pt>
                <c:pt idx="1016">
                  <c:v>All Others</c:v>
                </c:pt>
                <c:pt idx="1017">
                  <c:v>All Others</c:v>
                </c:pt>
                <c:pt idx="1018">
                  <c:v>Etoile Du V</c:v>
                </c:pt>
                <c:pt idx="1019">
                  <c:v>All Others</c:v>
                </c:pt>
                <c:pt idx="1020">
                  <c:v>All Others</c:v>
                </c:pt>
                <c:pt idx="1021">
                  <c:v>Entremont</c:v>
                </c:pt>
                <c:pt idx="1022">
                  <c:v>All Others</c:v>
                </c:pt>
                <c:pt idx="1023">
                  <c:v>All Others</c:v>
                </c:pt>
                <c:pt idx="1024">
                  <c:v>All Others</c:v>
                </c:pt>
                <c:pt idx="1025">
                  <c:v>All Others</c:v>
                </c:pt>
                <c:pt idx="1026">
                  <c:v>Richesmonts</c:v>
                </c:pt>
                <c:pt idx="1027">
                  <c:v>Paysan Bret</c:v>
                </c:pt>
                <c:pt idx="1028">
                  <c:v>Aperivrais</c:v>
                </c:pt>
                <c:pt idx="1029">
                  <c:v>All Others</c:v>
                </c:pt>
                <c:pt idx="1030">
                  <c:v>All Others</c:v>
                </c:pt>
                <c:pt idx="1031">
                  <c:v>Lactalis: A</c:v>
                </c:pt>
                <c:pt idx="1032">
                  <c:v>Entremont</c:v>
                </c:pt>
                <c:pt idx="1033">
                  <c:v>All Others</c:v>
                </c:pt>
                <c:pt idx="1034">
                  <c:v>All Others</c:v>
                </c:pt>
                <c:pt idx="1035">
                  <c:v>Entremont</c:v>
                </c:pt>
                <c:pt idx="1036">
                  <c:v>Lactalis: A</c:v>
                </c:pt>
                <c:pt idx="1037">
                  <c:v>All Others</c:v>
                </c:pt>
                <c:pt idx="1038">
                  <c:v>All Others</c:v>
                </c:pt>
                <c:pt idx="1039">
                  <c:v>Other Suppl</c:v>
                </c:pt>
                <c:pt idx="1040">
                  <c:v>All Others</c:v>
                </c:pt>
                <c:pt idx="1041">
                  <c:v>All Others</c:v>
                </c:pt>
                <c:pt idx="1042">
                  <c:v>All Others</c:v>
                </c:pt>
                <c:pt idx="1043">
                  <c:v>All Others</c:v>
                </c:pt>
                <c:pt idx="1044">
                  <c:v>All Others</c:v>
                </c:pt>
                <c:pt idx="1045">
                  <c:v>All Others</c:v>
                </c:pt>
                <c:pt idx="1046">
                  <c:v>Petit Billy</c:v>
                </c:pt>
                <c:pt idx="1047">
                  <c:v>All Others</c:v>
                </c:pt>
                <c:pt idx="1048">
                  <c:v>All Others</c:v>
                </c:pt>
                <c:pt idx="1049">
                  <c:v>Lincet</c:v>
                </c:pt>
                <c:pt idx="1050">
                  <c:v>All Others</c:v>
                </c:pt>
                <c:pt idx="1051">
                  <c:v>All Others</c:v>
                </c:pt>
                <c:pt idx="1052">
                  <c:v>All Others</c:v>
                </c:pt>
                <c:pt idx="1053">
                  <c:v>All Others</c:v>
                </c:pt>
                <c:pt idx="1054">
                  <c:v>All Others</c:v>
                </c:pt>
                <c:pt idx="1055">
                  <c:v>All Others</c:v>
                </c:pt>
                <c:pt idx="1056">
                  <c:v>All Others</c:v>
                </c:pt>
                <c:pt idx="1057">
                  <c:v>All Others</c:v>
                </c:pt>
                <c:pt idx="1058">
                  <c:v>All Others</c:v>
                </c:pt>
                <c:pt idx="1059">
                  <c:v>La Belle Et</c:v>
                </c:pt>
                <c:pt idx="1060">
                  <c:v>All Others</c:v>
                </c:pt>
                <c:pt idx="1061">
                  <c:v>All Others</c:v>
                </c:pt>
                <c:pt idx="1062">
                  <c:v>All Others</c:v>
                </c:pt>
                <c:pt idx="1063">
                  <c:v>All Others</c:v>
                </c:pt>
                <c:pt idx="1064">
                  <c:v>All Others</c:v>
                </c:pt>
                <c:pt idx="1065">
                  <c:v>All Others</c:v>
                </c:pt>
                <c:pt idx="1066">
                  <c:v>All Others</c:v>
                </c:pt>
                <c:pt idx="1067">
                  <c:v>All Others</c:v>
                </c:pt>
                <c:pt idx="1068">
                  <c:v>All Others</c:v>
                </c:pt>
                <c:pt idx="1069">
                  <c:v>All Others</c:v>
                </c:pt>
                <c:pt idx="1070">
                  <c:v>All Others</c:v>
                </c:pt>
                <c:pt idx="1071">
                  <c:v>All Others</c:v>
                </c:pt>
                <c:pt idx="1072">
                  <c:v>All Others</c:v>
                </c:pt>
                <c:pt idx="1073">
                  <c:v>Richesmonts</c:v>
                </c:pt>
                <c:pt idx="1074">
                  <c:v>Fol Epi</c:v>
                </c:pt>
                <c:pt idx="1075">
                  <c:v>All Others</c:v>
                </c:pt>
                <c:pt idx="1076">
                  <c:v>All Others</c:v>
                </c:pt>
                <c:pt idx="1077">
                  <c:v>Dodin</c:v>
                </c:pt>
                <c:pt idx="1078">
                  <c:v>All Others</c:v>
                </c:pt>
                <c:pt idx="1079">
                  <c:v>Entremont</c:v>
                </c:pt>
                <c:pt idx="1080">
                  <c:v>All Others</c:v>
                </c:pt>
                <c:pt idx="1081">
                  <c:v>All Others</c:v>
                </c:pt>
                <c:pt idx="1082">
                  <c:v>All Others</c:v>
                </c:pt>
                <c:pt idx="1083">
                  <c:v>All Others</c:v>
                </c:pt>
                <c:pt idx="1084">
                  <c:v>All Others</c:v>
                </c:pt>
                <c:pt idx="1085">
                  <c:v>All Others</c:v>
                </c:pt>
                <c:pt idx="1086">
                  <c:v>All Others</c:v>
                </c:pt>
                <c:pt idx="1087">
                  <c:v>All Others</c:v>
                </c:pt>
                <c:pt idx="1088">
                  <c:v>All Others</c:v>
                </c:pt>
                <c:pt idx="1089">
                  <c:v>All Others</c:v>
                </c:pt>
                <c:pt idx="1090">
                  <c:v>All Others</c:v>
                </c:pt>
                <c:pt idx="1091">
                  <c:v>All Others</c:v>
                </c:pt>
                <c:pt idx="1092">
                  <c:v>All Others</c:v>
                </c:pt>
                <c:pt idx="1093">
                  <c:v>All Others</c:v>
                </c:pt>
                <c:pt idx="1094">
                  <c:v>All Others</c:v>
                </c:pt>
                <c:pt idx="1095">
                  <c:v>All Others</c:v>
                </c:pt>
                <c:pt idx="1096">
                  <c:v>All Others</c:v>
                </c:pt>
                <c:pt idx="1097">
                  <c:v>All Others</c:v>
                </c:pt>
                <c:pt idx="1098">
                  <c:v>All Others</c:v>
                </c:pt>
                <c:pt idx="1099">
                  <c:v>All Others</c:v>
                </c:pt>
                <c:pt idx="1100">
                  <c:v>All Others</c:v>
                </c:pt>
                <c:pt idx="1101">
                  <c:v>All Others</c:v>
                </c:pt>
                <c:pt idx="1102">
                  <c:v>All Others</c:v>
                </c:pt>
                <c:pt idx="1103">
                  <c:v>All Others</c:v>
                </c:pt>
                <c:pt idx="1104">
                  <c:v>All Others</c:v>
                </c:pt>
                <c:pt idx="1105">
                  <c:v>All Others</c:v>
                </c:pt>
                <c:pt idx="1106">
                  <c:v>Chavroux</c:v>
                </c:pt>
                <c:pt idx="1107">
                  <c:v>All Others</c:v>
                </c:pt>
                <c:pt idx="1108">
                  <c:v>All Others</c:v>
                </c:pt>
                <c:pt idx="1109">
                  <c:v>All Others</c:v>
                </c:pt>
                <c:pt idx="1110">
                  <c:v>All Others</c:v>
                </c:pt>
                <c:pt idx="1111">
                  <c:v>All Others</c:v>
                </c:pt>
                <c:pt idx="1112">
                  <c:v>All Others</c:v>
                </c:pt>
                <c:pt idx="1113">
                  <c:v>All Others</c:v>
                </c:pt>
                <c:pt idx="1114">
                  <c:v>All Others</c:v>
                </c:pt>
                <c:pt idx="1115">
                  <c:v>All Others</c:v>
                </c:pt>
                <c:pt idx="1116">
                  <c:v>All Others</c:v>
                </c:pt>
                <c:pt idx="1117">
                  <c:v>All Others</c:v>
                </c:pt>
                <c:pt idx="1118">
                  <c:v>Paysan Bret</c:v>
                </c:pt>
                <c:pt idx="1119">
                  <c:v>La Belle Et</c:v>
                </c:pt>
                <c:pt idx="1120">
                  <c:v>All Others</c:v>
                </c:pt>
                <c:pt idx="1121">
                  <c:v>All Others</c:v>
                </c:pt>
                <c:pt idx="1122">
                  <c:v>Paysan Bret</c:v>
                </c:pt>
                <c:pt idx="1123">
                  <c:v>All Others</c:v>
                </c:pt>
                <c:pt idx="1124">
                  <c:v>All Others</c:v>
                </c:pt>
                <c:pt idx="1125">
                  <c:v>All Others</c:v>
                </c:pt>
                <c:pt idx="1126">
                  <c:v>All Others</c:v>
                </c:pt>
                <c:pt idx="1127">
                  <c:v>Pave D'Affi</c:v>
                </c:pt>
                <c:pt idx="1128">
                  <c:v>All Others</c:v>
                </c:pt>
                <c:pt idx="1129">
                  <c:v>All Others</c:v>
                </c:pt>
                <c:pt idx="1130">
                  <c:v>All Others</c:v>
                </c:pt>
                <c:pt idx="1131">
                  <c:v>All Others</c:v>
                </c:pt>
                <c:pt idx="1132">
                  <c:v>All Others</c:v>
                </c:pt>
                <c:pt idx="1133">
                  <c:v>Corsica</c:v>
                </c:pt>
                <c:pt idx="1134">
                  <c:v>Lactalis: A</c:v>
                </c:pt>
                <c:pt idx="1135">
                  <c:v>All Others</c:v>
                </c:pt>
                <c:pt idx="1136">
                  <c:v>All Others</c:v>
                </c:pt>
                <c:pt idx="1137">
                  <c:v>All Others</c:v>
                </c:pt>
                <c:pt idx="1138">
                  <c:v>All Others</c:v>
                </c:pt>
                <c:pt idx="1139">
                  <c:v>Rians</c:v>
                </c:pt>
                <c:pt idx="1140">
                  <c:v>Laiteries H</c:v>
                </c:pt>
                <c:pt idx="1141">
                  <c:v>All Others</c:v>
                </c:pt>
                <c:pt idx="1142">
                  <c:v>All Others</c:v>
                </c:pt>
                <c:pt idx="1143">
                  <c:v>All Others</c:v>
                </c:pt>
                <c:pt idx="1144">
                  <c:v>All Others</c:v>
                </c:pt>
                <c:pt idx="1145">
                  <c:v>All Others</c:v>
                </c:pt>
                <c:pt idx="1146">
                  <c:v>Lactalis: A</c:v>
                </c:pt>
                <c:pt idx="1147">
                  <c:v>All Others</c:v>
                </c:pt>
                <c:pt idx="1148">
                  <c:v>All Others</c:v>
                </c:pt>
                <c:pt idx="1149">
                  <c:v>All Others</c:v>
                </c:pt>
                <c:pt idx="1150">
                  <c:v>All Others</c:v>
                </c:pt>
                <c:pt idx="1151">
                  <c:v>All Others</c:v>
                </c:pt>
                <c:pt idx="1152">
                  <c:v>All Others</c:v>
                </c:pt>
                <c:pt idx="1153">
                  <c:v>All Others</c:v>
                </c:pt>
                <c:pt idx="1154">
                  <c:v>All Others</c:v>
                </c:pt>
                <c:pt idx="1155">
                  <c:v>Pave D'Affi</c:v>
                </c:pt>
                <c:pt idx="1156">
                  <c:v>All Others</c:v>
                </c:pt>
                <c:pt idx="1157">
                  <c:v>All Others</c:v>
                </c:pt>
                <c:pt idx="1158">
                  <c:v>All Others</c:v>
                </c:pt>
                <c:pt idx="1159">
                  <c:v>Savencia: A</c:v>
                </c:pt>
                <c:pt idx="1160">
                  <c:v>All Others</c:v>
                </c:pt>
                <c:pt idx="1161">
                  <c:v>All Others</c:v>
                </c:pt>
                <c:pt idx="1162">
                  <c:v>Savencia: A</c:v>
                </c:pt>
                <c:pt idx="1163">
                  <c:v>All Others</c:v>
                </c:pt>
                <c:pt idx="1164">
                  <c:v>All Others</c:v>
                </c:pt>
                <c:pt idx="1165">
                  <c:v>All Others</c:v>
                </c:pt>
                <c:pt idx="1166">
                  <c:v>All Others</c:v>
                </c:pt>
                <c:pt idx="1167">
                  <c:v>All Others</c:v>
                </c:pt>
                <c:pt idx="1168">
                  <c:v>All Others</c:v>
                </c:pt>
                <c:pt idx="1169">
                  <c:v>All Others</c:v>
                </c:pt>
                <c:pt idx="1170">
                  <c:v>All Others</c:v>
                </c:pt>
                <c:pt idx="1171">
                  <c:v>Etoile Du V</c:v>
                </c:pt>
                <c:pt idx="1172">
                  <c:v>Mini Babybe</c:v>
                </c:pt>
                <c:pt idx="1173">
                  <c:v>All Others</c:v>
                </c:pt>
                <c:pt idx="1174">
                  <c:v>All Others</c:v>
                </c:pt>
                <c:pt idx="1175">
                  <c:v>All Others</c:v>
                </c:pt>
                <c:pt idx="1176">
                  <c:v>All Others</c:v>
                </c:pt>
                <c:pt idx="1177">
                  <c:v>All Others</c:v>
                </c:pt>
                <c:pt idx="1178">
                  <c:v>All Others</c:v>
                </c:pt>
                <c:pt idx="1179">
                  <c:v>All Others</c:v>
                </c:pt>
                <c:pt idx="1180">
                  <c:v>All Others</c:v>
                </c:pt>
                <c:pt idx="1181">
                  <c:v>Baillon</c:v>
                </c:pt>
                <c:pt idx="1182">
                  <c:v>All Others</c:v>
                </c:pt>
                <c:pt idx="1183">
                  <c:v>All Others</c:v>
                </c:pt>
                <c:pt idx="1184">
                  <c:v>All Others</c:v>
                </c:pt>
                <c:pt idx="1185">
                  <c:v>All Others</c:v>
                </c:pt>
                <c:pt idx="1186">
                  <c:v>Violife</c:v>
                </c:pt>
                <c:pt idx="1187">
                  <c:v>Richesmonts</c:v>
                </c:pt>
                <c:pt idx="1188">
                  <c:v>All Others</c:v>
                </c:pt>
                <c:pt idx="1189">
                  <c:v>All Others</c:v>
                </c:pt>
                <c:pt idx="1190">
                  <c:v>Gillot</c:v>
                </c:pt>
                <c:pt idx="1191">
                  <c:v>Gillot</c:v>
                </c:pt>
                <c:pt idx="1192">
                  <c:v>Private Lab</c:v>
                </c:pt>
                <c:pt idx="1193">
                  <c:v>All Others</c:v>
                </c:pt>
                <c:pt idx="1194">
                  <c:v>All Others</c:v>
                </c:pt>
                <c:pt idx="1195">
                  <c:v>All Others</c:v>
                </c:pt>
                <c:pt idx="1196">
                  <c:v>Netto</c:v>
                </c:pt>
                <c:pt idx="1197">
                  <c:v>All Others</c:v>
                </c:pt>
                <c:pt idx="1198">
                  <c:v>Private Lab</c:v>
                </c:pt>
                <c:pt idx="1199">
                  <c:v>All Others</c:v>
                </c:pt>
                <c:pt idx="1200">
                  <c:v>All Others</c:v>
                </c:pt>
                <c:pt idx="1201">
                  <c:v>Raguin</c:v>
                </c:pt>
                <c:pt idx="1202">
                  <c:v>Milleret: A</c:v>
                </c:pt>
                <c:pt idx="1203">
                  <c:v>All Others</c:v>
                </c:pt>
                <c:pt idx="1204">
                  <c:v>Private Lab</c:v>
                </c:pt>
                <c:pt idx="1205">
                  <c:v>All Others</c:v>
                </c:pt>
                <c:pt idx="1206">
                  <c:v>All Others</c:v>
                </c:pt>
                <c:pt idx="1207">
                  <c:v>Lactalis: A</c:v>
                </c:pt>
                <c:pt idx="1208">
                  <c:v>All Others</c:v>
                </c:pt>
                <c:pt idx="1209">
                  <c:v>La Vache Qu</c:v>
                </c:pt>
                <c:pt idx="1210">
                  <c:v>All Others</c:v>
                </c:pt>
                <c:pt idx="1211">
                  <c:v>All Others</c:v>
                </c:pt>
                <c:pt idx="1212">
                  <c:v>All Others</c:v>
                </c:pt>
                <c:pt idx="1213">
                  <c:v>All Others</c:v>
                </c:pt>
                <c:pt idx="1214">
                  <c:v>Lactalis: A</c:v>
                </c:pt>
                <c:pt idx="1215">
                  <c:v>All Others</c:v>
                </c:pt>
                <c:pt idx="1216">
                  <c:v>All Others</c:v>
                </c:pt>
                <c:pt idx="1217">
                  <c:v>Private Lab</c:v>
                </c:pt>
                <c:pt idx="1218">
                  <c:v>All Others</c:v>
                </c:pt>
                <c:pt idx="1219">
                  <c:v>All Others</c:v>
                </c:pt>
                <c:pt idx="1220">
                  <c:v>All Others</c:v>
                </c:pt>
                <c:pt idx="1221">
                  <c:v>All Others</c:v>
                </c:pt>
                <c:pt idx="1222">
                  <c:v>All Others</c:v>
                </c:pt>
                <c:pt idx="1223">
                  <c:v>All Others</c:v>
                </c:pt>
                <c:pt idx="1224">
                  <c:v>Savencia: A</c:v>
                </c:pt>
                <c:pt idx="1225">
                  <c:v>Savencia: A</c:v>
                </c:pt>
                <c:pt idx="1226">
                  <c:v>All Others</c:v>
                </c:pt>
                <c:pt idx="1227">
                  <c:v>All Others</c:v>
                </c:pt>
                <c:pt idx="1228">
                  <c:v>All Others</c:v>
                </c:pt>
                <c:pt idx="1229">
                  <c:v>Raguin</c:v>
                </c:pt>
                <c:pt idx="1230">
                  <c:v>All Others</c:v>
                </c:pt>
                <c:pt idx="1231">
                  <c:v>All Others</c:v>
                </c:pt>
                <c:pt idx="1232">
                  <c:v>Private Lab</c:v>
                </c:pt>
                <c:pt idx="1233">
                  <c:v>All Others</c:v>
                </c:pt>
                <c:pt idx="1234">
                  <c:v>Gillot</c:v>
                </c:pt>
                <c:pt idx="1235">
                  <c:v>All Others</c:v>
                </c:pt>
                <c:pt idx="1236">
                  <c:v>All Others</c:v>
                </c:pt>
                <c:pt idx="1237">
                  <c:v>All Others</c:v>
                </c:pt>
                <c:pt idx="1238">
                  <c:v>Private Lab</c:v>
                </c:pt>
                <c:pt idx="1239">
                  <c:v>La Vache Qu</c:v>
                </c:pt>
                <c:pt idx="1240">
                  <c:v>All Others</c:v>
                </c:pt>
                <c:pt idx="1241">
                  <c:v>All Others</c:v>
                </c:pt>
                <c:pt idx="1242">
                  <c:v>All Others</c:v>
                </c:pt>
                <c:pt idx="1243">
                  <c:v>All Others</c:v>
                </c:pt>
                <c:pt idx="1244">
                  <c:v>All Others</c:v>
                </c:pt>
                <c:pt idx="1245">
                  <c:v>All Others</c:v>
                </c:pt>
                <c:pt idx="1246">
                  <c:v>Netto</c:v>
                </c:pt>
                <c:pt idx="1247">
                  <c:v>President</c:v>
                </c:pt>
                <c:pt idx="1248">
                  <c:v>All Others</c:v>
                </c:pt>
                <c:pt idx="1249">
                  <c:v>Kiri</c:v>
                </c:pt>
                <c:pt idx="1250">
                  <c:v>La Vache Qu</c:v>
                </c:pt>
                <c:pt idx="1251">
                  <c:v>All Others</c:v>
                </c:pt>
                <c:pt idx="1252">
                  <c:v>All Others</c:v>
                </c:pt>
                <c:pt idx="1253">
                  <c:v>All Others</c:v>
                </c:pt>
                <c:pt idx="1254">
                  <c:v>All Others</c:v>
                </c:pt>
                <c:pt idx="1255">
                  <c:v>All Others</c:v>
                </c:pt>
                <c:pt idx="1256">
                  <c:v>La Vache Qu</c:v>
                </c:pt>
              </c:strCache>
            </c:strRef>
          </c:cat>
          <c:val>
            <c:numRef>
              <c:f>Sheet1!$C$2:$C$1258</c:f>
              <c:numCache>
                <c:formatCode>General</c:formatCode>
                <c:ptCount val="1257"/>
                <c:pt idx="0">
                  <c:v>2.1347058748603372E-2</c:v>
                </c:pt>
                <c:pt idx="1">
                  <c:v>3.9794340574746616E-2</c:v>
                </c:pt>
                <c:pt idx="2">
                  <c:v>5.7569260030734308E-2</c:v>
                </c:pt>
                <c:pt idx="3">
                  <c:v>7.5199850138831625E-2</c:v>
                </c:pt>
                <c:pt idx="4">
                  <c:v>8.7922385613998802E-2</c:v>
                </c:pt>
                <c:pt idx="5">
                  <c:v>9.9889834832740484E-2</c:v>
                </c:pt>
                <c:pt idx="6">
                  <c:v>0.11156455251666185</c:v>
                </c:pt>
                <c:pt idx="7">
                  <c:v>0.12189624096807969</c:v>
                </c:pt>
                <c:pt idx="8">
                  <c:v>0.13180583244910993</c:v>
                </c:pt>
                <c:pt idx="9">
                  <c:v>0.14136080334342555</c:v>
                </c:pt>
                <c:pt idx="10">
                  <c:v>0.15074618725396999</c:v>
                </c:pt>
                <c:pt idx="11">
                  <c:v>0.16002702289482809</c:v>
                </c:pt>
                <c:pt idx="12">
                  <c:v>0.16930281424911278</c:v>
                </c:pt>
                <c:pt idx="13">
                  <c:v>0.17771313032441116</c:v>
                </c:pt>
                <c:pt idx="14">
                  <c:v>0.18610522421615483</c:v>
                </c:pt>
                <c:pt idx="15">
                  <c:v>0.19440239983985236</c:v>
                </c:pt>
                <c:pt idx="16">
                  <c:v>0.20224744809331066</c:v>
                </c:pt>
                <c:pt idx="17">
                  <c:v>0.20990934530053718</c:v>
                </c:pt>
                <c:pt idx="18">
                  <c:v>0.21740161932097882</c:v>
                </c:pt>
                <c:pt idx="19">
                  <c:v>0.22487081392019634</c:v>
                </c:pt>
                <c:pt idx="20">
                  <c:v>0.23225744754670549</c:v>
                </c:pt>
                <c:pt idx="21">
                  <c:v>0.23938359445591634</c:v>
                </c:pt>
                <c:pt idx="22">
                  <c:v>0.24645321639309387</c:v>
                </c:pt>
                <c:pt idx="23">
                  <c:v>0.25337618595566958</c:v>
                </c:pt>
                <c:pt idx="24">
                  <c:v>0.26014290331118134</c:v>
                </c:pt>
                <c:pt idx="25">
                  <c:v>0.26650010424356102</c:v>
                </c:pt>
                <c:pt idx="26">
                  <c:v>0.27282285800841949</c:v>
                </c:pt>
                <c:pt idx="27">
                  <c:v>0.27901175113017812</c:v>
                </c:pt>
                <c:pt idx="28">
                  <c:v>0.2851563679662002</c:v>
                </c:pt>
                <c:pt idx="29">
                  <c:v>0.29125695590374584</c:v>
                </c:pt>
                <c:pt idx="30">
                  <c:v>0.29729206465720676</c:v>
                </c:pt>
                <c:pt idx="31">
                  <c:v>0.30312246346978655</c:v>
                </c:pt>
                <c:pt idx="32">
                  <c:v>0.30885939816870317</c:v>
                </c:pt>
                <c:pt idx="33">
                  <c:v>0.31458713730214383</c:v>
                </c:pt>
                <c:pt idx="34">
                  <c:v>0.32029439759751011</c:v>
                </c:pt>
                <c:pt idx="35">
                  <c:v>0.32587957529689537</c:v>
                </c:pt>
                <c:pt idx="36">
                  <c:v>0.33143297278410089</c:v>
                </c:pt>
                <c:pt idx="37">
                  <c:v>0.33694141819598106</c:v>
                </c:pt>
                <c:pt idx="38">
                  <c:v>0.34243556945129128</c:v>
                </c:pt>
                <c:pt idx="39">
                  <c:v>0.34789911709236654</c:v>
                </c:pt>
                <c:pt idx="40">
                  <c:v>0.35325560638814002</c:v>
                </c:pt>
                <c:pt idx="41">
                  <c:v>0.35850179716888692</c:v>
                </c:pt>
                <c:pt idx="42">
                  <c:v>0.36364430251844032</c:v>
                </c:pt>
                <c:pt idx="43">
                  <c:v>0.36861584516970253</c:v>
                </c:pt>
                <c:pt idx="44">
                  <c:v>0.37356838727261577</c:v>
                </c:pt>
                <c:pt idx="45">
                  <c:v>0.37849280566773147</c:v>
                </c:pt>
                <c:pt idx="46">
                  <c:v>0.3834113652084658</c:v>
                </c:pt>
                <c:pt idx="47">
                  <c:v>0.38832189974783338</c:v>
                </c:pt>
                <c:pt idx="48">
                  <c:v>0.39315579250723004</c:v>
                </c:pt>
                <c:pt idx="49">
                  <c:v>0.39790398669939897</c:v>
                </c:pt>
                <c:pt idx="50">
                  <c:v>0.40255143393831849</c:v>
                </c:pt>
                <c:pt idx="51">
                  <c:v>0.40718777891970798</c:v>
                </c:pt>
                <c:pt idx="52">
                  <c:v>0.41176793079002294</c:v>
                </c:pt>
                <c:pt idx="53">
                  <c:v>0.41633460307157588</c:v>
                </c:pt>
                <c:pt idx="54">
                  <c:v>0.42090072024025232</c:v>
                </c:pt>
                <c:pt idx="55">
                  <c:v>0.42538735369238362</c:v>
                </c:pt>
                <c:pt idx="56">
                  <c:v>0.42967753752458954</c:v>
                </c:pt>
                <c:pt idx="57">
                  <c:v>0.43391163082092638</c:v>
                </c:pt>
                <c:pt idx="58">
                  <c:v>0.43792288853419714</c:v>
                </c:pt>
                <c:pt idx="59">
                  <c:v>0.44186161954338588</c:v>
                </c:pt>
                <c:pt idx="60">
                  <c:v>0.44577381977737923</c:v>
                </c:pt>
                <c:pt idx="61">
                  <c:v>0.44967690891959522</c:v>
                </c:pt>
                <c:pt idx="62">
                  <c:v>0.45352953106073451</c:v>
                </c:pt>
                <c:pt idx="63">
                  <c:v>0.4573323318212078</c:v>
                </c:pt>
                <c:pt idx="64">
                  <c:v>0.4610884849985481</c:v>
                </c:pt>
                <c:pt idx="65">
                  <c:v>0.46476922729838277</c:v>
                </c:pt>
                <c:pt idx="66">
                  <c:v>0.46843560303562021</c:v>
                </c:pt>
                <c:pt idx="67">
                  <c:v>0.4720942373617647</c:v>
                </c:pt>
                <c:pt idx="68">
                  <c:v>0.47574799031489734</c:v>
                </c:pt>
                <c:pt idx="69">
                  <c:v>0.47940136917022186</c:v>
                </c:pt>
                <c:pt idx="70">
                  <c:v>0.48302526067090007</c:v>
                </c:pt>
                <c:pt idx="71">
                  <c:v>0.48664822899472931</c:v>
                </c:pt>
                <c:pt idx="72">
                  <c:v>0.49026815023157344</c:v>
                </c:pt>
                <c:pt idx="73">
                  <c:v>0.4938690226493837</c:v>
                </c:pt>
                <c:pt idx="74">
                  <c:v>0.4974070406016014</c:v>
                </c:pt>
                <c:pt idx="75">
                  <c:v>0.50092013277889702</c:v>
                </c:pt>
                <c:pt idx="76">
                  <c:v>0.50442440952236045</c:v>
                </c:pt>
                <c:pt idx="77">
                  <c:v>0.50792319547541498</c:v>
                </c:pt>
                <c:pt idx="78">
                  <c:v>0.51141839733011463</c:v>
                </c:pt>
                <c:pt idx="79">
                  <c:v>0.51482971680210643</c:v>
                </c:pt>
                <c:pt idx="80">
                  <c:v>0.51821250829931453</c:v>
                </c:pt>
                <c:pt idx="81">
                  <c:v>0.52155267678174433</c:v>
                </c:pt>
                <c:pt idx="82">
                  <c:v>0.52484816471145135</c:v>
                </c:pt>
                <c:pt idx="83">
                  <c:v>0.52812128521253676</c:v>
                </c:pt>
                <c:pt idx="84">
                  <c:v>0.53135276621404892</c:v>
                </c:pt>
                <c:pt idx="85">
                  <c:v>0.53457893140638502</c:v>
                </c:pt>
                <c:pt idx="86">
                  <c:v>0.53777490931914362</c:v>
                </c:pt>
                <c:pt idx="87">
                  <c:v>0.54096116068889222</c:v>
                </c:pt>
                <c:pt idx="88">
                  <c:v>0.54411297695879079</c:v>
                </c:pt>
                <c:pt idx="89">
                  <c:v>0.54722548278966321</c:v>
                </c:pt>
                <c:pt idx="90">
                  <c:v>0.55030552658493159</c:v>
                </c:pt>
                <c:pt idx="91">
                  <c:v>0.553378094457874</c:v>
                </c:pt>
                <c:pt idx="92">
                  <c:v>0.55632229247812548</c:v>
                </c:pt>
                <c:pt idx="93">
                  <c:v>0.55924274735523527</c:v>
                </c:pt>
                <c:pt idx="94">
                  <c:v>0.56215617281385455</c:v>
                </c:pt>
                <c:pt idx="95">
                  <c:v>0.56505596180398587</c:v>
                </c:pt>
                <c:pt idx="96">
                  <c:v>0.56794497436371039</c:v>
                </c:pt>
                <c:pt idx="97">
                  <c:v>0.57077682236482641</c:v>
                </c:pt>
                <c:pt idx="98">
                  <c:v>0.57360680591073765</c:v>
                </c:pt>
                <c:pt idx="99">
                  <c:v>0.57640890106844034</c:v>
                </c:pt>
                <c:pt idx="100">
                  <c:v>0.57920503479655627</c:v>
                </c:pt>
                <c:pt idx="101">
                  <c:v>0.58195353742633416</c:v>
                </c:pt>
                <c:pt idx="102">
                  <c:v>0.58465641822503345</c:v>
                </c:pt>
                <c:pt idx="103">
                  <c:v>0.58734415409634122</c:v>
                </c:pt>
                <c:pt idx="104">
                  <c:v>0.58997490039027345</c:v>
                </c:pt>
                <c:pt idx="105">
                  <c:v>0.59258742450065094</c:v>
                </c:pt>
                <c:pt idx="106">
                  <c:v>0.5951804351866522</c:v>
                </c:pt>
                <c:pt idx="107">
                  <c:v>0.59776793094690217</c:v>
                </c:pt>
                <c:pt idx="108">
                  <c:v>0.60035076255222242</c:v>
                </c:pt>
                <c:pt idx="109">
                  <c:v>0.60292126099754739</c:v>
                </c:pt>
                <c:pt idx="110">
                  <c:v>0.60548277506164283</c:v>
                </c:pt>
                <c:pt idx="111">
                  <c:v>0.60802706855889554</c:v>
                </c:pt>
                <c:pt idx="112">
                  <c:v>0.61056313793820616</c:v>
                </c:pt>
                <c:pt idx="113">
                  <c:v>0.61307158441807519</c:v>
                </c:pt>
                <c:pt idx="114">
                  <c:v>0.61552237156481548</c:v>
                </c:pt>
                <c:pt idx="115">
                  <c:v>0.61794196378143063</c:v>
                </c:pt>
                <c:pt idx="116">
                  <c:v>0.62035552216243162</c:v>
                </c:pt>
                <c:pt idx="117">
                  <c:v>0.62275468381165722</c:v>
                </c:pt>
                <c:pt idx="118">
                  <c:v>0.62514898218937787</c:v>
                </c:pt>
                <c:pt idx="119">
                  <c:v>0.62751661101368394</c:v>
                </c:pt>
                <c:pt idx="120">
                  <c:v>0.62987054906498152</c:v>
                </c:pt>
                <c:pt idx="121">
                  <c:v>0.63218244938355539</c:v>
                </c:pt>
                <c:pt idx="122">
                  <c:v>0.63447150560049403</c:v>
                </c:pt>
                <c:pt idx="123">
                  <c:v>0.63670260682635882</c:v>
                </c:pt>
                <c:pt idx="124">
                  <c:v>0.63892132662154344</c:v>
                </c:pt>
                <c:pt idx="125">
                  <c:v>0.64109184813784226</c:v>
                </c:pt>
                <c:pt idx="126">
                  <c:v>0.6432577236007182</c:v>
                </c:pt>
                <c:pt idx="127">
                  <c:v>0.64540888857236678</c:v>
                </c:pt>
                <c:pt idx="128">
                  <c:v>0.64754636277100686</c:v>
                </c:pt>
                <c:pt idx="129">
                  <c:v>0.64966927732431001</c:v>
                </c:pt>
                <c:pt idx="130">
                  <c:v>0.65179100321199723</c:v>
                </c:pt>
                <c:pt idx="131">
                  <c:v>0.65390156046996262</c:v>
                </c:pt>
                <c:pt idx="132">
                  <c:v>0.65600498573423205</c:v>
                </c:pt>
                <c:pt idx="133">
                  <c:v>0.65809735701165639</c:v>
                </c:pt>
                <c:pt idx="134">
                  <c:v>0.6601676987552535</c:v>
                </c:pt>
                <c:pt idx="135">
                  <c:v>0.66218221545174849</c:v>
                </c:pt>
                <c:pt idx="136">
                  <c:v>0.66418694526687738</c:v>
                </c:pt>
                <c:pt idx="137">
                  <c:v>0.66615425926736294</c:v>
                </c:pt>
                <c:pt idx="138">
                  <c:v>0.66811482140579626</c:v>
                </c:pt>
                <c:pt idx="139">
                  <c:v>0.67006583801628805</c:v>
                </c:pt>
                <c:pt idx="140">
                  <c:v>0.67200796075308455</c:v>
                </c:pt>
                <c:pt idx="141">
                  <c:v>0.67394334369550002</c:v>
                </c:pt>
                <c:pt idx="142">
                  <c:v>0.67587226439997272</c:v>
                </c:pt>
                <c:pt idx="143">
                  <c:v>0.67779422205814677</c:v>
                </c:pt>
                <c:pt idx="144">
                  <c:v>0.67968408574468919</c:v>
                </c:pt>
                <c:pt idx="145">
                  <c:v>0.68156783112191888</c:v>
                </c:pt>
                <c:pt idx="146">
                  <c:v>0.68344627275764369</c:v>
                </c:pt>
                <c:pt idx="147">
                  <c:v>0.68531253811309911</c:v>
                </c:pt>
                <c:pt idx="148">
                  <c:v>0.6871604968113012</c:v>
                </c:pt>
                <c:pt idx="149">
                  <c:v>0.68900138988799919</c:v>
                </c:pt>
                <c:pt idx="150">
                  <c:v>0.69084037627264305</c:v>
                </c:pt>
                <c:pt idx="151">
                  <c:v>0.69264873490770951</c:v>
                </c:pt>
                <c:pt idx="152">
                  <c:v>0.69445533769661227</c:v>
                </c:pt>
                <c:pt idx="153">
                  <c:v>0.69626015447017331</c:v>
                </c:pt>
                <c:pt idx="154">
                  <c:v>0.69806032519031136</c:v>
                </c:pt>
                <c:pt idx="155">
                  <c:v>0.69984335981730528</c:v>
                </c:pt>
                <c:pt idx="156">
                  <c:v>0.70161937105964434</c:v>
                </c:pt>
                <c:pt idx="157">
                  <c:v>0.70338193891623513</c:v>
                </c:pt>
                <c:pt idx="158">
                  <c:v>0.70513849707255416</c:v>
                </c:pt>
                <c:pt idx="159">
                  <c:v>0.70684908946916469</c:v>
                </c:pt>
                <c:pt idx="160">
                  <c:v>0.70855181374413434</c:v>
                </c:pt>
                <c:pt idx="161">
                  <c:v>0.71022908730048351</c:v>
                </c:pt>
                <c:pt idx="162">
                  <c:v>0.71190272245395736</c:v>
                </c:pt>
                <c:pt idx="163">
                  <c:v>0.71356065153332759</c:v>
                </c:pt>
                <c:pt idx="164">
                  <c:v>0.71520924626900273</c:v>
                </c:pt>
                <c:pt idx="165">
                  <c:v>0.7168547697823503</c:v>
                </c:pt>
                <c:pt idx="166">
                  <c:v>0.71849404827583718</c:v>
                </c:pt>
                <c:pt idx="167">
                  <c:v>0.72012553708754623</c:v>
                </c:pt>
                <c:pt idx="168">
                  <c:v>0.72175006285295651</c:v>
                </c:pt>
                <c:pt idx="169">
                  <c:v>0.72337207250891566</c:v>
                </c:pt>
                <c:pt idx="170">
                  <c:v>0.72499239269090288</c:v>
                </c:pt>
                <c:pt idx="171">
                  <c:v>0.72661121044782218</c:v>
                </c:pt>
                <c:pt idx="172">
                  <c:v>0.72820828226118806</c:v>
                </c:pt>
                <c:pt idx="173">
                  <c:v>0.72979848153578952</c:v>
                </c:pt>
                <c:pt idx="174">
                  <c:v>0.73138139193696905</c:v>
                </c:pt>
                <c:pt idx="175">
                  <c:v>0.73295672384061716</c:v>
                </c:pt>
                <c:pt idx="176">
                  <c:v>0.73452237143810462</c:v>
                </c:pt>
                <c:pt idx="177">
                  <c:v>0.73607332664587166</c:v>
                </c:pt>
                <c:pt idx="178">
                  <c:v>0.7375853575800918</c:v>
                </c:pt>
                <c:pt idx="179">
                  <c:v>0.73909682736759985</c:v>
                </c:pt>
                <c:pt idx="180">
                  <c:v>0.7406077118730533</c:v>
                </c:pt>
                <c:pt idx="181">
                  <c:v>0.7421136244979607</c:v>
                </c:pt>
                <c:pt idx="182">
                  <c:v>0.74360875465862564</c:v>
                </c:pt>
                <c:pt idx="183">
                  <c:v>0.74510109115340117</c:v>
                </c:pt>
                <c:pt idx="184">
                  <c:v>0.74655526363791724</c:v>
                </c:pt>
                <c:pt idx="185">
                  <c:v>0.74800034313216279</c:v>
                </c:pt>
                <c:pt idx="186">
                  <c:v>0.74944406501339522</c:v>
                </c:pt>
                <c:pt idx="187">
                  <c:v>0.75088724988325795</c:v>
                </c:pt>
                <c:pt idx="188">
                  <c:v>0.75232589730873889</c:v>
                </c:pt>
                <c:pt idx="189">
                  <c:v>0.75376131663216628</c:v>
                </c:pt>
                <c:pt idx="190">
                  <c:v>0.75518046873477784</c:v>
                </c:pt>
                <c:pt idx="191">
                  <c:v>0.75659594623150039</c:v>
                </c:pt>
                <c:pt idx="192">
                  <c:v>0.7580091851752101</c:v>
                </c:pt>
                <c:pt idx="193">
                  <c:v>0.75941380780166279</c:v>
                </c:pt>
                <c:pt idx="194">
                  <c:v>0.76081688576619833</c:v>
                </c:pt>
                <c:pt idx="195">
                  <c:v>0.76221781568525515</c:v>
                </c:pt>
                <c:pt idx="196">
                  <c:v>0.76361428659979314</c:v>
                </c:pt>
                <c:pt idx="197">
                  <c:v>0.76499879241830826</c:v>
                </c:pt>
                <c:pt idx="198">
                  <c:v>0.76637047633614341</c:v>
                </c:pt>
                <c:pt idx="199">
                  <c:v>0.76773467829781694</c:v>
                </c:pt>
                <c:pt idx="200">
                  <c:v>0.76908234754990779</c:v>
                </c:pt>
                <c:pt idx="201">
                  <c:v>0.77042970304254665</c:v>
                </c:pt>
                <c:pt idx="202">
                  <c:v>0.77176819483066839</c:v>
                </c:pt>
                <c:pt idx="203">
                  <c:v>0.77310193799016169</c:v>
                </c:pt>
                <c:pt idx="204">
                  <c:v>0.7744275053023979</c:v>
                </c:pt>
                <c:pt idx="205">
                  <c:v>0.77574816107244415</c:v>
                </c:pt>
                <c:pt idx="206">
                  <c:v>0.77706641537591603</c:v>
                </c:pt>
                <c:pt idx="207">
                  <c:v>0.77838401199130591</c:v>
                </c:pt>
                <c:pt idx="208">
                  <c:v>0.77969624452683484</c:v>
                </c:pt>
                <c:pt idx="209">
                  <c:v>0.78100641952441929</c:v>
                </c:pt>
                <c:pt idx="210">
                  <c:v>0.78231330608159411</c:v>
                </c:pt>
                <c:pt idx="211">
                  <c:v>0.783612137468224</c:v>
                </c:pt>
                <c:pt idx="212">
                  <c:v>0.78490593060211611</c:v>
                </c:pt>
                <c:pt idx="213">
                  <c:v>0.78618967739971068</c:v>
                </c:pt>
                <c:pt idx="214">
                  <c:v>0.78746891692210141</c:v>
                </c:pt>
                <c:pt idx="215">
                  <c:v>0.78874620751558877</c:v>
                </c:pt>
                <c:pt idx="216">
                  <c:v>0.79001531019414784</c:v>
                </c:pt>
                <c:pt idx="217">
                  <c:v>0.79128402067339187</c:v>
                </c:pt>
                <c:pt idx="218">
                  <c:v>0.79255116838921191</c:v>
                </c:pt>
                <c:pt idx="219">
                  <c:v>0.79380324961750337</c:v>
                </c:pt>
                <c:pt idx="220">
                  <c:v>0.79503733794799347</c:v>
                </c:pt>
                <c:pt idx="221">
                  <c:v>0.79627073842122353</c:v>
                </c:pt>
                <c:pt idx="222">
                  <c:v>0.79749956524705812</c:v>
                </c:pt>
                <c:pt idx="223">
                  <c:v>0.79872812055029008</c:v>
                </c:pt>
                <c:pt idx="224">
                  <c:v>0.79993315596229808</c:v>
                </c:pt>
                <c:pt idx="225">
                  <c:v>0.80113335223814353</c:v>
                </c:pt>
                <c:pt idx="226">
                  <c:v>0.80232087142536368</c:v>
                </c:pt>
                <c:pt idx="227">
                  <c:v>0.8035076544846389</c:v>
                </c:pt>
                <c:pt idx="228">
                  <c:v>0.80469277220528457</c:v>
                </c:pt>
                <c:pt idx="229">
                  <c:v>0.80587388345908251</c:v>
                </c:pt>
                <c:pt idx="230">
                  <c:v>0.80705312422384001</c:v>
                </c:pt>
                <c:pt idx="231">
                  <c:v>0.80821541594435742</c:v>
                </c:pt>
                <c:pt idx="232">
                  <c:v>0.80937278405501367</c:v>
                </c:pt>
                <c:pt idx="233">
                  <c:v>0.81052907814293063</c:v>
                </c:pt>
                <c:pt idx="234">
                  <c:v>0.81168405082084805</c:v>
                </c:pt>
                <c:pt idx="235">
                  <c:v>0.81283663409986229</c:v>
                </c:pt>
                <c:pt idx="236">
                  <c:v>0.81397170718792422</c:v>
                </c:pt>
                <c:pt idx="237">
                  <c:v>0.81509507463489472</c:v>
                </c:pt>
                <c:pt idx="238">
                  <c:v>0.81619531438995618</c:v>
                </c:pt>
                <c:pt idx="239">
                  <c:v>0.81729362331762112</c:v>
                </c:pt>
                <c:pt idx="240">
                  <c:v>0.81838455286432998</c:v>
                </c:pt>
                <c:pt idx="241">
                  <c:v>0.81947303870761512</c:v>
                </c:pt>
                <c:pt idx="242">
                  <c:v>0.82055004819556221</c:v>
                </c:pt>
                <c:pt idx="243">
                  <c:v>0.82162016704323793</c:v>
                </c:pt>
                <c:pt idx="244">
                  <c:v>0.82268096964872539</c:v>
                </c:pt>
                <c:pt idx="245">
                  <c:v>0.82373403084311991</c:v>
                </c:pt>
                <c:pt idx="246">
                  <c:v>0.82478059359655798</c:v>
                </c:pt>
                <c:pt idx="247">
                  <c:v>0.82581829867931444</c:v>
                </c:pt>
                <c:pt idx="248">
                  <c:v>0.82685274549083931</c:v>
                </c:pt>
                <c:pt idx="249">
                  <c:v>0.82788632946387131</c:v>
                </c:pt>
                <c:pt idx="250">
                  <c:v>0.82891705943265781</c:v>
                </c:pt>
                <c:pt idx="251">
                  <c:v>0.82993167302651893</c:v>
                </c:pt>
                <c:pt idx="252">
                  <c:v>0.8309458642518871</c:v>
                </c:pt>
                <c:pt idx="253">
                  <c:v>0.83195877027026943</c:v>
                </c:pt>
                <c:pt idx="254">
                  <c:v>0.83296766982180404</c:v>
                </c:pt>
                <c:pt idx="255">
                  <c:v>0.83397649093347559</c:v>
                </c:pt>
                <c:pt idx="256">
                  <c:v>0.83498289851090146</c:v>
                </c:pt>
                <c:pt idx="257">
                  <c:v>0.83598677187736947</c:v>
                </c:pt>
                <c:pt idx="258">
                  <c:v>0.83698823774342745</c:v>
                </c:pt>
                <c:pt idx="259">
                  <c:v>0.83797907802496885</c:v>
                </c:pt>
                <c:pt idx="260">
                  <c:v>0.83896867533637376</c:v>
                </c:pt>
                <c:pt idx="261">
                  <c:v>0.8399518224775071</c:v>
                </c:pt>
                <c:pt idx="262">
                  <c:v>0.84092344499261751</c:v>
                </c:pt>
                <c:pt idx="263">
                  <c:v>0.84189494683101562</c:v>
                </c:pt>
                <c:pt idx="264">
                  <c:v>0.8428662857558521</c:v>
                </c:pt>
                <c:pt idx="265">
                  <c:v>0.84383750400397628</c:v>
                </c:pt>
                <c:pt idx="266">
                  <c:v>0.84480800422566238</c:v>
                </c:pt>
                <c:pt idx="267">
                  <c:v>0.84577685721022589</c:v>
                </c:pt>
                <c:pt idx="268">
                  <c:v>0.84672824827452198</c:v>
                </c:pt>
                <c:pt idx="269">
                  <c:v>0.84766827159252112</c:v>
                </c:pt>
                <c:pt idx="270">
                  <c:v>0.84860653303052092</c:v>
                </c:pt>
                <c:pt idx="271">
                  <c:v>0.84954107762578235</c:v>
                </c:pt>
                <c:pt idx="272">
                  <c:v>0.85047410772830467</c:v>
                </c:pt>
                <c:pt idx="273">
                  <c:v>0.85140690854507362</c:v>
                </c:pt>
                <c:pt idx="274">
                  <c:v>0.85233306610883142</c:v>
                </c:pt>
                <c:pt idx="275">
                  <c:v>0.85325471639738537</c:v>
                </c:pt>
                <c:pt idx="276">
                  <c:v>0.85417532886621372</c:v>
                </c:pt>
                <c:pt idx="277">
                  <c:v>0.85509543449285053</c:v>
                </c:pt>
                <c:pt idx="278">
                  <c:v>0.85599542934538542</c:v>
                </c:pt>
                <c:pt idx="279">
                  <c:v>0.85688885938477211</c:v>
                </c:pt>
                <c:pt idx="280">
                  <c:v>0.85778191532635073</c:v>
                </c:pt>
                <c:pt idx="281">
                  <c:v>0.85867425927532681</c:v>
                </c:pt>
                <c:pt idx="282">
                  <c:v>0.85956300705827693</c:v>
                </c:pt>
                <c:pt idx="283">
                  <c:v>0.86045138074341887</c:v>
                </c:pt>
                <c:pt idx="284">
                  <c:v>0.86132775916335991</c:v>
                </c:pt>
                <c:pt idx="285">
                  <c:v>0.86220233950028791</c:v>
                </c:pt>
                <c:pt idx="286">
                  <c:v>0.86307591218666835</c:v>
                </c:pt>
                <c:pt idx="287">
                  <c:v>0.86394691445907723</c:v>
                </c:pt>
                <c:pt idx="288">
                  <c:v>0.86481235353504982</c:v>
                </c:pt>
                <c:pt idx="289">
                  <c:v>0.86567774434033751</c:v>
                </c:pt>
                <c:pt idx="290">
                  <c:v>0.86654219990110504</c:v>
                </c:pt>
                <c:pt idx="291">
                  <c:v>0.86739834687023187</c:v>
                </c:pt>
                <c:pt idx="292">
                  <c:v>0.86825380598209867</c:v>
                </c:pt>
                <c:pt idx="293">
                  <c:v>0.86909492870054628</c:v>
                </c:pt>
                <c:pt idx="294">
                  <c:v>0.86993082611735206</c:v>
                </c:pt>
                <c:pt idx="295">
                  <c:v>0.87076561330840485</c:v>
                </c:pt>
                <c:pt idx="296">
                  <c:v>0.8715832161356285</c:v>
                </c:pt>
                <c:pt idx="297">
                  <c:v>0.87238485343381711</c:v>
                </c:pt>
                <c:pt idx="298">
                  <c:v>0.87317622114379045</c:v>
                </c:pt>
                <c:pt idx="299">
                  <c:v>0.87396745007554466</c:v>
                </c:pt>
                <c:pt idx="300">
                  <c:v>0.87475686282277909</c:v>
                </c:pt>
                <c:pt idx="301">
                  <c:v>0.87554499639686323</c:v>
                </c:pt>
                <c:pt idx="302">
                  <c:v>0.8763322671324546</c:v>
                </c:pt>
                <c:pt idx="303">
                  <c:v>0.87711944132667619</c:v>
                </c:pt>
                <c:pt idx="304">
                  <c:v>0.87790576475007609</c:v>
                </c:pt>
                <c:pt idx="305">
                  <c:v>0.87869165977114738</c:v>
                </c:pt>
                <c:pt idx="306">
                  <c:v>0.87947523176550724</c:v>
                </c:pt>
                <c:pt idx="307">
                  <c:v>0.88025736167315538</c:v>
                </c:pt>
                <c:pt idx="308">
                  <c:v>0.88102772560135589</c:v>
                </c:pt>
                <c:pt idx="309">
                  <c:v>0.8817949519350371</c:v>
                </c:pt>
                <c:pt idx="310">
                  <c:v>0.8825610077046091</c:v>
                </c:pt>
                <c:pt idx="311">
                  <c:v>0.88331862213815693</c:v>
                </c:pt>
                <c:pt idx="312">
                  <c:v>0.88407465570677379</c:v>
                </c:pt>
                <c:pt idx="313">
                  <c:v>0.88483067720771946</c:v>
                </c:pt>
                <c:pt idx="314">
                  <c:v>0.88558472564441937</c:v>
                </c:pt>
                <c:pt idx="315">
                  <c:v>0.88633808622385923</c:v>
                </c:pt>
                <c:pt idx="316">
                  <c:v>0.88708622753549282</c:v>
                </c:pt>
                <c:pt idx="317">
                  <c:v>0.88783432057644152</c:v>
                </c:pt>
                <c:pt idx="318">
                  <c:v>0.88858124305328112</c:v>
                </c:pt>
                <c:pt idx="319">
                  <c:v>0.88932228254039691</c:v>
                </c:pt>
                <c:pt idx="320">
                  <c:v>0.89005820533491187</c:v>
                </c:pt>
                <c:pt idx="321">
                  <c:v>0.89079298773449578</c:v>
                </c:pt>
                <c:pt idx="322">
                  <c:v>0.89152656336695679</c:v>
                </c:pt>
                <c:pt idx="323">
                  <c:v>0.89223140587422334</c:v>
                </c:pt>
                <c:pt idx="324">
                  <c:v>0.89293458304286033</c:v>
                </c:pt>
                <c:pt idx="325">
                  <c:v>0.89363582335026515</c:v>
                </c:pt>
                <c:pt idx="326">
                  <c:v>0.8943356034694514</c:v>
                </c:pt>
                <c:pt idx="327">
                  <c:v>0.89502770854973646</c:v>
                </c:pt>
                <c:pt idx="328">
                  <c:v>0.89571887838550135</c:v>
                </c:pt>
                <c:pt idx="329">
                  <c:v>0.89640426177291221</c:v>
                </c:pt>
                <c:pt idx="330">
                  <c:v>0.89708957878813134</c:v>
                </c:pt>
                <c:pt idx="331">
                  <c:v>0.89777029802061248</c:v>
                </c:pt>
                <c:pt idx="332">
                  <c:v>0.8984473185118621</c:v>
                </c:pt>
                <c:pt idx="333">
                  <c:v>0.89912368131502984</c:v>
                </c:pt>
                <c:pt idx="334">
                  <c:v>0.89979887355408839</c:v>
                </c:pt>
                <c:pt idx="335">
                  <c:v>0.90047404165780454</c:v>
                </c:pt>
                <c:pt idx="336">
                  <c:v>0.90113848160179877</c:v>
                </c:pt>
                <c:pt idx="337">
                  <c:v>0.90177846641004877</c:v>
                </c:pt>
                <c:pt idx="338">
                  <c:v>0.90241840294761388</c:v>
                </c:pt>
                <c:pt idx="339">
                  <c:v>0.9030560466276456</c:v>
                </c:pt>
                <c:pt idx="340">
                  <c:v>0.90368571961083111</c:v>
                </c:pt>
                <c:pt idx="341">
                  <c:v>0.90431537449250976</c:v>
                </c:pt>
                <c:pt idx="342">
                  <c:v>0.90494416653569554</c:v>
                </c:pt>
                <c:pt idx="343">
                  <c:v>0.90557164320271744</c:v>
                </c:pt>
                <c:pt idx="344">
                  <c:v>0.90618944763124987</c:v>
                </c:pt>
                <c:pt idx="345">
                  <c:v>0.90680127856252435</c:v>
                </c:pt>
                <c:pt idx="346">
                  <c:v>0.90741254834708662</c:v>
                </c:pt>
                <c:pt idx="347">
                  <c:v>0.90801593190850127</c:v>
                </c:pt>
                <c:pt idx="348">
                  <c:v>0.908617969924574</c:v>
                </c:pt>
                <c:pt idx="349">
                  <c:v>0.90921537998873059</c:v>
                </c:pt>
                <c:pt idx="350">
                  <c:v>0.9098097671012445</c:v>
                </c:pt>
                <c:pt idx="351">
                  <c:v>0.91040404560471744</c:v>
                </c:pt>
                <c:pt idx="352">
                  <c:v>0.91099563905134207</c:v>
                </c:pt>
                <c:pt idx="353">
                  <c:v>0.91158620071207663</c:v>
                </c:pt>
                <c:pt idx="354">
                  <c:v>0.91217515737253785</c:v>
                </c:pt>
                <c:pt idx="355">
                  <c:v>0.91276360115697186</c:v>
                </c:pt>
                <c:pt idx="356">
                  <c:v>0.91335131484729659</c:v>
                </c:pt>
                <c:pt idx="357">
                  <c:v>0.9139320594574869</c:v>
                </c:pt>
                <c:pt idx="358">
                  <c:v>0.91451229119165001</c:v>
                </c:pt>
                <c:pt idx="359">
                  <c:v>0.91509074897814258</c:v>
                </c:pt>
                <c:pt idx="360">
                  <c:v>0.9156675776290194</c:v>
                </c:pt>
                <c:pt idx="361">
                  <c:v>0.91623077584524382</c:v>
                </c:pt>
                <c:pt idx="362">
                  <c:v>0.91679337671174244</c:v>
                </c:pt>
                <c:pt idx="363">
                  <c:v>0.91735191680687278</c:v>
                </c:pt>
                <c:pt idx="364">
                  <c:v>0.91790863468364758</c:v>
                </c:pt>
                <c:pt idx="365">
                  <c:v>0.91846441731590223</c:v>
                </c:pt>
                <c:pt idx="366">
                  <c:v>0.9190126395521323</c:v>
                </c:pt>
                <c:pt idx="367">
                  <c:v>0.9195584844571304</c:v>
                </c:pt>
                <c:pt idx="368">
                  <c:v>0.92010170464363639</c:v>
                </c:pt>
                <c:pt idx="369">
                  <c:v>0.92063608526096763</c:v>
                </c:pt>
                <c:pt idx="370">
                  <c:v>0.92117029089706604</c:v>
                </c:pt>
                <c:pt idx="371">
                  <c:v>0.92169609140015396</c:v>
                </c:pt>
                <c:pt idx="372">
                  <c:v>0.92222163848214611</c:v>
                </c:pt>
                <c:pt idx="373">
                  <c:v>0.92274660028208366</c:v>
                </c:pt>
                <c:pt idx="374">
                  <c:v>0.92327123625489804</c:v>
                </c:pt>
                <c:pt idx="375">
                  <c:v>0.9237944542763431</c:v>
                </c:pt>
                <c:pt idx="376">
                  <c:v>0.92431477002285778</c:v>
                </c:pt>
                <c:pt idx="377">
                  <c:v>0.92483238864485295</c:v>
                </c:pt>
                <c:pt idx="378">
                  <c:v>0.92534758769876679</c:v>
                </c:pt>
                <c:pt idx="379">
                  <c:v>0.92586180927131123</c:v>
                </c:pt>
                <c:pt idx="380">
                  <c:v>0.92637368971563738</c:v>
                </c:pt>
                <c:pt idx="381">
                  <c:v>0.9268853227727033</c:v>
                </c:pt>
                <c:pt idx="382">
                  <c:v>0.92738441751936307</c:v>
                </c:pt>
                <c:pt idx="383">
                  <c:v>0.92787942735931206</c:v>
                </c:pt>
                <c:pt idx="384">
                  <c:v>0.92836638806255178</c:v>
                </c:pt>
                <c:pt idx="385">
                  <c:v>0.92885181617154544</c:v>
                </c:pt>
                <c:pt idx="386">
                  <c:v>0.92933666503232015</c:v>
                </c:pt>
                <c:pt idx="387">
                  <c:v>0.92982120616747854</c:v>
                </c:pt>
                <c:pt idx="388">
                  <c:v>0.9303023019825013</c:v>
                </c:pt>
                <c:pt idx="389">
                  <c:v>0.93077884225163532</c:v>
                </c:pt>
                <c:pt idx="390">
                  <c:v>0.931248727200087</c:v>
                </c:pt>
                <c:pt idx="391">
                  <c:v>0.93171698301292283</c:v>
                </c:pt>
                <c:pt idx="392">
                  <c:v>0.93218506987836147</c:v>
                </c:pt>
                <c:pt idx="393">
                  <c:v>0.93265261369859487</c:v>
                </c:pt>
                <c:pt idx="394">
                  <c:v>0.93311804567636325</c:v>
                </c:pt>
                <c:pt idx="395">
                  <c:v>0.93358058744687245</c:v>
                </c:pt>
                <c:pt idx="396">
                  <c:v>0.9340303978242358</c:v>
                </c:pt>
                <c:pt idx="397">
                  <c:v>0.93446772419571356</c:v>
                </c:pt>
                <c:pt idx="398">
                  <c:v>0.9349001691941794</c:v>
                </c:pt>
                <c:pt idx="399">
                  <c:v>0.9353236901497719</c:v>
                </c:pt>
                <c:pt idx="400">
                  <c:v>0.93574552766522812</c:v>
                </c:pt>
                <c:pt idx="401">
                  <c:v>0.93616269499191895</c:v>
                </c:pt>
                <c:pt idx="402">
                  <c:v>0.93657411207326957</c:v>
                </c:pt>
                <c:pt idx="403">
                  <c:v>0.93697419157750117</c:v>
                </c:pt>
                <c:pt idx="404">
                  <c:v>0.93737425901406157</c:v>
                </c:pt>
                <c:pt idx="405">
                  <c:v>0.93777042255897958</c:v>
                </c:pt>
                <c:pt idx="406">
                  <c:v>0.93816381053951503</c:v>
                </c:pt>
                <c:pt idx="407">
                  <c:v>0.93855476688429806</c:v>
                </c:pt>
                <c:pt idx="408">
                  <c:v>0.93894473368004039</c:v>
                </c:pt>
                <c:pt idx="409">
                  <c:v>0.93932630137660778</c:v>
                </c:pt>
                <c:pt idx="410">
                  <c:v>0.9397014068352324</c:v>
                </c:pt>
                <c:pt idx="411">
                  <c:v>0.9400757640982409</c:v>
                </c:pt>
                <c:pt idx="412">
                  <c:v>0.94044958434987969</c:v>
                </c:pt>
                <c:pt idx="413">
                  <c:v>0.94082333822932673</c:v>
                </c:pt>
                <c:pt idx="414">
                  <c:v>0.9411946303038432</c:v>
                </c:pt>
                <c:pt idx="415">
                  <c:v>0.94156544570534617</c:v>
                </c:pt>
                <c:pt idx="416">
                  <c:v>0.94193560341876725</c:v>
                </c:pt>
                <c:pt idx="417">
                  <c:v>0.94230484398917491</c:v>
                </c:pt>
                <c:pt idx="418">
                  <c:v>0.9426737828678019</c:v>
                </c:pt>
                <c:pt idx="419">
                  <c:v>0.94304057973478583</c:v>
                </c:pt>
                <c:pt idx="420">
                  <c:v>0.94340703267313974</c:v>
                </c:pt>
                <c:pt idx="421">
                  <c:v>0.94377293049861721</c:v>
                </c:pt>
                <c:pt idx="422">
                  <c:v>0.9441380740946429</c:v>
                </c:pt>
                <c:pt idx="423">
                  <c:v>0.94450244535970995</c:v>
                </c:pt>
                <c:pt idx="424">
                  <c:v>0.94486407122957261</c:v>
                </c:pt>
                <c:pt idx="425">
                  <c:v>0.94522519629107926</c:v>
                </c:pt>
                <c:pt idx="426">
                  <c:v>0.94558338890847748</c:v>
                </c:pt>
                <c:pt idx="427">
                  <c:v>0.94594039889409531</c:v>
                </c:pt>
                <c:pt idx="428">
                  <c:v>0.94629505568382366</c:v>
                </c:pt>
                <c:pt idx="429">
                  <c:v>0.94664938664642884</c:v>
                </c:pt>
                <c:pt idx="430">
                  <c:v>0.94699951202561095</c:v>
                </c:pt>
                <c:pt idx="431">
                  <c:v>0.94734737471643771</c:v>
                </c:pt>
                <c:pt idx="432">
                  <c:v>0.94769296868507358</c:v>
                </c:pt>
                <c:pt idx="433">
                  <c:v>0.94802297725631812</c:v>
                </c:pt>
                <c:pt idx="434">
                  <c:v>0.94835130842126192</c:v>
                </c:pt>
                <c:pt idx="435">
                  <c:v>0.94867916291319221</c:v>
                </c:pt>
                <c:pt idx="436">
                  <c:v>0.9490059433823832</c:v>
                </c:pt>
                <c:pt idx="437">
                  <c:v>0.94932937507280823</c:v>
                </c:pt>
                <c:pt idx="438">
                  <c:v>0.94965024238309725</c:v>
                </c:pt>
                <c:pt idx="439">
                  <c:v>0.94996930557653769</c:v>
                </c:pt>
                <c:pt idx="440">
                  <c:v>0.95028781969093723</c:v>
                </c:pt>
                <c:pt idx="441">
                  <c:v>0.95060552527136444</c:v>
                </c:pt>
                <c:pt idx="442">
                  <c:v>0.95092020186631343</c:v>
                </c:pt>
                <c:pt idx="443">
                  <c:v>0.95123194601715388</c:v>
                </c:pt>
                <c:pt idx="444">
                  <c:v>0.95154331607018627</c:v>
                </c:pt>
                <c:pt idx="445">
                  <c:v>0.95185426978856136</c:v>
                </c:pt>
                <c:pt idx="446">
                  <c:v>0.9521645115143339</c:v>
                </c:pt>
                <c:pt idx="447">
                  <c:v>0.95247162167942268</c:v>
                </c:pt>
                <c:pt idx="448">
                  <c:v>0.95277450212574599</c:v>
                </c:pt>
                <c:pt idx="449">
                  <c:v>0.95307597668837118</c:v>
                </c:pt>
                <c:pt idx="450">
                  <c:v>0.95337711939003766</c:v>
                </c:pt>
                <c:pt idx="451">
                  <c:v>0.95367737511786876</c:v>
                </c:pt>
                <c:pt idx="452">
                  <c:v>0.95397332872090701</c:v>
                </c:pt>
                <c:pt idx="453">
                  <c:v>0.95426683258668588</c:v>
                </c:pt>
                <c:pt idx="454">
                  <c:v>0.95455795308739722</c:v>
                </c:pt>
                <c:pt idx="455">
                  <c:v>0.9548468833057806</c:v>
                </c:pt>
                <c:pt idx="456">
                  <c:v>0.95513115540306992</c:v>
                </c:pt>
                <c:pt idx="457">
                  <c:v>0.95541537319583869</c:v>
                </c:pt>
                <c:pt idx="458">
                  <c:v>0.95569950048107322</c:v>
                </c:pt>
                <c:pt idx="459">
                  <c:v>0.95597673109220083</c:v>
                </c:pt>
                <c:pt idx="460">
                  <c:v>0.95624974405223406</c:v>
                </c:pt>
                <c:pt idx="461">
                  <c:v>0.95651590257500962</c:v>
                </c:pt>
                <c:pt idx="462">
                  <c:v>0.95678088449984044</c:v>
                </c:pt>
                <c:pt idx="463">
                  <c:v>0.9570432839430284</c:v>
                </c:pt>
                <c:pt idx="464">
                  <c:v>0.95730566528470951</c:v>
                </c:pt>
                <c:pt idx="465">
                  <c:v>0.95756719585556904</c:v>
                </c:pt>
                <c:pt idx="466">
                  <c:v>0.9578279480616344</c:v>
                </c:pt>
                <c:pt idx="467">
                  <c:v>0.95808795207208364</c:v>
                </c:pt>
                <c:pt idx="468">
                  <c:v>0.95834506587527368</c:v>
                </c:pt>
                <c:pt idx="469">
                  <c:v>0.95860176937764197</c:v>
                </c:pt>
                <c:pt idx="470">
                  <c:v>0.958858382372476</c:v>
                </c:pt>
                <c:pt idx="471">
                  <c:v>0.95911113974635265</c:v>
                </c:pt>
                <c:pt idx="472">
                  <c:v>0.95936120602954533</c:v>
                </c:pt>
                <c:pt idx="473">
                  <c:v>0.95961048791410819</c:v>
                </c:pt>
                <c:pt idx="474">
                  <c:v>0.95985835788113727</c:v>
                </c:pt>
                <c:pt idx="475">
                  <c:v>0.96010583564885144</c:v>
                </c:pt>
                <c:pt idx="476">
                  <c:v>0.96035188339752509</c:v>
                </c:pt>
                <c:pt idx="477">
                  <c:v>0.96059753291304817</c:v>
                </c:pt>
                <c:pt idx="478">
                  <c:v>0.96084294107514667</c:v>
                </c:pt>
                <c:pt idx="479">
                  <c:v>0.96108755277094415</c:v>
                </c:pt>
                <c:pt idx="480">
                  <c:v>0.96132886395866068</c:v>
                </c:pt>
                <c:pt idx="481">
                  <c:v>0.96156765903692609</c:v>
                </c:pt>
                <c:pt idx="482">
                  <c:v>0.9618043181373841</c:v>
                </c:pt>
                <c:pt idx="483">
                  <c:v>0.96204089276414351</c:v>
                </c:pt>
                <c:pt idx="484">
                  <c:v>0.96227691227802648</c:v>
                </c:pt>
                <c:pt idx="485">
                  <c:v>0.96251151384054012</c:v>
                </c:pt>
                <c:pt idx="486">
                  <c:v>0.96274269421826053</c:v>
                </c:pt>
                <c:pt idx="487">
                  <c:v>0.96297376598693984</c:v>
                </c:pt>
                <c:pt idx="488">
                  <c:v>0.9632033292967157</c:v>
                </c:pt>
                <c:pt idx="489">
                  <c:v>0.96343178238073857</c:v>
                </c:pt>
                <c:pt idx="490">
                  <c:v>0.9636593786601042</c:v>
                </c:pt>
                <c:pt idx="491">
                  <c:v>0.9638857500708401</c:v>
                </c:pt>
                <c:pt idx="492">
                  <c:v>0.96411174738376793</c:v>
                </c:pt>
                <c:pt idx="493">
                  <c:v>0.96433594661368272</c:v>
                </c:pt>
                <c:pt idx="494">
                  <c:v>0.96455916232839245</c:v>
                </c:pt>
                <c:pt idx="495">
                  <c:v>0.96477900512899384</c:v>
                </c:pt>
                <c:pt idx="496">
                  <c:v>0.96499843762877346</c:v>
                </c:pt>
                <c:pt idx="497">
                  <c:v>0.96521761670745732</c:v>
                </c:pt>
                <c:pt idx="498">
                  <c:v>0.96543546230847044</c:v>
                </c:pt>
                <c:pt idx="499">
                  <c:v>0.96565303035304528</c:v>
                </c:pt>
                <c:pt idx="500">
                  <c:v>0.96586971142378486</c:v>
                </c:pt>
                <c:pt idx="501">
                  <c:v>0.96608615717493551</c:v>
                </c:pt>
                <c:pt idx="502">
                  <c:v>0.9663005695234842</c:v>
                </c:pt>
                <c:pt idx="503">
                  <c:v>0.96651453536819742</c:v>
                </c:pt>
                <c:pt idx="504">
                  <c:v>0.96672595493428148</c:v>
                </c:pt>
                <c:pt idx="505">
                  <c:v>0.9669372719251601</c:v>
                </c:pt>
                <c:pt idx="506">
                  <c:v>0.9671471347616557</c:v>
                </c:pt>
                <c:pt idx="507">
                  <c:v>0.96735560981596003</c:v>
                </c:pt>
                <c:pt idx="508">
                  <c:v>0.96756383144916858</c:v>
                </c:pt>
                <c:pt idx="509">
                  <c:v>0.9677701222549806</c:v>
                </c:pt>
                <c:pt idx="510">
                  <c:v>0.9679740055603826</c:v>
                </c:pt>
                <c:pt idx="511">
                  <c:v>0.96817757510633262</c:v>
                </c:pt>
                <c:pt idx="512">
                  <c:v>0.9683777838058456</c:v>
                </c:pt>
                <c:pt idx="513">
                  <c:v>0.96857737102029029</c:v>
                </c:pt>
                <c:pt idx="514">
                  <c:v>0.96877650569706397</c:v>
                </c:pt>
                <c:pt idx="515">
                  <c:v>0.96897529644520763</c:v>
                </c:pt>
                <c:pt idx="516">
                  <c:v>0.96917367085869388</c:v>
                </c:pt>
                <c:pt idx="517">
                  <c:v>0.96937034976437264</c:v>
                </c:pt>
                <c:pt idx="518">
                  <c:v>0.96956658216621594</c:v>
                </c:pt>
                <c:pt idx="519">
                  <c:v>0.96976014761271778</c:v>
                </c:pt>
                <c:pt idx="520">
                  <c:v>0.96995074441209739</c:v>
                </c:pt>
                <c:pt idx="521">
                  <c:v>0.97014121450092916</c:v>
                </c:pt>
                <c:pt idx="522">
                  <c:v>0.97033158201455549</c:v>
                </c:pt>
                <c:pt idx="523">
                  <c:v>0.97052180471612703</c:v>
                </c:pt>
                <c:pt idx="524">
                  <c:v>0.97071155074468507</c:v>
                </c:pt>
                <c:pt idx="525">
                  <c:v>0.97089978831433954</c:v>
                </c:pt>
                <c:pt idx="526">
                  <c:v>0.97108683721837807</c:v>
                </c:pt>
                <c:pt idx="527">
                  <c:v>0.97127359046447148</c:v>
                </c:pt>
                <c:pt idx="528">
                  <c:v>0.97145688028892241</c:v>
                </c:pt>
                <c:pt idx="529">
                  <c:v>0.97163873406049717</c:v>
                </c:pt>
                <c:pt idx="530">
                  <c:v>0.97182049129070214</c:v>
                </c:pt>
                <c:pt idx="531">
                  <c:v>0.97200139775008543</c:v>
                </c:pt>
                <c:pt idx="532">
                  <c:v>0.97218027684070241</c:v>
                </c:pt>
                <c:pt idx="533">
                  <c:v>0.97235639846844368</c:v>
                </c:pt>
                <c:pt idx="534">
                  <c:v>0.97253200722015776</c:v>
                </c:pt>
                <c:pt idx="535">
                  <c:v>0.97270737461844725</c:v>
                </c:pt>
                <c:pt idx="536">
                  <c:v>0.97288212053166856</c:v>
                </c:pt>
                <c:pt idx="537">
                  <c:v>0.9730565285500955</c:v>
                </c:pt>
                <c:pt idx="538">
                  <c:v>0.97323044782783763</c:v>
                </c:pt>
                <c:pt idx="539">
                  <c:v>0.97340157343969047</c:v>
                </c:pt>
                <c:pt idx="540">
                  <c:v>0.9735717577731875</c:v>
                </c:pt>
                <c:pt idx="541">
                  <c:v>0.97374013195600029</c:v>
                </c:pt>
                <c:pt idx="542">
                  <c:v>0.97390763726648455</c:v>
                </c:pt>
                <c:pt idx="543">
                  <c:v>0.97407486502053064</c:v>
                </c:pt>
                <c:pt idx="544">
                  <c:v>0.97424203243622054</c:v>
                </c:pt>
                <c:pt idx="545">
                  <c:v>0.97440892229547216</c:v>
                </c:pt>
                <c:pt idx="546">
                  <c:v>0.97457128677801319</c:v>
                </c:pt>
                <c:pt idx="547">
                  <c:v>0.97473210056480142</c:v>
                </c:pt>
                <c:pt idx="548">
                  <c:v>0.97489218425748037</c:v>
                </c:pt>
                <c:pt idx="549">
                  <c:v>0.97505097067550228</c:v>
                </c:pt>
                <c:pt idx="550">
                  <c:v>0.97520925628516819</c:v>
                </c:pt>
                <c:pt idx="551">
                  <c:v>0.97536608170661543</c:v>
                </c:pt>
                <c:pt idx="552">
                  <c:v>0.97552280455285723</c:v>
                </c:pt>
                <c:pt idx="553">
                  <c:v>0.97567902659074313</c:v>
                </c:pt>
                <c:pt idx="554">
                  <c:v>0.97583505554588934</c:v>
                </c:pt>
                <c:pt idx="555">
                  <c:v>0.97599055955733716</c:v>
                </c:pt>
                <c:pt idx="556">
                  <c:v>0.97614556276042896</c:v>
                </c:pt>
                <c:pt idx="557">
                  <c:v>0.976295871639413</c:v>
                </c:pt>
                <c:pt idx="558">
                  <c:v>0.97644598140182171</c:v>
                </c:pt>
                <c:pt idx="559">
                  <c:v>0.97659606099505236</c:v>
                </c:pt>
                <c:pt idx="560">
                  <c:v>0.97674542256184493</c:v>
                </c:pt>
                <c:pt idx="561">
                  <c:v>0.97689229215452889</c:v>
                </c:pt>
                <c:pt idx="562">
                  <c:v>0.9770383652809117</c:v>
                </c:pt>
                <c:pt idx="563">
                  <c:v>0.97718441427195213</c:v>
                </c:pt>
                <c:pt idx="564">
                  <c:v>0.97732937113874641</c:v>
                </c:pt>
                <c:pt idx="565">
                  <c:v>0.97747209548636338</c:v>
                </c:pt>
                <c:pt idx="566">
                  <c:v>0.97761466898809002</c:v>
                </c:pt>
                <c:pt idx="567">
                  <c:v>0.97775654256488542</c:v>
                </c:pt>
                <c:pt idx="568">
                  <c:v>0.97789824719428364</c:v>
                </c:pt>
                <c:pt idx="569">
                  <c:v>0.97803913122203834</c:v>
                </c:pt>
                <c:pt idx="570">
                  <c:v>0.97817747500499952</c:v>
                </c:pt>
                <c:pt idx="571">
                  <c:v>0.97831545072398818</c:v>
                </c:pt>
                <c:pt idx="572">
                  <c:v>0.97844938980695095</c:v>
                </c:pt>
                <c:pt idx="573">
                  <c:v>0.97858181439717462</c:v>
                </c:pt>
                <c:pt idx="574">
                  <c:v>0.97871406400616545</c:v>
                </c:pt>
                <c:pt idx="575">
                  <c:v>0.97884443709228031</c:v>
                </c:pt>
                <c:pt idx="576">
                  <c:v>0.97897415852414882</c:v>
                </c:pt>
                <c:pt idx="577">
                  <c:v>0.97910352395971612</c:v>
                </c:pt>
                <c:pt idx="578">
                  <c:v>0.97923182744021531</c:v>
                </c:pt>
                <c:pt idx="579">
                  <c:v>0.97935950340181066</c:v>
                </c:pt>
                <c:pt idx="580">
                  <c:v>0.97948630445724194</c:v>
                </c:pt>
                <c:pt idx="581">
                  <c:v>0.97961302707281028</c:v>
                </c:pt>
                <c:pt idx="582">
                  <c:v>0.97973953247029644</c:v>
                </c:pt>
                <c:pt idx="583">
                  <c:v>0.97986440269833119</c:v>
                </c:pt>
                <c:pt idx="584">
                  <c:v>0.97998801185472262</c:v>
                </c:pt>
                <c:pt idx="585">
                  <c:v>0.98011156067275784</c:v>
                </c:pt>
                <c:pt idx="586">
                  <c:v>0.98023428888914954</c:v>
                </c:pt>
                <c:pt idx="587">
                  <c:v>0.98035688436115775</c:v>
                </c:pt>
                <c:pt idx="588">
                  <c:v>0.98047920227672769</c:v>
                </c:pt>
                <c:pt idx="589">
                  <c:v>0.98059983071832568</c:v>
                </c:pt>
                <c:pt idx="590">
                  <c:v>0.98072033848321138</c:v>
                </c:pt>
                <c:pt idx="591">
                  <c:v>0.98084015839083705</c:v>
                </c:pt>
                <c:pt idx="592">
                  <c:v>0.98095990589243542</c:v>
                </c:pt>
                <c:pt idx="593">
                  <c:v>0.98107810269828089</c:v>
                </c:pt>
                <c:pt idx="594">
                  <c:v>0.98119538839494869</c:v>
                </c:pt>
                <c:pt idx="595">
                  <c:v>0.98131132854627445</c:v>
                </c:pt>
                <c:pt idx="596">
                  <c:v>0.98142644206212115</c:v>
                </c:pt>
                <c:pt idx="597">
                  <c:v>0.98154153144262535</c:v>
                </c:pt>
                <c:pt idx="598">
                  <c:v>0.98165610794710234</c:v>
                </c:pt>
                <c:pt idx="599">
                  <c:v>0.98177058187637389</c:v>
                </c:pt>
                <c:pt idx="600">
                  <c:v>0.98188437398222106</c:v>
                </c:pt>
                <c:pt idx="601">
                  <c:v>0.98199729721573981</c:v>
                </c:pt>
                <c:pt idx="602">
                  <c:v>0.98210898351295761</c:v>
                </c:pt>
                <c:pt idx="603">
                  <c:v>0.98222026554318931</c:v>
                </c:pt>
                <c:pt idx="604">
                  <c:v>0.982331547573421</c:v>
                </c:pt>
                <c:pt idx="605">
                  <c:v>0.98244266669009117</c:v>
                </c:pt>
                <c:pt idx="606">
                  <c:v>0.98255316432169304</c:v>
                </c:pt>
                <c:pt idx="607">
                  <c:v>0.98266361368261002</c:v>
                </c:pt>
                <c:pt idx="608">
                  <c:v>0.98277394840065024</c:v>
                </c:pt>
                <c:pt idx="609">
                  <c:v>0.98288422278033438</c:v>
                </c:pt>
                <c:pt idx="610">
                  <c:v>0.98299293439659441</c:v>
                </c:pt>
                <c:pt idx="611">
                  <c:v>0.98310115123833408</c:v>
                </c:pt>
                <c:pt idx="612">
                  <c:v>0.98320848110623849</c:v>
                </c:pt>
                <c:pt idx="613">
                  <c:v>0.98331432061674617</c:v>
                </c:pt>
                <c:pt idx="614">
                  <c:v>0.98341903783382967</c:v>
                </c:pt>
                <c:pt idx="615">
                  <c:v>0.98352354990050228</c:v>
                </c:pt>
                <c:pt idx="616">
                  <c:v>0.98362762149717509</c:v>
                </c:pt>
                <c:pt idx="617">
                  <c:v>0.98373072164631403</c:v>
                </c:pt>
                <c:pt idx="618">
                  <c:v>0.98383380972778167</c:v>
                </c:pt>
                <c:pt idx="619">
                  <c:v>0.98393663232048234</c:v>
                </c:pt>
                <c:pt idx="620">
                  <c:v>0.98403889376647091</c:v>
                </c:pt>
                <c:pt idx="621">
                  <c:v>0.98414056389656923</c:v>
                </c:pt>
                <c:pt idx="622">
                  <c:v>0.98424201680858547</c:v>
                </c:pt>
                <c:pt idx="623">
                  <c:v>0.98434251034073905</c:v>
                </c:pt>
                <c:pt idx="624">
                  <c:v>0.9844429133653585</c:v>
                </c:pt>
                <c:pt idx="625">
                  <c:v>0.98454310520573141</c:v>
                </c:pt>
                <c:pt idx="626">
                  <c:v>0.98464321860624138</c:v>
                </c:pt>
                <c:pt idx="627">
                  <c:v>0.98474255967579272</c:v>
                </c:pt>
                <c:pt idx="628">
                  <c:v>0.98484146630917979</c:v>
                </c:pt>
                <c:pt idx="629">
                  <c:v>0.98493889465284146</c:v>
                </c:pt>
                <c:pt idx="630">
                  <c:v>0.98503625662431127</c:v>
                </c:pt>
                <c:pt idx="631">
                  <c:v>0.98513267731742538</c:v>
                </c:pt>
                <c:pt idx="632">
                  <c:v>0.98522861530369032</c:v>
                </c:pt>
                <c:pt idx="633">
                  <c:v>0.98532376889132545</c:v>
                </c:pt>
                <c:pt idx="634">
                  <c:v>0.98541886214060437</c:v>
                </c:pt>
                <c:pt idx="635">
                  <c:v>0.98551388901769155</c:v>
                </c:pt>
                <c:pt idx="636">
                  <c:v>0.98560825217286119</c:v>
                </c:pt>
                <c:pt idx="637">
                  <c:v>0.98570254895583909</c:v>
                </c:pt>
                <c:pt idx="638">
                  <c:v>0.98579597686648857</c:v>
                </c:pt>
                <c:pt idx="639">
                  <c:v>0.98588918755905586</c:v>
                </c:pt>
                <c:pt idx="640">
                  <c:v>0.98598225947340401</c:v>
                </c:pt>
                <c:pt idx="641">
                  <c:v>0.98607413668830057</c:v>
                </c:pt>
                <c:pt idx="642">
                  <c:v>0.98616586909114246</c:v>
                </c:pt>
                <c:pt idx="643">
                  <c:v>0.9862568050276832</c:v>
                </c:pt>
                <c:pt idx="644">
                  <c:v>0.98634609372710136</c:v>
                </c:pt>
                <c:pt idx="645">
                  <c:v>0.98643359037734213</c:v>
                </c:pt>
                <c:pt idx="646">
                  <c:v>0.98652024229059687</c:v>
                </c:pt>
                <c:pt idx="647">
                  <c:v>0.98660643563234496</c:v>
                </c:pt>
                <c:pt idx="648">
                  <c:v>0.98669186267697007</c:v>
                </c:pt>
                <c:pt idx="649">
                  <c:v>0.98677627000337631</c:v>
                </c:pt>
                <c:pt idx="650">
                  <c:v>0.98686003774320752</c:v>
                </c:pt>
                <c:pt idx="651">
                  <c:v>0.98694369687399763</c:v>
                </c:pt>
                <c:pt idx="652">
                  <c:v>0.98702704827917143</c:v>
                </c:pt>
                <c:pt idx="653">
                  <c:v>0.98711006782338651</c:v>
                </c:pt>
                <c:pt idx="654">
                  <c:v>0.98719194697267043</c:v>
                </c:pt>
                <c:pt idx="655">
                  <c:v>0.98727328911058476</c:v>
                </c:pt>
                <c:pt idx="656">
                  <c:v>0.98735444419959506</c:v>
                </c:pt>
                <c:pt idx="657">
                  <c:v>0.98743370466422253</c:v>
                </c:pt>
                <c:pt idx="658">
                  <c:v>0.98751228933926116</c:v>
                </c:pt>
                <c:pt idx="659">
                  <c:v>0.98758917850649219</c:v>
                </c:pt>
                <c:pt idx="660">
                  <c:v>0.98766588062481919</c:v>
                </c:pt>
                <c:pt idx="661">
                  <c:v>0.98774219657766693</c:v>
                </c:pt>
                <c:pt idx="662">
                  <c:v>0.98781840995530923</c:v>
                </c:pt>
                <c:pt idx="663">
                  <c:v>0.98789298212966448</c:v>
                </c:pt>
                <c:pt idx="664">
                  <c:v>0.98796689661593773</c:v>
                </c:pt>
                <c:pt idx="665">
                  <c:v>0.9880400568727592</c:v>
                </c:pt>
                <c:pt idx="666">
                  <c:v>0.98811254737382759</c:v>
                </c:pt>
                <c:pt idx="667">
                  <c:v>0.98818461550640291</c:v>
                </c:pt>
                <c:pt idx="668">
                  <c:v>0.98825667157130703</c:v>
                </c:pt>
                <c:pt idx="669">
                  <c:v>0.98832835957223875</c:v>
                </c:pt>
                <c:pt idx="670">
                  <c:v>0.98840002947166361</c:v>
                </c:pt>
                <c:pt idx="671">
                  <c:v>0.98847155455903368</c:v>
                </c:pt>
                <c:pt idx="672">
                  <c:v>0.98854306154489691</c:v>
                </c:pt>
                <c:pt idx="673">
                  <c:v>0.98861331952678799</c:v>
                </c:pt>
                <c:pt idx="674">
                  <c:v>0.98868352923799419</c:v>
                </c:pt>
                <c:pt idx="675">
                  <c:v>0.98875271923098162</c:v>
                </c:pt>
                <c:pt idx="676">
                  <c:v>0.98882120929903783</c:v>
                </c:pt>
                <c:pt idx="677">
                  <c:v>0.98888927096476542</c:v>
                </c:pt>
                <c:pt idx="678">
                  <c:v>0.98895636118295915</c:v>
                </c:pt>
                <c:pt idx="679">
                  <c:v>0.98902306523567352</c:v>
                </c:pt>
                <c:pt idx="680">
                  <c:v>0.98908976325455233</c:v>
                </c:pt>
                <c:pt idx="681">
                  <c:v>0.98915634059671886</c:v>
                </c:pt>
                <c:pt idx="682">
                  <c:v>0.98922168100258445</c:v>
                </c:pt>
                <c:pt idx="683">
                  <c:v>0.98928654473543653</c:v>
                </c:pt>
                <c:pt idx="684">
                  <c:v>0.98935037668239856</c:v>
                </c:pt>
                <c:pt idx="685">
                  <c:v>0.98941393710675796</c:v>
                </c:pt>
                <c:pt idx="686">
                  <c:v>0.9894771113656381</c:v>
                </c:pt>
                <c:pt idx="687">
                  <c:v>0.98954010460944974</c:v>
                </c:pt>
                <c:pt idx="688">
                  <c:v>0.98960295304120671</c:v>
                </c:pt>
                <c:pt idx="689">
                  <c:v>0.98966554201803225</c:v>
                </c:pt>
                <c:pt idx="690">
                  <c:v>0.98972794997978941</c:v>
                </c:pt>
                <c:pt idx="691">
                  <c:v>0.98979018296031374</c:v>
                </c:pt>
                <c:pt idx="692">
                  <c:v>0.98985226509494773</c:v>
                </c:pt>
                <c:pt idx="693">
                  <c:v>0.98991432912807487</c:v>
                </c:pt>
                <c:pt idx="694">
                  <c:v>0.98997601302955829</c:v>
                </c:pt>
                <c:pt idx="695">
                  <c:v>0.99003752798364453</c:v>
                </c:pt>
                <c:pt idx="696">
                  <c:v>0.99009866280608705</c:v>
                </c:pt>
                <c:pt idx="697">
                  <c:v>0.99015979159469392</c:v>
                </c:pt>
                <c:pt idx="698">
                  <c:v>0.99022052818398587</c:v>
                </c:pt>
                <c:pt idx="699">
                  <c:v>0.99028083637094921</c:v>
                </c:pt>
                <c:pt idx="700">
                  <c:v>0.99034024551640609</c:v>
                </c:pt>
                <c:pt idx="701">
                  <c:v>0.99039898490610978</c:v>
                </c:pt>
                <c:pt idx="702">
                  <c:v>0.99045758551759433</c:v>
                </c:pt>
                <c:pt idx="703">
                  <c:v>0.99051554654250384</c:v>
                </c:pt>
                <c:pt idx="704">
                  <c:v>0.99057331448467367</c:v>
                </c:pt>
                <c:pt idx="705">
                  <c:v>0.99063030406204933</c:v>
                </c:pt>
                <c:pt idx="706">
                  <c:v>0.99068637649641156</c:v>
                </c:pt>
                <c:pt idx="707">
                  <c:v>0.9907423282540615</c:v>
                </c:pt>
                <c:pt idx="708">
                  <c:v>0.99079785764321848</c:v>
                </c:pt>
                <c:pt idx="709">
                  <c:v>0.99085324222032078</c:v>
                </c:pt>
                <c:pt idx="710">
                  <c:v>0.99090828890262861</c:v>
                </c:pt>
                <c:pt idx="711">
                  <c:v>0.99096328731425154</c:v>
                </c:pt>
                <c:pt idx="712">
                  <c:v>0.99101811074464163</c:v>
                </c:pt>
                <c:pt idx="713">
                  <c:v>0.99107232475763474</c:v>
                </c:pt>
                <c:pt idx="714">
                  <c:v>0.99112651463528534</c:v>
                </c:pt>
                <c:pt idx="715">
                  <c:v>0.99118067434375789</c:v>
                </c:pt>
                <c:pt idx="716">
                  <c:v>0.99123467113866892</c:v>
                </c:pt>
                <c:pt idx="717">
                  <c:v>0.99128810678686785</c:v>
                </c:pt>
                <c:pt idx="718">
                  <c:v>0.99134143985986134</c:v>
                </c:pt>
                <c:pt idx="719">
                  <c:v>0.99139467639148493</c:v>
                </c:pt>
                <c:pt idx="720">
                  <c:v>0.99144785258475243</c:v>
                </c:pt>
                <c:pt idx="721">
                  <c:v>0.99150069088322557</c:v>
                </c:pt>
                <c:pt idx="722">
                  <c:v>0.99155320335457553</c:v>
                </c:pt>
                <c:pt idx="723">
                  <c:v>0.99160529345743242</c:v>
                </c:pt>
                <c:pt idx="724">
                  <c:v>0.99165643021426231</c:v>
                </c:pt>
                <c:pt idx="725">
                  <c:v>0.99170756093725654</c:v>
                </c:pt>
                <c:pt idx="726">
                  <c:v>0.99175840806997695</c:v>
                </c:pt>
                <c:pt idx="727">
                  <c:v>0.99180902591694398</c:v>
                </c:pt>
                <c:pt idx="728">
                  <c:v>0.99185952308719871</c:v>
                </c:pt>
                <c:pt idx="729">
                  <c:v>0.99190999612211106</c:v>
                </c:pt>
                <c:pt idx="730">
                  <c:v>0.99196030020962622</c:v>
                </c:pt>
                <c:pt idx="731">
                  <c:v>0.99201050775577149</c:v>
                </c:pt>
                <c:pt idx="732">
                  <c:v>0.99206064892972501</c:v>
                </c:pt>
                <c:pt idx="733">
                  <c:v>0.99211066942696624</c:v>
                </c:pt>
                <c:pt idx="734">
                  <c:v>0.99216020118352277</c:v>
                </c:pt>
                <c:pt idx="735">
                  <c:v>0.99220963036487386</c:v>
                </c:pt>
                <c:pt idx="736">
                  <c:v>0.9922585889070471</c:v>
                </c:pt>
                <c:pt idx="737">
                  <c:v>0.99230695009949443</c:v>
                </c:pt>
                <c:pt idx="738">
                  <c:v>0.99235470187454478</c:v>
                </c:pt>
                <c:pt idx="739">
                  <c:v>0.99240174165699269</c:v>
                </c:pt>
                <c:pt idx="740">
                  <c:v>0.99244865472889265</c:v>
                </c:pt>
                <c:pt idx="741">
                  <c:v>0.99249521180449141</c:v>
                </c:pt>
                <c:pt idx="742">
                  <c:v>0.99254133444392589</c:v>
                </c:pt>
                <c:pt idx="743">
                  <c:v>0.99258745104952484</c:v>
                </c:pt>
                <c:pt idx="744">
                  <c:v>0.99263348921526073</c:v>
                </c:pt>
                <c:pt idx="745">
                  <c:v>0.9926793282644214</c:v>
                </c:pt>
                <c:pt idx="746">
                  <c:v>0.99272461823454117</c:v>
                </c:pt>
                <c:pt idx="747">
                  <c:v>0.99276964874972951</c:v>
                </c:pt>
                <c:pt idx="748">
                  <c:v>0.99281461892656175</c:v>
                </c:pt>
                <c:pt idx="749">
                  <c:v>0.99285954083270911</c:v>
                </c:pt>
                <c:pt idx="750">
                  <c:v>0.99290437223132222</c:v>
                </c:pt>
                <c:pt idx="751">
                  <c:v>0.99294913122390793</c:v>
                </c:pt>
                <c:pt idx="752">
                  <c:v>0.99299366696457592</c:v>
                </c:pt>
                <c:pt idx="753">
                  <c:v>0.99303817253606586</c:v>
                </c:pt>
                <c:pt idx="754">
                  <c:v>0.99308261173536405</c:v>
                </c:pt>
                <c:pt idx="755">
                  <c:v>0.99312659839699113</c:v>
                </c:pt>
                <c:pt idx="756">
                  <c:v>0.9931702894006732</c:v>
                </c:pt>
                <c:pt idx="757">
                  <c:v>0.99321382352462928</c:v>
                </c:pt>
                <c:pt idx="758">
                  <c:v>0.99325728524255796</c:v>
                </c:pt>
                <c:pt idx="759">
                  <c:v>0.9933007167913086</c:v>
                </c:pt>
                <c:pt idx="760">
                  <c:v>0.99334394922348401</c:v>
                </c:pt>
                <c:pt idx="761">
                  <c:v>0.99338710924963203</c:v>
                </c:pt>
                <c:pt idx="762">
                  <c:v>0.99342979863660208</c:v>
                </c:pt>
                <c:pt idx="763">
                  <c:v>0.99347234924535299</c:v>
                </c:pt>
                <c:pt idx="764">
                  <c:v>0.99351483348191216</c:v>
                </c:pt>
                <c:pt idx="765">
                  <c:v>0.99355727548162209</c:v>
                </c:pt>
                <c:pt idx="766">
                  <c:v>0.99359924080831852</c:v>
                </c:pt>
                <c:pt idx="767">
                  <c:v>0.99364093461241232</c:v>
                </c:pt>
                <c:pt idx="768">
                  <c:v>0.99368261031499927</c:v>
                </c:pt>
                <c:pt idx="769">
                  <c:v>0.99372398432580544</c:v>
                </c:pt>
                <c:pt idx="770">
                  <c:v>0.99376517732154324</c:v>
                </c:pt>
                <c:pt idx="771">
                  <c:v>0.99380631601276048</c:v>
                </c:pt>
                <c:pt idx="772">
                  <c:v>0.99384722541822434</c:v>
                </c:pt>
                <c:pt idx="773">
                  <c:v>0.99388812878985267</c:v>
                </c:pt>
                <c:pt idx="774">
                  <c:v>0.99392899595846729</c:v>
                </c:pt>
                <c:pt idx="775">
                  <c:v>0.99396971228119158</c:v>
                </c:pt>
                <c:pt idx="776">
                  <c:v>0.9940094330210395</c:v>
                </c:pt>
                <c:pt idx="777">
                  <c:v>0.99404913565938058</c:v>
                </c:pt>
                <c:pt idx="778">
                  <c:v>0.99408868141799567</c:v>
                </c:pt>
                <c:pt idx="779">
                  <c:v>0.99412756345469322</c:v>
                </c:pt>
                <c:pt idx="780">
                  <c:v>0.99416595675070607</c:v>
                </c:pt>
                <c:pt idx="781">
                  <c:v>0.99420393974589716</c:v>
                </c:pt>
                <c:pt idx="782">
                  <c:v>0.9942419046395814</c:v>
                </c:pt>
                <c:pt idx="783">
                  <c:v>0.99427974282271769</c:v>
                </c:pt>
                <c:pt idx="784">
                  <c:v>0.99431756893818279</c:v>
                </c:pt>
                <c:pt idx="785">
                  <c:v>0.99435512353104527</c:v>
                </c:pt>
                <c:pt idx="786">
                  <c:v>0.99439214714637369</c:v>
                </c:pt>
                <c:pt idx="787">
                  <c:v>0.99442836826156544</c:v>
                </c:pt>
                <c:pt idx="788">
                  <c:v>0.99446415494059293</c:v>
                </c:pt>
                <c:pt idx="789">
                  <c:v>0.99449991748427802</c:v>
                </c:pt>
                <c:pt idx="790">
                  <c:v>0.99453528179481254</c:v>
                </c:pt>
                <c:pt idx="791">
                  <c:v>0.99457053749630597</c:v>
                </c:pt>
                <c:pt idx="792">
                  <c:v>0.99460562425040222</c:v>
                </c:pt>
                <c:pt idx="793">
                  <c:v>0.99464059032778618</c:v>
                </c:pt>
                <c:pt idx="794">
                  <c:v>0.99467542366078665</c:v>
                </c:pt>
                <c:pt idx="795">
                  <c:v>0.99471022682460908</c:v>
                </c:pt>
                <c:pt idx="796">
                  <c:v>0.99474501188692466</c:v>
                </c:pt>
                <c:pt idx="797">
                  <c:v>0.99477912115965139</c:v>
                </c:pt>
                <c:pt idx="798">
                  <c:v>0.99481306148498094</c:v>
                </c:pt>
                <c:pt idx="799">
                  <c:v>0.99484607863346153</c:v>
                </c:pt>
                <c:pt idx="800">
                  <c:v>0.99487900527440798</c:v>
                </c:pt>
                <c:pt idx="801">
                  <c:v>0.99491149144535451</c:v>
                </c:pt>
                <c:pt idx="802">
                  <c:v>0.99494382677041071</c:v>
                </c:pt>
                <c:pt idx="803">
                  <c:v>0.99497586643752178</c:v>
                </c:pt>
                <c:pt idx="804">
                  <c:v>0.99500788196929046</c:v>
                </c:pt>
                <c:pt idx="805">
                  <c:v>0.99503928808366204</c:v>
                </c:pt>
                <c:pt idx="806">
                  <c:v>0.99507053731830775</c:v>
                </c:pt>
                <c:pt idx="807">
                  <c:v>0.99510177448528214</c:v>
                </c:pt>
                <c:pt idx="808">
                  <c:v>0.99513299355074969</c:v>
                </c:pt>
                <c:pt idx="809">
                  <c:v>0.99516412814251864</c:v>
                </c:pt>
                <c:pt idx="810">
                  <c:v>0.99519516015908216</c:v>
                </c:pt>
                <c:pt idx="811">
                  <c:v>0.99522591461920751</c:v>
                </c:pt>
                <c:pt idx="812">
                  <c:v>0.9952561863724837</c:v>
                </c:pt>
                <c:pt idx="813">
                  <c:v>0.99528645812575989</c:v>
                </c:pt>
                <c:pt idx="814">
                  <c:v>0.99531670574369357</c:v>
                </c:pt>
                <c:pt idx="815">
                  <c:v>0.99534679044806573</c:v>
                </c:pt>
                <c:pt idx="816">
                  <c:v>0.99537685705093104</c:v>
                </c:pt>
                <c:pt idx="817">
                  <c:v>0.99540682107859091</c:v>
                </c:pt>
                <c:pt idx="818">
                  <c:v>0.99543678510625078</c:v>
                </c:pt>
                <c:pt idx="819">
                  <c:v>0.99546642330678747</c:v>
                </c:pt>
                <c:pt idx="820">
                  <c:v>0.99549591066143384</c:v>
                </c:pt>
                <c:pt idx="821">
                  <c:v>0.9955253618130665</c:v>
                </c:pt>
                <c:pt idx="822">
                  <c:v>0.99555478882935666</c:v>
                </c:pt>
                <c:pt idx="823">
                  <c:v>0.99558420377797563</c:v>
                </c:pt>
                <c:pt idx="824">
                  <c:v>0.99561328686563577</c:v>
                </c:pt>
                <c:pt idx="825">
                  <c:v>0.99564218290439188</c:v>
                </c:pt>
                <c:pt idx="826">
                  <c:v>0.9956710668754768</c:v>
                </c:pt>
                <c:pt idx="827">
                  <c:v>0.99569970949313713</c:v>
                </c:pt>
                <c:pt idx="828">
                  <c:v>0.99572831590778377</c:v>
                </c:pt>
                <c:pt idx="829">
                  <c:v>0.99575676544270442</c:v>
                </c:pt>
                <c:pt idx="830">
                  <c:v>0.99578499172570745</c:v>
                </c:pt>
                <c:pt idx="831">
                  <c:v>0.99581310336583373</c:v>
                </c:pt>
                <c:pt idx="832">
                  <c:v>0.99584070816376846</c:v>
                </c:pt>
                <c:pt idx="833">
                  <c:v>0.9958682767586895</c:v>
                </c:pt>
                <c:pt idx="834">
                  <c:v>0.99589571260922705</c:v>
                </c:pt>
                <c:pt idx="835">
                  <c:v>0.99592278642962773</c:v>
                </c:pt>
                <c:pt idx="836">
                  <c:v>0.99594937150934371</c:v>
                </c:pt>
                <c:pt idx="837">
                  <c:v>0.99597571523563511</c:v>
                </c:pt>
                <c:pt idx="838">
                  <c:v>0.99600200465740596</c:v>
                </c:pt>
                <c:pt idx="839">
                  <c:v>0.99602815530095767</c:v>
                </c:pt>
                <c:pt idx="840">
                  <c:v>0.99605402235423557</c:v>
                </c:pt>
                <c:pt idx="841">
                  <c:v>0.99607982906915726</c:v>
                </c:pt>
                <c:pt idx="842">
                  <c:v>0.9961051168742161</c:v>
                </c:pt>
                <c:pt idx="843">
                  <c:v>0.99613021763037091</c:v>
                </c:pt>
                <c:pt idx="844">
                  <c:v>0.99615531838652571</c:v>
                </c:pt>
                <c:pt idx="845">
                  <c:v>0.99618033466898193</c:v>
                </c:pt>
                <c:pt idx="846">
                  <c:v>0.9962052845792464</c:v>
                </c:pt>
                <c:pt idx="847">
                  <c:v>0.99623023448951087</c:v>
                </c:pt>
                <c:pt idx="848">
                  <c:v>0.9962551059599124</c:v>
                </c:pt>
                <c:pt idx="849">
                  <c:v>0.99627960936634141</c:v>
                </c:pt>
                <c:pt idx="850">
                  <c:v>0.99630410673893488</c:v>
                </c:pt>
                <c:pt idx="851">
                  <c:v>0.99632841102878866</c:v>
                </c:pt>
                <c:pt idx="852">
                  <c:v>0.99635269118329994</c:v>
                </c:pt>
                <c:pt idx="853">
                  <c:v>0.99642478345121777</c:v>
                </c:pt>
                <c:pt idx="854">
                  <c:v>0.99644844212066086</c:v>
                </c:pt>
                <c:pt idx="855">
                  <c:v>0.99647208872243265</c:v>
                </c:pt>
                <c:pt idx="856">
                  <c:v>0.9964956206813278</c:v>
                </c:pt>
                <c:pt idx="857">
                  <c:v>0.9965191345387161</c:v>
                </c:pt>
                <c:pt idx="858">
                  <c:v>0.99654252771939211</c:v>
                </c:pt>
                <c:pt idx="859">
                  <c:v>0.9965657459188354</c:v>
                </c:pt>
                <c:pt idx="860">
                  <c:v>0.99658890981375814</c:v>
                </c:pt>
                <c:pt idx="861">
                  <c:v>0.99661200733648914</c:v>
                </c:pt>
                <c:pt idx="862">
                  <c:v>0.99663502038552154</c:v>
                </c:pt>
                <c:pt idx="863">
                  <c:v>0.99665800326537579</c:v>
                </c:pt>
                <c:pt idx="864">
                  <c:v>0.99668088960386025</c:v>
                </c:pt>
                <c:pt idx="865">
                  <c:v>0.99670373973933102</c:v>
                </c:pt>
                <c:pt idx="866">
                  <c:v>0.99672656573945928</c:v>
                </c:pt>
                <c:pt idx="867">
                  <c:v>0.9967493615704095</c:v>
                </c:pt>
                <c:pt idx="868">
                  <c:v>0.99677209102916797</c:v>
                </c:pt>
                <c:pt idx="869">
                  <c:v>0.99679468170970731</c:v>
                </c:pt>
                <c:pt idx="870">
                  <c:v>0.9968172060180549</c:v>
                </c:pt>
                <c:pt idx="871">
                  <c:v>0.99683925365338899</c:v>
                </c:pt>
                <c:pt idx="872">
                  <c:v>0.99686125301803818</c:v>
                </c:pt>
                <c:pt idx="873">
                  <c:v>0.99688314980748194</c:v>
                </c:pt>
                <c:pt idx="874">
                  <c:v>0.9969049983262408</c:v>
                </c:pt>
                <c:pt idx="875">
                  <c:v>0.99692680460815031</c:v>
                </c:pt>
                <c:pt idx="876">
                  <c:v>0.99694848417951198</c:v>
                </c:pt>
                <c:pt idx="877">
                  <c:v>0.99696991636361343</c:v>
                </c:pt>
                <c:pt idx="878">
                  <c:v>0.99699116149881084</c:v>
                </c:pt>
                <c:pt idx="879">
                  <c:v>0.99701235232948771</c:v>
                </c:pt>
                <c:pt idx="880">
                  <c:v>0.99703347075413717</c:v>
                </c:pt>
                <c:pt idx="881">
                  <c:v>0.9970545590096086</c:v>
                </c:pt>
                <c:pt idx="882">
                  <c:v>0.9970753395394637</c:v>
                </c:pt>
                <c:pt idx="883">
                  <c:v>0.99709577010685324</c:v>
                </c:pt>
                <c:pt idx="884">
                  <c:v>0.99711615240355778</c:v>
                </c:pt>
                <c:pt idx="885">
                  <c:v>0.99713652866642677</c:v>
                </c:pt>
                <c:pt idx="886">
                  <c:v>0.99715686872628206</c:v>
                </c:pt>
                <c:pt idx="887">
                  <c:v>0.99717688899284984</c:v>
                </c:pt>
                <c:pt idx="888">
                  <c:v>0.99719687305640392</c:v>
                </c:pt>
                <c:pt idx="889">
                  <c:v>0.99721673644324571</c:v>
                </c:pt>
                <c:pt idx="890">
                  <c:v>0.99723655155940261</c:v>
                </c:pt>
                <c:pt idx="891">
                  <c:v>0.99725602274692948</c:v>
                </c:pt>
                <c:pt idx="892">
                  <c:v>0.99727527671637417</c:v>
                </c:pt>
                <c:pt idx="893">
                  <c:v>0.99729441000910668</c:v>
                </c:pt>
                <c:pt idx="894">
                  <c:v>0.99731328384690776</c:v>
                </c:pt>
                <c:pt idx="895">
                  <c:v>0.99733211544785949</c:v>
                </c:pt>
                <c:pt idx="896">
                  <c:v>0.99735081430442774</c:v>
                </c:pt>
                <c:pt idx="897">
                  <c:v>0.9973693442135988</c:v>
                </c:pt>
                <c:pt idx="898">
                  <c:v>0.99738757243098908</c:v>
                </c:pt>
                <c:pt idx="899">
                  <c:v>0.99740558946413294</c:v>
                </c:pt>
                <c:pt idx="900">
                  <c:v>0.9974235944296056</c:v>
                </c:pt>
                <c:pt idx="901">
                  <c:v>0.99744152095521521</c:v>
                </c:pt>
                <c:pt idx="902">
                  <c:v>0.99745942937931797</c:v>
                </c:pt>
                <c:pt idx="903">
                  <c:v>0.99747731970191389</c:v>
                </c:pt>
                <c:pt idx="904">
                  <c:v>0.99749504711094827</c:v>
                </c:pt>
                <c:pt idx="905">
                  <c:v>0.99751273831696896</c:v>
                </c:pt>
                <c:pt idx="906">
                  <c:v>0.99753030884627736</c:v>
                </c:pt>
                <c:pt idx="907">
                  <c:v>0.99754786127407891</c:v>
                </c:pt>
                <c:pt idx="908">
                  <c:v>0.99756527492366132</c:v>
                </c:pt>
                <c:pt idx="909">
                  <c:v>0.99758247135516165</c:v>
                </c:pt>
                <c:pt idx="910">
                  <c:v>0.99759962554981263</c:v>
                </c:pt>
                <c:pt idx="911">
                  <c:v>0.99761676767679242</c:v>
                </c:pt>
                <c:pt idx="912">
                  <c:v>0.99763385549925165</c:v>
                </c:pt>
                <c:pt idx="913">
                  <c:v>0.99765082867883426</c:v>
                </c:pt>
                <c:pt idx="914">
                  <c:v>0.99766775358773196</c:v>
                </c:pt>
                <c:pt idx="915">
                  <c:v>0.99768466039512282</c:v>
                </c:pt>
                <c:pt idx="916">
                  <c:v>0.99770154306717118</c:v>
                </c:pt>
                <c:pt idx="917">
                  <c:v>0.9977183231640141</c:v>
                </c:pt>
                <c:pt idx="918">
                  <c:v>0.99773485587359689</c:v>
                </c:pt>
                <c:pt idx="919">
                  <c:v>0.99775133427865914</c:v>
                </c:pt>
                <c:pt idx="920">
                  <c:v>0.99776780061605019</c:v>
                </c:pt>
                <c:pt idx="921">
                  <c:v>0.99778426091960559</c:v>
                </c:pt>
                <c:pt idx="922">
                  <c:v>0.99780065485096925</c:v>
                </c:pt>
                <c:pt idx="923">
                  <c:v>0.99781703068082606</c:v>
                </c:pt>
                <c:pt idx="924">
                  <c:v>0.99783306258205284</c:v>
                </c:pt>
                <c:pt idx="925">
                  <c:v>0.99784905224643028</c:v>
                </c:pt>
                <c:pt idx="926">
                  <c:v>0.99786498760628728</c:v>
                </c:pt>
                <c:pt idx="927">
                  <c:v>0.99788063937587035</c:v>
                </c:pt>
                <c:pt idx="928">
                  <c:v>0.99789605582586449</c:v>
                </c:pt>
                <c:pt idx="929">
                  <c:v>0.99791141797133809</c:v>
                </c:pt>
                <c:pt idx="930">
                  <c:v>0.99792673787996244</c:v>
                </c:pt>
                <c:pt idx="931">
                  <c:v>0.99794181040132657</c:v>
                </c:pt>
                <c:pt idx="932">
                  <c:v>0.9979567743136496</c:v>
                </c:pt>
                <c:pt idx="933">
                  <c:v>0.99797169598912339</c:v>
                </c:pt>
                <c:pt idx="934">
                  <c:v>0.99798657542774782</c:v>
                </c:pt>
                <c:pt idx="935">
                  <c:v>0.99800120747911214</c:v>
                </c:pt>
                <c:pt idx="936">
                  <c:v>0.99801580332746276</c:v>
                </c:pt>
                <c:pt idx="937">
                  <c:v>0.99803025436375858</c:v>
                </c:pt>
                <c:pt idx="938">
                  <c:v>0.99804466919704082</c:v>
                </c:pt>
                <c:pt idx="939">
                  <c:v>0.99805903575963806</c:v>
                </c:pt>
                <c:pt idx="940">
                  <c:v>0.9980733902545641</c:v>
                </c:pt>
                <c:pt idx="941">
                  <c:v>0.99808768441113405</c:v>
                </c:pt>
                <c:pt idx="942">
                  <c:v>0.99810186392482725</c:v>
                </c:pt>
                <c:pt idx="943">
                  <c:v>0.9981160253370136</c:v>
                </c:pt>
                <c:pt idx="944">
                  <c:v>0.99813012641084387</c:v>
                </c:pt>
                <c:pt idx="945">
                  <c:v>0.99815822598329895</c:v>
                </c:pt>
                <c:pt idx="946">
                  <c:v>0.99817200123000605</c:v>
                </c:pt>
                <c:pt idx="947">
                  <c:v>0.9981856497661652</c:v>
                </c:pt>
                <c:pt idx="948">
                  <c:v>0.99819916555794086</c:v>
                </c:pt>
                <c:pt idx="949">
                  <c:v>0.99821245809779879</c:v>
                </c:pt>
                <c:pt idx="950">
                  <c:v>0.99822559375793074</c:v>
                </c:pt>
                <c:pt idx="951">
                  <c:v>0.9982386208090217</c:v>
                </c:pt>
                <c:pt idx="952">
                  <c:v>0.99825164182627701</c:v>
                </c:pt>
                <c:pt idx="953">
                  <c:v>0.99827733389832207</c:v>
                </c:pt>
                <c:pt idx="954">
                  <c:v>0.99828981790420779</c:v>
                </c:pt>
                <c:pt idx="955">
                  <c:v>0.99830224760557296</c:v>
                </c:pt>
                <c:pt idx="956">
                  <c:v>0.99831465920543128</c:v>
                </c:pt>
                <c:pt idx="957">
                  <c:v>0.99833923501788779</c:v>
                </c:pt>
                <c:pt idx="958">
                  <c:v>0.99835147767034893</c:v>
                </c:pt>
                <c:pt idx="959">
                  <c:v>0.99836370222130322</c:v>
                </c:pt>
                <c:pt idx="960">
                  <c:v>0.9983759267722575</c:v>
                </c:pt>
                <c:pt idx="961">
                  <c:v>0.9984001707237552</c:v>
                </c:pt>
                <c:pt idx="962">
                  <c:v>0.9984121901242986</c:v>
                </c:pt>
                <c:pt idx="963">
                  <c:v>0.99842418538949951</c:v>
                </c:pt>
                <c:pt idx="964">
                  <c:v>0.99843615048552237</c:v>
                </c:pt>
                <c:pt idx="965">
                  <c:v>0.99845996603469134</c:v>
                </c:pt>
                <c:pt idx="966">
                  <c:v>0.99847175614948136</c:v>
                </c:pt>
                <c:pt idx="967">
                  <c:v>0.99848341955372355</c:v>
                </c:pt>
                <c:pt idx="968">
                  <c:v>0.99849503468728074</c:v>
                </c:pt>
                <c:pt idx="969">
                  <c:v>0.99850651707645444</c:v>
                </c:pt>
                <c:pt idx="970">
                  <c:v>0.99851794516110759</c:v>
                </c:pt>
                <c:pt idx="971">
                  <c:v>0.99852922239987041</c:v>
                </c:pt>
                <c:pt idx="972">
                  <c:v>0.99854037896192094</c:v>
                </c:pt>
                <c:pt idx="973">
                  <c:v>0.99855151138862908</c:v>
                </c:pt>
                <c:pt idx="974">
                  <c:v>0.99856258951081667</c:v>
                </c:pt>
                <c:pt idx="975">
                  <c:v>0.99857360126081252</c:v>
                </c:pt>
                <c:pt idx="976">
                  <c:v>0.99858451646943847</c:v>
                </c:pt>
                <c:pt idx="977">
                  <c:v>0.99859537737354398</c:v>
                </c:pt>
                <c:pt idx="978">
                  <c:v>0.9986062020746358</c:v>
                </c:pt>
                <c:pt idx="979">
                  <c:v>0.99861693023435771</c:v>
                </c:pt>
                <c:pt idx="980">
                  <c:v>0.99862756185270984</c:v>
                </c:pt>
                <c:pt idx="981">
                  <c:v>0.99864857770215387</c:v>
                </c:pt>
                <c:pt idx="982">
                  <c:v>0.99865894383173892</c:v>
                </c:pt>
                <c:pt idx="983">
                  <c:v>0.99866929789365277</c:v>
                </c:pt>
                <c:pt idx="984">
                  <c:v>0.99867959161721054</c:v>
                </c:pt>
                <c:pt idx="985">
                  <c:v>0.99868985517159015</c:v>
                </c:pt>
                <c:pt idx="986">
                  <c:v>0.99870008252295617</c:v>
                </c:pt>
                <c:pt idx="987">
                  <c:v>0.99871029177281534</c:v>
                </c:pt>
                <c:pt idx="988">
                  <c:v>0.99872045878582516</c:v>
                </c:pt>
                <c:pt idx="989">
                  <c:v>0.99873061976499933</c:v>
                </c:pt>
                <c:pt idx="990">
                  <c:v>0.99874072643965306</c:v>
                </c:pt>
                <c:pt idx="991">
                  <c:v>0.99875064606540276</c:v>
                </c:pt>
                <c:pt idx="992">
                  <c:v>0.99877025603114877</c:v>
                </c:pt>
                <c:pt idx="993">
                  <c:v>0.99877997654032313</c:v>
                </c:pt>
                <c:pt idx="994">
                  <c:v>0.99878964274497695</c:v>
                </c:pt>
                <c:pt idx="995">
                  <c:v>0.99880883034223</c:v>
                </c:pt>
                <c:pt idx="996">
                  <c:v>0.99881819485510315</c:v>
                </c:pt>
                <c:pt idx="997">
                  <c:v>0.99882752919879825</c:v>
                </c:pt>
                <c:pt idx="998">
                  <c:v>0.9988368333733153</c:v>
                </c:pt>
                <c:pt idx="999">
                  <c:v>0.99884611944632551</c:v>
                </c:pt>
                <c:pt idx="1000">
                  <c:v>0.99885529691029462</c:v>
                </c:pt>
                <c:pt idx="1001">
                  <c:v>0.99886446834042808</c:v>
                </c:pt>
                <c:pt idx="1002">
                  <c:v>0.99887356736453425</c:v>
                </c:pt>
                <c:pt idx="1003">
                  <c:v>0.99888263621946227</c:v>
                </c:pt>
                <c:pt idx="1004">
                  <c:v>0.99889163870219855</c:v>
                </c:pt>
                <c:pt idx="1005">
                  <c:v>0.99890055671123623</c:v>
                </c:pt>
                <c:pt idx="1006">
                  <c:v>0.99890921526534249</c:v>
                </c:pt>
                <c:pt idx="1007">
                  <c:v>0.99891783761643516</c:v>
                </c:pt>
                <c:pt idx="1008">
                  <c:v>0.99892635135848673</c:v>
                </c:pt>
                <c:pt idx="1009">
                  <c:v>0.99893481079601776</c:v>
                </c:pt>
                <c:pt idx="1010">
                  <c:v>0.99894325816587759</c:v>
                </c:pt>
                <c:pt idx="1011">
                  <c:v>0.99895169346806612</c:v>
                </c:pt>
                <c:pt idx="1012">
                  <c:v>0.99896844339573099</c:v>
                </c:pt>
                <c:pt idx="1013">
                  <c:v>0.99898510884969716</c:v>
                </c:pt>
                <c:pt idx="1014">
                  <c:v>0.9989934234751735</c:v>
                </c:pt>
                <c:pt idx="1015">
                  <c:v>0.9990016837961293</c:v>
                </c:pt>
                <c:pt idx="1016">
                  <c:v>0.9990099441170851</c:v>
                </c:pt>
                <c:pt idx="1017">
                  <c:v>0.99901803549064372</c:v>
                </c:pt>
                <c:pt idx="1018">
                  <c:v>0.99902612083036668</c:v>
                </c:pt>
                <c:pt idx="1019">
                  <c:v>0.99903410962871986</c:v>
                </c:pt>
                <c:pt idx="1020">
                  <c:v>0.99904209239323738</c:v>
                </c:pt>
                <c:pt idx="1021">
                  <c:v>0.9990500751577549</c:v>
                </c:pt>
                <c:pt idx="1022">
                  <c:v>0.99905802775309438</c:v>
                </c:pt>
                <c:pt idx="1023">
                  <c:v>0.99906590190857081</c:v>
                </c:pt>
                <c:pt idx="1024">
                  <c:v>0.99907375796254039</c:v>
                </c:pt>
                <c:pt idx="1025">
                  <c:v>0.99908155367815388</c:v>
                </c:pt>
                <c:pt idx="1026">
                  <c:v>0.99909706666951792</c:v>
                </c:pt>
                <c:pt idx="1027">
                  <c:v>0.99910474774225477</c:v>
                </c:pt>
                <c:pt idx="1028">
                  <c:v>0.99911239261197793</c:v>
                </c:pt>
                <c:pt idx="1029">
                  <c:v>0.99911994094033119</c:v>
                </c:pt>
                <c:pt idx="1030">
                  <c:v>0.999127386693479</c:v>
                </c:pt>
                <c:pt idx="1031">
                  <c:v>0.99913483244662682</c:v>
                </c:pt>
                <c:pt idx="1032">
                  <c:v>0.99914226613210344</c:v>
                </c:pt>
                <c:pt idx="1033">
                  <c:v>0.99914969981758006</c:v>
                </c:pt>
                <c:pt idx="1034">
                  <c:v>0.99915695852182385</c:v>
                </c:pt>
                <c:pt idx="1035">
                  <c:v>0.99916421722606763</c:v>
                </c:pt>
                <c:pt idx="1036">
                  <c:v>0.99917142162579087</c:v>
                </c:pt>
                <c:pt idx="1037">
                  <c:v>0.99917861999167856</c:v>
                </c:pt>
                <c:pt idx="1038">
                  <c:v>0.99918579422222376</c:v>
                </c:pt>
                <c:pt idx="1039">
                  <c:v>0.99919292018208405</c:v>
                </c:pt>
                <c:pt idx="1040">
                  <c:v>0.99919993753290326</c:v>
                </c:pt>
                <c:pt idx="1041">
                  <c:v>0.99920692471454442</c:v>
                </c:pt>
                <c:pt idx="1042">
                  <c:v>0.99921388172700754</c:v>
                </c:pt>
                <c:pt idx="1043">
                  <c:v>0.999220832705635</c:v>
                </c:pt>
                <c:pt idx="1044">
                  <c:v>0.99922774748124876</c:v>
                </c:pt>
                <c:pt idx="1045">
                  <c:v>0.99923465018919133</c:v>
                </c:pt>
                <c:pt idx="1046">
                  <c:v>0.9992415166941202</c:v>
                </c:pt>
                <c:pt idx="1047">
                  <c:v>0.9992551471287725</c:v>
                </c:pt>
                <c:pt idx="1048">
                  <c:v>0.99926871119123317</c:v>
                </c:pt>
                <c:pt idx="1049">
                  <c:v>0.99927548115479226</c:v>
                </c:pt>
                <c:pt idx="1050">
                  <c:v>0.99928223905068014</c:v>
                </c:pt>
                <c:pt idx="1051">
                  <c:v>0.99928896677738988</c:v>
                </c:pt>
                <c:pt idx="1052">
                  <c:v>0.99929566433492156</c:v>
                </c:pt>
                <c:pt idx="1053">
                  <c:v>0.9993023558586176</c:v>
                </c:pt>
                <c:pt idx="1054">
                  <c:v>0.99930904134847809</c:v>
                </c:pt>
                <c:pt idx="1055">
                  <c:v>0.99931563029696868</c:v>
                </c:pt>
                <c:pt idx="1056">
                  <c:v>0.99932217097477438</c:v>
                </c:pt>
                <c:pt idx="1057">
                  <c:v>0.99932869958490889</c:v>
                </c:pt>
                <c:pt idx="1058">
                  <c:v>0.9993351437213448</c:v>
                </c:pt>
                <c:pt idx="1059">
                  <c:v>0.99934157579010952</c:v>
                </c:pt>
                <c:pt idx="1060">
                  <c:v>0.99934791735133999</c:v>
                </c:pt>
                <c:pt idx="1061">
                  <c:v>0.99936044359407494</c:v>
                </c:pt>
                <c:pt idx="1062">
                  <c:v>0.99937274658489228</c:v>
                </c:pt>
                <c:pt idx="1063">
                  <c:v>0.99937881662352013</c:v>
                </c:pt>
                <c:pt idx="1064">
                  <c:v>0.99938488062831232</c:v>
                </c:pt>
                <c:pt idx="1065">
                  <c:v>0.99939093859926897</c:v>
                </c:pt>
                <c:pt idx="1066">
                  <c:v>0.99939693019803377</c:v>
                </c:pt>
                <c:pt idx="1067">
                  <c:v>0.99940287352611368</c:v>
                </c:pt>
                <c:pt idx="1068">
                  <c:v>0.99940878668501554</c:v>
                </c:pt>
                <c:pt idx="1069">
                  <c:v>0.99941462140405446</c:v>
                </c:pt>
                <c:pt idx="1070">
                  <c:v>0.99942045612309338</c:v>
                </c:pt>
                <c:pt idx="1071">
                  <c:v>0.99942623653761176</c:v>
                </c:pt>
                <c:pt idx="1072">
                  <c:v>0.99943196868144524</c:v>
                </c:pt>
                <c:pt idx="1073">
                  <c:v>0.99943768875760741</c:v>
                </c:pt>
                <c:pt idx="1074">
                  <c:v>0.99944340883376959</c:v>
                </c:pt>
                <c:pt idx="1075">
                  <c:v>0.9994546619371899</c:v>
                </c:pt>
                <c:pt idx="1076">
                  <c:v>0.9994601768629412</c:v>
                </c:pt>
                <c:pt idx="1077">
                  <c:v>0.99946567972102129</c:v>
                </c:pt>
                <c:pt idx="1078">
                  <c:v>0.99947117654526574</c:v>
                </c:pt>
                <c:pt idx="1079">
                  <c:v>0.99948196504334375</c:v>
                </c:pt>
                <c:pt idx="1080">
                  <c:v>0.99948724464950611</c:v>
                </c:pt>
                <c:pt idx="1081">
                  <c:v>0.99949251822183283</c:v>
                </c:pt>
                <c:pt idx="1082">
                  <c:v>0.99950289038525353</c:v>
                </c:pt>
                <c:pt idx="1083">
                  <c:v>0.99950798294251186</c:v>
                </c:pt>
                <c:pt idx="1084">
                  <c:v>0.9995130272290853</c:v>
                </c:pt>
                <c:pt idx="1085">
                  <c:v>0.99951806548182309</c:v>
                </c:pt>
                <c:pt idx="1086">
                  <c:v>0.99952305546387599</c:v>
                </c:pt>
                <c:pt idx="1087">
                  <c:v>0.99952797907373714</c:v>
                </c:pt>
                <c:pt idx="1088">
                  <c:v>0.99953289664976264</c:v>
                </c:pt>
                <c:pt idx="1089">
                  <c:v>0.99953777198893889</c:v>
                </c:pt>
                <c:pt idx="1090">
                  <c:v>0.99954261715893711</c:v>
                </c:pt>
                <c:pt idx="1091">
                  <c:v>0.99954740802441477</c:v>
                </c:pt>
                <c:pt idx="1092">
                  <c:v>0.99955215665304309</c:v>
                </c:pt>
                <c:pt idx="1093">
                  <c:v>0.99955689924783586</c:v>
                </c:pt>
                <c:pt idx="1094">
                  <c:v>0.99956161167345048</c:v>
                </c:pt>
                <c:pt idx="1095">
                  <c:v>0.99956631806522955</c:v>
                </c:pt>
                <c:pt idx="1096">
                  <c:v>0.99957100635550178</c:v>
                </c:pt>
                <c:pt idx="1097">
                  <c:v>0.99957564034125346</c:v>
                </c:pt>
                <c:pt idx="1098">
                  <c:v>0.99958026225933394</c:v>
                </c:pt>
                <c:pt idx="1099">
                  <c:v>0.99958487210974312</c:v>
                </c:pt>
                <c:pt idx="1100">
                  <c:v>0.99959375994960276</c:v>
                </c:pt>
                <c:pt idx="1101">
                  <c:v>0.9995981827511079</c:v>
                </c:pt>
                <c:pt idx="1102">
                  <c:v>0.99960694388041971</c:v>
                </c:pt>
                <c:pt idx="1103">
                  <c:v>0.9996113123774043</c:v>
                </c:pt>
                <c:pt idx="1104">
                  <c:v>0.99961567484055336</c:v>
                </c:pt>
                <c:pt idx="1105">
                  <c:v>0.99961999506685306</c:v>
                </c:pt>
                <c:pt idx="1106">
                  <c:v>0.99962430322548157</c:v>
                </c:pt>
                <c:pt idx="1107">
                  <c:v>0.99963277473068379</c:v>
                </c:pt>
                <c:pt idx="1108">
                  <c:v>0.99963695014492882</c:v>
                </c:pt>
                <c:pt idx="1109">
                  <c:v>0.99964109538999568</c:v>
                </c:pt>
                <c:pt idx="1110">
                  <c:v>0.99964522856739135</c:v>
                </c:pt>
                <c:pt idx="1111">
                  <c:v>0.99964935571095148</c:v>
                </c:pt>
                <c:pt idx="1112">
                  <c:v>0.99965344061766226</c:v>
                </c:pt>
                <c:pt idx="1113">
                  <c:v>0.99965747725368814</c:v>
                </c:pt>
                <c:pt idx="1114">
                  <c:v>0.99966149578820718</c:v>
                </c:pt>
                <c:pt idx="1115">
                  <c:v>0.99966549622121936</c:v>
                </c:pt>
                <c:pt idx="1116">
                  <c:v>0.99966947251888905</c:v>
                </c:pt>
                <c:pt idx="1117">
                  <c:v>0.99967341261354503</c:v>
                </c:pt>
                <c:pt idx="1118">
                  <c:v>0.99967728633600927</c:v>
                </c:pt>
                <c:pt idx="1119">
                  <c:v>0.99968112988929547</c:v>
                </c:pt>
                <c:pt idx="1120">
                  <c:v>0.99968496740874602</c:v>
                </c:pt>
                <c:pt idx="1121">
                  <c:v>0.99969252177093493</c:v>
                </c:pt>
                <c:pt idx="1122">
                  <c:v>0.99969620844449514</c:v>
                </c:pt>
                <c:pt idx="1123">
                  <c:v>0.9996998770165485</c:v>
                </c:pt>
                <c:pt idx="1124">
                  <c:v>0.99970349128408142</c:v>
                </c:pt>
                <c:pt idx="1125">
                  <c:v>0.999707063314765</c:v>
                </c:pt>
                <c:pt idx="1126">
                  <c:v>0.99971061121010607</c:v>
                </c:pt>
                <c:pt idx="1127">
                  <c:v>0.9997141530716116</c:v>
                </c:pt>
                <c:pt idx="1128">
                  <c:v>0.99971769493311713</c:v>
                </c:pt>
                <c:pt idx="1129">
                  <c:v>0.99972121265928016</c:v>
                </c:pt>
                <c:pt idx="1130">
                  <c:v>0.99972465194558024</c:v>
                </c:pt>
                <c:pt idx="1131">
                  <c:v>0.99972809123188033</c:v>
                </c:pt>
                <c:pt idx="1132">
                  <c:v>0.99973149431516672</c:v>
                </c:pt>
                <c:pt idx="1133">
                  <c:v>0.99973487929694627</c:v>
                </c:pt>
                <c:pt idx="1134">
                  <c:v>0.99973824617721896</c:v>
                </c:pt>
                <c:pt idx="1135">
                  <c:v>0.99974137773790273</c:v>
                </c:pt>
                <c:pt idx="1136">
                  <c:v>0.99974449723091519</c:v>
                </c:pt>
                <c:pt idx="1137">
                  <c:v>0.99974761672392765</c:v>
                </c:pt>
                <c:pt idx="1138">
                  <c:v>0.99975073621694011</c:v>
                </c:pt>
                <c:pt idx="1139">
                  <c:v>0.99975384967611702</c:v>
                </c:pt>
                <c:pt idx="1140">
                  <c:v>0.99976306334309983</c:v>
                </c:pt>
                <c:pt idx="1141">
                  <c:v>0.99976606215940012</c:v>
                </c:pt>
                <c:pt idx="1142">
                  <c:v>0.99976905494186474</c:v>
                </c:pt>
                <c:pt idx="1143">
                  <c:v>0.99977203565665818</c:v>
                </c:pt>
                <c:pt idx="1144">
                  <c:v>0.9997750043037803</c:v>
                </c:pt>
                <c:pt idx="1145">
                  <c:v>0.99977794881556004</c:v>
                </c:pt>
                <c:pt idx="1146">
                  <c:v>0.99978083298898357</c:v>
                </c:pt>
                <c:pt idx="1147">
                  <c:v>0.99978365079021536</c:v>
                </c:pt>
                <c:pt idx="1148">
                  <c:v>0.99978645652377596</c:v>
                </c:pt>
                <c:pt idx="1149">
                  <c:v>0.99979198351719856</c:v>
                </c:pt>
                <c:pt idx="1150">
                  <c:v>0.99979471684473176</c:v>
                </c:pt>
                <c:pt idx="1151">
                  <c:v>0.99979741396925126</c:v>
                </c:pt>
                <c:pt idx="1152">
                  <c:v>0.99980010505993522</c:v>
                </c:pt>
                <c:pt idx="1153">
                  <c:v>0.99980276598144102</c:v>
                </c:pt>
                <c:pt idx="1154">
                  <c:v>0.99980541483527563</c:v>
                </c:pt>
                <c:pt idx="1155">
                  <c:v>0.99981059186623256</c:v>
                </c:pt>
                <c:pt idx="1156">
                  <c:v>0.99981308987417683</c:v>
                </c:pt>
                <c:pt idx="1157">
                  <c:v>0.99982045115362606</c:v>
                </c:pt>
                <c:pt idx="1158">
                  <c:v>0.99982273194348825</c:v>
                </c:pt>
                <c:pt idx="1159">
                  <c:v>0.99982728145554134</c:v>
                </c:pt>
                <c:pt idx="1160">
                  <c:v>0.99982953207622538</c:v>
                </c:pt>
                <c:pt idx="1161">
                  <c:v>0.99983176459540257</c:v>
                </c:pt>
                <c:pt idx="1162">
                  <c:v>0.99983399711457976</c:v>
                </c:pt>
                <c:pt idx="1163">
                  <c:v>0.99983840181457817</c:v>
                </c:pt>
                <c:pt idx="1164">
                  <c:v>0.99984056192772808</c:v>
                </c:pt>
                <c:pt idx="1165">
                  <c:v>0.99984270393937114</c:v>
                </c:pt>
                <c:pt idx="1166">
                  <c:v>0.99984482784950734</c:v>
                </c:pt>
                <c:pt idx="1167">
                  <c:v>0.99984898516224552</c:v>
                </c:pt>
                <c:pt idx="1168">
                  <c:v>0.99985103666635433</c:v>
                </c:pt>
                <c:pt idx="1169">
                  <c:v>0.99985307610279195</c:v>
                </c:pt>
                <c:pt idx="1170">
                  <c:v>0.99985508537005141</c:v>
                </c:pt>
                <c:pt idx="1171">
                  <c:v>0.99985704636662598</c:v>
                </c:pt>
                <c:pt idx="1172">
                  <c:v>0.99986285695032251</c:v>
                </c:pt>
                <c:pt idx="1173">
                  <c:v>0.99986471537169164</c:v>
                </c:pt>
                <c:pt idx="1174">
                  <c:v>0.99986653759004707</c:v>
                </c:pt>
                <c:pt idx="1175">
                  <c:v>0.99987017599292238</c:v>
                </c:pt>
                <c:pt idx="1176">
                  <c:v>0.99987196200826423</c:v>
                </c:pt>
                <c:pt idx="1177">
                  <c:v>0.99987374802360607</c:v>
                </c:pt>
                <c:pt idx="1178">
                  <c:v>0.99987553403894791</c:v>
                </c:pt>
                <c:pt idx="1179">
                  <c:v>0.99988240657771243</c:v>
                </c:pt>
                <c:pt idx="1180">
                  <c:v>0.99988412018702688</c:v>
                </c:pt>
                <c:pt idx="1181">
                  <c:v>0.99988583379634133</c:v>
                </c:pt>
                <c:pt idx="1182">
                  <c:v>0.99988924291346326</c:v>
                </c:pt>
                <c:pt idx="1183">
                  <c:v>0.99989090221825716</c:v>
                </c:pt>
                <c:pt idx="1184">
                  <c:v>0.99989577152359765</c:v>
                </c:pt>
                <c:pt idx="1185">
                  <c:v>0.99989735842236416</c:v>
                </c:pt>
                <c:pt idx="1186">
                  <c:v>0.99989892118578827</c:v>
                </c:pt>
                <c:pt idx="1187">
                  <c:v>0.99990336812263592</c:v>
                </c:pt>
                <c:pt idx="1188">
                  <c:v>0.99990482227701893</c:v>
                </c:pt>
                <c:pt idx="1189">
                  <c:v>0.99990771248427812</c:v>
                </c:pt>
                <c:pt idx="1190">
                  <c:v>0.99990914853715429</c:v>
                </c:pt>
                <c:pt idx="1191">
                  <c:v>0.99991331791756366</c:v>
                </c:pt>
                <c:pt idx="1192">
                  <c:v>0.99991466949674124</c:v>
                </c:pt>
                <c:pt idx="1193">
                  <c:v>0.99991866389591777</c:v>
                </c:pt>
                <c:pt idx="1194">
                  <c:v>0.99992375041934045</c:v>
                </c:pt>
                <c:pt idx="1195">
                  <c:v>0.99992498132180574</c:v>
                </c:pt>
                <c:pt idx="1196">
                  <c:v>0.99992736468687327</c:v>
                </c:pt>
                <c:pt idx="1197">
                  <c:v>0.99992963944289981</c:v>
                </c:pt>
                <c:pt idx="1198">
                  <c:v>0.99993075570248846</c:v>
                </c:pt>
                <c:pt idx="1199">
                  <c:v>0.99993185989440581</c:v>
                </c:pt>
                <c:pt idx="1200">
                  <c:v>0.99993296408632315</c:v>
                </c:pt>
                <c:pt idx="1201">
                  <c:v>0.9999340200075556</c:v>
                </c:pt>
                <c:pt idx="1202">
                  <c:v>0.9999350578272812</c:v>
                </c:pt>
                <c:pt idx="1203">
                  <c:v>0.99993609564700681</c:v>
                </c:pt>
                <c:pt idx="1204">
                  <c:v>0.99993712743289687</c:v>
                </c:pt>
                <c:pt idx="1205">
                  <c:v>0.99994200277207312</c:v>
                </c:pt>
                <c:pt idx="1206">
                  <c:v>0.99994293801659329</c:v>
                </c:pt>
                <c:pt idx="1207">
                  <c:v>0.99994563514111279</c:v>
                </c:pt>
                <c:pt idx="1208">
                  <c:v>0.99994819348741326</c:v>
                </c:pt>
                <c:pt idx="1209">
                  <c:v>0.99994903219056364</c:v>
                </c:pt>
                <c:pt idx="1210">
                  <c:v>0.99995147589398736</c:v>
                </c:pt>
                <c:pt idx="1211">
                  <c:v>0.99995303865741136</c:v>
                </c:pt>
                <c:pt idx="1212">
                  <c:v>0.99995453504864362</c:v>
                </c:pt>
                <c:pt idx="1213">
                  <c:v>0.99995736491754672</c:v>
                </c:pt>
                <c:pt idx="1214">
                  <c:v>0.99995806484247796</c:v>
                </c:pt>
                <c:pt idx="1215">
                  <c:v>0.99995944659083358</c:v>
                </c:pt>
                <c:pt idx="1216">
                  <c:v>0.99996013444809362</c:v>
                </c:pt>
                <c:pt idx="1217">
                  <c:v>0.99996078610233996</c:v>
                </c:pt>
                <c:pt idx="1218">
                  <c:v>0.99996573384754361</c:v>
                </c:pt>
                <c:pt idx="1219">
                  <c:v>0.99996751986288535</c:v>
                </c:pt>
                <c:pt idx="1220">
                  <c:v>0.99996984288959678</c:v>
                </c:pt>
                <c:pt idx="1221">
                  <c:v>0.99997152029589764</c:v>
                </c:pt>
                <c:pt idx="1222">
                  <c:v>0.99997416914973236</c:v>
                </c:pt>
                <c:pt idx="1223">
                  <c:v>0.99997564743945777</c:v>
                </c:pt>
                <c:pt idx="1224">
                  <c:v>0.99997658268397793</c:v>
                </c:pt>
                <c:pt idx="1225">
                  <c:v>0.99997704125548459</c:v>
                </c:pt>
                <c:pt idx="1226">
                  <c:v>0.9999774937931557</c:v>
                </c:pt>
                <c:pt idx="1227">
                  <c:v>0.99997793426315551</c:v>
                </c:pt>
                <c:pt idx="1228">
                  <c:v>0.99997921343630569</c:v>
                </c:pt>
                <c:pt idx="1229">
                  <c:v>0.99998046847411337</c:v>
                </c:pt>
                <c:pt idx="1230">
                  <c:v>0.9999816692074005</c:v>
                </c:pt>
                <c:pt idx="1231">
                  <c:v>0.9999839258619202</c:v>
                </c:pt>
                <c:pt idx="1232">
                  <c:v>0.99998426979055022</c:v>
                </c:pt>
                <c:pt idx="1233">
                  <c:v>0.99998461371918024</c:v>
                </c:pt>
                <c:pt idx="1234">
                  <c:v>0.99998526537342658</c:v>
                </c:pt>
                <c:pt idx="1235">
                  <c:v>0.99998587479082357</c:v>
                </c:pt>
                <c:pt idx="1236">
                  <c:v>0.9999861704487687</c:v>
                </c:pt>
                <c:pt idx="1237">
                  <c:v>0.99998673159548079</c:v>
                </c:pt>
                <c:pt idx="1238">
                  <c:v>0.99998756426479563</c:v>
                </c:pt>
                <c:pt idx="1239">
                  <c:v>0.99998863828753481</c:v>
                </c:pt>
                <c:pt idx="1240">
                  <c:v>0.99998963990424683</c:v>
                </c:pt>
                <c:pt idx="1241">
                  <c:v>0.99999151642712281</c:v>
                </c:pt>
                <c:pt idx="1242">
                  <c:v>0.99999173967904054</c:v>
                </c:pt>
                <c:pt idx="1243">
                  <c:v>0.9999931877995879</c:v>
                </c:pt>
                <c:pt idx="1244">
                  <c:v>0.99999338088232759</c:v>
                </c:pt>
                <c:pt idx="1245">
                  <c:v>0.99999413511177937</c:v>
                </c:pt>
                <c:pt idx="1246">
                  <c:v>0.9999943221606834</c:v>
                </c:pt>
                <c:pt idx="1247">
                  <c:v>0.99999501605177898</c:v>
                </c:pt>
                <c:pt idx="1248">
                  <c:v>0.99999549272479249</c:v>
                </c:pt>
                <c:pt idx="1249">
                  <c:v>0.9999959573301348</c:v>
                </c:pt>
                <c:pt idx="1250">
                  <c:v>0.99999625298807993</c:v>
                </c:pt>
                <c:pt idx="1251">
                  <c:v>0.99999639780013472</c:v>
                </c:pt>
                <c:pt idx="1252">
                  <c:v>0.99999654261218951</c:v>
                </c:pt>
                <c:pt idx="1253">
                  <c:v>0.9999966874242443</c:v>
                </c:pt>
                <c:pt idx="1254">
                  <c:v>0.99999854584561354</c:v>
                </c:pt>
                <c:pt idx="1255">
                  <c:v>0.99999939058259935</c:v>
                </c:pt>
                <c:pt idx="1256">
                  <c:v>0.9999996078006815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681</c:f>
              <c:strCache>
                <c:ptCount val="1680"/>
                <c:pt idx="0">
                  <c:v>Caprice Des</c:v>
                </c:pt>
                <c:pt idx="1">
                  <c:v>Private Lab</c:v>
                </c:pt>
                <c:pt idx="2">
                  <c:v>La Vache Qu</c:v>
                </c:pt>
                <c:pt idx="3">
                  <c:v>Coeur De Li</c:v>
                </c:pt>
                <c:pt idx="4">
                  <c:v>Caprice Des</c:v>
                </c:pt>
                <c:pt idx="5">
                  <c:v>Soignon</c:v>
                </c:pt>
                <c:pt idx="6">
                  <c:v>President</c:v>
                </c:pt>
                <c:pt idx="7">
                  <c:v>Private Lab</c:v>
                </c:pt>
                <c:pt idx="8">
                  <c:v>Mini Babybe</c:v>
                </c:pt>
                <c:pt idx="9">
                  <c:v>Le Rustique</c:v>
                </c:pt>
                <c:pt idx="10">
                  <c:v>Coeur De Li</c:v>
                </c:pt>
                <c:pt idx="11">
                  <c:v>Galbani</c:v>
                </c:pt>
                <c:pt idx="12">
                  <c:v>Mini Babybe</c:v>
                </c:pt>
                <c:pt idx="13">
                  <c:v>Soignon</c:v>
                </c:pt>
                <c:pt idx="14">
                  <c:v>St Moret</c:v>
                </c:pt>
                <c:pt idx="15">
                  <c:v>La Vache Qu</c:v>
                </c:pt>
                <c:pt idx="16">
                  <c:v>La Vache Qu</c:v>
                </c:pt>
                <c:pt idx="17">
                  <c:v>Private Lab</c:v>
                </c:pt>
                <c:pt idx="18">
                  <c:v>Kiri</c:v>
                </c:pt>
                <c:pt idx="19">
                  <c:v>Private Lab</c:v>
                </c:pt>
                <c:pt idx="20">
                  <c:v>President</c:v>
                </c:pt>
                <c:pt idx="21">
                  <c:v>Tartare</c:v>
                </c:pt>
                <c:pt idx="22">
                  <c:v>Salakis</c:v>
                </c:pt>
                <c:pt idx="23">
                  <c:v>St Moret</c:v>
                </c:pt>
                <c:pt idx="24">
                  <c:v>Paysan Bret</c:v>
                </c:pt>
                <c:pt idx="25">
                  <c:v>President</c:v>
                </c:pt>
                <c:pt idx="26">
                  <c:v>Kiri</c:v>
                </c:pt>
                <c:pt idx="27">
                  <c:v>St Moret</c:v>
                </c:pt>
                <c:pt idx="28">
                  <c:v>All Others</c:v>
                </c:pt>
                <c:pt idx="29">
                  <c:v>Private Lab</c:v>
                </c:pt>
                <c:pt idx="30">
                  <c:v>Soignon</c:v>
                </c:pt>
                <c:pt idx="31">
                  <c:v>Ficello</c:v>
                </c:pt>
                <c:pt idx="32">
                  <c:v>Philadelphi</c:v>
                </c:pt>
                <c:pt idx="33">
                  <c:v>Private Lab</c:v>
                </c:pt>
                <c:pt idx="34">
                  <c:v>Kiri</c:v>
                </c:pt>
                <c:pt idx="35">
                  <c:v>Carre Frais</c:v>
                </c:pt>
                <c:pt idx="36">
                  <c:v>Carre Frais</c:v>
                </c:pt>
                <c:pt idx="37">
                  <c:v>Paysan Bret</c:v>
                </c:pt>
                <c:pt idx="38">
                  <c:v>Boursin</c:v>
                </c:pt>
                <c:pt idx="39">
                  <c:v>Petit Billy</c:v>
                </c:pt>
                <c:pt idx="40">
                  <c:v>Boursin</c:v>
                </c:pt>
                <c:pt idx="41">
                  <c:v>Islos</c:v>
                </c:pt>
                <c:pt idx="42">
                  <c:v>Kiri</c:v>
                </c:pt>
                <c:pt idx="43">
                  <c:v>Private Lab</c:v>
                </c:pt>
                <c:pt idx="44">
                  <c:v>Private Lab</c:v>
                </c:pt>
                <c:pt idx="45">
                  <c:v>Lepetit</c:v>
                </c:pt>
                <c:pt idx="46">
                  <c:v>President</c:v>
                </c:pt>
                <c:pt idx="47">
                  <c:v>Private Lab</c:v>
                </c:pt>
                <c:pt idx="48">
                  <c:v>Ficello</c:v>
                </c:pt>
                <c:pt idx="49">
                  <c:v>Philadelphi</c:v>
                </c:pt>
                <c:pt idx="50">
                  <c:v>Istara</c:v>
                </c:pt>
                <c:pt idx="51">
                  <c:v>St Moret</c:v>
                </c:pt>
                <c:pt idx="52">
                  <c:v>Caprice Des</c:v>
                </c:pt>
                <c:pt idx="53">
                  <c:v>Coeur De Li</c:v>
                </c:pt>
                <c:pt idx="54">
                  <c:v>Private Lab</c:v>
                </c:pt>
                <c:pt idx="55">
                  <c:v>All Others</c:v>
                </c:pt>
                <c:pt idx="56">
                  <c:v>St Moret</c:v>
                </c:pt>
                <c:pt idx="57">
                  <c:v>Galbani</c:v>
                </c:pt>
                <c:pt idx="58">
                  <c:v>Lou Perac</c:v>
                </c:pt>
                <c:pt idx="59">
                  <c:v>Salakis</c:v>
                </c:pt>
                <c:pt idx="60">
                  <c:v>Soignon</c:v>
                </c:pt>
                <c:pt idx="61">
                  <c:v>All Others</c:v>
                </c:pt>
                <c:pt idx="62">
                  <c:v>Private Lab</c:v>
                </c:pt>
                <c:pt idx="63">
                  <c:v>Galbani</c:v>
                </c:pt>
                <c:pt idx="64">
                  <c:v>President</c:v>
                </c:pt>
                <c:pt idx="65">
                  <c:v>Casa Azzurr</c:v>
                </c:pt>
                <c:pt idx="66">
                  <c:v>Private Lab</c:v>
                </c:pt>
                <c:pt idx="67">
                  <c:v>Tartare</c:v>
                </c:pt>
                <c:pt idx="68">
                  <c:v>Private Lab</c:v>
                </c:pt>
                <c:pt idx="69">
                  <c:v>Private Lab</c:v>
                </c:pt>
                <c:pt idx="70">
                  <c:v>Soignon</c:v>
                </c:pt>
                <c:pt idx="71">
                  <c:v>Private Lab</c:v>
                </c:pt>
                <c:pt idx="72">
                  <c:v>Tartare</c:v>
                </c:pt>
                <c:pt idx="73">
                  <c:v>President</c:v>
                </c:pt>
                <c:pt idx="74">
                  <c:v>Le Brebiou</c:v>
                </c:pt>
                <c:pt idx="75">
                  <c:v>Private Lab</c:v>
                </c:pt>
                <c:pt idx="76">
                  <c:v>Boursin</c:v>
                </c:pt>
                <c:pt idx="77">
                  <c:v>Private Lab</c:v>
                </c:pt>
                <c:pt idx="78">
                  <c:v>Private Lab</c:v>
                </c:pt>
                <c:pt idx="79">
                  <c:v>Coeur De Li</c:v>
                </c:pt>
                <c:pt idx="80">
                  <c:v>Etorki</c:v>
                </c:pt>
                <c:pt idx="81">
                  <c:v>Casa Azzurr</c:v>
                </c:pt>
                <c:pt idx="82">
                  <c:v>President</c:v>
                </c:pt>
                <c:pt idx="83">
                  <c:v>St Moret</c:v>
                </c:pt>
                <c:pt idx="84">
                  <c:v>St Moret</c:v>
                </c:pt>
                <c:pt idx="85">
                  <c:v>Galbani</c:v>
                </c:pt>
                <c:pt idx="86">
                  <c:v>Boursin</c:v>
                </c:pt>
                <c:pt idx="87">
                  <c:v>President</c:v>
                </c:pt>
                <c:pt idx="88">
                  <c:v>All Others</c:v>
                </c:pt>
                <c:pt idx="89">
                  <c:v>President</c:v>
                </c:pt>
                <c:pt idx="90">
                  <c:v>Paysan Bret</c:v>
                </c:pt>
                <c:pt idx="91">
                  <c:v>St Moret</c:v>
                </c:pt>
                <c:pt idx="92">
                  <c:v>Chavroux</c:v>
                </c:pt>
                <c:pt idx="93">
                  <c:v>Private Lab</c:v>
                </c:pt>
                <c:pt idx="94">
                  <c:v>Kiri</c:v>
                </c:pt>
                <c:pt idx="95">
                  <c:v>Paysan Bret</c:v>
                </c:pt>
                <c:pt idx="96">
                  <c:v>All Others</c:v>
                </c:pt>
                <c:pt idx="97">
                  <c:v>La Vache Qu</c:v>
                </c:pt>
                <c:pt idx="98">
                  <c:v>Casa Azzurr</c:v>
                </c:pt>
                <c:pt idx="99">
                  <c:v>All Others</c:v>
                </c:pt>
                <c:pt idx="100">
                  <c:v>Private Lab</c:v>
                </c:pt>
                <c:pt idx="101">
                  <c:v>St Moret</c:v>
                </c:pt>
                <c:pt idx="102">
                  <c:v>Mini Babybe</c:v>
                </c:pt>
                <c:pt idx="103">
                  <c:v>Private Lab</c:v>
                </c:pt>
                <c:pt idx="104">
                  <c:v>Soignon</c:v>
                </c:pt>
                <c:pt idx="105">
                  <c:v>Private Lab</c:v>
                </c:pt>
                <c:pt idx="106">
                  <c:v>President</c:v>
                </c:pt>
                <c:pt idx="107">
                  <c:v>Private Lab</c:v>
                </c:pt>
                <c:pt idx="108">
                  <c:v>La Vache Qu</c:v>
                </c:pt>
                <c:pt idx="109">
                  <c:v>Le Rustique</c:v>
                </c:pt>
                <c:pt idx="110">
                  <c:v>Mini Babybe</c:v>
                </c:pt>
                <c:pt idx="111">
                  <c:v>Istara</c:v>
                </c:pt>
                <c:pt idx="112">
                  <c:v>Private Lab</c:v>
                </c:pt>
                <c:pt idx="113">
                  <c:v>Salakis</c:v>
                </c:pt>
                <c:pt idx="114">
                  <c:v>Private Lab</c:v>
                </c:pt>
                <c:pt idx="115">
                  <c:v>Casa Azzurr</c:v>
                </c:pt>
                <c:pt idx="116">
                  <c:v>Private Lab</c:v>
                </c:pt>
                <c:pt idx="117">
                  <c:v>Private Lab</c:v>
                </c:pt>
                <c:pt idx="118">
                  <c:v>Private Lab</c:v>
                </c:pt>
                <c:pt idx="119">
                  <c:v>La Vache Qu</c:v>
                </c:pt>
                <c:pt idx="120">
                  <c:v>Coeur De Li</c:v>
                </c:pt>
                <c:pt idx="121">
                  <c:v>Casa Azzurr</c:v>
                </c:pt>
                <c:pt idx="122">
                  <c:v>Lactalis: A</c:v>
                </c:pt>
                <c:pt idx="123">
                  <c:v>Lactalis: A</c:v>
                </c:pt>
                <c:pt idx="124">
                  <c:v>All Others</c:v>
                </c:pt>
                <c:pt idx="125">
                  <c:v>Caprice Des</c:v>
                </c:pt>
                <c:pt idx="126">
                  <c:v>Casa Azzurr</c:v>
                </c:pt>
                <c:pt idx="127">
                  <c:v>Lactalis: A</c:v>
                </c:pt>
                <c:pt idx="128">
                  <c:v>Private Lab</c:v>
                </c:pt>
                <c:pt idx="129">
                  <c:v>Soignon</c:v>
                </c:pt>
                <c:pt idx="130">
                  <c:v>President</c:v>
                </c:pt>
                <c:pt idx="131">
                  <c:v>Private Lab</c:v>
                </c:pt>
                <c:pt idx="132">
                  <c:v>Kiri</c:v>
                </c:pt>
                <c:pt idx="133">
                  <c:v>Le Rustique</c:v>
                </c:pt>
                <c:pt idx="134">
                  <c:v>Salakis</c:v>
                </c:pt>
                <c:pt idx="135">
                  <c:v>Lou Perac</c:v>
                </c:pt>
                <c:pt idx="136">
                  <c:v>Casa Azzurr</c:v>
                </c:pt>
                <c:pt idx="137">
                  <c:v>All Others</c:v>
                </c:pt>
                <c:pt idx="138">
                  <c:v>Tartare</c:v>
                </c:pt>
                <c:pt idx="139">
                  <c:v>Le Rustique</c:v>
                </c:pt>
                <c:pt idx="140">
                  <c:v>Private Lab</c:v>
                </c:pt>
                <c:pt idx="141">
                  <c:v>President</c:v>
                </c:pt>
                <c:pt idx="142">
                  <c:v>Paysan Bret</c:v>
                </c:pt>
                <c:pt idx="143">
                  <c:v>P'Tit Louis</c:v>
                </c:pt>
                <c:pt idx="144">
                  <c:v>All Others</c:v>
                </c:pt>
                <c:pt idx="145">
                  <c:v>Galbani</c:v>
                </c:pt>
                <c:pt idx="146">
                  <c:v>Carre Frais</c:v>
                </c:pt>
                <c:pt idx="147">
                  <c:v>Philadelphi</c:v>
                </c:pt>
                <c:pt idx="148">
                  <c:v>Private Lab</c:v>
                </c:pt>
                <c:pt idx="149">
                  <c:v>Mini Babybe</c:v>
                </c:pt>
                <c:pt idx="150">
                  <c:v>Private Lab</c:v>
                </c:pt>
                <c:pt idx="151">
                  <c:v>Chavroux</c:v>
                </c:pt>
                <c:pt idx="152">
                  <c:v>Paysan Bret</c:v>
                </c:pt>
                <c:pt idx="153">
                  <c:v>Boursin</c:v>
                </c:pt>
                <c:pt idx="154">
                  <c:v>All Others</c:v>
                </c:pt>
                <c:pt idx="155">
                  <c:v>Soignon</c:v>
                </c:pt>
                <c:pt idx="156">
                  <c:v>Rondele</c:v>
                </c:pt>
                <c:pt idx="157">
                  <c:v>Private Lab</c:v>
                </c:pt>
                <c:pt idx="158">
                  <c:v>Private Lab</c:v>
                </c:pt>
                <c:pt idx="159">
                  <c:v>All Others</c:v>
                </c:pt>
                <c:pt idx="160">
                  <c:v>Private Lab</c:v>
                </c:pt>
                <c:pt idx="161">
                  <c:v>Private Lab</c:v>
                </c:pt>
                <c:pt idx="162">
                  <c:v>All Others</c:v>
                </c:pt>
                <c:pt idx="163">
                  <c:v>Salakis</c:v>
                </c:pt>
                <c:pt idx="164">
                  <c:v>Private Lab</c:v>
                </c:pt>
                <c:pt idx="165">
                  <c:v>All Others</c:v>
                </c:pt>
                <c:pt idx="166">
                  <c:v>Savencia: A</c:v>
                </c:pt>
                <c:pt idx="167">
                  <c:v>Soignon</c:v>
                </c:pt>
                <c:pt idx="168">
                  <c:v>Lactalis: A</c:v>
                </c:pt>
                <c:pt idx="169">
                  <c:v>All Others</c:v>
                </c:pt>
                <c:pt idx="170">
                  <c:v>Mini Babybe</c:v>
                </c:pt>
                <c:pt idx="171">
                  <c:v>Soignon</c:v>
                </c:pt>
                <c:pt idx="172">
                  <c:v>All Others</c:v>
                </c:pt>
                <c:pt idx="173">
                  <c:v>All Others</c:v>
                </c:pt>
                <c:pt idx="174">
                  <c:v>Salakis</c:v>
                </c:pt>
                <c:pt idx="175">
                  <c:v>All Others</c:v>
                </c:pt>
                <c:pt idx="176">
                  <c:v>All Others</c:v>
                </c:pt>
                <c:pt idx="177">
                  <c:v>All Others</c:v>
                </c:pt>
                <c:pt idx="178">
                  <c:v>Galbani</c:v>
                </c:pt>
                <c:pt idx="179">
                  <c:v>Paysan Bret</c:v>
                </c:pt>
                <c:pt idx="180">
                  <c:v>All Others</c:v>
                </c:pt>
                <c:pt idx="181">
                  <c:v>Private Lab</c:v>
                </c:pt>
                <c:pt idx="182">
                  <c:v>All Others</c:v>
                </c:pt>
                <c:pt idx="183">
                  <c:v>Galbani</c:v>
                </c:pt>
                <c:pt idx="184">
                  <c:v>Caprice Des</c:v>
                </c:pt>
                <c:pt idx="185">
                  <c:v>Private Lab</c:v>
                </c:pt>
                <c:pt idx="186">
                  <c:v>All Others</c:v>
                </c:pt>
                <c:pt idx="187">
                  <c:v>Laita: All </c:v>
                </c:pt>
                <c:pt idx="188">
                  <c:v>Kiri</c:v>
                </c:pt>
                <c:pt idx="189">
                  <c:v>Casa Azzurr</c:v>
                </c:pt>
                <c:pt idx="190">
                  <c:v>All Others</c:v>
                </c:pt>
                <c:pt idx="191">
                  <c:v>All Others</c:v>
                </c:pt>
                <c:pt idx="192">
                  <c:v>President</c:v>
                </c:pt>
                <c:pt idx="193">
                  <c:v>Chavroux</c:v>
                </c:pt>
                <c:pt idx="194">
                  <c:v>Galbani</c:v>
                </c:pt>
                <c:pt idx="195">
                  <c:v>Soignon</c:v>
                </c:pt>
                <c:pt idx="196">
                  <c:v>Boursin</c:v>
                </c:pt>
                <c:pt idx="197">
                  <c:v>All Others</c:v>
                </c:pt>
                <c:pt idx="198">
                  <c:v>Private Lab</c:v>
                </c:pt>
                <c:pt idx="199">
                  <c:v>Private Lab</c:v>
                </c:pt>
                <c:pt idx="200">
                  <c:v>All Others</c:v>
                </c:pt>
                <c:pt idx="201">
                  <c:v>All Others</c:v>
                </c:pt>
                <c:pt idx="202">
                  <c:v>Private Lab</c:v>
                </c:pt>
                <c:pt idx="203">
                  <c:v>Casa Azzurr</c:v>
                </c:pt>
                <c:pt idx="204">
                  <c:v>All Others</c:v>
                </c:pt>
                <c:pt idx="205">
                  <c:v>Soignon</c:v>
                </c:pt>
                <c:pt idx="206">
                  <c:v>Private Lab</c:v>
                </c:pt>
                <c:pt idx="207">
                  <c:v>Boursin</c:v>
                </c:pt>
                <c:pt idx="208">
                  <c:v>Soignon</c:v>
                </c:pt>
                <c:pt idx="209">
                  <c:v>Casa Azzurr</c:v>
                </c:pt>
                <c:pt idx="210">
                  <c:v>Private Lab</c:v>
                </c:pt>
                <c:pt idx="211">
                  <c:v>Caprice Des</c:v>
                </c:pt>
                <c:pt idx="212">
                  <c:v>Ficello</c:v>
                </c:pt>
                <c:pt idx="213">
                  <c:v>Pave D'Affi</c:v>
                </c:pt>
                <c:pt idx="214">
                  <c:v>Casa Azzurr</c:v>
                </c:pt>
                <c:pt idx="215">
                  <c:v>Mini Babybe</c:v>
                </c:pt>
                <c:pt idx="216">
                  <c:v>Lou Perac</c:v>
                </c:pt>
                <c:pt idx="217">
                  <c:v>Private Lab</c:v>
                </c:pt>
                <c:pt idx="218">
                  <c:v>Coeur De Li</c:v>
                </c:pt>
                <c:pt idx="219">
                  <c:v>Lou Perac</c:v>
                </c:pt>
                <c:pt idx="220">
                  <c:v>All Others</c:v>
                </c:pt>
                <c:pt idx="221">
                  <c:v>All Others</c:v>
                </c:pt>
                <c:pt idx="222">
                  <c:v>All Others</c:v>
                </c:pt>
                <c:pt idx="223">
                  <c:v>Paysan Bret</c:v>
                </c:pt>
                <c:pt idx="224">
                  <c:v>P'Tit Louis</c:v>
                </c:pt>
                <c:pt idx="225">
                  <c:v>Galbani</c:v>
                </c:pt>
                <c:pt idx="226">
                  <c:v>All Others</c:v>
                </c:pt>
                <c:pt idx="227">
                  <c:v>All Others</c:v>
                </c:pt>
                <c:pt idx="228">
                  <c:v>Private Lab</c:v>
                </c:pt>
                <c:pt idx="229">
                  <c:v>All Others</c:v>
                </c:pt>
                <c:pt idx="230">
                  <c:v>Private Lab</c:v>
                </c:pt>
                <c:pt idx="231">
                  <c:v>All Others</c:v>
                </c:pt>
                <c:pt idx="232">
                  <c:v>Kiri</c:v>
                </c:pt>
                <c:pt idx="233">
                  <c:v>All Others</c:v>
                </c:pt>
                <c:pt idx="234">
                  <c:v>Mini Babybe</c:v>
                </c:pt>
                <c:pt idx="235">
                  <c:v>Tartare</c:v>
                </c:pt>
                <c:pt idx="236">
                  <c:v>All Others</c:v>
                </c:pt>
                <c:pt idx="237">
                  <c:v>All Others</c:v>
                </c:pt>
                <c:pt idx="238">
                  <c:v>All Others</c:v>
                </c:pt>
                <c:pt idx="239">
                  <c:v>Private Lab</c:v>
                </c:pt>
                <c:pt idx="240">
                  <c:v>Paysan Bret</c:v>
                </c:pt>
                <c:pt idx="241">
                  <c:v>Boursin</c:v>
                </c:pt>
                <c:pt idx="242">
                  <c:v>La Vache Qu</c:v>
                </c:pt>
                <c:pt idx="243">
                  <c:v>Boursin</c:v>
                </c:pt>
                <c:pt idx="244">
                  <c:v>St Moret</c:v>
                </c:pt>
                <c:pt idx="245">
                  <c:v>P'Tit Louis</c:v>
                </c:pt>
                <c:pt idx="246">
                  <c:v>Private Lab</c:v>
                </c:pt>
                <c:pt idx="247">
                  <c:v>All Others</c:v>
                </c:pt>
                <c:pt idx="248">
                  <c:v>All Others</c:v>
                </c:pt>
                <c:pt idx="249">
                  <c:v>Savencia: A</c:v>
                </c:pt>
                <c:pt idx="250">
                  <c:v>Triballat N</c:v>
                </c:pt>
                <c:pt idx="251">
                  <c:v>All Others</c:v>
                </c:pt>
                <c:pt idx="252">
                  <c:v>All Others</c:v>
                </c:pt>
                <c:pt idx="253">
                  <c:v>Galbani</c:v>
                </c:pt>
                <c:pt idx="254">
                  <c:v>Etorki</c:v>
                </c:pt>
                <c:pt idx="255">
                  <c:v>All Others</c:v>
                </c:pt>
                <c:pt idx="256">
                  <c:v>Galbani</c:v>
                </c:pt>
                <c:pt idx="257">
                  <c:v>Kiri</c:v>
                </c:pt>
                <c:pt idx="258">
                  <c:v>All Others</c:v>
                </c:pt>
                <c:pt idx="259">
                  <c:v>Tartare</c:v>
                </c:pt>
                <c:pt idx="260">
                  <c:v>Caprice Des</c:v>
                </c:pt>
                <c:pt idx="261">
                  <c:v>All Others</c:v>
                </c:pt>
                <c:pt idx="262">
                  <c:v>Savencia: A</c:v>
                </c:pt>
                <c:pt idx="263">
                  <c:v>All Others</c:v>
                </c:pt>
                <c:pt idx="264">
                  <c:v>All Others</c:v>
                </c:pt>
                <c:pt idx="265">
                  <c:v>Private Lab</c:v>
                </c:pt>
                <c:pt idx="266">
                  <c:v>All Others</c:v>
                </c:pt>
                <c:pt idx="267">
                  <c:v>La Vache Qu</c:v>
                </c:pt>
                <c:pt idx="268">
                  <c:v>Private Lab</c:v>
                </c:pt>
                <c:pt idx="269">
                  <c:v>Caprice Des</c:v>
                </c:pt>
                <c:pt idx="270">
                  <c:v>Etoile Du Q</c:v>
                </c:pt>
                <c:pt idx="271">
                  <c:v>Private Lab</c:v>
                </c:pt>
                <c:pt idx="272">
                  <c:v>Salakis</c:v>
                </c:pt>
                <c:pt idx="273">
                  <c:v>Casa Azzurr</c:v>
                </c:pt>
                <c:pt idx="274">
                  <c:v>All Others</c:v>
                </c:pt>
                <c:pt idx="275">
                  <c:v>All Others</c:v>
                </c:pt>
                <c:pt idx="276">
                  <c:v>All Others</c:v>
                </c:pt>
                <c:pt idx="277">
                  <c:v>All Others</c:v>
                </c:pt>
                <c:pt idx="278">
                  <c:v>All Others</c:v>
                </c:pt>
                <c:pt idx="279">
                  <c:v>Lactalis: A</c:v>
                </c:pt>
                <c:pt idx="280">
                  <c:v>Boursin</c:v>
                </c:pt>
                <c:pt idx="281">
                  <c:v>All Others</c:v>
                </c:pt>
                <c:pt idx="282">
                  <c:v>All Others</c:v>
                </c:pt>
                <c:pt idx="283">
                  <c:v>All Others</c:v>
                </c:pt>
                <c:pt idx="284">
                  <c:v>Ficello</c:v>
                </c:pt>
                <c:pt idx="285">
                  <c:v>Philadelphi</c:v>
                </c:pt>
                <c:pt idx="286">
                  <c:v>All Others</c:v>
                </c:pt>
                <c:pt idx="287">
                  <c:v>All Others</c:v>
                </c:pt>
                <c:pt idx="288">
                  <c:v>Private Lab</c:v>
                </c:pt>
                <c:pt idx="289">
                  <c:v>All Others</c:v>
                </c:pt>
                <c:pt idx="290">
                  <c:v>Galbani</c:v>
                </c:pt>
                <c:pt idx="291">
                  <c:v>All Others</c:v>
                </c:pt>
                <c:pt idx="292">
                  <c:v>Corsica</c:v>
                </c:pt>
                <c:pt idx="293">
                  <c:v>All Others</c:v>
                </c:pt>
                <c:pt idx="294">
                  <c:v>Kiri</c:v>
                </c:pt>
                <c:pt idx="295">
                  <c:v>Tartare</c:v>
                </c:pt>
                <c:pt idx="296">
                  <c:v>Rondele</c:v>
                </c:pt>
                <c:pt idx="297">
                  <c:v>All Others</c:v>
                </c:pt>
                <c:pt idx="298">
                  <c:v>President</c:v>
                </c:pt>
                <c:pt idx="299">
                  <c:v>Casa Azzurr</c:v>
                </c:pt>
                <c:pt idx="300">
                  <c:v>All Others</c:v>
                </c:pt>
                <c:pt idx="301">
                  <c:v>Corsica</c:v>
                </c:pt>
                <c:pt idx="302">
                  <c:v>Private Lab</c:v>
                </c:pt>
                <c:pt idx="303">
                  <c:v>All Others</c:v>
                </c:pt>
                <c:pt idx="304">
                  <c:v>Mini Babybe</c:v>
                </c:pt>
                <c:pt idx="305">
                  <c:v>All Others</c:v>
                </c:pt>
                <c:pt idx="306">
                  <c:v>Istara</c:v>
                </c:pt>
                <c:pt idx="307">
                  <c:v>Etoile Du V</c:v>
                </c:pt>
                <c:pt idx="308">
                  <c:v>All Others</c:v>
                </c:pt>
                <c:pt idx="309">
                  <c:v>All Others</c:v>
                </c:pt>
                <c:pt idx="310">
                  <c:v>All Others</c:v>
                </c:pt>
                <c:pt idx="311">
                  <c:v>Private Lab</c:v>
                </c:pt>
                <c:pt idx="312">
                  <c:v>Private Lab</c:v>
                </c:pt>
                <c:pt idx="313">
                  <c:v>Lactalis: A</c:v>
                </c:pt>
                <c:pt idx="314">
                  <c:v>Rondele</c:v>
                </c:pt>
                <c:pt idx="315">
                  <c:v>All Others</c:v>
                </c:pt>
                <c:pt idx="316">
                  <c:v>Saint Agur</c:v>
                </c:pt>
                <c:pt idx="317">
                  <c:v>Lou Perac</c:v>
                </c:pt>
                <c:pt idx="318">
                  <c:v>All Others</c:v>
                </c:pt>
                <c:pt idx="319">
                  <c:v>Lactalis: A</c:v>
                </c:pt>
                <c:pt idx="320">
                  <c:v>President</c:v>
                </c:pt>
                <c:pt idx="321">
                  <c:v>Casa Azzurr</c:v>
                </c:pt>
                <c:pt idx="322">
                  <c:v>All Others</c:v>
                </c:pt>
                <c:pt idx="323">
                  <c:v>All Others</c:v>
                </c:pt>
                <c:pt idx="324">
                  <c:v>Private Lab</c:v>
                </c:pt>
                <c:pt idx="325">
                  <c:v>Casa Azzurr</c:v>
                </c:pt>
                <c:pt idx="326">
                  <c:v>All Others</c:v>
                </c:pt>
                <c:pt idx="327">
                  <c:v>Eurial Autr</c:v>
                </c:pt>
                <c:pt idx="328">
                  <c:v>All Others</c:v>
                </c:pt>
                <c:pt idx="329">
                  <c:v>All Others</c:v>
                </c:pt>
                <c:pt idx="330">
                  <c:v>All Others</c:v>
                </c:pt>
                <c:pt idx="331">
                  <c:v>Galbani</c:v>
                </c:pt>
                <c:pt idx="332">
                  <c:v>President</c:v>
                </c:pt>
                <c:pt idx="333">
                  <c:v>Triballat R</c:v>
                </c:pt>
                <c:pt idx="334">
                  <c:v>Islos</c:v>
                </c:pt>
                <c:pt idx="335">
                  <c:v>All Others</c:v>
                </c:pt>
                <c:pt idx="336">
                  <c:v>Private Lab</c:v>
                </c:pt>
                <c:pt idx="337">
                  <c:v>All Others</c:v>
                </c:pt>
                <c:pt idx="338">
                  <c:v>Savencia: A</c:v>
                </c:pt>
                <c:pt idx="339">
                  <c:v>All Others</c:v>
                </c:pt>
                <c:pt idx="340">
                  <c:v>All Others</c:v>
                </c:pt>
                <c:pt idx="341">
                  <c:v>All Others</c:v>
                </c:pt>
                <c:pt idx="342">
                  <c:v>All Others</c:v>
                </c:pt>
                <c:pt idx="343">
                  <c:v>All Others</c:v>
                </c:pt>
                <c:pt idx="344">
                  <c:v>All Others</c:v>
                </c:pt>
                <c:pt idx="345">
                  <c:v>All Others</c:v>
                </c:pt>
                <c:pt idx="346">
                  <c:v>Private Lab</c:v>
                </c:pt>
                <c:pt idx="347">
                  <c:v>All Others</c:v>
                </c:pt>
                <c:pt idx="348">
                  <c:v>Private Lab</c:v>
                </c:pt>
                <c:pt idx="349">
                  <c:v>All Others</c:v>
                </c:pt>
                <c:pt idx="350">
                  <c:v>All Others</c:v>
                </c:pt>
                <c:pt idx="351">
                  <c:v>Soignon</c:v>
                </c:pt>
                <c:pt idx="352">
                  <c:v>Milleret: A</c:v>
                </c:pt>
                <c:pt idx="353">
                  <c:v>Private Lab</c:v>
                </c:pt>
                <c:pt idx="354">
                  <c:v>All Others</c:v>
                </c:pt>
                <c:pt idx="355">
                  <c:v>All Others</c:v>
                </c:pt>
                <c:pt idx="356">
                  <c:v>All Others</c:v>
                </c:pt>
                <c:pt idx="357">
                  <c:v>All Others</c:v>
                </c:pt>
                <c:pt idx="358">
                  <c:v>All Others</c:v>
                </c:pt>
                <c:pt idx="359">
                  <c:v>All Others</c:v>
                </c:pt>
                <c:pt idx="360">
                  <c:v>Private Lab</c:v>
                </c:pt>
                <c:pt idx="361">
                  <c:v>All Others</c:v>
                </c:pt>
                <c:pt idx="362">
                  <c:v>Le Brebiou</c:v>
                </c:pt>
                <c:pt idx="363">
                  <c:v>All Others</c:v>
                </c:pt>
                <c:pt idx="364">
                  <c:v>Triballat N</c:v>
                </c:pt>
                <c:pt idx="365">
                  <c:v>Islos</c:v>
                </c:pt>
                <c:pt idx="366">
                  <c:v>Private Lab</c:v>
                </c:pt>
                <c:pt idx="367">
                  <c:v>Salakis</c:v>
                </c:pt>
                <c:pt idx="368">
                  <c:v>All Others</c:v>
                </c:pt>
                <c:pt idx="369">
                  <c:v>Private Lab</c:v>
                </c:pt>
                <c:pt idx="370">
                  <c:v>Private Lab</c:v>
                </c:pt>
                <c:pt idx="371">
                  <c:v>Boursin</c:v>
                </c:pt>
                <c:pt idx="372">
                  <c:v>All Others</c:v>
                </c:pt>
                <c:pt idx="373">
                  <c:v>Lactalis: A</c:v>
                </c:pt>
                <c:pt idx="374">
                  <c:v>All Others</c:v>
                </c:pt>
                <c:pt idx="375">
                  <c:v>Private Lab</c:v>
                </c:pt>
                <c:pt idx="376">
                  <c:v>All Others</c:v>
                </c:pt>
                <c:pt idx="377">
                  <c:v>All Others</c:v>
                </c:pt>
                <c:pt idx="378">
                  <c:v>Private Lab</c:v>
                </c:pt>
                <c:pt idx="379">
                  <c:v>Private Lab</c:v>
                </c:pt>
                <c:pt idx="380">
                  <c:v>All Others</c:v>
                </c:pt>
                <c:pt idx="381">
                  <c:v>Mini Babybe</c:v>
                </c:pt>
                <c:pt idx="382">
                  <c:v>All Others</c:v>
                </c:pt>
                <c:pt idx="383">
                  <c:v>All Others</c:v>
                </c:pt>
                <c:pt idx="384">
                  <c:v>La Vache Qu</c:v>
                </c:pt>
                <c:pt idx="385">
                  <c:v>All Others</c:v>
                </c:pt>
                <c:pt idx="386">
                  <c:v>Private Lab</c:v>
                </c:pt>
                <c:pt idx="387">
                  <c:v>Private Lab</c:v>
                </c:pt>
                <c:pt idx="388">
                  <c:v>Mini Babybe</c:v>
                </c:pt>
                <c:pt idx="389">
                  <c:v>Private Lab</c:v>
                </c:pt>
                <c:pt idx="390">
                  <c:v>All Others</c:v>
                </c:pt>
                <c:pt idx="391">
                  <c:v>All Others</c:v>
                </c:pt>
                <c:pt idx="392">
                  <c:v>Private Lab</c:v>
                </c:pt>
                <c:pt idx="393">
                  <c:v>All Others</c:v>
                </c:pt>
                <c:pt idx="394">
                  <c:v>All Others</c:v>
                </c:pt>
                <c:pt idx="395">
                  <c:v>All Others</c:v>
                </c:pt>
                <c:pt idx="396">
                  <c:v>Private Lab</c:v>
                </c:pt>
                <c:pt idx="397">
                  <c:v>Boursin</c:v>
                </c:pt>
                <c:pt idx="398">
                  <c:v>All Others</c:v>
                </c:pt>
                <c:pt idx="399">
                  <c:v>Ficello</c:v>
                </c:pt>
                <c:pt idx="400">
                  <c:v>Lactalis: A</c:v>
                </c:pt>
                <c:pt idx="401">
                  <c:v>Paysan Bret</c:v>
                </c:pt>
                <c:pt idx="402">
                  <c:v>Private Lab</c:v>
                </c:pt>
                <c:pt idx="403">
                  <c:v>All Others</c:v>
                </c:pt>
                <c:pt idx="404">
                  <c:v>All Others</c:v>
                </c:pt>
                <c:pt idx="405">
                  <c:v>All Others</c:v>
                </c:pt>
                <c:pt idx="406">
                  <c:v>St Moret</c:v>
                </c:pt>
                <c:pt idx="407">
                  <c:v>President</c:v>
                </c:pt>
                <c:pt idx="408">
                  <c:v>All Others</c:v>
                </c:pt>
                <c:pt idx="409">
                  <c:v>All Others</c:v>
                </c:pt>
                <c:pt idx="410">
                  <c:v>Etoile Du Q</c:v>
                </c:pt>
                <c:pt idx="411">
                  <c:v>St Moret</c:v>
                </c:pt>
                <c:pt idx="412">
                  <c:v>Boursin</c:v>
                </c:pt>
                <c:pt idx="413">
                  <c:v>Etoile Du Q</c:v>
                </c:pt>
                <c:pt idx="414">
                  <c:v>Boursin</c:v>
                </c:pt>
                <c:pt idx="415">
                  <c:v>Saint Agur</c:v>
                </c:pt>
                <c:pt idx="416">
                  <c:v>All Others</c:v>
                </c:pt>
                <c:pt idx="417">
                  <c:v>Savencia: A</c:v>
                </c:pt>
                <c:pt idx="418">
                  <c:v>All Others</c:v>
                </c:pt>
                <c:pt idx="419">
                  <c:v>Savencia: A</c:v>
                </c:pt>
                <c:pt idx="420">
                  <c:v>All Others</c:v>
                </c:pt>
                <c:pt idx="421">
                  <c:v>All Others</c:v>
                </c:pt>
                <c:pt idx="422">
                  <c:v>All Others</c:v>
                </c:pt>
                <c:pt idx="423">
                  <c:v>All Others</c:v>
                </c:pt>
                <c:pt idx="424">
                  <c:v>Boursin</c:v>
                </c:pt>
                <c:pt idx="425">
                  <c:v>Salakis</c:v>
                </c:pt>
                <c:pt idx="426">
                  <c:v>All Others</c:v>
                </c:pt>
                <c:pt idx="427">
                  <c:v>All Others</c:v>
                </c:pt>
                <c:pt idx="428">
                  <c:v>All Others</c:v>
                </c:pt>
                <c:pt idx="429">
                  <c:v>All Others</c:v>
                </c:pt>
                <c:pt idx="430">
                  <c:v>All Others</c:v>
                </c:pt>
                <c:pt idx="431">
                  <c:v>Triballat R</c:v>
                </c:pt>
                <c:pt idx="432">
                  <c:v>Paysan Bret</c:v>
                </c:pt>
                <c:pt idx="433">
                  <c:v>Private Lab</c:v>
                </c:pt>
                <c:pt idx="434">
                  <c:v>All Others</c:v>
                </c:pt>
                <c:pt idx="435">
                  <c:v>All Others</c:v>
                </c:pt>
                <c:pt idx="436">
                  <c:v>All Others</c:v>
                </c:pt>
                <c:pt idx="437">
                  <c:v>All Others</c:v>
                </c:pt>
                <c:pt idx="438">
                  <c:v>All Others</c:v>
                </c:pt>
                <c:pt idx="439">
                  <c:v>All Others</c:v>
                </c:pt>
                <c:pt idx="440">
                  <c:v>All Others</c:v>
                </c:pt>
                <c:pt idx="441">
                  <c:v>Milleret: A</c:v>
                </c:pt>
                <c:pt idx="442">
                  <c:v>Tartare</c:v>
                </c:pt>
                <c:pt idx="443">
                  <c:v>Private Lab</c:v>
                </c:pt>
                <c:pt idx="444">
                  <c:v>All Others</c:v>
                </c:pt>
                <c:pt idx="445">
                  <c:v>Triballat R</c:v>
                </c:pt>
                <c:pt idx="446">
                  <c:v>All Others</c:v>
                </c:pt>
                <c:pt idx="447">
                  <c:v>All Others</c:v>
                </c:pt>
                <c:pt idx="448">
                  <c:v>All Others</c:v>
                </c:pt>
                <c:pt idx="449">
                  <c:v>Etorki</c:v>
                </c:pt>
                <c:pt idx="450">
                  <c:v>All Others</c:v>
                </c:pt>
                <c:pt idx="451">
                  <c:v>Paysan Bret</c:v>
                </c:pt>
                <c:pt idx="452">
                  <c:v>Triballat R</c:v>
                </c:pt>
                <c:pt idx="453">
                  <c:v>All Others</c:v>
                </c:pt>
                <c:pt idx="454">
                  <c:v>All Others</c:v>
                </c:pt>
                <c:pt idx="455">
                  <c:v>All Others</c:v>
                </c:pt>
                <c:pt idx="456">
                  <c:v>All Others</c:v>
                </c:pt>
                <c:pt idx="457">
                  <c:v>Private Lab</c:v>
                </c:pt>
                <c:pt idx="458">
                  <c:v>All Others</c:v>
                </c:pt>
                <c:pt idx="459">
                  <c:v>Boursin</c:v>
                </c:pt>
                <c:pt idx="460">
                  <c:v>All Others</c:v>
                </c:pt>
                <c:pt idx="461">
                  <c:v>Lactalis: A</c:v>
                </c:pt>
                <c:pt idx="462">
                  <c:v>Private Lab</c:v>
                </c:pt>
                <c:pt idx="463">
                  <c:v>All Others</c:v>
                </c:pt>
                <c:pt idx="464">
                  <c:v>All Others</c:v>
                </c:pt>
                <c:pt idx="465">
                  <c:v>All Others</c:v>
                </c:pt>
                <c:pt idx="466">
                  <c:v>All Others</c:v>
                </c:pt>
                <c:pt idx="467">
                  <c:v>All Others</c:v>
                </c:pt>
                <c:pt idx="468">
                  <c:v>Private Lab</c:v>
                </c:pt>
                <c:pt idx="469">
                  <c:v>All Others</c:v>
                </c:pt>
                <c:pt idx="470">
                  <c:v>All Others</c:v>
                </c:pt>
                <c:pt idx="471">
                  <c:v>All Others</c:v>
                </c:pt>
                <c:pt idx="472">
                  <c:v>Lactalis: A</c:v>
                </c:pt>
                <c:pt idx="473">
                  <c:v>All Others</c:v>
                </c:pt>
                <c:pt idx="474">
                  <c:v>All Others</c:v>
                </c:pt>
                <c:pt idx="475">
                  <c:v>All Others</c:v>
                </c:pt>
                <c:pt idx="476">
                  <c:v>Petit Billy</c:v>
                </c:pt>
                <c:pt idx="477">
                  <c:v>Private Lab</c:v>
                </c:pt>
                <c:pt idx="478">
                  <c:v>Boursin</c:v>
                </c:pt>
                <c:pt idx="479">
                  <c:v>All Others</c:v>
                </c:pt>
                <c:pt idx="480">
                  <c:v>Mini Babybe</c:v>
                </c:pt>
                <c:pt idx="481">
                  <c:v>All Others</c:v>
                </c:pt>
                <c:pt idx="482">
                  <c:v>All Others</c:v>
                </c:pt>
                <c:pt idx="483">
                  <c:v>Chavroux</c:v>
                </c:pt>
                <c:pt idx="484">
                  <c:v>All Others</c:v>
                </c:pt>
                <c:pt idx="485">
                  <c:v>All Others</c:v>
                </c:pt>
                <c:pt idx="486">
                  <c:v>Etoile Du V</c:v>
                </c:pt>
                <c:pt idx="487">
                  <c:v>All Others</c:v>
                </c:pt>
                <c:pt idx="488">
                  <c:v>Private Lab</c:v>
                </c:pt>
                <c:pt idx="489">
                  <c:v>Private Lab</c:v>
                </c:pt>
                <c:pt idx="490">
                  <c:v>All Others</c:v>
                </c:pt>
                <c:pt idx="491">
                  <c:v>All Others</c:v>
                </c:pt>
                <c:pt idx="492">
                  <c:v>Eurial Autr</c:v>
                </c:pt>
                <c:pt idx="493">
                  <c:v>All Others</c:v>
                </c:pt>
                <c:pt idx="494">
                  <c:v>All Others</c:v>
                </c:pt>
                <c:pt idx="495">
                  <c:v>All Others</c:v>
                </c:pt>
                <c:pt idx="496">
                  <c:v>All Others</c:v>
                </c:pt>
                <c:pt idx="497">
                  <c:v>All Others</c:v>
                </c:pt>
                <c:pt idx="498">
                  <c:v>All Others</c:v>
                </c:pt>
                <c:pt idx="499">
                  <c:v>All Others</c:v>
                </c:pt>
                <c:pt idx="500">
                  <c:v>Savencia: A</c:v>
                </c:pt>
                <c:pt idx="501">
                  <c:v>All Others</c:v>
                </c:pt>
                <c:pt idx="502">
                  <c:v>All Others</c:v>
                </c:pt>
                <c:pt idx="503">
                  <c:v>All Others</c:v>
                </c:pt>
                <c:pt idx="504">
                  <c:v>All Others</c:v>
                </c:pt>
                <c:pt idx="505">
                  <c:v>All Others</c:v>
                </c:pt>
                <c:pt idx="506">
                  <c:v>Etoile Du V</c:v>
                </c:pt>
                <c:pt idx="507">
                  <c:v>Private Lab</c:v>
                </c:pt>
                <c:pt idx="508">
                  <c:v>All Others</c:v>
                </c:pt>
                <c:pt idx="509">
                  <c:v>All Others</c:v>
                </c:pt>
                <c:pt idx="510">
                  <c:v>All Others</c:v>
                </c:pt>
                <c:pt idx="511">
                  <c:v>All Others</c:v>
                </c:pt>
                <c:pt idx="512">
                  <c:v>All Others</c:v>
                </c:pt>
                <c:pt idx="513">
                  <c:v>Lactalis: A</c:v>
                </c:pt>
                <c:pt idx="514">
                  <c:v>Private Lab</c:v>
                </c:pt>
                <c:pt idx="515">
                  <c:v>President</c:v>
                </c:pt>
                <c:pt idx="516">
                  <c:v>All Others</c:v>
                </c:pt>
                <c:pt idx="517">
                  <c:v>Tartare</c:v>
                </c:pt>
                <c:pt idx="518">
                  <c:v>All Others</c:v>
                </c:pt>
                <c:pt idx="519">
                  <c:v>All Others</c:v>
                </c:pt>
                <c:pt idx="520">
                  <c:v>All Others</c:v>
                </c:pt>
                <c:pt idx="521">
                  <c:v>All Others</c:v>
                </c:pt>
                <c:pt idx="522">
                  <c:v>Private Lab</c:v>
                </c:pt>
                <c:pt idx="523">
                  <c:v>All Others</c:v>
                </c:pt>
                <c:pt idx="524">
                  <c:v>Carre Frais</c:v>
                </c:pt>
                <c:pt idx="525">
                  <c:v>All Others</c:v>
                </c:pt>
                <c:pt idx="526">
                  <c:v>All Others</c:v>
                </c:pt>
                <c:pt idx="527">
                  <c:v>All Others</c:v>
                </c:pt>
                <c:pt idx="528">
                  <c:v>All Others</c:v>
                </c:pt>
                <c:pt idx="529">
                  <c:v>Eurial Autr</c:v>
                </c:pt>
                <c:pt idx="530">
                  <c:v>All Others</c:v>
                </c:pt>
                <c:pt idx="531">
                  <c:v>Private Lab</c:v>
                </c:pt>
                <c:pt idx="532">
                  <c:v>Boursin</c:v>
                </c:pt>
                <c:pt idx="533">
                  <c:v>All Others</c:v>
                </c:pt>
                <c:pt idx="534">
                  <c:v>All Others</c:v>
                </c:pt>
                <c:pt idx="535">
                  <c:v>Triballat N</c:v>
                </c:pt>
                <c:pt idx="536">
                  <c:v>All Others</c:v>
                </c:pt>
                <c:pt idx="537">
                  <c:v>All Others</c:v>
                </c:pt>
                <c:pt idx="538">
                  <c:v>All Others</c:v>
                </c:pt>
                <c:pt idx="539">
                  <c:v>All Others</c:v>
                </c:pt>
                <c:pt idx="540">
                  <c:v>Casa Azzurr</c:v>
                </c:pt>
                <c:pt idx="541">
                  <c:v>All Others</c:v>
                </c:pt>
                <c:pt idx="542">
                  <c:v>All Others</c:v>
                </c:pt>
                <c:pt idx="543">
                  <c:v>All Others</c:v>
                </c:pt>
                <c:pt idx="544">
                  <c:v>All Others</c:v>
                </c:pt>
                <c:pt idx="545">
                  <c:v>All Others</c:v>
                </c:pt>
                <c:pt idx="546">
                  <c:v>All Others</c:v>
                </c:pt>
                <c:pt idx="547">
                  <c:v>All Others</c:v>
                </c:pt>
                <c:pt idx="548">
                  <c:v>All Others</c:v>
                </c:pt>
                <c:pt idx="549">
                  <c:v>All Others</c:v>
                </c:pt>
                <c:pt idx="550">
                  <c:v>All Others</c:v>
                </c:pt>
                <c:pt idx="551">
                  <c:v>All Others</c:v>
                </c:pt>
                <c:pt idx="552">
                  <c:v>Soignon</c:v>
                </c:pt>
                <c:pt idx="553">
                  <c:v>Soignon</c:v>
                </c:pt>
                <c:pt idx="554">
                  <c:v>P'Tit Louis</c:v>
                </c:pt>
                <c:pt idx="555">
                  <c:v>Istara</c:v>
                </c:pt>
                <c:pt idx="556">
                  <c:v>All Others</c:v>
                </c:pt>
                <c:pt idx="557">
                  <c:v>Private Lab</c:v>
                </c:pt>
                <c:pt idx="558">
                  <c:v>All Others</c:v>
                </c:pt>
                <c:pt idx="559">
                  <c:v>Savencia: A</c:v>
                </c:pt>
                <c:pt idx="560">
                  <c:v>All Others</c:v>
                </c:pt>
                <c:pt idx="561">
                  <c:v>Salakis</c:v>
                </c:pt>
                <c:pt idx="562">
                  <c:v>All Others</c:v>
                </c:pt>
                <c:pt idx="563">
                  <c:v>All Others</c:v>
                </c:pt>
                <c:pt idx="564">
                  <c:v>Private Lab</c:v>
                </c:pt>
                <c:pt idx="565">
                  <c:v>All Others</c:v>
                </c:pt>
                <c:pt idx="566">
                  <c:v>All Others</c:v>
                </c:pt>
                <c:pt idx="567">
                  <c:v>Lactalis: A</c:v>
                </c:pt>
                <c:pt idx="568">
                  <c:v>Private Lab</c:v>
                </c:pt>
                <c:pt idx="569">
                  <c:v>All Others</c:v>
                </c:pt>
                <c:pt idx="570">
                  <c:v>All Others</c:v>
                </c:pt>
                <c:pt idx="571">
                  <c:v>All Others</c:v>
                </c:pt>
                <c:pt idx="572">
                  <c:v>All Others</c:v>
                </c:pt>
                <c:pt idx="573">
                  <c:v>Coeur De Li</c:v>
                </c:pt>
                <c:pt idx="574">
                  <c:v>Salakis</c:v>
                </c:pt>
                <c:pt idx="575">
                  <c:v>All Others</c:v>
                </c:pt>
                <c:pt idx="576">
                  <c:v>All Others</c:v>
                </c:pt>
                <c:pt idx="577">
                  <c:v>All Others</c:v>
                </c:pt>
                <c:pt idx="578">
                  <c:v>Boursin</c:v>
                </c:pt>
                <c:pt idx="579">
                  <c:v>Etoile Du V</c:v>
                </c:pt>
                <c:pt idx="580">
                  <c:v>All Others</c:v>
                </c:pt>
                <c:pt idx="581">
                  <c:v>All Others</c:v>
                </c:pt>
                <c:pt idx="582">
                  <c:v>All Others</c:v>
                </c:pt>
                <c:pt idx="583">
                  <c:v>Boursin</c:v>
                </c:pt>
                <c:pt idx="584">
                  <c:v>All Others</c:v>
                </c:pt>
                <c:pt idx="585">
                  <c:v>Private Lab</c:v>
                </c:pt>
                <c:pt idx="586">
                  <c:v>All Others</c:v>
                </c:pt>
                <c:pt idx="587">
                  <c:v>Etoile Du V</c:v>
                </c:pt>
                <c:pt idx="588">
                  <c:v>Private Lab</c:v>
                </c:pt>
                <c:pt idx="589">
                  <c:v>All Others</c:v>
                </c:pt>
                <c:pt idx="590">
                  <c:v>All Others</c:v>
                </c:pt>
                <c:pt idx="591">
                  <c:v>All Others</c:v>
                </c:pt>
                <c:pt idx="592">
                  <c:v>All Others</c:v>
                </c:pt>
                <c:pt idx="593">
                  <c:v>Boursin</c:v>
                </c:pt>
                <c:pt idx="594">
                  <c:v>Casa Azzurr</c:v>
                </c:pt>
                <c:pt idx="595">
                  <c:v>Private Lab</c:v>
                </c:pt>
                <c:pt idx="596">
                  <c:v>All Others</c:v>
                </c:pt>
                <c:pt idx="597">
                  <c:v>All Others</c:v>
                </c:pt>
                <c:pt idx="598">
                  <c:v>All Others</c:v>
                </c:pt>
                <c:pt idx="599">
                  <c:v>All Others</c:v>
                </c:pt>
                <c:pt idx="600">
                  <c:v>All Others</c:v>
                </c:pt>
                <c:pt idx="601">
                  <c:v>All Others</c:v>
                </c:pt>
                <c:pt idx="602">
                  <c:v>Tartare</c:v>
                </c:pt>
                <c:pt idx="603">
                  <c:v>Carre Frais</c:v>
                </c:pt>
                <c:pt idx="604">
                  <c:v>All Others</c:v>
                </c:pt>
                <c:pt idx="605">
                  <c:v>Eurial Autr</c:v>
                </c:pt>
                <c:pt idx="606">
                  <c:v>All Others</c:v>
                </c:pt>
                <c:pt idx="607">
                  <c:v>All Others</c:v>
                </c:pt>
                <c:pt idx="608">
                  <c:v>Casa Azzurr</c:v>
                </c:pt>
                <c:pt idx="609">
                  <c:v>Private Lab</c:v>
                </c:pt>
                <c:pt idx="610">
                  <c:v>Philadelphi</c:v>
                </c:pt>
                <c:pt idx="611">
                  <c:v>Mini Babybe</c:v>
                </c:pt>
                <c:pt idx="612">
                  <c:v>All Others</c:v>
                </c:pt>
                <c:pt idx="613">
                  <c:v>Private Lab</c:v>
                </c:pt>
                <c:pt idx="614">
                  <c:v>All Others</c:v>
                </c:pt>
                <c:pt idx="615">
                  <c:v>Etoile Du V</c:v>
                </c:pt>
                <c:pt idx="616">
                  <c:v>Etoile Du Q</c:v>
                </c:pt>
                <c:pt idx="617">
                  <c:v>All Others</c:v>
                </c:pt>
                <c:pt idx="618">
                  <c:v>All Others</c:v>
                </c:pt>
                <c:pt idx="619">
                  <c:v>All Others</c:v>
                </c:pt>
                <c:pt idx="620">
                  <c:v>All Others</c:v>
                </c:pt>
                <c:pt idx="621">
                  <c:v>All Others</c:v>
                </c:pt>
                <c:pt idx="622">
                  <c:v>All Others</c:v>
                </c:pt>
                <c:pt idx="623">
                  <c:v>All Others</c:v>
                </c:pt>
                <c:pt idx="624">
                  <c:v>Private Lab</c:v>
                </c:pt>
                <c:pt idx="625">
                  <c:v>Lactalis: A</c:v>
                </c:pt>
                <c:pt idx="626">
                  <c:v>Lactalis: A</c:v>
                </c:pt>
                <c:pt idx="627">
                  <c:v>All Others</c:v>
                </c:pt>
                <c:pt idx="628">
                  <c:v>All Others</c:v>
                </c:pt>
                <c:pt idx="629">
                  <c:v>All Others</c:v>
                </c:pt>
                <c:pt idx="630">
                  <c:v>All Others</c:v>
                </c:pt>
                <c:pt idx="631">
                  <c:v>Private Lab</c:v>
                </c:pt>
                <c:pt idx="632">
                  <c:v>All Others</c:v>
                </c:pt>
                <c:pt idx="633">
                  <c:v>All Others</c:v>
                </c:pt>
                <c:pt idx="634">
                  <c:v>Milleret: A</c:v>
                </c:pt>
                <c:pt idx="635">
                  <c:v>All Others</c:v>
                </c:pt>
                <c:pt idx="636">
                  <c:v>All Others</c:v>
                </c:pt>
                <c:pt idx="637">
                  <c:v>All Others</c:v>
                </c:pt>
                <c:pt idx="638">
                  <c:v>All Others</c:v>
                </c:pt>
                <c:pt idx="639">
                  <c:v>Corsica</c:v>
                </c:pt>
                <c:pt idx="640">
                  <c:v>All Others</c:v>
                </c:pt>
                <c:pt idx="641">
                  <c:v>All Others</c:v>
                </c:pt>
                <c:pt idx="642">
                  <c:v>All Others</c:v>
                </c:pt>
                <c:pt idx="643">
                  <c:v>All Others</c:v>
                </c:pt>
                <c:pt idx="644">
                  <c:v>All Others</c:v>
                </c:pt>
                <c:pt idx="645">
                  <c:v>All Others</c:v>
                </c:pt>
                <c:pt idx="646">
                  <c:v>All Others</c:v>
                </c:pt>
                <c:pt idx="647">
                  <c:v>All Others</c:v>
                </c:pt>
                <c:pt idx="648">
                  <c:v>All Others</c:v>
                </c:pt>
                <c:pt idx="649">
                  <c:v>All Others</c:v>
                </c:pt>
                <c:pt idx="650">
                  <c:v>All Others</c:v>
                </c:pt>
                <c:pt idx="651">
                  <c:v>All Others</c:v>
                </c:pt>
                <c:pt idx="652">
                  <c:v>Private Lab</c:v>
                </c:pt>
                <c:pt idx="653">
                  <c:v>All Others</c:v>
                </c:pt>
                <c:pt idx="654">
                  <c:v>Mini Babybe</c:v>
                </c:pt>
                <c:pt idx="655">
                  <c:v>All Others</c:v>
                </c:pt>
                <c:pt idx="656">
                  <c:v>All Others</c:v>
                </c:pt>
                <c:pt idx="657">
                  <c:v>All Others</c:v>
                </c:pt>
                <c:pt idx="658">
                  <c:v>All Others</c:v>
                </c:pt>
                <c:pt idx="659">
                  <c:v>All Others</c:v>
                </c:pt>
                <c:pt idx="660">
                  <c:v>All Others</c:v>
                </c:pt>
                <c:pt idx="661">
                  <c:v>All Others</c:v>
                </c:pt>
                <c:pt idx="662">
                  <c:v>All Others</c:v>
                </c:pt>
                <c:pt idx="663">
                  <c:v>All Others</c:v>
                </c:pt>
                <c:pt idx="664">
                  <c:v>All Others</c:v>
                </c:pt>
                <c:pt idx="665">
                  <c:v>All Others</c:v>
                </c:pt>
                <c:pt idx="666">
                  <c:v>All Others</c:v>
                </c:pt>
                <c:pt idx="667">
                  <c:v>All Others</c:v>
                </c:pt>
                <c:pt idx="668">
                  <c:v>All Others</c:v>
                </c:pt>
                <c:pt idx="669">
                  <c:v>All Others</c:v>
                </c:pt>
                <c:pt idx="670">
                  <c:v>All Others</c:v>
                </c:pt>
                <c:pt idx="671">
                  <c:v>Lactalis: A</c:v>
                </c:pt>
                <c:pt idx="672">
                  <c:v>All Others</c:v>
                </c:pt>
                <c:pt idx="673">
                  <c:v>All Others</c:v>
                </c:pt>
                <c:pt idx="674">
                  <c:v>All Others</c:v>
                </c:pt>
                <c:pt idx="675">
                  <c:v>All Others</c:v>
                </c:pt>
                <c:pt idx="676">
                  <c:v>All Others</c:v>
                </c:pt>
                <c:pt idx="677">
                  <c:v>All Others</c:v>
                </c:pt>
                <c:pt idx="678">
                  <c:v>All Others</c:v>
                </c:pt>
                <c:pt idx="679">
                  <c:v>All Others</c:v>
                </c:pt>
                <c:pt idx="680">
                  <c:v>All Others</c:v>
                </c:pt>
                <c:pt idx="681">
                  <c:v>All Others</c:v>
                </c:pt>
                <c:pt idx="682">
                  <c:v>Triballat N</c:v>
                </c:pt>
                <c:pt idx="683">
                  <c:v>All Others</c:v>
                </c:pt>
                <c:pt idx="684">
                  <c:v>All Others</c:v>
                </c:pt>
                <c:pt idx="685">
                  <c:v>All Others</c:v>
                </c:pt>
                <c:pt idx="686">
                  <c:v>La Vache Qu</c:v>
                </c:pt>
                <c:pt idx="687">
                  <c:v>All Others</c:v>
                </c:pt>
                <c:pt idx="688">
                  <c:v>All Others</c:v>
                </c:pt>
                <c:pt idx="689">
                  <c:v>Galbani</c:v>
                </c:pt>
                <c:pt idx="690">
                  <c:v>All Others</c:v>
                </c:pt>
                <c:pt idx="691">
                  <c:v>All Others</c:v>
                </c:pt>
                <c:pt idx="692">
                  <c:v>All Others</c:v>
                </c:pt>
                <c:pt idx="693">
                  <c:v>All Others</c:v>
                </c:pt>
                <c:pt idx="694">
                  <c:v>Lactalis: A</c:v>
                </c:pt>
                <c:pt idx="695">
                  <c:v>All Others</c:v>
                </c:pt>
                <c:pt idx="696">
                  <c:v>All Others</c:v>
                </c:pt>
                <c:pt idx="697">
                  <c:v>All Others</c:v>
                </c:pt>
                <c:pt idx="698">
                  <c:v>All Others</c:v>
                </c:pt>
                <c:pt idx="699">
                  <c:v>All Others</c:v>
                </c:pt>
                <c:pt idx="700">
                  <c:v>St Moret</c:v>
                </c:pt>
                <c:pt idx="701">
                  <c:v>All Others</c:v>
                </c:pt>
                <c:pt idx="702">
                  <c:v>All Others</c:v>
                </c:pt>
                <c:pt idx="703">
                  <c:v>Savencia: A</c:v>
                </c:pt>
                <c:pt idx="704">
                  <c:v>All Others</c:v>
                </c:pt>
                <c:pt idx="705">
                  <c:v>All Others</c:v>
                </c:pt>
                <c:pt idx="706">
                  <c:v>Private Lab</c:v>
                </c:pt>
                <c:pt idx="707">
                  <c:v>All Others</c:v>
                </c:pt>
                <c:pt idx="708">
                  <c:v>All Others</c:v>
                </c:pt>
                <c:pt idx="709">
                  <c:v>All Others</c:v>
                </c:pt>
                <c:pt idx="710">
                  <c:v>All Others</c:v>
                </c:pt>
                <c:pt idx="711">
                  <c:v>Triballat N</c:v>
                </c:pt>
                <c:pt idx="712">
                  <c:v>Triballat R</c:v>
                </c:pt>
                <c:pt idx="713">
                  <c:v>All Others</c:v>
                </c:pt>
                <c:pt idx="714">
                  <c:v>All Others</c:v>
                </c:pt>
                <c:pt idx="715">
                  <c:v>All Others</c:v>
                </c:pt>
                <c:pt idx="716">
                  <c:v>All Others</c:v>
                </c:pt>
                <c:pt idx="717">
                  <c:v>All Others</c:v>
                </c:pt>
                <c:pt idx="718">
                  <c:v>All Others</c:v>
                </c:pt>
                <c:pt idx="719">
                  <c:v>Private Lab</c:v>
                </c:pt>
                <c:pt idx="720">
                  <c:v>All Others</c:v>
                </c:pt>
                <c:pt idx="721">
                  <c:v>Lactalis: A</c:v>
                </c:pt>
                <c:pt idx="722">
                  <c:v>All Others</c:v>
                </c:pt>
                <c:pt idx="723">
                  <c:v>All Others</c:v>
                </c:pt>
                <c:pt idx="724">
                  <c:v>All Others</c:v>
                </c:pt>
                <c:pt idx="725">
                  <c:v>Savencia: A</c:v>
                </c:pt>
                <c:pt idx="726">
                  <c:v>All Others</c:v>
                </c:pt>
                <c:pt idx="727">
                  <c:v>Savencia: A</c:v>
                </c:pt>
                <c:pt idx="728">
                  <c:v>Private Lab</c:v>
                </c:pt>
                <c:pt idx="729">
                  <c:v>All Others</c:v>
                </c:pt>
                <c:pt idx="730">
                  <c:v>All Others</c:v>
                </c:pt>
                <c:pt idx="731">
                  <c:v>All Others</c:v>
                </c:pt>
                <c:pt idx="732">
                  <c:v>All Others</c:v>
                </c:pt>
                <c:pt idx="733">
                  <c:v>All Others</c:v>
                </c:pt>
                <c:pt idx="734">
                  <c:v>All Others</c:v>
                </c:pt>
                <c:pt idx="735">
                  <c:v>All Others</c:v>
                </c:pt>
                <c:pt idx="736">
                  <c:v>All Others</c:v>
                </c:pt>
                <c:pt idx="737">
                  <c:v>All Others</c:v>
                </c:pt>
                <c:pt idx="738">
                  <c:v>All Others</c:v>
                </c:pt>
                <c:pt idx="739">
                  <c:v>Salakis</c:v>
                </c:pt>
                <c:pt idx="740">
                  <c:v>Triballat N</c:v>
                </c:pt>
                <c:pt idx="741">
                  <c:v>All Others</c:v>
                </c:pt>
                <c:pt idx="742">
                  <c:v>All Others</c:v>
                </c:pt>
                <c:pt idx="743">
                  <c:v>All Others</c:v>
                </c:pt>
                <c:pt idx="744">
                  <c:v>Private Lab</c:v>
                </c:pt>
                <c:pt idx="745">
                  <c:v>All Others</c:v>
                </c:pt>
                <c:pt idx="746">
                  <c:v>La Vache Qu</c:v>
                </c:pt>
                <c:pt idx="747">
                  <c:v>All Others</c:v>
                </c:pt>
                <c:pt idx="748">
                  <c:v>Private Lab</c:v>
                </c:pt>
                <c:pt idx="749">
                  <c:v>Savencia: A</c:v>
                </c:pt>
                <c:pt idx="750">
                  <c:v>All Others</c:v>
                </c:pt>
                <c:pt idx="751">
                  <c:v>All Others</c:v>
                </c:pt>
                <c:pt idx="752">
                  <c:v>All Others</c:v>
                </c:pt>
                <c:pt idx="753">
                  <c:v>All Others</c:v>
                </c:pt>
                <c:pt idx="754">
                  <c:v>All Others</c:v>
                </c:pt>
                <c:pt idx="755">
                  <c:v>All Others</c:v>
                </c:pt>
                <c:pt idx="756">
                  <c:v>Petit Billy</c:v>
                </c:pt>
                <c:pt idx="757">
                  <c:v>All Others</c:v>
                </c:pt>
                <c:pt idx="758">
                  <c:v>All Others</c:v>
                </c:pt>
                <c:pt idx="759">
                  <c:v>All Others</c:v>
                </c:pt>
                <c:pt idx="760">
                  <c:v>All Others</c:v>
                </c:pt>
                <c:pt idx="761">
                  <c:v>All Others</c:v>
                </c:pt>
                <c:pt idx="762">
                  <c:v>All Others</c:v>
                </c:pt>
                <c:pt idx="763">
                  <c:v>All Others</c:v>
                </c:pt>
                <c:pt idx="764">
                  <c:v>All Others</c:v>
                </c:pt>
                <c:pt idx="765">
                  <c:v>Private Lab</c:v>
                </c:pt>
                <c:pt idx="766">
                  <c:v>Islos</c:v>
                </c:pt>
                <c:pt idx="767">
                  <c:v>All Others</c:v>
                </c:pt>
                <c:pt idx="768">
                  <c:v>All Others</c:v>
                </c:pt>
                <c:pt idx="769">
                  <c:v>All Others</c:v>
                </c:pt>
                <c:pt idx="770">
                  <c:v>All Others</c:v>
                </c:pt>
                <c:pt idx="771">
                  <c:v>All Others</c:v>
                </c:pt>
                <c:pt idx="772">
                  <c:v>All Others</c:v>
                </c:pt>
                <c:pt idx="773">
                  <c:v>All Others</c:v>
                </c:pt>
                <c:pt idx="774">
                  <c:v>All Others</c:v>
                </c:pt>
                <c:pt idx="775">
                  <c:v>All Others</c:v>
                </c:pt>
                <c:pt idx="776">
                  <c:v>Lactalis: A</c:v>
                </c:pt>
                <c:pt idx="777">
                  <c:v>All Others</c:v>
                </c:pt>
                <c:pt idx="778">
                  <c:v>All Others</c:v>
                </c:pt>
                <c:pt idx="779">
                  <c:v>All Others</c:v>
                </c:pt>
                <c:pt idx="780">
                  <c:v>All Others</c:v>
                </c:pt>
                <c:pt idx="781">
                  <c:v>All Others</c:v>
                </c:pt>
                <c:pt idx="782">
                  <c:v>All Others</c:v>
                </c:pt>
                <c:pt idx="783">
                  <c:v>All Others</c:v>
                </c:pt>
                <c:pt idx="784">
                  <c:v>All Others</c:v>
                </c:pt>
                <c:pt idx="785">
                  <c:v>All Others</c:v>
                </c:pt>
                <c:pt idx="786">
                  <c:v>All Others</c:v>
                </c:pt>
                <c:pt idx="787">
                  <c:v>All Others</c:v>
                </c:pt>
                <c:pt idx="788">
                  <c:v>All Others</c:v>
                </c:pt>
                <c:pt idx="789">
                  <c:v>Private Lab</c:v>
                </c:pt>
                <c:pt idx="790">
                  <c:v>All Others</c:v>
                </c:pt>
                <c:pt idx="791">
                  <c:v>All Others</c:v>
                </c:pt>
                <c:pt idx="792">
                  <c:v>All Others</c:v>
                </c:pt>
                <c:pt idx="793">
                  <c:v>All Others</c:v>
                </c:pt>
                <c:pt idx="794">
                  <c:v>All Others</c:v>
                </c:pt>
                <c:pt idx="795">
                  <c:v>Private Lab</c:v>
                </c:pt>
                <c:pt idx="796">
                  <c:v>Private Lab</c:v>
                </c:pt>
                <c:pt idx="797">
                  <c:v>All Others</c:v>
                </c:pt>
                <c:pt idx="798">
                  <c:v>All Others</c:v>
                </c:pt>
                <c:pt idx="799">
                  <c:v>All Others</c:v>
                </c:pt>
                <c:pt idx="800">
                  <c:v>All Others</c:v>
                </c:pt>
                <c:pt idx="801">
                  <c:v>All Others</c:v>
                </c:pt>
                <c:pt idx="802">
                  <c:v>All Others</c:v>
                </c:pt>
                <c:pt idx="803">
                  <c:v>Private Lab</c:v>
                </c:pt>
                <c:pt idx="804">
                  <c:v>All Others</c:v>
                </c:pt>
                <c:pt idx="805">
                  <c:v>All Others</c:v>
                </c:pt>
                <c:pt idx="806">
                  <c:v>All Others</c:v>
                </c:pt>
                <c:pt idx="807">
                  <c:v>All Others</c:v>
                </c:pt>
                <c:pt idx="808">
                  <c:v>All Others</c:v>
                </c:pt>
                <c:pt idx="809">
                  <c:v>All Others</c:v>
                </c:pt>
                <c:pt idx="810">
                  <c:v>All Others</c:v>
                </c:pt>
                <c:pt idx="811">
                  <c:v>All Others</c:v>
                </c:pt>
                <c:pt idx="812">
                  <c:v>All Others</c:v>
                </c:pt>
                <c:pt idx="813">
                  <c:v>All Others</c:v>
                </c:pt>
                <c:pt idx="814">
                  <c:v>All Others</c:v>
                </c:pt>
                <c:pt idx="815">
                  <c:v>All Others</c:v>
                </c:pt>
                <c:pt idx="816">
                  <c:v>All Others</c:v>
                </c:pt>
                <c:pt idx="817">
                  <c:v>All Others</c:v>
                </c:pt>
                <c:pt idx="818">
                  <c:v>Kiri</c:v>
                </c:pt>
                <c:pt idx="819">
                  <c:v>All Others</c:v>
                </c:pt>
                <c:pt idx="820">
                  <c:v>All Others</c:v>
                </c:pt>
                <c:pt idx="821">
                  <c:v>All Others</c:v>
                </c:pt>
                <c:pt idx="822">
                  <c:v>All Others</c:v>
                </c:pt>
                <c:pt idx="823">
                  <c:v>All Others</c:v>
                </c:pt>
                <c:pt idx="824">
                  <c:v>All Others</c:v>
                </c:pt>
                <c:pt idx="825">
                  <c:v>All Others</c:v>
                </c:pt>
                <c:pt idx="826">
                  <c:v>All Others</c:v>
                </c:pt>
                <c:pt idx="827">
                  <c:v>All Others</c:v>
                </c:pt>
                <c:pt idx="828">
                  <c:v>Boursin</c:v>
                </c:pt>
                <c:pt idx="829">
                  <c:v>All Others</c:v>
                </c:pt>
                <c:pt idx="830">
                  <c:v>All Others</c:v>
                </c:pt>
                <c:pt idx="831">
                  <c:v>All Others</c:v>
                </c:pt>
                <c:pt idx="832">
                  <c:v>All Others</c:v>
                </c:pt>
                <c:pt idx="833">
                  <c:v>All Others</c:v>
                </c:pt>
                <c:pt idx="834">
                  <c:v>All Others</c:v>
                </c:pt>
                <c:pt idx="835">
                  <c:v>Soignon</c:v>
                </c:pt>
                <c:pt idx="836">
                  <c:v>Mini Babybe</c:v>
                </c:pt>
                <c:pt idx="837">
                  <c:v>All Others</c:v>
                </c:pt>
                <c:pt idx="838">
                  <c:v>All Others</c:v>
                </c:pt>
                <c:pt idx="839">
                  <c:v>All Others</c:v>
                </c:pt>
                <c:pt idx="840">
                  <c:v>All Others</c:v>
                </c:pt>
                <c:pt idx="841">
                  <c:v>Eurial Autr</c:v>
                </c:pt>
                <c:pt idx="842">
                  <c:v>All Others</c:v>
                </c:pt>
                <c:pt idx="843">
                  <c:v>All Others</c:v>
                </c:pt>
                <c:pt idx="844">
                  <c:v>All Others</c:v>
                </c:pt>
                <c:pt idx="845">
                  <c:v>Triballat R</c:v>
                </c:pt>
                <c:pt idx="846">
                  <c:v>All Others</c:v>
                </c:pt>
                <c:pt idx="847">
                  <c:v>All Others</c:v>
                </c:pt>
                <c:pt idx="848">
                  <c:v>All Others</c:v>
                </c:pt>
                <c:pt idx="849">
                  <c:v>All Others</c:v>
                </c:pt>
                <c:pt idx="850">
                  <c:v>All Others</c:v>
                </c:pt>
                <c:pt idx="851">
                  <c:v>All Others</c:v>
                </c:pt>
                <c:pt idx="852">
                  <c:v>All Others</c:v>
                </c:pt>
                <c:pt idx="853">
                  <c:v>All Others</c:v>
                </c:pt>
                <c:pt idx="854">
                  <c:v>All Others</c:v>
                </c:pt>
                <c:pt idx="855">
                  <c:v>All Others</c:v>
                </c:pt>
                <c:pt idx="856">
                  <c:v>All Others</c:v>
                </c:pt>
                <c:pt idx="857">
                  <c:v>All Others</c:v>
                </c:pt>
                <c:pt idx="858">
                  <c:v>All Others</c:v>
                </c:pt>
                <c:pt idx="859">
                  <c:v>All Others</c:v>
                </c:pt>
                <c:pt idx="860">
                  <c:v>All Others</c:v>
                </c:pt>
                <c:pt idx="861">
                  <c:v>All Others</c:v>
                </c:pt>
                <c:pt idx="862">
                  <c:v>All Others</c:v>
                </c:pt>
                <c:pt idx="863">
                  <c:v>All Others</c:v>
                </c:pt>
                <c:pt idx="864">
                  <c:v>All Others</c:v>
                </c:pt>
                <c:pt idx="865">
                  <c:v>All Others</c:v>
                </c:pt>
                <c:pt idx="866">
                  <c:v>Boursin</c:v>
                </c:pt>
                <c:pt idx="867">
                  <c:v>All Others</c:v>
                </c:pt>
                <c:pt idx="868">
                  <c:v>All Others</c:v>
                </c:pt>
                <c:pt idx="869">
                  <c:v>All Others</c:v>
                </c:pt>
                <c:pt idx="870">
                  <c:v>All Others</c:v>
                </c:pt>
                <c:pt idx="871">
                  <c:v>All Others</c:v>
                </c:pt>
                <c:pt idx="872">
                  <c:v>Etoile Du Q</c:v>
                </c:pt>
                <c:pt idx="873">
                  <c:v>All Others</c:v>
                </c:pt>
                <c:pt idx="874">
                  <c:v>All Others</c:v>
                </c:pt>
                <c:pt idx="875">
                  <c:v>All Others</c:v>
                </c:pt>
                <c:pt idx="876">
                  <c:v>All Others</c:v>
                </c:pt>
                <c:pt idx="877">
                  <c:v>All Others</c:v>
                </c:pt>
                <c:pt idx="878">
                  <c:v>All Others</c:v>
                </c:pt>
                <c:pt idx="879">
                  <c:v>All Others</c:v>
                </c:pt>
                <c:pt idx="880">
                  <c:v>All Others</c:v>
                </c:pt>
                <c:pt idx="881">
                  <c:v>All Others</c:v>
                </c:pt>
                <c:pt idx="882">
                  <c:v>All Others</c:v>
                </c:pt>
                <c:pt idx="883">
                  <c:v>All Others</c:v>
                </c:pt>
                <c:pt idx="884">
                  <c:v>All Others</c:v>
                </c:pt>
                <c:pt idx="885">
                  <c:v>All Others</c:v>
                </c:pt>
                <c:pt idx="886">
                  <c:v>All Others</c:v>
                </c:pt>
                <c:pt idx="887">
                  <c:v>All Others</c:v>
                </c:pt>
                <c:pt idx="888">
                  <c:v>All Others</c:v>
                </c:pt>
                <c:pt idx="889">
                  <c:v>President</c:v>
                </c:pt>
                <c:pt idx="890">
                  <c:v>All Others</c:v>
                </c:pt>
                <c:pt idx="891">
                  <c:v>All Others</c:v>
                </c:pt>
                <c:pt idx="892">
                  <c:v>All Others</c:v>
                </c:pt>
                <c:pt idx="893">
                  <c:v>Private Lab</c:v>
                </c:pt>
                <c:pt idx="894">
                  <c:v>All Others</c:v>
                </c:pt>
                <c:pt idx="895">
                  <c:v>All Others</c:v>
                </c:pt>
                <c:pt idx="896">
                  <c:v>All Others</c:v>
                </c:pt>
                <c:pt idx="897">
                  <c:v>All Others</c:v>
                </c:pt>
                <c:pt idx="898">
                  <c:v>Tartare</c:v>
                </c:pt>
                <c:pt idx="899">
                  <c:v>All Others</c:v>
                </c:pt>
                <c:pt idx="900">
                  <c:v>All Others</c:v>
                </c:pt>
                <c:pt idx="901">
                  <c:v>All Others</c:v>
                </c:pt>
                <c:pt idx="902">
                  <c:v>All Others</c:v>
                </c:pt>
                <c:pt idx="903">
                  <c:v>All Others</c:v>
                </c:pt>
                <c:pt idx="904">
                  <c:v>Triballat R</c:v>
                </c:pt>
                <c:pt idx="905">
                  <c:v>All Others</c:v>
                </c:pt>
                <c:pt idx="906">
                  <c:v>All Others</c:v>
                </c:pt>
                <c:pt idx="907">
                  <c:v>All Others</c:v>
                </c:pt>
                <c:pt idx="908">
                  <c:v>All Others</c:v>
                </c:pt>
                <c:pt idx="909">
                  <c:v>All Others</c:v>
                </c:pt>
                <c:pt idx="910">
                  <c:v>All Others</c:v>
                </c:pt>
                <c:pt idx="911">
                  <c:v>Triballat R</c:v>
                </c:pt>
                <c:pt idx="912">
                  <c:v>All Others</c:v>
                </c:pt>
                <c:pt idx="913">
                  <c:v>All Others</c:v>
                </c:pt>
                <c:pt idx="914">
                  <c:v>Private Lab</c:v>
                </c:pt>
                <c:pt idx="915">
                  <c:v>All Others</c:v>
                </c:pt>
                <c:pt idx="916">
                  <c:v>All Others</c:v>
                </c:pt>
                <c:pt idx="917">
                  <c:v>All Others</c:v>
                </c:pt>
                <c:pt idx="918">
                  <c:v>All Others</c:v>
                </c:pt>
                <c:pt idx="919">
                  <c:v>Savencia: A</c:v>
                </c:pt>
                <c:pt idx="920">
                  <c:v>Lactalis: A</c:v>
                </c:pt>
                <c:pt idx="921">
                  <c:v>All Others</c:v>
                </c:pt>
                <c:pt idx="922">
                  <c:v>All Others</c:v>
                </c:pt>
                <c:pt idx="923">
                  <c:v>Savencia: A</c:v>
                </c:pt>
                <c:pt idx="924">
                  <c:v>All Others</c:v>
                </c:pt>
                <c:pt idx="925">
                  <c:v>All Others</c:v>
                </c:pt>
                <c:pt idx="926">
                  <c:v>President</c:v>
                </c:pt>
                <c:pt idx="927">
                  <c:v>All Others</c:v>
                </c:pt>
                <c:pt idx="928">
                  <c:v>All Others</c:v>
                </c:pt>
                <c:pt idx="929">
                  <c:v>All Others</c:v>
                </c:pt>
                <c:pt idx="930">
                  <c:v>All Others</c:v>
                </c:pt>
                <c:pt idx="931">
                  <c:v>All Others</c:v>
                </c:pt>
                <c:pt idx="932">
                  <c:v>All Others</c:v>
                </c:pt>
                <c:pt idx="933">
                  <c:v>All Others</c:v>
                </c:pt>
                <c:pt idx="934">
                  <c:v>All Others</c:v>
                </c:pt>
                <c:pt idx="935">
                  <c:v>Private Lab</c:v>
                </c:pt>
                <c:pt idx="936">
                  <c:v>All Others</c:v>
                </c:pt>
                <c:pt idx="937">
                  <c:v>All Others</c:v>
                </c:pt>
                <c:pt idx="938">
                  <c:v>Eurial Autr</c:v>
                </c:pt>
                <c:pt idx="939">
                  <c:v>Triballat R</c:v>
                </c:pt>
                <c:pt idx="940">
                  <c:v>All Others</c:v>
                </c:pt>
                <c:pt idx="941">
                  <c:v>All Others</c:v>
                </c:pt>
                <c:pt idx="942">
                  <c:v>All Others</c:v>
                </c:pt>
                <c:pt idx="943">
                  <c:v>All Others</c:v>
                </c:pt>
                <c:pt idx="944">
                  <c:v>All Others</c:v>
                </c:pt>
                <c:pt idx="945">
                  <c:v>All Others</c:v>
                </c:pt>
                <c:pt idx="946">
                  <c:v>All Others</c:v>
                </c:pt>
                <c:pt idx="947">
                  <c:v>All Others</c:v>
                </c:pt>
                <c:pt idx="948">
                  <c:v>All Others</c:v>
                </c:pt>
                <c:pt idx="949">
                  <c:v>All Others</c:v>
                </c:pt>
                <c:pt idx="950">
                  <c:v>Eurial Autr</c:v>
                </c:pt>
                <c:pt idx="951">
                  <c:v>All Others</c:v>
                </c:pt>
                <c:pt idx="952">
                  <c:v>All Others</c:v>
                </c:pt>
                <c:pt idx="953">
                  <c:v>All Others</c:v>
                </c:pt>
                <c:pt idx="954">
                  <c:v>All Others</c:v>
                </c:pt>
                <c:pt idx="955">
                  <c:v>All Others</c:v>
                </c:pt>
                <c:pt idx="956">
                  <c:v>St Moret</c:v>
                </c:pt>
                <c:pt idx="957">
                  <c:v>All Others</c:v>
                </c:pt>
                <c:pt idx="958">
                  <c:v>Savencia: A</c:v>
                </c:pt>
                <c:pt idx="959">
                  <c:v>Private Lab</c:v>
                </c:pt>
                <c:pt idx="960">
                  <c:v>All Others</c:v>
                </c:pt>
                <c:pt idx="961">
                  <c:v>All Others</c:v>
                </c:pt>
                <c:pt idx="962">
                  <c:v>All Others</c:v>
                </c:pt>
                <c:pt idx="963">
                  <c:v>Private Lab</c:v>
                </c:pt>
                <c:pt idx="964">
                  <c:v>All Others</c:v>
                </c:pt>
                <c:pt idx="965">
                  <c:v>All Others</c:v>
                </c:pt>
                <c:pt idx="966">
                  <c:v>All Others</c:v>
                </c:pt>
                <c:pt idx="967">
                  <c:v>All Others</c:v>
                </c:pt>
                <c:pt idx="968">
                  <c:v>All Others</c:v>
                </c:pt>
                <c:pt idx="969">
                  <c:v>All Others</c:v>
                </c:pt>
                <c:pt idx="970">
                  <c:v>All Others</c:v>
                </c:pt>
                <c:pt idx="971">
                  <c:v>All Others</c:v>
                </c:pt>
                <c:pt idx="972">
                  <c:v>All Others</c:v>
                </c:pt>
                <c:pt idx="973">
                  <c:v>All Others</c:v>
                </c:pt>
                <c:pt idx="974">
                  <c:v>All Others</c:v>
                </c:pt>
                <c:pt idx="975">
                  <c:v>All Others</c:v>
                </c:pt>
                <c:pt idx="976">
                  <c:v>All Others</c:v>
                </c:pt>
                <c:pt idx="977">
                  <c:v>All Others</c:v>
                </c:pt>
                <c:pt idx="978">
                  <c:v>All Others</c:v>
                </c:pt>
                <c:pt idx="979">
                  <c:v>All Others</c:v>
                </c:pt>
                <c:pt idx="980">
                  <c:v>All Others</c:v>
                </c:pt>
                <c:pt idx="981">
                  <c:v>All Others</c:v>
                </c:pt>
                <c:pt idx="982">
                  <c:v>All Others</c:v>
                </c:pt>
                <c:pt idx="983">
                  <c:v>All Others</c:v>
                </c:pt>
                <c:pt idx="984">
                  <c:v>All Others</c:v>
                </c:pt>
                <c:pt idx="985">
                  <c:v>All Others</c:v>
                </c:pt>
                <c:pt idx="986">
                  <c:v>All Others</c:v>
                </c:pt>
                <c:pt idx="987">
                  <c:v>All Others</c:v>
                </c:pt>
                <c:pt idx="988">
                  <c:v>All Others</c:v>
                </c:pt>
                <c:pt idx="989">
                  <c:v>All Others</c:v>
                </c:pt>
                <c:pt idx="990">
                  <c:v>All Others</c:v>
                </c:pt>
                <c:pt idx="991">
                  <c:v>All Others</c:v>
                </c:pt>
                <c:pt idx="992">
                  <c:v>All Others</c:v>
                </c:pt>
                <c:pt idx="993">
                  <c:v>All Others</c:v>
                </c:pt>
                <c:pt idx="994">
                  <c:v>Eurial Autr</c:v>
                </c:pt>
                <c:pt idx="995">
                  <c:v>Eurial Autr</c:v>
                </c:pt>
                <c:pt idx="996">
                  <c:v>All Others</c:v>
                </c:pt>
                <c:pt idx="997">
                  <c:v>All Others</c:v>
                </c:pt>
                <c:pt idx="998">
                  <c:v>All Others</c:v>
                </c:pt>
                <c:pt idx="999">
                  <c:v>All Others</c:v>
                </c:pt>
                <c:pt idx="1000">
                  <c:v>All Others</c:v>
                </c:pt>
                <c:pt idx="1001">
                  <c:v>All Others</c:v>
                </c:pt>
                <c:pt idx="1002">
                  <c:v>Private Lab</c:v>
                </c:pt>
                <c:pt idx="1003">
                  <c:v>All Others</c:v>
                </c:pt>
                <c:pt idx="1004">
                  <c:v>All Others</c:v>
                </c:pt>
                <c:pt idx="1005">
                  <c:v>Eurial Autr</c:v>
                </c:pt>
                <c:pt idx="1006">
                  <c:v>All Others</c:v>
                </c:pt>
                <c:pt idx="1007">
                  <c:v>All Others</c:v>
                </c:pt>
                <c:pt idx="1008">
                  <c:v>Lou Perac</c:v>
                </c:pt>
                <c:pt idx="1009">
                  <c:v>All Others</c:v>
                </c:pt>
                <c:pt idx="1010">
                  <c:v>All Others</c:v>
                </c:pt>
                <c:pt idx="1011">
                  <c:v>Triballat N</c:v>
                </c:pt>
                <c:pt idx="1012">
                  <c:v>All Others</c:v>
                </c:pt>
                <c:pt idx="1013">
                  <c:v>All Others</c:v>
                </c:pt>
                <c:pt idx="1014">
                  <c:v>All Others</c:v>
                </c:pt>
                <c:pt idx="1015">
                  <c:v>All Others</c:v>
                </c:pt>
                <c:pt idx="1016">
                  <c:v>All Others</c:v>
                </c:pt>
                <c:pt idx="1017">
                  <c:v>All Others</c:v>
                </c:pt>
                <c:pt idx="1018">
                  <c:v>All Others</c:v>
                </c:pt>
                <c:pt idx="1019">
                  <c:v>All Others</c:v>
                </c:pt>
                <c:pt idx="1020">
                  <c:v>All Others</c:v>
                </c:pt>
                <c:pt idx="1021">
                  <c:v>All Others</c:v>
                </c:pt>
                <c:pt idx="1022">
                  <c:v>All Others</c:v>
                </c:pt>
                <c:pt idx="1023">
                  <c:v>All Others</c:v>
                </c:pt>
                <c:pt idx="1024">
                  <c:v>All Others</c:v>
                </c:pt>
                <c:pt idx="1025">
                  <c:v>All Others</c:v>
                </c:pt>
                <c:pt idx="1026">
                  <c:v>All Others</c:v>
                </c:pt>
                <c:pt idx="1027">
                  <c:v>All Others</c:v>
                </c:pt>
                <c:pt idx="1028">
                  <c:v>All Others</c:v>
                </c:pt>
                <c:pt idx="1029">
                  <c:v>All Others</c:v>
                </c:pt>
                <c:pt idx="1030">
                  <c:v>All Others</c:v>
                </c:pt>
                <c:pt idx="1031">
                  <c:v>All Others</c:v>
                </c:pt>
                <c:pt idx="1032">
                  <c:v>All Others</c:v>
                </c:pt>
                <c:pt idx="1033">
                  <c:v>All Others</c:v>
                </c:pt>
                <c:pt idx="1034">
                  <c:v>All Others</c:v>
                </c:pt>
                <c:pt idx="1035">
                  <c:v>All Others</c:v>
                </c:pt>
                <c:pt idx="1036">
                  <c:v>Triballat R</c:v>
                </c:pt>
                <c:pt idx="1037">
                  <c:v>All Others</c:v>
                </c:pt>
                <c:pt idx="1038">
                  <c:v>All Others</c:v>
                </c:pt>
                <c:pt idx="1039">
                  <c:v>All Others</c:v>
                </c:pt>
                <c:pt idx="1040">
                  <c:v>All Others</c:v>
                </c:pt>
                <c:pt idx="1041">
                  <c:v>All Others</c:v>
                </c:pt>
                <c:pt idx="1042">
                  <c:v>All Others</c:v>
                </c:pt>
                <c:pt idx="1043">
                  <c:v>All Others</c:v>
                </c:pt>
                <c:pt idx="1044">
                  <c:v>All Others</c:v>
                </c:pt>
                <c:pt idx="1045">
                  <c:v>All Others</c:v>
                </c:pt>
                <c:pt idx="1046">
                  <c:v>All Others</c:v>
                </c:pt>
                <c:pt idx="1047">
                  <c:v>All Others</c:v>
                </c:pt>
                <c:pt idx="1048">
                  <c:v>All Others</c:v>
                </c:pt>
                <c:pt idx="1049">
                  <c:v>All Others</c:v>
                </c:pt>
                <c:pt idx="1050">
                  <c:v>All Others</c:v>
                </c:pt>
                <c:pt idx="1051">
                  <c:v>All Others</c:v>
                </c:pt>
                <c:pt idx="1052">
                  <c:v>All Others</c:v>
                </c:pt>
                <c:pt idx="1053">
                  <c:v>Caprice Des</c:v>
                </c:pt>
                <c:pt idx="1054">
                  <c:v>All Others</c:v>
                </c:pt>
                <c:pt idx="1055">
                  <c:v>All Others</c:v>
                </c:pt>
                <c:pt idx="1056">
                  <c:v>Savencia: A</c:v>
                </c:pt>
                <c:pt idx="1057">
                  <c:v>Savencia: A</c:v>
                </c:pt>
                <c:pt idx="1058">
                  <c:v>All Others</c:v>
                </c:pt>
                <c:pt idx="1059">
                  <c:v>All Others</c:v>
                </c:pt>
                <c:pt idx="1060">
                  <c:v>All Others</c:v>
                </c:pt>
                <c:pt idx="1061">
                  <c:v>All Others</c:v>
                </c:pt>
                <c:pt idx="1062">
                  <c:v>All Others</c:v>
                </c:pt>
                <c:pt idx="1063">
                  <c:v>All Others</c:v>
                </c:pt>
                <c:pt idx="1064">
                  <c:v>All Others</c:v>
                </c:pt>
                <c:pt idx="1065">
                  <c:v>All Others</c:v>
                </c:pt>
                <c:pt idx="1066">
                  <c:v>All Others</c:v>
                </c:pt>
                <c:pt idx="1067">
                  <c:v>All Others</c:v>
                </c:pt>
                <c:pt idx="1068">
                  <c:v>All Others</c:v>
                </c:pt>
                <c:pt idx="1069">
                  <c:v>All Others</c:v>
                </c:pt>
                <c:pt idx="1070">
                  <c:v>All Others</c:v>
                </c:pt>
                <c:pt idx="1071">
                  <c:v>All Others</c:v>
                </c:pt>
                <c:pt idx="1072">
                  <c:v>All Others</c:v>
                </c:pt>
                <c:pt idx="1073">
                  <c:v>All Others</c:v>
                </c:pt>
                <c:pt idx="1074">
                  <c:v>All Others</c:v>
                </c:pt>
                <c:pt idx="1075">
                  <c:v>All Others</c:v>
                </c:pt>
                <c:pt idx="1076">
                  <c:v>All Others</c:v>
                </c:pt>
                <c:pt idx="1077">
                  <c:v>All Others</c:v>
                </c:pt>
                <c:pt idx="1078">
                  <c:v>All Others</c:v>
                </c:pt>
                <c:pt idx="1079">
                  <c:v>All Others</c:v>
                </c:pt>
                <c:pt idx="1080">
                  <c:v>All Others</c:v>
                </c:pt>
                <c:pt idx="1081">
                  <c:v>All Others</c:v>
                </c:pt>
                <c:pt idx="1082">
                  <c:v>Lou Perac</c:v>
                </c:pt>
                <c:pt idx="1083">
                  <c:v>All Others</c:v>
                </c:pt>
                <c:pt idx="1084">
                  <c:v>All Others</c:v>
                </c:pt>
                <c:pt idx="1085">
                  <c:v>Petit Billy</c:v>
                </c:pt>
                <c:pt idx="1086">
                  <c:v>All Others</c:v>
                </c:pt>
                <c:pt idx="1087">
                  <c:v>Lactalis: A</c:v>
                </c:pt>
                <c:pt idx="1088">
                  <c:v>All Others</c:v>
                </c:pt>
                <c:pt idx="1089">
                  <c:v>All Others</c:v>
                </c:pt>
                <c:pt idx="1090">
                  <c:v>All Others</c:v>
                </c:pt>
                <c:pt idx="1091">
                  <c:v>Eurial Autr</c:v>
                </c:pt>
                <c:pt idx="1092">
                  <c:v>All Others</c:v>
                </c:pt>
                <c:pt idx="1093">
                  <c:v>Private Lab</c:v>
                </c:pt>
                <c:pt idx="1094">
                  <c:v>All Others</c:v>
                </c:pt>
                <c:pt idx="1095">
                  <c:v>All Others</c:v>
                </c:pt>
                <c:pt idx="1096">
                  <c:v>All Others</c:v>
                </c:pt>
                <c:pt idx="1097">
                  <c:v>All Others</c:v>
                </c:pt>
                <c:pt idx="1098">
                  <c:v>All Others</c:v>
                </c:pt>
                <c:pt idx="1099">
                  <c:v>All Others</c:v>
                </c:pt>
                <c:pt idx="1100">
                  <c:v>Soignon</c:v>
                </c:pt>
                <c:pt idx="1101">
                  <c:v>All Others</c:v>
                </c:pt>
                <c:pt idx="1102">
                  <c:v>All Others</c:v>
                </c:pt>
                <c:pt idx="1103">
                  <c:v>All Others</c:v>
                </c:pt>
                <c:pt idx="1104">
                  <c:v>All Others</c:v>
                </c:pt>
                <c:pt idx="1105">
                  <c:v>All Others</c:v>
                </c:pt>
                <c:pt idx="1106">
                  <c:v>Private Lab</c:v>
                </c:pt>
                <c:pt idx="1107">
                  <c:v>All Others</c:v>
                </c:pt>
                <c:pt idx="1108">
                  <c:v>All Others</c:v>
                </c:pt>
                <c:pt idx="1109">
                  <c:v>All Others</c:v>
                </c:pt>
                <c:pt idx="1110">
                  <c:v>All Others</c:v>
                </c:pt>
                <c:pt idx="1111">
                  <c:v>All Others</c:v>
                </c:pt>
                <c:pt idx="1112">
                  <c:v>All Others</c:v>
                </c:pt>
                <c:pt idx="1113">
                  <c:v>All Others</c:v>
                </c:pt>
                <c:pt idx="1114">
                  <c:v>All Others</c:v>
                </c:pt>
                <c:pt idx="1115">
                  <c:v>All Others</c:v>
                </c:pt>
                <c:pt idx="1116">
                  <c:v>All Others</c:v>
                </c:pt>
                <c:pt idx="1117">
                  <c:v>All Others</c:v>
                </c:pt>
                <c:pt idx="1118">
                  <c:v>All Others</c:v>
                </c:pt>
                <c:pt idx="1119">
                  <c:v>All Others</c:v>
                </c:pt>
                <c:pt idx="1120">
                  <c:v>All Others</c:v>
                </c:pt>
                <c:pt idx="1121">
                  <c:v>All Others</c:v>
                </c:pt>
                <c:pt idx="1122">
                  <c:v>All Others</c:v>
                </c:pt>
                <c:pt idx="1123">
                  <c:v>All Others</c:v>
                </c:pt>
                <c:pt idx="1124">
                  <c:v>All Others</c:v>
                </c:pt>
                <c:pt idx="1125">
                  <c:v>All Others</c:v>
                </c:pt>
                <c:pt idx="1126">
                  <c:v>All Others</c:v>
                </c:pt>
                <c:pt idx="1127">
                  <c:v>All Others</c:v>
                </c:pt>
                <c:pt idx="1128">
                  <c:v>Eurial Autr</c:v>
                </c:pt>
                <c:pt idx="1129">
                  <c:v>All Others</c:v>
                </c:pt>
                <c:pt idx="1130">
                  <c:v>All Others</c:v>
                </c:pt>
                <c:pt idx="1131">
                  <c:v>All Others</c:v>
                </c:pt>
                <c:pt idx="1132">
                  <c:v>All Others</c:v>
                </c:pt>
                <c:pt idx="1133">
                  <c:v>All Others</c:v>
                </c:pt>
                <c:pt idx="1134">
                  <c:v>All Others</c:v>
                </c:pt>
                <c:pt idx="1135">
                  <c:v>All Others</c:v>
                </c:pt>
                <c:pt idx="1136">
                  <c:v>All Others</c:v>
                </c:pt>
                <c:pt idx="1137">
                  <c:v>All Others</c:v>
                </c:pt>
                <c:pt idx="1138">
                  <c:v>All Others</c:v>
                </c:pt>
                <c:pt idx="1139">
                  <c:v>Private Lab</c:v>
                </c:pt>
                <c:pt idx="1140">
                  <c:v>All Others</c:v>
                </c:pt>
                <c:pt idx="1141">
                  <c:v>All Others</c:v>
                </c:pt>
                <c:pt idx="1142">
                  <c:v>All Others</c:v>
                </c:pt>
                <c:pt idx="1143">
                  <c:v>All Others</c:v>
                </c:pt>
                <c:pt idx="1144">
                  <c:v>All Others</c:v>
                </c:pt>
                <c:pt idx="1145">
                  <c:v>All Others</c:v>
                </c:pt>
                <c:pt idx="1146">
                  <c:v>All Others</c:v>
                </c:pt>
                <c:pt idx="1147">
                  <c:v>All Others</c:v>
                </c:pt>
                <c:pt idx="1148">
                  <c:v>All Others</c:v>
                </c:pt>
                <c:pt idx="1149">
                  <c:v>All Others</c:v>
                </c:pt>
                <c:pt idx="1150">
                  <c:v>All Others</c:v>
                </c:pt>
                <c:pt idx="1151">
                  <c:v>All Others</c:v>
                </c:pt>
                <c:pt idx="1152">
                  <c:v>All Others</c:v>
                </c:pt>
                <c:pt idx="1153">
                  <c:v>All Others</c:v>
                </c:pt>
                <c:pt idx="1154">
                  <c:v>All Others</c:v>
                </c:pt>
                <c:pt idx="1155">
                  <c:v>All Others</c:v>
                </c:pt>
                <c:pt idx="1156">
                  <c:v>All Others</c:v>
                </c:pt>
                <c:pt idx="1157">
                  <c:v>All Others</c:v>
                </c:pt>
                <c:pt idx="1158">
                  <c:v>All Others</c:v>
                </c:pt>
                <c:pt idx="1159">
                  <c:v>All Others</c:v>
                </c:pt>
                <c:pt idx="1160">
                  <c:v>All Others</c:v>
                </c:pt>
                <c:pt idx="1161">
                  <c:v>All Others</c:v>
                </c:pt>
                <c:pt idx="1162">
                  <c:v>All Others</c:v>
                </c:pt>
                <c:pt idx="1163">
                  <c:v>All Others</c:v>
                </c:pt>
                <c:pt idx="1164">
                  <c:v>All Others</c:v>
                </c:pt>
                <c:pt idx="1165">
                  <c:v>All Others</c:v>
                </c:pt>
                <c:pt idx="1166">
                  <c:v>All Others</c:v>
                </c:pt>
                <c:pt idx="1167">
                  <c:v>All Others</c:v>
                </c:pt>
                <c:pt idx="1168">
                  <c:v>All Others</c:v>
                </c:pt>
                <c:pt idx="1169">
                  <c:v>All Others</c:v>
                </c:pt>
                <c:pt idx="1170">
                  <c:v>All Others</c:v>
                </c:pt>
                <c:pt idx="1171">
                  <c:v>All Others</c:v>
                </c:pt>
                <c:pt idx="1172">
                  <c:v>All Others</c:v>
                </c:pt>
                <c:pt idx="1173">
                  <c:v>Private Lab</c:v>
                </c:pt>
                <c:pt idx="1174">
                  <c:v>All Others</c:v>
                </c:pt>
                <c:pt idx="1175">
                  <c:v>All Others</c:v>
                </c:pt>
                <c:pt idx="1176">
                  <c:v>All Others</c:v>
                </c:pt>
                <c:pt idx="1177">
                  <c:v>All Others</c:v>
                </c:pt>
                <c:pt idx="1178">
                  <c:v>All Others</c:v>
                </c:pt>
                <c:pt idx="1179">
                  <c:v>All Others</c:v>
                </c:pt>
                <c:pt idx="1180">
                  <c:v>All Others</c:v>
                </c:pt>
                <c:pt idx="1181">
                  <c:v>All Others</c:v>
                </c:pt>
                <c:pt idx="1182">
                  <c:v>Private Lab</c:v>
                </c:pt>
                <c:pt idx="1183">
                  <c:v>All Others</c:v>
                </c:pt>
                <c:pt idx="1184">
                  <c:v>All Others</c:v>
                </c:pt>
                <c:pt idx="1185">
                  <c:v>All Others</c:v>
                </c:pt>
                <c:pt idx="1186">
                  <c:v>All Others</c:v>
                </c:pt>
                <c:pt idx="1187">
                  <c:v>All Others</c:v>
                </c:pt>
                <c:pt idx="1188">
                  <c:v>All Others</c:v>
                </c:pt>
                <c:pt idx="1189">
                  <c:v>All Others</c:v>
                </c:pt>
                <c:pt idx="1190">
                  <c:v>All Others</c:v>
                </c:pt>
                <c:pt idx="1191">
                  <c:v>All Others</c:v>
                </c:pt>
                <c:pt idx="1192">
                  <c:v>Lactalis: A</c:v>
                </c:pt>
                <c:pt idx="1193">
                  <c:v>Private Lab</c:v>
                </c:pt>
                <c:pt idx="1194">
                  <c:v>All Others</c:v>
                </c:pt>
                <c:pt idx="1195">
                  <c:v>All Others</c:v>
                </c:pt>
                <c:pt idx="1196">
                  <c:v>All Others</c:v>
                </c:pt>
                <c:pt idx="1197">
                  <c:v>All Others</c:v>
                </c:pt>
                <c:pt idx="1198">
                  <c:v>All Others</c:v>
                </c:pt>
                <c:pt idx="1199">
                  <c:v>Mini Babybe</c:v>
                </c:pt>
                <c:pt idx="1200">
                  <c:v>All Others</c:v>
                </c:pt>
                <c:pt idx="1201">
                  <c:v>All Others</c:v>
                </c:pt>
                <c:pt idx="1202">
                  <c:v>Private Lab</c:v>
                </c:pt>
                <c:pt idx="1203">
                  <c:v>Lactalis: A</c:v>
                </c:pt>
                <c:pt idx="1204">
                  <c:v>All Others</c:v>
                </c:pt>
                <c:pt idx="1205">
                  <c:v>All Others</c:v>
                </c:pt>
                <c:pt idx="1206">
                  <c:v>All Others</c:v>
                </c:pt>
                <c:pt idx="1207">
                  <c:v>All Others</c:v>
                </c:pt>
                <c:pt idx="1208">
                  <c:v>All Others</c:v>
                </c:pt>
                <c:pt idx="1209">
                  <c:v>All Others</c:v>
                </c:pt>
                <c:pt idx="1210">
                  <c:v>All Others</c:v>
                </c:pt>
                <c:pt idx="1211">
                  <c:v>All Others</c:v>
                </c:pt>
                <c:pt idx="1212">
                  <c:v>Soignon</c:v>
                </c:pt>
                <c:pt idx="1213">
                  <c:v>Private Lab</c:v>
                </c:pt>
                <c:pt idx="1214">
                  <c:v>All Others</c:v>
                </c:pt>
                <c:pt idx="1215">
                  <c:v>All Others</c:v>
                </c:pt>
                <c:pt idx="1216">
                  <c:v>All Others</c:v>
                </c:pt>
                <c:pt idx="1217">
                  <c:v>All Others</c:v>
                </c:pt>
                <c:pt idx="1218">
                  <c:v>All Others</c:v>
                </c:pt>
                <c:pt idx="1219">
                  <c:v>All Others</c:v>
                </c:pt>
                <c:pt idx="1220">
                  <c:v>All Others</c:v>
                </c:pt>
                <c:pt idx="1221">
                  <c:v>All Others</c:v>
                </c:pt>
                <c:pt idx="1222">
                  <c:v>All Others</c:v>
                </c:pt>
                <c:pt idx="1223">
                  <c:v>All Others</c:v>
                </c:pt>
                <c:pt idx="1224">
                  <c:v>Eurial Autr</c:v>
                </c:pt>
                <c:pt idx="1225">
                  <c:v>All Others</c:v>
                </c:pt>
                <c:pt idx="1226">
                  <c:v>All Others</c:v>
                </c:pt>
                <c:pt idx="1227">
                  <c:v>All Others</c:v>
                </c:pt>
                <c:pt idx="1228">
                  <c:v>All Others</c:v>
                </c:pt>
                <c:pt idx="1229">
                  <c:v>All Others</c:v>
                </c:pt>
                <c:pt idx="1230">
                  <c:v>All Others</c:v>
                </c:pt>
                <c:pt idx="1231">
                  <c:v>All Others</c:v>
                </c:pt>
                <c:pt idx="1232">
                  <c:v>All Others</c:v>
                </c:pt>
                <c:pt idx="1233">
                  <c:v>All Others</c:v>
                </c:pt>
                <c:pt idx="1234">
                  <c:v>All Others</c:v>
                </c:pt>
                <c:pt idx="1235">
                  <c:v>All Others</c:v>
                </c:pt>
                <c:pt idx="1236">
                  <c:v>All Others</c:v>
                </c:pt>
                <c:pt idx="1237">
                  <c:v>All Others</c:v>
                </c:pt>
                <c:pt idx="1238">
                  <c:v>All Others</c:v>
                </c:pt>
                <c:pt idx="1239">
                  <c:v>All Others</c:v>
                </c:pt>
                <c:pt idx="1240">
                  <c:v>All Others</c:v>
                </c:pt>
                <c:pt idx="1241">
                  <c:v>All Others</c:v>
                </c:pt>
                <c:pt idx="1242">
                  <c:v>All Others</c:v>
                </c:pt>
                <c:pt idx="1243">
                  <c:v>All Others</c:v>
                </c:pt>
                <c:pt idx="1244">
                  <c:v>All Others</c:v>
                </c:pt>
                <c:pt idx="1245">
                  <c:v>All Others</c:v>
                </c:pt>
                <c:pt idx="1246">
                  <c:v>All Others</c:v>
                </c:pt>
                <c:pt idx="1247">
                  <c:v>All Others</c:v>
                </c:pt>
                <c:pt idx="1248">
                  <c:v>Eurial Autr</c:v>
                </c:pt>
                <c:pt idx="1249">
                  <c:v>All Others</c:v>
                </c:pt>
                <c:pt idx="1250">
                  <c:v>All Others</c:v>
                </c:pt>
                <c:pt idx="1251">
                  <c:v>All Others</c:v>
                </c:pt>
                <c:pt idx="1252">
                  <c:v>All Others</c:v>
                </c:pt>
                <c:pt idx="1253">
                  <c:v>All Others</c:v>
                </c:pt>
                <c:pt idx="1254">
                  <c:v>All Others</c:v>
                </c:pt>
                <c:pt idx="1255">
                  <c:v>All Others</c:v>
                </c:pt>
                <c:pt idx="1256">
                  <c:v>All Others</c:v>
                </c:pt>
                <c:pt idx="1257">
                  <c:v>All Others</c:v>
                </c:pt>
                <c:pt idx="1258">
                  <c:v>All Others</c:v>
                </c:pt>
                <c:pt idx="1259">
                  <c:v>All Others</c:v>
                </c:pt>
                <c:pt idx="1260">
                  <c:v>All Others</c:v>
                </c:pt>
                <c:pt idx="1261">
                  <c:v>All Others</c:v>
                </c:pt>
                <c:pt idx="1262">
                  <c:v>All Others</c:v>
                </c:pt>
                <c:pt idx="1263">
                  <c:v>All Others</c:v>
                </c:pt>
                <c:pt idx="1264">
                  <c:v>All Others</c:v>
                </c:pt>
                <c:pt idx="1265">
                  <c:v>All Others</c:v>
                </c:pt>
                <c:pt idx="1266">
                  <c:v>All Others</c:v>
                </c:pt>
                <c:pt idx="1267">
                  <c:v>All Others</c:v>
                </c:pt>
                <c:pt idx="1268">
                  <c:v>Private Lab</c:v>
                </c:pt>
                <c:pt idx="1269">
                  <c:v>All Others</c:v>
                </c:pt>
                <c:pt idx="1270">
                  <c:v>All Others</c:v>
                </c:pt>
                <c:pt idx="1271">
                  <c:v>All Others</c:v>
                </c:pt>
                <c:pt idx="1272">
                  <c:v>All Others</c:v>
                </c:pt>
                <c:pt idx="1273">
                  <c:v>All Others</c:v>
                </c:pt>
                <c:pt idx="1274">
                  <c:v>President</c:v>
                </c:pt>
                <c:pt idx="1275">
                  <c:v>All Others</c:v>
                </c:pt>
                <c:pt idx="1276">
                  <c:v>All Others</c:v>
                </c:pt>
                <c:pt idx="1277">
                  <c:v>All Others</c:v>
                </c:pt>
                <c:pt idx="1278">
                  <c:v>All Others</c:v>
                </c:pt>
                <c:pt idx="1279">
                  <c:v>All Others</c:v>
                </c:pt>
                <c:pt idx="1280">
                  <c:v>Lactalis: A</c:v>
                </c:pt>
                <c:pt idx="1281">
                  <c:v>All Others</c:v>
                </c:pt>
                <c:pt idx="1282">
                  <c:v>All Others</c:v>
                </c:pt>
                <c:pt idx="1283">
                  <c:v>All Others</c:v>
                </c:pt>
                <c:pt idx="1284">
                  <c:v>All Others</c:v>
                </c:pt>
                <c:pt idx="1285">
                  <c:v>All Others</c:v>
                </c:pt>
                <c:pt idx="1286">
                  <c:v>All Others</c:v>
                </c:pt>
                <c:pt idx="1287">
                  <c:v>All Others</c:v>
                </c:pt>
                <c:pt idx="1288">
                  <c:v>All Others</c:v>
                </c:pt>
                <c:pt idx="1289">
                  <c:v>All Others</c:v>
                </c:pt>
                <c:pt idx="1290">
                  <c:v>All Others</c:v>
                </c:pt>
                <c:pt idx="1291">
                  <c:v>All Others</c:v>
                </c:pt>
                <c:pt idx="1292">
                  <c:v>All Others</c:v>
                </c:pt>
                <c:pt idx="1293">
                  <c:v>All Others</c:v>
                </c:pt>
                <c:pt idx="1294">
                  <c:v>All Others</c:v>
                </c:pt>
                <c:pt idx="1295">
                  <c:v>All Others</c:v>
                </c:pt>
                <c:pt idx="1296">
                  <c:v>Private Lab</c:v>
                </c:pt>
                <c:pt idx="1297">
                  <c:v>All Others</c:v>
                </c:pt>
                <c:pt idx="1298">
                  <c:v>All Others</c:v>
                </c:pt>
                <c:pt idx="1299">
                  <c:v>All Others</c:v>
                </c:pt>
                <c:pt idx="1300">
                  <c:v>All Others</c:v>
                </c:pt>
                <c:pt idx="1301">
                  <c:v>All Others</c:v>
                </c:pt>
                <c:pt idx="1302">
                  <c:v>All Others</c:v>
                </c:pt>
                <c:pt idx="1303">
                  <c:v>All Others</c:v>
                </c:pt>
                <c:pt idx="1304">
                  <c:v>All Others</c:v>
                </c:pt>
                <c:pt idx="1305">
                  <c:v>All Others</c:v>
                </c:pt>
                <c:pt idx="1306">
                  <c:v>All Others</c:v>
                </c:pt>
                <c:pt idx="1307">
                  <c:v>All Others</c:v>
                </c:pt>
                <c:pt idx="1308">
                  <c:v>All Others</c:v>
                </c:pt>
                <c:pt idx="1309">
                  <c:v>All Others</c:v>
                </c:pt>
                <c:pt idx="1310">
                  <c:v>All Others</c:v>
                </c:pt>
                <c:pt idx="1311">
                  <c:v>All Others</c:v>
                </c:pt>
                <c:pt idx="1312">
                  <c:v>All Others</c:v>
                </c:pt>
                <c:pt idx="1313">
                  <c:v>All Others</c:v>
                </c:pt>
                <c:pt idx="1314">
                  <c:v>All Others</c:v>
                </c:pt>
                <c:pt idx="1315">
                  <c:v>All Others</c:v>
                </c:pt>
                <c:pt idx="1316">
                  <c:v>All Others</c:v>
                </c:pt>
                <c:pt idx="1317">
                  <c:v>All Others</c:v>
                </c:pt>
                <c:pt idx="1318">
                  <c:v>All Others</c:v>
                </c:pt>
                <c:pt idx="1319">
                  <c:v>All Others</c:v>
                </c:pt>
                <c:pt idx="1320">
                  <c:v>All Others</c:v>
                </c:pt>
                <c:pt idx="1321">
                  <c:v>All Others</c:v>
                </c:pt>
                <c:pt idx="1322">
                  <c:v>All Others</c:v>
                </c:pt>
                <c:pt idx="1323">
                  <c:v>All Others</c:v>
                </c:pt>
                <c:pt idx="1324">
                  <c:v>All Others</c:v>
                </c:pt>
                <c:pt idx="1325">
                  <c:v>All Others</c:v>
                </c:pt>
                <c:pt idx="1326">
                  <c:v>Private Lab</c:v>
                </c:pt>
                <c:pt idx="1327">
                  <c:v>Rondele</c:v>
                </c:pt>
                <c:pt idx="1328">
                  <c:v>All Others</c:v>
                </c:pt>
                <c:pt idx="1329">
                  <c:v>Lactalis: A</c:v>
                </c:pt>
                <c:pt idx="1330">
                  <c:v>All Others</c:v>
                </c:pt>
                <c:pt idx="1331">
                  <c:v>All Others</c:v>
                </c:pt>
                <c:pt idx="1332">
                  <c:v>All Others</c:v>
                </c:pt>
                <c:pt idx="1333">
                  <c:v>All Others</c:v>
                </c:pt>
                <c:pt idx="1334">
                  <c:v>All Others</c:v>
                </c:pt>
                <c:pt idx="1335">
                  <c:v>All Others</c:v>
                </c:pt>
                <c:pt idx="1336">
                  <c:v>All Others</c:v>
                </c:pt>
                <c:pt idx="1337">
                  <c:v>All Others</c:v>
                </c:pt>
                <c:pt idx="1338">
                  <c:v>All Others</c:v>
                </c:pt>
                <c:pt idx="1339">
                  <c:v>All Others</c:v>
                </c:pt>
                <c:pt idx="1340">
                  <c:v>All Others</c:v>
                </c:pt>
                <c:pt idx="1341">
                  <c:v>All Others</c:v>
                </c:pt>
                <c:pt idx="1342">
                  <c:v>All Others</c:v>
                </c:pt>
                <c:pt idx="1343">
                  <c:v>Rondele</c:v>
                </c:pt>
                <c:pt idx="1344">
                  <c:v>All Others</c:v>
                </c:pt>
                <c:pt idx="1345">
                  <c:v>All Others</c:v>
                </c:pt>
                <c:pt idx="1346">
                  <c:v>Private Lab</c:v>
                </c:pt>
                <c:pt idx="1347">
                  <c:v>All Others</c:v>
                </c:pt>
                <c:pt idx="1348">
                  <c:v>All Others</c:v>
                </c:pt>
                <c:pt idx="1349">
                  <c:v>All Others</c:v>
                </c:pt>
                <c:pt idx="1350">
                  <c:v>All Others</c:v>
                </c:pt>
                <c:pt idx="1351">
                  <c:v>All Others</c:v>
                </c:pt>
                <c:pt idx="1352">
                  <c:v>All Others</c:v>
                </c:pt>
                <c:pt idx="1353">
                  <c:v>All Others</c:v>
                </c:pt>
                <c:pt idx="1354">
                  <c:v>All Others</c:v>
                </c:pt>
                <c:pt idx="1355">
                  <c:v>All Others</c:v>
                </c:pt>
                <c:pt idx="1356">
                  <c:v>All Others</c:v>
                </c:pt>
                <c:pt idx="1357">
                  <c:v>All Others</c:v>
                </c:pt>
                <c:pt idx="1358">
                  <c:v>All Others</c:v>
                </c:pt>
                <c:pt idx="1359">
                  <c:v>All Others</c:v>
                </c:pt>
                <c:pt idx="1360">
                  <c:v>All Others</c:v>
                </c:pt>
                <c:pt idx="1361">
                  <c:v>All Others</c:v>
                </c:pt>
                <c:pt idx="1362">
                  <c:v>All Others</c:v>
                </c:pt>
                <c:pt idx="1363">
                  <c:v>All Others</c:v>
                </c:pt>
                <c:pt idx="1364">
                  <c:v>All Others</c:v>
                </c:pt>
                <c:pt idx="1365">
                  <c:v>Lactalis: A</c:v>
                </c:pt>
                <c:pt idx="1366">
                  <c:v>All Others</c:v>
                </c:pt>
                <c:pt idx="1367">
                  <c:v>All Others</c:v>
                </c:pt>
                <c:pt idx="1368">
                  <c:v>All Others</c:v>
                </c:pt>
                <c:pt idx="1369">
                  <c:v>All Others</c:v>
                </c:pt>
                <c:pt idx="1370">
                  <c:v>All Others</c:v>
                </c:pt>
                <c:pt idx="1371">
                  <c:v>All Others</c:v>
                </c:pt>
                <c:pt idx="1372">
                  <c:v>All Others</c:v>
                </c:pt>
                <c:pt idx="1373">
                  <c:v>All Others</c:v>
                </c:pt>
                <c:pt idx="1374">
                  <c:v>Rondele</c:v>
                </c:pt>
                <c:pt idx="1375">
                  <c:v>All Others</c:v>
                </c:pt>
                <c:pt idx="1376">
                  <c:v>All Others</c:v>
                </c:pt>
                <c:pt idx="1377">
                  <c:v>All Others</c:v>
                </c:pt>
                <c:pt idx="1378">
                  <c:v>All Others</c:v>
                </c:pt>
                <c:pt idx="1379">
                  <c:v>All Others</c:v>
                </c:pt>
                <c:pt idx="1380">
                  <c:v>All Others</c:v>
                </c:pt>
                <c:pt idx="1381">
                  <c:v>All Others</c:v>
                </c:pt>
                <c:pt idx="1382">
                  <c:v>All Others</c:v>
                </c:pt>
                <c:pt idx="1383">
                  <c:v>All Others</c:v>
                </c:pt>
                <c:pt idx="1384">
                  <c:v>Lactalis: A</c:v>
                </c:pt>
                <c:pt idx="1385">
                  <c:v>All Others</c:v>
                </c:pt>
                <c:pt idx="1386">
                  <c:v>All Others</c:v>
                </c:pt>
                <c:pt idx="1387">
                  <c:v>All Others</c:v>
                </c:pt>
                <c:pt idx="1388">
                  <c:v>All Others</c:v>
                </c:pt>
                <c:pt idx="1389">
                  <c:v>All Others</c:v>
                </c:pt>
                <c:pt idx="1390">
                  <c:v>Private Lab</c:v>
                </c:pt>
                <c:pt idx="1391">
                  <c:v>Savencia: A</c:v>
                </c:pt>
                <c:pt idx="1392">
                  <c:v>Eurial Autr</c:v>
                </c:pt>
                <c:pt idx="1393">
                  <c:v>Lactalis: A</c:v>
                </c:pt>
                <c:pt idx="1394">
                  <c:v>All Others</c:v>
                </c:pt>
                <c:pt idx="1395">
                  <c:v>All Others</c:v>
                </c:pt>
                <c:pt idx="1396">
                  <c:v>All Others</c:v>
                </c:pt>
                <c:pt idx="1397">
                  <c:v>All Others</c:v>
                </c:pt>
                <c:pt idx="1398">
                  <c:v>All Others</c:v>
                </c:pt>
                <c:pt idx="1399">
                  <c:v>Savencia: A</c:v>
                </c:pt>
                <c:pt idx="1400">
                  <c:v>All Others</c:v>
                </c:pt>
                <c:pt idx="1401">
                  <c:v>All Others</c:v>
                </c:pt>
                <c:pt idx="1402">
                  <c:v>All Others</c:v>
                </c:pt>
                <c:pt idx="1403">
                  <c:v>All Others</c:v>
                </c:pt>
                <c:pt idx="1404">
                  <c:v>All Others</c:v>
                </c:pt>
                <c:pt idx="1405">
                  <c:v>All Others</c:v>
                </c:pt>
                <c:pt idx="1406">
                  <c:v>All Others</c:v>
                </c:pt>
                <c:pt idx="1407">
                  <c:v>All Others</c:v>
                </c:pt>
                <c:pt idx="1408">
                  <c:v>All Others</c:v>
                </c:pt>
                <c:pt idx="1409">
                  <c:v>All Others</c:v>
                </c:pt>
                <c:pt idx="1410">
                  <c:v>All Others</c:v>
                </c:pt>
                <c:pt idx="1411">
                  <c:v>All Others</c:v>
                </c:pt>
                <c:pt idx="1412">
                  <c:v>All Others</c:v>
                </c:pt>
                <c:pt idx="1413">
                  <c:v>All Others</c:v>
                </c:pt>
                <c:pt idx="1414">
                  <c:v>Private Lab</c:v>
                </c:pt>
                <c:pt idx="1415">
                  <c:v>All Others</c:v>
                </c:pt>
                <c:pt idx="1416">
                  <c:v>All Others</c:v>
                </c:pt>
                <c:pt idx="1417">
                  <c:v>All Others</c:v>
                </c:pt>
                <c:pt idx="1418">
                  <c:v>All Others</c:v>
                </c:pt>
                <c:pt idx="1419">
                  <c:v>All Others</c:v>
                </c:pt>
                <c:pt idx="1420">
                  <c:v>All Others</c:v>
                </c:pt>
                <c:pt idx="1421">
                  <c:v>Private Lab</c:v>
                </c:pt>
                <c:pt idx="1422">
                  <c:v>Eurial Autr</c:v>
                </c:pt>
                <c:pt idx="1423">
                  <c:v>All Others</c:v>
                </c:pt>
                <c:pt idx="1424">
                  <c:v>All Others</c:v>
                </c:pt>
                <c:pt idx="1425">
                  <c:v>All Others</c:v>
                </c:pt>
                <c:pt idx="1426">
                  <c:v>All Others</c:v>
                </c:pt>
                <c:pt idx="1427">
                  <c:v>All Others</c:v>
                </c:pt>
                <c:pt idx="1428">
                  <c:v>All Others</c:v>
                </c:pt>
                <c:pt idx="1429">
                  <c:v>All Others</c:v>
                </c:pt>
                <c:pt idx="1430">
                  <c:v>All Others</c:v>
                </c:pt>
                <c:pt idx="1431">
                  <c:v>All Others</c:v>
                </c:pt>
                <c:pt idx="1432">
                  <c:v>All Others</c:v>
                </c:pt>
                <c:pt idx="1433">
                  <c:v>All Others</c:v>
                </c:pt>
                <c:pt idx="1434">
                  <c:v>All Others</c:v>
                </c:pt>
                <c:pt idx="1435">
                  <c:v>All Others</c:v>
                </c:pt>
                <c:pt idx="1436">
                  <c:v>All Others</c:v>
                </c:pt>
                <c:pt idx="1437">
                  <c:v>All Others</c:v>
                </c:pt>
                <c:pt idx="1438">
                  <c:v>All Others</c:v>
                </c:pt>
                <c:pt idx="1439">
                  <c:v>All Others</c:v>
                </c:pt>
                <c:pt idx="1440">
                  <c:v>Galbani</c:v>
                </c:pt>
                <c:pt idx="1441">
                  <c:v>All Others</c:v>
                </c:pt>
                <c:pt idx="1442">
                  <c:v>All Others</c:v>
                </c:pt>
                <c:pt idx="1443">
                  <c:v>All Others</c:v>
                </c:pt>
                <c:pt idx="1444">
                  <c:v>All Others</c:v>
                </c:pt>
                <c:pt idx="1445">
                  <c:v>All Others</c:v>
                </c:pt>
                <c:pt idx="1446">
                  <c:v>All Others</c:v>
                </c:pt>
                <c:pt idx="1447">
                  <c:v>All Others</c:v>
                </c:pt>
                <c:pt idx="1448">
                  <c:v>All Others</c:v>
                </c:pt>
                <c:pt idx="1449">
                  <c:v>All Others</c:v>
                </c:pt>
                <c:pt idx="1450">
                  <c:v>All Others</c:v>
                </c:pt>
                <c:pt idx="1451">
                  <c:v>All Others</c:v>
                </c:pt>
                <c:pt idx="1452">
                  <c:v>All Others</c:v>
                </c:pt>
                <c:pt idx="1453">
                  <c:v>All Others</c:v>
                </c:pt>
                <c:pt idx="1454">
                  <c:v>All Others</c:v>
                </c:pt>
                <c:pt idx="1455">
                  <c:v>All Others</c:v>
                </c:pt>
                <c:pt idx="1456">
                  <c:v>All Others</c:v>
                </c:pt>
                <c:pt idx="1457">
                  <c:v>All Others</c:v>
                </c:pt>
                <c:pt idx="1458">
                  <c:v>All Others</c:v>
                </c:pt>
                <c:pt idx="1459">
                  <c:v>All Others</c:v>
                </c:pt>
                <c:pt idx="1460">
                  <c:v>All Others</c:v>
                </c:pt>
                <c:pt idx="1461">
                  <c:v>Private Lab</c:v>
                </c:pt>
                <c:pt idx="1462">
                  <c:v>All Others</c:v>
                </c:pt>
                <c:pt idx="1463">
                  <c:v>All Others</c:v>
                </c:pt>
                <c:pt idx="1464">
                  <c:v>All Others</c:v>
                </c:pt>
                <c:pt idx="1465">
                  <c:v>Eurial Autr</c:v>
                </c:pt>
                <c:pt idx="1466">
                  <c:v>All Others</c:v>
                </c:pt>
                <c:pt idx="1467">
                  <c:v>All Others</c:v>
                </c:pt>
                <c:pt idx="1468">
                  <c:v>All Others</c:v>
                </c:pt>
                <c:pt idx="1469">
                  <c:v>All Others</c:v>
                </c:pt>
                <c:pt idx="1470">
                  <c:v>All Others</c:v>
                </c:pt>
                <c:pt idx="1471">
                  <c:v>Private Lab</c:v>
                </c:pt>
                <c:pt idx="1472">
                  <c:v>All Others</c:v>
                </c:pt>
                <c:pt idx="1473">
                  <c:v>All Others</c:v>
                </c:pt>
                <c:pt idx="1474">
                  <c:v>All Others</c:v>
                </c:pt>
                <c:pt idx="1475">
                  <c:v>All Others</c:v>
                </c:pt>
                <c:pt idx="1476">
                  <c:v>All Others</c:v>
                </c:pt>
                <c:pt idx="1477">
                  <c:v>All Others</c:v>
                </c:pt>
                <c:pt idx="1478">
                  <c:v>All Others</c:v>
                </c:pt>
                <c:pt idx="1479">
                  <c:v>All Others</c:v>
                </c:pt>
                <c:pt idx="1480">
                  <c:v>All Others</c:v>
                </c:pt>
                <c:pt idx="1481">
                  <c:v>All Others</c:v>
                </c:pt>
                <c:pt idx="1482">
                  <c:v>Private Lab</c:v>
                </c:pt>
                <c:pt idx="1483">
                  <c:v>All Others</c:v>
                </c:pt>
                <c:pt idx="1484">
                  <c:v>All Others</c:v>
                </c:pt>
                <c:pt idx="1485">
                  <c:v>All Others</c:v>
                </c:pt>
                <c:pt idx="1486">
                  <c:v>All Others</c:v>
                </c:pt>
                <c:pt idx="1487">
                  <c:v>All Others</c:v>
                </c:pt>
                <c:pt idx="1488">
                  <c:v>All Others</c:v>
                </c:pt>
                <c:pt idx="1489">
                  <c:v>Savencia: A</c:v>
                </c:pt>
                <c:pt idx="1490">
                  <c:v>All Others</c:v>
                </c:pt>
                <c:pt idx="1491">
                  <c:v>All Others</c:v>
                </c:pt>
                <c:pt idx="1492">
                  <c:v>All Others</c:v>
                </c:pt>
                <c:pt idx="1493">
                  <c:v>All Others</c:v>
                </c:pt>
                <c:pt idx="1494">
                  <c:v>Limiano</c:v>
                </c:pt>
                <c:pt idx="1495">
                  <c:v>All Others</c:v>
                </c:pt>
                <c:pt idx="1496">
                  <c:v>All Others</c:v>
                </c:pt>
                <c:pt idx="1497">
                  <c:v>Private Lab</c:v>
                </c:pt>
                <c:pt idx="1498">
                  <c:v>All Others</c:v>
                </c:pt>
                <c:pt idx="1499">
                  <c:v>Private Lab</c:v>
                </c:pt>
                <c:pt idx="1500">
                  <c:v>All Others</c:v>
                </c:pt>
                <c:pt idx="1501">
                  <c:v>All Others</c:v>
                </c:pt>
                <c:pt idx="1502">
                  <c:v>All Others</c:v>
                </c:pt>
                <c:pt idx="1503">
                  <c:v>All Others</c:v>
                </c:pt>
                <c:pt idx="1504">
                  <c:v>All Others</c:v>
                </c:pt>
                <c:pt idx="1505">
                  <c:v>All Others</c:v>
                </c:pt>
                <c:pt idx="1506">
                  <c:v>All Others</c:v>
                </c:pt>
                <c:pt idx="1507">
                  <c:v>All Others</c:v>
                </c:pt>
                <c:pt idx="1508">
                  <c:v>All Others</c:v>
                </c:pt>
                <c:pt idx="1509">
                  <c:v>All Others</c:v>
                </c:pt>
                <c:pt idx="1510">
                  <c:v>All Others</c:v>
                </c:pt>
                <c:pt idx="1511">
                  <c:v>Salakis</c:v>
                </c:pt>
                <c:pt idx="1512">
                  <c:v>All Others</c:v>
                </c:pt>
                <c:pt idx="1513">
                  <c:v>Societe</c:v>
                </c:pt>
                <c:pt idx="1514">
                  <c:v>All Others</c:v>
                </c:pt>
                <c:pt idx="1515">
                  <c:v>All Others</c:v>
                </c:pt>
                <c:pt idx="1516">
                  <c:v>All Others</c:v>
                </c:pt>
                <c:pt idx="1517">
                  <c:v>All Others</c:v>
                </c:pt>
                <c:pt idx="1518">
                  <c:v>All Others</c:v>
                </c:pt>
                <c:pt idx="1519">
                  <c:v>All Others</c:v>
                </c:pt>
                <c:pt idx="1520">
                  <c:v>All Others</c:v>
                </c:pt>
                <c:pt idx="1521">
                  <c:v>All Others</c:v>
                </c:pt>
                <c:pt idx="1522">
                  <c:v>All Others</c:v>
                </c:pt>
                <c:pt idx="1523">
                  <c:v>All Others</c:v>
                </c:pt>
                <c:pt idx="1524">
                  <c:v>All Others</c:v>
                </c:pt>
                <c:pt idx="1525">
                  <c:v>All Others</c:v>
                </c:pt>
                <c:pt idx="1526">
                  <c:v>All Others</c:v>
                </c:pt>
                <c:pt idx="1527">
                  <c:v>All Others</c:v>
                </c:pt>
                <c:pt idx="1528">
                  <c:v>All Others</c:v>
                </c:pt>
                <c:pt idx="1529">
                  <c:v>All Others</c:v>
                </c:pt>
                <c:pt idx="1530">
                  <c:v>All Others</c:v>
                </c:pt>
                <c:pt idx="1531">
                  <c:v>All Others</c:v>
                </c:pt>
                <c:pt idx="1532">
                  <c:v>All Others</c:v>
                </c:pt>
                <c:pt idx="1533">
                  <c:v>All Others</c:v>
                </c:pt>
                <c:pt idx="1534">
                  <c:v>All Others</c:v>
                </c:pt>
                <c:pt idx="1535">
                  <c:v>Private Lab</c:v>
                </c:pt>
                <c:pt idx="1536">
                  <c:v>All Others</c:v>
                </c:pt>
                <c:pt idx="1537">
                  <c:v>All Others</c:v>
                </c:pt>
                <c:pt idx="1538">
                  <c:v>All Others</c:v>
                </c:pt>
                <c:pt idx="1539">
                  <c:v>All Others</c:v>
                </c:pt>
                <c:pt idx="1540">
                  <c:v>All Others</c:v>
                </c:pt>
                <c:pt idx="1541">
                  <c:v>All Others</c:v>
                </c:pt>
                <c:pt idx="1542">
                  <c:v>Private Lab</c:v>
                </c:pt>
                <c:pt idx="1543">
                  <c:v>All Others</c:v>
                </c:pt>
                <c:pt idx="1544">
                  <c:v>All Others</c:v>
                </c:pt>
                <c:pt idx="1545">
                  <c:v>All Others</c:v>
                </c:pt>
                <c:pt idx="1546">
                  <c:v>All Others</c:v>
                </c:pt>
                <c:pt idx="1547">
                  <c:v>All Others</c:v>
                </c:pt>
                <c:pt idx="1548">
                  <c:v>All Others</c:v>
                </c:pt>
                <c:pt idx="1549">
                  <c:v>All Others</c:v>
                </c:pt>
                <c:pt idx="1550">
                  <c:v>All Others</c:v>
                </c:pt>
                <c:pt idx="1551">
                  <c:v>All Others</c:v>
                </c:pt>
                <c:pt idx="1552">
                  <c:v>All Others</c:v>
                </c:pt>
                <c:pt idx="1553">
                  <c:v>All Others</c:v>
                </c:pt>
                <c:pt idx="1554">
                  <c:v>All Others</c:v>
                </c:pt>
                <c:pt idx="1555">
                  <c:v>All Others</c:v>
                </c:pt>
                <c:pt idx="1556">
                  <c:v>All Others</c:v>
                </c:pt>
                <c:pt idx="1557">
                  <c:v>All Others</c:v>
                </c:pt>
                <c:pt idx="1558">
                  <c:v>All Others</c:v>
                </c:pt>
                <c:pt idx="1559">
                  <c:v>All Others</c:v>
                </c:pt>
                <c:pt idx="1560">
                  <c:v>All Others</c:v>
                </c:pt>
                <c:pt idx="1561">
                  <c:v>All Others</c:v>
                </c:pt>
                <c:pt idx="1562">
                  <c:v>All Others</c:v>
                </c:pt>
                <c:pt idx="1563">
                  <c:v>All Others</c:v>
                </c:pt>
                <c:pt idx="1564">
                  <c:v>All Others</c:v>
                </c:pt>
                <c:pt idx="1565">
                  <c:v>All Others</c:v>
                </c:pt>
                <c:pt idx="1566">
                  <c:v>All Others</c:v>
                </c:pt>
                <c:pt idx="1567">
                  <c:v>All Others</c:v>
                </c:pt>
                <c:pt idx="1568">
                  <c:v>All Others</c:v>
                </c:pt>
                <c:pt idx="1569">
                  <c:v>All Others</c:v>
                </c:pt>
                <c:pt idx="1570">
                  <c:v>All Others</c:v>
                </c:pt>
                <c:pt idx="1571">
                  <c:v>All Others</c:v>
                </c:pt>
                <c:pt idx="1572">
                  <c:v>All Others</c:v>
                </c:pt>
                <c:pt idx="1573">
                  <c:v>All Others</c:v>
                </c:pt>
                <c:pt idx="1574">
                  <c:v>All Others</c:v>
                </c:pt>
                <c:pt idx="1575">
                  <c:v>All Others</c:v>
                </c:pt>
                <c:pt idx="1576">
                  <c:v>All Others</c:v>
                </c:pt>
                <c:pt idx="1577">
                  <c:v>All Others</c:v>
                </c:pt>
                <c:pt idx="1578">
                  <c:v>All Others</c:v>
                </c:pt>
                <c:pt idx="1579">
                  <c:v>All Others</c:v>
                </c:pt>
                <c:pt idx="1580">
                  <c:v>All Others</c:v>
                </c:pt>
                <c:pt idx="1581">
                  <c:v>All Others</c:v>
                </c:pt>
                <c:pt idx="1582">
                  <c:v>All Others</c:v>
                </c:pt>
                <c:pt idx="1583">
                  <c:v>All Others</c:v>
                </c:pt>
                <c:pt idx="1584">
                  <c:v>All Others</c:v>
                </c:pt>
                <c:pt idx="1585">
                  <c:v>All Others</c:v>
                </c:pt>
                <c:pt idx="1586">
                  <c:v>All Others</c:v>
                </c:pt>
                <c:pt idx="1587">
                  <c:v>All Others</c:v>
                </c:pt>
                <c:pt idx="1588">
                  <c:v>All Others</c:v>
                </c:pt>
                <c:pt idx="1589">
                  <c:v>All Others</c:v>
                </c:pt>
                <c:pt idx="1590">
                  <c:v>All Others</c:v>
                </c:pt>
                <c:pt idx="1591">
                  <c:v>All Others</c:v>
                </c:pt>
                <c:pt idx="1592">
                  <c:v>Private Lab</c:v>
                </c:pt>
                <c:pt idx="1593">
                  <c:v>All Others</c:v>
                </c:pt>
                <c:pt idx="1594">
                  <c:v>All Others</c:v>
                </c:pt>
                <c:pt idx="1595">
                  <c:v>All Others</c:v>
                </c:pt>
                <c:pt idx="1596">
                  <c:v>All Others</c:v>
                </c:pt>
                <c:pt idx="1597">
                  <c:v>All Others</c:v>
                </c:pt>
                <c:pt idx="1598">
                  <c:v>All Others</c:v>
                </c:pt>
                <c:pt idx="1599">
                  <c:v>All Others</c:v>
                </c:pt>
                <c:pt idx="1600">
                  <c:v>All Others</c:v>
                </c:pt>
                <c:pt idx="1601">
                  <c:v>All Others</c:v>
                </c:pt>
                <c:pt idx="1602">
                  <c:v>All Others</c:v>
                </c:pt>
                <c:pt idx="1603">
                  <c:v>All Others</c:v>
                </c:pt>
                <c:pt idx="1604">
                  <c:v>Private Lab</c:v>
                </c:pt>
                <c:pt idx="1605">
                  <c:v>All Others</c:v>
                </c:pt>
                <c:pt idx="1606">
                  <c:v>All Others</c:v>
                </c:pt>
                <c:pt idx="1607">
                  <c:v>All Others</c:v>
                </c:pt>
                <c:pt idx="1608">
                  <c:v>Private Lab</c:v>
                </c:pt>
                <c:pt idx="1609">
                  <c:v>All Others</c:v>
                </c:pt>
                <c:pt idx="1610">
                  <c:v>All Others</c:v>
                </c:pt>
                <c:pt idx="1611">
                  <c:v>All Others</c:v>
                </c:pt>
                <c:pt idx="1612">
                  <c:v>All Others</c:v>
                </c:pt>
                <c:pt idx="1613">
                  <c:v>All Others</c:v>
                </c:pt>
                <c:pt idx="1614">
                  <c:v>Milleret: A</c:v>
                </c:pt>
                <c:pt idx="1615">
                  <c:v>All Others</c:v>
                </c:pt>
                <c:pt idx="1616">
                  <c:v>All Others</c:v>
                </c:pt>
                <c:pt idx="1617">
                  <c:v>All Others</c:v>
                </c:pt>
                <c:pt idx="1618">
                  <c:v>All Others</c:v>
                </c:pt>
                <c:pt idx="1619">
                  <c:v>Private Lab</c:v>
                </c:pt>
                <c:pt idx="1620">
                  <c:v>All Others</c:v>
                </c:pt>
                <c:pt idx="1621">
                  <c:v>All Others</c:v>
                </c:pt>
                <c:pt idx="1622">
                  <c:v>All Others</c:v>
                </c:pt>
                <c:pt idx="1623">
                  <c:v>All Others</c:v>
                </c:pt>
                <c:pt idx="1624">
                  <c:v>All Others</c:v>
                </c:pt>
                <c:pt idx="1625">
                  <c:v>All Others</c:v>
                </c:pt>
                <c:pt idx="1626">
                  <c:v>All Others</c:v>
                </c:pt>
                <c:pt idx="1627">
                  <c:v>All Others</c:v>
                </c:pt>
                <c:pt idx="1628">
                  <c:v>All Others</c:v>
                </c:pt>
                <c:pt idx="1629">
                  <c:v>All Others</c:v>
                </c:pt>
                <c:pt idx="1630">
                  <c:v>All Others</c:v>
                </c:pt>
                <c:pt idx="1631">
                  <c:v>All Others</c:v>
                </c:pt>
                <c:pt idx="1632">
                  <c:v>All Others</c:v>
                </c:pt>
                <c:pt idx="1633">
                  <c:v>Private Lab</c:v>
                </c:pt>
                <c:pt idx="1634">
                  <c:v>All Others</c:v>
                </c:pt>
                <c:pt idx="1635">
                  <c:v>All Others</c:v>
                </c:pt>
                <c:pt idx="1636">
                  <c:v>All Others</c:v>
                </c:pt>
                <c:pt idx="1637">
                  <c:v>All Others</c:v>
                </c:pt>
                <c:pt idx="1638">
                  <c:v>All Others</c:v>
                </c:pt>
                <c:pt idx="1639">
                  <c:v>All Others</c:v>
                </c:pt>
                <c:pt idx="1640">
                  <c:v>All Others</c:v>
                </c:pt>
                <c:pt idx="1641">
                  <c:v>Private Lab</c:v>
                </c:pt>
                <c:pt idx="1642">
                  <c:v>All Others</c:v>
                </c:pt>
                <c:pt idx="1643">
                  <c:v>All Others</c:v>
                </c:pt>
                <c:pt idx="1644">
                  <c:v>All Others</c:v>
                </c:pt>
                <c:pt idx="1645">
                  <c:v>Private Lab</c:v>
                </c:pt>
                <c:pt idx="1646">
                  <c:v>All Others</c:v>
                </c:pt>
                <c:pt idx="1647">
                  <c:v>All Others</c:v>
                </c:pt>
                <c:pt idx="1648">
                  <c:v>All Others</c:v>
                </c:pt>
                <c:pt idx="1649">
                  <c:v>All Others</c:v>
                </c:pt>
                <c:pt idx="1650">
                  <c:v>Lactalis: A</c:v>
                </c:pt>
                <c:pt idx="1651">
                  <c:v>Private Lab</c:v>
                </c:pt>
                <c:pt idx="1652">
                  <c:v>All Others</c:v>
                </c:pt>
                <c:pt idx="1653">
                  <c:v>All Others</c:v>
                </c:pt>
                <c:pt idx="1654">
                  <c:v>Private Lab</c:v>
                </c:pt>
                <c:pt idx="1655">
                  <c:v>All Others</c:v>
                </c:pt>
                <c:pt idx="1656">
                  <c:v>All Others</c:v>
                </c:pt>
                <c:pt idx="1657">
                  <c:v>All Others</c:v>
                </c:pt>
                <c:pt idx="1658">
                  <c:v>All Others</c:v>
                </c:pt>
                <c:pt idx="1659">
                  <c:v>All Others</c:v>
                </c:pt>
                <c:pt idx="1660">
                  <c:v>All Others</c:v>
                </c:pt>
                <c:pt idx="1661">
                  <c:v>All Others</c:v>
                </c:pt>
                <c:pt idx="1662">
                  <c:v>All Others</c:v>
                </c:pt>
                <c:pt idx="1663">
                  <c:v>All Others</c:v>
                </c:pt>
                <c:pt idx="1664">
                  <c:v>All Others</c:v>
                </c:pt>
                <c:pt idx="1665">
                  <c:v>All Others</c:v>
                </c:pt>
                <c:pt idx="1666">
                  <c:v>Ficello</c:v>
                </c:pt>
                <c:pt idx="1667">
                  <c:v>Private Lab</c:v>
                </c:pt>
                <c:pt idx="1668">
                  <c:v>All Others</c:v>
                </c:pt>
                <c:pt idx="1669">
                  <c:v>Mini Babybe</c:v>
                </c:pt>
                <c:pt idx="1670">
                  <c:v>All Others</c:v>
                </c:pt>
                <c:pt idx="1671">
                  <c:v>All Others</c:v>
                </c:pt>
                <c:pt idx="1672">
                  <c:v>All Others</c:v>
                </c:pt>
                <c:pt idx="1673">
                  <c:v>All Others</c:v>
                </c:pt>
                <c:pt idx="1674">
                  <c:v>All Others</c:v>
                </c:pt>
                <c:pt idx="1675">
                  <c:v>Savencia: A</c:v>
                </c:pt>
                <c:pt idx="1676">
                  <c:v>All Others</c:v>
                </c:pt>
                <c:pt idx="1677">
                  <c:v>All Others</c:v>
                </c:pt>
                <c:pt idx="1678">
                  <c:v>All Others</c:v>
                </c:pt>
                <c:pt idx="1679">
                  <c:v>All Others</c:v>
                </c:pt>
              </c:strCache>
            </c:strRef>
          </c:cat>
          <c:val>
            <c:numRef>
              <c:f>Sheet1!$B$2:$B$1681</c:f>
              <c:numCache>
                <c:formatCode>General</c:formatCode>
                <c:ptCount val="1680"/>
                <c:pt idx="0">
                  <c:v>0.90900000000000003</c:v>
                </c:pt>
                <c:pt idx="1">
                  <c:v>0.375</c:v>
                </c:pt>
                <c:pt idx="2">
                  <c:v>0.82699999999999996</c:v>
                </c:pt>
                <c:pt idx="3">
                  <c:v>0.96399999999999997</c:v>
                </c:pt>
                <c:pt idx="4">
                  <c:v>0.98799999999999999</c:v>
                </c:pt>
                <c:pt idx="5">
                  <c:v>0.98799999999999999</c:v>
                </c:pt>
                <c:pt idx="6">
                  <c:v>0.99199999999999999</c:v>
                </c:pt>
                <c:pt idx="7">
                  <c:v>1</c:v>
                </c:pt>
                <c:pt idx="8">
                  <c:v>0.86799999999999999</c:v>
                </c:pt>
                <c:pt idx="9">
                  <c:v>0.99</c:v>
                </c:pt>
                <c:pt idx="10">
                  <c:v>0.97699999999999998</c:v>
                </c:pt>
                <c:pt idx="11">
                  <c:v>0.95299999999999996</c:v>
                </c:pt>
                <c:pt idx="12">
                  <c:v>0.99</c:v>
                </c:pt>
                <c:pt idx="13">
                  <c:v>0.91400000000000003</c:v>
                </c:pt>
                <c:pt idx="14">
                  <c:v>0.99099999999999999</c:v>
                </c:pt>
                <c:pt idx="15">
                  <c:v>0.89800000000000002</c:v>
                </c:pt>
                <c:pt idx="16">
                  <c:v>0.98099999999999998</c:v>
                </c:pt>
                <c:pt idx="17">
                  <c:v>0.99199999999999999</c:v>
                </c:pt>
                <c:pt idx="18">
                  <c:v>0.77800000000000002</c:v>
                </c:pt>
                <c:pt idx="19">
                  <c:v>0.97399999999999998</c:v>
                </c:pt>
                <c:pt idx="20">
                  <c:v>0.92400000000000004</c:v>
                </c:pt>
                <c:pt idx="21">
                  <c:v>0.90300000000000002</c:v>
                </c:pt>
                <c:pt idx="22">
                  <c:v>0.94</c:v>
                </c:pt>
                <c:pt idx="23">
                  <c:v>0.85199999999999998</c:v>
                </c:pt>
                <c:pt idx="24">
                  <c:v>0.97699999999999998</c:v>
                </c:pt>
                <c:pt idx="25">
                  <c:v>0.85899999999999999</c:v>
                </c:pt>
                <c:pt idx="26">
                  <c:v>0.99</c:v>
                </c:pt>
                <c:pt idx="27">
                  <c:v>0.95899999999999996</c:v>
                </c:pt>
                <c:pt idx="28">
                  <c:v>0.83499999999999996</c:v>
                </c:pt>
                <c:pt idx="29">
                  <c:v>0.998</c:v>
                </c:pt>
                <c:pt idx="30">
                  <c:v>0.83</c:v>
                </c:pt>
                <c:pt idx="31">
                  <c:v>0.83699999999999997</c:v>
                </c:pt>
                <c:pt idx="32">
                  <c:v>0.98099999999999998</c:v>
                </c:pt>
                <c:pt idx="33">
                  <c:v>0.995</c:v>
                </c:pt>
                <c:pt idx="34">
                  <c:v>0.83399999999999996</c:v>
                </c:pt>
                <c:pt idx="35">
                  <c:v>0.874</c:v>
                </c:pt>
                <c:pt idx="36">
                  <c:v>0.92100000000000004</c:v>
                </c:pt>
                <c:pt idx="37">
                  <c:v>0.82499999999999996</c:v>
                </c:pt>
                <c:pt idx="38">
                  <c:v>0.96799999999999997</c:v>
                </c:pt>
                <c:pt idx="39">
                  <c:v>0.95799999999999996</c:v>
                </c:pt>
                <c:pt idx="40">
                  <c:v>0.91500000000000004</c:v>
                </c:pt>
                <c:pt idx="41">
                  <c:v>0.84</c:v>
                </c:pt>
                <c:pt idx="42">
                  <c:v>0.94899999999999995</c:v>
                </c:pt>
                <c:pt idx="43">
                  <c:v>0.98</c:v>
                </c:pt>
                <c:pt idx="44">
                  <c:v>0.98</c:v>
                </c:pt>
                <c:pt idx="45">
                  <c:v>0.91400000000000003</c:v>
                </c:pt>
                <c:pt idx="46">
                  <c:v>0.79400000000000004</c:v>
                </c:pt>
                <c:pt idx="47">
                  <c:v>0.99</c:v>
                </c:pt>
                <c:pt idx="48">
                  <c:v>0.94599999999999995</c:v>
                </c:pt>
                <c:pt idx="49">
                  <c:v>0.82899999999999996</c:v>
                </c:pt>
                <c:pt idx="50">
                  <c:v>0.90300000000000002</c:v>
                </c:pt>
                <c:pt idx="51">
                  <c:v>0.78600000000000003</c:v>
                </c:pt>
                <c:pt idx="52">
                  <c:v>0.91</c:v>
                </c:pt>
                <c:pt idx="53">
                  <c:v>0.82499999999999996</c:v>
                </c:pt>
                <c:pt idx="54">
                  <c:v>0.84599999999999997</c:v>
                </c:pt>
                <c:pt idx="55">
                  <c:v>0.80700000000000005</c:v>
                </c:pt>
                <c:pt idx="56">
                  <c:v>0.90200000000000002</c:v>
                </c:pt>
                <c:pt idx="57">
                  <c:v>0.82499999999999996</c:v>
                </c:pt>
                <c:pt idx="58">
                  <c:v>0.92300000000000004</c:v>
                </c:pt>
                <c:pt idx="59">
                  <c:v>0.92800000000000005</c:v>
                </c:pt>
                <c:pt idx="60">
                  <c:v>0.94099999999999995</c:v>
                </c:pt>
                <c:pt idx="61">
                  <c:v>0.92</c:v>
                </c:pt>
                <c:pt idx="62">
                  <c:v>0.97</c:v>
                </c:pt>
                <c:pt idx="63">
                  <c:v>0.85899999999999999</c:v>
                </c:pt>
                <c:pt idx="64">
                  <c:v>0.80100000000000005</c:v>
                </c:pt>
                <c:pt idx="65">
                  <c:v>0.87</c:v>
                </c:pt>
                <c:pt idx="66">
                  <c:v>0.94399999999999995</c:v>
                </c:pt>
                <c:pt idx="67">
                  <c:v>0.83199999999999996</c:v>
                </c:pt>
                <c:pt idx="68">
                  <c:v>0.85399999999999998</c:v>
                </c:pt>
                <c:pt idx="69">
                  <c:v>0.95599999999999996</c:v>
                </c:pt>
                <c:pt idx="70">
                  <c:v>0.93300000000000005</c:v>
                </c:pt>
                <c:pt idx="71">
                  <c:v>0.997</c:v>
                </c:pt>
                <c:pt idx="72">
                  <c:v>0.879</c:v>
                </c:pt>
                <c:pt idx="73">
                  <c:v>0.90300000000000002</c:v>
                </c:pt>
                <c:pt idx="74">
                  <c:v>0.92800000000000005</c:v>
                </c:pt>
                <c:pt idx="75">
                  <c:v>0.92100000000000004</c:v>
                </c:pt>
                <c:pt idx="76">
                  <c:v>0.81699999999999995</c:v>
                </c:pt>
                <c:pt idx="77">
                  <c:v>0.89500000000000002</c:v>
                </c:pt>
                <c:pt idx="78">
                  <c:v>0.94399999999999995</c:v>
                </c:pt>
                <c:pt idx="79">
                  <c:v>0.82399999999999995</c:v>
                </c:pt>
                <c:pt idx="80">
                  <c:v>0.89400000000000002</c:v>
                </c:pt>
                <c:pt idx="81">
                  <c:v>0.82799999999999996</c:v>
                </c:pt>
                <c:pt idx="82">
                  <c:v>0.93200000000000005</c:v>
                </c:pt>
                <c:pt idx="83">
                  <c:v>0.77100000000000002</c:v>
                </c:pt>
                <c:pt idx="84">
                  <c:v>0.83299999999999996</c:v>
                </c:pt>
                <c:pt idx="85">
                  <c:v>0.85</c:v>
                </c:pt>
                <c:pt idx="86">
                  <c:v>0.96199999999999997</c:v>
                </c:pt>
                <c:pt idx="87">
                  <c:v>0.82799999999999996</c:v>
                </c:pt>
                <c:pt idx="88">
                  <c:v>0.76</c:v>
                </c:pt>
                <c:pt idx="89">
                  <c:v>0.82099999999999995</c:v>
                </c:pt>
                <c:pt idx="90">
                  <c:v>0.89600000000000002</c:v>
                </c:pt>
                <c:pt idx="91">
                  <c:v>0.84799999999999998</c:v>
                </c:pt>
                <c:pt idx="92">
                  <c:v>0.95</c:v>
                </c:pt>
                <c:pt idx="93">
                  <c:v>0.91400000000000003</c:v>
                </c:pt>
                <c:pt idx="94">
                  <c:v>0.73199999999999998</c:v>
                </c:pt>
                <c:pt idx="95">
                  <c:v>0.63100000000000001</c:v>
                </c:pt>
                <c:pt idx="96">
                  <c:v>0.77200000000000002</c:v>
                </c:pt>
                <c:pt idx="97">
                  <c:v>0.90800000000000003</c:v>
                </c:pt>
                <c:pt idx="98">
                  <c:v>0.78200000000000003</c:v>
                </c:pt>
                <c:pt idx="99">
                  <c:v>0.84099999999999997</c:v>
                </c:pt>
                <c:pt idx="100">
                  <c:v>0.83199999999999996</c:v>
                </c:pt>
                <c:pt idx="101">
                  <c:v>0.60399999999999998</c:v>
                </c:pt>
                <c:pt idx="102">
                  <c:v>0.82</c:v>
                </c:pt>
                <c:pt idx="103">
                  <c:v>0.95299999999999996</c:v>
                </c:pt>
                <c:pt idx="104">
                  <c:v>0.88500000000000001</c:v>
                </c:pt>
                <c:pt idx="105">
                  <c:v>0.99299999999999999</c:v>
                </c:pt>
                <c:pt idx="106">
                  <c:v>0.91800000000000004</c:v>
                </c:pt>
                <c:pt idx="107">
                  <c:v>0.89400000000000002</c:v>
                </c:pt>
                <c:pt idx="108">
                  <c:v>0.69399999999999995</c:v>
                </c:pt>
                <c:pt idx="109">
                  <c:v>0.80900000000000005</c:v>
                </c:pt>
                <c:pt idx="110">
                  <c:v>0.80800000000000005</c:v>
                </c:pt>
                <c:pt idx="111">
                  <c:v>0.73699999999999999</c:v>
                </c:pt>
                <c:pt idx="112">
                  <c:v>0.88500000000000001</c:v>
                </c:pt>
                <c:pt idx="113">
                  <c:v>0.81499999999999995</c:v>
                </c:pt>
                <c:pt idx="114">
                  <c:v>0.84399999999999997</c:v>
                </c:pt>
                <c:pt idx="115">
                  <c:v>0.745</c:v>
                </c:pt>
                <c:pt idx="116">
                  <c:v>0.86799999999999999</c:v>
                </c:pt>
                <c:pt idx="117">
                  <c:v>0.99199999999999999</c:v>
                </c:pt>
                <c:pt idx="118">
                  <c:v>0.82</c:v>
                </c:pt>
                <c:pt idx="119">
                  <c:v>0.72499999999999998</c:v>
                </c:pt>
                <c:pt idx="120">
                  <c:v>0.80500000000000005</c:v>
                </c:pt>
                <c:pt idx="121">
                  <c:v>0.77800000000000002</c:v>
                </c:pt>
                <c:pt idx="122">
                  <c:v>0.79200000000000004</c:v>
                </c:pt>
                <c:pt idx="123">
                  <c:v>0.78</c:v>
                </c:pt>
                <c:pt idx="124">
                  <c:v>0.78600000000000003</c:v>
                </c:pt>
                <c:pt idx="125">
                  <c:v>0.73199999999999998</c:v>
                </c:pt>
                <c:pt idx="126">
                  <c:v>0.75600000000000001</c:v>
                </c:pt>
                <c:pt idx="127">
                  <c:v>0.80800000000000005</c:v>
                </c:pt>
                <c:pt idx="128">
                  <c:v>0.91300000000000003</c:v>
                </c:pt>
                <c:pt idx="129">
                  <c:v>0.76</c:v>
                </c:pt>
                <c:pt idx="130">
                  <c:v>0.75700000000000001</c:v>
                </c:pt>
                <c:pt idx="131">
                  <c:v>0.85899999999999999</c:v>
                </c:pt>
                <c:pt idx="132">
                  <c:v>0.71599999999999997</c:v>
                </c:pt>
                <c:pt idx="133">
                  <c:v>0.80900000000000005</c:v>
                </c:pt>
                <c:pt idx="134">
                  <c:v>0.76</c:v>
                </c:pt>
                <c:pt idx="135">
                  <c:v>0.69599999999999995</c:v>
                </c:pt>
                <c:pt idx="136">
                  <c:v>0.76700000000000002</c:v>
                </c:pt>
                <c:pt idx="137">
                  <c:v>0.78800000000000003</c:v>
                </c:pt>
                <c:pt idx="138">
                  <c:v>0.80100000000000005</c:v>
                </c:pt>
                <c:pt idx="139">
                  <c:v>0.69599999999999995</c:v>
                </c:pt>
                <c:pt idx="140">
                  <c:v>0.85799999999999998</c:v>
                </c:pt>
                <c:pt idx="141">
                  <c:v>0.82099999999999995</c:v>
                </c:pt>
                <c:pt idx="142">
                  <c:v>0.76600000000000001</c:v>
                </c:pt>
                <c:pt idx="143">
                  <c:v>0.86699999999999999</c:v>
                </c:pt>
                <c:pt idx="144">
                  <c:v>0.65100000000000002</c:v>
                </c:pt>
                <c:pt idx="145">
                  <c:v>0.81200000000000006</c:v>
                </c:pt>
                <c:pt idx="146">
                  <c:v>0.55300000000000005</c:v>
                </c:pt>
                <c:pt idx="147">
                  <c:v>0.69699999999999995</c:v>
                </c:pt>
                <c:pt idx="148">
                  <c:v>0.85799999999999998</c:v>
                </c:pt>
                <c:pt idx="149">
                  <c:v>0.443</c:v>
                </c:pt>
                <c:pt idx="150">
                  <c:v>0.96199999999999997</c:v>
                </c:pt>
                <c:pt idx="151">
                  <c:v>0.76700000000000002</c:v>
                </c:pt>
                <c:pt idx="152">
                  <c:v>0.76400000000000001</c:v>
                </c:pt>
                <c:pt idx="153">
                  <c:v>0.82099999999999995</c:v>
                </c:pt>
                <c:pt idx="154">
                  <c:v>0.65600000000000003</c:v>
                </c:pt>
                <c:pt idx="155">
                  <c:v>0.72299999999999998</c:v>
                </c:pt>
                <c:pt idx="156">
                  <c:v>0.81599999999999995</c:v>
                </c:pt>
                <c:pt idx="157">
                  <c:v>0.83</c:v>
                </c:pt>
                <c:pt idx="158">
                  <c:v>0.77100000000000002</c:v>
                </c:pt>
                <c:pt idx="159">
                  <c:v>0.78100000000000003</c:v>
                </c:pt>
                <c:pt idx="160">
                  <c:v>0.89800000000000002</c:v>
                </c:pt>
                <c:pt idx="161">
                  <c:v>0.86599999999999999</c:v>
                </c:pt>
                <c:pt idx="162">
                  <c:v>0.72599999999999998</c:v>
                </c:pt>
                <c:pt idx="163">
                  <c:v>0.65700000000000003</c:v>
                </c:pt>
                <c:pt idx="164">
                  <c:v>0.95799999999999996</c:v>
                </c:pt>
                <c:pt idx="165">
                  <c:v>0.66</c:v>
                </c:pt>
                <c:pt idx="166">
                  <c:v>0.76400000000000001</c:v>
                </c:pt>
                <c:pt idx="167">
                  <c:v>0.78700000000000003</c:v>
                </c:pt>
                <c:pt idx="168">
                  <c:v>0.65100000000000002</c:v>
                </c:pt>
                <c:pt idx="169">
                  <c:v>0.64</c:v>
                </c:pt>
                <c:pt idx="170">
                  <c:v>0.73599999999999999</c:v>
                </c:pt>
                <c:pt idx="171">
                  <c:v>0.76</c:v>
                </c:pt>
                <c:pt idx="172">
                  <c:v>0.70499999999999996</c:v>
                </c:pt>
                <c:pt idx="173">
                  <c:v>2E-3</c:v>
                </c:pt>
                <c:pt idx="174">
                  <c:v>0.65600000000000003</c:v>
                </c:pt>
                <c:pt idx="175">
                  <c:v>0.7</c:v>
                </c:pt>
                <c:pt idx="176">
                  <c:v>0.40300000000000002</c:v>
                </c:pt>
                <c:pt idx="177">
                  <c:v>0.60199999999999998</c:v>
                </c:pt>
                <c:pt idx="178">
                  <c:v>0.751</c:v>
                </c:pt>
                <c:pt idx="179">
                  <c:v>0.86699999999999999</c:v>
                </c:pt>
                <c:pt idx="180">
                  <c:v>0.71199999999999997</c:v>
                </c:pt>
                <c:pt idx="181">
                  <c:v>0.88700000000000001</c:v>
                </c:pt>
                <c:pt idx="182">
                  <c:v>0.623</c:v>
                </c:pt>
                <c:pt idx="183">
                  <c:v>0.68799999999999994</c:v>
                </c:pt>
                <c:pt idx="184">
                  <c:v>0.81599999999999995</c:v>
                </c:pt>
                <c:pt idx="185">
                  <c:v>0.94899999999999995</c:v>
                </c:pt>
                <c:pt idx="186">
                  <c:v>0.68300000000000005</c:v>
                </c:pt>
                <c:pt idx="187">
                  <c:v>0.39600000000000002</c:v>
                </c:pt>
                <c:pt idx="188">
                  <c:v>0.77400000000000002</c:v>
                </c:pt>
                <c:pt idx="189">
                  <c:v>0.66300000000000003</c:v>
                </c:pt>
                <c:pt idx="190">
                  <c:v>0.45600000000000002</c:v>
                </c:pt>
                <c:pt idx="191">
                  <c:v>0.60299999999999998</c:v>
                </c:pt>
                <c:pt idx="192">
                  <c:v>0.60599999999999998</c:v>
                </c:pt>
                <c:pt idx="193">
                  <c:v>0.61899999999999999</c:v>
                </c:pt>
                <c:pt idx="194">
                  <c:v>0.68100000000000005</c:v>
                </c:pt>
                <c:pt idx="195">
                  <c:v>0.78200000000000003</c:v>
                </c:pt>
                <c:pt idx="196">
                  <c:v>0.79300000000000004</c:v>
                </c:pt>
                <c:pt idx="197">
                  <c:v>0.437</c:v>
                </c:pt>
                <c:pt idx="198">
                  <c:v>0.78900000000000003</c:v>
                </c:pt>
                <c:pt idx="199">
                  <c:v>0.77900000000000003</c:v>
                </c:pt>
                <c:pt idx="200">
                  <c:v>0.753</c:v>
                </c:pt>
                <c:pt idx="201">
                  <c:v>0.626</c:v>
                </c:pt>
                <c:pt idx="202">
                  <c:v>0.86</c:v>
                </c:pt>
                <c:pt idx="203">
                  <c:v>0.65200000000000002</c:v>
                </c:pt>
                <c:pt idx="204">
                  <c:v>0.44700000000000001</c:v>
                </c:pt>
                <c:pt idx="205">
                  <c:v>0.65500000000000003</c:v>
                </c:pt>
                <c:pt idx="206">
                  <c:v>0.80500000000000005</c:v>
                </c:pt>
                <c:pt idx="207">
                  <c:v>0.77400000000000002</c:v>
                </c:pt>
                <c:pt idx="208">
                  <c:v>0.66900000000000004</c:v>
                </c:pt>
                <c:pt idx="209">
                  <c:v>0.74</c:v>
                </c:pt>
                <c:pt idx="210">
                  <c:v>0.81200000000000006</c:v>
                </c:pt>
                <c:pt idx="211">
                  <c:v>0.41099999999999998</c:v>
                </c:pt>
                <c:pt idx="212">
                  <c:v>0.63600000000000001</c:v>
                </c:pt>
                <c:pt idx="213">
                  <c:v>0.66500000000000004</c:v>
                </c:pt>
                <c:pt idx="214">
                  <c:v>0.61799999999999999</c:v>
                </c:pt>
                <c:pt idx="215">
                  <c:v>0.69199999999999995</c:v>
                </c:pt>
                <c:pt idx="216">
                  <c:v>0.67200000000000004</c:v>
                </c:pt>
                <c:pt idx="217">
                  <c:v>0.45600000000000002</c:v>
                </c:pt>
                <c:pt idx="218">
                  <c:v>0.45200000000000001</c:v>
                </c:pt>
                <c:pt idx="219">
                  <c:v>0.67900000000000005</c:v>
                </c:pt>
                <c:pt idx="220">
                  <c:v>0.36</c:v>
                </c:pt>
                <c:pt idx="221">
                  <c:v>0.49399999999999999</c:v>
                </c:pt>
                <c:pt idx="222">
                  <c:v>0.55000000000000004</c:v>
                </c:pt>
                <c:pt idx="223">
                  <c:v>0.434</c:v>
                </c:pt>
                <c:pt idx="224">
                  <c:v>0.60799999999999998</c:v>
                </c:pt>
                <c:pt idx="225">
                  <c:v>0.63300000000000001</c:v>
                </c:pt>
                <c:pt idx="226">
                  <c:v>0.65100000000000002</c:v>
                </c:pt>
                <c:pt idx="227">
                  <c:v>0.39300000000000002</c:v>
                </c:pt>
                <c:pt idx="228">
                  <c:v>0.03</c:v>
                </c:pt>
                <c:pt idx="229">
                  <c:v>0.63200000000000001</c:v>
                </c:pt>
                <c:pt idx="230">
                  <c:v>0.77</c:v>
                </c:pt>
                <c:pt idx="231">
                  <c:v>0.66300000000000003</c:v>
                </c:pt>
                <c:pt idx="232">
                  <c:v>0.64300000000000002</c:v>
                </c:pt>
                <c:pt idx="233">
                  <c:v>0.68300000000000005</c:v>
                </c:pt>
                <c:pt idx="234">
                  <c:v>0.61799999999999999</c:v>
                </c:pt>
                <c:pt idx="235">
                  <c:v>0.69799999999999995</c:v>
                </c:pt>
                <c:pt idx="236">
                  <c:v>0.186</c:v>
                </c:pt>
                <c:pt idx="237">
                  <c:v>0.30199999999999999</c:v>
                </c:pt>
                <c:pt idx="238">
                  <c:v>0.63</c:v>
                </c:pt>
                <c:pt idx="239">
                  <c:v>0.79800000000000004</c:v>
                </c:pt>
                <c:pt idx="240">
                  <c:v>0.42499999999999999</c:v>
                </c:pt>
                <c:pt idx="241">
                  <c:v>0.81699999999999995</c:v>
                </c:pt>
                <c:pt idx="242">
                  <c:v>0.434</c:v>
                </c:pt>
                <c:pt idx="243">
                  <c:v>0.69399999999999995</c:v>
                </c:pt>
                <c:pt idx="244">
                  <c:v>0.59399999999999997</c:v>
                </c:pt>
                <c:pt idx="245">
                  <c:v>0.752</c:v>
                </c:pt>
                <c:pt idx="246">
                  <c:v>0.85299999999999998</c:v>
                </c:pt>
                <c:pt idx="247">
                  <c:v>0.49399999999999999</c:v>
                </c:pt>
                <c:pt idx="248">
                  <c:v>0.71299999999999997</c:v>
                </c:pt>
                <c:pt idx="249">
                  <c:v>0.64</c:v>
                </c:pt>
                <c:pt idx="250">
                  <c:v>0.35399999999999998</c:v>
                </c:pt>
                <c:pt idx="251">
                  <c:v>0.72699999999999998</c:v>
                </c:pt>
                <c:pt idx="252">
                  <c:v>0.69599999999999995</c:v>
                </c:pt>
                <c:pt idx="253">
                  <c:v>0.59899999999999998</c:v>
                </c:pt>
                <c:pt idx="254">
                  <c:v>0.40200000000000002</c:v>
                </c:pt>
                <c:pt idx="255">
                  <c:v>0.46300000000000002</c:v>
                </c:pt>
                <c:pt idx="256">
                  <c:v>0.57699999999999996</c:v>
                </c:pt>
                <c:pt idx="257">
                  <c:v>0.68899999999999995</c:v>
                </c:pt>
                <c:pt idx="258">
                  <c:v>0.48299999999999998</c:v>
                </c:pt>
                <c:pt idx="259">
                  <c:v>0.58899999999999997</c:v>
                </c:pt>
                <c:pt idx="260">
                  <c:v>0.53400000000000003</c:v>
                </c:pt>
                <c:pt idx="261">
                  <c:v>0.56899999999999995</c:v>
                </c:pt>
                <c:pt idx="262">
                  <c:v>0.42599999999999999</c:v>
                </c:pt>
                <c:pt idx="263">
                  <c:v>0.318</c:v>
                </c:pt>
                <c:pt idx="264">
                  <c:v>0.68700000000000006</c:v>
                </c:pt>
                <c:pt idx="265">
                  <c:v>0.72599999999999998</c:v>
                </c:pt>
                <c:pt idx="266">
                  <c:v>0.52600000000000002</c:v>
                </c:pt>
                <c:pt idx="267">
                  <c:v>0.495</c:v>
                </c:pt>
                <c:pt idx="268">
                  <c:v>0.75</c:v>
                </c:pt>
                <c:pt idx="269">
                  <c:v>0.67200000000000004</c:v>
                </c:pt>
                <c:pt idx="270">
                  <c:v>0.27200000000000002</c:v>
                </c:pt>
                <c:pt idx="271">
                  <c:v>0.73599999999999999</c:v>
                </c:pt>
                <c:pt idx="272">
                  <c:v>0.57399999999999995</c:v>
                </c:pt>
                <c:pt idx="273">
                  <c:v>0.73099999999999998</c:v>
                </c:pt>
                <c:pt idx="274">
                  <c:v>0.438</c:v>
                </c:pt>
                <c:pt idx="275">
                  <c:v>0.58699999999999997</c:v>
                </c:pt>
                <c:pt idx="276">
                  <c:v>0.433</c:v>
                </c:pt>
                <c:pt idx="277">
                  <c:v>0.59299999999999997</c:v>
                </c:pt>
                <c:pt idx="278">
                  <c:v>0.57699999999999996</c:v>
                </c:pt>
                <c:pt idx="279">
                  <c:v>0.45600000000000002</c:v>
                </c:pt>
                <c:pt idx="280">
                  <c:v>0.80100000000000005</c:v>
                </c:pt>
                <c:pt idx="281">
                  <c:v>0.434</c:v>
                </c:pt>
                <c:pt idx="282">
                  <c:v>0.64300000000000002</c:v>
                </c:pt>
                <c:pt idx="283">
                  <c:v>0.67600000000000005</c:v>
                </c:pt>
                <c:pt idx="284">
                  <c:v>0.64400000000000002</c:v>
                </c:pt>
                <c:pt idx="285">
                  <c:v>0.61199999999999999</c:v>
                </c:pt>
                <c:pt idx="286">
                  <c:v>0.42899999999999999</c:v>
                </c:pt>
                <c:pt idx="287">
                  <c:v>0.621</c:v>
                </c:pt>
                <c:pt idx="288">
                  <c:v>0.84099999999999997</c:v>
                </c:pt>
                <c:pt idx="289">
                  <c:v>0.72</c:v>
                </c:pt>
                <c:pt idx="290">
                  <c:v>0.80400000000000005</c:v>
                </c:pt>
                <c:pt idx="291">
                  <c:v>0.32700000000000001</c:v>
                </c:pt>
                <c:pt idx="292">
                  <c:v>0.437</c:v>
                </c:pt>
                <c:pt idx="293">
                  <c:v>0.32900000000000001</c:v>
                </c:pt>
                <c:pt idx="294">
                  <c:v>0.502</c:v>
                </c:pt>
                <c:pt idx="295">
                  <c:v>0.50800000000000001</c:v>
                </c:pt>
                <c:pt idx="296">
                  <c:v>0.748</c:v>
                </c:pt>
                <c:pt idx="297">
                  <c:v>0.54600000000000004</c:v>
                </c:pt>
                <c:pt idx="298">
                  <c:v>0.65200000000000002</c:v>
                </c:pt>
                <c:pt idx="299">
                  <c:v>0.58699999999999997</c:v>
                </c:pt>
                <c:pt idx="300">
                  <c:v>0.60299999999999998</c:v>
                </c:pt>
                <c:pt idx="301">
                  <c:v>0.436</c:v>
                </c:pt>
                <c:pt idx="302">
                  <c:v>0.59599999999999997</c:v>
                </c:pt>
                <c:pt idx="303">
                  <c:v>0.60599999999999998</c:v>
                </c:pt>
                <c:pt idx="304">
                  <c:v>0.69699999999999995</c:v>
                </c:pt>
                <c:pt idx="305">
                  <c:v>0.53500000000000003</c:v>
                </c:pt>
                <c:pt idx="306">
                  <c:v>0.52600000000000002</c:v>
                </c:pt>
                <c:pt idx="307">
                  <c:v>0.60299999999999998</c:v>
                </c:pt>
                <c:pt idx="308">
                  <c:v>0.623</c:v>
                </c:pt>
                <c:pt idx="309">
                  <c:v>0.434</c:v>
                </c:pt>
                <c:pt idx="310">
                  <c:v>0.53700000000000003</c:v>
                </c:pt>
                <c:pt idx="311">
                  <c:v>0.64200000000000002</c:v>
                </c:pt>
                <c:pt idx="312">
                  <c:v>0.63200000000000001</c:v>
                </c:pt>
                <c:pt idx="313">
                  <c:v>0.38300000000000001</c:v>
                </c:pt>
                <c:pt idx="314">
                  <c:v>0.751</c:v>
                </c:pt>
                <c:pt idx="315">
                  <c:v>0.59599999999999997</c:v>
                </c:pt>
                <c:pt idx="316">
                  <c:v>0.40799999999999997</c:v>
                </c:pt>
                <c:pt idx="317">
                  <c:v>0.46600000000000003</c:v>
                </c:pt>
                <c:pt idx="318">
                  <c:v>0.35399999999999998</c:v>
                </c:pt>
                <c:pt idx="319">
                  <c:v>0.42</c:v>
                </c:pt>
                <c:pt idx="320">
                  <c:v>0.745</c:v>
                </c:pt>
                <c:pt idx="321">
                  <c:v>0.41099999999999998</c:v>
                </c:pt>
                <c:pt idx="322">
                  <c:v>0.57899999999999996</c:v>
                </c:pt>
                <c:pt idx="323">
                  <c:v>0.497</c:v>
                </c:pt>
                <c:pt idx="324">
                  <c:v>0.42399999999999999</c:v>
                </c:pt>
                <c:pt idx="325">
                  <c:v>0.60299999999999998</c:v>
                </c:pt>
                <c:pt idx="326">
                  <c:v>0.72399999999999998</c:v>
                </c:pt>
                <c:pt idx="327">
                  <c:v>0.28399999999999997</c:v>
                </c:pt>
                <c:pt idx="328">
                  <c:v>4.3999999999999997E-2</c:v>
                </c:pt>
                <c:pt idx="329">
                  <c:v>0.106</c:v>
                </c:pt>
                <c:pt idx="330">
                  <c:v>0.1</c:v>
                </c:pt>
                <c:pt idx="331">
                  <c:v>0.57299999999999995</c:v>
                </c:pt>
                <c:pt idx="332">
                  <c:v>0.42399999999999999</c:v>
                </c:pt>
                <c:pt idx="333">
                  <c:v>0.51</c:v>
                </c:pt>
                <c:pt idx="334">
                  <c:v>0.77800000000000002</c:v>
                </c:pt>
                <c:pt idx="335">
                  <c:v>0.19700000000000001</c:v>
                </c:pt>
                <c:pt idx="336">
                  <c:v>0.69899999999999995</c:v>
                </c:pt>
                <c:pt idx="337">
                  <c:v>0.39900000000000002</c:v>
                </c:pt>
                <c:pt idx="338">
                  <c:v>0.36799999999999999</c:v>
                </c:pt>
                <c:pt idx="339">
                  <c:v>6.8000000000000005E-2</c:v>
                </c:pt>
                <c:pt idx="340">
                  <c:v>0.121</c:v>
                </c:pt>
                <c:pt idx="341">
                  <c:v>0.51400000000000001</c:v>
                </c:pt>
                <c:pt idx="342">
                  <c:v>0.29299999999999998</c:v>
                </c:pt>
                <c:pt idx="343">
                  <c:v>0.56799999999999995</c:v>
                </c:pt>
                <c:pt idx="344">
                  <c:v>0.52300000000000002</c:v>
                </c:pt>
                <c:pt idx="345">
                  <c:v>0.29099999999999998</c:v>
                </c:pt>
                <c:pt idx="346">
                  <c:v>0.443</c:v>
                </c:pt>
                <c:pt idx="347">
                  <c:v>0.55200000000000005</c:v>
                </c:pt>
                <c:pt idx="348">
                  <c:v>0.61799999999999999</c:v>
                </c:pt>
                <c:pt idx="349">
                  <c:v>0.127</c:v>
                </c:pt>
                <c:pt idx="350">
                  <c:v>0.44700000000000001</c:v>
                </c:pt>
                <c:pt idx="351">
                  <c:v>0.55700000000000005</c:v>
                </c:pt>
                <c:pt idx="352">
                  <c:v>0.11799999999999999</c:v>
                </c:pt>
                <c:pt idx="353">
                  <c:v>0.74299999999999999</c:v>
                </c:pt>
                <c:pt idx="354">
                  <c:v>0.60899999999999999</c:v>
                </c:pt>
                <c:pt idx="355">
                  <c:v>1.2999999999999999E-2</c:v>
                </c:pt>
                <c:pt idx="356">
                  <c:v>0.42599999999999999</c:v>
                </c:pt>
                <c:pt idx="357">
                  <c:v>0.27400000000000002</c:v>
                </c:pt>
                <c:pt idx="358">
                  <c:v>0.59699999999999998</c:v>
                </c:pt>
                <c:pt idx="359">
                  <c:v>0.151</c:v>
                </c:pt>
                <c:pt idx="360">
                  <c:v>0.65</c:v>
                </c:pt>
                <c:pt idx="361">
                  <c:v>0.29299999999999998</c:v>
                </c:pt>
                <c:pt idx="362">
                  <c:v>0.66800000000000004</c:v>
                </c:pt>
                <c:pt idx="363">
                  <c:v>8.5999999999999993E-2</c:v>
                </c:pt>
                <c:pt idx="364">
                  <c:v>0.29599999999999999</c:v>
                </c:pt>
                <c:pt idx="365">
                  <c:v>0.54600000000000004</c:v>
                </c:pt>
                <c:pt idx="366">
                  <c:v>0.39900000000000002</c:v>
                </c:pt>
                <c:pt idx="367">
                  <c:v>0.72599999999999998</c:v>
                </c:pt>
                <c:pt idx="368">
                  <c:v>4.2000000000000003E-2</c:v>
                </c:pt>
                <c:pt idx="369">
                  <c:v>0.443</c:v>
                </c:pt>
                <c:pt idx="370">
                  <c:v>0.438</c:v>
                </c:pt>
                <c:pt idx="371">
                  <c:v>0.70699999999999996</c:v>
                </c:pt>
                <c:pt idx="372">
                  <c:v>0.48299999999999998</c:v>
                </c:pt>
                <c:pt idx="373">
                  <c:v>0.23100000000000001</c:v>
                </c:pt>
                <c:pt idx="374">
                  <c:v>0.17399999999999999</c:v>
                </c:pt>
                <c:pt idx="375">
                  <c:v>0.50600000000000001</c:v>
                </c:pt>
                <c:pt idx="376">
                  <c:v>0.224</c:v>
                </c:pt>
                <c:pt idx="377">
                  <c:v>0.34699999999999998</c:v>
                </c:pt>
                <c:pt idx="378">
                  <c:v>0.42399999999999999</c:v>
                </c:pt>
                <c:pt idx="379">
                  <c:v>0.47199999999999998</c:v>
                </c:pt>
                <c:pt idx="380">
                  <c:v>0.32400000000000001</c:v>
                </c:pt>
                <c:pt idx="381">
                  <c:v>0.42299999999999999</c:v>
                </c:pt>
                <c:pt idx="382">
                  <c:v>0.504</c:v>
                </c:pt>
                <c:pt idx="383">
                  <c:v>0.32200000000000001</c:v>
                </c:pt>
                <c:pt idx="384">
                  <c:v>0.48199999999999998</c:v>
                </c:pt>
                <c:pt idx="385">
                  <c:v>0.64100000000000001</c:v>
                </c:pt>
                <c:pt idx="386">
                  <c:v>0.69699999999999995</c:v>
                </c:pt>
                <c:pt idx="387">
                  <c:v>0.46300000000000002</c:v>
                </c:pt>
                <c:pt idx="388">
                  <c:v>0.64500000000000002</c:v>
                </c:pt>
                <c:pt idx="389">
                  <c:v>0.46300000000000002</c:v>
                </c:pt>
                <c:pt idx="390">
                  <c:v>0.24099999999999999</c:v>
                </c:pt>
                <c:pt idx="391">
                  <c:v>0.191</c:v>
                </c:pt>
                <c:pt idx="392">
                  <c:v>0.495</c:v>
                </c:pt>
                <c:pt idx="393">
                  <c:v>0.03</c:v>
                </c:pt>
                <c:pt idx="394">
                  <c:v>0.27300000000000002</c:v>
                </c:pt>
                <c:pt idx="395">
                  <c:v>0.105</c:v>
                </c:pt>
                <c:pt idx="396">
                  <c:v>0.45300000000000001</c:v>
                </c:pt>
                <c:pt idx="397">
                  <c:v>0.44700000000000001</c:v>
                </c:pt>
                <c:pt idx="398">
                  <c:v>0.68400000000000005</c:v>
                </c:pt>
                <c:pt idx="399">
                  <c:v>0.45200000000000001</c:v>
                </c:pt>
                <c:pt idx="400">
                  <c:v>0.68799999999999994</c:v>
                </c:pt>
                <c:pt idx="401">
                  <c:v>4.1000000000000002E-2</c:v>
                </c:pt>
                <c:pt idx="402">
                  <c:v>0.45600000000000002</c:v>
                </c:pt>
                <c:pt idx="403">
                  <c:v>0.55300000000000005</c:v>
                </c:pt>
                <c:pt idx="404">
                  <c:v>0.34300000000000003</c:v>
                </c:pt>
                <c:pt idx="405">
                  <c:v>0.42899999999999999</c:v>
                </c:pt>
                <c:pt idx="406">
                  <c:v>0.64700000000000002</c:v>
                </c:pt>
                <c:pt idx="407">
                  <c:v>0.33300000000000002</c:v>
                </c:pt>
                <c:pt idx="408">
                  <c:v>0.47</c:v>
                </c:pt>
                <c:pt idx="409">
                  <c:v>0.36899999999999999</c:v>
                </c:pt>
                <c:pt idx="410">
                  <c:v>0.21199999999999999</c:v>
                </c:pt>
                <c:pt idx="411">
                  <c:v>0.63400000000000001</c:v>
                </c:pt>
                <c:pt idx="412">
                  <c:v>0.73799999999999999</c:v>
                </c:pt>
                <c:pt idx="413">
                  <c:v>0.155</c:v>
                </c:pt>
                <c:pt idx="414">
                  <c:v>0.26500000000000001</c:v>
                </c:pt>
                <c:pt idx="415">
                  <c:v>0.48399999999999999</c:v>
                </c:pt>
                <c:pt idx="416">
                  <c:v>0.36199999999999999</c:v>
                </c:pt>
                <c:pt idx="417">
                  <c:v>0.372</c:v>
                </c:pt>
                <c:pt idx="418">
                  <c:v>1.6E-2</c:v>
                </c:pt>
                <c:pt idx="419">
                  <c:v>0.19</c:v>
                </c:pt>
                <c:pt idx="420">
                  <c:v>0.105</c:v>
                </c:pt>
                <c:pt idx="421">
                  <c:v>0.32400000000000001</c:v>
                </c:pt>
                <c:pt idx="422">
                  <c:v>0.55600000000000005</c:v>
                </c:pt>
                <c:pt idx="423">
                  <c:v>0.26900000000000002</c:v>
                </c:pt>
                <c:pt idx="424">
                  <c:v>0.69799999999999995</c:v>
                </c:pt>
                <c:pt idx="425">
                  <c:v>0.33300000000000002</c:v>
                </c:pt>
                <c:pt idx="426">
                  <c:v>0.32800000000000001</c:v>
                </c:pt>
                <c:pt idx="427">
                  <c:v>0.54300000000000004</c:v>
                </c:pt>
                <c:pt idx="428">
                  <c:v>0.47399999999999998</c:v>
                </c:pt>
                <c:pt idx="429">
                  <c:v>0.24</c:v>
                </c:pt>
                <c:pt idx="430">
                  <c:v>0.19400000000000001</c:v>
                </c:pt>
                <c:pt idx="431">
                  <c:v>0.23</c:v>
                </c:pt>
                <c:pt idx="432">
                  <c:v>0.71599999999999997</c:v>
                </c:pt>
                <c:pt idx="433">
                  <c:v>0.45600000000000002</c:v>
                </c:pt>
                <c:pt idx="434">
                  <c:v>0.245</c:v>
                </c:pt>
                <c:pt idx="435">
                  <c:v>0.35099999999999998</c:v>
                </c:pt>
                <c:pt idx="436">
                  <c:v>0.28499999999999998</c:v>
                </c:pt>
                <c:pt idx="437">
                  <c:v>8.0000000000000002E-3</c:v>
                </c:pt>
                <c:pt idx="438">
                  <c:v>0.45500000000000002</c:v>
                </c:pt>
                <c:pt idx="439">
                  <c:v>0.45100000000000001</c:v>
                </c:pt>
                <c:pt idx="440">
                  <c:v>0.01</c:v>
                </c:pt>
                <c:pt idx="441">
                  <c:v>0.10299999999999999</c:v>
                </c:pt>
                <c:pt idx="442">
                  <c:v>0.40100000000000002</c:v>
                </c:pt>
                <c:pt idx="443">
                  <c:v>0.33800000000000002</c:v>
                </c:pt>
                <c:pt idx="444">
                  <c:v>8.0000000000000002E-3</c:v>
                </c:pt>
                <c:pt idx="445">
                  <c:v>0.10299999999999999</c:v>
                </c:pt>
                <c:pt idx="446">
                  <c:v>4.0000000000000001E-3</c:v>
                </c:pt>
                <c:pt idx="447">
                  <c:v>5.7000000000000002E-2</c:v>
                </c:pt>
                <c:pt idx="448">
                  <c:v>0.20599999999999999</c:v>
                </c:pt>
                <c:pt idx="449">
                  <c:v>0.47</c:v>
                </c:pt>
                <c:pt idx="450">
                  <c:v>1.7000000000000001E-2</c:v>
                </c:pt>
                <c:pt idx="451">
                  <c:v>2.1999999999999999E-2</c:v>
                </c:pt>
                <c:pt idx="452">
                  <c:v>0.17</c:v>
                </c:pt>
                <c:pt idx="453">
                  <c:v>0.28999999999999998</c:v>
                </c:pt>
                <c:pt idx="454">
                  <c:v>0.11899999999999999</c:v>
                </c:pt>
                <c:pt idx="455">
                  <c:v>0.67900000000000005</c:v>
                </c:pt>
                <c:pt idx="456">
                  <c:v>0.182</c:v>
                </c:pt>
                <c:pt idx="457">
                  <c:v>0.63</c:v>
                </c:pt>
                <c:pt idx="458">
                  <c:v>0.16700000000000001</c:v>
                </c:pt>
                <c:pt idx="459">
                  <c:v>0.53700000000000003</c:v>
                </c:pt>
                <c:pt idx="460">
                  <c:v>0.35299999999999998</c:v>
                </c:pt>
                <c:pt idx="461">
                  <c:v>0.57499999999999996</c:v>
                </c:pt>
                <c:pt idx="462">
                  <c:v>0.40600000000000003</c:v>
                </c:pt>
                <c:pt idx="463">
                  <c:v>0.26600000000000001</c:v>
                </c:pt>
                <c:pt idx="464">
                  <c:v>0.374</c:v>
                </c:pt>
                <c:pt idx="465">
                  <c:v>0.251</c:v>
                </c:pt>
                <c:pt idx="466">
                  <c:v>0.373</c:v>
                </c:pt>
                <c:pt idx="467">
                  <c:v>0.29399999999999998</c:v>
                </c:pt>
                <c:pt idx="468">
                  <c:v>0.36099999999999999</c:v>
                </c:pt>
                <c:pt idx="469">
                  <c:v>2.4E-2</c:v>
                </c:pt>
                <c:pt idx="470">
                  <c:v>3.1E-2</c:v>
                </c:pt>
                <c:pt idx="471">
                  <c:v>0.29399999999999998</c:v>
                </c:pt>
                <c:pt idx="472">
                  <c:v>0.17</c:v>
                </c:pt>
                <c:pt idx="473">
                  <c:v>0.214</c:v>
                </c:pt>
                <c:pt idx="474">
                  <c:v>8.0000000000000002E-3</c:v>
                </c:pt>
                <c:pt idx="475">
                  <c:v>0.36799999999999999</c:v>
                </c:pt>
                <c:pt idx="476">
                  <c:v>0.64</c:v>
                </c:pt>
                <c:pt idx="477">
                  <c:v>0.46100000000000002</c:v>
                </c:pt>
                <c:pt idx="478">
                  <c:v>0.40200000000000002</c:v>
                </c:pt>
                <c:pt idx="479">
                  <c:v>4.9000000000000002E-2</c:v>
                </c:pt>
                <c:pt idx="480">
                  <c:v>0.31900000000000001</c:v>
                </c:pt>
                <c:pt idx="481">
                  <c:v>7.6999999999999999E-2</c:v>
                </c:pt>
                <c:pt idx="482">
                  <c:v>5.0000000000000001E-3</c:v>
                </c:pt>
                <c:pt idx="483">
                  <c:v>0.57799999999999996</c:v>
                </c:pt>
                <c:pt idx="484">
                  <c:v>8.0000000000000002E-3</c:v>
                </c:pt>
                <c:pt idx="485">
                  <c:v>0.32200000000000001</c:v>
                </c:pt>
                <c:pt idx="486">
                  <c:v>8.6999999999999994E-2</c:v>
                </c:pt>
                <c:pt idx="487">
                  <c:v>0.16300000000000001</c:v>
                </c:pt>
                <c:pt idx="488">
                  <c:v>0.52300000000000002</c:v>
                </c:pt>
                <c:pt idx="489">
                  <c:v>0.38200000000000001</c:v>
                </c:pt>
                <c:pt idx="490">
                  <c:v>0.38800000000000001</c:v>
                </c:pt>
                <c:pt idx="491">
                  <c:v>9.4E-2</c:v>
                </c:pt>
                <c:pt idx="492">
                  <c:v>8.9999999999999993E-3</c:v>
                </c:pt>
                <c:pt idx="493">
                  <c:v>1.7000000000000001E-2</c:v>
                </c:pt>
                <c:pt idx="494">
                  <c:v>0.495</c:v>
                </c:pt>
                <c:pt idx="495">
                  <c:v>0.30599999999999999</c:v>
                </c:pt>
                <c:pt idx="496">
                  <c:v>0.38800000000000001</c:v>
                </c:pt>
                <c:pt idx="497">
                  <c:v>8.0000000000000002E-3</c:v>
                </c:pt>
                <c:pt idx="498">
                  <c:v>0.38500000000000001</c:v>
                </c:pt>
                <c:pt idx="499">
                  <c:v>0.34599999999999997</c:v>
                </c:pt>
                <c:pt idx="500">
                  <c:v>0.16600000000000001</c:v>
                </c:pt>
                <c:pt idx="501">
                  <c:v>0.376</c:v>
                </c:pt>
                <c:pt idx="502">
                  <c:v>5.0000000000000001E-3</c:v>
                </c:pt>
                <c:pt idx="503">
                  <c:v>1.2E-2</c:v>
                </c:pt>
                <c:pt idx="504">
                  <c:v>0.17</c:v>
                </c:pt>
                <c:pt idx="505">
                  <c:v>3.5999999999999997E-2</c:v>
                </c:pt>
                <c:pt idx="506">
                  <c:v>0.16400000000000001</c:v>
                </c:pt>
                <c:pt idx="507">
                  <c:v>0.129</c:v>
                </c:pt>
                <c:pt idx="508">
                  <c:v>0.5</c:v>
                </c:pt>
                <c:pt idx="509">
                  <c:v>1.2E-2</c:v>
                </c:pt>
                <c:pt idx="510">
                  <c:v>9.0999999999999998E-2</c:v>
                </c:pt>
                <c:pt idx="511">
                  <c:v>4.7E-2</c:v>
                </c:pt>
                <c:pt idx="512">
                  <c:v>0.55900000000000005</c:v>
                </c:pt>
                <c:pt idx="513">
                  <c:v>0.56999999999999995</c:v>
                </c:pt>
                <c:pt idx="514">
                  <c:v>0.36</c:v>
                </c:pt>
                <c:pt idx="515">
                  <c:v>0.41499999999999998</c:v>
                </c:pt>
                <c:pt idx="516">
                  <c:v>1.7000000000000001E-2</c:v>
                </c:pt>
                <c:pt idx="517">
                  <c:v>0.44800000000000001</c:v>
                </c:pt>
                <c:pt idx="518">
                  <c:v>0.15</c:v>
                </c:pt>
                <c:pt idx="519">
                  <c:v>1.0999999999999999E-2</c:v>
                </c:pt>
                <c:pt idx="520">
                  <c:v>0.40600000000000003</c:v>
                </c:pt>
                <c:pt idx="521">
                  <c:v>3.6999999999999998E-2</c:v>
                </c:pt>
                <c:pt idx="522">
                  <c:v>0.69399999999999995</c:v>
                </c:pt>
                <c:pt idx="523">
                  <c:v>7.3999999999999996E-2</c:v>
                </c:pt>
                <c:pt idx="524">
                  <c:v>5.8999999999999997E-2</c:v>
                </c:pt>
                <c:pt idx="525">
                  <c:v>0.24299999999999999</c:v>
                </c:pt>
                <c:pt idx="526">
                  <c:v>4.2999999999999997E-2</c:v>
                </c:pt>
                <c:pt idx="527">
                  <c:v>8.4000000000000005E-2</c:v>
                </c:pt>
                <c:pt idx="528">
                  <c:v>0.17899999999999999</c:v>
                </c:pt>
                <c:pt idx="529">
                  <c:v>0.187</c:v>
                </c:pt>
                <c:pt idx="530">
                  <c:v>4.3999999999999997E-2</c:v>
                </c:pt>
                <c:pt idx="531">
                  <c:v>0.36099999999999999</c:v>
                </c:pt>
                <c:pt idx="532">
                  <c:v>0.28100000000000003</c:v>
                </c:pt>
                <c:pt idx="533">
                  <c:v>0.26800000000000002</c:v>
                </c:pt>
                <c:pt idx="534">
                  <c:v>0.114</c:v>
                </c:pt>
                <c:pt idx="535">
                  <c:v>0.251</c:v>
                </c:pt>
                <c:pt idx="536">
                  <c:v>4.1000000000000002E-2</c:v>
                </c:pt>
                <c:pt idx="537">
                  <c:v>0.191</c:v>
                </c:pt>
                <c:pt idx="538">
                  <c:v>4.1000000000000002E-2</c:v>
                </c:pt>
                <c:pt idx="539">
                  <c:v>9.1999999999999998E-2</c:v>
                </c:pt>
                <c:pt idx="540">
                  <c:v>0.32900000000000001</c:v>
                </c:pt>
                <c:pt idx="541">
                  <c:v>0.115</c:v>
                </c:pt>
                <c:pt idx="542">
                  <c:v>9.1999999999999998E-2</c:v>
                </c:pt>
                <c:pt idx="543">
                  <c:v>0.52</c:v>
                </c:pt>
                <c:pt idx="544">
                  <c:v>4.2999999999999997E-2</c:v>
                </c:pt>
                <c:pt idx="545">
                  <c:v>0.14599999999999999</c:v>
                </c:pt>
                <c:pt idx="546">
                  <c:v>0.186</c:v>
                </c:pt>
                <c:pt idx="547">
                  <c:v>3.5000000000000003E-2</c:v>
                </c:pt>
                <c:pt idx="548">
                  <c:v>7.2999999999999995E-2</c:v>
                </c:pt>
                <c:pt idx="549">
                  <c:v>0.54100000000000004</c:v>
                </c:pt>
                <c:pt idx="550">
                  <c:v>0.03</c:v>
                </c:pt>
                <c:pt idx="551">
                  <c:v>0.495</c:v>
                </c:pt>
                <c:pt idx="552">
                  <c:v>0.32800000000000001</c:v>
                </c:pt>
                <c:pt idx="553">
                  <c:v>0.36099999999999999</c:v>
                </c:pt>
                <c:pt idx="554">
                  <c:v>0.57099999999999995</c:v>
                </c:pt>
                <c:pt idx="555">
                  <c:v>2.7E-2</c:v>
                </c:pt>
                <c:pt idx="556">
                  <c:v>0.27400000000000002</c:v>
                </c:pt>
                <c:pt idx="557">
                  <c:v>0.38600000000000001</c:v>
                </c:pt>
                <c:pt idx="558">
                  <c:v>2.4E-2</c:v>
                </c:pt>
                <c:pt idx="559">
                  <c:v>4.0000000000000001E-3</c:v>
                </c:pt>
                <c:pt idx="560">
                  <c:v>0.41199999999999998</c:v>
                </c:pt>
                <c:pt idx="561">
                  <c:v>0.45200000000000001</c:v>
                </c:pt>
                <c:pt idx="562">
                  <c:v>0.185</c:v>
                </c:pt>
                <c:pt idx="563">
                  <c:v>6.2E-2</c:v>
                </c:pt>
                <c:pt idx="564">
                  <c:v>0.3</c:v>
                </c:pt>
                <c:pt idx="565">
                  <c:v>0.1</c:v>
                </c:pt>
                <c:pt idx="566">
                  <c:v>0.1</c:v>
                </c:pt>
                <c:pt idx="567">
                  <c:v>0.246</c:v>
                </c:pt>
                <c:pt idx="568">
                  <c:v>7.2999999999999995E-2</c:v>
                </c:pt>
                <c:pt idx="569">
                  <c:v>3.9E-2</c:v>
                </c:pt>
                <c:pt idx="570">
                  <c:v>4.7E-2</c:v>
                </c:pt>
                <c:pt idx="571">
                  <c:v>0.04</c:v>
                </c:pt>
                <c:pt idx="572">
                  <c:v>4.9000000000000002E-2</c:v>
                </c:pt>
                <c:pt idx="573">
                  <c:v>0.28299999999999997</c:v>
                </c:pt>
                <c:pt idx="574">
                  <c:v>0.31900000000000001</c:v>
                </c:pt>
                <c:pt idx="575">
                  <c:v>1.7000000000000001E-2</c:v>
                </c:pt>
                <c:pt idx="576">
                  <c:v>6.4000000000000001E-2</c:v>
                </c:pt>
                <c:pt idx="577">
                  <c:v>0.129</c:v>
                </c:pt>
                <c:pt idx="578">
                  <c:v>0.51100000000000001</c:v>
                </c:pt>
                <c:pt idx="579">
                  <c:v>0.105</c:v>
                </c:pt>
                <c:pt idx="580">
                  <c:v>6.2E-2</c:v>
                </c:pt>
                <c:pt idx="581">
                  <c:v>9.6000000000000002E-2</c:v>
                </c:pt>
                <c:pt idx="582">
                  <c:v>4.5999999999999999E-2</c:v>
                </c:pt>
                <c:pt idx="583">
                  <c:v>0.52800000000000002</c:v>
                </c:pt>
                <c:pt idx="584">
                  <c:v>1.7999999999999999E-2</c:v>
                </c:pt>
                <c:pt idx="585">
                  <c:v>0.28799999999999998</c:v>
                </c:pt>
                <c:pt idx="586">
                  <c:v>5.0000000000000001E-3</c:v>
                </c:pt>
                <c:pt idx="587">
                  <c:v>0.1</c:v>
                </c:pt>
                <c:pt idx="588">
                  <c:v>0.50700000000000001</c:v>
                </c:pt>
                <c:pt idx="589">
                  <c:v>0.16</c:v>
                </c:pt>
                <c:pt idx="590">
                  <c:v>5.1999999999999998E-2</c:v>
                </c:pt>
                <c:pt idx="591">
                  <c:v>0.10100000000000001</c:v>
                </c:pt>
                <c:pt idx="592">
                  <c:v>8.1000000000000003E-2</c:v>
                </c:pt>
                <c:pt idx="593">
                  <c:v>0.379</c:v>
                </c:pt>
                <c:pt idx="594">
                  <c:v>8.2000000000000003E-2</c:v>
                </c:pt>
                <c:pt idx="595">
                  <c:v>0.22900000000000001</c:v>
                </c:pt>
                <c:pt idx="596">
                  <c:v>0.114</c:v>
                </c:pt>
                <c:pt idx="597">
                  <c:v>0.38800000000000001</c:v>
                </c:pt>
                <c:pt idx="598">
                  <c:v>0.187</c:v>
                </c:pt>
                <c:pt idx="599">
                  <c:v>2.3E-2</c:v>
                </c:pt>
                <c:pt idx="600">
                  <c:v>0.06</c:v>
                </c:pt>
                <c:pt idx="601">
                  <c:v>0.35099999999999998</c:v>
                </c:pt>
                <c:pt idx="602">
                  <c:v>0.36899999999999999</c:v>
                </c:pt>
                <c:pt idx="603">
                  <c:v>6.8000000000000005E-2</c:v>
                </c:pt>
                <c:pt idx="604">
                  <c:v>7.4999999999999997E-2</c:v>
                </c:pt>
                <c:pt idx="605">
                  <c:v>5.0000000000000001E-3</c:v>
                </c:pt>
                <c:pt idx="606">
                  <c:v>6.8000000000000005E-2</c:v>
                </c:pt>
                <c:pt idx="607">
                  <c:v>3.9E-2</c:v>
                </c:pt>
                <c:pt idx="608">
                  <c:v>0.26900000000000002</c:v>
                </c:pt>
                <c:pt idx="609">
                  <c:v>0.31900000000000001</c:v>
                </c:pt>
                <c:pt idx="610">
                  <c:v>0.33700000000000002</c:v>
                </c:pt>
                <c:pt idx="611">
                  <c:v>0.128</c:v>
                </c:pt>
                <c:pt idx="612">
                  <c:v>0.03</c:v>
                </c:pt>
                <c:pt idx="613">
                  <c:v>0.501</c:v>
                </c:pt>
                <c:pt idx="614">
                  <c:v>0.111</c:v>
                </c:pt>
                <c:pt idx="615">
                  <c:v>8.6999999999999994E-2</c:v>
                </c:pt>
                <c:pt idx="616">
                  <c:v>0.114</c:v>
                </c:pt>
                <c:pt idx="617">
                  <c:v>5.1999999999999998E-2</c:v>
                </c:pt>
                <c:pt idx="618">
                  <c:v>4.4999999999999998E-2</c:v>
                </c:pt>
                <c:pt idx="619">
                  <c:v>1.6E-2</c:v>
                </c:pt>
                <c:pt idx="620">
                  <c:v>0.14599999999999999</c:v>
                </c:pt>
                <c:pt idx="621">
                  <c:v>7.8E-2</c:v>
                </c:pt>
                <c:pt idx="622">
                  <c:v>8.9999999999999993E-3</c:v>
                </c:pt>
                <c:pt idx="623">
                  <c:v>0.03</c:v>
                </c:pt>
                <c:pt idx="624">
                  <c:v>0.497</c:v>
                </c:pt>
                <c:pt idx="625">
                  <c:v>3.5999999999999997E-2</c:v>
                </c:pt>
                <c:pt idx="626">
                  <c:v>9.5000000000000001E-2</c:v>
                </c:pt>
                <c:pt idx="627">
                  <c:v>3.0000000000000001E-3</c:v>
                </c:pt>
                <c:pt idx="628">
                  <c:v>7.8E-2</c:v>
                </c:pt>
                <c:pt idx="629">
                  <c:v>4.4999999999999998E-2</c:v>
                </c:pt>
                <c:pt idx="630">
                  <c:v>2.4E-2</c:v>
                </c:pt>
                <c:pt idx="631">
                  <c:v>7.2999999999999995E-2</c:v>
                </c:pt>
                <c:pt idx="632">
                  <c:v>4.0000000000000001E-3</c:v>
                </c:pt>
                <c:pt idx="633">
                  <c:v>8.5000000000000006E-2</c:v>
                </c:pt>
                <c:pt idx="634">
                  <c:v>0.33300000000000002</c:v>
                </c:pt>
                <c:pt idx="635">
                  <c:v>0.32900000000000001</c:v>
                </c:pt>
                <c:pt idx="636">
                  <c:v>1.7000000000000001E-2</c:v>
                </c:pt>
                <c:pt idx="637">
                  <c:v>0.17599999999999999</c:v>
                </c:pt>
                <c:pt idx="638">
                  <c:v>9.4E-2</c:v>
                </c:pt>
                <c:pt idx="639">
                  <c:v>0.29199999999999998</c:v>
                </c:pt>
                <c:pt idx="640">
                  <c:v>8.0000000000000002E-3</c:v>
                </c:pt>
                <c:pt idx="641">
                  <c:v>2.5999999999999999E-2</c:v>
                </c:pt>
                <c:pt idx="642">
                  <c:v>0.223</c:v>
                </c:pt>
                <c:pt idx="643">
                  <c:v>6.9000000000000006E-2</c:v>
                </c:pt>
                <c:pt idx="644">
                  <c:v>1.6E-2</c:v>
                </c:pt>
                <c:pt idx="645">
                  <c:v>0.05</c:v>
                </c:pt>
                <c:pt idx="646">
                  <c:v>5.8999999999999997E-2</c:v>
                </c:pt>
                <c:pt idx="647">
                  <c:v>0.14699999999999999</c:v>
                </c:pt>
                <c:pt idx="648">
                  <c:v>2.7E-2</c:v>
                </c:pt>
                <c:pt idx="649">
                  <c:v>0.10299999999999999</c:v>
                </c:pt>
                <c:pt idx="650">
                  <c:v>0.216</c:v>
                </c:pt>
                <c:pt idx="651">
                  <c:v>4.9000000000000002E-2</c:v>
                </c:pt>
                <c:pt idx="652">
                  <c:v>5.0000000000000001E-3</c:v>
                </c:pt>
                <c:pt idx="653">
                  <c:v>4.8000000000000001E-2</c:v>
                </c:pt>
                <c:pt idx="654">
                  <c:v>0.31</c:v>
                </c:pt>
                <c:pt idx="655">
                  <c:v>1.4E-2</c:v>
                </c:pt>
                <c:pt idx="656">
                  <c:v>0.04</c:v>
                </c:pt>
                <c:pt idx="657">
                  <c:v>1.7000000000000001E-2</c:v>
                </c:pt>
                <c:pt idx="658">
                  <c:v>0.115</c:v>
                </c:pt>
                <c:pt idx="659">
                  <c:v>7.1999999999999995E-2</c:v>
                </c:pt>
                <c:pt idx="660">
                  <c:v>2.5000000000000001E-2</c:v>
                </c:pt>
                <c:pt idx="661">
                  <c:v>0.14899999999999999</c:v>
                </c:pt>
                <c:pt idx="662">
                  <c:v>0.30399999999999999</c:v>
                </c:pt>
                <c:pt idx="663">
                  <c:v>0.41099999999999998</c:v>
                </c:pt>
                <c:pt idx="664">
                  <c:v>0.47299999999999998</c:v>
                </c:pt>
                <c:pt idx="665">
                  <c:v>0.17799999999999999</c:v>
                </c:pt>
                <c:pt idx="666">
                  <c:v>8.0000000000000002E-3</c:v>
                </c:pt>
                <c:pt idx="667">
                  <c:v>0.34</c:v>
                </c:pt>
                <c:pt idx="668">
                  <c:v>0.25600000000000001</c:v>
                </c:pt>
                <c:pt idx="669">
                  <c:v>4.5999999999999999E-2</c:v>
                </c:pt>
                <c:pt idx="670">
                  <c:v>0.14799999999999999</c:v>
                </c:pt>
                <c:pt idx="671">
                  <c:v>0.45600000000000002</c:v>
                </c:pt>
                <c:pt idx="672">
                  <c:v>0.03</c:v>
                </c:pt>
                <c:pt idx="673">
                  <c:v>6.4000000000000001E-2</c:v>
                </c:pt>
                <c:pt idx="674">
                  <c:v>8.0000000000000002E-3</c:v>
                </c:pt>
                <c:pt idx="675">
                  <c:v>1.9E-2</c:v>
                </c:pt>
                <c:pt idx="676">
                  <c:v>0.23100000000000001</c:v>
                </c:pt>
                <c:pt idx="677">
                  <c:v>1.7999999999999999E-2</c:v>
                </c:pt>
                <c:pt idx="678">
                  <c:v>0.05</c:v>
                </c:pt>
                <c:pt idx="679">
                  <c:v>4.0000000000000001E-3</c:v>
                </c:pt>
                <c:pt idx="680">
                  <c:v>6.8000000000000005E-2</c:v>
                </c:pt>
                <c:pt idx="681">
                  <c:v>8.9999999999999993E-3</c:v>
                </c:pt>
                <c:pt idx="682">
                  <c:v>0.16400000000000001</c:v>
                </c:pt>
                <c:pt idx="683">
                  <c:v>7.1999999999999995E-2</c:v>
                </c:pt>
                <c:pt idx="684">
                  <c:v>0.435</c:v>
                </c:pt>
                <c:pt idx="685">
                  <c:v>8.5000000000000006E-2</c:v>
                </c:pt>
                <c:pt idx="686">
                  <c:v>3.6999999999999998E-2</c:v>
                </c:pt>
                <c:pt idx="687">
                  <c:v>4.5999999999999999E-2</c:v>
                </c:pt>
                <c:pt idx="688">
                  <c:v>4.5999999999999999E-2</c:v>
                </c:pt>
                <c:pt idx="689">
                  <c:v>0.32900000000000001</c:v>
                </c:pt>
                <c:pt idx="690">
                  <c:v>0.14899999999999999</c:v>
                </c:pt>
                <c:pt idx="691">
                  <c:v>5.3999999999999999E-2</c:v>
                </c:pt>
                <c:pt idx="692">
                  <c:v>7.4999999999999997E-2</c:v>
                </c:pt>
                <c:pt idx="693">
                  <c:v>0.122</c:v>
                </c:pt>
                <c:pt idx="694">
                  <c:v>0.123</c:v>
                </c:pt>
                <c:pt idx="695">
                  <c:v>1.7000000000000001E-2</c:v>
                </c:pt>
                <c:pt idx="696">
                  <c:v>9.2999999999999999E-2</c:v>
                </c:pt>
                <c:pt idx="697">
                  <c:v>2.1999999999999999E-2</c:v>
                </c:pt>
                <c:pt idx="698">
                  <c:v>4.5999999999999999E-2</c:v>
                </c:pt>
                <c:pt idx="699">
                  <c:v>5.0000000000000001E-3</c:v>
                </c:pt>
                <c:pt idx="700">
                  <c:v>0.33300000000000002</c:v>
                </c:pt>
                <c:pt idx="701">
                  <c:v>6.4000000000000001E-2</c:v>
                </c:pt>
                <c:pt idx="702">
                  <c:v>1.2E-2</c:v>
                </c:pt>
                <c:pt idx="703">
                  <c:v>6.8000000000000005E-2</c:v>
                </c:pt>
                <c:pt idx="704">
                  <c:v>3.5999999999999997E-2</c:v>
                </c:pt>
                <c:pt idx="705">
                  <c:v>3.5000000000000003E-2</c:v>
                </c:pt>
                <c:pt idx="706">
                  <c:v>0.55800000000000005</c:v>
                </c:pt>
                <c:pt idx="707">
                  <c:v>6.0000000000000001E-3</c:v>
                </c:pt>
                <c:pt idx="708">
                  <c:v>0.41099999999999998</c:v>
                </c:pt>
                <c:pt idx="709">
                  <c:v>0.253</c:v>
                </c:pt>
                <c:pt idx="710">
                  <c:v>4.4999999999999998E-2</c:v>
                </c:pt>
                <c:pt idx="711">
                  <c:v>0.14099999999999999</c:v>
                </c:pt>
                <c:pt idx="712">
                  <c:v>0.04</c:v>
                </c:pt>
                <c:pt idx="713">
                  <c:v>6.3E-2</c:v>
                </c:pt>
                <c:pt idx="714">
                  <c:v>3.1E-2</c:v>
                </c:pt>
                <c:pt idx="715">
                  <c:v>8.0000000000000002E-3</c:v>
                </c:pt>
                <c:pt idx="716">
                  <c:v>4.1000000000000002E-2</c:v>
                </c:pt>
                <c:pt idx="717">
                  <c:v>1.2E-2</c:v>
                </c:pt>
                <c:pt idx="718">
                  <c:v>4.5999999999999999E-2</c:v>
                </c:pt>
                <c:pt idx="719">
                  <c:v>0.23</c:v>
                </c:pt>
                <c:pt idx="720">
                  <c:v>1.7999999999999999E-2</c:v>
                </c:pt>
                <c:pt idx="721">
                  <c:v>5.6000000000000001E-2</c:v>
                </c:pt>
                <c:pt idx="722">
                  <c:v>4.1000000000000002E-2</c:v>
                </c:pt>
                <c:pt idx="723">
                  <c:v>0.46</c:v>
                </c:pt>
                <c:pt idx="724">
                  <c:v>9.2999999999999999E-2</c:v>
                </c:pt>
                <c:pt idx="725">
                  <c:v>0.26</c:v>
                </c:pt>
                <c:pt idx="726">
                  <c:v>5.0000000000000001E-3</c:v>
                </c:pt>
                <c:pt idx="727">
                  <c:v>4.0000000000000001E-3</c:v>
                </c:pt>
                <c:pt idx="728">
                  <c:v>0.217</c:v>
                </c:pt>
                <c:pt idx="729">
                  <c:v>5.5E-2</c:v>
                </c:pt>
                <c:pt idx="730">
                  <c:v>0.05</c:v>
                </c:pt>
                <c:pt idx="731">
                  <c:v>6.4000000000000001E-2</c:v>
                </c:pt>
                <c:pt idx="732">
                  <c:v>5.5E-2</c:v>
                </c:pt>
                <c:pt idx="733">
                  <c:v>5.0000000000000001E-3</c:v>
                </c:pt>
                <c:pt idx="734">
                  <c:v>4.4999999999999998E-2</c:v>
                </c:pt>
                <c:pt idx="735">
                  <c:v>3.6999999999999998E-2</c:v>
                </c:pt>
                <c:pt idx="736">
                  <c:v>0.51200000000000001</c:v>
                </c:pt>
                <c:pt idx="737">
                  <c:v>4.0000000000000001E-3</c:v>
                </c:pt>
                <c:pt idx="738">
                  <c:v>0.122</c:v>
                </c:pt>
                <c:pt idx="739">
                  <c:v>0.246</c:v>
                </c:pt>
                <c:pt idx="740">
                  <c:v>9.6000000000000002E-2</c:v>
                </c:pt>
                <c:pt idx="741">
                  <c:v>3.0000000000000001E-3</c:v>
                </c:pt>
                <c:pt idx="742">
                  <c:v>4.0000000000000001E-3</c:v>
                </c:pt>
                <c:pt idx="743">
                  <c:v>1.7000000000000001E-2</c:v>
                </c:pt>
                <c:pt idx="744">
                  <c:v>0.44400000000000001</c:v>
                </c:pt>
                <c:pt idx="745">
                  <c:v>1.2999999999999999E-2</c:v>
                </c:pt>
                <c:pt idx="746">
                  <c:v>8.0000000000000002E-3</c:v>
                </c:pt>
                <c:pt idx="747">
                  <c:v>0.01</c:v>
                </c:pt>
                <c:pt idx="748">
                  <c:v>0.14599999999999999</c:v>
                </c:pt>
                <c:pt idx="749">
                  <c:v>0.24199999999999999</c:v>
                </c:pt>
                <c:pt idx="750">
                  <c:v>5.8999999999999997E-2</c:v>
                </c:pt>
                <c:pt idx="751">
                  <c:v>2E-3</c:v>
                </c:pt>
                <c:pt idx="752">
                  <c:v>4.5999999999999999E-2</c:v>
                </c:pt>
                <c:pt idx="753">
                  <c:v>0.04</c:v>
                </c:pt>
                <c:pt idx="754">
                  <c:v>5.0000000000000001E-3</c:v>
                </c:pt>
                <c:pt idx="755">
                  <c:v>4.9000000000000002E-2</c:v>
                </c:pt>
                <c:pt idx="756">
                  <c:v>0.26900000000000002</c:v>
                </c:pt>
                <c:pt idx="757">
                  <c:v>8.5000000000000006E-2</c:v>
                </c:pt>
                <c:pt idx="758">
                  <c:v>8.0000000000000002E-3</c:v>
                </c:pt>
                <c:pt idx="759">
                  <c:v>3.5000000000000003E-2</c:v>
                </c:pt>
                <c:pt idx="760">
                  <c:v>0.14099999999999999</c:v>
                </c:pt>
                <c:pt idx="761">
                  <c:v>4.7E-2</c:v>
                </c:pt>
                <c:pt idx="762">
                  <c:v>3.4000000000000002E-2</c:v>
                </c:pt>
                <c:pt idx="763">
                  <c:v>8.8999999999999996E-2</c:v>
                </c:pt>
                <c:pt idx="764">
                  <c:v>2.5999999999999999E-2</c:v>
                </c:pt>
                <c:pt idx="765">
                  <c:v>0.54500000000000004</c:v>
                </c:pt>
                <c:pt idx="766">
                  <c:v>0.218</c:v>
                </c:pt>
                <c:pt idx="767">
                  <c:v>8.0000000000000002E-3</c:v>
                </c:pt>
                <c:pt idx="768">
                  <c:v>1.2E-2</c:v>
                </c:pt>
                <c:pt idx="769">
                  <c:v>1.2E-2</c:v>
                </c:pt>
                <c:pt idx="770">
                  <c:v>5.0000000000000001E-3</c:v>
                </c:pt>
                <c:pt idx="771">
                  <c:v>8.0000000000000002E-3</c:v>
                </c:pt>
                <c:pt idx="772">
                  <c:v>0.05</c:v>
                </c:pt>
                <c:pt idx="773">
                  <c:v>2.1000000000000001E-2</c:v>
                </c:pt>
                <c:pt idx="774">
                  <c:v>7.0000000000000001E-3</c:v>
                </c:pt>
                <c:pt idx="775">
                  <c:v>2E-3</c:v>
                </c:pt>
                <c:pt idx="776">
                  <c:v>0.08</c:v>
                </c:pt>
                <c:pt idx="777">
                  <c:v>0.14899999999999999</c:v>
                </c:pt>
                <c:pt idx="778">
                  <c:v>2.7E-2</c:v>
                </c:pt>
                <c:pt idx="779">
                  <c:v>4.1000000000000002E-2</c:v>
                </c:pt>
                <c:pt idx="780">
                  <c:v>1.7000000000000001E-2</c:v>
                </c:pt>
                <c:pt idx="781">
                  <c:v>6.2E-2</c:v>
                </c:pt>
                <c:pt idx="782">
                  <c:v>5.2999999999999999E-2</c:v>
                </c:pt>
                <c:pt idx="783">
                  <c:v>4.0000000000000001E-3</c:v>
                </c:pt>
                <c:pt idx="784">
                  <c:v>8.9999999999999993E-3</c:v>
                </c:pt>
                <c:pt idx="785">
                  <c:v>2.1000000000000001E-2</c:v>
                </c:pt>
                <c:pt idx="786">
                  <c:v>5.0000000000000001E-3</c:v>
                </c:pt>
                <c:pt idx="787">
                  <c:v>6.8000000000000005E-2</c:v>
                </c:pt>
                <c:pt idx="788">
                  <c:v>0.03</c:v>
                </c:pt>
                <c:pt idx="789">
                  <c:v>0.14099999999999999</c:v>
                </c:pt>
                <c:pt idx="790">
                  <c:v>1.7000000000000001E-2</c:v>
                </c:pt>
                <c:pt idx="791">
                  <c:v>3.5000000000000003E-2</c:v>
                </c:pt>
                <c:pt idx="792">
                  <c:v>2E-3</c:v>
                </c:pt>
                <c:pt idx="793">
                  <c:v>8.0000000000000002E-3</c:v>
                </c:pt>
                <c:pt idx="794">
                  <c:v>3.6999999999999998E-2</c:v>
                </c:pt>
                <c:pt idx="795">
                  <c:v>0.17299999999999999</c:v>
                </c:pt>
                <c:pt idx="796">
                  <c:v>0.128</c:v>
                </c:pt>
                <c:pt idx="797">
                  <c:v>8.0000000000000002E-3</c:v>
                </c:pt>
                <c:pt idx="798">
                  <c:v>4.9000000000000002E-2</c:v>
                </c:pt>
                <c:pt idx="799">
                  <c:v>6.4000000000000001E-2</c:v>
                </c:pt>
                <c:pt idx="800">
                  <c:v>1.7000000000000001E-2</c:v>
                </c:pt>
                <c:pt idx="801">
                  <c:v>0.26100000000000001</c:v>
                </c:pt>
                <c:pt idx="802">
                  <c:v>4.0000000000000001E-3</c:v>
                </c:pt>
                <c:pt idx="803">
                  <c:v>7.8E-2</c:v>
                </c:pt>
                <c:pt idx="804">
                  <c:v>2.3E-2</c:v>
                </c:pt>
                <c:pt idx="805">
                  <c:v>8.0000000000000002E-3</c:v>
                </c:pt>
                <c:pt idx="806">
                  <c:v>1.7000000000000001E-2</c:v>
                </c:pt>
                <c:pt idx="807">
                  <c:v>0.05</c:v>
                </c:pt>
                <c:pt idx="808">
                  <c:v>4.0000000000000001E-3</c:v>
                </c:pt>
                <c:pt idx="809">
                  <c:v>0.219</c:v>
                </c:pt>
                <c:pt idx="810">
                  <c:v>3.5999999999999997E-2</c:v>
                </c:pt>
                <c:pt idx="811">
                  <c:v>8.9999999999999993E-3</c:v>
                </c:pt>
                <c:pt idx="812">
                  <c:v>3.2000000000000001E-2</c:v>
                </c:pt>
                <c:pt idx="813">
                  <c:v>6.4000000000000001E-2</c:v>
                </c:pt>
                <c:pt idx="814">
                  <c:v>8.3000000000000004E-2</c:v>
                </c:pt>
                <c:pt idx="815">
                  <c:v>0.155</c:v>
                </c:pt>
                <c:pt idx="816">
                  <c:v>1.2999999999999999E-2</c:v>
                </c:pt>
                <c:pt idx="817">
                  <c:v>4.0000000000000001E-3</c:v>
                </c:pt>
                <c:pt idx="818">
                  <c:v>0.26700000000000002</c:v>
                </c:pt>
                <c:pt idx="819">
                  <c:v>4.1000000000000002E-2</c:v>
                </c:pt>
                <c:pt idx="820">
                  <c:v>0.32900000000000001</c:v>
                </c:pt>
                <c:pt idx="821">
                  <c:v>1.2999999999999999E-2</c:v>
                </c:pt>
                <c:pt idx="822">
                  <c:v>1.2E-2</c:v>
                </c:pt>
                <c:pt idx="823">
                  <c:v>1.7000000000000001E-2</c:v>
                </c:pt>
                <c:pt idx="824">
                  <c:v>8.0000000000000002E-3</c:v>
                </c:pt>
                <c:pt idx="825">
                  <c:v>2E-3</c:v>
                </c:pt>
                <c:pt idx="826">
                  <c:v>8.0000000000000002E-3</c:v>
                </c:pt>
                <c:pt idx="827">
                  <c:v>8.0000000000000002E-3</c:v>
                </c:pt>
                <c:pt idx="828">
                  <c:v>0.32400000000000001</c:v>
                </c:pt>
                <c:pt idx="829">
                  <c:v>8.0000000000000002E-3</c:v>
                </c:pt>
                <c:pt idx="830">
                  <c:v>2.7E-2</c:v>
                </c:pt>
                <c:pt idx="831">
                  <c:v>4.0000000000000001E-3</c:v>
                </c:pt>
                <c:pt idx="832">
                  <c:v>0.13200000000000001</c:v>
                </c:pt>
                <c:pt idx="833">
                  <c:v>3.5000000000000003E-2</c:v>
                </c:pt>
                <c:pt idx="834">
                  <c:v>1.7000000000000001E-2</c:v>
                </c:pt>
                <c:pt idx="835">
                  <c:v>2.1999999999999999E-2</c:v>
                </c:pt>
                <c:pt idx="836">
                  <c:v>0.316</c:v>
                </c:pt>
                <c:pt idx="837">
                  <c:v>0.1</c:v>
                </c:pt>
                <c:pt idx="838">
                  <c:v>5.0000000000000001E-3</c:v>
                </c:pt>
                <c:pt idx="839">
                  <c:v>8.0000000000000002E-3</c:v>
                </c:pt>
                <c:pt idx="840">
                  <c:v>3.6999999999999998E-2</c:v>
                </c:pt>
                <c:pt idx="841">
                  <c:v>5.5E-2</c:v>
                </c:pt>
                <c:pt idx="842">
                  <c:v>5.0000000000000001E-3</c:v>
                </c:pt>
                <c:pt idx="843">
                  <c:v>4.2999999999999997E-2</c:v>
                </c:pt>
                <c:pt idx="844">
                  <c:v>2.1000000000000001E-2</c:v>
                </c:pt>
                <c:pt idx="845">
                  <c:v>4.5999999999999999E-2</c:v>
                </c:pt>
                <c:pt idx="846">
                  <c:v>1.2999999999999999E-2</c:v>
                </c:pt>
                <c:pt idx="847">
                  <c:v>3.0000000000000001E-3</c:v>
                </c:pt>
                <c:pt idx="848">
                  <c:v>3.0000000000000001E-3</c:v>
                </c:pt>
                <c:pt idx="849">
                  <c:v>2E-3</c:v>
                </c:pt>
                <c:pt idx="850">
                  <c:v>4.3999999999999997E-2</c:v>
                </c:pt>
                <c:pt idx="851">
                  <c:v>8.0000000000000002E-3</c:v>
                </c:pt>
                <c:pt idx="852">
                  <c:v>6.6000000000000003E-2</c:v>
                </c:pt>
                <c:pt idx="853">
                  <c:v>0.31</c:v>
                </c:pt>
                <c:pt idx="854">
                  <c:v>3.6999999999999998E-2</c:v>
                </c:pt>
                <c:pt idx="855">
                  <c:v>3.7999999999999999E-2</c:v>
                </c:pt>
                <c:pt idx="856">
                  <c:v>3.5999999999999997E-2</c:v>
                </c:pt>
                <c:pt idx="857">
                  <c:v>4.0000000000000001E-3</c:v>
                </c:pt>
                <c:pt idx="858">
                  <c:v>7.8E-2</c:v>
                </c:pt>
                <c:pt idx="859">
                  <c:v>4.0000000000000001E-3</c:v>
                </c:pt>
                <c:pt idx="860">
                  <c:v>4.0000000000000001E-3</c:v>
                </c:pt>
                <c:pt idx="861">
                  <c:v>5.8999999999999997E-2</c:v>
                </c:pt>
                <c:pt idx="862">
                  <c:v>8.0000000000000002E-3</c:v>
                </c:pt>
                <c:pt idx="863">
                  <c:v>2E-3</c:v>
                </c:pt>
                <c:pt idx="864">
                  <c:v>5.0000000000000001E-3</c:v>
                </c:pt>
                <c:pt idx="865">
                  <c:v>4.0000000000000001E-3</c:v>
                </c:pt>
                <c:pt idx="866">
                  <c:v>7.4999999999999997E-2</c:v>
                </c:pt>
                <c:pt idx="867">
                  <c:v>1.7000000000000001E-2</c:v>
                </c:pt>
                <c:pt idx="868">
                  <c:v>4.4999999999999998E-2</c:v>
                </c:pt>
                <c:pt idx="869">
                  <c:v>3.6999999999999998E-2</c:v>
                </c:pt>
                <c:pt idx="870">
                  <c:v>8.0000000000000002E-3</c:v>
                </c:pt>
                <c:pt idx="871">
                  <c:v>0.05</c:v>
                </c:pt>
                <c:pt idx="872">
                  <c:v>8.7999999999999995E-2</c:v>
                </c:pt>
                <c:pt idx="873">
                  <c:v>0.27900000000000003</c:v>
                </c:pt>
                <c:pt idx="874">
                  <c:v>5.0000000000000001E-3</c:v>
                </c:pt>
                <c:pt idx="875">
                  <c:v>0.05</c:v>
                </c:pt>
                <c:pt idx="876">
                  <c:v>8.9999999999999993E-3</c:v>
                </c:pt>
                <c:pt idx="877">
                  <c:v>2E-3</c:v>
                </c:pt>
                <c:pt idx="878">
                  <c:v>5.0000000000000001E-3</c:v>
                </c:pt>
                <c:pt idx="879">
                  <c:v>1.4E-2</c:v>
                </c:pt>
                <c:pt idx="880">
                  <c:v>5.0000000000000001E-3</c:v>
                </c:pt>
                <c:pt idx="881">
                  <c:v>2E-3</c:v>
                </c:pt>
                <c:pt idx="882">
                  <c:v>4.0000000000000001E-3</c:v>
                </c:pt>
                <c:pt idx="883">
                  <c:v>1.2999999999999999E-2</c:v>
                </c:pt>
                <c:pt idx="884">
                  <c:v>2E-3</c:v>
                </c:pt>
                <c:pt idx="885">
                  <c:v>1.2999999999999999E-2</c:v>
                </c:pt>
                <c:pt idx="886">
                  <c:v>1.7000000000000001E-2</c:v>
                </c:pt>
                <c:pt idx="887">
                  <c:v>2.1000000000000001E-2</c:v>
                </c:pt>
                <c:pt idx="888">
                  <c:v>4.0000000000000001E-3</c:v>
                </c:pt>
                <c:pt idx="889">
                  <c:v>4.5999999999999999E-2</c:v>
                </c:pt>
                <c:pt idx="890">
                  <c:v>0.04</c:v>
                </c:pt>
                <c:pt idx="891">
                  <c:v>1.7000000000000001E-2</c:v>
                </c:pt>
                <c:pt idx="892">
                  <c:v>2.4E-2</c:v>
                </c:pt>
                <c:pt idx="893">
                  <c:v>1.4999999999999999E-2</c:v>
                </c:pt>
                <c:pt idx="894">
                  <c:v>2E-3</c:v>
                </c:pt>
                <c:pt idx="895">
                  <c:v>2.3E-2</c:v>
                </c:pt>
                <c:pt idx="896">
                  <c:v>6.4000000000000001E-2</c:v>
                </c:pt>
                <c:pt idx="897">
                  <c:v>8.0000000000000002E-3</c:v>
                </c:pt>
                <c:pt idx="898">
                  <c:v>0.187</c:v>
                </c:pt>
                <c:pt idx="899">
                  <c:v>4.1000000000000002E-2</c:v>
                </c:pt>
                <c:pt idx="900">
                  <c:v>2.1999999999999999E-2</c:v>
                </c:pt>
                <c:pt idx="901">
                  <c:v>1.2999999999999999E-2</c:v>
                </c:pt>
                <c:pt idx="902">
                  <c:v>3.6999999999999998E-2</c:v>
                </c:pt>
                <c:pt idx="903">
                  <c:v>7.0000000000000007E-2</c:v>
                </c:pt>
                <c:pt idx="904">
                  <c:v>2E-3</c:v>
                </c:pt>
                <c:pt idx="905">
                  <c:v>1.4E-2</c:v>
                </c:pt>
                <c:pt idx="906">
                  <c:v>8.0000000000000002E-3</c:v>
                </c:pt>
                <c:pt idx="907">
                  <c:v>2E-3</c:v>
                </c:pt>
                <c:pt idx="908">
                  <c:v>2.7E-2</c:v>
                </c:pt>
                <c:pt idx="909">
                  <c:v>3.0000000000000001E-3</c:v>
                </c:pt>
                <c:pt idx="910">
                  <c:v>4.0000000000000001E-3</c:v>
                </c:pt>
                <c:pt idx="911">
                  <c:v>2E-3</c:v>
                </c:pt>
                <c:pt idx="912">
                  <c:v>8.0000000000000002E-3</c:v>
                </c:pt>
                <c:pt idx="913">
                  <c:v>4.0000000000000001E-3</c:v>
                </c:pt>
                <c:pt idx="914">
                  <c:v>0.17799999999999999</c:v>
                </c:pt>
                <c:pt idx="915">
                  <c:v>1.0999999999999999E-2</c:v>
                </c:pt>
                <c:pt idx="916">
                  <c:v>1.7999999999999999E-2</c:v>
                </c:pt>
                <c:pt idx="917">
                  <c:v>4.1000000000000002E-2</c:v>
                </c:pt>
                <c:pt idx="918">
                  <c:v>4.0000000000000001E-3</c:v>
                </c:pt>
                <c:pt idx="919">
                  <c:v>2E-3</c:v>
                </c:pt>
                <c:pt idx="920">
                  <c:v>0.08</c:v>
                </c:pt>
                <c:pt idx="921">
                  <c:v>2.4E-2</c:v>
                </c:pt>
                <c:pt idx="922">
                  <c:v>5.0000000000000001E-3</c:v>
                </c:pt>
                <c:pt idx="923">
                  <c:v>3.6999999999999998E-2</c:v>
                </c:pt>
                <c:pt idx="924">
                  <c:v>8.0000000000000002E-3</c:v>
                </c:pt>
                <c:pt idx="925">
                  <c:v>2.7E-2</c:v>
                </c:pt>
                <c:pt idx="926">
                  <c:v>4.5999999999999999E-2</c:v>
                </c:pt>
                <c:pt idx="927">
                  <c:v>0.26600000000000001</c:v>
                </c:pt>
                <c:pt idx="928">
                  <c:v>5.0000000000000001E-3</c:v>
                </c:pt>
                <c:pt idx="929">
                  <c:v>2E-3</c:v>
                </c:pt>
                <c:pt idx="930">
                  <c:v>7.5999999999999998E-2</c:v>
                </c:pt>
                <c:pt idx="931">
                  <c:v>5.0000000000000001E-3</c:v>
                </c:pt>
                <c:pt idx="932">
                  <c:v>4.5999999999999999E-2</c:v>
                </c:pt>
                <c:pt idx="933">
                  <c:v>4.1000000000000002E-2</c:v>
                </c:pt>
                <c:pt idx="934">
                  <c:v>8.0000000000000002E-3</c:v>
                </c:pt>
                <c:pt idx="935">
                  <c:v>7.2999999999999995E-2</c:v>
                </c:pt>
                <c:pt idx="936">
                  <c:v>7.8E-2</c:v>
                </c:pt>
                <c:pt idx="937">
                  <c:v>2E-3</c:v>
                </c:pt>
                <c:pt idx="938">
                  <c:v>8.0000000000000002E-3</c:v>
                </c:pt>
                <c:pt idx="939">
                  <c:v>0.13800000000000001</c:v>
                </c:pt>
                <c:pt idx="940">
                  <c:v>1.7000000000000001E-2</c:v>
                </c:pt>
                <c:pt idx="941">
                  <c:v>8.0000000000000002E-3</c:v>
                </c:pt>
                <c:pt idx="942">
                  <c:v>6.4000000000000001E-2</c:v>
                </c:pt>
                <c:pt idx="943">
                  <c:v>1.7000000000000001E-2</c:v>
                </c:pt>
                <c:pt idx="944">
                  <c:v>1.2999999999999999E-2</c:v>
                </c:pt>
                <c:pt idx="945">
                  <c:v>8.0000000000000002E-3</c:v>
                </c:pt>
                <c:pt idx="946">
                  <c:v>5.0000000000000001E-3</c:v>
                </c:pt>
                <c:pt idx="947">
                  <c:v>2E-3</c:v>
                </c:pt>
                <c:pt idx="948">
                  <c:v>0.13</c:v>
                </c:pt>
                <c:pt idx="949">
                  <c:v>1.2999999999999999E-2</c:v>
                </c:pt>
                <c:pt idx="950">
                  <c:v>6.8000000000000005E-2</c:v>
                </c:pt>
                <c:pt idx="951">
                  <c:v>2.3E-2</c:v>
                </c:pt>
                <c:pt idx="952">
                  <c:v>4.5999999999999999E-2</c:v>
                </c:pt>
                <c:pt idx="953">
                  <c:v>3.2000000000000001E-2</c:v>
                </c:pt>
                <c:pt idx="954">
                  <c:v>5.0000000000000001E-3</c:v>
                </c:pt>
                <c:pt idx="955">
                  <c:v>5.3999999999999999E-2</c:v>
                </c:pt>
                <c:pt idx="956">
                  <c:v>0.123</c:v>
                </c:pt>
                <c:pt idx="957">
                  <c:v>2E-3</c:v>
                </c:pt>
                <c:pt idx="958">
                  <c:v>2E-3</c:v>
                </c:pt>
                <c:pt idx="959">
                  <c:v>8.6999999999999994E-2</c:v>
                </c:pt>
                <c:pt idx="960">
                  <c:v>4.1000000000000002E-2</c:v>
                </c:pt>
                <c:pt idx="961">
                  <c:v>0.106</c:v>
                </c:pt>
                <c:pt idx="962">
                  <c:v>2E-3</c:v>
                </c:pt>
                <c:pt idx="963">
                  <c:v>4.5999999999999999E-2</c:v>
                </c:pt>
                <c:pt idx="964">
                  <c:v>0.123</c:v>
                </c:pt>
                <c:pt idx="965">
                  <c:v>5.0000000000000001E-3</c:v>
                </c:pt>
                <c:pt idx="966">
                  <c:v>4.5999999999999999E-2</c:v>
                </c:pt>
                <c:pt idx="967">
                  <c:v>8.0000000000000002E-3</c:v>
                </c:pt>
                <c:pt idx="968">
                  <c:v>6.8000000000000005E-2</c:v>
                </c:pt>
                <c:pt idx="969">
                  <c:v>1.2999999999999999E-2</c:v>
                </c:pt>
                <c:pt idx="970">
                  <c:v>0.05</c:v>
                </c:pt>
                <c:pt idx="971">
                  <c:v>2E-3</c:v>
                </c:pt>
                <c:pt idx="972">
                  <c:v>1.2E-2</c:v>
                </c:pt>
                <c:pt idx="973">
                  <c:v>3.6999999999999998E-2</c:v>
                </c:pt>
                <c:pt idx="974">
                  <c:v>9.4E-2</c:v>
                </c:pt>
                <c:pt idx="975">
                  <c:v>5.0000000000000001E-3</c:v>
                </c:pt>
                <c:pt idx="976">
                  <c:v>8.9999999999999993E-3</c:v>
                </c:pt>
                <c:pt idx="977">
                  <c:v>5.0000000000000001E-3</c:v>
                </c:pt>
                <c:pt idx="978">
                  <c:v>1.2999999999999999E-2</c:v>
                </c:pt>
                <c:pt idx="979">
                  <c:v>1.9E-2</c:v>
                </c:pt>
                <c:pt idx="980">
                  <c:v>1.7000000000000001E-2</c:v>
                </c:pt>
                <c:pt idx="981">
                  <c:v>2.5999999999999999E-2</c:v>
                </c:pt>
                <c:pt idx="982">
                  <c:v>5.3999999999999999E-2</c:v>
                </c:pt>
                <c:pt idx="983">
                  <c:v>0.114</c:v>
                </c:pt>
                <c:pt idx="984">
                  <c:v>8.0000000000000002E-3</c:v>
                </c:pt>
                <c:pt idx="985">
                  <c:v>3.2000000000000001E-2</c:v>
                </c:pt>
                <c:pt idx="986">
                  <c:v>0.13200000000000001</c:v>
                </c:pt>
                <c:pt idx="987">
                  <c:v>4.0000000000000001E-3</c:v>
                </c:pt>
                <c:pt idx="988">
                  <c:v>2E-3</c:v>
                </c:pt>
                <c:pt idx="989">
                  <c:v>1.7000000000000001E-2</c:v>
                </c:pt>
                <c:pt idx="990">
                  <c:v>7.5999999999999998E-2</c:v>
                </c:pt>
                <c:pt idx="991">
                  <c:v>1.2999999999999999E-2</c:v>
                </c:pt>
                <c:pt idx="992">
                  <c:v>5.0000000000000001E-3</c:v>
                </c:pt>
                <c:pt idx="993">
                  <c:v>4.5999999999999999E-2</c:v>
                </c:pt>
                <c:pt idx="994">
                  <c:v>8.0000000000000002E-3</c:v>
                </c:pt>
                <c:pt idx="995">
                  <c:v>1.7999999999999999E-2</c:v>
                </c:pt>
                <c:pt idx="996">
                  <c:v>5.2999999999999999E-2</c:v>
                </c:pt>
                <c:pt idx="997">
                  <c:v>2.7E-2</c:v>
                </c:pt>
                <c:pt idx="998">
                  <c:v>8.9999999999999993E-3</c:v>
                </c:pt>
                <c:pt idx="999">
                  <c:v>4.0000000000000001E-3</c:v>
                </c:pt>
                <c:pt idx="1000">
                  <c:v>8.0000000000000002E-3</c:v>
                </c:pt>
                <c:pt idx="1001">
                  <c:v>2.7E-2</c:v>
                </c:pt>
                <c:pt idx="1002">
                  <c:v>1.0999999999999999E-2</c:v>
                </c:pt>
                <c:pt idx="1003">
                  <c:v>5.8999999999999997E-2</c:v>
                </c:pt>
                <c:pt idx="1004">
                  <c:v>5.0000000000000001E-3</c:v>
                </c:pt>
                <c:pt idx="1005">
                  <c:v>1.7999999999999999E-2</c:v>
                </c:pt>
                <c:pt idx="1006">
                  <c:v>8.3000000000000004E-2</c:v>
                </c:pt>
                <c:pt idx="1007">
                  <c:v>5.0000000000000001E-3</c:v>
                </c:pt>
                <c:pt idx="1008">
                  <c:v>2.7E-2</c:v>
                </c:pt>
                <c:pt idx="1009">
                  <c:v>8.0000000000000002E-3</c:v>
                </c:pt>
                <c:pt idx="1010">
                  <c:v>5.0000000000000001E-3</c:v>
                </c:pt>
                <c:pt idx="1011">
                  <c:v>2E-3</c:v>
                </c:pt>
                <c:pt idx="1012">
                  <c:v>1.0999999999999999E-2</c:v>
                </c:pt>
                <c:pt idx="1013">
                  <c:v>0.01</c:v>
                </c:pt>
                <c:pt idx="1014">
                  <c:v>0.01</c:v>
                </c:pt>
                <c:pt idx="1015">
                  <c:v>8.0000000000000002E-3</c:v>
                </c:pt>
                <c:pt idx="1016">
                  <c:v>2.3E-2</c:v>
                </c:pt>
                <c:pt idx="1017">
                  <c:v>8.0000000000000002E-3</c:v>
                </c:pt>
                <c:pt idx="1018">
                  <c:v>5.0000000000000001E-3</c:v>
                </c:pt>
                <c:pt idx="1019">
                  <c:v>5.0000000000000001E-3</c:v>
                </c:pt>
                <c:pt idx="1020">
                  <c:v>2.1999999999999999E-2</c:v>
                </c:pt>
                <c:pt idx="1021">
                  <c:v>1.2E-2</c:v>
                </c:pt>
                <c:pt idx="1022">
                  <c:v>8.9999999999999993E-3</c:v>
                </c:pt>
                <c:pt idx="1023">
                  <c:v>3.2000000000000001E-2</c:v>
                </c:pt>
                <c:pt idx="1024">
                  <c:v>2.3E-2</c:v>
                </c:pt>
                <c:pt idx="1025">
                  <c:v>1.4999999999999999E-2</c:v>
                </c:pt>
                <c:pt idx="1026">
                  <c:v>8.0000000000000002E-3</c:v>
                </c:pt>
                <c:pt idx="1027">
                  <c:v>8.0000000000000002E-3</c:v>
                </c:pt>
                <c:pt idx="1028">
                  <c:v>8.0000000000000002E-3</c:v>
                </c:pt>
                <c:pt idx="1029">
                  <c:v>1.7999999999999999E-2</c:v>
                </c:pt>
                <c:pt idx="1030">
                  <c:v>5.8999999999999997E-2</c:v>
                </c:pt>
                <c:pt idx="1031">
                  <c:v>0.109</c:v>
                </c:pt>
                <c:pt idx="1032">
                  <c:v>1.6E-2</c:v>
                </c:pt>
                <c:pt idx="1033">
                  <c:v>1.7000000000000001E-2</c:v>
                </c:pt>
                <c:pt idx="1034">
                  <c:v>1.7000000000000001E-2</c:v>
                </c:pt>
                <c:pt idx="1035">
                  <c:v>1.6E-2</c:v>
                </c:pt>
                <c:pt idx="1036">
                  <c:v>4.3999999999999997E-2</c:v>
                </c:pt>
                <c:pt idx="1037">
                  <c:v>8.0000000000000002E-3</c:v>
                </c:pt>
                <c:pt idx="1038">
                  <c:v>8.9999999999999993E-3</c:v>
                </c:pt>
                <c:pt idx="1039">
                  <c:v>0.05</c:v>
                </c:pt>
                <c:pt idx="1040">
                  <c:v>4.1000000000000002E-2</c:v>
                </c:pt>
                <c:pt idx="1041">
                  <c:v>3.7999999999999999E-2</c:v>
                </c:pt>
                <c:pt idx="1042">
                  <c:v>8.0000000000000002E-3</c:v>
                </c:pt>
                <c:pt idx="1043">
                  <c:v>3.0000000000000001E-3</c:v>
                </c:pt>
                <c:pt idx="1044">
                  <c:v>8.9999999999999993E-3</c:v>
                </c:pt>
                <c:pt idx="1045">
                  <c:v>8.0000000000000002E-3</c:v>
                </c:pt>
                <c:pt idx="1046">
                  <c:v>3.6999999999999998E-2</c:v>
                </c:pt>
                <c:pt idx="1047">
                  <c:v>8.0000000000000002E-3</c:v>
                </c:pt>
                <c:pt idx="1048">
                  <c:v>2.7E-2</c:v>
                </c:pt>
                <c:pt idx="1049">
                  <c:v>8.0000000000000002E-3</c:v>
                </c:pt>
                <c:pt idx="1050">
                  <c:v>5.0000000000000001E-3</c:v>
                </c:pt>
                <c:pt idx="1051">
                  <c:v>1.7999999999999999E-2</c:v>
                </c:pt>
                <c:pt idx="1052">
                  <c:v>1.7999999999999999E-2</c:v>
                </c:pt>
                <c:pt idx="1053">
                  <c:v>0.187</c:v>
                </c:pt>
                <c:pt idx="1054">
                  <c:v>5.5E-2</c:v>
                </c:pt>
                <c:pt idx="1055">
                  <c:v>5.5E-2</c:v>
                </c:pt>
                <c:pt idx="1056">
                  <c:v>0.28299999999999997</c:v>
                </c:pt>
                <c:pt idx="1057">
                  <c:v>0.26900000000000002</c:v>
                </c:pt>
                <c:pt idx="1058">
                  <c:v>8.0000000000000002E-3</c:v>
                </c:pt>
                <c:pt idx="1059">
                  <c:v>4.0000000000000001E-3</c:v>
                </c:pt>
                <c:pt idx="1060">
                  <c:v>2E-3</c:v>
                </c:pt>
                <c:pt idx="1061">
                  <c:v>2.3E-2</c:v>
                </c:pt>
                <c:pt idx="1062">
                  <c:v>8.9999999999999993E-3</c:v>
                </c:pt>
                <c:pt idx="1063">
                  <c:v>4.0000000000000001E-3</c:v>
                </c:pt>
                <c:pt idx="1064">
                  <c:v>2.7E-2</c:v>
                </c:pt>
                <c:pt idx="1065">
                  <c:v>5.0000000000000001E-3</c:v>
                </c:pt>
                <c:pt idx="1066">
                  <c:v>8.0000000000000002E-3</c:v>
                </c:pt>
                <c:pt idx="1067">
                  <c:v>8.0000000000000002E-3</c:v>
                </c:pt>
                <c:pt idx="1068">
                  <c:v>8.9999999999999993E-3</c:v>
                </c:pt>
                <c:pt idx="1069">
                  <c:v>8.0000000000000002E-3</c:v>
                </c:pt>
                <c:pt idx="1070">
                  <c:v>8.9999999999999993E-3</c:v>
                </c:pt>
                <c:pt idx="1071">
                  <c:v>8.9999999999999993E-3</c:v>
                </c:pt>
                <c:pt idx="1072">
                  <c:v>1.2999999999999999E-2</c:v>
                </c:pt>
                <c:pt idx="1073">
                  <c:v>2.7E-2</c:v>
                </c:pt>
                <c:pt idx="1074">
                  <c:v>4.0000000000000001E-3</c:v>
                </c:pt>
                <c:pt idx="1075">
                  <c:v>1.2999999999999999E-2</c:v>
                </c:pt>
                <c:pt idx="1076">
                  <c:v>0.17299999999999999</c:v>
                </c:pt>
                <c:pt idx="1077">
                  <c:v>2E-3</c:v>
                </c:pt>
                <c:pt idx="1078">
                  <c:v>0.04</c:v>
                </c:pt>
                <c:pt idx="1079">
                  <c:v>5.0000000000000001E-3</c:v>
                </c:pt>
                <c:pt idx="1080">
                  <c:v>4.0000000000000001E-3</c:v>
                </c:pt>
                <c:pt idx="1081">
                  <c:v>1.2E-2</c:v>
                </c:pt>
                <c:pt idx="1082">
                  <c:v>2.3E-2</c:v>
                </c:pt>
                <c:pt idx="1083">
                  <c:v>2.7E-2</c:v>
                </c:pt>
                <c:pt idx="1084">
                  <c:v>8.9999999999999993E-3</c:v>
                </c:pt>
                <c:pt idx="1085">
                  <c:v>8.6999999999999994E-2</c:v>
                </c:pt>
                <c:pt idx="1086">
                  <c:v>5.0000000000000001E-3</c:v>
                </c:pt>
                <c:pt idx="1087">
                  <c:v>2.1000000000000001E-2</c:v>
                </c:pt>
                <c:pt idx="1088">
                  <c:v>5.0000000000000001E-3</c:v>
                </c:pt>
                <c:pt idx="1089">
                  <c:v>2E-3</c:v>
                </c:pt>
                <c:pt idx="1090">
                  <c:v>0.05</c:v>
                </c:pt>
                <c:pt idx="1091">
                  <c:v>2E-3</c:v>
                </c:pt>
                <c:pt idx="1092">
                  <c:v>2.5000000000000001E-2</c:v>
                </c:pt>
                <c:pt idx="1093">
                  <c:v>4.0000000000000001E-3</c:v>
                </c:pt>
                <c:pt idx="1094">
                  <c:v>2E-3</c:v>
                </c:pt>
                <c:pt idx="1095">
                  <c:v>8.9999999999999993E-3</c:v>
                </c:pt>
                <c:pt idx="1096">
                  <c:v>2E-3</c:v>
                </c:pt>
                <c:pt idx="1097">
                  <c:v>0.126</c:v>
                </c:pt>
                <c:pt idx="1098">
                  <c:v>1.7999999999999999E-2</c:v>
                </c:pt>
                <c:pt idx="1099">
                  <c:v>8.0000000000000002E-3</c:v>
                </c:pt>
                <c:pt idx="1100">
                  <c:v>1.7999999999999999E-2</c:v>
                </c:pt>
                <c:pt idx="1101">
                  <c:v>3.6999999999999998E-2</c:v>
                </c:pt>
                <c:pt idx="1102">
                  <c:v>4.0000000000000001E-3</c:v>
                </c:pt>
                <c:pt idx="1103">
                  <c:v>2E-3</c:v>
                </c:pt>
                <c:pt idx="1104">
                  <c:v>4.1000000000000002E-2</c:v>
                </c:pt>
                <c:pt idx="1105">
                  <c:v>5.0000000000000001E-3</c:v>
                </c:pt>
                <c:pt idx="1106">
                  <c:v>8.0000000000000002E-3</c:v>
                </c:pt>
                <c:pt idx="1107">
                  <c:v>2.7E-2</c:v>
                </c:pt>
                <c:pt idx="1108">
                  <c:v>4.0000000000000001E-3</c:v>
                </c:pt>
                <c:pt idx="1109">
                  <c:v>4.0000000000000001E-3</c:v>
                </c:pt>
                <c:pt idx="1110">
                  <c:v>8.0000000000000002E-3</c:v>
                </c:pt>
                <c:pt idx="1111">
                  <c:v>1.2999999999999999E-2</c:v>
                </c:pt>
                <c:pt idx="1112">
                  <c:v>3.6999999999999998E-2</c:v>
                </c:pt>
                <c:pt idx="1113">
                  <c:v>4.0000000000000001E-3</c:v>
                </c:pt>
                <c:pt idx="1114">
                  <c:v>4.1000000000000002E-2</c:v>
                </c:pt>
                <c:pt idx="1115">
                  <c:v>3.1E-2</c:v>
                </c:pt>
                <c:pt idx="1116">
                  <c:v>2E-3</c:v>
                </c:pt>
                <c:pt idx="1117">
                  <c:v>8.0000000000000002E-3</c:v>
                </c:pt>
                <c:pt idx="1118">
                  <c:v>2E-3</c:v>
                </c:pt>
                <c:pt idx="1119">
                  <c:v>4.5999999999999999E-2</c:v>
                </c:pt>
                <c:pt idx="1120">
                  <c:v>1.7000000000000001E-2</c:v>
                </c:pt>
                <c:pt idx="1121">
                  <c:v>5.0000000000000001E-3</c:v>
                </c:pt>
                <c:pt idx="1122">
                  <c:v>5.0000000000000001E-3</c:v>
                </c:pt>
                <c:pt idx="1123">
                  <c:v>5.0000000000000001E-3</c:v>
                </c:pt>
                <c:pt idx="1124">
                  <c:v>5.0000000000000001E-3</c:v>
                </c:pt>
                <c:pt idx="1125">
                  <c:v>6.0000000000000001E-3</c:v>
                </c:pt>
                <c:pt idx="1126">
                  <c:v>5.0000000000000001E-3</c:v>
                </c:pt>
                <c:pt idx="1127">
                  <c:v>4.0000000000000001E-3</c:v>
                </c:pt>
                <c:pt idx="1128">
                  <c:v>4.0000000000000001E-3</c:v>
                </c:pt>
                <c:pt idx="1129">
                  <c:v>1.4E-2</c:v>
                </c:pt>
                <c:pt idx="1130">
                  <c:v>2E-3</c:v>
                </c:pt>
                <c:pt idx="1131">
                  <c:v>4.0000000000000001E-3</c:v>
                </c:pt>
                <c:pt idx="1132">
                  <c:v>8.0000000000000002E-3</c:v>
                </c:pt>
                <c:pt idx="1133">
                  <c:v>1.7000000000000001E-2</c:v>
                </c:pt>
                <c:pt idx="1134">
                  <c:v>8.9999999999999993E-3</c:v>
                </c:pt>
                <c:pt idx="1135">
                  <c:v>5.0000000000000001E-3</c:v>
                </c:pt>
                <c:pt idx="1136">
                  <c:v>3.2000000000000001E-2</c:v>
                </c:pt>
                <c:pt idx="1137">
                  <c:v>8.0000000000000002E-3</c:v>
                </c:pt>
                <c:pt idx="1138">
                  <c:v>2.7E-2</c:v>
                </c:pt>
                <c:pt idx="1139">
                  <c:v>8.0000000000000002E-3</c:v>
                </c:pt>
                <c:pt idx="1140">
                  <c:v>8.9999999999999993E-3</c:v>
                </c:pt>
                <c:pt idx="1141">
                  <c:v>2.7E-2</c:v>
                </c:pt>
                <c:pt idx="1142">
                  <c:v>8.0000000000000002E-3</c:v>
                </c:pt>
                <c:pt idx="1143">
                  <c:v>8.0000000000000002E-3</c:v>
                </c:pt>
                <c:pt idx="1144">
                  <c:v>8.9999999999999993E-3</c:v>
                </c:pt>
                <c:pt idx="1145">
                  <c:v>8.9999999999999993E-3</c:v>
                </c:pt>
                <c:pt idx="1146">
                  <c:v>0.03</c:v>
                </c:pt>
                <c:pt idx="1147">
                  <c:v>1.7999999999999999E-2</c:v>
                </c:pt>
                <c:pt idx="1148">
                  <c:v>1.2999999999999999E-2</c:v>
                </c:pt>
                <c:pt idx="1149">
                  <c:v>3.6999999999999998E-2</c:v>
                </c:pt>
                <c:pt idx="1150">
                  <c:v>1.7999999999999999E-2</c:v>
                </c:pt>
                <c:pt idx="1151">
                  <c:v>4.0000000000000001E-3</c:v>
                </c:pt>
                <c:pt idx="1152">
                  <c:v>5.0000000000000001E-3</c:v>
                </c:pt>
                <c:pt idx="1153">
                  <c:v>1.4E-2</c:v>
                </c:pt>
                <c:pt idx="1154">
                  <c:v>0.05</c:v>
                </c:pt>
                <c:pt idx="1155">
                  <c:v>0.114</c:v>
                </c:pt>
                <c:pt idx="1156">
                  <c:v>4.5999999999999999E-2</c:v>
                </c:pt>
                <c:pt idx="1157">
                  <c:v>3.2000000000000001E-2</c:v>
                </c:pt>
                <c:pt idx="1158">
                  <c:v>3.2000000000000001E-2</c:v>
                </c:pt>
                <c:pt idx="1159">
                  <c:v>8.0000000000000002E-3</c:v>
                </c:pt>
                <c:pt idx="1160">
                  <c:v>8.9999999999999993E-3</c:v>
                </c:pt>
                <c:pt idx="1161">
                  <c:v>2E-3</c:v>
                </c:pt>
                <c:pt idx="1162">
                  <c:v>1.2999999999999999E-2</c:v>
                </c:pt>
                <c:pt idx="1163">
                  <c:v>3.6999999999999998E-2</c:v>
                </c:pt>
                <c:pt idx="1164">
                  <c:v>2E-3</c:v>
                </c:pt>
                <c:pt idx="1165">
                  <c:v>2E-3</c:v>
                </c:pt>
                <c:pt idx="1166">
                  <c:v>6.0000000000000001E-3</c:v>
                </c:pt>
                <c:pt idx="1167">
                  <c:v>8.0000000000000002E-3</c:v>
                </c:pt>
                <c:pt idx="1168">
                  <c:v>5.0000000000000001E-3</c:v>
                </c:pt>
                <c:pt idx="1169">
                  <c:v>1.2999999999999999E-2</c:v>
                </c:pt>
                <c:pt idx="1170">
                  <c:v>8.9999999999999993E-3</c:v>
                </c:pt>
                <c:pt idx="1171">
                  <c:v>8.9999999999999993E-3</c:v>
                </c:pt>
                <c:pt idx="1172">
                  <c:v>5.0000000000000001E-3</c:v>
                </c:pt>
                <c:pt idx="1173">
                  <c:v>1.4E-2</c:v>
                </c:pt>
                <c:pt idx="1174">
                  <c:v>0.01</c:v>
                </c:pt>
                <c:pt idx="1175">
                  <c:v>8.0000000000000002E-3</c:v>
                </c:pt>
                <c:pt idx="1176">
                  <c:v>5.0000000000000001E-3</c:v>
                </c:pt>
                <c:pt idx="1177">
                  <c:v>4.0000000000000001E-3</c:v>
                </c:pt>
                <c:pt idx="1178">
                  <c:v>1.2E-2</c:v>
                </c:pt>
                <c:pt idx="1179">
                  <c:v>1.7000000000000001E-2</c:v>
                </c:pt>
                <c:pt idx="1180">
                  <c:v>2E-3</c:v>
                </c:pt>
                <c:pt idx="1181">
                  <c:v>1.2E-2</c:v>
                </c:pt>
                <c:pt idx="1182">
                  <c:v>4.0000000000000001E-3</c:v>
                </c:pt>
                <c:pt idx="1183">
                  <c:v>1.2999999999999999E-2</c:v>
                </c:pt>
                <c:pt idx="1184">
                  <c:v>5.0000000000000001E-3</c:v>
                </c:pt>
                <c:pt idx="1185">
                  <c:v>2E-3</c:v>
                </c:pt>
                <c:pt idx="1186">
                  <c:v>5.0000000000000001E-3</c:v>
                </c:pt>
                <c:pt idx="1187">
                  <c:v>4.0000000000000001E-3</c:v>
                </c:pt>
                <c:pt idx="1188">
                  <c:v>1.0999999999999999E-2</c:v>
                </c:pt>
                <c:pt idx="1189">
                  <c:v>4.0000000000000001E-3</c:v>
                </c:pt>
                <c:pt idx="1190">
                  <c:v>4.0000000000000001E-3</c:v>
                </c:pt>
                <c:pt idx="1191">
                  <c:v>5.0000000000000001E-3</c:v>
                </c:pt>
                <c:pt idx="1192">
                  <c:v>8.0000000000000002E-3</c:v>
                </c:pt>
                <c:pt idx="1193">
                  <c:v>4.0000000000000001E-3</c:v>
                </c:pt>
                <c:pt idx="1194">
                  <c:v>4.0000000000000001E-3</c:v>
                </c:pt>
                <c:pt idx="1195">
                  <c:v>1.2999999999999999E-2</c:v>
                </c:pt>
                <c:pt idx="1196">
                  <c:v>5.0000000000000001E-3</c:v>
                </c:pt>
                <c:pt idx="1197">
                  <c:v>5.0000000000000001E-3</c:v>
                </c:pt>
                <c:pt idx="1198">
                  <c:v>1.4999999999999999E-2</c:v>
                </c:pt>
                <c:pt idx="1199">
                  <c:v>2.3E-2</c:v>
                </c:pt>
                <c:pt idx="1200">
                  <c:v>1.2999999999999999E-2</c:v>
                </c:pt>
                <c:pt idx="1201">
                  <c:v>5.0000000000000001E-3</c:v>
                </c:pt>
                <c:pt idx="1202">
                  <c:v>8.0000000000000002E-3</c:v>
                </c:pt>
                <c:pt idx="1203">
                  <c:v>1.4E-2</c:v>
                </c:pt>
                <c:pt idx="1204">
                  <c:v>4.0000000000000001E-3</c:v>
                </c:pt>
                <c:pt idx="1205">
                  <c:v>2E-3</c:v>
                </c:pt>
                <c:pt idx="1206">
                  <c:v>8.9999999999999993E-3</c:v>
                </c:pt>
                <c:pt idx="1207">
                  <c:v>4.0000000000000001E-3</c:v>
                </c:pt>
                <c:pt idx="1208">
                  <c:v>5.0000000000000001E-3</c:v>
                </c:pt>
                <c:pt idx="1209">
                  <c:v>5.0000000000000001E-3</c:v>
                </c:pt>
                <c:pt idx="1210">
                  <c:v>2.5999999999999999E-2</c:v>
                </c:pt>
                <c:pt idx="1211">
                  <c:v>4.0000000000000001E-3</c:v>
                </c:pt>
                <c:pt idx="1212">
                  <c:v>1.2999999999999999E-2</c:v>
                </c:pt>
                <c:pt idx="1213">
                  <c:v>5.8999999999999997E-2</c:v>
                </c:pt>
                <c:pt idx="1214">
                  <c:v>8.9999999999999993E-3</c:v>
                </c:pt>
                <c:pt idx="1215">
                  <c:v>8.9999999999999993E-3</c:v>
                </c:pt>
                <c:pt idx="1216">
                  <c:v>1.7999999999999999E-2</c:v>
                </c:pt>
                <c:pt idx="1217">
                  <c:v>4.0000000000000001E-3</c:v>
                </c:pt>
                <c:pt idx="1218">
                  <c:v>5.0000000000000001E-3</c:v>
                </c:pt>
                <c:pt idx="1219">
                  <c:v>5.0000000000000001E-3</c:v>
                </c:pt>
                <c:pt idx="1220">
                  <c:v>2E-3</c:v>
                </c:pt>
                <c:pt idx="1221">
                  <c:v>5.0000000000000001E-3</c:v>
                </c:pt>
                <c:pt idx="1222">
                  <c:v>3.2000000000000001E-2</c:v>
                </c:pt>
                <c:pt idx="1223">
                  <c:v>8.9999999999999993E-3</c:v>
                </c:pt>
                <c:pt idx="1224">
                  <c:v>1.4E-2</c:v>
                </c:pt>
                <c:pt idx="1225">
                  <c:v>4.0000000000000001E-3</c:v>
                </c:pt>
                <c:pt idx="1226">
                  <c:v>1.7999999999999999E-2</c:v>
                </c:pt>
                <c:pt idx="1227">
                  <c:v>5.0000000000000001E-3</c:v>
                </c:pt>
                <c:pt idx="1228">
                  <c:v>5.0000000000000001E-3</c:v>
                </c:pt>
                <c:pt idx="1229">
                  <c:v>4.0000000000000001E-3</c:v>
                </c:pt>
                <c:pt idx="1230">
                  <c:v>0.05</c:v>
                </c:pt>
                <c:pt idx="1231">
                  <c:v>2E-3</c:v>
                </c:pt>
                <c:pt idx="1232">
                  <c:v>2.7E-2</c:v>
                </c:pt>
                <c:pt idx="1233">
                  <c:v>1.2999999999999999E-2</c:v>
                </c:pt>
                <c:pt idx="1234">
                  <c:v>8.9999999999999993E-3</c:v>
                </c:pt>
                <c:pt idx="1235">
                  <c:v>2.3E-2</c:v>
                </c:pt>
                <c:pt idx="1236">
                  <c:v>4.0000000000000001E-3</c:v>
                </c:pt>
                <c:pt idx="1237">
                  <c:v>1.7000000000000001E-2</c:v>
                </c:pt>
                <c:pt idx="1238">
                  <c:v>5.0000000000000001E-3</c:v>
                </c:pt>
                <c:pt idx="1239">
                  <c:v>2.1999999999999999E-2</c:v>
                </c:pt>
                <c:pt idx="1240">
                  <c:v>8.0000000000000002E-3</c:v>
                </c:pt>
                <c:pt idx="1241">
                  <c:v>8.9999999999999993E-3</c:v>
                </c:pt>
                <c:pt idx="1242">
                  <c:v>2.4E-2</c:v>
                </c:pt>
                <c:pt idx="1243">
                  <c:v>8.0000000000000002E-3</c:v>
                </c:pt>
                <c:pt idx="1244">
                  <c:v>2.7E-2</c:v>
                </c:pt>
                <c:pt idx="1245">
                  <c:v>5.0000000000000001E-3</c:v>
                </c:pt>
                <c:pt idx="1246">
                  <c:v>5.0000000000000001E-3</c:v>
                </c:pt>
                <c:pt idx="1247">
                  <c:v>1.2E-2</c:v>
                </c:pt>
                <c:pt idx="1248">
                  <c:v>2.3E-2</c:v>
                </c:pt>
                <c:pt idx="1249">
                  <c:v>5.0000000000000001E-3</c:v>
                </c:pt>
                <c:pt idx="1250">
                  <c:v>2.3E-2</c:v>
                </c:pt>
                <c:pt idx="1251">
                  <c:v>5.0000000000000001E-3</c:v>
                </c:pt>
                <c:pt idx="1252">
                  <c:v>4.0000000000000001E-3</c:v>
                </c:pt>
                <c:pt idx="1253">
                  <c:v>5.0000000000000001E-3</c:v>
                </c:pt>
                <c:pt idx="1254">
                  <c:v>5.0000000000000001E-3</c:v>
                </c:pt>
                <c:pt idx="1255">
                  <c:v>3.6999999999999998E-2</c:v>
                </c:pt>
                <c:pt idx="1256">
                  <c:v>8.9999999999999993E-3</c:v>
                </c:pt>
                <c:pt idx="1257">
                  <c:v>1.7999999999999999E-2</c:v>
                </c:pt>
                <c:pt idx="1258">
                  <c:v>4.0000000000000001E-3</c:v>
                </c:pt>
                <c:pt idx="1259">
                  <c:v>4.0000000000000001E-3</c:v>
                </c:pt>
                <c:pt idx="1260">
                  <c:v>5.0000000000000001E-3</c:v>
                </c:pt>
                <c:pt idx="1261">
                  <c:v>1.2999999999999999E-2</c:v>
                </c:pt>
                <c:pt idx="1262">
                  <c:v>1.4E-2</c:v>
                </c:pt>
                <c:pt idx="1263">
                  <c:v>5.0000000000000001E-3</c:v>
                </c:pt>
                <c:pt idx="1264">
                  <c:v>3.2000000000000001E-2</c:v>
                </c:pt>
                <c:pt idx="1265">
                  <c:v>3.6999999999999998E-2</c:v>
                </c:pt>
                <c:pt idx="1266">
                  <c:v>1.2999999999999999E-2</c:v>
                </c:pt>
                <c:pt idx="1267">
                  <c:v>1.2999999999999999E-2</c:v>
                </c:pt>
                <c:pt idx="1268">
                  <c:v>1.7999999999999999E-2</c:v>
                </c:pt>
                <c:pt idx="1269">
                  <c:v>2.3E-2</c:v>
                </c:pt>
                <c:pt idx="1270">
                  <c:v>4.0000000000000001E-3</c:v>
                </c:pt>
                <c:pt idx="1271">
                  <c:v>2.3E-2</c:v>
                </c:pt>
                <c:pt idx="1272">
                  <c:v>5.0000000000000001E-3</c:v>
                </c:pt>
                <c:pt idx="1273">
                  <c:v>8.9999999999999993E-3</c:v>
                </c:pt>
                <c:pt idx="1274">
                  <c:v>0.14000000000000001</c:v>
                </c:pt>
                <c:pt idx="1275">
                  <c:v>3.1E-2</c:v>
                </c:pt>
                <c:pt idx="1276">
                  <c:v>8.9999999999999993E-3</c:v>
                </c:pt>
                <c:pt idx="1277">
                  <c:v>5.0000000000000001E-3</c:v>
                </c:pt>
                <c:pt idx="1278">
                  <c:v>4.0000000000000001E-3</c:v>
                </c:pt>
                <c:pt idx="1279">
                  <c:v>2E-3</c:v>
                </c:pt>
                <c:pt idx="1280">
                  <c:v>4.0000000000000001E-3</c:v>
                </c:pt>
                <c:pt idx="1281">
                  <c:v>8.0000000000000002E-3</c:v>
                </c:pt>
                <c:pt idx="1282">
                  <c:v>4.0000000000000001E-3</c:v>
                </c:pt>
                <c:pt idx="1283">
                  <c:v>8.0000000000000002E-3</c:v>
                </c:pt>
                <c:pt idx="1284">
                  <c:v>4.0000000000000001E-3</c:v>
                </c:pt>
                <c:pt idx="1285">
                  <c:v>4.0000000000000001E-3</c:v>
                </c:pt>
                <c:pt idx="1286">
                  <c:v>2E-3</c:v>
                </c:pt>
                <c:pt idx="1287">
                  <c:v>5.0000000000000001E-3</c:v>
                </c:pt>
                <c:pt idx="1288">
                  <c:v>5.0000000000000001E-3</c:v>
                </c:pt>
                <c:pt idx="1289">
                  <c:v>8.9999999999999993E-3</c:v>
                </c:pt>
                <c:pt idx="1290">
                  <c:v>4.0000000000000001E-3</c:v>
                </c:pt>
                <c:pt idx="1291">
                  <c:v>4.0000000000000001E-3</c:v>
                </c:pt>
                <c:pt idx="1292">
                  <c:v>5.8999999999999997E-2</c:v>
                </c:pt>
                <c:pt idx="1293">
                  <c:v>5.0000000000000001E-3</c:v>
                </c:pt>
                <c:pt idx="1294">
                  <c:v>1.6E-2</c:v>
                </c:pt>
                <c:pt idx="1295">
                  <c:v>1.4E-2</c:v>
                </c:pt>
                <c:pt idx="1296">
                  <c:v>3.6999999999999998E-2</c:v>
                </c:pt>
                <c:pt idx="1297">
                  <c:v>2.8000000000000001E-2</c:v>
                </c:pt>
                <c:pt idx="1298">
                  <c:v>5.0000000000000001E-3</c:v>
                </c:pt>
                <c:pt idx="1299">
                  <c:v>4.0000000000000001E-3</c:v>
                </c:pt>
                <c:pt idx="1300">
                  <c:v>4.0000000000000001E-3</c:v>
                </c:pt>
                <c:pt idx="1301">
                  <c:v>1.2999999999999999E-2</c:v>
                </c:pt>
                <c:pt idx="1302">
                  <c:v>5.0000000000000001E-3</c:v>
                </c:pt>
                <c:pt idx="1303">
                  <c:v>1.2999999999999999E-2</c:v>
                </c:pt>
                <c:pt idx="1304">
                  <c:v>2E-3</c:v>
                </c:pt>
                <c:pt idx="1305">
                  <c:v>1.2E-2</c:v>
                </c:pt>
                <c:pt idx="1306">
                  <c:v>8.9999999999999993E-3</c:v>
                </c:pt>
                <c:pt idx="1307">
                  <c:v>4.0000000000000001E-3</c:v>
                </c:pt>
                <c:pt idx="1308">
                  <c:v>5.0000000000000001E-3</c:v>
                </c:pt>
                <c:pt idx="1309">
                  <c:v>4.0000000000000001E-3</c:v>
                </c:pt>
                <c:pt idx="1310">
                  <c:v>4.2999999999999997E-2</c:v>
                </c:pt>
                <c:pt idx="1311">
                  <c:v>5.0000000000000001E-3</c:v>
                </c:pt>
                <c:pt idx="1312">
                  <c:v>5.0000000000000001E-3</c:v>
                </c:pt>
                <c:pt idx="1313">
                  <c:v>1.7999999999999999E-2</c:v>
                </c:pt>
                <c:pt idx="1314">
                  <c:v>3.2000000000000001E-2</c:v>
                </c:pt>
                <c:pt idx="1315">
                  <c:v>6.6000000000000003E-2</c:v>
                </c:pt>
                <c:pt idx="1316">
                  <c:v>8.9999999999999993E-3</c:v>
                </c:pt>
                <c:pt idx="1317">
                  <c:v>2.1000000000000001E-2</c:v>
                </c:pt>
                <c:pt idx="1318">
                  <c:v>8.9999999999999993E-3</c:v>
                </c:pt>
                <c:pt idx="1319">
                  <c:v>5.0000000000000001E-3</c:v>
                </c:pt>
                <c:pt idx="1320">
                  <c:v>5.0000000000000001E-3</c:v>
                </c:pt>
                <c:pt idx="1321">
                  <c:v>5.0000000000000001E-3</c:v>
                </c:pt>
                <c:pt idx="1322">
                  <c:v>1.4E-2</c:v>
                </c:pt>
                <c:pt idx="1323">
                  <c:v>8.0000000000000002E-3</c:v>
                </c:pt>
                <c:pt idx="1324">
                  <c:v>5.0000000000000001E-3</c:v>
                </c:pt>
                <c:pt idx="1325">
                  <c:v>5.0000000000000001E-3</c:v>
                </c:pt>
                <c:pt idx="1326">
                  <c:v>2E-3</c:v>
                </c:pt>
                <c:pt idx="1327">
                  <c:v>5.8999999999999997E-2</c:v>
                </c:pt>
                <c:pt idx="1328">
                  <c:v>1.4E-2</c:v>
                </c:pt>
                <c:pt idx="1329">
                  <c:v>1.4E-2</c:v>
                </c:pt>
                <c:pt idx="1330">
                  <c:v>1.4E-2</c:v>
                </c:pt>
                <c:pt idx="1331">
                  <c:v>1.7999999999999999E-2</c:v>
                </c:pt>
                <c:pt idx="1332">
                  <c:v>5.0000000000000001E-3</c:v>
                </c:pt>
                <c:pt idx="1333">
                  <c:v>5.8999999999999997E-2</c:v>
                </c:pt>
                <c:pt idx="1334">
                  <c:v>5.0000000000000001E-3</c:v>
                </c:pt>
                <c:pt idx="1335">
                  <c:v>2.3E-2</c:v>
                </c:pt>
                <c:pt idx="1336">
                  <c:v>2E-3</c:v>
                </c:pt>
                <c:pt idx="1337">
                  <c:v>1.4E-2</c:v>
                </c:pt>
                <c:pt idx="1338">
                  <c:v>1.4E-2</c:v>
                </c:pt>
                <c:pt idx="1339">
                  <c:v>4.0000000000000001E-3</c:v>
                </c:pt>
                <c:pt idx="1340">
                  <c:v>5.0000000000000001E-3</c:v>
                </c:pt>
                <c:pt idx="1341">
                  <c:v>2.7E-2</c:v>
                </c:pt>
                <c:pt idx="1342">
                  <c:v>8.9999999999999993E-3</c:v>
                </c:pt>
                <c:pt idx="1343">
                  <c:v>6.4000000000000001E-2</c:v>
                </c:pt>
                <c:pt idx="1344">
                  <c:v>1.0999999999999999E-2</c:v>
                </c:pt>
                <c:pt idx="1345">
                  <c:v>4.1000000000000002E-2</c:v>
                </c:pt>
                <c:pt idx="1346">
                  <c:v>1.7999999999999999E-2</c:v>
                </c:pt>
                <c:pt idx="1347">
                  <c:v>5.0000000000000001E-3</c:v>
                </c:pt>
                <c:pt idx="1348">
                  <c:v>5.0000000000000001E-3</c:v>
                </c:pt>
                <c:pt idx="1349">
                  <c:v>5.0000000000000001E-3</c:v>
                </c:pt>
                <c:pt idx="1350">
                  <c:v>4.0000000000000001E-3</c:v>
                </c:pt>
                <c:pt idx="1351">
                  <c:v>5.0000000000000001E-3</c:v>
                </c:pt>
                <c:pt idx="1352">
                  <c:v>8.9999999999999993E-3</c:v>
                </c:pt>
                <c:pt idx="1353">
                  <c:v>8.9999999999999993E-3</c:v>
                </c:pt>
                <c:pt idx="1354">
                  <c:v>4.0000000000000001E-3</c:v>
                </c:pt>
                <c:pt idx="1355">
                  <c:v>8.0000000000000002E-3</c:v>
                </c:pt>
                <c:pt idx="1356">
                  <c:v>8.9999999999999993E-3</c:v>
                </c:pt>
                <c:pt idx="1357">
                  <c:v>3.6999999999999998E-2</c:v>
                </c:pt>
                <c:pt idx="1358">
                  <c:v>1.2999999999999999E-2</c:v>
                </c:pt>
                <c:pt idx="1359">
                  <c:v>2.3E-2</c:v>
                </c:pt>
                <c:pt idx="1360">
                  <c:v>5.0000000000000001E-3</c:v>
                </c:pt>
                <c:pt idx="1361">
                  <c:v>5.0000000000000001E-3</c:v>
                </c:pt>
                <c:pt idx="1362">
                  <c:v>3.4000000000000002E-2</c:v>
                </c:pt>
                <c:pt idx="1363">
                  <c:v>8.9999999999999993E-3</c:v>
                </c:pt>
                <c:pt idx="1364">
                  <c:v>3.2000000000000001E-2</c:v>
                </c:pt>
                <c:pt idx="1365">
                  <c:v>5.0000000000000001E-3</c:v>
                </c:pt>
                <c:pt idx="1366">
                  <c:v>5.0000000000000001E-3</c:v>
                </c:pt>
                <c:pt idx="1367">
                  <c:v>5.0000000000000001E-3</c:v>
                </c:pt>
                <c:pt idx="1368">
                  <c:v>4.0000000000000001E-3</c:v>
                </c:pt>
                <c:pt idx="1369">
                  <c:v>5.8999999999999997E-2</c:v>
                </c:pt>
                <c:pt idx="1370">
                  <c:v>4.0000000000000001E-3</c:v>
                </c:pt>
                <c:pt idx="1371">
                  <c:v>1.4E-2</c:v>
                </c:pt>
                <c:pt idx="1372">
                  <c:v>4.0000000000000001E-3</c:v>
                </c:pt>
                <c:pt idx="1373">
                  <c:v>5.0000000000000001E-3</c:v>
                </c:pt>
                <c:pt idx="1374">
                  <c:v>5.8999999999999997E-2</c:v>
                </c:pt>
                <c:pt idx="1375">
                  <c:v>3.3000000000000002E-2</c:v>
                </c:pt>
                <c:pt idx="1376">
                  <c:v>2.7E-2</c:v>
                </c:pt>
                <c:pt idx="1377">
                  <c:v>4.0000000000000001E-3</c:v>
                </c:pt>
                <c:pt idx="1378">
                  <c:v>5.0000000000000001E-3</c:v>
                </c:pt>
                <c:pt idx="1379">
                  <c:v>3.2000000000000001E-2</c:v>
                </c:pt>
                <c:pt idx="1380">
                  <c:v>1.7999999999999999E-2</c:v>
                </c:pt>
                <c:pt idx="1381">
                  <c:v>5.0000000000000001E-3</c:v>
                </c:pt>
                <c:pt idx="1382">
                  <c:v>6.8000000000000005E-2</c:v>
                </c:pt>
                <c:pt idx="1383">
                  <c:v>3.2000000000000001E-2</c:v>
                </c:pt>
                <c:pt idx="1384">
                  <c:v>5.0000000000000001E-3</c:v>
                </c:pt>
                <c:pt idx="1385">
                  <c:v>5.0000000000000001E-3</c:v>
                </c:pt>
                <c:pt idx="1386">
                  <c:v>1.4E-2</c:v>
                </c:pt>
                <c:pt idx="1387">
                  <c:v>5.0000000000000001E-3</c:v>
                </c:pt>
                <c:pt idx="1388">
                  <c:v>7.8E-2</c:v>
                </c:pt>
                <c:pt idx="1389">
                  <c:v>5.0000000000000001E-3</c:v>
                </c:pt>
                <c:pt idx="1390">
                  <c:v>4.0000000000000001E-3</c:v>
                </c:pt>
                <c:pt idx="1391">
                  <c:v>3.2000000000000001E-2</c:v>
                </c:pt>
                <c:pt idx="1392">
                  <c:v>8.0000000000000002E-3</c:v>
                </c:pt>
                <c:pt idx="1393">
                  <c:v>8.0000000000000002E-3</c:v>
                </c:pt>
                <c:pt idx="1394">
                  <c:v>5.0000000000000001E-3</c:v>
                </c:pt>
                <c:pt idx="1395">
                  <c:v>4.0000000000000001E-3</c:v>
                </c:pt>
                <c:pt idx="1396">
                  <c:v>1.4E-2</c:v>
                </c:pt>
                <c:pt idx="1397">
                  <c:v>5.0000000000000001E-3</c:v>
                </c:pt>
                <c:pt idx="1398">
                  <c:v>8.0000000000000002E-3</c:v>
                </c:pt>
                <c:pt idx="1399">
                  <c:v>3.2000000000000001E-2</c:v>
                </c:pt>
                <c:pt idx="1400">
                  <c:v>4.0000000000000001E-3</c:v>
                </c:pt>
                <c:pt idx="1401">
                  <c:v>5.0000000000000001E-3</c:v>
                </c:pt>
                <c:pt idx="1402">
                  <c:v>8.0000000000000002E-3</c:v>
                </c:pt>
                <c:pt idx="1403">
                  <c:v>1.2999999999999999E-2</c:v>
                </c:pt>
                <c:pt idx="1404">
                  <c:v>4.0000000000000001E-3</c:v>
                </c:pt>
                <c:pt idx="1405">
                  <c:v>8.0000000000000002E-3</c:v>
                </c:pt>
                <c:pt idx="1406">
                  <c:v>8.0000000000000002E-3</c:v>
                </c:pt>
                <c:pt idx="1407">
                  <c:v>5.0000000000000001E-3</c:v>
                </c:pt>
                <c:pt idx="1408">
                  <c:v>8.9999999999999993E-3</c:v>
                </c:pt>
                <c:pt idx="1409">
                  <c:v>4.0000000000000001E-3</c:v>
                </c:pt>
                <c:pt idx="1410">
                  <c:v>6.0000000000000001E-3</c:v>
                </c:pt>
                <c:pt idx="1411">
                  <c:v>1.7999999999999999E-2</c:v>
                </c:pt>
                <c:pt idx="1412">
                  <c:v>8.0000000000000002E-3</c:v>
                </c:pt>
                <c:pt idx="1413">
                  <c:v>5.0000000000000001E-3</c:v>
                </c:pt>
                <c:pt idx="1414">
                  <c:v>1.4E-2</c:v>
                </c:pt>
                <c:pt idx="1415">
                  <c:v>5.0000000000000001E-3</c:v>
                </c:pt>
                <c:pt idx="1416">
                  <c:v>2.7E-2</c:v>
                </c:pt>
                <c:pt idx="1417">
                  <c:v>8.0000000000000002E-3</c:v>
                </c:pt>
                <c:pt idx="1418">
                  <c:v>5.0000000000000001E-3</c:v>
                </c:pt>
                <c:pt idx="1419">
                  <c:v>5.0000000000000001E-3</c:v>
                </c:pt>
                <c:pt idx="1420">
                  <c:v>1.4E-2</c:v>
                </c:pt>
                <c:pt idx="1421">
                  <c:v>5.0000000000000001E-3</c:v>
                </c:pt>
                <c:pt idx="1422">
                  <c:v>4.0000000000000001E-3</c:v>
                </c:pt>
                <c:pt idx="1423">
                  <c:v>5.0000000000000001E-3</c:v>
                </c:pt>
                <c:pt idx="1424">
                  <c:v>5.0000000000000001E-3</c:v>
                </c:pt>
                <c:pt idx="1425">
                  <c:v>5.0000000000000001E-3</c:v>
                </c:pt>
                <c:pt idx="1426">
                  <c:v>5.0000000000000001E-3</c:v>
                </c:pt>
                <c:pt idx="1427">
                  <c:v>0.04</c:v>
                </c:pt>
                <c:pt idx="1428">
                  <c:v>5.0000000000000001E-3</c:v>
                </c:pt>
                <c:pt idx="1429">
                  <c:v>4.0000000000000001E-3</c:v>
                </c:pt>
                <c:pt idx="1430">
                  <c:v>2.3E-2</c:v>
                </c:pt>
                <c:pt idx="1431">
                  <c:v>8.9999999999999993E-3</c:v>
                </c:pt>
                <c:pt idx="1432">
                  <c:v>3.6999999999999998E-2</c:v>
                </c:pt>
                <c:pt idx="1433">
                  <c:v>8.0000000000000002E-3</c:v>
                </c:pt>
                <c:pt idx="1434">
                  <c:v>4.0000000000000001E-3</c:v>
                </c:pt>
                <c:pt idx="1435">
                  <c:v>5.0000000000000001E-3</c:v>
                </c:pt>
                <c:pt idx="1436">
                  <c:v>3.6999999999999998E-2</c:v>
                </c:pt>
                <c:pt idx="1437">
                  <c:v>5.0000000000000001E-3</c:v>
                </c:pt>
                <c:pt idx="1438">
                  <c:v>5.8999999999999997E-2</c:v>
                </c:pt>
                <c:pt idx="1439">
                  <c:v>5.0000000000000001E-3</c:v>
                </c:pt>
                <c:pt idx="1440">
                  <c:v>4.0000000000000001E-3</c:v>
                </c:pt>
                <c:pt idx="1441">
                  <c:v>2.1000000000000001E-2</c:v>
                </c:pt>
                <c:pt idx="1442">
                  <c:v>5.0000000000000001E-3</c:v>
                </c:pt>
                <c:pt idx="1443">
                  <c:v>5.0000000000000001E-3</c:v>
                </c:pt>
                <c:pt idx="1444">
                  <c:v>1.4E-2</c:v>
                </c:pt>
                <c:pt idx="1445">
                  <c:v>8.9999999999999993E-3</c:v>
                </c:pt>
                <c:pt idx="1446">
                  <c:v>1.4E-2</c:v>
                </c:pt>
                <c:pt idx="1447">
                  <c:v>1.4E-2</c:v>
                </c:pt>
                <c:pt idx="1448">
                  <c:v>1.4E-2</c:v>
                </c:pt>
                <c:pt idx="1449">
                  <c:v>5.0000000000000001E-3</c:v>
                </c:pt>
                <c:pt idx="1450">
                  <c:v>5.0000000000000001E-3</c:v>
                </c:pt>
                <c:pt idx="1451">
                  <c:v>5.0000000000000001E-3</c:v>
                </c:pt>
                <c:pt idx="1452">
                  <c:v>8.9999999999999993E-3</c:v>
                </c:pt>
                <c:pt idx="1453">
                  <c:v>3.6999999999999998E-2</c:v>
                </c:pt>
                <c:pt idx="1454">
                  <c:v>1.4E-2</c:v>
                </c:pt>
                <c:pt idx="1455">
                  <c:v>8.9999999999999993E-3</c:v>
                </c:pt>
                <c:pt idx="1456">
                  <c:v>5.0000000000000001E-3</c:v>
                </c:pt>
                <c:pt idx="1457">
                  <c:v>5.0000000000000001E-3</c:v>
                </c:pt>
                <c:pt idx="1458">
                  <c:v>8.0000000000000002E-3</c:v>
                </c:pt>
                <c:pt idx="1459">
                  <c:v>8.0000000000000002E-3</c:v>
                </c:pt>
                <c:pt idx="1460">
                  <c:v>5.0000000000000001E-3</c:v>
                </c:pt>
                <c:pt idx="1461">
                  <c:v>5.0000000000000001E-3</c:v>
                </c:pt>
                <c:pt idx="1462">
                  <c:v>1.7999999999999999E-2</c:v>
                </c:pt>
                <c:pt idx="1463">
                  <c:v>4.0000000000000001E-3</c:v>
                </c:pt>
                <c:pt idx="1464">
                  <c:v>4.0000000000000001E-3</c:v>
                </c:pt>
                <c:pt idx="1465">
                  <c:v>8.0000000000000002E-3</c:v>
                </c:pt>
                <c:pt idx="1466">
                  <c:v>5.0000000000000001E-3</c:v>
                </c:pt>
                <c:pt idx="1467">
                  <c:v>5.0000000000000001E-3</c:v>
                </c:pt>
                <c:pt idx="1468">
                  <c:v>2.1999999999999999E-2</c:v>
                </c:pt>
                <c:pt idx="1469">
                  <c:v>5.0000000000000001E-3</c:v>
                </c:pt>
                <c:pt idx="1470">
                  <c:v>1.4E-2</c:v>
                </c:pt>
                <c:pt idx="1471">
                  <c:v>4.0000000000000001E-3</c:v>
                </c:pt>
                <c:pt idx="1472">
                  <c:v>4.0000000000000001E-3</c:v>
                </c:pt>
                <c:pt idx="1473">
                  <c:v>1.7999999999999999E-2</c:v>
                </c:pt>
                <c:pt idx="1474">
                  <c:v>5.0000000000000001E-3</c:v>
                </c:pt>
                <c:pt idx="1475">
                  <c:v>5.0000000000000001E-3</c:v>
                </c:pt>
                <c:pt idx="1476">
                  <c:v>1.2999999999999999E-2</c:v>
                </c:pt>
                <c:pt idx="1477">
                  <c:v>5.0000000000000001E-3</c:v>
                </c:pt>
                <c:pt idx="1478">
                  <c:v>8.9999999999999993E-3</c:v>
                </c:pt>
                <c:pt idx="1479">
                  <c:v>5.0000000000000001E-3</c:v>
                </c:pt>
                <c:pt idx="1480">
                  <c:v>4.0000000000000001E-3</c:v>
                </c:pt>
                <c:pt idx="1481">
                  <c:v>5.0000000000000001E-3</c:v>
                </c:pt>
                <c:pt idx="1482">
                  <c:v>5.0000000000000001E-3</c:v>
                </c:pt>
                <c:pt idx="1483">
                  <c:v>2.1999999999999999E-2</c:v>
                </c:pt>
                <c:pt idx="1484">
                  <c:v>5.0000000000000001E-3</c:v>
                </c:pt>
                <c:pt idx="1485">
                  <c:v>8.0000000000000002E-3</c:v>
                </c:pt>
                <c:pt idx="1486">
                  <c:v>5.0000000000000001E-3</c:v>
                </c:pt>
                <c:pt idx="1487">
                  <c:v>5.0000000000000001E-3</c:v>
                </c:pt>
                <c:pt idx="1488">
                  <c:v>5.0000000000000001E-3</c:v>
                </c:pt>
                <c:pt idx="1489">
                  <c:v>5.0000000000000001E-3</c:v>
                </c:pt>
                <c:pt idx="1490">
                  <c:v>5.0000000000000001E-3</c:v>
                </c:pt>
                <c:pt idx="1491">
                  <c:v>8.9999999999999993E-3</c:v>
                </c:pt>
                <c:pt idx="1492">
                  <c:v>8.0000000000000002E-3</c:v>
                </c:pt>
                <c:pt idx="1493">
                  <c:v>5.0000000000000001E-3</c:v>
                </c:pt>
                <c:pt idx="1494">
                  <c:v>5.0000000000000001E-3</c:v>
                </c:pt>
                <c:pt idx="1495">
                  <c:v>5.0000000000000001E-3</c:v>
                </c:pt>
                <c:pt idx="1496">
                  <c:v>5.0000000000000001E-3</c:v>
                </c:pt>
                <c:pt idx="1497">
                  <c:v>8.9999999999999993E-3</c:v>
                </c:pt>
                <c:pt idx="1498">
                  <c:v>8.9999999999999993E-3</c:v>
                </c:pt>
                <c:pt idx="1499">
                  <c:v>8.0000000000000002E-3</c:v>
                </c:pt>
                <c:pt idx="1500">
                  <c:v>5.0000000000000001E-3</c:v>
                </c:pt>
                <c:pt idx="1501">
                  <c:v>1.7999999999999999E-2</c:v>
                </c:pt>
                <c:pt idx="1502">
                  <c:v>5.0000000000000001E-3</c:v>
                </c:pt>
                <c:pt idx="1503">
                  <c:v>1.2E-2</c:v>
                </c:pt>
                <c:pt idx="1504">
                  <c:v>8.0000000000000002E-3</c:v>
                </c:pt>
                <c:pt idx="1505">
                  <c:v>2.3E-2</c:v>
                </c:pt>
                <c:pt idx="1506">
                  <c:v>5.0000000000000001E-3</c:v>
                </c:pt>
                <c:pt idx="1507">
                  <c:v>4.0000000000000001E-3</c:v>
                </c:pt>
                <c:pt idx="1508">
                  <c:v>5.0000000000000001E-3</c:v>
                </c:pt>
                <c:pt idx="1509">
                  <c:v>1.4E-2</c:v>
                </c:pt>
                <c:pt idx="1510">
                  <c:v>5.0000000000000001E-3</c:v>
                </c:pt>
                <c:pt idx="1511">
                  <c:v>5.0000000000000001E-3</c:v>
                </c:pt>
                <c:pt idx="1512">
                  <c:v>4.0000000000000001E-3</c:v>
                </c:pt>
                <c:pt idx="1513">
                  <c:v>5.0000000000000001E-3</c:v>
                </c:pt>
                <c:pt idx="1514">
                  <c:v>4.0000000000000001E-3</c:v>
                </c:pt>
                <c:pt idx="1515">
                  <c:v>1.4E-2</c:v>
                </c:pt>
                <c:pt idx="1516">
                  <c:v>1.4E-2</c:v>
                </c:pt>
                <c:pt idx="1517">
                  <c:v>5.0000000000000001E-3</c:v>
                </c:pt>
                <c:pt idx="1518">
                  <c:v>4.0000000000000001E-3</c:v>
                </c:pt>
                <c:pt idx="1519">
                  <c:v>1.4E-2</c:v>
                </c:pt>
                <c:pt idx="1520">
                  <c:v>5.0000000000000001E-3</c:v>
                </c:pt>
                <c:pt idx="1521">
                  <c:v>5.0000000000000001E-3</c:v>
                </c:pt>
                <c:pt idx="1522">
                  <c:v>1.4E-2</c:v>
                </c:pt>
                <c:pt idx="1523">
                  <c:v>5.0000000000000001E-3</c:v>
                </c:pt>
                <c:pt idx="1524">
                  <c:v>8.9999999999999993E-3</c:v>
                </c:pt>
                <c:pt idx="1525">
                  <c:v>2E-3</c:v>
                </c:pt>
                <c:pt idx="1526">
                  <c:v>5.0000000000000001E-3</c:v>
                </c:pt>
                <c:pt idx="1527">
                  <c:v>4.0000000000000001E-3</c:v>
                </c:pt>
                <c:pt idx="1528">
                  <c:v>8.0000000000000002E-3</c:v>
                </c:pt>
                <c:pt idx="1529">
                  <c:v>4.0000000000000001E-3</c:v>
                </c:pt>
                <c:pt idx="1530">
                  <c:v>5.0000000000000001E-3</c:v>
                </c:pt>
                <c:pt idx="1531">
                  <c:v>5.0000000000000001E-3</c:v>
                </c:pt>
                <c:pt idx="1532">
                  <c:v>1.4E-2</c:v>
                </c:pt>
                <c:pt idx="1533">
                  <c:v>5.0000000000000001E-3</c:v>
                </c:pt>
                <c:pt idx="1534">
                  <c:v>5.0000000000000001E-3</c:v>
                </c:pt>
                <c:pt idx="1535">
                  <c:v>5.0000000000000001E-3</c:v>
                </c:pt>
                <c:pt idx="1536">
                  <c:v>4.0000000000000001E-3</c:v>
                </c:pt>
                <c:pt idx="1537">
                  <c:v>5.0000000000000001E-3</c:v>
                </c:pt>
                <c:pt idx="1538">
                  <c:v>2.7E-2</c:v>
                </c:pt>
                <c:pt idx="1539">
                  <c:v>5.0000000000000001E-3</c:v>
                </c:pt>
                <c:pt idx="1540">
                  <c:v>4.0000000000000001E-3</c:v>
                </c:pt>
                <c:pt idx="1541">
                  <c:v>4.0000000000000001E-3</c:v>
                </c:pt>
                <c:pt idx="1542">
                  <c:v>5.0000000000000001E-3</c:v>
                </c:pt>
                <c:pt idx="1543">
                  <c:v>4.0000000000000001E-3</c:v>
                </c:pt>
                <c:pt idx="1544">
                  <c:v>5.0000000000000001E-3</c:v>
                </c:pt>
                <c:pt idx="1545">
                  <c:v>8.9999999999999993E-3</c:v>
                </c:pt>
                <c:pt idx="1546">
                  <c:v>4.0000000000000001E-3</c:v>
                </c:pt>
                <c:pt idx="1547">
                  <c:v>5.0000000000000001E-3</c:v>
                </c:pt>
                <c:pt idx="1548">
                  <c:v>8.9999999999999993E-3</c:v>
                </c:pt>
                <c:pt idx="1549">
                  <c:v>5.0000000000000001E-3</c:v>
                </c:pt>
                <c:pt idx="1550">
                  <c:v>5.0000000000000001E-3</c:v>
                </c:pt>
                <c:pt idx="1551">
                  <c:v>5.0000000000000001E-3</c:v>
                </c:pt>
                <c:pt idx="1552">
                  <c:v>5.0000000000000001E-3</c:v>
                </c:pt>
                <c:pt idx="1553">
                  <c:v>1.4E-2</c:v>
                </c:pt>
                <c:pt idx="1554">
                  <c:v>5.0000000000000001E-3</c:v>
                </c:pt>
                <c:pt idx="1555">
                  <c:v>1.4E-2</c:v>
                </c:pt>
                <c:pt idx="1556">
                  <c:v>8.9999999999999993E-3</c:v>
                </c:pt>
                <c:pt idx="1557">
                  <c:v>5.0000000000000001E-3</c:v>
                </c:pt>
                <c:pt idx="1558">
                  <c:v>1.4E-2</c:v>
                </c:pt>
                <c:pt idx="1559">
                  <c:v>5.0000000000000001E-3</c:v>
                </c:pt>
                <c:pt idx="1560">
                  <c:v>8.9999999999999993E-3</c:v>
                </c:pt>
                <c:pt idx="1561">
                  <c:v>1.4E-2</c:v>
                </c:pt>
                <c:pt idx="1562">
                  <c:v>5.0000000000000001E-3</c:v>
                </c:pt>
                <c:pt idx="1563">
                  <c:v>5.0000000000000001E-3</c:v>
                </c:pt>
                <c:pt idx="1564">
                  <c:v>5.0000000000000001E-3</c:v>
                </c:pt>
                <c:pt idx="1565">
                  <c:v>5.0000000000000001E-3</c:v>
                </c:pt>
                <c:pt idx="1566">
                  <c:v>8.9999999999999993E-3</c:v>
                </c:pt>
                <c:pt idx="1567">
                  <c:v>5.0000000000000001E-3</c:v>
                </c:pt>
                <c:pt idx="1568">
                  <c:v>4.0000000000000001E-3</c:v>
                </c:pt>
                <c:pt idx="1569">
                  <c:v>5.0000000000000001E-3</c:v>
                </c:pt>
                <c:pt idx="1570">
                  <c:v>5.0000000000000001E-3</c:v>
                </c:pt>
                <c:pt idx="1571">
                  <c:v>5.0000000000000001E-3</c:v>
                </c:pt>
                <c:pt idx="1572">
                  <c:v>4.0000000000000001E-3</c:v>
                </c:pt>
                <c:pt idx="1573">
                  <c:v>5.0000000000000001E-3</c:v>
                </c:pt>
                <c:pt idx="1574">
                  <c:v>5.0000000000000001E-3</c:v>
                </c:pt>
                <c:pt idx="1575">
                  <c:v>8.9999999999999993E-3</c:v>
                </c:pt>
                <c:pt idx="1576">
                  <c:v>5.0000000000000001E-3</c:v>
                </c:pt>
                <c:pt idx="1577">
                  <c:v>8.9999999999999993E-3</c:v>
                </c:pt>
                <c:pt idx="1578">
                  <c:v>8.0000000000000002E-3</c:v>
                </c:pt>
                <c:pt idx="1579">
                  <c:v>1.4E-2</c:v>
                </c:pt>
                <c:pt idx="1580">
                  <c:v>5.0000000000000001E-3</c:v>
                </c:pt>
                <c:pt idx="1581">
                  <c:v>4.0000000000000001E-3</c:v>
                </c:pt>
                <c:pt idx="1582">
                  <c:v>8.9999999999999993E-3</c:v>
                </c:pt>
                <c:pt idx="1583">
                  <c:v>5.0000000000000001E-3</c:v>
                </c:pt>
                <c:pt idx="1584">
                  <c:v>5.0000000000000001E-3</c:v>
                </c:pt>
                <c:pt idx="1585">
                  <c:v>5.0000000000000001E-3</c:v>
                </c:pt>
                <c:pt idx="1586">
                  <c:v>5.0000000000000001E-3</c:v>
                </c:pt>
                <c:pt idx="1587">
                  <c:v>5.0000000000000001E-3</c:v>
                </c:pt>
                <c:pt idx="1588">
                  <c:v>5.0000000000000001E-3</c:v>
                </c:pt>
                <c:pt idx="1589">
                  <c:v>5.0000000000000001E-3</c:v>
                </c:pt>
                <c:pt idx="1590">
                  <c:v>5.0000000000000001E-3</c:v>
                </c:pt>
                <c:pt idx="1591">
                  <c:v>8.9999999999999993E-3</c:v>
                </c:pt>
                <c:pt idx="1592">
                  <c:v>8.9999999999999993E-3</c:v>
                </c:pt>
                <c:pt idx="1593">
                  <c:v>5.0000000000000001E-3</c:v>
                </c:pt>
                <c:pt idx="1594">
                  <c:v>5.0000000000000001E-3</c:v>
                </c:pt>
                <c:pt idx="1595">
                  <c:v>5.0000000000000001E-3</c:v>
                </c:pt>
                <c:pt idx="1596">
                  <c:v>5.0000000000000001E-3</c:v>
                </c:pt>
                <c:pt idx="1597">
                  <c:v>5.0000000000000001E-3</c:v>
                </c:pt>
                <c:pt idx="1598">
                  <c:v>5.0000000000000001E-3</c:v>
                </c:pt>
                <c:pt idx="1599">
                  <c:v>5.0000000000000001E-3</c:v>
                </c:pt>
                <c:pt idx="1600">
                  <c:v>5.0000000000000001E-3</c:v>
                </c:pt>
                <c:pt idx="1601">
                  <c:v>5.0000000000000001E-3</c:v>
                </c:pt>
                <c:pt idx="1602">
                  <c:v>5.0000000000000001E-3</c:v>
                </c:pt>
                <c:pt idx="1603">
                  <c:v>2.3E-2</c:v>
                </c:pt>
                <c:pt idx="1604">
                  <c:v>5.0000000000000001E-3</c:v>
                </c:pt>
                <c:pt idx="1605">
                  <c:v>5.0000000000000001E-3</c:v>
                </c:pt>
                <c:pt idx="1606">
                  <c:v>8.0000000000000002E-3</c:v>
                </c:pt>
                <c:pt idx="1607">
                  <c:v>8.9999999999999993E-3</c:v>
                </c:pt>
                <c:pt idx="1608">
                  <c:v>5.0000000000000001E-3</c:v>
                </c:pt>
                <c:pt idx="1609">
                  <c:v>1.4E-2</c:v>
                </c:pt>
                <c:pt idx="1610">
                  <c:v>5.0000000000000001E-3</c:v>
                </c:pt>
                <c:pt idx="1611">
                  <c:v>5.0000000000000001E-3</c:v>
                </c:pt>
                <c:pt idx="1612">
                  <c:v>5.0000000000000001E-3</c:v>
                </c:pt>
                <c:pt idx="1613">
                  <c:v>8.9999999999999993E-3</c:v>
                </c:pt>
                <c:pt idx="1614">
                  <c:v>5.0000000000000001E-3</c:v>
                </c:pt>
                <c:pt idx="1615">
                  <c:v>5.0000000000000001E-3</c:v>
                </c:pt>
                <c:pt idx="1616">
                  <c:v>5.0000000000000001E-3</c:v>
                </c:pt>
                <c:pt idx="1617">
                  <c:v>5.0000000000000001E-3</c:v>
                </c:pt>
                <c:pt idx="1618">
                  <c:v>5.0000000000000001E-3</c:v>
                </c:pt>
                <c:pt idx="1619">
                  <c:v>5.0000000000000001E-3</c:v>
                </c:pt>
                <c:pt idx="1620">
                  <c:v>5.0000000000000001E-3</c:v>
                </c:pt>
                <c:pt idx="1621">
                  <c:v>5.0000000000000001E-3</c:v>
                </c:pt>
                <c:pt idx="1622">
                  <c:v>5.0000000000000001E-3</c:v>
                </c:pt>
                <c:pt idx="1623">
                  <c:v>5.0000000000000001E-3</c:v>
                </c:pt>
                <c:pt idx="1624">
                  <c:v>5.0000000000000001E-3</c:v>
                </c:pt>
                <c:pt idx="1625">
                  <c:v>5.0000000000000001E-3</c:v>
                </c:pt>
                <c:pt idx="1626">
                  <c:v>5.0000000000000001E-3</c:v>
                </c:pt>
                <c:pt idx="1627">
                  <c:v>5.0000000000000001E-3</c:v>
                </c:pt>
                <c:pt idx="1628">
                  <c:v>5.0000000000000001E-3</c:v>
                </c:pt>
                <c:pt idx="1629">
                  <c:v>5.0000000000000001E-3</c:v>
                </c:pt>
                <c:pt idx="1630">
                  <c:v>5.0000000000000001E-3</c:v>
                </c:pt>
                <c:pt idx="1631">
                  <c:v>5.0000000000000001E-3</c:v>
                </c:pt>
                <c:pt idx="1632">
                  <c:v>5.0000000000000001E-3</c:v>
                </c:pt>
                <c:pt idx="1633">
                  <c:v>5.0000000000000001E-3</c:v>
                </c:pt>
                <c:pt idx="1634">
                  <c:v>5.0000000000000001E-3</c:v>
                </c:pt>
                <c:pt idx="1635">
                  <c:v>5.0000000000000001E-3</c:v>
                </c:pt>
                <c:pt idx="1636">
                  <c:v>5.0000000000000001E-3</c:v>
                </c:pt>
                <c:pt idx="1637">
                  <c:v>5.0000000000000001E-3</c:v>
                </c:pt>
                <c:pt idx="1638">
                  <c:v>5.0000000000000001E-3</c:v>
                </c:pt>
                <c:pt idx="1639">
                  <c:v>5.0000000000000001E-3</c:v>
                </c:pt>
                <c:pt idx="1640">
                  <c:v>8.9999999999999993E-3</c:v>
                </c:pt>
                <c:pt idx="1641">
                  <c:v>5.0000000000000001E-3</c:v>
                </c:pt>
                <c:pt idx="1642">
                  <c:v>5.0000000000000001E-3</c:v>
                </c:pt>
                <c:pt idx="1643">
                  <c:v>5.0000000000000001E-3</c:v>
                </c:pt>
                <c:pt idx="1644">
                  <c:v>4.0000000000000001E-3</c:v>
                </c:pt>
                <c:pt idx="1645">
                  <c:v>1.4E-2</c:v>
                </c:pt>
                <c:pt idx="1646">
                  <c:v>5.0000000000000001E-3</c:v>
                </c:pt>
                <c:pt idx="1647">
                  <c:v>5.0000000000000001E-3</c:v>
                </c:pt>
                <c:pt idx="1648">
                  <c:v>5.0000000000000001E-3</c:v>
                </c:pt>
                <c:pt idx="1649">
                  <c:v>5.0000000000000001E-3</c:v>
                </c:pt>
                <c:pt idx="1650">
                  <c:v>5.0000000000000001E-3</c:v>
                </c:pt>
                <c:pt idx="1651">
                  <c:v>5.0000000000000001E-3</c:v>
                </c:pt>
                <c:pt idx="1652">
                  <c:v>5.0000000000000001E-3</c:v>
                </c:pt>
                <c:pt idx="1653">
                  <c:v>5.0000000000000001E-3</c:v>
                </c:pt>
                <c:pt idx="1654">
                  <c:v>4.0000000000000001E-3</c:v>
                </c:pt>
                <c:pt idx="1655">
                  <c:v>5.0000000000000001E-3</c:v>
                </c:pt>
                <c:pt idx="1656">
                  <c:v>4.0000000000000001E-3</c:v>
                </c:pt>
                <c:pt idx="1657">
                  <c:v>5.0000000000000001E-3</c:v>
                </c:pt>
                <c:pt idx="1658">
                  <c:v>5.0000000000000001E-3</c:v>
                </c:pt>
                <c:pt idx="1659">
                  <c:v>5.0000000000000001E-3</c:v>
                </c:pt>
                <c:pt idx="1660">
                  <c:v>5.0000000000000001E-3</c:v>
                </c:pt>
                <c:pt idx="1661">
                  <c:v>2E-3</c:v>
                </c:pt>
                <c:pt idx="1662">
                  <c:v>1.7999999999999999E-2</c:v>
                </c:pt>
                <c:pt idx="1663">
                  <c:v>5.0000000000000001E-3</c:v>
                </c:pt>
                <c:pt idx="1664">
                  <c:v>5.0000000000000001E-3</c:v>
                </c:pt>
                <c:pt idx="1665">
                  <c:v>5.0000000000000001E-3</c:v>
                </c:pt>
                <c:pt idx="1666">
                  <c:v>5.0000000000000001E-3</c:v>
                </c:pt>
                <c:pt idx="1667">
                  <c:v>5.0000000000000001E-3</c:v>
                </c:pt>
                <c:pt idx="1668">
                  <c:v>5.0000000000000001E-3</c:v>
                </c:pt>
                <c:pt idx="1669">
                  <c:v>5.0000000000000001E-3</c:v>
                </c:pt>
                <c:pt idx="1670">
                  <c:v>5.0000000000000001E-3</c:v>
                </c:pt>
                <c:pt idx="1671">
                  <c:v>5.0000000000000001E-3</c:v>
                </c:pt>
                <c:pt idx="1672">
                  <c:v>5.0000000000000001E-3</c:v>
                </c:pt>
                <c:pt idx="1673">
                  <c:v>5.0000000000000001E-3</c:v>
                </c:pt>
                <c:pt idx="1674">
                  <c:v>5.0000000000000001E-3</c:v>
                </c:pt>
                <c:pt idx="1675">
                  <c:v>4.0000000000000001E-3</c:v>
                </c:pt>
                <c:pt idx="1676">
                  <c:v>5.0000000000000001E-3</c:v>
                </c:pt>
                <c:pt idx="1677">
                  <c:v>5.0000000000000001E-3</c:v>
                </c:pt>
                <c:pt idx="1678">
                  <c:v>5.0000000000000001E-3</c:v>
                </c:pt>
                <c:pt idx="1679">
                  <c:v>5.000000000000000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00A097"/>
              </a:solidFill>
            </c:spPr>
            <c:extLst>
              <c:ext xmlns:c16="http://schemas.microsoft.com/office/drawing/2014/chart" uri="{C3380CC4-5D6E-409C-BE32-E72D297353CC}">
                <c16:uniqueId val="{00000119-2993-41DE-A2CB-63102DE87051}"/>
              </c:ext>
            </c:extLst>
          </c:dPt>
          <c:dPt>
            <c:idx val="140"/>
            <c:invertIfNegative val="1"/>
            <c:bubble3D val="0"/>
            <c:spPr>
              <a:solidFill>
                <a:srgbClr val="00A097"/>
              </a:solidFill>
            </c:spPr>
            <c:extLst>
              <c:ext xmlns:c16="http://schemas.microsoft.com/office/drawing/2014/chart" uri="{C3380CC4-5D6E-409C-BE32-E72D297353CC}">
                <c16:uniqueId val="{0000011B-2993-41DE-A2CB-63102DE87051}"/>
              </c:ext>
            </c:extLst>
          </c:dPt>
          <c:dPt>
            <c:idx val="141"/>
            <c:invertIfNegative val="1"/>
            <c:bubble3D val="0"/>
            <c:spPr>
              <a:solidFill>
                <a:srgbClr val="00A097"/>
              </a:solidFill>
            </c:spPr>
            <c:extLst>
              <c:ext xmlns:c16="http://schemas.microsoft.com/office/drawing/2014/chart" uri="{C3380CC4-5D6E-409C-BE32-E72D297353CC}">
                <c16:uniqueId val="{0000011D-2993-41DE-A2CB-63102DE87051}"/>
              </c:ext>
            </c:extLst>
          </c:dPt>
          <c:dPt>
            <c:idx val="142"/>
            <c:invertIfNegative val="1"/>
            <c:bubble3D val="0"/>
            <c:spPr>
              <a:solidFill>
                <a:srgbClr val="00A097"/>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7ECAC4"/>
              </a:solidFill>
            </c:spPr>
            <c:extLst>
              <c:ext xmlns:c16="http://schemas.microsoft.com/office/drawing/2014/chart" uri="{C3380CC4-5D6E-409C-BE32-E72D297353CC}">
                <c16:uniqueId val="{00000185-2993-41DE-A2CB-63102DE87051}"/>
              </c:ext>
            </c:extLst>
          </c:dPt>
          <c:dPt>
            <c:idx val="194"/>
            <c:invertIfNegative val="1"/>
            <c:bubble3D val="0"/>
            <c:spPr>
              <a:solidFill>
                <a:srgbClr val="7ECAC4"/>
              </a:solidFill>
            </c:spPr>
            <c:extLst>
              <c:ext xmlns:c16="http://schemas.microsoft.com/office/drawing/2014/chart" uri="{C3380CC4-5D6E-409C-BE32-E72D297353CC}">
                <c16:uniqueId val="{00000187-2993-41DE-A2CB-63102DE87051}"/>
              </c:ext>
            </c:extLst>
          </c:dPt>
          <c:dPt>
            <c:idx val="195"/>
            <c:invertIfNegative val="1"/>
            <c:bubble3D val="0"/>
            <c:spPr>
              <a:solidFill>
                <a:srgbClr val="7ECAC4"/>
              </a:solidFill>
            </c:spPr>
            <c:extLst>
              <c:ext xmlns:c16="http://schemas.microsoft.com/office/drawing/2014/chart" uri="{C3380CC4-5D6E-409C-BE32-E72D297353CC}">
                <c16:uniqueId val="{00000189-2993-41DE-A2CB-63102DE87051}"/>
              </c:ext>
            </c:extLst>
          </c:dPt>
          <c:dPt>
            <c:idx val="196"/>
            <c:invertIfNegative val="1"/>
            <c:bubble3D val="0"/>
            <c:spPr>
              <a:solidFill>
                <a:srgbClr val="7ECAC4"/>
              </a:solidFill>
            </c:spPr>
            <c:extLst>
              <c:ext xmlns:c16="http://schemas.microsoft.com/office/drawing/2014/chart" uri="{C3380CC4-5D6E-409C-BE32-E72D297353CC}">
                <c16:uniqueId val="{0000018B-2993-41DE-A2CB-63102DE87051}"/>
              </c:ext>
            </c:extLst>
          </c:dPt>
          <c:dPt>
            <c:idx val="197"/>
            <c:invertIfNegative val="1"/>
            <c:bubble3D val="0"/>
            <c:spPr>
              <a:solidFill>
                <a:srgbClr val="7ECAC4"/>
              </a:solidFill>
            </c:spPr>
            <c:extLst>
              <c:ext xmlns:c16="http://schemas.microsoft.com/office/drawing/2014/chart" uri="{C3380CC4-5D6E-409C-BE32-E72D297353CC}">
                <c16:uniqueId val="{0000018D-2993-41DE-A2CB-63102DE87051}"/>
              </c:ext>
            </c:extLst>
          </c:dPt>
          <c:dPt>
            <c:idx val="198"/>
            <c:invertIfNegative val="1"/>
            <c:bubble3D val="0"/>
            <c:spPr>
              <a:solidFill>
                <a:srgbClr val="7ECAC4"/>
              </a:solidFill>
            </c:spPr>
            <c:extLst>
              <c:ext xmlns:c16="http://schemas.microsoft.com/office/drawing/2014/chart" uri="{C3380CC4-5D6E-409C-BE32-E72D297353CC}">
                <c16:uniqueId val="{0000018F-2993-41DE-A2CB-63102DE87051}"/>
              </c:ext>
            </c:extLst>
          </c:dPt>
          <c:dPt>
            <c:idx val="199"/>
            <c:invertIfNegative val="1"/>
            <c:bubble3D val="0"/>
            <c:spPr>
              <a:solidFill>
                <a:srgbClr val="7ECAC4"/>
              </a:solidFill>
            </c:spPr>
            <c:extLst>
              <c:ext xmlns:c16="http://schemas.microsoft.com/office/drawing/2014/chart" uri="{C3380CC4-5D6E-409C-BE32-E72D297353CC}">
                <c16:uniqueId val="{00000191-2993-41DE-A2CB-63102DE87051}"/>
              </c:ext>
            </c:extLst>
          </c:dPt>
          <c:dPt>
            <c:idx val="200"/>
            <c:invertIfNegative val="1"/>
            <c:bubble3D val="0"/>
            <c:spPr>
              <a:solidFill>
                <a:srgbClr val="7ECAC4"/>
              </a:solidFill>
            </c:spPr>
            <c:extLst>
              <c:ext xmlns:c16="http://schemas.microsoft.com/office/drawing/2014/chart" uri="{C3380CC4-5D6E-409C-BE32-E72D297353CC}">
                <c16:uniqueId val="{00000193-2993-41DE-A2CB-63102DE87051}"/>
              </c:ext>
            </c:extLst>
          </c:dPt>
          <c:dPt>
            <c:idx val="201"/>
            <c:invertIfNegative val="1"/>
            <c:bubble3D val="0"/>
            <c:spPr>
              <a:solidFill>
                <a:srgbClr val="7ECAC4"/>
              </a:solidFill>
            </c:spPr>
            <c:extLst>
              <c:ext xmlns:c16="http://schemas.microsoft.com/office/drawing/2014/chart" uri="{C3380CC4-5D6E-409C-BE32-E72D297353CC}">
                <c16:uniqueId val="{00000195-2993-41DE-A2CB-63102DE87051}"/>
              </c:ext>
            </c:extLst>
          </c:dPt>
          <c:dPt>
            <c:idx val="202"/>
            <c:invertIfNegative val="1"/>
            <c:bubble3D val="0"/>
            <c:spPr>
              <a:solidFill>
                <a:srgbClr val="7ECAC4"/>
              </a:solidFill>
            </c:spPr>
            <c:extLst>
              <c:ext xmlns:c16="http://schemas.microsoft.com/office/drawing/2014/chart" uri="{C3380CC4-5D6E-409C-BE32-E72D297353CC}">
                <c16:uniqueId val="{00000197-2993-41DE-A2CB-63102DE87051}"/>
              </c:ext>
            </c:extLst>
          </c:dPt>
          <c:dPt>
            <c:idx val="203"/>
            <c:invertIfNegative val="1"/>
            <c:bubble3D val="0"/>
            <c:spPr>
              <a:solidFill>
                <a:srgbClr val="7ECAC4"/>
              </a:solidFill>
            </c:spPr>
            <c:extLst>
              <c:ext xmlns:c16="http://schemas.microsoft.com/office/drawing/2014/chart" uri="{C3380CC4-5D6E-409C-BE32-E72D297353CC}">
                <c16:uniqueId val="{00000199-2993-41DE-A2CB-63102DE87051}"/>
              </c:ext>
            </c:extLst>
          </c:dPt>
          <c:dPt>
            <c:idx val="204"/>
            <c:invertIfNegative val="1"/>
            <c:bubble3D val="0"/>
            <c:spPr>
              <a:solidFill>
                <a:srgbClr val="7ECAC4"/>
              </a:solidFill>
            </c:spPr>
            <c:extLst>
              <c:ext xmlns:c16="http://schemas.microsoft.com/office/drawing/2014/chart" uri="{C3380CC4-5D6E-409C-BE32-E72D297353CC}">
                <c16:uniqueId val="{0000019B-2993-41DE-A2CB-63102DE87051}"/>
              </c:ext>
            </c:extLst>
          </c:dPt>
          <c:dPt>
            <c:idx val="205"/>
            <c:invertIfNegative val="1"/>
            <c:bubble3D val="0"/>
            <c:spPr>
              <a:solidFill>
                <a:srgbClr val="7ECAC4"/>
              </a:solidFill>
            </c:spPr>
            <c:extLst>
              <c:ext xmlns:c16="http://schemas.microsoft.com/office/drawing/2014/chart" uri="{C3380CC4-5D6E-409C-BE32-E72D297353CC}">
                <c16:uniqueId val="{0000019D-2993-41DE-A2CB-63102DE87051}"/>
              </c:ext>
            </c:extLst>
          </c:dPt>
          <c:dPt>
            <c:idx val="206"/>
            <c:invertIfNegative val="1"/>
            <c:bubble3D val="0"/>
            <c:spPr>
              <a:solidFill>
                <a:srgbClr val="7ECAC4"/>
              </a:solidFill>
            </c:spPr>
            <c:extLst>
              <c:ext xmlns:c16="http://schemas.microsoft.com/office/drawing/2014/chart" uri="{C3380CC4-5D6E-409C-BE32-E72D297353CC}">
                <c16:uniqueId val="{0000019F-2993-41DE-A2CB-63102DE87051}"/>
              </c:ext>
            </c:extLst>
          </c:dPt>
          <c:dPt>
            <c:idx val="207"/>
            <c:invertIfNegative val="1"/>
            <c:bubble3D val="0"/>
            <c:spPr>
              <a:solidFill>
                <a:srgbClr val="7ECAC4"/>
              </a:solidFill>
            </c:spPr>
            <c:extLst>
              <c:ext xmlns:c16="http://schemas.microsoft.com/office/drawing/2014/chart" uri="{C3380CC4-5D6E-409C-BE32-E72D297353CC}">
                <c16:uniqueId val="{000001A1-2993-41DE-A2CB-63102DE87051}"/>
              </c:ext>
            </c:extLst>
          </c:dPt>
          <c:dPt>
            <c:idx val="208"/>
            <c:invertIfNegative val="1"/>
            <c:bubble3D val="0"/>
            <c:spPr>
              <a:solidFill>
                <a:srgbClr val="7ECAC4"/>
              </a:solidFill>
            </c:spPr>
            <c:extLst>
              <c:ext xmlns:c16="http://schemas.microsoft.com/office/drawing/2014/chart" uri="{C3380CC4-5D6E-409C-BE32-E72D297353CC}">
                <c16:uniqueId val="{000001A3-2993-41DE-A2CB-63102DE87051}"/>
              </c:ext>
            </c:extLst>
          </c:dPt>
          <c:dPt>
            <c:idx val="209"/>
            <c:invertIfNegative val="1"/>
            <c:bubble3D val="0"/>
            <c:spPr>
              <a:solidFill>
                <a:srgbClr val="7ECAC4"/>
              </a:solidFill>
            </c:spPr>
            <c:extLst>
              <c:ext xmlns:c16="http://schemas.microsoft.com/office/drawing/2014/chart" uri="{C3380CC4-5D6E-409C-BE32-E72D297353CC}">
                <c16:uniqueId val="{000001A5-2993-41DE-A2CB-63102DE87051}"/>
              </c:ext>
            </c:extLst>
          </c:dPt>
          <c:dPt>
            <c:idx val="210"/>
            <c:invertIfNegative val="1"/>
            <c:bubble3D val="0"/>
            <c:spPr>
              <a:solidFill>
                <a:srgbClr val="7ECAC4"/>
              </a:solidFill>
            </c:spPr>
            <c:extLst>
              <c:ext xmlns:c16="http://schemas.microsoft.com/office/drawing/2014/chart" uri="{C3380CC4-5D6E-409C-BE32-E72D297353CC}">
                <c16:uniqueId val="{000001A7-C110-4B3C-98C7-D19B20EBE8CB}"/>
              </c:ext>
            </c:extLst>
          </c:dPt>
          <c:dPt>
            <c:idx val="211"/>
            <c:invertIfNegative val="1"/>
            <c:bubble3D val="0"/>
            <c:spPr>
              <a:solidFill>
                <a:srgbClr val="7ECAC4"/>
              </a:solidFill>
            </c:spPr>
            <c:extLst>
              <c:ext xmlns:c16="http://schemas.microsoft.com/office/drawing/2014/chart" uri="{C3380CC4-5D6E-409C-BE32-E72D297353CC}">
                <c16:uniqueId val="{000001A9-C110-4B3C-98C7-D19B20EBE8CB}"/>
              </c:ext>
            </c:extLst>
          </c:dPt>
          <c:dPt>
            <c:idx val="212"/>
            <c:invertIfNegative val="1"/>
            <c:bubble3D val="0"/>
            <c:spPr>
              <a:solidFill>
                <a:srgbClr val="7ECAC4"/>
              </a:solidFill>
            </c:spPr>
            <c:extLst>
              <c:ext xmlns:c16="http://schemas.microsoft.com/office/drawing/2014/chart" uri="{C3380CC4-5D6E-409C-BE32-E72D297353CC}">
                <c16:uniqueId val="{000001AB-C110-4B3C-98C7-D19B20EBE8CB}"/>
              </c:ext>
            </c:extLst>
          </c:dPt>
          <c:dPt>
            <c:idx val="213"/>
            <c:invertIfNegative val="1"/>
            <c:bubble3D val="0"/>
            <c:spPr>
              <a:solidFill>
                <a:srgbClr val="7ECAC4"/>
              </a:solidFill>
            </c:spPr>
            <c:extLst>
              <c:ext xmlns:c16="http://schemas.microsoft.com/office/drawing/2014/chart" uri="{C3380CC4-5D6E-409C-BE32-E72D297353CC}">
                <c16:uniqueId val="{000001AD-C110-4B3C-98C7-D19B20EBE8CB}"/>
              </c:ext>
            </c:extLst>
          </c:dPt>
          <c:dPt>
            <c:idx val="214"/>
            <c:invertIfNegative val="1"/>
            <c:bubble3D val="0"/>
            <c:spPr>
              <a:solidFill>
                <a:srgbClr val="7ECAC4"/>
              </a:solidFill>
            </c:spPr>
            <c:extLst>
              <c:ext xmlns:c16="http://schemas.microsoft.com/office/drawing/2014/chart" uri="{C3380CC4-5D6E-409C-BE32-E72D297353CC}">
                <c16:uniqueId val="{000001AF-C110-4B3C-98C7-D19B20EBE8CB}"/>
              </c:ext>
            </c:extLst>
          </c:dPt>
          <c:dPt>
            <c:idx val="215"/>
            <c:invertIfNegative val="1"/>
            <c:bubble3D val="0"/>
            <c:spPr>
              <a:solidFill>
                <a:srgbClr val="7ECAC4"/>
              </a:solidFill>
            </c:spPr>
            <c:extLst>
              <c:ext xmlns:c16="http://schemas.microsoft.com/office/drawing/2014/chart" uri="{C3380CC4-5D6E-409C-BE32-E72D297353CC}">
                <c16:uniqueId val="{000001B1-C110-4B3C-98C7-D19B20EBE8CB}"/>
              </c:ext>
            </c:extLst>
          </c:dPt>
          <c:dPt>
            <c:idx val="216"/>
            <c:invertIfNegative val="1"/>
            <c:bubble3D val="0"/>
            <c:spPr>
              <a:solidFill>
                <a:srgbClr val="7ECAC4"/>
              </a:solidFill>
            </c:spPr>
            <c:extLst>
              <c:ext xmlns:c16="http://schemas.microsoft.com/office/drawing/2014/chart" uri="{C3380CC4-5D6E-409C-BE32-E72D297353CC}">
                <c16:uniqueId val="{000001B3-C110-4B3C-98C7-D19B20EBE8CB}"/>
              </c:ext>
            </c:extLst>
          </c:dPt>
          <c:dPt>
            <c:idx val="217"/>
            <c:invertIfNegative val="1"/>
            <c:bubble3D val="0"/>
            <c:spPr>
              <a:solidFill>
                <a:srgbClr val="7ECAC4"/>
              </a:solidFill>
            </c:spPr>
            <c:extLst>
              <c:ext xmlns:c16="http://schemas.microsoft.com/office/drawing/2014/chart" uri="{C3380CC4-5D6E-409C-BE32-E72D297353CC}">
                <c16:uniqueId val="{000001B5-C110-4B3C-98C7-D19B20EBE8CB}"/>
              </c:ext>
            </c:extLst>
          </c:dPt>
          <c:dPt>
            <c:idx val="218"/>
            <c:invertIfNegative val="1"/>
            <c:bubble3D val="0"/>
            <c:spPr>
              <a:solidFill>
                <a:srgbClr val="7ECAC4"/>
              </a:solidFill>
            </c:spPr>
            <c:extLst>
              <c:ext xmlns:c16="http://schemas.microsoft.com/office/drawing/2014/chart" uri="{C3380CC4-5D6E-409C-BE32-E72D297353CC}">
                <c16:uniqueId val="{000001B7-C110-4B3C-98C7-D19B20EBE8CB}"/>
              </c:ext>
            </c:extLst>
          </c:dPt>
          <c:dPt>
            <c:idx val="219"/>
            <c:invertIfNegative val="1"/>
            <c:bubble3D val="0"/>
            <c:spPr>
              <a:solidFill>
                <a:srgbClr val="7ECAC4"/>
              </a:solidFill>
            </c:spPr>
            <c:extLst>
              <c:ext xmlns:c16="http://schemas.microsoft.com/office/drawing/2014/chart" uri="{C3380CC4-5D6E-409C-BE32-E72D297353CC}">
                <c16:uniqueId val="{000001B9-C110-4B3C-98C7-D19B20EBE8CB}"/>
              </c:ext>
            </c:extLst>
          </c:dPt>
          <c:dPt>
            <c:idx val="220"/>
            <c:invertIfNegative val="1"/>
            <c:bubble3D val="0"/>
            <c:spPr>
              <a:solidFill>
                <a:srgbClr val="7ECAC4"/>
              </a:solidFill>
            </c:spPr>
            <c:extLst>
              <c:ext xmlns:c16="http://schemas.microsoft.com/office/drawing/2014/chart" uri="{C3380CC4-5D6E-409C-BE32-E72D297353CC}">
                <c16:uniqueId val="{000001BB-C110-4B3C-98C7-D19B20EBE8CB}"/>
              </c:ext>
            </c:extLst>
          </c:dPt>
          <c:dPt>
            <c:idx val="221"/>
            <c:invertIfNegative val="1"/>
            <c:bubble3D val="0"/>
            <c:spPr>
              <a:solidFill>
                <a:srgbClr val="7ECAC4"/>
              </a:solidFill>
            </c:spPr>
            <c:extLst>
              <c:ext xmlns:c16="http://schemas.microsoft.com/office/drawing/2014/chart" uri="{C3380CC4-5D6E-409C-BE32-E72D297353CC}">
                <c16:uniqueId val="{000001BD-C110-4B3C-98C7-D19B20EBE8CB}"/>
              </c:ext>
            </c:extLst>
          </c:dPt>
          <c:dPt>
            <c:idx val="222"/>
            <c:invertIfNegative val="1"/>
            <c:bubble3D val="0"/>
            <c:spPr>
              <a:solidFill>
                <a:srgbClr val="7ECAC4"/>
              </a:solidFill>
            </c:spPr>
            <c:extLst>
              <c:ext xmlns:c16="http://schemas.microsoft.com/office/drawing/2014/chart" uri="{C3380CC4-5D6E-409C-BE32-E72D297353CC}">
                <c16:uniqueId val="{000001BF-C110-4B3C-98C7-D19B20EBE8CB}"/>
              </c:ext>
            </c:extLst>
          </c:dPt>
          <c:dPt>
            <c:idx val="223"/>
            <c:invertIfNegative val="1"/>
            <c:bubble3D val="0"/>
            <c:spPr>
              <a:solidFill>
                <a:srgbClr val="7ECAC4"/>
              </a:solidFill>
            </c:spPr>
            <c:extLst>
              <c:ext xmlns:c16="http://schemas.microsoft.com/office/drawing/2014/chart" uri="{C3380CC4-5D6E-409C-BE32-E72D297353CC}">
                <c16:uniqueId val="{000001C1-C110-4B3C-98C7-D19B20EBE8CB}"/>
              </c:ext>
            </c:extLst>
          </c:dPt>
          <c:dPt>
            <c:idx val="224"/>
            <c:invertIfNegative val="1"/>
            <c:bubble3D val="0"/>
            <c:spPr>
              <a:solidFill>
                <a:srgbClr val="7ECAC4"/>
              </a:solidFill>
            </c:spPr>
            <c:extLst>
              <c:ext xmlns:c16="http://schemas.microsoft.com/office/drawing/2014/chart" uri="{C3380CC4-5D6E-409C-BE32-E72D297353CC}">
                <c16:uniqueId val="{000001C3-C110-4B3C-98C7-D19B20EBE8CB}"/>
              </c:ext>
            </c:extLst>
          </c:dPt>
          <c:dPt>
            <c:idx val="225"/>
            <c:invertIfNegative val="1"/>
            <c:bubble3D val="0"/>
            <c:spPr>
              <a:solidFill>
                <a:srgbClr val="7ECAC4"/>
              </a:solidFill>
            </c:spPr>
            <c:extLst>
              <c:ext xmlns:c16="http://schemas.microsoft.com/office/drawing/2014/chart" uri="{C3380CC4-5D6E-409C-BE32-E72D297353CC}">
                <c16:uniqueId val="{000001C5-C110-4B3C-98C7-D19B20EBE8CB}"/>
              </c:ext>
            </c:extLst>
          </c:dPt>
          <c:dPt>
            <c:idx val="226"/>
            <c:invertIfNegative val="1"/>
            <c:bubble3D val="0"/>
            <c:spPr>
              <a:solidFill>
                <a:srgbClr val="7ECAC4"/>
              </a:solidFill>
            </c:spPr>
            <c:extLst>
              <c:ext xmlns:c16="http://schemas.microsoft.com/office/drawing/2014/chart" uri="{C3380CC4-5D6E-409C-BE32-E72D297353CC}">
                <c16:uniqueId val="{000001C7-C110-4B3C-98C7-D19B20EBE8CB}"/>
              </c:ext>
            </c:extLst>
          </c:dPt>
          <c:dPt>
            <c:idx val="227"/>
            <c:invertIfNegative val="1"/>
            <c:bubble3D val="0"/>
            <c:spPr>
              <a:solidFill>
                <a:srgbClr val="7ECAC4"/>
              </a:solidFill>
            </c:spPr>
            <c:extLst>
              <c:ext xmlns:c16="http://schemas.microsoft.com/office/drawing/2014/chart" uri="{C3380CC4-5D6E-409C-BE32-E72D297353CC}">
                <c16:uniqueId val="{000001C9-C110-4B3C-98C7-D19B20EBE8CB}"/>
              </c:ext>
            </c:extLst>
          </c:dPt>
          <c:dPt>
            <c:idx val="228"/>
            <c:invertIfNegative val="1"/>
            <c:bubble3D val="0"/>
            <c:spPr>
              <a:solidFill>
                <a:srgbClr val="7ECAC4"/>
              </a:solidFill>
            </c:spPr>
            <c:extLst>
              <c:ext xmlns:c16="http://schemas.microsoft.com/office/drawing/2014/chart" uri="{C3380CC4-5D6E-409C-BE32-E72D297353CC}">
                <c16:uniqueId val="{000001CB-C110-4B3C-98C7-D19B20EBE8CB}"/>
              </c:ext>
            </c:extLst>
          </c:dPt>
          <c:dPt>
            <c:idx val="229"/>
            <c:invertIfNegative val="1"/>
            <c:bubble3D val="0"/>
            <c:spPr>
              <a:solidFill>
                <a:srgbClr val="7ECAC4"/>
              </a:solidFill>
            </c:spPr>
            <c:extLst>
              <c:ext xmlns:c16="http://schemas.microsoft.com/office/drawing/2014/chart" uri="{C3380CC4-5D6E-409C-BE32-E72D297353CC}">
                <c16:uniqueId val="{000001CD-C110-4B3C-98C7-D19B20EBE8CB}"/>
              </c:ext>
            </c:extLst>
          </c:dPt>
          <c:dPt>
            <c:idx val="230"/>
            <c:invertIfNegative val="1"/>
            <c:bubble3D val="0"/>
            <c:spPr>
              <a:solidFill>
                <a:srgbClr val="7ECAC4"/>
              </a:solidFill>
            </c:spPr>
            <c:extLst>
              <c:ext xmlns:c16="http://schemas.microsoft.com/office/drawing/2014/chart" uri="{C3380CC4-5D6E-409C-BE32-E72D297353CC}">
                <c16:uniqueId val="{000001CF-C110-4B3C-98C7-D19B20EBE8CB}"/>
              </c:ext>
            </c:extLst>
          </c:dPt>
          <c:dPt>
            <c:idx val="231"/>
            <c:invertIfNegative val="1"/>
            <c:bubble3D val="0"/>
            <c:spPr>
              <a:solidFill>
                <a:srgbClr val="7ECAC4"/>
              </a:solidFill>
            </c:spPr>
            <c:extLst>
              <c:ext xmlns:c16="http://schemas.microsoft.com/office/drawing/2014/chart" uri="{C3380CC4-5D6E-409C-BE32-E72D297353CC}">
                <c16:uniqueId val="{000001D1-C110-4B3C-98C7-D19B20EBE8CB}"/>
              </c:ext>
            </c:extLst>
          </c:dPt>
          <c:dPt>
            <c:idx val="232"/>
            <c:invertIfNegative val="1"/>
            <c:bubble3D val="0"/>
            <c:spPr>
              <a:solidFill>
                <a:srgbClr val="7ECAC4"/>
              </a:solidFill>
            </c:spPr>
            <c:extLst>
              <c:ext xmlns:c16="http://schemas.microsoft.com/office/drawing/2014/chart" uri="{C3380CC4-5D6E-409C-BE32-E72D297353CC}">
                <c16:uniqueId val="{000001D3-C110-4B3C-98C7-D19B20EBE8CB}"/>
              </c:ext>
            </c:extLst>
          </c:dPt>
          <c:dPt>
            <c:idx val="233"/>
            <c:invertIfNegative val="1"/>
            <c:bubble3D val="0"/>
            <c:spPr>
              <a:solidFill>
                <a:srgbClr val="7ECAC4"/>
              </a:solidFill>
            </c:spPr>
            <c:extLst>
              <c:ext xmlns:c16="http://schemas.microsoft.com/office/drawing/2014/chart" uri="{C3380CC4-5D6E-409C-BE32-E72D297353CC}">
                <c16:uniqueId val="{000001D5-C110-4B3C-98C7-D19B20EBE8CB}"/>
              </c:ext>
            </c:extLst>
          </c:dPt>
          <c:dPt>
            <c:idx val="234"/>
            <c:invertIfNegative val="1"/>
            <c:bubble3D val="0"/>
            <c:spPr>
              <a:solidFill>
                <a:srgbClr val="7ECAC4"/>
              </a:solidFill>
            </c:spPr>
            <c:extLst>
              <c:ext xmlns:c16="http://schemas.microsoft.com/office/drawing/2014/chart" uri="{C3380CC4-5D6E-409C-BE32-E72D297353CC}">
                <c16:uniqueId val="{000001D7-C110-4B3C-98C7-D19B20EBE8CB}"/>
              </c:ext>
            </c:extLst>
          </c:dPt>
          <c:dPt>
            <c:idx val="235"/>
            <c:invertIfNegative val="1"/>
            <c:bubble3D val="0"/>
            <c:spPr>
              <a:solidFill>
                <a:srgbClr val="7ECAC4"/>
              </a:solidFill>
            </c:spPr>
            <c:extLst>
              <c:ext xmlns:c16="http://schemas.microsoft.com/office/drawing/2014/chart" uri="{C3380CC4-5D6E-409C-BE32-E72D297353CC}">
                <c16:uniqueId val="{000001D9-C110-4B3C-98C7-D19B20EBE8CB}"/>
              </c:ext>
            </c:extLst>
          </c:dPt>
          <c:dPt>
            <c:idx val="236"/>
            <c:invertIfNegative val="1"/>
            <c:bubble3D val="0"/>
            <c:spPr>
              <a:solidFill>
                <a:srgbClr val="7ECAC4"/>
              </a:solidFill>
            </c:spPr>
            <c:extLst>
              <c:ext xmlns:c16="http://schemas.microsoft.com/office/drawing/2014/chart" uri="{C3380CC4-5D6E-409C-BE32-E72D297353CC}">
                <c16:uniqueId val="{000001DB-C110-4B3C-98C7-D19B20EBE8CB}"/>
              </c:ext>
            </c:extLst>
          </c:dPt>
          <c:dPt>
            <c:idx val="237"/>
            <c:invertIfNegative val="1"/>
            <c:bubble3D val="0"/>
            <c:spPr>
              <a:solidFill>
                <a:srgbClr val="7ECAC4"/>
              </a:solidFill>
            </c:spPr>
            <c:extLst>
              <c:ext xmlns:c16="http://schemas.microsoft.com/office/drawing/2014/chart" uri="{C3380CC4-5D6E-409C-BE32-E72D297353CC}">
                <c16:uniqueId val="{000001DD-C110-4B3C-98C7-D19B20EBE8CB}"/>
              </c:ext>
            </c:extLst>
          </c:dPt>
          <c:dPt>
            <c:idx val="238"/>
            <c:invertIfNegative val="1"/>
            <c:bubble3D val="0"/>
            <c:spPr>
              <a:solidFill>
                <a:srgbClr val="7ECAC4"/>
              </a:solidFill>
            </c:spPr>
            <c:extLst>
              <c:ext xmlns:c16="http://schemas.microsoft.com/office/drawing/2014/chart" uri="{C3380CC4-5D6E-409C-BE32-E72D297353CC}">
                <c16:uniqueId val="{000001DF-C110-4B3C-98C7-D19B20EBE8CB}"/>
              </c:ext>
            </c:extLst>
          </c:dPt>
          <c:dPt>
            <c:idx val="239"/>
            <c:invertIfNegative val="1"/>
            <c:bubble3D val="0"/>
            <c:spPr>
              <a:solidFill>
                <a:srgbClr val="7ECAC4"/>
              </a:solidFill>
            </c:spPr>
            <c:extLst>
              <c:ext xmlns:c16="http://schemas.microsoft.com/office/drawing/2014/chart" uri="{C3380CC4-5D6E-409C-BE32-E72D297353CC}">
                <c16:uniqueId val="{000001E1-C110-4B3C-98C7-D19B20EBE8CB}"/>
              </c:ext>
            </c:extLst>
          </c:dPt>
          <c:dPt>
            <c:idx val="240"/>
            <c:invertIfNegative val="1"/>
            <c:bubble3D val="0"/>
            <c:spPr>
              <a:solidFill>
                <a:srgbClr val="7ECAC4"/>
              </a:solidFill>
            </c:spPr>
            <c:extLst>
              <c:ext xmlns:c16="http://schemas.microsoft.com/office/drawing/2014/chart" uri="{C3380CC4-5D6E-409C-BE32-E72D297353CC}">
                <c16:uniqueId val="{000001E3-C110-4B3C-98C7-D19B20EBE8CB}"/>
              </c:ext>
            </c:extLst>
          </c:dPt>
          <c:dPt>
            <c:idx val="241"/>
            <c:invertIfNegative val="1"/>
            <c:bubble3D val="0"/>
            <c:spPr>
              <a:solidFill>
                <a:srgbClr val="7ECAC4"/>
              </a:solidFill>
            </c:spPr>
            <c:extLst>
              <c:ext xmlns:c16="http://schemas.microsoft.com/office/drawing/2014/chart" uri="{C3380CC4-5D6E-409C-BE32-E72D297353CC}">
                <c16:uniqueId val="{000001E5-C110-4B3C-98C7-D19B20EBE8CB}"/>
              </c:ext>
            </c:extLst>
          </c:dPt>
          <c:dPt>
            <c:idx val="242"/>
            <c:invertIfNegative val="1"/>
            <c:bubble3D val="0"/>
            <c:spPr>
              <a:solidFill>
                <a:srgbClr val="7ECAC4"/>
              </a:solidFill>
            </c:spPr>
            <c:extLst>
              <c:ext xmlns:c16="http://schemas.microsoft.com/office/drawing/2014/chart" uri="{C3380CC4-5D6E-409C-BE32-E72D297353CC}">
                <c16:uniqueId val="{000001E7-C110-4B3C-98C7-D19B20EBE8CB}"/>
              </c:ext>
            </c:extLst>
          </c:dPt>
          <c:dPt>
            <c:idx val="243"/>
            <c:invertIfNegative val="1"/>
            <c:bubble3D val="0"/>
            <c:spPr>
              <a:solidFill>
                <a:srgbClr val="7ECAC4"/>
              </a:solidFill>
            </c:spPr>
            <c:extLst>
              <c:ext xmlns:c16="http://schemas.microsoft.com/office/drawing/2014/chart" uri="{C3380CC4-5D6E-409C-BE32-E72D297353CC}">
                <c16:uniqueId val="{000001E9-C110-4B3C-98C7-D19B20EBE8CB}"/>
              </c:ext>
            </c:extLst>
          </c:dPt>
          <c:dPt>
            <c:idx val="244"/>
            <c:invertIfNegative val="1"/>
            <c:bubble3D val="0"/>
            <c:spPr>
              <a:solidFill>
                <a:srgbClr val="7ECAC4"/>
              </a:solidFill>
            </c:spPr>
            <c:extLst>
              <c:ext xmlns:c16="http://schemas.microsoft.com/office/drawing/2014/chart" uri="{C3380CC4-5D6E-409C-BE32-E72D297353CC}">
                <c16:uniqueId val="{000001EB-C110-4B3C-98C7-D19B20EBE8CB}"/>
              </c:ext>
            </c:extLst>
          </c:dPt>
          <c:dPt>
            <c:idx val="245"/>
            <c:invertIfNegative val="1"/>
            <c:bubble3D val="0"/>
            <c:spPr>
              <a:solidFill>
                <a:srgbClr val="7ECAC4"/>
              </a:solidFill>
            </c:spPr>
            <c:extLst>
              <c:ext xmlns:c16="http://schemas.microsoft.com/office/drawing/2014/chart" uri="{C3380CC4-5D6E-409C-BE32-E72D297353CC}">
                <c16:uniqueId val="{000001ED-C110-4B3C-98C7-D19B20EBE8CB}"/>
              </c:ext>
            </c:extLst>
          </c:dPt>
          <c:dPt>
            <c:idx val="246"/>
            <c:invertIfNegative val="1"/>
            <c:bubble3D val="0"/>
            <c:spPr>
              <a:solidFill>
                <a:srgbClr val="7ECAC4"/>
              </a:solidFill>
            </c:spPr>
            <c:extLst>
              <c:ext xmlns:c16="http://schemas.microsoft.com/office/drawing/2014/chart" uri="{C3380CC4-5D6E-409C-BE32-E72D297353CC}">
                <c16:uniqueId val="{000001EF-C110-4B3C-98C7-D19B20EBE8CB}"/>
              </c:ext>
            </c:extLst>
          </c:dPt>
          <c:dPt>
            <c:idx val="247"/>
            <c:invertIfNegative val="1"/>
            <c:bubble3D val="0"/>
            <c:spPr>
              <a:solidFill>
                <a:srgbClr val="7ECAC4"/>
              </a:solidFill>
            </c:spPr>
            <c:extLst>
              <c:ext xmlns:c16="http://schemas.microsoft.com/office/drawing/2014/chart" uri="{C3380CC4-5D6E-409C-BE32-E72D297353CC}">
                <c16:uniqueId val="{000001F1-C110-4B3C-98C7-D19B20EBE8CB}"/>
              </c:ext>
            </c:extLst>
          </c:dPt>
          <c:dPt>
            <c:idx val="248"/>
            <c:invertIfNegative val="1"/>
            <c:bubble3D val="0"/>
            <c:spPr>
              <a:solidFill>
                <a:srgbClr val="7ECAC4"/>
              </a:solidFill>
            </c:spPr>
            <c:extLst>
              <c:ext xmlns:c16="http://schemas.microsoft.com/office/drawing/2014/chart" uri="{C3380CC4-5D6E-409C-BE32-E72D297353CC}">
                <c16:uniqueId val="{000001F3-C110-4B3C-98C7-D19B20EBE8CB}"/>
              </c:ext>
            </c:extLst>
          </c:dPt>
          <c:dPt>
            <c:idx val="249"/>
            <c:invertIfNegative val="1"/>
            <c:bubble3D val="0"/>
            <c:spPr>
              <a:solidFill>
                <a:srgbClr val="7ECAC4"/>
              </a:solidFill>
            </c:spPr>
            <c:extLst>
              <c:ext xmlns:c16="http://schemas.microsoft.com/office/drawing/2014/chart" uri="{C3380CC4-5D6E-409C-BE32-E72D297353CC}">
                <c16:uniqueId val="{000001F5-C110-4B3C-98C7-D19B20EBE8CB}"/>
              </c:ext>
            </c:extLst>
          </c:dPt>
          <c:dPt>
            <c:idx val="250"/>
            <c:invertIfNegative val="1"/>
            <c:bubble3D val="0"/>
            <c:spPr>
              <a:solidFill>
                <a:srgbClr val="7ECAC4"/>
              </a:solidFill>
            </c:spPr>
            <c:extLst>
              <c:ext xmlns:c16="http://schemas.microsoft.com/office/drawing/2014/chart" uri="{C3380CC4-5D6E-409C-BE32-E72D297353CC}">
                <c16:uniqueId val="{000001F7-C110-4B3C-98C7-D19B20EBE8CB}"/>
              </c:ext>
            </c:extLst>
          </c:dPt>
          <c:dPt>
            <c:idx val="251"/>
            <c:invertIfNegative val="1"/>
            <c:bubble3D val="0"/>
            <c:spPr>
              <a:solidFill>
                <a:srgbClr val="7ECAC4"/>
              </a:solidFill>
            </c:spPr>
            <c:extLst>
              <c:ext xmlns:c16="http://schemas.microsoft.com/office/drawing/2014/chart" uri="{C3380CC4-5D6E-409C-BE32-E72D297353CC}">
                <c16:uniqueId val="{000001F9-C110-4B3C-98C7-D19B20EBE8CB}"/>
              </c:ext>
            </c:extLst>
          </c:dPt>
          <c:dPt>
            <c:idx val="252"/>
            <c:invertIfNegative val="1"/>
            <c:bubble3D val="0"/>
            <c:spPr>
              <a:solidFill>
                <a:srgbClr val="7ECAC4"/>
              </a:solidFill>
            </c:spPr>
            <c:extLst>
              <c:ext xmlns:c16="http://schemas.microsoft.com/office/drawing/2014/chart" uri="{C3380CC4-5D6E-409C-BE32-E72D297353CC}">
                <c16:uniqueId val="{000001FB-C110-4B3C-98C7-D19B20EBE8CB}"/>
              </c:ext>
            </c:extLst>
          </c:dPt>
          <c:dPt>
            <c:idx val="253"/>
            <c:invertIfNegative val="1"/>
            <c:bubble3D val="0"/>
            <c:spPr>
              <a:solidFill>
                <a:srgbClr val="7ECAC4"/>
              </a:solidFill>
            </c:spPr>
            <c:extLst>
              <c:ext xmlns:c16="http://schemas.microsoft.com/office/drawing/2014/chart" uri="{C3380CC4-5D6E-409C-BE32-E72D297353CC}">
                <c16:uniqueId val="{000001FD-C110-4B3C-98C7-D19B20EBE8CB}"/>
              </c:ext>
            </c:extLst>
          </c:dPt>
          <c:dPt>
            <c:idx val="254"/>
            <c:invertIfNegative val="1"/>
            <c:bubble3D val="0"/>
            <c:spPr>
              <a:solidFill>
                <a:srgbClr val="7ECAC4"/>
              </a:solidFill>
            </c:spPr>
            <c:extLst>
              <c:ext xmlns:c16="http://schemas.microsoft.com/office/drawing/2014/chart" uri="{C3380CC4-5D6E-409C-BE32-E72D297353CC}">
                <c16:uniqueId val="{000001FF-C110-4B3C-98C7-D19B20EBE8CB}"/>
              </c:ext>
            </c:extLst>
          </c:dPt>
          <c:dPt>
            <c:idx val="255"/>
            <c:invertIfNegative val="1"/>
            <c:bubble3D val="0"/>
            <c:spPr>
              <a:solidFill>
                <a:srgbClr val="7ECAC4"/>
              </a:solidFill>
            </c:spPr>
            <c:extLst>
              <c:ext xmlns:c16="http://schemas.microsoft.com/office/drawing/2014/chart" uri="{C3380CC4-5D6E-409C-BE32-E72D297353CC}">
                <c16:uniqueId val="{00000201-C110-4B3C-98C7-D19B20EBE8CB}"/>
              </c:ext>
            </c:extLst>
          </c:dPt>
          <c:dPt>
            <c:idx val="256"/>
            <c:invertIfNegative val="1"/>
            <c:bubble3D val="0"/>
            <c:spPr>
              <a:solidFill>
                <a:srgbClr val="7ECAC4"/>
              </a:solidFill>
            </c:spPr>
            <c:extLst>
              <c:ext xmlns:c16="http://schemas.microsoft.com/office/drawing/2014/chart" uri="{C3380CC4-5D6E-409C-BE32-E72D297353CC}">
                <c16:uniqueId val="{00000203-C110-4B3C-98C7-D19B20EBE8CB}"/>
              </c:ext>
            </c:extLst>
          </c:dPt>
          <c:dPt>
            <c:idx val="257"/>
            <c:invertIfNegative val="1"/>
            <c:bubble3D val="0"/>
            <c:spPr>
              <a:solidFill>
                <a:srgbClr val="7ECAC4"/>
              </a:solidFill>
            </c:spPr>
            <c:extLst>
              <c:ext xmlns:c16="http://schemas.microsoft.com/office/drawing/2014/chart" uri="{C3380CC4-5D6E-409C-BE32-E72D297353CC}">
                <c16:uniqueId val="{00000205-C110-4B3C-98C7-D19B20EBE8CB}"/>
              </c:ext>
            </c:extLst>
          </c:dPt>
          <c:dPt>
            <c:idx val="258"/>
            <c:invertIfNegative val="1"/>
            <c:bubble3D val="0"/>
            <c:spPr>
              <a:solidFill>
                <a:srgbClr val="7ECAC4"/>
              </a:solidFill>
            </c:spPr>
            <c:extLst>
              <c:ext xmlns:c16="http://schemas.microsoft.com/office/drawing/2014/chart" uri="{C3380CC4-5D6E-409C-BE32-E72D297353CC}">
                <c16:uniqueId val="{00000207-C110-4B3C-98C7-D19B20EBE8CB}"/>
              </c:ext>
            </c:extLst>
          </c:dPt>
          <c:dPt>
            <c:idx val="259"/>
            <c:invertIfNegative val="1"/>
            <c:bubble3D val="0"/>
            <c:spPr>
              <a:solidFill>
                <a:srgbClr val="7ECAC4"/>
              </a:solidFill>
            </c:spPr>
            <c:extLst>
              <c:ext xmlns:c16="http://schemas.microsoft.com/office/drawing/2014/chart" uri="{C3380CC4-5D6E-409C-BE32-E72D297353CC}">
                <c16:uniqueId val="{00000209-C110-4B3C-98C7-D19B20EBE8CB}"/>
              </c:ext>
            </c:extLst>
          </c:dPt>
          <c:dPt>
            <c:idx val="260"/>
            <c:invertIfNegative val="1"/>
            <c:bubble3D val="0"/>
            <c:spPr>
              <a:solidFill>
                <a:srgbClr val="7ECAC4"/>
              </a:solidFill>
            </c:spPr>
            <c:extLst>
              <c:ext xmlns:c16="http://schemas.microsoft.com/office/drawing/2014/chart" uri="{C3380CC4-5D6E-409C-BE32-E72D297353CC}">
                <c16:uniqueId val="{0000020B-C110-4B3C-98C7-D19B20EBE8CB}"/>
              </c:ext>
            </c:extLst>
          </c:dPt>
          <c:dPt>
            <c:idx val="261"/>
            <c:invertIfNegative val="1"/>
            <c:bubble3D val="0"/>
            <c:spPr>
              <a:solidFill>
                <a:srgbClr val="7ECAC4"/>
              </a:solidFill>
            </c:spPr>
            <c:extLst>
              <c:ext xmlns:c16="http://schemas.microsoft.com/office/drawing/2014/chart" uri="{C3380CC4-5D6E-409C-BE32-E72D297353CC}">
                <c16:uniqueId val="{0000020D-C110-4B3C-98C7-D19B20EBE8CB}"/>
              </c:ext>
            </c:extLst>
          </c:dPt>
          <c:dPt>
            <c:idx val="262"/>
            <c:invertIfNegative val="1"/>
            <c:bubble3D val="0"/>
            <c:spPr>
              <a:solidFill>
                <a:srgbClr val="7ECAC4"/>
              </a:solidFill>
            </c:spPr>
            <c:extLst>
              <c:ext xmlns:c16="http://schemas.microsoft.com/office/drawing/2014/chart" uri="{C3380CC4-5D6E-409C-BE32-E72D297353CC}">
                <c16:uniqueId val="{0000020F-C110-4B3C-98C7-D19B20EBE8CB}"/>
              </c:ext>
            </c:extLst>
          </c:dPt>
          <c:dPt>
            <c:idx val="263"/>
            <c:invertIfNegative val="1"/>
            <c:bubble3D val="0"/>
            <c:spPr>
              <a:solidFill>
                <a:srgbClr val="7ECAC4"/>
              </a:solidFill>
            </c:spPr>
            <c:extLst>
              <c:ext xmlns:c16="http://schemas.microsoft.com/office/drawing/2014/chart" uri="{C3380CC4-5D6E-409C-BE32-E72D297353CC}">
                <c16:uniqueId val="{00000211-C110-4B3C-98C7-D19B20EBE8CB}"/>
              </c:ext>
            </c:extLst>
          </c:dPt>
          <c:dPt>
            <c:idx val="264"/>
            <c:invertIfNegative val="1"/>
            <c:bubble3D val="0"/>
            <c:spPr>
              <a:solidFill>
                <a:srgbClr val="7ECAC4"/>
              </a:solidFill>
            </c:spPr>
            <c:extLst>
              <c:ext xmlns:c16="http://schemas.microsoft.com/office/drawing/2014/chart" uri="{C3380CC4-5D6E-409C-BE32-E72D297353CC}">
                <c16:uniqueId val="{00000213-C110-4B3C-98C7-D19B20EBE8CB}"/>
              </c:ext>
            </c:extLst>
          </c:dPt>
          <c:dPt>
            <c:idx val="265"/>
            <c:invertIfNegative val="1"/>
            <c:bubble3D val="0"/>
            <c:spPr>
              <a:solidFill>
                <a:srgbClr val="7ECAC4"/>
              </a:solidFill>
            </c:spPr>
            <c:extLst>
              <c:ext xmlns:c16="http://schemas.microsoft.com/office/drawing/2014/chart" uri="{C3380CC4-5D6E-409C-BE32-E72D297353CC}">
                <c16:uniqueId val="{00000215-C110-4B3C-98C7-D19B20EBE8CB}"/>
              </c:ext>
            </c:extLst>
          </c:dPt>
          <c:dPt>
            <c:idx val="266"/>
            <c:invertIfNegative val="1"/>
            <c:bubble3D val="0"/>
            <c:spPr>
              <a:solidFill>
                <a:srgbClr val="7ECAC4"/>
              </a:solidFill>
            </c:spPr>
            <c:extLst>
              <c:ext xmlns:c16="http://schemas.microsoft.com/office/drawing/2014/chart" uri="{C3380CC4-5D6E-409C-BE32-E72D297353CC}">
                <c16:uniqueId val="{00000217-C110-4B3C-98C7-D19B20EBE8CB}"/>
              </c:ext>
            </c:extLst>
          </c:dPt>
          <c:dPt>
            <c:idx val="267"/>
            <c:invertIfNegative val="1"/>
            <c:bubble3D val="0"/>
            <c:spPr>
              <a:solidFill>
                <a:srgbClr val="7ECAC4"/>
              </a:solidFill>
            </c:spPr>
            <c:extLst>
              <c:ext xmlns:c16="http://schemas.microsoft.com/office/drawing/2014/chart" uri="{C3380CC4-5D6E-409C-BE32-E72D297353CC}">
                <c16:uniqueId val="{00000219-C110-4B3C-98C7-D19B20EBE8CB}"/>
              </c:ext>
            </c:extLst>
          </c:dPt>
          <c:dPt>
            <c:idx val="268"/>
            <c:invertIfNegative val="1"/>
            <c:bubble3D val="0"/>
            <c:spPr>
              <a:solidFill>
                <a:srgbClr val="7ECAC4"/>
              </a:solidFill>
            </c:spPr>
            <c:extLst>
              <c:ext xmlns:c16="http://schemas.microsoft.com/office/drawing/2014/chart" uri="{C3380CC4-5D6E-409C-BE32-E72D297353CC}">
                <c16:uniqueId val="{0000021B-C110-4B3C-98C7-D19B20EBE8CB}"/>
              </c:ext>
            </c:extLst>
          </c:dPt>
          <c:dPt>
            <c:idx val="269"/>
            <c:invertIfNegative val="1"/>
            <c:bubble3D val="0"/>
            <c:spPr>
              <a:solidFill>
                <a:srgbClr val="7ECAC4"/>
              </a:solidFill>
            </c:spPr>
            <c:extLst>
              <c:ext xmlns:c16="http://schemas.microsoft.com/office/drawing/2014/chart" uri="{C3380CC4-5D6E-409C-BE32-E72D297353CC}">
                <c16:uniqueId val="{0000021D-C110-4B3C-98C7-D19B20EBE8CB}"/>
              </c:ext>
            </c:extLst>
          </c:dPt>
          <c:dPt>
            <c:idx val="270"/>
            <c:invertIfNegative val="1"/>
            <c:bubble3D val="0"/>
            <c:spPr>
              <a:solidFill>
                <a:srgbClr val="7ECAC4"/>
              </a:solidFill>
            </c:spPr>
            <c:extLst>
              <c:ext xmlns:c16="http://schemas.microsoft.com/office/drawing/2014/chart" uri="{C3380CC4-5D6E-409C-BE32-E72D297353CC}">
                <c16:uniqueId val="{0000021F-C110-4B3C-98C7-D19B20EBE8CB}"/>
              </c:ext>
            </c:extLst>
          </c:dPt>
          <c:dPt>
            <c:idx val="271"/>
            <c:invertIfNegative val="1"/>
            <c:bubble3D val="0"/>
            <c:spPr>
              <a:solidFill>
                <a:srgbClr val="7ECAC4"/>
              </a:solidFill>
            </c:spPr>
            <c:extLst>
              <c:ext xmlns:c16="http://schemas.microsoft.com/office/drawing/2014/chart" uri="{C3380CC4-5D6E-409C-BE32-E72D297353CC}">
                <c16:uniqueId val="{00000221-C110-4B3C-98C7-D19B20EBE8CB}"/>
              </c:ext>
            </c:extLst>
          </c:dPt>
          <c:dPt>
            <c:idx val="272"/>
            <c:invertIfNegative val="1"/>
            <c:bubble3D val="0"/>
            <c:spPr>
              <a:solidFill>
                <a:srgbClr val="7ECAC4"/>
              </a:solidFill>
            </c:spPr>
            <c:extLst>
              <c:ext xmlns:c16="http://schemas.microsoft.com/office/drawing/2014/chart" uri="{C3380CC4-5D6E-409C-BE32-E72D297353CC}">
                <c16:uniqueId val="{00000223-C110-4B3C-98C7-D19B20EBE8CB}"/>
              </c:ext>
            </c:extLst>
          </c:dPt>
          <c:dPt>
            <c:idx val="273"/>
            <c:invertIfNegative val="1"/>
            <c:bubble3D val="0"/>
            <c:spPr>
              <a:solidFill>
                <a:srgbClr val="7ECAC4"/>
              </a:solidFill>
            </c:spPr>
            <c:extLst>
              <c:ext xmlns:c16="http://schemas.microsoft.com/office/drawing/2014/chart" uri="{C3380CC4-5D6E-409C-BE32-E72D297353CC}">
                <c16:uniqueId val="{00000225-C110-4B3C-98C7-D19B20EBE8CB}"/>
              </c:ext>
            </c:extLst>
          </c:dPt>
          <c:dPt>
            <c:idx val="274"/>
            <c:invertIfNegative val="1"/>
            <c:bubble3D val="0"/>
            <c:spPr>
              <a:solidFill>
                <a:srgbClr val="7ECAC4"/>
              </a:solidFill>
            </c:spPr>
            <c:extLst>
              <c:ext xmlns:c16="http://schemas.microsoft.com/office/drawing/2014/chart" uri="{C3380CC4-5D6E-409C-BE32-E72D297353CC}">
                <c16:uniqueId val="{00000227-C110-4B3C-98C7-D19B20EBE8CB}"/>
              </c:ext>
            </c:extLst>
          </c:dPt>
          <c:dPt>
            <c:idx val="275"/>
            <c:invertIfNegative val="1"/>
            <c:bubble3D val="0"/>
            <c:spPr>
              <a:solidFill>
                <a:srgbClr val="7ECAC4"/>
              </a:solidFill>
            </c:spPr>
            <c:extLst>
              <c:ext xmlns:c16="http://schemas.microsoft.com/office/drawing/2014/chart" uri="{C3380CC4-5D6E-409C-BE32-E72D297353CC}">
                <c16:uniqueId val="{00000229-C110-4B3C-98C7-D19B20EBE8CB}"/>
              </c:ext>
            </c:extLst>
          </c:dPt>
          <c:dPt>
            <c:idx val="276"/>
            <c:invertIfNegative val="1"/>
            <c:bubble3D val="0"/>
            <c:spPr>
              <a:solidFill>
                <a:srgbClr val="7ECAC4"/>
              </a:solidFill>
            </c:spPr>
            <c:extLst>
              <c:ext xmlns:c16="http://schemas.microsoft.com/office/drawing/2014/chart" uri="{C3380CC4-5D6E-409C-BE32-E72D297353CC}">
                <c16:uniqueId val="{0000022B-C110-4B3C-98C7-D19B20EBE8CB}"/>
              </c:ext>
            </c:extLst>
          </c:dPt>
          <c:dPt>
            <c:idx val="277"/>
            <c:invertIfNegative val="1"/>
            <c:bubble3D val="0"/>
            <c:spPr>
              <a:solidFill>
                <a:srgbClr val="7ECAC4"/>
              </a:solidFill>
            </c:spPr>
            <c:extLst>
              <c:ext xmlns:c16="http://schemas.microsoft.com/office/drawing/2014/chart" uri="{C3380CC4-5D6E-409C-BE32-E72D297353CC}">
                <c16:uniqueId val="{0000022D-C110-4B3C-98C7-D19B20EBE8CB}"/>
              </c:ext>
            </c:extLst>
          </c:dPt>
          <c:dPt>
            <c:idx val="278"/>
            <c:invertIfNegative val="1"/>
            <c:bubble3D val="0"/>
            <c:spPr>
              <a:solidFill>
                <a:srgbClr val="7ECAC4"/>
              </a:solidFill>
            </c:spPr>
            <c:extLst>
              <c:ext xmlns:c16="http://schemas.microsoft.com/office/drawing/2014/chart" uri="{C3380CC4-5D6E-409C-BE32-E72D297353CC}">
                <c16:uniqueId val="{0000022F-C110-4B3C-98C7-D19B20EBE8CB}"/>
              </c:ext>
            </c:extLst>
          </c:dPt>
          <c:dPt>
            <c:idx val="279"/>
            <c:invertIfNegative val="1"/>
            <c:bubble3D val="0"/>
            <c:spPr>
              <a:solidFill>
                <a:srgbClr val="7ECAC4"/>
              </a:solidFill>
            </c:spPr>
            <c:extLst>
              <c:ext xmlns:c16="http://schemas.microsoft.com/office/drawing/2014/chart" uri="{C3380CC4-5D6E-409C-BE32-E72D297353CC}">
                <c16:uniqueId val="{00000231-C110-4B3C-98C7-D19B20EBE8CB}"/>
              </c:ext>
            </c:extLst>
          </c:dPt>
          <c:dPt>
            <c:idx val="280"/>
            <c:invertIfNegative val="1"/>
            <c:bubble3D val="0"/>
            <c:spPr>
              <a:solidFill>
                <a:srgbClr val="7ECAC4"/>
              </a:solidFill>
            </c:spPr>
            <c:extLst>
              <c:ext xmlns:c16="http://schemas.microsoft.com/office/drawing/2014/chart" uri="{C3380CC4-5D6E-409C-BE32-E72D297353CC}">
                <c16:uniqueId val="{00000233-C110-4B3C-98C7-D19B20EBE8CB}"/>
              </c:ext>
            </c:extLst>
          </c:dPt>
          <c:dPt>
            <c:idx val="281"/>
            <c:invertIfNegative val="1"/>
            <c:bubble3D val="0"/>
            <c:spPr>
              <a:solidFill>
                <a:srgbClr val="7ECAC4"/>
              </a:solidFill>
            </c:spPr>
            <c:extLst>
              <c:ext xmlns:c16="http://schemas.microsoft.com/office/drawing/2014/chart" uri="{C3380CC4-5D6E-409C-BE32-E72D297353CC}">
                <c16:uniqueId val="{00000235-C110-4B3C-98C7-D19B20EBE8CB}"/>
              </c:ext>
            </c:extLst>
          </c:dPt>
          <c:dPt>
            <c:idx val="282"/>
            <c:invertIfNegative val="1"/>
            <c:bubble3D val="0"/>
            <c:spPr>
              <a:solidFill>
                <a:srgbClr val="7ECAC4"/>
              </a:solidFill>
            </c:spPr>
            <c:extLst>
              <c:ext xmlns:c16="http://schemas.microsoft.com/office/drawing/2014/chart" uri="{C3380CC4-5D6E-409C-BE32-E72D297353CC}">
                <c16:uniqueId val="{00000237-C110-4B3C-98C7-D19B20EBE8CB}"/>
              </c:ext>
            </c:extLst>
          </c:dPt>
          <c:dPt>
            <c:idx val="283"/>
            <c:invertIfNegative val="1"/>
            <c:bubble3D val="0"/>
            <c:spPr>
              <a:solidFill>
                <a:srgbClr val="7ECAC4"/>
              </a:solidFill>
            </c:spPr>
            <c:extLst>
              <c:ext xmlns:c16="http://schemas.microsoft.com/office/drawing/2014/chart" uri="{C3380CC4-5D6E-409C-BE32-E72D297353CC}">
                <c16:uniqueId val="{00000239-C110-4B3C-98C7-D19B20EBE8CB}"/>
              </c:ext>
            </c:extLst>
          </c:dPt>
          <c:dPt>
            <c:idx val="284"/>
            <c:invertIfNegative val="1"/>
            <c:bubble3D val="0"/>
            <c:spPr>
              <a:solidFill>
                <a:srgbClr val="7ECAC4"/>
              </a:solidFill>
            </c:spPr>
            <c:extLst>
              <c:ext xmlns:c16="http://schemas.microsoft.com/office/drawing/2014/chart" uri="{C3380CC4-5D6E-409C-BE32-E72D297353CC}">
                <c16:uniqueId val="{0000023B-C110-4B3C-98C7-D19B20EBE8CB}"/>
              </c:ext>
            </c:extLst>
          </c:dPt>
          <c:dPt>
            <c:idx val="285"/>
            <c:invertIfNegative val="1"/>
            <c:bubble3D val="0"/>
            <c:spPr>
              <a:solidFill>
                <a:srgbClr val="7ECAC4"/>
              </a:solidFill>
            </c:spPr>
            <c:extLst>
              <c:ext xmlns:c16="http://schemas.microsoft.com/office/drawing/2014/chart" uri="{C3380CC4-5D6E-409C-BE32-E72D297353CC}">
                <c16:uniqueId val="{0000023D-C110-4B3C-98C7-D19B20EBE8CB}"/>
              </c:ext>
            </c:extLst>
          </c:dPt>
          <c:dPt>
            <c:idx val="286"/>
            <c:invertIfNegative val="1"/>
            <c:bubble3D val="0"/>
            <c:spPr>
              <a:solidFill>
                <a:srgbClr val="7ECAC4"/>
              </a:solidFill>
            </c:spPr>
            <c:extLst>
              <c:ext xmlns:c16="http://schemas.microsoft.com/office/drawing/2014/chart" uri="{C3380CC4-5D6E-409C-BE32-E72D297353CC}">
                <c16:uniqueId val="{0000023F-C110-4B3C-98C7-D19B20EBE8CB}"/>
              </c:ext>
            </c:extLst>
          </c:dPt>
          <c:dPt>
            <c:idx val="287"/>
            <c:invertIfNegative val="1"/>
            <c:bubble3D val="0"/>
            <c:spPr>
              <a:solidFill>
                <a:srgbClr val="7ECAC4"/>
              </a:solidFill>
            </c:spPr>
            <c:extLst>
              <c:ext xmlns:c16="http://schemas.microsoft.com/office/drawing/2014/chart" uri="{C3380CC4-5D6E-409C-BE32-E72D297353CC}">
                <c16:uniqueId val="{00000241-C110-4B3C-98C7-D19B20EBE8CB}"/>
              </c:ext>
            </c:extLst>
          </c:dPt>
          <c:dPt>
            <c:idx val="288"/>
            <c:invertIfNegative val="1"/>
            <c:bubble3D val="0"/>
            <c:spPr>
              <a:solidFill>
                <a:srgbClr val="7ECAC4"/>
              </a:solidFill>
            </c:spPr>
            <c:extLst>
              <c:ext xmlns:c16="http://schemas.microsoft.com/office/drawing/2014/chart" uri="{C3380CC4-5D6E-409C-BE32-E72D297353CC}">
                <c16:uniqueId val="{00000243-C110-4B3C-98C7-D19B20EBE8CB}"/>
              </c:ext>
            </c:extLst>
          </c:dPt>
          <c:dPt>
            <c:idx val="289"/>
            <c:invertIfNegative val="1"/>
            <c:bubble3D val="0"/>
            <c:spPr>
              <a:solidFill>
                <a:srgbClr val="7ECAC4"/>
              </a:solidFill>
            </c:spPr>
            <c:extLst>
              <c:ext xmlns:c16="http://schemas.microsoft.com/office/drawing/2014/chart" uri="{C3380CC4-5D6E-409C-BE32-E72D297353CC}">
                <c16:uniqueId val="{00000245-C110-4B3C-98C7-D19B20EBE8CB}"/>
              </c:ext>
            </c:extLst>
          </c:dPt>
          <c:dPt>
            <c:idx val="290"/>
            <c:invertIfNegative val="1"/>
            <c:bubble3D val="0"/>
            <c:spPr>
              <a:solidFill>
                <a:srgbClr val="7ECAC4"/>
              </a:solidFill>
            </c:spPr>
            <c:extLst>
              <c:ext xmlns:c16="http://schemas.microsoft.com/office/drawing/2014/chart" uri="{C3380CC4-5D6E-409C-BE32-E72D297353CC}">
                <c16:uniqueId val="{00000247-C110-4B3C-98C7-D19B20EBE8CB}"/>
              </c:ext>
            </c:extLst>
          </c:dPt>
          <c:dPt>
            <c:idx val="291"/>
            <c:invertIfNegative val="1"/>
            <c:bubble3D val="0"/>
            <c:spPr>
              <a:solidFill>
                <a:srgbClr val="7ECAC4"/>
              </a:solidFill>
            </c:spPr>
            <c:extLst>
              <c:ext xmlns:c16="http://schemas.microsoft.com/office/drawing/2014/chart" uri="{C3380CC4-5D6E-409C-BE32-E72D297353CC}">
                <c16:uniqueId val="{00000249-C110-4B3C-98C7-D19B20EBE8CB}"/>
              </c:ext>
            </c:extLst>
          </c:dPt>
          <c:dPt>
            <c:idx val="292"/>
            <c:invertIfNegative val="1"/>
            <c:bubble3D val="0"/>
            <c:spPr>
              <a:solidFill>
                <a:srgbClr val="7ECAC4"/>
              </a:solidFill>
            </c:spPr>
            <c:extLst>
              <c:ext xmlns:c16="http://schemas.microsoft.com/office/drawing/2014/chart" uri="{C3380CC4-5D6E-409C-BE32-E72D297353CC}">
                <c16:uniqueId val="{0000024B-C110-4B3C-98C7-D19B20EBE8CB}"/>
              </c:ext>
            </c:extLst>
          </c:dPt>
          <c:dPt>
            <c:idx val="293"/>
            <c:invertIfNegative val="1"/>
            <c:bubble3D val="0"/>
            <c:spPr>
              <a:solidFill>
                <a:srgbClr val="7ECAC4"/>
              </a:solidFill>
            </c:spPr>
            <c:extLst>
              <c:ext xmlns:c16="http://schemas.microsoft.com/office/drawing/2014/chart" uri="{C3380CC4-5D6E-409C-BE32-E72D297353CC}">
                <c16:uniqueId val="{0000024D-C110-4B3C-98C7-D19B20EBE8CB}"/>
              </c:ext>
            </c:extLst>
          </c:dPt>
          <c:dPt>
            <c:idx val="294"/>
            <c:invertIfNegative val="1"/>
            <c:bubble3D val="0"/>
            <c:spPr>
              <a:solidFill>
                <a:srgbClr val="7ECAC4"/>
              </a:solidFill>
            </c:spPr>
            <c:extLst>
              <c:ext xmlns:c16="http://schemas.microsoft.com/office/drawing/2014/chart" uri="{C3380CC4-5D6E-409C-BE32-E72D297353CC}">
                <c16:uniqueId val="{0000024F-C110-4B3C-98C7-D19B20EBE8CB}"/>
              </c:ext>
            </c:extLst>
          </c:dPt>
          <c:dPt>
            <c:idx val="295"/>
            <c:invertIfNegative val="1"/>
            <c:bubble3D val="0"/>
            <c:spPr>
              <a:solidFill>
                <a:srgbClr val="7ECAC4"/>
              </a:solidFill>
            </c:spPr>
            <c:extLst>
              <c:ext xmlns:c16="http://schemas.microsoft.com/office/drawing/2014/chart" uri="{C3380CC4-5D6E-409C-BE32-E72D297353CC}">
                <c16:uniqueId val="{00000251-C110-4B3C-98C7-D19B20EBE8CB}"/>
              </c:ext>
            </c:extLst>
          </c:dPt>
          <c:dPt>
            <c:idx val="296"/>
            <c:invertIfNegative val="1"/>
            <c:bubble3D val="0"/>
            <c:spPr>
              <a:solidFill>
                <a:srgbClr val="7ECAC4"/>
              </a:solidFill>
            </c:spPr>
            <c:extLst>
              <c:ext xmlns:c16="http://schemas.microsoft.com/office/drawing/2014/chart" uri="{C3380CC4-5D6E-409C-BE32-E72D297353CC}">
                <c16:uniqueId val="{00000253-C110-4B3C-98C7-D19B20EBE8CB}"/>
              </c:ext>
            </c:extLst>
          </c:dPt>
          <c:dPt>
            <c:idx val="297"/>
            <c:invertIfNegative val="1"/>
            <c:bubble3D val="0"/>
            <c:spPr>
              <a:solidFill>
                <a:srgbClr val="7ECAC4"/>
              </a:solidFill>
            </c:spPr>
            <c:extLst>
              <c:ext xmlns:c16="http://schemas.microsoft.com/office/drawing/2014/chart" uri="{C3380CC4-5D6E-409C-BE32-E72D297353CC}">
                <c16:uniqueId val="{00000255-C110-4B3C-98C7-D19B20EBE8CB}"/>
              </c:ext>
            </c:extLst>
          </c:dPt>
          <c:dPt>
            <c:idx val="298"/>
            <c:invertIfNegative val="1"/>
            <c:bubble3D val="0"/>
            <c:spPr>
              <a:solidFill>
                <a:srgbClr val="7ECAC4"/>
              </a:solidFill>
            </c:spPr>
            <c:extLst>
              <c:ext xmlns:c16="http://schemas.microsoft.com/office/drawing/2014/chart" uri="{C3380CC4-5D6E-409C-BE32-E72D297353CC}">
                <c16:uniqueId val="{00000257-C110-4B3C-98C7-D19B20EBE8CB}"/>
              </c:ext>
            </c:extLst>
          </c:dPt>
          <c:dPt>
            <c:idx val="299"/>
            <c:invertIfNegative val="1"/>
            <c:bubble3D val="0"/>
            <c:spPr>
              <a:solidFill>
                <a:srgbClr val="7ECAC4"/>
              </a:solidFill>
            </c:spPr>
            <c:extLst>
              <c:ext xmlns:c16="http://schemas.microsoft.com/office/drawing/2014/chart" uri="{C3380CC4-5D6E-409C-BE32-E72D297353CC}">
                <c16:uniqueId val="{00000259-C110-4B3C-98C7-D19B20EBE8CB}"/>
              </c:ext>
            </c:extLst>
          </c:dPt>
          <c:dPt>
            <c:idx val="300"/>
            <c:invertIfNegative val="1"/>
            <c:bubble3D val="0"/>
            <c:spPr>
              <a:solidFill>
                <a:srgbClr val="7ECAC4"/>
              </a:solidFill>
            </c:spPr>
            <c:extLst>
              <c:ext xmlns:c16="http://schemas.microsoft.com/office/drawing/2014/chart" uri="{C3380CC4-5D6E-409C-BE32-E72D297353CC}">
                <c16:uniqueId val="{0000025B-C110-4B3C-98C7-D19B20EBE8CB}"/>
              </c:ext>
            </c:extLst>
          </c:dPt>
          <c:dPt>
            <c:idx val="301"/>
            <c:invertIfNegative val="1"/>
            <c:bubble3D val="0"/>
            <c:spPr>
              <a:solidFill>
                <a:srgbClr val="7ECAC4"/>
              </a:solidFill>
            </c:spPr>
            <c:extLst>
              <c:ext xmlns:c16="http://schemas.microsoft.com/office/drawing/2014/chart" uri="{C3380CC4-5D6E-409C-BE32-E72D297353CC}">
                <c16:uniqueId val="{0000025D-C110-4B3C-98C7-D19B20EBE8CB}"/>
              </c:ext>
            </c:extLst>
          </c:dPt>
          <c:dPt>
            <c:idx val="302"/>
            <c:invertIfNegative val="1"/>
            <c:bubble3D val="0"/>
            <c:spPr>
              <a:solidFill>
                <a:srgbClr val="7ECAC4"/>
              </a:solidFill>
            </c:spPr>
            <c:extLst>
              <c:ext xmlns:c16="http://schemas.microsoft.com/office/drawing/2014/chart" uri="{C3380CC4-5D6E-409C-BE32-E72D297353CC}">
                <c16:uniqueId val="{0000025F-C110-4B3C-98C7-D19B20EBE8CB}"/>
              </c:ext>
            </c:extLst>
          </c:dPt>
          <c:dPt>
            <c:idx val="303"/>
            <c:invertIfNegative val="1"/>
            <c:bubble3D val="0"/>
            <c:spPr>
              <a:solidFill>
                <a:srgbClr val="7ECAC4"/>
              </a:solidFill>
            </c:spPr>
            <c:extLst>
              <c:ext xmlns:c16="http://schemas.microsoft.com/office/drawing/2014/chart" uri="{C3380CC4-5D6E-409C-BE32-E72D297353CC}">
                <c16:uniqueId val="{00000261-C110-4B3C-98C7-D19B20EBE8CB}"/>
              </c:ext>
            </c:extLst>
          </c:dPt>
          <c:dPt>
            <c:idx val="304"/>
            <c:invertIfNegative val="1"/>
            <c:bubble3D val="0"/>
            <c:spPr>
              <a:solidFill>
                <a:srgbClr val="7ECAC4"/>
              </a:solidFill>
            </c:spPr>
            <c:extLst>
              <c:ext xmlns:c16="http://schemas.microsoft.com/office/drawing/2014/chart" uri="{C3380CC4-5D6E-409C-BE32-E72D297353CC}">
                <c16:uniqueId val="{00000263-C110-4B3C-98C7-D19B20EBE8CB}"/>
              </c:ext>
            </c:extLst>
          </c:dPt>
          <c:dPt>
            <c:idx val="305"/>
            <c:invertIfNegative val="1"/>
            <c:bubble3D val="0"/>
            <c:spPr>
              <a:solidFill>
                <a:srgbClr val="7ECAC4"/>
              </a:solidFill>
            </c:spPr>
            <c:extLst>
              <c:ext xmlns:c16="http://schemas.microsoft.com/office/drawing/2014/chart" uri="{C3380CC4-5D6E-409C-BE32-E72D297353CC}">
                <c16:uniqueId val="{00000265-C110-4B3C-98C7-D19B20EBE8CB}"/>
              </c:ext>
            </c:extLst>
          </c:dPt>
          <c:dPt>
            <c:idx val="306"/>
            <c:invertIfNegative val="1"/>
            <c:bubble3D val="0"/>
            <c:spPr>
              <a:solidFill>
                <a:srgbClr val="7ECAC4"/>
              </a:solidFill>
            </c:spPr>
            <c:extLst>
              <c:ext xmlns:c16="http://schemas.microsoft.com/office/drawing/2014/chart" uri="{C3380CC4-5D6E-409C-BE32-E72D297353CC}">
                <c16:uniqueId val="{00000267-C110-4B3C-98C7-D19B20EBE8CB}"/>
              </c:ext>
            </c:extLst>
          </c:dPt>
          <c:dPt>
            <c:idx val="307"/>
            <c:invertIfNegative val="1"/>
            <c:bubble3D val="0"/>
            <c:spPr>
              <a:solidFill>
                <a:srgbClr val="7ECAC4"/>
              </a:solidFill>
            </c:spPr>
            <c:extLst>
              <c:ext xmlns:c16="http://schemas.microsoft.com/office/drawing/2014/chart" uri="{C3380CC4-5D6E-409C-BE32-E72D297353CC}">
                <c16:uniqueId val="{00000269-C110-4B3C-98C7-D19B20EBE8CB}"/>
              </c:ext>
            </c:extLst>
          </c:dPt>
          <c:dPt>
            <c:idx val="308"/>
            <c:invertIfNegative val="1"/>
            <c:bubble3D val="0"/>
            <c:spPr>
              <a:solidFill>
                <a:srgbClr val="7ECAC4"/>
              </a:solidFill>
            </c:spPr>
            <c:extLst>
              <c:ext xmlns:c16="http://schemas.microsoft.com/office/drawing/2014/chart" uri="{C3380CC4-5D6E-409C-BE32-E72D297353CC}">
                <c16:uniqueId val="{0000026B-C110-4B3C-98C7-D19B20EBE8CB}"/>
              </c:ext>
            </c:extLst>
          </c:dPt>
          <c:dPt>
            <c:idx val="309"/>
            <c:invertIfNegative val="1"/>
            <c:bubble3D val="0"/>
            <c:spPr>
              <a:solidFill>
                <a:srgbClr val="7ECAC4"/>
              </a:solidFill>
            </c:spPr>
            <c:extLst>
              <c:ext xmlns:c16="http://schemas.microsoft.com/office/drawing/2014/chart" uri="{C3380CC4-5D6E-409C-BE32-E72D297353CC}">
                <c16:uniqueId val="{0000026D-C110-4B3C-98C7-D19B20EBE8CB}"/>
              </c:ext>
            </c:extLst>
          </c:dPt>
          <c:dPt>
            <c:idx val="310"/>
            <c:invertIfNegative val="1"/>
            <c:bubble3D val="0"/>
            <c:spPr>
              <a:solidFill>
                <a:srgbClr val="7ECAC4"/>
              </a:solidFill>
            </c:spPr>
            <c:extLst>
              <c:ext xmlns:c16="http://schemas.microsoft.com/office/drawing/2014/chart" uri="{C3380CC4-5D6E-409C-BE32-E72D297353CC}">
                <c16:uniqueId val="{0000026F-C110-4B3C-98C7-D19B20EBE8CB}"/>
              </c:ext>
            </c:extLst>
          </c:dPt>
          <c:dPt>
            <c:idx val="311"/>
            <c:invertIfNegative val="1"/>
            <c:bubble3D val="0"/>
            <c:spPr>
              <a:solidFill>
                <a:srgbClr val="7ECAC4"/>
              </a:solidFill>
            </c:spPr>
            <c:extLst>
              <c:ext xmlns:c16="http://schemas.microsoft.com/office/drawing/2014/chart" uri="{C3380CC4-5D6E-409C-BE32-E72D297353CC}">
                <c16:uniqueId val="{00000271-C110-4B3C-98C7-D19B20EBE8CB}"/>
              </c:ext>
            </c:extLst>
          </c:dPt>
          <c:dPt>
            <c:idx val="312"/>
            <c:invertIfNegative val="1"/>
            <c:bubble3D val="0"/>
            <c:spPr>
              <a:solidFill>
                <a:srgbClr val="7ECAC4"/>
              </a:solidFill>
            </c:spPr>
            <c:extLst>
              <c:ext xmlns:c16="http://schemas.microsoft.com/office/drawing/2014/chart" uri="{C3380CC4-5D6E-409C-BE32-E72D297353CC}">
                <c16:uniqueId val="{00000273-C110-4B3C-98C7-D19B20EBE8CB}"/>
              </c:ext>
            </c:extLst>
          </c:dPt>
          <c:dPt>
            <c:idx val="313"/>
            <c:invertIfNegative val="1"/>
            <c:bubble3D val="0"/>
            <c:spPr>
              <a:solidFill>
                <a:srgbClr val="7ECAC4"/>
              </a:solidFill>
            </c:spPr>
            <c:extLst>
              <c:ext xmlns:c16="http://schemas.microsoft.com/office/drawing/2014/chart" uri="{C3380CC4-5D6E-409C-BE32-E72D297353CC}">
                <c16:uniqueId val="{00000275-C110-4B3C-98C7-D19B20EBE8CB}"/>
              </c:ext>
            </c:extLst>
          </c:dPt>
          <c:dPt>
            <c:idx val="314"/>
            <c:invertIfNegative val="1"/>
            <c:bubble3D val="0"/>
            <c:spPr>
              <a:solidFill>
                <a:srgbClr val="7ECAC4"/>
              </a:solidFill>
            </c:spPr>
            <c:extLst>
              <c:ext xmlns:c16="http://schemas.microsoft.com/office/drawing/2014/chart" uri="{C3380CC4-5D6E-409C-BE32-E72D297353CC}">
                <c16:uniqueId val="{00000277-C110-4B3C-98C7-D19B20EBE8CB}"/>
              </c:ext>
            </c:extLst>
          </c:dPt>
          <c:dPt>
            <c:idx val="315"/>
            <c:invertIfNegative val="1"/>
            <c:bubble3D val="0"/>
            <c:spPr>
              <a:solidFill>
                <a:srgbClr val="7ECAC4"/>
              </a:solidFill>
            </c:spPr>
            <c:extLst>
              <c:ext xmlns:c16="http://schemas.microsoft.com/office/drawing/2014/chart" uri="{C3380CC4-5D6E-409C-BE32-E72D297353CC}">
                <c16:uniqueId val="{00000279-C110-4B3C-98C7-D19B20EBE8CB}"/>
              </c:ext>
            </c:extLst>
          </c:dPt>
          <c:dPt>
            <c:idx val="316"/>
            <c:invertIfNegative val="1"/>
            <c:bubble3D val="0"/>
            <c:spPr>
              <a:solidFill>
                <a:srgbClr val="7ECAC4"/>
              </a:solidFill>
            </c:spPr>
            <c:extLst>
              <c:ext xmlns:c16="http://schemas.microsoft.com/office/drawing/2014/chart" uri="{C3380CC4-5D6E-409C-BE32-E72D297353CC}">
                <c16:uniqueId val="{0000027B-C110-4B3C-98C7-D19B20EBE8CB}"/>
              </c:ext>
            </c:extLst>
          </c:dPt>
          <c:dPt>
            <c:idx val="317"/>
            <c:invertIfNegative val="1"/>
            <c:bubble3D val="0"/>
            <c:spPr>
              <a:solidFill>
                <a:srgbClr val="7ECAC4"/>
              </a:solidFill>
            </c:spPr>
            <c:extLst>
              <c:ext xmlns:c16="http://schemas.microsoft.com/office/drawing/2014/chart" uri="{C3380CC4-5D6E-409C-BE32-E72D297353CC}">
                <c16:uniqueId val="{0000027D-C110-4B3C-98C7-D19B20EBE8CB}"/>
              </c:ext>
            </c:extLst>
          </c:dPt>
          <c:dPt>
            <c:idx val="318"/>
            <c:invertIfNegative val="1"/>
            <c:bubble3D val="0"/>
            <c:spPr>
              <a:solidFill>
                <a:srgbClr val="7ECAC4"/>
              </a:solidFill>
            </c:spPr>
            <c:extLst>
              <c:ext xmlns:c16="http://schemas.microsoft.com/office/drawing/2014/chart" uri="{C3380CC4-5D6E-409C-BE32-E72D297353CC}">
                <c16:uniqueId val="{0000027F-C110-4B3C-98C7-D19B20EBE8CB}"/>
              </c:ext>
            </c:extLst>
          </c:dPt>
          <c:dPt>
            <c:idx val="319"/>
            <c:invertIfNegative val="1"/>
            <c:bubble3D val="0"/>
            <c:spPr>
              <a:solidFill>
                <a:srgbClr val="7ECAC4"/>
              </a:solidFill>
            </c:spPr>
            <c:extLst>
              <c:ext xmlns:c16="http://schemas.microsoft.com/office/drawing/2014/chart" uri="{C3380CC4-5D6E-409C-BE32-E72D297353CC}">
                <c16:uniqueId val="{00000281-C110-4B3C-98C7-D19B20EBE8CB}"/>
              </c:ext>
            </c:extLst>
          </c:dPt>
          <c:dPt>
            <c:idx val="320"/>
            <c:invertIfNegative val="1"/>
            <c:bubble3D val="0"/>
            <c:spPr>
              <a:solidFill>
                <a:srgbClr val="7ECAC4"/>
              </a:solidFill>
            </c:spPr>
            <c:extLst>
              <c:ext xmlns:c16="http://schemas.microsoft.com/office/drawing/2014/chart" uri="{C3380CC4-5D6E-409C-BE32-E72D297353CC}">
                <c16:uniqueId val="{00000283-C110-4B3C-98C7-D19B20EBE8CB}"/>
              </c:ext>
            </c:extLst>
          </c:dPt>
          <c:dPt>
            <c:idx val="321"/>
            <c:invertIfNegative val="1"/>
            <c:bubble3D val="0"/>
            <c:spPr>
              <a:solidFill>
                <a:srgbClr val="7ECAC4"/>
              </a:solidFill>
            </c:spPr>
            <c:extLst>
              <c:ext xmlns:c16="http://schemas.microsoft.com/office/drawing/2014/chart" uri="{C3380CC4-5D6E-409C-BE32-E72D297353CC}">
                <c16:uniqueId val="{00000285-C110-4B3C-98C7-D19B20EBE8CB}"/>
              </c:ext>
            </c:extLst>
          </c:dPt>
          <c:dPt>
            <c:idx val="322"/>
            <c:invertIfNegative val="1"/>
            <c:bubble3D val="0"/>
            <c:spPr>
              <a:solidFill>
                <a:srgbClr val="7ECAC4"/>
              </a:solidFill>
            </c:spPr>
            <c:extLst>
              <c:ext xmlns:c16="http://schemas.microsoft.com/office/drawing/2014/chart" uri="{C3380CC4-5D6E-409C-BE32-E72D297353CC}">
                <c16:uniqueId val="{00000287-C110-4B3C-98C7-D19B20EBE8CB}"/>
              </c:ext>
            </c:extLst>
          </c:dPt>
          <c:dPt>
            <c:idx val="323"/>
            <c:invertIfNegative val="1"/>
            <c:bubble3D val="0"/>
            <c:spPr>
              <a:solidFill>
                <a:srgbClr val="7ECAC4"/>
              </a:solidFill>
            </c:spPr>
            <c:extLst>
              <c:ext xmlns:c16="http://schemas.microsoft.com/office/drawing/2014/chart" uri="{C3380CC4-5D6E-409C-BE32-E72D297353CC}">
                <c16:uniqueId val="{00000289-C110-4B3C-98C7-D19B20EBE8CB}"/>
              </c:ext>
            </c:extLst>
          </c:dPt>
          <c:dPt>
            <c:idx val="324"/>
            <c:invertIfNegative val="1"/>
            <c:bubble3D val="0"/>
            <c:spPr>
              <a:solidFill>
                <a:srgbClr val="7ECAC4"/>
              </a:solidFill>
            </c:spPr>
            <c:extLst>
              <c:ext xmlns:c16="http://schemas.microsoft.com/office/drawing/2014/chart" uri="{C3380CC4-5D6E-409C-BE32-E72D297353CC}">
                <c16:uniqueId val="{0000028B-C110-4B3C-98C7-D19B20EBE8CB}"/>
              </c:ext>
            </c:extLst>
          </c:dPt>
          <c:dPt>
            <c:idx val="325"/>
            <c:invertIfNegative val="1"/>
            <c:bubble3D val="0"/>
            <c:spPr>
              <a:solidFill>
                <a:srgbClr val="7ECAC4"/>
              </a:solidFill>
            </c:spPr>
            <c:extLst>
              <c:ext xmlns:c16="http://schemas.microsoft.com/office/drawing/2014/chart" uri="{C3380CC4-5D6E-409C-BE32-E72D297353CC}">
                <c16:uniqueId val="{0000028D-C110-4B3C-98C7-D19B20EBE8CB}"/>
              </c:ext>
            </c:extLst>
          </c:dPt>
          <c:dPt>
            <c:idx val="326"/>
            <c:invertIfNegative val="1"/>
            <c:bubble3D val="0"/>
            <c:spPr>
              <a:solidFill>
                <a:srgbClr val="7ECAC4"/>
              </a:solidFill>
            </c:spPr>
            <c:extLst>
              <c:ext xmlns:c16="http://schemas.microsoft.com/office/drawing/2014/chart" uri="{C3380CC4-5D6E-409C-BE32-E72D297353CC}">
                <c16:uniqueId val="{0000028F-C110-4B3C-98C7-D19B20EBE8CB}"/>
              </c:ext>
            </c:extLst>
          </c:dPt>
          <c:dPt>
            <c:idx val="327"/>
            <c:invertIfNegative val="1"/>
            <c:bubble3D val="0"/>
            <c:spPr>
              <a:solidFill>
                <a:srgbClr val="7ECAC4"/>
              </a:solidFill>
            </c:spPr>
            <c:extLst>
              <c:ext xmlns:c16="http://schemas.microsoft.com/office/drawing/2014/chart" uri="{C3380CC4-5D6E-409C-BE32-E72D297353CC}">
                <c16:uniqueId val="{00000291-C110-4B3C-98C7-D19B20EBE8CB}"/>
              </c:ext>
            </c:extLst>
          </c:dPt>
          <c:dPt>
            <c:idx val="328"/>
            <c:invertIfNegative val="1"/>
            <c:bubble3D val="0"/>
            <c:spPr>
              <a:solidFill>
                <a:srgbClr val="7ECAC4"/>
              </a:solidFill>
            </c:spPr>
            <c:extLst>
              <c:ext xmlns:c16="http://schemas.microsoft.com/office/drawing/2014/chart" uri="{C3380CC4-5D6E-409C-BE32-E72D297353CC}">
                <c16:uniqueId val="{00000293-C110-4B3C-98C7-D19B20EBE8CB}"/>
              </c:ext>
            </c:extLst>
          </c:dPt>
          <c:dPt>
            <c:idx val="329"/>
            <c:invertIfNegative val="1"/>
            <c:bubble3D val="0"/>
            <c:spPr>
              <a:solidFill>
                <a:srgbClr val="7ECAC4"/>
              </a:solidFill>
            </c:spPr>
            <c:extLst>
              <c:ext xmlns:c16="http://schemas.microsoft.com/office/drawing/2014/chart" uri="{C3380CC4-5D6E-409C-BE32-E72D297353CC}">
                <c16:uniqueId val="{00000295-C110-4B3C-98C7-D19B20EBE8CB}"/>
              </c:ext>
            </c:extLst>
          </c:dPt>
          <c:dPt>
            <c:idx val="330"/>
            <c:invertIfNegative val="1"/>
            <c:bubble3D val="0"/>
            <c:spPr>
              <a:solidFill>
                <a:srgbClr val="7ECAC4"/>
              </a:solidFill>
            </c:spPr>
            <c:extLst>
              <c:ext xmlns:c16="http://schemas.microsoft.com/office/drawing/2014/chart" uri="{C3380CC4-5D6E-409C-BE32-E72D297353CC}">
                <c16:uniqueId val="{00000297-C110-4B3C-98C7-D19B20EBE8CB}"/>
              </c:ext>
            </c:extLst>
          </c:dPt>
          <c:dPt>
            <c:idx val="331"/>
            <c:invertIfNegative val="1"/>
            <c:bubble3D val="0"/>
            <c:spPr>
              <a:solidFill>
                <a:srgbClr val="7ECAC4"/>
              </a:solidFill>
            </c:spPr>
            <c:extLst>
              <c:ext xmlns:c16="http://schemas.microsoft.com/office/drawing/2014/chart" uri="{C3380CC4-5D6E-409C-BE32-E72D297353CC}">
                <c16:uniqueId val="{00000299-C110-4B3C-98C7-D19B20EBE8CB}"/>
              </c:ext>
            </c:extLst>
          </c:dPt>
          <c:dPt>
            <c:idx val="332"/>
            <c:invertIfNegative val="1"/>
            <c:bubble3D val="0"/>
            <c:spPr>
              <a:solidFill>
                <a:srgbClr val="7ECAC4"/>
              </a:solidFill>
            </c:spPr>
            <c:extLst>
              <c:ext xmlns:c16="http://schemas.microsoft.com/office/drawing/2014/chart" uri="{C3380CC4-5D6E-409C-BE32-E72D297353CC}">
                <c16:uniqueId val="{0000029B-C110-4B3C-98C7-D19B20EBE8CB}"/>
              </c:ext>
            </c:extLst>
          </c:dPt>
          <c:dPt>
            <c:idx val="333"/>
            <c:invertIfNegative val="1"/>
            <c:bubble3D val="0"/>
            <c:spPr>
              <a:solidFill>
                <a:srgbClr val="7ECAC4"/>
              </a:solidFill>
            </c:spPr>
            <c:extLst>
              <c:ext xmlns:c16="http://schemas.microsoft.com/office/drawing/2014/chart" uri="{C3380CC4-5D6E-409C-BE32-E72D297353CC}">
                <c16:uniqueId val="{0000029D-C110-4B3C-98C7-D19B20EBE8CB}"/>
              </c:ext>
            </c:extLst>
          </c:dPt>
          <c:dPt>
            <c:idx val="334"/>
            <c:invertIfNegative val="1"/>
            <c:bubble3D val="0"/>
            <c:spPr>
              <a:solidFill>
                <a:srgbClr val="7ECAC4"/>
              </a:solidFill>
            </c:spPr>
            <c:extLst>
              <c:ext xmlns:c16="http://schemas.microsoft.com/office/drawing/2014/chart" uri="{C3380CC4-5D6E-409C-BE32-E72D297353CC}">
                <c16:uniqueId val="{0000029F-C110-4B3C-98C7-D19B20EBE8CB}"/>
              </c:ext>
            </c:extLst>
          </c:dPt>
          <c:dPt>
            <c:idx val="335"/>
            <c:invertIfNegative val="1"/>
            <c:bubble3D val="0"/>
            <c:spPr>
              <a:solidFill>
                <a:srgbClr val="7ECAC4"/>
              </a:solidFill>
            </c:spPr>
            <c:extLst>
              <c:ext xmlns:c16="http://schemas.microsoft.com/office/drawing/2014/chart" uri="{C3380CC4-5D6E-409C-BE32-E72D297353CC}">
                <c16:uniqueId val="{000002A1-C110-4B3C-98C7-D19B20EBE8CB}"/>
              </c:ext>
            </c:extLst>
          </c:dPt>
          <c:dPt>
            <c:idx val="336"/>
            <c:invertIfNegative val="1"/>
            <c:bubble3D val="0"/>
            <c:spPr>
              <a:solidFill>
                <a:srgbClr val="7ECAC4"/>
              </a:solidFill>
            </c:spPr>
            <c:extLst>
              <c:ext xmlns:c16="http://schemas.microsoft.com/office/drawing/2014/chart" uri="{C3380CC4-5D6E-409C-BE32-E72D297353CC}">
                <c16:uniqueId val="{000002A3-C110-4B3C-98C7-D19B20EBE8CB}"/>
              </c:ext>
            </c:extLst>
          </c:dPt>
          <c:dPt>
            <c:idx val="337"/>
            <c:invertIfNegative val="1"/>
            <c:bubble3D val="0"/>
            <c:spPr>
              <a:solidFill>
                <a:srgbClr val="7ECAC4"/>
              </a:solidFill>
            </c:spPr>
            <c:extLst>
              <c:ext xmlns:c16="http://schemas.microsoft.com/office/drawing/2014/chart" uri="{C3380CC4-5D6E-409C-BE32-E72D297353CC}">
                <c16:uniqueId val="{000002A5-C110-4B3C-98C7-D19B20EBE8CB}"/>
              </c:ext>
            </c:extLst>
          </c:dPt>
          <c:dPt>
            <c:idx val="338"/>
            <c:invertIfNegative val="1"/>
            <c:bubble3D val="0"/>
            <c:spPr>
              <a:solidFill>
                <a:srgbClr val="7ECAC4"/>
              </a:solidFill>
            </c:spPr>
            <c:extLst>
              <c:ext xmlns:c16="http://schemas.microsoft.com/office/drawing/2014/chart" uri="{C3380CC4-5D6E-409C-BE32-E72D297353CC}">
                <c16:uniqueId val="{000002A7-C110-4B3C-98C7-D19B20EBE8CB}"/>
              </c:ext>
            </c:extLst>
          </c:dPt>
          <c:dPt>
            <c:idx val="339"/>
            <c:invertIfNegative val="1"/>
            <c:bubble3D val="0"/>
            <c:spPr>
              <a:solidFill>
                <a:srgbClr val="7ECAC4"/>
              </a:solidFill>
            </c:spPr>
            <c:extLst>
              <c:ext xmlns:c16="http://schemas.microsoft.com/office/drawing/2014/chart" uri="{C3380CC4-5D6E-409C-BE32-E72D297353CC}">
                <c16:uniqueId val="{000002A9-C110-4B3C-98C7-D19B20EBE8CB}"/>
              </c:ext>
            </c:extLst>
          </c:dPt>
          <c:dPt>
            <c:idx val="340"/>
            <c:invertIfNegative val="1"/>
            <c:bubble3D val="0"/>
            <c:spPr>
              <a:solidFill>
                <a:srgbClr val="7ECAC4"/>
              </a:solidFill>
            </c:spPr>
            <c:extLst>
              <c:ext xmlns:c16="http://schemas.microsoft.com/office/drawing/2014/chart" uri="{C3380CC4-5D6E-409C-BE32-E72D297353CC}">
                <c16:uniqueId val="{000002AB-C110-4B3C-98C7-D19B20EBE8CB}"/>
              </c:ext>
            </c:extLst>
          </c:dPt>
          <c:dPt>
            <c:idx val="341"/>
            <c:invertIfNegative val="1"/>
            <c:bubble3D val="0"/>
            <c:spPr>
              <a:solidFill>
                <a:srgbClr val="7ECAC4"/>
              </a:solidFill>
            </c:spPr>
            <c:extLst>
              <c:ext xmlns:c16="http://schemas.microsoft.com/office/drawing/2014/chart" uri="{C3380CC4-5D6E-409C-BE32-E72D297353CC}">
                <c16:uniqueId val="{000002AD-C110-4B3C-98C7-D19B20EBE8CB}"/>
              </c:ext>
            </c:extLst>
          </c:dPt>
          <c:dPt>
            <c:idx val="342"/>
            <c:invertIfNegative val="1"/>
            <c:bubble3D val="0"/>
            <c:spPr>
              <a:solidFill>
                <a:srgbClr val="7ECAC4"/>
              </a:solidFill>
            </c:spPr>
            <c:extLst>
              <c:ext xmlns:c16="http://schemas.microsoft.com/office/drawing/2014/chart" uri="{C3380CC4-5D6E-409C-BE32-E72D297353CC}">
                <c16:uniqueId val="{000002AF-C110-4B3C-98C7-D19B20EBE8CB}"/>
              </c:ext>
            </c:extLst>
          </c:dPt>
          <c:dPt>
            <c:idx val="343"/>
            <c:invertIfNegative val="1"/>
            <c:bubble3D val="0"/>
            <c:spPr>
              <a:solidFill>
                <a:srgbClr val="7ECAC4"/>
              </a:solidFill>
            </c:spPr>
            <c:extLst>
              <c:ext xmlns:c16="http://schemas.microsoft.com/office/drawing/2014/chart" uri="{C3380CC4-5D6E-409C-BE32-E72D297353CC}">
                <c16:uniqueId val="{000002B1-C110-4B3C-98C7-D19B20EBE8CB}"/>
              </c:ext>
            </c:extLst>
          </c:dPt>
          <c:dPt>
            <c:idx val="344"/>
            <c:invertIfNegative val="1"/>
            <c:bubble3D val="0"/>
            <c:spPr>
              <a:solidFill>
                <a:srgbClr val="7ECAC4"/>
              </a:solidFill>
            </c:spPr>
            <c:extLst>
              <c:ext xmlns:c16="http://schemas.microsoft.com/office/drawing/2014/chart" uri="{C3380CC4-5D6E-409C-BE32-E72D297353CC}">
                <c16:uniqueId val="{000002B3-C110-4B3C-98C7-D19B20EBE8CB}"/>
              </c:ext>
            </c:extLst>
          </c:dPt>
          <c:dPt>
            <c:idx val="345"/>
            <c:invertIfNegative val="1"/>
            <c:bubble3D val="0"/>
            <c:spPr>
              <a:solidFill>
                <a:srgbClr val="7ECAC4"/>
              </a:solidFill>
            </c:spPr>
            <c:extLst>
              <c:ext xmlns:c16="http://schemas.microsoft.com/office/drawing/2014/chart" uri="{C3380CC4-5D6E-409C-BE32-E72D297353CC}">
                <c16:uniqueId val="{000002B5-C110-4B3C-98C7-D19B20EBE8CB}"/>
              </c:ext>
            </c:extLst>
          </c:dPt>
          <c:dPt>
            <c:idx val="346"/>
            <c:invertIfNegative val="1"/>
            <c:bubble3D val="0"/>
            <c:spPr>
              <a:solidFill>
                <a:srgbClr val="7ECAC4"/>
              </a:solidFill>
            </c:spPr>
            <c:extLst>
              <c:ext xmlns:c16="http://schemas.microsoft.com/office/drawing/2014/chart" uri="{C3380CC4-5D6E-409C-BE32-E72D297353CC}">
                <c16:uniqueId val="{000002B7-C110-4B3C-98C7-D19B20EBE8CB}"/>
              </c:ext>
            </c:extLst>
          </c:dPt>
          <c:dPt>
            <c:idx val="347"/>
            <c:invertIfNegative val="1"/>
            <c:bubble3D val="0"/>
            <c:spPr>
              <a:solidFill>
                <a:srgbClr val="7ECAC4"/>
              </a:solidFill>
            </c:spPr>
            <c:extLst>
              <c:ext xmlns:c16="http://schemas.microsoft.com/office/drawing/2014/chart" uri="{C3380CC4-5D6E-409C-BE32-E72D297353CC}">
                <c16:uniqueId val="{000002B9-C110-4B3C-98C7-D19B20EBE8CB}"/>
              </c:ext>
            </c:extLst>
          </c:dPt>
          <c:dPt>
            <c:idx val="348"/>
            <c:invertIfNegative val="1"/>
            <c:bubble3D val="0"/>
            <c:spPr>
              <a:solidFill>
                <a:srgbClr val="7ECAC4"/>
              </a:solidFill>
            </c:spPr>
            <c:extLst>
              <c:ext xmlns:c16="http://schemas.microsoft.com/office/drawing/2014/chart" uri="{C3380CC4-5D6E-409C-BE32-E72D297353CC}">
                <c16:uniqueId val="{000002BB-C110-4B3C-98C7-D19B20EBE8CB}"/>
              </c:ext>
            </c:extLst>
          </c:dPt>
          <c:dPt>
            <c:idx val="349"/>
            <c:invertIfNegative val="1"/>
            <c:bubble3D val="0"/>
            <c:spPr>
              <a:solidFill>
                <a:srgbClr val="7ECAC4"/>
              </a:solidFill>
            </c:spPr>
            <c:extLst>
              <c:ext xmlns:c16="http://schemas.microsoft.com/office/drawing/2014/chart" uri="{C3380CC4-5D6E-409C-BE32-E72D297353CC}">
                <c16:uniqueId val="{000002BD-C110-4B3C-98C7-D19B20EBE8CB}"/>
              </c:ext>
            </c:extLst>
          </c:dPt>
          <c:dPt>
            <c:idx val="350"/>
            <c:invertIfNegative val="1"/>
            <c:bubble3D val="0"/>
            <c:spPr>
              <a:solidFill>
                <a:srgbClr val="AEABAB"/>
              </a:solidFill>
            </c:spPr>
            <c:extLst>
              <c:ext xmlns:c16="http://schemas.microsoft.com/office/drawing/2014/chart" uri="{C3380CC4-5D6E-409C-BE32-E72D297353CC}">
                <c16:uniqueId val="{000002BF-C110-4B3C-98C7-D19B20EBE8CB}"/>
              </c:ext>
            </c:extLst>
          </c:dPt>
          <c:dPt>
            <c:idx val="351"/>
            <c:invertIfNegative val="1"/>
            <c:bubble3D val="0"/>
            <c:spPr>
              <a:solidFill>
                <a:srgbClr val="AEABAB"/>
              </a:solidFill>
            </c:spPr>
            <c:extLst>
              <c:ext xmlns:c16="http://schemas.microsoft.com/office/drawing/2014/chart" uri="{C3380CC4-5D6E-409C-BE32-E72D297353CC}">
                <c16:uniqueId val="{000002C1-C110-4B3C-98C7-D19B20EBE8CB}"/>
              </c:ext>
            </c:extLst>
          </c:dPt>
          <c:dPt>
            <c:idx val="352"/>
            <c:invertIfNegative val="1"/>
            <c:bubble3D val="0"/>
            <c:spPr>
              <a:solidFill>
                <a:srgbClr val="AEABAB"/>
              </a:solidFill>
            </c:spPr>
            <c:extLst>
              <c:ext xmlns:c16="http://schemas.microsoft.com/office/drawing/2014/chart" uri="{C3380CC4-5D6E-409C-BE32-E72D297353CC}">
                <c16:uniqueId val="{000002C3-C110-4B3C-98C7-D19B20EBE8CB}"/>
              </c:ext>
            </c:extLst>
          </c:dPt>
          <c:dPt>
            <c:idx val="353"/>
            <c:invertIfNegative val="1"/>
            <c:bubble3D val="0"/>
            <c:spPr>
              <a:solidFill>
                <a:srgbClr val="AEABAB"/>
              </a:solidFill>
            </c:spPr>
            <c:extLst>
              <c:ext xmlns:c16="http://schemas.microsoft.com/office/drawing/2014/chart" uri="{C3380CC4-5D6E-409C-BE32-E72D297353CC}">
                <c16:uniqueId val="{000002C5-C110-4B3C-98C7-D19B20EBE8CB}"/>
              </c:ext>
            </c:extLst>
          </c:dPt>
          <c:dPt>
            <c:idx val="354"/>
            <c:invertIfNegative val="1"/>
            <c:bubble3D val="0"/>
            <c:spPr>
              <a:solidFill>
                <a:srgbClr val="AEABAB"/>
              </a:solidFill>
            </c:spPr>
            <c:extLst>
              <c:ext xmlns:c16="http://schemas.microsoft.com/office/drawing/2014/chart" uri="{C3380CC4-5D6E-409C-BE32-E72D297353CC}">
                <c16:uniqueId val="{000002C7-C110-4B3C-98C7-D19B20EBE8CB}"/>
              </c:ext>
            </c:extLst>
          </c:dPt>
          <c:dPt>
            <c:idx val="355"/>
            <c:invertIfNegative val="1"/>
            <c:bubble3D val="0"/>
            <c:spPr>
              <a:solidFill>
                <a:srgbClr val="AEABAB"/>
              </a:solidFill>
            </c:spPr>
            <c:extLst>
              <c:ext xmlns:c16="http://schemas.microsoft.com/office/drawing/2014/chart" uri="{C3380CC4-5D6E-409C-BE32-E72D297353CC}">
                <c16:uniqueId val="{000002C9-C110-4B3C-98C7-D19B20EBE8CB}"/>
              </c:ext>
            </c:extLst>
          </c:dPt>
          <c:dPt>
            <c:idx val="356"/>
            <c:invertIfNegative val="1"/>
            <c:bubble3D val="0"/>
            <c:spPr>
              <a:solidFill>
                <a:srgbClr val="AEABAB"/>
              </a:solidFill>
            </c:spPr>
            <c:extLst>
              <c:ext xmlns:c16="http://schemas.microsoft.com/office/drawing/2014/chart" uri="{C3380CC4-5D6E-409C-BE32-E72D297353CC}">
                <c16:uniqueId val="{000002CB-C110-4B3C-98C7-D19B20EBE8CB}"/>
              </c:ext>
            </c:extLst>
          </c:dPt>
          <c:dPt>
            <c:idx val="357"/>
            <c:invertIfNegative val="1"/>
            <c:bubble3D val="0"/>
            <c:spPr>
              <a:solidFill>
                <a:srgbClr val="AEABAB"/>
              </a:solidFill>
            </c:spPr>
            <c:extLst>
              <c:ext xmlns:c16="http://schemas.microsoft.com/office/drawing/2014/chart" uri="{C3380CC4-5D6E-409C-BE32-E72D297353CC}">
                <c16:uniqueId val="{000002CD-C110-4B3C-98C7-D19B20EBE8CB}"/>
              </c:ext>
            </c:extLst>
          </c:dPt>
          <c:dPt>
            <c:idx val="358"/>
            <c:invertIfNegative val="1"/>
            <c:bubble3D val="0"/>
            <c:spPr>
              <a:solidFill>
                <a:srgbClr val="AEABAB"/>
              </a:solidFill>
            </c:spPr>
            <c:extLst>
              <c:ext xmlns:c16="http://schemas.microsoft.com/office/drawing/2014/chart" uri="{C3380CC4-5D6E-409C-BE32-E72D297353CC}">
                <c16:uniqueId val="{000002CF-C110-4B3C-98C7-D19B20EBE8CB}"/>
              </c:ext>
            </c:extLst>
          </c:dPt>
          <c:dPt>
            <c:idx val="359"/>
            <c:invertIfNegative val="1"/>
            <c:bubble3D val="0"/>
            <c:spPr>
              <a:solidFill>
                <a:srgbClr val="AEABAB"/>
              </a:solidFill>
            </c:spPr>
            <c:extLst>
              <c:ext xmlns:c16="http://schemas.microsoft.com/office/drawing/2014/chart" uri="{C3380CC4-5D6E-409C-BE32-E72D297353CC}">
                <c16:uniqueId val="{000002D1-C110-4B3C-98C7-D19B20EBE8CB}"/>
              </c:ext>
            </c:extLst>
          </c:dPt>
          <c:dPt>
            <c:idx val="360"/>
            <c:invertIfNegative val="1"/>
            <c:bubble3D val="0"/>
            <c:spPr>
              <a:solidFill>
                <a:srgbClr val="AEABAB"/>
              </a:solidFill>
            </c:spPr>
            <c:extLst>
              <c:ext xmlns:c16="http://schemas.microsoft.com/office/drawing/2014/chart" uri="{C3380CC4-5D6E-409C-BE32-E72D297353CC}">
                <c16:uniqueId val="{000002D3-C110-4B3C-98C7-D19B20EBE8CB}"/>
              </c:ext>
            </c:extLst>
          </c:dPt>
          <c:dPt>
            <c:idx val="361"/>
            <c:invertIfNegative val="1"/>
            <c:bubble3D val="0"/>
            <c:spPr>
              <a:solidFill>
                <a:srgbClr val="AEABAB"/>
              </a:solidFill>
            </c:spPr>
            <c:extLst>
              <c:ext xmlns:c16="http://schemas.microsoft.com/office/drawing/2014/chart" uri="{C3380CC4-5D6E-409C-BE32-E72D297353CC}">
                <c16:uniqueId val="{000002D5-C110-4B3C-98C7-D19B20EBE8CB}"/>
              </c:ext>
            </c:extLst>
          </c:dPt>
          <c:dPt>
            <c:idx val="362"/>
            <c:invertIfNegative val="1"/>
            <c:bubble3D val="0"/>
            <c:spPr>
              <a:solidFill>
                <a:srgbClr val="AEABAB"/>
              </a:solidFill>
            </c:spPr>
            <c:extLst>
              <c:ext xmlns:c16="http://schemas.microsoft.com/office/drawing/2014/chart" uri="{C3380CC4-5D6E-409C-BE32-E72D297353CC}">
                <c16:uniqueId val="{000002D7-C110-4B3C-98C7-D19B20EBE8CB}"/>
              </c:ext>
            </c:extLst>
          </c:dPt>
          <c:dPt>
            <c:idx val="363"/>
            <c:invertIfNegative val="1"/>
            <c:bubble3D val="0"/>
            <c:spPr>
              <a:solidFill>
                <a:srgbClr val="AEABAB"/>
              </a:solidFill>
            </c:spPr>
            <c:extLst>
              <c:ext xmlns:c16="http://schemas.microsoft.com/office/drawing/2014/chart" uri="{C3380CC4-5D6E-409C-BE32-E72D297353CC}">
                <c16:uniqueId val="{000002D9-C110-4B3C-98C7-D19B20EBE8CB}"/>
              </c:ext>
            </c:extLst>
          </c:dPt>
          <c:dPt>
            <c:idx val="364"/>
            <c:invertIfNegative val="1"/>
            <c:bubble3D val="0"/>
            <c:spPr>
              <a:solidFill>
                <a:srgbClr val="AEABAB"/>
              </a:solidFill>
            </c:spPr>
            <c:extLst>
              <c:ext xmlns:c16="http://schemas.microsoft.com/office/drawing/2014/chart" uri="{C3380CC4-5D6E-409C-BE32-E72D297353CC}">
                <c16:uniqueId val="{000002DB-C110-4B3C-98C7-D19B20EBE8CB}"/>
              </c:ext>
            </c:extLst>
          </c:dPt>
          <c:dPt>
            <c:idx val="365"/>
            <c:invertIfNegative val="1"/>
            <c:bubble3D val="0"/>
            <c:spPr>
              <a:solidFill>
                <a:srgbClr val="AEABAB"/>
              </a:solidFill>
            </c:spPr>
            <c:extLst>
              <c:ext xmlns:c16="http://schemas.microsoft.com/office/drawing/2014/chart" uri="{C3380CC4-5D6E-409C-BE32-E72D297353CC}">
                <c16:uniqueId val="{000002DD-C110-4B3C-98C7-D19B20EBE8CB}"/>
              </c:ext>
            </c:extLst>
          </c:dPt>
          <c:dPt>
            <c:idx val="366"/>
            <c:invertIfNegative val="1"/>
            <c:bubble3D val="0"/>
            <c:spPr>
              <a:solidFill>
                <a:srgbClr val="AEABAB"/>
              </a:solidFill>
            </c:spPr>
            <c:extLst>
              <c:ext xmlns:c16="http://schemas.microsoft.com/office/drawing/2014/chart" uri="{C3380CC4-5D6E-409C-BE32-E72D297353CC}">
                <c16:uniqueId val="{000002DF-C110-4B3C-98C7-D19B20EBE8CB}"/>
              </c:ext>
            </c:extLst>
          </c:dPt>
          <c:dPt>
            <c:idx val="367"/>
            <c:invertIfNegative val="1"/>
            <c:bubble3D val="0"/>
            <c:spPr>
              <a:solidFill>
                <a:srgbClr val="AEABAB"/>
              </a:solidFill>
            </c:spPr>
            <c:extLst>
              <c:ext xmlns:c16="http://schemas.microsoft.com/office/drawing/2014/chart" uri="{C3380CC4-5D6E-409C-BE32-E72D297353CC}">
                <c16:uniqueId val="{000002E1-C110-4B3C-98C7-D19B20EBE8CB}"/>
              </c:ext>
            </c:extLst>
          </c:dPt>
          <c:dPt>
            <c:idx val="368"/>
            <c:invertIfNegative val="1"/>
            <c:bubble3D val="0"/>
            <c:spPr>
              <a:solidFill>
                <a:srgbClr val="AEABAB"/>
              </a:solidFill>
            </c:spPr>
            <c:extLst>
              <c:ext xmlns:c16="http://schemas.microsoft.com/office/drawing/2014/chart" uri="{C3380CC4-5D6E-409C-BE32-E72D297353CC}">
                <c16:uniqueId val="{000002E3-C110-4B3C-98C7-D19B20EBE8CB}"/>
              </c:ext>
            </c:extLst>
          </c:dPt>
          <c:dPt>
            <c:idx val="369"/>
            <c:invertIfNegative val="1"/>
            <c:bubble3D val="0"/>
            <c:spPr>
              <a:solidFill>
                <a:srgbClr val="AEABAB"/>
              </a:solidFill>
            </c:spPr>
            <c:extLst>
              <c:ext xmlns:c16="http://schemas.microsoft.com/office/drawing/2014/chart" uri="{C3380CC4-5D6E-409C-BE32-E72D297353CC}">
                <c16:uniqueId val="{000002E5-C110-4B3C-98C7-D19B20EBE8CB}"/>
              </c:ext>
            </c:extLst>
          </c:dPt>
          <c:dPt>
            <c:idx val="370"/>
            <c:invertIfNegative val="1"/>
            <c:bubble3D val="0"/>
            <c:spPr>
              <a:solidFill>
                <a:srgbClr val="AEABAB"/>
              </a:solidFill>
            </c:spPr>
            <c:extLst>
              <c:ext xmlns:c16="http://schemas.microsoft.com/office/drawing/2014/chart" uri="{C3380CC4-5D6E-409C-BE32-E72D297353CC}">
                <c16:uniqueId val="{000002E7-C110-4B3C-98C7-D19B20EBE8CB}"/>
              </c:ext>
            </c:extLst>
          </c:dPt>
          <c:dPt>
            <c:idx val="371"/>
            <c:invertIfNegative val="1"/>
            <c:bubble3D val="0"/>
            <c:spPr>
              <a:solidFill>
                <a:srgbClr val="AEABAB"/>
              </a:solidFill>
            </c:spPr>
            <c:extLst>
              <c:ext xmlns:c16="http://schemas.microsoft.com/office/drawing/2014/chart" uri="{C3380CC4-5D6E-409C-BE32-E72D297353CC}">
                <c16:uniqueId val="{000002E9-C110-4B3C-98C7-D19B20EBE8CB}"/>
              </c:ext>
            </c:extLst>
          </c:dPt>
          <c:dPt>
            <c:idx val="372"/>
            <c:invertIfNegative val="1"/>
            <c:bubble3D val="0"/>
            <c:spPr>
              <a:solidFill>
                <a:srgbClr val="AEABAB"/>
              </a:solidFill>
            </c:spPr>
            <c:extLst>
              <c:ext xmlns:c16="http://schemas.microsoft.com/office/drawing/2014/chart" uri="{C3380CC4-5D6E-409C-BE32-E72D297353CC}">
                <c16:uniqueId val="{000002EB-C110-4B3C-98C7-D19B20EBE8CB}"/>
              </c:ext>
            </c:extLst>
          </c:dPt>
          <c:dPt>
            <c:idx val="373"/>
            <c:invertIfNegative val="1"/>
            <c:bubble3D val="0"/>
            <c:spPr>
              <a:solidFill>
                <a:srgbClr val="AEABAB"/>
              </a:solidFill>
            </c:spPr>
            <c:extLst>
              <c:ext xmlns:c16="http://schemas.microsoft.com/office/drawing/2014/chart" uri="{C3380CC4-5D6E-409C-BE32-E72D297353CC}">
                <c16:uniqueId val="{000002ED-C110-4B3C-98C7-D19B20EBE8CB}"/>
              </c:ext>
            </c:extLst>
          </c:dPt>
          <c:dPt>
            <c:idx val="374"/>
            <c:invertIfNegative val="1"/>
            <c:bubble3D val="0"/>
            <c:spPr>
              <a:solidFill>
                <a:srgbClr val="AEABAB"/>
              </a:solidFill>
            </c:spPr>
            <c:extLst>
              <c:ext xmlns:c16="http://schemas.microsoft.com/office/drawing/2014/chart" uri="{C3380CC4-5D6E-409C-BE32-E72D297353CC}">
                <c16:uniqueId val="{000002EF-C110-4B3C-98C7-D19B20EBE8CB}"/>
              </c:ext>
            </c:extLst>
          </c:dPt>
          <c:dPt>
            <c:idx val="375"/>
            <c:invertIfNegative val="1"/>
            <c:bubble3D val="0"/>
            <c:spPr>
              <a:solidFill>
                <a:srgbClr val="AEABAB"/>
              </a:solidFill>
            </c:spPr>
            <c:extLst>
              <c:ext xmlns:c16="http://schemas.microsoft.com/office/drawing/2014/chart" uri="{C3380CC4-5D6E-409C-BE32-E72D297353CC}">
                <c16:uniqueId val="{000002F1-C110-4B3C-98C7-D19B20EBE8CB}"/>
              </c:ext>
            </c:extLst>
          </c:dPt>
          <c:dPt>
            <c:idx val="376"/>
            <c:invertIfNegative val="1"/>
            <c:bubble3D val="0"/>
            <c:spPr>
              <a:solidFill>
                <a:srgbClr val="AEABAB"/>
              </a:solidFill>
            </c:spPr>
            <c:extLst>
              <c:ext xmlns:c16="http://schemas.microsoft.com/office/drawing/2014/chart" uri="{C3380CC4-5D6E-409C-BE32-E72D297353CC}">
                <c16:uniqueId val="{000002F3-C110-4B3C-98C7-D19B20EBE8CB}"/>
              </c:ext>
            </c:extLst>
          </c:dPt>
          <c:dPt>
            <c:idx val="377"/>
            <c:invertIfNegative val="1"/>
            <c:bubble3D val="0"/>
            <c:spPr>
              <a:solidFill>
                <a:srgbClr val="AEABAB"/>
              </a:solidFill>
            </c:spPr>
            <c:extLst>
              <c:ext xmlns:c16="http://schemas.microsoft.com/office/drawing/2014/chart" uri="{C3380CC4-5D6E-409C-BE32-E72D297353CC}">
                <c16:uniqueId val="{000002F5-C110-4B3C-98C7-D19B20EBE8CB}"/>
              </c:ext>
            </c:extLst>
          </c:dPt>
          <c:dPt>
            <c:idx val="378"/>
            <c:invertIfNegative val="1"/>
            <c:bubble3D val="0"/>
            <c:spPr>
              <a:solidFill>
                <a:srgbClr val="AEABAB"/>
              </a:solidFill>
            </c:spPr>
            <c:extLst>
              <c:ext xmlns:c16="http://schemas.microsoft.com/office/drawing/2014/chart" uri="{C3380CC4-5D6E-409C-BE32-E72D297353CC}">
                <c16:uniqueId val="{000002F7-C110-4B3C-98C7-D19B20EBE8CB}"/>
              </c:ext>
            </c:extLst>
          </c:dPt>
          <c:dPt>
            <c:idx val="379"/>
            <c:invertIfNegative val="1"/>
            <c:bubble3D val="0"/>
            <c:spPr>
              <a:solidFill>
                <a:srgbClr val="AEABAB"/>
              </a:solidFill>
            </c:spPr>
            <c:extLst>
              <c:ext xmlns:c16="http://schemas.microsoft.com/office/drawing/2014/chart" uri="{C3380CC4-5D6E-409C-BE32-E72D297353CC}">
                <c16:uniqueId val="{000002F9-C110-4B3C-98C7-D19B20EBE8CB}"/>
              </c:ext>
            </c:extLst>
          </c:dPt>
          <c:dPt>
            <c:idx val="380"/>
            <c:invertIfNegative val="1"/>
            <c:bubble3D val="0"/>
            <c:spPr>
              <a:solidFill>
                <a:srgbClr val="AEABAB"/>
              </a:solidFill>
            </c:spPr>
            <c:extLst>
              <c:ext xmlns:c16="http://schemas.microsoft.com/office/drawing/2014/chart" uri="{C3380CC4-5D6E-409C-BE32-E72D297353CC}">
                <c16:uniqueId val="{000002FB-C110-4B3C-98C7-D19B20EBE8CB}"/>
              </c:ext>
            </c:extLst>
          </c:dPt>
          <c:dPt>
            <c:idx val="381"/>
            <c:invertIfNegative val="1"/>
            <c:bubble3D val="0"/>
            <c:spPr>
              <a:solidFill>
                <a:srgbClr val="AEABAB"/>
              </a:solidFill>
            </c:spPr>
            <c:extLst>
              <c:ext xmlns:c16="http://schemas.microsoft.com/office/drawing/2014/chart" uri="{C3380CC4-5D6E-409C-BE32-E72D297353CC}">
                <c16:uniqueId val="{000002FD-C110-4B3C-98C7-D19B20EBE8CB}"/>
              </c:ext>
            </c:extLst>
          </c:dPt>
          <c:dPt>
            <c:idx val="382"/>
            <c:invertIfNegative val="1"/>
            <c:bubble3D val="0"/>
            <c:spPr>
              <a:solidFill>
                <a:srgbClr val="AEABAB"/>
              </a:solidFill>
            </c:spPr>
            <c:extLst>
              <c:ext xmlns:c16="http://schemas.microsoft.com/office/drawing/2014/chart" uri="{C3380CC4-5D6E-409C-BE32-E72D297353CC}">
                <c16:uniqueId val="{000002FF-C110-4B3C-98C7-D19B20EBE8CB}"/>
              </c:ext>
            </c:extLst>
          </c:dPt>
          <c:dPt>
            <c:idx val="383"/>
            <c:invertIfNegative val="1"/>
            <c:bubble3D val="0"/>
            <c:spPr>
              <a:solidFill>
                <a:srgbClr val="AEABAB"/>
              </a:solidFill>
            </c:spPr>
            <c:extLst>
              <c:ext xmlns:c16="http://schemas.microsoft.com/office/drawing/2014/chart" uri="{C3380CC4-5D6E-409C-BE32-E72D297353CC}">
                <c16:uniqueId val="{00000301-C110-4B3C-98C7-D19B20EBE8CB}"/>
              </c:ext>
            </c:extLst>
          </c:dPt>
          <c:dPt>
            <c:idx val="384"/>
            <c:invertIfNegative val="1"/>
            <c:bubble3D val="0"/>
            <c:spPr>
              <a:solidFill>
                <a:srgbClr val="AEABAB"/>
              </a:solidFill>
            </c:spPr>
            <c:extLst>
              <c:ext xmlns:c16="http://schemas.microsoft.com/office/drawing/2014/chart" uri="{C3380CC4-5D6E-409C-BE32-E72D297353CC}">
                <c16:uniqueId val="{00000303-C110-4B3C-98C7-D19B20EBE8CB}"/>
              </c:ext>
            </c:extLst>
          </c:dPt>
          <c:dPt>
            <c:idx val="385"/>
            <c:invertIfNegative val="1"/>
            <c:bubble3D val="0"/>
            <c:spPr>
              <a:solidFill>
                <a:srgbClr val="AEABAB"/>
              </a:solidFill>
            </c:spPr>
            <c:extLst>
              <c:ext xmlns:c16="http://schemas.microsoft.com/office/drawing/2014/chart" uri="{C3380CC4-5D6E-409C-BE32-E72D297353CC}">
                <c16:uniqueId val="{00000305-C110-4B3C-98C7-D19B20EBE8CB}"/>
              </c:ext>
            </c:extLst>
          </c:dPt>
          <c:dPt>
            <c:idx val="386"/>
            <c:invertIfNegative val="1"/>
            <c:bubble3D val="0"/>
            <c:spPr>
              <a:solidFill>
                <a:srgbClr val="AEABAB"/>
              </a:solidFill>
            </c:spPr>
            <c:extLst>
              <c:ext xmlns:c16="http://schemas.microsoft.com/office/drawing/2014/chart" uri="{C3380CC4-5D6E-409C-BE32-E72D297353CC}">
                <c16:uniqueId val="{00000307-C110-4B3C-98C7-D19B20EBE8CB}"/>
              </c:ext>
            </c:extLst>
          </c:dPt>
          <c:dPt>
            <c:idx val="387"/>
            <c:invertIfNegative val="1"/>
            <c:bubble3D val="0"/>
            <c:spPr>
              <a:solidFill>
                <a:srgbClr val="AEABAB"/>
              </a:solidFill>
            </c:spPr>
            <c:extLst>
              <c:ext xmlns:c16="http://schemas.microsoft.com/office/drawing/2014/chart" uri="{C3380CC4-5D6E-409C-BE32-E72D297353CC}">
                <c16:uniqueId val="{00000309-C110-4B3C-98C7-D19B20EBE8CB}"/>
              </c:ext>
            </c:extLst>
          </c:dPt>
          <c:dPt>
            <c:idx val="388"/>
            <c:invertIfNegative val="1"/>
            <c:bubble3D val="0"/>
            <c:spPr>
              <a:solidFill>
                <a:srgbClr val="AEABAB"/>
              </a:solidFill>
            </c:spPr>
            <c:extLst>
              <c:ext xmlns:c16="http://schemas.microsoft.com/office/drawing/2014/chart" uri="{C3380CC4-5D6E-409C-BE32-E72D297353CC}">
                <c16:uniqueId val="{0000030B-C110-4B3C-98C7-D19B20EBE8CB}"/>
              </c:ext>
            </c:extLst>
          </c:dPt>
          <c:dPt>
            <c:idx val="389"/>
            <c:invertIfNegative val="1"/>
            <c:bubble3D val="0"/>
            <c:spPr>
              <a:solidFill>
                <a:srgbClr val="AEABAB"/>
              </a:solidFill>
            </c:spPr>
            <c:extLst>
              <c:ext xmlns:c16="http://schemas.microsoft.com/office/drawing/2014/chart" uri="{C3380CC4-5D6E-409C-BE32-E72D297353CC}">
                <c16:uniqueId val="{0000030D-C110-4B3C-98C7-D19B20EBE8CB}"/>
              </c:ext>
            </c:extLst>
          </c:dPt>
          <c:dPt>
            <c:idx val="390"/>
            <c:invertIfNegative val="1"/>
            <c:bubble3D val="0"/>
            <c:spPr>
              <a:solidFill>
                <a:srgbClr val="AEABAB"/>
              </a:solidFill>
            </c:spPr>
            <c:extLst>
              <c:ext xmlns:c16="http://schemas.microsoft.com/office/drawing/2014/chart" uri="{C3380CC4-5D6E-409C-BE32-E72D297353CC}">
                <c16:uniqueId val="{0000030F-C110-4B3C-98C7-D19B20EBE8CB}"/>
              </c:ext>
            </c:extLst>
          </c:dPt>
          <c:dPt>
            <c:idx val="391"/>
            <c:invertIfNegative val="1"/>
            <c:bubble3D val="0"/>
            <c:spPr>
              <a:solidFill>
                <a:srgbClr val="AEABAB"/>
              </a:solidFill>
            </c:spPr>
            <c:extLst>
              <c:ext xmlns:c16="http://schemas.microsoft.com/office/drawing/2014/chart" uri="{C3380CC4-5D6E-409C-BE32-E72D297353CC}">
                <c16:uniqueId val="{00000311-C110-4B3C-98C7-D19B20EBE8CB}"/>
              </c:ext>
            </c:extLst>
          </c:dPt>
          <c:dPt>
            <c:idx val="392"/>
            <c:invertIfNegative val="1"/>
            <c:bubble3D val="0"/>
            <c:spPr>
              <a:solidFill>
                <a:srgbClr val="AEABAB"/>
              </a:solidFill>
            </c:spPr>
            <c:extLst>
              <c:ext xmlns:c16="http://schemas.microsoft.com/office/drawing/2014/chart" uri="{C3380CC4-5D6E-409C-BE32-E72D297353CC}">
                <c16:uniqueId val="{00000313-C110-4B3C-98C7-D19B20EBE8CB}"/>
              </c:ext>
            </c:extLst>
          </c:dPt>
          <c:dPt>
            <c:idx val="393"/>
            <c:invertIfNegative val="1"/>
            <c:bubble3D val="0"/>
            <c:spPr>
              <a:solidFill>
                <a:srgbClr val="AEABAB"/>
              </a:solidFill>
            </c:spPr>
            <c:extLst>
              <c:ext xmlns:c16="http://schemas.microsoft.com/office/drawing/2014/chart" uri="{C3380CC4-5D6E-409C-BE32-E72D297353CC}">
                <c16:uniqueId val="{00000315-C110-4B3C-98C7-D19B20EBE8CB}"/>
              </c:ext>
            </c:extLst>
          </c:dPt>
          <c:dPt>
            <c:idx val="394"/>
            <c:invertIfNegative val="1"/>
            <c:bubble3D val="0"/>
            <c:spPr>
              <a:solidFill>
                <a:srgbClr val="AEABAB"/>
              </a:solidFill>
            </c:spPr>
            <c:extLst>
              <c:ext xmlns:c16="http://schemas.microsoft.com/office/drawing/2014/chart" uri="{C3380CC4-5D6E-409C-BE32-E72D297353CC}">
                <c16:uniqueId val="{00000317-C110-4B3C-98C7-D19B20EBE8CB}"/>
              </c:ext>
            </c:extLst>
          </c:dPt>
          <c:dPt>
            <c:idx val="395"/>
            <c:invertIfNegative val="1"/>
            <c:bubble3D val="0"/>
            <c:spPr>
              <a:solidFill>
                <a:srgbClr val="AEABAB"/>
              </a:solidFill>
            </c:spPr>
            <c:extLst>
              <c:ext xmlns:c16="http://schemas.microsoft.com/office/drawing/2014/chart" uri="{C3380CC4-5D6E-409C-BE32-E72D297353CC}">
                <c16:uniqueId val="{00000319-C110-4B3C-98C7-D19B20EBE8CB}"/>
              </c:ext>
            </c:extLst>
          </c:dPt>
          <c:dPt>
            <c:idx val="396"/>
            <c:invertIfNegative val="1"/>
            <c:bubble3D val="0"/>
            <c:spPr>
              <a:solidFill>
                <a:srgbClr val="AEABAB"/>
              </a:solidFill>
            </c:spPr>
            <c:extLst>
              <c:ext xmlns:c16="http://schemas.microsoft.com/office/drawing/2014/chart" uri="{C3380CC4-5D6E-409C-BE32-E72D297353CC}">
                <c16:uniqueId val="{0000031B-C110-4B3C-98C7-D19B20EBE8CB}"/>
              </c:ext>
            </c:extLst>
          </c:dPt>
          <c:dPt>
            <c:idx val="397"/>
            <c:invertIfNegative val="1"/>
            <c:bubble3D val="0"/>
            <c:spPr>
              <a:solidFill>
                <a:srgbClr val="AEABAB"/>
              </a:solidFill>
            </c:spPr>
            <c:extLst>
              <c:ext xmlns:c16="http://schemas.microsoft.com/office/drawing/2014/chart" uri="{C3380CC4-5D6E-409C-BE32-E72D297353CC}">
                <c16:uniqueId val="{0000031D-C110-4B3C-98C7-D19B20EBE8CB}"/>
              </c:ext>
            </c:extLst>
          </c:dPt>
          <c:dPt>
            <c:idx val="398"/>
            <c:invertIfNegative val="1"/>
            <c:bubble3D val="0"/>
            <c:spPr>
              <a:solidFill>
                <a:srgbClr val="AEABAB"/>
              </a:solidFill>
            </c:spPr>
            <c:extLst>
              <c:ext xmlns:c16="http://schemas.microsoft.com/office/drawing/2014/chart" uri="{C3380CC4-5D6E-409C-BE32-E72D297353CC}">
                <c16:uniqueId val="{0000031F-C110-4B3C-98C7-D19B20EBE8CB}"/>
              </c:ext>
            </c:extLst>
          </c:dPt>
          <c:dPt>
            <c:idx val="399"/>
            <c:invertIfNegative val="1"/>
            <c:bubble3D val="0"/>
            <c:spPr>
              <a:solidFill>
                <a:srgbClr val="AEABAB"/>
              </a:solidFill>
            </c:spPr>
            <c:extLst>
              <c:ext xmlns:c16="http://schemas.microsoft.com/office/drawing/2014/chart" uri="{C3380CC4-5D6E-409C-BE32-E72D297353CC}">
                <c16:uniqueId val="{00000321-C110-4B3C-98C7-D19B20EBE8CB}"/>
              </c:ext>
            </c:extLst>
          </c:dPt>
          <c:dPt>
            <c:idx val="400"/>
            <c:invertIfNegative val="1"/>
            <c:bubble3D val="0"/>
            <c:spPr>
              <a:solidFill>
                <a:srgbClr val="AEABAB"/>
              </a:solidFill>
            </c:spPr>
            <c:extLst>
              <c:ext xmlns:c16="http://schemas.microsoft.com/office/drawing/2014/chart" uri="{C3380CC4-5D6E-409C-BE32-E72D297353CC}">
                <c16:uniqueId val="{00000323-C110-4B3C-98C7-D19B20EBE8CB}"/>
              </c:ext>
            </c:extLst>
          </c:dPt>
          <c:dPt>
            <c:idx val="401"/>
            <c:invertIfNegative val="1"/>
            <c:bubble3D val="0"/>
            <c:spPr>
              <a:solidFill>
                <a:srgbClr val="AEABAB"/>
              </a:solidFill>
            </c:spPr>
            <c:extLst>
              <c:ext xmlns:c16="http://schemas.microsoft.com/office/drawing/2014/chart" uri="{C3380CC4-5D6E-409C-BE32-E72D297353CC}">
                <c16:uniqueId val="{00000325-C110-4B3C-98C7-D19B20EBE8CB}"/>
              </c:ext>
            </c:extLst>
          </c:dPt>
          <c:dPt>
            <c:idx val="402"/>
            <c:invertIfNegative val="1"/>
            <c:bubble3D val="0"/>
            <c:spPr>
              <a:solidFill>
                <a:srgbClr val="AEABAB"/>
              </a:solidFill>
            </c:spPr>
            <c:extLst>
              <c:ext xmlns:c16="http://schemas.microsoft.com/office/drawing/2014/chart" uri="{C3380CC4-5D6E-409C-BE32-E72D297353CC}">
                <c16:uniqueId val="{00000327-C110-4B3C-98C7-D19B20EBE8CB}"/>
              </c:ext>
            </c:extLst>
          </c:dPt>
          <c:dPt>
            <c:idx val="403"/>
            <c:invertIfNegative val="1"/>
            <c:bubble3D val="0"/>
            <c:spPr>
              <a:solidFill>
                <a:srgbClr val="AEABAB"/>
              </a:solidFill>
            </c:spPr>
            <c:extLst>
              <c:ext xmlns:c16="http://schemas.microsoft.com/office/drawing/2014/chart" uri="{C3380CC4-5D6E-409C-BE32-E72D297353CC}">
                <c16:uniqueId val="{00000329-C110-4B3C-98C7-D19B20EBE8CB}"/>
              </c:ext>
            </c:extLst>
          </c:dPt>
          <c:dPt>
            <c:idx val="404"/>
            <c:invertIfNegative val="1"/>
            <c:bubble3D val="0"/>
            <c:spPr>
              <a:solidFill>
                <a:srgbClr val="AEABAB"/>
              </a:solidFill>
            </c:spPr>
            <c:extLst>
              <c:ext xmlns:c16="http://schemas.microsoft.com/office/drawing/2014/chart" uri="{C3380CC4-5D6E-409C-BE32-E72D297353CC}">
                <c16:uniqueId val="{0000032B-C110-4B3C-98C7-D19B20EBE8CB}"/>
              </c:ext>
            </c:extLst>
          </c:dPt>
          <c:dPt>
            <c:idx val="405"/>
            <c:invertIfNegative val="1"/>
            <c:bubble3D val="0"/>
            <c:spPr>
              <a:solidFill>
                <a:srgbClr val="AEABAB"/>
              </a:solidFill>
            </c:spPr>
            <c:extLst>
              <c:ext xmlns:c16="http://schemas.microsoft.com/office/drawing/2014/chart" uri="{C3380CC4-5D6E-409C-BE32-E72D297353CC}">
                <c16:uniqueId val="{0000032D-C110-4B3C-98C7-D19B20EBE8CB}"/>
              </c:ext>
            </c:extLst>
          </c:dPt>
          <c:dPt>
            <c:idx val="406"/>
            <c:invertIfNegative val="1"/>
            <c:bubble3D val="0"/>
            <c:spPr>
              <a:solidFill>
                <a:srgbClr val="AEABAB"/>
              </a:solidFill>
            </c:spPr>
            <c:extLst>
              <c:ext xmlns:c16="http://schemas.microsoft.com/office/drawing/2014/chart" uri="{C3380CC4-5D6E-409C-BE32-E72D297353CC}">
                <c16:uniqueId val="{0000032F-C110-4B3C-98C7-D19B20EBE8CB}"/>
              </c:ext>
            </c:extLst>
          </c:dPt>
          <c:dPt>
            <c:idx val="407"/>
            <c:invertIfNegative val="1"/>
            <c:bubble3D val="0"/>
            <c:spPr>
              <a:solidFill>
                <a:srgbClr val="AEABAB"/>
              </a:solidFill>
            </c:spPr>
            <c:extLst>
              <c:ext xmlns:c16="http://schemas.microsoft.com/office/drawing/2014/chart" uri="{C3380CC4-5D6E-409C-BE32-E72D297353CC}">
                <c16:uniqueId val="{00000331-C110-4B3C-98C7-D19B20EBE8CB}"/>
              </c:ext>
            </c:extLst>
          </c:dPt>
          <c:dPt>
            <c:idx val="408"/>
            <c:invertIfNegative val="1"/>
            <c:bubble3D val="0"/>
            <c:spPr>
              <a:solidFill>
                <a:srgbClr val="AEABAB"/>
              </a:solidFill>
            </c:spPr>
            <c:extLst>
              <c:ext xmlns:c16="http://schemas.microsoft.com/office/drawing/2014/chart" uri="{C3380CC4-5D6E-409C-BE32-E72D297353CC}">
                <c16:uniqueId val="{00000333-C110-4B3C-98C7-D19B20EBE8CB}"/>
              </c:ext>
            </c:extLst>
          </c:dPt>
          <c:dPt>
            <c:idx val="409"/>
            <c:invertIfNegative val="1"/>
            <c:bubble3D val="0"/>
            <c:spPr>
              <a:solidFill>
                <a:srgbClr val="AEABAB"/>
              </a:solidFill>
            </c:spPr>
            <c:extLst>
              <c:ext xmlns:c16="http://schemas.microsoft.com/office/drawing/2014/chart" uri="{C3380CC4-5D6E-409C-BE32-E72D297353CC}">
                <c16:uniqueId val="{00000335-C110-4B3C-98C7-D19B20EBE8CB}"/>
              </c:ext>
            </c:extLst>
          </c:dPt>
          <c:dPt>
            <c:idx val="410"/>
            <c:invertIfNegative val="1"/>
            <c:bubble3D val="0"/>
            <c:spPr>
              <a:solidFill>
                <a:srgbClr val="AEABAB"/>
              </a:solidFill>
            </c:spPr>
            <c:extLst>
              <c:ext xmlns:c16="http://schemas.microsoft.com/office/drawing/2014/chart" uri="{C3380CC4-5D6E-409C-BE32-E72D297353CC}">
                <c16:uniqueId val="{00000337-C110-4B3C-98C7-D19B20EBE8CB}"/>
              </c:ext>
            </c:extLst>
          </c:dPt>
          <c:dPt>
            <c:idx val="411"/>
            <c:invertIfNegative val="1"/>
            <c:bubble3D val="0"/>
            <c:spPr>
              <a:solidFill>
                <a:srgbClr val="AEABAB"/>
              </a:solidFill>
            </c:spPr>
            <c:extLst>
              <c:ext xmlns:c16="http://schemas.microsoft.com/office/drawing/2014/chart" uri="{C3380CC4-5D6E-409C-BE32-E72D297353CC}">
                <c16:uniqueId val="{00000339-C110-4B3C-98C7-D19B20EBE8CB}"/>
              </c:ext>
            </c:extLst>
          </c:dPt>
          <c:dPt>
            <c:idx val="412"/>
            <c:invertIfNegative val="1"/>
            <c:bubble3D val="0"/>
            <c:spPr>
              <a:solidFill>
                <a:srgbClr val="AEABAB"/>
              </a:solidFill>
            </c:spPr>
            <c:extLst>
              <c:ext xmlns:c16="http://schemas.microsoft.com/office/drawing/2014/chart" uri="{C3380CC4-5D6E-409C-BE32-E72D297353CC}">
                <c16:uniqueId val="{0000033B-C110-4B3C-98C7-D19B20EBE8CB}"/>
              </c:ext>
            </c:extLst>
          </c:dPt>
          <c:dPt>
            <c:idx val="413"/>
            <c:invertIfNegative val="1"/>
            <c:bubble3D val="0"/>
            <c:spPr>
              <a:solidFill>
                <a:srgbClr val="AEABAB"/>
              </a:solidFill>
            </c:spPr>
            <c:extLst>
              <c:ext xmlns:c16="http://schemas.microsoft.com/office/drawing/2014/chart" uri="{C3380CC4-5D6E-409C-BE32-E72D297353CC}">
                <c16:uniqueId val="{0000033D-C110-4B3C-98C7-D19B20EBE8CB}"/>
              </c:ext>
            </c:extLst>
          </c:dPt>
          <c:dPt>
            <c:idx val="414"/>
            <c:invertIfNegative val="1"/>
            <c:bubble3D val="0"/>
            <c:spPr>
              <a:solidFill>
                <a:srgbClr val="AEABAB"/>
              </a:solidFill>
            </c:spPr>
            <c:extLst>
              <c:ext xmlns:c16="http://schemas.microsoft.com/office/drawing/2014/chart" uri="{C3380CC4-5D6E-409C-BE32-E72D297353CC}">
                <c16:uniqueId val="{0000033F-C110-4B3C-98C7-D19B20EBE8CB}"/>
              </c:ext>
            </c:extLst>
          </c:dPt>
          <c:dPt>
            <c:idx val="415"/>
            <c:invertIfNegative val="1"/>
            <c:bubble3D val="0"/>
            <c:spPr>
              <a:solidFill>
                <a:srgbClr val="AEABAB"/>
              </a:solidFill>
            </c:spPr>
            <c:extLst>
              <c:ext xmlns:c16="http://schemas.microsoft.com/office/drawing/2014/chart" uri="{C3380CC4-5D6E-409C-BE32-E72D297353CC}">
                <c16:uniqueId val="{00000341-C110-4B3C-98C7-D19B20EBE8CB}"/>
              </c:ext>
            </c:extLst>
          </c:dPt>
          <c:dPt>
            <c:idx val="416"/>
            <c:invertIfNegative val="1"/>
            <c:bubble3D val="0"/>
            <c:spPr>
              <a:solidFill>
                <a:srgbClr val="AEABAB"/>
              </a:solidFill>
            </c:spPr>
            <c:extLst>
              <c:ext xmlns:c16="http://schemas.microsoft.com/office/drawing/2014/chart" uri="{C3380CC4-5D6E-409C-BE32-E72D297353CC}">
                <c16:uniqueId val="{00000343-C110-4B3C-98C7-D19B20EBE8CB}"/>
              </c:ext>
            </c:extLst>
          </c:dPt>
          <c:dPt>
            <c:idx val="417"/>
            <c:invertIfNegative val="1"/>
            <c:bubble3D val="0"/>
            <c:spPr>
              <a:solidFill>
                <a:srgbClr val="AEABAB"/>
              </a:solidFill>
            </c:spPr>
            <c:extLst>
              <c:ext xmlns:c16="http://schemas.microsoft.com/office/drawing/2014/chart" uri="{C3380CC4-5D6E-409C-BE32-E72D297353CC}">
                <c16:uniqueId val="{00000345-C110-4B3C-98C7-D19B20EBE8CB}"/>
              </c:ext>
            </c:extLst>
          </c:dPt>
          <c:dPt>
            <c:idx val="418"/>
            <c:invertIfNegative val="1"/>
            <c:bubble3D val="0"/>
            <c:spPr>
              <a:solidFill>
                <a:srgbClr val="AEABAB"/>
              </a:solidFill>
            </c:spPr>
            <c:extLst>
              <c:ext xmlns:c16="http://schemas.microsoft.com/office/drawing/2014/chart" uri="{C3380CC4-5D6E-409C-BE32-E72D297353CC}">
                <c16:uniqueId val="{00000347-C110-4B3C-98C7-D19B20EBE8CB}"/>
              </c:ext>
            </c:extLst>
          </c:dPt>
          <c:dPt>
            <c:idx val="419"/>
            <c:invertIfNegative val="1"/>
            <c:bubble3D val="0"/>
            <c:spPr>
              <a:solidFill>
                <a:srgbClr val="AEABAB"/>
              </a:solidFill>
            </c:spPr>
            <c:extLst>
              <c:ext xmlns:c16="http://schemas.microsoft.com/office/drawing/2014/chart" uri="{C3380CC4-5D6E-409C-BE32-E72D297353CC}">
                <c16:uniqueId val="{00000349-C110-4B3C-98C7-D19B20EBE8CB}"/>
              </c:ext>
            </c:extLst>
          </c:dPt>
          <c:dPt>
            <c:idx val="420"/>
            <c:invertIfNegative val="1"/>
            <c:bubble3D val="0"/>
            <c:spPr>
              <a:solidFill>
                <a:srgbClr val="AEABAB"/>
              </a:solidFill>
            </c:spPr>
            <c:extLst>
              <c:ext xmlns:c16="http://schemas.microsoft.com/office/drawing/2014/chart" uri="{C3380CC4-5D6E-409C-BE32-E72D297353CC}">
                <c16:uniqueId val="{0000034B-C110-4B3C-98C7-D19B20EBE8CB}"/>
              </c:ext>
            </c:extLst>
          </c:dPt>
          <c:dPt>
            <c:idx val="421"/>
            <c:invertIfNegative val="1"/>
            <c:bubble3D val="0"/>
            <c:spPr>
              <a:solidFill>
                <a:srgbClr val="AEABAB"/>
              </a:solidFill>
            </c:spPr>
            <c:extLst>
              <c:ext xmlns:c16="http://schemas.microsoft.com/office/drawing/2014/chart" uri="{C3380CC4-5D6E-409C-BE32-E72D297353CC}">
                <c16:uniqueId val="{0000034D-C110-4B3C-98C7-D19B20EBE8CB}"/>
              </c:ext>
            </c:extLst>
          </c:dPt>
          <c:dPt>
            <c:idx val="422"/>
            <c:invertIfNegative val="1"/>
            <c:bubble3D val="0"/>
            <c:spPr>
              <a:solidFill>
                <a:srgbClr val="AEABAB"/>
              </a:solidFill>
            </c:spPr>
            <c:extLst>
              <c:ext xmlns:c16="http://schemas.microsoft.com/office/drawing/2014/chart" uri="{C3380CC4-5D6E-409C-BE32-E72D297353CC}">
                <c16:uniqueId val="{0000034F-C110-4B3C-98C7-D19B20EBE8CB}"/>
              </c:ext>
            </c:extLst>
          </c:dPt>
          <c:dPt>
            <c:idx val="423"/>
            <c:invertIfNegative val="1"/>
            <c:bubble3D val="0"/>
            <c:spPr>
              <a:solidFill>
                <a:srgbClr val="AEABAB"/>
              </a:solidFill>
            </c:spPr>
            <c:extLst>
              <c:ext xmlns:c16="http://schemas.microsoft.com/office/drawing/2014/chart" uri="{C3380CC4-5D6E-409C-BE32-E72D297353CC}">
                <c16:uniqueId val="{00000351-C110-4B3C-98C7-D19B20EBE8CB}"/>
              </c:ext>
            </c:extLst>
          </c:dPt>
          <c:dPt>
            <c:idx val="424"/>
            <c:invertIfNegative val="1"/>
            <c:bubble3D val="0"/>
            <c:spPr>
              <a:solidFill>
                <a:srgbClr val="AEABAB"/>
              </a:solidFill>
            </c:spPr>
            <c:extLst>
              <c:ext xmlns:c16="http://schemas.microsoft.com/office/drawing/2014/chart" uri="{C3380CC4-5D6E-409C-BE32-E72D297353CC}">
                <c16:uniqueId val="{00000353-C110-4B3C-98C7-D19B20EBE8CB}"/>
              </c:ext>
            </c:extLst>
          </c:dPt>
          <c:dPt>
            <c:idx val="425"/>
            <c:invertIfNegative val="1"/>
            <c:bubble3D val="0"/>
            <c:spPr>
              <a:solidFill>
                <a:srgbClr val="AEABAB"/>
              </a:solidFill>
            </c:spPr>
            <c:extLst>
              <c:ext xmlns:c16="http://schemas.microsoft.com/office/drawing/2014/chart" uri="{C3380CC4-5D6E-409C-BE32-E72D297353CC}">
                <c16:uniqueId val="{00000355-C110-4B3C-98C7-D19B20EBE8CB}"/>
              </c:ext>
            </c:extLst>
          </c:dPt>
          <c:dPt>
            <c:idx val="426"/>
            <c:invertIfNegative val="1"/>
            <c:bubble3D val="0"/>
            <c:spPr>
              <a:solidFill>
                <a:srgbClr val="AEABAB"/>
              </a:solidFill>
            </c:spPr>
            <c:extLst>
              <c:ext xmlns:c16="http://schemas.microsoft.com/office/drawing/2014/chart" uri="{C3380CC4-5D6E-409C-BE32-E72D297353CC}">
                <c16:uniqueId val="{00000357-C110-4B3C-98C7-D19B20EBE8CB}"/>
              </c:ext>
            </c:extLst>
          </c:dPt>
          <c:dPt>
            <c:idx val="427"/>
            <c:invertIfNegative val="1"/>
            <c:bubble3D val="0"/>
            <c:spPr>
              <a:solidFill>
                <a:srgbClr val="AEABAB"/>
              </a:solidFill>
            </c:spPr>
            <c:extLst>
              <c:ext xmlns:c16="http://schemas.microsoft.com/office/drawing/2014/chart" uri="{C3380CC4-5D6E-409C-BE32-E72D297353CC}">
                <c16:uniqueId val="{00000359-C110-4B3C-98C7-D19B20EBE8CB}"/>
              </c:ext>
            </c:extLst>
          </c:dPt>
          <c:dPt>
            <c:idx val="428"/>
            <c:invertIfNegative val="1"/>
            <c:bubble3D val="0"/>
            <c:spPr>
              <a:solidFill>
                <a:srgbClr val="AEABAB"/>
              </a:solidFill>
            </c:spPr>
            <c:extLst>
              <c:ext xmlns:c16="http://schemas.microsoft.com/office/drawing/2014/chart" uri="{C3380CC4-5D6E-409C-BE32-E72D297353CC}">
                <c16:uniqueId val="{0000035B-C110-4B3C-98C7-D19B20EBE8CB}"/>
              </c:ext>
            </c:extLst>
          </c:dPt>
          <c:dPt>
            <c:idx val="429"/>
            <c:invertIfNegative val="1"/>
            <c:bubble3D val="0"/>
            <c:spPr>
              <a:solidFill>
                <a:srgbClr val="AEABAB"/>
              </a:solidFill>
            </c:spPr>
            <c:extLst>
              <c:ext xmlns:c16="http://schemas.microsoft.com/office/drawing/2014/chart" uri="{C3380CC4-5D6E-409C-BE32-E72D297353CC}">
                <c16:uniqueId val="{0000035D-C110-4B3C-98C7-D19B20EBE8CB}"/>
              </c:ext>
            </c:extLst>
          </c:dPt>
          <c:dPt>
            <c:idx val="430"/>
            <c:invertIfNegative val="1"/>
            <c:bubble3D val="0"/>
            <c:spPr>
              <a:solidFill>
                <a:srgbClr val="AEABAB"/>
              </a:solidFill>
            </c:spPr>
            <c:extLst>
              <c:ext xmlns:c16="http://schemas.microsoft.com/office/drawing/2014/chart" uri="{C3380CC4-5D6E-409C-BE32-E72D297353CC}">
                <c16:uniqueId val="{0000035F-C110-4B3C-98C7-D19B20EBE8CB}"/>
              </c:ext>
            </c:extLst>
          </c:dPt>
          <c:dPt>
            <c:idx val="431"/>
            <c:invertIfNegative val="1"/>
            <c:bubble3D val="0"/>
            <c:spPr>
              <a:solidFill>
                <a:srgbClr val="AEABAB"/>
              </a:solidFill>
            </c:spPr>
            <c:extLst>
              <c:ext xmlns:c16="http://schemas.microsoft.com/office/drawing/2014/chart" uri="{C3380CC4-5D6E-409C-BE32-E72D297353CC}">
                <c16:uniqueId val="{00000361-C110-4B3C-98C7-D19B20EBE8CB}"/>
              </c:ext>
            </c:extLst>
          </c:dPt>
          <c:dPt>
            <c:idx val="432"/>
            <c:invertIfNegative val="1"/>
            <c:bubble3D val="0"/>
            <c:spPr>
              <a:solidFill>
                <a:srgbClr val="AEABAB"/>
              </a:solidFill>
            </c:spPr>
            <c:extLst>
              <c:ext xmlns:c16="http://schemas.microsoft.com/office/drawing/2014/chart" uri="{C3380CC4-5D6E-409C-BE32-E72D297353CC}">
                <c16:uniqueId val="{00000363-C110-4B3C-98C7-D19B20EBE8CB}"/>
              </c:ext>
            </c:extLst>
          </c:dPt>
          <c:dPt>
            <c:idx val="433"/>
            <c:invertIfNegative val="1"/>
            <c:bubble3D val="0"/>
            <c:spPr>
              <a:solidFill>
                <a:srgbClr val="AEABAB"/>
              </a:solidFill>
            </c:spPr>
            <c:extLst>
              <c:ext xmlns:c16="http://schemas.microsoft.com/office/drawing/2014/chart" uri="{C3380CC4-5D6E-409C-BE32-E72D297353CC}">
                <c16:uniqueId val="{00000365-C110-4B3C-98C7-D19B20EBE8CB}"/>
              </c:ext>
            </c:extLst>
          </c:dPt>
          <c:dPt>
            <c:idx val="434"/>
            <c:invertIfNegative val="1"/>
            <c:bubble3D val="0"/>
            <c:spPr>
              <a:solidFill>
                <a:srgbClr val="AEABAB"/>
              </a:solidFill>
            </c:spPr>
            <c:extLst>
              <c:ext xmlns:c16="http://schemas.microsoft.com/office/drawing/2014/chart" uri="{C3380CC4-5D6E-409C-BE32-E72D297353CC}">
                <c16:uniqueId val="{00000367-C110-4B3C-98C7-D19B20EBE8CB}"/>
              </c:ext>
            </c:extLst>
          </c:dPt>
          <c:dPt>
            <c:idx val="435"/>
            <c:invertIfNegative val="1"/>
            <c:bubble3D val="0"/>
            <c:spPr>
              <a:solidFill>
                <a:srgbClr val="AEABAB"/>
              </a:solidFill>
            </c:spPr>
            <c:extLst>
              <c:ext xmlns:c16="http://schemas.microsoft.com/office/drawing/2014/chart" uri="{C3380CC4-5D6E-409C-BE32-E72D297353CC}">
                <c16:uniqueId val="{00000369-C110-4B3C-98C7-D19B20EBE8CB}"/>
              </c:ext>
            </c:extLst>
          </c:dPt>
          <c:dPt>
            <c:idx val="436"/>
            <c:invertIfNegative val="1"/>
            <c:bubble3D val="0"/>
            <c:spPr>
              <a:solidFill>
                <a:srgbClr val="AEABAB"/>
              </a:solidFill>
            </c:spPr>
            <c:extLst>
              <c:ext xmlns:c16="http://schemas.microsoft.com/office/drawing/2014/chart" uri="{C3380CC4-5D6E-409C-BE32-E72D297353CC}">
                <c16:uniqueId val="{0000036B-C110-4B3C-98C7-D19B20EBE8CB}"/>
              </c:ext>
            </c:extLst>
          </c:dPt>
          <c:dPt>
            <c:idx val="437"/>
            <c:invertIfNegative val="1"/>
            <c:bubble3D val="0"/>
            <c:spPr>
              <a:solidFill>
                <a:srgbClr val="AEABAB"/>
              </a:solidFill>
            </c:spPr>
            <c:extLst>
              <c:ext xmlns:c16="http://schemas.microsoft.com/office/drawing/2014/chart" uri="{C3380CC4-5D6E-409C-BE32-E72D297353CC}">
                <c16:uniqueId val="{0000036D-C110-4B3C-98C7-D19B20EBE8CB}"/>
              </c:ext>
            </c:extLst>
          </c:dPt>
          <c:dPt>
            <c:idx val="438"/>
            <c:invertIfNegative val="1"/>
            <c:bubble3D val="0"/>
            <c:spPr>
              <a:solidFill>
                <a:srgbClr val="AEABAB"/>
              </a:solidFill>
            </c:spPr>
            <c:extLst>
              <c:ext xmlns:c16="http://schemas.microsoft.com/office/drawing/2014/chart" uri="{C3380CC4-5D6E-409C-BE32-E72D297353CC}">
                <c16:uniqueId val="{0000036F-C110-4B3C-98C7-D19B20EBE8CB}"/>
              </c:ext>
            </c:extLst>
          </c:dPt>
          <c:dPt>
            <c:idx val="439"/>
            <c:invertIfNegative val="1"/>
            <c:bubble3D val="0"/>
            <c:spPr>
              <a:solidFill>
                <a:srgbClr val="AEABAB"/>
              </a:solidFill>
            </c:spPr>
            <c:extLst>
              <c:ext xmlns:c16="http://schemas.microsoft.com/office/drawing/2014/chart" uri="{C3380CC4-5D6E-409C-BE32-E72D297353CC}">
                <c16:uniqueId val="{00000371-C110-4B3C-98C7-D19B20EBE8CB}"/>
              </c:ext>
            </c:extLst>
          </c:dPt>
          <c:dPt>
            <c:idx val="440"/>
            <c:invertIfNegative val="1"/>
            <c:bubble3D val="0"/>
            <c:spPr>
              <a:solidFill>
                <a:srgbClr val="AEABAB"/>
              </a:solidFill>
            </c:spPr>
            <c:extLst>
              <c:ext xmlns:c16="http://schemas.microsoft.com/office/drawing/2014/chart" uri="{C3380CC4-5D6E-409C-BE32-E72D297353CC}">
                <c16:uniqueId val="{00000373-C110-4B3C-98C7-D19B20EBE8CB}"/>
              </c:ext>
            </c:extLst>
          </c:dPt>
          <c:dPt>
            <c:idx val="441"/>
            <c:invertIfNegative val="1"/>
            <c:bubble3D val="0"/>
            <c:spPr>
              <a:solidFill>
                <a:srgbClr val="AEABAB"/>
              </a:solidFill>
            </c:spPr>
            <c:extLst>
              <c:ext xmlns:c16="http://schemas.microsoft.com/office/drawing/2014/chart" uri="{C3380CC4-5D6E-409C-BE32-E72D297353CC}">
                <c16:uniqueId val="{00000375-C110-4B3C-98C7-D19B20EBE8CB}"/>
              </c:ext>
            </c:extLst>
          </c:dPt>
          <c:dPt>
            <c:idx val="442"/>
            <c:invertIfNegative val="1"/>
            <c:bubble3D val="0"/>
            <c:spPr>
              <a:solidFill>
                <a:srgbClr val="AEABAB"/>
              </a:solidFill>
            </c:spPr>
            <c:extLst>
              <c:ext xmlns:c16="http://schemas.microsoft.com/office/drawing/2014/chart" uri="{C3380CC4-5D6E-409C-BE32-E72D297353CC}">
                <c16:uniqueId val="{00000377-C110-4B3C-98C7-D19B20EBE8CB}"/>
              </c:ext>
            </c:extLst>
          </c:dPt>
          <c:dPt>
            <c:idx val="443"/>
            <c:invertIfNegative val="1"/>
            <c:bubble3D val="0"/>
            <c:spPr>
              <a:solidFill>
                <a:srgbClr val="AEABAB"/>
              </a:solidFill>
            </c:spPr>
            <c:extLst>
              <c:ext xmlns:c16="http://schemas.microsoft.com/office/drawing/2014/chart" uri="{C3380CC4-5D6E-409C-BE32-E72D297353CC}">
                <c16:uniqueId val="{00000379-C110-4B3C-98C7-D19B20EBE8CB}"/>
              </c:ext>
            </c:extLst>
          </c:dPt>
          <c:dPt>
            <c:idx val="444"/>
            <c:invertIfNegative val="1"/>
            <c:bubble3D val="0"/>
            <c:spPr>
              <a:solidFill>
                <a:srgbClr val="AEABAB"/>
              </a:solidFill>
            </c:spPr>
            <c:extLst>
              <c:ext xmlns:c16="http://schemas.microsoft.com/office/drawing/2014/chart" uri="{C3380CC4-5D6E-409C-BE32-E72D297353CC}">
                <c16:uniqueId val="{0000037B-C110-4B3C-98C7-D19B20EBE8CB}"/>
              </c:ext>
            </c:extLst>
          </c:dPt>
          <c:dPt>
            <c:idx val="445"/>
            <c:invertIfNegative val="1"/>
            <c:bubble3D val="0"/>
            <c:spPr>
              <a:solidFill>
                <a:srgbClr val="AEABAB"/>
              </a:solidFill>
            </c:spPr>
            <c:extLst>
              <c:ext xmlns:c16="http://schemas.microsoft.com/office/drawing/2014/chart" uri="{C3380CC4-5D6E-409C-BE32-E72D297353CC}">
                <c16:uniqueId val="{0000037D-C110-4B3C-98C7-D19B20EBE8CB}"/>
              </c:ext>
            </c:extLst>
          </c:dPt>
          <c:dPt>
            <c:idx val="446"/>
            <c:invertIfNegative val="1"/>
            <c:bubble3D val="0"/>
            <c:spPr>
              <a:solidFill>
                <a:srgbClr val="AEABAB"/>
              </a:solidFill>
            </c:spPr>
            <c:extLst>
              <c:ext xmlns:c16="http://schemas.microsoft.com/office/drawing/2014/chart" uri="{C3380CC4-5D6E-409C-BE32-E72D297353CC}">
                <c16:uniqueId val="{0000037F-C110-4B3C-98C7-D19B20EBE8CB}"/>
              </c:ext>
            </c:extLst>
          </c:dPt>
          <c:dPt>
            <c:idx val="447"/>
            <c:invertIfNegative val="1"/>
            <c:bubble3D val="0"/>
            <c:spPr>
              <a:solidFill>
                <a:srgbClr val="AEABAB"/>
              </a:solidFill>
            </c:spPr>
            <c:extLst>
              <c:ext xmlns:c16="http://schemas.microsoft.com/office/drawing/2014/chart" uri="{C3380CC4-5D6E-409C-BE32-E72D297353CC}">
                <c16:uniqueId val="{00000381-C110-4B3C-98C7-D19B20EBE8CB}"/>
              </c:ext>
            </c:extLst>
          </c:dPt>
          <c:dPt>
            <c:idx val="448"/>
            <c:invertIfNegative val="1"/>
            <c:bubble3D val="0"/>
            <c:spPr>
              <a:solidFill>
                <a:srgbClr val="AEABAB"/>
              </a:solidFill>
            </c:spPr>
            <c:extLst>
              <c:ext xmlns:c16="http://schemas.microsoft.com/office/drawing/2014/chart" uri="{C3380CC4-5D6E-409C-BE32-E72D297353CC}">
                <c16:uniqueId val="{00000383-C110-4B3C-98C7-D19B20EBE8CB}"/>
              </c:ext>
            </c:extLst>
          </c:dPt>
          <c:dPt>
            <c:idx val="449"/>
            <c:invertIfNegative val="1"/>
            <c:bubble3D val="0"/>
            <c:spPr>
              <a:solidFill>
                <a:srgbClr val="AEABAB"/>
              </a:solidFill>
            </c:spPr>
            <c:extLst>
              <c:ext xmlns:c16="http://schemas.microsoft.com/office/drawing/2014/chart" uri="{C3380CC4-5D6E-409C-BE32-E72D297353CC}">
                <c16:uniqueId val="{00000385-C110-4B3C-98C7-D19B20EBE8CB}"/>
              </c:ext>
            </c:extLst>
          </c:dPt>
          <c:dPt>
            <c:idx val="450"/>
            <c:invertIfNegative val="1"/>
            <c:bubble3D val="0"/>
            <c:spPr>
              <a:solidFill>
                <a:srgbClr val="AEABAB"/>
              </a:solidFill>
            </c:spPr>
            <c:extLst>
              <c:ext xmlns:c16="http://schemas.microsoft.com/office/drawing/2014/chart" uri="{C3380CC4-5D6E-409C-BE32-E72D297353CC}">
                <c16:uniqueId val="{00000387-C110-4B3C-98C7-D19B20EBE8CB}"/>
              </c:ext>
            </c:extLst>
          </c:dPt>
          <c:dPt>
            <c:idx val="451"/>
            <c:invertIfNegative val="1"/>
            <c:bubble3D val="0"/>
            <c:spPr>
              <a:solidFill>
                <a:srgbClr val="AEABAB"/>
              </a:solidFill>
            </c:spPr>
            <c:extLst>
              <c:ext xmlns:c16="http://schemas.microsoft.com/office/drawing/2014/chart" uri="{C3380CC4-5D6E-409C-BE32-E72D297353CC}">
                <c16:uniqueId val="{00000389-C110-4B3C-98C7-D19B20EBE8CB}"/>
              </c:ext>
            </c:extLst>
          </c:dPt>
          <c:dPt>
            <c:idx val="452"/>
            <c:invertIfNegative val="1"/>
            <c:bubble3D val="0"/>
            <c:spPr>
              <a:solidFill>
                <a:srgbClr val="AEABAB"/>
              </a:solidFill>
            </c:spPr>
            <c:extLst>
              <c:ext xmlns:c16="http://schemas.microsoft.com/office/drawing/2014/chart" uri="{C3380CC4-5D6E-409C-BE32-E72D297353CC}">
                <c16:uniqueId val="{0000038B-C110-4B3C-98C7-D19B20EBE8CB}"/>
              </c:ext>
            </c:extLst>
          </c:dPt>
          <c:dPt>
            <c:idx val="453"/>
            <c:invertIfNegative val="1"/>
            <c:bubble3D val="0"/>
            <c:spPr>
              <a:solidFill>
                <a:srgbClr val="AEABAB"/>
              </a:solidFill>
            </c:spPr>
            <c:extLst>
              <c:ext xmlns:c16="http://schemas.microsoft.com/office/drawing/2014/chart" uri="{C3380CC4-5D6E-409C-BE32-E72D297353CC}">
                <c16:uniqueId val="{0000038D-C110-4B3C-98C7-D19B20EBE8CB}"/>
              </c:ext>
            </c:extLst>
          </c:dPt>
          <c:dPt>
            <c:idx val="454"/>
            <c:invertIfNegative val="1"/>
            <c:bubble3D val="0"/>
            <c:spPr>
              <a:solidFill>
                <a:srgbClr val="AEABAB"/>
              </a:solidFill>
            </c:spPr>
            <c:extLst>
              <c:ext xmlns:c16="http://schemas.microsoft.com/office/drawing/2014/chart" uri="{C3380CC4-5D6E-409C-BE32-E72D297353CC}">
                <c16:uniqueId val="{0000038F-C110-4B3C-98C7-D19B20EBE8CB}"/>
              </c:ext>
            </c:extLst>
          </c:dPt>
          <c:dPt>
            <c:idx val="455"/>
            <c:invertIfNegative val="1"/>
            <c:bubble3D val="0"/>
            <c:spPr>
              <a:solidFill>
                <a:srgbClr val="AEABAB"/>
              </a:solidFill>
            </c:spPr>
            <c:extLst>
              <c:ext xmlns:c16="http://schemas.microsoft.com/office/drawing/2014/chart" uri="{C3380CC4-5D6E-409C-BE32-E72D297353CC}">
                <c16:uniqueId val="{00000391-C110-4B3C-98C7-D19B20EBE8CB}"/>
              </c:ext>
            </c:extLst>
          </c:dPt>
          <c:dPt>
            <c:idx val="456"/>
            <c:invertIfNegative val="1"/>
            <c:bubble3D val="0"/>
            <c:spPr>
              <a:solidFill>
                <a:srgbClr val="AEABAB"/>
              </a:solidFill>
            </c:spPr>
            <c:extLst>
              <c:ext xmlns:c16="http://schemas.microsoft.com/office/drawing/2014/chart" uri="{C3380CC4-5D6E-409C-BE32-E72D297353CC}">
                <c16:uniqueId val="{00000393-C110-4B3C-98C7-D19B20EBE8CB}"/>
              </c:ext>
            </c:extLst>
          </c:dPt>
          <c:dPt>
            <c:idx val="457"/>
            <c:invertIfNegative val="1"/>
            <c:bubble3D val="0"/>
            <c:spPr>
              <a:solidFill>
                <a:srgbClr val="AEABAB"/>
              </a:solidFill>
            </c:spPr>
            <c:extLst>
              <c:ext xmlns:c16="http://schemas.microsoft.com/office/drawing/2014/chart" uri="{C3380CC4-5D6E-409C-BE32-E72D297353CC}">
                <c16:uniqueId val="{00000395-C110-4B3C-98C7-D19B20EBE8CB}"/>
              </c:ext>
            </c:extLst>
          </c:dPt>
          <c:dPt>
            <c:idx val="458"/>
            <c:invertIfNegative val="1"/>
            <c:bubble3D val="0"/>
            <c:spPr>
              <a:solidFill>
                <a:srgbClr val="AEABAB"/>
              </a:solidFill>
            </c:spPr>
            <c:extLst>
              <c:ext xmlns:c16="http://schemas.microsoft.com/office/drawing/2014/chart" uri="{C3380CC4-5D6E-409C-BE32-E72D297353CC}">
                <c16:uniqueId val="{00000397-C110-4B3C-98C7-D19B20EBE8CB}"/>
              </c:ext>
            </c:extLst>
          </c:dPt>
          <c:dPt>
            <c:idx val="459"/>
            <c:invertIfNegative val="1"/>
            <c:bubble3D val="0"/>
            <c:spPr>
              <a:solidFill>
                <a:srgbClr val="AEABAB"/>
              </a:solidFill>
            </c:spPr>
            <c:extLst>
              <c:ext xmlns:c16="http://schemas.microsoft.com/office/drawing/2014/chart" uri="{C3380CC4-5D6E-409C-BE32-E72D297353CC}">
                <c16:uniqueId val="{00000399-C110-4B3C-98C7-D19B20EBE8CB}"/>
              </c:ext>
            </c:extLst>
          </c:dPt>
          <c:dPt>
            <c:idx val="460"/>
            <c:invertIfNegative val="1"/>
            <c:bubble3D val="0"/>
            <c:spPr>
              <a:solidFill>
                <a:srgbClr val="AEABAB"/>
              </a:solidFill>
            </c:spPr>
            <c:extLst>
              <c:ext xmlns:c16="http://schemas.microsoft.com/office/drawing/2014/chart" uri="{C3380CC4-5D6E-409C-BE32-E72D297353CC}">
                <c16:uniqueId val="{0000039B-C110-4B3C-98C7-D19B20EBE8CB}"/>
              </c:ext>
            </c:extLst>
          </c:dPt>
          <c:dPt>
            <c:idx val="461"/>
            <c:invertIfNegative val="1"/>
            <c:bubble3D val="0"/>
            <c:spPr>
              <a:solidFill>
                <a:srgbClr val="AEABAB"/>
              </a:solidFill>
            </c:spPr>
            <c:extLst>
              <c:ext xmlns:c16="http://schemas.microsoft.com/office/drawing/2014/chart" uri="{C3380CC4-5D6E-409C-BE32-E72D297353CC}">
                <c16:uniqueId val="{0000039D-C110-4B3C-98C7-D19B20EBE8CB}"/>
              </c:ext>
            </c:extLst>
          </c:dPt>
          <c:dPt>
            <c:idx val="462"/>
            <c:invertIfNegative val="1"/>
            <c:bubble3D val="0"/>
            <c:spPr>
              <a:solidFill>
                <a:srgbClr val="AEABAB"/>
              </a:solidFill>
            </c:spPr>
            <c:extLst>
              <c:ext xmlns:c16="http://schemas.microsoft.com/office/drawing/2014/chart" uri="{C3380CC4-5D6E-409C-BE32-E72D297353CC}">
                <c16:uniqueId val="{0000039F-C110-4B3C-98C7-D19B20EBE8CB}"/>
              </c:ext>
            </c:extLst>
          </c:dPt>
          <c:dPt>
            <c:idx val="463"/>
            <c:invertIfNegative val="1"/>
            <c:bubble3D val="0"/>
            <c:spPr>
              <a:solidFill>
                <a:srgbClr val="AEABAB"/>
              </a:solidFill>
            </c:spPr>
            <c:extLst>
              <c:ext xmlns:c16="http://schemas.microsoft.com/office/drawing/2014/chart" uri="{C3380CC4-5D6E-409C-BE32-E72D297353CC}">
                <c16:uniqueId val="{000003A1-C110-4B3C-98C7-D19B20EBE8CB}"/>
              </c:ext>
            </c:extLst>
          </c:dPt>
          <c:dPt>
            <c:idx val="464"/>
            <c:invertIfNegative val="1"/>
            <c:bubble3D val="0"/>
            <c:spPr>
              <a:solidFill>
                <a:srgbClr val="AEABAB"/>
              </a:solidFill>
            </c:spPr>
            <c:extLst>
              <c:ext xmlns:c16="http://schemas.microsoft.com/office/drawing/2014/chart" uri="{C3380CC4-5D6E-409C-BE32-E72D297353CC}">
                <c16:uniqueId val="{000003A3-C110-4B3C-98C7-D19B20EBE8CB}"/>
              </c:ext>
            </c:extLst>
          </c:dPt>
          <c:dPt>
            <c:idx val="465"/>
            <c:invertIfNegative val="1"/>
            <c:bubble3D val="0"/>
            <c:spPr>
              <a:solidFill>
                <a:srgbClr val="AEABAB"/>
              </a:solidFill>
            </c:spPr>
            <c:extLst>
              <c:ext xmlns:c16="http://schemas.microsoft.com/office/drawing/2014/chart" uri="{C3380CC4-5D6E-409C-BE32-E72D297353CC}">
                <c16:uniqueId val="{000003A5-C110-4B3C-98C7-D19B20EBE8CB}"/>
              </c:ext>
            </c:extLst>
          </c:dPt>
          <c:dPt>
            <c:idx val="466"/>
            <c:invertIfNegative val="1"/>
            <c:bubble3D val="0"/>
            <c:spPr>
              <a:solidFill>
                <a:srgbClr val="AEABAB"/>
              </a:solidFill>
            </c:spPr>
            <c:extLst>
              <c:ext xmlns:c16="http://schemas.microsoft.com/office/drawing/2014/chart" uri="{C3380CC4-5D6E-409C-BE32-E72D297353CC}">
                <c16:uniqueId val="{000003A7-C110-4B3C-98C7-D19B20EBE8CB}"/>
              </c:ext>
            </c:extLst>
          </c:dPt>
          <c:dPt>
            <c:idx val="467"/>
            <c:invertIfNegative val="1"/>
            <c:bubble3D val="0"/>
            <c:spPr>
              <a:solidFill>
                <a:srgbClr val="AEABAB"/>
              </a:solidFill>
            </c:spPr>
            <c:extLst>
              <c:ext xmlns:c16="http://schemas.microsoft.com/office/drawing/2014/chart" uri="{C3380CC4-5D6E-409C-BE32-E72D297353CC}">
                <c16:uniqueId val="{000003A9-C110-4B3C-98C7-D19B20EBE8CB}"/>
              </c:ext>
            </c:extLst>
          </c:dPt>
          <c:dPt>
            <c:idx val="468"/>
            <c:invertIfNegative val="1"/>
            <c:bubble3D val="0"/>
            <c:spPr>
              <a:solidFill>
                <a:srgbClr val="AEABAB"/>
              </a:solidFill>
            </c:spPr>
            <c:extLst>
              <c:ext xmlns:c16="http://schemas.microsoft.com/office/drawing/2014/chart" uri="{C3380CC4-5D6E-409C-BE32-E72D297353CC}">
                <c16:uniqueId val="{000003AB-C110-4B3C-98C7-D19B20EBE8CB}"/>
              </c:ext>
            </c:extLst>
          </c:dPt>
          <c:dPt>
            <c:idx val="469"/>
            <c:invertIfNegative val="1"/>
            <c:bubble3D val="0"/>
            <c:spPr>
              <a:solidFill>
                <a:srgbClr val="AEABAB"/>
              </a:solidFill>
            </c:spPr>
            <c:extLst>
              <c:ext xmlns:c16="http://schemas.microsoft.com/office/drawing/2014/chart" uri="{C3380CC4-5D6E-409C-BE32-E72D297353CC}">
                <c16:uniqueId val="{000003AD-C110-4B3C-98C7-D19B20EBE8CB}"/>
              </c:ext>
            </c:extLst>
          </c:dPt>
          <c:dPt>
            <c:idx val="470"/>
            <c:invertIfNegative val="1"/>
            <c:bubble3D val="0"/>
            <c:spPr>
              <a:solidFill>
                <a:srgbClr val="AEABAB"/>
              </a:solidFill>
            </c:spPr>
            <c:extLst>
              <c:ext xmlns:c16="http://schemas.microsoft.com/office/drawing/2014/chart" uri="{C3380CC4-5D6E-409C-BE32-E72D297353CC}">
                <c16:uniqueId val="{000003AF-C110-4B3C-98C7-D19B20EBE8CB}"/>
              </c:ext>
            </c:extLst>
          </c:dPt>
          <c:dPt>
            <c:idx val="471"/>
            <c:invertIfNegative val="1"/>
            <c:bubble3D val="0"/>
            <c:spPr>
              <a:solidFill>
                <a:srgbClr val="AEABAB"/>
              </a:solidFill>
            </c:spPr>
            <c:extLst>
              <c:ext xmlns:c16="http://schemas.microsoft.com/office/drawing/2014/chart" uri="{C3380CC4-5D6E-409C-BE32-E72D297353CC}">
                <c16:uniqueId val="{000003B1-C110-4B3C-98C7-D19B20EBE8CB}"/>
              </c:ext>
            </c:extLst>
          </c:dPt>
          <c:dPt>
            <c:idx val="472"/>
            <c:invertIfNegative val="1"/>
            <c:bubble3D val="0"/>
            <c:spPr>
              <a:solidFill>
                <a:srgbClr val="AEABAB"/>
              </a:solidFill>
            </c:spPr>
            <c:extLst>
              <c:ext xmlns:c16="http://schemas.microsoft.com/office/drawing/2014/chart" uri="{C3380CC4-5D6E-409C-BE32-E72D297353CC}">
                <c16:uniqueId val="{000003B3-C110-4B3C-98C7-D19B20EBE8CB}"/>
              </c:ext>
            </c:extLst>
          </c:dPt>
          <c:dPt>
            <c:idx val="473"/>
            <c:invertIfNegative val="1"/>
            <c:bubble3D val="0"/>
            <c:spPr>
              <a:solidFill>
                <a:srgbClr val="AEABAB"/>
              </a:solidFill>
            </c:spPr>
            <c:extLst>
              <c:ext xmlns:c16="http://schemas.microsoft.com/office/drawing/2014/chart" uri="{C3380CC4-5D6E-409C-BE32-E72D297353CC}">
                <c16:uniqueId val="{000003B5-C110-4B3C-98C7-D19B20EBE8CB}"/>
              </c:ext>
            </c:extLst>
          </c:dPt>
          <c:dPt>
            <c:idx val="474"/>
            <c:invertIfNegative val="1"/>
            <c:bubble3D val="0"/>
            <c:spPr>
              <a:solidFill>
                <a:srgbClr val="AEABAB"/>
              </a:solidFill>
            </c:spPr>
            <c:extLst>
              <c:ext xmlns:c16="http://schemas.microsoft.com/office/drawing/2014/chart" uri="{C3380CC4-5D6E-409C-BE32-E72D297353CC}">
                <c16:uniqueId val="{000003B7-C110-4B3C-98C7-D19B20EBE8CB}"/>
              </c:ext>
            </c:extLst>
          </c:dPt>
          <c:dPt>
            <c:idx val="475"/>
            <c:invertIfNegative val="1"/>
            <c:bubble3D val="0"/>
            <c:spPr>
              <a:solidFill>
                <a:srgbClr val="AEABAB"/>
              </a:solidFill>
            </c:spPr>
            <c:extLst>
              <c:ext xmlns:c16="http://schemas.microsoft.com/office/drawing/2014/chart" uri="{C3380CC4-5D6E-409C-BE32-E72D297353CC}">
                <c16:uniqueId val="{000003B9-C110-4B3C-98C7-D19B20EBE8CB}"/>
              </c:ext>
            </c:extLst>
          </c:dPt>
          <c:dPt>
            <c:idx val="476"/>
            <c:invertIfNegative val="1"/>
            <c:bubble3D val="0"/>
            <c:spPr>
              <a:solidFill>
                <a:srgbClr val="AEABAB"/>
              </a:solidFill>
            </c:spPr>
            <c:extLst>
              <c:ext xmlns:c16="http://schemas.microsoft.com/office/drawing/2014/chart" uri="{C3380CC4-5D6E-409C-BE32-E72D297353CC}">
                <c16:uniqueId val="{000003BB-C110-4B3C-98C7-D19B20EBE8CB}"/>
              </c:ext>
            </c:extLst>
          </c:dPt>
          <c:dPt>
            <c:idx val="477"/>
            <c:invertIfNegative val="1"/>
            <c:bubble3D val="0"/>
            <c:spPr>
              <a:solidFill>
                <a:srgbClr val="AEABAB"/>
              </a:solidFill>
            </c:spPr>
            <c:extLst>
              <c:ext xmlns:c16="http://schemas.microsoft.com/office/drawing/2014/chart" uri="{C3380CC4-5D6E-409C-BE32-E72D297353CC}">
                <c16:uniqueId val="{000003BD-C110-4B3C-98C7-D19B20EBE8CB}"/>
              </c:ext>
            </c:extLst>
          </c:dPt>
          <c:dPt>
            <c:idx val="478"/>
            <c:invertIfNegative val="1"/>
            <c:bubble3D val="0"/>
            <c:spPr>
              <a:solidFill>
                <a:srgbClr val="AEABAB"/>
              </a:solidFill>
            </c:spPr>
            <c:extLst>
              <c:ext xmlns:c16="http://schemas.microsoft.com/office/drawing/2014/chart" uri="{C3380CC4-5D6E-409C-BE32-E72D297353CC}">
                <c16:uniqueId val="{000003BF-C110-4B3C-98C7-D19B20EBE8CB}"/>
              </c:ext>
            </c:extLst>
          </c:dPt>
          <c:dPt>
            <c:idx val="479"/>
            <c:invertIfNegative val="1"/>
            <c:bubble3D val="0"/>
            <c:spPr>
              <a:solidFill>
                <a:srgbClr val="AEABAB"/>
              </a:solidFill>
            </c:spPr>
            <c:extLst>
              <c:ext xmlns:c16="http://schemas.microsoft.com/office/drawing/2014/chart" uri="{C3380CC4-5D6E-409C-BE32-E72D297353CC}">
                <c16:uniqueId val="{000003C1-C110-4B3C-98C7-D19B20EBE8CB}"/>
              </c:ext>
            </c:extLst>
          </c:dPt>
          <c:dPt>
            <c:idx val="480"/>
            <c:invertIfNegative val="1"/>
            <c:bubble3D val="0"/>
            <c:spPr>
              <a:solidFill>
                <a:srgbClr val="AEABAB"/>
              </a:solidFill>
            </c:spPr>
            <c:extLst>
              <c:ext xmlns:c16="http://schemas.microsoft.com/office/drawing/2014/chart" uri="{C3380CC4-5D6E-409C-BE32-E72D297353CC}">
                <c16:uniqueId val="{000003C3-C110-4B3C-98C7-D19B20EBE8CB}"/>
              </c:ext>
            </c:extLst>
          </c:dPt>
          <c:dPt>
            <c:idx val="481"/>
            <c:invertIfNegative val="1"/>
            <c:bubble3D val="0"/>
            <c:spPr>
              <a:solidFill>
                <a:srgbClr val="AEABAB"/>
              </a:solidFill>
            </c:spPr>
            <c:extLst>
              <c:ext xmlns:c16="http://schemas.microsoft.com/office/drawing/2014/chart" uri="{C3380CC4-5D6E-409C-BE32-E72D297353CC}">
                <c16:uniqueId val="{000003C5-C110-4B3C-98C7-D19B20EBE8CB}"/>
              </c:ext>
            </c:extLst>
          </c:dPt>
          <c:dPt>
            <c:idx val="482"/>
            <c:invertIfNegative val="1"/>
            <c:bubble3D val="0"/>
            <c:spPr>
              <a:solidFill>
                <a:srgbClr val="AEABAB"/>
              </a:solidFill>
            </c:spPr>
            <c:extLst>
              <c:ext xmlns:c16="http://schemas.microsoft.com/office/drawing/2014/chart" uri="{C3380CC4-5D6E-409C-BE32-E72D297353CC}">
                <c16:uniqueId val="{000003C7-C110-4B3C-98C7-D19B20EBE8CB}"/>
              </c:ext>
            </c:extLst>
          </c:dPt>
          <c:dPt>
            <c:idx val="483"/>
            <c:invertIfNegative val="1"/>
            <c:bubble3D val="0"/>
            <c:spPr>
              <a:solidFill>
                <a:srgbClr val="AEABAB"/>
              </a:solidFill>
            </c:spPr>
            <c:extLst>
              <c:ext xmlns:c16="http://schemas.microsoft.com/office/drawing/2014/chart" uri="{C3380CC4-5D6E-409C-BE32-E72D297353CC}">
                <c16:uniqueId val="{000003C9-C110-4B3C-98C7-D19B20EBE8CB}"/>
              </c:ext>
            </c:extLst>
          </c:dPt>
          <c:dPt>
            <c:idx val="484"/>
            <c:invertIfNegative val="1"/>
            <c:bubble3D val="0"/>
            <c:spPr>
              <a:solidFill>
                <a:srgbClr val="AEABAB"/>
              </a:solidFill>
            </c:spPr>
            <c:extLst>
              <c:ext xmlns:c16="http://schemas.microsoft.com/office/drawing/2014/chart" uri="{C3380CC4-5D6E-409C-BE32-E72D297353CC}">
                <c16:uniqueId val="{000003CB-C110-4B3C-98C7-D19B20EBE8CB}"/>
              </c:ext>
            </c:extLst>
          </c:dPt>
          <c:dPt>
            <c:idx val="485"/>
            <c:invertIfNegative val="1"/>
            <c:bubble3D val="0"/>
            <c:spPr>
              <a:solidFill>
                <a:srgbClr val="AEABAB"/>
              </a:solidFill>
            </c:spPr>
            <c:extLst>
              <c:ext xmlns:c16="http://schemas.microsoft.com/office/drawing/2014/chart" uri="{C3380CC4-5D6E-409C-BE32-E72D297353CC}">
                <c16:uniqueId val="{000003CD-C110-4B3C-98C7-D19B20EBE8CB}"/>
              </c:ext>
            </c:extLst>
          </c:dPt>
          <c:dPt>
            <c:idx val="486"/>
            <c:invertIfNegative val="1"/>
            <c:bubble3D val="0"/>
            <c:spPr>
              <a:solidFill>
                <a:srgbClr val="AEABAB"/>
              </a:solidFill>
            </c:spPr>
            <c:extLst>
              <c:ext xmlns:c16="http://schemas.microsoft.com/office/drawing/2014/chart" uri="{C3380CC4-5D6E-409C-BE32-E72D297353CC}">
                <c16:uniqueId val="{000003CF-C110-4B3C-98C7-D19B20EBE8CB}"/>
              </c:ext>
            </c:extLst>
          </c:dPt>
          <c:dPt>
            <c:idx val="487"/>
            <c:invertIfNegative val="1"/>
            <c:bubble3D val="0"/>
            <c:spPr>
              <a:solidFill>
                <a:srgbClr val="AEABAB"/>
              </a:solidFill>
            </c:spPr>
            <c:extLst>
              <c:ext xmlns:c16="http://schemas.microsoft.com/office/drawing/2014/chart" uri="{C3380CC4-5D6E-409C-BE32-E72D297353CC}">
                <c16:uniqueId val="{000003D1-C110-4B3C-98C7-D19B20EBE8CB}"/>
              </c:ext>
            </c:extLst>
          </c:dPt>
          <c:dPt>
            <c:idx val="488"/>
            <c:invertIfNegative val="1"/>
            <c:bubble3D val="0"/>
            <c:spPr>
              <a:solidFill>
                <a:srgbClr val="AEABAB"/>
              </a:solidFill>
            </c:spPr>
            <c:extLst>
              <c:ext xmlns:c16="http://schemas.microsoft.com/office/drawing/2014/chart" uri="{C3380CC4-5D6E-409C-BE32-E72D297353CC}">
                <c16:uniqueId val="{000003D3-C110-4B3C-98C7-D19B20EBE8CB}"/>
              </c:ext>
            </c:extLst>
          </c:dPt>
          <c:dPt>
            <c:idx val="489"/>
            <c:invertIfNegative val="1"/>
            <c:bubble3D val="0"/>
            <c:spPr>
              <a:solidFill>
                <a:srgbClr val="AEABAB"/>
              </a:solidFill>
            </c:spPr>
            <c:extLst>
              <c:ext xmlns:c16="http://schemas.microsoft.com/office/drawing/2014/chart" uri="{C3380CC4-5D6E-409C-BE32-E72D297353CC}">
                <c16:uniqueId val="{000003D5-C110-4B3C-98C7-D19B20EBE8CB}"/>
              </c:ext>
            </c:extLst>
          </c:dPt>
          <c:dPt>
            <c:idx val="490"/>
            <c:invertIfNegative val="1"/>
            <c:bubble3D val="0"/>
            <c:spPr>
              <a:solidFill>
                <a:srgbClr val="AEABAB"/>
              </a:solidFill>
            </c:spPr>
            <c:extLst>
              <c:ext xmlns:c16="http://schemas.microsoft.com/office/drawing/2014/chart" uri="{C3380CC4-5D6E-409C-BE32-E72D297353CC}">
                <c16:uniqueId val="{000003D7-C110-4B3C-98C7-D19B20EBE8CB}"/>
              </c:ext>
            </c:extLst>
          </c:dPt>
          <c:dPt>
            <c:idx val="491"/>
            <c:invertIfNegative val="1"/>
            <c:bubble3D val="0"/>
            <c:spPr>
              <a:solidFill>
                <a:srgbClr val="AEABAB"/>
              </a:solidFill>
            </c:spPr>
            <c:extLst>
              <c:ext xmlns:c16="http://schemas.microsoft.com/office/drawing/2014/chart" uri="{C3380CC4-5D6E-409C-BE32-E72D297353CC}">
                <c16:uniqueId val="{000003D9-C110-4B3C-98C7-D19B20EBE8CB}"/>
              </c:ext>
            </c:extLst>
          </c:dPt>
          <c:dPt>
            <c:idx val="492"/>
            <c:invertIfNegative val="1"/>
            <c:bubble3D val="0"/>
            <c:spPr>
              <a:solidFill>
                <a:srgbClr val="AEABAB"/>
              </a:solidFill>
            </c:spPr>
            <c:extLst>
              <c:ext xmlns:c16="http://schemas.microsoft.com/office/drawing/2014/chart" uri="{C3380CC4-5D6E-409C-BE32-E72D297353CC}">
                <c16:uniqueId val="{000003DB-C110-4B3C-98C7-D19B20EBE8CB}"/>
              </c:ext>
            </c:extLst>
          </c:dPt>
          <c:dPt>
            <c:idx val="493"/>
            <c:invertIfNegative val="1"/>
            <c:bubble3D val="0"/>
            <c:spPr>
              <a:solidFill>
                <a:srgbClr val="AEABAB"/>
              </a:solidFill>
            </c:spPr>
            <c:extLst>
              <c:ext xmlns:c16="http://schemas.microsoft.com/office/drawing/2014/chart" uri="{C3380CC4-5D6E-409C-BE32-E72D297353CC}">
                <c16:uniqueId val="{000003DD-C110-4B3C-98C7-D19B20EBE8CB}"/>
              </c:ext>
            </c:extLst>
          </c:dPt>
          <c:dPt>
            <c:idx val="494"/>
            <c:invertIfNegative val="1"/>
            <c:bubble3D val="0"/>
            <c:spPr>
              <a:solidFill>
                <a:srgbClr val="AEABAB"/>
              </a:solidFill>
            </c:spPr>
            <c:extLst>
              <c:ext xmlns:c16="http://schemas.microsoft.com/office/drawing/2014/chart" uri="{C3380CC4-5D6E-409C-BE32-E72D297353CC}">
                <c16:uniqueId val="{000003DF-C110-4B3C-98C7-D19B20EBE8CB}"/>
              </c:ext>
            </c:extLst>
          </c:dPt>
          <c:dPt>
            <c:idx val="495"/>
            <c:invertIfNegative val="1"/>
            <c:bubble3D val="0"/>
            <c:spPr>
              <a:solidFill>
                <a:srgbClr val="AEABAB"/>
              </a:solidFill>
            </c:spPr>
            <c:extLst>
              <c:ext xmlns:c16="http://schemas.microsoft.com/office/drawing/2014/chart" uri="{C3380CC4-5D6E-409C-BE32-E72D297353CC}">
                <c16:uniqueId val="{000003E1-C110-4B3C-98C7-D19B20EBE8CB}"/>
              </c:ext>
            </c:extLst>
          </c:dPt>
          <c:dPt>
            <c:idx val="496"/>
            <c:invertIfNegative val="1"/>
            <c:bubble3D val="0"/>
            <c:spPr>
              <a:solidFill>
                <a:srgbClr val="AEABAB"/>
              </a:solidFill>
            </c:spPr>
            <c:extLst>
              <c:ext xmlns:c16="http://schemas.microsoft.com/office/drawing/2014/chart" uri="{C3380CC4-5D6E-409C-BE32-E72D297353CC}">
                <c16:uniqueId val="{000003E3-C110-4B3C-98C7-D19B20EBE8CB}"/>
              </c:ext>
            </c:extLst>
          </c:dPt>
          <c:dPt>
            <c:idx val="497"/>
            <c:invertIfNegative val="1"/>
            <c:bubble3D val="0"/>
            <c:spPr>
              <a:solidFill>
                <a:srgbClr val="AEABAB"/>
              </a:solidFill>
            </c:spPr>
            <c:extLst>
              <c:ext xmlns:c16="http://schemas.microsoft.com/office/drawing/2014/chart" uri="{C3380CC4-5D6E-409C-BE32-E72D297353CC}">
                <c16:uniqueId val="{000003E5-C110-4B3C-98C7-D19B20EBE8CB}"/>
              </c:ext>
            </c:extLst>
          </c:dPt>
          <c:dPt>
            <c:idx val="498"/>
            <c:invertIfNegative val="1"/>
            <c:bubble3D val="0"/>
            <c:spPr>
              <a:solidFill>
                <a:srgbClr val="AEABAB"/>
              </a:solidFill>
            </c:spPr>
            <c:extLst>
              <c:ext xmlns:c16="http://schemas.microsoft.com/office/drawing/2014/chart" uri="{C3380CC4-5D6E-409C-BE32-E72D297353CC}">
                <c16:uniqueId val="{000003E7-C110-4B3C-98C7-D19B20EBE8CB}"/>
              </c:ext>
            </c:extLst>
          </c:dPt>
          <c:dPt>
            <c:idx val="499"/>
            <c:invertIfNegative val="1"/>
            <c:bubble3D val="0"/>
            <c:spPr>
              <a:solidFill>
                <a:srgbClr val="AEABAB"/>
              </a:solidFill>
            </c:spPr>
            <c:extLst>
              <c:ext xmlns:c16="http://schemas.microsoft.com/office/drawing/2014/chart" uri="{C3380CC4-5D6E-409C-BE32-E72D297353CC}">
                <c16:uniqueId val="{000003E9-C110-4B3C-98C7-D19B20EBE8CB}"/>
              </c:ext>
            </c:extLst>
          </c:dPt>
          <c:dPt>
            <c:idx val="500"/>
            <c:invertIfNegative val="1"/>
            <c:bubble3D val="0"/>
            <c:spPr>
              <a:solidFill>
                <a:srgbClr val="AEABAB"/>
              </a:solidFill>
            </c:spPr>
            <c:extLst>
              <c:ext xmlns:c16="http://schemas.microsoft.com/office/drawing/2014/chart" uri="{C3380CC4-5D6E-409C-BE32-E72D297353CC}">
                <c16:uniqueId val="{000003EB-C110-4B3C-98C7-D19B20EBE8CB}"/>
              </c:ext>
            </c:extLst>
          </c:dPt>
          <c:dPt>
            <c:idx val="501"/>
            <c:invertIfNegative val="1"/>
            <c:bubble3D val="0"/>
            <c:spPr>
              <a:solidFill>
                <a:srgbClr val="AEABAB"/>
              </a:solidFill>
            </c:spPr>
            <c:extLst>
              <c:ext xmlns:c16="http://schemas.microsoft.com/office/drawing/2014/chart" uri="{C3380CC4-5D6E-409C-BE32-E72D297353CC}">
                <c16:uniqueId val="{000003ED-C110-4B3C-98C7-D19B20EBE8CB}"/>
              </c:ext>
            </c:extLst>
          </c:dPt>
          <c:dPt>
            <c:idx val="502"/>
            <c:invertIfNegative val="1"/>
            <c:bubble3D val="0"/>
            <c:spPr>
              <a:solidFill>
                <a:srgbClr val="AEABAB"/>
              </a:solidFill>
            </c:spPr>
            <c:extLst>
              <c:ext xmlns:c16="http://schemas.microsoft.com/office/drawing/2014/chart" uri="{C3380CC4-5D6E-409C-BE32-E72D297353CC}">
                <c16:uniqueId val="{000003EF-C110-4B3C-98C7-D19B20EBE8CB}"/>
              </c:ext>
            </c:extLst>
          </c:dPt>
          <c:dPt>
            <c:idx val="503"/>
            <c:invertIfNegative val="1"/>
            <c:bubble3D val="0"/>
            <c:spPr>
              <a:solidFill>
                <a:srgbClr val="AEABAB"/>
              </a:solidFill>
            </c:spPr>
            <c:extLst>
              <c:ext xmlns:c16="http://schemas.microsoft.com/office/drawing/2014/chart" uri="{C3380CC4-5D6E-409C-BE32-E72D297353CC}">
                <c16:uniqueId val="{000003F1-C110-4B3C-98C7-D19B20EBE8CB}"/>
              </c:ext>
            </c:extLst>
          </c:dPt>
          <c:dPt>
            <c:idx val="504"/>
            <c:invertIfNegative val="1"/>
            <c:bubble3D val="0"/>
            <c:spPr>
              <a:solidFill>
                <a:srgbClr val="AEABAB"/>
              </a:solidFill>
            </c:spPr>
            <c:extLst>
              <c:ext xmlns:c16="http://schemas.microsoft.com/office/drawing/2014/chart" uri="{C3380CC4-5D6E-409C-BE32-E72D297353CC}">
                <c16:uniqueId val="{000003F3-C110-4B3C-98C7-D19B20EBE8CB}"/>
              </c:ext>
            </c:extLst>
          </c:dPt>
          <c:dPt>
            <c:idx val="505"/>
            <c:invertIfNegative val="1"/>
            <c:bubble3D val="0"/>
            <c:spPr>
              <a:solidFill>
                <a:srgbClr val="AEABAB"/>
              </a:solidFill>
            </c:spPr>
            <c:extLst>
              <c:ext xmlns:c16="http://schemas.microsoft.com/office/drawing/2014/chart" uri="{C3380CC4-5D6E-409C-BE32-E72D297353CC}">
                <c16:uniqueId val="{000003F5-C110-4B3C-98C7-D19B20EBE8CB}"/>
              </c:ext>
            </c:extLst>
          </c:dPt>
          <c:dPt>
            <c:idx val="506"/>
            <c:invertIfNegative val="1"/>
            <c:bubble3D val="0"/>
            <c:spPr>
              <a:solidFill>
                <a:srgbClr val="AEABAB"/>
              </a:solidFill>
            </c:spPr>
            <c:extLst>
              <c:ext xmlns:c16="http://schemas.microsoft.com/office/drawing/2014/chart" uri="{C3380CC4-5D6E-409C-BE32-E72D297353CC}">
                <c16:uniqueId val="{000003F7-C110-4B3C-98C7-D19B20EBE8CB}"/>
              </c:ext>
            </c:extLst>
          </c:dPt>
          <c:dPt>
            <c:idx val="507"/>
            <c:invertIfNegative val="1"/>
            <c:bubble3D val="0"/>
            <c:spPr>
              <a:solidFill>
                <a:srgbClr val="AEABAB"/>
              </a:solidFill>
            </c:spPr>
            <c:extLst>
              <c:ext xmlns:c16="http://schemas.microsoft.com/office/drawing/2014/chart" uri="{C3380CC4-5D6E-409C-BE32-E72D297353CC}">
                <c16:uniqueId val="{000003F9-C110-4B3C-98C7-D19B20EBE8CB}"/>
              </c:ext>
            </c:extLst>
          </c:dPt>
          <c:dPt>
            <c:idx val="508"/>
            <c:invertIfNegative val="1"/>
            <c:bubble3D val="0"/>
            <c:spPr>
              <a:solidFill>
                <a:srgbClr val="AEABAB"/>
              </a:solidFill>
            </c:spPr>
            <c:extLst>
              <c:ext xmlns:c16="http://schemas.microsoft.com/office/drawing/2014/chart" uri="{C3380CC4-5D6E-409C-BE32-E72D297353CC}">
                <c16:uniqueId val="{000003FB-C110-4B3C-98C7-D19B20EBE8CB}"/>
              </c:ext>
            </c:extLst>
          </c:dPt>
          <c:dPt>
            <c:idx val="509"/>
            <c:invertIfNegative val="1"/>
            <c:bubble3D val="0"/>
            <c:spPr>
              <a:solidFill>
                <a:srgbClr val="AEABAB"/>
              </a:solidFill>
            </c:spPr>
            <c:extLst>
              <c:ext xmlns:c16="http://schemas.microsoft.com/office/drawing/2014/chart" uri="{C3380CC4-5D6E-409C-BE32-E72D297353CC}">
                <c16:uniqueId val="{000003FD-C110-4B3C-98C7-D19B20EBE8CB}"/>
              </c:ext>
            </c:extLst>
          </c:dPt>
          <c:dPt>
            <c:idx val="510"/>
            <c:invertIfNegative val="1"/>
            <c:bubble3D val="0"/>
            <c:spPr>
              <a:solidFill>
                <a:srgbClr val="AEABAB"/>
              </a:solidFill>
            </c:spPr>
            <c:extLst>
              <c:ext xmlns:c16="http://schemas.microsoft.com/office/drawing/2014/chart" uri="{C3380CC4-5D6E-409C-BE32-E72D297353CC}">
                <c16:uniqueId val="{000003FF-C110-4B3C-98C7-D19B20EBE8CB}"/>
              </c:ext>
            </c:extLst>
          </c:dPt>
          <c:dPt>
            <c:idx val="511"/>
            <c:invertIfNegative val="1"/>
            <c:bubble3D val="0"/>
            <c:spPr>
              <a:solidFill>
                <a:srgbClr val="AEABAB"/>
              </a:solidFill>
            </c:spPr>
            <c:extLst>
              <c:ext xmlns:c16="http://schemas.microsoft.com/office/drawing/2014/chart" uri="{C3380CC4-5D6E-409C-BE32-E72D297353CC}">
                <c16:uniqueId val="{00000401-C110-4B3C-98C7-D19B20EBE8CB}"/>
              </c:ext>
            </c:extLst>
          </c:dPt>
          <c:dPt>
            <c:idx val="512"/>
            <c:invertIfNegative val="1"/>
            <c:bubble3D val="0"/>
            <c:spPr>
              <a:solidFill>
                <a:srgbClr val="AEABAB"/>
              </a:solidFill>
            </c:spPr>
            <c:extLst>
              <c:ext xmlns:c16="http://schemas.microsoft.com/office/drawing/2014/chart" uri="{C3380CC4-5D6E-409C-BE32-E72D297353CC}">
                <c16:uniqueId val="{00000403-C110-4B3C-98C7-D19B20EBE8CB}"/>
              </c:ext>
            </c:extLst>
          </c:dPt>
          <c:dPt>
            <c:idx val="513"/>
            <c:invertIfNegative val="1"/>
            <c:bubble3D val="0"/>
            <c:spPr>
              <a:solidFill>
                <a:srgbClr val="AEABAB"/>
              </a:solidFill>
            </c:spPr>
            <c:extLst>
              <c:ext xmlns:c16="http://schemas.microsoft.com/office/drawing/2014/chart" uri="{C3380CC4-5D6E-409C-BE32-E72D297353CC}">
                <c16:uniqueId val="{00000405-C110-4B3C-98C7-D19B20EBE8CB}"/>
              </c:ext>
            </c:extLst>
          </c:dPt>
          <c:dPt>
            <c:idx val="514"/>
            <c:invertIfNegative val="1"/>
            <c:bubble3D val="0"/>
            <c:spPr>
              <a:solidFill>
                <a:srgbClr val="AEABAB"/>
              </a:solidFill>
            </c:spPr>
            <c:extLst>
              <c:ext xmlns:c16="http://schemas.microsoft.com/office/drawing/2014/chart" uri="{C3380CC4-5D6E-409C-BE32-E72D297353CC}">
                <c16:uniqueId val="{00000407-C110-4B3C-98C7-D19B20EBE8CB}"/>
              </c:ext>
            </c:extLst>
          </c:dPt>
          <c:dPt>
            <c:idx val="515"/>
            <c:invertIfNegative val="1"/>
            <c:bubble3D val="0"/>
            <c:spPr>
              <a:solidFill>
                <a:srgbClr val="AEABAB"/>
              </a:solidFill>
            </c:spPr>
            <c:extLst>
              <c:ext xmlns:c16="http://schemas.microsoft.com/office/drawing/2014/chart" uri="{C3380CC4-5D6E-409C-BE32-E72D297353CC}">
                <c16:uniqueId val="{00000409-C110-4B3C-98C7-D19B20EBE8CB}"/>
              </c:ext>
            </c:extLst>
          </c:dPt>
          <c:dPt>
            <c:idx val="516"/>
            <c:invertIfNegative val="1"/>
            <c:bubble3D val="0"/>
            <c:spPr>
              <a:solidFill>
                <a:srgbClr val="AEABAB"/>
              </a:solidFill>
            </c:spPr>
            <c:extLst>
              <c:ext xmlns:c16="http://schemas.microsoft.com/office/drawing/2014/chart" uri="{C3380CC4-5D6E-409C-BE32-E72D297353CC}">
                <c16:uniqueId val="{0000040B-C110-4B3C-98C7-D19B20EBE8CB}"/>
              </c:ext>
            </c:extLst>
          </c:dPt>
          <c:dPt>
            <c:idx val="517"/>
            <c:invertIfNegative val="1"/>
            <c:bubble3D val="0"/>
            <c:spPr>
              <a:solidFill>
                <a:srgbClr val="AEABAB"/>
              </a:solidFill>
            </c:spPr>
            <c:extLst>
              <c:ext xmlns:c16="http://schemas.microsoft.com/office/drawing/2014/chart" uri="{C3380CC4-5D6E-409C-BE32-E72D297353CC}">
                <c16:uniqueId val="{0000040D-C110-4B3C-98C7-D19B20EBE8CB}"/>
              </c:ext>
            </c:extLst>
          </c:dPt>
          <c:dPt>
            <c:idx val="518"/>
            <c:invertIfNegative val="1"/>
            <c:bubble3D val="0"/>
            <c:spPr>
              <a:solidFill>
                <a:srgbClr val="AEABAB"/>
              </a:solidFill>
            </c:spPr>
            <c:extLst>
              <c:ext xmlns:c16="http://schemas.microsoft.com/office/drawing/2014/chart" uri="{C3380CC4-5D6E-409C-BE32-E72D297353CC}">
                <c16:uniqueId val="{0000040F-C110-4B3C-98C7-D19B20EBE8CB}"/>
              </c:ext>
            </c:extLst>
          </c:dPt>
          <c:dPt>
            <c:idx val="519"/>
            <c:invertIfNegative val="1"/>
            <c:bubble3D val="0"/>
            <c:spPr>
              <a:solidFill>
                <a:srgbClr val="AEABAB"/>
              </a:solidFill>
            </c:spPr>
            <c:extLst>
              <c:ext xmlns:c16="http://schemas.microsoft.com/office/drawing/2014/chart" uri="{C3380CC4-5D6E-409C-BE32-E72D297353CC}">
                <c16:uniqueId val="{00000411-C110-4B3C-98C7-D19B20EBE8CB}"/>
              </c:ext>
            </c:extLst>
          </c:dPt>
          <c:dPt>
            <c:idx val="520"/>
            <c:invertIfNegative val="1"/>
            <c:bubble3D val="0"/>
            <c:spPr>
              <a:solidFill>
                <a:srgbClr val="AEABAB"/>
              </a:solidFill>
            </c:spPr>
            <c:extLst>
              <c:ext xmlns:c16="http://schemas.microsoft.com/office/drawing/2014/chart" uri="{C3380CC4-5D6E-409C-BE32-E72D297353CC}">
                <c16:uniqueId val="{00000413-C110-4B3C-98C7-D19B20EBE8CB}"/>
              </c:ext>
            </c:extLst>
          </c:dPt>
          <c:dPt>
            <c:idx val="521"/>
            <c:invertIfNegative val="1"/>
            <c:bubble3D val="0"/>
            <c:spPr>
              <a:solidFill>
                <a:srgbClr val="AEABAB"/>
              </a:solidFill>
            </c:spPr>
            <c:extLst>
              <c:ext xmlns:c16="http://schemas.microsoft.com/office/drawing/2014/chart" uri="{C3380CC4-5D6E-409C-BE32-E72D297353CC}">
                <c16:uniqueId val="{00000415-C110-4B3C-98C7-D19B20EBE8CB}"/>
              </c:ext>
            </c:extLst>
          </c:dPt>
          <c:dPt>
            <c:idx val="522"/>
            <c:invertIfNegative val="1"/>
            <c:bubble3D val="0"/>
            <c:spPr>
              <a:solidFill>
                <a:srgbClr val="AEABAB"/>
              </a:solidFill>
            </c:spPr>
            <c:extLst>
              <c:ext xmlns:c16="http://schemas.microsoft.com/office/drawing/2014/chart" uri="{C3380CC4-5D6E-409C-BE32-E72D297353CC}">
                <c16:uniqueId val="{00000417-C110-4B3C-98C7-D19B20EBE8CB}"/>
              </c:ext>
            </c:extLst>
          </c:dPt>
          <c:dPt>
            <c:idx val="523"/>
            <c:invertIfNegative val="1"/>
            <c:bubble3D val="0"/>
            <c:spPr>
              <a:solidFill>
                <a:srgbClr val="AEABAB"/>
              </a:solidFill>
            </c:spPr>
            <c:extLst>
              <c:ext xmlns:c16="http://schemas.microsoft.com/office/drawing/2014/chart" uri="{C3380CC4-5D6E-409C-BE32-E72D297353CC}">
                <c16:uniqueId val="{00000419-C110-4B3C-98C7-D19B20EBE8CB}"/>
              </c:ext>
            </c:extLst>
          </c:dPt>
          <c:dPt>
            <c:idx val="524"/>
            <c:invertIfNegative val="1"/>
            <c:bubble3D val="0"/>
            <c:spPr>
              <a:solidFill>
                <a:srgbClr val="AEABAB"/>
              </a:solidFill>
            </c:spPr>
            <c:extLst>
              <c:ext xmlns:c16="http://schemas.microsoft.com/office/drawing/2014/chart" uri="{C3380CC4-5D6E-409C-BE32-E72D297353CC}">
                <c16:uniqueId val="{0000041B-C110-4B3C-98C7-D19B20EBE8CB}"/>
              </c:ext>
            </c:extLst>
          </c:dPt>
          <c:dPt>
            <c:idx val="525"/>
            <c:invertIfNegative val="1"/>
            <c:bubble3D val="0"/>
            <c:spPr>
              <a:solidFill>
                <a:srgbClr val="AEABAB"/>
              </a:solidFill>
            </c:spPr>
            <c:extLst>
              <c:ext xmlns:c16="http://schemas.microsoft.com/office/drawing/2014/chart" uri="{C3380CC4-5D6E-409C-BE32-E72D297353CC}">
                <c16:uniqueId val="{0000041D-C110-4B3C-98C7-D19B20EBE8CB}"/>
              </c:ext>
            </c:extLst>
          </c:dPt>
          <c:dPt>
            <c:idx val="526"/>
            <c:invertIfNegative val="1"/>
            <c:bubble3D val="0"/>
            <c:spPr>
              <a:solidFill>
                <a:srgbClr val="AEABAB"/>
              </a:solidFill>
            </c:spPr>
            <c:extLst>
              <c:ext xmlns:c16="http://schemas.microsoft.com/office/drawing/2014/chart" uri="{C3380CC4-5D6E-409C-BE32-E72D297353CC}">
                <c16:uniqueId val="{0000041F-C110-4B3C-98C7-D19B20EBE8CB}"/>
              </c:ext>
            </c:extLst>
          </c:dPt>
          <c:dPt>
            <c:idx val="527"/>
            <c:invertIfNegative val="1"/>
            <c:bubble3D val="0"/>
            <c:spPr>
              <a:solidFill>
                <a:srgbClr val="AEABAB"/>
              </a:solidFill>
            </c:spPr>
            <c:extLst>
              <c:ext xmlns:c16="http://schemas.microsoft.com/office/drawing/2014/chart" uri="{C3380CC4-5D6E-409C-BE32-E72D297353CC}">
                <c16:uniqueId val="{00000421-C110-4B3C-98C7-D19B20EBE8CB}"/>
              </c:ext>
            </c:extLst>
          </c:dPt>
          <c:dPt>
            <c:idx val="528"/>
            <c:invertIfNegative val="1"/>
            <c:bubble3D val="0"/>
            <c:spPr>
              <a:solidFill>
                <a:srgbClr val="AEABAB"/>
              </a:solidFill>
            </c:spPr>
            <c:extLst>
              <c:ext xmlns:c16="http://schemas.microsoft.com/office/drawing/2014/chart" uri="{C3380CC4-5D6E-409C-BE32-E72D297353CC}">
                <c16:uniqueId val="{00000423-C110-4B3C-98C7-D19B20EBE8CB}"/>
              </c:ext>
            </c:extLst>
          </c:dPt>
          <c:dPt>
            <c:idx val="529"/>
            <c:invertIfNegative val="1"/>
            <c:bubble3D val="0"/>
            <c:spPr>
              <a:solidFill>
                <a:srgbClr val="AEABAB"/>
              </a:solidFill>
            </c:spPr>
            <c:extLst>
              <c:ext xmlns:c16="http://schemas.microsoft.com/office/drawing/2014/chart" uri="{C3380CC4-5D6E-409C-BE32-E72D297353CC}">
                <c16:uniqueId val="{00000425-C110-4B3C-98C7-D19B20EBE8CB}"/>
              </c:ext>
            </c:extLst>
          </c:dPt>
          <c:dPt>
            <c:idx val="530"/>
            <c:invertIfNegative val="1"/>
            <c:bubble3D val="0"/>
            <c:spPr>
              <a:solidFill>
                <a:srgbClr val="AEABAB"/>
              </a:solidFill>
            </c:spPr>
            <c:extLst>
              <c:ext xmlns:c16="http://schemas.microsoft.com/office/drawing/2014/chart" uri="{C3380CC4-5D6E-409C-BE32-E72D297353CC}">
                <c16:uniqueId val="{00000427-C110-4B3C-98C7-D19B20EBE8CB}"/>
              </c:ext>
            </c:extLst>
          </c:dPt>
          <c:dPt>
            <c:idx val="531"/>
            <c:invertIfNegative val="1"/>
            <c:bubble3D val="0"/>
            <c:spPr>
              <a:solidFill>
                <a:srgbClr val="AEABAB"/>
              </a:solidFill>
            </c:spPr>
            <c:extLst>
              <c:ext xmlns:c16="http://schemas.microsoft.com/office/drawing/2014/chart" uri="{C3380CC4-5D6E-409C-BE32-E72D297353CC}">
                <c16:uniqueId val="{00000429-C110-4B3C-98C7-D19B20EBE8CB}"/>
              </c:ext>
            </c:extLst>
          </c:dPt>
          <c:dPt>
            <c:idx val="532"/>
            <c:invertIfNegative val="1"/>
            <c:bubble3D val="0"/>
            <c:spPr>
              <a:solidFill>
                <a:srgbClr val="AEABAB"/>
              </a:solidFill>
            </c:spPr>
            <c:extLst>
              <c:ext xmlns:c16="http://schemas.microsoft.com/office/drawing/2014/chart" uri="{C3380CC4-5D6E-409C-BE32-E72D297353CC}">
                <c16:uniqueId val="{0000042B-C110-4B3C-98C7-D19B20EBE8CB}"/>
              </c:ext>
            </c:extLst>
          </c:dPt>
          <c:dPt>
            <c:idx val="533"/>
            <c:invertIfNegative val="1"/>
            <c:bubble3D val="0"/>
            <c:spPr>
              <a:solidFill>
                <a:srgbClr val="AEABAB"/>
              </a:solidFill>
            </c:spPr>
            <c:extLst>
              <c:ext xmlns:c16="http://schemas.microsoft.com/office/drawing/2014/chart" uri="{C3380CC4-5D6E-409C-BE32-E72D297353CC}">
                <c16:uniqueId val="{0000042D-C110-4B3C-98C7-D19B20EBE8CB}"/>
              </c:ext>
            </c:extLst>
          </c:dPt>
          <c:dPt>
            <c:idx val="534"/>
            <c:invertIfNegative val="1"/>
            <c:bubble3D val="0"/>
            <c:spPr>
              <a:solidFill>
                <a:srgbClr val="AEABAB"/>
              </a:solidFill>
            </c:spPr>
            <c:extLst>
              <c:ext xmlns:c16="http://schemas.microsoft.com/office/drawing/2014/chart" uri="{C3380CC4-5D6E-409C-BE32-E72D297353CC}">
                <c16:uniqueId val="{0000042F-C110-4B3C-98C7-D19B20EBE8CB}"/>
              </c:ext>
            </c:extLst>
          </c:dPt>
          <c:dPt>
            <c:idx val="535"/>
            <c:invertIfNegative val="1"/>
            <c:bubble3D val="0"/>
            <c:spPr>
              <a:solidFill>
                <a:srgbClr val="AEABAB"/>
              </a:solidFill>
            </c:spPr>
            <c:extLst>
              <c:ext xmlns:c16="http://schemas.microsoft.com/office/drawing/2014/chart" uri="{C3380CC4-5D6E-409C-BE32-E72D297353CC}">
                <c16:uniqueId val="{00000431-C110-4B3C-98C7-D19B20EBE8CB}"/>
              </c:ext>
            </c:extLst>
          </c:dPt>
          <c:dPt>
            <c:idx val="536"/>
            <c:invertIfNegative val="1"/>
            <c:bubble3D val="0"/>
            <c:spPr>
              <a:solidFill>
                <a:srgbClr val="AEABAB"/>
              </a:solidFill>
            </c:spPr>
            <c:extLst>
              <c:ext xmlns:c16="http://schemas.microsoft.com/office/drawing/2014/chart" uri="{C3380CC4-5D6E-409C-BE32-E72D297353CC}">
                <c16:uniqueId val="{00000433-C110-4B3C-98C7-D19B20EBE8CB}"/>
              </c:ext>
            </c:extLst>
          </c:dPt>
          <c:dPt>
            <c:idx val="537"/>
            <c:invertIfNegative val="1"/>
            <c:bubble3D val="0"/>
            <c:spPr>
              <a:solidFill>
                <a:srgbClr val="AEABAB"/>
              </a:solidFill>
            </c:spPr>
            <c:extLst>
              <c:ext xmlns:c16="http://schemas.microsoft.com/office/drawing/2014/chart" uri="{C3380CC4-5D6E-409C-BE32-E72D297353CC}">
                <c16:uniqueId val="{00000435-C110-4B3C-98C7-D19B20EBE8CB}"/>
              </c:ext>
            </c:extLst>
          </c:dPt>
          <c:dPt>
            <c:idx val="538"/>
            <c:invertIfNegative val="1"/>
            <c:bubble3D val="0"/>
            <c:spPr>
              <a:solidFill>
                <a:srgbClr val="AEABAB"/>
              </a:solidFill>
            </c:spPr>
            <c:extLst>
              <c:ext xmlns:c16="http://schemas.microsoft.com/office/drawing/2014/chart" uri="{C3380CC4-5D6E-409C-BE32-E72D297353CC}">
                <c16:uniqueId val="{00000437-C110-4B3C-98C7-D19B20EBE8CB}"/>
              </c:ext>
            </c:extLst>
          </c:dPt>
          <c:dPt>
            <c:idx val="539"/>
            <c:invertIfNegative val="1"/>
            <c:bubble3D val="0"/>
            <c:spPr>
              <a:solidFill>
                <a:srgbClr val="AEABAB"/>
              </a:solidFill>
            </c:spPr>
            <c:extLst>
              <c:ext xmlns:c16="http://schemas.microsoft.com/office/drawing/2014/chart" uri="{C3380CC4-5D6E-409C-BE32-E72D297353CC}">
                <c16:uniqueId val="{00000439-C110-4B3C-98C7-D19B20EBE8CB}"/>
              </c:ext>
            </c:extLst>
          </c:dPt>
          <c:dPt>
            <c:idx val="540"/>
            <c:invertIfNegative val="1"/>
            <c:bubble3D val="0"/>
            <c:spPr>
              <a:solidFill>
                <a:srgbClr val="AEABAB"/>
              </a:solidFill>
            </c:spPr>
            <c:extLst>
              <c:ext xmlns:c16="http://schemas.microsoft.com/office/drawing/2014/chart" uri="{C3380CC4-5D6E-409C-BE32-E72D297353CC}">
                <c16:uniqueId val="{0000043B-C110-4B3C-98C7-D19B20EBE8CB}"/>
              </c:ext>
            </c:extLst>
          </c:dPt>
          <c:dPt>
            <c:idx val="541"/>
            <c:invertIfNegative val="1"/>
            <c:bubble3D val="0"/>
            <c:spPr>
              <a:solidFill>
                <a:srgbClr val="AEABAB"/>
              </a:solidFill>
            </c:spPr>
            <c:extLst>
              <c:ext xmlns:c16="http://schemas.microsoft.com/office/drawing/2014/chart" uri="{C3380CC4-5D6E-409C-BE32-E72D297353CC}">
                <c16:uniqueId val="{0000043D-C110-4B3C-98C7-D19B20EBE8CB}"/>
              </c:ext>
            </c:extLst>
          </c:dPt>
          <c:dPt>
            <c:idx val="542"/>
            <c:invertIfNegative val="1"/>
            <c:bubble3D val="0"/>
            <c:spPr>
              <a:solidFill>
                <a:srgbClr val="AEABAB"/>
              </a:solidFill>
            </c:spPr>
            <c:extLst>
              <c:ext xmlns:c16="http://schemas.microsoft.com/office/drawing/2014/chart" uri="{C3380CC4-5D6E-409C-BE32-E72D297353CC}">
                <c16:uniqueId val="{0000043F-C110-4B3C-98C7-D19B20EBE8CB}"/>
              </c:ext>
            </c:extLst>
          </c:dPt>
          <c:dPt>
            <c:idx val="543"/>
            <c:invertIfNegative val="1"/>
            <c:bubble3D val="0"/>
            <c:spPr>
              <a:solidFill>
                <a:srgbClr val="AEABAB"/>
              </a:solidFill>
            </c:spPr>
            <c:extLst>
              <c:ext xmlns:c16="http://schemas.microsoft.com/office/drawing/2014/chart" uri="{C3380CC4-5D6E-409C-BE32-E72D297353CC}">
                <c16:uniqueId val="{00000441-C110-4B3C-98C7-D19B20EBE8CB}"/>
              </c:ext>
            </c:extLst>
          </c:dPt>
          <c:dPt>
            <c:idx val="544"/>
            <c:invertIfNegative val="1"/>
            <c:bubble3D val="0"/>
            <c:spPr>
              <a:solidFill>
                <a:srgbClr val="AEABAB"/>
              </a:solidFill>
            </c:spPr>
            <c:extLst>
              <c:ext xmlns:c16="http://schemas.microsoft.com/office/drawing/2014/chart" uri="{C3380CC4-5D6E-409C-BE32-E72D297353CC}">
                <c16:uniqueId val="{00000443-C110-4B3C-98C7-D19B20EBE8CB}"/>
              </c:ext>
            </c:extLst>
          </c:dPt>
          <c:dPt>
            <c:idx val="545"/>
            <c:invertIfNegative val="1"/>
            <c:bubble3D val="0"/>
            <c:spPr>
              <a:solidFill>
                <a:srgbClr val="AEABAB"/>
              </a:solidFill>
            </c:spPr>
            <c:extLst>
              <c:ext xmlns:c16="http://schemas.microsoft.com/office/drawing/2014/chart" uri="{C3380CC4-5D6E-409C-BE32-E72D297353CC}">
                <c16:uniqueId val="{00000445-C110-4B3C-98C7-D19B20EBE8CB}"/>
              </c:ext>
            </c:extLst>
          </c:dPt>
          <c:dPt>
            <c:idx val="546"/>
            <c:invertIfNegative val="1"/>
            <c:bubble3D val="0"/>
            <c:spPr>
              <a:solidFill>
                <a:srgbClr val="AEABAB"/>
              </a:solidFill>
            </c:spPr>
            <c:extLst>
              <c:ext xmlns:c16="http://schemas.microsoft.com/office/drawing/2014/chart" uri="{C3380CC4-5D6E-409C-BE32-E72D297353CC}">
                <c16:uniqueId val="{00000447-C110-4B3C-98C7-D19B20EBE8CB}"/>
              </c:ext>
            </c:extLst>
          </c:dPt>
          <c:dPt>
            <c:idx val="547"/>
            <c:invertIfNegative val="1"/>
            <c:bubble3D val="0"/>
            <c:spPr>
              <a:solidFill>
                <a:srgbClr val="AEABAB"/>
              </a:solidFill>
            </c:spPr>
            <c:extLst>
              <c:ext xmlns:c16="http://schemas.microsoft.com/office/drawing/2014/chart" uri="{C3380CC4-5D6E-409C-BE32-E72D297353CC}">
                <c16:uniqueId val="{00000449-C110-4B3C-98C7-D19B20EBE8CB}"/>
              </c:ext>
            </c:extLst>
          </c:dPt>
          <c:dPt>
            <c:idx val="548"/>
            <c:invertIfNegative val="1"/>
            <c:bubble3D val="0"/>
            <c:spPr>
              <a:solidFill>
                <a:srgbClr val="AEABAB"/>
              </a:solidFill>
            </c:spPr>
            <c:extLst>
              <c:ext xmlns:c16="http://schemas.microsoft.com/office/drawing/2014/chart" uri="{C3380CC4-5D6E-409C-BE32-E72D297353CC}">
                <c16:uniqueId val="{0000044B-C110-4B3C-98C7-D19B20EBE8CB}"/>
              </c:ext>
            </c:extLst>
          </c:dPt>
          <c:dPt>
            <c:idx val="549"/>
            <c:invertIfNegative val="1"/>
            <c:bubble3D val="0"/>
            <c:spPr>
              <a:solidFill>
                <a:srgbClr val="AEABAB"/>
              </a:solidFill>
            </c:spPr>
            <c:extLst>
              <c:ext xmlns:c16="http://schemas.microsoft.com/office/drawing/2014/chart" uri="{C3380CC4-5D6E-409C-BE32-E72D297353CC}">
                <c16:uniqueId val="{0000044D-C110-4B3C-98C7-D19B20EBE8CB}"/>
              </c:ext>
            </c:extLst>
          </c:dPt>
          <c:dPt>
            <c:idx val="550"/>
            <c:invertIfNegative val="1"/>
            <c:bubble3D val="0"/>
            <c:spPr>
              <a:solidFill>
                <a:srgbClr val="AEABAB"/>
              </a:solidFill>
            </c:spPr>
            <c:extLst>
              <c:ext xmlns:c16="http://schemas.microsoft.com/office/drawing/2014/chart" uri="{C3380CC4-5D6E-409C-BE32-E72D297353CC}">
                <c16:uniqueId val="{0000044F-C110-4B3C-98C7-D19B20EBE8CB}"/>
              </c:ext>
            </c:extLst>
          </c:dPt>
          <c:dPt>
            <c:idx val="551"/>
            <c:invertIfNegative val="1"/>
            <c:bubble3D val="0"/>
            <c:spPr>
              <a:solidFill>
                <a:srgbClr val="AEABAB"/>
              </a:solidFill>
            </c:spPr>
            <c:extLst>
              <c:ext xmlns:c16="http://schemas.microsoft.com/office/drawing/2014/chart" uri="{C3380CC4-5D6E-409C-BE32-E72D297353CC}">
                <c16:uniqueId val="{00000451-C110-4B3C-98C7-D19B20EBE8CB}"/>
              </c:ext>
            </c:extLst>
          </c:dPt>
          <c:dPt>
            <c:idx val="552"/>
            <c:invertIfNegative val="1"/>
            <c:bubble3D val="0"/>
            <c:spPr>
              <a:solidFill>
                <a:srgbClr val="AEABAB"/>
              </a:solidFill>
            </c:spPr>
            <c:extLst>
              <c:ext xmlns:c16="http://schemas.microsoft.com/office/drawing/2014/chart" uri="{C3380CC4-5D6E-409C-BE32-E72D297353CC}">
                <c16:uniqueId val="{00000453-C110-4B3C-98C7-D19B20EBE8CB}"/>
              </c:ext>
            </c:extLst>
          </c:dPt>
          <c:dPt>
            <c:idx val="553"/>
            <c:invertIfNegative val="1"/>
            <c:bubble3D val="0"/>
            <c:spPr>
              <a:solidFill>
                <a:srgbClr val="AEABAB"/>
              </a:solidFill>
            </c:spPr>
            <c:extLst>
              <c:ext xmlns:c16="http://schemas.microsoft.com/office/drawing/2014/chart" uri="{C3380CC4-5D6E-409C-BE32-E72D297353CC}">
                <c16:uniqueId val="{00000455-C110-4B3C-98C7-D19B20EBE8CB}"/>
              </c:ext>
            </c:extLst>
          </c:dPt>
          <c:dPt>
            <c:idx val="554"/>
            <c:invertIfNegative val="1"/>
            <c:bubble3D val="0"/>
            <c:spPr>
              <a:solidFill>
                <a:srgbClr val="AEABAB"/>
              </a:solidFill>
            </c:spPr>
            <c:extLst>
              <c:ext xmlns:c16="http://schemas.microsoft.com/office/drawing/2014/chart" uri="{C3380CC4-5D6E-409C-BE32-E72D297353CC}">
                <c16:uniqueId val="{00000457-C110-4B3C-98C7-D19B20EBE8CB}"/>
              </c:ext>
            </c:extLst>
          </c:dPt>
          <c:dPt>
            <c:idx val="555"/>
            <c:invertIfNegative val="1"/>
            <c:bubble3D val="0"/>
            <c:spPr>
              <a:solidFill>
                <a:srgbClr val="AEABAB"/>
              </a:solidFill>
            </c:spPr>
            <c:extLst>
              <c:ext xmlns:c16="http://schemas.microsoft.com/office/drawing/2014/chart" uri="{C3380CC4-5D6E-409C-BE32-E72D297353CC}">
                <c16:uniqueId val="{00000459-C110-4B3C-98C7-D19B20EBE8CB}"/>
              </c:ext>
            </c:extLst>
          </c:dPt>
          <c:dPt>
            <c:idx val="556"/>
            <c:invertIfNegative val="1"/>
            <c:bubble3D val="0"/>
            <c:spPr>
              <a:solidFill>
                <a:srgbClr val="AEABAB"/>
              </a:solidFill>
            </c:spPr>
            <c:extLst>
              <c:ext xmlns:c16="http://schemas.microsoft.com/office/drawing/2014/chart" uri="{C3380CC4-5D6E-409C-BE32-E72D297353CC}">
                <c16:uniqueId val="{0000045B-C110-4B3C-98C7-D19B20EBE8CB}"/>
              </c:ext>
            </c:extLst>
          </c:dPt>
          <c:dPt>
            <c:idx val="557"/>
            <c:invertIfNegative val="1"/>
            <c:bubble3D val="0"/>
            <c:spPr>
              <a:solidFill>
                <a:srgbClr val="AEABAB"/>
              </a:solidFill>
            </c:spPr>
            <c:extLst>
              <c:ext xmlns:c16="http://schemas.microsoft.com/office/drawing/2014/chart" uri="{C3380CC4-5D6E-409C-BE32-E72D297353CC}">
                <c16:uniqueId val="{0000045D-C110-4B3C-98C7-D19B20EBE8CB}"/>
              </c:ext>
            </c:extLst>
          </c:dPt>
          <c:dPt>
            <c:idx val="558"/>
            <c:invertIfNegative val="1"/>
            <c:bubble3D val="0"/>
            <c:spPr>
              <a:solidFill>
                <a:srgbClr val="AEABAB"/>
              </a:solidFill>
            </c:spPr>
            <c:extLst>
              <c:ext xmlns:c16="http://schemas.microsoft.com/office/drawing/2014/chart" uri="{C3380CC4-5D6E-409C-BE32-E72D297353CC}">
                <c16:uniqueId val="{0000045F-C110-4B3C-98C7-D19B20EBE8CB}"/>
              </c:ext>
            </c:extLst>
          </c:dPt>
          <c:dPt>
            <c:idx val="559"/>
            <c:invertIfNegative val="1"/>
            <c:bubble3D val="0"/>
            <c:spPr>
              <a:solidFill>
                <a:srgbClr val="AEABAB"/>
              </a:solidFill>
            </c:spPr>
            <c:extLst>
              <c:ext xmlns:c16="http://schemas.microsoft.com/office/drawing/2014/chart" uri="{C3380CC4-5D6E-409C-BE32-E72D297353CC}">
                <c16:uniqueId val="{00000461-C110-4B3C-98C7-D19B20EBE8CB}"/>
              </c:ext>
            </c:extLst>
          </c:dPt>
          <c:dPt>
            <c:idx val="560"/>
            <c:invertIfNegative val="1"/>
            <c:bubble3D val="0"/>
            <c:spPr>
              <a:solidFill>
                <a:srgbClr val="AEABAB"/>
              </a:solidFill>
            </c:spPr>
            <c:extLst>
              <c:ext xmlns:c16="http://schemas.microsoft.com/office/drawing/2014/chart" uri="{C3380CC4-5D6E-409C-BE32-E72D297353CC}">
                <c16:uniqueId val="{00000463-C110-4B3C-98C7-D19B20EBE8CB}"/>
              </c:ext>
            </c:extLst>
          </c:dPt>
          <c:dPt>
            <c:idx val="561"/>
            <c:invertIfNegative val="1"/>
            <c:bubble3D val="0"/>
            <c:spPr>
              <a:solidFill>
                <a:srgbClr val="AEABAB"/>
              </a:solidFill>
            </c:spPr>
            <c:extLst>
              <c:ext xmlns:c16="http://schemas.microsoft.com/office/drawing/2014/chart" uri="{C3380CC4-5D6E-409C-BE32-E72D297353CC}">
                <c16:uniqueId val="{00000465-C110-4B3C-98C7-D19B20EBE8CB}"/>
              </c:ext>
            </c:extLst>
          </c:dPt>
          <c:dPt>
            <c:idx val="562"/>
            <c:invertIfNegative val="1"/>
            <c:bubble3D val="0"/>
            <c:spPr>
              <a:solidFill>
                <a:srgbClr val="AEABAB"/>
              </a:solidFill>
            </c:spPr>
            <c:extLst>
              <c:ext xmlns:c16="http://schemas.microsoft.com/office/drawing/2014/chart" uri="{C3380CC4-5D6E-409C-BE32-E72D297353CC}">
                <c16:uniqueId val="{00000467-C110-4B3C-98C7-D19B20EBE8CB}"/>
              </c:ext>
            </c:extLst>
          </c:dPt>
          <c:dPt>
            <c:idx val="563"/>
            <c:invertIfNegative val="1"/>
            <c:bubble3D val="0"/>
            <c:spPr>
              <a:solidFill>
                <a:srgbClr val="AEABAB"/>
              </a:solidFill>
            </c:spPr>
            <c:extLst>
              <c:ext xmlns:c16="http://schemas.microsoft.com/office/drawing/2014/chart" uri="{C3380CC4-5D6E-409C-BE32-E72D297353CC}">
                <c16:uniqueId val="{00000469-C110-4B3C-98C7-D19B20EBE8CB}"/>
              </c:ext>
            </c:extLst>
          </c:dPt>
          <c:dPt>
            <c:idx val="564"/>
            <c:invertIfNegative val="1"/>
            <c:bubble3D val="0"/>
            <c:spPr>
              <a:solidFill>
                <a:srgbClr val="AEABAB"/>
              </a:solidFill>
            </c:spPr>
            <c:extLst>
              <c:ext xmlns:c16="http://schemas.microsoft.com/office/drawing/2014/chart" uri="{C3380CC4-5D6E-409C-BE32-E72D297353CC}">
                <c16:uniqueId val="{0000046B-C110-4B3C-98C7-D19B20EBE8CB}"/>
              </c:ext>
            </c:extLst>
          </c:dPt>
          <c:dPt>
            <c:idx val="565"/>
            <c:invertIfNegative val="1"/>
            <c:bubble3D val="0"/>
            <c:spPr>
              <a:solidFill>
                <a:srgbClr val="AEABAB"/>
              </a:solidFill>
            </c:spPr>
            <c:extLst>
              <c:ext xmlns:c16="http://schemas.microsoft.com/office/drawing/2014/chart" uri="{C3380CC4-5D6E-409C-BE32-E72D297353CC}">
                <c16:uniqueId val="{0000046D-C110-4B3C-98C7-D19B20EBE8CB}"/>
              </c:ext>
            </c:extLst>
          </c:dPt>
          <c:dPt>
            <c:idx val="566"/>
            <c:invertIfNegative val="1"/>
            <c:bubble3D val="0"/>
            <c:spPr>
              <a:solidFill>
                <a:srgbClr val="AEABAB"/>
              </a:solidFill>
            </c:spPr>
            <c:extLst>
              <c:ext xmlns:c16="http://schemas.microsoft.com/office/drawing/2014/chart" uri="{C3380CC4-5D6E-409C-BE32-E72D297353CC}">
                <c16:uniqueId val="{0000046F-C110-4B3C-98C7-D19B20EBE8CB}"/>
              </c:ext>
            </c:extLst>
          </c:dPt>
          <c:dPt>
            <c:idx val="567"/>
            <c:invertIfNegative val="1"/>
            <c:bubble3D val="0"/>
            <c:spPr>
              <a:solidFill>
                <a:srgbClr val="AEABAB"/>
              </a:solidFill>
            </c:spPr>
            <c:extLst>
              <c:ext xmlns:c16="http://schemas.microsoft.com/office/drawing/2014/chart" uri="{C3380CC4-5D6E-409C-BE32-E72D297353CC}">
                <c16:uniqueId val="{00000471-C110-4B3C-98C7-D19B20EBE8CB}"/>
              </c:ext>
            </c:extLst>
          </c:dPt>
          <c:dPt>
            <c:idx val="568"/>
            <c:invertIfNegative val="1"/>
            <c:bubble3D val="0"/>
            <c:spPr>
              <a:solidFill>
                <a:srgbClr val="AEABAB"/>
              </a:solidFill>
            </c:spPr>
            <c:extLst>
              <c:ext xmlns:c16="http://schemas.microsoft.com/office/drawing/2014/chart" uri="{C3380CC4-5D6E-409C-BE32-E72D297353CC}">
                <c16:uniqueId val="{00000473-C110-4B3C-98C7-D19B20EBE8CB}"/>
              </c:ext>
            </c:extLst>
          </c:dPt>
          <c:dPt>
            <c:idx val="569"/>
            <c:invertIfNegative val="1"/>
            <c:bubble3D val="0"/>
            <c:spPr>
              <a:solidFill>
                <a:srgbClr val="AEABAB"/>
              </a:solidFill>
            </c:spPr>
            <c:extLst>
              <c:ext xmlns:c16="http://schemas.microsoft.com/office/drawing/2014/chart" uri="{C3380CC4-5D6E-409C-BE32-E72D297353CC}">
                <c16:uniqueId val="{00000475-C110-4B3C-98C7-D19B20EBE8CB}"/>
              </c:ext>
            </c:extLst>
          </c:dPt>
          <c:dPt>
            <c:idx val="570"/>
            <c:invertIfNegative val="1"/>
            <c:bubble3D val="0"/>
            <c:spPr>
              <a:solidFill>
                <a:srgbClr val="AEABAB"/>
              </a:solidFill>
            </c:spPr>
            <c:extLst>
              <c:ext xmlns:c16="http://schemas.microsoft.com/office/drawing/2014/chart" uri="{C3380CC4-5D6E-409C-BE32-E72D297353CC}">
                <c16:uniqueId val="{00000477-C110-4B3C-98C7-D19B20EBE8CB}"/>
              </c:ext>
            </c:extLst>
          </c:dPt>
          <c:dPt>
            <c:idx val="571"/>
            <c:invertIfNegative val="1"/>
            <c:bubble3D val="0"/>
            <c:spPr>
              <a:solidFill>
                <a:srgbClr val="AEABAB"/>
              </a:solidFill>
            </c:spPr>
            <c:extLst>
              <c:ext xmlns:c16="http://schemas.microsoft.com/office/drawing/2014/chart" uri="{C3380CC4-5D6E-409C-BE32-E72D297353CC}">
                <c16:uniqueId val="{00000479-C110-4B3C-98C7-D19B20EBE8CB}"/>
              </c:ext>
            </c:extLst>
          </c:dPt>
          <c:dPt>
            <c:idx val="572"/>
            <c:invertIfNegative val="1"/>
            <c:bubble3D val="0"/>
            <c:spPr>
              <a:solidFill>
                <a:srgbClr val="AEABAB"/>
              </a:solidFill>
            </c:spPr>
            <c:extLst>
              <c:ext xmlns:c16="http://schemas.microsoft.com/office/drawing/2014/chart" uri="{C3380CC4-5D6E-409C-BE32-E72D297353CC}">
                <c16:uniqueId val="{0000047B-C110-4B3C-98C7-D19B20EBE8CB}"/>
              </c:ext>
            </c:extLst>
          </c:dPt>
          <c:dPt>
            <c:idx val="573"/>
            <c:invertIfNegative val="1"/>
            <c:bubble3D val="0"/>
            <c:spPr>
              <a:solidFill>
                <a:srgbClr val="AEABAB"/>
              </a:solidFill>
            </c:spPr>
            <c:extLst>
              <c:ext xmlns:c16="http://schemas.microsoft.com/office/drawing/2014/chart" uri="{C3380CC4-5D6E-409C-BE32-E72D297353CC}">
                <c16:uniqueId val="{0000047D-C110-4B3C-98C7-D19B20EBE8CB}"/>
              </c:ext>
            </c:extLst>
          </c:dPt>
          <c:dPt>
            <c:idx val="574"/>
            <c:invertIfNegative val="1"/>
            <c:bubble3D val="0"/>
            <c:spPr>
              <a:solidFill>
                <a:srgbClr val="AEABAB"/>
              </a:solidFill>
            </c:spPr>
            <c:extLst>
              <c:ext xmlns:c16="http://schemas.microsoft.com/office/drawing/2014/chart" uri="{C3380CC4-5D6E-409C-BE32-E72D297353CC}">
                <c16:uniqueId val="{0000047F-C110-4B3C-98C7-D19B20EBE8CB}"/>
              </c:ext>
            </c:extLst>
          </c:dPt>
          <c:dPt>
            <c:idx val="575"/>
            <c:invertIfNegative val="1"/>
            <c:bubble3D val="0"/>
            <c:spPr>
              <a:solidFill>
                <a:srgbClr val="AEABAB"/>
              </a:solidFill>
            </c:spPr>
            <c:extLst>
              <c:ext xmlns:c16="http://schemas.microsoft.com/office/drawing/2014/chart" uri="{C3380CC4-5D6E-409C-BE32-E72D297353CC}">
                <c16:uniqueId val="{00000481-C110-4B3C-98C7-D19B20EBE8CB}"/>
              </c:ext>
            </c:extLst>
          </c:dPt>
          <c:dPt>
            <c:idx val="576"/>
            <c:invertIfNegative val="1"/>
            <c:bubble3D val="0"/>
            <c:spPr>
              <a:solidFill>
                <a:srgbClr val="AEABAB"/>
              </a:solidFill>
            </c:spPr>
            <c:extLst>
              <c:ext xmlns:c16="http://schemas.microsoft.com/office/drawing/2014/chart" uri="{C3380CC4-5D6E-409C-BE32-E72D297353CC}">
                <c16:uniqueId val="{00000483-C110-4B3C-98C7-D19B20EBE8CB}"/>
              </c:ext>
            </c:extLst>
          </c:dPt>
          <c:dPt>
            <c:idx val="577"/>
            <c:invertIfNegative val="1"/>
            <c:bubble3D val="0"/>
            <c:spPr>
              <a:solidFill>
                <a:srgbClr val="AEABAB"/>
              </a:solidFill>
            </c:spPr>
            <c:extLst>
              <c:ext xmlns:c16="http://schemas.microsoft.com/office/drawing/2014/chart" uri="{C3380CC4-5D6E-409C-BE32-E72D297353CC}">
                <c16:uniqueId val="{00000485-C110-4B3C-98C7-D19B20EBE8CB}"/>
              </c:ext>
            </c:extLst>
          </c:dPt>
          <c:dPt>
            <c:idx val="578"/>
            <c:invertIfNegative val="1"/>
            <c:bubble3D val="0"/>
            <c:spPr>
              <a:solidFill>
                <a:srgbClr val="AEABAB"/>
              </a:solidFill>
            </c:spPr>
            <c:extLst>
              <c:ext xmlns:c16="http://schemas.microsoft.com/office/drawing/2014/chart" uri="{C3380CC4-5D6E-409C-BE32-E72D297353CC}">
                <c16:uniqueId val="{00000487-C110-4B3C-98C7-D19B20EBE8CB}"/>
              </c:ext>
            </c:extLst>
          </c:dPt>
          <c:dPt>
            <c:idx val="579"/>
            <c:invertIfNegative val="1"/>
            <c:bubble3D val="0"/>
            <c:spPr>
              <a:solidFill>
                <a:srgbClr val="AEABAB"/>
              </a:solidFill>
            </c:spPr>
            <c:extLst>
              <c:ext xmlns:c16="http://schemas.microsoft.com/office/drawing/2014/chart" uri="{C3380CC4-5D6E-409C-BE32-E72D297353CC}">
                <c16:uniqueId val="{00000489-C110-4B3C-98C7-D19B20EBE8CB}"/>
              </c:ext>
            </c:extLst>
          </c:dPt>
          <c:dPt>
            <c:idx val="580"/>
            <c:invertIfNegative val="1"/>
            <c:bubble3D val="0"/>
            <c:spPr>
              <a:solidFill>
                <a:srgbClr val="AEABAB"/>
              </a:solidFill>
            </c:spPr>
            <c:extLst>
              <c:ext xmlns:c16="http://schemas.microsoft.com/office/drawing/2014/chart" uri="{C3380CC4-5D6E-409C-BE32-E72D297353CC}">
                <c16:uniqueId val="{0000048B-C110-4B3C-98C7-D19B20EBE8CB}"/>
              </c:ext>
            </c:extLst>
          </c:dPt>
          <c:dPt>
            <c:idx val="581"/>
            <c:invertIfNegative val="1"/>
            <c:bubble3D val="0"/>
            <c:spPr>
              <a:solidFill>
                <a:srgbClr val="AEABAB"/>
              </a:solidFill>
            </c:spPr>
            <c:extLst>
              <c:ext xmlns:c16="http://schemas.microsoft.com/office/drawing/2014/chart" uri="{C3380CC4-5D6E-409C-BE32-E72D297353CC}">
                <c16:uniqueId val="{0000048D-C110-4B3C-98C7-D19B20EBE8CB}"/>
              </c:ext>
            </c:extLst>
          </c:dPt>
          <c:dPt>
            <c:idx val="582"/>
            <c:invertIfNegative val="1"/>
            <c:bubble3D val="0"/>
            <c:spPr>
              <a:solidFill>
                <a:srgbClr val="AEABAB"/>
              </a:solidFill>
            </c:spPr>
            <c:extLst>
              <c:ext xmlns:c16="http://schemas.microsoft.com/office/drawing/2014/chart" uri="{C3380CC4-5D6E-409C-BE32-E72D297353CC}">
                <c16:uniqueId val="{0000048F-C110-4B3C-98C7-D19B20EBE8CB}"/>
              </c:ext>
            </c:extLst>
          </c:dPt>
          <c:dPt>
            <c:idx val="583"/>
            <c:invertIfNegative val="1"/>
            <c:bubble3D val="0"/>
            <c:spPr>
              <a:solidFill>
                <a:srgbClr val="AEABAB"/>
              </a:solidFill>
            </c:spPr>
            <c:extLst>
              <c:ext xmlns:c16="http://schemas.microsoft.com/office/drawing/2014/chart" uri="{C3380CC4-5D6E-409C-BE32-E72D297353CC}">
                <c16:uniqueId val="{00000491-C110-4B3C-98C7-D19B20EBE8CB}"/>
              </c:ext>
            </c:extLst>
          </c:dPt>
          <c:dPt>
            <c:idx val="584"/>
            <c:invertIfNegative val="1"/>
            <c:bubble3D val="0"/>
            <c:spPr>
              <a:solidFill>
                <a:srgbClr val="AEABAB"/>
              </a:solidFill>
            </c:spPr>
            <c:extLst>
              <c:ext xmlns:c16="http://schemas.microsoft.com/office/drawing/2014/chart" uri="{C3380CC4-5D6E-409C-BE32-E72D297353CC}">
                <c16:uniqueId val="{00000493-C110-4B3C-98C7-D19B20EBE8CB}"/>
              </c:ext>
            </c:extLst>
          </c:dPt>
          <c:dPt>
            <c:idx val="585"/>
            <c:invertIfNegative val="1"/>
            <c:bubble3D val="0"/>
            <c:spPr>
              <a:solidFill>
                <a:srgbClr val="AEABAB"/>
              </a:solidFill>
            </c:spPr>
            <c:extLst>
              <c:ext xmlns:c16="http://schemas.microsoft.com/office/drawing/2014/chart" uri="{C3380CC4-5D6E-409C-BE32-E72D297353CC}">
                <c16:uniqueId val="{00000495-C110-4B3C-98C7-D19B20EBE8CB}"/>
              </c:ext>
            </c:extLst>
          </c:dPt>
          <c:dPt>
            <c:idx val="586"/>
            <c:invertIfNegative val="1"/>
            <c:bubble3D val="0"/>
            <c:spPr>
              <a:solidFill>
                <a:srgbClr val="AEABAB"/>
              </a:solidFill>
            </c:spPr>
            <c:extLst>
              <c:ext xmlns:c16="http://schemas.microsoft.com/office/drawing/2014/chart" uri="{C3380CC4-5D6E-409C-BE32-E72D297353CC}">
                <c16:uniqueId val="{00000497-C110-4B3C-98C7-D19B20EBE8CB}"/>
              </c:ext>
            </c:extLst>
          </c:dPt>
          <c:dPt>
            <c:idx val="587"/>
            <c:invertIfNegative val="1"/>
            <c:bubble3D val="0"/>
            <c:spPr>
              <a:solidFill>
                <a:srgbClr val="AEABAB"/>
              </a:solidFill>
            </c:spPr>
            <c:extLst>
              <c:ext xmlns:c16="http://schemas.microsoft.com/office/drawing/2014/chart" uri="{C3380CC4-5D6E-409C-BE32-E72D297353CC}">
                <c16:uniqueId val="{00000499-C110-4B3C-98C7-D19B20EBE8CB}"/>
              </c:ext>
            </c:extLst>
          </c:dPt>
          <c:dPt>
            <c:idx val="588"/>
            <c:invertIfNegative val="1"/>
            <c:bubble3D val="0"/>
            <c:spPr>
              <a:solidFill>
                <a:srgbClr val="AEABAB"/>
              </a:solidFill>
            </c:spPr>
            <c:extLst>
              <c:ext xmlns:c16="http://schemas.microsoft.com/office/drawing/2014/chart" uri="{C3380CC4-5D6E-409C-BE32-E72D297353CC}">
                <c16:uniqueId val="{0000049B-C110-4B3C-98C7-D19B20EBE8CB}"/>
              </c:ext>
            </c:extLst>
          </c:dPt>
          <c:dPt>
            <c:idx val="589"/>
            <c:invertIfNegative val="1"/>
            <c:bubble3D val="0"/>
            <c:spPr>
              <a:solidFill>
                <a:srgbClr val="AEABAB"/>
              </a:solidFill>
            </c:spPr>
            <c:extLst>
              <c:ext xmlns:c16="http://schemas.microsoft.com/office/drawing/2014/chart" uri="{C3380CC4-5D6E-409C-BE32-E72D297353CC}">
                <c16:uniqueId val="{0000049D-C110-4B3C-98C7-D19B20EBE8CB}"/>
              </c:ext>
            </c:extLst>
          </c:dPt>
          <c:dPt>
            <c:idx val="590"/>
            <c:invertIfNegative val="1"/>
            <c:bubble3D val="0"/>
            <c:spPr>
              <a:solidFill>
                <a:srgbClr val="AEABAB"/>
              </a:solidFill>
            </c:spPr>
            <c:extLst>
              <c:ext xmlns:c16="http://schemas.microsoft.com/office/drawing/2014/chart" uri="{C3380CC4-5D6E-409C-BE32-E72D297353CC}">
                <c16:uniqueId val="{0000049F-C110-4B3C-98C7-D19B20EBE8CB}"/>
              </c:ext>
            </c:extLst>
          </c:dPt>
          <c:dPt>
            <c:idx val="591"/>
            <c:invertIfNegative val="1"/>
            <c:bubble3D val="0"/>
            <c:spPr>
              <a:solidFill>
                <a:srgbClr val="AEABAB"/>
              </a:solidFill>
            </c:spPr>
            <c:extLst>
              <c:ext xmlns:c16="http://schemas.microsoft.com/office/drawing/2014/chart" uri="{C3380CC4-5D6E-409C-BE32-E72D297353CC}">
                <c16:uniqueId val="{000004A1-C110-4B3C-98C7-D19B20EBE8CB}"/>
              </c:ext>
            </c:extLst>
          </c:dPt>
          <c:dPt>
            <c:idx val="592"/>
            <c:invertIfNegative val="1"/>
            <c:bubble3D val="0"/>
            <c:spPr>
              <a:solidFill>
                <a:srgbClr val="AEABAB"/>
              </a:solidFill>
            </c:spPr>
            <c:extLst>
              <c:ext xmlns:c16="http://schemas.microsoft.com/office/drawing/2014/chart" uri="{C3380CC4-5D6E-409C-BE32-E72D297353CC}">
                <c16:uniqueId val="{000004A3-C110-4B3C-98C7-D19B20EBE8CB}"/>
              </c:ext>
            </c:extLst>
          </c:dPt>
          <c:dPt>
            <c:idx val="593"/>
            <c:invertIfNegative val="1"/>
            <c:bubble3D val="0"/>
            <c:spPr>
              <a:solidFill>
                <a:srgbClr val="AEABAB"/>
              </a:solidFill>
            </c:spPr>
            <c:extLst>
              <c:ext xmlns:c16="http://schemas.microsoft.com/office/drawing/2014/chart" uri="{C3380CC4-5D6E-409C-BE32-E72D297353CC}">
                <c16:uniqueId val="{000004A5-C110-4B3C-98C7-D19B20EBE8CB}"/>
              </c:ext>
            </c:extLst>
          </c:dPt>
          <c:dPt>
            <c:idx val="594"/>
            <c:invertIfNegative val="1"/>
            <c:bubble3D val="0"/>
            <c:spPr>
              <a:solidFill>
                <a:srgbClr val="AEABAB"/>
              </a:solidFill>
            </c:spPr>
            <c:extLst>
              <c:ext xmlns:c16="http://schemas.microsoft.com/office/drawing/2014/chart" uri="{C3380CC4-5D6E-409C-BE32-E72D297353CC}">
                <c16:uniqueId val="{000004A7-C110-4B3C-98C7-D19B20EBE8CB}"/>
              </c:ext>
            </c:extLst>
          </c:dPt>
          <c:dPt>
            <c:idx val="595"/>
            <c:invertIfNegative val="1"/>
            <c:bubble3D val="0"/>
            <c:spPr>
              <a:solidFill>
                <a:srgbClr val="AEABAB"/>
              </a:solidFill>
            </c:spPr>
            <c:extLst>
              <c:ext xmlns:c16="http://schemas.microsoft.com/office/drawing/2014/chart" uri="{C3380CC4-5D6E-409C-BE32-E72D297353CC}">
                <c16:uniqueId val="{000004A9-C110-4B3C-98C7-D19B20EBE8CB}"/>
              </c:ext>
            </c:extLst>
          </c:dPt>
          <c:dPt>
            <c:idx val="596"/>
            <c:invertIfNegative val="1"/>
            <c:bubble3D val="0"/>
            <c:spPr>
              <a:solidFill>
                <a:srgbClr val="AEABAB"/>
              </a:solidFill>
            </c:spPr>
            <c:extLst>
              <c:ext xmlns:c16="http://schemas.microsoft.com/office/drawing/2014/chart" uri="{C3380CC4-5D6E-409C-BE32-E72D297353CC}">
                <c16:uniqueId val="{000004AB-C110-4B3C-98C7-D19B20EBE8CB}"/>
              </c:ext>
            </c:extLst>
          </c:dPt>
          <c:dPt>
            <c:idx val="597"/>
            <c:invertIfNegative val="1"/>
            <c:bubble3D val="0"/>
            <c:spPr>
              <a:solidFill>
                <a:srgbClr val="AEABAB"/>
              </a:solidFill>
            </c:spPr>
            <c:extLst>
              <c:ext xmlns:c16="http://schemas.microsoft.com/office/drawing/2014/chart" uri="{C3380CC4-5D6E-409C-BE32-E72D297353CC}">
                <c16:uniqueId val="{000004AD-C110-4B3C-98C7-D19B20EBE8CB}"/>
              </c:ext>
            </c:extLst>
          </c:dPt>
          <c:dPt>
            <c:idx val="598"/>
            <c:invertIfNegative val="1"/>
            <c:bubble3D val="0"/>
            <c:spPr>
              <a:solidFill>
                <a:srgbClr val="AEABAB"/>
              </a:solidFill>
            </c:spPr>
            <c:extLst>
              <c:ext xmlns:c16="http://schemas.microsoft.com/office/drawing/2014/chart" uri="{C3380CC4-5D6E-409C-BE32-E72D297353CC}">
                <c16:uniqueId val="{000004AF-C110-4B3C-98C7-D19B20EBE8CB}"/>
              </c:ext>
            </c:extLst>
          </c:dPt>
          <c:dPt>
            <c:idx val="599"/>
            <c:invertIfNegative val="1"/>
            <c:bubble3D val="0"/>
            <c:spPr>
              <a:solidFill>
                <a:srgbClr val="AEABAB"/>
              </a:solidFill>
            </c:spPr>
            <c:extLst>
              <c:ext xmlns:c16="http://schemas.microsoft.com/office/drawing/2014/chart" uri="{C3380CC4-5D6E-409C-BE32-E72D297353CC}">
                <c16:uniqueId val="{000004B1-C110-4B3C-98C7-D19B20EBE8CB}"/>
              </c:ext>
            </c:extLst>
          </c:dPt>
          <c:dPt>
            <c:idx val="600"/>
            <c:invertIfNegative val="1"/>
            <c:bubble3D val="0"/>
            <c:spPr>
              <a:solidFill>
                <a:srgbClr val="AEABAB"/>
              </a:solidFill>
            </c:spPr>
            <c:extLst>
              <c:ext xmlns:c16="http://schemas.microsoft.com/office/drawing/2014/chart" uri="{C3380CC4-5D6E-409C-BE32-E72D297353CC}">
                <c16:uniqueId val="{000004B3-C110-4B3C-98C7-D19B20EBE8CB}"/>
              </c:ext>
            </c:extLst>
          </c:dPt>
          <c:dPt>
            <c:idx val="601"/>
            <c:invertIfNegative val="1"/>
            <c:bubble3D val="0"/>
            <c:spPr>
              <a:solidFill>
                <a:srgbClr val="AEABAB"/>
              </a:solidFill>
            </c:spPr>
            <c:extLst>
              <c:ext xmlns:c16="http://schemas.microsoft.com/office/drawing/2014/chart" uri="{C3380CC4-5D6E-409C-BE32-E72D297353CC}">
                <c16:uniqueId val="{000004B5-C110-4B3C-98C7-D19B20EBE8CB}"/>
              </c:ext>
            </c:extLst>
          </c:dPt>
          <c:dPt>
            <c:idx val="602"/>
            <c:invertIfNegative val="1"/>
            <c:bubble3D val="0"/>
            <c:spPr>
              <a:solidFill>
                <a:srgbClr val="AEABAB"/>
              </a:solidFill>
            </c:spPr>
            <c:extLst>
              <c:ext xmlns:c16="http://schemas.microsoft.com/office/drawing/2014/chart" uri="{C3380CC4-5D6E-409C-BE32-E72D297353CC}">
                <c16:uniqueId val="{000004B7-C110-4B3C-98C7-D19B20EBE8CB}"/>
              </c:ext>
            </c:extLst>
          </c:dPt>
          <c:dPt>
            <c:idx val="603"/>
            <c:invertIfNegative val="1"/>
            <c:bubble3D val="0"/>
            <c:spPr>
              <a:solidFill>
                <a:srgbClr val="AEABAB"/>
              </a:solidFill>
            </c:spPr>
            <c:extLst>
              <c:ext xmlns:c16="http://schemas.microsoft.com/office/drawing/2014/chart" uri="{C3380CC4-5D6E-409C-BE32-E72D297353CC}">
                <c16:uniqueId val="{000004B9-C110-4B3C-98C7-D19B20EBE8CB}"/>
              </c:ext>
            </c:extLst>
          </c:dPt>
          <c:dPt>
            <c:idx val="604"/>
            <c:invertIfNegative val="1"/>
            <c:bubble3D val="0"/>
            <c:spPr>
              <a:solidFill>
                <a:srgbClr val="AEABAB"/>
              </a:solidFill>
            </c:spPr>
            <c:extLst>
              <c:ext xmlns:c16="http://schemas.microsoft.com/office/drawing/2014/chart" uri="{C3380CC4-5D6E-409C-BE32-E72D297353CC}">
                <c16:uniqueId val="{000004BB-C110-4B3C-98C7-D19B20EBE8CB}"/>
              </c:ext>
            </c:extLst>
          </c:dPt>
          <c:dPt>
            <c:idx val="605"/>
            <c:invertIfNegative val="1"/>
            <c:bubble3D val="0"/>
            <c:spPr>
              <a:solidFill>
                <a:srgbClr val="AEABAB"/>
              </a:solidFill>
            </c:spPr>
            <c:extLst>
              <c:ext xmlns:c16="http://schemas.microsoft.com/office/drawing/2014/chart" uri="{C3380CC4-5D6E-409C-BE32-E72D297353CC}">
                <c16:uniqueId val="{000004BD-C110-4B3C-98C7-D19B20EBE8CB}"/>
              </c:ext>
            </c:extLst>
          </c:dPt>
          <c:dPt>
            <c:idx val="606"/>
            <c:invertIfNegative val="1"/>
            <c:bubble3D val="0"/>
            <c:spPr>
              <a:solidFill>
                <a:srgbClr val="AEABAB"/>
              </a:solidFill>
            </c:spPr>
            <c:extLst>
              <c:ext xmlns:c16="http://schemas.microsoft.com/office/drawing/2014/chart" uri="{C3380CC4-5D6E-409C-BE32-E72D297353CC}">
                <c16:uniqueId val="{000004BF-C110-4B3C-98C7-D19B20EBE8CB}"/>
              </c:ext>
            </c:extLst>
          </c:dPt>
          <c:dPt>
            <c:idx val="607"/>
            <c:invertIfNegative val="1"/>
            <c:bubble3D val="0"/>
            <c:spPr>
              <a:solidFill>
                <a:srgbClr val="AEABAB"/>
              </a:solidFill>
            </c:spPr>
            <c:extLst>
              <c:ext xmlns:c16="http://schemas.microsoft.com/office/drawing/2014/chart" uri="{C3380CC4-5D6E-409C-BE32-E72D297353CC}">
                <c16:uniqueId val="{000004C1-C110-4B3C-98C7-D19B20EBE8CB}"/>
              </c:ext>
            </c:extLst>
          </c:dPt>
          <c:dPt>
            <c:idx val="608"/>
            <c:invertIfNegative val="1"/>
            <c:bubble3D val="0"/>
            <c:spPr>
              <a:solidFill>
                <a:srgbClr val="AEABAB"/>
              </a:solidFill>
            </c:spPr>
            <c:extLst>
              <c:ext xmlns:c16="http://schemas.microsoft.com/office/drawing/2014/chart" uri="{C3380CC4-5D6E-409C-BE32-E72D297353CC}">
                <c16:uniqueId val="{000004C3-C110-4B3C-98C7-D19B20EBE8CB}"/>
              </c:ext>
            </c:extLst>
          </c:dPt>
          <c:dPt>
            <c:idx val="609"/>
            <c:invertIfNegative val="1"/>
            <c:bubble3D val="0"/>
            <c:spPr>
              <a:solidFill>
                <a:srgbClr val="AEABAB"/>
              </a:solidFill>
            </c:spPr>
            <c:extLst>
              <c:ext xmlns:c16="http://schemas.microsoft.com/office/drawing/2014/chart" uri="{C3380CC4-5D6E-409C-BE32-E72D297353CC}">
                <c16:uniqueId val="{000004C5-C110-4B3C-98C7-D19B20EBE8CB}"/>
              </c:ext>
            </c:extLst>
          </c:dPt>
          <c:dPt>
            <c:idx val="610"/>
            <c:invertIfNegative val="1"/>
            <c:bubble3D val="0"/>
            <c:spPr>
              <a:solidFill>
                <a:srgbClr val="AEABAB"/>
              </a:solidFill>
            </c:spPr>
            <c:extLst>
              <c:ext xmlns:c16="http://schemas.microsoft.com/office/drawing/2014/chart" uri="{C3380CC4-5D6E-409C-BE32-E72D297353CC}">
                <c16:uniqueId val="{000004C7-C110-4B3C-98C7-D19B20EBE8CB}"/>
              </c:ext>
            </c:extLst>
          </c:dPt>
          <c:dPt>
            <c:idx val="611"/>
            <c:invertIfNegative val="1"/>
            <c:bubble3D val="0"/>
            <c:spPr>
              <a:solidFill>
                <a:srgbClr val="AEABAB"/>
              </a:solidFill>
            </c:spPr>
            <c:extLst>
              <c:ext xmlns:c16="http://schemas.microsoft.com/office/drawing/2014/chart" uri="{C3380CC4-5D6E-409C-BE32-E72D297353CC}">
                <c16:uniqueId val="{000004C9-C110-4B3C-98C7-D19B20EBE8CB}"/>
              </c:ext>
            </c:extLst>
          </c:dPt>
          <c:dPt>
            <c:idx val="612"/>
            <c:invertIfNegative val="1"/>
            <c:bubble3D val="0"/>
            <c:spPr>
              <a:solidFill>
                <a:srgbClr val="AEABAB"/>
              </a:solidFill>
            </c:spPr>
            <c:extLst>
              <c:ext xmlns:c16="http://schemas.microsoft.com/office/drawing/2014/chart" uri="{C3380CC4-5D6E-409C-BE32-E72D297353CC}">
                <c16:uniqueId val="{000004CB-C110-4B3C-98C7-D19B20EBE8CB}"/>
              </c:ext>
            </c:extLst>
          </c:dPt>
          <c:dPt>
            <c:idx val="613"/>
            <c:invertIfNegative val="1"/>
            <c:bubble3D val="0"/>
            <c:spPr>
              <a:solidFill>
                <a:srgbClr val="AEABAB"/>
              </a:solidFill>
            </c:spPr>
            <c:extLst>
              <c:ext xmlns:c16="http://schemas.microsoft.com/office/drawing/2014/chart" uri="{C3380CC4-5D6E-409C-BE32-E72D297353CC}">
                <c16:uniqueId val="{000004CD-C110-4B3C-98C7-D19B20EBE8CB}"/>
              </c:ext>
            </c:extLst>
          </c:dPt>
          <c:dPt>
            <c:idx val="614"/>
            <c:invertIfNegative val="1"/>
            <c:bubble3D val="0"/>
            <c:spPr>
              <a:solidFill>
                <a:srgbClr val="AEABAB"/>
              </a:solidFill>
            </c:spPr>
            <c:extLst>
              <c:ext xmlns:c16="http://schemas.microsoft.com/office/drawing/2014/chart" uri="{C3380CC4-5D6E-409C-BE32-E72D297353CC}">
                <c16:uniqueId val="{000004CF-C110-4B3C-98C7-D19B20EBE8CB}"/>
              </c:ext>
            </c:extLst>
          </c:dPt>
          <c:dPt>
            <c:idx val="615"/>
            <c:invertIfNegative val="1"/>
            <c:bubble3D val="0"/>
            <c:spPr>
              <a:solidFill>
                <a:srgbClr val="AEABAB"/>
              </a:solidFill>
            </c:spPr>
            <c:extLst>
              <c:ext xmlns:c16="http://schemas.microsoft.com/office/drawing/2014/chart" uri="{C3380CC4-5D6E-409C-BE32-E72D297353CC}">
                <c16:uniqueId val="{000004D1-C110-4B3C-98C7-D19B20EBE8CB}"/>
              </c:ext>
            </c:extLst>
          </c:dPt>
          <c:dPt>
            <c:idx val="616"/>
            <c:invertIfNegative val="1"/>
            <c:bubble3D val="0"/>
            <c:spPr>
              <a:solidFill>
                <a:srgbClr val="AEABAB"/>
              </a:solidFill>
            </c:spPr>
            <c:extLst>
              <c:ext xmlns:c16="http://schemas.microsoft.com/office/drawing/2014/chart" uri="{C3380CC4-5D6E-409C-BE32-E72D297353CC}">
                <c16:uniqueId val="{000004D3-C110-4B3C-98C7-D19B20EBE8CB}"/>
              </c:ext>
            </c:extLst>
          </c:dPt>
          <c:dPt>
            <c:idx val="617"/>
            <c:invertIfNegative val="1"/>
            <c:bubble3D val="0"/>
            <c:spPr>
              <a:solidFill>
                <a:srgbClr val="AEABAB"/>
              </a:solidFill>
            </c:spPr>
            <c:extLst>
              <c:ext xmlns:c16="http://schemas.microsoft.com/office/drawing/2014/chart" uri="{C3380CC4-5D6E-409C-BE32-E72D297353CC}">
                <c16:uniqueId val="{000004D5-C110-4B3C-98C7-D19B20EBE8CB}"/>
              </c:ext>
            </c:extLst>
          </c:dPt>
          <c:dPt>
            <c:idx val="618"/>
            <c:invertIfNegative val="1"/>
            <c:bubble3D val="0"/>
            <c:spPr>
              <a:solidFill>
                <a:srgbClr val="AEABAB"/>
              </a:solidFill>
            </c:spPr>
            <c:extLst>
              <c:ext xmlns:c16="http://schemas.microsoft.com/office/drawing/2014/chart" uri="{C3380CC4-5D6E-409C-BE32-E72D297353CC}">
                <c16:uniqueId val="{000004D7-C110-4B3C-98C7-D19B20EBE8CB}"/>
              </c:ext>
            </c:extLst>
          </c:dPt>
          <c:dPt>
            <c:idx val="619"/>
            <c:invertIfNegative val="1"/>
            <c:bubble3D val="0"/>
            <c:spPr>
              <a:solidFill>
                <a:srgbClr val="AEABAB"/>
              </a:solidFill>
            </c:spPr>
            <c:extLst>
              <c:ext xmlns:c16="http://schemas.microsoft.com/office/drawing/2014/chart" uri="{C3380CC4-5D6E-409C-BE32-E72D297353CC}">
                <c16:uniqueId val="{000004D9-C110-4B3C-98C7-D19B20EBE8CB}"/>
              </c:ext>
            </c:extLst>
          </c:dPt>
          <c:dPt>
            <c:idx val="620"/>
            <c:invertIfNegative val="1"/>
            <c:bubble3D val="0"/>
            <c:spPr>
              <a:solidFill>
                <a:srgbClr val="AEABAB"/>
              </a:solidFill>
            </c:spPr>
            <c:extLst>
              <c:ext xmlns:c16="http://schemas.microsoft.com/office/drawing/2014/chart" uri="{C3380CC4-5D6E-409C-BE32-E72D297353CC}">
                <c16:uniqueId val="{000004DB-C110-4B3C-98C7-D19B20EBE8CB}"/>
              </c:ext>
            </c:extLst>
          </c:dPt>
          <c:dPt>
            <c:idx val="621"/>
            <c:invertIfNegative val="1"/>
            <c:bubble3D val="0"/>
            <c:spPr>
              <a:solidFill>
                <a:srgbClr val="AEABAB"/>
              </a:solidFill>
            </c:spPr>
            <c:extLst>
              <c:ext xmlns:c16="http://schemas.microsoft.com/office/drawing/2014/chart" uri="{C3380CC4-5D6E-409C-BE32-E72D297353CC}">
                <c16:uniqueId val="{000004DD-C110-4B3C-98C7-D19B20EBE8CB}"/>
              </c:ext>
            </c:extLst>
          </c:dPt>
          <c:dPt>
            <c:idx val="622"/>
            <c:invertIfNegative val="1"/>
            <c:bubble3D val="0"/>
            <c:spPr>
              <a:solidFill>
                <a:srgbClr val="AEABAB"/>
              </a:solidFill>
            </c:spPr>
            <c:extLst>
              <c:ext xmlns:c16="http://schemas.microsoft.com/office/drawing/2014/chart" uri="{C3380CC4-5D6E-409C-BE32-E72D297353CC}">
                <c16:uniqueId val="{000004DF-C110-4B3C-98C7-D19B20EBE8CB}"/>
              </c:ext>
            </c:extLst>
          </c:dPt>
          <c:dPt>
            <c:idx val="623"/>
            <c:invertIfNegative val="1"/>
            <c:bubble3D val="0"/>
            <c:spPr>
              <a:solidFill>
                <a:srgbClr val="AEABAB"/>
              </a:solidFill>
            </c:spPr>
            <c:extLst>
              <c:ext xmlns:c16="http://schemas.microsoft.com/office/drawing/2014/chart" uri="{C3380CC4-5D6E-409C-BE32-E72D297353CC}">
                <c16:uniqueId val="{000004E1-C110-4B3C-98C7-D19B20EBE8CB}"/>
              </c:ext>
            </c:extLst>
          </c:dPt>
          <c:dPt>
            <c:idx val="624"/>
            <c:invertIfNegative val="1"/>
            <c:bubble3D val="0"/>
            <c:spPr>
              <a:solidFill>
                <a:srgbClr val="AEABAB"/>
              </a:solidFill>
            </c:spPr>
            <c:extLst>
              <c:ext xmlns:c16="http://schemas.microsoft.com/office/drawing/2014/chart" uri="{C3380CC4-5D6E-409C-BE32-E72D297353CC}">
                <c16:uniqueId val="{000004E3-C110-4B3C-98C7-D19B20EBE8CB}"/>
              </c:ext>
            </c:extLst>
          </c:dPt>
          <c:dPt>
            <c:idx val="625"/>
            <c:invertIfNegative val="1"/>
            <c:bubble3D val="0"/>
            <c:spPr>
              <a:solidFill>
                <a:srgbClr val="AEABAB"/>
              </a:solidFill>
            </c:spPr>
            <c:extLst>
              <c:ext xmlns:c16="http://schemas.microsoft.com/office/drawing/2014/chart" uri="{C3380CC4-5D6E-409C-BE32-E72D297353CC}">
                <c16:uniqueId val="{000004E5-C110-4B3C-98C7-D19B20EBE8CB}"/>
              </c:ext>
            </c:extLst>
          </c:dPt>
          <c:dPt>
            <c:idx val="626"/>
            <c:invertIfNegative val="1"/>
            <c:bubble3D val="0"/>
            <c:spPr>
              <a:solidFill>
                <a:srgbClr val="AEABAB"/>
              </a:solidFill>
            </c:spPr>
            <c:extLst>
              <c:ext xmlns:c16="http://schemas.microsoft.com/office/drawing/2014/chart" uri="{C3380CC4-5D6E-409C-BE32-E72D297353CC}">
                <c16:uniqueId val="{000004E7-C110-4B3C-98C7-D19B20EBE8CB}"/>
              </c:ext>
            </c:extLst>
          </c:dPt>
          <c:dPt>
            <c:idx val="627"/>
            <c:invertIfNegative val="1"/>
            <c:bubble3D val="0"/>
            <c:spPr>
              <a:solidFill>
                <a:srgbClr val="AEABAB"/>
              </a:solidFill>
            </c:spPr>
            <c:extLst>
              <c:ext xmlns:c16="http://schemas.microsoft.com/office/drawing/2014/chart" uri="{C3380CC4-5D6E-409C-BE32-E72D297353CC}">
                <c16:uniqueId val="{000004E9-C110-4B3C-98C7-D19B20EBE8CB}"/>
              </c:ext>
            </c:extLst>
          </c:dPt>
          <c:dPt>
            <c:idx val="628"/>
            <c:invertIfNegative val="1"/>
            <c:bubble3D val="0"/>
            <c:spPr>
              <a:solidFill>
                <a:srgbClr val="AEABAB"/>
              </a:solidFill>
            </c:spPr>
            <c:extLst>
              <c:ext xmlns:c16="http://schemas.microsoft.com/office/drawing/2014/chart" uri="{C3380CC4-5D6E-409C-BE32-E72D297353CC}">
                <c16:uniqueId val="{000004EB-C110-4B3C-98C7-D19B20EBE8CB}"/>
              </c:ext>
            </c:extLst>
          </c:dPt>
          <c:dPt>
            <c:idx val="629"/>
            <c:invertIfNegative val="1"/>
            <c:bubble3D val="0"/>
            <c:spPr>
              <a:solidFill>
                <a:srgbClr val="AEABAB"/>
              </a:solidFill>
            </c:spPr>
            <c:extLst>
              <c:ext xmlns:c16="http://schemas.microsoft.com/office/drawing/2014/chart" uri="{C3380CC4-5D6E-409C-BE32-E72D297353CC}">
                <c16:uniqueId val="{000004ED-C110-4B3C-98C7-D19B20EBE8CB}"/>
              </c:ext>
            </c:extLst>
          </c:dPt>
          <c:dPt>
            <c:idx val="630"/>
            <c:invertIfNegative val="1"/>
            <c:bubble3D val="0"/>
            <c:spPr>
              <a:solidFill>
                <a:srgbClr val="AEABAB"/>
              </a:solidFill>
            </c:spPr>
            <c:extLst>
              <c:ext xmlns:c16="http://schemas.microsoft.com/office/drawing/2014/chart" uri="{C3380CC4-5D6E-409C-BE32-E72D297353CC}">
                <c16:uniqueId val="{000004EF-C110-4B3C-98C7-D19B20EBE8CB}"/>
              </c:ext>
            </c:extLst>
          </c:dPt>
          <c:dPt>
            <c:idx val="631"/>
            <c:invertIfNegative val="1"/>
            <c:bubble3D val="0"/>
            <c:spPr>
              <a:solidFill>
                <a:srgbClr val="AEABAB"/>
              </a:solidFill>
            </c:spPr>
            <c:extLst>
              <c:ext xmlns:c16="http://schemas.microsoft.com/office/drawing/2014/chart" uri="{C3380CC4-5D6E-409C-BE32-E72D297353CC}">
                <c16:uniqueId val="{000004F1-C110-4B3C-98C7-D19B20EBE8CB}"/>
              </c:ext>
            </c:extLst>
          </c:dPt>
          <c:dPt>
            <c:idx val="632"/>
            <c:invertIfNegative val="1"/>
            <c:bubble3D val="0"/>
            <c:spPr>
              <a:solidFill>
                <a:srgbClr val="AEABAB"/>
              </a:solidFill>
            </c:spPr>
            <c:extLst>
              <c:ext xmlns:c16="http://schemas.microsoft.com/office/drawing/2014/chart" uri="{C3380CC4-5D6E-409C-BE32-E72D297353CC}">
                <c16:uniqueId val="{000004F3-C110-4B3C-98C7-D19B20EBE8CB}"/>
              </c:ext>
            </c:extLst>
          </c:dPt>
          <c:dPt>
            <c:idx val="633"/>
            <c:invertIfNegative val="1"/>
            <c:bubble3D val="0"/>
            <c:spPr>
              <a:solidFill>
                <a:srgbClr val="AEABAB"/>
              </a:solidFill>
            </c:spPr>
            <c:extLst>
              <c:ext xmlns:c16="http://schemas.microsoft.com/office/drawing/2014/chart" uri="{C3380CC4-5D6E-409C-BE32-E72D297353CC}">
                <c16:uniqueId val="{000004F5-C110-4B3C-98C7-D19B20EBE8CB}"/>
              </c:ext>
            </c:extLst>
          </c:dPt>
          <c:dPt>
            <c:idx val="634"/>
            <c:invertIfNegative val="1"/>
            <c:bubble3D val="0"/>
            <c:spPr>
              <a:solidFill>
                <a:srgbClr val="AEABAB"/>
              </a:solidFill>
            </c:spPr>
            <c:extLst>
              <c:ext xmlns:c16="http://schemas.microsoft.com/office/drawing/2014/chart" uri="{C3380CC4-5D6E-409C-BE32-E72D297353CC}">
                <c16:uniqueId val="{000004F7-C110-4B3C-98C7-D19B20EBE8CB}"/>
              </c:ext>
            </c:extLst>
          </c:dPt>
          <c:dPt>
            <c:idx val="635"/>
            <c:invertIfNegative val="1"/>
            <c:bubble3D val="0"/>
            <c:spPr>
              <a:solidFill>
                <a:srgbClr val="AEABAB"/>
              </a:solidFill>
            </c:spPr>
            <c:extLst>
              <c:ext xmlns:c16="http://schemas.microsoft.com/office/drawing/2014/chart" uri="{C3380CC4-5D6E-409C-BE32-E72D297353CC}">
                <c16:uniqueId val="{000004F9-C110-4B3C-98C7-D19B20EBE8CB}"/>
              </c:ext>
            </c:extLst>
          </c:dPt>
          <c:dPt>
            <c:idx val="636"/>
            <c:invertIfNegative val="1"/>
            <c:bubble3D val="0"/>
            <c:spPr>
              <a:solidFill>
                <a:srgbClr val="AEABAB"/>
              </a:solidFill>
            </c:spPr>
            <c:extLst>
              <c:ext xmlns:c16="http://schemas.microsoft.com/office/drawing/2014/chart" uri="{C3380CC4-5D6E-409C-BE32-E72D297353CC}">
                <c16:uniqueId val="{000004FB-C110-4B3C-98C7-D19B20EBE8CB}"/>
              </c:ext>
            </c:extLst>
          </c:dPt>
          <c:dPt>
            <c:idx val="637"/>
            <c:invertIfNegative val="1"/>
            <c:bubble3D val="0"/>
            <c:spPr>
              <a:solidFill>
                <a:srgbClr val="AEABAB"/>
              </a:solidFill>
            </c:spPr>
            <c:extLst>
              <c:ext xmlns:c16="http://schemas.microsoft.com/office/drawing/2014/chart" uri="{C3380CC4-5D6E-409C-BE32-E72D297353CC}">
                <c16:uniqueId val="{000004FD-C110-4B3C-98C7-D19B20EBE8CB}"/>
              </c:ext>
            </c:extLst>
          </c:dPt>
          <c:dPt>
            <c:idx val="638"/>
            <c:invertIfNegative val="1"/>
            <c:bubble3D val="0"/>
            <c:spPr>
              <a:solidFill>
                <a:srgbClr val="AEABAB"/>
              </a:solidFill>
            </c:spPr>
            <c:extLst>
              <c:ext xmlns:c16="http://schemas.microsoft.com/office/drawing/2014/chart" uri="{C3380CC4-5D6E-409C-BE32-E72D297353CC}">
                <c16:uniqueId val="{000004FF-C110-4B3C-98C7-D19B20EBE8CB}"/>
              </c:ext>
            </c:extLst>
          </c:dPt>
          <c:dPt>
            <c:idx val="639"/>
            <c:invertIfNegative val="1"/>
            <c:bubble3D val="0"/>
            <c:spPr>
              <a:solidFill>
                <a:srgbClr val="AEABAB"/>
              </a:solidFill>
            </c:spPr>
            <c:extLst>
              <c:ext xmlns:c16="http://schemas.microsoft.com/office/drawing/2014/chart" uri="{C3380CC4-5D6E-409C-BE32-E72D297353CC}">
                <c16:uniqueId val="{00000501-C110-4B3C-98C7-D19B20EBE8CB}"/>
              </c:ext>
            </c:extLst>
          </c:dPt>
          <c:dPt>
            <c:idx val="640"/>
            <c:invertIfNegative val="1"/>
            <c:bubble3D val="0"/>
            <c:spPr>
              <a:solidFill>
                <a:srgbClr val="AEABAB"/>
              </a:solidFill>
            </c:spPr>
            <c:extLst>
              <c:ext xmlns:c16="http://schemas.microsoft.com/office/drawing/2014/chart" uri="{C3380CC4-5D6E-409C-BE32-E72D297353CC}">
                <c16:uniqueId val="{00000503-C110-4B3C-98C7-D19B20EBE8CB}"/>
              </c:ext>
            </c:extLst>
          </c:dPt>
          <c:dPt>
            <c:idx val="641"/>
            <c:invertIfNegative val="1"/>
            <c:bubble3D val="0"/>
            <c:spPr>
              <a:solidFill>
                <a:srgbClr val="AEABAB"/>
              </a:solidFill>
            </c:spPr>
            <c:extLst>
              <c:ext xmlns:c16="http://schemas.microsoft.com/office/drawing/2014/chart" uri="{C3380CC4-5D6E-409C-BE32-E72D297353CC}">
                <c16:uniqueId val="{00000505-C110-4B3C-98C7-D19B20EBE8CB}"/>
              </c:ext>
            </c:extLst>
          </c:dPt>
          <c:dPt>
            <c:idx val="642"/>
            <c:invertIfNegative val="1"/>
            <c:bubble3D val="0"/>
            <c:spPr>
              <a:solidFill>
                <a:srgbClr val="AEABAB"/>
              </a:solidFill>
            </c:spPr>
            <c:extLst>
              <c:ext xmlns:c16="http://schemas.microsoft.com/office/drawing/2014/chart" uri="{C3380CC4-5D6E-409C-BE32-E72D297353CC}">
                <c16:uniqueId val="{00000507-C110-4B3C-98C7-D19B20EBE8CB}"/>
              </c:ext>
            </c:extLst>
          </c:dPt>
          <c:dPt>
            <c:idx val="643"/>
            <c:invertIfNegative val="1"/>
            <c:bubble3D val="0"/>
            <c:spPr>
              <a:solidFill>
                <a:srgbClr val="AEABAB"/>
              </a:solidFill>
            </c:spPr>
            <c:extLst>
              <c:ext xmlns:c16="http://schemas.microsoft.com/office/drawing/2014/chart" uri="{C3380CC4-5D6E-409C-BE32-E72D297353CC}">
                <c16:uniqueId val="{00000509-C110-4B3C-98C7-D19B20EBE8CB}"/>
              </c:ext>
            </c:extLst>
          </c:dPt>
          <c:dPt>
            <c:idx val="644"/>
            <c:invertIfNegative val="1"/>
            <c:bubble3D val="0"/>
            <c:spPr>
              <a:solidFill>
                <a:srgbClr val="AEABAB"/>
              </a:solidFill>
            </c:spPr>
            <c:extLst>
              <c:ext xmlns:c16="http://schemas.microsoft.com/office/drawing/2014/chart" uri="{C3380CC4-5D6E-409C-BE32-E72D297353CC}">
                <c16:uniqueId val="{0000050B-C110-4B3C-98C7-D19B20EBE8CB}"/>
              </c:ext>
            </c:extLst>
          </c:dPt>
          <c:dPt>
            <c:idx val="645"/>
            <c:invertIfNegative val="1"/>
            <c:bubble3D val="0"/>
            <c:spPr>
              <a:solidFill>
                <a:srgbClr val="AEABAB"/>
              </a:solidFill>
            </c:spPr>
            <c:extLst>
              <c:ext xmlns:c16="http://schemas.microsoft.com/office/drawing/2014/chart" uri="{C3380CC4-5D6E-409C-BE32-E72D297353CC}">
                <c16:uniqueId val="{0000050D-C110-4B3C-98C7-D19B20EBE8CB}"/>
              </c:ext>
            </c:extLst>
          </c:dPt>
          <c:dPt>
            <c:idx val="646"/>
            <c:invertIfNegative val="1"/>
            <c:bubble3D val="0"/>
            <c:spPr>
              <a:solidFill>
                <a:srgbClr val="AEABAB"/>
              </a:solidFill>
            </c:spPr>
            <c:extLst>
              <c:ext xmlns:c16="http://schemas.microsoft.com/office/drawing/2014/chart" uri="{C3380CC4-5D6E-409C-BE32-E72D297353CC}">
                <c16:uniqueId val="{0000050F-C110-4B3C-98C7-D19B20EBE8CB}"/>
              </c:ext>
            </c:extLst>
          </c:dPt>
          <c:dPt>
            <c:idx val="647"/>
            <c:invertIfNegative val="1"/>
            <c:bubble3D val="0"/>
            <c:spPr>
              <a:solidFill>
                <a:srgbClr val="AEABAB"/>
              </a:solidFill>
            </c:spPr>
            <c:extLst>
              <c:ext xmlns:c16="http://schemas.microsoft.com/office/drawing/2014/chart" uri="{C3380CC4-5D6E-409C-BE32-E72D297353CC}">
                <c16:uniqueId val="{00000511-C110-4B3C-98C7-D19B20EBE8CB}"/>
              </c:ext>
            </c:extLst>
          </c:dPt>
          <c:dPt>
            <c:idx val="648"/>
            <c:invertIfNegative val="1"/>
            <c:bubble3D val="0"/>
            <c:spPr>
              <a:solidFill>
                <a:srgbClr val="AEABAB"/>
              </a:solidFill>
            </c:spPr>
            <c:extLst>
              <c:ext xmlns:c16="http://schemas.microsoft.com/office/drawing/2014/chart" uri="{C3380CC4-5D6E-409C-BE32-E72D297353CC}">
                <c16:uniqueId val="{00000513-C110-4B3C-98C7-D19B20EBE8CB}"/>
              </c:ext>
            </c:extLst>
          </c:dPt>
          <c:dPt>
            <c:idx val="649"/>
            <c:invertIfNegative val="1"/>
            <c:bubble3D val="0"/>
            <c:spPr>
              <a:solidFill>
                <a:srgbClr val="AEABAB"/>
              </a:solidFill>
            </c:spPr>
            <c:extLst>
              <c:ext xmlns:c16="http://schemas.microsoft.com/office/drawing/2014/chart" uri="{C3380CC4-5D6E-409C-BE32-E72D297353CC}">
                <c16:uniqueId val="{00000515-C110-4B3C-98C7-D19B20EBE8CB}"/>
              </c:ext>
            </c:extLst>
          </c:dPt>
          <c:dPt>
            <c:idx val="650"/>
            <c:invertIfNegative val="1"/>
            <c:bubble3D val="0"/>
            <c:spPr>
              <a:solidFill>
                <a:srgbClr val="AEABAB"/>
              </a:solidFill>
            </c:spPr>
            <c:extLst>
              <c:ext xmlns:c16="http://schemas.microsoft.com/office/drawing/2014/chart" uri="{C3380CC4-5D6E-409C-BE32-E72D297353CC}">
                <c16:uniqueId val="{00000517-C110-4B3C-98C7-D19B20EBE8CB}"/>
              </c:ext>
            </c:extLst>
          </c:dPt>
          <c:dPt>
            <c:idx val="651"/>
            <c:invertIfNegative val="1"/>
            <c:bubble3D val="0"/>
            <c:spPr>
              <a:solidFill>
                <a:srgbClr val="AEABAB"/>
              </a:solidFill>
            </c:spPr>
            <c:extLst>
              <c:ext xmlns:c16="http://schemas.microsoft.com/office/drawing/2014/chart" uri="{C3380CC4-5D6E-409C-BE32-E72D297353CC}">
                <c16:uniqueId val="{00000519-C110-4B3C-98C7-D19B20EBE8CB}"/>
              </c:ext>
            </c:extLst>
          </c:dPt>
          <c:dPt>
            <c:idx val="652"/>
            <c:invertIfNegative val="1"/>
            <c:bubble3D val="0"/>
            <c:spPr>
              <a:solidFill>
                <a:srgbClr val="AEABAB"/>
              </a:solidFill>
            </c:spPr>
            <c:extLst>
              <c:ext xmlns:c16="http://schemas.microsoft.com/office/drawing/2014/chart" uri="{C3380CC4-5D6E-409C-BE32-E72D297353CC}">
                <c16:uniqueId val="{0000051B-C110-4B3C-98C7-D19B20EBE8CB}"/>
              </c:ext>
            </c:extLst>
          </c:dPt>
          <c:dPt>
            <c:idx val="653"/>
            <c:invertIfNegative val="1"/>
            <c:bubble3D val="0"/>
            <c:spPr>
              <a:solidFill>
                <a:srgbClr val="AEABAB"/>
              </a:solidFill>
            </c:spPr>
            <c:extLst>
              <c:ext xmlns:c16="http://schemas.microsoft.com/office/drawing/2014/chart" uri="{C3380CC4-5D6E-409C-BE32-E72D297353CC}">
                <c16:uniqueId val="{0000051D-C110-4B3C-98C7-D19B20EBE8CB}"/>
              </c:ext>
            </c:extLst>
          </c:dPt>
          <c:dPt>
            <c:idx val="654"/>
            <c:invertIfNegative val="1"/>
            <c:bubble3D val="0"/>
            <c:spPr>
              <a:solidFill>
                <a:srgbClr val="AEABAB"/>
              </a:solidFill>
            </c:spPr>
            <c:extLst>
              <c:ext xmlns:c16="http://schemas.microsoft.com/office/drawing/2014/chart" uri="{C3380CC4-5D6E-409C-BE32-E72D297353CC}">
                <c16:uniqueId val="{0000051F-C110-4B3C-98C7-D19B20EBE8CB}"/>
              </c:ext>
            </c:extLst>
          </c:dPt>
          <c:dPt>
            <c:idx val="655"/>
            <c:invertIfNegative val="1"/>
            <c:bubble3D val="0"/>
            <c:spPr>
              <a:solidFill>
                <a:srgbClr val="AEABAB"/>
              </a:solidFill>
            </c:spPr>
            <c:extLst>
              <c:ext xmlns:c16="http://schemas.microsoft.com/office/drawing/2014/chart" uri="{C3380CC4-5D6E-409C-BE32-E72D297353CC}">
                <c16:uniqueId val="{00000521-C110-4B3C-98C7-D19B20EBE8CB}"/>
              </c:ext>
            </c:extLst>
          </c:dPt>
          <c:dPt>
            <c:idx val="656"/>
            <c:invertIfNegative val="1"/>
            <c:bubble3D val="0"/>
            <c:spPr>
              <a:solidFill>
                <a:srgbClr val="AEABAB"/>
              </a:solidFill>
            </c:spPr>
            <c:extLst>
              <c:ext xmlns:c16="http://schemas.microsoft.com/office/drawing/2014/chart" uri="{C3380CC4-5D6E-409C-BE32-E72D297353CC}">
                <c16:uniqueId val="{00000523-C110-4B3C-98C7-D19B20EBE8CB}"/>
              </c:ext>
            </c:extLst>
          </c:dPt>
          <c:dPt>
            <c:idx val="657"/>
            <c:invertIfNegative val="1"/>
            <c:bubble3D val="0"/>
            <c:spPr>
              <a:solidFill>
                <a:srgbClr val="AEABAB"/>
              </a:solidFill>
            </c:spPr>
            <c:extLst>
              <c:ext xmlns:c16="http://schemas.microsoft.com/office/drawing/2014/chart" uri="{C3380CC4-5D6E-409C-BE32-E72D297353CC}">
                <c16:uniqueId val="{00000525-C110-4B3C-98C7-D19B20EBE8CB}"/>
              </c:ext>
            </c:extLst>
          </c:dPt>
          <c:dPt>
            <c:idx val="658"/>
            <c:invertIfNegative val="1"/>
            <c:bubble3D val="0"/>
            <c:spPr>
              <a:solidFill>
                <a:srgbClr val="AEABAB"/>
              </a:solidFill>
            </c:spPr>
            <c:extLst>
              <c:ext xmlns:c16="http://schemas.microsoft.com/office/drawing/2014/chart" uri="{C3380CC4-5D6E-409C-BE32-E72D297353CC}">
                <c16:uniqueId val="{00000527-C110-4B3C-98C7-D19B20EBE8CB}"/>
              </c:ext>
            </c:extLst>
          </c:dPt>
          <c:dPt>
            <c:idx val="659"/>
            <c:invertIfNegative val="1"/>
            <c:bubble3D val="0"/>
            <c:spPr>
              <a:solidFill>
                <a:srgbClr val="AEABAB"/>
              </a:solidFill>
            </c:spPr>
            <c:extLst>
              <c:ext xmlns:c16="http://schemas.microsoft.com/office/drawing/2014/chart" uri="{C3380CC4-5D6E-409C-BE32-E72D297353CC}">
                <c16:uniqueId val="{00000529-C110-4B3C-98C7-D19B20EBE8CB}"/>
              </c:ext>
            </c:extLst>
          </c:dPt>
          <c:dPt>
            <c:idx val="660"/>
            <c:invertIfNegative val="1"/>
            <c:bubble3D val="0"/>
            <c:spPr>
              <a:solidFill>
                <a:srgbClr val="AEABAB"/>
              </a:solidFill>
            </c:spPr>
            <c:extLst>
              <c:ext xmlns:c16="http://schemas.microsoft.com/office/drawing/2014/chart" uri="{C3380CC4-5D6E-409C-BE32-E72D297353CC}">
                <c16:uniqueId val="{0000052B-C110-4B3C-98C7-D19B20EBE8CB}"/>
              </c:ext>
            </c:extLst>
          </c:dPt>
          <c:dPt>
            <c:idx val="661"/>
            <c:invertIfNegative val="1"/>
            <c:bubble3D val="0"/>
            <c:spPr>
              <a:solidFill>
                <a:srgbClr val="AEABAB"/>
              </a:solidFill>
            </c:spPr>
            <c:extLst>
              <c:ext xmlns:c16="http://schemas.microsoft.com/office/drawing/2014/chart" uri="{C3380CC4-5D6E-409C-BE32-E72D297353CC}">
                <c16:uniqueId val="{0000052D-C110-4B3C-98C7-D19B20EBE8CB}"/>
              </c:ext>
            </c:extLst>
          </c:dPt>
          <c:dPt>
            <c:idx val="662"/>
            <c:invertIfNegative val="1"/>
            <c:bubble3D val="0"/>
            <c:spPr>
              <a:solidFill>
                <a:srgbClr val="AEABAB"/>
              </a:solidFill>
            </c:spPr>
            <c:extLst>
              <c:ext xmlns:c16="http://schemas.microsoft.com/office/drawing/2014/chart" uri="{C3380CC4-5D6E-409C-BE32-E72D297353CC}">
                <c16:uniqueId val="{0000052F-C110-4B3C-98C7-D19B20EBE8CB}"/>
              </c:ext>
            </c:extLst>
          </c:dPt>
          <c:dPt>
            <c:idx val="663"/>
            <c:invertIfNegative val="1"/>
            <c:bubble3D val="0"/>
            <c:spPr>
              <a:solidFill>
                <a:srgbClr val="AEABAB"/>
              </a:solidFill>
            </c:spPr>
            <c:extLst>
              <c:ext xmlns:c16="http://schemas.microsoft.com/office/drawing/2014/chart" uri="{C3380CC4-5D6E-409C-BE32-E72D297353CC}">
                <c16:uniqueId val="{00000531-C110-4B3C-98C7-D19B20EBE8CB}"/>
              </c:ext>
            </c:extLst>
          </c:dPt>
          <c:dPt>
            <c:idx val="664"/>
            <c:invertIfNegative val="1"/>
            <c:bubble3D val="0"/>
            <c:spPr>
              <a:solidFill>
                <a:srgbClr val="AEABAB"/>
              </a:solidFill>
            </c:spPr>
            <c:extLst>
              <c:ext xmlns:c16="http://schemas.microsoft.com/office/drawing/2014/chart" uri="{C3380CC4-5D6E-409C-BE32-E72D297353CC}">
                <c16:uniqueId val="{00000533-C110-4B3C-98C7-D19B20EBE8CB}"/>
              </c:ext>
            </c:extLst>
          </c:dPt>
          <c:dPt>
            <c:idx val="665"/>
            <c:invertIfNegative val="1"/>
            <c:bubble3D val="0"/>
            <c:spPr>
              <a:solidFill>
                <a:srgbClr val="AEABAB"/>
              </a:solidFill>
            </c:spPr>
            <c:extLst>
              <c:ext xmlns:c16="http://schemas.microsoft.com/office/drawing/2014/chart" uri="{C3380CC4-5D6E-409C-BE32-E72D297353CC}">
                <c16:uniqueId val="{00000535-C110-4B3C-98C7-D19B20EBE8CB}"/>
              </c:ext>
            </c:extLst>
          </c:dPt>
          <c:dPt>
            <c:idx val="666"/>
            <c:invertIfNegative val="1"/>
            <c:bubble3D val="0"/>
            <c:spPr>
              <a:solidFill>
                <a:srgbClr val="AEABAB"/>
              </a:solidFill>
            </c:spPr>
            <c:extLst>
              <c:ext xmlns:c16="http://schemas.microsoft.com/office/drawing/2014/chart" uri="{C3380CC4-5D6E-409C-BE32-E72D297353CC}">
                <c16:uniqueId val="{00000537-C110-4B3C-98C7-D19B20EBE8CB}"/>
              </c:ext>
            </c:extLst>
          </c:dPt>
          <c:dPt>
            <c:idx val="667"/>
            <c:invertIfNegative val="1"/>
            <c:bubble3D val="0"/>
            <c:spPr>
              <a:solidFill>
                <a:srgbClr val="AEABAB"/>
              </a:solidFill>
            </c:spPr>
            <c:extLst>
              <c:ext xmlns:c16="http://schemas.microsoft.com/office/drawing/2014/chart" uri="{C3380CC4-5D6E-409C-BE32-E72D297353CC}">
                <c16:uniqueId val="{00000539-C110-4B3C-98C7-D19B20EBE8CB}"/>
              </c:ext>
            </c:extLst>
          </c:dPt>
          <c:dPt>
            <c:idx val="668"/>
            <c:invertIfNegative val="1"/>
            <c:bubble3D val="0"/>
            <c:spPr>
              <a:solidFill>
                <a:srgbClr val="AEABAB"/>
              </a:solidFill>
            </c:spPr>
            <c:extLst>
              <c:ext xmlns:c16="http://schemas.microsoft.com/office/drawing/2014/chart" uri="{C3380CC4-5D6E-409C-BE32-E72D297353CC}">
                <c16:uniqueId val="{0000053B-C110-4B3C-98C7-D19B20EBE8CB}"/>
              </c:ext>
            </c:extLst>
          </c:dPt>
          <c:dPt>
            <c:idx val="669"/>
            <c:invertIfNegative val="1"/>
            <c:bubble3D val="0"/>
            <c:spPr>
              <a:solidFill>
                <a:srgbClr val="AEABAB"/>
              </a:solidFill>
            </c:spPr>
            <c:extLst>
              <c:ext xmlns:c16="http://schemas.microsoft.com/office/drawing/2014/chart" uri="{C3380CC4-5D6E-409C-BE32-E72D297353CC}">
                <c16:uniqueId val="{0000053D-C110-4B3C-98C7-D19B20EBE8CB}"/>
              </c:ext>
            </c:extLst>
          </c:dPt>
          <c:dPt>
            <c:idx val="670"/>
            <c:invertIfNegative val="1"/>
            <c:bubble3D val="0"/>
            <c:spPr>
              <a:solidFill>
                <a:srgbClr val="AEABAB"/>
              </a:solidFill>
            </c:spPr>
            <c:extLst>
              <c:ext xmlns:c16="http://schemas.microsoft.com/office/drawing/2014/chart" uri="{C3380CC4-5D6E-409C-BE32-E72D297353CC}">
                <c16:uniqueId val="{0000053F-C110-4B3C-98C7-D19B20EBE8CB}"/>
              </c:ext>
            </c:extLst>
          </c:dPt>
          <c:dPt>
            <c:idx val="671"/>
            <c:invertIfNegative val="1"/>
            <c:bubble3D val="0"/>
            <c:spPr>
              <a:solidFill>
                <a:srgbClr val="AEABAB"/>
              </a:solidFill>
            </c:spPr>
            <c:extLst>
              <c:ext xmlns:c16="http://schemas.microsoft.com/office/drawing/2014/chart" uri="{C3380CC4-5D6E-409C-BE32-E72D297353CC}">
                <c16:uniqueId val="{00000541-C110-4B3C-98C7-D19B20EBE8CB}"/>
              </c:ext>
            </c:extLst>
          </c:dPt>
          <c:dPt>
            <c:idx val="672"/>
            <c:invertIfNegative val="1"/>
            <c:bubble3D val="0"/>
            <c:spPr>
              <a:solidFill>
                <a:srgbClr val="AEABAB"/>
              </a:solidFill>
            </c:spPr>
            <c:extLst>
              <c:ext xmlns:c16="http://schemas.microsoft.com/office/drawing/2014/chart" uri="{C3380CC4-5D6E-409C-BE32-E72D297353CC}">
                <c16:uniqueId val="{00000543-C110-4B3C-98C7-D19B20EBE8CB}"/>
              </c:ext>
            </c:extLst>
          </c:dPt>
          <c:dPt>
            <c:idx val="673"/>
            <c:invertIfNegative val="1"/>
            <c:bubble3D val="0"/>
            <c:spPr>
              <a:solidFill>
                <a:srgbClr val="AEABAB"/>
              </a:solidFill>
            </c:spPr>
            <c:extLst>
              <c:ext xmlns:c16="http://schemas.microsoft.com/office/drawing/2014/chart" uri="{C3380CC4-5D6E-409C-BE32-E72D297353CC}">
                <c16:uniqueId val="{00000545-C110-4B3C-98C7-D19B20EBE8CB}"/>
              </c:ext>
            </c:extLst>
          </c:dPt>
          <c:dPt>
            <c:idx val="674"/>
            <c:invertIfNegative val="1"/>
            <c:bubble3D val="0"/>
            <c:spPr>
              <a:solidFill>
                <a:srgbClr val="AEABAB"/>
              </a:solidFill>
            </c:spPr>
            <c:extLst>
              <c:ext xmlns:c16="http://schemas.microsoft.com/office/drawing/2014/chart" uri="{C3380CC4-5D6E-409C-BE32-E72D297353CC}">
                <c16:uniqueId val="{00000547-C110-4B3C-98C7-D19B20EBE8CB}"/>
              </c:ext>
            </c:extLst>
          </c:dPt>
          <c:dPt>
            <c:idx val="675"/>
            <c:invertIfNegative val="1"/>
            <c:bubble3D val="0"/>
            <c:spPr>
              <a:solidFill>
                <a:srgbClr val="AEABAB"/>
              </a:solidFill>
            </c:spPr>
            <c:extLst>
              <c:ext xmlns:c16="http://schemas.microsoft.com/office/drawing/2014/chart" uri="{C3380CC4-5D6E-409C-BE32-E72D297353CC}">
                <c16:uniqueId val="{00000549-C110-4B3C-98C7-D19B20EBE8CB}"/>
              </c:ext>
            </c:extLst>
          </c:dPt>
          <c:dPt>
            <c:idx val="676"/>
            <c:invertIfNegative val="1"/>
            <c:bubble3D val="0"/>
            <c:spPr>
              <a:solidFill>
                <a:srgbClr val="AEABAB"/>
              </a:solidFill>
            </c:spPr>
            <c:extLst>
              <c:ext xmlns:c16="http://schemas.microsoft.com/office/drawing/2014/chart" uri="{C3380CC4-5D6E-409C-BE32-E72D297353CC}">
                <c16:uniqueId val="{0000054B-C110-4B3C-98C7-D19B20EBE8CB}"/>
              </c:ext>
            </c:extLst>
          </c:dPt>
          <c:dPt>
            <c:idx val="677"/>
            <c:invertIfNegative val="1"/>
            <c:bubble3D val="0"/>
            <c:spPr>
              <a:solidFill>
                <a:srgbClr val="AEABAB"/>
              </a:solidFill>
            </c:spPr>
            <c:extLst>
              <c:ext xmlns:c16="http://schemas.microsoft.com/office/drawing/2014/chart" uri="{C3380CC4-5D6E-409C-BE32-E72D297353CC}">
                <c16:uniqueId val="{0000054D-C110-4B3C-98C7-D19B20EBE8CB}"/>
              </c:ext>
            </c:extLst>
          </c:dPt>
          <c:dPt>
            <c:idx val="678"/>
            <c:invertIfNegative val="1"/>
            <c:bubble3D val="0"/>
            <c:spPr>
              <a:solidFill>
                <a:srgbClr val="AEABAB"/>
              </a:solidFill>
            </c:spPr>
            <c:extLst>
              <c:ext xmlns:c16="http://schemas.microsoft.com/office/drawing/2014/chart" uri="{C3380CC4-5D6E-409C-BE32-E72D297353CC}">
                <c16:uniqueId val="{0000054F-C110-4B3C-98C7-D19B20EBE8CB}"/>
              </c:ext>
            </c:extLst>
          </c:dPt>
          <c:dPt>
            <c:idx val="679"/>
            <c:invertIfNegative val="1"/>
            <c:bubble3D val="0"/>
            <c:spPr>
              <a:solidFill>
                <a:srgbClr val="AEABAB"/>
              </a:solidFill>
            </c:spPr>
            <c:extLst>
              <c:ext xmlns:c16="http://schemas.microsoft.com/office/drawing/2014/chart" uri="{C3380CC4-5D6E-409C-BE32-E72D297353CC}">
                <c16:uniqueId val="{00000551-C110-4B3C-98C7-D19B20EBE8CB}"/>
              </c:ext>
            </c:extLst>
          </c:dPt>
          <c:dPt>
            <c:idx val="680"/>
            <c:invertIfNegative val="1"/>
            <c:bubble3D val="0"/>
            <c:spPr>
              <a:solidFill>
                <a:srgbClr val="AEABAB"/>
              </a:solidFill>
            </c:spPr>
            <c:extLst>
              <c:ext xmlns:c16="http://schemas.microsoft.com/office/drawing/2014/chart" uri="{C3380CC4-5D6E-409C-BE32-E72D297353CC}">
                <c16:uniqueId val="{00000553-C110-4B3C-98C7-D19B20EBE8CB}"/>
              </c:ext>
            </c:extLst>
          </c:dPt>
          <c:dPt>
            <c:idx val="681"/>
            <c:invertIfNegative val="1"/>
            <c:bubble3D val="0"/>
            <c:spPr>
              <a:solidFill>
                <a:srgbClr val="AEABAB"/>
              </a:solidFill>
            </c:spPr>
            <c:extLst>
              <c:ext xmlns:c16="http://schemas.microsoft.com/office/drawing/2014/chart" uri="{C3380CC4-5D6E-409C-BE32-E72D297353CC}">
                <c16:uniqueId val="{00000555-C110-4B3C-98C7-D19B20EBE8CB}"/>
              </c:ext>
            </c:extLst>
          </c:dPt>
          <c:dPt>
            <c:idx val="682"/>
            <c:invertIfNegative val="1"/>
            <c:bubble3D val="0"/>
            <c:spPr>
              <a:solidFill>
                <a:srgbClr val="AEABAB"/>
              </a:solidFill>
            </c:spPr>
            <c:extLst>
              <c:ext xmlns:c16="http://schemas.microsoft.com/office/drawing/2014/chart" uri="{C3380CC4-5D6E-409C-BE32-E72D297353CC}">
                <c16:uniqueId val="{00000557-C110-4B3C-98C7-D19B20EBE8CB}"/>
              </c:ext>
            </c:extLst>
          </c:dPt>
          <c:dPt>
            <c:idx val="683"/>
            <c:invertIfNegative val="1"/>
            <c:bubble3D val="0"/>
            <c:spPr>
              <a:solidFill>
                <a:srgbClr val="AEABAB"/>
              </a:solidFill>
            </c:spPr>
            <c:extLst>
              <c:ext xmlns:c16="http://schemas.microsoft.com/office/drawing/2014/chart" uri="{C3380CC4-5D6E-409C-BE32-E72D297353CC}">
                <c16:uniqueId val="{00000559-C110-4B3C-98C7-D19B20EBE8CB}"/>
              </c:ext>
            </c:extLst>
          </c:dPt>
          <c:dPt>
            <c:idx val="684"/>
            <c:invertIfNegative val="1"/>
            <c:bubble3D val="0"/>
            <c:spPr>
              <a:solidFill>
                <a:srgbClr val="AEABAB"/>
              </a:solidFill>
            </c:spPr>
            <c:extLst>
              <c:ext xmlns:c16="http://schemas.microsoft.com/office/drawing/2014/chart" uri="{C3380CC4-5D6E-409C-BE32-E72D297353CC}">
                <c16:uniqueId val="{0000055B-C110-4B3C-98C7-D19B20EBE8CB}"/>
              </c:ext>
            </c:extLst>
          </c:dPt>
          <c:dPt>
            <c:idx val="685"/>
            <c:invertIfNegative val="1"/>
            <c:bubble3D val="0"/>
            <c:spPr>
              <a:solidFill>
                <a:srgbClr val="AEABAB"/>
              </a:solidFill>
            </c:spPr>
            <c:extLst>
              <c:ext xmlns:c16="http://schemas.microsoft.com/office/drawing/2014/chart" uri="{C3380CC4-5D6E-409C-BE32-E72D297353CC}">
                <c16:uniqueId val="{0000055D-C110-4B3C-98C7-D19B20EBE8CB}"/>
              </c:ext>
            </c:extLst>
          </c:dPt>
          <c:dPt>
            <c:idx val="686"/>
            <c:invertIfNegative val="1"/>
            <c:bubble3D val="0"/>
            <c:spPr>
              <a:solidFill>
                <a:srgbClr val="AEABAB"/>
              </a:solidFill>
            </c:spPr>
            <c:extLst>
              <c:ext xmlns:c16="http://schemas.microsoft.com/office/drawing/2014/chart" uri="{C3380CC4-5D6E-409C-BE32-E72D297353CC}">
                <c16:uniqueId val="{0000055F-C110-4B3C-98C7-D19B20EBE8CB}"/>
              </c:ext>
            </c:extLst>
          </c:dPt>
          <c:dPt>
            <c:idx val="687"/>
            <c:invertIfNegative val="1"/>
            <c:bubble3D val="0"/>
            <c:spPr>
              <a:solidFill>
                <a:srgbClr val="AEABAB"/>
              </a:solidFill>
            </c:spPr>
            <c:extLst>
              <c:ext xmlns:c16="http://schemas.microsoft.com/office/drawing/2014/chart" uri="{C3380CC4-5D6E-409C-BE32-E72D297353CC}">
                <c16:uniqueId val="{00000561-C110-4B3C-98C7-D19B20EBE8CB}"/>
              </c:ext>
            </c:extLst>
          </c:dPt>
          <c:dPt>
            <c:idx val="688"/>
            <c:invertIfNegative val="1"/>
            <c:bubble3D val="0"/>
            <c:spPr>
              <a:solidFill>
                <a:srgbClr val="AEABAB"/>
              </a:solidFill>
            </c:spPr>
            <c:extLst>
              <c:ext xmlns:c16="http://schemas.microsoft.com/office/drawing/2014/chart" uri="{C3380CC4-5D6E-409C-BE32-E72D297353CC}">
                <c16:uniqueId val="{00000563-C110-4B3C-98C7-D19B20EBE8CB}"/>
              </c:ext>
            </c:extLst>
          </c:dPt>
          <c:dPt>
            <c:idx val="689"/>
            <c:invertIfNegative val="1"/>
            <c:bubble3D val="0"/>
            <c:spPr>
              <a:solidFill>
                <a:srgbClr val="AEABAB"/>
              </a:solidFill>
            </c:spPr>
            <c:extLst>
              <c:ext xmlns:c16="http://schemas.microsoft.com/office/drawing/2014/chart" uri="{C3380CC4-5D6E-409C-BE32-E72D297353CC}">
                <c16:uniqueId val="{00000565-C110-4B3C-98C7-D19B20EBE8CB}"/>
              </c:ext>
            </c:extLst>
          </c:dPt>
          <c:dPt>
            <c:idx val="690"/>
            <c:invertIfNegative val="1"/>
            <c:bubble3D val="0"/>
            <c:spPr>
              <a:solidFill>
                <a:srgbClr val="AEABAB"/>
              </a:solidFill>
            </c:spPr>
            <c:extLst>
              <c:ext xmlns:c16="http://schemas.microsoft.com/office/drawing/2014/chart" uri="{C3380CC4-5D6E-409C-BE32-E72D297353CC}">
                <c16:uniqueId val="{00000567-C110-4B3C-98C7-D19B20EBE8CB}"/>
              </c:ext>
            </c:extLst>
          </c:dPt>
          <c:dPt>
            <c:idx val="691"/>
            <c:invertIfNegative val="1"/>
            <c:bubble3D val="0"/>
            <c:spPr>
              <a:solidFill>
                <a:srgbClr val="AEABAB"/>
              </a:solidFill>
            </c:spPr>
            <c:extLst>
              <c:ext xmlns:c16="http://schemas.microsoft.com/office/drawing/2014/chart" uri="{C3380CC4-5D6E-409C-BE32-E72D297353CC}">
                <c16:uniqueId val="{00000569-C110-4B3C-98C7-D19B20EBE8CB}"/>
              </c:ext>
            </c:extLst>
          </c:dPt>
          <c:dPt>
            <c:idx val="692"/>
            <c:invertIfNegative val="1"/>
            <c:bubble3D val="0"/>
            <c:spPr>
              <a:solidFill>
                <a:srgbClr val="AEABAB"/>
              </a:solidFill>
            </c:spPr>
            <c:extLst>
              <c:ext xmlns:c16="http://schemas.microsoft.com/office/drawing/2014/chart" uri="{C3380CC4-5D6E-409C-BE32-E72D297353CC}">
                <c16:uniqueId val="{0000056B-C110-4B3C-98C7-D19B20EBE8CB}"/>
              </c:ext>
            </c:extLst>
          </c:dPt>
          <c:dPt>
            <c:idx val="693"/>
            <c:invertIfNegative val="1"/>
            <c:bubble3D val="0"/>
            <c:spPr>
              <a:solidFill>
                <a:srgbClr val="AEABAB"/>
              </a:solidFill>
            </c:spPr>
            <c:extLst>
              <c:ext xmlns:c16="http://schemas.microsoft.com/office/drawing/2014/chart" uri="{C3380CC4-5D6E-409C-BE32-E72D297353CC}">
                <c16:uniqueId val="{0000056D-C110-4B3C-98C7-D19B20EBE8CB}"/>
              </c:ext>
            </c:extLst>
          </c:dPt>
          <c:dPt>
            <c:idx val="694"/>
            <c:invertIfNegative val="1"/>
            <c:bubble3D val="0"/>
            <c:spPr>
              <a:solidFill>
                <a:srgbClr val="AEABAB"/>
              </a:solidFill>
            </c:spPr>
            <c:extLst>
              <c:ext xmlns:c16="http://schemas.microsoft.com/office/drawing/2014/chart" uri="{C3380CC4-5D6E-409C-BE32-E72D297353CC}">
                <c16:uniqueId val="{0000056F-C110-4B3C-98C7-D19B20EBE8CB}"/>
              </c:ext>
            </c:extLst>
          </c:dPt>
          <c:dPt>
            <c:idx val="695"/>
            <c:invertIfNegative val="1"/>
            <c:bubble3D val="0"/>
            <c:spPr>
              <a:solidFill>
                <a:srgbClr val="AEABAB"/>
              </a:solidFill>
            </c:spPr>
            <c:extLst>
              <c:ext xmlns:c16="http://schemas.microsoft.com/office/drawing/2014/chart" uri="{C3380CC4-5D6E-409C-BE32-E72D297353CC}">
                <c16:uniqueId val="{00000571-C110-4B3C-98C7-D19B20EBE8CB}"/>
              </c:ext>
            </c:extLst>
          </c:dPt>
          <c:dPt>
            <c:idx val="696"/>
            <c:invertIfNegative val="1"/>
            <c:bubble3D val="0"/>
            <c:spPr>
              <a:solidFill>
                <a:srgbClr val="AEABAB"/>
              </a:solidFill>
            </c:spPr>
            <c:extLst>
              <c:ext xmlns:c16="http://schemas.microsoft.com/office/drawing/2014/chart" uri="{C3380CC4-5D6E-409C-BE32-E72D297353CC}">
                <c16:uniqueId val="{00000573-C110-4B3C-98C7-D19B20EBE8CB}"/>
              </c:ext>
            </c:extLst>
          </c:dPt>
          <c:dPt>
            <c:idx val="697"/>
            <c:invertIfNegative val="1"/>
            <c:bubble3D val="0"/>
            <c:spPr>
              <a:solidFill>
                <a:srgbClr val="AEABAB"/>
              </a:solidFill>
            </c:spPr>
            <c:extLst>
              <c:ext xmlns:c16="http://schemas.microsoft.com/office/drawing/2014/chart" uri="{C3380CC4-5D6E-409C-BE32-E72D297353CC}">
                <c16:uniqueId val="{00000575-C110-4B3C-98C7-D19B20EBE8CB}"/>
              </c:ext>
            </c:extLst>
          </c:dPt>
          <c:dPt>
            <c:idx val="698"/>
            <c:invertIfNegative val="1"/>
            <c:bubble3D val="0"/>
            <c:spPr>
              <a:solidFill>
                <a:srgbClr val="AEABAB"/>
              </a:solidFill>
            </c:spPr>
            <c:extLst>
              <c:ext xmlns:c16="http://schemas.microsoft.com/office/drawing/2014/chart" uri="{C3380CC4-5D6E-409C-BE32-E72D297353CC}">
                <c16:uniqueId val="{00000577-C110-4B3C-98C7-D19B20EBE8CB}"/>
              </c:ext>
            </c:extLst>
          </c:dPt>
          <c:dPt>
            <c:idx val="699"/>
            <c:invertIfNegative val="1"/>
            <c:bubble3D val="0"/>
            <c:spPr>
              <a:solidFill>
                <a:srgbClr val="AEABAB"/>
              </a:solidFill>
            </c:spPr>
            <c:extLst>
              <c:ext xmlns:c16="http://schemas.microsoft.com/office/drawing/2014/chart" uri="{C3380CC4-5D6E-409C-BE32-E72D297353CC}">
                <c16:uniqueId val="{00000579-C110-4B3C-98C7-D19B20EBE8CB}"/>
              </c:ext>
            </c:extLst>
          </c:dPt>
          <c:dPt>
            <c:idx val="700"/>
            <c:invertIfNegative val="1"/>
            <c:bubble3D val="0"/>
            <c:spPr>
              <a:solidFill>
                <a:srgbClr val="AEABAB"/>
              </a:solidFill>
            </c:spPr>
            <c:extLst>
              <c:ext xmlns:c16="http://schemas.microsoft.com/office/drawing/2014/chart" uri="{C3380CC4-5D6E-409C-BE32-E72D297353CC}">
                <c16:uniqueId val="{0000057B-C110-4B3C-98C7-D19B20EBE8CB}"/>
              </c:ext>
            </c:extLst>
          </c:dPt>
          <c:dPt>
            <c:idx val="701"/>
            <c:invertIfNegative val="1"/>
            <c:bubble3D val="0"/>
            <c:spPr>
              <a:solidFill>
                <a:srgbClr val="AEABAB"/>
              </a:solidFill>
            </c:spPr>
            <c:extLst>
              <c:ext xmlns:c16="http://schemas.microsoft.com/office/drawing/2014/chart" uri="{C3380CC4-5D6E-409C-BE32-E72D297353CC}">
                <c16:uniqueId val="{0000057D-C110-4B3C-98C7-D19B20EBE8CB}"/>
              </c:ext>
            </c:extLst>
          </c:dPt>
          <c:dPt>
            <c:idx val="702"/>
            <c:invertIfNegative val="1"/>
            <c:bubble3D val="0"/>
            <c:spPr>
              <a:solidFill>
                <a:srgbClr val="AEABAB"/>
              </a:solidFill>
            </c:spPr>
            <c:extLst>
              <c:ext xmlns:c16="http://schemas.microsoft.com/office/drawing/2014/chart" uri="{C3380CC4-5D6E-409C-BE32-E72D297353CC}">
                <c16:uniqueId val="{0000057F-C110-4B3C-98C7-D19B20EBE8CB}"/>
              </c:ext>
            </c:extLst>
          </c:dPt>
          <c:dPt>
            <c:idx val="703"/>
            <c:invertIfNegative val="1"/>
            <c:bubble3D val="0"/>
            <c:spPr>
              <a:solidFill>
                <a:srgbClr val="AEABAB"/>
              </a:solidFill>
            </c:spPr>
            <c:extLst>
              <c:ext xmlns:c16="http://schemas.microsoft.com/office/drawing/2014/chart" uri="{C3380CC4-5D6E-409C-BE32-E72D297353CC}">
                <c16:uniqueId val="{00000581-C110-4B3C-98C7-D19B20EBE8CB}"/>
              </c:ext>
            </c:extLst>
          </c:dPt>
          <c:dPt>
            <c:idx val="704"/>
            <c:invertIfNegative val="1"/>
            <c:bubble3D val="0"/>
            <c:spPr>
              <a:solidFill>
                <a:srgbClr val="AEABAB"/>
              </a:solidFill>
            </c:spPr>
            <c:extLst>
              <c:ext xmlns:c16="http://schemas.microsoft.com/office/drawing/2014/chart" uri="{C3380CC4-5D6E-409C-BE32-E72D297353CC}">
                <c16:uniqueId val="{00000583-C110-4B3C-98C7-D19B20EBE8CB}"/>
              </c:ext>
            </c:extLst>
          </c:dPt>
          <c:dPt>
            <c:idx val="705"/>
            <c:invertIfNegative val="1"/>
            <c:bubble3D val="0"/>
            <c:spPr>
              <a:solidFill>
                <a:srgbClr val="AEABAB"/>
              </a:solidFill>
            </c:spPr>
            <c:extLst>
              <c:ext xmlns:c16="http://schemas.microsoft.com/office/drawing/2014/chart" uri="{C3380CC4-5D6E-409C-BE32-E72D297353CC}">
                <c16:uniqueId val="{00000585-C110-4B3C-98C7-D19B20EBE8CB}"/>
              </c:ext>
            </c:extLst>
          </c:dPt>
          <c:dPt>
            <c:idx val="706"/>
            <c:invertIfNegative val="1"/>
            <c:bubble3D val="0"/>
            <c:spPr>
              <a:solidFill>
                <a:srgbClr val="AEABAB"/>
              </a:solidFill>
            </c:spPr>
            <c:extLst>
              <c:ext xmlns:c16="http://schemas.microsoft.com/office/drawing/2014/chart" uri="{C3380CC4-5D6E-409C-BE32-E72D297353CC}">
                <c16:uniqueId val="{00000587-C110-4B3C-98C7-D19B20EBE8CB}"/>
              </c:ext>
            </c:extLst>
          </c:dPt>
          <c:dPt>
            <c:idx val="707"/>
            <c:invertIfNegative val="1"/>
            <c:bubble3D val="0"/>
            <c:spPr>
              <a:solidFill>
                <a:srgbClr val="AEABAB"/>
              </a:solidFill>
            </c:spPr>
            <c:extLst>
              <c:ext xmlns:c16="http://schemas.microsoft.com/office/drawing/2014/chart" uri="{C3380CC4-5D6E-409C-BE32-E72D297353CC}">
                <c16:uniqueId val="{00000589-C110-4B3C-98C7-D19B20EBE8CB}"/>
              </c:ext>
            </c:extLst>
          </c:dPt>
          <c:dPt>
            <c:idx val="708"/>
            <c:invertIfNegative val="1"/>
            <c:bubble3D val="0"/>
            <c:spPr>
              <a:solidFill>
                <a:srgbClr val="AEABAB"/>
              </a:solidFill>
            </c:spPr>
            <c:extLst>
              <c:ext xmlns:c16="http://schemas.microsoft.com/office/drawing/2014/chart" uri="{C3380CC4-5D6E-409C-BE32-E72D297353CC}">
                <c16:uniqueId val="{0000058B-C110-4B3C-98C7-D19B20EBE8CB}"/>
              </c:ext>
            </c:extLst>
          </c:dPt>
          <c:dPt>
            <c:idx val="709"/>
            <c:invertIfNegative val="1"/>
            <c:bubble3D val="0"/>
            <c:spPr>
              <a:solidFill>
                <a:srgbClr val="AEABAB"/>
              </a:solidFill>
            </c:spPr>
            <c:extLst>
              <c:ext xmlns:c16="http://schemas.microsoft.com/office/drawing/2014/chart" uri="{C3380CC4-5D6E-409C-BE32-E72D297353CC}">
                <c16:uniqueId val="{0000058D-C110-4B3C-98C7-D19B20EBE8CB}"/>
              </c:ext>
            </c:extLst>
          </c:dPt>
          <c:dPt>
            <c:idx val="710"/>
            <c:invertIfNegative val="1"/>
            <c:bubble3D val="0"/>
            <c:spPr>
              <a:solidFill>
                <a:srgbClr val="AEABAB"/>
              </a:solidFill>
            </c:spPr>
            <c:extLst>
              <c:ext xmlns:c16="http://schemas.microsoft.com/office/drawing/2014/chart" uri="{C3380CC4-5D6E-409C-BE32-E72D297353CC}">
                <c16:uniqueId val="{0000058F-C110-4B3C-98C7-D19B20EBE8CB}"/>
              </c:ext>
            </c:extLst>
          </c:dPt>
          <c:dPt>
            <c:idx val="711"/>
            <c:invertIfNegative val="1"/>
            <c:bubble3D val="0"/>
            <c:spPr>
              <a:solidFill>
                <a:srgbClr val="AEABAB"/>
              </a:solidFill>
            </c:spPr>
            <c:extLst>
              <c:ext xmlns:c16="http://schemas.microsoft.com/office/drawing/2014/chart" uri="{C3380CC4-5D6E-409C-BE32-E72D297353CC}">
                <c16:uniqueId val="{00000591-C110-4B3C-98C7-D19B20EBE8CB}"/>
              </c:ext>
            </c:extLst>
          </c:dPt>
          <c:dPt>
            <c:idx val="712"/>
            <c:invertIfNegative val="1"/>
            <c:bubble3D val="0"/>
            <c:spPr>
              <a:solidFill>
                <a:srgbClr val="AEABAB"/>
              </a:solidFill>
            </c:spPr>
            <c:extLst>
              <c:ext xmlns:c16="http://schemas.microsoft.com/office/drawing/2014/chart" uri="{C3380CC4-5D6E-409C-BE32-E72D297353CC}">
                <c16:uniqueId val="{00000593-C110-4B3C-98C7-D19B20EBE8CB}"/>
              </c:ext>
            </c:extLst>
          </c:dPt>
          <c:dPt>
            <c:idx val="713"/>
            <c:invertIfNegative val="1"/>
            <c:bubble3D val="0"/>
            <c:spPr>
              <a:solidFill>
                <a:srgbClr val="AEABAB"/>
              </a:solidFill>
            </c:spPr>
            <c:extLst>
              <c:ext xmlns:c16="http://schemas.microsoft.com/office/drawing/2014/chart" uri="{C3380CC4-5D6E-409C-BE32-E72D297353CC}">
                <c16:uniqueId val="{00000595-C110-4B3C-98C7-D19B20EBE8CB}"/>
              </c:ext>
            </c:extLst>
          </c:dPt>
          <c:dPt>
            <c:idx val="714"/>
            <c:invertIfNegative val="1"/>
            <c:bubble3D val="0"/>
            <c:spPr>
              <a:solidFill>
                <a:srgbClr val="AEABAB"/>
              </a:solidFill>
            </c:spPr>
            <c:extLst>
              <c:ext xmlns:c16="http://schemas.microsoft.com/office/drawing/2014/chart" uri="{C3380CC4-5D6E-409C-BE32-E72D297353CC}">
                <c16:uniqueId val="{00000597-C110-4B3C-98C7-D19B20EBE8CB}"/>
              </c:ext>
            </c:extLst>
          </c:dPt>
          <c:dPt>
            <c:idx val="715"/>
            <c:invertIfNegative val="1"/>
            <c:bubble3D val="0"/>
            <c:spPr>
              <a:solidFill>
                <a:srgbClr val="AEABAB"/>
              </a:solidFill>
            </c:spPr>
            <c:extLst>
              <c:ext xmlns:c16="http://schemas.microsoft.com/office/drawing/2014/chart" uri="{C3380CC4-5D6E-409C-BE32-E72D297353CC}">
                <c16:uniqueId val="{00000599-C110-4B3C-98C7-D19B20EBE8CB}"/>
              </c:ext>
            </c:extLst>
          </c:dPt>
          <c:dPt>
            <c:idx val="716"/>
            <c:invertIfNegative val="1"/>
            <c:bubble3D val="0"/>
            <c:spPr>
              <a:solidFill>
                <a:srgbClr val="AEABAB"/>
              </a:solidFill>
            </c:spPr>
            <c:extLst>
              <c:ext xmlns:c16="http://schemas.microsoft.com/office/drawing/2014/chart" uri="{C3380CC4-5D6E-409C-BE32-E72D297353CC}">
                <c16:uniqueId val="{0000059B-C110-4B3C-98C7-D19B20EBE8CB}"/>
              </c:ext>
            </c:extLst>
          </c:dPt>
          <c:dPt>
            <c:idx val="717"/>
            <c:invertIfNegative val="1"/>
            <c:bubble3D val="0"/>
            <c:spPr>
              <a:solidFill>
                <a:srgbClr val="AEABAB"/>
              </a:solidFill>
            </c:spPr>
            <c:extLst>
              <c:ext xmlns:c16="http://schemas.microsoft.com/office/drawing/2014/chart" uri="{C3380CC4-5D6E-409C-BE32-E72D297353CC}">
                <c16:uniqueId val="{0000059D-C110-4B3C-98C7-D19B20EBE8CB}"/>
              </c:ext>
            </c:extLst>
          </c:dPt>
          <c:dPt>
            <c:idx val="718"/>
            <c:invertIfNegative val="1"/>
            <c:bubble3D val="0"/>
            <c:spPr>
              <a:solidFill>
                <a:srgbClr val="AEABAB"/>
              </a:solidFill>
            </c:spPr>
            <c:extLst>
              <c:ext xmlns:c16="http://schemas.microsoft.com/office/drawing/2014/chart" uri="{C3380CC4-5D6E-409C-BE32-E72D297353CC}">
                <c16:uniqueId val="{0000059F-C110-4B3C-98C7-D19B20EBE8CB}"/>
              </c:ext>
            </c:extLst>
          </c:dPt>
          <c:dPt>
            <c:idx val="719"/>
            <c:invertIfNegative val="1"/>
            <c:bubble3D val="0"/>
            <c:spPr>
              <a:solidFill>
                <a:srgbClr val="AEABAB"/>
              </a:solidFill>
            </c:spPr>
            <c:extLst>
              <c:ext xmlns:c16="http://schemas.microsoft.com/office/drawing/2014/chart" uri="{C3380CC4-5D6E-409C-BE32-E72D297353CC}">
                <c16:uniqueId val="{000005A1-C110-4B3C-98C7-D19B20EBE8CB}"/>
              </c:ext>
            </c:extLst>
          </c:dPt>
          <c:dPt>
            <c:idx val="720"/>
            <c:invertIfNegative val="1"/>
            <c:bubble3D val="0"/>
            <c:spPr>
              <a:solidFill>
                <a:srgbClr val="AEABAB"/>
              </a:solidFill>
            </c:spPr>
            <c:extLst>
              <c:ext xmlns:c16="http://schemas.microsoft.com/office/drawing/2014/chart" uri="{C3380CC4-5D6E-409C-BE32-E72D297353CC}">
                <c16:uniqueId val="{000005A3-C110-4B3C-98C7-D19B20EBE8CB}"/>
              </c:ext>
            </c:extLst>
          </c:dPt>
          <c:dPt>
            <c:idx val="721"/>
            <c:invertIfNegative val="1"/>
            <c:bubble3D val="0"/>
            <c:spPr>
              <a:solidFill>
                <a:srgbClr val="AEABAB"/>
              </a:solidFill>
            </c:spPr>
            <c:extLst>
              <c:ext xmlns:c16="http://schemas.microsoft.com/office/drawing/2014/chart" uri="{C3380CC4-5D6E-409C-BE32-E72D297353CC}">
                <c16:uniqueId val="{000005A5-C110-4B3C-98C7-D19B20EBE8CB}"/>
              </c:ext>
            </c:extLst>
          </c:dPt>
          <c:dPt>
            <c:idx val="722"/>
            <c:invertIfNegative val="1"/>
            <c:bubble3D val="0"/>
            <c:spPr>
              <a:solidFill>
                <a:srgbClr val="AEABAB"/>
              </a:solidFill>
            </c:spPr>
            <c:extLst>
              <c:ext xmlns:c16="http://schemas.microsoft.com/office/drawing/2014/chart" uri="{C3380CC4-5D6E-409C-BE32-E72D297353CC}">
                <c16:uniqueId val="{000005A7-C110-4B3C-98C7-D19B20EBE8CB}"/>
              </c:ext>
            </c:extLst>
          </c:dPt>
          <c:dPt>
            <c:idx val="723"/>
            <c:invertIfNegative val="1"/>
            <c:bubble3D val="0"/>
            <c:spPr>
              <a:solidFill>
                <a:srgbClr val="AEABAB"/>
              </a:solidFill>
            </c:spPr>
            <c:extLst>
              <c:ext xmlns:c16="http://schemas.microsoft.com/office/drawing/2014/chart" uri="{C3380CC4-5D6E-409C-BE32-E72D297353CC}">
                <c16:uniqueId val="{000005A9-C110-4B3C-98C7-D19B20EBE8CB}"/>
              </c:ext>
            </c:extLst>
          </c:dPt>
          <c:dPt>
            <c:idx val="724"/>
            <c:invertIfNegative val="1"/>
            <c:bubble3D val="0"/>
            <c:spPr>
              <a:solidFill>
                <a:srgbClr val="AEABAB"/>
              </a:solidFill>
            </c:spPr>
            <c:extLst>
              <c:ext xmlns:c16="http://schemas.microsoft.com/office/drawing/2014/chart" uri="{C3380CC4-5D6E-409C-BE32-E72D297353CC}">
                <c16:uniqueId val="{000005AB-C110-4B3C-98C7-D19B20EBE8CB}"/>
              </c:ext>
            </c:extLst>
          </c:dPt>
          <c:dPt>
            <c:idx val="725"/>
            <c:invertIfNegative val="1"/>
            <c:bubble3D val="0"/>
            <c:spPr>
              <a:solidFill>
                <a:srgbClr val="AEABAB"/>
              </a:solidFill>
            </c:spPr>
            <c:extLst>
              <c:ext xmlns:c16="http://schemas.microsoft.com/office/drawing/2014/chart" uri="{C3380CC4-5D6E-409C-BE32-E72D297353CC}">
                <c16:uniqueId val="{000005AD-C110-4B3C-98C7-D19B20EBE8CB}"/>
              </c:ext>
            </c:extLst>
          </c:dPt>
          <c:dPt>
            <c:idx val="726"/>
            <c:invertIfNegative val="1"/>
            <c:bubble3D val="0"/>
            <c:spPr>
              <a:solidFill>
                <a:srgbClr val="AEABAB"/>
              </a:solidFill>
            </c:spPr>
            <c:extLst>
              <c:ext xmlns:c16="http://schemas.microsoft.com/office/drawing/2014/chart" uri="{C3380CC4-5D6E-409C-BE32-E72D297353CC}">
                <c16:uniqueId val="{000005AF-C110-4B3C-98C7-D19B20EBE8CB}"/>
              </c:ext>
            </c:extLst>
          </c:dPt>
          <c:dPt>
            <c:idx val="727"/>
            <c:invertIfNegative val="1"/>
            <c:bubble3D val="0"/>
            <c:spPr>
              <a:solidFill>
                <a:srgbClr val="AEABAB"/>
              </a:solidFill>
            </c:spPr>
            <c:extLst>
              <c:ext xmlns:c16="http://schemas.microsoft.com/office/drawing/2014/chart" uri="{C3380CC4-5D6E-409C-BE32-E72D297353CC}">
                <c16:uniqueId val="{000005B1-C110-4B3C-98C7-D19B20EBE8CB}"/>
              </c:ext>
            </c:extLst>
          </c:dPt>
          <c:dPt>
            <c:idx val="728"/>
            <c:invertIfNegative val="1"/>
            <c:bubble3D val="0"/>
            <c:spPr>
              <a:solidFill>
                <a:srgbClr val="AEABAB"/>
              </a:solidFill>
            </c:spPr>
            <c:extLst>
              <c:ext xmlns:c16="http://schemas.microsoft.com/office/drawing/2014/chart" uri="{C3380CC4-5D6E-409C-BE32-E72D297353CC}">
                <c16:uniqueId val="{000005B3-C110-4B3C-98C7-D19B20EBE8CB}"/>
              </c:ext>
            </c:extLst>
          </c:dPt>
          <c:dPt>
            <c:idx val="729"/>
            <c:invertIfNegative val="1"/>
            <c:bubble3D val="0"/>
            <c:spPr>
              <a:solidFill>
                <a:srgbClr val="AEABAB"/>
              </a:solidFill>
            </c:spPr>
            <c:extLst>
              <c:ext xmlns:c16="http://schemas.microsoft.com/office/drawing/2014/chart" uri="{C3380CC4-5D6E-409C-BE32-E72D297353CC}">
                <c16:uniqueId val="{000005B5-C110-4B3C-98C7-D19B20EBE8CB}"/>
              </c:ext>
            </c:extLst>
          </c:dPt>
          <c:dPt>
            <c:idx val="730"/>
            <c:invertIfNegative val="1"/>
            <c:bubble3D val="0"/>
            <c:spPr>
              <a:solidFill>
                <a:srgbClr val="AEABAB"/>
              </a:solidFill>
            </c:spPr>
            <c:extLst>
              <c:ext xmlns:c16="http://schemas.microsoft.com/office/drawing/2014/chart" uri="{C3380CC4-5D6E-409C-BE32-E72D297353CC}">
                <c16:uniqueId val="{000005B7-C110-4B3C-98C7-D19B20EBE8CB}"/>
              </c:ext>
            </c:extLst>
          </c:dPt>
          <c:dPt>
            <c:idx val="731"/>
            <c:invertIfNegative val="1"/>
            <c:bubble3D val="0"/>
            <c:spPr>
              <a:solidFill>
                <a:srgbClr val="AEABAB"/>
              </a:solidFill>
            </c:spPr>
            <c:extLst>
              <c:ext xmlns:c16="http://schemas.microsoft.com/office/drawing/2014/chart" uri="{C3380CC4-5D6E-409C-BE32-E72D297353CC}">
                <c16:uniqueId val="{000005B9-C110-4B3C-98C7-D19B20EBE8CB}"/>
              </c:ext>
            </c:extLst>
          </c:dPt>
          <c:dPt>
            <c:idx val="732"/>
            <c:invertIfNegative val="1"/>
            <c:bubble3D val="0"/>
            <c:spPr>
              <a:solidFill>
                <a:srgbClr val="AEABAB"/>
              </a:solidFill>
            </c:spPr>
            <c:extLst>
              <c:ext xmlns:c16="http://schemas.microsoft.com/office/drawing/2014/chart" uri="{C3380CC4-5D6E-409C-BE32-E72D297353CC}">
                <c16:uniqueId val="{000005BB-C110-4B3C-98C7-D19B20EBE8CB}"/>
              </c:ext>
            </c:extLst>
          </c:dPt>
          <c:dPt>
            <c:idx val="733"/>
            <c:invertIfNegative val="1"/>
            <c:bubble3D val="0"/>
            <c:spPr>
              <a:solidFill>
                <a:srgbClr val="AEABAB"/>
              </a:solidFill>
            </c:spPr>
            <c:extLst>
              <c:ext xmlns:c16="http://schemas.microsoft.com/office/drawing/2014/chart" uri="{C3380CC4-5D6E-409C-BE32-E72D297353CC}">
                <c16:uniqueId val="{000005BD-C110-4B3C-98C7-D19B20EBE8CB}"/>
              </c:ext>
            </c:extLst>
          </c:dPt>
          <c:dPt>
            <c:idx val="734"/>
            <c:invertIfNegative val="1"/>
            <c:bubble3D val="0"/>
            <c:spPr>
              <a:solidFill>
                <a:srgbClr val="AEABAB"/>
              </a:solidFill>
            </c:spPr>
            <c:extLst>
              <c:ext xmlns:c16="http://schemas.microsoft.com/office/drawing/2014/chart" uri="{C3380CC4-5D6E-409C-BE32-E72D297353CC}">
                <c16:uniqueId val="{000005BF-C110-4B3C-98C7-D19B20EBE8CB}"/>
              </c:ext>
            </c:extLst>
          </c:dPt>
          <c:dPt>
            <c:idx val="735"/>
            <c:invertIfNegative val="1"/>
            <c:bubble3D val="0"/>
            <c:spPr>
              <a:solidFill>
                <a:srgbClr val="AEABAB"/>
              </a:solidFill>
            </c:spPr>
            <c:extLst>
              <c:ext xmlns:c16="http://schemas.microsoft.com/office/drawing/2014/chart" uri="{C3380CC4-5D6E-409C-BE32-E72D297353CC}">
                <c16:uniqueId val="{000005C1-C110-4B3C-98C7-D19B20EBE8CB}"/>
              </c:ext>
            </c:extLst>
          </c:dPt>
          <c:dPt>
            <c:idx val="736"/>
            <c:invertIfNegative val="1"/>
            <c:bubble3D val="0"/>
            <c:spPr>
              <a:solidFill>
                <a:srgbClr val="AEABAB"/>
              </a:solidFill>
            </c:spPr>
            <c:extLst>
              <c:ext xmlns:c16="http://schemas.microsoft.com/office/drawing/2014/chart" uri="{C3380CC4-5D6E-409C-BE32-E72D297353CC}">
                <c16:uniqueId val="{000005C3-C110-4B3C-98C7-D19B20EBE8CB}"/>
              </c:ext>
            </c:extLst>
          </c:dPt>
          <c:dPt>
            <c:idx val="737"/>
            <c:invertIfNegative val="1"/>
            <c:bubble3D val="0"/>
            <c:spPr>
              <a:solidFill>
                <a:srgbClr val="AEABAB"/>
              </a:solidFill>
            </c:spPr>
            <c:extLst>
              <c:ext xmlns:c16="http://schemas.microsoft.com/office/drawing/2014/chart" uri="{C3380CC4-5D6E-409C-BE32-E72D297353CC}">
                <c16:uniqueId val="{000005C5-C110-4B3C-98C7-D19B20EBE8CB}"/>
              </c:ext>
            </c:extLst>
          </c:dPt>
          <c:dPt>
            <c:idx val="738"/>
            <c:invertIfNegative val="1"/>
            <c:bubble3D val="0"/>
            <c:spPr>
              <a:solidFill>
                <a:srgbClr val="AEABAB"/>
              </a:solidFill>
            </c:spPr>
            <c:extLst>
              <c:ext xmlns:c16="http://schemas.microsoft.com/office/drawing/2014/chart" uri="{C3380CC4-5D6E-409C-BE32-E72D297353CC}">
                <c16:uniqueId val="{000005C7-C110-4B3C-98C7-D19B20EBE8CB}"/>
              </c:ext>
            </c:extLst>
          </c:dPt>
          <c:dPt>
            <c:idx val="739"/>
            <c:invertIfNegative val="1"/>
            <c:bubble3D val="0"/>
            <c:spPr>
              <a:solidFill>
                <a:srgbClr val="AEABAB"/>
              </a:solidFill>
            </c:spPr>
            <c:extLst>
              <c:ext xmlns:c16="http://schemas.microsoft.com/office/drawing/2014/chart" uri="{C3380CC4-5D6E-409C-BE32-E72D297353CC}">
                <c16:uniqueId val="{000005C9-C110-4B3C-98C7-D19B20EBE8CB}"/>
              </c:ext>
            </c:extLst>
          </c:dPt>
          <c:dPt>
            <c:idx val="740"/>
            <c:invertIfNegative val="1"/>
            <c:bubble3D val="0"/>
            <c:spPr>
              <a:solidFill>
                <a:srgbClr val="AEABAB"/>
              </a:solidFill>
            </c:spPr>
            <c:extLst>
              <c:ext xmlns:c16="http://schemas.microsoft.com/office/drawing/2014/chart" uri="{C3380CC4-5D6E-409C-BE32-E72D297353CC}">
                <c16:uniqueId val="{000005CB-C110-4B3C-98C7-D19B20EBE8CB}"/>
              </c:ext>
            </c:extLst>
          </c:dPt>
          <c:dPt>
            <c:idx val="741"/>
            <c:invertIfNegative val="1"/>
            <c:bubble3D val="0"/>
            <c:spPr>
              <a:solidFill>
                <a:srgbClr val="AEABAB"/>
              </a:solidFill>
            </c:spPr>
            <c:extLst>
              <c:ext xmlns:c16="http://schemas.microsoft.com/office/drawing/2014/chart" uri="{C3380CC4-5D6E-409C-BE32-E72D297353CC}">
                <c16:uniqueId val="{000005CD-C110-4B3C-98C7-D19B20EBE8CB}"/>
              </c:ext>
            </c:extLst>
          </c:dPt>
          <c:dPt>
            <c:idx val="742"/>
            <c:invertIfNegative val="1"/>
            <c:bubble3D val="0"/>
            <c:spPr>
              <a:solidFill>
                <a:srgbClr val="AEABAB"/>
              </a:solidFill>
            </c:spPr>
            <c:extLst>
              <c:ext xmlns:c16="http://schemas.microsoft.com/office/drawing/2014/chart" uri="{C3380CC4-5D6E-409C-BE32-E72D297353CC}">
                <c16:uniqueId val="{000005CF-C110-4B3C-98C7-D19B20EBE8CB}"/>
              </c:ext>
            </c:extLst>
          </c:dPt>
          <c:dPt>
            <c:idx val="743"/>
            <c:invertIfNegative val="1"/>
            <c:bubble3D val="0"/>
            <c:spPr>
              <a:solidFill>
                <a:srgbClr val="AEABAB"/>
              </a:solidFill>
            </c:spPr>
            <c:extLst>
              <c:ext xmlns:c16="http://schemas.microsoft.com/office/drawing/2014/chart" uri="{C3380CC4-5D6E-409C-BE32-E72D297353CC}">
                <c16:uniqueId val="{000005D1-C110-4B3C-98C7-D19B20EBE8CB}"/>
              </c:ext>
            </c:extLst>
          </c:dPt>
          <c:dPt>
            <c:idx val="744"/>
            <c:invertIfNegative val="1"/>
            <c:bubble3D val="0"/>
            <c:spPr>
              <a:solidFill>
                <a:srgbClr val="AEABAB"/>
              </a:solidFill>
            </c:spPr>
            <c:extLst>
              <c:ext xmlns:c16="http://schemas.microsoft.com/office/drawing/2014/chart" uri="{C3380CC4-5D6E-409C-BE32-E72D297353CC}">
                <c16:uniqueId val="{000005D3-C110-4B3C-98C7-D19B20EBE8CB}"/>
              </c:ext>
            </c:extLst>
          </c:dPt>
          <c:dPt>
            <c:idx val="745"/>
            <c:invertIfNegative val="1"/>
            <c:bubble3D val="0"/>
            <c:spPr>
              <a:solidFill>
                <a:srgbClr val="AEABAB"/>
              </a:solidFill>
            </c:spPr>
            <c:extLst>
              <c:ext xmlns:c16="http://schemas.microsoft.com/office/drawing/2014/chart" uri="{C3380CC4-5D6E-409C-BE32-E72D297353CC}">
                <c16:uniqueId val="{000005D5-C110-4B3C-98C7-D19B20EBE8CB}"/>
              </c:ext>
            </c:extLst>
          </c:dPt>
          <c:dPt>
            <c:idx val="746"/>
            <c:invertIfNegative val="1"/>
            <c:bubble3D val="0"/>
            <c:spPr>
              <a:solidFill>
                <a:srgbClr val="AEABAB"/>
              </a:solidFill>
            </c:spPr>
            <c:extLst>
              <c:ext xmlns:c16="http://schemas.microsoft.com/office/drawing/2014/chart" uri="{C3380CC4-5D6E-409C-BE32-E72D297353CC}">
                <c16:uniqueId val="{000005D7-C110-4B3C-98C7-D19B20EBE8CB}"/>
              </c:ext>
            </c:extLst>
          </c:dPt>
          <c:dPt>
            <c:idx val="747"/>
            <c:invertIfNegative val="1"/>
            <c:bubble3D val="0"/>
            <c:spPr>
              <a:solidFill>
                <a:srgbClr val="AEABAB"/>
              </a:solidFill>
            </c:spPr>
            <c:extLst>
              <c:ext xmlns:c16="http://schemas.microsoft.com/office/drawing/2014/chart" uri="{C3380CC4-5D6E-409C-BE32-E72D297353CC}">
                <c16:uniqueId val="{000005D9-C110-4B3C-98C7-D19B20EBE8CB}"/>
              </c:ext>
            </c:extLst>
          </c:dPt>
          <c:dPt>
            <c:idx val="748"/>
            <c:invertIfNegative val="1"/>
            <c:bubble3D val="0"/>
            <c:spPr>
              <a:solidFill>
                <a:srgbClr val="AEABAB"/>
              </a:solidFill>
            </c:spPr>
            <c:extLst>
              <c:ext xmlns:c16="http://schemas.microsoft.com/office/drawing/2014/chart" uri="{C3380CC4-5D6E-409C-BE32-E72D297353CC}">
                <c16:uniqueId val="{000005DB-C110-4B3C-98C7-D19B20EBE8CB}"/>
              </c:ext>
            </c:extLst>
          </c:dPt>
          <c:dPt>
            <c:idx val="749"/>
            <c:invertIfNegative val="1"/>
            <c:bubble3D val="0"/>
            <c:spPr>
              <a:solidFill>
                <a:srgbClr val="AEABAB"/>
              </a:solidFill>
            </c:spPr>
            <c:extLst>
              <c:ext xmlns:c16="http://schemas.microsoft.com/office/drawing/2014/chart" uri="{C3380CC4-5D6E-409C-BE32-E72D297353CC}">
                <c16:uniqueId val="{000005DD-C110-4B3C-98C7-D19B20EBE8CB}"/>
              </c:ext>
            </c:extLst>
          </c:dPt>
          <c:dPt>
            <c:idx val="750"/>
            <c:invertIfNegative val="1"/>
            <c:bubble3D val="0"/>
            <c:spPr>
              <a:solidFill>
                <a:srgbClr val="AEABAB"/>
              </a:solidFill>
            </c:spPr>
            <c:extLst>
              <c:ext xmlns:c16="http://schemas.microsoft.com/office/drawing/2014/chart" uri="{C3380CC4-5D6E-409C-BE32-E72D297353CC}">
                <c16:uniqueId val="{000005DF-C110-4B3C-98C7-D19B20EBE8CB}"/>
              </c:ext>
            </c:extLst>
          </c:dPt>
          <c:dPt>
            <c:idx val="751"/>
            <c:invertIfNegative val="1"/>
            <c:bubble3D val="0"/>
            <c:spPr>
              <a:solidFill>
                <a:srgbClr val="AEABAB"/>
              </a:solidFill>
            </c:spPr>
            <c:extLst>
              <c:ext xmlns:c16="http://schemas.microsoft.com/office/drawing/2014/chart" uri="{C3380CC4-5D6E-409C-BE32-E72D297353CC}">
                <c16:uniqueId val="{000005E1-C110-4B3C-98C7-D19B20EBE8CB}"/>
              </c:ext>
            </c:extLst>
          </c:dPt>
          <c:dPt>
            <c:idx val="752"/>
            <c:invertIfNegative val="1"/>
            <c:bubble3D val="0"/>
            <c:spPr>
              <a:solidFill>
                <a:srgbClr val="AEABAB"/>
              </a:solidFill>
            </c:spPr>
            <c:extLst>
              <c:ext xmlns:c16="http://schemas.microsoft.com/office/drawing/2014/chart" uri="{C3380CC4-5D6E-409C-BE32-E72D297353CC}">
                <c16:uniqueId val="{000005E3-C110-4B3C-98C7-D19B20EBE8CB}"/>
              </c:ext>
            </c:extLst>
          </c:dPt>
          <c:dPt>
            <c:idx val="753"/>
            <c:invertIfNegative val="1"/>
            <c:bubble3D val="0"/>
            <c:spPr>
              <a:solidFill>
                <a:srgbClr val="AEABAB"/>
              </a:solidFill>
            </c:spPr>
            <c:extLst>
              <c:ext xmlns:c16="http://schemas.microsoft.com/office/drawing/2014/chart" uri="{C3380CC4-5D6E-409C-BE32-E72D297353CC}">
                <c16:uniqueId val="{000005E5-C110-4B3C-98C7-D19B20EBE8CB}"/>
              </c:ext>
            </c:extLst>
          </c:dPt>
          <c:dPt>
            <c:idx val="754"/>
            <c:invertIfNegative val="1"/>
            <c:bubble3D val="0"/>
            <c:spPr>
              <a:solidFill>
                <a:srgbClr val="AEABAB"/>
              </a:solidFill>
            </c:spPr>
            <c:extLst>
              <c:ext xmlns:c16="http://schemas.microsoft.com/office/drawing/2014/chart" uri="{C3380CC4-5D6E-409C-BE32-E72D297353CC}">
                <c16:uniqueId val="{000005E7-C110-4B3C-98C7-D19B20EBE8CB}"/>
              </c:ext>
            </c:extLst>
          </c:dPt>
          <c:dPt>
            <c:idx val="755"/>
            <c:invertIfNegative val="1"/>
            <c:bubble3D val="0"/>
            <c:spPr>
              <a:solidFill>
                <a:srgbClr val="AEABAB"/>
              </a:solidFill>
            </c:spPr>
            <c:extLst>
              <c:ext xmlns:c16="http://schemas.microsoft.com/office/drawing/2014/chart" uri="{C3380CC4-5D6E-409C-BE32-E72D297353CC}">
                <c16:uniqueId val="{000005E9-C110-4B3C-98C7-D19B20EBE8CB}"/>
              </c:ext>
            </c:extLst>
          </c:dPt>
          <c:dPt>
            <c:idx val="756"/>
            <c:invertIfNegative val="1"/>
            <c:bubble3D val="0"/>
            <c:spPr>
              <a:solidFill>
                <a:srgbClr val="AEABAB"/>
              </a:solidFill>
            </c:spPr>
            <c:extLst>
              <c:ext xmlns:c16="http://schemas.microsoft.com/office/drawing/2014/chart" uri="{C3380CC4-5D6E-409C-BE32-E72D297353CC}">
                <c16:uniqueId val="{000005EB-C110-4B3C-98C7-D19B20EBE8CB}"/>
              </c:ext>
            </c:extLst>
          </c:dPt>
          <c:dPt>
            <c:idx val="757"/>
            <c:invertIfNegative val="1"/>
            <c:bubble3D val="0"/>
            <c:spPr>
              <a:solidFill>
                <a:srgbClr val="AEABAB"/>
              </a:solidFill>
            </c:spPr>
            <c:extLst>
              <c:ext xmlns:c16="http://schemas.microsoft.com/office/drawing/2014/chart" uri="{C3380CC4-5D6E-409C-BE32-E72D297353CC}">
                <c16:uniqueId val="{000005ED-C110-4B3C-98C7-D19B20EBE8CB}"/>
              </c:ext>
            </c:extLst>
          </c:dPt>
          <c:dPt>
            <c:idx val="758"/>
            <c:invertIfNegative val="1"/>
            <c:bubble3D val="0"/>
            <c:spPr>
              <a:solidFill>
                <a:srgbClr val="AEABAB"/>
              </a:solidFill>
            </c:spPr>
            <c:extLst>
              <c:ext xmlns:c16="http://schemas.microsoft.com/office/drawing/2014/chart" uri="{C3380CC4-5D6E-409C-BE32-E72D297353CC}">
                <c16:uniqueId val="{000005EF-C110-4B3C-98C7-D19B20EBE8CB}"/>
              </c:ext>
            </c:extLst>
          </c:dPt>
          <c:dPt>
            <c:idx val="759"/>
            <c:invertIfNegative val="1"/>
            <c:bubble3D val="0"/>
            <c:spPr>
              <a:solidFill>
                <a:srgbClr val="AEABAB"/>
              </a:solidFill>
            </c:spPr>
            <c:extLst>
              <c:ext xmlns:c16="http://schemas.microsoft.com/office/drawing/2014/chart" uri="{C3380CC4-5D6E-409C-BE32-E72D297353CC}">
                <c16:uniqueId val="{000005F1-C110-4B3C-98C7-D19B20EBE8CB}"/>
              </c:ext>
            </c:extLst>
          </c:dPt>
          <c:dPt>
            <c:idx val="760"/>
            <c:invertIfNegative val="1"/>
            <c:bubble3D val="0"/>
            <c:spPr>
              <a:solidFill>
                <a:srgbClr val="AEABAB"/>
              </a:solidFill>
            </c:spPr>
            <c:extLst>
              <c:ext xmlns:c16="http://schemas.microsoft.com/office/drawing/2014/chart" uri="{C3380CC4-5D6E-409C-BE32-E72D297353CC}">
                <c16:uniqueId val="{000005F3-C110-4B3C-98C7-D19B20EBE8CB}"/>
              </c:ext>
            </c:extLst>
          </c:dPt>
          <c:dPt>
            <c:idx val="761"/>
            <c:invertIfNegative val="1"/>
            <c:bubble3D val="0"/>
            <c:spPr>
              <a:solidFill>
                <a:srgbClr val="AEABAB"/>
              </a:solidFill>
            </c:spPr>
            <c:extLst>
              <c:ext xmlns:c16="http://schemas.microsoft.com/office/drawing/2014/chart" uri="{C3380CC4-5D6E-409C-BE32-E72D297353CC}">
                <c16:uniqueId val="{000005F5-C110-4B3C-98C7-D19B20EBE8CB}"/>
              </c:ext>
            </c:extLst>
          </c:dPt>
          <c:dPt>
            <c:idx val="762"/>
            <c:invertIfNegative val="1"/>
            <c:bubble3D val="0"/>
            <c:spPr>
              <a:solidFill>
                <a:srgbClr val="AEABAB"/>
              </a:solidFill>
            </c:spPr>
            <c:extLst>
              <c:ext xmlns:c16="http://schemas.microsoft.com/office/drawing/2014/chart" uri="{C3380CC4-5D6E-409C-BE32-E72D297353CC}">
                <c16:uniqueId val="{000005F7-C110-4B3C-98C7-D19B20EBE8CB}"/>
              </c:ext>
            </c:extLst>
          </c:dPt>
          <c:dPt>
            <c:idx val="763"/>
            <c:invertIfNegative val="1"/>
            <c:bubble3D val="0"/>
            <c:spPr>
              <a:solidFill>
                <a:srgbClr val="AEABAB"/>
              </a:solidFill>
            </c:spPr>
            <c:extLst>
              <c:ext xmlns:c16="http://schemas.microsoft.com/office/drawing/2014/chart" uri="{C3380CC4-5D6E-409C-BE32-E72D297353CC}">
                <c16:uniqueId val="{000005F9-C110-4B3C-98C7-D19B20EBE8CB}"/>
              </c:ext>
            </c:extLst>
          </c:dPt>
          <c:dPt>
            <c:idx val="764"/>
            <c:invertIfNegative val="1"/>
            <c:bubble3D val="0"/>
            <c:spPr>
              <a:solidFill>
                <a:srgbClr val="AEABAB"/>
              </a:solidFill>
            </c:spPr>
            <c:extLst>
              <c:ext xmlns:c16="http://schemas.microsoft.com/office/drawing/2014/chart" uri="{C3380CC4-5D6E-409C-BE32-E72D297353CC}">
                <c16:uniqueId val="{000005FB-C110-4B3C-98C7-D19B20EBE8CB}"/>
              </c:ext>
            </c:extLst>
          </c:dPt>
          <c:dPt>
            <c:idx val="765"/>
            <c:invertIfNegative val="1"/>
            <c:bubble3D val="0"/>
            <c:spPr>
              <a:solidFill>
                <a:srgbClr val="AEABAB"/>
              </a:solidFill>
            </c:spPr>
            <c:extLst>
              <c:ext xmlns:c16="http://schemas.microsoft.com/office/drawing/2014/chart" uri="{C3380CC4-5D6E-409C-BE32-E72D297353CC}">
                <c16:uniqueId val="{000005FD-C110-4B3C-98C7-D19B20EBE8CB}"/>
              </c:ext>
            </c:extLst>
          </c:dPt>
          <c:dPt>
            <c:idx val="766"/>
            <c:invertIfNegative val="1"/>
            <c:bubble3D val="0"/>
            <c:spPr>
              <a:solidFill>
                <a:srgbClr val="AEABAB"/>
              </a:solidFill>
            </c:spPr>
            <c:extLst>
              <c:ext xmlns:c16="http://schemas.microsoft.com/office/drawing/2014/chart" uri="{C3380CC4-5D6E-409C-BE32-E72D297353CC}">
                <c16:uniqueId val="{000005FF-C110-4B3C-98C7-D19B20EBE8CB}"/>
              </c:ext>
            </c:extLst>
          </c:dPt>
          <c:dPt>
            <c:idx val="767"/>
            <c:invertIfNegative val="1"/>
            <c:bubble3D val="0"/>
            <c:spPr>
              <a:solidFill>
                <a:srgbClr val="AEABAB"/>
              </a:solidFill>
            </c:spPr>
            <c:extLst>
              <c:ext xmlns:c16="http://schemas.microsoft.com/office/drawing/2014/chart" uri="{C3380CC4-5D6E-409C-BE32-E72D297353CC}">
                <c16:uniqueId val="{00000601-C110-4B3C-98C7-D19B20EBE8CB}"/>
              </c:ext>
            </c:extLst>
          </c:dPt>
          <c:dPt>
            <c:idx val="768"/>
            <c:invertIfNegative val="1"/>
            <c:bubble3D val="0"/>
            <c:spPr>
              <a:solidFill>
                <a:srgbClr val="AEABAB"/>
              </a:solidFill>
            </c:spPr>
            <c:extLst>
              <c:ext xmlns:c16="http://schemas.microsoft.com/office/drawing/2014/chart" uri="{C3380CC4-5D6E-409C-BE32-E72D297353CC}">
                <c16:uniqueId val="{00000603-C110-4B3C-98C7-D19B20EBE8CB}"/>
              </c:ext>
            </c:extLst>
          </c:dPt>
          <c:dPt>
            <c:idx val="769"/>
            <c:invertIfNegative val="1"/>
            <c:bubble3D val="0"/>
            <c:spPr>
              <a:solidFill>
                <a:srgbClr val="AEABAB"/>
              </a:solidFill>
            </c:spPr>
            <c:extLst>
              <c:ext xmlns:c16="http://schemas.microsoft.com/office/drawing/2014/chart" uri="{C3380CC4-5D6E-409C-BE32-E72D297353CC}">
                <c16:uniqueId val="{00000605-C110-4B3C-98C7-D19B20EBE8CB}"/>
              </c:ext>
            </c:extLst>
          </c:dPt>
          <c:dPt>
            <c:idx val="770"/>
            <c:invertIfNegative val="1"/>
            <c:bubble3D val="0"/>
            <c:spPr>
              <a:solidFill>
                <a:srgbClr val="AEABAB"/>
              </a:solidFill>
            </c:spPr>
            <c:extLst>
              <c:ext xmlns:c16="http://schemas.microsoft.com/office/drawing/2014/chart" uri="{C3380CC4-5D6E-409C-BE32-E72D297353CC}">
                <c16:uniqueId val="{00000607-C110-4B3C-98C7-D19B20EBE8CB}"/>
              </c:ext>
            </c:extLst>
          </c:dPt>
          <c:dPt>
            <c:idx val="771"/>
            <c:invertIfNegative val="1"/>
            <c:bubble3D val="0"/>
            <c:spPr>
              <a:solidFill>
                <a:srgbClr val="AEABAB"/>
              </a:solidFill>
            </c:spPr>
            <c:extLst>
              <c:ext xmlns:c16="http://schemas.microsoft.com/office/drawing/2014/chart" uri="{C3380CC4-5D6E-409C-BE32-E72D297353CC}">
                <c16:uniqueId val="{00000609-C110-4B3C-98C7-D19B20EBE8CB}"/>
              </c:ext>
            </c:extLst>
          </c:dPt>
          <c:dPt>
            <c:idx val="772"/>
            <c:invertIfNegative val="1"/>
            <c:bubble3D val="0"/>
            <c:spPr>
              <a:solidFill>
                <a:srgbClr val="AEABAB"/>
              </a:solidFill>
            </c:spPr>
            <c:extLst>
              <c:ext xmlns:c16="http://schemas.microsoft.com/office/drawing/2014/chart" uri="{C3380CC4-5D6E-409C-BE32-E72D297353CC}">
                <c16:uniqueId val="{0000060B-C110-4B3C-98C7-D19B20EBE8CB}"/>
              </c:ext>
            </c:extLst>
          </c:dPt>
          <c:dPt>
            <c:idx val="773"/>
            <c:invertIfNegative val="1"/>
            <c:bubble3D val="0"/>
            <c:spPr>
              <a:solidFill>
                <a:srgbClr val="AEABAB"/>
              </a:solidFill>
            </c:spPr>
            <c:extLst>
              <c:ext xmlns:c16="http://schemas.microsoft.com/office/drawing/2014/chart" uri="{C3380CC4-5D6E-409C-BE32-E72D297353CC}">
                <c16:uniqueId val="{0000060D-C110-4B3C-98C7-D19B20EBE8CB}"/>
              </c:ext>
            </c:extLst>
          </c:dPt>
          <c:dPt>
            <c:idx val="774"/>
            <c:invertIfNegative val="1"/>
            <c:bubble3D val="0"/>
            <c:spPr>
              <a:solidFill>
                <a:srgbClr val="AEABAB"/>
              </a:solidFill>
            </c:spPr>
            <c:extLst>
              <c:ext xmlns:c16="http://schemas.microsoft.com/office/drawing/2014/chart" uri="{C3380CC4-5D6E-409C-BE32-E72D297353CC}">
                <c16:uniqueId val="{0000060F-C110-4B3C-98C7-D19B20EBE8CB}"/>
              </c:ext>
            </c:extLst>
          </c:dPt>
          <c:dPt>
            <c:idx val="775"/>
            <c:invertIfNegative val="1"/>
            <c:bubble3D val="0"/>
            <c:spPr>
              <a:solidFill>
                <a:srgbClr val="AEABAB"/>
              </a:solidFill>
            </c:spPr>
            <c:extLst>
              <c:ext xmlns:c16="http://schemas.microsoft.com/office/drawing/2014/chart" uri="{C3380CC4-5D6E-409C-BE32-E72D297353CC}">
                <c16:uniqueId val="{00000611-C110-4B3C-98C7-D19B20EBE8CB}"/>
              </c:ext>
            </c:extLst>
          </c:dPt>
          <c:dPt>
            <c:idx val="776"/>
            <c:invertIfNegative val="1"/>
            <c:bubble3D val="0"/>
            <c:spPr>
              <a:solidFill>
                <a:srgbClr val="AEABAB"/>
              </a:solidFill>
            </c:spPr>
            <c:extLst>
              <c:ext xmlns:c16="http://schemas.microsoft.com/office/drawing/2014/chart" uri="{C3380CC4-5D6E-409C-BE32-E72D297353CC}">
                <c16:uniqueId val="{00000613-C110-4B3C-98C7-D19B20EBE8CB}"/>
              </c:ext>
            </c:extLst>
          </c:dPt>
          <c:dPt>
            <c:idx val="777"/>
            <c:invertIfNegative val="1"/>
            <c:bubble3D val="0"/>
            <c:spPr>
              <a:solidFill>
                <a:srgbClr val="AEABAB"/>
              </a:solidFill>
            </c:spPr>
            <c:extLst>
              <c:ext xmlns:c16="http://schemas.microsoft.com/office/drawing/2014/chart" uri="{C3380CC4-5D6E-409C-BE32-E72D297353CC}">
                <c16:uniqueId val="{00000615-C110-4B3C-98C7-D19B20EBE8CB}"/>
              </c:ext>
            </c:extLst>
          </c:dPt>
          <c:dPt>
            <c:idx val="778"/>
            <c:invertIfNegative val="1"/>
            <c:bubble3D val="0"/>
            <c:spPr>
              <a:solidFill>
                <a:srgbClr val="AEABAB"/>
              </a:solidFill>
            </c:spPr>
            <c:extLst>
              <c:ext xmlns:c16="http://schemas.microsoft.com/office/drawing/2014/chart" uri="{C3380CC4-5D6E-409C-BE32-E72D297353CC}">
                <c16:uniqueId val="{00000617-C110-4B3C-98C7-D19B20EBE8CB}"/>
              </c:ext>
            </c:extLst>
          </c:dPt>
          <c:dPt>
            <c:idx val="779"/>
            <c:invertIfNegative val="1"/>
            <c:bubble3D val="0"/>
            <c:spPr>
              <a:solidFill>
                <a:srgbClr val="AEABAB"/>
              </a:solidFill>
            </c:spPr>
            <c:extLst>
              <c:ext xmlns:c16="http://schemas.microsoft.com/office/drawing/2014/chart" uri="{C3380CC4-5D6E-409C-BE32-E72D297353CC}">
                <c16:uniqueId val="{00000619-C110-4B3C-98C7-D19B20EBE8CB}"/>
              </c:ext>
            </c:extLst>
          </c:dPt>
          <c:dPt>
            <c:idx val="780"/>
            <c:invertIfNegative val="1"/>
            <c:bubble3D val="0"/>
            <c:spPr>
              <a:solidFill>
                <a:srgbClr val="AEABAB"/>
              </a:solidFill>
            </c:spPr>
            <c:extLst>
              <c:ext xmlns:c16="http://schemas.microsoft.com/office/drawing/2014/chart" uri="{C3380CC4-5D6E-409C-BE32-E72D297353CC}">
                <c16:uniqueId val="{0000061B-C110-4B3C-98C7-D19B20EBE8CB}"/>
              </c:ext>
            </c:extLst>
          </c:dPt>
          <c:dPt>
            <c:idx val="781"/>
            <c:invertIfNegative val="1"/>
            <c:bubble3D val="0"/>
            <c:spPr>
              <a:solidFill>
                <a:srgbClr val="AEABAB"/>
              </a:solidFill>
            </c:spPr>
            <c:extLst>
              <c:ext xmlns:c16="http://schemas.microsoft.com/office/drawing/2014/chart" uri="{C3380CC4-5D6E-409C-BE32-E72D297353CC}">
                <c16:uniqueId val="{0000061D-C110-4B3C-98C7-D19B20EBE8CB}"/>
              </c:ext>
            </c:extLst>
          </c:dPt>
          <c:dPt>
            <c:idx val="782"/>
            <c:invertIfNegative val="1"/>
            <c:bubble3D val="0"/>
            <c:spPr>
              <a:solidFill>
                <a:srgbClr val="AEABAB"/>
              </a:solidFill>
            </c:spPr>
            <c:extLst>
              <c:ext xmlns:c16="http://schemas.microsoft.com/office/drawing/2014/chart" uri="{C3380CC4-5D6E-409C-BE32-E72D297353CC}">
                <c16:uniqueId val="{0000061F-C110-4B3C-98C7-D19B20EBE8CB}"/>
              </c:ext>
            </c:extLst>
          </c:dPt>
          <c:dPt>
            <c:idx val="783"/>
            <c:invertIfNegative val="1"/>
            <c:bubble3D val="0"/>
            <c:spPr>
              <a:solidFill>
                <a:srgbClr val="AEABAB"/>
              </a:solidFill>
            </c:spPr>
            <c:extLst>
              <c:ext xmlns:c16="http://schemas.microsoft.com/office/drawing/2014/chart" uri="{C3380CC4-5D6E-409C-BE32-E72D297353CC}">
                <c16:uniqueId val="{00000621-C110-4B3C-98C7-D19B20EBE8CB}"/>
              </c:ext>
            </c:extLst>
          </c:dPt>
          <c:dPt>
            <c:idx val="784"/>
            <c:invertIfNegative val="1"/>
            <c:bubble3D val="0"/>
            <c:spPr>
              <a:solidFill>
                <a:srgbClr val="AEABAB"/>
              </a:solidFill>
            </c:spPr>
            <c:extLst>
              <c:ext xmlns:c16="http://schemas.microsoft.com/office/drawing/2014/chart" uri="{C3380CC4-5D6E-409C-BE32-E72D297353CC}">
                <c16:uniqueId val="{00000623-C110-4B3C-98C7-D19B20EBE8CB}"/>
              </c:ext>
            </c:extLst>
          </c:dPt>
          <c:dPt>
            <c:idx val="785"/>
            <c:invertIfNegative val="1"/>
            <c:bubble3D val="0"/>
            <c:spPr>
              <a:solidFill>
                <a:srgbClr val="AEABAB"/>
              </a:solidFill>
            </c:spPr>
            <c:extLst>
              <c:ext xmlns:c16="http://schemas.microsoft.com/office/drawing/2014/chart" uri="{C3380CC4-5D6E-409C-BE32-E72D297353CC}">
                <c16:uniqueId val="{00000625-C110-4B3C-98C7-D19B20EBE8CB}"/>
              </c:ext>
            </c:extLst>
          </c:dPt>
          <c:dPt>
            <c:idx val="786"/>
            <c:invertIfNegative val="1"/>
            <c:bubble3D val="0"/>
            <c:spPr>
              <a:solidFill>
                <a:srgbClr val="AEABAB"/>
              </a:solidFill>
            </c:spPr>
            <c:extLst>
              <c:ext xmlns:c16="http://schemas.microsoft.com/office/drawing/2014/chart" uri="{C3380CC4-5D6E-409C-BE32-E72D297353CC}">
                <c16:uniqueId val="{00000627-C110-4B3C-98C7-D19B20EBE8CB}"/>
              </c:ext>
            </c:extLst>
          </c:dPt>
          <c:dPt>
            <c:idx val="787"/>
            <c:invertIfNegative val="1"/>
            <c:bubble3D val="0"/>
            <c:spPr>
              <a:solidFill>
                <a:srgbClr val="AEABAB"/>
              </a:solidFill>
            </c:spPr>
            <c:extLst>
              <c:ext xmlns:c16="http://schemas.microsoft.com/office/drawing/2014/chart" uri="{C3380CC4-5D6E-409C-BE32-E72D297353CC}">
                <c16:uniqueId val="{00000629-C110-4B3C-98C7-D19B20EBE8CB}"/>
              </c:ext>
            </c:extLst>
          </c:dPt>
          <c:dPt>
            <c:idx val="788"/>
            <c:invertIfNegative val="1"/>
            <c:bubble3D val="0"/>
            <c:spPr>
              <a:solidFill>
                <a:srgbClr val="AEABAB"/>
              </a:solidFill>
            </c:spPr>
            <c:extLst>
              <c:ext xmlns:c16="http://schemas.microsoft.com/office/drawing/2014/chart" uri="{C3380CC4-5D6E-409C-BE32-E72D297353CC}">
                <c16:uniqueId val="{0000062B-C110-4B3C-98C7-D19B20EBE8CB}"/>
              </c:ext>
            </c:extLst>
          </c:dPt>
          <c:dPt>
            <c:idx val="789"/>
            <c:invertIfNegative val="1"/>
            <c:bubble3D val="0"/>
            <c:spPr>
              <a:solidFill>
                <a:srgbClr val="AEABAB"/>
              </a:solidFill>
            </c:spPr>
            <c:extLst>
              <c:ext xmlns:c16="http://schemas.microsoft.com/office/drawing/2014/chart" uri="{C3380CC4-5D6E-409C-BE32-E72D297353CC}">
                <c16:uniqueId val="{0000062D-C110-4B3C-98C7-D19B20EBE8CB}"/>
              </c:ext>
            </c:extLst>
          </c:dPt>
          <c:dPt>
            <c:idx val="790"/>
            <c:invertIfNegative val="1"/>
            <c:bubble3D val="0"/>
            <c:spPr>
              <a:solidFill>
                <a:srgbClr val="AEABAB"/>
              </a:solidFill>
            </c:spPr>
            <c:extLst>
              <c:ext xmlns:c16="http://schemas.microsoft.com/office/drawing/2014/chart" uri="{C3380CC4-5D6E-409C-BE32-E72D297353CC}">
                <c16:uniqueId val="{0000062F-C110-4B3C-98C7-D19B20EBE8CB}"/>
              </c:ext>
            </c:extLst>
          </c:dPt>
          <c:dPt>
            <c:idx val="791"/>
            <c:invertIfNegative val="1"/>
            <c:bubble3D val="0"/>
            <c:spPr>
              <a:solidFill>
                <a:srgbClr val="AEABAB"/>
              </a:solidFill>
            </c:spPr>
            <c:extLst>
              <c:ext xmlns:c16="http://schemas.microsoft.com/office/drawing/2014/chart" uri="{C3380CC4-5D6E-409C-BE32-E72D297353CC}">
                <c16:uniqueId val="{00000631-C110-4B3C-98C7-D19B20EBE8CB}"/>
              </c:ext>
            </c:extLst>
          </c:dPt>
          <c:dPt>
            <c:idx val="792"/>
            <c:invertIfNegative val="1"/>
            <c:bubble3D val="0"/>
            <c:spPr>
              <a:solidFill>
                <a:srgbClr val="AEABAB"/>
              </a:solidFill>
            </c:spPr>
            <c:extLst>
              <c:ext xmlns:c16="http://schemas.microsoft.com/office/drawing/2014/chart" uri="{C3380CC4-5D6E-409C-BE32-E72D297353CC}">
                <c16:uniqueId val="{00000633-C110-4B3C-98C7-D19B20EBE8CB}"/>
              </c:ext>
            </c:extLst>
          </c:dPt>
          <c:dPt>
            <c:idx val="793"/>
            <c:invertIfNegative val="1"/>
            <c:bubble3D val="0"/>
            <c:spPr>
              <a:solidFill>
                <a:srgbClr val="AEABAB"/>
              </a:solidFill>
            </c:spPr>
            <c:extLst>
              <c:ext xmlns:c16="http://schemas.microsoft.com/office/drawing/2014/chart" uri="{C3380CC4-5D6E-409C-BE32-E72D297353CC}">
                <c16:uniqueId val="{00000635-C110-4B3C-98C7-D19B20EBE8CB}"/>
              </c:ext>
            </c:extLst>
          </c:dPt>
          <c:dPt>
            <c:idx val="794"/>
            <c:invertIfNegative val="1"/>
            <c:bubble3D val="0"/>
            <c:spPr>
              <a:solidFill>
                <a:srgbClr val="AEABAB"/>
              </a:solidFill>
            </c:spPr>
            <c:extLst>
              <c:ext xmlns:c16="http://schemas.microsoft.com/office/drawing/2014/chart" uri="{C3380CC4-5D6E-409C-BE32-E72D297353CC}">
                <c16:uniqueId val="{00000637-C110-4B3C-98C7-D19B20EBE8CB}"/>
              </c:ext>
            </c:extLst>
          </c:dPt>
          <c:dPt>
            <c:idx val="795"/>
            <c:invertIfNegative val="1"/>
            <c:bubble3D val="0"/>
            <c:spPr>
              <a:solidFill>
                <a:srgbClr val="AEABAB"/>
              </a:solidFill>
            </c:spPr>
            <c:extLst>
              <c:ext xmlns:c16="http://schemas.microsoft.com/office/drawing/2014/chart" uri="{C3380CC4-5D6E-409C-BE32-E72D297353CC}">
                <c16:uniqueId val="{00000639-C110-4B3C-98C7-D19B20EBE8CB}"/>
              </c:ext>
            </c:extLst>
          </c:dPt>
          <c:dPt>
            <c:idx val="796"/>
            <c:invertIfNegative val="1"/>
            <c:bubble3D val="0"/>
            <c:spPr>
              <a:solidFill>
                <a:srgbClr val="AEABAB"/>
              </a:solidFill>
            </c:spPr>
            <c:extLst>
              <c:ext xmlns:c16="http://schemas.microsoft.com/office/drawing/2014/chart" uri="{C3380CC4-5D6E-409C-BE32-E72D297353CC}">
                <c16:uniqueId val="{0000063B-C110-4B3C-98C7-D19B20EBE8CB}"/>
              </c:ext>
            </c:extLst>
          </c:dPt>
          <c:dPt>
            <c:idx val="797"/>
            <c:invertIfNegative val="1"/>
            <c:bubble3D val="0"/>
            <c:spPr>
              <a:solidFill>
                <a:srgbClr val="AEABAB"/>
              </a:solidFill>
            </c:spPr>
            <c:extLst>
              <c:ext xmlns:c16="http://schemas.microsoft.com/office/drawing/2014/chart" uri="{C3380CC4-5D6E-409C-BE32-E72D297353CC}">
                <c16:uniqueId val="{0000063D-C110-4B3C-98C7-D19B20EBE8CB}"/>
              </c:ext>
            </c:extLst>
          </c:dPt>
          <c:dPt>
            <c:idx val="798"/>
            <c:invertIfNegative val="1"/>
            <c:bubble3D val="0"/>
            <c:spPr>
              <a:solidFill>
                <a:srgbClr val="AEABAB"/>
              </a:solidFill>
            </c:spPr>
            <c:extLst>
              <c:ext xmlns:c16="http://schemas.microsoft.com/office/drawing/2014/chart" uri="{C3380CC4-5D6E-409C-BE32-E72D297353CC}">
                <c16:uniqueId val="{0000063F-C110-4B3C-98C7-D19B20EBE8CB}"/>
              </c:ext>
            </c:extLst>
          </c:dPt>
          <c:dPt>
            <c:idx val="799"/>
            <c:invertIfNegative val="1"/>
            <c:bubble3D val="0"/>
            <c:spPr>
              <a:solidFill>
                <a:srgbClr val="AEABAB"/>
              </a:solidFill>
            </c:spPr>
            <c:extLst>
              <c:ext xmlns:c16="http://schemas.microsoft.com/office/drawing/2014/chart" uri="{C3380CC4-5D6E-409C-BE32-E72D297353CC}">
                <c16:uniqueId val="{00000641-C110-4B3C-98C7-D19B20EBE8CB}"/>
              </c:ext>
            </c:extLst>
          </c:dPt>
          <c:dPt>
            <c:idx val="800"/>
            <c:invertIfNegative val="1"/>
            <c:bubble3D val="0"/>
            <c:spPr>
              <a:solidFill>
                <a:srgbClr val="AEABAB"/>
              </a:solidFill>
            </c:spPr>
            <c:extLst>
              <c:ext xmlns:c16="http://schemas.microsoft.com/office/drawing/2014/chart" uri="{C3380CC4-5D6E-409C-BE32-E72D297353CC}">
                <c16:uniqueId val="{00000643-C110-4B3C-98C7-D19B20EBE8CB}"/>
              </c:ext>
            </c:extLst>
          </c:dPt>
          <c:dPt>
            <c:idx val="801"/>
            <c:invertIfNegative val="1"/>
            <c:bubble3D val="0"/>
            <c:spPr>
              <a:solidFill>
                <a:srgbClr val="AEABAB"/>
              </a:solidFill>
            </c:spPr>
            <c:extLst>
              <c:ext xmlns:c16="http://schemas.microsoft.com/office/drawing/2014/chart" uri="{C3380CC4-5D6E-409C-BE32-E72D297353CC}">
                <c16:uniqueId val="{00000645-C110-4B3C-98C7-D19B20EBE8CB}"/>
              </c:ext>
            </c:extLst>
          </c:dPt>
          <c:dPt>
            <c:idx val="802"/>
            <c:invertIfNegative val="1"/>
            <c:bubble3D val="0"/>
            <c:spPr>
              <a:solidFill>
                <a:srgbClr val="AEABAB"/>
              </a:solidFill>
            </c:spPr>
            <c:extLst>
              <c:ext xmlns:c16="http://schemas.microsoft.com/office/drawing/2014/chart" uri="{C3380CC4-5D6E-409C-BE32-E72D297353CC}">
                <c16:uniqueId val="{00000647-C110-4B3C-98C7-D19B20EBE8CB}"/>
              </c:ext>
            </c:extLst>
          </c:dPt>
          <c:dPt>
            <c:idx val="803"/>
            <c:invertIfNegative val="1"/>
            <c:bubble3D val="0"/>
            <c:spPr>
              <a:solidFill>
                <a:srgbClr val="AEABAB"/>
              </a:solidFill>
            </c:spPr>
            <c:extLst>
              <c:ext xmlns:c16="http://schemas.microsoft.com/office/drawing/2014/chart" uri="{C3380CC4-5D6E-409C-BE32-E72D297353CC}">
                <c16:uniqueId val="{00000649-C110-4B3C-98C7-D19B20EBE8CB}"/>
              </c:ext>
            </c:extLst>
          </c:dPt>
          <c:dPt>
            <c:idx val="804"/>
            <c:invertIfNegative val="1"/>
            <c:bubble3D val="0"/>
            <c:spPr>
              <a:solidFill>
                <a:srgbClr val="AEABAB"/>
              </a:solidFill>
            </c:spPr>
            <c:extLst>
              <c:ext xmlns:c16="http://schemas.microsoft.com/office/drawing/2014/chart" uri="{C3380CC4-5D6E-409C-BE32-E72D297353CC}">
                <c16:uniqueId val="{0000064B-C110-4B3C-98C7-D19B20EBE8CB}"/>
              </c:ext>
            </c:extLst>
          </c:dPt>
          <c:dPt>
            <c:idx val="805"/>
            <c:invertIfNegative val="1"/>
            <c:bubble3D val="0"/>
            <c:spPr>
              <a:solidFill>
                <a:srgbClr val="AEABAB"/>
              </a:solidFill>
            </c:spPr>
            <c:extLst>
              <c:ext xmlns:c16="http://schemas.microsoft.com/office/drawing/2014/chart" uri="{C3380CC4-5D6E-409C-BE32-E72D297353CC}">
                <c16:uniqueId val="{0000064D-C110-4B3C-98C7-D19B20EBE8CB}"/>
              </c:ext>
            </c:extLst>
          </c:dPt>
          <c:dPt>
            <c:idx val="806"/>
            <c:invertIfNegative val="1"/>
            <c:bubble3D val="0"/>
            <c:spPr>
              <a:solidFill>
                <a:srgbClr val="AEABAB"/>
              </a:solidFill>
            </c:spPr>
            <c:extLst>
              <c:ext xmlns:c16="http://schemas.microsoft.com/office/drawing/2014/chart" uri="{C3380CC4-5D6E-409C-BE32-E72D297353CC}">
                <c16:uniqueId val="{0000064F-C110-4B3C-98C7-D19B20EBE8CB}"/>
              </c:ext>
            </c:extLst>
          </c:dPt>
          <c:dPt>
            <c:idx val="807"/>
            <c:invertIfNegative val="1"/>
            <c:bubble3D val="0"/>
            <c:spPr>
              <a:solidFill>
                <a:srgbClr val="AEABAB"/>
              </a:solidFill>
            </c:spPr>
            <c:extLst>
              <c:ext xmlns:c16="http://schemas.microsoft.com/office/drawing/2014/chart" uri="{C3380CC4-5D6E-409C-BE32-E72D297353CC}">
                <c16:uniqueId val="{00000651-C110-4B3C-98C7-D19B20EBE8CB}"/>
              </c:ext>
            </c:extLst>
          </c:dPt>
          <c:dPt>
            <c:idx val="808"/>
            <c:invertIfNegative val="1"/>
            <c:bubble3D val="0"/>
            <c:spPr>
              <a:solidFill>
                <a:srgbClr val="AEABAB"/>
              </a:solidFill>
            </c:spPr>
            <c:extLst>
              <c:ext xmlns:c16="http://schemas.microsoft.com/office/drawing/2014/chart" uri="{C3380CC4-5D6E-409C-BE32-E72D297353CC}">
                <c16:uniqueId val="{00000653-C110-4B3C-98C7-D19B20EBE8CB}"/>
              </c:ext>
            </c:extLst>
          </c:dPt>
          <c:dPt>
            <c:idx val="809"/>
            <c:invertIfNegative val="1"/>
            <c:bubble3D val="0"/>
            <c:spPr>
              <a:solidFill>
                <a:srgbClr val="AEABAB"/>
              </a:solidFill>
            </c:spPr>
            <c:extLst>
              <c:ext xmlns:c16="http://schemas.microsoft.com/office/drawing/2014/chart" uri="{C3380CC4-5D6E-409C-BE32-E72D297353CC}">
                <c16:uniqueId val="{00000655-C110-4B3C-98C7-D19B20EBE8CB}"/>
              </c:ext>
            </c:extLst>
          </c:dPt>
          <c:dPt>
            <c:idx val="810"/>
            <c:invertIfNegative val="1"/>
            <c:bubble3D val="0"/>
            <c:spPr>
              <a:solidFill>
                <a:srgbClr val="AEABAB"/>
              </a:solidFill>
            </c:spPr>
            <c:extLst>
              <c:ext xmlns:c16="http://schemas.microsoft.com/office/drawing/2014/chart" uri="{C3380CC4-5D6E-409C-BE32-E72D297353CC}">
                <c16:uniqueId val="{00000657-C110-4B3C-98C7-D19B20EBE8CB}"/>
              </c:ext>
            </c:extLst>
          </c:dPt>
          <c:dPt>
            <c:idx val="811"/>
            <c:invertIfNegative val="1"/>
            <c:bubble3D val="0"/>
            <c:spPr>
              <a:solidFill>
                <a:srgbClr val="AEABAB"/>
              </a:solidFill>
            </c:spPr>
            <c:extLst>
              <c:ext xmlns:c16="http://schemas.microsoft.com/office/drawing/2014/chart" uri="{C3380CC4-5D6E-409C-BE32-E72D297353CC}">
                <c16:uniqueId val="{00000659-C110-4B3C-98C7-D19B20EBE8CB}"/>
              </c:ext>
            </c:extLst>
          </c:dPt>
          <c:dPt>
            <c:idx val="812"/>
            <c:invertIfNegative val="1"/>
            <c:bubble3D val="0"/>
            <c:spPr>
              <a:solidFill>
                <a:srgbClr val="AEABAB"/>
              </a:solidFill>
            </c:spPr>
            <c:extLst>
              <c:ext xmlns:c16="http://schemas.microsoft.com/office/drawing/2014/chart" uri="{C3380CC4-5D6E-409C-BE32-E72D297353CC}">
                <c16:uniqueId val="{0000065B-C110-4B3C-98C7-D19B20EBE8CB}"/>
              </c:ext>
            </c:extLst>
          </c:dPt>
          <c:dPt>
            <c:idx val="813"/>
            <c:invertIfNegative val="1"/>
            <c:bubble3D val="0"/>
            <c:spPr>
              <a:solidFill>
                <a:srgbClr val="AEABAB"/>
              </a:solidFill>
            </c:spPr>
            <c:extLst>
              <c:ext xmlns:c16="http://schemas.microsoft.com/office/drawing/2014/chart" uri="{C3380CC4-5D6E-409C-BE32-E72D297353CC}">
                <c16:uniqueId val="{0000065D-C110-4B3C-98C7-D19B20EBE8CB}"/>
              </c:ext>
            </c:extLst>
          </c:dPt>
          <c:dPt>
            <c:idx val="814"/>
            <c:invertIfNegative val="1"/>
            <c:bubble3D val="0"/>
            <c:spPr>
              <a:solidFill>
                <a:srgbClr val="AEABAB"/>
              </a:solidFill>
            </c:spPr>
            <c:extLst>
              <c:ext xmlns:c16="http://schemas.microsoft.com/office/drawing/2014/chart" uri="{C3380CC4-5D6E-409C-BE32-E72D297353CC}">
                <c16:uniqueId val="{0000065F-C110-4B3C-98C7-D19B20EBE8CB}"/>
              </c:ext>
            </c:extLst>
          </c:dPt>
          <c:dPt>
            <c:idx val="815"/>
            <c:invertIfNegative val="1"/>
            <c:bubble3D val="0"/>
            <c:spPr>
              <a:solidFill>
                <a:srgbClr val="AEABAB"/>
              </a:solidFill>
            </c:spPr>
            <c:extLst>
              <c:ext xmlns:c16="http://schemas.microsoft.com/office/drawing/2014/chart" uri="{C3380CC4-5D6E-409C-BE32-E72D297353CC}">
                <c16:uniqueId val="{00000661-C110-4B3C-98C7-D19B20EBE8CB}"/>
              </c:ext>
            </c:extLst>
          </c:dPt>
          <c:dPt>
            <c:idx val="816"/>
            <c:invertIfNegative val="1"/>
            <c:bubble3D val="0"/>
            <c:spPr>
              <a:solidFill>
                <a:srgbClr val="AEABAB"/>
              </a:solidFill>
            </c:spPr>
            <c:extLst>
              <c:ext xmlns:c16="http://schemas.microsoft.com/office/drawing/2014/chart" uri="{C3380CC4-5D6E-409C-BE32-E72D297353CC}">
                <c16:uniqueId val="{00000663-C110-4B3C-98C7-D19B20EBE8CB}"/>
              </c:ext>
            </c:extLst>
          </c:dPt>
          <c:dPt>
            <c:idx val="817"/>
            <c:invertIfNegative val="1"/>
            <c:bubble3D val="0"/>
            <c:spPr>
              <a:solidFill>
                <a:srgbClr val="AEABAB"/>
              </a:solidFill>
            </c:spPr>
            <c:extLst>
              <c:ext xmlns:c16="http://schemas.microsoft.com/office/drawing/2014/chart" uri="{C3380CC4-5D6E-409C-BE32-E72D297353CC}">
                <c16:uniqueId val="{00000665-C110-4B3C-98C7-D19B20EBE8CB}"/>
              </c:ext>
            </c:extLst>
          </c:dPt>
          <c:dPt>
            <c:idx val="818"/>
            <c:invertIfNegative val="1"/>
            <c:bubble3D val="0"/>
            <c:spPr>
              <a:solidFill>
                <a:srgbClr val="AEABAB"/>
              </a:solidFill>
            </c:spPr>
            <c:extLst>
              <c:ext xmlns:c16="http://schemas.microsoft.com/office/drawing/2014/chart" uri="{C3380CC4-5D6E-409C-BE32-E72D297353CC}">
                <c16:uniqueId val="{00000667-C110-4B3C-98C7-D19B20EBE8CB}"/>
              </c:ext>
            </c:extLst>
          </c:dPt>
          <c:dPt>
            <c:idx val="819"/>
            <c:invertIfNegative val="1"/>
            <c:bubble3D val="0"/>
            <c:spPr>
              <a:solidFill>
                <a:srgbClr val="AEABAB"/>
              </a:solidFill>
            </c:spPr>
            <c:extLst>
              <c:ext xmlns:c16="http://schemas.microsoft.com/office/drawing/2014/chart" uri="{C3380CC4-5D6E-409C-BE32-E72D297353CC}">
                <c16:uniqueId val="{00000669-C110-4B3C-98C7-D19B20EBE8CB}"/>
              </c:ext>
            </c:extLst>
          </c:dPt>
          <c:dPt>
            <c:idx val="820"/>
            <c:invertIfNegative val="1"/>
            <c:bubble3D val="0"/>
            <c:spPr>
              <a:solidFill>
                <a:srgbClr val="AEABAB"/>
              </a:solidFill>
            </c:spPr>
            <c:extLst>
              <c:ext xmlns:c16="http://schemas.microsoft.com/office/drawing/2014/chart" uri="{C3380CC4-5D6E-409C-BE32-E72D297353CC}">
                <c16:uniqueId val="{0000066B-C110-4B3C-98C7-D19B20EBE8CB}"/>
              </c:ext>
            </c:extLst>
          </c:dPt>
          <c:dPt>
            <c:idx val="821"/>
            <c:invertIfNegative val="1"/>
            <c:bubble3D val="0"/>
            <c:spPr>
              <a:solidFill>
                <a:srgbClr val="AEABAB"/>
              </a:solidFill>
            </c:spPr>
            <c:extLst>
              <c:ext xmlns:c16="http://schemas.microsoft.com/office/drawing/2014/chart" uri="{C3380CC4-5D6E-409C-BE32-E72D297353CC}">
                <c16:uniqueId val="{0000066D-C110-4B3C-98C7-D19B20EBE8CB}"/>
              </c:ext>
            </c:extLst>
          </c:dPt>
          <c:dPt>
            <c:idx val="822"/>
            <c:invertIfNegative val="1"/>
            <c:bubble3D val="0"/>
            <c:spPr>
              <a:solidFill>
                <a:srgbClr val="AEABAB"/>
              </a:solidFill>
            </c:spPr>
            <c:extLst>
              <c:ext xmlns:c16="http://schemas.microsoft.com/office/drawing/2014/chart" uri="{C3380CC4-5D6E-409C-BE32-E72D297353CC}">
                <c16:uniqueId val="{0000066F-C110-4B3C-98C7-D19B20EBE8CB}"/>
              </c:ext>
            </c:extLst>
          </c:dPt>
          <c:dPt>
            <c:idx val="823"/>
            <c:invertIfNegative val="1"/>
            <c:bubble3D val="0"/>
            <c:spPr>
              <a:solidFill>
                <a:srgbClr val="AEABAB"/>
              </a:solidFill>
            </c:spPr>
            <c:extLst>
              <c:ext xmlns:c16="http://schemas.microsoft.com/office/drawing/2014/chart" uri="{C3380CC4-5D6E-409C-BE32-E72D297353CC}">
                <c16:uniqueId val="{00000671-C110-4B3C-98C7-D19B20EBE8CB}"/>
              </c:ext>
            </c:extLst>
          </c:dPt>
          <c:dPt>
            <c:idx val="824"/>
            <c:invertIfNegative val="1"/>
            <c:bubble3D val="0"/>
            <c:spPr>
              <a:solidFill>
                <a:srgbClr val="AEABAB"/>
              </a:solidFill>
            </c:spPr>
            <c:extLst>
              <c:ext xmlns:c16="http://schemas.microsoft.com/office/drawing/2014/chart" uri="{C3380CC4-5D6E-409C-BE32-E72D297353CC}">
                <c16:uniqueId val="{00000673-C110-4B3C-98C7-D19B20EBE8CB}"/>
              </c:ext>
            </c:extLst>
          </c:dPt>
          <c:dPt>
            <c:idx val="825"/>
            <c:invertIfNegative val="1"/>
            <c:bubble3D val="0"/>
            <c:spPr>
              <a:solidFill>
                <a:srgbClr val="AEABAB"/>
              </a:solidFill>
            </c:spPr>
            <c:extLst>
              <c:ext xmlns:c16="http://schemas.microsoft.com/office/drawing/2014/chart" uri="{C3380CC4-5D6E-409C-BE32-E72D297353CC}">
                <c16:uniqueId val="{00000675-C110-4B3C-98C7-D19B20EBE8CB}"/>
              </c:ext>
            </c:extLst>
          </c:dPt>
          <c:dPt>
            <c:idx val="826"/>
            <c:invertIfNegative val="1"/>
            <c:bubble3D val="0"/>
            <c:spPr>
              <a:solidFill>
                <a:srgbClr val="AEABAB"/>
              </a:solidFill>
            </c:spPr>
            <c:extLst>
              <c:ext xmlns:c16="http://schemas.microsoft.com/office/drawing/2014/chart" uri="{C3380CC4-5D6E-409C-BE32-E72D297353CC}">
                <c16:uniqueId val="{00000677-C110-4B3C-98C7-D19B20EBE8CB}"/>
              </c:ext>
            </c:extLst>
          </c:dPt>
          <c:dPt>
            <c:idx val="827"/>
            <c:invertIfNegative val="1"/>
            <c:bubble3D val="0"/>
            <c:spPr>
              <a:solidFill>
                <a:srgbClr val="AEABAB"/>
              </a:solidFill>
            </c:spPr>
            <c:extLst>
              <c:ext xmlns:c16="http://schemas.microsoft.com/office/drawing/2014/chart" uri="{C3380CC4-5D6E-409C-BE32-E72D297353CC}">
                <c16:uniqueId val="{00000679-C110-4B3C-98C7-D19B20EBE8CB}"/>
              </c:ext>
            </c:extLst>
          </c:dPt>
          <c:dPt>
            <c:idx val="828"/>
            <c:invertIfNegative val="1"/>
            <c:bubble3D val="0"/>
            <c:spPr>
              <a:solidFill>
                <a:srgbClr val="AEABAB"/>
              </a:solidFill>
            </c:spPr>
            <c:extLst>
              <c:ext xmlns:c16="http://schemas.microsoft.com/office/drawing/2014/chart" uri="{C3380CC4-5D6E-409C-BE32-E72D297353CC}">
                <c16:uniqueId val="{0000067B-C110-4B3C-98C7-D19B20EBE8CB}"/>
              </c:ext>
            </c:extLst>
          </c:dPt>
          <c:dPt>
            <c:idx val="829"/>
            <c:invertIfNegative val="1"/>
            <c:bubble3D val="0"/>
            <c:spPr>
              <a:solidFill>
                <a:srgbClr val="AEABAB"/>
              </a:solidFill>
            </c:spPr>
            <c:extLst>
              <c:ext xmlns:c16="http://schemas.microsoft.com/office/drawing/2014/chart" uri="{C3380CC4-5D6E-409C-BE32-E72D297353CC}">
                <c16:uniqueId val="{0000067D-C110-4B3C-98C7-D19B20EBE8CB}"/>
              </c:ext>
            </c:extLst>
          </c:dPt>
          <c:dPt>
            <c:idx val="830"/>
            <c:invertIfNegative val="1"/>
            <c:bubble3D val="0"/>
            <c:spPr>
              <a:solidFill>
                <a:srgbClr val="AEABAB"/>
              </a:solidFill>
            </c:spPr>
            <c:extLst>
              <c:ext xmlns:c16="http://schemas.microsoft.com/office/drawing/2014/chart" uri="{C3380CC4-5D6E-409C-BE32-E72D297353CC}">
                <c16:uniqueId val="{0000067F-C110-4B3C-98C7-D19B20EBE8CB}"/>
              </c:ext>
            </c:extLst>
          </c:dPt>
          <c:dPt>
            <c:idx val="831"/>
            <c:invertIfNegative val="1"/>
            <c:bubble3D val="0"/>
            <c:spPr>
              <a:solidFill>
                <a:srgbClr val="AEABAB"/>
              </a:solidFill>
            </c:spPr>
            <c:extLst>
              <c:ext xmlns:c16="http://schemas.microsoft.com/office/drawing/2014/chart" uri="{C3380CC4-5D6E-409C-BE32-E72D297353CC}">
                <c16:uniqueId val="{00000681-C110-4B3C-98C7-D19B20EBE8CB}"/>
              </c:ext>
            </c:extLst>
          </c:dPt>
          <c:dPt>
            <c:idx val="832"/>
            <c:invertIfNegative val="1"/>
            <c:bubble3D val="0"/>
            <c:spPr>
              <a:solidFill>
                <a:srgbClr val="AEABAB"/>
              </a:solidFill>
            </c:spPr>
            <c:extLst>
              <c:ext xmlns:c16="http://schemas.microsoft.com/office/drawing/2014/chart" uri="{C3380CC4-5D6E-409C-BE32-E72D297353CC}">
                <c16:uniqueId val="{00000683-C110-4B3C-98C7-D19B20EBE8CB}"/>
              </c:ext>
            </c:extLst>
          </c:dPt>
          <c:dPt>
            <c:idx val="833"/>
            <c:invertIfNegative val="1"/>
            <c:bubble3D val="0"/>
            <c:spPr>
              <a:solidFill>
                <a:srgbClr val="AEABAB"/>
              </a:solidFill>
            </c:spPr>
            <c:extLst>
              <c:ext xmlns:c16="http://schemas.microsoft.com/office/drawing/2014/chart" uri="{C3380CC4-5D6E-409C-BE32-E72D297353CC}">
                <c16:uniqueId val="{00000685-C110-4B3C-98C7-D19B20EBE8CB}"/>
              </c:ext>
            </c:extLst>
          </c:dPt>
          <c:dPt>
            <c:idx val="834"/>
            <c:invertIfNegative val="1"/>
            <c:bubble3D val="0"/>
            <c:spPr>
              <a:solidFill>
                <a:srgbClr val="AEABAB"/>
              </a:solidFill>
            </c:spPr>
            <c:extLst>
              <c:ext xmlns:c16="http://schemas.microsoft.com/office/drawing/2014/chart" uri="{C3380CC4-5D6E-409C-BE32-E72D297353CC}">
                <c16:uniqueId val="{00000687-C110-4B3C-98C7-D19B20EBE8CB}"/>
              </c:ext>
            </c:extLst>
          </c:dPt>
          <c:dPt>
            <c:idx val="835"/>
            <c:invertIfNegative val="1"/>
            <c:bubble3D val="0"/>
            <c:spPr>
              <a:solidFill>
                <a:srgbClr val="AEABAB"/>
              </a:solidFill>
            </c:spPr>
            <c:extLst>
              <c:ext xmlns:c16="http://schemas.microsoft.com/office/drawing/2014/chart" uri="{C3380CC4-5D6E-409C-BE32-E72D297353CC}">
                <c16:uniqueId val="{00000689-C110-4B3C-98C7-D19B20EBE8CB}"/>
              </c:ext>
            </c:extLst>
          </c:dPt>
          <c:dPt>
            <c:idx val="836"/>
            <c:invertIfNegative val="1"/>
            <c:bubble3D val="0"/>
            <c:spPr>
              <a:solidFill>
                <a:srgbClr val="AEABAB"/>
              </a:solidFill>
            </c:spPr>
            <c:extLst>
              <c:ext xmlns:c16="http://schemas.microsoft.com/office/drawing/2014/chart" uri="{C3380CC4-5D6E-409C-BE32-E72D297353CC}">
                <c16:uniqueId val="{0000068B-C110-4B3C-98C7-D19B20EBE8CB}"/>
              </c:ext>
            </c:extLst>
          </c:dPt>
          <c:dPt>
            <c:idx val="837"/>
            <c:invertIfNegative val="1"/>
            <c:bubble3D val="0"/>
            <c:spPr>
              <a:solidFill>
                <a:srgbClr val="AEABAB"/>
              </a:solidFill>
            </c:spPr>
            <c:extLst>
              <c:ext xmlns:c16="http://schemas.microsoft.com/office/drawing/2014/chart" uri="{C3380CC4-5D6E-409C-BE32-E72D297353CC}">
                <c16:uniqueId val="{0000068D-C110-4B3C-98C7-D19B20EBE8CB}"/>
              </c:ext>
            </c:extLst>
          </c:dPt>
          <c:dPt>
            <c:idx val="838"/>
            <c:invertIfNegative val="1"/>
            <c:bubble3D val="0"/>
            <c:spPr>
              <a:solidFill>
                <a:srgbClr val="AEABAB"/>
              </a:solidFill>
            </c:spPr>
            <c:extLst>
              <c:ext xmlns:c16="http://schemas.microsoft.com/office/drawing/2014/chart" uri="{C3380CC4-5D6E-409C-BE32-E72D297353CC}">
                <c16:uniqueId val="{0000068F-C110-4B3C-98C7-D19B20EBE8CB}"/>
              </c:ext>
            </c:extLst>
          </c:dPt>
          <c:dPt>
            <c:idx val="839"/>
            <c:invertIfNegative val="1"/>
            <c:bubble3D val="0"/>
            <c:spPr>
              <a:solidFill>
                <a:srgbClr val="AEABAB"/>
              </a:solidFill>
            </c:spPr>
            <c:extLst>
              <c:ext xmlns:c16="http://schemas.microsoft.com/office/drawing/2014/chart" uri="{C3380CC4-5D6E-409C-BE32-E72D297353CC}">
                <c16:uniqueId val="{00000691-C110-4B3C-98C7-D19B20EBE8CB}"/>
              </c:ext>
            </c:extLst>
          </c:dPt>
          <c:dPt>
            <c:idx val="840"/>
            <c:invertIfNegative val="1"/>
            <c:bubble3D val="0"/>
            <c:spPr>
              <a:solidFill>
                <a:srgbClr val="AEABAB"/>
              </a:solidFill>
            </c:spPr>
            <c:extLst>
              <c:ext xmlns:c16="http://schemas.microsoft.com/office/drawing/2014/chart" uri="{C3380CC4-5D6E-409C-BE32-E72D297353CC}">
                <c16:uniqueId val="{00000693-C110-4B3C-98C7-D19B20EBE8CB}"/>
              </c:ext>
            </c:extLst>
          </c:dPt>
          <c:dPt>
            <c:idx val="841"/>
            <c:invertIfNegative val="1"/>
            <c:bubble3D val="0"/>
            <c:spPr>
              <a:solidFill>
                <a:srgbClr val="AEABAB"/>
              </a:solidFill>
            </c:spPr>
            <c:extLst>
              <c:ext xmlns:c16="http://schemas.microsoft.com/office/drawing/2014/chart" uri="{C3380CC4-5D6E-409C-BE32-E72D297353CC}">
                <c16:uniqueId val="{00000695-C110-4B3C-98C7-D19B20EBE8CB}"/>
              </c:ext>
            </c:extLst>
          </c:dPt>
          <c:dPt>
            <c:idx val="842"/>
            <c:invertIfNegative val="1"/>
            <c:bubble3D val="0"/>
            <c:spPr>
              <a:solidFill>
                <a:srgbClr val="AEABAB"/>
              </a:solidFill>
            </c:spPr>
            <c:extLst>
              <c:ext xmlns:c16="http://schemas.microsoft.com/office/drawing/2014/chart" uri="{C3380CC4-5D6E-409C-BE32-E72D297353CC}">
                <c16:uniqueId val="{00000697-C110-4B3C-98C7-D19B20EBE8CB}"/>
              </c:ext>
            </c:extLst>
          </c:dPt>
          <c:dPt>
            <c:idx val="843"/>
            <c:invertIfNegative val="1"/>
            <c:bubble3D val="0"/>
            <c:spPr>
              <a:solidFill>
                <a:srgbClr val="AEABAB"/>
              </a:solidFill>
            </c:spPr>
            <c:extLst>
              <c:ext xmlns:c16="http://schemas.microsoft.com/office/drawing/2014/chart" uri="{C3380CC4-5D6E-409C-BE32-E72D297353CC}">
                <c16:uniqueId val="{00000699-C110-4B3C-98C7-D19B20EBE8CB}"/>
              </c:ext>
            </c:extLst>
          </c:dPt>
          <c:dPt>
            <c:idx val="844"/>
            <c:invertIfNegative val="1"/>
            <c:bubble3D val="0"/>
            <c:spPr>
              <a:solidFill>
                <a:srgbClr val="AEABAB"/>
              </a:solidFill>
            </c:spPr>
            <c:extLst>
              <c:ext xmlns:c16="http://schemas.microsoft.com/office/drawing/2014/chart" uri="{C3380CC4-5D6E-409C-BE32-E72D297353CC}">
                <c16:uniqueId val="{0000069B-C110-4B3C-98C7-D19B20EBE8CB}"/>
              </c:ext>
            </c:extLst>
          </c:dPt>
          <c:dPt>
            <c:idx val="845"/>
            <c:invertIfNegative val="1"/>
            <c:bubble3D val="0"/>
            <c:spPr>
              <a:solidFill>
                <a:srgbClr val="AEABAB"/>
              </a:solidFill>
            </c:spPr>
            <c:extLst>
              <c:ext xmlns:c16="http://schemas.microsoft.com/office/drawing/2014/chart" uri="{C3380CC4-5D6E-409C-BE32-E72D297353CC}">
                <c16:uniqueId val="{0000069D-C110-4B3C-98C7-D19B20EBE8CB}"/>
              </c:ext>
            </c:extLst>
          </c:dPt>
          <c:dPt>
            <c:idx val="846"/>
            <c:invertIfNegative val="1"/>
            <c:bubble3D val="0"/>
            <c:spPr>
              <a:solidFill>
                <a:srgbClr val="AEABAB"/>
              </a:solidFill>
            </c:spPr>
            <c:extLst>
              <c:ext xmlns:c16="http://schemas.microsoft.com/office/drawing/2014/chart" uri="{C3380CC4-5D6E-409C-BE32-E72D297353CC}">
                <c16:uniqueId val="{0000069F-C110-4B3C-98C7-D19B20EBE8CB}"/>
              </c:ext>
            </c:extLst>
          </c:dPt>
          <c:dPt>
            <c:idx val="847"/>
            <c:invertIfNegative val="1"/>
            <c:bubble3D val="0"/>
            <c:spPr>
              <a:solidFill>
                <a:srgbClr val="AEABAB"/>
              </a:solidFill>
            </c:spPr>
            <c:extLst>
              <c:ext xmlns:c16="http://schemas.microsoft.com/office/drawing/2014/chart" uri="{C3380CC4-5D6E-409C-BE32-E72D297353CC}">
                <c16:uniqueId val="{000006A1-C110-4B3C-98C7-D19B20EBE8CB}"/>
              </c:ext>
            </c:extLst>
          </c:dPt>
          <c:dPt>
            <c:idx val="848"/>
            <c:invertIfNegative val="1"/>
            <c:bubble3D val="0"/>
            <c:spPr>
              <a:solidFill>
                <a:srgbClr val="AEABAB"/>
              </a:solidFill>
            </c:spPr>
            <c:extLst>
              <c:ext xmlns:c16="http://schemas.microsoft.com/office/drawing/2014/chart" uri="{C3380CC4-5D6E-409C-BE32-E72D297353CC}">
                <c16:uniqueId val="{000006A3-C110-4B3C-98C7-D19B20EBE8CB}"/>
              </c:ext>
            </c:extLst>
          </c:dPt>
          <c:dPt>
            <c:idx val="849"/>
            <c:invertIfNegative val="1"/>
            <c:bubble3D val="0"/>
            <c:spPr>
              <a:solidFill>
                <a:srgbClr val="AEABAB"/>
              </a:solidFill>
            </c:spPr>
            <c:extLst>
              <c:ext xmlns:c16="http://schemas.microsoft.com/office/drawing/2014/chart" uri="{C3380CC4-5D6E-409C-BE32-E72D297353CC}">
                <c16:uniqueId val="{000006A5-C110-4B3C-98C7-D19B20EBE8CB}"/>
              </c:ext>
            </c:extLst>
          </c:dPt>
          <c:dPt>
            <c:idx val="850"/>
            <c:invertIfNegative val="1"/>
            <c:bubble3D val="0"/>
            <c:spPr>
              <a:solidFill>
                <a:srgbClr val="AEABAB"/>
              </a:solidFill>
            </c:spPr>
            <c:extLst>
              <c:ext xmlns:c16="http://schemas.microsoft.com/office/drawing/2014/chart" uri="{C3380CC4-5D6E-409C-BE32-E72D297353CC}">
                <c16:uniqueId val="{000006A7-C110-4B3C-98C7-D19B20EBE8CB}"/>
              </c:ext>
            </c:extLst>
          </c:dPt>
          <c:dPt>
            <c:idx val="851"/>
            <c:invertIfNegative val="1"/>
            <c:bubble3D val="0"/>
            <c:spPr>
              <a:solidFill>
                <a:srgbClr val="AEABAB"/>
              </a:solidFill>
            </c:spPr>
            <c:extLst>
              <c:ext xmlns:c16="http://schemas.microsoft.com/office/drawing/2014/chart" uri="{C3380CC4-5D6E-409C-BE32-E72D297353CC}">
                <c16:uniqueId val="{000006A9-C110-4B3C-98C7-D19B20EBE8CB}"/>
              </c:ext>
            </c:extLst>
          </c:dPt>
          <c:dPt>
            <c:idx val="852"/>
            <c:invertIfNegative val="1"/>
            <c:bubble3D val="0"/>
            <c:spPr>
              <a:solidFill>
                <a:srgbClr val="AEABAB"/>
              </a:solidFill>
            </c:spPr>
            <c:extLst>
              <c:ext xmlns:c16="http://schemas.microsoft.com/office/drawing/2014/chart" uri="{C3380CC4-5D6E-409C-BE32-E72D297353CC}">
                <c16:uniqueId val="{000006AB-C110-4B3C-98C7-D19B20EBE8CB}"/>
              </c:ext>
            </c:extLst>
          </c:dPt>
          <c:dPt>
            <c:idx val="853"/>
            <c:invertIfNegative val="1"/>
            <c:bubble3D val="0"/>
            <c:spPr>
              <a:solidFill>
                <a:srgbClr val="AEABAB"/>
              </a:solidFill>
            </c:spPr>
            <c:extLst>
              <c:ext xmlns:c16="http://schemas.microsoft.com/office/drawing/2014/chart" uri="{C3380CC4-5D6E-409C-BE32-E72D297353CC}">
                <c16:uniqueId val="{000006AD-C110-4B3C-98C7-D19B20EBE8CB}"/>
              </c:ext>
            </c:extLst>
          </c:dPt>
          <c:dPt>
            <c:idx val="854"/>
            <c:invertIfNegative val="1"/>
            <c:bubble3D val="0"/>
            <c:spPr>
              <a:solidFill>
                <a:srgbClr val="AEABAB"/>
              </a:solidFill>
            </c:spPr>
            <c:extLst>
              <c:ext xmlns:c16="http://schemas.microsoft.com/office/drawing/2014/chart" uri="{C3380CC4-5D6E-409C-BE32-E72D297353CC}">
                <c16:uniqueId val="{000006AF-C110-4B3C-98C7-D19B20EBE8CB}"/>
              </c:ext>
            </c:extLst>
          </c:dPt>
          <c:dPt>
            <c:idx val="855"/>
            <c:invertIfNegative val="1"/>
            <c:bubble3D val="0"/>
            <c:spPr>
              <a:solidFill>
                <a:srgbClr val="AEABAB"/>
              </a:solidFill>
            </c:spPr>
            <c:extLst>
              <c:ext xmlns:c16="http://schemas.microsoft.com/office/drawing/2014/chart" uri="{C3380CC4-5D6E-409C-BE32-E72D297353CC}">
                <c16:uniqueId val="{000006B1-C110-4B3C-98C7-D19B20EBE8CB}"/>
              </c:ext>
            </c:extLst>
          </c:dPt>
          <c:dPt>
            <c:idx val="856"/>
            <c:invertIfNegative val="1"/>
            <c:bubble3D val="0"/>
            <c:spPr>
              <a:solidFill>
                <a:srgbClr val="AEABAB"/>
              </a:solidFill>
            </c:spPr>
            <c:extLst>
              <c:ext xmlns:c16="http://schemas.microsoft.com/office/drawing/2014/chart" uri="{C3380CC4-5D6E-409C-BE32-E72D297353CC}">
                <c16:uniqueId val="{000006B3-C110-4B3C-98C7-D19B20EBE8CB}"/>
              </c:ext>
            </c:extLst>
          </c:dPt>
          <c:dPt>
            <c:idx val="857"/>
            <c:invertIfNegative val="1"/>
            <c:bubble3D val="0"/>
            <c:spPr>
              <a:solidFill>
                <a:srgbClr val="AEABAB"/>
              </a:solidFill>
            </c:spPr>
            <c:extLst>
              <c:ext xmlns:c16="http://schemas.microsoft.com/office/drawing/2014/chart" uri="{C3380CC4-5D6E-409C-BE32-E72D297353CC}">
                <c16:uniqueId val="{000006B5-C110-4B3C-98C7-D19B20EBE8CB}"/>
              </c:ext>
            </c:extLst>
          </c:dPt>
          <c:dPt>
            <c:idx val="858"/>
            <c:invertIfNegative val="1"/>
            <c:bubble3D val="0"/>
            <c:spPr>
              <a:solidFill>
                <a:srgbClr val="AEABAB"/>
              </a:solidFill>
            </c:spPr>
            <c:extLst>
              <c:ext xmlns:c16="http://schemas.microsoft.com/office/drawing/2014/chart" uri="{C3380CC4-5D6E-409C-BE32-E72D297353CC}">
                <c16:uniqueId val="{000006B7-C110-4B3C-98C7-D19B20EBE8CB}"/>
              </c:ext>
            </c:extLst>
          </c:dPt>
          <c:dPt>
            <c:idx val="859"/>
            <c:invertIfNegative val="1"/>
            <c:bubble3D val="0"/>
            <c:spPr>
              <a:solidFill>
                <a:srgbClr val="AEABAB"/>
              </a:solidFill>
            </c:spPr>
            <c:extLst>
              <c:ext xmlns:c16="http://schemas.microsoft.com/office/drawing/2014/chart" uri="{C3380CC4-5D6E-409C-BE32-E72D297353CC}">
                <c16:uniqueId val="{000006B9-C110-4B3C-98C7-D19B20EBE8CB}"/>
              </c:ext>
            </c:extLst>
          </c:dPt>
          <c:dPt>
            <c:idx val="860"/>
            <c:invertIfNegative val="1"/>
            <c:bubble3D val="0"/>
            <c:spPr>
              <a:solidFill>
                <a:srgbClr val="AEABAB"/>
              </a:solidFill>
            </c:spPr>
            <c:extLst>
              <c:ext xmlns:c16="http://schemas.microsoft.com/office/drawing/2014/chart" uri="{C3380CC4-5D6E-409C-BE32-E72D297353CC}">
                <c16:uniqueId val="{000006BB-C110-4B3C-98C7-D19B20EBE8CB}"/>
              </c:ext>
            </c:extLst>
          </c:dPt>
          <c:dPt>
            <c:idx val="861"/>
            <c:invertIfNegative val="1"/>
            <c:bubble3D val="0"/>
            <c:spPr>
              <a:solidFill>
                <a:srgbClr val="AEABAB"/>
              </a:solidFill>
            </c:spPr>
            <c:extLst>
              <c:ext xmlns:c16="http://schemas.microsoft.com/office/drawing/2014/chart" uri="{C3380CC4-5D6E-409C-BE32-E72D297353CC}">
                <c16:uniqueId val="{000006BD-C110-4B3C-98C7-D19B20EBE8CB}"/>
              </c:ext>
            </c:extLst>
          </c:dPt>
          <c:dPt>
            <c:idx val="862"/>
            <c:invertIfNegative val="1"/>
            <c:bubble3D val="0"/>
            <c:spPr>
              <a:solidFill>
                <a:srgbClr val="AEABAB"/>
              </a:solidFill>
            </c:spPr>
            <c:extLst>
              <c:ext xmlns:c16="http://schemas.microsoft.com/office/drawing/2014/chart" uri="{C3380CC4-5D6E-409C-BE32-E72D297353CC}">
                <c16:uniqueId val="{000006BF-C110-4B3C-98C7-D19B20EBE8CB}"/>
              </c:ext>
            </c:extLst>
          </c:dPt>
          <c:dPt>
            <c:idx val="863"/>
            <c:invertIfNegative val="1"/>
            <c:bubble3D val="0"/>
            <c:spPr>
              <a:solidFill>
                <a:srgbClr val="AEABAB"/>
              </a:solidFill>
            </c:spPr>
            <c:extLst>
              <c:ext xmlns:c16="http://schemas.microsoft.com/office/drawing/2014/chart" uri="{C3380CC4-5D6E-409C-BE32-E72D297353CC}">
                <c16:uniqueId val="{000006C1-C110-4B3C-98C7-D19B20EBE8CB}"/>
              </c:ext>
            </c:extLst>
          </c:dPt>
          <c:dPt>
            <c:idx val="864"/>
            <c:invertIfNegative val="1"/>
            <c:bubble3D val="0"/>
            <c:spPr>
              <a:solidFill>
                <a:srgbClr val="AEABAB"/>
              </a:solidFill>
            </c:spPr>
            <c:extLst>
              <c:ext xmlns:c16="http://schemas.microsoft.com/office/drawing/2014/chart" uri="{C3380CC4-5D6E-409C-BE32-E72D297353CC}">
                <c16:uniqueId val="{000006C3-C110-4B3C-98C7-D19B20EBE8CB}"/>
              </c:ext>
            </c:extLst>
          </c:dPt>
          <c:dPt>
            <c:idx val="865"/>
            <c:invertIfNegative val="1"/>
            <c:bubble3D val="0"/>
            <c:spPr>
              <a:solidFill>
                <a:srgbClr val="AEABAB"/>
              </a:solidFill>
            </c:spPr>
            <c:extLst>
              <c:ext xmlns:c16="http://schemas.microsoft.com/office/drawing/2014/chart" uri="{C3380CC4-5D6E-409C-BE32-E72D297353CC}">
                <c16:uniqueId val="{000006C5-C110-4B3C-98C7-D19B20EBE8CB}"/>
              </c:ext>
            </c:extLst>
          </c:dPt>
          <c:dPt>
            <c:idx val="866"/>
            <c:invertIfNegative val="1"/>
            <c:bubble3D val="0"/>
            <c:spPr>
              <a:solidFill>
                <a:srgbClr val="AEABAB"/>
              </a:solidFill>
            </c:spPr>
            <c:extLst>
              <c:ext xmlns:c16="http://schemas.microsoft.com/office/drawing/2014/chart" uri="{C3380CC4-5D6E-409C-BE32-E72D297353CC}">
                <c16:uniqueId val="{000006C7-C110-4B3C-98C7-D19B20EBE8CB}"/>
              </c:ext>
            </c:extLst>
          </c:dPt>
          <c:dPt>
            <c:idx val="867"/>
            <c:invertIfNegative val="1"/>
            <c:bubble3D val="0"/>
            <c:spPr>
              <a:solidFill>
                <a:srgbClr val="AEABAB"/>
              </a:solidFill>
            </c:spPr>
            <c:extLst>
              <c:ext xmlns:c16="http://schemas.microsoft.com/office/drawing/2014/chart" uri="{C3380CC4-5D6E-409C-BE32-E72D297353CC}">
                <c16:uniqueId val="{000006C9-C110-4B3C-98C7-D19B20EBE8CB}"/>
              </c:ext>
            </c:extLst>
          </c:dPt>
          <c:dPt>
            <c:idx val="868"/>
            <c:invertIfNegative val="1"/>
            <c:bubble3D val="0"/>
            <c:spPr>
              <a:solidFill>
                <a:srgbClr val="AEABAB"/>
              </a:solidFill>
            </c:spPr>
            <c:extLst>
              <c:ext xmlns:c16="http://schemas.microsoft.com/office/drawing/2014/chart" uri="{C3380CC4-5D6E-409C-BE32-E72D297353CC}">
                <c16:uniqueId val="{000006CB-C110-4B3C-98C7-D19B20EBE8CB}"/>
              </c:ext>
            </c:extLst>
          </c:dPt>
          <c:dPt>
            <c:idx val="869"/>
            <c:invertIfNegative val="1"/>
            <c:bubble3D val="0"/>
            <c:spPr>
              <a:solidFill>
                <a:srgbClr val="AEABAB"/>
              </a:solidFill>
            </c:spPr>
            <c:extLst>
              <c:ext xmlns:c16="http://schemas.microsoft.com/office/drawing/2014/chart" uri="{C3380CC4-5D6E-409C-BE32-E72D297353CC}">
                <c16:uniqueId val="{000006CD-C110-4B3C-98C7-D19B20EBE8CB}"/>
              </c:ext>
            </c:extLst>
          </c:dPt>
          <c:dPt>
            <c:idx val="870"/>
            <c:invertIfNegative val="1"/>
            <c:bubble3D val="0"/>
            <c:spPr>
              <a:solidFill>
                <a:srgbClr val="AEABAB"/>
              </a:solidFill>
            </c:spPr>
            <c:extLst>
              <c:ext xmlns:c16="http://schemas.microsoft.com/office/drawing/2014/chart" uri="{C3380CC4-5D6E-409C-BE32-E72D297353CC}">
                <c16:uniqueId val="{000006CF-C110-4B3C-98C7-D19B20EBE8CB}"/>
              </c:ext>
            </c:extLst>
          </c:dPt>
          <c:dPt>
            <c:idx val="871"/>
            <c:invertIfNegative val="1"/>
            <c:bubble3D val="0"/>
            <c:spPr>
              <a:solidFill>
                <a:srgbClr val="AEABAB"/>
              </a:solidFill>
            </c:spPr>
            <c:extLst>
              <c:ext xmlns:c16="http://schemas.microsoft.com/office/drawing/2014/chart" uri="{C3380CC4-5D6E-409C-BE32-E72D297353CC}">
                <c16:uniqueId val="{000006D1-C110-4B3C-98C7-D19B20EBE8CB}"/>
              </c:ext>
            </c:extLst>
          </c:dPt>
          <c:dPt>
            <c:idx val="872"/>
            <c:invertIfNegative val="1"/>
            <c:bubble3D val="0"/>
            <c:spPr>
              <a:solidFill>
                <a:srgbClr val="AEABAB"/>
              </a:solidFill>
            </c:spPr>
            <c:extLst>
              <c:ext xmlns:c16="http://schemas.microsoft.com/office/drawing/2014/chart" uri="{C3380CC4-5D6E-409C-BE32-E72D297353CC}">
                <c16:uniqueId val="{000006D3-C110-4B3C-98C7-D19B20EBE8CB}"/>
              </c:ext>
            </c:extLst>
          </c:dPt>
          <c:dPt>
            <c:idx val="873"/>
            <c:invertIfNegative val="1"/>
            <c:bubble3D val="0"/>
            <c:spPr>
              <a:solidFill>
                <a:srgbClr val="AEABAB"/>
              </a:solidFill>
            </c:spPr>
            <c:extLst>
              <c:ext xmlns:c16="http://schemas.microsoft.com/office/drawing/2014/chart" uri="{C3380CC4-5D6E-409C-BE32-E72D297353CC}">
                <c16:uniqueId val="{000006D5-C110-4B3C-98C7-D19B20EBE8CB}"/>
              </c:ext>
            </c:extLst>
          </c:dPt>
          <c:dPt>
            <c:idx val="874"/>
            <c:invertIfNegative val="1"/>
            <c:bubble3D val="0"/>
            <c:spPr>
              <a:solidFill>
                <a:srgbClr val="AEABAB"/>
              </a:solidFill>
            </c:spPr>
            <c:extLst>
              <c:ext xmlns:c16="http://schemas.microsoft.com/office/drawing/2014/chart" uri="{C3380CC4-5D6E-409C-BE32-E72D297353CC}">
                <c16:uniqueId val="{000006D7-C110-4B3C-98C7-D19B20EBE8CB}"/>
              </c:ext>
            </c:extLst>
          </c:dPt>
          <c:dPt>
            <c:idx val="875"/>
            <c:invertIfNegative val="1"/>
            <c:bubble3D val="0"/>
            <c:spPr>
              <a:solidFill>
                <a:srgbClr val="AEABAB"/>
              </a:solidFill>
            </c:spPr>
            <c:extLst>
              <c:ext xmlns:c16="http://schemas.microsoft.com/office/drawing/2014/chart" uri="{C3380CC4-5D6E-409C-BE32-E72D297353CC}">
                <c16:uniqueId val="{000006D9-C110-4B3C-98C7-D19B20EBE8CB}"/>
              </c:ext>
            </c:extLst>
          </c:dPt>
          <c:dPt>
            <c:idx val="876"/>
            <c:invertIfNegative val="1"/>
            <c:bubble3D val="0"/>
            <c:spPr>
              <a:solidFill>
                <a:srgbClr val="AEABAB"/>
              </a:solidFill>
            </c:spPr>
            <c:extLst>
              <c:ext xmlns:c16="http://schemas.microsoft.com/office/drawing/2014/chart" uri="{C3380CC4-5D6E-409C-BE32-E72D297353CC}">
                <c16:uniqueId val="{000006DB-C110-4B3C-98C7-D19B20EBE8CB}"/>
              </c:ext>
            </c:extLst>
          </c:dPt>
          <c:dPt>
            <c:idx val="877"/>
            <c:invertIfNegative val="1"/>
            <c:bubble3D val="0"/>
            <c:spPr>
              <a:solidFill>
                <a:srgbClr val="AEABAB"/>
              </a:solidFill>
            </c:spPr>
            <c:extLst>
              <c:ext xmlns:c16="http://schemas.microsoft.com/office/drawing/2014/chart" uri="{C3380CC4-5D6E-409C-BE32-E72D297353CC}">
                <c16:uniqueId val="{000006DD-C110-4B3C-98C7-D19B20EBE8CB}"/>
              </c:ext>
            </c:extLst>
          </c:dPt>
          <c:dPt>
            <c:idx val="878"/>
            <c:invertIfNegative val="1"/>
            <c:bubble3D val="0"/>
            <c:spPr>
              <a:solidFill>
                <a:srgbClr val="AEABAB"/>
              </a:solidFill>
            </c:spPr>
            <c:extLst>
              <c:ext xmlns:c16="http://schemas.microsoft.com/office/drawing/2014/chart" uri="{C3380CC4-5D6E-409C-BE32-E72D297353CC}">
                <c16:uniqueId val="{000006DF-C110-4B3C-98C7-D19B20EBE8CB}"/>
              </c:ext>
            </c:extLst>
          </c:dPt>
          <c:dPt>
            <c:idx val="879"/>
            <c:invertIfNegative val="1"/>
            <c:bubble3D val="0"/>
            <c:spPr>
              <a:solidFill>
                <a:srgbClr val="AEABAB"/>
              </a:solidFill>
            </c:spPr>
            <c:extLst>
              <c:ext xmlns:c16="http://schemas.microsoft.com/office/drawing/2014/chart" uri="{C3380CC4-5D6E-409C-BE32-E72D297353CC}">
                <c16:uniqueId val="{000006E1-C110-4B3C-98C7-D19B20EBE8CB}"/>
              </c:ext>
            </c:extLst>
          </c:dPt>
          <c:dPt>
            <c:idx val="880"/>
            <c:invertIfNegative val="1"/>
            <c:bubble3D val="0"/>
            <c:spPr>
              <a:solidFill>
                <a:srgbClr val="AEABAB"/>
              </a:solidFill>
            </c:spPr>
            <c:extLst>
              <c:ext xmlns:c16="http://schemas.microsoft.com/office/drawing/2014/chart" uri="{C3380CC4-5D6E-409C-BE32-E72D297353CC}">
                <c16:uniqueId val="{000006E3-C110-4B3C-98C7-D19B20EBE8CB}"/>
              </c:ext>
            </c:extLst>
          </c:dPt>
          <c:dPt>
            <c:idx val="881"/>
            <c:invertIfNegative val="1"/>
            <c:bubble3D val="0"/>
            <c:spPr>
              <a:solidFill>
                <a:srgbClr val="AEABAB"/>
              </a:solidFill>
            </c:spPr>
            <c:extLst>
              <c:ext xmlns:c16="http://schemas.microsoft.com/office/drawing/2014/chart" uri="{C3380CC4-5D6E-409C-BE32-E72D297353CC}">
                <c16:uniqueId val="{000006E5-C110-4B3C-98C7-D19B20EBE8CB}"/>
              </c:ext>
            </c:extLst>
          </c:dPt>
          <c:dPt>
            <c:idx val="882"/>
            <c:invertIfNegative val="1"/>
            <c:bubble3D val="0"/>
            <c:spPr>
              <a:solidFill>
                <a:srgbClr val="AEABAB"/>
              </a:solidFill>
            </c:spPr>
            <c:extLst>
              <c:ext xmlns:c16="http://schemas.microsoft.com/office/drawing/2014/chart" uri="{C3380CC4-5D6E-409C-BE32-E72D297353CC}">
                <c16:uniqueId val="{000006E7-C110-4B3C-98C7-D19B20EBE8CB}"/>
              </c:ext>
            </c:extLst>
          </c:dPt>
          <c:dPt>
            <c:idx val="883"/>
            <c:invertIfNegative val="1"/>
            <c:bubble3D val="0"/>
            <c:spPr>
              <a:solidFill>
                <a:srgbClr val="AEABAB"/>
              </a:solidFill>
            </c:spPr>
            <c:extLst>
              <c:ext xmlns:c16="http://schemas.microsoft.com/office/drawing/2014/chart" uri="{C3380CC4-5D6E-409C-BE32-E72D297353CC}">
                <c16:uniqueId val="{000006E9-C110-4B3C-98C7-D19B20EBE8CB}"/>
              </c:ext>
            </c:extLst>
          </c:dPt>
          <c:dPt>
            <c:idx val="884"/>
            <c:invertIfNegative val="1"/>
            <c:bubble3D val="0"/>
            <c:spPr>
              <a:solidFill>
                <a:srgbClr val="AEABAB"/>
              </a:solidFill>
            </c:spPr>
            <c:extLst>
              <c:ext xmlns:c16="http://schemas.microsoft.com/office/drawing/2014/chart" uri="{C3380CC4-5D6E-409C-BE32-E72D297353CC}">
                <c16:uniqueId val="{000006EB-C110-4B3C-98C7-D19B20EBE8CB}"/>
              </c:ext>
            </c:extLst>
          </c:dPt>
          <c:dPt>
            <c:idx val="885"/>
            <c:invertIfNegative val="1"/>
            <c:bubble3D val="0"/>
            <c:spPr>
              <a:solidFill>
                <a:srgbClr val="AEABAB"/>
              </a:solidFill>
            </c:spPr>
            <c:extLst>
              <c:ext xmlns:c16="http://schemas.microsoft.com/office/drawing/2014/chart" uri="{C3380CC4-5D6E-409C-BE32-E72D297353CC}">
                <c16:uniqueId val="{000006ED-C110-4B3C-98C7-D19B20EBE8CB}"/>
              </c:ext>
            </c:extLst>
          </c:dPt>
          <c:dPt>
            <c:idx val="886"/>
            <c:invertIfNegative val="1"/>
            <c:bubble3D val="0"/>
            <c:spPr>
              <a:solidFill>
                <a:srgbClr val="AEABAB"/>
              </a:solidFill>
            </c:spPr>
            <c:extLst>
              <c:ext xmlns:c16="http://schemas.microsoft.com/office/drawing/2014/chart" uri="{C3380CC4-5D6E-409C-BE32-E72D297353CC}">
                <c16:uniqueId val="{000006EF-C110-4B3C-98C7-D19B20EBE8CB}"/>
              </c:ext>
            </c:extLst>
          </c:dPt>
          <c:dPt>
            <c:idx val="887"/>
            <c:invertIfNegative val="1"/>
            <c:bubble3D val="0"/>
            <c:spPr>
              <a:solidFill>
                <a:srgbClr val="AEABAB"/>
              </a:solidFill>
            </c:spPr>
            <c:extLst>
              <c:ext xmlns:c16="http://schemas.microsoft.com/office/drawing/2014/chart" uri="{C3380CC4-5D6E-409C-BE32-E72D297353CC}">
                <c16:uniqueId val="{000006F1-C110-4B3C-98C7-D19B20EBE8CB}"/>
              </c:ext>
            </c:extLst>
          </c:dPt>
          <c:dPt>
            <c:idx val="888"/>
            <c:invertIfNegative val="1"/>
            <c:bubble3D val="0"/>
            <c:spPr>
              <a:solidFill>
                <a:srgbClr val="AEABAB"/>
              </a:solidFill>
            </c:spPr>
            <c:extLst>
              <c:ext xmlns:c16="http://schemas.microsoft.com/office/drawing/2014/chart" uri="{C3380CC4-5D6E-409C-BE32-E72D297353CC}">
                <c16:uniqueId val="{000006F3-C110-4B3C-98C7-D19B20EBE8CB}"/>
              </c:ext>
            </c:extLst>
          </c:dPt>
          <c:dPt>
            <c:idx val="889"/>
            <c:invertIfNegative val="1"/>
            <c:bubble3D val="0"/>
            <c:spPr>
              <a:solidFill>
                <a:srgbClr val="AEABAB"/>
              </a:solidFill>
            </c:spPr>
            <c:extLst>
              <c:ext xmlns:c16="http://schemas.microsoft.com/office/drawing/2014/chart" uri="{C3380CC4-5D6E-409C-BE32-E72D297353CC}">
                <c16:uniqueId val="{000006F5-C110-4B3C-98C7-D19B20EBE8CB}"/>
              </c:ext>
            </c:extLst>
          </c:dPt>
          <c:dPt>
            <c:idx val="890"/>
            <c:invertIfNegative val="1"/>
            <c:bubble3D val="0"/>
            <c:spPr>
              <a:solidFill>
                <a:srgbClr val="AEABAB"/>
              </a:solidFill>
            </c:spPr>
            <c:extLst>
              <c:ext xmlns:c16="http://schemas.microsoft.com/office/drawing/2014/chart" uri="{C3380CC4-5D6E-409C-BE32-E72D297353CC}">
                <c16:uniqueId val="{000006F7-C110-4B3C-98C7-D19B20EBE8CB}"/>
              </c:ext>
            </c:extLst>
          </c:dPt>
          <c:dPt>
            <c:idx val="891"/>
            <c:invertIfNegative val="1"/>
            <c:bubble3D val="0"/>
            <c:spPr>
              <a:solidFill>
                <a:srgbClr val="AEABAB"/>
              </a:solidFill>
            </c:spPr>
            <c:extLst>
              <c:ext xmlns:c16="http://schemas.microsoft.com/office/drawing/2014/chart" uri="{C3380CC4-5D6E-409C-BE32-E72D297353CC}">
                <c16:uniqueId val="{000006F9-C110-4B3C-98C7-D19B20EBE8CB}"/>
              </c:ext>
            </c:extLst>
          </c:dPt>
          <c:dPt>
            <c:idx val="892"/>
            <c:invertIfNegative val="1"/>
            <c:bubble3D val="0"/>
            <c:spPr>
              <a:solidFill>
                <a:srgbClr val="AEABAB"/>
              </a:solidFill>
            </c:spPr>
            <c:extLst>
              <c:ext xmlns:c16="http://schemas.microsoft.com/office/drawing/2014/chart" uri="{C3380CC4-5D6E-409C-BE32-E72D297353CC}">
                <c16:uniqueId val="{000006FB-C110-4B3C-98C7-D19B20EBE8CB}"/>
              </c:ext>
            </c:extLst>
          </c:dPt>
          <c:dPt>
            <c:idx val="893"/>
            <c:invertIfNegative val="1"/>
            <c:bubble3D val="0"/>
            <c:spPr>
              <a:solidFill>
                <a:srgbClr val="AEABAB"/>
              </a:solidFill>
            </c:spPr>
            <c:extLst>
              <c:ext xmlns:c16="http://schemas.microsoft.com/office/drawing/2014/chart" uri="{C3380CC4-5D6E-409C-BE32-E72D297353CC}">
                <c16:uniqueId val="{000006FD-C110-4B3C-98C7-D19B20EBE8CB}"/>
              </c:ext>
            </c:extLst>
          </c:dPt>
          <c:dPt>
            <c:idx val="894"/>
            <c:invertIfNegative val="1"/>
            <c:bubble3D val="0"/>
            <c:spPr>
              <a:solidFill>
                <a:srgbClr val="AEABAB"/>
              </a:solidFill>
            </c:spPr>
            <c:extLst>
              <c:ext xmlns:c16="http://schemas.microsoft.com/office/drawing/2014/chart" uri="{C3380CC4-5D6E-409C-BE32-E72D297353CC}">
                <c16:uniqueId val="{000006FF-C110-4B3C-98C7-D19B20EBE8CB}"/>
              </c:ext>
            </c:extLst>
          </c:dPt>
          <c:dPt>
            <c:idx val="895"/>
            <c:invertIfNegative val="1"/>
            <c:bubble3D val="0"/>
            <c:spPr>
              <a:solidFill>
                <a:srgbClr val="AEABAB"/>
              </a:solidFill>
            </c:spPr>
            <c:extLst>
              <c:ext xmlns:c16="http://schemas.microsoft.com/office/drawing/2014/chart" uri="{C3380CC4-5D6E-409C-BE32-E72D297353CC}">
                <c16:uniqueId val="{00000701-C110-4B3C-98C7-D19B20EBE8CB}"/>
              </c:ext>
            </c:extLst>
          </c:dPt>
          <c:dPt>
            <c:idx val="896"/>
            <c:invertIfNegative val="1"/>
            <c:bubble3D val="0"/>
            <c:spPr>
              <a:solidFill>
                <a:srgbClr val="AEABAB"/>
              </a:solidFill>
            </c:spPr>
            <c:extLst>
              <c:ext xmlns:c16="http://schemas.microsoft.com/office/drawing/2014/chart" uri="{C3380CC4-5D6E-409C-BE32-E72D297353CC}">
                <c16:uniqueId val="{00000703-C110-4B3C-98C7-D19B20EBE8CB}"/>
              </c:ext>
            </c:extLst>
          </c:dPt>
          <c:dPt>
            <c:idx val="897"/>
            <c:invertIfNegative val="1"/>
            <c:bubble3D val="0"/>
            <c:spPr>
              <a:solidFill>
                <a:srgbClr val="AEABAB"/>
              </a:solidFill>
            </c:spPr>
            <c:extLst>
              <c:ext xmlns:c16="http://schemas.microsoft.com/office/drawing/2014/chart" uri="{C3380CC4-5D6E-409C-BE32-E72D297353CC}">
                <c16:uniqueId val="{00000705-C110-4B3C-98C7-D19B20EBE8CB}"/>
              </c:ext>
            </c:extLst>
          </c:dPt>
          <c:dPt>
            <c:idx val="898"/>
            <c:invertIfNegative val="1"/>
            <c:bubble3D val="0"/>
            <c:spPr>
              <a:solidFill>
                <a:srgbClr val="AEABAB"/>
              </a:solidFill>
            </c:spPr>
            <c:extLst>
              <c:ext xmlns:c16="http://schemas.microsoft.com/office/drawing/2014/chart" uri="{C3380CC4-5D6E-409C-BE32-E72D297353CC}">
                <c16:uniqueId val="{00000707-C110-4B3C-98C7-D19B20EBE8CB}"/>
              </c:ext>
            </c:extLst>
          </c:dPt>
          <c:dPt>
            <c:idx val="899"/>
            <c:invertIfNegative val="1"/>
            <c:bubble3D val="0"/>
            <c:spPr>
              <a:solidFill>
                <a:srgbClr val="AEABAB"/>
              </a:solidFill>
            </c:spPr>
            <c:extLst>
              <c:ext xmlns:c16="http://schemas.microsoft.com/office/drawing/2014/chart" uri="{C3380CC4-5D6E-409C-BE32-E72D297353CC}">
                <c16:uniqueId val="{00000709-C110-4B3C-98C7-D19B20EBE8CB}"/>
              </c:ext>
            </c:extLst>
          </c:dPt>
          <c:dPt>
            <c:idx val="900"/>
            <c:invertIfNegative val="1"/>
            <c:bubble3D val="0"/>
            <c:spPr>
              <a:solidFill>
                <a:srgbClr val="AEABAB"/>
              </a:solidFill>
            </c:spPr>
            <c:extLst>
              <c:ext xmlns:c16="http://schemas.microsoft.com/office/drawing/2014/chart" uri="{C3380CC4-5D6E-409C-BE32-E72D297353CC}">
                <c16:uniqueId val="{0000070B-C110-4B3C-98C7-D19B20EBE8CB}"/>
              </c:ext>
            </c:extLst>
          </c:dPt>
          <c:dPt>
            <c:idx val="901"/>
            <c:invertIfNegative val="1"/>
            <c:bubble3D val="0"/>
            <c:spPr>
              <a:solidFill>
                <a:srgbClr val="AEABAB"/>
              </a:solidFill>
            </c:spPr>
            <c:extLst>
              <c:ext xmlns:c16="http://schemas.microsoft.com/office/drawing/2014/chart" uri="{C3380CC4-5D6E-409C-BE32-E72D297353CC}">
                <c16:uniqueId val="{0000070D-C110-4B3C-98C7-D19B20EBE8CB}"/>
              </c:ext>
            </c:extLst>
          </c:dPt>
          <c:dPt>
            <c:idx val="902"/>
            <c:invertIfNegative val="1"/>
            <c:bubble3D val="0"/>
            <c:spPr>
              <a:solidFill>
                <a:srgbClr val="AEABAB"/>
              </a:solidFill>
            </c:spPr>
            <c:extLst>
              <c:ext xmlns:c16="http://schemas.microsoft.com/office/drawing/2014/chart" uri="{C3380CC4-5D6E-409C-BE32-E72D297353CC}">
                <c16:uniqueId val="{0000070F-C110-4B3C-98C7-D19B20EBE8CB}"/>
              </c:ext>
            </c:extLst>
          </c:dPt>
          <c:dPt>
            <c:idx val="903"/>
            <c:invertIfNegative val="1"/>
            <c:bubble3D val="0"/>
            <c:spPr>
              <a:solidFill>
                <a:srgbClr val="AEABAB"/>
              </a:solidFill>
            </c:spPr>
            <c:extLst>
              <c:ext xmlns:c16="http://schemas.microsoft.com/office/drawing/2014/chart" uri="{C3380CC4-5D6E-409C-BE32-E72D297353CC}">
                <c16:uniqueId val="{00000711-C110-4B3C-98C7-D19B20EBE8CB}"/>
              </c:ext>
            </c:extLst>
          </c:dPt>
          <c:dPt>
            <c:idx val="904"/>
            <c:invertIfNegative val="1"/>
            <c:bubble3D val="0"/>
            <c:spPr>
              <a:solidFill>
                <a:srgbClr val="AEABAB"/>
              </a:solidFill>
            </c:spPr>
            <c:extLst>
              <c:ext xmlns:c16="http://schemas.microsoft.com/office/drawing/2014/chart" uri="{C3380CC4-5D6E-409C-BE32-E72D297353CC}">
                <c16:uniqueId val="{00000713-C110-4B3C-98C7-D19B20EBE8CB}"/>
              </c:ext>
            </c:extLst>
          </c:dPt>
          <c:dPt>
            <c:idx val="905"/>
            <c:invertIfNegative val="1"/>
            <c:bubble3D val="0"/>
            <c:spPr>
              <a:solidFill>
                <a:srgbClr val="AEABAB"/>
              </a:solidFill>
            </c:spPr>
            <c:extLst>
              <c:ext xmlns:c16="http://schemas.microsoft.com/office/drawing/2014/chart" uri="{C3380CC4-5D6E-409C-BE32-E72D297353CC}">
                <c16:uniqueId val="{00000715-C110-4B3C-98C7-D19B20EBE8CB}"/>
              </c:ext>
            </c:extLst>
          </c:dPt>
          <c:dPt>
            <c:idx val="906"/>
            <c:invertIfNegative val="1"/>
            <c:bubble3D val="0"/>
            <c:spPr>
              <a:solidFill>
                <a:srgbClr val="AEABAB"/>
              </a:solidFill>
            </c:spPr>
            <c:extLst>
              <c:ext xmlns:c16="http://schemas.microsoft.com/office/drawing/2014/chart" uri="{C3380CC4-5D6E-409C-BE32-E72D297353CC}">
                <c16:uniqueId val="{00000717-C110-4B3C-98C7-D19B20EBE8CB}"/>
              </c:ext>
            </c:extLst>
          </c:dPt>
          <c:dPt>
            <c:idx val="907"/>
            <c:invertIfNegative val="1"/>
            <c:bubble3D val="0"/>
            <c:spPr>
              <a:solidFill>
                <a:srgbClr val="AEABAB"/>
              </a:solidFill>
            </c:spPr>
            <c:extLst>
              <c:ext xmlns:c16="http://schemas.microsoft.com/office/drawing/2014/chart" uri="{C3380CC4-5D6E-409C-BE32-E72D297353CC}">
                <c16:uniqueId val="{00000719-C110-4B3C-98C7-D19B20EBE8CB}"/>
              </c:ext>
            </c:extLst>
          </c:dPt>
          <c:dPt>
            <c:idx val="908"/>
            <c:invertIfNegative val="1"/>
            <c:bubble3D val="0"/>
            <c:spPr>
              <a:solidFill>
                <a:srgbClr val="AEABAB"/>
              </a:solidFill>
            </c:spPr>
            <c:extLst>
              <c:ext xmlns:c16="http://schemas.microsoft.com/office/drawing/2014/chart" uri="{C3380CC4-5D6E-409C-BE32-E72D297353CC}">
                <c16:uniqueId val="{0000071B-C110-4B3C-98C7-D19B20EBE8CB}"/>
              </c:ext>
            </c:extLst>
          </c:dPt>
          <c:dPt>
            <c:idx val="909"/>
            <c:invertIfNegative val="1"/>
            <c:bubble3D val="0"/>
            <c:spPr>
              <a:solidFill>
                <a:srgbClr val="AEABAB"/>
              </a:solidFill>
            </c:spPr>
            <c:extLst>
              <c:ext xmlns:c16="http://schemas.microsoft.com/office/drawing/2014/chart" uri="{C3380CC4-5D6E-409C-BE32-E72D297353CC}">
                <c16:uniqueId val="{0000071D-C110-4B3C-98C7-D19B20EBE8CB}"/>
              </c:ext>
            </c:extLst>
          </c:dPt>
          <c:dPt>
            <c:idx val="910"/>
            <c:invertIfNegative val="1"/>
            <c:bubble3D val="0"/>
            <c:spPr>
              <a:solidFill>
                <a:srgbClr val="AEABAB"/>
              </a:solidFill>
            </c:spPr>
            <c:extLst>
              <c:ext xmlns:c16="http://schemas.microsoft.com/office/drawing/2014/chart" uri="{C3380CC4-5D6E-409C-BE32-E72D297353CC}">
                <c16:uniqueId val="{0000071F-C110-4B3C-98C7-D19B20EBE8CB}"/>
              </c:ext>
            </c:extLst>
          </c:dPt>
          <c:dPt>
            <c:idx val="911"/>
            <c:invertIfNegative val="1"/>
            <c:bubble3D val="0"/>
            <c:spPr>
              <a:solidFill>
                <a:srgbClr val="AEABAB"/>
              </a:solidFill>
            </c:spPr>
            <c:extLst>
              <c:ext xmlns:c16="http://schemas.microsoft.com/office/drawing/2014/chart" uri="{C3380CC4-5D6E-409C-BE32-E72D297353CC}">
                <c16:uniqueId val="{00000721-C110-4B3C-98C7-D19B20EBE8CB}"/>
              </c:ext>
            </c:extLst>
          </c:dPt>
          <c:dPt>
            <c:idx val="912"/>
            <c:invertIfNegative val="1"/>
            <c:bubble3D val="0"/>
            <c:spPr>
              <a:solidFill>
                <a:srgbClr val="AEABAB"/>
              </a:solidFill>
            </c:spPr>
            <c:extLst>
              <c:ext xmlns:c16="http://schemas.microsoft.com/office/drawing/2014/chart" uri="{C3380CC4-5D6E-409C-BE32-E72D297353CC}">
                <c16:uniqueId val="{00000723-C110-4B3C-98C7-D19B20EBE8CB}"/>
              </c:ext>
            </c:extLst>
          </c:dPt>
          <c:dPt>
            <c:idx val="913"/>
            <c:invertIfNegative val="1"/>
            <c:bubble3D val="0"/>
            <c:spPr>
              <a:solidFill>
                <a:srgbClr val="AEABAB"/>
              </a:solidFill>
            </c:spPr>
            <c:extLst>
              <c:ext xmlns:c16="http://schemas.microsoft.com/office/drawing/2014/chart" uri="{C3380CC4-5D6E-409C-BE32-E72D297353CC}">
                <c16:uniqueId val="{00000725-C110-4B3C-98C7-D19B20EBE8CB}"/>
              </c:ext>
            </c:extLst>
          </c:dPt>
          <c:dPt>
            <c:idx val="914"/>
            <c:invertIfNegative val="1"/>
            <c:bubble3D val="0"/>
            <c:spPr>
              <a:solidFill>
                <a:srgbClr val="AEABAB"/>
              </a:solidFill>
            </c:spPr>
            <c:extLst>
              <c:ext xmlns:c16="http://schemas.microsoft.com/office/drawing/2014/chart" uri="{C3380CC4-5D6E-409C-BE32-E72D297353CC}">
                <c16:uniqueId val="{00000727-C110-4B3C-98C7-D19B20EBE8CB}"/>
              </c:ext>
            </c:extLst>
          </c:dPt>
          <c:dPt>
            <c:idx val="915"/>
            <c:invertIfNegative val="1"/>
            <c:bubble3D val="0"/>
            <c:spPr>
              <a:solidFill>
                <a:srgbClr val="AEABAB"/>
              </a:solidFill>
            </c:spPr>
            <c:extLst>
              <c:ext xmlns:c16="http://schemas.microsoft.com/office/drawing/2014/chart" uri="{C3380CC4-5D6E-409C-BE32-E72D297353CC}">
                <c16:uniqueId val="{00000729-C110-4B3C-98C7-D19B20EBE8CB}"/>
              </c:ext>
            </c:extLst>
          </c:dPt>
          <c:dPt>
            <c:idx val="916"/>
            <c:invertIfNegative val="1"/>
            <c:bubble3D val="0"/>
            <c:spPr>
              <a:solidFill>
                <a:srgbClr val="AEABAB"/>
              </a:solidFill>
            </c:spPr>
            <c:extLst>
              <c:ext xmlns:c16="http://schemas.microsoft.com/office/drawing/2014/chart" uri="{C3380CC4-5D6E-409C-BE32-E72D297353CC}">
                <c16:uniqueId val="{0000072B-C110-4B3C-98C7-D19B20EBE8CB}"/>
              </c:ext>
            </c:extLst>
          </c:dPt>
          <c:dPt>
            <c:idx val="917"/>
            <c:invertIfNegative val="1"/>
            <c:bubble3D val="0"/>
            <c:spPr>
              <a:solidFill>
                <a:srgbClr val="AEABAB"/>
              </a:solidFill>
            </c:spPr>
            <c:extLst>
              <c:ext xmlns:c16="http://schemas.microsoft.com/office/drawing/2014/chart" uri="{C3380CC4-5D6E-409C-BE32-E72D297353CC}">
                <c16:uniqueId val="{0000072D-C110-4B3C-98C7-D19B20EBE8CB}"/>
              </c:ext>
            </c:extLst>
          </c:dPt>
          <c:dPt>
            <c:idx val="918"/>
            <c:invertIfNegative val="1"/>
            <c:bubble3D val="0"/>
            <c:spPr>
              <a:solidFill>
                <a:srgbClr val="AEABAB"/>
              </a:solidFill>
            </c:spPr>
            <c:extLst>
              <c:ext xmlns:c16="http://schemas.microsoft.com/office/drawing/2014/chart" uri="{C3380CC4-5D6E-409C-BE32-E72D297353CC}">
                <c16:uniqueId val="{0000072F-C110-4B3C-98C7-D19B20EBE8CB}"/>
              </c:ext>
            </c:extLst>
          </c:dPt>
          <c:dPt>
            <c:idx val="919"/>
            <c:invertIfNegative val="1"/>
            <c:bubble3D val="0"/>
            <c:spPr>
              <a:solidFill>
                <a:srgbClr val="AEABAB"/>
              </a:solidFill>
            </c:spPr>
            <c:extLst>
              <c:ext xmlns:c16="http://schemas.microsoft.com/office/drawing/2014/chart" uri="{C3380CC4-5D6E-409C-BE32-E72D297353CC}">
                <c16:uniqueId val="{00000731-C110-4B3C-98C7-D19B20EBE8CB}"/>
              </c:ext>
            </c:extLst>
          </c:dPt>
          <c:dPt>
            <c:idx val="920"/>
            <c:invertIfNegative val="1"/>
            <c:bubble3D val="0"/>
            <c:spPr>
              <a:solidFill>
                <a:srgbClr val="AEABAB"/>
              </a:solidFill>
            </c:spPr>
            <c:extLst>
              <c:ext xmlns:c16="http://schemas.microsoft.com/office/drawing/2014/chart" uri="{C3380CC4-5D6E-409C-BE32-E72D297353CC}">
                <c16:uniqueId val="{00000733-C110-4B3C-98C7-D19B20EBE8CB}"/>
              </c:ext>
            </c:extLst>
          </c:dPt>
          <c:dPt>
            <c:idx val="921"/>
            <c:invertIfNegative val="1"/>
            <c:bubble3D val="0"/>
            <c:spPr>
              <a:solidFill>
                <a:srgbClr val="AEABAB"/>
              </a:solidFill>
            </c:spPr>
            <c:extLst>
              <c:ext xmlns:c16="http://schemas.microsoft.com/office/drawing/2014/chart" uri="{C3380CC4-5D6E-409C-BE32-E72D297353CC}">
                <c16:uniqueId val="{00000735-C110-4B3C-98C7-D19B20EBE8CB}"/>
              </c:ext>
            </c:extLst>
          </c:dPt>
          <c:dPt>
            <c:idx val="922"/>
            <c:invertIfNegative val="1"/>
            <c:bubble3D val="0"/>
            <c:spPr>
              <a:solidFill>
                <a:srgbClr val="AEABAB"/>
              </a:solidFill>
            </c:spPr>
            <c:extLst>
              <c:ext xmlns:c16="http://schemas.microsoft.com/office/drawing/2014/chart" uri="{C3380CC4-5D6E-409C-BE32-E72D297353CC}">
                <c16:uniqueId val="{00000737-C110-4B3C-98C7-D19B20EBE8CB}"/>
              </c:ext>
            </c:extLst>
          </c:dPt>
          <c:dPt>
            <c:idx val="923"/>
            <c:invertIfNegative val="1"/>
            <c:bubble3D val="0"/>
            <c:spPr>
              <a:solidFill>
                <a:srgbClr val="AEABAB"/>
              </a:solidFill>
            </c:spPr>
            <c:extLst>
              <c:ext xmlns:c16="http://schemas.microsoft.com/office/drawing/2014/chart" uri="{C3380CC4-5D6E-409C-BE32-E72D297353CC}">
                <c16:uniqueId val="{00000739-C110-4B3C-98C7-D19B20EBE8CB}"/>
              </c:ext>
            </c:extLst>
          </c:dPt>
          <c:dPt>
            <c:idx val="924"/>
            <c:invertIfNegative val="1"/>
            <c:bubble3D val="0"/>
            <c:spPr>
              <a:solidFill>
                <a:srgbClr val="AEABAB"/>
              </a:solidFill>
            </c:spPr>
            <c:extLst>
              <c:ext xmlns:c16="http://schemas.microsoft.com/office/drawing/2014/chart" uri="{C3380CC4-5D6E-409C-BE32-E72D297353CC}">
                <c16:uniqueId val="{0000073B-C110-4B3C-98C7-D19B20EBE8CB}"/>
              </c:ext>
            </c:extLst>
          </c:dPt>
          <c:dPt>
            <c:idx val="925"/>
            <c:invertIfNegative val="1"/>
            <c:bubble3D val="0"/>
            <c:spPr>
              <a:solidFill>
                <a:srgbClr val="AEABAB"/>
              </a:solidFill>
            </c:spPr>
            <c:extLst>
              <c:ext xmlns:c16="http://schemas.microsoft.com/office/drawing/2014/chart" uri="{C3380CC4-5D6E-409C-BE32-E72D297353CC}">
                <c16:uniqueId val="{0000073D-C110-4B3C-98C7-D19B20EBE8CB}"/>
              </c:ext>
            </c:extLst>
          </c:dPt>
          <c:dPt>
            <c:idx val="926"/>
            <c:invertIfNegative val="1"/>
            <c:bubble3D val="0"/>
            <c:spPr>
              <a:solidFill>
                <a:srgbClr val="AEABAB"/>
              </a:solidFill>
            </c:spPr>
            <c:extLst>
              <c:ext xmlns:c16="http://schemas.microsoft.com/office/drawing/2014/chart" uri="{C3380CC4-5D6E-409C-BE32-E72D297353CC}">
                <c16:uniqueId val="{0000073F-C110-4B3C-98C7-D19B20EBE8CB}"/>
              </c:ext>
            </c:extLst>
          </c:dPt>
          <c:dPt>
            <c:idx val="927"/>
            <c:invertIfNegative val="1"/>
            <c:bubble3D val="0"/>
            <c:spPr>
              <a:solidFill>
                <a:srgbClr val="AEABAB"/>
              </a:solidFill>
            </c:spPr>
            <c:extLst>
              <c:ext xmlns:c16="http://schemas.microsoft.com/office/drawing/2014/chart" uri="{C3380CC4-5D6E-409C-BE32-E72D297353CC}">
                <c16:uniqueId val="{00000741-C110-4B3C-98C7-D19B20EBE8CB}"/>
              </c:ext>
            </c:extLst>
          </c:dPt>
          <c:dPt>
            <c:idx val="928"/>
            <c:invertIfNegative val="1"/>
            <c:bubble3D val="0"/>
            <c:spPr>
              <a:solidFill>
                <a:srgbClr val="AEABAB"/>
              </a:solidFill>
            </c:spPr>
            <c:extLst>
              <c:ext xmlns:c16="http://schemas.microsoft.com/office/drawing/2014/chart" uri="{C3380CC4-5D6E-409C-BE32-E72D297353CC}">
                <c16:uniqueId val="{00000743-C110-4B3C-98C7-D19B20EBE8CB}"/>
              </c:ext>
            </c:extLst>
          </c:dPt>
          <c:dPt>
            <c:idx val="929"/>
            <c:invertIfNegative val="1"/>
            <c:bubble3D val="0"/>
            <c:spPr>
              <a:solidFill>
                <a:srgbClr val="AEABAB"/>
              </a:solidFill>
            </c:spPr>
            <c:extLst>
              <c:ext xmlns:c16="http://schemas.microsoft.com/office/drawing/2014/chart" uri="{C3380CC4-5D6E-409C-BE32-E72D297353CC}">
                <c16:uniqueId val="{00000745-C110-4B3C-98C7-D19B20EBE8CB}"/>
              </c:ext>
            </c:extLst>
          </c:dPt>
          <c:dPt>
            <c:idx val="930"/>
            <c:invertIfNegative val="1"/>
            <c:bubble3D val="0"/>
            <c:spPr>
              <a:solidFill>
                <a:srgbClr val="AEABAB"/>
              </a:solidFill>
            </c:spPr>
            <c:extLst>
              <c:ext xmlns:c16="http://schemas.microsoft.com/office/drawing/2014/chart" uri="{C3380CC4-5D6E-409C-BE32-E72D297353CC}">
                <c16:uniqueId val="{00000747-C110-4B3C-98C7-D19B20EBE8CB}"/>
              </c:ext>
            </c:extLst>
          </c:dPt>
          <c:dPt>
            <c:idx val="931"/>
            <c:invertIfNegative val="1"/>
            <c:bubble3D val="0"/>
            <c:spPr>
              <a:solidFill>
                <a:srgbClr val="AEABAB"/>
              </a:solidFill>
            </c:spPr>
            <c:extLst>
              <c:ext xmlns:c16="http://schemas.microsoft.com/office/drawing/2014/chart" uri="{C3380CC4-5D6E-409C-BE32-E72D297353CC}">
                <c16:uniqueId val="{00000749-C110-4B3C-98C7-D19B20EBE8CB}"/>
              </c:ext>
            </c:extLst>
          </c:dPt>
          <c:dPt>
            <c:idx val="932"/>
            <c:invertIfNegative val="1"/>
            <c:bubble3D val="0"/>
            <c:spPr>
              <a:solidFill>
                <a:srgbClr val="AEABAB"/>
              </a:solidFill>
            </c:spPr>
            <c:extLst>
              <c:ext xmlns:c16="http://schemas.microsoft.com/office/drawing/2014/chart" uri="{C3380CC4-5D6E-409C-BE32-E72D297353CC}">
                <c16:uniqueId val="{0000074B-C110-4B3C-98C7-D19B20EBE8CB}"/>
              </c:ext>
            </c:extLst>
          </c:dPt>
          <c:dPt>
            <c:idx val="933"/>
            <c:invertIfNegative val="1"/>
            <c:bubble3D val="0"/>
            <c:spPr>
              <a:solidFill>
                <a:srgbClr val="AEABAB"/>
              </a:solidFill>
            </c:spPr>
            <c:extLst>
              <c:ext xmlns:c16="http://schemas.microsoft.com/office/drawing/2014/chart" uri="{C3380CC4-5D6E-409C-BE32-E72D297353CC}">
                <c16:uniqueId val="{0000074D-C110-4B3C-98C7-D19B20EBE8CB}"/>
              </c:ext>
            </c:extLst>
          </c:dPt>
          <c:dPt>
            <c:idx val="934"/>
            <c:invertIfNegative val="1"/>
            <c:bubble3D val="0"/>
            <c:spPr>
              <a:solidFill>
                <a:srgbClr val="AEABAB"/>
              </a:solidFill>
            </c:spPr>
            <c:extLst>
              <c:ext xmlns:c16="http://schemas.microsoft.com/office/drawing/2014/chart" uri="{C3380CC4-5D6E-409C-BE32-E72D297353CC}">
                <c16:uniqueId val="{0000074F-C110-4B3C-98C7-D19B20EBE8CB}"/>
              </c:ext>
            </c:extLst>
          </c:dPt>
          <c:dPt>
            <c:idx val="935"/>
            <c:invertIfNegative val="1"/>
            <c:bubble3D val="0"/>
            <c:spPr>
              <a:solidFill>
                <a:srgbClr val="AEABAB"/>
              </a:solidFill>
            </c:spPr>
            <c:extLst>
              <c:ext xmlns:c16="http://schemas.microsoft.com/office/drawing/2014/chart" uri="{C3380CC4-5D6E-409C-BE32-E72D297353CC}">
                <c16:uniqueId val="{00000751-C110-4B3C-98C7-D19B20EBE8CB}"/>
              </c:ext>
            </c:extLst>
          </c:dPt>
          <c:dPt>
            <c:idx val="936"/>
            <c:invertIfNegative val="1"/>
            <c:bubble3D val="0"/>
            <c:spPr>
              <a:solidFill>
                <a:srgbClr val="AEABAB"/>
              </a:solidFill>
            </c:spPr>
            <c:extLst>
              <c:ext xmlns:c16="http://schemas.microsoft.com/office/drawing/2014/chart" uri="{C3380CC4-5D6E-409C-BE32-E72D297353CC}">
                <c16:uniqueId val="{00000753-C110-4B3C-98C7-D19B20EBE8CB}"/>
              </c:ext>
            </c:extLst>
          </c:dPt>
          <c:dPt>
            <c:idx val="937"/>
            <c:invertIfNegative val="1"/>
            <c:bubble3D val="0"/>
            <c:spPr>
              <a:solidFill>
                <a:srgbClr val="AEABAB"/>
              </a:solidFill>
            </c:spPr>
            <c:extLst>
              <c:ext xmlns:c16="http://schemas.microsoft.com/office/drawing/2014/chart" uri="{C3380CC4-5D6E-409C-BE32-E72D297353CC}">
                <c16:uniqueId val="{00000755-C110-4B3C-98C7-D19B20EBE8CB}"/>
              </c:ext>
            </c:extLst>
          </c:dPt>
          <c:dPt>
            <c:idx val="938"/>
            <c:invertIfNegative val="1"/>
            <c:bubble3D val="0"/>
            <c:spPr>
              <a:solidFill>
                <a:srgbClr val="AEABAB"/>
              </a:solidFill>
            </c:spPr>
            <c:extLst>
              <c:ext xmlns:c16="http://schemas.microsoft.com/office/drawing/2014/chart" uri="{C3380CC4-5D6E-409C-BE32-E72D297353CC}">
                <c16:uniqueId val="{00000757-C110-4B3C-98C7-D19B20EBE8CB}"/>
              </c:ext>
            </c:extLst>
          </c:dPt>
          <c:dPt>
            <c:idx val="939"/>
            <c:invertIfNegative val="1"/>
            <c:bubble3D val="0"/>
            <c:spPr>
              <a:solidFill>
                <a:srgbClr val="AEABAB"/>
              </a:solidFill>
            </c:spPr>
            <c:extLst>
              <c:ext xmlns:c16="http://schemas.microsoft.com/office/drawing/2014/chart" uri="{C3380CC4-5D6E-409C-BE32-E72D297353CC}">
                <c16:uniqueId val="{00000759-C110-4B3C-98C7-D19B20EBE8CB}"/>
              </c:ext>
            </c:extLst>
          </c:dPt>
          <c:dPt>
            <c:idx val="940"/>
            <c:invertIfNegative val="1"/>
            <c:bubble3D val="0"/>
            <c:spPr>
              <a:solidFill>
                <a:srgbClr val="AEABAB"/>
              </a:solidFill>
            </c:spPr>
            <c:extLst>
              <c:ext xmlns:c16="http://schemas.microsoft.com/office/drawing/2014/chart" uri="{C3380CC4-5D6E-409C-BE32-E72D297353CC}">
                <c16:uniqueId val="{0000075B-C110-4B3C-98C7-D19B20EBE8CB}"/>
              </c:ext>
            </c:extLst>
          </c:dPt>
          <c:dPt>
            <c:idx val="941"/>
            <c:invertIfNegative val="1"/>
            <c:bubble3D val="0"/>
            <c:spPr>
              <a:solidFill>
                <a:srgbClr val="AEABAB"/>
              </a:solidFill>
            </c:spPr>
            <c:extLst>
              <c:ext xmlns:c16="http://schemas.microsoft.com/office/drawing/2014/chart" uri="{C3380CC4-5D6E-409C-BE32-E72D297353CC}">
                <c16:uniqueId val="{0000075D-C110-4B3C-98C7-D19B20EBE8CB}"/>
              </c:ext>
            </c:extLst>
          </c:dPt>
          <c:dPt>
            <c:idx val="942"/>
            <c:invertIfNegative val="1"/>
            <c:bubble3D val="0"/>
            <c:spPr>
              <a:solidFill>
                <a:srgbClr val="AEABAB"/>
              </a:solidFill>
            </c:spPr>
            <c:extLst>
              <c:ext xmlns:c16="http://schemas.microsoft.com/office/drawing/2014/chart" uri="{C3380CC4-5D6E-409C-BE32-E72D297353CC}">
                <c16:uniqueId val="{0000075F-C110-4B3C-98C7-D19B20EBE8CB}"/>
              </c:ext>
            </c:extLst>
          </c:dPt>
          <c:dPt>
            <c:idx val="943"/>
            <c:invertIfNegative val="1"/>
            <c:bubble3D val="0"/>
            <c:spPr>
              <a:solidFill>
                <a:srgbClr val="AEABAB"/>
              </a:solidFill>
            </c:spPr>
            <c:extLst>
              <c:ext xmlns:c16="http://schemas.microsoft.com/office/drawing/2014/chart" uri="{C3380CC4-5D6E-409C-BE32-E72D297353CC}">
                <c16:uniqueId val="{00000761-C110-4B3C-98C7-D19B20EBE8CB}"/>
              </c:ext>
            </c:extLst>
          </c:dPt>
          <c:dPt>
            <c:idx val="944"/>
            <c:invertIfNegative val="1"/>
            <c:bubble3D val="0"/>
            <c:spPr>
              <a:solidFill>
                <a:srgbClr val="AEABAB"/>
              </a:solidFill>
            </c:spPr>
            <c:extLst>
              <c:ext xmlns:c16="http://schemas.microsoft.com/office/drawing/2014/chart" uri="{C3380CC4-5D6E-409C-BE32-E72D297353CC}">
                <c16:uniqueId val="{00000763-C110-4B3C-98C7-D19B20EBE8CB}"/>
              </c:ext>
            </c:extLst>
          </c:dPt>
          <c:dPt>
            <c:idx val="945"/>
            <c:invertIfNegative val="1"/>
            <c:bubble3D val="0"/>
            <c:spPr>
              <a:solidFill>
                <a:srgbClr val="AEABAB"/>
              </a:solidFill>
            </c:spPr>
            <c:extLst>
              <c:ext xmlns:c16="http://schemas.microsoft.com/office/drawing/2014/chart" uri="{C3380CC4-5D6E-409C-BE32-E72D297353CC}">
                <c16:uniqueId val="{00000765-C110-4B3C-98C7-D19B20EBE8CB}"/>
              </c:ext>
            </c:extLst>
          </c:dPt>
          <c:dPt>
            <c:idx val="946"/>
            <c:invertIfNegative val="1"/>
            <c:bubble3D val="0"/>
            <c:spPr>
              <a:solidFill>
                <a:srgbClr val="AEABAB"/>
              </a:solidFill>
            </c:spPr>
            <c:extLst>
              <c:ext xmlns:c16="http://schemas.microsoft.com/office/drawing/2014/chart" uri="{C3380CC4-5D6E-409C-BE32-E72D297353CC}">
                <c16:uniqueId val="{00000767-C110-4B3C-98C7-D19B20EBE8CB}"/>
              </c:ext>
            </c:extLst>
          </c:dPt>
          <c:dPt>
            <c:idx val="947"/>
            <c:invertIfNegative val="1"/>
            <c:bubble3D val="0"/>
            <c:spPr>
              <a:solidFill>
                <a:srgbClr val="AEABAB"/>
              </a:solidFill>
            </c:spPr>
            <c:extLst>
              <c:ext xmlns:c16="http://schemas.microsoft.com/office/drawing/2014/chart" uri="{C3380CC4-5D6E-409C-BE32-E72D297353CC}">
                <c16:uniqueId val="{00000769-C110-4B3C-98C7-D19B20EBE8CB}"/>
              </c:ext>
            </c:extLst>
          </c:dPt>
          <c:dPt>
            <c:idx val="948"/>
            <c:invertIfNegative val="1"/>
            <c:bubble3D val="0"/>
            <c:spPr>
              <a:solidFill>
                <a:srgbClr val="AEABAB"/>
              </a:solidFill>
            </c:spPr>
            <c:extLst>
              <c:ext xmlns:c16="http://schemas.microsoft.com/office/drawing/2014/chart" uri="{C3380CC4-5D6E-409C-BE32-E72D297353CC}">
                <c16:uniqueId val="{0000076B-C110-4B3C-98C7-D19B20EBE8CB}"/>
              </c:ext>
            </c:extLst>
          </c:dPt>
          <c:dPt>
            <c:idx val="949"/>
            <c:invertIfNegative val="1"/>
            <c:bubble3D val="0"/>
            <c:spPr>
              <a:solidFill>
                <a:srgbClr val="AEABAB"/>
              </a:solidFill>
            </c:spPr>
            <c:extLst>
              <c:ext xmlns:c16="http://schemas.microsoft.com/office/drawing/2014/chart" uri="{C3380CC4-5D6E-409C-BE32-E72D297353CC}">
                <c16:uniqueId val="{0000076D-C110-4B3C-98C7-D19B20EBE8CB}"/>
              </c:ext>
            </c:extLst>
          </c:dPt>
          <c:dPt>
            <c:idx val="950"/>
            <c:invertIfNegative val="1"/>
            <c:bubble3D val="0"/>
            <c:spPr>
              <a:solidFill>
                <a:srgbClr val="AEABAB"/>
              </a:solidFill>
            </c:spPr>
            <c:extLst>
              <c:ext xmlns:c16="http://schemas.microsoft.com/office/drawing/2014/chart" uri="{C3380CC4-5D6E-409C-BE32-E72D297353CC}">
                <c16:uniqueId val="{0000076F-C110-4B3C-98C7-D19B20EBE8CB}"/>
              </c:ext>
            </c:extLst>
          </c:dPt>
          <c:dPt>
            <c:idx val="951"/>
            <c:invertIfNegative val="1"/>
            <c:bubble3D val="0"/>
            <c:spPr>
              <a:solidFill>
                <a:srgbClr val="AEABAB"/>
              </a:solidFill>
            </c:spPr>
            <c:extLst>
              <c:ext xmlns:c16="http://schemas.microsoft.com/office/drawing/2014/chart" uri="{C3380CC4-5D6E-409C-BE32-E72D297353CC}">
                <c16:uniqueId val="{00000771-C110-4B3C-98C7-D19B20EBE8CB}"/>
              </c:ext>
            </c:extLst>
          </c:dPt>
          <c:dPt>
            <c:idx val="952"/>
            <c:invertIfNegative val="1"/>
            <c:bubble3D val="0"/>
            <c:spPr>
              <a:solidFill>
                <a:srgbClr val="AEABAB"/>
              </a:solidFill>
            </c:spPr>
            <c:extLst>
              <c:ext xmlns:c16="http://schemas.microsoft.com/office/drawing/2014/chart" uri="{C3380CC4-5D6E-409C-BE32-E72D297353CC}">
                <c16:uniqueId val="{00000773-C110-4B3C-98C7-D19B20EBE8CB}"/>
              </c:ext>
            </c:extLst>
          </c:dPt>
          <c:dPt>
            <c:idx val="953"/>
            <c:invertIfNegative val="1"/>
            <c:bubble3D val="0"/>
            <c:spPr>
              <a:solidFill>
                <a:srgbClr val="AEABAB"/>
              </a:solidFill>
            </c:spPr>
            <c:extLst>
              <c:ext xmlns:c16="http://schemas.microsoft.com/office/drawing/2014/chart" uri="{C3380CC4-5D6E-409C-BE32-E72D297353CC}">
                <c16:uniqueId val="{00000775-C110-4B3C-98C7-D19B20EBE8CB}"/>
              </c:ext>
            </c:extLst>
          </c:dPt>
          <c:dPt>
            <c:idx val="954"/>
            <c:invertIfNegative val="1"/>
            <c:bubble3D val="0"/>
            <c:spPr>
              <a:solidFill>
                <a:srgbClr val="AEABAB"/>
              </a:solidFill>
            </c:spPr>
            <c:extLst>
              <c:ext xmlns:c16="http://schemas.microsoft.com/office/drawing/2014/chart" uri="{C3380CC4-5D6E-409C-BE32-E72D297353CC}">
                <c16:uniqueId val="{00000777-C110-4B3C-98C7-D19B20EBE8CB}"/>
              </c:ext>
            </c:extLst>
          </c:dPt>
          <c:dPt>
            <c:idx val="955"/>
            <c:invertIfNegative val="1"/>
            <c:bubble3D val="0"/>
            <c:spPr>
              <a:solidFill>
                <a:srgbClr val="AEABAB"/>
              </a:solidFill>
            </c:spPr>
            <c:extLst>
              <c:ext xmlns:c16="http://schemas.microsoft.com/office/drawing/2014/chart" uri="{C3380CC4-5D6E-409C-BE32-E72D297353CC}">
                <c16:uniqueId val="{00000779-C110-4B3C-98C7-D19B20EBE8CB}"/>
              </c:ext>
            </c:extLst>
          </c:dPt>
          <c:dPt>
            <c:idx val="956"/>
            <c:invertIfNegative val="1"/>
            <c:bubble3D val="0"/>
            <c:spPr>
              <a:solidFill>
                <a:srgbClr val="AEABAB"/>
              </a:solidFill>
            </c:spPr>
            <c:extLst>
              <c:ext xmlns:c16="http://schemas.microsoft.com/office/drawing/2014/chart" uri="{C3380CC4-5D6E-409C-BE32-E72D297353CC}">
                <c16:uniqueId val="{0000077B-C110-4B3C-98C7-D19B20EBE8CB}"/>
              </c:ext>
            </c:extLst>
          </c:dPt>
          <c:dPt>
            <c:idx val="957"/>
            <c:invertIfNegative val="1"/>
            <c:bubble3D val="0"/>
            <c:spPr>
              <a:solidFill>
                <a:srgbClr val="AEABAB"/>
              </a:solidFill>
            </c:spPr>
            <c:extLst>
              <c:ext xmlns:c16="http://schemas.microsoft.com/office/drawing/2014/chart" uri="{C3380CC4-5D6E-409C-BE32-E72D297353CC}">
                <c16:uniqueId val="{0000077D-C110-4B3C-98C7-D19B20EBE8CB}"/>
              </c:ext>
            </c:extLst>
          </c:dPt>
          <c:dPt>
            <c:idx val="958"/>
            <c:invertIfNegative val="1"/>
            <c:bubble3D val="0"/>
            <c:spPr>
              <a:solidFill>
                <a:srgbClr val="AEABAB"/>
              </a:solidFill>
            </c:spPr>
            <c:extLst>
              <c:ext xmlns:c16="http://schemas.microsoft.com/office/drawing/2014/chart" uri="{C3380CC4-5D6E-409C-BE32-E72D297353CC}">
                <c16:uniqueId val="{0000077F-C110-4B3C-98C7-D19B20EBE8CB}"/>
              </c:ext>
            </c:extLst>
          </c:dPt>
          <c:dPt>
            <c:idx val="959"/>
            <c:invertIfNegative val="1"/>
            <c:bubble3D val="0"/>
            <c:spPr>
              <a:solidFill>
                <a:srgbClr val="AEABAB"/>
              </a:solidFill>
            </c:spPr>
            <c:extLst>
              <c:ext xmlns:c16="http://schemas.microsoft.com/office/drawing/2014/chart" uri="{C3380CC4-5D6E-409C-BE32-E72D297353CC}">
                <c16:uniqueId val="{00000781-C110-4B3C-98C7-D19B20EBE8CB}"/>
              </c:ext>
            </c:extLst>
          </c:dPt>
          <c:dPt>
            <c:idx val="960"/>
            <c:invertIfNegative val="1"/>
            <c:bubble3D val="0"/>
            <c:spPr>
              <a:solidFill>
                <a:srgbClr val="AEABAB"/>
              </a:solidFill>
            </c:spPr>
            <c:extLst>
              <c:ext xmlns:c16="http://schemas.microsoft.com/office/drawing/2014/chart" uri="{C3380CC4-5D6E-409C-BE32-E72D297353CC}">
                <c16:uniqueId val="{00000783-C110-4B3C-98C7-D19B20EBE8CB}"/>
              </c:ext>
            </c:extLst>
          </c:dPt>
          <c:dPt>
            <c:idx val="961"/>
            <c:invertIfNegative val="1"/>
            <c:bubble3D val="0"/>
            <c:spPr>
              <a:solidFill>
                <a:srgbClr val="AEABAB"/>
              </a:solidFill>
            </c:spPr>
            <c:extLst>
              <c:ext xmlns:c16="http://schemas.microsoft.com/office/drawing/2014/chart" uri="{C3380CC4-5D6E-409C-BE32-E72D297353CC}">
                <c16:uniqueId val="{00000785-C110-4B3C-98C7-D19B20EBE8CB}"/>
              </c:ext>
            </c:extLst>
          </c:dPt>
          <c:dPt>
            <c:idx val="962"/>
            <c:invertIfNegative val="1"/>
            <c:bubble3D val="0"/>
            <c:spPr>
              <a:solidFill>
                <a:srgbClr val="AEABAB"/>
              </a:solidFill>
            </c:spPr>
            <c:extLst>
              <c:ext xmlns:c16="http://schemas.microsoft.com/office/drawing/2014/chart" uri="{C3380CC4-5D6E-409C-BE32-E72D297353CC}">
                <c16:uniqueId val="{00000787-C110-4B3C-98C7-D19B20EBE8CB}"/>
              </c:ext>
            </c:extLst>
          </c:dPt>
          <c:dPt>
            <c:idx val="963"/>
            <c:invertIfNegative val="1"/>
            <c:bubble3D val="0"/>
            <c:spPr>
              <a:solidFill>
                <a:srgbClr val="AEABAB"/>
              </a:solidFill>
            </c:spPr>
            <c:extLst>
              <c:ext xmlns:c16="http://schemas.microsoft.com/office/drawing/2014/chart" uri="{C3380CC4-5D6E-409C-BE32-E72D297353CC}">
                <c16:uniqueId val="{00000789-C110-4B3C-98C7-D19B20EBE8CB}"/>
              </c:ext>
            </c:extLst>
          </c:dPt>
          <c:dPt>
            <c:idx val="964"/>
            <c:invertIfNegative val="1"/>
            <c:bubble3D val="0"/>
            <c:spPr>
              <a:solidFill>
                <a:srgbClr val="AEABAB"/>
              </a:solidFill>
            </c:spPr>
            <c:extLst>
              <c:ext xmlns:c16="http://schemas.microsoft.com/office/drawing/2014/chart" uri="{C3380CC4-5D6E-409C-BE32-E72D297353CC}">
                <c16:uniqueId val="{0000078B-C110-4B3C-98C7-D19B20EBE8CB}"/>
              </c:ext>
            </c:extLst>
          </c:dPt>
          <c:dPt>
            <c:idx val="965"/>
            <c:invertIfNegative val="1"/>
            <c:bubble3D val="0"/>
            <c:spPr>
              <a:solidFill>
                <a:srgbClr val="AEABAB"/>
              </a:solidFill>
            </c:spPr>
            <c:extLst>
              <c:ext xmlns:c16="http://schemas.microsoft.com/office/drawing/2014/chart" uri="{C3380CC4-5D6E-409C-BE32-E72D297353CC}">
                <c16:uniqueId val="{0000078D-C110-4B3C-98C7-D19B20EBE8CB}"/>
              </c:ext>
            </c:extLst>
          </c:dPt>
          <c:dPt>
            <c:idx val="966"/>
            <c:invertIfNegative val="1"/>
            <c:bubble3D val="0"/>
            <c:spPr>
              <a:solidFill>
                <a:srgbClr val="AEABAB"/>
              </a:solidFill>
            </c:spPr>
            <c:extLst>
              <c:ext xmlns:c16="http://schemas.microsoft.com/office/drawing/2014/chart" uri="{C3380CC4-5D6E-409C-BE32-E72D297353CC}">
                <c16:uniqueId val="{0000078F-C110-4B3C-98C7-D19B20EBE8CB}"/>
              </c:ext>
            </c:extLst>
          </c:dPt>
          <c:dPt>
            <c:idx val="967"/>
            <c:invertIfNegative val="1"/>
            <c:bubble3D val="0"/>
            <c:spPr>
              <a:solidFill>
                <a:srgbClr val="AEABAB"/>
              </a:solidFill>
            </c:spPr>
            <c:extLst>
              <c:ext xmlns:c16="http://schemas.microsoft.com/office/drawing/2014/chart" uri="{C3380CC4-5D6E-409C-BE32-E72D297353CC}">
                <c16:uniqueId val="{00000791-C110-4B3C-98C7-D19B20EBE8CB}"/>
              </c:ext>
            </c:extLst>
          </c:dPt>
          <c:dPt>
            <c:idx val="968"/>
            <c:invertIfNegative val="1"/>
            <c:bubble3D val="0"/>
            <c:spPr>
              <a:solidFill>
                <a:srgbClr val="AEABAB"/>
              </a:solidFill>
            </c:spPr>
            <c:extLst>
              <c:ext xmlns:c16="http://schemas.microsoft.com/office/drawing/2014/chart" uri="{C3380CC4-5D6E-409C-BE32-E72D297353CC}">
                <c16:uniqueId val="{00000793-C110-4B3C-98C7-D19B20EBE8CB}"/>
              </c:ext>
            </c:extLst>
          </c:dPt>
          <c:dPt>
            <c:idx val="969"/>
            <c:invertIfNegative val="1"/>
            <c:bubble3D val="0"/>
            <c:spPr>
              <a:solidFill>
                <a:srgbClr val="AEABAB"/>
              </a:solidFill>
            </c:spPr>
            <c:extLst>
              <c:ext xmlns:c16="http://schemas.microsoft.com/office/drawing/2014/chart" uri="{C3380CC4-5D6E-409C-BE32-E72D297353CC}">
                <c16:uniqueId val="{00000795-C110-4B3C-98C7-D19B20EBE8CB}"/>
              </c:ext>
            </c:extLst>
          </c:dPt>
          <c:dPt>
            <c:idx val="970"/>
            <c:invertIfNegative val="1"/>
            <c:bubble3D val="0"/>
            <c:spPr>
              <a:solidFill>
                <a:srgbClr val="AEABAB"/>
              </a:solidFill>
            </c:spPr>
            <c:extLst>
              <c:ext xmlns:c16="http://schemas.microsoft.com/office/drawing/2014/chart" uri="{C3380CC4-5D6E-409C-BE32-E72D297353CC}">
                <c16:uniqueId val="{00000797-C110-4B3C-98C7-D19B20EBE8CB}"/>
              </c:ext>
            </c:extLst>
          </c:dPt>
          <c:dPt>
            <c:idx val="971"/>
            <c:invertIfNegative val="1"/>
            <c:bubble3D val="0"/>
            <c:spPr>
              <a:solidFill>
                <a:srgbClr val="AEABAB"/>
              </a:solidFill>
            </c:spPr>
            <c:extLst>
              <c:ext xmlns:c16="http://schemas.microsoft.com/office/drawing/2014/chart" uri="{C3380CC4-5D6E-409C-BE32-E72D297353CC}">
                <c16:uniqueId val="{00000799-C110-4B3C-98C7-D19B20EBE8CB}"/>
              </c:ext>
            </c:extLst>
          </c:dPt>
          <c:dPt>
            <c:idx val="972"/>
            <c:invertIfNegative val="1"/>
            <c:bubble3D val="0"/>
            <c:spPr>
              <a:solidFill>
                <a:srgbClr val="AEABAB"/>
              </a:solidFill>
            </c:spPr>
            <c:extLst>
              <c:ext xmlns:c16="http://schemas.microsoft.com/office/drawing/2014/chart" uri="{C3380CC4-5D6E-409C-BE32-E72D297353CC}">
                <c16:uniqueId val="{0000079B-C110-4B3C-98C7-D19B20EBE8CB}"/>
              </c:ext>
            </c:extLst>
          </c:dPt>
          <c:dPt>
            <c:idx val="973"/>
            <c:invertIfNegative val="1"/>
            <c:bubble3D val="0"/>
            <c:spPr>
              <a:solidFill>
                <a:srgbClr val="AEABAB"/>
              </a:solidFill>
            </c:spPr>
            <c:extLst>
              <c:ext xmlns:c16="http://schemas.microsoft.com/office/drawing/2014/chart" uri="{C3380CC4-5D6E-409C-BE32-E72D297353CC}">
                <c16:uniqueId val="{0000079D-C110-4B3C-98C7-D19B20EBE8CB}"/>
              </c:ext>
            </c:extLst>
          </c:dPt>
          <c:dPt>
            <c:idx val="974"/>
            <c:invertIfNegative val="1"/>
            <c:bubble3D val="0"/>
            <c:spPr>
              <a:solidFill>
                <a:srgbClr val="AEABAB"/>
              </a:solidFill>
            </c:spPr>
            <c:extLst>
              <c:ext xmlns:c16="http://schemas.microsoft.com/office/drawing/2014/chart" uri="{C3380CC4-5D6E-409C-BE32-E72D297353CC}">
                <c16:uniqueId val="{0000079F-C110-4B3C-98C7-D19B20EBE8CB}"/>
              </c:ext>
            </c:extLst>
          </c:dPt>
          <c:dPt>
            <c:idx val="975"/>
            <c:invertIfNegative val="1"/>
            <c:bubble3D val="0"/>
            <c:spPr>
              <a:solidFill>
                <a:srgbClr val="AEABAB"/>
              </a:solidFill>
            </c:spPr>
            <c:extLst>
              <c:ext xmlns:c16="http://schemas.microsoft.com/office/drawing/2014/chart" uri="{C3380CC4-5D6E-409C-BE32-E72D297353CC}">
                <c16:uniqueId val="{000007A1-C110-4B3C-98C7-D19B20EBE8CB}"/>
              </c:ext>
            </c:extLst>
          </c:dPt>
          <c:dPt>
            <c:idx val="976"/>
            <c:invertIfNegative val="1"/>
            <c:bubble3D val="0"/>
            <c:spPr>
              <a:solidFill>
                <a:srgbClr val="AEABAB"/>
              </a:solidFill>
            </c:spPr>
            <c:extLst>
              <c:ext xmlns:c16="http://schemas.microsoft.com/office/drawing/2014/chart" uri="{C3380CC4-5D6E-409C-BE32-E72D297353CC}">
                <c16:uniqueId val="{000007A3-C110-4B3C-98C7-D19B20EBE8CB}"/>
              </c:ext>
            </c:extLst>
          </c:dPt>
          <c:dPt>
            <c:idx val="977"/>
            <c:invertIfNegative val="1"/>
            <c:bubble3D val="0"/>
            <c:spPr>
              <a:solidFill>
                <a:srgbClr val="AEABAB"/>
              </a:solidFill>
            </c:spPr>
            <c:extLst>
              <c:ext xmlns:c16="http://schemas.microsoft.com/office/drawing/2014/chart" uri="{C3380CC4-5D6E-409C-BE32-E72D297353CC}">
                <c16:uniqueId val="{000007A5-C110-4B3C-98C7-D19B20EBE8CB}"/>
              </c:ext>
            </c:extLst>
          </c:dPt>
          <c:dPt>
            <c:idx val="978"/>
            <c:invertIfNegative val="1"/>
            <c:bubble3D val="0"/>
            <c:spPr>
              <a:solidFill>
                <a:srgbClr val="AEABAB"/>
              </a:solidFill>
            </c:spPr>
            <c:extLst>
              <c:ext xmlns:c16="http://schemas.microsoft.com/office/drawing/2014/chart" uri="{C3380CC4-5D6E-409C-BE32-E72D297353CC}">
                <c16:uniqueId val="{000007A7-C110-4B3C-98C7-D19B20EBE8CB}"/>
              </c:ext>
            </c:extLst>
          </c:dPt>
          <c:dPt>
            <c:idx val="979"/>
            <c:invertIfNegative val="1"/>
            <c:bubble3D val="0"/>
            <c:spPr>
              <a:solidFill>
                <a:srgbClr val="AEABAB"/>
              </a:solidFill>
            </c:spPr>
            <c:extLst>
              <c:ext xmlns:c16="http://schemas.microsoft.com/office/drawing/2014/chart" uri="{C3380CC4-5D6E-409C-BE32-E72D297353CC}">
                <c16:uniqueId val="{000007A9-C110-4B3C-98C7-D19B20EBE8CB}"/>
              </c:ext>
            </c:extLst>
          </c:dPt>
          <c:dPt>
            <c:idx val="980"/>
            <c:invertIfNegative val="1"/>
            <c:bubble3D val="0"/>
            <c:spPr>
              <a:solidFill>
                <a:srgbClr val="AEABAB"/>
              </a:solidFill>
            </c:spPr>
            <c:extLst>
              <c:ext xmlns:c16="http://schemas.microsoft.com/office/drawing/2014/chart" uri="{C3380CC4-5D6E-409C-BE32-E72D297353CC}">
                <c16:uniqueId val="{000007AB-C110-4B3C-98C7-D19B20EBE8CB}"/>
              </c:ext>
            </c:extLst>
          </c:dPt>
          <c:dPt>
            <c:idx val="981"/>
            <c:invertIfNegative val="1"/>
            <c:bubble3D val="0"/>
            <c:spPr>
              <a:solidFill>
                <a:srgbClr val="AEABAB"/>
              </a:solidFill>
            </c:spPr>
            <c:extLst>
              <c:ext xmlns:c16="http://schemas.microsoft.com/office/drawing/2014/chart" uri="{C3380CC4-5D6E-409C-BE32-E72D297353CC}">
                <c16:uniqueId val="{000007AD-C110-4B3C-98C7-D19B20EBE8CB}"/>
              </c:ext>
            </c:extLst>
          </c:dPt>
          <c:dPt>
            <c:idx val="982"/>
            <c:invertIfNegative val="1"/>
            <c:bubble3D val="0"/>
            <c:spPr>
              <a:solidFill>
                <a:srgbClr val="AEABAB"/>
              </a:solidFill>
            </c:spPr>
            <c:extLst>
              <c:ext xmlns:c16="http://schemas.microsoft.com/office/drawing/2014/chart" uri="{C3380CC4-5D6E-409C-BE32-E72D297353CC}">
                <c16:uniqueId val="{000007AF-C110-4B3C-98C7-D19B20EBE8CB}"/>
              </c:ext>
            </c:extLst>
          </c:dPt>
          <c:dPt>
            <c:idx val="983"/>
            <c:invertIfNegative val="1"/>
            <c:bubble3D val="0"/>
            <c:spPr>
              <a:solidFill>
                <a:srgbClr val="AEABAB"/>
              </a:solidFill>
            </c:spPr>
            <c:extLst>
              <c:ext xmlns:c16="http://schemas.microsoft.com/office/drawing/2014/chart" uri="{C3380CC4-5D6E-409C-BE32-E72D297353CC}">
                <c16:uniqueId val="{000007B1-C110-4B3C-98C7-D19B20EBE8CB}"/>
              </c:ext>
            </c:extLst>
          </c:dPt>
          <c:dPt>
            <c:idx val="984"/>
            <c:invertIfNegative val="1"/>
            <c:bubble3D val="0"/>
            <c:spPr>
              <a:solidFill>
                <a:srgbClr val="AEABAB"/>
              </a:solidFill>
            </c:spPr>
            <c:extLst>
              <c:ext xmlns:c16="http://schemas.microsoft.com/office/drawing/2014/chart" uri="{C3380CC4-5D6E-409C-BE32-E72D297353CC}">
                <c16:uniqueId val="{000007B3-C110-4B3C-98C7-D19B20EBE8CB}"/>
              </c:ext>
            </c:extLst>
          </c:dPt>
          <c:dPt>
            <c:idx val="985"/>
            <c:invertIfNegative val="1"/>
            <c:bubble3D val="0"/>
            <c:spPr>
              <a:solidFill>
                <a:srgbClr val="AEABAB"/>
              </a:solidFill>
            </c:spPr>
            <c:extLst>
              <c:ext xmlns:c16="http://schemas.microsoft.com/office/drawing/2014/chart" uri="{C3380CC4-5D6E-409C-BE32-E72D297353CC}">
                <c16:uniqueId val="{000007B5-C110-4B3C-98C7-D19B20EBE8CB}"/>
              </c:ext>
            </c:extLst>
          </c:dPt>
          <c:dPt>
            <c:idx val="986"/>
            <c:invertIfNegative val="1"/>
            <c:bubble3D val="0"/>
            <c:spPr>
              <a:solidFill>
                <a:srgbClr val="AEABAB"/>
              </a:solidFill>
            </c:spPr>
            <c:extLst>
              <c:ext xmlns:c16="http://schemas.microsoft.com/office/drawing/2014/chart" uri="{C3380CC4-5D6E-409C-BE32-E72D297353CC}">
                <c16:uniqueId val="{000007B7-C110-4B3C-98C7-D19B20EBE8CB}"/>
              </c:ext>
            </c:extLst>
          </c:dPt>
          <c:dPt>
            <c:idx val="987"/>
            <c:invertIfNegative val="1"/>
            <c:bubble3D val="0"/>
            <c:spPr>
              <a:solidFill>
                <a:srgbClr val="AEABAB"/>
              </a:solidFill>
            </c:spPr>
            <c:extLst>
              <c:ext xmlns:c16="http://schemas.microsoft.com/office/drawing/2014/chart" uri="{C3380CC4-5D6E-409C-BE32-E72D297353CC}">
                <c16:uniqueId val="{000007B9-C110-4B3C-98C7-D19B20EBE8CB}"/>
              </c:ext>
            </c:extLst>
          </c:dPt>
          <c:dPt>
            <c:idx val="988"/>
            <c:invertIfNegative val="1"/>
            <c:bubble3D val="0"/>
            <c:spPr>
              <a:solidFill>
                <a:srgbClr val="AEABAB"/>
              </a:solidFill>
            </c:spPr>
            <c:extLst>
              <c:ext xmlns:c16="http://schemas.microsoft.com/office/drawing/2014/chart" uri="{C3380CC4-5D6E-409C-BE32-E72D297353CC}">
                <c16:uniqueId val="{000007BB-C110-4B3C-98C7-D19B20EBE8CB}"/>
              </c:ext>
            </c:extLst>
          </c:dPt>
          <c:dPt>
            <c:idx val="989"/>
            <c:invertIfNegative val="1"/>
            <c:bubble3D val="0"/>
            <c:spPr>
              <a:solidFill>
                <a:srgbClr val="AEABAB"/>
              </a:solidFill>
            </c:spPr>
            <c:extLst>
              <c:ext xmlns:c16="http://schemas.microsoft.com/office/drawing/2014/chart" uri="{C3380CC4-5D6E-409C-BE32-E72D297353CC}">
                <c16:uniqueId val="{000007BD-C110-4B3C-98C7-D19B20EBE8CB}"/>
              </c:ext>
            </c:extLst>
          </c:dPt>
          <c:dPt>
            <c:idx val="990"/>
            <c:invertIfNegative val="1"/>
            <c:bubble3D val="0"/>
            <c:spPr>
              <a:solidFill>
                <a:srgbClr val="AEABAB"/>
              </a:solidFill>
            </c:spPr>
            <c:extLst>
              <c:ext xmlns:c16="http://schemas.microsoft.com/office/drawing/2014/chart" uri="{C3380CC4-5D6E-409C-BE32-E72D297353CC}">
                <c16:uniqueId val="{000007BF-C110-4B3C-98C7-D19B20EBE8CB}"/>
              </c:ext>
            </c:extLst>
          </c:dPt>
          <c:dPt>
            <c:idx val="991"/>
            <c:invertIfNegative val="1"/>
            <c:bubble3D val="0"/>
            <c:spPr>
              <a:solidFill>
                <a:srgbClr val="AEABAB"/>
              </a:solidFill>
            </c:spPr>
            <c:extLst>
              <c:ext xmlns:c16="http://schemas.microsoft.com/office/drawing/2014/chart" uri="{C3380CC4-5D6E-409C-BE32-E72D297353CC}">
                <c16:uniqueId val="{000007C1-C110-4B3C-98C7-D19B20EBE8CB}"/>
              </c:ext>
            </c:extLst>
          </c:dPt>
          <c:dPt>
            <c:idx val="992"/>
            <c:invertIfNegative val="1"/>
            <c:bubble3D val="0"/>
            <c:spPr>
              <a:solidFill>
                <a:srgbClr val="AEABAB"/>
              </a:solidFill>
            </c:spPr>
            <c:extLst>
              <c:ext xmlns:c16="http://schemas.microsoft.com/office/drawing/2014/chart" uri="{C3380CC4-5D6E-409C-BE32-E72D297353CC}">
                <c16:uniqueId val="{000007C3-C110-4B3C-98C7-D19B20EBE8CB}"/>
              </c:ext>
            </c:extLst>
          </c:dPt>
          <c:dPt>
            <c:idx val="993"/>
            <c:invertIfNegative val="1"/>
            <c:bubble3D val="0"/>
            <c:spPr>
              <a:solidFill>
                <a:srgbClr val="AEABAB"/>
              </a:solidFill>
            </c:spPr>
            <c:extLst>
              <c:ext xmlns:c16="http://schemas.microsoft.com/office/drawing/2014/chart" uri="{C3380CC4-5D6E-409C-BE32-E72D297353CC}">
                <c16:uniqueId val="{000007C5-C110-4B3C-98C7-D19B20EBE8CB}"/>
              </c:ext>
            </c:extLst>
          </c:dPt>
          <c:dPt>
            <c:idx val="994"/>
            <c:invertIfNegative val="1"/>
            <c:bubble3D val="0"/>
            <c:spPr>
              <a:solidFill>
                <a:srgbClr val="AEABAB"/>
              </a:solidFill>
            </c:spPr>
            <c:extLst>
              <c:ext xmlns:c16="http://schemas.microsoft.com/office/drawing/2014/chart" uri="{C3380CC4-5D6E-409C-BE32-E72D297353CC}">
                <c16:uniqueId val="{000007C7-C110-4B3C-98C7-D19B20EBE8CB}"/>
              </c:ext>
            </c:extLst>
          </c:dPt>
          <c:dPt>
            <c:idx val="995"/>
            <c:invertIfNegative val="1"/>
            <c:bubble3D val="0"/>
            <c:spPr>
              <a:solidFill>
                <a:srgbClr val="AEABAB"/>
              </a:solidFill>
            </c:spPr>
            <c:extLst>
              <c:ext xmlns:c16="http://schemas.microsoft.com/office/drawing/2014/chart" uri="{C3380CC4-5D6E-409C-BE32-E72D297353CC}">
                <c16:uniqueId val="{000007C9-C110-4B3C-98C7-D19B20EBE8CB}"/>
              </c:ext>
            </c:extLst>
          </c:dPt>
          <c:dPt>
            <c:idx val="996"/>
            <c:invertIfNegative val="1"/>
            <c:bubble3D val="0"/>
            <c:spPr>
              <a:solidFill>
                <a:srgbClr val="AEABAB"/>
              </a:solidFill>
            </c:spPr>
            <c:extLst>
              <c:ext xmlns:c16="http://schemas.microsoft.com/office/drawing/2014/chart" uri="{C3380CC4-5D6E-409C-BE32-E72D297353CC}">
                <c16:uniqueId val="{000007CB-C110-4B3C-98C7-D19B20EBE8CB}"/>
              </c:ext>
            </c:extLst>
          </c:dPt>
          <c:dPt>
            <c:idx val="997"/>
            <c:invertIfNegative val="1"/>
            <c:bubble3D val="0"/>
            <c:spPr>
              <a:solidFill>
                <a:srgbClr val="AEABAB"/>
              </a:solidFill>
            </c:spPr>
            <c:extLst>
              <c:ext xmlns:c16="http://schemas.microsoft.com/office/drawing/2014/chart" uri="{C3380CC4-5D6E-409C-BE32-E72D297353CC}">
                <c16:uniqueId val="{000007CD-C110-4B3C-98C7-D19B20EBE8CB}"/>
              </c:ext>
            </c:extLst>
          </c:dPt>
          <c:dPt>
            <c:idx val="998"/>
            <c:invertIfNegative val="1"/>
            <c:bubble3D val="0"/>
            <c:spPr>
              <a:solidFill>
                <a:srgbClr val="AEABAB"/>
              </a:solidFill>
            </c:spPr>
            <c:extLst>
              <c:ext xmlns:c16="http://schemas.microsoft.com/office/drawing/2014/chart" uri="{C3380CC4-5D6E-409C-BE32-E72D297353CC}">
                <c16:uniqueId val="{000007CF-C110-4B3C-98C7-D19B20EBE8CB}"/>
              </c:ext>
            </c:extLst>
          </c:dPt>
          <c:dPt>
            <c:idx val="999"/>
            <c:invertIfNegative val="1"/>
            <c:bubble3D val="0"/>
            <c:spPr>
              <a:solidFill>
                <a:srgbClr val="AEABAB"/>
              </a:solidFill>
            </c:spPr>
            <c:extLst>
              <c:ext xmlns:c16="http://schemas.microsoft.com/office/drawing/2014/chart" uri="{C3380CC4-5D6E-409C-BE32-E72D297353CC}">
                <c16:uniqueId val="{000007D1-C110-4B3C-98C7-D19B20EBE8CB}"/>
              </c:ext>
            </c:extLst>
          </c:dPt>
          <c:dPt>
            <c:idx val="1000"/>
            <c:invertIfNegative val="1"/>
            <c:bubble3D val="0"/>
            <c:spPr>
              <a:solidFill>
                <a:srgbClr val="AEABAB"/>
              </a:solidFill>
            </c:spPr>
            <c:extLst>
              <c:ext xmlns:c16="http://schemas.microsoft.com/office/drawing/2014/chart" uri="{C3380CC4-5D6E-409C-BE32-E72D297353CC}">
                <c16:uniqueId val="{000007D3-C110-4B3C-98C7-D19B20EBE8CB}"/>
              </c:ext>
            </c:extLst>
          </c:dPt>
          <c:dPt>
            <c:idx val="1001"/>
            <c:invertIfNegative val="1"/>
            <c:bubble3D val="0"/>
            <c:spPr>
              <a:solidFill>
                <a:srgbClr val="AEABAB"/>
              </a:solidFill>
            </c:spPr>
            <c:extLst>
              <c:ext xmlns:c16="http://schemas.microsoft.com/office/drawing/2014/chart" uri="{C3380CC4-5D6E-409C-BE32-E72D297353CC}">
                <c16:uniqueId val="{000007D5-C110-4B3C-98C7-D19B20EBE8CB}"/>
              </c:ext>
            </c:extLst>
          </c:dPt>
          <c:dPt>
            <c:idx val="1002"/>
            <c:invertIfNegative val="1"/>
            <c:bubble3D val="0"/>
            <c:spPr>
              <a:solidFill>
                <a:srgbClr val="AEABAB"/>
              </a:solidFill>
            </c:spPr>
            <c:extLst>
              <c:ext xmlns:c16="http://schemas.microsoft.com/office/drawing/2014/chart" uri="{C3380CC4-5D6E-409C-BE32-E72D297353CC}">
                <c16:uniqueId val="{000007D7-C110-4B3C-98C7-D19B20EBE8CB}"/>
              </c:ext>
            </c:extLst>
          </c:dPt>
          <c:dPt>
            <c:idx val="1003"/>
            <c:invertIfNegative val="1"/>
            <c:bubble3D val="0"/>
            <c:spPr>
              <a:solidFill>
                <a:srgbClr val="AEABAB"/>
              </a:solidFill>
            </c:spPr>
            <c:extLst>
              <c:ext xmlns:c16="http://schemas.microsoft.com/office/drawing/2014/chart" uri="{C3380CC4-5D6E-409C-BE32-E72D297353CC}">
                <c16:uniqueId val="{000007D9-C110-4B3C-98C7-D19B20EBE8CB}"/>
              </c:ext>
            </c:extLst>
          </c:dPt>
          <c:dPt>
            <c:idx val="1004"/>
            <c:invertIfNegative val="1"/>
            <c:bubble3D val="0"/>
            <c:spPr>
              <a:solidFill>
                <a:srgbClr val="AEABAB"/>
              </a:solidFill>
            </c:spPr>
            <c:extLst>
              <c:ext xmlns:c16="http://schemas.microsoft.com/office/drawing/2014/chart" uri="{C3380CC4-5D6E-409C-BE32-E72D297353CC}">
                <c16:uniqueId val="{000007DB-C110-4B3C-98C7-D19B20EBE8CB}"/>
              </c:ext>
            </c:extLst>
          </c:dPt>
          <c:dPt>
            <c:idx val="1005"/>
            <c:invertIfNegative val="1"/>
            <c:bubble3D val="0"/>
            <c:spPr>
              <a:solidFill>
                <a:srgbClr val="AEABAB"/>
              </a:solidFill>
            </c:spPr>
            <c:extLst>
              <c:ext xmlns:c16="http://schemas.microsoft.com/office/drawing/2014/chart" uri="{C3380CC4-5D6E-409C-BE32-E72D297353CC}">
                <c16:uniqueId val="{000007DD-C110-4B3C-98C7-D19B20EBE8CB}"/>
              </c:ext>
            </c:extLst>
          </c:dPt>
          <c:dPt>
            <c:idx val="1006"/>
            <c:invertIfNegative val="1"/>
            <c:bubble3D val="0"/>
            <c:spPr>
              <a:solidFill>
                <a:srgbClr val="AEABAB"/>
              </a:solidFill>
            </c:spPr>
            <c:extLst>
              <c:ext xmlns:c16="http://schemas.microsoft.com/office/drawing/2014/chart" uri="{C3380CC4-5D6E-409C-BE32-E72D297353CC}">
                <c16:uniqueId val="{000007DF-C110-4B3C-98C7-D19B20EBE8CB}"/>
              </c:ext>
            </c:extLst>
          </c:dPt>
          <c:dPt>
            <c:idx val="1007"/>
            <c:invertIfNegative val="1"/>
            <c:bubble3D val="0"/>
            <c:spPr>
              <a:solidFill>
                <a:srgbClr val="AEABAB"/>
              </a:solidFill>
            </c:spPr>
            <c:extLst>
              <c:ext xmlns:c16="http://schemas.microsoft.com/office/drawing/2014/chart" uri="{C3380CC4-5D6E-409C-BE32-E72D297353CC}">
                <c16:uniqueId val="{000007E1-C110-4B3C-98C7-D19B20EBE8CB}"/>
              </c:ext>
            </c:extLst>
          </c:dPt>
          <c:dPt>
            <c:idx val="1008"/>
            <c:invertIfNegative val="1"/>
            <c:bubble3D val="0"/>
            <c:spPr>
              <a:solidFill>
                <a:srgbClr val="AEABAB"/>
              </a:solidFill>
            </c:spPr>
            <c:extLst>
              <c:ext xmlns:c16="http://schemas.microsoft.com/office/drawing/2014/chart" uri="{C3380CC4-5D6E-409C-BE32-E72D297353CC}">
                <c16:uniqueId val="{000007E3-C110-4B3C-98C7-D19B20EBE8CB}"/>
              </c:ext>
            </c:extLst>
          </c:dPt>
          <c:dPt>
            <c:idx val="1009"/>
            <c:invertIfNegative val="1"/>
            <c:bubble3D val="0"/>
            <c:spPr>
              <a:solidFill>
                <a:srgbClr val="AEABAB"/>
              </a:solidFill>
            </c:spPr>
            <c:extLst>
              <c:ext xmlns:c16="http://schemas.microsoft.com/office/drawing/2014/chart" uri="{C3380CC4-5D6E-409C-BE32-E72D297353CC}">
                <c16:uniqueId val="{000007E5-C110-4B3C-98C7-D19B20EBE8CB}"/>
              </c:ext>
            </c:extLst>
          </c:dPt>
          <c:dPt>
            <c:idx val="1010"/>
            <c:invertIfNegative val="1"/>
            <c:bubble3D val="0"/>
            <c:spPr>
              <a:solidFill>
                <a:srgbClr val="AEABAB"/>
              </a:solidFill>
            </c:spPr>
            <c:extLst>
              <c:ext xmlns:c16="http://schemas.microsoft.com/office/drawing/2014/chart" uri="{C3380CC4-5D6E-409C-BE32-E72D297353CC}">
                <c16:uniqueId val="{000007E7-C110-4B3C-98C7-D19B20EBE8CB}"/>
              </c:ext>
            </c:extLst>
          </c:dPt>
          <c:dPt>
            <c:idx val="1011"/>
            <c:invertIfNegative val="1"/>
            <c:bubble3D val="0"/>
            <c:spPr>
              <a:solidFill>
                <a:srgbClr val="AEABAB"/>
              </a:solidFill>
            </c:spPr>
            <c:extLst>
              <c:ext xmlns:c16="http://schemas.microsoft.com/office/drawing/2014/chart" uri="{C3380CC4-5D6E-409C-BE32-E72D297353CC}">
                <c16:uniqueId val="{000007E9-C110-4B3C-98C7-D19B20EBE8CB}"/>
              </c:ext>
            </c:extLst>
          </c:dPt>
          <c:dPt>
            <c:idx val="1012"/>
            <c:invertIfNegative val="1"/>
            <c:bubble3D val="0"/>
            <c:spPr>
              <a:solidFill>
                <a:srgbClr val="AEABAB"/>
              </a:solidFill>
            </c:spPr>
            <c:extLst>
              <c:ext xmlns:c16="http://schemas.microsoft.com/office/drawing/2014/chart" uri="{C3380CC4-5D6E-409C-BE32-E72D297353CC}">
                <c16:uniqueId val="{000007EB-C110-4B3C-98C7-D19B20EBE8CB}"/>
              </c:ext>
            </c:extLst>
          </c:dPt>
          <c:dPt>
            <c:idx val="1013"/>
            <c:invertIfNegative val="1"/>
            <c:bubble3D val="0"/>
            <c:spPr>
              <a:solidFill>
                <a:srgbClr val="AEABAB"/>
              </a:solidFill>
            </c:spPr>
            <c:extLst>
              <c:ext xmlns:c16="http://schemas.microsoft.com/office/drawing/2014/chart" uri="{C3380CC4-5D6E-409C-BE32-E72D297353CC}">
                <c16:uniqueId val="{000007ED-C110-4B3C-98C7-D19B20EBE8CB}"/>
              </c:ext>
            </c:extLst>
          </c:dPt>
          <c:dPt>
            <c:idx val="1014"/>
            <c:invertIfNegative val="1"/>
            <c:bubble3D val="0"/>
            <c:spPr>
              <a:solidFill>
                <a:srgbClr val="AEABAB"/>
              </a:solidFill>
            </c:spPr>
            <c:extLst>
              <c:ext xmlns:c16="http://schemas.microsoft.com/office/drawing/2014/chart" uri="{C3380CC4-5D6E-409C-BE32-E72D297353CC}">
                <c16:uniqueId val="{000007EF-C110-4B3C-98C7-D19B20EBE8CB}"/>
              </c:ext>
            </c:extLst>
          </c:dPt>
          <c:dPt>
            <c:idx val="1015"/>
            <c:invertIfNegative val="1"/>
            <c:bubble3D val="0"/>
            <c:spPr>
              <a:solidFill>
                <a:srgbClr val="AEABAB"/>
              </a:solidFill>
            </c:spPr>
            <c:extLst>
              <c:ext xmlns:c16="http://schemas.microsoft.com/office/drawing/2014/chart" uri="{C3380CC4-5D6E-409C-BE32-E72D297353CC}">
                <c16:uniqueId val="{000007F1-C110-4B3C-98C7-D19B20EBE8CB}"/>
              </c:ext>
            </c:extLst>
          </c:dPt>
          <c:dPt>
            <c:idx val="1016"/>
            <c:invertIfNegative val="1"/>
            <c:bubble3D val="0"/>
            <c:spPr>
              <a:solidFill>
                <a:srgbClr val="AEABAB"/>
              </a:solidFill>
            </c:spPr>
            <c:extLst>
              <c:ext xmlns:c16="http://schemas.microsoft.com/office/drawing/2014/chart" uri="{C3380CC4-5D6E-409C-BE32-E72D297353CC}">
                <c16:uniqueId val="{000007F3-C110-4B3C-98C7-D19B20EBE8CB}"/>
              </c:ext>
            </c:extLst>
          </c:dPt>
          <c:dPt>
            <c:idx val="1017"/>
            <c:invertIfNegative val="1"/>
            <c:bubble3D val="0"/>
            <c:spPr>
              <a:solidFill>
                <a:srgbClr val="AEABAB"/>
              </a:solidFill>
            </c:spPr>
            <c:extLst>
              <c:ext xmlns:c16="http://schemas.microsoft.com/office/drawing/2014/chart" uri="{C3380CC4-5D6E-409C-BE32-E72D297353CC}">
                <c16:uniqueId val="{000007F5-C110-4B3C-98C7-D19B20EBE8CB}"/>
              </c:ext>
            </c:extLst>
          </c:dPt>
          <c:dPt>
            <c:idx val="1018"/>
            <c:invertIfNegative val="1"/>
            <c:bubble3D val="0"/>
            <c:spPr>
              <a:solidFill>
                <a:srgbClr val="AEABAB"/>
              </a:solidFill>
            </c:spPr>
            <c:extLst>
              <c:ext xmlns:c16="http://schemas.microsoft.com/office/drawing/2014/chart" uri="{C3380CC4-5D6E-409C-BE32-E72D297353CC}">
                <c16:uniqueId val="{000007F7-C110-4B3C-98C7-D19B20EBE8CB}"/>
              </c:ext>
            </c:extLst>
          </c:dPt>
          <c:dPt>
            <c:idx val="1019"/>
            <c:invertIfNegative val="1"/>
            <c:bubble3D val="0"/>
            <c:spPr>
              <a:solidFill>
                <a:srgbClr val="AEABAB"/>
              </a:solidFill>
            </c:spPr>
            <c:extLst>
              <c:ext xmlns:c16="http://schemas.microsoft.com/office/drawing/2014/chart" uri="{C3380CC4-5D6E-409C-BE32-E72D297353CC}">
                <c16:uniqueId val="{000007F9-C110-4B3C-98C7-D19B20EBE8CB}"/>
              </c:ext>
            </c:extLst>
          </c:dPt>
          <c:dPt>
            <c:idx val="1020"/>
            <c:invertIfNegative val="1"/>
            <c:bubble3D val="0"/>
            <c:spPr>
              <a:solidFill>
                <a:srgbClr val="AEABAB"/>
              </a:solidFill>
            </c:spPr>
            <c:extLst>
              <c:ext xmlns:c16="http://schemas.microsoft.com/office/drawing/2014/chart" uri="{C3380CC4-5D6E-409C-BE32-E72D297353CC}">
                <c16:uniqueId val="{000007FB-C110-4B3C-98C7-D19B20EBE8CB}"/>
              </c:ext>
            </c:extLst>
          </c:dPt>
          <c:dPt>
            <c:idx val="1021"/>
            <c:invertIfNegative val="1"/>
            <c:bubble3D val="0"/>
            <c:spPr>
              <a:solidFill>
                <a:srgbClr val="AEABAB"/>
              </a:solidFill>
            </c:spPr>
            <c:extLst>
              <c:ext xmlns:c16="http://schemas.microsoft.com/office/drawing/2014/chart" uri="{C3380CC4-5D6E-409C-BE32-E72D297353CC}">
                <c16:uniqueId val="{000007FD-C110-4B3C-98C7-D19B20EBE8CB}"/>
              </c:ext>
            </c:extLst>
          </c:dPt>
          <c:dPt>
            <c:idx val="1022"/>
            <c:invertIfNegative val="1"/>
            <c:bubble3D val="0"/>
            <c:spPr>
              <a:solidFill>
                <a:srgbClr val="AEABAB"/>
              </a:solidFill>
            </c:spPr>
            <c:extLst>
              <c:ext xmlns:c16="http://schemas.microsoft.com/office/drawing/2014/chart" uri="{C3380CC4-5D6E-409C-BE32-E72D297353CC}">
                <c16:uniqueId val="{000007FF-C110-4B3C-98C7-D19B20EBE8CB}"/>
              </c:ext>
            </c:extLst>
          </c:dPt>
          <c:dPt>
            <c:idx val="1023"/>
            <c:invertIfNegative val="1"/>
            <c:bubble3D val="0"/>
            <c:spPr>
              <a:solidFill>
                <a:srgbClr val="AEABAB"/>
              </a:solidFill>
            </c:spPr>
            <c:extLst>
              <c:ext xmlns:c16="http://schemas.microsoft.com/office/drawing/2014/chart" uri="{C3380CC4-5D6E-409C-BE32-E72D297353CC}">
                <c16:uniqueId val="{00000801-C110-4B3C-98C7-D19B20EBE8CB}"/>
              </c:ext>
            </c:extLst>
          </c:dPt>
          <c:dPt>
            <c:idx val="1024"/>
            <c:invertIfNegative val="1"/>
            <c:bubble3D val="0"/>
            <c:spPr>
              <a:solidFill>
                <a:srgbClr val="AEABAB"/>
              </a:solidFill>
            </c:spPr>
            <c:extLst>
              <c:ext xmlns:c16="http://schemas.microsoft.com/office/drawing/2014/chart" uri="{C3380CC4-5D6E-409C-BE32-E72D297353CC}">
                <c16:uniqueId val="{00000803-C110-4B3C-98C7-D19B20EBE8CB}"/>
              </c:ext>
            </c:extLst>
          </c:dPt>
          <c:dPt>
            <c:idx val="1025"/>
            <c:invertIfNegative val="1"/>
            <c:bubble3D val="0"/>
            <c:spPr>
              <a:solidFill>
                <a:srgbClr val="AEABAB"/>
              </a:solidFill>
            </c:spPr>
            <c:extLst>
              <c:ext xmlns:c16="http://schemas.microsoft.com/office/drawing/2014/chart" uri="{C3380CC4-5D6E-409C-BE32-E72D297353CC}">
                <c16:uniqueId val="{00000805-C110-4B3C-98C7-D19B20EBE8CB}"/>
              </c:ext>
            </c:extLst>
          </c:dPt>
          <c:dPt>
            <c:idx val="1026"/>
            <c:invertIfNegative val="1"/>
            <c:bubble3D val="0"/>
            <c:spPr>
              <a:solidFill>
                <a:srgbClr val="AEABAB"/>
              </a:solidFill>
            </c:spPr>
            <c:extLst>
              <c:ext xmlns:c16="http://schemas.microsoft.com/office/drawing/2014/chart" uri="{C3380CC4-5D6E-409C-BE32-E72D297353CC}">
                <c16:uniqueId val="{00000807-C110-4B3C-98C7-D19B20EBE8CB}"/>
              </c:ext>
            </c:extLst>
          </c:dPt>
          <c:dPt>
            <c:idx val="1027"/>
            <c:invertIfNegative val="1"/>
            <c:bubble3D val="0"/>
            <c:spPr>
              <a:solidFill>
                <a:srgbClr val="AEABAB"/>
              </a:solidFill>
            </c:spPr>
            <c:extLst>
              <c:ext xmlns:c16="http://schemas.microsoft.com/office/drawing/2014/chart" uri="{C3380CC4-5D6E-409C-BE32-E72D297353CC}">
                <c16:uniqueId val="{00000809-C110-4B3C-98C7-D19B20EBE8CB}"/>
              </c:ext>
            </c:extLst>
          </c:dPt>
          <c:dPt>
            <c:idx val="1028"/>
            <c:invertIfNegative val="1"/>
            <c:bubble3D val="0"/>
            <c:spPr>
              <a:solidFill>
                <a:srgbClr val="AEABAB"/>
              </a:solidFill>
            </c:spPr>
            <c:extLst>
              <c:ext xmlns:c16="http://schemas.microsoft.com/office/drawing/2014/chart" uri="{C3380CC4-5D6E-409C-BE32-E72D297353CC}">
                <c16:uniqueId val="{0000080B-C110-4B3C-98C7-D19B20EBE8CB}"/>
              </c:ext>
            </c:extLst>
          </c:dPt>
          <c:dPt>
            <c:idx val="1029"/>
            <c:invertIfNegative val="1"/>
            <c:bubble3D val="0"/>
            <c:spPr>
              <a:solidFill>
                <a:srgbClr val="AEABAB"/>
              </a:solidFill>
            </c:spPr>
            <c:extLst>
              <c:ext xmlns:c16="http://schemas.microsoft.com/office/drawing/2014/chart" uri="{C3380CC4-5D6E-409C-BE32-E72D297353CC}">
                <c16:uniqueId val="{0000080D-C110-4B3C-98C7-D19B20EBE8CB}"/>
              </c:ext>
            </c:extLst>
          </c:dPt>
          <c:dPt>
            <c:idx val="1030"/>
            <c:invertIfNegative val="1"/>
            <c:bubble3D val="0"/>
            <c:spPr>
              <a:solidFill>
                <a:srgbClr val="AEABAB"/>
              </a:solidFill>
            </c:spPr>
            <c:extLst>
              <c:ext xmlns:c16="http://schemas.microsoft.com/office/drawing/2014/chart" uri="{C3380CC4-5D6E-409C-BE32-E72D297353CC}">
                <c16:uniqueId val="{0000080F-C110-4B3C-98C7-D19B20EBE8CB}"/>
              </c:ext>
            </c:extLst>
          </c:dPt>
          <c:dPt>
            <c:idx val="1031"/>
            <c:invertIfNegative val="1"/>
            <c:bubble3D val="0"/>
            <c:spPr>
              <a:solidFill>
                <a:srgbClr val="AEABAB"/>
              </a:solidFill>
            </c:spPr>
            <c:extLst>
              <c:ext xmlns:c16="http://schemas.microsoft.com/office/drawing/2014/chart" uri="{C3380CC4-5D6E-409C-BE32-E72D297353CC}">
                <c16:uniqueId val="{00000811-C110-4B3C-98C7-D19B20EBE8CB}"/>
              </c:ext>
            </c:extLst>
          </c:dPt>
          <c:dPt>
            <c:idx val="1032"/>
            <c:invertIfNegative val="1"/>
            <c:bubble3D val="0"/>
            <c:spPr>
              <a:solidFill>
                <a:srgbClr val="AEABAB"/>
              </a:solidFill>
            </c:spPr>
            <c:extLst>
              <c:ext xmlns:c16="http://schemas.microsoft.com/office/drawing/2014/chart" uri="{C3380CC4-5D6E-409C-BE32-E72D297353CC}">
                <c16:uniqueId val="{00000813-C110-4B3C-98C7-D19B20EBE8CB}"/>
              </c:ext>
            </c:extLst>
          </c:dPt>
          <c:dPt>
            <c:idx val="1033"/>
            <c:invertIfNegative val="1"/>
            <c:bubble3D val="0"/>
            <c:spPr>
              <a:solidFill>
                <a:srgbClr val="AEABAB"/>
              </a:solidFill>
            </c:spPr>
            <c:extLst>
              <c:ext xmlns:c16="http://schemas.microsoft.com/office/drawing/2014/chart" uri="{C3380CC4-5D6E-409C-BE32-E72D297353CC}">
                <c16:uniqueId val="{00000815-C110-4B3C-98C7-D19B20EBE8CB}"/>
              </c:ext>
            </c:extLst>
          </c:dPt>
          <c:dPt>
            <c:idx val="1034"/>
            <c:invertIfNegative val="1"/>
            <c:bubble3D val="0"/>
            <c:spPr>
              <a:solidFill>
                <a:srgbClr val="AEABAB"/>
              </a:solidFill>
            </c:spPr>
            <c:extLst>
              <c:ext xmlns:c16="http://schemas.microsoft.com/office/drawing/2014/chart" uri="{C3380CC4-5D6E-409C-BE32-E72D297353CC}">
                <c16:uniqueId val="{00000817-C110-4B3C-98C7-D19B20EBE8CB}"/>
              </c:ext>
            </c:extLst>
          </c:dPt>
          <c:dPt>
            <c:idx val="1035"/>
            <c:invertIfNegative val="1"/>
            <c:bubble3D val="0"/>
            <c:spPr>
              <a:solidFill>
                <a:srgbClr val="AEABAB"/>
              </a:solidFill>
            </c:spPr>
            <c:extLst>
              <c:ext xmlns:c16="http://schemas.microsoft.com/office/drawing/2014/chart" uri="{C3380CC4-5D6E-409C-BE32-E72D297353CC}">
                <c16:uniqueId val="{00000819-C110-4B3C-98C7-D19B20EBE8CB}"/>
              </c:ext>
            </c:extLst>
          </c:dPt>
          <c:dPt>
            <c:idx val="1036"/>
            <c:invertIfNegative val="1"/>
            <c:bubble3D val="0"/>
            <c:spPr>
              <a:solidFill>
                <a:srgbClr val="AEABAB"/>
              </a:solidFill>
            </c:spPr>
            <c:extLst>
              <c:ext xmlns:c16="http://schemas.microsoft.com/office/drawing/2014/chart" uri="{C3380CC4-5D6E-409C-BE32-E72D297353CC}">
                <c16:uniqueId val="{0000081B-C110-4B3C-98C7-D19B20EBE8CB}"/>
              </c:ext>
            </c:extLst>
          </c:dPt>
          <c:dPt>
            <c:idx val="1037"/>
            <c:invertIfNegative val="1"/>
            <c:bubble3D val="0"/>
            <c:spPr>
              <a:solidFill>
                <a:srgbClr val="AEABAB"/>
              </a:solidFill>
            </c:spPr>
            <c:extLst>
              <c:ext xmlns:c16="http://schemas.microsoft.com/office/drawing/2014/chart" uri="{C3380CC4-5D6E-409C-BE32-E72D297353CC}">
                <c16:uniqueId val="{0000081D-C110-4B3C-98C7-D19B20EBE8CB}"/>
              </c:ext>
            </c:extLst>
          </c:dPt>
          <c:dPt>
            <c:idx val="1038"/>
            <c:invertIfNegative val="1"/>
            <c:bubble3D val="0"/>
            <c:spPr>
              <a:solidFill>
                <a:srgbClr val="AEABAB"/>
              </a:solidFill>
            </c:spPr>
            <c:extLst>
              <c:ext xmlns:c16="http://schemas.microsoft.com/office/drawing/2014/chart" uri="{C3380CC4-5D6E-409C-BE32-E72D297353CC}">
                <c16:uniqueId val="{0000081F-C110-4B3C-98C7-D19B20EBE8CB}"/>
              </c:ext>
            </c:extLst>
          </c:dPt>
          <c:dPt>
            <c:idx val="1039"/>
            <c:invertIfNegative val="1"/>
            <c:bubble3D val="0"/>
            <c:spPr>
              <a:solidFill>
                <a:srgbClr val="AEABAB"/>
              </a:solidFill>
            </c:spPr>
            <c:extLst>
              <c:ext xmlns:c16="http://schemas.microsoft.com/office/drawing/2014/chart" uri="{C3380CC4-5D6E-409C-BE32-E72D297353CC}">
                <c16:uniqueId val="{00000821-C110-4B3C-98C7-D19B20EBE8CB}"/>
              </c:ext>
            </c:extLst>
          </c:dPt>
          <c:dPt>
            <c:idx val="1040"/>
            <c:invertIfNegative val="1"/>
            <c:bubble3D val="0"/>
            <c:spPr>
              <a:solidFill>
                <a:srgbClr val="AEABAB"/>
              </a:solidFill>
            </c:spPr>
            <c:extLst>
              <c:ext xmlns:c16="http://schemas.microsoft.com/office/drawing/2014/chart" uri="{C3380CC4-5D6E-409C-BE32-E72D297353CC}">
                <c16:uniqueId val="{00000823-C110-4B3C-98C7-D19B20EBE8CB}"/>
              </c:ext>
            </c:extLst>
          </c:dPt>
          <c:dPt>
            <c:idx val="1041"/>
            <c:invertIfNegative val="1"/>
            <c:bubble3D val="0"/>
            <c:spPr>
              <a:solidFill>
                <a:srgbClr val="AEABAB"/>
              </a:solidFill>
            </c:spPr>
            <c:extLst>
              <c:ext xmlns:c16="http://schemas.microsoft.com/office/drawing/2014/chart" uri="{C3380CC4-5D6E-409C-BE32-E72D297353CC}">
                <c16:uniqueId val="{00000825-C110-4B3C-98C7-D19B20EBE8CB}"/>
              </c:ext>
            </c:extLst>
          </c:dPt>
          <c:dPt>
            <c:idx val="1042"/>
            <c:invertIfNegative val="1"/>
            <c:bubble3D val="0"/>
            <c:spPr>
              <a:solidFill>
                <a:srgbClr val="AEABAB"/>
              </a:solidFill>
            </c:spPr>
            <c:extLst>
              <c:ext xmlns:c16="http://schemas.microsoft.com/office/drawing/2014/chart" uri="{C3380CC4-5D6E-409C-BE32-E72D297353CC}">
                <c16:uniqueId val="{00000827-C110-4B3C-98C7-D19B20EBE8CB}"/>
              </c:ext>
            </c:extLst>
          </c:dPt>
          <c:dPt>
            <c:idx val="1043"/>
            <c:invertIfNegative val="1"/>
            <c:bubble3D val="0"/>
            <c:spPr>
              <a:solidFill>
                <a:srgbClr val="AEABAB"/>
              </a:solidFill>
            </c:spPr>
            <c:extLst>
              <c:ext xmlns:c16="http://schemas.microsoft.com/office/drawing/2014/chart" uri="{C3380CC4-5D6E-409C-BE32-E72D297353CC}">
                <c16:uniqueId val="{00000829-C110-4B3C-98C7-D19B20EBE8CB}"/>
              </c:ext>
            </c:extLst>
          </c:dPt>
          <c:dPt>
            <c:idx val="1044"/>
            <c:invertIfNegative val="1"/>
            <c:bubble3D val="0"/>
            <c:spPr>
              <a:solidFill>
                <a:srgbClr val="AEABAB"/>
              </a:solidFill>
            </c:spPr>
            <c:extLst>
              <c:ext xmlns:c16="http://schemas.microsoft.com/office/drawing/2014/chart" uri="{C3380CC4-5D6E-409C-BE32-E72D297353CC}">
                <c16:uniqueId val="{0000082B-C110-4B3C-98C7-D19B20EBE8CB}"/>
              </c:ext>
            </c:extLst>
          </c:dPt>
          <c:dPt>
            <c:idx val="1045"/>
            <c:invertIfNegative val="1"/>
            <c:bubble3D val="0"/>
            <c:spPr>
              <a:solidFill>
                <a:srgbClr val="AEABAB"/>
              </a:solidFill>
            </c:spPr>
            <c:extLst>
              <c:ext xmlns:c16="http://schemas.microsoft.com/office/drawing/2014/chart" uri="{C3380CC4-5D6E-409C-BE32-E72D297353CC}">
                <c16:uniqueId val="{0000082D-C110-4B3C-98C7-D19B20EBE8CB}"/>
              </c:ext>
            </c:extLst>
          </c:dPt>
          <c:dPt>
            <c:idx val="1046"/>
            <c:invertIfNegative val="1"/>
            <c:bubble3D val="0"/>
            <c:spPr>
              <a:solidFill>
                <a:srgbClr val="AEABAB"/>
              </a:solidFill>
            </c:spPr>
            <c:extLst>
              <c:ext xmlns:c16="http://schemas.microsoft.com/office/drawing/2014/chart" uri="{C3380CC4-5D6E-409C-BE32-E72D297353CC}">
                <c16:uniqueId val="{0000082F-C110-4B3C-98C7-D19B20EBE8CB}"/>
              </c:ext>
            </c:extLst>
          </c:dPt>
          <c:dPt>
            <c:idx val="1047"/>
            <c:invertIfNegative val="1"/>
            <c:bubble3D val="0"/>
            <c:spPr>
              <a:solidFill>
                <a:srgbClr val="AEABAB"/>
              </a:solidFill>
            </c:spPr>
            <c:extLst>
              <c:ext xmlns:c16="http://schemas.microsoft.com/office/drawing/2014/chart" uri="{C3380CC4-5D6E-409C-BE32-E72D297353CC}">
                <c16:uniqueId val="{00000831-C110-4B3C-98C7-D19B20EBE8CB}"/>
              </c:ext>
            </c:extLst>
          </c:dPt>
          <c:dPt>
            <c:idx val="1048"/>
            <c:invertIfNegative val="1"/>
            <c:bubble3D val="0"/>
            <c:spPr>
              <a:solidFill>
                <a:srgbClr val="AEABAB"/>
              </a:solidFill>
            </c:spPr>
            <c:extLst>
              <c:ext xmlns:c16="http://schemas.microsoft.com/office/drawing/2014/chart" uri="{C3380CC4-5D6E-409C-BE32-E72D297353CC}">
                <c16:uniqueId val="{00000833-C110-4B3C-98C7-D19B20EBE8CB}"/>
              </c:ext>
            </c:extLst>
          </c:dPt>
          <c:dPt>
            <c:idx val="1049"/>
            <c:invertIfNegative val="1"/>
            <c:bubble3D val="0"/>
            <c:spPr>
              <a:solidFill>
                <a:srgbClr val="AEABAB"/>
              </a:solidFill>
            </c:spPr>
            <c:extLst>
              <c:ext xmlns:c16="http://schemas.microsoft.com/office/drawing/2014/chart" uri="{C3380CC4-5D6E-409C-BE32-E72D297353CC}">
                <c16:uniqueId val="{00000835-C110-4B3C-98C7-D19B20EBE8CB}"/>
              </c:ext>
            </c:extLst>
          </c:dPt>
          <c:dPt>
            <c:idx val="1050"/>
            <c:invertIfNegative val="1"/>
            <c:bubble3D val="0"/>
            <c:spPr>
              <a:solidFill>
                <a:srgbClr val="AEABAB"/>
              </a:solidFill>
            </c:spPr>
            <c:extLst>
              <c:ext xmlns:c16="http://schemas.microsoft.com/office/drawing/2014/chart" uri="{C3380CC4-5D6E-409C-BE32-E72D297353CC}">
                <c16:uniqueId val="{00000837-C110-4B3C-98C7-D19B20EBE8CB}"/>
              </c:ext>
            </c:extLst>
          </c:dPt>
          <c:dPt>
            <c:idx val="1051"/>
            <c:invertIfNegative val="1"/>
            <c:bubble3D val="0"/>
            <c:spPr>
              <a:solidFill>
                <a:srgbClr val="AEABAB"/>
              </a:solidFill>
            </c:spPr>
            <c:extLst>
              <c:ext xmlns:c16="http://schemas.microsoft.com/office/drawing/2014/chart" uri="{C3380CC4-5D6E-409C-BE32-E72D297353CC}">
                <c16:uniqueId val="{00000839-C110-4B3C-98C7-D19B20EBE8CB}"/>
              </c:ext>
            </c:extLst>
          </c:dPt>
          <c:dPt>
            <c:idx val="1052"/>
            <c:invertIfNegative val="1"/>
            <c:bubble3D val="0"/>
            <c:spPr>
              <a:solidFill>
                <a:srgbClr val="AEABAB"/>
              </a:solidFill>
            </c:spPr>
            <c:extLst>
              <c:ext xmlns:c16="http://schemas.microsoft.com/office/drawing/2014/chart" uri="{C3380CC4-5D6E-409C-BE32-E72D297353CC}">
                <c16:uniqueId val="{0000083B-C110-4B3C-98C7-D19B20EBE8CB}"/>
              </c:ext>
            </c:extLst>
          </c:dPt>
          <c:dPt>
            <c:idx val="1053"/>
            <c:invertIfNegative val="1"/>
            <c:bubble3D val="0"/>
            <c:spPr>
              <a:solidFill>
                <a:srgbClr val="AEABAB"/>
              </a:solidFill>
            </c:spPr>
            <c:extLst>
              <c:ext xmlns:c16="http://schemas.microsoft.com/office/drawing/2014/chart" uri="{C3380CC4-5D6E-409C-BE32-E72D297353CC}">
                <c16:uniqueId val="{0000083D-C110-4B3C-98C7-D19B20EBE8CB}"/>
              </c:ext>
            </c:extLst>
          </c:dPt>
          <c:dPt>
            <c:idx val="1054"/>
            <c:invertIfNegative val="1"/>
            <c:bubble3D val="0"/>
            <c:spPr>
              <a:solidFill>
                <a:srgbClr val="AEABAB"/>
              </a:solidFill>
            </c:spPr>
            <c:extLst>
              <c:ext xmlns:c16="http://schemas.microsoft.com/office/drawing/2014/chart" uri="{C3380CC4-5D6E-409C-BE32-E72D297353CC}">
                <c16:uniqueId val="{0000083F-C110-4B3C-98C7-D19B20EBE8CB}"/>
              </c:ext>
            </c:extLst>
          </c:dPt>
          <c:dPt>
            <c:idx val="1055"/>
            <c:invertIfNegative val="1"/>
            <c:bubble3D val="0"/>
            <c:spPr>
              <a:solidFill>
                <a:srgbClr val="AEABAB"/>
              </a:solidFill>
            </c:spPr>
            <c:extLst>
              <c:ext xmlns:c16="http://schemas.microsoft.com/office/drawing/2014/chart" uri="{C3380CC4-5D6E-409C-BE32-E72D297353CC}">
                <c16:uniqueId val="{00000841-C110-4B3C-98C7-D19B20EBE8CB}"/>
              </c:ext>
            </c:extLst>
          </c:dPt>
          <c:dPt>
            <c:idx val="1056"/>
            <c:invertIfNegative val="1"/>
            <c:bubble3D val="0"/>
            <c:spPr>
              <a:solidFill>
                <a:srgbClr val="AEABAB"/>
              </a:solidFill>
            </c:spPr>
            <c:extLst>
              <c:ext xmlns:c16="http://schemas.microsoft.com/office/drawing/2014/chart" uri="{C3380CC4-5D6E-409C-BE32-E72D297353CC}">
                <c16:uniqueId val="{00000843-C110-4B3C-98C7-D19B20EBE8CB}"/>
              </c:ext>
            </c:extLst>
          </c:dPt>
          <c:dPt>
            <c:idx val="1057"/>
            <c:invertIfNegative val="1"/>
            <c:bubble3D val="0"/>
            <c:spPr>
              <a:solidFill>
                <a:srgbClr val="AEABAB"/>
              </a:solidFill>
            </c:spPr>
            <c:extLst>
              <c:ext xmlns:c16="http://schemas.microsoft.com/office/drawing/2014/chart" uri="{C3380CC4-5D6E-409C-BE32-E72D297353CC}">
                <c16:uniqueId val="{00000845-C110-4B3C-98C7-D19B20EBE8CB}"/>
              </c:ext>
            </c:extLst>
          </c:dPt>
          <c:dPt>
            <c:idx val="1058"/>
            <c:invertIfNegative val="1"/>
            <c:bubble3D val="0"/>
            <c:spPr>
              <a:solidFill>
                <a:srgbClr val="AEABAB"/>
              </a:solidFill>
            </c:spPr>
            <c:extLst>
              <c:ext xmlns:c16="http://schemas.microsoft.com/office/drawing/2014/chart" uri="{C3380CC4-5D6E-409C-BE32-E72D297353CC}">
                <c16:uniqueId val="{00000847-C110-4B3C-98C7-D19B20EBE8CB}"/>
              </c:ext>
            </c:extLst>
          </c:dPt>
          <c:dPt>
            <c:idx val="1059"/>
            <c:invertIfNegative val="1"/>
            <c:bubble3D val="0"/>
            <c:spPr>
              <a:solidFill>
                <a:srgbClr val="AEABAB"/>
              </a:solidFill>
            </c:spPr>
            <c:extLst>
              <c:ext xmlns:c16="http://schemas.microsoft.com/office/drawing/2014/chart" uri="{C3380CC4-5D6E-409C-BE32-E72D297353CC}">
                <c16:uniqueId val="{00000849-C110-4B3C-98C7-D19B20EBE8CB}"/>
              </c:ext>
            </c:extLst>
          </c:dPt>
          <c:dPt>
            <c:idx val="1060"/>
            <c:invertIfNegative val="1"/>
            <c:bubble3D val="0"/>
            <c:spPr>
              <a:solidFill>
                <a:srgbClr val="AEABAB"/>
              </a:solidFill>
            </c:spPr>
            <c:extLst>
              <c:ext xmlns:c16="http://schemas.microsoft.com/office/drawing/2014/chart" uri="{C3380CC4-5D6E-409C-BE32-E72D297353CC}">
                <c16:uniqueId val="{0000084B-C110-4B3C-98C7-D19B20EBE8CB}"/>
              </c:ext>
            </c:extLst>
          </c:dPt>
          <c:dPt>
            <c:idx val="1061"/>
            <c:invertIfNegative val="1"/>
            <c:bubble3D val="0"/>
            <c:spPr>
              <a:solidFill>
                <a:srgbClr val="AEABAB"/>
              </a:solidFill>
            </c:spPr>
            <c:extLst>
              <c:ext xmlns:c16="http://schemas.microsoft.com/office/drawing/2014/chart" uri="{C3380CC4-5D6E-409C-BE32-E72D297353CC}">
                <c16:uniqueId val="{0000084D-C110-4B3C-98C7-D19B20EBE8CB}"/>
              </c:ext>
            </c:extLst>
          </c:dPt>
          <c:dPt>
            <c:idx val="1062"/>
            <c:invertIfNegative val="1"/>
            <c:bubble3D val="0"/>
            <c:spPr>
              <a:solidFill>
                <a:srgbClr val="AEABAB"/>
              </a:solidFill>
            </c:spPr>
            <c:extLst>
              <c:ext xmlns:c16="http://schemas.microsoft.com/office/drawing/2014/chart" uri="{C3380CC4-5D6E-409C-BE32-E72D297353CC}">
                <c16:uniqueId val="{0000084F-C110-4B3C-98C7-D19B20EBE8CB}"/>
              </c:ext>
            </c:extLst>
          </c:dPt>
          <c:dPt>
            <c:idx val="1063"/>
            <c:invertIfNegative val="1"/>
            <c:bubble3D val="0"/>
            <c:spPr>
              <a:solidFill>
                <a:srgbClr val="AEABAB"/>
              </a:solidFill>
            </c:spPr>
            <c:extLst>
              <c:ext xmlns:c16="http://schemas.microsoft.com/office/drawing/2014/chart" uri="{C3380CC4-5D6E-409C-BE32-E72D297353CC}">
                <c16:uniqueId val="{00000851-C110-4B3C-98C7-D19B20EBE8CB}"/>
              </c:ext>
            </c:extLst>
          </c:dPt>
          <c:dPt>
            <c:idx val="1064"/>
            <c:invertIfNegative val="1"/>
            <c:bubble3D val="0"/>
            <c:spPr>
              <a:solidFill>
                <a:srgbClr val="AEABAB"/>
              </a:solidFill>
            </c:spPr>
            <c:extLst>
              <c:ext xmlns:c16="http://schemas.microsoft.com/office/drawing/2014/chart" uri="{C3380CC4-5D6E-409C-BE32-E72D297353CC}">
                <c16:uniqueId val="{00000853-C110-4B3C-98C7-D19B20EBE8CB}"/>
              </c:ext>
            </c:extLst>
          </c:dPt>
          <c:dPt>
            <c:idx val="1065"/>
            <c:invertIfNegative val="1"/>
            <c:bubble3D val="0"/>
            <c:spPr>
              <a:solidFill>
                <a:srgbClr val="AEABAB"/>
              </a:solidFill>
            </c:spPr>
            <c:extLst>
              <c:ext xmlns:c16="http://schemas.microsoft.com/office/drawing/2014/chart" uri="{C3380CC4-5D6E-409C-BE32-E72D297353CC}">
                <c16:uniqueId val="{00000855-C110-4B3C-98C7-D19B20EBE8CB}"/>
              </c:ext>
            </c:extLst>
          </c:dPt>
          <c:dPt>
            <c:idx val="1066"/>
            <c:invertIfNegative val="1"/>
            <c:bubble3D val="0"/>
            <c:spPr>
              <a:solidFill>
                <a:srgbClr val="AEABAB"/>
              </a:solidFill>
            </c:spPr>
            <c:extLst>
              <c:ext xmlns:c16="http://schemas.microsoft.com/office/drawing/2014/chart" uri="{C3380CC4-5D6E-409C-BE32-E72D297353CC}">
                <c16:uniqueId val="{00000857-C110-4B3C-98C7-D19B20EBE8CB}"/>
              </c:ext>
            </c:extLst>
          </c:dPt>
          <c:dPt>
            <c:idx val="1067"/>
            <c:invertIfNegative val="1"/>
            <c:bubble3D val="0"/>
            <c:spPr>
              <a:solidFill>
                <a:srgbClr val="AEABAB"/>
              </a:solidFill>
            </c:spPr>
            <c:extLst>
              <c:ext xmlns:c16="http://schemas.microsoft.com/office/drawing/2014/chart" uri="{C3380CC4-5D6E-409C-BE32-E72D297353CC}">
                <c16:uniqueId val="{00000859-C110-4B3C-98C7-D19B20EBE8CB}"/>
              </c:ext>
            </c:extLst>
          </c:dPt>
          <c:dPt>
            <c:idx val="1068"/>
            <c:invertIfNegative val="1"/>
            <c:bubble3D val="0"/>
            <c:spPr>
              <a:solidFill>
                <a:srgbClr val="AEABAB"/>
              </a:solidFill>
            </c:spPr>
            <c:extLst>
              <c:ext xmlns:c16="http://schemas.microsoft.com/office/drawing/2014/chart" uri="{C3380CC4-5D6E-409C-BE32-E72D297353CC}">
                <c16:uniqueId val="{0000085B-C110-4B3C-98C7-D19B20EBE8CB}"/>
              </c:ext>
            </c:extLst>
          </c:dPt>
          <c:dPt>
            <c:idx val="1069"/>
            <c:invertIfNegative val="1"/>
            <c:bubble3D val="0"/>
            <c:spPr>
              <a:solidFill>
                <a:srgbClr val="AEABAB"/>
              </a:solidFill>
            </c:spPr>
            <c:extLst>
              <c:ext xmlns:c16="http://schemas.microsoft.com/office/drawing/2014/chart" uri="{C3380CC4-5D6E-409C-BE32-E72D297353CC}">
                <c16:uniqueId val="{0000085D-C110-4B3C-98C7-D19B20EBE8CB}"/>
              </c:ext>
            </c:extLst>
          </c:dPt>
          <c:dPt>
            <c:idx val="1070"/>
            <c:invertIfNegative val="1"/>
            <c:bubble3D val="0"/>
            <c:spPr>
              <a:solidFill>
                <a:srgbClr val="AEABAB"/>
              </a:solidFill>
            </c:spPr>
            <c:extLst>
              <c:ext xmlns:c16="http://schemas.microsoft.com/office/drawing/2014/chart" uri="{C3380CC4-5D6E-409C-BE32-E72D297353CC}">
                <c16:uniqueId val="{0000085F-C110-4B3C-98C7-D19B20EBE8CB}"/>
              </c:ext>
            </c:extLst>
          </c:dPt>
          <c:dPt>
            <c:idx val="1071"/>
            <c:invertIfNegative val="1"/>
            <c:bubble3D val="0"/>
            <c:spPr>
              <a:solidFill>
                <a:srgbClr val="AEABAB"/>
              </a:solidFill>
            </c:spPr>
            <c:extLst>
              <c:ext xmlns:c16="http://schemas.microsoft.com/office/drawing/2014/chart" uri="{C3380CC4-5D6E-409C-BE32-E72D297353CC}">
                <c16:uniqueId val="{00000861-C110-4B3C-98C7-D19B20EBE8CB}"/>
              </c:ext>
            </c:extLst>
          </c:dPt>
          <c:dPt>
            <c:idx val="1072"/>
            <c:invertIfNegative val="1"/>
            <c:bubble3D val="0"/>
            <c:spPr>
              <a:solidFill>
                <a:srgbClr val="AEABAB"/>
              </a:solidFill>
            </c:spPr>
            <c:extLst>
              <c:ext xmlns:c16="http://schemas.microsoft.com/office/drawing/2014/chart" uri="{C3380CC4-5D6E-409C-BE32-E72D297353CC}">
                <c16:uniqueId val="{00000863-C110-4B3C-98C7-D19B20EBE8CB}"/>
              </c:ext>
            </c:extLst>
          </c:dPt>
          <c:dPt>
            <c:idx val="1073"/>
            <c:invertIfNegative val="1"/>
            <c:bubble3D val="0"/>
            <c:spPr>
              <a:solidFill>
                <a:srgbClr val="AEABAB"/>
              </a:solidFill>
            </c:spPr>
            <c:extLst>
              <c:ext xmlns:c16="http://schemas.microsoft.com/office/drawing/2014/chart" uri="{C3380CC4-5D6E-409C-BE32-E72D297353CC}">
                <c16:uniqueId val="{00000865-C110-4B3C-98C7-D19B20EBE8CB}"/>
              </c:ext>
            </c:extLst>
          </c:dPt>
          <c:dPt>
            <c:idx val="1074"/>
            <c:invertIfNegative val="1"/>
            <c:bubble3D val="0"/>
            <c:spPr>
              <a:solidFill>
                <a:srgbClr val="AEABAB"/>
              </a:solidFill>
            </c:spPr>
            <c:extLst>
              <c:ext xmlns:c16="http://schemas.microsoft.com/office/drawing/2014/chart" uri="{C3380CC4-5D6E-409C-BE32-E72D297353CC}">
                <c16:uniqueId val="{00000867-C110-4B3C-98C7-D19B20EBE8CB}"/>
              </c:ext>
            </c:extLst>
          </c:dPt>
          <c:dPt>
            <c:idx val="1075"/>
            <c:invertIfNegative val="1"/>
            <c:bubble3D val="0"/>
            <c:spPr>
              <a:solidFill>
                <a:srgbClr val="AEABAB"/>
              </a:solidFill>
            </c:spPr>
            <c:extLst>
              <c:ext xmlns:c16="http://schemas.microsoft.com/office/drawing/2014/chart" uri="{C3380CC4-5D6E-409C-BE32-E72D297353CC}">
                <c16:uniqueId val="{00000869-C110-4B3C-98C7-D19B20EBE8CB}"/>
              </c:ext>
            </c:extLst>
          </c:dPt>
          <c:dPt>
            <c:idx val="1076"/>
            <c:invertIfNegative val="1"/>
            <c:bubble3D val="0"/>
            <c:spPr>
              <a:solidFill>
                <a:srgbClr val="AEABAB"/>
              </a:solidFill>
            </c:spPr>
            <c:extLst>
              <c:ext xmlns:c16="http://schemas.microsoft.com/office/drawing/2014/chart" uri="{C3380CC4-5D6E-409C-BE32-E72D297353CC}">
                <c16:uniqueId val="{0000086B-C110-4B3C-98C7-D19B20EBE8CB}"/>
              </c:ext>
            </c:extLst>
          </c:dPt>
          <c:dPt>
            <c:idx val="1077"/>
            <c:invertIfNegative val="1"/>
            <c:bubble3D val="0"/>
            <c:spPr>
              <a:solidFill>
                <a:srgbClr val="AEABAB"/>
              </a:solidFill>
            </c:spPr>
            <c:extLst>
              <c:ext xmlns:c16="http://schemas.microsoft.com/office/drawing/2014/chart" uri="{C3380CC4-5D6E-409C-BE32-E72D297353CC}">
                <c16:uniqueId val="{0000086D-C110-4B3C-98C7-D19B20EBE8CB}"/>
              </c:ext>
            </c:extLst>
          </c:dPt>
          <c:dPt>
            <c:idx val="1078"/>
            <c:invertIfNegative val="1"/>
            <c:bubble3D val="0"/>
            <c:spPr>
              <a:solidFill>
                <a:srgbClr val="AEABAB"/>
              </a:solidFill>
            </c:spPr>
            <c:extLst>
              <c:ext xmlns:c16="http://schemas.microsoft.com/office/drawing/2014/chart" uri="{C3380CC4-5D6E-409C-BE32-E72D297353CC}">
                <c16:uniqueId val="{0000086F-C110-4B3C-98C7-D19B20EBE8CB}"/>
              </c:ext>
            </c:extLst>
          </c:dPt>
          <c:dPt>
            <c:idx val="1079"/>
            <c:invertIfNegative val="1"/>
            <c:bubble3D val="0"/>
            <c:spPr>
              <a:solidFill>
                <a:srgbClr val="AEABAB"/>
              </a:solidFill>
            </c:spPr>
            <c:extLst>
              <c:ext xmlns:c16="http://schemas.microsoft.com/office/drawing/2014/chart" uri="{C3380CC4-5D6E-409C-BE32-E72D297353CC}">
                <c16:uniqueId val="{00000871-C110-4B3C-98C7-D19B20EBE8CB}"/>
              </c:ext>
            </c:extLst>
          </c:dPt>
          <c:dPt>
            <c:idx val="1080"/>
            <c:invertIfNegative val="1"/>
            <c:bubble3D val="0"/>
            <c:spPr>
              <a:solidFill>
                <a:srgbClr val="AEABAB"/>
              </a:solidFill>
            </c:spPr>
            <c:extLst>
              <c:ext xmlns:c16="http://schemas.microsoft.com/office/drawing/2014/chart" uri="{C3380CC4-5D6E-409C-BE32-E72D297353CC}">
                <c16:uniqueId val="{00000873-C110-4B3C-98C7-D19B20EBE8CB}"/>
              </c:ext>
            </c:extLst>
          </c:dPt>
          <c:dPt>
            <c:idx val="1081"/>
            <c:invertIfNegative val="1"/>
            <c:bubble3D val="0"/>
            <c:spPr>
              <a:solidFill>
                <a:srgbClr val="AEABAB"/>
              </a:solidFill>
            </c:spPr>
            <c:extLst>
              <c:ext xmlns:c16="http://schemas.microsoft.com/office/drawing/2014/chart" uri="{C3380CC4-5D6E-409C-BE32-E72D297353CC}">
                <c16:uniqueId val="{00000875-C110-4B3C-98C7-D19B20EBE8CB}"/>
              </c:ext>
            </c:extLst>
          </c:dPt>
          <c:dPt>
            <c:idx val="1082"/>
            <c:invertIfNegative val="1"/>
            <c:bubble3D val="0"/>
            <c:spPr>
              <a:solidFill>
                <a:srgbClr val="AEABAB"/>
              </a:solidFill>
            </c:spPr>
            <c:extLst>
              <c:ext xmlns:c16="http://schemas.microsoft.com/office/drawing/2014/chart" uri="{C3380CC4-5D6E-409C-BE32-E72D297353CC}">
                <c16:uniqueId val="{00000877-C110-4B3C-98C7-D19B20EBE8CB}"/>
              </c:ext>
            </c:extLst>
          </c:dPt>
          <c:dPt>
            <c:idx val="1083"/>
            <c:invertIfNegative val="1"/>
            <c:bubble3D val="0"/>
            <c:spPr>
              <a:solidFill>
                <a:srgbClr val="AEABAB"/>
              </a:solidFill>
            </c:spPr>
            <c:extLst>
              <c:ext xmlns:c16="http://schemas.microsoft.com/office/drawing/2014/chart" uri="{C3380CC4-5D6E-409C-BE32-E72D297353CC}">
                <c16:uniqueId val="{00000879-C110-4B3C-98C7-D19B20EBE8CB}"/>
              </c:ext>
            </c:extLst>
          </c:dPt>
          <c:dPt>
            <c:idx val="1084"/>
            <c:invertIfNegative val="1"/>
            <c:bubble3D val="0"/>
            <c:spPr>
              <a:solidFill>
                <a:srgbClr val="AEABAB"/>
              </a:solidFill>
            </c:spPr>
            <c:extLst>
              <c:ext xmlns:c16="http://schemas.microsoft.com/office/drawing/2014/chart" uri="{C3380CC4-5D6E-409C-BE32-E72D297353CC}">
                <c16:uniqueId val="{0000087B-C110-4B3C-98C7-D19B20EBE8CB}"/>
              </c:ext>
            </c:extLst>
          </c:dPt>
          <c:dPt>
            <c:idx val="1085"/>
            <c:invertIfNegative val="1"/>
            <c:bubble3D val="0"/>
            <c:spPr>
              <a:solidFill>
                <a:srgbClr val="AEABAB"/>
              </a:solidFill>
            </c:spPr>
            <c:extLst>
              <c:ext xmlns:c16="http://schemas.microsoft.com/office/drawing/2014/chart" uri="{C3380CC4-5D6E-409C-BE32-E72D297353CC}">
                <c16:uniqueId val="{0000087D-C110-4B3C-98C7-D19B20EBE8CB}"/>
              </c:ext>
            </c:extLst>
          </c:dPt>
          <c:dPt>
            <c:idx val="1086"/>
            <c:invertIfNegative val="1"/>
            <c:bubble3D val="0"/>
            <c:spPr>
              <a:solidFill>
                <a:srgbClr val="AEABAB"/>
              </a:solidFill>
            </c:spPr>
            <c:extLst>
              <c:ext xmlns:c16="http://schemas.microsoft.com/office/drawing/2014/chart" uri="{C3380CC4-5D6E-409C-BE32-E72D297353CC}">
                <c16:uniqueId val="{0000087F-C110-4B3C-98C7-D19B20EBE8CB}"/>
              </c:ext>
            </c:extLst>
          </c:dPt>
          <c:dPt>
            <c:idx val="1087"/>
            <c:invertIfNegative val="1"/>
            <c:bubble3D val="0"/>
            <c:spPr>
              <a:solidFill>
                <a:srgbClr val="AEABAB"/>
              </a:solidFill>
            </c:spPr>
            <c:extLst>
              <c:ext xmlns:c16="http://schemas.microsoft.com/office/drawing/2014/chart" uri="{C3380CC4-5D6E-409C-BE32-E72D297353CC}">
                <c16:uniqueId val="{00000881-C110-4B3C-98C7-D19B20EBE8CB}"/>
              </c:ext>
            </c:extLst>
          </c:dPt>
          <c:dPt>
            <c:idx val="1088"/>
            <c:invertIfNegative val="1"/>
            <c:bubble3D val="0"/>
            <c:spPr>
              <a:solidFill>
                <a:srgbClr val="AEABAB"/>
              </a:solidFill>
            </c:spPr>
            <c:extLst>
              <c:ext xmlns:c16="http://schemas.microsoft.com/office/drawing/2014/chart" uri="{C3380CC4-5D6E-409C-BE32-E72D297353CC}">
                <c16:uniqueId val="{00000883-C110-4B3C-98C7-D19B20EBE8CB}"/>
              </c:ext>
            </c:extLst>
          </c:dPt>
          <c:dPt>
            <c:idx val="1089"/>
            <c:invertIfNegative val="1"/>
            <c:bubble3D val="0"/>
            <c:spPr>
              <a:solidFill>
                <a:srgbClr val="AEABAB"/>
              </a:solidFill>
            </c:spPr>
            <c:extLst>
              <c:ext xmlns:c16="http://schemas.microsoft.com/office/drawing/2014/chart" uri="{C3380CC4-5D6E-409C-BE32-E72D297353CC}">
                <c16:uniqueId val="{00000885-C110-4B3C-98C7-D19B20EBE8CB}"/>
              </c:ext>
            </c:extLst>
          </c:dPt>
          <c:dPt>
            <c:idx val="1090"/>
            <c:invertIfNegative val="1"/>
            <c:bubble3D val="0"/>
            <c:spPr>
              <a:solidFill>
                <a:srgbClr val="AEABAB"/>
              </a:solidFill>
            </c:spPr>
            <c:extLst>
              <c:ext xmlns:c16="http://schemas.microsoft.com/office/drawing/2014/chart" uri="{C3380CC4-5D6E-409C-BE32-E72D297353CC}">
                <c16:uniqueId val="{00000887-C110-4B3C-98C7-D19B20EBE8CB}"/>
              </c:ext>
            </c:extLst>
          </c:dPt>
          <c:dPt>
            <c:idx val="1091"/>
            <c:invertIfNegative val="1"/>
            <c:bubble3D val="0"/>
            <c:spPr>
              <a:solidFill>
                <a:srgbClr val="AEABAB"/>
              </a:solidFill>
            </c:spPr>
            <c:extLst>
              <c:ext xmlns:c16="http://schemas.microsoft.com/office/drawing/2014/chart" uri="{C3380CC4-5D6E-409C-BE32-E72D297353CC}">
                <c16:uniqueId val="{00000889-C110-4B3C-98C7-D19B20EBE8CB}"/>
              </c:ext>
            </c:extLst>
          </c:dPt>
          <c:dPt>
            <c:idx val="1092"/>
            <c:invertIfNegative val="1"/>
            <c:bubble3D val="0"/>
            <c:spPr>
              <a:solidFill>
                <a:srgbClr val="AEABAB"/>
              </a:solidFill>
            </c:spPr>
            <c:extLst>
              <c:ext xmlns:c16="http://schemas.microsoft.com/office/drawing/2014/chart" uri="{C3380CC4-5D6E-409C-BE32-E72D297353CC}">
                <c16:uniqueId val="{0000088B-C110-4B3C-98C7-D19B20EBE8CB}"/>
              </c:ext>
            </c:extLst>
          </c:dPt>
          <c:dPt>
            <c:idx val="1093"/>
            <c:invertIfNegative val="1"/>
            <c:bubble3D val="0"/>
            <c:spPr>
              <a:solidFill>
                <a:srgbClr val="AEABAB"/>
              </a:solidFill>
            </c:spPr>
            <c:extLst>
              <c:ext xmlns:c16="http://schemas.microsoft.com/office/drawing/2014/chart" uri="{C3380CC4-5D6E-409C-BE32-E72D297353CC}">
                <c16:uniqueId val="{0000088D-C110-4B3C-98C7-D19B20EBE8CB}"/>
              </c:ext>
            </c:extLst>
          </c:dPt>
          <c:dPt>
            <c:idx val="1094"/>
            <c:invertIfNegative val="1"/>
            <c:bubble3D val="0"/>
            <c:spPr>
              <a:solidFill>
                <a:srgbClr val="AEABAB"/>
              </a:solidFill>
            </c:spPr>
            <c:extLst>
              <c:ext xmlns:c16="http://schemas.microsoft.com/office/drawing/2014/chart" uri="{C3380CC4-5D6E-409C-BE32-E72D297353CC}">
                <c16:uniqueId val="{0000088F-C110-4B3C-98C7-D19B20EBE8CB}"/>
              </c:ext>
            </c:extLst>
          </c:dPt>
          <c:dPt>
            <c:idx val="1095"/>
            <c:invertIfNegative val="1"/>
            <c:bubble3D val="0"/>
            <c:spPr>
              <a:solidFill>
                <a:srgbClr val="AEABAB"/>
              </a:solidFill>
            </c:spPr>
            <c:extLst>
              <c:ext xmlns:c16="http://schemas.microsoft.com/office/drawing/2014/chart" uri="{C3380CC4-5D6E-409C-BE32-E72D297353CC}">
                <c16:uniqueId val="{00000891-C110-4B3C-98C7-D19B20EBE8CB}"/>
              </c:ext>
            </c:extLst>
          </c:dPt>
          <c:dPt>
            <c:idx val="1096"/>
            <c:invertIfNegative val="1"/>
            <c:bubble3D val="0"/>
            <c:spPr>
              <a:solidFill>
                <a:srgbClr val="AEABAB"/>
              </a:solidFill>
            </c:spPr>
            <c:extLst>
              <c:ext xmlns:c16="http://schemas.microsoft.com/office/drawing/2014/chart" uri="{C3380CC4-5D6E-409C-BE32-E72D297353CC}">
                <c16:uniqueId val="{00000893-C110-4B3C-98C7-D19B20EBE8CB}"/>
              </c:ext>
            </c:extLst>
          </c:dPt>
          <c:dPt>
            <c:idx val="1097"/>
            <c:invertIfNegative val="1"/>
            <c:bubble3D val="0"/>
            <c:spPr>
              <a:solidFill>
                <a:srgbClr val="AEABAB"/>
              </a:solidFill>
            </c:spPr>
            <c:extLst>
              <c:ext xmlns:c16="http://schemas.microsoft.com/office/drawing/2014/chart" uri="{C3380CC4-5D6E-409C-BE32-E72D297353CC}">
                <c16:uniqueId val="{00000895-C110-4B3C-98C7-D19B20EBE8CB}"/>
              </c:ext>
            </c:extLst>
          </c:dPt>
          <c:dPt>
            <c:idx val="1098"/>
            <c:invertIfNegative val="1"/>
            <c:bubble3D val="0"/>
            <c:spPr>
              <a:solidFill>
                <a:srgbClr val="AEABAB"/>
              </a:solidFill>
            </c:spPr>
            <c:extLst>
              <c:ext xmlns:c16="http://schemas.microsoft.com/office/drawing/2014/chart" uri="{C3380CC4-5D6E-409C-BE32-E72D297353CC}">
                <c16:uniqueId val="{00000897-C110-4B3C-98C7-D19B20EBE8CB}"/>
              </c:ext>
            </c:extLst>
          </c:dPt>
          <c:dPt>
            <c:idx val="1099"/>
            <c:invertIfNegative val="1"/>
            <c:bubble3D val="0"/>
            <c:spPr>
              <a:solidFill>
                <a:srgbClr val="AEABAB"/>
              </a:solidFill>
            </c:spPr>
            <c:extLst>
              <c:ext xmlns:c16="http://schemas.microsoft.com/office/drawing/2014/chart" uri="{C3380CC4-5D6E-409C-BE32-E72D297353CC}">
                <c16:uniqueId val="{00000899-C110-4B3C-98C7-D19B20EBE8CB}"/>
              </c:ext>
            </c:extLst>
          </c:dPt>
          <c:dPt>
            <c:idx val="1100"/>
            <c:invertIfNegative val="1"/>
            <c:bubble3D val="0"/>
            <c:spPr>
              <a:solidFill>
                <a:srgbClr val="AEABAB"/>
              </a:solidFill>
            </c:spPr>
            <c:extLst>
              <c:ext xmlns:c16="http://schemas.microsoft.com/office/drawing/2014/chart" uri="{C3380CC4-5D6E-409C-BE32-E72D297353CC}">
                <c16:uniqueId val="{0000089B-C110-4B3C-98C7-D19B20EBE8CB}"/>
              </c:ext>
            </c:extLst>
          </c:dPt>
          <c:dPt>
            <c:idx val="1101"/>
            <c:invertIfNegative val="1"/>
            <c:bubble3D val="0"/>
            <c:spPr>
              <a:solidFill>
                <a:srgbClr val="AEABAB"/>
              </a:solidFill>
            </c:spPr>
            <c:extLst>
              <c:ext xmlns:c16="http://schemas.microsoft.com/office/drawing/2014/chart" uri="{C3380CC4-5D6E-409C-BE32-E72D297353CC}">
                <c16:uniqueId val="{0000089D-C110-4B3C-98C7-D19B20EBE8CB}"/>
              </c:ext>
            </c:extLst>
          </c:dPt>
          <c:dPt>
            <c:idx val="1102"/>
            <c:invertIfNegative val="1"/>
            <c:bubble3D val="0"/>
            <c:spPr>
              <a:solidFill>
                <a:srgbClr val="AEABAB"/>
              </a:solidFill>
            </c:spPr>
            <c:extLst>
              <c:ext xmlns:c16="http://schemas.microsoft.com/office/drawing/2014/chart" uri="{C3380CC4-5D6E-409C-BE32-E72D297353CC}">
                <c16:uniqueId val="{0000089F-C110-4B3C-98C7-D19B20EBE8CB}"/>
              </c:ext>
            </c:extLst>
          </c:dPt>
          <c:dPt>
            <c:idx val="1103"/>
            <c:invertIfNegative val="1"/>
            <c:bubble3D val="0"/>
            <c:spPr>
              <a:solidFill>
                <a:srgbClr val="AEABAB"/>
              </a:solidFill>
            </c:spPr>
            <c:extLst>
              <c:ext xmlns:c16="http://schemas.microsoft.com/office/drawing/2014/chart" uri="{C3380CC4-5D6E-409C-BE32-E72D297353CC}">
                <c16:uniqueId val="{000008A1-C110-4B3C-98C7-D19B20EBE8CB}"/>
              </c:ext>
            </c:extLst>
          </c:dPt>
          <c:dPt>
            <c:idx val="1104"/>
            <c:invertIfNegative val="1"/>
            <c:bubble3D val="0"/>
            <c:spPr>
              <a:solidFill>
                <a:srgbClr val="AEABAB"/>
              </a:solidFill>
            </c:spPr>
            <c:extLst>
              <c:ext xmlns:c16="http://schemas.microsoft.com/office/drawing/2014/chart" uri="{C3380CC4-5D6E-409C-BE32-E72D297353CC}">
                <c16:uniqueId val="{000008A3-C110-4B3C-98C7-D19B20EBE8CB}"/>
              </c:ext>
            </c:extLst>
          </c:dPt>
          <c:dPt>
            <c:idx val="1105"/>
            <c:invertIfNegative val="1"/>
            <c:bubble3D val="0"/>
            <c:spPr>
              <a:solidFill>
                <a:srgbClr val="AEABAB"/>
              </a:solidFill>
            </c:spPr>
            <c:extLst>
              <c:ext xmlns:c16="http://schemas.microsoft.com/office/drawing/2014/chart" uri="{C3380CC4-5D6E-409C-BE32-E72D297353CC}">
                <c16:uniqueId val="{000008A5-C110-4B3C-98C7-D19B20EBE8CB}"/>
              </c:ext>
            </c:extLst>
          </c:dPt>
          <c:dPt>
            <c:idx val="1106"/>
            <c:invertIfNegative val="1"/>
            <c:bubble3D val="0"/>
            <c:spPr>
              <a:solidFill>
                <a:srgbClr val="AEABAB"/>
              </a:solidFill>
            </c:spPr>
            <c:extLst>
              <c:ext xmlns:c16="http://schemas.microsoft.com/office/drawing/2014/chart" uri="{C3380CC4-5D6E-409C-BE32-E72D297353CC}">
                <c16:uniqueId val="{000008A7-C110-4B3C-98C7-D19B20EBE8CB}"/>
              </c:ext>
            </c:extLst>
          </c:dPt>
          <c:dPt>
            <c:idx val="1107"/>
            <c:invertIfNegative val="1"/>
            <c:bubble3D val="0"/>
            <c:spPr>
              <a:solidFill>
                <a:srgbClr val="AEABAB"/>
              </a:solidFill>
            </c:spPr>
            <c:extLst>
              <c:ext xmlns:c16="http://schemas.microsoft.com/office/drawing/2014/chart" uri="{C3380CC4-5D6E-409C-BE32-E72D297353CC}">
                <c16:uniqueId val="{000008A9-C110-4B3C-98C7-D19B20EBE8CB}"/>
              </c:ext>
            </c:extLst>
          </c:dPt>
          <c:dPt>
            <c:idx val="1108"/>
            <c:invertIfNegative val="1"/>
            <c:bubble3D val="0"/>
            <c:spPr>
              <a:solidFill>
                <a:srgbClr val="AEABAB"/>
              </a:solidFill>
            </c:spPr>
            <c:extLst>
              <c:ext xmlns:c16="http://schemas.microsoft.com/office/drawing/2014/chart" uri="{C3380CC4-5D6E-409C-BE32-E72D297353CC}">
                <c16:uniqueId val="{000008AB-C110-4B3C-98C7-D19B20EBE8CB}"/>
              </c:ext>
            </c:extLst>
          </c:dPt>
          <c:dPt>
            <c:idx val="1109"/>
            <c:invertIfNegative val="1"/>
            <c:bubble3D val="0"/>
            <c:spPr>
              <a:solidFill>
                <a:srgbClr val="AEABAB"/>
              </a:solidFill>
            </c:spPr>
            <c:extLst>
              <c:ext xmlns:c16="http://schemas.microsoft.com/office/drawing/2014/chart" uri="{C3380CC4-5D6E-409C-BE32-E72D297353CC}">
                <c16:uniqueId val="{000008AD-C110-4B3C-98C7-D19B20EBE8CB}"/>
              </c:ext>
            </c:extLst>
          </c:dPt>
          <c:dPt>
            <c:idx val="1110"/>
            <c:invertIfNegative val="1"/>
            <c:bubble3D val="0"/>
            <c:spPr>
              <a:solidFill>
                <a:srgbClr val="AEABAB"/>
              </a:solidFill>
            </c:spPr>
            <c:extLst>
              <c:ext xmlns:c16="http://schemas.microsoft.com/office/drawing/2014/chart" uri="{C3380CC4-5D6E-409C-BE32-E72D297353CC}">
                <c16:uniqueId val="{000008AF-C110-4B3C-98C7-D19B20EBE8CB}"/>
              </c:ext>
            </c:extLst>
          </c:dPt>
          <c:dPt>
            <c:idx val="1111"/>
            <c:invertIfNegative val="1"/>
            <c:bubble3D val="0"/>
            <c:spPr>
              <a:solidFill>
                <a:srgbClr val="AEABAB"/>
              </a:solidFill>
            </c:spPr>
            <c:extLst>
              <c:ext xmlns:c16="http://schemas.microsoft.com/office/drawing/2014/chart" uri="{C3380CC4-5D6E-409C-BE32-E72D297353CC}">
                <c16:uniqueId val="{000008B1-C110-4B3C-98C7-D19B20EBE8CB}"/>
              </c:ext>
            </c:extLst>
          </c:dPt>
          <c:dPt>
            <c:idx val="1112"/>
            <c:invertIfNegative val="1"/>
            <c:bubble3D val="0"/>
            <c:spPr>
              <a:solidFill>
                <a:srgbClr val="AEABAB"/>
              </a:solidFill>
            </c:spPr>
            <c:extLst>
              <c:ext xmlns:c16="http://schemas.microsoft.com/office/drawing/2014/chart" uri="{C3380CC4-5D6E-409C-BE32-E72D297353CC}">
                <c16:uniqueId val="{000008B3-C110-4B3C-98C7-D19B20EBE8CB}"/>
              </c:ext>
            </c:extLst>
          </c:dPt>
          <c:dPt>
            <c:idx val="1113"/>
            <c:invertIfNegative val="1"/>
            <c:bubble3D val="0"/>
            <c:spPr>
              <a:solidFill>
                <a:srgbClr val="AEABAB"/>
              </a:solidFill>
            </c:spPr>
            <c:extLst>
              <c:ext xmlns:c16="http://schemas.microsoft.com/office/drawing/2014/chart" uri="{C3380CC4-5D6E-409C-BE32-E72D297353CC}">
                <c16:uniqueId val="{000008B5-C110-4B3C-98C7-D19B20EBE8CB}"/>
              </c:ext>
            </c:extLst>
          </c:dPt>
          <c:dPt>
            <c:idx val="1114"/>
            <c:invertIfNegative val="1"/>
            <c:bubble3D val="0"/>
            <c:spPr>
              <a:solidFill>
                <a:srgbClr val="AEABAB"/>
              </a:solidFill>
            </c:spPr>
            <c:extLst>
              <c:ext xmlns:c16="http://schemas.microsoft.com/office/drawing/2014/chart" uri="{C3380CC4-5D6E-409C-BE32-E72D297353CC}">
                <c16:uniqueId val="{000008B7-C110-4B3C-98C7-D19B20EBE8CB}"/>
              </c:ext>
            </c:extLst>
          </c:dPt>
          <c:dPt>
            <c:idx val="1115"/>
            <c:invertIfNegative val="1"/>
            <c:bubble3D val="0"/>
            <c:spPr>
              <a:solidFill>
                <a:srgbClr val="AEABAB"/>
              </a:solidFill>
            </c:spPr>
            <c:extLst>
              <c:ext xmlns:c16="http://schemas.microsoft.com/office/drawing/2014/chart" uri="{C3380CC4-5D6E-409C-BE32-E72D297353CC}">
                <c16:uniqueId val="{000008B9-C110-4B3C-98C7-D19B20EBE8CB}"/>
              </c:ext>
            </c:extLst>
          </c:dPt>
          <c:dPt>
            <c:idx val="1116"/>
            <c:invertIfNegative val="1"/>
            <c:bubble3D val="0"/>
            <c:spPr>
              <a:solidFill>
                <a:srgbClr val="AEABAB"/>
              </a:solidFill>
            </c:spPr>
            <c:extLst>
              <c:ext xmlns:c16="http://schemas.microsoft.com/office/drawing/2014/chart" uri="{C3380CC4-5D6E-409C-BE32-E72D297353CC}">
                <c16:uniqueId val="{000008BB-C110-4B3C-98C7-D19B20EBE8CB}"/>
              </c:ext>
            </c:extLst>
          </c:dPt>
          <c:dPt>
            <c:idx val="1117"/>
            <c:invertIfNegative val="1"/>
            <c:bubble3D val="0"/>
            <c:spPr>
              <a:solidFill>
                <a:srgbClr val="AEABAB"/>
              </a:solidFill>
            </c:spPr>
            <c:extLst>
              <c:ext xmlns:c16="http://schemas.microsoft.com/office/drawing/2014/chart" uri="{C3380CC4-5D6E-409C-BE32-E72D297353CC}">
                <c16:uniqueId val="{000008BD-C110-4B3C-98C7-D19B20EBE8CB}"/>
              </c:ext>
            </c:extLst>
          </c:dPt>
          <c:dPt>
            <c:idx val="1118"/>
            <c:invertIfNegative val="1"/>
            <c:bubble3D val="0"/>
            <c:spPr>
              <a:solidFill>
                <a:srgbClr val="AEABAB"/>
              </a:solidFill>
            </c:spPr>
            <c:extLst>
              <c:ext xmlns:c16="http://schemas.microsoft.com/office/drawing/2014/chart" uri="{C3380CC4-5D6E-409C-BE32-E72D297353CC}">
                <c16:uniqueId val="{000008BF-C110-4B3C-98C7-D19B20EBE8CB}"/>
              </c:ext>
            </c:extLst>
          </c:dPt>
          <c:dPt>
            <c:idx val="1119"/>
            <c:invertIfNegative val="1"/>
            <c:bubble3D val="0"/>
            <c:spPr>
              <a:solidFill>
                <a:srgbClr val="AEABAB"/>
              </a:solidFill>
            </c:spPr>
            <c:extLst>
              <c:ext xmlns:c16="http://schemas.microsoft.com/office/drawing/2014/chart" uri="{C3380CC4-5D6E-409C-BE32-E72D297353CC}">
                <c16:uniqueId val="{000008C1-C110-4B3C-98C7-D19B20EBE8CB}"/>
              </c:ext>
            </c:extLst>
          </c:dPt>
          <c:dPt>
            <c:idx val="1120"/>
            <c:invertIfNegative val="1"/>
            <c:bubble3D val="0"/>
            <c:spPr>
              <a:solidFill>
                <a:srgbClr val="AEABAB"/>
              </a:solidFill>
            </c:spPr>
            <c:extLst>
              <c:ext xmlns:c16="http://schemas.microsoft.com/office/drawing/2014/chart" uri="{C3380CC4-5D6E-409C-BE32-E72D297353CC}">
                <c16:uniqueId val="{000008C3-C110-4B3C-98C7-D19B20EBE8CB}"/>
              </c:ext>
            </c:extLst>
          </c:dPt>
          <c:dPt>
            <c:idx val="1121"/>
            <c:invertIfNegative val="1"/>
            <c:bubble3D val="0"/>
            <c:spPr>
              <a:solidFill>
                <a:srgbClr val="AEABAB"/>
              </a:solidFill>
            </c:spPr>
            <c:extLst>
              <c:ext xmlns:c16="http://schemas.microsoft.com/office/drawing/2014/chart" uri="{C3380CC4-5D6E-409C-BE32-E72D297353CC}">
                <c16:uniqueId val="{000008C5-C110-4B3C-98C7-D19B20EBE8CB}"/>
              </c:ext>
            </c:extLst>
          </c:dPt>
          <c:dPt>
            <c:idx val="1122"/>
            <c:invertIfNegative val="1"/>
            <c:bubble3D val="0"/>
            <c:spPr>
              <a:solidFill>
                <a:srgbClr val="AEABAB"/>
              </a:solidFill>
            </c:spPr>
            <c:extLst>
              <c:ext xmlns:c16="http://schemas.microsoft.com/office/drawing/2014/chart" uri="{C3380CC4-5D6E-409C-BE32-E72D297353CC}">
                <c16:uniqueId val="{000008C7-C110-4B3C-98C7-D19B20EBE8CB}"/>
              </c:ext>
            </c:extLst>
          </c:dPt>
          <c:dPt>
            <c:idx val="1123"/>
            <c:invertIfNegative val="1"/>
            <c:bubble3D val="0"/>
            <c:spPr>
              <a:solidFill>
                <a:srgbClr val="AEABAB"/>
              </a:solidFill>
            </c:spPr>
            <c:extLst>
              <c:ext xmlns:c16="http://schemas.microsoft.com/office/drawing/2014/chart" uri="{C3380CC4-5D6E-409C-BE32-E72D297353CC}">
                <c16:uniqueId val="{000008C9-C110-4B3C-98C7-D19B20EBE8CB}"/>
              </c:ext>
            </c:extLst>
          </c:dPt>
          <c:dPt>
            <c:idx val="1124"/>
            <c:invertIfNegative val="1"/>
            <c:bubble3D val="0"/>
            <c:spPr>
              <a:solidFill>
                <a:srgbClr val="AEABAB"/>
              </a:solidFill>
            </c:spPr>
            <c:extLst>
              <c:ext xmlns:c16="http://schemas.microsoft.com/office/drawing/2014/chart" uri="{C3380CC4-5D6E-409C-BE32-E72D297353CC}">
                <c16:uniqueId val="{000008CB-C110-4B3C-98C7-D19B20EBE8CB}"/>
              </c:ext>
            </c:extLst>
          </c:dPt>
          <c:dPt>
            <c:idx val="1125"/>
            <c:invertIfNegative val="1"/>
            <c:bubble3D val="0"/>
            <c:spPr>
              <a:solidFill>
                <a:srgbClr val="AEABAB"/>
              </a:solidFill>
            </c:spPr>
            <c:extLst>
              <c:ext xmlns:c16="http://schemas.microsoft.com/office/drawing/2014/chart" uri="{C3380CC4-5D6E-409C-BE32-E72D297353CC}">
                <c16:uniqueId val="{000008CD-C110-4B3C-98C7-D19B20EBE8CB}"/>
              </c:ext>
            </c:extLst>
          </c:dPt>
          <c:dPt>
            <c:idx val="1126"/>
            <c:invertIfNegative val="1"/>
            <c:bubble3D val="0"/>
            <c:spPr>
              <a:solidFill>
                <a:srgbClr val="AEABAB"/>
              </a:solidFill>
            </c:spPr>
            <c:extLst>
              <c:ext xmlns:c16="http://schemas.microsoft.com/office/drawing/2014/chart" uri="{C3380CC4-5D6E-409C-BE32-E72D297353CC}">
                <c16:uniqueId val="{000008CF-C110-4B3C-98C7-D19B20EBE8CB}"/>
              </c:ext>
            </c:extLst>
          </c:dPt>
          <c:dPt>
            <c:idx val="1127"/>
            <c:invertIfNegative val="1"/>
            <c:bubble3D val="0"/>
            <c:spPr>
              <a:solidFill>
                <a:srgbClr val="AEABAB"/>
              </a:solidFill>
            </c:spPr>
            <c:extLst>
              <c:ext xmlns:c16="http://schemas.microsoft.com/office/drawing/2014/chart" uri="{C3380CC4-5D6E-409C-BE32-E72D297353CC}">
                <c16:uniqueId val="{000008D1-C110-4B3C-98C7-D19B20EBE8CB}"/>
              </c:ext>
            </c:extLst>
          </c:dPt>
          <c:dPt>
            <c:idx val="1128"/>
            <c:invertIfNegative val="1"/>
            <c:bubble3D val="0"/>
            <c:spPr>
              <a:solidFill>
                <a:srgbClr val="AEABAB"/>
              </a:solidFill>
            </c:spPr>
            <c:extLst>
              <c:ext xmlns:c16="http://schemas.microsoft.com/office/drawing/2014/chart" uri="{C3380CC4-5D6E-409C-BE32-E72D297353CC}">
                <c16:uniqueId val="{000008D3-C110-4B3C-98C7-D19B20EBE8CB}"/>
              </c:ext>
            </c:extLst>
          </c:dPt>
          <c:dPt>
            <c:idx val="1129"/>
            <c:invertIfNegative val="1"/>
            <c:bubble3D val="0"/>
            <c:spPr>
              <a:solidFill>
                <a:srgbClr val="AEABAB"/>
              </a:solidFill>
            </c:spPr>
            <c:extLst>
              <c:ext xmlns:c16="http://schemas.microsoft.com/office/drawing/2014/chart" uri="{C3380CC4-5D6E-409C-BE32-E72D297353CC}">
                <c16:uniqueId val="{000008D5-C110-4B3C-98C7-D19B20EBE8CB}"/>
              </c:ext>
            </c:extLst>
          </c:dPt>
          <c:dPt>
            <c:idx val="1130"/>
            <c:invertIfNegative val="1"/>
            <c:bubble3D val="0"/>
            <c:spPr>
              <a:solidFill>
                <a:srgbClr val="AEABAB"/>
              </a:solidFill>
            </c:spPr>
            <c:extLst>
              <c:ext xmlns:c16="http://schemas.microsoft.com/office/drawing/2014/chart" uri="{C3380CC4-5D6E-409C-BE32-E72D297353CC}">
                <c16:uniqueId val="{000008D7-C110-4B3C-98C7-D19B20EBE8CB}"/>
              </c:ext>
            </c:extLst>
          </c:dPt>
          <c:dPt>
            <c:idx val="1131"/>
            <c:invertIfNegative val="1"/>
            <c:bubble3D val="0"/>
            <c:spPr>
              <a:solidFill>
                <a:srgbClr val="AEABAB"/>
              </a:solidFill>
            </c:spPr>
            <c:extLst>
              <c:ext xmlns:c16="http://schemas.microsoft.com/office/drawing/2014/chart" uri="{C3380CC4-5D6E-409C-BE32-E72D297353CC}">
                <c16:uniqueId val="{000008D9-C110-4B3C-98C7-D19B20EBE8CB}"/>
              </c:ext>
            </c:extLst>
          </c:dPt>
          <c:dPt>
            <c:idx val="1132"/>
            <c:invertIfNegative val="1"/>
            <c:bubble3D val="0"/>
            <c:spPr>
              <a:solidFill>
                <a:srgbClr val="AEABAB"/>
              </a:solidFill>
            </c:spPr>
            <c:extLst>
              <c:ext xmlns:c16="http://schemas.microsoft.com/office/drawing/2014/chart" uri="{C3380CC4-5D6E-409C-BE32-E72D297353CC}">
                <c16:uniqueId val="{000008DB-C110-4B3C-98C7-D19B20EBE8CB}"/>
              </c:ext>
            </c:extLst>
          </c:dPt>
          <c:dPt>
            <c:idx val="1133"/>
            <c:invertIfNegative val="1"/>
            <c:bubble3D val="0"/>
            <c:spPr>
              <a:solidFill>
                <a:srgbClr val="AEABAB"/>
              </a:solidFill>
            </c:spPr>
            <c:extLst>
              <c:ext xmlns:c16="http://schemas.microsoft.com/office/drawing/2014/chart" uri="{C3380CC4-5D6E-409C-BE32-E72D297353CC}">
                <c16:uniqueId val="{000008DD-C110-4B3C-98C7-D19B20EBE8CB}"/>
              </c:ext>
            </c:extLst>
          </c:dPt>
          <c:dPt>
            <c:idx val="1134"/>
            <c:invertIfNegative val="1"/>
            <c:bubble3D val="0"/>
            <c:spPr>
              <a:solidFill>
                <a:srgbClr val="AEABAB"/>
              </a:solidFill>
            </c:spPr>
            <c:extLst>
              <c:ext xmlns:c16="http://schemas.microsoft.com/office/drawing/2014/chart" uri="{C3380CC4-5D6E-409C-BE32-E72D297353CC}">
                <c16:uniqueId val="{000008DF-C110-4B3C-98C7-D19B20EBE8CB}"/>
              </c:ext>
            </c:extLst>
          </c:dPt>
          <c:dPt>
            <c:idx val="1135"/>
            <c:invertIfNegative val="1"/>
            <c:bubble3D val="0"/>
            <c:spPr>
              <a:solidFill>
                <a:srgbClr val="AEABAB"/>
              </a:solidFill>
            </c:spPr>
            <c:extLst>
              <c:ext xmlns:c16="http://schemas.microsoft.com/office/drawing/2014/chart" uri="{C3380CC4-5D6E-409C-BE32-E72D297353CC}">
                <c16:uniqueId val="{000008E1-C110-4B3C-98C7-D19B20EBE8CB}"/>
              </c:ext>
            </c:extLst>
          </c:dPt>
          <c:dPt>
            <c:idx val="1136"/>
            <c:invertIfNegative val="1"/>
            <c:bubble3D val="0"/>
            <c:spPr>
              <a:solidFill>
                <a:srgbClr val="AEABAB"/>
              </a:solidFill>
            </c:spPr>
            <c:extLst>
              <c:ext xmlns:c16="http://schemas.microsoft.com/office/drawing/2014/chart" uri="{C3380CC4-5D6E-409C-BE32-E72D297353CC}">
                <c16:uniqueId val="{000008E3-C110-4B3C-98C7-D19B20EBE8CB}"/>
              </c:ext>
            </c:extLst>
          </c:dPt>
          <c:dPt>
            <c:idx val="1137"/>
            <c:invertIfNegative val="1"/>
            <c:bubble3D val="0"/>
            <c:spPr>
              <a:solidFill>
                <a:srgbClr val="AEABAB"/>
              </a:solidFill>
            </c:spPr>
            <c:extLst>
              <c:ext xmlns:c16="http://schemas.microsoft.com/office/drawing/2014/chart" uri="{C3380CC4-5D6E-409C-BE32-E72D297353CC}">
                <c16:uniqueId val="{000008E5-C110-4B3C-98C7-D19B20EBE8CB}"/>
              </c:ext>
            </c:extLst>
          </c:dPt>
          <c:dPt>
            <c:idx val="1138"/>
            <c:invertIfNegative val="1"/>
            <c:bubble3D val="0"/>
            <c:spPr>
              <a:solidFill>
                <a:srgbClr val="AEABAB"/>
              </a:solidFill>
            </c:spPr>
            <c:extLst>
              <c:ext xmlns:c16="http://schemas.microsoft.com/office/drawing/2014/chart" uri="{C3380CC4-5D6E-409C-BE32-E72D297353CC}">
                <c16:uniqueId val="{000008E7-C110-4B3C-98C7-D19B20EBE8CB}"/>
              </c:ext>
            </c:extLst>
          </c:dPt>
          <c:dPt>
            <c:idx val="1139"/>
            <c:invertIfNegative val="1"/>
            <c:bubble3D val="0"/>
            <c:spPr>
              <a:solidFill>
                <a:srgbClr val="AEABAB"/>
              </a:solidFill>
            </c:spPr>
            <c:extLst>
              <c:ext xmlns:c16="http://schemas.microsoft.com/office/drawing/2014/chart" uri="{C3380CC4-5D6E-409C-BE32-E72D297353CC}">
                <c16:uniqueId val="{000008E9-C110-4B3C-98C7-D19B20EBE8CB}"/>
              </c:ext>
            </c:extLst>
          </c:dPt>
          <c:dPt>
            <c:idx val="1140"/>
            <c:invertIfNegative val="1"/>
            <c:bubble3D val="0"/>
            <c:spPr>
              <a:solidFill>
                <a:srgbClr val="AEABAB"/>
              </a:solidFill>
            </c:spPr>
            <c:extLst>
              <c:ext xmlns:c16="http://schemas.microsoft.com/office/drawing/2014/chart" uri="{C3380CC4-5D6E-409C-BE32-E72D297353CC}">
                <c16:uniqueId val="{000008EB-C110-4B3C-98C7-D19B20EBE8CB}"/>
              </c:ext>
            </c:extLst>
          </c:dPt>
          <c:dPt>
            <c:idx val="1141"/>
            <c:invertIfNegative val="1"/>
            <c:bubble3D val="0"/>
            <c:spPr>
              <a:solidFill>
                <a:srgbClr val="AEABAB"/>
              </a:solidFill>
            </c:spPr>
            <c:extLst>
              <c:ext xmlns:c16="http://schemas.microsoft.com/office/drawing/2014/chart" uri="{C3380CC4-5D6E-409C-BE32-E72D297353CC}">
                <c16:uniqueId val="{000008ED-C110-4B3C-98C7-D19B20EBE8CB}"/>
              </c:ext>
            </c:extLst>
          </c:dPt>
          <c:dPt>
            <c:idx val="1142"/>
            <c:invertIfNegative val="1"/>
            <c:bubble3D val="0"/>
            <c:spPr>
              <a:solidFill>
                <a:srgbClr val="AEABAB"/>
              </a:solidFill>
            </c:spPr>
            <c:extLst>
              <c:ext xmlns:c16="http://schemas.microsoft.com/office/drawing/2014/chart" uri="{C3380CC4-5D6E-409C-BE32-E72D297353CC}">
                <c16:uniqueId val="{000008EF-C110-4B3C-98C7-D19B20EBE8CB}"/>
              </c:ext>
            </c:extLst>
          </c:dPt>
          <c:dPt>
            <c:idx val="1143"/>
            <c:invertIfNegative val="1"/>
            <c:bubble3D val="0"/>
            <c:spPr>
              <a:solidFill>
                <a:srgbClr val="AEABAB"/>
              </a:solidFill>
            </c:spPr>
            <c:extLst>
              <c:ext xmlns:c16="http://schemas.microsoft.com/office/drawing/2014/chart" uri="{C3380CC4-5D6E-409C-BE32-E72D297353CC}">
                <c16:uniqueId val="{000008F1-C110-4B3C-98C7-D19B20EBE8CB}"/>
              </c:ext>
            </c:extLst>
          </c:dPt>
          <c:dPt>
            <c:idx val="1144"/>
            <c:invertIfNegative val="1"/>
            <c:bubble3D val="0"/>
            <c:spPr>
              <a:solidFill>
                <a:srgbClr val="AEABAB"/>
              </a:solidFill>
            </c:spPr>
            <c:extLst>
              <c:ext xmlns:c16="http://schemas.microsoft.com/office/drawing/2014/chart" uri="{C3380CC4-5D6E-409C-BE32-E72D297353CC}">
                <c16:uniqueId val="{000008F3-C110-4B3C-98C7-D19B20EBE8CB}"/>
              </c:ext>
            </c:extLst>
          </c:dPt>
          <c:dPt>
            <c:idx val="1145"/>
            <c:invertIfNegative val="1"/>
            <c:bubble3D val="0"/>
            <c:spPr>
              <a:solidFill>
                <a:srgbClr val="AEABAB"/>
              </a:solidFill>
            </c:spPr>
            <c:extLst>
              <c:ext xmlns:c16="http://schemas.microsoft.com/office/drawing/2014/chart" uri="{C3380CC4-5D6E-409C-BE32-E72D297353CC}">
                <c16:uniqueId val="{000008F5-C110-4B3C-98C7-D19B20EBE8CB}"/>
              </c:ext>
            </c:extLst>
          </c:dPt>
          <c:dPt>
            <c:idx val="1146"/>
            <c:invertIfNegative val="1"/>
            <c:bubble3D val="0"/>
            <c:spPr>
              <a:solidFill>
                <a:srgbClr val="AEABAB"/>
              </a:solidFill>
            </c:spPr>
            <c:extLst>
              <c:ext xmlns:c16="http://schemas.microsoft.com/office/drawing/2014/chart" uri="{C3380CC4-5D6E-409C-BE32-E72D297353CC}">
                <c16:uniqueId val="{000008F7-C110-4B3C-98C7-D19B20EBE8CB}"/>
              </c:ext>
            </c:extLst>
          </c:dPt>
          <c:dPt>
            <c:idx val="1147"/>
            <c:invertIfNegative val="1"/>
            <c:bubble3D val="0"/>
            <c:spPr>
              <a:solidFill>
                <a:srgbClr val="AEABAB"/>
              </a:solidFill>
            </c:spPr>
            <c:extLst>
              <c:ext xmlns:c16="http://schemas.microsoft.com/office/drawing/2014/chart" uri="{C3380CC4-5D6E-409C-BE32-E72D297353CC}">
                <c16:uniqueId val="{000008F9-C110-4B3C-98C7-D19B20EBE8CB}"/>
              </c:ext>
            </c:extLst>
          </c:dPt>
          <c:dPt>
            <c:idx val="1148"/>
            <c:invertIfNegative val="1"/>
            <c:bubble3D val="0"/>
            <c:spPr>
              <a:solidFill>
                <a:srgbClr val="AEABAB"/>
              </a:solidFill>
            </c:spPr>
            <c:extLst>
              <c:ext xmlns:c16="http://schemas.microsoft.com/office/drawing/2014/chart" uri="{C3380CC4-5D6E-409C-BE32-E72D297353CC}">
                <c16:uniqueId val="{000008FB-C110-4B3C-98C7-D19B20EBE8CB}"/>
              </c:ext>
            </c:extLst>
          </c:dPt>
          <c:dPt>
            <c:idx val="1149"/>
            <c:invertIfNegative val="1"/>
            <c:bubble3D val="0"/>
            <c:spPr>
              <a:solidFill>
                <a:srgbClr val="AEABAB"/>
              </a:solidFill>
            </c:spPr>
            <c:extLst>
              <c:ext xmlns:c16="http://schemas.microsoft.com/office/drawing/2014/chart" uri="{C3380CC4-5D6E-409C-BE32-E72D297353CC}">
                <c16:uniqueId val="{000008FD-C110-4B3C-98C7-D19B20EBE8CB}"/>
              </c:ext>
            </c:extLst>
          </c:dPt>
          <c:dPt>
            <c:idx val="1150"/>
            <c:invertIfNegative val="1"/>
            <c:bubble3D val="0"/>
            <c:spPr>
              <a:solidFill>
                <a:srgbClr val="AEABAB"/>
              </a:solidFill>
            </c:spPr>
            <c:extLst>
              <c:ext xmlns:c16="http://schemas.microsoft.com/office/drawing/2014/chart" uri="{C3380CC4-5D6E-409C-BE32-E72D297353CC}">
                <c16:uniqueId val="{000008FF-C110-4B3C-98C7-D19B20EBE8CB}"/>
              </c:ext>
            </c:extLst>
          </c:dPt>
          <c:dPt>
            <c:idx val="1151"/>
            <c:invertIfNegative val="1"/>
            <c:bubble3D val="0"/>
            <c:spPr>
              <a:solidFill>
                <a:srgbClr val="AEABAB"/>
              </a:solidFill>
            </c:spPr>
            <c:extLst>
              <c:ext xmlns:c16="http://schemas.microsoft.com/office/drawing/2014/chart" uri="{C3380CC4-5D6E-409C-BE32-E72D297353CC}">
                <c16:uniqueId val="{00000901-C110-4B3C-98C7-D19B20EBE8CB}"/>
              </c:ext>
            </c:extLst>
          </c:dPt>
          <c:dPt>
            <c:idx val="1152"/>
            <c:invertIfNegative val="1"/>
            <c:bubble3D val="0"/>
            <c:spPr>
              <a:solidFill>
                <a:srgbClr val="AEABAB"/>
              </a:solidFill>
            </c:spPr>
            <c:extLst>
              <c:ext xmlns:c16="http://schemas.microsoft.com/office/drawing/2014/chart" uri="{C3380CC4-5D6E-409C-BE32-E72D297353CC}">
                <c16:uniqueId val="{00000903-C110-4B3C-98C7-D19B20EBE8CB}"/>
              </c:ext>
            </c:extLst>
          </c:dPt>
          <c:dPt>
            <c:idx val="1153"/>
            <c:invertIfNegative val="1"/>
            <c:bubble3D val="0"/>
            <c:spPr>
              <a:solidFill>
                <a:srgbClr val="AEABAB"/>
              </a:solidFill>
            </c:spPr>
            <c:extLst>
              <c:ext xmlns:c16="http://schemas.microsoft.com/office/drawing/2014/chart" uri="{C3380CC4-5D6E-409C-BE32-E72D297353CC}">
                <c16:uniqueId val="{00000905-C110-4B3C-98C7-D19B20EBE8CB}"/>
              </c:ext>
            </c:extLst>
          </c:dPt>
          <c:dPt>
            <c:idx val="1154"/>
            <c:invertIfNegative val="1"/>
            <c:bubble3D val="0"/>
            <c:spPr>
              <a:solidFill>
                <a:srgbClr val="AEABAB"/>
              </a:solidFill>
            </c:spPr>
            <c:extLst>
              <c:ext xmlns:c16="http://schemas.microsoft.com/office/drawing/2014/chart" uri="{C3380CC4-5D6E-409C-BE32-E72D297353CC}">
                <c16:uniqueId val="{00000907-C110-4B3C-98C7-D19B20EBE8CB}"/>
              </c:ext>
            </c:extLst>
          </c:dPt>
          <c:dPt>
            <c:idx val="1155"/>
            <c:invertIfNegative val="1"/>
            <c:bubble3D val="0"/>
            <c:spPr>
              <a:solidFill>
                <a:srgbClr val="AEABAB"/>
              </a:solidFill>
            </c:spPr>
            <c:extLst>
              <c:ext xmlns:c16="http://schemas.microsoft.com/office/drawing/2014/chart" uri="{C3380CC4-5D6E-409C-BE32-E72D297353CC}">
                <c16:uniqueId val="{00000909-C110-4B3C-98C7-D19B20EBE8CB}"/>
              </c:ext>
            </c:extLst>
          </c:dPt>
          <c:dPt>
            <c:idx val="1156"/>
            <c:invertIfNegative val="1"/>
            <c:bubble3D val="0"/>
            <c:spPr>
              <a:solidFill>
                <a:srgbClr val="AEABAB"/>
              </a:solidFill>
            </c:spPr>
            <c:extLst>
              <c:ext xmlns:c16="http://schemas.microsoft.com/office/drawing/2014/chart" uri="{C3380CC4-5D6E-409C-BE32-E72D297353CC}">
                <c16:uniqueId val="{0000090B-C110-4B3C-98C7-D19B20EBE8CB}"/>
              </c:ext>
            </c:extLst>
          </c:dPt>
          <c:dPt>
            <c:idx val="1157"/>
            <c:invertIfNegative val="1"/>
            <c:bubble3D val="0"/>
            <c:spPr>
              <a:solidFill>
                <a:srgbClr val="AEABAB"/>
              </a:solidFill>
            </c:spPr>
            <c:extLst>
              <c:ext xmlns:c16="http://schemas.microsoft.com/office/drawing/2014/chart" uri="{C3380CC4-5D6E-409C-BE32-E72D297353CC}">
                <c16:uniqueId val="{0000090D-C110-4B3C-98C7-D19B20EBE8CB}"/>
              </c:ext>
            </c:extLst>
          </c:dPt>
          <c:dPt>
            <c:idx val="1158"/>
            <c:invertIfNegative val="1"/>
            <c:bubble3D val="0"/>
            <c:spPr>
              <a:solidFill>
                <a:srgbClr val="AEABAB"/>
              </a:solidFill>
            </c:spPr>
            <c:extLst>
              <c:ext xmlns:c16="http://schemas.microsoft.com/office/drawing/2014/chart" uri="{C3380CC4-5D6E-409C-BE32-E72D297353CC}">
                <c16:uniqueId val="{0000090F-C110-4B3C-98C7-D19B20EBE8CB}"/>
              </c:ext>
            </c:extLst>
          </c:dPt>
          <c:dPt>
            <c:idx val="1159"/>
            <c:invertIfNegative val="1"/>
            <c:bubble3D val="0"/>
            <c:spPr>
              <a:solidFill>
                <a:srgbClr val="AEABAB"/>
              </a:solidFill>
            </c:spPr>
            <c:extLst>
              <c:ext xmlns:c16="http://schemas.microsoft.com/office/drawing/2014/chart" uri="{C3380CC4-5D6E-409C-BE32-E72D297353CC}">
                <c16:uniqueId val="{00000911-C110-4B3C-98C7-D19B20EBE8CB}"/>
              </c:ext>
            </c:extLst>
          </c:dPt>
          <c:dPt>
            <c:idx val="1160"/>
            <c:invertIfNegative val="1"/>
            <c:bubble3D val="0"/>
            <c:spPr>
              <a:solidFill>
                <a:srgbClr val="AEABAB"/>
              </a:solidFill>
            </c:spPr>
            <c:extLst>
              <c:ext xmlns:c16="http://schemas.microsoft.com/office/drawing/2014/chart" uri="{C3380CC4-5D6E-409C-BE32-E72D297353CC}">
                <c16:uniqueId val="{00000913-C110-4B3C-98C7-D19B20EBE8CB}"/>
              </c:ext>
            </c:extLst>
          </c:dPt>
          <c:dPt>
            <c:idx val="1161"/>
            <c:invertIfNegative val="1"/>
            <c:bubble3D val="0"/>
            <c:spPr>
              <a:solidFill>
                <a:srgbClr val="AEABAB"/>
              </a:solidFill>
            </c:spPr>
            <c:extLst>
              <c:ext xmlns:c16="http://schemas.microsoft.com/office/drawing/2014/chart" uri="{C3380CC4-5D6E-409C-BE32-E72D297353CC}">
                <c16:uniqueId val="{00000915-C110-4B3C-98C7-D19B20EBE8CB}"/>
              </c:ext>
            </c:extLst>
          </c:dPt>
          <c:dPt>
            <c:idx val="1162"/>
            <c:invertIfNegative val="1"/>
            <c:bubble3D val="0"/>
            <c:spPr>
              <a:solidFill>
                <a:srgbClr val="AEABAB"/>
              </a:solidFill>
            </c:spPr>
            <c:extLst>
              <c:ext xmlns:c16="http://schemas.microsoft.com/office/drawing/2014/chart" uri="{C3380CC4-5D6E-409C-BE32-E72D297353CC}">
                <c16:uniqueId val="{00000917-C110-4B3C-98C7-D19B20EBE8CB}"/>
              </c:ext>
            </c:extLst>
          </c:dPt>
          <c:dPt>
            <c:idx val="1163"/>
            <c:invertIfNegative val="1"/>
            <c:bubble3D val="0"/>
            <c:spPr>
              <a:solidFill>
                <a:srgbClr val="AEABAB"/>
              </a:solidFill>
            </c:spPr>
            <c:extLst>
              <c:ext xmlns:c16="http://schemas.microsoft.com/office/drawing/2014/chart" uri="{C3380CC4-5D6E-409C-BE32-E72D297353CC}">
                <c16:uniqueId val="{00000919-C110-4B3C-98C7-D19B20EBE8CB}"/>
              </c:ext>
            </c:extLst>
          </c:dPt>
          <c:dPt>
            <c:idx val="1164"/>
            <c:invertIfNegative val="1"/>
            <c:bubble3D val="0"/>
            <c:spPr>
              <a:solidFill>
                <a:srgbClr val="AEABAB"/>
              </a:solidFill>
            </c:spPr>
            <c:extLst>
              <c:ext xmlns:c16="http://schemas.microsoft.com/office/drawing/2014/chart" uri="{C3380CC4-5D6E-409C-BE32-E72D297353CC}">
                <c16:uniqueId val="{0000091B-C110-4B3C-98C7-D19B20EBE8CB}"/>
              </c:ext>
            </c:extLst>
          </c:dPt>
          <c:dPt>
            <c:idx val="1165"/>
            <c:invertIfNegative val="1"/>
            <c:bubble3D val="0"/>
            <c:spPr>
              <a:solidFill>
                <a:srgbClr val="AEABAB"/>
              </a:solidFill>
            </c:spPr>
            <c:extLst>
              <c:ext xmlns:c16="http://schemas.microsoft.com/office/drawing/2014/chart" uri="{C3380CC4-5D6E-409C-BE32-E72D297353CC}">
                <c16:uniqueId val="{0000091D-C110-4B3C-98C7-D19B20EBE8CB}"/>
              </c:ext>
            </c:extLst>
          </c:dPt>
          <c:dPt>
            <c:idx val="1166"/>
            <c:invertIfNegative val="1"/>
            <c:bubble3D val="0"/>
            <c:spPr>
              <a:solidFill>
                <a:srgbClr val="AEABAB"/>
              </a:solidFill>
            </c:spPr>
            <c:extLst>
              <c:ext xmlns:c16="http://schemas.microsoft.com/office/drawing/2014/chart" uri="{C3380CC4-5D6E-409C-BE32-E72D297353CC}">
                <c16:uniqueId val="{0000091F-C110-4B3C-98C7-D19B20EBE8CB}"/>
              </c:ext>
            </c:extLst>
          </c:dPt>
          <c:dPt>
            <c:idx val="1167"/>
            <c:invertIfNegative val="1"/>
            <c:bubble3D val="0"/>
            <c:spPr>
              <a:solidFill>
                <a:srgbClr val="AEABAB"/>
              </a:solidFill>
            </c:spPr>
            <c:extLst>
              <c:ext xmlns:c16="http://schemas.microsoft.com/office/drawing/2014/chart" uri="{C3380CC4-5D6E-409C-BE32-E72D297353CC}">
                <c16:uniqueId val="{00000921-C110-4B3C-98C7-D19B20EBE8CB}"/>
              </c:ext>
            </c:extLst>
          </c:dPt>
          <c:dPt>
            <c:idx val="1168"/>
            <c:invertIfNegative val="1"/>
            <c:bubble3D val="0"/>
            <c:spPr>
              <a:solidFill>
                <a:srgbClr val="AEABAB"/>
              </a:solidFill>
            </c:spPr>
            <c:extLst>
              <c:ext xmlns:c16="http://schemas.microsoft.com/office/drawing/2014/chart" uri="{C3380CC4-5D6E-409C-BE32-E72D297353CC}">
                <c16:uniqueId val="{00000923-C110-4B3C-98C7-D19B20EBE8CB}"/>
              </c:ext>
            </c:extLst>
          </c:dPt>
          <c:dPt>
            <c:idx val="1169"/>
            <c:invertIfNegative val="1"/>
            <c:bubble3D val="0"/>
            <c:spPr>
              <a:solidFill>
                <a:srgbClr val="AEABAB"/>
              </a:solidFill>
            </c:spPr>
            <c:extLst>
              <c:ext xmlns:c16="http://schemas.microsoft.com/office/drawing/2014/chart" uri="{C3380CC4-5D6E-409C-BE32-E72D297353CC}">
                <c16:uniqueId val="{00000925-C110-4B3C-98C7-D19B20EBE8CB}"/>
              </c:ext>
            </c:extLst>
          </c:dPt>
          <c:dPt>
            <c:idx val="1170"/>
            <c:invertIfNegative val="1"/>
            <c:bubble3D val="0"/>
            <c:spPr>
              <a:solidFill>
                <a:srgbClr val="AEABAB"/>
              </a:solidFill>
            </c:spPr>
            <c:extLst>
              <c:ext xmlns:c16="http://schemas.microsoft.com/office/drawing/2014/chart" uri="{C3380CC4-5D6E-409C-BE32-E72D297353CC}">
                <c16:uniqueId val="{00000927-C110-4B3C-98C7-D19B20EBE8CB}"/>
              </c:ext>
            </c:extLst>
          </c:dPt>
          <c:dPt>
            <c:idx val="1171"/>
            <c:invertIfNegative val="1"/>
            <c:bubble3D val="0"/>
            <c:spPr>
              <a:solidFill>
                <a:srgbClr val="AEABAB"/>
              </a:solidFill>
            </c:spPr>
            <c:extLst>
              <c:ext xmlns:c16="http://schemas.microsoft.com/office/drawing/2014/chart" uri="{C3380CC4-5D6E-409C-BE32-E72D297353CC}">
                <c16:uniqueId val="{00000929-C110-4B3C-98C7-D19B20EBE8CB}"/>
              </c:ext>
            </c:extLst>
          </c:dPt>
          <c:dPt>
            <c:idx val="1172"/>
            <c:invertIfNegative val="1"/>
            <c:bubble3D val="0"/>
            <c:spPr>
              <a:solidFill>
                <a:srgbClr val="AEABAB"/>
              </a:solidFill>
            </c:spPr>
            <c:extLst>
              <c:ext xmlns:c16="http://schemas.microsoft.com/office/drawing/2014/chart" uri="{C3380CC4-5D6E-409C-BE32-E72D297353CC}">
                <c16:uniqueId val="{0000092B-C110-4B3C-98C7-D19B20EBE8CB}"/>
              </c:ext>
            </c:extLst>
          </c:dPt>
          <c:dPt>
            <c:idx val="1173"/>
            <c:invertIfNegative val="1"/>
            <c:bubble3D val="0"/>
            <c:spPr>
              <a:solidFill>
                <a:srgbClr val="AEABAB"/>
              </a:solidFill>
            </c:spPr>
            <c:extLst>
              <c:ext xmlns:c16="http://schemas.microsoft.com/office/drawing/2014/chart" uri="{C3380CC4-5D6E-409C-BE32-E72D297353CC}">
                <c16:uniqueId val="{0000092D-C110-4B3C-98C7-D19B20EBE8CB}"/>
              </c:ext>
            </c:extLst>
          </c:dPt>
          <c:dPt>
            <c:idx val="1174"/>
            <c:invertIfNegative val="1"/>
            <c:bubble3D val="0"/>
            <c:spPr>
              <a:solidFill>
                <a:srgbClr val="AEABAB"/>
              </a:solidFill>
            </c:spPr>
            <c:extLst>
              <c:ext xmlns:c16="http://schemas.microsoft.com/office/drawing/2014/chart" uri="{C3380CC4-5D6E-409C-BE32-E72D297353CC}">
                <c16:uniqueId val="{0000092F-C110-4B3C-98C7-D19B20EBE8CB}"/>
              </c:ext>
            </c:extLst>
          </c:dPt>
          <c:dPt>
            <c:idx val="1175"/>
            <c:invertIfNegative val="1"/>
            <c:bubble3D val="0"/>
            <c:spPr>
              <a:solidFill>
                <a:srgbClr val="AEABAB"/>
              </a:solidFill>
            </c:spPr>
            <c:extLst>
              <c:ext xmlns:c16="http://schemas.microsoft.com/office/drawing/2014/chart" uri="{C3380CC4-5D6E-409C-BE32-E72D297353CC}">
                <c16:uniqueId val="{00000931-C110-4B3C-98C7-D19B20EBE8CB}"/>
              </c:ext>
            </c:extLst>
          </c:dPt>
          <c:dPt>
            <c:idx val="1176"/>
            <c:invertIfNegative val="1"/>
            <c:bubble3D val="0"/>
            <c:spPr>
              <a:solidFill>
                <a:srgbClr val="AEABAB"/>
              </a:solidFill>
            </c:spPr>
            <c:extLst>
              <c:ext xmlns:c16="http://schemas.microsoft.com/office/drawing/2014/chart" uri="{C3380CC4-5D6E-409C-BE32-E72D297353CC}">
                <c16:uniqueId val="{00000933-C110-4B3C-98C7-D19B20EBE8CB}"/>
              </c:ext>
            </c:extLst>
          </c:dPt>
          <c:dPt>
            <c:idx val="1177"/>
            <c:invertIfNegative val="1"/>
            <c:bubble3D val="0"/>
            <c:spPr>
              <a:solidFill>
                <a:srgbClr val="AEABAB"/>
              </a:solidFill>
            </c:spPr>
            <c:extLst>
              <c:ext xmlns:c16="http://schemas.microsoft.com/office/drawing/2014/chart" uri="{C3380CC4-5D6E-409C-BE32-E72D297353CC}">
                <c16:uniqueId val="{00000935-C110-4B3C-98C7-D19B20EBE8CB}"/>
              </c:ext>
            </c:extLst>
          </c:dPt>
          <c:dPt>
            <c:idx val="1178"/>
            <c:invertIfNegative val="1"/>
            <c:bubble3D val="0"/>
            <c:spPr>
              <a:solidFill>
                <a:srgbClr val="AEABAB"/>
              </a:solidFill>
            </c:spPr>
            <c:extLst>
              <c:ext xmlns:c16="http://schemas.microsoft.com/office/drawing/2014/chart" uri="{C3380CC4-5D6E-409C-BE32-E72D297353CC}">
                <c16:uniqueId val="{00000937-C110-4B3C-98C7-D19B20EBE8CB}"/>
              </c:ext>
            </c:extLst>
          </c:dPt>
          <c:dPt>
            <c:idx val="1179"/>
            <c:invertIfNegative val="1"/>
            <c:bubble3D val="0"/>
            <c:spPr>
              <a:solidFill>
                <a:srgbClr val="AEABAB"/>
              </a:solidFill>
            </c:spPr>
            <c:extLst>
              <c:ext xmlns:c16="http://schemas.microsoft.com/office/drawing/2014/chart" uri="{C3380CC4-5D6E-409C-BE32-E72D297353CC}">
                <c16:uniqueId val="{00000939-C110-4B3C-98C7-D19B20EBE8CB}"/>
              </c:ext>
            </c:extLst>
          </c:dPt>
          <c:dPt>
            <c:idx val="1180"/>
            <c:invertIfNegative val="1"/>
            <c:bubble3D val="0"/>
            <c:spPr>
              <a:solidFill>
                <a:srgbClr val="AEABAB"/>
              </a:solidFill>
            </c:spPr>
            <c:extLst>
              <c:ext xmlns:c16="http://schemas.microsoft.com/office/drawing/2014/chart" uri="{C3380CC4-5D6E-409C-BE32-E72D297353CC}">
                <c16:uniqueId val="{0000093B-C110-4B3C-98C7-D19B20EBE8CB}"/>
              </c:ext>
            </c:extLst>
          </c:dPt>
          <c:dPt>
            <c:idx val="1181"/>
            <c:invertIfNegative val="1"/>
            <c:bubble3D val="0"/>
            <c:spPr>
              <a:solidFill>
                <a:srgbClr val="AEABAB"/>
              </a:solidFill>
            </c:spPr>
            <c:extLst>
              <c:ext xmlns:c16="http://schemas.microsoft.com/office/drawing/2014/chart" uri="{C3380CC4-5D6E-409C-BE32-E72D297353CC}">
                <c16:uniqueId val="{0000093D-C110-4B3C-98C7-D19B20EBE8CB}"/>
              </c:ext>
            </c:extLst>
          </c:dPt>
          <c:dPt>
            <c:idx val="1182"/>
            <c:invertIfNegative val="1"/>
            <c:bubble3D val="0"/>
            <c:spPr>
              <a:solidFill>
                <a:srgbClr val="AEABAB"/>
              </a:solidFill>
            </c:spPr>
            <c:extLst>
              <c:ext xmlns:c16="http://schemas.microsoft.com/office/drawing/2014/chart" uri="{C3380CC4-5D6E-409C-BE32-E72D297353CC}">
                <c16:uniqueId val="{0000093F-C110-4B3C-98C7-D19B20EBE8CB}"/>
              </c:ext>
            </c:extLst>
          </c:dPt>
          <c:dPt>
            <c:idx val="1183"/>
            <c:invertIfNegative val="1"/>
            <c:bubble3D val="0"/>
            <c:spPr>
              <a:solidFill>
                <a:srgbClr val="AEABAB"/>
              </a:solidFill>
            </c:spPr>
            <c:extLst>
              <c:ext xmlns:c16="http://schemas.microsoft.com/office/drawing/2014/chart" uri="{C3380CC4-5D6E-409C-BE32-E72D297353CC}">
                <c16:uniqueId val="{00000941-C110-4B3C-98C7-D19B20EBE8CB}"/>
              </c:ext>
            </c:extLst>
          </c:dPt>
          <c:dPt>
            <c:idx val="1184"/>
            <c:invertIfNegative val="1"/>
            <c:bubble3D val="0"/>
            <c:spPr>
              <a:solidFill>
                <a:srgbClr val="AEABAB"/>
              </a:solidFill>
            </c:spPr>
            <c:extLst>
              <c:ext xmlns:c16="http://schemas.microsoft.com/office/drawing/2014/chart" uri="{C3380CC4-5D6E-409C-BE32-E72D297353CC}">
                <c16:uniqueId val="{00000943-C110-4B3C-98C7-D19B20EBE8CB}"/>
              </c:ext>
            </c:extLst>
          </c:dPt>
          <c:dPt>
            <c:idx val="1185"/>
            <c:invertIfNegative val="1"/>
            <c:bubble3D val="0"/>
            <c:spPr>
              <a:solidFill>
                <a:srgbClr val="AEABAB"/>
              </a:solidFill>
            </c:spPr>
            <c:extLst>
              <c:ext xmlns:c16="http://schemas.microsoft.com/office/drawing/2014/chart" uri="{C3380CC4-5D6E-409C-BE32-E72D297353CC}">
                <c16:uniqueId val="{00000945-C110-4B3C-98C7-D19B20EBE8CB}"/>
              </c:ext>
            </c:extLst>
          </c:dPt>
          <c:dPt>
            <c:idx val="1186"/>
            <c:invertIfNegative val="1"/>
            <c:bubble3D val="0"/>
            <c:spPr>
              <a:solidFill>
                <a:srgbClr val="AEABAB"/>
              </a:solidFill>
            </c:spPr>
            <c:extLst>
              <c:ext xmlns:c16="http://schemas.microsoft.com/office/drawing/2014/chart" uri="{C3380CC4-5D6E-409C-BE32-E72D297353CC}">
                <c16:uniqueId val="{00000947-C110-4B3C-98C7-D19B20EBE8CB}"/>
              </c:ext>
            </c:extLst>
          </c:dPt>
          <c:dPt>
            <c:idx val="1187"/>
            <c:invertIfNegative val="1"/>
            <c:bubble3D val="0"/>
            <c:spPr>
              <a:solidFill>
                <a:srgbClr val="AEABAB"/>
              </a:solidFill>
            </c:spPr>
            <c:extLst>
              <c:ext xmlns:c16="http://schemas.microsoft.com/office/drawing/2014/chart" uri="{C3380CC4-5D6E-409C-BE32-E72D297353CC}">
                <c16:uniqueId val="{00000949-C110-4B3C-98C7-D19B20EBE8CB}"/>
              </c:ext>
            </c:extLst>
          </c:dPt>
          <c:dPt>
            <c:idx val="1188"/>
            <c:invertIfNegative val="1"/>
            <c:bubble3D val="0"/>
            <c:spPr>
              <a:solidFill>
                <a:srgbClr val="AEABAB"/>
              </a:solidFill>
            </c:spPr>
            <c:extLst>
              <c:ext xmlns:c16="http://schemas.microsoft.com/office/drawing/2014/chart" uri="{C3380CC4-5D6E-409C-BE32-E72D297353CC}">
                <c16:uniqueId val="{0000094B-C110-4B3C-98C7-D19B20EBE8CB}"/>
              </c:ext>
            </c:extLst>
          </c:dPt>
          <c:dPt>
            <c:idx val="1189"/>
            <c:invertIfNegative val="1"/>
            <c:bubble3D val="0"/>
            <c:spPr>
              <a:solidFill>
                <a:srgbClr val="AEABAB"/>
              </a:solidFill>
            </c:spPr>
            <c:extLst>
              <c:ext xmlns:c16="http://schemas.microsoft.com/office/drawing/2014/chart" uri="{C3380CC4-5D6E-409C-BE32-E72D297353CC}">
                <c16:uniqueId val="{0000094D-C110-4B3C-98C7-D19B20EBE8CB}"/>
              </c:ext>
            </c:extLst>
          </c:dPt>
          <c:dPt>
            <c:idx val="1190"/>
            <c:invertIfNegative val="1"/>
            <c:bubble3D val="0"/>
            <c:spPr>
              <a:solidFill>
                <a:srgbClr val="AEABAB"/>
              </a:solidFill>
            </c:spPr>
            <c:extLst>
              <c:ext xmlns:c16="http://schemas.microsoft.com/office/drawing/2014/chart" uri="{C3380CC4-5D6E-409C-BE32-E72D297353CC}">
                <c16:uniqueId val="{0000094F-C110-4B3C-98C7-D19B20EBE8CB}"/>
              </c:ext>
            </c:extLst>
          </c:dPt>
          <c:dPt>
            <c:idx val="1191"/>
            <c:invertIfNegative val="1"/>
            <c:bubble3D val="0"/>
            <c:spPr>
              <a:solidFill>
                <a:srgbClr val="AEABAB"/>
              </a:solidFill>
            </c:spPr>
            <c:extLst>
              <c:ext xmlns:c16="http://schemas.microsoft.com/office/drawing/2014/chart" uri="{C3380CC4-5D6E-409C-BE32-E72D297353CC}">
                <c16:uniqueId val="{00000951-C110-4B3C-98C7-D19B20EBE8CB}"/>
              </c:ext>
            </c:extLst>
          </c:dPt>
          <c:dPt>
            <c:idx val="1192"/>
            <c:invertIfNegative val="1"/>
            <c:bubble3D val="0"/>
            <c:spPr>
              <a:solidFill>
                <a:srgbClr val="AEABAB"/>
              </a:solidFill>
            </c:spPr>
            <c:extLst>
              <c:ext xmlns:c16="http://schemas.microsoft.com/office/drawing/2014/chart" uri="{C3380CC4-5D6E-409C-BE32-E72D297353CC}">
                <c16:uniqueId val="{00000953-C110-4B3C-98C7-D19B20EBE8CB}"/>
              </c:ext>
            </c:extLst>
          </c:dPt>
          <c:dPt>
            <c:idx val="1193"/>
            <c:invertIfNegative val="1"/>
            <c:bubble3D val="0"/>
            <c:spPr>
              <a:solidFill>
                <a:srgbClr val="AEABAB"/>
              </a:solidFill>
            </c:spPr>
            <c:extLst>
              <c:ext xmlns:c16="http://schemas.microsoft.com/office/drawing/2014/chart" uri="{C3380CC4-5D6E-409C-BE32-E72D297353CC}">
                <c16:uniqueId val="{00000955-C110-4B3C-98C7-D19B20EBE8CB}"/>
              </c:ext>
            </c:extLst>
          </c:dPt>
          <c:dPt>
            <c:idx val="1194"/>
            <c:invertIfNegative val="1"/>
            <c:bubble3D val="0"/>
            <c:spPr>
              <a:solidFill>
                <a:srgbClr val="AEABAB"/>
              </a:solidFill>
            </c:spPr>
            <c:extLst>
              <c:ext xmlns:c16="http://schemas.microsoft.com/office/drawing/2014/chart" uri="{C3380CC4-5D6E-409C-BE32-E72D297353CC}">
                <c16:uniqueId val="{00000957-C110-4B3C-98C7-D19B20EBE8CB}"/>
              </c:ext>
            </c:extLst>
          </c:dPt>
          <c:dPt>
            <c:idx val="1195"/>
            <c:invertIfNegative val="1"/>
            <c:bubble3D val="0"/>
            <c:spPr>
              <a:solidFill>
                <a:srgbClr val="AEABAB"/>
              </a:solidFill>
            </c:spPr>
            <c:extLst>
              <c:ext xmlns:c16="http://schemas.microsoft.com/office/drawing/2014/chart" uri="{C3380CC4-5D6E-409C-BE32-E72D297353CC}">
                <c16:uniqueId val="{00000959-C110-4B3C-98C7-D19B20EBE8CB}"/>
              </c:ext>
            </c:extLst>
          </c:dPt>
          <c:dPt>
            <c:idx val="1196"/>
            <c:invertIfNegative val="1"/>
            <c:bubble3D val="0"/>
            <c:spPr>
              <a:solidFill>
                <a:srgbClr val="AEABAB"/>
              </a:solidFill>
            </c:spPr>
            <c:extLst>
              <c:ext xmlns:c16="http://schemas.microsoft.com/office/drawing/2014/chart" uri="{C3380CC4-5D6E-409C-BE32-E72D297353CC}">
                <c16:uniqueId val="{0000095B-C110-4B3C-98C7-D19B20EBE8CB}"/>
              </c:ext>
            </c:extLst>
          </c:dPt>
          <c:dPt>
            <c:idx val="1197"/>
            <c:invertIfNegative val="1"/>
            <c:bubble3D val="0"/>
            <c:spPr>
              <a:solidFill>
                <a:srgbClr val="AEABAB"/>
              </a:solidFill>
            </c:spPr>
            <c:extLst>
              <c:ext xmlns:c16="http://schemas.microsoft.com/office/drawing/2014/chart" uri="{C3380CC4-5D6E-409C-BE32-E72D297353CC}">
                <c16:uniqueId val="{0000095D-C110-4B3C-98C7-D19B20EBE8CB}"/>
              </c:ext>
            </c:extLst>
          </c:dPt>
          <c:dPt>
            <c:idx val="1198"/>
            <c:invertIfNegative val="1"/>
            <c:bubble3D val="0"/>
            <c:spPr>
              <a:solidFill>
                <a:srgbClr val="AEABAB"/>
              </a:solidFill>
            </c:spPr>
            <c:extLst>
              <c:ext xmlns:c16="http://schemas.microsoft.com/office/drawing/2014/chart" uri="{C3380CC4-5D6E-409C-BE32-E72D297353CC}">
                <c16:uniqueId val="{0000095F-C110-4B3C-98C7-D19B20EBE8CB}"/>
              </c:ext>
            </c:extLst>
          </c:dPt>
          <c:dPt>
            <c:idx val="1199"/>
            <c:invertIfNegative val="1"/>
            <c:bubble3D val="0"/>
            <c:spPr>
              <a:solidFill>
                <a:srgbClr val="AEABAB"/>
              </a:solidFill>
            </c:spPr>
            <c:extLst>
              <c:ext xmlns:c16="http://schemas.microsoft.com/office/drawing/2014/chart" uri="{C3380CC4-5D6E-409C-BE32-E72D297353CC}">
                <c16:uniqueId val="{00000961-C110-4B3C-98C7-D19B20EBE8CB}"/>
              </c:ext>
            </c:extLst>
          </c:dPt>
          <c:dPt>
            <c:idx val="1200"/>
            <c:invertIfNegative val="1"/>
            <c:bubble3D val="0"/>
            <c:spPr>
              <a:solidFill>
                <a:srgbClr val="AEABAB"/>
              </a:solidFill>
            </c:spPr>
            <c:extLst>
              <c:ext xmlns:c16="http://schemas.microsoft.com/office/drawing/2014/chart" uri="{C3380CC4-5D6E-409C-BE32-E72D297353CC}">
                <c16:uniqueId val="{00000963-C110-4B3C-98C7-D19B20EBE8CB}"/>
              </c:ext>
            </c:extLst>
          </c:dPt>
          <c:dPt>
            <c:idx val="1201"/>
            <c:invertIfNegative val="1"/>
            <c:bubble3D val="0"/>
            <c:spPr>
              <a:solidFill>
                <a:srgbClr val="AEABAB"/>
              </a:solidFill>
            </c:spPr>
            <c:extLst>
              <c:ext xmlns:c16="http://schemas.microsoft.com/office/drawing/2014/chart" uri="{C3380CC4-5D6E-409C-BE32-E72D297353CC}">
                <c16:uniqueId val="{00000965-C110-4B3C-98C7-D19B20EBE8CB}"/>
              </c:ext>
            </c:extLst>
          </c:dPt>
          <c:dPt>
            <c:idx val="1202"/>
            <c:invertIfNegative val="1"/>
            <c:bubble3D val="0"/>
            <c:spPr>
              <a:solidFill>
                <a:srgbClr val="AEABAB"/>
              </a:solidFill>
            </c:spPr>
            <c:extLst>
              <c:ext xmlns:c16="http://schemas.microsoft.com/office/drawing/2014/chart" uri="{C3380CC4-5D6E-409C-BE32-E72D297353CC}">
                <c16:uniqueId val="{00000967-C110-4B3C-98C7-D19B20EBE8CB}"/>
              </c:ext>
            </c:extLst>
          </c:dPt>
          <c:dPt>
            <c:idx val="1203"/>
            <c:invertIfNegative val="1"/>
            <c:bubble3D val="0"/>
            <c:spPr>
              <a:solidFill>
                <a:srgbClr val="AEABAB"/>
              </a:solidFill>
            </c:spPr>
            <c:extLst>
              <c:ext xmlns:c16="http://schemas.microsoft.com/office/drawing/2014/chart" uri="{C3380CC4-5D6E-409C-BE32-E72D297353CC}">
                <c16:uniqueId val="{00000969-C110-4B3C-98C7-D19B20EBE8CB}"/>
              </c:ext>
            </c:extLst>
          </c:dPt>
          <c:dPt>
            <c:idx val="1204"/>
            <c:invertIfNegative val="1"/>
            <c:bubble3D val="0"/>
            <c:spPr>
              <a:solidFill>
                <a:srgbClr val="AEABAB"/>
              </a:solidFill>
            </c:spPr>
            <c:extLst>
              <c:ext xmlns:c16="http://schemas.microsoft.com/office/drawing/2014/chart" uri="{C3380CC4-5D6E-409C-BE32-E72D297353CC}">
                <c16:uniqueId val="{0000096B-C110-4B3C-98C7-D19B20EBE8CB}"/>
              </c:ext>
            </c:extLst>
          </c:dPt>
          <c:dPt>
            <c:idx val="1205"/>
            <c:invertIfNegative val="1"/>
            <c:bubble3D val="0"/>
            <c:spPr>
              <a:solidFill>
                <a:srgbClr val="AEABAB"/>
              </a:solidFill>
            </c:spPr>
            <c:extLst>
              <c:ext xmlns:c16="http://schemas.microsoft.com/office/drawing/2014/chart" uri="{C3380CC4-5D6E-409C-BE32-E72D297353CC}">
                <c16:uniqueId val="{0000096D-C110-4B3C-98C7-D19B20EBE8CB}"/>
              </c:ext>
            </c:extLst>
          </c:dPt>
          <c:dPt>
            <c:idx val="1206"/>
            <c:invertIfNegative val="1"/>
            <c:bubble3D val="0"/>
            <c:spPr>
              <a:solidFill>
                <a:srgbClr val="AEABAB"/>
              </a:solidFill>
            </c:spPr>
            <c:extLst>
              <c:ext xmlns:c16="http://schemas.microsoft.com/office/drawing/2014/chart" uri="{C3380CC4-5D6E-409C-BE32-E72D297353CC}">
                <c16:uniqueId val="{0000096F-C110-4B3C-98C7-D19B20EBE8CB}"/>
              </c:ext>
            </c:extLst>
          </c:dPt>
          <c:dPt>
            <c:idx val="1207"/>
            <c:invertIfNegative val="1"/>
            <c:bubble3D val="0"/>
            <c:spPr>
              <a:solidFill>
                <a:srgbClr val="AEABAB"/>
              </a:solidFill>
            </c:spPr>
            <c:extLst>
              <c:ext xmlns:c16="http://schemas.microsoft.com/office/drawing/2014/chart" uri="{C3380CC4-5D6E-409C-BE32-E72D297353CC}">
                <c16:uniqueId val="{00000971-C110-4B3C-98C7-D19B20EBE8CB}"/>
              </c:ext>
            </c:extLst>
          </c:dPt>
          <c:dPt>
            <c:idx val="1208"/>
            <c:invertIfNegative val="1"/>
            <c:bubble3D val="0"/>
            <c:spPr>
              <a:solidFill>
                <a:srgbClr val="AEABAB"/>
              </a:solidFill>
            </c:spPr>
            <c:extLst>
              <c:ext xmlns:c16="http://schemas.microsoft.com/office/drawing/2014/chart" uri="{C3380CC4-5D6E-409C-BE32-E72D297353CC}">
                <c16:uniqueId val="{00000973-C110-4B3C-98C7-D19B20EBE8CB}"/>
              </c:ext>
            </c:extLst>
          </c:dPt>
          <c:dPt>
            <c:idx val="1209"/>
            <c:invertIfNegative val="1"/>
            <c:bubble3D val="0"/>
            <c:spPr>
              <a:solidFill>
                <a:srgbClr val="AEABAB"/>
              </a:solidFill>
            </c:spPr>
            <c:extLst>
              <c:ext xmlns:c16="http://schemas.microsoft.com/office/drawing/2014/chart" uri="{C3380CC4-5D6E-409C-BE32-E72D297353CC}">
                <c16:uniqueId val="{00000975-C110-4B3C-98C7-D19B20EBE8CB}"/>
              </c:ext>
            </c:extLst>
          </c:dPt>
          <c:dPt>
            <c:idx val="1210"/>
            <c:invertIfNegative val="1"/>
            <c:bubble3D val="0"/>
            <c:spPr>
              <a:solidFill>
                <a:srgbClr val="AEABAB"/>
              </a:solidFill>
            </c:spPr>
            <c:extLst>
              <c:ext xmlns:c16="http://schemas.microsoft.com/office/drawing/2014/chart" uri="{C3380CC4-5D6E-409C-BE32-E72D297353CC}">
                <c16:uniqueId val="{00000977-C110-4B3C-98C7-D19B20EBE8CB}"/>
              </c:ext>
            </c:extLst>
          </c:dPt>
          <c:dPt>
            <c:idx val="1211"/>
            <c:invertIfNegative val="1"/>
            <c:bubble3D val="0"/>
            <c:spPr>
              <a:solidFill>
                <a:srgbClr val="AEABAB"/>
              </a:solidFill>
            </c:spPr>
            <c:extLst>
              <c:ext xmlns:c16="http://schemas.microsoft.com/office/drawing/2014/chart" uri="{C3380CC4-5D6E-409C-BE32-E72D297353CC}">
                <c16:uniqueId val="{00000979-C110-4B3C-98C7-D19B20EBE8CB}"/>
              </c:ext>
            </c:extLst>
          </c:dPt>
          <c:dPt>
            <c:idx val="1212"/>
            <c:invertIfNegative val="1"/>
            <c:bubble3D val="0"/>
            <c:spPr>
              <a:solidFill>
                <a:srgbClr val="AEABAB"/>
              </a:solidFill>
            </c:spPr>
            <c:extLst>
              <c:ext xmlns:c16="http://schemas.microsoft.com/office/drawing/2014/chart" uri="{C3380CC4-5D6E-409C-BE32-E72D297353CC}">
                <c16:uniqueId val="{0000097B-C110-4B3C-98C7-D19B20EBE8CB}"/>
              </c:ext>
            </c:extLst>
          </c:dPt>
          <c:dPt>
            <c:idx val="1213"/>
            <c:invertIfNegative val="1"/>
            <c:bubble3D val="0"/>
            <c:spPr>
              <a:solidFill>
                <a:srgbClr val="AEABAB"/>
              </a:solidFill>
            </c:spPr>
            <c:extLst>
              <c:ext xmlns:c16="http://schemas.microsoft.com/office/drawing/2014/chart" uri="{C3380CC4-5D6E-409C-BE32-E72D297353CC}">
                <c16:uniqueId val="{0000097D-C110-4B3C-98C7-D19B20EBE8CB}"/>
              </c:ext>
            </c:extLst>
          </c:dPt>
          <c:dPt>
            <c:idx val="1214"/>
            <c:invertIfNegative val="1"/>
            <c:bubble3D val="0"/>
            <c:spPr>
              <a:solidFill>
                <a:srgbClr val="AEABAB"/>
              </a:solidFill>
            </c:spPr>
            <c:extLst>
              <c:ext xmlns:c16="http://schemas.microsoft.com/office/drawing/2014/chart" uri="{C3380CC4-5D6E-409C-BE32-E72D297353CC}">
                <c16:uniqueId val="{0000097F-C110-4B3C-98C7-D19B20EBE8CB}"/>
              </c:ext>
            </c:extLst>
          </c:dPt>
          <c:dPt>
            <c:idx val="1215"/>
            <c:invertIfNegative val="1"/>
            <c:bubble3D val="0"/>
            <c:spPr>
              <a:solidFill>
                <a:srgbClr val="AEABAB"/>
              </a:solidFill>
            </c:spPr>
            <c:extLst>
              <c:ext xmlns:c16="http://schemas.microsoft.com/office/drawing/2014/chart" uri="{C3380CC4-5D6E-409C-BE32-E72D297353CC}">
                <c16:uniqueId val="{00000981-C110-4B3C-98C7-D19B20EBE8CB}"/>
              </c:ext>
            </c:extLst>
          </c:dPt>
          <c:dPt>
            <c:idx val="1216"/>
            <c:invertIfNegative val="1"/>
            <c:bubble3D val="0"/>
            <c:spPr>
              <a:solidFill>
                <a:srgbClr val="AEABAB"/>
              </a:solidFill>
            </c:spPr>
            <c:extLst>
              <c:ext xmlns:c16="http://schemas.microsoft.com/office/drawing/2014/chart" uri="{C3380CC4-5D6E-409C-BE32-E72D297353CC}">
                <c16:uniqueId val="{00000983-C110-4B3C-98C7-D19B20EBE8CB}"/>
              </c:ext>
            </c:extLst>
          </c:dPt>
          <c:dPt>
            <c:idx val="1217"/>
            <c:invertIfNegative val="1"/>
            <c:bubble3D val="0"/>
            <c:spPr>
              <a:solidFill>
                <a:srgbClr val="AEABAB"/>
              </a:solidFill>
            </c:spPr>
            <c:extLst>
              <c:ext xmlns:c16="http://schemas.microsoft.com/office/drawing/2014/chart" uri="{C3380CC4-5D6E-409C-BE32-E72D297353CC}">
                <c16:uniqueId val="{00000985-C110-4B3C-98C7-D19B20EBE8CB}"/>
              </c:ext>
            </c:extLst>
          </c:dPt>
          <c:dPt>
            <c:idx val="1218"/>
            <c:invertIfNegative val="1"/>
            <c:bubble3D val="0"/>
            <c:spPr>
              <a:solidFill>
                <a:srgbClr val="AEABAB"/>
              </a:solidFill>
            </c:spPr>
            <c:extLst>
              <c:ext xmlns:c16="http://schemas.microsoft.com/office/drawing/2014/chart" uri="{C3380CC4-5D6E-409C-BE32-E72D297353CC}">
                <c16:uniqueId val="{00000987-C110-4B3C-98C7-D19B20EBE8CB}"/>
              </c:ext>
            </c:extLst>
          </c:dPt>
          <c:dPt>
            <c:idx val="1219"/>
            <c:invertIfNegative val="1"/>
            <c:bubble3D val="0"/>
            <c:spPr>
              <a:solidFill>
                <a:srgbClr val="AEABAB"/>
              </a:solidFill>
            </c:spPr>
            <c:extLst>
              <c:ext xmlns:c16="http://schemas.microsoft.com/office/drawing/2014/chart" uri="{C3380CC4-5D6E-409C-BE32-E72D297353CC}">
                <c16:uniqueId val="{00000989-C110-4B3C-98C7-D19B20EBE8CB}"/>
              </c:ext>
            </c:extLst>
          </c:dPt>
          <c:dPt>
            <c:idx val="1220"/>
            <c:invertIfNegative val="1"/>
            <c:bubble3D val="0"/>
            <c:spPr>
              <a:solidFill>
                <a:srgbClr val="AEABAB"/>
              </a:solidFill>
            </c:spPr>
            <c:extLst>
              <c:ext xmlns:c16="http://schemas.microsoft.com/office/drawing/2014/chart" uri="{C3380CC4-5D6E-409C-BE32-E72D297353CC}">
                <c16:uniqueId val="{0000098B-C110-4B3C-98C7-D19B20EBE8CB}"/>
              </c:ext>
            </c:extLst>
          </c:dPt>
          <c:dPt>
            <c:idx val="1221"/>
            <c:invertIfNegative val="1"/>
            <c:bubble3D val="0"/>
            <c:spPr>
              <a:solidFill>
                <a:srgbClr val="AEABAB"/>
              </a:solidFill>
            </c:spPr>
            <c:extLst>
              <c:ext xmlns:c16="http://schemas.microsoft.com/office/drawing/2014/chart" uri="{C3380CC4-5D6E-409C-BE32-E72D297353CC}">
                <c16:uniqueId val="{0000098D-C110-4B3C-98C7-D19B20EBE8CB}"/>
              </c:ext>
            </c:extLst>
          </c:dPt>
          <c:dPt>
            <c:idx val="1222"/>
            <c:invertIfNegative val="1"/>
            <c:bubble3D val="0"/>
            <c:spPr>
              <a:solidFill>
                <a:srgbClr val="AEABAB"/>
              </a:solidFill>
            </c:spPr>
            <c:extLst>
              <c:ext xmlns:c16="http://schemas.microsoft.com/office/drawing/2014/chart" uri="{C3380CC4-5D6E-409C-BE32-E72D297353CC}">
                <c16:uniqueId val="{0000098F-C110-4B3C-98C7-D19B20EBE8CB}"/>
              </c:ext>
            </c:extLst>
          </c:dPt>
          <c:dPt>
            <c:idx val="1223"/>
            <c:invertIfNegative val="1"/>
            <c:bubble3D val="0"/>
            <c:spPr>
              <a:solidFill>
                <a:srgbClr val="AEABAB"/>
              </a:solidFill>
            </c:spPr>
            <c:extLst>
              <c:ext xmlns:c16="http://schemas.microsoft.com/office/drawing/2014/chart" uri="{C3380CC4-5D6E-409C-BE32-E72D297353CC}">
                <c16:uniqueId val="{00000991-C110-4B3C-98C7-D19B20EBE8CB}"/>
              </c:ext>
            </c:extLst>
          </c:dPt>
          <c:dPt>
            <c:idx val="1224"/>
            <c:invertIfNegative val="1"/>
            <c:bubble3D val="0"/>
            <c:spPr>
              <a:solidFill>
                <a:srgbClr val="AEABAB"/>
              </a:solidFill>
            </c:spPr>
            <c:extLst>
              <c:ext xmlns:c16="http://schemas.microsoft.com/office/drawing/2014/chart" uri="{C3380CC4-5D6E-409C-BE32-E72D297353CC}">
                <c16:uniqueId val="{00000993-C110-4B3C-98C7-D19B20EBE8CB}"/>
              </c:ext>
            </c:extLst>
          </c:dPt>
          <c:dPt>
            <c:idx val="1225"/>
            <c:invertIfNegative val="1"/>
            <c:bubble3D val="0"/>
            <c:spPr>
              <a:solidFill>
                <a:srgbClr val="AEABAB"/>
              </a:solidFill>
            </c:spPr>
            <c:extLst>
              <c:ext xmlns:c16="http://schemas.microsoft.com/office/drawing/2014/chart" uri="{C3380CC4-5D6E-409C-BE32-E72D297353CC}">
                <c16:uniqueId val="{00000995-C110-4B3C-98C7-D19B20EBE8CB}"/>
              </c:ext>
            </c:extLst>
          </c:dPt>
          <c:dPt>
            <c:idx val="1226"/>
            <c:invertIfNegative val="1"/>
            <c:bubble3D val="0"/>
            <c:spPr>
              <a:solidFill>
                <a:srgbClr val="AEABAB"/>
              </a:solidFill>
            </c:spPr>
            <c:extLst>
              <c:ext xmlns:c16="http://schemas.microsoft.com/office/drawing/2014/chart" uri="{C3380CC4-5D6E-409C-BE32-E72D297353CC}">
                <c16:uniqueId val="{00000997-C110-4B3C-98C7-D19B20EBE8CB}"/>
              </c:ext>
            </c:extLst>
          </c:dPt>
          <c:dPt>
            <c:idx val="1227"/>
            <c:invertIfNegative val="1"/>
            <c:bubble3D val="0"/>
            <c:spPr>
              <a:solidFill>
                <a:srgbClr val="AEABAB"/>
              </a:solidFill>
            </c:spPr>
            <c:extLst>
              <c:ext xmlns:c16="http://schemas.microsoft.com/office/drawing/2014/chart" uri="{C3380CC4-5D6E-409C-BE32-E72D297353CC}">
                <c16:uniqueId val="{00000999-C110-4B3C-98C7-D19B20EBE8CB}"/>
              </c:ext>
            </c:extLst>
          </c:dPt>
          <c:dPt>
            <c:idx val="1228"/>
            <c:invertIfNegative val="1"/>
            <c:bubble3D val="0"/>
            <c:spPr>
              <a:solidFill>
                <a:srgbClr val="AEABAB"/>
              </a:solidFill>
            </c:spPr>
            <c:extLst>
              <c:ext xmlns:c16="http://schemas.microsoft.com/office/drawing/2014/chart" uri="{C3380CC4-5D6E-409C-BE32-E72D297353CC}">
                <c16:uniqueId val="{0000099B-C110-4B3C-98C7-D19B20EBE8CB}"/>
              </c:ext>
            </c:extLst>
          </c:dPt>
          <c:dPt>
            <c:idx val="1229"/>
            <c:invertIfNegative val="1"/>
            <c:bubble3D val="0"/>
            <c:spPr>
              <a:solidFill>
                <a:srgbClr val="AEABAB"/>
              </a:solidFill>
            </c:spPr>
            <c:extLst>
              <c:ext xmlns:c16="http://schemas.microsoft.com/office/drawing/2014/chart" uri="{C3380CC4-5D6E-409C-BE32-E72D297353CC}">
                <c16:uniqueId val="{0000099D-C110-4B3C-98C7-D19B20EBE8CB}"/>
              </c:ext>
            </c:extLst>
          </c:dPt>
          <c:dPt>
            <c:idx val="1230"/>
            <c:invertIfNegative val="1"/>
            <c:bubble3D val="0"/>
            <c:spPr>
              <a:solidFill>
                <a:srgbClr val="AEABAB"/>
              </a:solidFill>
            </c:spPr>
            <c:extLst>
              <c:ext xmlns:c16="http://schemas.microsoft.com/office/drawing/2014/chart" uri="{C3380CC4-5D6E-409C-BE32-E72D297353CC}">
                <c16:uniqueId val="{0000099F-C110-4B3C-98C7-D19B20EBE8CB}"/>
              </c:ext>
            </c:extLst>
          </c:dPt>
          <c:dPt>
            <c:idx val="1231"/>
            <c:invertIfNegative val="1"/>
            <c:bubble3D val="0"/>
            <c:spPr>
              <a:solidFill>
                <a:srgbClr val="AEABAB"/>
              </a:solidFill>
            </c:spPr>
            <c:extLst>
              <c:ext xmlns:c16="http://schemas.microsoft.com/office/drawing/2014/chart" uri="{C3380CC4-5D6E-409C-BE32-E72D297353CC}">
                <c16:uniqueId val="{000009A1-C110-4B3C-98C7-D19B20EBE8CB}"/>
              </c:ext>
            </c:extLst>
          </c:dPt>
          <c:dPt>
            <c:idx val="1232"/>
            <c:invertIfNegative val="1"/>
            <c:bubble3D val="0"/>
            <c:spPr>
              <a:solidFill>
                <a:srgbClr val="AEABAB"/>
              </a:solidFill>
            </c:spPr>
            <c:extLst>
              <c:ext xmlns:c16="http://schemas.microsoft.com/office/drawing/2014/chart" uri="{C3380CC4-5D6E-409C-BE32-E72D297353CC}">
                <c16:uniqueId val="{000009A3-C110-4B3C-98C7-D19B20EBE8CB}"/>
              </c:ext>
            </c:extLst>
          </c:dPt>
          <c:dPt>
            <c:idx val="1233"/>
            <c:invertIfNegative val="1"/>
            <c:bubble3D val="0"/>
            <c:spPr>
              <a:solidFill>
                <a:srgbClr val="AEABAB"/>
              </a:solidFill>
            </c:spPr>
            <c:extLst>
              <c:ext xmlns:c16="http://schemas.microsoft.com/office/drawing/2014/chart" uri="{C3380CC4-5D6E-409C-BE32-E72D297353CC}">
                <c16:uniqueId val="{000009A5-C110-4B3C-98C7-D19B20EBE8CB}"/>
              </c:ext>
            </c:extLst>
          </c:dPt>
          <c:dPt>
            <c:idx val="1234"/>
            <c:invertIfNegative val="1"/>
            <c:bubble3D val="0"/>
            <c:spPr>
              <a:solidFill>
                <a:srgbClr val="AEABAB"/>
              </a:solidFill>
            </c:spPr>
            <c:extLst>
              <c:ext xmlns:c16="http://schemas.microsoft.com/office/drawing/2014/chart" uri="{C3380CC4-5D6E-409C-BE32-E72D297353CC}">
                <c16:uniqueId val="{000009A7-C110-4B3C-98C7-D19B20EBE8CB}"/>
              </c:ext>
            </c:extLst>
          </c:dPt>
          <c:dPt>
            <c:idx val="1235"/>
            <c:invertIfNegative val="1"/>
            <c:bubble3D val="0"/>
            <c:spPr>
              <a:solidFill>
                <a:srgbClr val="AEABAB"/>
              </a:solidFill>
            </c:spPr>
            <c:extLst>
              <c:ext xmlns:c16="http://schemas.microsoft.com/office/drawing/2014/chart" uri="{C3380CC4-5D6E-409C-BE32-E72D297353CC}">
                <c16:uniqueId val="{000009A9-C110-4B3C-98C7-D19B20EBE8CB}"/>
              </c:ext>
            </c:extLst>
          </c:dPt>
          <c:dPt>
            <c:idx val="1236"/>
            <c:invertIfNegative val="1"/>
            <c:bubble3D val="0"/>
            <c:spPr>
              <a:solidFill>
                <a:srgbClr val="AEABAB"/>
              </a:solidFill>
            </c:spPr>
            <c:extLst>
              <c:ext xmlns:c16="http://schemas.microsoft.com/office/drawing/2014/chart" uri="{C3380CC4-5D6E-409C-BE32-E72D297353CC}">
                <c16:uniqueId val="{000009AB-C110-4B3C-98C7-D19B20EBE8CB}"/>
              </c:ext>
            </c:extLst>
          </c:dPt>
          <c:dPt>
            <c:idx val="1237"/>
            <c:invertIfNegative val="1"/>
            <c:bubble3D val="0"/>
            <c:spPr>
              <a:solidFill>
                <a:srgbClr val="AEABAB"/>
              </a:solidFill>
            </c:spPr>
            <c:extLst>
              <c:ext xmlns:c16="http://schemas.microsoft.com/office/drawing/2014/chart" uri="{C3380CC4-5D6E-409C-BE32-E72D297353CC}">
                <c16:uniqueId val="{000009AD-C110-4B3C-98C7-D19B20EBE8CB}"/>
              </c:ext>
            </c:extLst>
          </c:dPt>
          <c:dPt>
            <c:idx val="1238"/>
            <c:invertIfNegative val="1"/>
            <c:bubble3D val="0"/>
            <c:spPr>
              <a:solidFill>
                <a:srgbClr val="AEABAB"/>
              </a:solidFill>
            </c:spPr>
            <c:extLst>
              <c:ext xmlns:c16="http://schemas.microsoft.com/office/drawing/2014/chart" uri="{C3380CC4-5D6E-409C-BE32-E72D297353CC}">
                <c16:uniqueId val="{000009AF-C110-4B3C-98C7-D19B20EBE8CB}"/>
              </c:ext>
            </c:extLst>
          </c:dPt>
          <c:dPt>
            <c:idx val="1239"/>
            <c:invertIfNegative val="1"/>
            <c:bubble3D val="0"/>
            <c:spPr>
              <a:solidFill>
                <a:srgbClr val="AEABAB"/>
              </a:solidFill>
            </c:spPr>
            <c:extLst>
              <c:ext xmlns:c16="http://schemas.microsoft.com/office/drawing/2014/chart" uri="{C3380CC4-5D6E-409C-BE32-E72D297353CC}">
                <c16:uniqueId val="{000009B1-C110-4B3C-98C7-D19B20EBE8CB}"/>
              </c:ext>
            </c:extLst>
          </c:dPt>
          <c:dPt>
            <c:idx val="1240"/>
            <c:invertIfNegative val="1"/>
            <c:bubble3D val="0"/>
            <c:spPr>
              <a:solidFill>
                <a:srgbClr val="AEABAB"/>
              </a:solidFill>
            </c:spPr>
            <c:extLst>
              <c:ext xmlns:c16="http://schemas.microsoft.com/office/drawing/2014/chart" uri="{C3380CC4-5D6E-409C-BE32-E72D297353CC}">
                <c16:uniqueId val="{000009B3-C110-4B3C-98C7-D19B20EBE8CB}"/>
              </c:ext>
            </c:extLst>
          </c:dPt>
          <c:dPt>
            <c:idx val="1241"/>
            <c:invertIfNegative val="1"/>
            <c:bubble3D val="0"/>
            <c:spPr>
              <a:solidFill>
                <a:srgbClr val="AEABAB"/>
              </a:solidFill>
            </c:spPr>
            <c:extLst>
              <c:ext xmlns:c16="http://schemas.microsoft.com/office/drawing/2014/chart" uri="{C3380CC4-5D6E-409C-BE32-E72D297353CC}">
                <c16:uniqueId val="{000009B5-C110-4B3C-98C7-D19B20EBE8CB}"/>
              </c:ext>
            </c:extLst>
          </c:dPt>
          <c:dPt>
            <c:idx val="1242"/>
            <c:invertIfNegative val="1"/>
            <c:bubble3D val="0"/>
            <c:spPr>
              <a:solidFill>
                <a:srgbClr val="AEABAB"/>
              </a:solidFill>
            </c:spPr>
            <c:extLst>
              <c:ext xmlns:c16="http://schemas.microsoft.com/office/drawing/2014/chart" uri="{C3380CC4-5D6E-409C-BE32-E72D297353CC}">
                <c16:uniqueId val="{000009B7-C110-4B3C-98C7-D19B20EBE8CB}"/>
              </c:ext>
            </c:extLst>
          </c:dPt>
          <c:dPt>
            <c:idx val="1243"/>
            <c:invertIfNegative val="1"/>
            <c:bubble3D val="0"/>
            <c:spPr>
              <a:solidFill>
                <a:srgbClr val="AEABAB"/>
              </a:solidFill>
            </c:spPr>
            <c:extLst>
              <c:ext xmlns:c16="http://schemas.microsoft.com/office/drawing/2014/chart" uri="{C3380CC4-5D6E-409C-BE32-E72D297353CC}">
                <c16:uniqueId val="{000009B9-C110-4B3C-98C7-D19B20EBE8CB}"/>
              </c:ext>
            </c:extLst>
          </c:dPt>
          <c:dPt>
            <c:idx val="1244"/>
            <c:invertIfNegative val="1"/>
            <c:bubble3D val="0"/>
            <c:spPr>
              <a:solidFill>
                <a:srgbClr val="AEABAB"/>
              </a:solidFill>
            </c:spPr>
            <c:extLst>
              <c:ext xmlns:c16="http://schemas.microsoft.com/office/drawing/2014/chart" uri="{C3380CC4-5D6E-409C-BE32-E72D297353CC}">
                <c16:uniqueId val="{000009BB-C110-4B3C-98C7-D19B20EBE8CB}"/>
              </c:ext>
            </c:extLst>
          </c:dPt>
          <c:dPt>
            <c:idx val="1245"/>
            <c:invertIfNegative val="1"/>
            <c:bubble3D val="0"/>
            <c:spPr>
              <a:solidFill>
                <a:srgbClr val="AEABAB"/>
              </a:solidFill>
            </c:spPr>
            <c:extLst>
              <c:ext xmlns:c16="http://schemas.microsoft.com/office/drawing/2014/chart" uri="{C3380CC4-5D6E-409C-BE32-E72D297353CC}">
                <c16:uniqueId val="{000009BD-C110-4B3C-98C7-D19B20EBE8CB}"/>
              </c:ext>
            </c:extLst>
          </c:dPt>
          <c:dPt>
            <c:idx val="1246"/>
            <c:invertIfNegative val="1"/>
            <c:bubble3D val="0"/>
            <c:spPr>
              <a:solidFill>
                <a:srgbClr val="AEABAB"/>
              </a:solidFill>
            </c:spPr>
            <c:extLst>
              <c:ext xmlns:c16="http://schemas.microsoft.com/office/drawing/2014/chart" uri="{C3380CC4-5D6E-409C-BE32-E72D297353CC}">
                <c16:uniqueId val="{000009BF-C110-4B3C-98C7-D19B20EBE8CB}"/>
              </c:ext>
            </c:extLst>
          </c:dPt>
          <c:dPt>
            <c:idx val="1247"/>
            <c:invertIfNegative val="1"/>
            <c:bubble3D val="0"/>
            <c:spPr>
              <a:solidFill>
                <a:srgbClr val="AEABAB"/>
              </a:solidFill>
            </c:spPr>
            <c:extLst>
              <c:ext xmlns:c16="http://schemas.microsoft.com/office/drawing/2014/chart" uri="{C3380CC4-5D6E-409C-BE32-E72D297353CC}">
                <c16:uniqueId val="{000009C1-C110-4B3C-98C7-D19B20EBE8CB}"/>
              </c:ext>
            </c:extLst>
          </c:dPt>
          <c:dPt>
            <c:idx val="1248"/>
            <c:invertIfNegative val="1"/>
            <c:bubble3D val="0"/>
            <c:spPr>
              <a:solidFill>
                <a:srgbClr val="AEABAB"/>
              </a:solidFill>
            </c:spPr>
            <c:extLst>
              <c:ext xmlns:c16="http://schemas.microsoft.com/office/drawing/2014/chart" uri="{C3380CC4-5D6E-409C-BE32-E72D297353CC}">
                <c16:uniqueId val="{000009C3-C110-4B3C-98C7-D19B20EBE8CB}"/>
              </c:ext>
            </c:extLst>
          </c:dPt>
          <c:dPt>
            <c:idx val="1249"/>
            <c:invertIfNegative val="1"/>
            <c:bubble3D val="0"/>
            <c:spPr>
              <a:solidFill>
                <a:srgbClr val="AEABAB"/>
              </a:solidFill>
            </c:spPr>
            <c:extLst>
              <c:ext xmlns:c16="http://schemas.microsoft.com/office/drawing/2014/chart" uri="{C3380CC4-5D6E-409C-BE32-E72D297353CC}">
                <c16:uniqueId val="{000009C5-C110-4B3C-98C7-D19B20EBE8CB}"/>
              </c:ext>
            </c:extLst>
          </c:dPt>
          <c:dPt>
            <c:idx val="1250"/>
            <c:invertIfNegative val="1"/>
            <c:bubble3D val="0"/>
            <c:spPr>
              <a:solidFill>
                <a:srgbClr val="AEABAB"/>
              </a:solidFill>
            </c:spPr>
            <c:extLst>
              <c:ext xmlns:c16="http://schemas.microsoft.com/office/drawing/2014/chart" uri="{C3380CC4-5D6E-409C-BE32-E72D297353CC}">
                <c16:uniqueId val="{000009C7-C110-4B3C-98C7-D19B20EBE8CB}"/>
              </c:ext>
            </c:extLst>
          </c:dPt>
          <c:dPt>
            <c:idx val="1251"/>
            <c:invertIfNegative val="1"/>
            <c:bubble3D val="0"/>
            <c:spPr>
              <a:solidFill>
                <a:srgbClr val="AEABAB"/>
              </a:solidFill>
            </c:spPr>
            <c:extLst>
              <c:ext xmlns:c16="http://schemas.microsoft.com/office/drawing/2014/chart" uri="{C3380CC4-5D6E-409C-BE32-E72D297353CC}">
                <c16:uniqueId val="{000009C9-C110-4B3C-98C7-D19B20EBE8CB}"/>
              </c:ext>
            </c:extLst>
          </c:dPt>
          <c:dPt>
            <c:idx val="1252"/>
            <c:invertIfNegative val="1"/>
            <c:bubble3D val="0"/>
            <c:spPr>
              <a:solidFill>
                <a:srgbClr val="AEABAB"/>
              </a:solidFill>
            </c:spPr>
            <c:extLst>
              <c:ext xmlns:c16="http://schemas.microsoft.com/office/drawing/2014/chart" uri="{C3380CC4-5D6E-409C-BE32-E72D297353CC}">
                <c16:uniqueId val="{000009CB-C110-4B3C-98C7-D19B20EBE8CB}"/>
              </c:ext>
            </c:extLst>
          </c:dPt>
          <c:dPt>
            <c:idx val="1253"/>
            <c:invertIfNegative val="1"/>
            <c:bubble3D val="0"/>
            <c:spPr>
              <a:solidFill>
                <a:srgbClr val="AEABAB"/>
              </a:solidFill>
            </c:spPr>
            <c:extLst>
              <c:ext xmlns:c16="http://schemas.microsoft.com/office/drawing/2014/chart" uri="{C3380CC4-5D6E-409C-BE32-E72D297353CC}">
                <c16:uniqueId val="{000009CD-C110-4B3C-98C7-D19B20EBE8CB}"/>
              </c:ext>
            </c:extLst>
          </c:dPt>
          <c:dPt>
            <c:idx val="1254"/>
            <c:invertIfNegative val="1"/>
            <c:bubble3D val="0"/>
            <c:spPr>
              <a:solidFill>
                <a:srgbClr val="AEABAB"/>
              </a:solidFill>
            </c:spPr>
            <c:extLst>
              <c:ext xmlns:c16="http://schemas.microsoft.com/office/drawing/2014/chart" uri="{C3380CC4-5D6E-409C-BE32-E72D297353CC}">
                <c16:uniqueId val="{000009CF-C110-4B3C-98C7-D19B20EBE8CB}"/>
              </c:ext>
            </c:extLst>
          </c:dPt>
          <c:dPt>
            <c:idx val="1255"/>
            <c:invertIfNegative val="1"/>
            <c:bubble3D val="0"/>
            <c:spPr>
              <a:solidFill>
                <a:srgbClr val="AEABAB"/>
              </a:solidFill>
            </c:spPr>
            <c:extLst>
              <c:ext xmlns:c16="http://schemas.microsoft.com/office/drawing/2014/chart" uri="{C3380CC4-5D6E-409C-BE32-E72D297353CC}">
                <c16:uniqueId val="{000009D1-C110-4B3C-98C7-D19B20EBE8CB}"/>
              </c:ext>
            </c:extLst>
          </c:dPt>
          <c:dPt>
            <c:idx val="1256"/>
            <c:invertIfNegative val="1"/>
            <c:bubble3D val="0"/>
            <c:spPr>
              <a:solidFill>
                <a:srgbClr val="AEABAB"/>
              </a:solidFill>
            </c:spPr>
            <c:extLst>
              <c:ext xmlns:c16="http://schemas.microsoft.com/office/drawing/2014/chart" uri="{C3380CC4-5D6E-409C-BE32-E72D297353CC}">
                <c16:uniqueId val="{000009D3-C110-4B3C-98C7-D19B20EBE8CB}"/>
              </c:ext>
            </c:extLst>
          </c:dPt>
          <c:dPt>
            <c:idx val="1257"/>
            <c:invertIfNegative val="1"/>
            <c:bubble3D val="0"/>
            <c:spPr>
              <a:solidFill>
                <a:srgbClr val="AEABAB"/>
              </a:solidFill>
            </c:spPr>
            <c:extLst>
              <c:ext xmlns:c16="http://schemas.microsoft.com/office/drawing/2014/chart" uri="{C3380CC4-5D6E-409C-BE32-E72D297353CC}">
                <c16:uniqueId val="{000009D5-C110-4B3C-98C7-D19B20EBE8CB}"/>
              </c:ext>
            </c:extLst>
          </c:dPt>
          <c:dPt>
            <c:idx val="1258"/>
            <c:invertIfNegative val="1"/>
            <c:bubble3D val="0"/>
            <c:spPr>
              <a:solidFill>
                <a:srgbClr val="AEABAB"/>
              </a:solidFill>
            </c:spPr>
            <c:extLst>
              <c:ext xmlns:c16="http://schemas.microsoft.com/office/drawing/2014/chart" uri="{C3380CC4-5D6E-409C-BE32-E72D297353CC}">
                <c16:uniqueId val="{000009D7-C110-4B3C-98C7-D19B20EBE8CB}"/>
              </c:ext>
            </c:extLst>
          </c:dPt>
          <c:dPt>
            <c:idx val="1259"/>
            <c:invertIfNegative val="1"/>
            <c:bubble3D val="0"/>
            <c:spPr>
              <a:solidFill>
                <a:srgbClr val="AEABAB"/>
              </a:solidFill>
            </c:spPr>
            <c:extLst>
              <c:ext xmlns:c16="http://schemas.microsoft.com/office/drawing/2014/chart" uri="{C3380CC4-5D6E-409C-BE32-E72D297353CC}">
                <c16:uniqueId val="{000009D9-C110-4B3C-98C7-D19B20EBE8CB}"/>
              </c:ext>
            </c:extLst>
          </c:dPt>
          <c:dPt>
            <c:idx val="1260"/>
            <c:invertIfNegative val="1"/>
            <c:bubble3D val="0"/>
            <c:spPr>
              <a:solidFill>
                <a:srgbClr val="AEABAB"/>
              </a:solidFill>
            </c:spPr>
            <c:extLst>
              <c:ext xmlns:c16="http://schemas.microsoft.com/office/drawing/2014/chart" uri="{C3380CC4-5D6E-409C-BE32-E72D297353CC}">
                <c16:uniqueId val="{000009DB-C110-4B3C-98C7-D19B20EBE8CB}"/>
              </c:ext>
            </c:extLst>
          </c:dPt>
          <c:dPt>
            <c:idx val="1261"/>
            <c:invertIfNegative val="1"/>
            <c:bubble3D val="0"/>
            <c:spPr>
              <a:solidFill>
                <a:srgbClr val="AEABAB"/>
              </a:solidFill>
            </c:spPr>
            <c:extLst>
              <c:ext xmlns:c16="http://schemas.microsoft.com/office/drawing/2014/chart" uri="{C3380CC4-5D6E-409C-BE32-E72D297353CC}">
                <c16:uniqueId val="{000009DD-C110-4B3C-98C7-D19B20EBE8CB}"/>
              </c:ext>
            </c:extLst>
          </c:dPt>
          <c:dPt>
            <c:idx val="1262"/>
            <c:invertIfNegative val="1"/>
            <c:bubble3D val="0"/>
            <c:spPr>
              <a:solidFill>
                <a:srgbClr val="AEABAB"/>
              </a:solidFill>
            </c:spPr>
            <c:extLst>
              <c:ext xmlns:c16="http://schemas.microsoft.com/office/drawing/2014/chart" uri="{C3380CC4-5D6E-409C-BE32-E72D297353CC}">
                <c16:uniqueId val="{000009DF-C110-4B3C-98C7-D19B20EBE8CB}"/>
              </c:ext>
            </c:extLst>
          </c:dPt>
          <c:dPt>
            <c:idx val="1263"/>
            <c:invertIfNegative val="1"/>
            <c:bubble3D val="0"/>
            <c:spPr>
              <a:solidFill>
                <a:srgbClr val="AEABAB"/>
              </a:solidFill>
            </c:spPr>
            <c:extLst>
              <c:ext xmlns:c16="http://schemas.microsoft.com/office/drawing/2014/chart" uri="{C3380CC4-5D6E-409C-BE32-E72D297353CC}">
                <c16:uniqueId val="{000009E1-C110-4B3C-98C7-D19B20EBE8CB}"/>
              </c:ext>
            </c:extLst>
          </c:dPt>
          <c:dPt>
            <c:idx val="1264"/>
            <c:invertIfNegative val="1"/>
            <c:bubble3D val="0"/>
            <c:spPr>
              <a:solidFill>
                <a:srgbClr val="AEABAB"/>
              </a:solidFill>
            </c:spPr>
            <c:extLst>
              <c:ext xmlns:c16="http://schemas.microsoft.com/office/drawing/2014/chart" uri="{C3380CC4-5D6E-409C-BE32-E72D297353CC}">
                <c16:uniqueId val="{000009E3-C110-4B3C-98C7-D19B20EBE8CB}"/>
              </c:ext>
            </c:extLst>
          </c:dPt>
          <c:dPt>
            <c:idx val="1265"/>
            <c:invertIfNegative val="1"/>
            <c:bubble3D val="0"/>
            <c:spPr>
              <a:solidFill>
                <a:srgbClr val="AEABAB"/>
              </a:solidFill>
            </c:spPr>
            <c:extLst>
              <c:ext xmlns:c16="http://schemas.microsoft.com/office/drawing/2014/chart" uri="{C3380CC4-5D6E-409C-BE32-E72D297353CC}">
                <c16:uniqueId val="{000009E5-C110-4B3C-98C7-D19B20EBE8CB}"/>
              </c:ext>
            </c:extLst>
          </c:dPt>
          <c:dPt>
            <c:idx val="1266"/>
            <c:invertIfNegative val="1"/>
            <c:bubble3D val="0"/>
            <c:spPr>
              <a:solidFill>
                <a:srgbClr val="AEABAB"/>
              </a:solidFill>
            </c:spPr>
            <c:extLst>
              <c:ext xmlns:c16="http://schemas.microsoft.com/office/drawing/2014/chart" uri="{C3380CC4-5D6E-409C-BE32-E72D297353CC}">
                <c16:uniqueId val="{000009E7-C110-4B3C-98C7-D19B20EBE8CB}"/>
              </c:ext>
            </c:extLst>
          </c:dPt>
          <c:dPt>
            <c:idx val="1267"/>
            <c:invertIfNegative val="1"/>
            <c:bubble3D val="0"/>
            <c:spPr>
              <a:solidFill>
                <a:srgbClr val="AEABAB"/>
              </a:solidFill>
            </c:spPr>
            <c:extLst>
              <c:ext xmlns:c16="http://schemas.microsoft.com/office/drawing/2014/chart" uri="{C3380CC4-5D6E-409C-BE32-E72D297353CC}">
                <c16:uniqueId val="{000009E9-C110-4B3C-98C7-D19B20EBE8CB}"/>
              </c:ext>
            </c:extLst>
          </c:dPt>
          <c:dPt>
            <c:idx val="1268"/>
            <c:invertIfNegative val="1"/>
            <c:bubble3D val="0"/>
            <c:spPr>
              <a:solidFill>
                <a:srgbClr val="AEABAB"/>
              </a:solidFill>
            </c:spPr>
            <c:extLst>
              <c:ext xmlns:c16="http://schemas.microsoft.com/office/drawing/2014/chart" uri="{C3380CC4-5D6E-409C-BE32-E72D297353CC}">
                <c16:uniqueId val="{000009EB-C110-4B3C-98C7-D19B20EBE8CB}"/>
              </c:ext>
            </c:extLst>
          </c:dPt>
          <c:dPt>
            <c:idx val="1269"/>
            <c:invertIfNegative val="1"/>
            <c:bubble3D val="0"/>
            <c:spPr>
              <a:solidFill>
                <a:srgbClr val="AEABAB"/>
              </a:solidFill>
            </c:spPr>
            <c:extLst>
              <c:ext xmlns:c16="http://schemas.microsoft.com/office/drawing/2014/chart" uri="{C3380CC4-5D6E-409C-BE32-E72D297353CC}">
                <c16:uniqueId val="{000009ED-C110-4B3C-98C7-D19B20EBE8CB}"/>
              </c:ext>
            </c:extLst>
          </c:dPt>
          <c:dPt>
            <c:idx val="1270"/>
            <c:invertIfNegative val="1"/>
            <c:bubble3D val="0"/>
            <c:spPr>
              <a:solidFill>
                <a:srgbClr val="AEABAB"/>
              </a:solidFill>
            </c:spPr>
            <c:extLst>
              <c:ext xmlns:c16="http://schemas.microsoft.com/office/drawing/2014/chart" uri="{C3380CC4-5D6E-409C-BE32-E72D297353CC}">
                <c16:uniqueId val="{000009EF-C110-4B3C-98C7-D19B20EBE8CB}"/>
              </c:ext>
            </c:extLst>
          </c:dPt>
          <c:dPt>
            <c:idx val="1271"/>
            <c:invertIfNegative val="1"/>
            <c:bubble3D val="0"/>
            <c:spPr>
              <a:solidFill>
                <a:srgbClr val="AEABAB"/>
              </a:solidFill>
            </c:spPr>
            <c:extLst>
              <c:ext xmlns:c16="http://schemas.microsoft.com/office/drawing/2014/chart" uri="{C3380CC4-5D6E-409C-BE32-E72D297353CC}">
                <c16:uniqueId val="{000009F1-C110-4B3C-98C7-D19B20EBE8CB}"/>
              </c:ext>
            </c:extLst>
          </c:dPt>
          <c:dPt>
            <c:idx val="1272"/>
            <c:invertIfNegative val="1"/>
            <c:bubble3D val="0"/>
            <c:spPr>
              <a:solidFill>
                <a:srgbClr val="AEABAB"/>
              </a:solidFill>
            </c:spPr>
            <c:extLst>
              <c:ext xmlns:c16="http://schemas.microsoft.com/office/drawing/2014/chart" uri="{C3380CC4-5D6E-409C-BE32-E72D297353CC}">
                <c16:uniqueId val="{000009F3-C110-4B3C-98C7-D19B20EBE8CB}"/>
              </c:ext>
            </c:extLst>
          </c:dPt>
          <c:dPt>
            <c:idx val="1273"/>
            <c:invertIfNegative val="1"/>
            <c:bubble3D val="0"/>
            <c:spPr>
              <a:solidFill>
                <a:srgbClr val="AEABAB"/>
              </a:solidFill>
            </c:spPr>
            <c:extLst>
              <c:ext xmlns:c16="http://schemas.microsoft.com/office/drawing/2014/chart" uri="{C3380CC4-5D6E-409C-BE32-E72D297353CC}">
                <c16:uniqueId val="{000009F5-C110-4B3C-98C7-D19B20EBE8CB}"/>
              </c:ext>
            </c:extLst>
          </c:dPt>
          <c:dPt>
            <c:idx val="1274"/>
            <c:invertIfNegative val="1"/>
            <c:bubble3D val="0"/>
            <c:spPr>
              <a:solidFill>
                <a:srgbClr val="AEABAB"/>
              </a:solidFill>
            </c:spPr>
            <c:extLst>
              <c:ext xmlns:c16="http://schemas.microsoft.com/office/drawing/2014/chart" uri="{C3380CC4-5D6E-409C-BE32-E72D297353CC}">
                <c16:uniqueId val="{000009F7-C110-4B3C-98C7-D19B20EBE8CB}"/>
              </c:ext>
            </c:extLst>
          </c:dPt>
          <c:dPt>
            <c:idx val="1275"/>
            <c:invertIfNegative val="1"/>
            <c:bubble3D val="0"/>
            <c:spPr>
              <a:solidFill>
                <a:srgbClr val="AEABAB"/>
              </a:solidFill>
            </c:spPr>
            <c:extLst>
              <c:ext xmlns:c16="http://schemas.microsoft.com/office/drawing/2014/chart" uri="{C3380CC4-5D6E-409C-BE32-E72D297353CC}">
                <c16:uniqueId val="{000009F9-C110-4B3C-98C7-D19B20EBE8CB}"/>
              </c:ext>
            </c:extLst>
          </c:dPt>
          <c:dPt>
            <c:idx val="1276"/>
            <c:invertIfNegative val="1"/>
            <c:bubble3D val="0"/>
            <c:spPr>
              <a:solidFill>
                <a:srgbClr val="AEABAB"/>
              </a:solidFill>
            </c:spPr>
            <c:extLst>
              <c:ext xmlns:c16="http://schemas.microsoft.com/office/drawing/2014/chart" uri="{C3380CC4-5D6E-409C-BE32-E72D297353CC}">
                <c16:uniqueId val="{000009FB-C110-4B3C-98C7-D19B20EBE8CB}"/>
              </c:ext>
            </c:extLst>
          </c:dPt>
          <c:dPt>
            <c:idx val="1277"/>
            <c:invertIfNegative val="1"/>
            <c:bubble3D val="0"/>
            <c:spPr>
              <a:solidFill>
                <a:srgbClr val="AEABAB"/>
              </a:solidFill>
            </c:spPr>
            <c:extLst>
              <c:ext xmlns:c16="http://schemas.microsoft.com/office/drawing/2014/chart" uri="{C3380CC4-5D6E-409C-BE32-E72D297353CC}">
                <c16:uniqueId val="{000009FD-C110-4B3C-98C7-D19B20EBE8CB}"/>
              </c:ext>
            </c:extLst>
          </c:dPt>
          <c:dPt>
            <c:idx val="1278"/>
            <c:invertIfNegative val="1"/>
            <c:bubble3D val="0"/>
            <c:spPr>
              <a:solidFill>
                <a:srgbClr val="AEABAB"/>
              </a:solidFill>
            </c:spPr>
            <c:extLst>
              <c:ext xmlns:c16="http://schemas.microsoft.com/office/drawing/2014/chart" uri="{C3380CC4-5D6E-409C-BE32-E72D297353CC}">
                <c16:uniqueId val="{000009FF-C110-4B3C-98C7-D19B20EBE8CB}"/>
              </c:ext>
            </c:extLst>
          </c:dPt>
          <c:dPt>
            <c:idx val="1279"/>
            <c:invertIfNegative val="1"/>
            <c:bubble3D val="0"/>
            <c:spPr>
              <a:solidFill>
                <a:srgbClr val="AEABAB"/>
              </a:solidFill>
            </c:spPr>
            <c:extLst>
              <c:ext xmlns:c16="http://schemas.microsoft.com/office/drawing/2014/chart" uri="{C3380CC4-5D6E-409C-BE32-E72D297353CC}">
                <c16:uniqueId val="{00000A01-C110-4B3C-98C7-D19B20EBE8CB}"/>
              </c:ext>
            </c:extLst>
          </c:dPt>
          <c:dPt>
            <c:idx val="1280"/>
            <c:invertIfNegative val="1"/>
            <c:bubble3D val="0"/>
            <c:spPr>
              <a:solidFill>
                <a:srgbClr val="AEABAB"/>
              </a:solidFill>
            </c:spPr>
            <c:extLst>
              <c:ext xmlns:c16="http://schemas.microsoft.com/office/drawing/2014/chart" uri="{C3380CC4-5D6E-409C-BE32-E72D297353CC}">
                <c16:uniqueId val="{00000A03-C110-4B3C-98C7-D19B20EBE8CB}"/>
              </c:ext>
            </c:extLst>
          </c:dPt>
          <c:dPt>
            <c:idx val="1281"/>
            <c:invertIfNegative val="1"/>
            <c:bubble3D val="0"/>
            <c:spPr>
              <a:solidFill>
                <a:srgbClr val="AEABAB"/>
              </a:solidFill>
            </c:spPr>
            <c:extLst>
              <c:ext xmlns:c16="http://schemas.microsoft.com/office/drawing/2014/chart" uri="{C3380CC4-5D6E-409C-BE32-E72D297353CC}">
                <c16:uniqueId val="{00000A05-C110-4B3C-98C7-D19B20EBE8CB}"/>
              </c:ext>
            </c:extLst>
          </c:dPt>
          <c:dPt>
            <c:idx val="1282"/>
            <c:invertIfNegative val="1"/>
            <c:bubble3D val="0"/>
            <c:spPr>
              <a:solidFill>
                <a:srgbClr val="AEABAB"/>
              </a:solidFill>
            </c:spPr>
            <c:extLst>
              <c:ext xmlns:c16="http://schemas.microsoft.com/office/drawing/2014/chart" uri="{C3380CC4-5D6E-409C-BE32-E72D297353CC}">
                <c16:uniqueId val="{00000A07-C110-4B3C-98C7-D19B20EBE8CB}"/>
              </c:ext>
            </c:extLst>
          </c:dPt>
          <c:dPt>
            <c:idx val="1283"/>
            <c:invertIfNegative val="1"/>
            <c:bubble3D val="0"/>
            <c:spPr>
              <a:solidFill>
                <a:srgbClr val="AEABAB"/>
              </a:solidFill>
            </c:spPr>
            <c:extLst>
              <c:ext xmlns:c16="http://schemas.microsoft.com/office/drawing/2014/chart" uri="{C3380CC4-5D6E-409C-BE32-E72D297353CC}">
                <c16:uniqueId val="{00000A09-C110-4B3C-98C7-D19B20EBE8CB}"/>
              </c:ext>
            </c:extLst>
          </c:dPt>
          <c:dPt>
            <c:idx val="1284"/>
            <c:invertIfNegative val="1"/>
            <c:bubble3D val="0"/>
            <c:spPr>
              <a:solidFill>
                <a:srgbClr val="AEABAB"/>
              </a:solidFill>
            </c:spPr>
            <c:extLst>
              <c:ext xmlns:c16="http://schemas.microsoft.com/office/drawing/2014/chart" uri="{C3380CC4-5D6E-409C-BE32-E72D297353CC}">
                <c16:uniqueId val="{00000A0B-C110-4B3C-98C7-D19B20EBE8CB}"/>
              </c:ext>
            </c:extLst>
          </c:dPt>
          <c:dPt>
            <c:idx val="1285"/>
            <c:invertIfNegative val="1"/>
            <c:bubble3D val="0"/>
            <c:spPr>
              <a:solidFill>
                <a:srgbClr val="AEABAB"/>
              </a:solidFill>
            </c:spPr>
            <c:extLst>
              <c:ext xmlns:c16="http://schemas.microsoft.com/office/drawing/2014/chart" uri="{C3380CC4-5D6E-409C-BE32-E72D297353CC}">
                <c16:uniqueId val="{00000A0D-C110-4B3C-98C7-D19B20EBE8CB}"/>
              </c:ext>
            </c:extLst>
          </c:dPt>
          <c:dPt>
            <c:idx val="1286"/>
            <c:invertIfNegative val="1"/>
            <c:bubble3D val="0"/>
            <c:spPr>
              <a:solidFill>
                <a:srgbClr val="AEABAB"/>
              </a:solidFill>
            </c:spPr>
            <c:extLst>
              <c:ext xmlns:c16="http://schemas.microsoft.com/office/drawing/2014/chart" uri="{C3380CC4-5D6E-409C-BE32-E72D297353CC}">
                <c16:uniqueId val="{00000A0F-C110-4B3C-98C7-D19B20EBE8CB}"/>
              </c:ext>
            </c:extLst>
          </c:dPt>
          <c:dPt>
            <c:idx val="1287"/>
            <c:invertIfNegative val="1"/>
            <c:bubble3D val="0"/>
            <c:spPr>
              <a:solidFill>
                <a:srgbClr val="AEABAB"/>
              </a:solidFill>
            </c:spPr>
            <c:extLst>
              <c:ext xmlns:c16="http://schemas.microsoft.com/office/drawing/2014/chart" uri="{C3380CC4-5D6E-409C-BE32-E72D297353CC}">
                <c16:uniqueId val="{00000A11-C110-4B3C-98C7-D19B20EBE8CB}"/>
              </c:ext>
            </c:extLst>
          </c:dPt>
          <c:dPt>
            <c:idx val="1288"/>
            <c:invertIfNegative val="1"/>
            <c:bubble3D val="0"/>
            <c:spPr>
              <a:solidFill>
                <a:srgbClr val="AEABAB"/>
              </a:solidFill>
            </c:spPr>
            <c:extLst>
              <c:ext xmlns:c16="http://schemas.microsoft.com/office/drawing/2014/chart" uri="{C3380CC4-5D6E-409C-BE32-E72D297353CC}">
                <c16:uniqueId val="{00000A13-C110-4B3C-98C7-D19B20EBE8CB}"/>
              </c:ext>
            </c:extLst>
          </c:dPt>
          <c:dPt>
            <c:idx val="1289"/>
            <c:invertIfNegative val="1"/>
            <c:bubble3D val="0"/>
            <c:spPr>
              <a:solidFill>
                <a:srgbClr val="AEABAB"/>
              </a:solidFill>
            </c:spPr>
            <c:extLst>
              <c:ext xmlns:c16="http://schemas.microsoft.com/office/drawing/2014/chart" uri="{C3380CC4-5D6E-409C-BE32-E72D297353CC}">
                <c16:uniqueId val="{00000A15-C110-4B3C-98C7-D19B20EBE8CB}"/>
              </c:ext>
            </c:extLst>
          </c:dPt>
          <c:dPt>
            <c:idx val="1290"/>
            <c:invertIfNegative val="1"/>
            <c:bubble3D val="0"/>
            <c:spPr>
              <a:solidFill>
                <a:srgbClr val="AEABAB"/>
              </a:solidFill>
            </c:spPr>
            <c:extLst>
              <c:ext xmlns:c16="http://schemas.microsoft.com/office/drawing/2014/chart" uri="{C3380CC4-5D6E-409C-BE32-E72D297353CC}">
                <c16:uniqueId val="{00000A17-C110-4B3C-98C7-D19B20EBE8CB}"/>
              </c:ext>
            </c:extLst>
          </c:dPt>
          <c:dPt>
            <c:idx val="1291"/>
            <c:invertIfNegative val="1"/>
            <c:bubble3D val="0"/>
            <c:spPr>
              <a:solidFill>
                <a:srgbClr val="AEABAB"/>
              </a:solidFill>
            </c:spPr>
            <c:extLst>
              <c:ext xmlns:c16="http://schemas.microsoft.com/office/drawing/2014/chart" uri="{C3380CC4-5D6E-409C-BE32-E72D297353CC}">
                <c16:uniqueId val="{00000A19-C110-4B3C-98C7-D19B20EBE8CB}"/>
              </c:ext>
            </c:extLst>
          </c:dPt>
          <c:dPt>
            <c:idx val="1292"/>
            <c:invertIfNegative val="1"/>
            <c:bubble3D val="0"/>
            <c:spPr>
              <a:solidFill>
                <a:srgbClr val="AEABAB"/>
              </a:solidFill>
            </c:spPr>
            <c:extLst>
              <c:ext xmlns:c16="http://schemas.microsoft.com/office/drawing/2014/chart" uri="{C3380CC4-5D6E-409C-BE32-E72D297353CC}">
                <c16:uniqueId val="{00000A1B-C110-4B3C-98C7-D19B20EBE8CB}"/>
              </c:ext>
            </c:extLst>
          </c:dPt>
          <c:dPt>
            <c:idx val="1293"/>
            <c:invertIfNegative val="1"/>
            <c:bubble3D val="0"/>
            <c:spPr>
              <a:solidFill>
                <a:srgbClr val="AEABAB"/>
              </a:solidFill>
            </c:spPr>
            <c:extLst>
              <c:ext xmlns:c16="http://schemas.microsoft.com/office/drawing/2014/chart" uri="{C3380CC4-5D6E-409C-BE32-E72D297353CC}">
                <c16:uniqueId val="{00000A1D-C110-4B3C-98C7-D19B20EBE8CB}"/>
              </c:ext>
            </c:extLst>
          </c:dPt>
          <c:dPt>
            <c:idx val="1294"/>
            <c:invertIfNegative val="1"/>
            <c:bubble3D val="0"/>
            <c:spPr>
              <a:solidFill>
                <a:srgbClr val="AEABAB"/>
              </a:solidFill>
            </c:spPr>
            <c:extLst>
              <c:ext xmlns:c16="http://schemas.microsoft.com/office/drawing/2014/chart" uri="{C3380CC4-5D6E-409C-BE32-E72D297353CC}">
                <c16:uniqueId val="{00000A1F-C110-4B3C-98C7-D19B20EBE8CB}"/>
              </c:ext>
            </c:extLst>
          </c:dPt>
          <c:dPt>
            <c:idx val="1295"/>
            <c:invertIfNegative val="1"/>
            <c:bubble3D val="0"/>
            <c:spPr>
              <a:solidFill>
                <a:srgbClr val="AEABAB"/>
              </a:solidFill>
            </c:spPr>
            <c:extLst>
              <c:ext xmlns:c16="http://schemas.microsoft.com/office/drawing/2014/chart" uri="{C3380CC4-5D6E-409C-BE32-E72D297353CC}">
                <c16:uniqueId val="{00000A21-C110-4B3C-98C7-D19B20EBE8CB}"/>
              </c:ext>
            </c:extLst>
          </c:dPt>
          <c:dPt>
            <c:idx val="1296"/>
            <c:invertIfNegative val="1"/>
            <c:bubble3D val="0"/>
            <c:spPr>
              <a:solidFill>
                <a:srgbClr val="AEABAB"/>
              </a:solidFill>
            </c:spPr>
            <c:extLst>
              <c:ext xmlns:c16="http://schemas.microsoft.com/office/drawing/2014/chart" uri="{C3380CC4-5D6E-409C-BE32-E72D297353CC}">
                <c16:uniqueId val="{00000A23-C110-4B3C-98C7-D19B20EBE8CB}"/>
              </c:ext>
            </c:extLst>
          </c:dPt>
          <c:dPt>
            <c:idx val="1297"/>
            <c:invertIfNegative val="1"/>
            <c:bubble3D val="0"/>
            <c:spPr>
              <a:solidFill>
                <a:srgbClr val="AEABAB"/>
              </a:solidFill>
            </c:spPr>
            <c:extLst>
              <c:ext xmlns:c16="http://schemas.microsoft.com/office/drawing/2014/chart" uri="{C3380CC4-5D6E-409C-BE32-E72D297353CC}">
                <c16:uniqueId val="{00000A25-C110-4B3C-98C7-D19B20EBE8CB}"/>
              </c:ext>
            </c:extLst>
          </c:dPt>
          <c:dPt>
            <c:idx val="1298"/>
            <c:invertIfNegative val="1"/>
            <c:bubble3D val="0"/>
            <c:spPr>
              <a:solidFill>
                <a:srgbClr val="AEABAB"/>
              </a:solidFill>
            </c:spPr>
            <c:extLst>
              <c:ext xmlns:c16="http://schemas.microsoft.com/office/drawing/2014/chart" uri="{C3380CC4-5D6E-409C-BE32-E72D297353CC}">
                <c16:uniqueId val="{00000A27-C110-4B3C-98C7-D19B20EBE8CB}"/>
              </c:ext>
            </c:extLst>
          </c:dPt>
          <c:dPt>
            <c:idx val="1299"/>
            <c:invertIfNegative val="1"/>
            <c:bubble3D val="0"/>
            <c:spPr>
              <a:solidFill>
                <a:srgbClr val="AEABAB"/>
              </a:solidFill>
            </c:spPr>
            <c:extLst>
              <c:ext xmlns:c16="http://schemas.microsoft.com/office/drawing/2014/chart" uri="{C3380CC4-5D6E-409C-BE32-E72D297353CC}">
                <c16:uniqueId val="{00000A29-C110-4B3C-98C7-D19B20EBE8CB}"/>
              </c:ext>
            </c:extLst>
          </c:dPt>
          <c:dPt>
            <c:idx val="1300"/>
            <c:invertIfNegative val="1"/>
            <c:bubble3D val="0"/>
            <c:spPr>
              <a:solidFill>
                <a:srgbClr val="AEABAB"/>
              </a:solidFill>
            </c:spPr>
            <c:extLst>
              <c:ext xmlns:c16="http://schemas.microsoft.com/office/drawing/2014/chart" uri="{C3380CC4-5D6E-409C-BE32-E72D297353CC}">
                <c16:uniqueId val="{00000A2B-C110-4B3C-98C7-D19B20EBE8CB}"/>
              </c:ext>
            </c:extLst>
          </c:dPt>
          <c:dPt>
            <c:idx val="1301"/>
            <c:invertIfNegative val="1"/>
            <c:bubble3D val="0"/>
            <c:spPr>
              <a:solidFill>
                <a:srgbClr val="AEABAB"/>
              </a:solidFill>
            </c:spPr>
            <c:extLst>
              <c:ext xmlns:c16="http://schemas.microsoft.com/office/drawing/2014/chart" uri="{C3380CC4-5D6E-409C-BE32-E72D297353CC}">
                <c16:uniqueId val="{00000A2D-C110-4B3C-98C7-D19B20EBE8CB}"/>
              </c:ext>
            </c:extLst>
          </c:dPt>
          <c:dPt>
            <c:idx val="1302"/>
            <c:invertIfNegative val="1"/>
            <c:bubble3D val="0"/>
            <c:spPr>
              <a:solidFill>
                <a:srgbClr val="AEABAB"/>
              </a:solidFill>
            </c:spPr>
            <c:extLst>
              <c:ext xmlns:c16="http://schemas.microsoft.com/office/drawing/2014/chart" uri="{C3380CC4-5D6E-409C-BE32-E72D297353CC}">
                <c16:uniqueId val="{00000A2F-C110-4B3C-98C7-D19B20EBE8CB}"/>
              </c:ext>
            </c:extLst>
          </c:dPt>
          <c:dPt>
            <c:idx val="1303"/>
            <c:invertIfNegative val="1"/>
            <c:bubble3D val="0"/>
            <c:spPr>
              <a:solidFill>
                <a:srgbClr val="AEABAB"/>
              </a:solidFill>
            </c:spPr>
            <c:extLst>
              <c:ext xmlns:c16="http://schemas.microsoft.com/office/drawing/2014/chart" uri="{C3380CC4-5D6E-409C-BE32-E72D297353CC}">
                <c16:uniqueId val="{00000A31-C110-4B3C-98C7-D19B20EBE8CB}"/>
              </c:ext>
            </c:extLst>
          </c:dPt>
          <c:dPt>
            <c:idx val="1304"/>
            <c:invertIfNegative val="1"/>
            <c:bubble3D val="0"/>
            <c:spPr>
              <a:solidFill>
                <a:srgbClr val="AEABAB"/>
              </a:solidFill>
            </c:spPr>
            <c:extLst>
              <c:ext xmlns:c16="http://schemas.microsoft.com/office/drawing/2014/chart" uri="{C3380CC4-5D6E-409C-BE32-E72D297353CC}">
                <c16:uniqueId val="{00000A33-C110-4B3C-98C7-D19B20EBE8CB}"/>
              </c:ext>
            </c:extLst>
          </c:dPt>
          <c:dPt>
            <c:idx val="1305"/>
            <c:invertIfNegative val="1"/>
            <c:bubble3D val="0"/>
            <c:spPr>
              <a:solidFill>
                <a:srgbClr val="AEABAB"/>
              </a:solidFill>
            </c:spPr>
            <c:extLst>
              <c:ext xmlns:c16="http://schemas.microsoft.com/office/drawing/2014/chart" uri="{C3380CC4-5D6E-409C-BE32-E72D297353CC}">
                <c16:uniqueId val="{00000A35-C110-4B3C-98C7-D19B20EBE8CB}"/>
              </c:ext>
            </c:extLst>
          </c:dPt>
          <c:dPt>
            <c:idx val="1306"/>
            <c:invertIfNegative val="1"/>
            <c:bubble3D val="0"/>
            <c:spPr>
              <a:solidFill>
                <a:srgbClr val="AEABAB"/>
              </a:solidFill>
            </c:spPr>
            <c:extLst>
              <c:ext xmlns:c16="http://schemas.microsoft.com/office/drawing/2014/chart" uri="{C3380CC4-5D6E-409C-BE32-E72D297353CC}">
                <c16:uniqueId val="{00000A37-C110-4B3C-98C7-D19B20EBE8CB}"/>
              </c:ext>
            </c:extLst>
          </c:dPt>
          <c:dPt>
            <c:idx val="1307"/>
            <c:invertIfNegative val="1"/>
            <c:bubble3D val="0"/>
            <c:spPr>
              <a:solidFill>
                <a:srgbClr val="AEABAB"/>
              </a:solidFill>
            </c:spPr>
            <c:extLst>
              <c:ext xmlns:c16="http://schemas.microsoft.com/office/drawing/2014/chart" uri="{C3380CC4-5D6E-409C-BE32-E72D297353CC}">
                <c16:uniqueId val="{00000A39-C110-4B3C-98C7-D19B20EBE8CB}"/>
              </c:ext>
            </c:extLst>
          </c:dPt>
          <c:dPt>
            <c:idx val="1308"/>
            <c:invertIfNegative val="1"/>
            <c:bubble3D val="0"/>
            <c:spPr>
              <a:solidFill>
                <a:srgbClr val="AEABAB"/>
              </a:solidFill>
            </c:spPr>
            <c:extLst>
              <c:ext xmlns:c16="http://schemas.microsoft.com/office/drawing/2014/chart" uri="{C3380CC4-5D6E-409C-BE32-E72D297353CC}">
                <c16:uniqueId val="{00000A3B-C110-4B3C-98C7-D19B20EBE8CB}"/>
              </c:ext>
            </c:extLst>
          </c:dPt>
          <c:dPt>
            <c:idx val="1309"/>
            <c:invertIfNegative val="1"/>
            <c:bubble3D val="0"/>
            <c:spPr>
              <a:solidFill>
                <a:srgbClr val="AEABAB"/>
              </a:solidFill>
            </c:spPr>
            <c:extLst>
              <c:ext xmlns:c16="http://schemas.microsoft.com/office/drawing/2014/chart" uri="{C3380CC4-5D6E-409C-BE32-E72D297353CC}">
                <c16:uniqueId val="{00000A3D-C110-4B3C-98C7-D19B20EBE8CB}"/>
              </c:ext>
            </c:extLst>
          </c:dPt>
          <c:dPt>
            <c:idx val="1310"/>
            <c:invertIfNegative val="1"/>
            <c:bubble3D val="0"/>
            <c:spPr>
              <a:solidFill>
                <a:srgbClr val="AEABAB"/>
              </a:solidFill>
            </c:spPr>
            <c:extLst>
              <c:ext xmlns:c16="http://schemas.microsoft.com/office/drawing/2014/chart" uri="{C3380CC4-5D6E-409C-BE32-E72D297353CC}">
                <c16:uniqueId val="{00000A3F-C110-4B3C-98C7-D19B20EBE8CB}"/>
              </c:ext>
            </c:extLst>
          </c:dPt>
          <c:dPt>
            <c:idx val="1311"/>
            <c:invertIfNegative val="1"/>
            <c:bubble3D val="0"/>
            <c:spPr>
              <a:solidFill>
                <a:srgbClr val="AEABAB"/>
              </a:solidFill>
            </c:spPr>
            <c:extLst>
              <c:ext xmlns:c16="http://schemas.microsoft.com/office/drawing/2014/chart" uri="{C3380CC4-5D6E-409C-BE32-E72D297353CC}">
                <c16:uniqueId val="{00000A41-C110-4B3C-98C7-D19B20EBE8CB}"/>
              </c:ext>
            </c:extLst>
          </c:dPt>
          <c:dPt>
            <c:idx val="1312"/>
            <c:invertIfNegative val="1"/>
            <c:bubble3D val="0"/>
            <c:spPr>
              <a:solidFill>
                <a:srgbClr val="AEABAB"/>
              </a:solidFill>
            </c:spPr>
            <c:extLst>
              <c:ext xmlns:c16="http://schemas.microsoft.com/office/drawing/2014/chart" uri="{C3380CC4-5D6E-409C-BE32-E72D297353CC}">
                <c16:uniqueId val="{00000A43-C110-4B3C-98C7-D19B20EBE8CB}"/>
              </c:ext>
            </c:extLst>
          </c:dPt>
          <c:dPt>
            <c:idx val="1313"/>
            <c:invertIfNegative val="1"/>
            <c:bubble3D val="0"/>
            <c:spPr>
              <a:solidFill>
                <a:srgbClr val="AEABAB"/>
              </a:solidFill>
            </c:spPr>
            <c:extLst>
              <c:ext xmlns:c16="http://schemas.microsoft.com/office/drawing/2014/chart" uri="{C3380CC4-5D6E-409C-BE32-E72D297353CC}">
                <c16:uniqueId val="{00000A45-C110-4B3C-98C7-D19B20EBE8CB}"/>
              </c:ext>
            </c:extLst>
          </c:dPt>
          <c:dPt>
            <c:idx val="1314"/>
            <c:invertIfNegative val="1"/>
            <c:bubble3D val="0"/>
            <c:spPr>
              <a:solidFill>
                <a:srgbClr val="AEABAB"/>
              </a:solidFill>
            </c:spPr>
            <c:extLst>
              <c:ext xmlns:c16="http://schemas.microsoft.com/office/drawing/2014/chart" uri="{C3380CC4-5D6E-409C-BE32-E72D297353CC}">
                <c16:uniqueId val="{00000A47-C110-4B3C-98C7-D19B20EBE8CB}"/>
              </c:ext>
            </c:extLst>
          </c:dPt>
          <c:dPt>
            <c:idx val="1315"/>
            <c:invertIfNegative val="1"/>
            <c:bubble3D val="0"/>
            <c:spPr>
              <a:solidFill>
                <a:srgbClr val="AEABAB"/>
              </a:solidFill>
            </c:spPr>
            <c:extLst>
              <c:ext xmlns:c16="http://schemas.microsoft.com/office/drawing/2014/chart" uri="{C3380CC4-5D6E-409C-BE32-E72D297353CC}">
                <c16:uniqueId val="{00000A49-C110-4B3C-98C7-D19B20EBE8CB}"/>
              </c:ext>
            </c:extLst>
          </c:dPt>
          <c:dPt>
            <c:idx val="1316"/>
            <c:invertIfNegative val="1"/>
            <c:bubble3D val="0"/>
            <c:spPr>
              <a:solidFill>
                <a:srgbClr val="AEABAB"/>
              </a:solidFill>
            </c:spPr>
            <c:extLst>
              <c:ext xmlns:c16="http://schemas.microsoft.com/office/drawing/2014/chart" uri="{C3380CC4-5D6E-409C-BE32-E72D297353CC}">
                <c16:uniqueId val="{00000A4B-C110-4B3C-98C7-D19B20EBE8CB}"/>
              </c:ext>
            </c:extLst>
          </c:dPt>
          <c:dPt>
            <c:idx val="1317"/>
            <c:invertIfNegative val="1"/>
            <c:bubble3D val="0"/>
            <c:spPr>
              <a:solidFill>
                <a:srgbClr val="AEABAB"/>
              </a:solidFill>
            </c:spPr>
            <c:extLst>
              <c:ext xmlns:c16="http://schemas.microsoft.com/office/drawing/2014/chart" uri="{C3380CC4-5D6E-409C-BE32-E72D297353CC}">
                <c16:uniqueId val="{00000A4D-C110-4B3C-98C7-D19B20EBE8CB}"/>
              </c:ext>
            </c:extLst>
          </c:dPt>
          <c:dPt>
            <c:idx val="1318"/>
            <c:invertIfNegative val="1"/>
            <c:bubble3D val="0"/>
            <c:spPr>
              <a:solidFill>
                <a:srgbClr val="AEABAB"/>
              </a:solidFill>
            </c:spPr>
            <c:extLst>
              <c:ext xmlns:c16="http://schemas.microsoft.com/office/drawing/2014/chart" uri="{C3380CC4-5D6E-409C-BE32-E72D297353CC}">
                <c16:uniqueId val="{00000A4F-C110-4B3C-98C7-D19B20EBE8CB}"/>
              </c:ext>
            </c:extLst>
          </c:dPt>
          <c:dPt>
            <c:idx val="1319"/>
            <c:invertIfNegative val="1"/>
            <c:bubble3D val="0"/>
            <c:spPr>
              <a:solidFill>
                <a:srgbClr val="AEABAB"/>
              </a:solidFill>
            </c:spPr>
            <c:extLst>
              <c:ext xmlns:c16="http://schemas.microsoft.com/office/drawing/2014/chart" uri="{C3380CC4-5D6E-409C-BE32-E72D297353CC}">
                <c16:uniqueId val="{00000A51-C110-4B3C-98C7-D19B20EBE8CB}"/>
              </c:ext>
            </c:extLst>
          </c:dPt>
          <c:dPt>
            <c:idx val="1320"/>
            <c:invertIfNegative val="1"/>
            <c:bubble3D val="0"/>
            <c:spPr>
              <a:solidFill>
                <a:srgbClr val="AEABAB"/>
              </a:solidFill>
            </c:spPr>
            <c:extLst>
              <c:ext xmlns:c16="http://schemas.microsoft.com/office/drawing/2014/chart" uri="{C3380CC4-5D6E-409C-BE32-E72D297353CC}">
                <c16:uniqueId val="{00000A53-C110-4B3C-98C7-D19B20EBE8CB}"/>
              </c:ext>
            </c:extLst>
          </c:dPt>
          <c:dPt>
            <c:idx val="1321"/>
            <c:invertIfNegative val="1"/>
            <c:bubble3D val="0"/>
            <c:spPr>
              <a:solidFill>
                <a:srgbClr val="AEABAB"/>
              </a:solidFill>
            </c:spPr>
            <c:extLst>
              <c:ext xmlns:c16="http://schemas.microsoft.com/office/drawing/2014/chart" uri="{C3380CC4-5D6E-409C-BE32-E72D297353CC}">
                <c16:uniqueId val="{00000A55-C110-4B3C-98C7-D19B20EBE8CB}"/>
              </c:ext>
            </c:extLst>
          </c:dPt>
          <c:dPt>
            <c:idx val="1322"/>
            <c:invertIfNegative val="1"/>
            <c:bubble3D val="0"/>
            <c:spPr>
              <a:solidFill>
                <a:srgbClr val="AEABAB"/>
              </a:solidFill>
            </c:spPr>
            <c:extLst>
              <c:ext xmlns:c16="http://schemas.microsoft.com/office/drawing/2014/chart" uri="{C3380CC4-5D6E-409C-BE32-E72D297353CC}">
                <c16:uniqueId val="{00000A57-C110-4B3C-98C7-D19B20EBE8CB}"/>
              </c:ext>
            </c:extLst>
          </c:dPt>
          <c:dPt>
            <c:idx val="1323"/>
            <c:invertIfNegative val="1"/>
            <c:bubble3D val="0"/>
            <c:spPr>
              <a:solidFill>
                <a:srgbClr val="AEABAB"/>
              </a:solidFill>
            </c:spPr>
            <c:extLst>
              <c:ext xmlns:c16="http://schemas.microsoft.com/office/drawing/2014/chart" uri="{C3380CC4-5D6E-409C-BE32-E72D297353CC}">
                <c16:uniqueId val="{00000A59-C110-4B3C-98C7-D19B20EBE8CB}"/>
              </c:ext>
            </c:extLst>
          </c:dPt>
          <c:dPt>
            <c:idx val="1324"/>
            <c:invertIfNegative val="1"/>
            <c:bubble3D val="0"/>
            <c:spPr>
              <a:solidFill>
                <a:srgbClr val="AEABAB"/>
              </a:solidFill>
            </c:spPr>
            <c:extLst>
              <c:ext xmlns:c16="http://schemas.microsoft.com/office/drawing/2014/chart" uri="{C3380CC4-5D6E-409C-BE32-E72D297353CC}">
                <c16:uniqueId val="{00000A5B-C110-4B3C-98C7-D19B20EBE8CB}"/>
              </c:ext>
            </c:extLst>
          </c:dPt>
          <c:dPt>
            <c:idx val="1325"/>
            <c:invertIfNegative val="1"/>
            <c:bubble3D val="0"/>
            <c:spPr>
              <a:solidFill>
                <a:srgbClr val="AEABAB"/>
              </a:solidFill>
            </c:spPr>
            <c:extLst>
              <c:ext xmlns:c16="http://schemas.microsoft.com/office/drawing/2014/chart" uri="{C3380CC4-5D6E-409C-BE32-E72D297353CC}">
                <c16:uniqueId val="{00000A5D-C110-4B3C-98C7-D19B20EBE8CB}"/>
              </c:ext>
            </c:extLst>
          </c:dPt>
          <c:dPt>
            <c:idx val="1326"/>
            <c:invertIfNegative val="1"/>
            <c:bubble3D val="0"/>
            <c:spPr>
              <a:solidFill>
                <a:srgbClr val="AEABAB"/>
              </a:solidFill>
            </c:spPr>
            <c:extLst>
              <c:ext xmlns:c16="http://schemas.microsoft.com/office/drawing/2014/chart" uri="{C3380CC4-5D6E-409C-BE32-E72D297353CC}">
                <c16:uniqueId val="{00000A5F-C110-4B3C-98C7-D19B20EBE8CB}"/>
              </c:ext>
            </c:extLst>
          </c:dPt>
          <c:dPt>
            <c:idx val="1327"/>
            <c:invertIfNegative val="1"/>
            <c:bubble3D val="0"/>
            <c:spPr>
              <a:solidFill>
                <a:srgbClr val="AEABAB"/>
              </a:solidFill>
            </c:spPr>
            <c:extLst>
              <c:ext xmlns:c16="http://schemas.microsoft.com/office/drawing/2014/chart" uri="{C3380CC4-5D6E-409C-BE32-E72D297353CC}">
                <c16:uniqueId val="{00000A61-C110-4B3C-98C7-D19B20EBE8CB}"/>
              </c:ext>
            </c:extLst>
          </c:dPt>
          <c:dPt>
            <c:idx val="1328"/>
            <c:invertIfNegative val="1"/>
            <c:bubble3D val="0"/>
            <c:spPr>
              <a:solidFill>
                <a:srgbClr val="AEABAB"/>
              </a:solidFill>
            </c:spPr>
            <c:extLst>
              <c:ext xmlns:c16="http://schemas.microsoft.com/office/drawing/2014/chart" uri="{C3380CC4-5D6E-409C-BE32-E72D297353CC}">
                <c16:uniqueId val="{00000A63-C110-4B3C-98C7-D19B20EBE8CB}"/>
              </c:ext>
            </c:extLst>
          </c:dPt>
          <c:dPt>
            <c:idx val="1329"/>
            <c:invertIfNegative val="1"/>
            <c:bubble3D val="0"/>
            <c:spPr>
              <a:solidFill>
                <a:srgbClr val="AEABAB"/>
              </a:solidFill>
            </c:spPr>
            <c:extLst>
              <c:ext xmlns:c16="http://schemas.microsoft.com/office/drawing/2014/chart" uri="{C3380CC4-5D6E-409C-BE32-E72D297353CC}">
                <c16:uniqueId val="{00000A65-C110-4B3C-98C7-D19B20EBE8CB}"/>
              </c:ext>
            </c:extLst>
          </c:dPt>
          <c:dPt>
            <c:idx val="1330"/>
            <c:invertIfNegative val="1"/>
            <c:bubble3D val="0"/>
            <c:spPr>
              <a:solidFill>
                <a:srgbClr val="AEABAB"/>
              </a:solidFill>
            </c:spPr>
            <c:extLst>
              <c:ext xmlns:c16="http://schemas.microsoft.com/office/drawing/2014/chart" uri="{C3380CC4-5D6E-409C-BE32-E72D297353CC}">
                <c16:uniqueId val="{00000A67-C110-4B3C-98C7-D19B20EBE8CB}"/>
              </c:ext>
            </c:extLst>
          </c:dPt>
          <c:dPt>
            <c:idx val="1331"/>
            <c:invertIfNegative val="1"/>
            <c:bubble3D val="0"/>
            <c:spPr>
              <a:solidFill>
                <a:srgbClr val="AEABAB"/>
              </a:solidFill>
            </c:spPr>
            <c:extLst>
              <c:ext xmlns:c16="http://schemas.microsoft.com/office/drawing/2014/chart" uri="{C3380CC4-5D6E-409C-BE32-E72D297353CC}">
                <c16:uniqueId val="{00000A69-C110-4B3C-98C7-D19B20EBE8CB}"/>
              </c:ext>
            </c:extLst>
          </c:dPt>
          <c:dPt>
            <c:idx val="1332"/>
            <c:invertIfNegative val="1"/>
            <c:bubble3D val="0"/>
            <c:spPr>
              <a:solidFill>
                <a:srgbClr val="AEABAB"/>
              </a:solidFill>
            </c:spPr>
            <c:extLst>
              <c:ext xmlns:c16="http://schemas.microsoft.com/office/drawing/2014/chart" uri="{C3380CC4-5D6E-409C-BE32-E72D297353CC}">
                <c16:uniqueId val="{00000A6B-C110-4B3C-98C7-D19B20EBE8CB}"/>
              </c:ext>
            </c:extLst>
          </c:dPt>
          <c:dPt>
            <c:idx val="1333"/>
            <c:invertIfNegative val="1"/>
            <c:bubble3D val="0"/>
            <c:spPr>
              <a:solidFill>
                <a:srgbClr val="AEABAB"/>
              </a:solidFill>
            </c:spPr>
            <c:extLst>
              <c:ext xmlns:c16="http://schemas.microsoft.com/office/drawing/2014/chart" uri="{C3380CC4-5D6E-409C-BE32-E72D297353CC}">
                <c16:uniqueId val="{00000A6D-C110-4B3C-98C7-D19B20EBE8CB}"/>
              </c:ext>
            </c:extLst>
          </c:dPt>
          <c:dPt>
            <c:idx val="1334"/>
            <c:invertIfNegative val="1"/>
            <c:bubble3D val="0"/>
            <c:spPr>
              <a:solidFill>
                <a:srgbClr val="AEABAB"/>
              </a:solidFill>
            </c:spPr>
            <c:extLst>
              <c:ext xmlns:c16="http://schemas.microsoft.com/office/drawing/2014/chart" uri="{C3380CC4-5D6E-409C-BE32-E72D297353CC}">
                <c16:uniqueId val="{00000A6F-C110-4B3C-98C7-D19B20EBE8CB}"/>
              </c:ext>
            </c:extLst>
          </c:dPt>
          <c:dPt>
            <c:idx val="1335"/>
            <c:invertIfNegative val="1"/>
            <c:bubble3D val="0"/>
            <c:spPr>
              <a:solidFill>
                <a:srgbClr val="AEABAB"/>
              </a:solidFill>
            </c:spPr>
            <c:extLst>
              <c:ext xmlns:c16="http://schemas.microsoft.com/office/drawing/2014/chart" uri="{C3380CC4-5D6E-409C-BE32-E72D297353CC}">
                <c16:uniqueId val="{00000A71-C110-4B3C-98C7-D19B20EBE8CB}"/>
              </c:ext>
            </c:extLst>
          </c:dPt>
          <c:dPt>
            <c:idx val="1336"/>
            <c:invertIfNegative val="1"/>
            <c:bubble3D val="0"/>
            <c:spPr>
              <a:solidFill>
                <a:srgbClr val="AEABAB"/>
              </a:solidFill>
            </c:spPr>
            <c:extLst>
              <c:ext xmlns:c16="http://schemas.microsoft.com/office/drawing/2014/chart" uri="{C3380CC4-5D6E-409C-BE32-E72D297353CC}">
                <c16:uniqueId val="{00000A73-C110-4B3C-98C7-D19B20EBE8CB}"/>
              </c:ext>
            </c:extLst>
          </c:dPt>
          <c:dPt>
            <c:idx val="1337"/>
            <c:invertIfNegative val="1"/>
            <c:bubble3D val="0"/>
            <c:spPr>
              <a:solidFill>
                <a:srgbClr val="AEABAB"/>
              </a:solidFill>
            </c:spPr>
            <c:extLst>
              <c:ext xmlns:c16="http://schemas.microsoft.com/office/drawing/2014/chart" uri="{C3380CC4-5D6E-409C-BE32-E72D297353CC}">
                <c16:uniqueId val="{00000A75-C110-4B3C-98C7-D19B20EBE8CB}"/>
              </c:ext>
            </c:extLst>
          </c:dPt>
          <c:dPt>
            <c:idx val="1338"/>
            <c:invertIfNegative val="1"/>
            <c:bubble3D val="0"/>
            <c:spPr>
              <a:solidFill>
                <a:srgbClr val="AEABAB"/>
              </a:solidFill>
            </c:spPr>
            <c:extLst>
              <c:ext xmlns:c16="http://schemas.microsoft.com/office/drawing/2014/chart" uri="{C3380CC4-5D6E-409C-BE32-E72D297353CC}">
                <c16:uniqueId val="{00000A77-C110-4B3C-98C7-D19B20EBE8CB}"/>
              </c:ext>
            </c:extLst>
          </c:dPt>
          <c:dPt>
            <c:idx val="1339"/>
            <c:invertIfNegative val="1"/>
            <c:bubble3D val="0"/>
            <c:spPr>
              <a:solidFill>
                <a:srgbClr val="AEABAB"/>
              </a:solidFill>
            </c:spPr>
            <c:extLst>
              <c:ext xmlns:c16="http://schemas.microsoft.com/office/drawing/2014/chart" uri="{C3380CC4-5D6E-409C-BE32-E72D297353CC}">
                <c16:uniqueId val="{00000A79-C110-4B3C-98C7-D19B20EBE8CB}"/>
              </c:ext>
            </c:extLst>
          </c:dPt>
          <c:dPt>
            <c:idx val="1340"/>
            <c:invertIfNegative val="1"/>
            <c:bubble3D val="0"/>
            <c:spPr>
              <a:solidFill>
                <a:srgbClr val="AEABAB"/>
              </a:solidFill>
            </c:spPr>
            <c:extLst>
              <c:ext xmlns:c16="http://schemas.microsoft.com/office/drawing/2014/chart" uri="{C3380CC4-5D6E-409C-BE32-E72D297353CC}">
                <c16:uniqueId val="{00000A7B-C110-4B3C-98C7-D19B20EBE8CB}"/>
              </c:ext>
            </c:extLst>
          </c:dPt>
          <c:dPt>
            <c:idx val="1341"/>
            <c:invertIfNegative val="1"/>
            <c:bubble3D val="0"/>
            <c:spPr>
              <a:solidFill>
                <a:srgbClr val="AEABAB"/>
              </a:solidFill>
            </c:spPr>
            <c:extLst>
              <c:ext xmlns:c16="http://schemas.microsoft.com/office/drawing/2014/chart" uri="{C3380CC4-5D6E-409C-BE32-E72D297353CC}">
                <c16:uniqueId val="{00000A7D-C110-4B3C-98C7-D19B20EBE8CB}"/>
              </c:ext>
            </c:extLst>
          </c:dPt>
          <c:dPt>
            <c:idx val="1342"/>
            <c:invertIfNegative val="1"/>
            <c:bubble3D val="0"/>
            <c:spPr>
              <a:solidFill>
                <a:srgbClr val="AEABAB"/>
              </a:solidFill>
            </c:spPr>
            <c:extLst>
              <c:ext xmlns:c16="http://schemas.microsoft.com/office/drawing/2014/chart" uri="{C3380CC4-5D6E-409C-BE32-E72D297353CC}">
                <c16:uniqueId val="{00000A7F-C110-4B3C-98C7-D19B20EBE8CB}"/>
              </c:ext>
            </c:extLst>
          </c:dPt>
          <c:dPt>
            <c:idx val="1343"/>
            <c:invertIfNegative val="1"/>
            <c:bubble3D val="0"/>
            <c:spPr>
              <a:solidFill>
                <a:srgbClr val="AEABAB"/>
              </a:solidFill>
            </c:spPr>
            <c:extLst>
              <c:ext xmlns:c16="http://schemas.microsoft.com/office/drawing/2014/chart" uri="{C3380CC4-5D6E-409C-BE32-E72D297353CC}">
                <c16:uniqueId val="{00000A81-C110-4B3C-98C7-D19B20EBE8CB}"/>
              </c:ext>
            </c:extLst>
          </c:dPt>
          <c:dPt>
            <c:idx val="1344"/>
            <c:invertIfNegative val="1"/>
            <c:bubble3D val="0"/>
            <c:spPr>
              <a:solidFill>
                <a:srgbClr val="AEABAB"/>
              </a:solidFill>
            </c:spPr>
            <c:extLst>
              <c:ext xmlns:c16="http://schemas.microsoft.com/office/drawing/2014/chart" uri="{C3380CC4-5D6E-409C-BE32-E72D297353CC}">
                <c16:uniqueId val="{00000A83-C110-4B3C-98C7-D19B20EBE8CB}"/>
              </c:ext>
            </c:extLst>
          </c:dPt>
          <c:dPt>
            <c:idx val="1345"/>
            <c:invertIfNegative val="1"/>
            <c:bubble3D val="0"/>
            <c:spPr>
              <a:solidFill>
                <a:srgbClr val="AEABAB"/>
              </a:solidFill>
            </c:spPr>
            <c:extLst>
              <c:ext xmlns:c16="http://schemas.microsoft.com/office/drawing/2014/chart" uri="{C3380CC4-5D6E-409C-BE32-E72D297353CC}">
                <c16:uniqueId val="{00000A85-C110-4B3C-98C7-D19B20EBE8CB}"/>
              </c:ext>
            </c:extLst>
          </c:dPt>
          <c:dPt>
            <c:idx val="1346"/>
            <c:invertIfNegative val="1"/>
            <c:bubble3D val="0"/>
            <c:spPr>
              <a:solidFill>
                <a:srgbClr val="AEABAB"/>
              </a:solidFill>
            </c:spPr>
            <c:extLst>
              <c:ext xmlns:c16="http://schemas.microsoft.com/office/drawing/2014/chart" uri="{C3380CC4-5D6E-409C-BE32-E72D297353CC}">
                <c16:uniqueId val="{00000A87-C110-4B3C-98C7-D19B20EBE8CB}"/>
              </c:ext>
            </c:extLst>
          </c:dPt>
          <c:dPt>
            <c:idx val="1347"/>
            <c:invertIfNegative val="1"/>
            <c:bubble3D val="0"/>
            <c:spPr>
              <a:solidFill>
                <a:srgbClr val="AEABAB"/>
              </a:solidFill>
            </c:spPr>
            <c:extLst>
              <c:ext xmlns:c16="http://schemas.microsoft.com/office/drawing/2014/chart" uri="{C3380CC4-5D6E-409C-BE32-E72D297353CC}">
                <c16:uniqueId val="{00000A89-C110-4B3C-98C7-D19B20EBE8CB}"/>
              </c:ext>
            </c:extLst>
          </c:dPt>
          <c:dPt>
            <c:idx val="1348"/>
            <c:invertIfNegative val="1"/>
            <c:bubble3D val="0"/>
            <c:spPr>
              <a:solidFill>
                <a:srgbClr val="AEABAB"/>
              </a:solidFill>
            </c:spPr>
            <c:extLst>
              <c:ext xmlns:c16="http://schemas.microsoft.com/office/drawing/2014/chart" uri="{C3380CC4-5D6E-409C-BE32-E72D297353CC}">
                <c16:uniqueId val="{00000A8B-C110-4B3C-98C7-D19B20EBE8CB}"/>
              </c:ext>
            </c:extLst>
          </c:dPt>
          <c:dPt>
            <c:idx val="1349"/>
            <c:invertIfNegative val="1"/>
            <c:bubble3D val="0"/>
            <c:spPr>
              <a:solidFill>
                <a:srgbClr val="AEABAB"/>
              </a:solidFill>
            </c:spPr>
            <c:extLst>
              <c:ext xmlns:c16="http://schemas.microsoft.com/office/drawing/2014/chart" uri="{C3380CC4-5D6E-409C-BE32-E72D297353CC}">
                <c16:uniqueId val="{00000A8D-C110-4B3C-98C7-D19B20EBE8CB}"/>
              </c:ext>
            </c:extLst>
          </c:dPt>
          <c:dPt>
            <c:idx val="1350"/>
            <c:invertIfNegative val="1"/>
            <c:bubble3D val="0"/>
            <c:spPr>
              <a:solidFill>
                <a:srgbClr val="AEABAB"/>
              </a:solidFill>
            </c:spPr>
            <c:extLst>
              <c:ext xmlns:c16="http://schemas.microsoft.com/office/drawing/2014/chart" uri="{C3380CC4-5D6E-409C-BE32-E72D297353CC}">
                <c16:uniqueId val="{00000A8F-C110-4B3C-98C7-D19B20EBE8CB}"/>
              </c:ext>
            </c:extLst>
          </c:dPt>
          <c:dPt>
            <c:idx val="1351"/>
            <c:invertIfNegative val="1"/>
            <c:bubble3D val="0"/>
            <c:spPr>
              <a:solidFill>
                <a:srgbClr val="AEABAB"/>
              </a:solidFill>
            </c:spPr>
            <c:extLst>
              <c:ext xmlns:c16="http://schemas.microsoft.com/office/drawing/2014/chart" uri="{C3380CC4-5D6E-409C-BE32-E72D297353CC}">
                <c16:uniqueId val="{00000A91-C110-4B3C-98C7-D19B20EBE8CB}"/>
              </c:ext>
            </c:extLst>
          </c:dPt>
          <c:dPt>
            <c:idx val="1352"/>
            <c:invertIfNegative val="1"/>
            <c:bubble3D val="0"/>
            <c:spPr>
              <a:solidFill>
                <a:srgbClr val="AEABAB"/>
              </a:solidFill>
            </c:spPr>
            <c:extLst>
              <c:ext xmlns:c16="http://schemas.microsoft.com/office/drawing/2014/chart" uri="{C3380CC4-5D6E-409C-BE32-E72D297353CC}">
                <c16:uniqueId val="{00000A93-C110-4B3C-98C7-D19B20EBE8CB}"/>
              </c:ext>
            </c:extLst>
          </c:dPt>
          <c:dPt>
            <c:idx val="1353"/>
            <c:invertIfNegative val="1"/>
            <c:bubble3D val="0"/>
            <c:spPr>
              <a:solidFill>
                <a:srgbClr val="AEABAB"/>
              </a:solidFill>
            </c:spPr>
            <c:extLst>
              <c:ext xmlns:c16="http://schemas.microsoft.com/office/drawing/2014/chart" uri="{C3380CC4-5D6E-409C-BE32-E72D297353CC}">
                <c16:uniqueId val="{00000A95-C110-4B3C-98C7-D19B20EBE8CB}"/>
              </c:ext>
            </c:extLst>
          </c:dPt>
          <c:dPt>
            <c:idx val="1354"/>
            <c:invertIfNegative val="1"/>
            <c:bubble3D val="0"/>
            <c:spPr>
              <a:solidFill>
                <a:srgbClr val="AEABAB"/>
              </a:solidFill>
            </c:spPr>
            <c:extLst>
              <c:ext xmlns:c16="http://schemas.microsoft.com/office/drawing/2014/chart" uri="{C3380CC4-5D6E-409C-BE32-E72D297353CC}">
                <c16:uniqueId val="{00000A97-C110-4B3C-98C7-D19B20EBE8CB}"/>
              </c:ext>
            </c:extLst>
          </c:dPt>
          <c:dPt>
            <c:idx val="1355"/>
            <c:invertIfNegative val="1"/>
            <c:bubble3D val="0"/>
            <c:spPr>
              <a:solidFill>
                <a:srgbClr val="AEABAB"/>
              </a:solidFill>
            </c:spPr>
            <c:extLst>
              <c:ext xmlns:c16="http://schemas.microsoft.com/office/drawing/2014/chart" uri="{C3380CC4-5D6E-409C-BE32-E72D297353CC}">
                <c16:uniqueId val="{00000A99-C110-4B3C-98C7-D19B20EBE8CB}"/>
              </c:ext>
            </c:extLst>
          </c:dPt>
          <c:dPt>
            <c:idx val="1356"/>
            <c:invertIfNegative val="1"/>
            <c:bubble3D val="0"/>
            <c:spPr>
              <a:solidFill>
                <a:srgbClr val="AEABAB"/>
              </a:solidFill>
            </c:spPr>
            <c:extLst>
              <c:ext xmlns:c16="http://schemas.microsoft.com/office/drawing/2014/chart" uri="{C3380CC4-5D6E-409C-BE32-E72D297353CC}">
                <c16:uniqueId val="{00000A9B-C110-4B3C-98C7-D19B20EBE8CB}"/>
              </c:ext>
            </c:extLst>
          </c:dPt>
          <c:dPt>
            <c:idx val="1357"/>
            <c:invertIfNegative val="1"/>
            <c:bubble3D val="0"/>
            <c:spPr>
              <a:solidFill>
                <a:srgbClr val="AEABAB"/>
              </a:solidFill>
            </c:spPr>
            <c:extLst>
              <c:ext xmlns:c16="http://schemas.microsoft.com/office/drawing/2014/chart" uri="{C3380CC4-5D6E-409C-BE32-E72D297353CC}">
                <c16:uniqueId val="{00000A9D-C110-4B3C-98C7-D19B20EBE8CB}"/>
              </c:ext>
            </c:extLst>
          </c:dPt>
          <c:dPt>
            <c:idx val="1358"/>
            <c:invertIfNegative val="1"/>
            <c:bubble3D val="0"/>
            <c:spPr>
              <a:solidFill>
                <a:srgbClr val="AEABAB"/>
              </a:solidFill>
            </c:spPr>
            <c:extLst>
              <c:ext xmlns:c16="http://schemas.microsoft.com/office/drawing/2014/chart" uri="{C3380CC4-5D6E-409C-BE32-E72D297353CC}">
                <c16:uniqueId val="{00000A9F-C110-4B3C-98C7-D19B20EBE8CB}"/>
              </c:ext>
            </c:extLst>
          </c:dPt>
          <c:dPt>
            <c:idx val="1359"/>
            <c:invertIfNegative val="1"/>
            <c:bubble3D val="0"/>
            <c:spPr>
              <a:solidFill>
                <a:srgbClr val="AEABAB"/>
              </a:solidFill>
            </c:spPr>
            <c:extLst>
              <c:ext xmlns:c16="http://schemas.microsoft.com/office/drawing/2014/chart" uri="{C3380CC4-5D6E-409C-BE32-E72D297353CC}">
                <c16:uniqueId val="{00000AA1-C110-4B3C-98C7-D19B20EBE8CB}"/>
              </c:ext>
            </c:extLst>
          </c:dPt>
          <c:dPt>
            <c:idx val="1360"/>
            <c:invertIfNegative val="1"/>
            <c:bubble3D val="0"/>
            <c:spPr>
              <a:solidFill>
                <a:srgbClr val="AEABAB"/>
              </a:solidFill>
            </c:spPr>
            <c:extLst>
              <c:ext xmlns:c16="http://schemas.microsoft.com/office/drawing/2014/chart" uri="{C3380CC4-5D6E-409C-BE32-E72D297353CC}">
                <c16:uniqueId val="{00000AA3-C110-4B3C-98C7-D19B20EBE8CB}"/>
              </c:ext>
            </c:extLst>
          </c:dPt>
          <c:dPt>
            <c:idx val="1361"/>
            <c:invertIfNegative val="1"/>
            <c:bubble3D val="0"/>
            <c:spPr>
              <a:solidFill>
                <a:srgbClr val="AEABAB"/>
              </a:solidFill>
            </c:spPr>
            <c:extLst>
              <c:ext xmlns:c16="http://schemas.microsoft.com/office/drawing/2014/chart" uri="{C3380CC4-5D6E-409C-BE32-E72D297353CC}">
                <c16:uniqueId val="{00000AA5-C110-4B3C-98C7-D19B20EBE8CB}"/>
              </c:ext>
            </c:extLst>
          </c:dPt>
          <c:dPt>
            <c:idx val="1362"/>
            <c:invertIfNegative val="1"/>
            <c:bubble3D val="0"/>
            <c:spPr>
              <a:solidFill>
                <a:srgbClr val="AEABAB"/>
              </a:solidFill>
            </c:spPr>
            <c:extLst>
              <c:ext xmlns:c16="http://schemas.microsoft.com/office/drawing/2014/chart" uri="{C3380CC4-5D6E-409C-BE32-E72D297353CC}">
                <c16:uniqueId val="{00000AA7-C110-4B3C-98C7-D19B20EBE8CB}"/>
              </c:ext>
            </c:extLst>
          </c:dPt>
          <c:dPt>
            <c:idx val="1363"/>
            <c:invertIfNegative val="1"/>
            <c:bubble3D val="0"/>
            <c:spPr>
              <a:solidFill>
                <a:srgbClr val="AEABAB"/>
              </a:solidFill>
            </c:spPr>
            <c:extLst>
              <c:ext xmlns:c16="http://schemas.microsoft.com/office/drawing/2014/chart" uri="{C3380CC4-5D6E-409C-BE32-E72D297353CC}">
                <c16:uniqueId val="{00000AA9-C110-4B3C-98C7-D19B20EBE8CB}"/>
              </c:ext>
            </c:extLst>
          </c:dPt>
          <c:dPt>
            <c:idx val="1364"/>
            <c:invertIfNegative val="1"/>
            <c:bubble3D val="0"/>
            <c:spPr>
              <a:solidFill>
                <a:srgbClr val="AEABAB"/>
              </a:solidFill>
            </c:spPr>
            <c:extLst>
              <c:ext xmlns:c16="http://schemas.microsoft.com/office/drawing/2014/chart" uri="{C3380CC4-5D6E-409C-BE32-E72D297353CC}">
                <c16:uniqueId val="{00000AAB-C110-4B3C-98C7-D19B20EBE8CB}"/>
              </c:ext>
            </c:extLst>
          </c:dPt>
          <c:dPt>
            <c:idx val="1365"/>
            <c:invertIfNegative val="1"/>
            <c:bubble3D val="0"/>
            <c:spPr>
              <a:solidFill>
                <a:srgbClr val="AEABAB"/>
              </a:solidFill>
            </c:spPr>
            <c:extLst>
              <c:ext xmlns:c16="http://schemas.microsoft.com/office/drawing/2014/chart" uri="{C3380CC4-5D6E-409C-BE32-E72D297353CC}">
                <c16:uniqueId val="{00000AAD-C110-4B3C-98C7-D19B20EBE8CB}"/>
              </c:ext>
            </c:extLst>
          </c:dPt>
          <c:dPt>
            <c:idx val="1366"/>
            <c:invertIfNegative val="1"/>
            <c:bubble3D val="0"/>
            <c:spPr>
              <a:solidFill>
                <a:srgbClr val="AEABAB"/>
              </a:solidFill>
            </c:spPr>
            <c:extLst>
              <c:ext xmlns:c16="http://schemas.microsoft.com/office/drawing/2014/chart" uri="{C3380CC4-5D6E-409C-BE32-E72D297353CC}">
                <c16:uniqueId val="{00000AAF-C110-4B3C-98C7-D19B20EBE8CB}"/>
              </c:ext>
            </c:extLst>
          </c:dPt>
          <c:dPt>
            <c:idx val="1367"/>
            <c:invertIfNegative val="1"/>
            <c:bubble3D val="0"/>
            <c:spPr>
              <a:solidFill>
                <a:srgbClr val="AEABAB"/>
              </a:solidFill>
            </c:spPr>
            <c:extLst>
              <c:ext xmlns:c16="http://schemas.microsoft.com/office/drawing/2014/chart" uri="{C3380CC4-5D6E-409C-BE32-E72D297353CC}">
                <c16:uniqueId val="{00000AB1-C110-4B3C-98C7-D19B20EBE8CB}"/>
              </c:ext>
            </c:extLst>
          </c:dPt>
          <c:dPt>
            <c:idx val="1368"/>
            <c:invertIfNegative val="1"/>
            <c:bubble3D val="0"/>
            <c:spPr>
              <a:solidFill>
                <a:srgbClr val="AEABAB"/>
              </a:solidFill>
            </c:spPr>
            <c:extLst>
              <c:ext xmlns:c16="http://schemas.microsoft.com/office/drawing/2014/chart" uri="{C3380CC4-5D6E-409C-BE32-E72D297353CC}">
                <c16:uniqueId val="{00000AB3-C110-4B3C-98C7-D19B20EBE8CB}"/>
              </c:ext>
            </c:extLst>
          </c:dPt>
          <c:dPt>
            <c:idx val="1369"/>
            <c:invertIfNegative val="1"/>
            <c:bubble3D val="0"/>
            <c:spPr>
              <a:solidFill>
                <a:srgbClr val="AEABAB"/>
              </a:solidFill>
            </c:spPr>
            <c:extLst>
              <c:ext xmlns:c16="http://schemas.microsoft.com/office/drawing/2014/chart" uri="{C3380CC4-5D6E-409C-BE32-E72D297353CC}">
                <c16:uniqueId val="{00000AB5-C110-4B3C-98C7-D19B20EBE8CB}"/>
              </c:ext>
            </c:extLst>
          </c:dPt>
          <c:dPt>
            <c:idx val="1370"/>
            <c:invertIfNegative val="1"/>
            <c:bubble3D val="0"/>
            <c:spPr>
              <a:solidFill>
                <a:srgbClr val="AEABAB"/>
              </a:solidFill>
            </c:spPr>
            <c:extLst>
              <c:ext xmlns:c16="http://schemas.microsoft.com/office/drawing/2014/chart" uri="{C3380CC4-5D6E-409C-BE32-E72D297353CC}">
                <c16:uniqueId val="{00000AB7-C110-4B3C-98C7-D19B20EBE8CB}"/>
              </c:ext>
            </c:extLst>
          </c:dPt>
          <c:dPt>
            <c:idx val="1371"/>
            <c:invertIfNegative val="1"/>
            <c:bubble3D val="0"/>
            <c:spPr>
              <a:solidFill>
                <a:srgbClr val="AEABAB"/>
              </a:solidFill>
            </c:spPr>
            <c:extLst>
              <c:ext xmlns:c16="http://schemas.microsoft.com/office/drawing/2014/chart" uri="{C3380CC4-5D6E-409C-BE32-E72D297353CC}">
                <c16:uniqueId val="{00000AB9-C110-4B3C-98C7-D19B20EBE8CB}"/>
              </c:ext>
            </c:extLst>
          </c:dPt>
          <c:dPt>
            <c:idx val="1372"/>
            <c:invertIfNegative val="1"/>
            <c:bubble3D val="0"/>
            <c:spPr>
              <a:solidFill>
                <a:srgbClr val="AEABAB"/>
              </a:solidFill>
            </c:spPr>
            <c:extLst>
              <c:ext xmlns:c16="http://schemas.microsoft.com/office/drawing/2014/chart" uri="{C3380CC4-5D6E-409C-BE32-E72D297353CC}">
                <c16:uniqueId val="{00000ABB-C110-4B3C-98C7-D19B20EBE8CB}"/>
              </c:ext>
            </c:extLst>
          </c:dPt>
          <c:dPt>
            <c:idx val="1373"/>
            <c:invertIfNegative val="1"/>
            <c:bubble3D val="0"/>
            <c:spPr>
              <a:solidFill>
                <a:srgbClr val="AEABAB"/>
              </a:solidFill>
            </c:spPr>
            <c:extLst>
              <c:ext xmlns:c16="http://schemas.microsoft.com/office/drawing/2014/chart" uri="{C3380CC4-5D6E-409C-BE32-E72D297353CC}">
                <c16:uniqueId val="{00000ABD-C110-4B3C-98C7-D19B20EBE8CB}"/>
              </c:ext>
            </c:extLst>
          </c:dPt>
          <c:dPt>
            <c:idx val="1374"/>
            <c:invertIfNegative val="1"/>
            <c:bubble3D val="0"/>
            <c:spPr>
              <a:solidFill>
                <a:srgbClr val="AEABAB"/>
              </a:solidFill>
            </c:spPr>
            <c:extLst>
              <c:ext xmlns:c16="http://schemas.microsoft.com/office/drawing/2014/chart" uri="{C3380CC4-5D6E-409C-BE32-E72D297353CC}">
                <c16:uniqueId val="{00000ABF-C110-4B3C-98C7-D19B20EBE8CB}"/>
              </c:ext>
            </c:extLst>
          </c:dPt>
          <c:dPt>
            <c:idx val="1375"/>
            <c:invertIfNegative val="1"/>
            <c:bubble3D val="0"/>
            <c:spPr>
              <a:solidFill>
                <a:srgbClr val="AEABAB"/>
              </a:solidFill>
            </c:spPr>
            <c:extLst>
              <c:ext xmlns:c16="http://schemas.microsoft.com/office/drawing/2014/chart" uri="{C3380CC4-5D6E-409C-BE32-E72D297353CC}">
                <c16:uniqueId val="{00000AC1-C110-4B3C-98C7-D19B20EBE8CB}"/>
              </c:ext>
            </c:extLst>
          </c:dPt>
          <c:dPt>
            <c:idx val="1376"/>
            <c:invertIfNegative val="1"/>
            <c:bubble3D val="0"/>
            <c:spPr>
              <a:solidFill>
                <a:srgbClr val="AEABAB"/>
              </a:solidFill>
            </c:spPr>
            <c:extLst>
              <c:ext xmlns:c16="http://schemas.microsoft.com/office/drawing/2014/chart" uri="{C3380CC4-5D6E-409C-BE32-E72D297353CC}">
                <c16:uniqueId val="{00000AC3-C110-4B3C-98C7-D19B20EBE8CB}"/>
              </c:ext>
            </c:extLst>
          </c:dPt>
          <c:dPt>
            <c:idx val="1377"/>
            <c:invertIfNegative val="1"/>
            <c:bubble3D val="0"/>
            <c:spPr>
              <a:solidFill>
                <a:srgbClr val="AEABAB"/>
              </a:solidFill>
            </c:spPr>
            <c:extLst>
              <c:ext xmlns:c16="http://schemas.microsoft.com/office/drawing/2014/chart" uri="{C3380CC4-5D6E-409C-BE32-E72D297353CC}">
                <c16:uniqueId val="{00000AC5-C110-4B3C-98C7-D19B20EBE8CB}"/>
              </c:ext>
            </c:extLst>
          </c:dPt>
          <c:dPt>
            <c:idx val="1378"/>
            <c:invertIfNegative val="1"/>
            <c:bubble3D val="0"/>
            <c:spPr>
              <a:solidFill>
                <a:srgbClr val="AEABAB"/>
              </a:solidFill>
            </c:spPr>
            <c:extLst>
              <c:ext xmlns:c16="http://schemas.microsoft.com/office/drawing/2014/chart" uri="{C3380CC4-5D6E-409C-BE32-E72D297353CC}">
                <c16:uniqueId val="{00000AC7-C110-4B3C-98C7-D19B20EBE8CB}"/>
              </c:ext>
            </c:extLst>
          </c:dPt>
          <c:dPt>
            <c:idx val="1379"/>
            <c:invertIfNegative val="1"/>
            <c:bubble3D val="0"/>
            <c:spPr>
              <a:solidFill>
                <a:srgbClr val="AEABAB"/>
              </a:solidFill>
            </c:spPr>
            <c:extLst>
              <c:ext xmlns:c16="http://schemas.microsoft.com/office/drawing/2014/chart" uri="{C3380CC4-5D6E-409C-BE32-E72D297353CC}">
                <c16:uniqueId val="{00000AC9-C110-4B3C-98C7-D19B20EBE8CB}"/>
              </c:ext>
            </c:extLst>
          </c:dPt>
          <c:dPt>
            <c:idx val="1380"/>
            <c:invertIfNegative val="1"/>
            <c:bubble3D val="0"/>
            <c:spPr>
              <a:solidFill>
                <a:srgbClr val="AEABAB"/>
              </a:solidFill>
            </c:spPr>
            <c:extLst>
              <c:ext xmlns:c16="http://schemas.microsoft.com/office/drawing/2014/chart" uri="{C3380CC4-5D6E-409C-BE32-E72D297353CC}">
                <c16:uniqueId val="{00000ACB-C110-4B3C-98C7-D19B20EBE8CB}"/>
              </c:ext>
            </c:extLst>
          </c:dPt>
          <c:dPt>
            <c:idx val="1381"/>
            <c:invertIfNegative val="1"/>
            <c:bubble3D val="0"/>
            <c:spPr>
              <a:solidFill>
                <a:srgbClr val="AEABAB"/>
              </a:solidFill>
            </c:spPr>
            <c:extLst>
              <c:ext xmlns:c16="http://schemas.microsoft.com/office/drawing/2014/chart" uri="{C3380CC4-5D6E-409C-BE32-E72D297353CC}">
                <c16:uniqueId val="{00000ACD-C110-4B3C-98C7-D19B20EBE8CB}"/>
              </c:ext>
            </c:extLst>
          </c:dPt>
          <c:dPt>
            <c:idx val="1382"/>
            <c:invertIfNegative val="1"/>
            <c:bubble3D val="0"/>
            <c:spPr>
              <a:solidFill>
                <a:srgbClr val="AEABAB"/>
              </a:solidFill>
            </c:spPr>
            <c:extLst>
              <c:ext xmlns:c16="http://schemas.microsoft.com/office/drawing/2014/chart" uri="{C3380CC4-5D6E-409C-BE32-E72D297353CC}">
                <c16:uniqueId val="{00000ACF-C110-4B3C-98C7-D19B20EBE8CB}"/>
              </c:ext>
            </c:extLst>
          </c:dPt>
          <c:dPt>
            <c:idx val="1383"/>
            <c:invertIfNegative val="1"/>
            <c:bubble3D val="0"/>
            <c:spPr>
              <a:solidFill>
                <a:srgbClr val="AEABAB"/>
              </a:solidFill>
            </c:spPr>
            <c:extLst>
              <c:ext xmlns:c16="http://schemas.microsoft.com/office/drawing/2014/chart" uri="{C3380CC4-5D6E-409C-BE32-E72D297353CC}">
                <c16:uniqueId val="{00000AD1-C110-4B3C-98C7-D19B20EBE8CB}"/>
              </c:ext>
            </c:extLst>
          </c:dPt>
          <c:dPt>
            <c:idx val="1384"/>
            <c:invertIfNegative val="1"/>
            <c:bubble3D val="0"/>
            <c:spPr>
              <a:solidFill>
                <a:srgbClr val="AEABAB"/>
              </a:solidFill>
            </c:spPr>
            <c:extLst>
              <c:ext xmlns:c16="http://schemas.microsoft.com/office/drawing/2014/chart" uri="{C3380CC4-5D6E-409C-BE32-E72D297353CC}">
                <c16:uniqueId val="{00000AD3-C110-4B3C-98C7-D19B20EBE8CB}"/>
              </c:ext>
            </c:extLst>
          </c:dPt>
          <c:dPt>
            <c:idx val="1385"/>
            <c:invertIfNegative val="1"/>
            <c:bubble3D val="0"/>
            <c:spPr>
              <a:solidFill>
                <a:srgbClr val="AEABAB"/>
              </a:solidFill>
            </c:spPr>
            <c:extLst>
              <c:ext xmlns:c16="http://schemas.microsoft.com/office/drawing/2014/chart" uri="{C3380CC4-5D6E-409C-BE32-E72D297353CC}">
                <c16:uniqueId val="{00000AD5-C110-4B3C-98C7-D19B20EBE8CB}"/>
              </c:ext>
            </c:extLst>
          </c:dPt>
          <c:dPt>
            <c:idx val="1386"/>
            <c:invertIfNegative val="1"/>
            <c:bubble3D val="0"/>
            <c:spPr>
              <a:solidFill>
                <a:srgbClr val="AEABAB"/>
              </a:solidFill>
            </c:spPr>
            <c:extLst>
              <c:ext xmlns:c16="http://schemas.microsoft.com/office/drawing/2014/chart" uri="{C3380CC4-5D6E-409C-BE32-E72D297353CC}">
                <c16:uniqueId val="{00000AD7-C110-4B3C-98C7-D19B20EBE8CB}"/>
              </c:ext>
            </c:extLst>
          </c:dPt>
          <c:dPt>
            <c:idx val="1387"/>
            <c:invertIfNegative val="1"/>
            <c:bubble3D val="0"/>
            <c:spPr>
              <a:solidFill>
                <a:srgbClr val="AEABAB"/>
              </a:solidFill>
            </c:spPr>
            <c:extLst>
              <c:ext xmlns:c16="http://schemas.microsoft.com/office/drawing/2014/chart" uri="{C3380CC4-5D6E-409C-BE32-E72D297353CC}">
                <c16:uniqueId val="{00000AD9-C110-4B3C-98C7-D19B20EBE8CB}"/>
              </c:ext>
            </c:extLst>
          </c:dPt>
          <c:dPt>
            <c:idx val="1388"/>
            <c:invertIfNegative val="1"/>
            <c:bubble3D val="0"/>
            <c:spPr>
              <a:solidFill>
                <a:srgbClr val="AEABAB"/>
              </a:solidFill>
            </c:spPr>
            <c:extLst>
              <c:ext xmlns:c16="http://schemas.microsoft.com/office/drawing/2014/chart" uri="{C3380CC4-5D6E-409C-BE32-E72D297353CC}">
                <c16:uniqueId val="{00000ADB-C110-4B3C-98C7-D19B20EBE8CB}"/>
              </c:ext>
            </c:extLst>
          </c:dPt>
          <c:dPt>
            <c:idx val="1389"/>
            <c:invertIfNegative val="1"/>
            <c:bubble3D val="0"/>
            <c:spPr>
              <a:solidFill>
                <a:srgbClr val="AEABAB"/>
              </a:solidFill>
            </c:spPr>
            <c:extLst>
              <c:ext xmlns:c16="http://schemas.microsoft.com/office/drawing/2014/chart" uri="{C3380CC4-5D6E-409C-BE32-E72D297353CC}">
                <c16:uniqueId val="{00000ADD-C110-4B3C-98C7-D19B20EBE8CB}"/>
              </c:ext>
            </c:extLst>
          </c:dPt>
          <c:dPt>
            <c:idx val="1390"/>
            <c:invertIfNegative val="1"/>
            <c:bubble3D val="0"/>
            <c:spPr>
              <a:solidFill>
                <a:srgbClr val="AEABAB"/>
              </a:solidFill>
            </c:spPr>
            <c:extLst>
              <c:ext xmlns:c16="http://schemas.microsoft.com/office/drawing/2014/chart" uri="{C3380CC4-5D6E-409C-BE32-E72D297353CC}">
                <c16:uniqueId val="{00000ADF-C110-4B3C-98C7-D19B20EBE8CB}"/>
              </c:ext>
            </c:extLst>
          </c:dPt>
          <c:dPt>
            <c:idx val="1391"/>
            <c:invertIfNegative val="1"/>
            <c:bubble3D val="0"/>
            <c:spPr>
              <a:solidFill>
                <a:srgbClr val="AEABAB"/>
              </a:solidFill>
            </c:spPr>
            <c:extLst>
              <c:ext xmlns:c16="http://schemas.microsoft.com/office/drawing/2014/chart" uri="{C3380CC4-5D6E-409C-BE32-E72D297353CC}">
                <c16:uniqueId val="{00000AE1-C110-4B3C-98C7-D19B20EBE8CB}"/>
              </c:ext>
            </c:extLst>
          </c:dPt>
          <c:dPt>
            <c:idx val="1392"/>
            <c:invertIfNegative val="1"/>
            <c:bubble3D val="0"/>
            <c:spPr>
              <a:solidFill>
                <a:srgbClr val="AEABAB"/>
              </a:solidFill>
            </c:spPr>
            <c:extLst>
              <c:ext xmlns:c16="http://schemas.microsoft.com/office/drawing/2014/chart" uri="{C3380CC4-5D6E-409C-BE32-E72D297353CC}">
                <c16:uniqueId val="{00000AE3-C110-4B3C-98C7-D19B20EBE8CB}"/>
              </c:ext>
            </c:extLst>
          </c:dPt>
          <c:dPt>
            <c:idx val="1393"/>
            <c:invertIfNegative val="1"/>
            <c:bubble3D val="0"/>
            <c:spPr>
              <a:solidFill>
                <a:srgbClr val="AEABAB"/>
              </a:solidFill>
            </c:spPr>
            <c:extLst>
              <c:ext xmlns:c16="http://schemas.microsoft.com/office/drawing/2014/chart" uri="{C3380CC4-5D6E-409C-BE32-E72D297353CC}">
                <c16:uniqueId val="{00000AE5-C110-4B3C-98C7-D19B20EBE8CB}"/>
              </c:ext>
            </c:extLst>
          </c:dPt>
          <c:dPt>
            <c:idx val="1394"/>
            <c:invertIfNegative val="1"/>
            <c:bubble3D val="0"/>
            <c:spPr>
              <a:solidFill>
                <a:srgbClr val="AEABAB"/>
              </a:solidFill>
            </c:spPr>
            <c:extLst>
              <c:ext xmlns:c16="http://schemas.microsoft.com/office/drawing/2014/chart" uri="{C3380CC4-5D6E-409C-BE32-E72D297353CC}">
                <c16:uniqueId val="{00000AE7-C110-4B3C-98C7-D19B20EBE8CB}"/>
              </c:ext>
            </c:extLst>
          </c:dPt>
          <c:dPt>
            <c:idx val="1395"/>
            <c:invertIfNegative val="1"/>
            <c:bubble3D val="0"/>
            <c:spPr>
              <a:solidFill>
                <a:srgbClr val="AEABAB"/>
              </a:solidFill>
            </c:spPr>
            <c:extLst>
              <c:ext xmlns:c16="http://schemas.microsoft.com/office/drawing/2014/chart" uri="{C3380CC4-5D6E-409C-BE32-E72D297353CC}">
                <c16:uniqueId val="{00000AE9-C110-4B3C-98C7-D19B20EBE8CB}"/>
              </c:ext>
            </c:extLst>
          </c:dPt>
          <c:dPt>
            <c:idx val="1396"/>
            <c:invertIfNegative val="1"/>
            <c:bubble3D val="0"/>
            <c:spPr>
              <a:solidFill>
                <a:srgbClr val="AEABAB"/>
              </a:solidFill>
            </c:spPr>
            <c:extLst>
              <c:ext xmlns:c16="http://schemas.microsoft.com/office/drawing/2014/chart" uri="{C3380CC4-5D6E-409C-BE32-E72D297353CC}">
                <c16:uniqueId val="{00000AEB-C110-4B3C-98C7-D19B20EBE8CB}"/>
              </c:ext>
            </c:extLst>
          </c:dPt>
          <c:dPt>
            <c:idx val="1397"/>
            <c:invertIfNegative val="1"/>
            <c:bubble3D val="0"/>
            <c:spPr>
              <a:solidFill>
                <a:srgbClr val="AEABAB"/>
              </a:solidFill>
            </c:spPr>
            <c:extLst>
              <c:ext xmlns:c16="http://schemas.microsoft.com/office/drawing/2014/chart" uri="{C3380CC4-5D6E-409C-BE32-E72D297353CC}">
                <c16:uniqueId val="{00000AED-C110-4B3C-98C7-D19B20EBE8CB}"/>
              </c:ext>
            </c:extLst>
          </c:dPt>
          <c:dPt>
            <c:idx val="1398"/>
            <c:invertIfNegative val="1"/>
            <c:bubble3D val="0"/>
            <c:spPr>
              <a:solidFill>
                <a:srgbClr val="AEABAB"/>
              </a:solidFill>
            </c:spPr>
            <c:extLst>
              <c:ext xmlns:c16="http://schemas.microsoft.com/office/drawing/2014/chart" uri="{C3380CC4-5D6E-409C-BE32-E72D297353CC}">
                <c16:uniqueId val="{00000AEF-C110-4B3C-98C7-D19B20EBE8CB}"/>
              </c:ext>
            </c:extLst>
          </c:dPt>
          <c:dPt>
            <c:idx val="1399"/>
            <c:invertIfNegative val="1"/>
            <c:bubble3D val="0"/>
            <c:spPr>
              <a:solidFill>
                <a:srgbClr val="AEABAB"/>
              </a:solidFill>
            </c:spPr>
            <c:extLst>
              <c:ext xmlns:c16="http://schemas.microsoft.com/office/drawing/2014/chart" uri="{C3380CC4-5D6E-409C-BE32-E72D297353CC}">
                <c16:uniqueId val="{00000AF1-C110-4B3C-98C7-D19B20EBE8CB}"/>
              </c:ext>
            </c:extLst>
          </c:dPt>
          <c:dPt>
            <c:idx val="1400"/>
            <c:invertIfNegative val="1"/>
            <c:bubble3D val="0"/>
            <c:spPr>
              <a:solidFill>
                <a:srgbClr val="AEABAB"/>
              </a:solidFill>
            </c:spPr>
            <c:extLst>
              <c:ext xmlns:c16="http://schemas.microsoft.com/office/drawing/2014/chart" uri="{C3380CC4-5D6E-409C-BE32-E72D297353CC}">
                <c16:uniqueId val="{00000AF3-C110-4B3C-98C7-D19B20EBE8CB}"/>
              </c:ext>
            </c:extLst>
          </c:dPt>
          <c:dPt>
            <c:idx val="1401"/>
            <c:invertIfNegative val="1"/>
            <c:bubble3D val="0"/>
            <c:spPr>
              <a:solidFill>
                <a:srgbClr val="AEABAB"/>
              </a:solidFill>
            </c:spPr>
            <c:extLst>
              <c:ext xmlns:c16="http://schemas.microsoft.com/office/drawing/2014/chart" uri="{C3380CC4-5D6E-409C-BE32-E72D297353CC}">
                <c16:uniqueId val="{00000AF5-C110-4B3C-98C7-D19B20EBE8CB}"/>
              </c:ext>
            </c:extLst>
          </c:dPt>
          <c:dPt>
            <c:idx val="1402"/>
            <c:invertIfNegative val="1"/>
            <c:bubble3D val="0"/>
            <c:spPr>
              <a:solidFill>
                <a:srgbClr val="AEABAB"/>
              </a:solidFill>
            </c:spPr>
            <c:extLst>
              <c:ext xmlns:c16="http://schemas.microsoft.com/office/drawing/2014/chart" uri="{C3380CC4-5D6E-409C-BE32-E72D297353CC}">
                <c16:uniqueId val="{00000AF7-C110-4B3C-98C7-D19B20EBE8CB}"/>
              </c:ext>
            </c:extLst>
          </c:dPt>
          <c:dPt>
            <c:idx val="1403"/>
            <c:invertIfNegative val="1"/>
            <c:bubble3D val="0"/>
            <c:spPr>
              <a:solidFill>
                <a:srgbClr val="AEABAB"/>
              </a:solidFill>
            </c:spPr>
            <c:extLst>
              <c:ext xmlns:c16="http://schemas.microsoft.com/office/drawing/2014/chart" uri="{C3380CC4-5D6E-409C-BE32-E72D297353CC}">
                <c16:uniqueId val="{00000AF9-C110-4B3C-98C7-D19B20EBE8CB}"/>
              </c:ext>
            </c:extLst>
          </c:dPt>
          <c:dPt>
            <c:idx val="1404"/>
            <c:invertIfNegative val="1"/>
            <c:bubble3D val="0"/>
            <c:spPr>
              <a:solidFill>
                <a:srgbClr val="AEABAB"/>
              </a:solidFill>
            </c:spPr>
            <c:extLst>
              <c:ext xmlns:c16="http://schemas.microsoft.com/office/drawing/2014/chart" uri="{C3380CC4-5D6E-409C-BE32-E72D297353CC}">
                <c16:uniqueId val="{00000AFB-C110-4B3C-98C7-D19B20EBE8CB}"/>
              </c:ext>
            </c:extLst>
          </c:dPt>
          <c:dPt>
            <c:idx val="1405"/>
            <c:invertIfNegative val="1"/>
            <c:bubble3D val="0"/>
            <c:spPr>
              <a:solidFill>
                <a:srgbClr val="AEABAB"/>
              </a:solidFill>
            </c:spPr>
            <c:extLst>
              <c:ext xmlns:c16="http://schemas.microsoft.com/office/drawing/2014/chart" uri="{C3380CC4-5D6E-409C-BE32-E72D297353CC}">
                <c16:uniqueId val="{00000AFD-C110-4B3C-98C7-D19B20EBE8CB}"/>
              </c:ext>
            </c:extLst>
          </c:dPt>
          <c:dPt>
            <c:idx val="1406"/>
            <c:invertIfNegative val="1"/>
            <c:bubble3D val="0"/>
            <c:spPr>
              <a:solidFill>
                <a:srgbClr val="AEABAB"/>
              </a:solidFill>
            </c:spPr>
            <c:extLst>
              <c:ext xmlns:c16="http://schemas.microsoft.com/office/drawing/2014/chart" uri="{C3380CC4-5D6E-409C-BE32-E72D297353CC}">
                <c16:uniqueId val="{00000AFF-C110-4B3C-98C7-D19B20EBE8CB}"/>
              </c:ext>
            </c:extLst>
          </c:dPt>
          <c:dPt>
            <c:idx val="1407"/>
            <c:invertIfNegative val="1"/>
            <c:bubble3D val="0"/>
            <c:spPr>
              <a:solidFill>
                <a:srgbClr val="AEABAB"/>
              </a:solidFill>
            </c:spPr>
            <c:extLst>
              <c:ext xmlns:c16="http://schemas.microsoft.com/office/drawing/2014/chart" uri="{C3380CC4-5D6E-409C-BE32-E72D297353CC}">
                <c16:uniqueId val="{00000B01-C110-4B3C-98C7-D19B20EBE8CB}"/>
              </c:ext>
            </c:extLst>
          </c:dPt>
          <c:dPt>
            <c:idx val="1408"/>
            <c:invertIfNegative val="1"/>
            <c:bubble3D val="0"/>
            <c:spPr>
              <a:solidFill>
                <a:srgbClr val="AEABAB"/>
              </a:solidFill>
            </c:spPr>
            <c:extLst>
              <c:ext xmlns:c16="http://schemas.microsoft.com/office/drawing/2014/chart" uri="{C3380CC4-5D6E-409C-BE32-E72D297353CC}">
                <c16:uniqueId val="{00000B03-C110-4B3C-98C7-D19B20EBE8CB}"/>
              </c:ext>
            </c:extLst>
          </c:dPt>
          <c:dPt>
            <c:idx val="1409"/>
            <c:invertIfNegative val="1"/>
            <c:bubble3D val="0"/>
            <c:spPr>
              <a:solidFill>
                <a:srgbClr val="AEABAB"/>
              </a:solidFill>
            </c:spPr>
            <c:extLst>
              <c:ext xmlns:c16="http://schemas.microsoft.com/office/drawing/2014/chart" uri="{C3380CC4-5D6E-409C-BE32-E72D297353CC}">
                <c16:uniqueId val="{00000B05-C110-4B3C-98C7-D19B20EBE8CB}"/>
              </c:ext>
            </c:extLst>
          </c:dPt>
          <c:dPt>
            <c:idx val="1410"/>
            <c:invertIfNegative val="1"/>
            <c:bubble3D val="0"/>
            <c:spPr>
              <a:solidFill>
                <a:srgbClr val="AEABAB"/>
              </a:solidFill>
            </c:spPr>
            <c:extLst>
              <c:ext xmlns:c16="http://schemas.microsoft.com/office/drawing/2014/chart" uri="{C3380CC4-5D6E-409C-BE32-E72D297353CC}">
                <c16:uniqueId val="{00000B07-C110-4B3C-98C7-D19B20EBE8CB}"/>
              </c:ext>
            </c:extLst>
          </c:dPt>
          <c:dPt>
            <c:idx val="1411"/>
            <c:invertIfNegative val="1"/>
            <c:bubble3D val="0"/>
            <c:spPr>
              <a:solidFill>
                <a:srgbClr val="AEABAB"/>
              </a:solidFill>
            </c:spPr>
            <c:extLst>
              <c:ext xmlns:c16="http://schemas.microsoft.com/office/drawing/2014/chart" uri="{C3380CC4-5D6E-409C-BE32-E72D297353CC}">
                <c16:uniqueId val="{00000B09-C110-4B3C-98C7-D19B20EBE8CB}"/>
              </c:ext>
            </c:extLst>
          </c:dPt>
          <c:dPt>
            <c:idx val="1412"/>
            <c:invertIfNegative val="1"/>
            <c:bubble3D val="0"/>
            <c:spPr>
              <a:solidFill>
                <a:srgbClr val="AEABAB"/>
              </a:solidFill>
            </c:spPr>
            <c:extLst>
              <c:ext xmlns:c16="http://schemas.microsoft.com/office/drawing/2014/chart" uri="{C3380CC4-5D6E-409C-BE32-E72D297353CC}">
                <c16:uniqueId val="{00000B0B-C110-4B3C-98C7-D19B20EBE8CB}"/>
              </c:ext>
            </c:extLst>
          </c:dPt>
          <c:dPt>
            <c:idx val="1413"/>
            <c:invertIfNegative val="1"/>
            <c:bubble3D val="0"/>
            <c:spPr>
              <a:solidFill>
                <a:srgbClr val="AEABAB"/>
              </a:solidFill>
            </c:spPr>
            <c:extLst>
              <c:ext xmlns:c16="http://schemas.microsoft.com/office/drawing/2014/chart" uri="{C3380CC4-5D6E-409C-BE32-E72D297353CC}">
                <c16:uniqueId val="{00000B0D-C110-4B3C-98C7-D19B20EBE8CB}"/>
              </c:ext>
            </c:extLst>
          </c:dPt>
          <c:dPt>
            <c:idx val="1414"/>
            <c:invertIfNegative val="1"/>
            <c:bubble3D val="0"/>
            <c:spPr>
              <a:solidFill>
                <a:srgbClr val="AEABAB"/>
              </a:solidFill>
            </c:spPr>
            <c:extLst>
              <c:ext xmlns:c16="http://schemas.microsoft.com/office/drawing/2014/chart" uri="{C3380CC4-5D6E-409C-BE32-E72D297353CC}">
                <c16:uniqueId val="{00000B0F-C110-4B3C-98C7-D19B20EBE8CB}"/>
              </c:ext>
            </c:extLst>
          </c:dPt>
          <c:dPt>
            <c:idx val="1415"/>
            <c:invertIfNegative val="1"/>
            <c:bubble3D val="0"/>
            <c:spPr>
              <a:solidFill>
                <a:srgbClr val="AEABAB"/>
              </a:solidFill>
            </c:spPr>
            <c:extLst>
              <c:ext xmlns:c16="http://schemas.microsoft.com/office/drawing/2014/chart" uri="{C3380CC4-5D6E-409C-BE32-E72D297353CC}">
                <c16:uniqueId val="{00000B11-C110-4B3C-98C7-D19B20EBE8CB}"/>
              </c:ext>
            </c:extLst>
          </c:dPt>
          <c:dPt>
            <c:idx val="1416"/>
            <c:invertIfNegative val="1"/>
            <c:bubble3D val="0"/>
            <c:spPr>
              <a:solidFill>
                <a:srgbClr val="AEABAB"/>
              </a:solidFill>
            </c:spPr>
            <c:extLst>
              <c:ext xmlns:c16="http://schemas.microsoft.com/office/drawing/2014/chart" uri="{C3380CC4-5D6E-409C-BE32-E72D297353CC}">
                <c16:uniqueId val="{00000B13-C110-4B3C-98C7-D19B20EBE8CB}"/>
              </c:ext>
            </c:extLst>
          </c:dPt>
          <c:dPt>
            <c:idx val="1417"/>
            <c:invertIfNegative val="1"/>
            <c:bubble3D val="0"/>
            <c:spPr>
              <a:solidFill>
                <a:srgbClr val="AEABAB"/>
              </a:solidFill>
            </c:spPr>
            <c:extLst>
              <c:ext xmlns:c16="http://schemas.microsoft.com/office/drawing/2014/chart" uri="{C3380CC4-5D6E-409C-BE32-E72D297353CC}">
                <c16:uniqueId val="{00000B15-C110-4B3C-98C7-D19B20EBE8CB}"/>
              </c:ext>
            </c:extLst>
          </c:dPt>
          <c:dPt>
            <c:idx val="1418"/>
            <c:invertIfNegative val="1"/>
            <c:bubble3D val="0"/>
            <c:spPr>
              <a:solidFill>
                <a:srgbClr val="AEABAB"/>
              </a:solidFill>
            </c:spPr>
            <c:extLst>
              <c:ext xmlns:c16="http://schemas.microsoft.com/office/drawing/2014/chart" uri="{C3380CC4-5D6E-409C-BE32-E72D297353CC}">
                <c16:uniqueId val="{00000B17-C110-4B3C-98C7-D19B20EBE8CB}"/>
              </c:ext>
            </c:extLst>
          </c:dPt>
          <c:dPt>
            <c:idx val="1419"/>
            <c:invertIfNegative val="1"/>
            <c:bubble3D val="0"/>
            <c:spPr>
              <a:solidFill>
                <a:srgbClr val="AEABAB"/>
              </a:solidFill>
            </c:spPr>
            <c:extLst>
              <c:ext xmlns:c16="http://schemas.microsoft.com/office/drawing/2014/chart" uri="{C3380CC4-5D6E-409C-BE32-E72D297353CC}">
                <c16:uniqueId val="{00000B19-C110-4B3C-98C7-D19B20EBE8CB}"/>
              </c:ext>
            </c:extLst>
          </c:dPt>
          <c:dPt>
            <c:idx val="1420"/>
            <c:invertIfNegative val="1"/>
            <c:bubble3D val="0"/>
            <c:spPr>
              <a:solidFill>
                <a:srgbClr val="AEABAB"/>
              </a:solidFill>
            </c:spPr>
            <c:extLst>
              <c:ext xmlns:c16="http://schemas.microsoft.com/office/drawing/2014/chart" uri="{C3380CC4-5D6E-409C-BE32-E72D297353CC}">
                <c16:uniqueId val="{00000B1B-C110-4B3C-98C7-D19B20EBE8CB}"/>
              </c:ext>
            </c:extLst>
          </c:dPt>
          <c:dPt>
            <c:idx val="1421"/>
            <c:invertIfNegative val="1"/>
            <c:bubble3D val="0"/>
            <c:spPr>
              <a:solidFill>
                <a:srgbClr val="AEABAB"/>
              </a:solidFill>
            </c:spPr>
            <c:extLst>
              <c:ext xmlns:c16="http://schemas.microsoft.com/office/drawing/2014/chart" uri="{C3380CC4-5D6E-409C-BE32-E72D297353CC}">
                <c16:uniqueId val="{00000B1D-C110-4B3C-98C7-D19B20EBE8CB}"/>
              </c:ext>
            </c:extLst>
          </c:dPt>
          <c:dPt>
            <c:idx val="1422"/>
            <c:invertIfNegative val="1"/>
            <c:bubble3D val="0"/>
            <c:spPr>
              <a:solidFill>
                <a:srgbClr val="AEABAB"/>
              </a:solidFill>
            </c:spPr>
            <c:extLst>
              <c:ext xmlns:c16="http://schemas.microsoft.com/office/drawing/2014/chart" uri="{C3380CC4-5D6E-409C-BE32-E72D297353CC}">
                <c16:uniqueId val="{00000B1F-C110-4B3C-98C7-D19B20EBE8CB}"/>
              </c:ext>
            </c:extLst>
          </c:dPt>
          <c:dPt>
            <c:idx val="1423"/>
            <c:invertIfNegative val="1"/>
            <c:bubble3D val="0"/>
            <c:spPr>
              <a:solidFill>
                <a:srgbClr val="AEABAB"/>
              </a:solidFill>
            </c:spPr>
            <c:extLst>
              <c:ext xmlns:c16="http://schemas.microsoft.com/office/drawing/2014/chart" uri="{C3380CC4-5D6E-409C-BE32-E72D297353CC}">
                <c16:uniqueId val="{00000B21-C110-4B3C-98C7-D19B20EBE8CB}"/>
              </c:ext>
            </c:extLst>
          </c:dPt>
          <c:dPt>
            <c:idx val="1424"/>
            <c:invertIfNegative val="1"/>
            <c:bubble3D val="0"/>
            <c:spPr>
              <a:solidFill>
                <a:srgbClr val="AEABAB"/>
              </a:solidFill>
            </c:spPr>
            <c:extLst>
              <c:ext xmlns:c16="http://schemas.microsoft.com/office/drawing/2014/chart" uri="{C3380CC4-5D6E-409C-BE32-E72D297353CC}">
                <c16:uniqueId val="{00000B23-C110-4B3C-98C7-D19B20EBE8CB}"/>
              </c:ext>
            </c:extLst>
          </c:dPt>
          <c:dPt>
            <c:idx val="1425"/>
            <c:invertIfNegative val="1"/>
            <c:bubble3D val="0"/>
            <c:spPr>
              <a:solidFill>
                <a:srgbClr val="AEABAB"/>
              </a:solidFill>
            </c:spPr>
            <c:extLst>
              <c:ext xmlns:c16="http://schemas.microsoft.com/office/drawing/2014/chart" uri="{C3380CC4-5D6E-409C-BE32-E72D297353CC}">
                <c16:uniqueId val="{00000B25-C110-4B3C-98C7-D19B20EBE8CB}"/>
              </c:ext>
            </c:extLst>
          </c:dPt>
          <c:dPt>
            <c:idx val="1426"/>
            <c:invertIfNegative val="1"/>
            <c:bubble3D val="0"/>
            <c:spPr>
              <a:solidFill>
                <a:srgbClr val="AEABAB"/>
              </a:solidFill>
            </c:spPr>
            <c:extLst>
              <c:ext xmlns:c16="http://schemas.microsoft.com/office/drawing/2014/chart" uri="{C3380CC4-5D6E-409C-BE32-E72D297353CC}">
                <c16:uniqueId val="{00000B27-C110-4B3C-98C7-D19B20EBE8CB}"/>
              </c:ext>
            </c:extLst>
          </c:dPt>
          <c:dPt>
            <c:idx val="1427"/>
            <c:invertIfNegative val="1"/>
            <c:bubble3D val="0"/>
            <c:spPr>
              <a:solidFill>
                <a:srgbClr val="AEABAB"/>
              </a:solidFill>
            </c:spPr>
            <c:extLst>
              <c:ext xmlns:c16="http://schemas.microsoft.com/office/drawing/2014/chart" uri="{C3380CC4-5D6E-409C-BE32-E72D297353CC}">
                <c16:uniqueId val="{00000B29-C110-4B3C-98C7-D19B20EBE8CB}"/>
              </c:ext>
            </c:extLst>
          </c:dPt>
          <c:dPt>
            <c:idx val="1428"/>
            <c:invertIfNegative val="1"/>
            <c:bubble3D val="0"/>
            <c:spPr>
              <a:solidFill>
                <a:srgbClr val="AEABAB"/>
              </a:solidFill>
            </c:spPr>
            <c:extLst>
              <c:ext xmlns:c16="http://schemas.microsoft.com/office/drawing/2014/chart" uri="{C3380CC4-5D6E-409C-BE32-E72D297353CC}">
                <c16:uniqueId val="{00000B2B-C110-4B3C-98C7-D19B20EBE8CB}"/>
              </c:ext>
            </c:extLst>
          </c:dPt>
          <c:dPt>
            <c:idx val="1429"/>
            <c:invertIfNegative val="1"/>
            <c:bubble3D val="0"/>
            <c:spPr>
              <a:solidFill>
                <a:srgbClr val="AEABAB"/>
              </a:solidFill>
            </c:spPr>
            <c:extLst>
              <c:ext xmlns:c16="http://schemas.microsoft.com/office/drawing/2014/chart" uri="{C3380CC4-5D6E-409C-BE32-E72D297353CC}">
                <c16:uniqueId val="{00000B2D-C110-4B3C-98C7-D19B20EBE8CB}"/>
              </c:ext>
            </c:extLst>
          </c:dPt>
          <c:dPt>
            <c:idx val="1430"/>
            <c:invertIfNegative val="1"/>
            <c:bubble3D val="0"/>
            <c:spPr>
              <a:solidFill>
                <a:srgbClr val="AEABAB"/>
              </a:solidFill>
            </c:spPr>
            <c:extLst>
              <c:ext xmlns:c16="http://schemas.microsoft.com/office/drawing/2014/chart" uri="{C3380CC4-5D6E-409C-BE32-E72D297353CC}">
                <c16:uniqueId val="{00000B2F-C110-4B3C-98C7-D19B20EBE8CB}"/>
              </c:ext>
            </c:extLst>
          </c:dPt>
          <c:dPt>
            <c:idx val="1431"/>
            <c:invertIfNegative val="1"/>
            <c:bubble3D val="0"/>
            <c:spPr>
              <a:solidFill>
                <a:srgbClr val="AEABAB"/>
              </a:solidFill>
            </c:spPr>
            <c:extLst>
              <c:ext xmlns:c16="http://schemas.microsoft.com/office/drawing/2014/chart" uri="{C3380CC4-5D6E-409C-BE32-E72D297353CC}">
                <c16:uniqueId val="{00000B31-C110-4B3C-98C7-D19B20EBE8CB}"/>
              </c:ext>
            </c:extLst>
          </c:dPt>
          <c:dPt>
            <c:idx val="1432"/>
            <c:invertIfNegative val="1"/>
            <c:bubble3D val="0"/>
            <c:spPr>
              <a:solidFill>
                <a:srgbClr val="AEABAB"/>
              </a:solidFill>
            </c:spPr>
            <c:extLst>
              <c:ext xmlns:c16="http://schemas.microsoft.com/office/drawing/2014/chart" uri="{C3380CC4-5D6E-409C-BE32-E72D297353CC}">
                <c16:uniqueId val="{00000B33-C110-4B3C-98C7-D19B20EBE8CB}"/>
              </c:ext>
            </c:extLst>
          </c:dPt>
          <c:dPt>
            <c:idx val="1433"/>
            <c:invertIfNegative val="1"/>
            <c:bubble3D val="0"/>
            <c:spPr>
              <a:solidFill>
                <a:srgbClr val="AEABAB"/>
              </a:solidFill>
            </c:spPr>
            <c:extLst>
              <c:ext xmlns:c16="http://schemas.microsoft.com/office/drawing/2014/chart" uri="{C3380CC4-5D6E-409C-BE32-E72D297353CC}">
                <c16:uniqueId val="{00000B35-C110-4B3C-98C7-D19B20EBE8CB}"/>
              </c:ext>
            </c:extLst>
          </c:dPt>
          <c:dPt>
            <c:idx val="1434"/>
            <c:invertIfNegative val="1"/>
            <c:bubble3D val="0"/>
            <c:spPr>
              <a:solidFill>
                <a:srgbClr val="AEABAB"/>
              </a:solidFill>
            </c:spPr>
            <c:extLst>
              <c:ext xmlns:c16="http://schemas.microsoft.com/office/drawing/2014/chart" uri="{C3380CC4-5D6E-409C-BE32-E72D297353CC}">
                <c16:uniqueId val="{00000B37-C110-4B3C-98C7-D19B20EBE8CB}"/>
              </c:ext>
            </c:extLst>
          </c:dPt>
          <c:dPt>
            <c:idx val="1435"/>
            <c:invertIfNegative val="1"/>
            <c:bubble3D val="0"/>
            <c:spPr>
              <a:solidFill>
                <a:srgbClr val="AEABAB"/>
              </a:solidFill>
            </c:spPr>
            <c:extLst>
              <c:ext xmlns:c16="http://schemas.microsoft.com/office/drawing/2014/chart" uri="{C3380CC4-5D6E-409C-BE32-E72D297353CC}">
                <c16:uniqueId val="{00000B39-C110-4B3C-98C7-D19B20EBE8CB}"/>
              </c:ext>
            </c:extLst>
          </c:dPt>
          <c:dPt>
            <c:idx val="1436"/>
            <c:invertIfNegative val="1"/>
            <c:bubble3D val="0"/>
            <c:spPr>
              <a:solidFill>
                <a:srgbClr val="AEABAB"/>
              </a:solidFill>
            </c:spPr>
            <c:extLst>
              <c:ext xmlns:c16="http://schemas.microsoft.com/office/drawing/2014/chart" uri="{C3380CC4-5D6E-409C-BE32-E72D297353CC}">
                <c16:uniqueId val="{00000B3B-C110-4B3C-98C7-D19B20EBE8CB}"/>
              </c:ext>
            </c:extLst>
          </c:dPt>
          <c:dPt>
            <c:idx val="1437"/>
            <c:invertIfNegative val="1"/>
            <c:bubble3D val="0"/>
            <c:spPr>
              <a:solidFill>
                <a:srgbClr val="AEABAB"/>
              </a:solidFill>
            </c:spPr>
            <c:extLst>
              <c:ext xmlns:c16="http://schemas.microsoft.com/office/drawing/2014/chart" uri="{C3380CC4-5D6E-409C-BE32-E72D297353CC}">
                <c16:uniqueId val="{00000B3D-C110-4B3C-98C7-D19B20EBE8CB}"/>
              </c:ext>
            </c:extLst>
          </c:dPt>
          <c:dPt>
            <c:idx val="1438"/>
            <c:invertIfNegative val="1"/>
            <c:bubble3D val="0"/>
            <c:spPr>
              <a:solidFill>
                <a:srgbClr val="AEABAB"/>
              </a:solidFill>
            </c:spPr>
            <c:extLst>
              <c:ext xmlns:c16="http://schemas.microsoft.com/office/drawing/2014/chart" uri="{C3380CC4-5D6E-409C-BE32-E72D297353CC}">
                <c16:uniqueId val="{00000B3F-C110-4B3C-98C7-D19B20EBE8CB}"/>
              </c:ext>
            </c:extLst>
          </c:dPt>
          <c:dPt>
            <c:idx val="1439"/>
            <c:invertIfNegative val="1"/>
            <c:bubble3D val="0"/>
            <c:spPr>
              <a:solidFill>
                <a:srgbClr val="AEABAB"/>
              </a:solidFill>
            </c:spPr>
            <c:extLst>
              <c:ext xmlns:c16="http://schemas.microsoft.com/office/drawing/2014/chart" uri="{C3380CC4-5D6E-409C-BE32-E72D297353CC}">
                <c16:uniqueId val="{00000B41-C110-4B3C-98C7-D19B20EBE8CB}"/>
              </c:ext>
            </c:extLst>
          </c:dPt>
          <c:dPt>
            <c:idx val="1440"/>
            <c:invertIfNegative val="1"/>
            <c:bubble3D val="0"/>
            <c:spPr>
              <a:solidFill>
                <a:srgbClr val="AEABAB"/>
              </a:solidFill>
            </c:spPr>
            <c:extLst>
              <c:ext xmlns:c16="http://schemas.microsoft.com/office/drawing/2014/chart" uri="{C3380CC4-5D6E-409C-BE32-E72D297353CC}">
                <c16:uniqueId val="{00000B43-C110-4B3C-98C7-D19B20EBE8CB}"/>
              </c:ext>
            </c:extLst>
          </c:dPt>
          <c:dPt>
            <c:idx val="1441"/>
            <c:invertIfNegative val="1"/>
            <c:bubble3D val="0"/>
            <c:spPr>
              <a:solidFill>
                <a:srgbClr val="AEABAB"/>
              </a:solidFill>
            </c:spPr>
            <c:extLst>
              <c:ext xmlns:c16="http://schemas.microsoft.com/office/drawing/2014/chart" uri="{C3380CC4-5D6E-409C-BE32-E72D297353CC}">
                <c16:uniqueId val="{00000B45-C110-4B3C-98C7-D19B20EBE8CB}"/>
              </c:ext>
            </c:extLst>
          </c:dPt>
          <c:dPt>
            <c:idx val="1442"/>
            <c:invertIfNegative val="1"/>
            <c:bubble3D val="0"/>
            <c:spPr>
              <a:solidFill>
                <a:srgbClr val="AEABAB"/>
              </a:solidFill>
            </c:spPr>
            <c:extLst>
              <c:ext xmlns:c16="http://schemas.microsoft.com/office/drawing/2014/chart" uri="{C3380CC4-5D6E-409C-BE32-E72D297353CC}">
                <c16:uniqueId val="{00000B47-C110-4B3C-98C7-D19B20EBE8CB}"/>
              </c:ext>
            </c:extLst>
          </c:dPt>
          <c:dPt>
            <c:idx val="1443"/>
            <c:invertIfNegative val="1"/>
            <c:bubble3D val="0"/>
            <c:spPr>
              <a:solidFill>
                <a:srgbClr val="AEABAB"/>
              </a:solidFill>
            </c:spPr>
            <c:extLst>
              <c:ext xmlns:c16="http://schemas.microsoft.com/office/drawing/2014/chart" uri="{C3380CC4-5D6E-409C-BE32-E72D297353CC}">
                <c16:uniqueId val="{00000B49-C110-4B3C-98C7-D19B20EBE8CB}"/>
              </c:ext>
            </c:extLst>
          </c:dPt>
          <c:dPt>
            <c:idx val="1444"/>
            <c:invertIfNegative val="1"/>
            <c:bubble3D val="0"/>
            <c:spPr>
              <a:solidFill>
                <a:srgbClr val="AEABAB"/>
              </a:solidFill>
            </c:spPr>
            <c:extLst>
              <c:ext xmlns:c16="http://schemas.microsoft.com/office/drawing/2014/chart" uri="{C3380CC4-5D6E-409C-BE32-E72D297353CC}">
                <c16:uniqueId val="{00000B4B-C110-4B3C-98C7-D19B20EBE8CB}"/>
              </c:ext>
            </c:extLst>
          </c:dPt>
          <c:dPt>
            <c:idx val="1445"/>
            <c:invertIfNegative val="1"/>
            <c:bubble3D val="0"/>
            <c:spPr>
              <a:solidFill>
                <a:srgbClr val="AEABAB"/>
              </a:solidFill>
            </c:spPr>
            <c:extLst>
              <c:ext xmlns:c16="http://schemas.microsoft.com/office/drawing/2014/chart" uri="{C3380CC4-5D6E-409C-BE32-E72D297353CC}">
                <c16:uniqueId val="{00000B4D-C110-4B3C-98C7-D19B20EBE8CB}"/>
              </c:ext>
            </c:extLst>
          </c:dPt>
          <c:dPt>
            <c:idx val="1446"/>
            <c:invertIfNegative val="1"/>
            <c:bubble3D val="0"/>
            <c:spPr>
              <a:solidFill>
                <a:srgbClr val="AEABAB"/>
              </a:solidFill>
            </c:spPr>
            <c:extLst>
              <c:ext xmlns:c16="http://schemas.microsoft.com/office/drawing/2014/chart" uri="{C3380CC4-5D6E-409C-BE32-E72D297353CC}">
                <c16:uniqueId val="{00000B4F-C110-4B3C-98C7-D19B20EBE8CB}"/>
              </c:ext>
            </c:extLst>
          </c:dPt>
          <c:dPt>
            <c:idx val="1447"/>
            <c:invertIfNegative val="1"/>
            <c:bubble3D val="0"/>
            <c:spPr>
              <a:solidFill>
                <a:srgbClr val="AEABAB"/>
              </a:solidFill>
            </c:spPr>
            <c:extLst>
              <c:ext xmlns:c16="http://schemas.microsoft.com/office/drawing/2014/chart" uri="{C3380CC4-5D6E-409C-BE32-E72D297353CC}">
                <c16:uniqueId val="{00000B51-C110-4B3C-98C7-D19B20EBE8CB}"/>
              </c:ext>
            </c:extLst>
          </c:dPt>
          <c:dPt>
            <c:idx val="1448"/>
            <c:invertIfNegative val="1"/>
            <c:bubble3D val="0"/>
            <c:spPr>
              <a:solidFill>
                <a:srgbClr val="AEABAB"/>
              </a:solidFill>
            </c:spPr>
            <c:extLst>
              <c:ext xmlns:c16="http://schemas.microsoft.com/office/drawing/2014/chart" uri="{C3380CC4-5D6E-409C-BE32-E72D297353CC}">
                <c16:uniqueId val="{00000B53-C110-4B3C-98C7-D19B20EBE8CB}"/>
              </c:ext>
            </c:extLst>
          </c:dPt>
          <c:dPt>
            <c:idx val="1449"/>
            <c:invertIfNegative val="1"/>
            <c:bubble3D val="0"/>
            <c:spPr>
              <a:solidFill>
                <a:srgbClr val="AEABAB"/>
              </a:solidFill>
            </c:spPr>
            <c:extLst>
              <c:ext xmlns:c16="http://schemas.microsoft.com/office/drawing/2014/chart" uri="{C3380CC4-5D6E-409C-BE32-E72D297353CC}">
                <c16:uniqueId val="{00000B55-C110-4B3C-98C7-D19B20EBE8CB}"/>
              </c:ext>
            </c:extLst>
          </c:dPt>
          <c:dPt>
            <c:idx val="1450"/>
            <c:invertIfNegative val="1"/>
            <c:bubble3D val="0"/>
            <c:spPr>
              <a:solidFill>
                <a:srgbClr val="AEABAB"/>
              </a:solidFill>
            </c:spPr>
            <c:extLst>
              <c:ext xmlns:c16="http://schemas.microsoft.com/office/drawing/2014/chart" uri="{C3380CC4-5D6E-409C-BE32-E72D297353CC}">
                <c16:uniqueId val="{00000B57-C110-4B3C-98C7-D19B20EBE8CB}"/>
              </c:ext>
            </c:extLst>
          </c:dPt>
          <c:dPt>
            <c:idx val="1451"/>
            <c:invertIfNegative val="1"/>
            <c:bubble3D val="0"/>
            <c:spPr>
              <a:solidFill>
                <a:srgbClr val="AEABAB"/>
              </a:solidFill>
            </c:spPr>
            <c:extLst>
              <c:ext xmlns:c16="http://schemas.microsoft.com/office/drawing/2014/chart" uri="{C3380CC4-5D6E-409C-BE32-E72D297353CC}">
                <c16:uniqueId val="{00000B59-C110-4B3C-98C7-D19B20EBE8CB}"/>
              </c:ext>
            </c:extLst>
          </c:dPt>
          <c:dPt>
            <c:idx val="1452"/>
            <c:invertIfNegative val="1"/>
            <c:bubble3D val="0"/>
            <c:spPr>
              <a:solidFill>
                <a:srgbClr val="AEABAB"/>
              </a:solidFill>
            </c:spPr>
            <c:extLst>
              <c:ext xmlns:c16="http://schemas.microsoft.com/office/drawing/2014/chart" uri="{C3380CC4-5D6E-409C-BE32-E72D297353CC}">
                <c16:uniqueId val="{00000B5B-C110-4B3C-98C7-D19B20EBE8CB}"/>
              </c:ext>
            </c:extLst>
          </c:dPt>
          <c:dPt>
            <c:idx val="1453"/>
            <c:invertIfNegative val="1"/>
            <c:bubble3D val="0"/>
            <c:spPr>
              <a:solidFill>
                <a:srgbClr val="AEABAB"/>
              </a:solidFill>
            </c:spPr>
            <c:extLst>
              <c:ext xmlns:c16="http://schemas.microsoft.com/office/drawing/2014/chart" uri="{C3380CC4-5D6E-409C-BE32-E72D297353CC}">
                <c16:uniqueId val="{00000B5D-C110-4B3C-98C7-D19B20EBE8CB}"/>
              </c:ext>
            </c:extLst>
          </c:dPt>
          <c:dPt>
            <c:idx val="1454"/>
            <c:invertIfNegative val="1"/>
            <c:bubble3D val="0"/>
            <c:spPr>
              <a:solidFill>
                <a:srgbClr val="AEABAB"/>
              </a:solidFill>
            </c:spPr>
            <c:extLst>
              <c:ext xmlns:c16="http://schemas.microsoft.com/office/drawing/2014/chart" uri="{C3380CC4-5D6E-409C-BE32-E72D297353CC}">
                <c16:uniqueId val="{00000B5F-C110-4B3C-98C7-D19B20EBE8CB}"/>
              </c:ext>
            </c:extLst>
          </c:dPt>
          <c:dPt>
            <c:idx val="1455"/>
            <c:invertIfNegative val="1"/>
            <c:bubble3D val="0"/>
            <c:spPr>
              <a:solidFill>
                <a:srgbClr val="AEABAB"/>
              </a:solidFill>
            </c:spPr>
            <c:extLst>
              <c:ext xmlns:c16="http://schemas.microsoft.com/office/drawing/2014/chart" uri="{C3380CC4-5D6E-409C-BE32-E72D297353CC}">
                <c16:uniqueId val="{00000B61-C110-4B3C-98C7-D19B20EBE8CB}"/>
              </c:ext>
            </c:extLst>
          </c:dPt>
          <c:dPt>
            <c:idx val="1456"/>
            <c:invertIfNegative val="1"/>
            <c:bubble3D val="0"/>
            <c:spPr>
              <a:solidFill>
                <a:srgbClr val="AEABAB"/>
              </a:solidFill>
            </c:spPr>
            <c:extLst>
              <c:ext xmlns:c16="http://schemas.microsoft.com/office/drawing/2014/chart" uri="{C3380CC4-5D6E-409C-BE32-E72D297353CC}">
                <c16:uniqueId val="{00000B63-C110-4B3C-98C7-D19B20EBE8CB}"/>
              </c:ext>
            </c:extLst>
          </c:dPt>
          <c:dPt>
            <c:idx val="1457"/>
            <c:invertIfNegative val="1"/>
            <c:bubble3D val="0"/>
            <c:spPr>
              <a:solidFill>
                <a:srgbClr val="AEABAB"/>
              </a:solidFill>
            </c:spPr>
            <c:extLst>
              <c:ext xmlns:c16="http://schemas.microsoft.com/office/drawing/2014/chart" uri="{C3380CC4-5D6E-409C-BE32-E72D297353CC}">
                <c16:uniqueId val="{00000B65-C110-4B3C-98C7-D19B20EBE8CB}"/>
              </c:ext>
            </c:extLst>
          </c:dPt>
          <c:dPt>
            <c:idx val="1458"/>
            <c:invertIfNegative val="1"/>
            <c:bubble3D val="0"/>
            <c:spPr>
              <a:solidFill>
                <a:srgbClr val="AEABAB"/>
              </a:solidFill>
            </c:spPr>
            <c:extLst>
              <c:ext xmlns:c16="http://schemas.microsoft.com/office/drawing/2014/chart" uri="{C3380CC4-5D6E-409C-BE32-E72D297353CC}">
                <c16:uniqueId val="{00000B67-C110-4B3C-98C7-D19B20EBE8CB}"/>
              </c:ext>
            </c:extLst>
          </c:dPt>
          <c:dPt>
            <c:idx val="1459"/>
            <c:invertIfNegative val="1"/>
            <c:bubble3D val="0"/>
            <c:spPr>
              <a:solidFill>
                <a:srgbClr val="AEABAB"/>
              </a:solidFill>
            </c:spPr>
            <c:extLst>
              <c:ext xmlns:c16="http://schemas.microsoft.com/office/drawing/2014/chart" uri="{C3380CC4-5D6E-409C-BE32-E72D297353CC}">
                <c16:uniqueId val="{00000B69-C110-4B3C-98C7-D19B20EBE8CB}"/>
              </c:ext>
            </c:extLst>
          </c:dPt>
          <c:dPt>
            <c:idx val="1460"/>
            <c:invertIfNegative val="1"/>
            <c:bubble3D val="0"/>
            <c:spPr>
              <a:solidFill>
                <a:srgbClr val="AEABAB"/>
              </a:solidFill>
            </c:spPr>
            <c:extLst>
              <c:ext xmlns:c16="http://schemas.microsoft.com/office/drawing/2014/chart" uri="{C3380CC4-5D6E-409C-BE32-E72D297353CC}">
                <c16:uniqueId val="{00000B6B-C110-4B3C-98C7-D19B20EBE8CB}"/>
              </c:ext>
            </c:extLst>
          </c:dPt>
          <c:dPt>
            <c:idx val="1461"/>
            <c:invertIfNegative val="1"/>
            <c:bubble3D val="0"/>
            <c:spPr>
              <a:solidFill>
                <a:srgbClr val="AEABAB"/>
              </a:solidFill>
            </c:spPr>
            <c:extLst>
              <c:ext xmlns:c16="http://schemas.microsoft.com/office/drawing/2014/chart" uri="{C3380CC4-5D6E-409C-BE32-E72D297353CC}">
                <c16:uniqueId val="{00000B6D-C110-4B3C-98C7-D19B20EBE8CB}"/>
              </c:ext>
            </c:extLst>
          </c:dPt>
          <c:dPt>
            <c:idx val="1462"/>
            <c:invertIfNegative val="1"/>
            <c:bubble3D val="0"/>
            <c:spPr>
              <a:solidFill>
                <a:srgbClr val="AEABAB"/>
              </a:solidFill>
            </c:spPr>
            <c:extLst>
              <c:ext xmlns:c16="http://schemas.microsoft.com/office/drawing/2014/chart" uri="{C3380CC4-5D6E-409C-BE32-E72D297353CC}">
                <c16:uniqueId val="{00000B6F-C110-4B3C-98C7-D19B20EBE8CB}"/>
              </c:ext>
            </c:extLst>
          </c:dPt>
          <c:dPt>
            <c:idx val="1463"/>
            <c:invertIfNegative val="1"/>
            <c:bubble3D val="0"/>
            <c:spPr>
              <a:solidFill>
                <a:srgbClr val="AEABAB"/>
              </a:solidFill>
            </c:spPr>
            <c:extLst>
              <c:ext xmlns:c16="http://schemas.microsoft.com/office/drawing/2014/chart" uri="{C3380CC4-5D6E-409C-BE32-E72D297353CC}">
                <c16:uniqueId val="{00000B71-C110-4B3C-98C7-D19B20EBE8CB}"/>
              </c:ext>
            </c:extLst>
          </c:dPt>
          <c:dPt>
            <c:idx val="1464"/>
            <c:invertIfNegative val="1"/>
            <c:bubble3D val="0"/>
            <c:spPr>
              <a:solidFill>
                <a:srgbClr val="AEABAB"/>
              </a:solidFill>
            </c:spPr>
            <c:extLst>
              <c:ext xmlns:c16="http://schemas.microsoft.com/office/drawing/2014/chart" uri="{C3380CC4-5D6E-409C-BE32-E72D297353CC}">
                <c16:uniqueId val="{00000B73-C110-4B3C-98C7-D19B20EBE8CB}"/>
              </c:ext>
            </c:extLst>
          </c:dPt>
          <c:dPt>
            <c:idx val="1465"/>
            <c:invertIfNegative val="1"/>
            <c:bubble3D val="0"/>
            <c:spPr>
              <a:solidFill>
                <a:srgbClr val="AEABAB"/>
              </a:solidFill>
            </c:spPr>
            <c:extLst>
              <c:ext xmlns:c16="http://schemas.microsoft.com/office/drawing/2014/chart" uri="{C3380CC4-5D6E-409C-BE32-E72D297353CC}">
                <c16:uniqueId val="{00000B75-C110-4B3C-98C7-D19B20EBE8CB}"/>
              </c:ext>
            </c:extLst>
          </c:dPt>
          <c:dPt>
            <c:idx val="1466"/>
            <c:invertIfNegative val="1"/>
            <c:bubble3D val="0"/>
            <c:spPr>
              <a:solidFill>
                <a:srgbClr val="AEABAB"/>
              </a:solidFill>
            </c:spPr>
            <c:extLst>
              <c:ext xmlns:c16="http://schemas.microsoft.com/office/drawing/2014/chart" uri="{C3380CC4-5D6E-409C-BE32-E72D297353CC}">
                <c16:uniqueId val="{00000B77-C110-4B3C-98C7-D19B20EBE8CB}"/>
              </c:ext>
            </c:extLst>
          </c:dPt>
          <c:dPt>
            <c:idx val="1467"/>
            <c:invertIfNegative val="1"/>
            <c:bubble3D val="0"/>
            <c:spPr>
              <a:solidFill>
                <a:srgbClr val="AEABAB"/>
              </a:solidFill>
            </c:spPr>
            <c:extLst>
              <c:ext xmlns:c16="http://schemas.microsoft.com/office/drawing/2014/chart" uri="{C3380CC4-5D6E-409C-BE32-E72D297353CC}">
                <c16:uniqueId val="{00000B79-C110-4B3C-98C7-D19B20EBE8CB}"/>
              </c:ext>
            </c:extLst>
          </c:dPt>
          <c:dPt>
            <c:idx val="1468"/>
            <c:invertIfNegative val="1"/>
            <c:bubble3D val="0"/>
            <c:spPr>
              <a:solidFill>
                <a:srgbClr val="AEABAB"/>
              </a:solidFill>
            </c:spPr>
            <c:extLst>
              <c:ext xmlns:c16="http://schemas.microsoft.com/office/drawing/2014/chart" uri="{C3380CC4-5D6E-409C-BE32-E72D297353CC}">
                <c16:uniqueId val="{00000B7B-C110-4B3C-98C7-D19B20EBE8CB}"/>
              </c:ext>
            </c:extLst>
          </c:dPt>
          <c:dPt>
            <c:idx val="1469"/>
            <c:invertIfNegative val="1"/>
            <c:bubble3D val="0"/>
            <c:spPr>
              <a:solidFill>
                <a:srgbClr val="AEABAB"/>
              </a:solidFill>
            </c:spPr>
            <c:extLst>
              <c:ext xmlns:c16="http://schemas.microsoft.com/office/drawing/2014/chart" uri="{C3380CC4-5D6E-409C-BE32-E72D297353CC}">
                <c16:uniqueId val="{00000B7D-C110-4B3C-98C7-D19B20EBE8CB}"/>
              </c:ext>
            </c:extLst>
          </c:dPt>
          <c:dPt>
            <c:idx val="1470"/>
            <c:invertIfNegative val="1"/>
            <c:bubble3D val="0"/>
            <c:spPr>
              <a:solidFill>
                <a:srgbClr val="AEABAB"/>
              </a:solidFill>
            </c:spPr>
            <c:extLst>
              <c:ext xmlns:c16="http://schemas.microsoft.com/office/drawing/2014/chart" uri="{C3380CC4-5D6E-409C-BE32-E72D297353CC}">
                <c16:uniqueId val="{00000B7F-C110-4B3C-98C7-D19B20EBE8CB}"/>
              </c:ext>
            </c:extLst>
          </c:dPt>
          <c:dPt>
            <c:idx val="1471"/>
            <c:invertIfNegative val="1"/>
            <c:bubble3D val="0"/>
            <c:spPr>
              <a:solidFill>
                <a:srgbClr val="AEABAB"/>
              </a:solidFill>
            </c:spPr>
            <c:extLst>
              <c:ext xmlns:c16="http://schemas.microsoft.com/office/drawing/2014/chart" uri="{C3380CC4-5D6E-409C-BE32-E72D297353CC}">
                <c16:uniqueId val="{00000B81-C110-4B3C-98C7-D19B20EBE8CB}"/>
              </c:ext>
            </c:extLst>
          </c:dPt>
          <c:dPt>
            <c:idx val="1472"/>
            <c:invertIfNegative val="1"/>
            <c:bubble3D val="0"/>
            <c:spPr>
              <a:solidFill>
                <a:srgbClr val="AEABAB"/>
              </a:solidFill>
            </c:spPr>
            <c:extLst>
              <c:ext xmlns:c16="http://schemas.microsoft.com/office/drawing/2014/chart" uri="{C3380CC4-5D6E-409C-BE32-E72D297353CC}">
                <c16:uniqueId val="{00000B83-C110-4B3C-98C7-D19B20EBE8CB}"/>
              </c:ext>
            </c:extLst>
          </c:dPt>
          <c:dPt>
            <c:idx val="1473"/>
            <c:invertIfNegative val="1"/>
            <c:bubble3D val="0"/>
            <c:spPr>
              <a:solidFill>
                <a:srgbClr val="AEABAB"/>
              </a:solidFill>
            </c:spPr>
            <c:extLst>
              <c:ext xmlns:c16="http://schemas.microsoft.com/office/drawing/2014/chart" uri="{C3380CC4-5D6E-409C-BE32-E72D297353CC}">
                <c16:uniqueId val="{00000B85-C110-4B3C-98C7-D19B20EBE8CB}"/>
              </c:ext>
            </c:extLst>
          </c:dPt>
          <c:dPt>
            <c:idx val="1474"/>
            <c:invertIfNegative val="1"/>
            <c:bubble3D val="0"/>
            <c:spPr>
              <a:solidFill>
                <a:srgbClr val="AEABAB"/>
              </a:solidFill>
            </c:spPr>
            <c:extLst>
              <c:ext xmlns:c16="http://schemas.microsoft.com/office/drawing/2014/chart" uri="{C3380CC4-5D6E-409C-BE32-E72D297353CC}">
                <c16:uniqueId val="{00000B87-C110-4B3C-98C7-D19B20EBE8CB}"/>
              </c:ext>
            </c:extLst>
          </c:dPt>
          <c:dPt>
            <c:idx val="1475"/>
            <c:invertIfNegative val="1"/>
            <c:bubble3D val="0"/>
            <c:spPr>
              <a:solidFill>
                <a:srgbClr val="AEABAB"/>
              </a:solidFill>
            </c:spPr>
            <c:extLst>
              <c:ext xmlns:c16="http://schemas.microsoft.com/office/drawing/2014/chart" uri="{C3380CC4-5D6E-409C-BE32-E72D297353CC}">
                <c16:uniqueId val="{00000B89-C110-4B3C-98C7-D19B20EBE8CB}"/>
              </c:ext>
            </c:extLst>
          </c:dPt>
          <c:dPt>
            <c:idx val="1476"/>
            <c:invertIfNegative val="1"/>
            <c:bubble3D val="0"/>
            <c:spPr>
              <a:solidFill>
                <a:srgbClr val="AEABAB"/>
              </a:solidFill>
            </c:spPr>
            <c:extLst>
              <c:ext xmlns:c16="http://schemas.microsoft.com/office/drawing/2014/chart" uri="{C3380CC4-5D6E-409C-BE32-E72D297353CC}">
                <c16:uniqueId val="{00000B8B-C110-4B3C-98C7-D19B20EBE8CB}"/>
              </c:ext>
            </c:extLst>
          </c:dPt>
          <c:dPt>
            <c:idx val="1477"/>
            <c:invertIfNegative val="1"/>
            <c:bubble3D val="0"/>
            <c:spPr>
              <a:solidFill>
                <a:srgbClr val="AEABAB"/>
              </a:solidFill>
            </c:spPr>
            <c:extLst>
              <c:ext xmlns:c16="http://schemas.microsoft.com/office/drawing/2014/chart" uri="{C3380CC4-5D6E-409C-BE32-E72D297353CC}">
                <c16:uniqueId val="{00000B8D-C110-4B3C-98C7-D19B20EBE8CB}"/>
              </c:ext>
            </c:extLst>
          </c:dPt>
          <c:dPt>
            <c:idx val="1478"/>
            <c:invertIfNegative val="1"/>
            <c:bubble3D val="0"/>
            <c:spPr>
              <a:solidFill>
                <a:srgbClr val="AEABAB"/>
              </a:solidFill>
            </c:spPr>
            <c:extLst>
              <c:ext xmlns:c16="http://schemas.microsoft.com/office/drawing/2014/chart" uri="{C3380CC4-5D6E-409C-BE32-E72D297353CC}">
                <c16:uniqueId val="{00000B8F-C110-4B3C-98C7-D19B20EBE8CB}"/>
              </c:ext>
            </c:extLst>
          </c:dPt>
          <c:dPt>
            <c:idx val="1479"/>
            <c:invertIfNegative val="1"/>
            <c:bubble3D val="0"/>
            <c:spPr>
              <a:solidFill>
                <a:srgbClr val="AEABAB"/>
              </a:solidFill>
            </c:spPr>
            <c:extLst>
              <c:ext xmlns:c16="http://schemas.microsoft.com/office/drawing/2014/chart" uri="{C3380CC4-5D6E-409C-BE32-E72D297353CC}">
                <c16:uniqueId val="{00000B91-C110-4B3C-98C7-D19B20EBE8CB}"/>
              </c:ext>
            </c:extLst>
          </c:dPt>
          <c:dPt>
            <c:idx val="1480"/>
            <c:invertIfNegative val="1"/>
            <c:bubble3D val="0"/>
            <c:spPr>
              <a:solidFill>
                <a:srgbClr val="AEABAB"/>
              </a:solidFill>
            </c:spPr>
            <c:extLst>
              <c:ext xmlns:c16="http://schemas.microsoft.com/office/drawing/2014/chart" uri="{C3380CC4-5D6E-409C-BE32-E72D297353CC}">
                <c16:uniqueId val="{00000B93-C110-4B3C-98C7-D19B20EBE8CB}"/>
              </c:ext>
            </c:extLst>
          </c:dPt>
          <c:dPt>
            <c:idx val="1481"/>
            <c:invertIfNegative val="1"/>
            <c:bubble3D val="0"/>
            <c:spPr>
              <a:solidFill>
                <a:srgbClr val="AEABAB"/>
              </a:solidFill>
            </c:spPr>
            <c:extLst>
              <c:ext xmlns:c16="http://schemas.microsoft.com/office/drawing/2014/chart" uri="{C3380CC4-5D6E-409C-BE32-E72D297353CC}">
                <c16:uniqueId val="{00000B95-C110-4B3C-98C7-D19B20EBE8CB}"/>
              </c:ext>
            </c:extLst>
          </c:dPt>
          <c:dPt>
            <c:idx val="1482"/>
            <c:invertIfNegative val="1"/>
            <c:bubble3D val="0"/>
            <c:spPr>
              <a:solidFill>
                <a:srgbClr val="AEABAB"/>
              </a:solidFill>
            </c:spPr>
            <c:extLst>
              <c:ext xmlns:c16="http://schemas.microsoft.com/office/drawing/2014/chart" uri="{C3380CC4-5D6E-409C-BE32-E72D297353CC}">
                <c16:uniqueId val="{00000B97-C110-4B3C-98C7-D19B20EBE8CB}"/>
              </c:ext>
            </c:extLst>
          </c:dPt>
          <c:dPt>
            <c:idx val="1483"/>
            <c:invertIfNegative val="1"/>
            <c:bubble3D val="0"/>
            <c:spPr>
              <a:solidFill>
                <a:srgbClr val="AEABAB"/>
              </a:solidFill>
            </c:spPr>
            <c:extLst>
              <c:ext xmlns:c16="http://schemas.microsoft.com/office/drawing/2014/chart" uri="{C3380CC4-5D6E-409C-BE32-E72D297353CC}">
                <c16:uniqueId val="{00000B99-C110-4B3C-98C7-D19B20EBE8CB}"/>
              </c:ext>
            </c:extLst>
          </c:dPt>
          <c:dPt>
            <c:idx val="1484"/>
            <c:invertIfNegative val="1"/>
            <c:bubble3D val="0"/>
            <c:spPr>
              <a:solidFill>
                <a:srgbClr val="AEABAB"/>
              </a:solidFill>
            </c:spPr>
            <c:extLst>
              <c:ext xmlns:c16="http://schemas.microsoft.com/office/drawing/2014/chart" uri="{C3380CC4-5D6E-409C-BE32-E72D297353CC}">
                <c16:uniqueId val="{00000B9B-C110-4B3C-98C7-D19B20EBE8CB}"/>
              </c:ext>
            </c:extLst>
          </c:dPt>
          <c:dPt>
            <c:idx val="1485"/>
            <c:invertIfNegative val="1"/>
            <c:bubble3D val="0"/>
            <c:spPr>
              <a:solidFill>
                <a:srgbClr val="AEABAB"/>
              </a:solidFill>
            </c:spPr>
            <c:extLst>
              <c:ext xmlns:c16="http://schemas.microsoft.com/office/drawing/2014/chart" uri="{C3380CC4-5D6E-409C-BE32-E72D297353CC}">
                <c16:uniqueId val="{00000B9D-C110-4B3C-98C7-D19B20EBE8CB}"/>
              </c:ext>
            </c:extLst>
          </c:dPt>
          <c:dPt>
            <c:idx val="1486"/>
            <c:invertIfNegative val="1"/>
            <c:bubble3D val="0"/>
            <c:spPr>
              <a:solidFill>
                <a:srgbClr val="AEABAB"/>
              </a:solidFill>
            </c:spPr>
            <c:extLst>
              <c:ext xmlns:c16="http://schemas.microsoft.com/office/drawing/2014/chart" uri="{C3380CC4-5D6E-409C-BE32-E72D297353CC}">
                <c16:uniqueId val="{00000B9F-C110-4B3C-98C7-D19B20EBE8CB}"/>
              </c:ext>
            </c:extLst>
          </c:dPt>
          <c:dPt>
            <c:idx val="1487"/>
            <c:invertIfNegative val="1"/>
            <c:bubble3D val="0"/>
            <c:spPr>
              <a:solidFill>
                <a:srgbClr val="AEABAB"/>
              </a:solidFill>
            </c:spPr>
            <c:extLst>
              <c:ext xmlns:c16="http://schemas.microsoft.com/office/drawing/2014/chart" uri="{C3380CC4-5D6E-409C-BE32-E72D297353CC}">
                <c16:uniqueId val="{00000BA1-C110-4B3C-98C7-D19B20EBE8CB}"/>
              </c:ext>
            </c:extLst>
          </c:dPt>
          <c:dPt>
            <c:idx val="1488"/>
            <c:invertIfNegative val="1"/>
            <c:bubble3D val="0"/>
            <c:spPr>
              <a:solidFill>
                <a:srgbClr val="AEABAB"/>
              </a:solidFill>
            </c:spPr>
            <c:extLst>
              <c:ext xmlns:c16="http://schemas.microsoft.com/office/drawing/2014/chart" uri="{C3380CC4-5D6E-409C-BE32-E72D297353CC}">
                <c16:uniqueId val="{00000BA3-C110-4B3C-98C7-D19B20EBE8CB}"/>
              </c:ext>
            </c:extLst>
          </c:dPt>
          <c:dPt>
            <c:idx val="1489"/>
            <c:invertIfNegative val="1"/>
            <c:bubble3D val="0"/>
            <c:spPr>
              <a:solidFill>
                <a:srgbClr val="AEABAB"/>
              </a:solidFill>
            </c:spPr>
            <c:extLst>
              <c:ext xmlns:c16="http://schemas.microsoft.com/office/drawing/2014/chart" uri="{C3380CC4-5D6E-409C-BE32-E72D297353CC}">
                <c16:uniqueId val="{00000BA5-C110-4B3C-98C7-D19B20EBE8CB}"/>
              </c:ext>
            </c:extLst>
          </c:dPt>
          <c:dPt>
            <c:idx val="1490"/>
            <c:invertIfNegative val="1"/>
            <c:bubble3D val="0"/>
            <c:spPr>
              <a:solidFill>
                <a:srgbClr val="AEABAB"/>
              </a:solidFill>
            </c:spPr>
            <c:extLst>
              <c:ext xmlns:c16="http://schemas.microsoft.com/office/drawing/2014/chart" uri="{C3380CC4-5D6E-409C-BE32-E72D297353CC}">
                <c16:uniqueId val="{00000BA7-C110-4B3C-98C7-D19B20EBE8CB}"/>
              </c:ext>
            </c:extLst>
          </c:dPt>
          <c:dPt>
            <c:idx val="1491"/>
            <c:invertIfNegative val="1"/>
            <c:bubble3D val="0"/>
            <c:spPr>
              <a:solidFill>
                <a:srgbClr val="AEABAB"/>
              </a:solidFill>
            </c:spPr>
            <c:extLst>
              <c:ext xmlns:c16="http://schemas.microsoft.com/office/drawing/2014/chart" uri="{C3380CC4-5D6E-409C-BE32-E72D297353CC}">
                <c16:uniqueId val="{00000BA9-C110-4B3C-98C7-D19B20EBE8CB}"/>
              </c:ext>
            </c:extLst>
          </c:dPt>
          <c:dPt>
            <c:idx val="1492"/>
            <c:invertIfNegative val="1"/>
            <c:bubble3D val="0"/>
            <c:spPr>
              <a:solidFill>
                <a:srgbClr val="AEABAB"/>
              </a:solidFill>
            </c:spPr>
            <c:extLst>
              <c:ext xmlns:c16="http://schemas.microsoft.com/office/drawing/2014/chart" uri="{C3380CC4-5D6E-409C-BE32-E72D297353CC}">
                <c16:uniqueId val="{00000BAB-C110-4B3C-98C7-D19B20EBE8CB}"/>
              </c:ext>
            </c:extLst>
          </c:dPt>
          <c:dPt>
            <c:idx val="1493"/>
            <c:invertIfNegative val="1"/>
            <c:bubble3D val="0"/>
            <c:spPr>
              <a:solidFill>
                <a:srgbClr val="AEABAB"/>
              </a:solidFill>
            </c:spPr>
            <c:extLst>
              <c:ext xmlns:c16="http://schemas.microsoft.com/office/drawing/2014/chart" uri="{C3380CC4-5D6E-409C-BE32-E72D297353CC}">
                <c16:uniqueId val="{00000BAD-C110-4B3C-98C7-D19B20EBE8CB}"/>
              </c:ext>
            </c:extLst>
          </c:dPt>
          <c:dPt>
            <c:idx val="1494"/>
            <c:invertIfNegative val="1"/>
            <c:bubble3D val="0"/>
            <c:spPr>
              <a:solidFill>
                <a:srgbClr val="AEABAB"/>
              </a:solidFill>
            </c:spPr>
            <c:extLst>
              <c:ext xmlns:c16="http://schemas.microsoft.com/office/drawing/2014/chart" uri="{C3380CC4-5D6E-409C-BE32-E72D297353CC}">
                <c16:uniqueId val="{00000BAF-C110-4B3C-98C7-D19B20EBE8CB}"/>
              </c:ext>
            </c:extLst>
          </c:dPt>
          <c:dPt>
            <c:idx val="1495"/>
            <c:invertIfNegative val="1"/>
            <c:bubble3D val="0"/>
            <c:spPr>
              <a:solidFill>
                <a:srgbClr val="AEABAB"/>
              </a:solidFill>
            </c:spPr>
            <c:extLst>
              <c:ext xmlns:c16="http://schemas.microsoft.com/office/drawing/2014/chart" uri="{C3380CC4-5D6E-409C-BE32-E72D297353CC}">
                <c16:uniqueId val="{00000BB1-C110-4B3C-98C7-D19B20EBE8CB}"/>
              </c:ext>
            </c:extLst>
          </c:dPt>
          <c:dPt>
            <c:idx val="1496"/>
            <c:invertIfNegative val="1"/>
            <c:bubble3D val="0"/>
            <c:spPr>
              <a:solidFill>
                <a:srgbClr val="AEABAB"/>
              </a:solidFill>
            </c:spPr>
            <c:extLst>
              <c:ext xmlns:c16="http://schemas.microsoft.com/office/drawing/2014/chart" uri="{C3380CC4-5D6E-409C-BE32-E72D297353CC}">
                <c16:uniqueId val="{00000BB3-C110-4B3C-98C7-D19B20EBE8CB}"/>
              </c:ext>
            </c:extLst>
          </c:dPt>
          <c:dPt>
            <c:idx val="1497"/>
            <c:invertIfNegative val="1"/>
            <c:bubble3D val="0"/>
            <c:spPr>
              <a:solidFill>
                <a:srgbClr val="AEABAB"/>
              </a:solidFill>
            </c:spPr>
            <c:extLst>
              <c:ext xmlns:c16="http://schemas.microsoft.com/office/drawing/2014/chart" uri="{C3380CC4-5D6E-409C-BE32-E72D297353CC}">
                <c16:uniqueId val="{00000BB5-C110-4B3C-98C7-D19B20EBE8CB}"/>
              </c:ext>
            </c:extLst>
          </c:dPt>
          <c:dPt>
            <c:idx val="1498"/>
            <c:invertIfNegative val="1"/>
            <c:bubble3D val="0"/>
            <c:spPr>
              <a:solidFill>
                <a:srgbClr val="AEABAB"/>
              </a:solidFill>
            </c:spPr>
            <c:extLst>
              <c:ext xmlns:c16="http://schemas.microsoft.com/office/drawing/2014/chart" uri="{C3380CC4-5D6E-409C-BE32-E72D297353CC}">
                <c16:uniqueId val="{00000BB7-C110-4B3C-98C7-D19B20EBE8CB}"/>
              </c:ext>
            </c:extLst>
          </c:dPt>
          <c:dPt>
            <c:idx val="1499"/>
            <c:invertIfNegative val="1"/>
            <c:bubble3D val="0"/>
            <c:spPr>
              <a:solidFill>
                <a:srgbClr val="AEABAB"/>
              </a:solidFill>
            </c:spPr>
            <c:extLst>
              <c:ext xmlns:c16="http://schemas.microsoft.com/office/drawing/2014/chart" uri="{C3380CC4-5D6E-409C-BE32-E72D297353CC}">
                <c16:uniqueId val="{00000BB9-C110-4B3C-98C7-D19B20EBE8CB}"/>
              </c:ext>
            </c:extLst>
          </c:dPt>
          <c:dPt>
            <c:idx val="1500"/>
            <c:invertIfNegative val="1"/>
            <c:bubble3D val="0"/>
            <c:spPr>
              <a:solidFill>
                <a:srgbClr val="AEABAB"/>
              </a:solidFill>
            </c:spPr>
            <c:extLst>
              <c:ext xmlns:c16="http://schemas.microsoft.com/office/drawing/2014/chart" uri="{C3380CC4-5D6E-409C-BE32-E72D297353CC}">
                <c16:uniqueId val="{00000BBB-C110-4B3C-98C7-D19B20EBE8CB}"/>
              </c:ext>
            </c:extLst>
          </c:dPt>
          <c:dPt>
            <c:idx val="1501"/>
            <c:invertIfNegative val="1"/>
            <c:bubble3D val="0"/>
            <c:spPr>
              <a:solidFill>
                <a:srgbClr val="AEABAB"/>
              </a:solidFill>
            </c:spPr>
            <c:extLst>
              <c:ext xmlns:c16="http://schemas.microsoft.com/office/drawing/2014/chart" uri="{C3380CC4-5D6E-409C-BE32-E72D297353CC}">
                <c16:uniqueId val="{00000BBD-C110-4B3C-98C7-D19B20EBE8CB}"/>
              </c:ext>
            </c:extLst>
          </c:dPt>
          <c:dPt>
            <c:idx val="1502"/>
            <c:invertIfNegative val="1"/>
            <c:bubble3D val="0"/>
            <c:spPr>
              <a:solidFill>
                <a:srgbClr val="AEABAB"/>
              </a:solidFill>
            </c:spPr>
            <c:extLst>
              <c:ext xmlns:c16="http://schemas.microsoft.com/office/drawing/2014/chart" uri="{C3380CC4-5D6E-409C-BE32-E72D297353CC}">
                <c16:uniqueId val="{00000BBF-C110-4B3C-98C7-D19B20EBE8CB}"/>
              </c:ext>
            </c:extLst>
          </c:dPt>
          <c:dPt>
            <c:idx val="1503"/>
            <c:invertIfNegative val="1"/>
            <c:bubble3D val="0"/>
            <c:spPr>
              <a:solidFill>
                <a:srgbClr val="AEABAB"/>
              </a:solidFill>
            </c:spPr>
            <c:extLst>
              <c:ext xmlns:c16="http://schemas.microsoft.com/office/drawing/2014/chart" uri="{C3380CC4-5D6E-409C-BE32-E72D297353CC}">
                <c16:uniqueId val="{00000BC1-C110-4B3C-98C7-D19B20EBE8CB}"/>
              </c:ext>
            </c:extLst>
          </c:dPt>
          <c:dPt>
            <c:idx val="1504"/>
            <c:invertIfNegative val="1"/>
            <c:bubble3D val="0"/>
            <c:spPr>
              <a:solidFill>
                <a:srgbClr val="AEABAB"/>
              </a:solidFill>
            </c:spPr>
            <c:extLst>
              <c:ext xmlns:c16="http://schemas.microsoft.com/office/drawing/2014/chart" uri="{C3380CC4-5D6E-409C-BE32-E72D297353CC}">
                <c16:uniqueId val="{00000BC3-C110-4B3C-98C7-D19B20EBE8CB}"/>
              </c:ext>
            </c:extLst>
          </c:dPt>
          <c:dPt>
            <c:idx val="1505"/>
            <c:invertIfNegative val="1"/>
            <c:bubble3D val="0"/>
            <c:spPr>
              <a:solidFill>
                <a:srgbClr val="AEABAB"/>
              </a:solidFill>
            </c:spPr>
            <c:extLst>
              <c:ext xmlns:c16="http://schemas.microsoft.com/office/drawing/2014/chart" uri="{C3380CC4-5D6E-409C-BE32-E72D297353CC}">
                <c16:uniqueId val="{00000BC5-C110-4B3C-98C7-D19B20EBE8CB}"/>
              </c:ext>
            </c:extLst>
          </c:dPt>
          <c:dPt>
            <c:idx val="1506"/>
            <c:invertIfNegative val="1"/>
            <c:bubble3D val="0"/>
            <c:spPr>
              <a:solidFill>
                <a:srgbClr val="AEABAB"/>
              </a:solidFill>
            </c:spPr>
            <c:extLst>
              <c:ext xmlns:c16="http://schemas.microsoft.com/office/drawing/2014/chart" uri="{C3380CC4-5D6E-409C-BE32-E72D297353CC}">
                <c16:uniqueId val="{00000BC7-C110-4B3C-98C7-D19B20EBE8CB}"/>
              </c:ext>
            </c:extLst>
          </c:dPt>
          <c:dPt>
            <c:idx val="1507"/>
            <c:invertIfNegative val="1"/>
            <c:bubble3D val="0"/>
            <c:spPr>
              <a:solidFill>
                <a:srgbClr val="AEABAB"/>
              </a:solidFill>
            </c:spPr>
            <c:extLst>
              <c:ext xmlns:c16="http://schemas.microsoft.com/office/drawing/2014/chart" uri="{C3380CC4-5D6E-409C-BE32-E72D297353CC}">
                <c16:uniqueId val="{00000BC9-C110-4B3C-98C7-D19B20EBE8CB}"/>
              </c:ext>
            </c:extLst>
          </c:dPt>
          <c:dPt>
            <c:idx val="1508"/>
            <c:invertIfNegative val="1"/>
            <c:bubble3D val="0"/>
            <c:spPr>
              <a:solidFill>
                <a:srgbClr val="AEABAB"/>
              </a:solidFill>
            </c:spPr>
            <c:extLst>
              <c:ext xmlns:c16="http://schemas.microsoft.com/office/drawing/2014/chart" uri="{C3380CC4-5D6E-409C-BE32-E72D297353CC}">
                <c16:uniqueId val="{00000BCB-C110-4B3C-98C7-D19B20EBE8CB}"/>
              </c:ext>
            </c:extLst>
          </c:dPt>
          <c:dPt>
            <c:idx val="1509"/>
            <c:invertIfNegative val="1"/>
            <c:bubble3D val="0"/>
            <c:spPr>
              <a:solidFill>
                <a:srgbClr val="AEABAB"/>
              </a:solidFill>
            </c:spPr>
            <c:extLst>
              <c:ext xmlns:c16="http://schemas.microsoft.com/office/drawing/2014/chart" uri="{C3380CC4-5D6E-409C-BE32-E72D297353CC}">
                <c16:uniqueId val="{00000BCD-C110-4B3C-98C7-D19B20EBE8CB}"/>
              </c:ext>
            </c:extLst>
          </c:dPt>
          <c:dPt>
            <c:idx val="1510"/>
            <c:invertIfNegative val="1"/>
            <c:bubble3D val="0"/>
            <c:spPr>
              <a:solidFill>
                <a:srgbClr val="AEABAB"/>
              </a:solidFill>
            </c:spPr>
            <c:extLst>
              <c:ext xmlns:c16="http://schemas.microsoft.com/office/drawing/2014/chart" uri="{C3380CC4-5D6E-409C-BE32-E72D297353CC}">
                <c16:uniqueId val="{00000BCF-C110-4B3C-98C7-D19B20EBE8CB}"/>
              </c:ext>
            </c:extLst>
          </c:dPt>
          <c:dPt>
            <c:idx val="1511"/>
            <c:invertIfNegative val="1"/>
            <c:bubble3D val="0"/>
            <c:spPr>
              <a:solidFill>
                <a:srgbClr val="AEABAB"/>
              </a:solidFill>
            </c:spPr>
            <c:extLst>
              <c:ext xmlns:c16="http://schemas.microsoft.com/office/drawing/2014/chart" uri="{C3380CC4-5D6E-409C-BE32-E72D297353CC}">
                <c16:uniqueId val="{00000BD1-C110-4B3C-98C7-D19B20EBE8CB}"/>
              </c:ext>
            </c:extLst>
          </c:dPt>
          <c:dPt>
            <c:idx val="1512"/>
            <c:invertIfNegative val="1"/>
            <c:bubble3D val="0"/>
            <c:spPr>
              <a:solidFill>
                <a:srgbClr val="AEABAB"/>
              </a:solidFill>
            </c:spPr>
            <c:extLst>
              <c:ext xmlns:c16="http://schemas.microsoft.com/office/drawing/2014/chart" uri="{C3380CC4-5D6E-409C-BE32-E72D297353CC}">
                <c16:uniqueId val="{00000BD3-C110-4B3C-98C7-D19B20EBE8CB}"/>
              </c:ext>
            </c:extLst>
          </c:dPt>
          <c:dPt>
            <c:idx val="1513"/>
            <c:invertIfNegative val="1"/>
            <c:bubble3D val="0"/>
            <c:spPr>
              <a:solidFill>
                <a:srgbClr val="AEABAB"/>
              </a:solidFill>
            </c:spPr>
            <c:extLst>
              <c:ext xmlns:c16="http://schemas.microsoft.com/office/drawing/2014/chart" uri="{C3380CC4-5D6E-409C-BE32-E72D297353CC}">
                <c16:uniqueId val="{00000BD5-C110-4B3C-98C7-D19B20EBE8CB}"/>
              </c:ext>
            </c:extLst>
          </c:dPt>
          <c:dPt>
            <c:idx val="1514"/>
            <c:invertIfNegative val="1"/>
            <c:bubble3D val="0"/>
            <c:spPr>
              <a:solidFill>
                <a:srgbClr val="AEABAB"/>
              </a:solidFill>
            </c:spPr>
            <c:extLst>
              <c:ext xmlns:c16="http://schemas.microsoft.com/office/drawing/2014/chart" uri="{C3380CC4-5D6E-409C-BE32-E72D297353CC}">
                <c16:uniqueId val="{00000BD7-C110-4B3C-98C7-D19B20EBE8CB}"/>
              </c:ext>
            </c:extLst>
          </c:dPt>
          <c:dPt>
            <c:idx val="1515"/>
            <c:invertIfNegative val="1"/>
            <c:bubble3D val="0"/>
            <c:spPr>
              <a:solidFill>
                <a:srgbClr val="AEABAB"/>
              </a:solidFill>
            </c:spPr>
            <c:extLst>
              <c:ext xmlns:c16="http://schemas.microsoft.com/office/drawing/2014/chart" uri="{C3380CC4-5D6E-409C-BE32-E72D297353CC}">
                <c16:uniqueId val="{00000BD9-C110-4B3C-98C7-D19B20EBE8CB}"/>
              </c:ext>
            </c:extLst>
          </c:dPt>
          <c:dPt>
            <c:idx val="1516"/>
            <c:invertIfNegative val="1"/>
            <c:bubble3D val="0"/>
            <c:spPr>
              <a:solidFill>
                <a:srgbClr val="AEABAB"/>
              </a:solidFill>
            </c:spPr>
            <c:extLst>
              <c:ext xmlns:c16="http://schemas.microsoft.com/office/drawing/2014/chart" uri="{C3380CC4-5D6E-409C-BE32-E72D297353CC}">
                <c16:uniqueId val="{00000BDB-C110-4B3C-98C7-D19B20EBE8CB}"/>
              </c:ext>
            </c:extLst>
          </c:dPt>
          <c:dPt>
            <c:idx val="1517"/>
            <c:invertIfNegative val="1"/>
            <c:bubble3D val="0"/>
            <c:spPr>
              <a:solidFill>
                <a:srgbClr val="AEABAB"/>
              </a:solidFill>
            </c:spPr>
            <c:extLst>
              <c:ext xmlns:c16="http://schemas.microsoft.com/office/drawing/2014/chart" uri="{C3380CC4-5D6E-409C-BE32-E72D297353CC}">
                <c16:uniqueId val="{00000BDD-C110-4B3C-98C7-D19B20EBE8CB}"/>
              </c:ext>
            </c:extLst>
          </c:dPt>
          <c:dPt>
            <c:idx val="1518"/>
            <c:invertIfNegative val="1"/>
            <c:bubble3D val="0"/>
            <c:spPr>
              <a:solidFill>
                <a:srgbClr val="AEABAB"/>
              </a:solidFill>
            </c:spPr>
            <c:extLst>
              <c:ext xmlns:c16="http://schemas.microsoft.com/office/drawing/2014/chart" uri="{C3380CC4-5D6E-409C-BE32-E72D297353CC}">
                <c16:uniqueId val="{00000BDF-C110-4B3C-98C7-D19B20EBE8CB}"/>
              </c:ext>
            </c:extLst>
          </c:dPt>
          <c:dPt>
            <c:idx val="1519"/>
            <c:invertIfNegative val="1"/>
            <c:bubble3D val="0"/>
            <c:spPr>
              <a:solidFill>
                <a:srgbClr val="AEABAB"/>
              </a:solidFill>
            </c:spPr>
            <c:extLst>
              <c:ext xmlns:c16="http://schemas.microsoft.com/office/drawing/2014/chart" uri="{C3380CC4-5D6E-409C-BE32-E72D297353CC}">
                <c16:uniqueId val="{00000BE1-C110-4B3C-98C7-D19B20EBE8CB}"/>
              </c:ext>
            </c:extLst>
          </c:dPt>
          <c:dPt>
            <c:idx val="1520"/>
            <c:invertIfNegative val="1"/>
            <c:bubble3D val="0"/>
            <c:spPr>
              <a:solidFill>
                <a:srgbClr val="AEABAB"/>
              </a:solidFill>
            </c:spPr>
            <c:extLst>
              <c:ext xmlns:c16="http://schemas.microsoft.com/office/drawing/2014/chart" uri="{C3380CC4-5D6E-409C-BE32-E72D297353CC}">
                <c16:uniqueId val="{00000BE3-C110-4B3C-98C7-D19B20EBE8CB}"/>
              </c:ext>
            </c:extLst>
          </c:dPt>
          <c:dPt>
            <c:idx val="1521"/>
            <c:invertIfNegative val="1"/>
            <c:bubble3D val="0"/>
            <c:spPr>
              <a:solidFill>
                <a:srgbClr val="AEABAB"/>
              </a:solidFill>
            </c:spPr>
            <c:extLst>
              <c:ext xmlns:c16="http://schemas.microsoft.com/office/drawing/2014/chart" uri="{C3380CC4-5D6E-409C-BE32-E72D297353CC}">
                <c16:uniqueId val="{00000BE5-C110-4B3C-98C7-D19B20EBE8CB}"/>
              </c:ext>
            </c:extLst>
          </c:dPt>
          <c:dPt>
            <c:idx val="1522"/>
            <c:invertIfNegative val="1"/>
            <c:bubble3D val="0"/>
            <c:spPr>
              <a:solidFill>
                <a:srgbClr val="AEABAB"/>
              </a:solidFill>
            </c:spPr>
            <c:extLst>
              <c:ext xmlns:c16="http://schemas.microsoft.com/office/drawing/2014/chart" uri="{C3380CC4-5D6E-409C-BE32-E72D297353CC}">
                <c16:uniqueId val="{00000BE7-C110-4B3C-98C7-D19B20EBE8CB}"/>
              </c:ext>
            </c:extLst>
          </c:dPt>
          <c:dPt>
            <c:idx val="1523"/>
            <c:invertIfNegative val="1"/>
            <c:bubble3D val="0"/>
            <c:spPr>
              <a:solidFill>
                <a:srgbClr val="AEABAB"/>
              </a:solidFill>
            </c:spPr>
            <c:extLst>
              <c:ext xmlns:c16="http://schemas.microsoft.com/office/drawing/2014/chart" uri="{C3380CC4-5D6E-409C-BE32-E72D297353CC}">
                <c16:uniqueId val="{00000BE9-C110-4B3C-98C7-D19B20EBE8CB}"/>
              </c:ext>
            </c:extLst>
          </c:dPt>
          <c:dPt>
            <c:idx val="1524"/>
            <c:invertIfNegative val="1"/>
            <c:bubble3D val="0"/>
            <c:spPr>
              <a:solidFill>
                <a:srgbClr val="AEABAB"/>
              </a:solidFill>
            </c:spPr>
            <c:extLst>
              <c:ext xmlns:c16="http://schemas.microsoft.com/office/drawing/2014/chart" uri="{C3380CC4-5D6E-409C-BE32-E72D297353CC}">
                <c16:uniqueId val="{00000BEB-C110-4B3C-98C7-D19B20EBE8CB}"/>
              </c:ext>
            </c:extLst>
          </c:dPt>
          <c:dPt>
            <c:idx val="1525"/>
            <c:invertIfNegative val="1"/>
            <c:bubble3D val="0"/>
            <c:spPr>
              <a:solidFill>
                <a:srgbClr val="AEABAB"/>
              </a:solidFill>
            </c:spPr>
            <c:extLst>
              <c:ext xmlns:c16="http://schemas.microsoft.com/office/drawing/2014/chart" uri="{C3380CC4-5D6E-409C-BE32-E72D297353CC}">
                <c16:uniqueId val="{00000BED-C110-4B3C-98C7-D19B20EBE8CB}"/>
              </c:ext>
            </c:extLst>
          </c:dPt>
          <c:dPt>
            <c:idx val="1526"/>
            <c:invertIfNegative val="1"/>
            <c:bubble3D val="0"/>
            <c:spPr>
              <a:solidFill>
                <a:srgbClr val="AEABAB"/>
              </a:solidFill>
            </c:spPr>
            <c:extLst>
              <c:ext xmlns:c16="http://schemas.microsoft.com/office/drawing/2014/chart" uri="{C3380CC4-5D6E-409C-BE32-E72D297353CC}">
                <c16:uniqueId val="{00000BEF-C110-4B3C-98C7-D19B20EBE8CB}"/>
              </c:ext>
            </c:extLst>
          </c:dPt>
          <c:dPt>
            <c:idx val="1527"/>
            <c:invertIfNegative val="1"/>
            <c:bubble3D val="0"/>
            <c:spPr>
              <a:solidFill>
                <a:srgbClr val="AEABAB"/>
              </a:solidFill>
            </c:spPr>
            <c:extLst>
              <c:ext xmlns:c16="http://schemas.microsoft.com/office/drawing/2014/chart" uri="{C3380CC4-5D6E-409C-BE32-E72D297353CC}">
                <c16:uniqueId val="{00000BF1-C110-4B3C-98C7-D19B20EBE8CB}"/>
              </c:ext>
            </c:extLst>
          </c:dPt>
          <c:dPt>
            <c:idx val="1528"/>
            <c:invertIfNegative val="1"/>
            <c:bubble3D val="0"/>
            <c:spPr>
              <a:solidFill>
                <a:srgbClr val="AEABAB"/>
              </a:solidFill>
            </c:spPr>
            <c:extLst>
              <c:ext xmlns:c16="http://schemas.microsoft.com/office/drawing/2014/chart" uri="{C3380CC4-5D6E-409C-BE32-E72D297353CC}">
                <c16:uniqueId val="{00000BF3-C110-4B3C-98C7-D19B20EBE8CB}"/>
              </c:ext>
            </c:extLst>
          </c:dPt>
          <c:dPt>
            <c:idx val="1529"/>
            <c:invertIfNegative val="1"/>
            <c:bubble3D val="0"/>
            <c:spPr>
              <a:solidFill>
                <a:srgbClr val="AEABAB"/>
              </a:solidFill>
            </c:spPr>
            <c:extLst>
              <c:ext xmlns:c16="http://schemas.microsoft.com/office/drawing/2014/chart" uri="{C3380CC4-5D6E-409C-BE32-E72D297353CC}">
                <c16:uniqueId val="{00000BF5-C110-4B3C-98C7-D19B20EBE8CB}"/>
              </c:ext>
            </c:extLst>
          </c:dPt>
          <c:dPt>
            <c:idx val="1530"/>
            <c:invertIfNegative val="1"/>
            <c:bubble3D val="0"/>
            <c:spPr>
              <a:solidFill>
                <a:srgbClr val="AEABAB"/>
              </a:solidFill>
            </c:spPr>
            <c:extLst>
              <c:ext xmlns:c16="http://schemas.microsoft.com/office/drawing/2014/chart" uri="{C3380CC4-5D6E-409C-BE32-E72D297353CC}">
                <c16:uniqueId val="{00000BF7-C110-4B3C-98C7-D19B20EBE8CB}"/>
              </c:ext>
            </c:extLst>
          </c:dPt>
          <c:dPt>
            <c:idx val="1531"/>
            <c:invertIfNegative val="1"/>
            <c:bubble3D val="0"/>
            <c:spPr>
              <a:solidFill>
                <a:srgbClr val="AEABAB"/>
              </a:solidFill>
            </c:spPr>
            <c:extLst>
              <c:ext xmlns:c16="http://schemas.microsoft.com/office/drawing/2014/chart" uri="{C3380CC4-5D6E-409C-BE32-E72D297353CC}">
                <c16:uniqueId val="{00000BF9-C110-4B3C-98C7-D19B20EBE8CB}"/>
              </c:ext>
            </c:extLst>
          </c:dPt>
          <c:dPt>
            <c:idx val="1532"/>
            <c:invertIfNegative val="1"/>
            <c:bubble3D val="0"/>
            <c:spPr>
              <a:solidFill>
                <a:srgbClr val="AEABAB"/>
              </a:solidFill>
            </c:spPr>
            <c:extLst>
              <c:ext xmlns:c16="http://schemas.microsoft.com/office/drawing/2014/chart" uri="{C3380CC4-5D6E-409C-BE32-E72D297353CC}">
                <c16:uniqueId val="{00000BFB-C110-4B3C-98C7-D19B20EBE8CB}"/>
              </c:ext>
            </c:extLst>
          </c:dPt>
          <c:dPt>
            <c:idx val="1533"/>
            <c:invertIfNegative val="1"/>
            <c:bubble3D val="0"/>
            <c:spPr>
              <a:solidFill>
                <a:srgbClr val="AEABAB"/>
              </a:solidFill>
            </c:spPr>
            <c:extLst>
              <c:ext xmlns:c16="http://schemas.microsoft.com/office/drawing/2014/chart" uri="{C3380CC4-5D6E-409C-BE32-E72D297353CC}">
                <c16:uniqueId val="{00000BFD-C110-4B3C-98C7-D19B20EBE8CB}"/>
              </c:ext>
            </c:extLst>
          </c:dPt>
          <c:dPt>
            <c:idx val="1534"/>
            <c:invertIfNegative val="1"/>
            <c:bubble3D val="0"/>
            <c:spPr>
              <a:solidFill>
                <a:srgbClr val="AEABAB"/>
              </a:solidFill>
            </c:spPr>
            <c:extLst>
              <c:ext xmlns:c16="http://schemas.microsoft.com/office/drawing/2014/chart" uri="{C3380CC4-5D6E-409C-BE32-E72D297353CC}">
                <c16:uniqueId val="{00000BFF-C110-4B3C-98C7-D19B20EBE8CB}"/>
              </c:ext>
            </c:extLst>
          </c:dPt>
          <c:dPt>
            <c:idx val="1535"/>
            <c:invertIfNegative val="1"/>
            <c:bubble3D val="0"/>
            <c:spPr>
              <a:solidFill>
                <a:srgbClr val="AEABAB"/>
              </a:solidFill>
            </c:spPr>
            <c:extLst>
              <c:ext xmlns:c16="http://schemas.microsoft.com/office/drawing/2014/chart" uri="{C3380CC4-5D6E-409C-BE32-E72D297353CC}">
                <c16:uniqueId val="{00000C01-C110-4B3C-98C7-D19B20EBE8CB}"/>
              </c:ext>
            </c:extLst>
          </c:dPt>
          <c:dPt>
            <c:idx val="1536"/>
            <c:invertIfNegative val="1"/>
            <c:bubble3D val="0"/>
            <c:spPr>
              <a:solidFill>
                <a:srgbClr val="AEABAB"/>
              </a:solidFill>
            </c:spPr>
            <c:extLst>
              <c:ext xmlns:c16="http://schemas.microsoft.com/office/drawing/2014/chart" uri="{C3380CC4-5D6E-409C-BE32-E72D297353CC}">
                <c16:uniqueId val="{00000C03-C110-4B3C-98C7-D19B20EBE8CB}"/>
              </c:ext>
            </c:extLst>
          </c:dPt>
          <c:dPt>
            <c:idx val="1537"/>
            <c:invertIfNegative val="1"/>
            <c:bubble3D val="0"/>
            <c:spPr>
              <a:solidFill>
                <a:srgbClr val="AEABAB"/>
              </a:solidFill>
            </c:spPr>
            <c:extLst>
              <c:ext xmlns:c16="http://schemas.microsoft.com/office/drawing/2014/chart" uri="{C3380CC4-5D6E-409C-BE32-E72D297353CC}">
                <c16:uniqueId val="{00000C05-C110-4B3C-98C7-D19B20EBE8CB}"/>
              </c:ext>
            </c:extLst>
          </c:dPt>
          <c:dPt>
            <c:idx val="1538"/>
            <c:invertIfNegative val="1"/>
            <c:bubble3D val="0"/>
            <c:spPr>
              <a:solidFill>
                <a:srgbClr val="AEABAB"/>
              </a:solidFill>
            </c:spPr>
            <c:extLst>
              <c:ext xmlns:c16="http://schemas.microsoft.com/office/drawing/2014/chart" uri="{C3380CC4-5D6E-409C-BE32-E72D297353CC}">
                <c16:uniqueId val="{00000C07-C110-4B3C-98C7-D19B20EBE8CB}"/>
              </c:ext>
            </c:extLst>
          </c:dPt>
          <c:dPt>
            <c:idx val="1539"/>
            <c:invertIfNegative val="1"/>
            <c:bubble3D val="0"/>
            <c:spPr>
              <a:solidFill>
                <a:srgbClr val="AEABAB"/>
              </a:solidFill>
            </c:spPr>
            <c:extLst>
              <c:ext xmlns:c16="http://schemas.microsoft.com/office/drawing/2014/chart" uri="{C3380CC4-5D6E-409C-BE32-E72D297353CC}">
                <c16:uniqueId val="{00000C09-C110-4B3C-98C7-D19B20EBE8CB}"/>
              </c:ext>
            </c:extLst>
          </c:dPt>
          <c:dPt>
            <c:idx val="1540"/>
            <c:invertIfNegative val="1"/>
            <c:bubble3D val="0"/>
            <c:spPr>
              <a:solidFill>
                <a:srgbClr val="AEABAB"/>
              </a:solidFill>
            </c:spPr>
            <c:extLst>
              <c:ext xmlns:c16="http://schemas.microsoft.com/office/drawing/2014/chart" uri="{C3380CC4-5D6E-409C-BE32-E72D297353CC}">
                <c16:uniqueId val="{00000C0B-C110-4B3C-98C7-D19B20EBE8CB}"/>
              </c:ext>
            </c:extLst>
          </c:dPt>
          <c:dPt>
            <c:idx val="1541"/>
            <c:invertIfNegative val="1"/>
            <c:bubble3D val="0"/>
            <c:spPr>
              <a:solidFill>
                <a:srgbClr val="AEABAB"/>
              </a:solidFill>
            </c:spPr>
            <c:extLst>
              <c:ext xmlns:c16="http://schemas.microsoft.com/office/drawing/2014/chart" uri="{C3380CC4-5D6E-409C-BE32-E72D297353CC}">
                <c16:uniqueId val="{00000C0D-C110-4B3C-98C7-D19B20EBE8CB}"/>
              </c:ext>
            </c:extLst>
          </c:dPt>
          <c:dPt>
            <c:idx val="1542"/>
            <c:invertIfNegative val="1"/>
            <c:bubble3D val="0"/>
            <c:spPr>
              <a:solidFill>
                <a:srgbClr val="AEABAB"/>
              </a:solidFill>
            </c:spPr>
            <c:extLst>
              <c:ext xmlns:c16="http://schemas.microsoft.com/office/drawing/2014/chart" uri="{C3380CC4-5D6E-409C-BE32-E72D297353CC}">
                <c16:uniqueId val="{00000C0F-C110-4B3C-98C7-D19B20EBE8CB}"/>
              </c:ext>
            </c:extLst>
          </c:dPt>
          <c:dPt>
            <c:idx val="1543"/>
            <c:invertIfNegative val="1"/>
            <c:bubble3D val="0"/>
            <c:spPr>
              <a:solidFill>
                <a:srgbClr val="AEABAB"/>
              </a:solidFill>
            </c:spPr>
            <c:extLst>
              <c:ext xmlns:c16="http://schemas.microsoft.com/office/drawing/2014/chart" uri="{C3380CC4-5D6E-409C-BE32-E72D297353CC}">
                <c16:uniqueId val="{00000C11-C110-4B3C-98C7-D19B20EBE8CB}"/>
              </c:ext>
            </c:extLst>
          </c:dPt>
          <c:dPt>
            <c:idx val="1544"/>
            <c:invertIfNegative val="1"/>
            <c:bubble3D val="0"/>
            <c:spPr>
              <a:solidFill>
                <a:srgbClr val="AEABAB"/>
              </a:solidFill>
            </c:spPr>
            <c:extLst>
              <c:ext xmlns:c16="http://schemas.microsoft.com/office/drawing/2014/chart" uri="{C3380CC4-5D6E-409C-BE32-E72D297353CC}">
                <c16:uniqueId val="{00000C13-C110-4B3C-98C7-D19B20EBE8CB}"/>
              </c:ext>
            </c:extLst>
          </c:dPt>
          <c:dPt>
            <c:idx val="1545"/>
            <c:invertIfNegative val="1"/>
            <c:bubble3D val="0"/>
            <c:spPr>
              <a:solidFill>
                <a:srgbClr val="AEABAB"/>
              </a:solidFill>
            </c:spPr>
            <c:extLst>
              <c:ext xmlns:c16="http://schemas.microsoft.com/office/drawing/2014/chart" uri="{C3380CC4-5D6E-409C-BE32-E72D297353CC}">
                <c16:uniqueId val="{00000C15-C110-4B3C-98C7-D19B20EBE8CB}"/>
              </c:ext>
            </c:extLst>
          </c:dPt>
          <c:dPt>
            <c:idx val="1546"/>
            <c:invertIfNegative val="1"/>
            <c:bubble3D val="0"/>
            <c:spPr>
              <a:solidFill>
                <a:srgbClr val="AEABAB"/>
              </a:solidFill>
            </c:spPr>
            <c:extLst>
              <c:ext xmlns:c16="http://schemas.microsoft.com/office/drawing/2014/chart" uri="{C3380CC4-5D6E-409C-BE32-E72D297353CC}">
                <c16:uniqueId val="{00000C17-C110-4B3C-98C7-D19B20EBE8CB}"/>
              </c:ext>
            </c:extLst>
          </c:dPt>
          <c:dPt>
            <c:idx val="1547"/>
            <c:invertIfNegative val="1"/>
            <c:bubble3D val="0"/>
            <c:spPr>
              <a:solidFill>
                <a:srgbClr val="AEABAB"/>
              </a:solidFill>
            </c:spPr>
            <c:extLst>
              <c:ext xmlns:c16="http://schemas.microsoft.com/office/drawing/2014/chart" uri="{C3380CC4-5D6E-409C-BE32-E72D297353CC}">
                <c16:uniqueId val="{00000C19-C110-4B3C-98C7-D19B20EBE8CB}"/>
              </c:ext>
            </c:extLst>
          </c:dPt>
          <c:dPt>
            <c:idx val="1548"/>
            <c:invertIfNegative val="1"/>
            <c:bubble3D val="0"/>
            <c:spPr>
              <a:solidFill>
                <a:srgbClr val="AEABAB"/>
              </a:solidFill>
            </c:spPr>
            <c:extLst>
              <c:ext xmlns:c16="http://schemas.microsoft.com/office/drawing/2014/chart" uri="{C3380CC4-5D6E-409C-BE32-E72D297353CC}">
                <c16:uniqueId val="{00000C1B-C110-4B3C-98C7-D19B20EBE8CB}"/>
              </c:ext>
            </c:extLst>
          </c:dPt>
          <c:dPt>
            <c:idx val="1549"/>
            <c:invertIfNegative val="1"/>
            <c:bubble3D val="0"/>
            <c:spPr>
              <a:solidFill>
                <a:srgbClr val="AEABAB"/>
              </a:solidFill>
            </c:spPr>
            <c:extLst>
              <c:ext xmlns:c16="http://schemas.microsoft.com/office/drawing/2014/chart" uri="{C3380CC4-5D6E-409C-BE32-E72D297353CC}">
                <c16:uniqueId val="{00000C1D-C110-4B3C-98C7-D19B20EBE8CB}"/>
              </c:ext>
            </c:extLst>
          </c:dPt>
          <c:dPt>
            <c:idx val="1550"/>
            <c:invertIfNegative val="1"/>
            <c:bubble3D val="0"/>
            <c:spPr>
              <a:solidFill>
                <a:srgbClr val="AEABAB"/>
              </a:solidFill>
            </c:spPr>
            <c:extLst>
              <c:ext xmlns:c16="http://schemas.microsoft.com/office/drawing/2014/chart" uri="{C3380CC4-5D6E-409C-BE32-E72D297353CC}">
                <c16:uniqueId val="{00000C1F-C110-4B3C-98C7-D19B20EBE8CB}"/>
              </c:ext>
            </c:extLst>
          </c:dPt>
          <c:dPt>
            <c:idx val="1551"/>
            <c:invertIfNegative val="1"/>
            <c:bubble3D val="0"/>
            <c:spPr>
              <a:solidFill>
                <a:srgbClr val="AEABAB"/>
              </a:solidFill>
            </c:spPr>
            <c:extLst>
              <c:ext xmlns:c16="http://schemas.microsoft.com/office/drawing/2014/chart" uri="{C3380CC4-5D6E-409C-BE32-E72D297353CC}">
                <c16:uniqueId val="{00000C21-C110-4B3C-98C7-D19B20EBE8CB}"/>
              </c:ext>
            </c:extLst>
          </c:dPt>
          <c:dPt>
            <c:idx val="1552"/>
            <c:invertIfNegative val="1"/>
            <c:bubble3D val="0"/>
            <c:spPr>
              <a:solidFill>
                <a:srgbClr val="AEABAB"/>
              </a:solidFill>
            </c:spPr>
            <c:extLst>
              <c:ext xmlns:c16="http://schemas.microsoft.com/office/drawing/2014/chart" uri="{C3380CC4-5D6E-409C-BE32-E72D297353CC}">
                <c16:uniqueId val="{00000C23-C110-4B3C-98C7-D19B20EBE8CB}"/>
              </c:ext>
            </c:extLst>
          </c:dPt>
          <c:dPt>
            <c:idx val="1553"/>
            <c:invertIfNegative val="1"/>
            <c:bubble3D val="0"/>
            <c:spPr>
              <a:solidFill>
                <a:srgbClr val="AEABAB"/>
              </a:solidFill>
            </c:spPr>
            <c:extLst>
              <c:ext xmlns:c16="http://schemas.microsoft.com/office/drawing/2014/chart" uri="{C3380CC4-5D6E-409C-BE32-E72D297353CC}">
                <c16:uniqueId val="{00000C25-C110-4B3C-98C7-D19B20EBE8CB}"/>
              </c:ext>
            </c:extLst>
          </c:dPt>
          <c:dPt>
            <c:idx val="1554"/>
            <c:invertIfNegative val="1"/>
            <c:bubble3D val="0"/>
            <c:spPr>
              <a:solidFill>
                <a:srgbClr val="AEABAB"/>
              </a:solidFill>
            </c:spPr>
            <c:extLst>
              <c:ext xmlns:c16="http://schemas.microsoft.com/office/drawing/2014/chart" uri="{C3380CC4-5D6E-409C-BE32-E72D297353CC}">
                <c16:uniqueId val="{00000C27-C110-4B3C-98C7-D19B20EBE8CB}"/>
              </c:ext>
            </c:extLst>
          </c:dPt>
          <c:dPt>
            <c:idx val="1555"/>
            <c:invertIfNegative val="1"/>
            <c:bubble3D val="0"/>
            <c:spPr>
              <a:solidFill>
                <a:srgbClr val="AEABAB"/>
              </a:solidFill>
            </c:spPr>
            <c:extLst>
              <c:ext xmlns:c16="http://schemas.microsoft.com/office/drawing/2014/chart" uri="{C3380CC4-5D6E-409C-BE32-E72D297353CC}">
                <c16:uniqueId val="{00000C29-C110-4B3C-98C7-D19B20EBE8CB}"/>
              </c:ext>
            </c:extLst>
          </c:dPt>
          <c:dPt>
            <c:idx val="1556"/>
            <c:invertIfNegative val="1"/>
            <c:bubble3D val="0"/>
            <c:spPr>
              <a:solidFill>
                <a:srgbClr val="AEABAB"/>
              </a:solidFill>
            </c:spPr>
            <c:extLst>
              <c:ext xmlns:c16="http://schemas.microsoft.com/office/drawing/2014/chart" uri="{C3380CC4-5D6E-409C-BE32-E72D297353CC}">
                <c16:uniqueId val="{00000C2B-C110-4B3C-98C7-D19B20EBE8CB}"/>
              </c:ext>
            </c:extLst>
          </c:dPt>
          <c:dPt>
            <c:idx val="1557"/>
            <c:invertIfNegative val="1"/>
            <c:bubble3D val="0"/>
            <c:spPr>
              <a:solidFill>
                <a:srgbClr val="AEABAB"/>
              </a:solidFill>
            </c:spPr>
            <c:extLst>
              <c:ext xmlns:c16="http://schemas.microsoft.com/office/drawing/2014/chart" uri="{C3380CC4-5D6E-409C-BE32-E72D297353CC}">
                <c16:uniqueId val="{00000C2D-C110-4B3C-98C7-D19B20EBE8CB}"/>
              </c:ext>
            </c:extLst>
          </c:dPt>
          <c:dPt>
            <c:idx val="1558"/>
            <c:invertIfNegative val="1"/>
            <c:bubble3D val="0"/>
            <c:spPr>
              <a:solidFill>
                <a:srgbClr val="AEABAB"/>
              </a:solidFill>
            </c:spPr>
            <c:extLst>
              <c:ext xmlns:c16="http://schemas.microsoft.com/office/drawing/2014/chart" uri="{C3380CC4-5D6E-409C-BE32-E72D297353CC}">
                <c16:uniqueId val="{00000C2F-C110-4B3C-98C7-D19B20EBE8CB}"/>
              </c:ext>
            </c:extLst>
          </c:dPt>
          <c:dPt>
            <c:idx val="1559"/>
            <c:invertIfNegative val="1"/>
            <c:bubble3D val="0"/>
            <c:spPr>
              <a:solidFill>
                <a:srgbClr val="AEABAB"/>
              </a:solidFill>
            </c:spPr>
            <c:extLst>
              <c:ext xmlns:c16="http://schemas.microsoft.com/office/drawing/2014/chart" uri="{C3380CC4-5D6E-409C-BE32-E72D297353CC}">
                <c16:uniqueId val="{00000C31-C110-4B3C-98C7-D19B20EBE8CB}"/>
              </c:ext>
            </c:extLst>
          </c:dPt>
          <c:dPt>
            <c:idx val="1560"/>
            <c:invertIfNegative val="1"/>
            <c:bubble3D val="0"/>
            <c:spPr>
              <a:solidFill>
                <a:srgbClr val="AEABAB"/>
              </a:solidFill>
            </c:spPr>
            <c:extLst>
              <c:ext xmlns:c16="http://schemas.microsoft.com/office/drawing/2014/chart" uri="{C3380CC4-5D6E-409C-BE32-E72D297353CC}">
                <c16:uniqueId val="{00000C33-C110-4B3C-98C7-D19B20EBE8CB}"/>
              </c:ext>
            </c:extLst>
          </c:dPt>
          <c:dPt>
            <c:idx val="1561"/>
            <c:invertIfNegative val="1"/>
            <c:bubble3D val="0"/>
            <c:spPr>
              <a:solidFill>
                <a:srgbClr val="AEABAB"/>
              </a:solidFill>
            </c:spPr>
            <c:extLst>
              <c:ext xmlns:c16="http://schemas.microsoft.com/office/drawing/2014/chart" uri="{C3380CC4-5D6E-409C-BE32-E72D297353CC}">
                <c16:uniqueId val="{00000C35-C110-4B3C-98C7-D19B20EBE8CB}"/>
              </c:ext>
            </c:extLst>
          </c:dPt>
          <c:dPt>
            <c:idx val="1562"/>
            <c:invertIfNegative val="1"/>
            <c:bubble3D val="0"/>
            <c:spPr>
              <a:solidFill>
                <a:srgbClr val="AEABAB"/>
              </a:solidFill>
            </c:spPr>
            <c:extLst>
              <c:ext xmlns:c16="http://schemas.microsoft.com/office/drawing/2014/chart" uri="{C3380CC4-5D6E-409C-BE32-E72D297353CC}">
                <c16:uniqueId val="{00000C37-C110-4B3C-98C7-D19B20EBE8CB}"/>
              </c:ext>
            </c:extLst>
          </c:dPt>
          <c:dPt>
            <c:idx val="1563"/>
            <c:invertIfNegative val="1"/>
            <c:bubble3D val="0"/>
            <c:spPr>
              <a:solidFill>
                <a:srgbClr val="AEABAB"/>
              </a:solidFill>
            </c:spPr>
            <c:extLst>
              <c:ext xmlns:c16="http://schemas.microsoft.com/office/drawing/2014/chart" uri="{C3380CC4-5D6E-409C-BE32-E72D297353CC}">
                <c16:uniqueId val="{00000C39-C110-4B3C-98C7-D19B20EBE8CB}"/>
              </c:ext>
            </c:extLst>
          </c:dPt>
          <c:dPt>
            <c:idx val="1564"/>
            <c:invertIfNegative val="1"/>
            <c:bubble3D val="0"/>
            <c:spPr>
              <a:solidFill>
                <a:srgbClr val="AEABAB"/>
              </a:solidFill>
            </c:spPr>
            <c:extLst>
              <c:ext xmlns:c16="http://schemas.microsoft.com/office/drawing/2014/chart" uri="{C3380CC4-5D6E-409C-BE32-E72D297353CC}">
                <c16:uniqueId val="{00000C3B-C110-4B3C-98C7-D19B20EBE8CB}"/>
              </c:ext>
            </c:extLst>
          </c:dPt>
          <c:dPt>
            <c:idx val="1565"/>
            <c:invertIfNegative val="1"/>
            <c:bubble3D val="0"/>
            <c:spPr>
              <a:solidFill>
                <a:srgbClr val="AEABAB"/>
              </a:solidFill>
            </c:spPr>
            <c:extLst>
              <c:ext xmlns:c16="http://schemas.microsoft.com/office/drawing/2014/chart" uri="{C3380CC4-5D6E-409C-BE32-E72D297353CC}">
                <c16:uniqueId val="{00000C3D-C110-4B3C-98C7-D19B20EBE8CB}"/>
              </c:ext>
            </c:extLst>
          </c:dPt>
          <c:dPt>
            <c:idx val="1566"/>
            <c:invertIfNegative val="1"/>
            <c:bubble3D val="0"/>
            <c:spPr>
              <a:solidFill>
                <a:srgbClr val="AEABAB"/>
              </a:solidFill>
            </c:spPr>
            <c:extLst>
              <c:ext xmlns:c16="http://schemas.microsoft.com/office/drawing/2014/chart" uri="{C3380CC4-5D6E-409C-BE32-E72D297353CC}">
                <c16:uniqueId val="{00000C3F-C110-4B3C-98C7-D19B20EBE8CB}"/>
              </c:ext>
            </c:extLst>
          </c:dPt>
          <c:dPt>
            <c:idx val="1567"/>
            <c:invertIfNegative val="1"/>
            <c:bubble3D val="0"/>
            <c:spPr>
              <a:solidFill>
                <a:srgbClr val="AEABAB"/>
              </a:solidFill>
            </c:spPr>
            <c:extLst>
              <c:ext xmlns:c16="http://schemas.microsoft.com/office/drawing/2014/chart" uri="{C3380CC4-5D6E-409C-BE32-E72D297353CC}">
                <c16:uniqueId val="{00000C41-C110-4B3C-98C7-D19B20EBE8CB}"/>
              </c:ext>
            </c:extLst>
          </c:dPt>
          <c:dPt>
            <c:idx val="1568"/>
            <c:invertIfNegative val="1"/>
            <c:bubble3D val="0"/>
            <c:spPr>
              <a:solidFill>
                <a:srgbClr val="AEABAB"/>
              </a:solidFill>
            </c:spPr>
            <c:extLst>
              <c:ext xmlns:c16="http://schemas.microsoft.com/office/drawing/2014/chart" uri="{C3380CC4-5D6E-409C-BE32-E72D297353CC}">
                <c16:uniqueId val="{00000C43-C110-4B3C-98C7-D19B20EBE8CB}"/>
              </c:ext>
            </c:extLst>
          </c:dPt>
          <c:dPt>
            <c:idx val="1569"/>
            <c:invertIfNegative val="1"/>
            <c:bubble3D val="0"/>
            <c:spPr>
              <a:solidFill>
                <a:srgbClr val="AEABAB"/>
              </a:solidFill>
            </c:spPr>
            <c:extLst>
              <c:ext xmlns:c16="http://schemas.microsoft.com/office/drawing/2014/chart" uri="{C3380CC4-5D6E-409C-BE32-E72D297353CC}">
                <c16:uniqueId val="{00000C45-C110-4B3C-98C7-D19B20EBE8CB}"/>
              </c:ext>
            </c:extLst>
          </c:dPt>
          <c:dPt>
            <c:idx val="1570"/>
            <c:invertIfNegative val="1"/>
            <c:bubble3D val="0"/>
            <c:spPr>
              <a:solidFill>
                <a:srgbClr val="AEABAB"/>
              </a:solidFill>
            </c:spPr>
            <c:extLst>
              <c:ext xmlns:c16="http://schemas.microsoft.com/office/drawing/2014/chart" uri="{C3380CC4-5D6E-409C-BE32-E72D297353CC}">
                <c16:uniqueId val="{00000C47-C110-4B3C-98C7-D19B20EBE8CB}"/>
              </c:ext>
            </c:extLst>
          </c:dPt>
          <c:dPt>
            <c:idx val="1571"/>
            <c:invertIfNegative val="1"/>
            <c:bubble3D val="0"/>
            <c:spPr>
              <a:solidFill>
                <a:srgbClr val="AEABAB"/>
              </a:solidFill>
            </c:spPr>
            <c:extLst>
              <c:ext xmlns:c16="http://schemas.microsoft.com/office/drawing/2014/chart" uri="{C3380CC4-5D6E-409C-BE32-E72D297353CC}">
                <c16:uniqueId val="{00000C49-C110-4B3C-98C7-D19B20EBE8CB}"/>
              </c:ext>
            </c:extLst>
          </c:dPt>
          <c:dPt>
            <c:idx val="1572"/>
            <c:invertIfNegative val="1"/>
            <c:bubble3D val="0"/>
            <c:spPr>
              <a:solidFill>
                <a:srgbClr val="AEABAB"/>
              </a:solidFill>
            </c:spPr>
            <c:extLst>
              <c:ext xmlns:c16="http://schemas.microsoft.com/office/drawing/2014/chart" uri="{C3380CC4-5D6E-409C-BE32-E72D297353CC}">
                <c16:uniqueId val="{00000C4B-C110-4B3C-98C7-D19B20EBE8CB}"/>
              </c:ext>
            </c:extLst>
          </c:dPt>
          <c:dPt>
            <c:idx val="1573"/>
            <c:invertIfNegative val="1"/>
            <c:bubble3D val="0"/>
            <c:spPr>
              <a:solidFill>
                <a:srgbClr val="AEABAB"/>
              </a:solidFill>
            </c:spPr>
            <c:extLst>
              <c:ext xmlns:c16="http://schemas.microsoft.com/office/drawing/2014/chart" uri="{C3380CC4-5D6E-409C-BE32-E72D297353CC}">
                <c16:uniqueId val="{00000C4D-C110-4B3C-98C7-D19B20EBE8CB}"/>
              </c:ext>
            </c:extLst>
          </c:dPt>
          <c:dPt>
            <c:idx val="1574"/>
            <c:invertIfNegative val="1"/>
            <c:bubble3D val="0"/>
            <c:spPr>
              <a:solidFill>
                <a:srgbClr val="AEABAB"/>
              </a:solidFill>
            </c:spPr>
            <c:extLst>
              <c:ext xmlns:c16="http://schemas.microsoft.com/office/drawing/2014/chart" uri="{C3380CC4-5D6E-409C-BE32-E72D297353CC}">
                <c16:uniqueId val="{00000C4F-C110-4B3C-98C7-D19B20EBE8CB}"/>
              </c:ext>
            </c:extLst>
          </c:dPt>
          <c:dPt>
            <c:idx val="1575"/>
            <c:invertIfNegative val="1"/>
            <c:bubble3D val="0"/>
            <c:spPr>
              <a:solidFill>
                <a:srgbClr val="AEABAB"/>
              </a:solidFill>
            </c:spPr>
            <c:extLst>
              <c:ext xmlns:c16="http://schemas.microsoft.com/office/drawing/2014/chart" uri="{C3380CC4-5D6E-409C-BE32-E72D297353CC}">
                <c16:uniqueId val="{00000C51-C110-4B3C-98C7-D19B20EBE8CB}"/>
              </c:ext>
            </c:extLst>
          </c:dPt>
          <c:dPt>
            <c:idx val="1576"/>
            <c:invertIfNegative val="1"/>
            <c:bubble3D val="0"/>
            <c:spPr>
              <a:solidFill>
                <a:srgbClr val="AEABAB"/>
              </a:solidFill>
            </c:spPr>
            <c:extLst>
              <c:ext xmlns:c16="http://schemas.microsoft.com/office/drawing/2014/chart" uri="{C3380CC4-5D6E-409C-BE32-E72D297353CC}">
                <c16:uniqueId val="{00000C53-C110-4B3C-98C7-D19B20EBE8CB}"/>
              </c:ext>
            </c:extLst>
          </c:dPt>
          <c:dPt>
            <c:idx val="1577"/>
            <c:invertIfNegative val="1"/>
            <c:bubble3D val="0"/>
            <c:spPr>
              <a:solidFill>
                <a:srgbClr val="AEABAB"/>
              </a:solidFill>
            </c:spPr>
            <c:extLst>
              <c:ext xmlns:c16="http://schemas.microsoft.com/office/drawing/2014/chart" uri="{C3380CC4-5D6E-409C-BE32-E72D297353CC}">
                <c16:uniqueId val="{00000C55-C110-4B3C-98C7-D19B20EBE8CB}"/>
              </c:ext>
            </c:extLst>
          </c:dPt>
          <c:dPt>
            <c:idx val="1578"/>
            <c:invertIfNegative val="1"/>
            <c:bubble3D val="0"/>
            <c:spPr>
              <a:solidFill>
                <a:srgbClr val="AEABAB"/>
              </a:solidFill>
            </c:spPr>
            <c:extLst>
              <c:ext xmlns:c16="http://schemas.microsoft.com/office/drawing/2014/chart" uri="{C3380CC4-5D6E-409C-BE32-E72D297353CC}">
                <c16:uniqueId val="{00000C57-C110-4B3C-98C7-D19B20EBE8CB}"/>
              </c:ext>
            </c:extLst>
          </c:dPt>
          <c:dPt>
            <c:idx val="1579"/>
            <c:invertIfNegative val="1"/>
            <c:bubble3D val="0"/>
            <c:spPr>
              <a:solidFill>
                <a:srgbClr val="AEABAB"/>
              </a:solidFill>
            </c:spPr>
            <c:extLst>
              <c:ext xmlns:c16="http://schemas.microsoft.com/office/drawing/2014/chart" uri="{C3380CC4-5D6E-409C-BE32-E72D297353CC}">
                <c16:uniqueId val="{00000C59-C110-4B3C-98C7-D19B20EBE8CB}"/>
              </c:ext>
            </c:extLst>
          </c:dPt>
          <c:dPt>
            <c:idx val="1580"/>
            <c:invertIfNegative val="1"/>
            <c:bubble3D val="0"/>
            <c:spPr>
              <a:solidFill>
                <a:srgbClr val="AEABAB"/>
              </a:solidFill>
            </c:spPr>
            <c:extLst>
              <c:ext xmlns:c16="http://schemas.microsoft.com/office/drawing/2014/chart" uri="{C3380CC4-5D6E-409C-BE32-E72D297353CC}">
                <c16:uniqueId val="{00000C5B-C110-4B3C-98C7-D19B20EBE8CB}"/>
              </c:ext>
            </c:extLst>
          </c:dPt>
          <c:dPt>
            <c:idx val="1581"/>
            <c:invertIfNegative val="1"/>
            <c:bubble3D val="0"/>
            <c:spPr>
              <a:solidFill>
                <a:srgbClr val="AEABAB"/>
              </a:solidFill>
            </c:spPr>
            <c:extLst>
              <c:ext xmlns:c16="http://schemas.microsoft.com/office/drawing/2014/chart" uri="{C3380CC4-5D6E-409C-BE32-E72D297353CC}">
                <c16:uniqueId val="{00000C5D-C110-4B3C-98C7-D19B20EBE8CB}"/>
              </c:ext>
            </c:extLst>
          </c:dPt>
          <c:dPt>
            <c:idx val="1582"/>
            <c:invertIfNegative val="1"/>
            <c:bubble3D val="0"/>
            <c:spPr>
              <a:solidFill>
                <a:srgbClr val="AEABAB"/>
              </a:solidFill>
            </c:spPr>
            <c:extLst>
              <c:ext xmlns:c16="http://schemas.microsoft.com/office/drawing/2014/chart" uri="{C3380CC4-5D6E-409C-BE32-E72D297353CC}">
                <c16:uniqueId val="{00000C5F-C110-4B3C-98C7-D19B20EBE8CB}"/>
              </c:ext>
            </c:extLst>
          </c:dPt>
          <c:dPt>
            <c:idx val="1583"/>
            <c:invertIfNegative val="1"/>
            <c:bubble3D val="0"/>
            <c:spPr>
              <a:solidFill>
                <a:srgbClr val="AEABAB"/>
              </a:solidFill>
            </c:spPr>
            <c:extLst>
              <c:ext xmlns:c16="http://schemas.microsoft.com/office/drawing/2014/chart" uri="{C3380CC4-5D6E-409C-BE32-E72D297353CC}">
                <c16:uniqueId val="{00000C61-C110-4B3C-98C7-D19B20EBE8CB}"/>
              </c:ext>
            </c:extLst>
          </c:dPt>
          <c:dPt>
            <c:idx val="1584"/>
            <c:invertIfNegative val="1"/>
            <c:bubble3D val="0"/>
            <c:spPr>
              <a:solidFill>
                <a:srgbClr val="AEABAB"/>
              </a:solidFill>
            </c:spPr>
            <c:extLst>
              <c:ext xmlns:c16="http://schemas.microsoft.com/office/drawing/2014/chart" uri="{C3380CC4-5D6E-409C-BE32-E72D297353CC}">
                <c16:uniqueId val="{00000C63-C110-4B3C-98C7-D19B20EBE8CB}"/>
              </c:ext>
            </c:extLst>
          </c:dPt>
          <c:dPt>
            <c:idx val="1585"/>
            <c:invertIfNegative val="1"/>
            <c:bubble3D val="0"/>
            <c:spPr>
              <a:solidFill>
                <a:srgbClr val="AEABAB"/>
              </a:solidFill>
            </c:spPr>
            <c:extLst>
              <c:ext xmlns:c16="http://schemas.microsoft.com/office/drawing/2014/chart" uri="{C3380CC4-5D6E-409C-BE32-E72D297353CC}">
                <c16:uniqueId val="{00000C65-C110-4B3C-98C7-D19B20EBE8CB}"/>
              </c:ext>
            </c:extLst>
          </c:dPt>
          <c:dPt>
            <c:idx val="1586"/>
            <c:invertIfNegative val="1"/>
            <c:bubble3D val="0"/>
            <c:spPr>
              <a:solidFill>
                <a:srgbClr val="AEABAB"/>
              </a:solidFill>
            </c:spPr>
            <c:extLst>
              <c:ext xmlns:c16="http://schemas.microsoft.com/office/drawing/2014/chart" uri="{C3380CC4-5D6E-409C-BE32-E72D297353CC}">
                <c16:uniqueId val="{00000C67-C110-4B3C-98C7-D19B20EBE8CB}"/>
              </c:ext>
            </c:extLst>
          </c:dPt>
          <c:dPt>
            <c:idx val="1587"/>
            <c:invertIfNegative val="1"/>
            <c:bubble3D val="0"/>
            <c:spPr>
              <a:solidFill>
                <a:srgbClr val="AEABAB"/>
              </a:solidFill>
            </c:spPr>
            <c:extLst>
              <c:ext xmlns:c16="http://schemas.microsoft.com/office/drawing/2014/chart" uri="{C3380CC4-5D6E-409C-BE32-E72D297353CC}">
                <c16:uniqueId val="{00000C69-C110-4B3C-98C7-D19B20EBE8CB}"/>
              </c:ext>
            </c:extLst>
          </c:dPt>
          <c:dPt>
            <c:idx val="1588"/>
            <c:invertIfNegative val="1"/>
            <c:bubble3D val="0"/>
            <c:spPr>
              <a:solidFill>
                <a:srgbClr val="AEABAB"/>
              </a:solidFill>
            </c:spPr>
            <c:extLst>
              <c:ext xmlns:c16="http://schemas.microsoft.com/office/drawing/2014/chart" uri="{C3380CC4-5D6E-409C-BE32-E72D297353CC}">
                <c16:uniqueId val="{00000C6B-C110-4B3C-98C7-D19B20EBE8CB}"/>
              </c:ext>
            </c:extLst>
          </c:dPt>
          <c:dPt>
            <c:idx val="1589"/>
            <c:invertIfNegative val="1"/>
            <c:bubble3D val="0"/>
            <c:spPr>
              <a:solidFill>
                <a:srgbClr val="AEABAB"/>
              </a:solidFill>
            </c:spPr>
            <c:extLst>
              <c:ext xmlns:c16="http://schemas.microsoft.com/office/drawing/2014/chart" uri="{C3380CC4-5D6E-409C-BE32-E72D297353CC}">
                <c16:uniqueId val="{00000C6D-C110-4B3C-98C7-D19B20EBE8CB}"/>
              </c:ext>
            </c:extLst>
          </c:dPt>
          <c:dPt>
            <c:idx val="1590"/>
            <c:invertIfNegative val="1"/>
            <c:bubble3D val="0"/>
            <c:spPr>
              <a:solidFill>
                <a:srgbClr val="AEABAB"/>
              </a:solidFill>
            </c:spPr>
            <c:extLst>
              <c:ext xmlns:c16="http://schemas.microsoft.com/office/drawing/2014/chart" uri="{C3380CC4-5D6E-409C-BE32-E72D297353CC}">
                <c16:uniqueId val="{00000C6F-C110-4B3C-98C7-D19B20EBE8CB}"/>
              </c:ext>
            </c:extLst>
          </c:dPt>
          <c:dPt>
            <c:idx val="1591"/>
            <c:invertIfNegative val="1"/>
            <c:bubble3D val="0"/>
            <c:spPr>
              <a:solidFill>
                <a:srgbClr val="AEABAB"/>
              </a:solidFill>
            </c:spPr>
            <c:extLst>
              <c:ext xmlns:c16="http://schemas.microsoft.com/office/drawing/2014/chart" uri="{C3380CC4-5D6E-409C-BE32-E72D297353CC}">
                <c16:uniqueId val="{00000C71-C110-4B3C-98C7-D19B20EBE8CB}"/>
              </c:ext>
            </c:extLst>
          </c:dPt>
          <c:dPt>
            <c:idx val="1592"/>
            <c:invertIfNegative val="1"/>
            <c:bubble3D val="0"/>
            <c:spPr>
              <a:solidFill>
                <a:srgbClr val="AEABAB"/>
              </a:solidFill>
            </c:spPr>
            <c:extLst>
              <c:ext xmlns:c16="http://schemas.microsoft.com/office/drawing/2014/chart" uri="{C3380CC4-5D6E-409C-BE32-E72D297353CC}">
                <c16:uniqueId val="{00000C73-C110-4B3C-98C7-D19B20EBE8CB}"/>
              </c:ext>
            </c:extLst>
          </c:dPt>
          <c:dPt>
            <c:idx val="1593"/>
            <c:invertIfNegative val="1"/>
            <c:bubble3D val="0"/>
            <c:spPr>
              <a:solidFill>
                <a:srgbClr val="AEABAB"/>
              </a:solidFill>
            </c:spPr>
            <c:extLst>
              <c:ext xmlns:c16="http://schemas.microsoft.com/office/drawing/2014/chart" uri="{C3380CC4-5D6E-409C-BE32-E72D297353CC}">
                <c16:uniqueId val="{00000C75-C110-4B3C-98C7-D19B20EBE8CB}"/>
              </c:ext>
            </c:extLst>
          </c:dPt>
          <c:dPt>
            <c:idx val="1594"/>
            <c:invertIfNegative val="1"/>
            <c:bubble3D val="0"/>
            <c:spPr>
              <a:solidFill>
                <a:srgbClr val="AEABAB"/>
              </a:solidFill>
            </c:spPr>
            <c:extLst>
              <c:ext xmlns:c16="http://schemas.microsoft.com/office/drawing/2014/chart" uri="{C3380CC4-5D6E-409C-BE32-E72D297353CC}">
                <c16:uniqueId val="{00000C77-C110-4B3C-98C7-D19B20EBE8CB}"/>
              </c:ext>
            </c:extLst>
          </c:dPt>
          <c:dPt>
            <c:idx val="1595"/>
            <c:invertIfNegative val="1"/>
            <c:bubble3D val="0"/>
            <c:spPr>
              <a:solidFill>
                <a:srgbClr val="AEABAB"/>
              </a:solidFill>
            </c:spPr>
            <c:extLst>
              <c:ext xmlns:c16="http://schemas.microsoft.com/office/drawing/2014/chart" uri="{C3380CC4-5D6E-409C-BE32-E72D297353CC}">
                <c16:uniqueId val="{00000C79-C110-4B3C-98C7-D19B20EBE8CB}"/>
              </c:ext>
            </c:extLst>
          </c:dPt>
          <c:dPt>
            <c:idx val="1596"/>
            <c:invertIfNegative val="1"/>
            <c:bubble3D val="0"/>
            <c:spPr>
              <a:solidFill>
                <a:srgbClr val="AEABAB"/>
              </a:solidFill>
            </c:spPr>
            <c:extLst>
              <c:ext xmlns:c16="http://schemas.microsoft.com/office/drawing/2014/chart" uri="{C3380CC4-5D6E-409C-BE32-E72D297353CC}">
                <c16:uniqueId val="{00000C7B-C110-4B3C-98C7-D19B20EBE8CB}"/>
              </c:ext>
            </c:extLst>
          </c:dPt>
          <c:dPt>
            <c:idx val="1597"/>
            <c:invertIfNegative val="1"/>
            <c:bubble3D val="0"/>
            <c:spPr>
              <a:solidFill>
                <a:srgbClr val="AEABAB"/>
              </a:solidFill>
            </c:spPr>
            <c:extLst>
              <c:ext xmlns:c16="http://schemas.microsoft.com/office/drawing/2014/chart" uri="{C3380CC4-5D6E-409C-BE32-E72D297353CC}">
                <c16:uniqueId val="{00000C7D-C110-4B3C-98C7-D19B20EBE8CB}"/>
              </c:ext>
            </c:extLst>
          </c:dPt>
          <c:dPt>
            <c:idx val="1598"/>
            <c:invertIfNegative val="1"/>
            <c:bubble3D val="0"/>
            <c:spPr>
              <a:solidFill>
                <a:srgbClr val="AEABAB"/>
              </a:solidFill>
            </c:spPr>
            <c:extLst>
              <c:ext xmlns:c16="http://schemas.microsoft.com/office/drawing/2014/chart" uri="{C3380CC4-5D6E-409C-BE32-E72D297353CC}">
                <c16:uniqueId val="{00000C7F-C110-4B3C-98C7-D19B20EBE8CB}"/>
              </c:ext>
            </c:extLst>
          </c:dPt>
          <c:dPt>
            <c:idx val="1599"/>
            <c:invertIfNegative val="1"/>
            <c:bubble3D val="0"/>
            <c:spPr>
              <a:solidFill>
                <a:srgbClr val="AEABAB"/>
              </a:solidFill>
            </c:spPr>
            <c:extLst>
              <c:ext xmlns:c16="http://schemas.microsoft.com/office/drawing/2014/chart" uri="{C3380CC4-5D6E-409C-BE32-E72D297353CC}">
                <c16:uniqueId val="{00000C81-C110-4B3C-98C7-D19B20EBE8CB}"/>
              </c:ext>
            </c:extLst>
          </c:dPt>
          <c:dPt>
            <c:idx val="1600"/>
            <c:invertIfNegative val="1"/>
            <c:bubble3D val="0"/>
            <c:spPr>
              <a:solidFill>
                <a:srgbClr val="AEABAB"/>
              </a:solidFill>
            </c:spPr>
            <c:extLst>
              <c:ext xmlns:c16="http://schemas.microsoft.com/office/drawing/2014/chart" uri="{C3380CC4-5D6E-409C-BE32-E72D297353CC}">
                <c16:uniqueId val="{00000C83-C110-4B3C-98C7-D19B20EBE8CB}"/>
              </c:ext>
            </c:extLst>
          </c:dPt>
          <c:dPt>
            <c:idx val="1601"/>
            <c:invertIfNegative val="1"/>
            <c:bubble3D val="0"/>
            <c:spPr>
              <a:solidFill>
                <a:srgbClr val="AEABAB"/>
              </a:solidFill>
            </c:spPr>
            <c:extLst>
              <c:ext xmlns:c16="http://schemas.microsoft.com/office/drawing/2014/chart" uri="{C3380CC4-5D6E-409C-BE32-E72D297353CC}">
                <c16:uniqueId val="{00000C85-C110-4B3C-98C7-D19B20EBE8CB}"/>
              </c:ext>
            </c:extLst>
          </c:dPt>
          <c:dPt>
            <c:idx val="1602"/>
            <c:invertIfNegative val="1"/>
            <c:bubble3D val="0"/>
            <c:spPr>
              <a:solidFill>
                <a:srgbClr val="AEABAB"/>
              </a:solidFill>
            </c:spPr>
            <c:extLst>
              <c:ext xmlns:c16="http://schemas.microsoft.com/office/drawing/2014/chart" uri="{C3380CC4-5D6E-409C-BE32-E72D297353CC}">
                <c16:uniqueId val="{00000C87-C110-4B3C-98C7-D19B20EBE8CB}"/>
              </c:ext>
            </c:extLst>
          </c:dPt>
          <c:dPt>
            <c:idx val="1603"/>
            <c:invertIfNegative val="1"/>
            <c:bubble3D val="0"/>
            <c:spPr>
              <a:solidFill>
                <a:srgbClr val="AEABAB"/>
              </a:solidFill>
            </c:spPr>
            <c:extLst>
              <c:ext xmlns:c16="http://schemas.microsoft.com/office/drawing/2014/chart" uri="{C3380CC4-5D6E-409C-BE32-E72D297353CC}">
                <c16:uniqueId val="{00000C89-C110-4B3C-98C7-D19B20EBE8CB}"/>
              </c:ext>
            </c:extLst>
          </c:dPt>
          <c:dPt>
            <c:idx val="1604"/>
            <c:invertIfNegative val="1"/>
            <c:bubble3D val="0"/>
            <c:spPr>
              <a:solidFill>
                <a:srgbClr val="AEABAB"/>
              </a:solidFill>
            </c:spPr>
            <c:extLst>
              <c:ext xmlns:c16="http://schemas.microsoft.com/office/drawing/2014/chart" uri="{C3380CC4-5D6E-409C-BE32-E72D297353CC}">
                <c16:uniqueId val="{00000C8B-C110-4B3C-98C7-D19B20EBE8CB}"/>
              </c:ext>
            </c:extLst>
          </c:dPt>
          <c:dPt>
            <c:idx val="1605"/>
            <c:invertIfNegative val="1"/>
            <c:bubble3D val="0"/>
            <c:spPr>
              <a:solidFill>
                <a:srgbClr val="AEABAB"/>
              </a:solidFill>
            </c:spPr>
            <c:extLst>
              <c:ext xmlns:c16="http://schemas.microsoft.com/office/drawing/2014/chart" uri="{C3380CC4-5D6E-409C-BE32-E72D297353CC}">
                <c16:uniqueId val="{00000C8D-C110-4B3C-98C7-D19B20EBE8CB}"/>
              </c:ext>
            </c:extLst>
          </c:dPt>
          <c:dPt>
            <c:idx val="1606"/>
            <c:invertIfNegative val="1"/>
            <c:bubble3D val="0"/>
            <c:spPr>
              <a:solidFill>
                <a:srgbClr val="AEABAB"/>
              </a:solidFill>
            </c:spPr>
            <c:extLst>
              <c:ext xmlns:c16="http://schemas.microsoft.com/office/drawing/2014/chart" uri="{C3380CC4-5D6E-409C-BE32-E72D297353CC}">
                <c16:uniqueId val="{00000C8F-C110-4B3C-98C7-D19B20EBE8CB}"/>
              </c:ext>
            </c:extLst>
          </c:dPt>
          <c:dPt>
            <c:idx val="1607"/>
            <c:invertIfNegative val="1"/>
            <c:bubble3D val="0"/>
            <c:spPr>
              <a:solidFill>
                <a:srgbClr val="AEABAB"/>
              </a:solidFill>
            </c:spPr>
            <c:extLst>
              <c:ext xmlns:c16="http://schemas.microsoft.com/office/drawing/2014/chart" uri="{C3380CC4-5D6E-409C-BE32-E72D297353CC}">
                <c16:uniqueId val="{00000C91-C110-4B3C-98C7-D19B20EBE8CB}"/>
              </c:ext>
            </c:extLst>
          </c:dPt>
          <c:dPt>
            <c:idx val="1608"/>
            <c:invertIfNegative val="1"/>
            <c:bubble3D val="0"/>
            <c:spPr>
              <a:solidFill>
                <a:srgbClr val="AEABAB"/>
              </a:solidFill>
            </c:spPr>
            <c:extLst>
              <c:ext xmlns:c16="http://schemas.microsoft.com/office/drawing/2014/chart" uri="{C3380CC4-5D6E-409C-BE32-E72D297353CC}">
                <c16:uniqueId val="{00000C93-C110-4B3C-98C7-D19B20EBE8CB}"/>
              </c:ext>
            </c:extLst>
          </c:dPt>
          <c:dPt>
            <c:idx val="1609"/>
            <c:invertIfNegative val="1"/>
            <c:bubble3D val="0"/>
            <c:spPr>
              <a:solidFill>
                <a:srgbClr val="AEABAB"/>
              </a:solidFill>
            </c:spPr>
            <c:extLst>
              <c:ext xmlns:c16="http://schemas.microsoft.com/office/drawing/2014/chart" uri="{C3380CC4-5D6E-409C-BE32-E72D297353CC}">
                <c16:uniqueId val="{00000C95-C110-4B3C-98C7-D19B20EBE8CB}"/>
              </c:ext>
            </c:extLst>
          </c:dPt>
          <c:dPt>
            <c:idx val="1610"/>
            <c:invertIfNegative val="1"/>
            <c:bubble3D val="0"/>
            <c:spPr>
              <a:solidFill>
                <a:srgbClr val="AEABAB"/>
              </a:solidFill>
            </c:spPr>
            <c:extLst>
              <c:ext xmlns:c16="http://schemas.microsoft.com/office/drawing/2014/chart" uri="{C3380CC4-5D6E-409C-BE32-E72D297353CC}">
                <c16:uniqueId val="{00000C97-C110-4B3C-98C7-D19B20EBE8CB}"/>
              </c:ext>
            </c:extLst>
          </c:dPt>
          <c:dPt>
            <c:idx val="1611"/>
            <c:invertIfNegative val="1"/>
            <c:bubble3D val="0"/>
            <c:spPr>
              <a:solidFill>
                <a:srgbClr val="AEABAB"/>
              </a:solidFill>
            </c:spPr>
            <c:extLst>
              <c:ext xmlns:c16="http://schemas.microsoft.com/office/drawing/2014/chart" uri="{C3380CC4-5D6E-409C-BE32-E72D297353CC}">
                <c16:uniqueId val="{00000C99-C110-4B3C-98C7-D19B20EBE8CB}"/>
              </c:ext>
            </c:extLst>
          </c:dPt>
          <c:dPt>
            <c:idx val="1612"/>
            <c:invertIfNegative val="1"/>
            <c:bubble3D val="0"/>
            <c:spPr>
              <a:solidFill>
                <a:srgbClr val="AEABAB"/>
              </a:solidFill>
            </c:spPr>
            <c:extLst>
              <c:ext xmlns:c16="http://schemas.microsoft.com/office/drawing/2014/chart" uri="{C3380CC4-5D6E-409C-BE32-E72D297353CC}">
                <c16:uniqueId val="{00000C9B-C110-4B3C-98C7-D19B20EBE8CB}"/>
              </c:ext>
            </c:extLst>
          </c:dPt>
          <c:dPt>
            <c:idx val="1613"/>
            <c:invertIfNegative val="1"/>
            <c:bubble3D val="0"/>
            <c:spPr>
              <a:solidFill>
                <a:srgbClr val="AEABAB"/>
              </a:solidFill>
            </c:spPr>
            <c:extLst>
              <c:ext xmlns:c16="http://schemas.microsoft.com/office/drawing/2014/chart" uri="{C3380CC4-5D6E-409C-BE32-E72D297353CC}">
                <c16:uniqueId val="{00000C9D-C110-4B3C-98C7-D19B20EBE8CB}"/>
              </c:ext>
            </c:extLst>
          </c:dPt>
          <c:dPt>
            <c:idx val="1614"/>
            <c:invertIfNegative val="1"/>
            <c:bubble3D val="0"/>
            <c:spPr>
              <a:solidFill>
                <a:srgbClr val="AEABAB"/>
              </a:solidFill>
            </c:spPr>
            <c:extLst>
              <c:ext xmlns:c16="http://schemas.microsoft.com/office/drawing/2014/chart" uri="{C3380CC4-5D6E-409C-BE32-E72D297353CC}">
                <c16:uniqueId val="{00000C9F-C110-4B3C-98C7-D19B20EBE8CB}"/>
              </c:ext>
            </c:extLst>
          </c:dPt>
          <c:dPt>
            <c:idx val="1615"/>
            <c:invertIfNegative val="1"/>
            <c:bubble3D val="0"/>
            <c:spPr>
              <a:solidFill>
                <a:srgbClr val="AEABAB"/>
              </a:solidFill>
            </c:spPr>
            <c:extLst>
              <c:ext xmlns:c16="http://schemas.microsoft.com/office/drawing/2014/chart" uri="{C3380CC4-5D6E-409C-BE32-E72D297353CC}">
                <c16:uniqueId val="{00000CA1-C110-4B3C-98C7-D19B20EBE8CB}"/>
              </c:ext>
            </c:extLst>
          </c:dPt>
          <c:dPt>
            <c:idx val="1616"/>
            <c:invertIfNegative val="1"/>
            <c:bubble3D val="0"/>
            <c:spPr>
              <a:solidFill>
                <a:srgbClr val="AEABAB"/>
              </a:solidFill>
            </c:spPr>
            <c:extLst>
              <c:ext xmlns:c16="http://schemas.microsoft.com/office/drawing/2014/chart" uri="{C3380CC4-5D6E-409C-BE32-E72D297353CC}">
                <c16:uniqueId val="{00000CA3-C110-4B3C-98C7-D19B20EBE8CB}"/>
              </c:ext>
            </c:extLst>
          </c:dPt>
          <c:dPt>
            <c:idx val="1617"/>
            <c:invertIfNegative val="1"/>
            <c:bubble3D val="0"/>
            <c:spPr>
              <a:solidFill>
                <a:srgbClr val="AEABAB"/>
              </a:solidFill>
            </c:spPr>
            <c:extLst>
              <c:ext xmlns:c16="http://schemas.microsoft.com/office/drawing/2014/chart" uri="{C3380CC4-5D6E-409C-BE32-E72D297353CC}">
                <c16:uniqueId val="{00000CA5-C110-4B3C-98C7-D19B20EBE8CB}"/>
              </c:ext>
            </c:extLst>
          </c:dPt>
          <c:dPt>
            <c:idx val="1618"/>
            <c:invertIfNegative val="1"/>
            <c:bubble3D val="0"/>
            <c:spPr>
              <a:solidFill>
                <a:srgbClr val="AEABAB"/>
              </a:solidFill>
            </c:spPr>
            <c:extLst>
              <c:ext xmlns:c16="http://schemas.microsoft.com/office/drawing/2014/chart" uri="{C3380CC4-5D6E-409C-BE32-E72D297353CC}">
                <c16:uniqueId val="{00000CA7-C110-4B3C-98C7-D19B20EBE8CB}"/>
              </c:ext>
            </c:extLst>
          </c:dPt>
          <c:dPt>
            <c:idx val="1619"/>
            <c:invertIfNegative val="1"/>
            <c:bubble3D val="0"/>
            <c:spPr>
              <a:solidFill>
                <a:srgbClr val="AEABAB"/>
              </a:solidFill>
            </c:spPr>
            <c:extLst>
              <c:ext xmlns:c16="http://schemas.microsoft.com/office/drawing/2014/chart" uri="{C3380CC4-5D6E-409C-BE32-E72D297353CC}">
                <c16:uniqueId val="{00000CA9-C110-4B3C-98C7-D19B20EBE8CB}"/>
              </c:ext>
            </c:extLst>
          </c:dPt>
          <c:dPt>
            <c:idx val="1620"/>
            <c:invertIfNegative val="1"/>
            <c:bubble3D val="0"/>
            <c:spPr>
              <a:solidFill>
                <a:srgbClr val="AEABAB"/>
              </a:solidFill>
            </c:spPr>
            <c:extLst>
              <c:ext xmlns:c16="http://schemas.microsoft.com/office/drawing/2014/chart" uri="{C3380CC4-5D6E-409C-BE32-E72D297353CC}">
                <c16:uniqueId val="{00000CAB-C110-4B3C-98C7-D19B20EBE8CB}"/>
              </c:ext>
            </c:extLst>
          </c:dPt>
          <c:dPt>
            <c:idx val="1621"/>
            <c:invertIfNegative val="1"/>
            <c:bubble3D val="0"/>
            <c:spPr>
              <a:solidFill>
                <a:srgbClr val="AEABAB"/>
              </a:solidFill>
            </c:spPr>
            <c:extLst>
              <c:ext xmlns:c16="http://schemas.microsoft.com/office/drawing/2014/chart" uri="{C3380CC4-5D6E-409C-BE32-E72D297353CC}">
                <c16:uniqueId val="{00000CAD-C110-4B3C-98C7-D19B20EBE8CB}"/>
              </c:ext>
            </c:extLst>
          </c:dPt>
          <c:dPt>
            <c:idx val="1622"/>
            <c:invertIfNegative val="1"/>
            <c:bubble3D val="0"/>
            <c:spPr>
              <a:solidFill>
                <a:srgbClr val="AEABAB"/>
              </a:solidFill>
            </c:spPr>
            <c:extLst>
              <c:ext xmlns:c16="http://schemas.microsoft.com/office/drawing/2014/chart" uri="{C3380CC4-5D6E-409C-BE32-E72D297353CC}">
                <c16:uniqueId val="{00000CAF-C110-4B3C-98C7-D19B20EBE8CB}"/>
              </c:ext>
            </c:extLst>
          </c:dPt>
          <c:dPt>
            <c:idx val="1623"/>
            <c:invertIfNegative val="1"/>
            <c:bubble3D val="0"/>
            <c:spPr>
              <a:solidFill>
                <a:srgbClr val="AEABAB"/>
              </a:solidFill>
            </c:spPr>
            <c:extLst>
              <c:ext xmlns:c16="http://schemas.microsoft.com/office/drawing/2014/chart" uri="{C3380CC4-5D6E-409C-BE32-E72D297353CC}">
                <c16:uniqueId val="{00000CB1-C110-4B3C-98C7-D19B20EBE8CB}"/>
              </c:ext>
            </c:extLst>
          </c:dPt>
          <c:dPt>
            <c:idx val="1624"/>
            <c:invertIfNegative val="1"/>
            <c:bubble3D val="0"/>
            <c:spPr>
              <a:solidFill>
                <a:srgbClr val="AEABAB"/>
              </a:solidFill>
            </c:spPr>
            <c:extLst>
              <c:ext xmlns:c16="http://schemas.microsoft.com/office/drawing/2014/chart" uri="{C3380CC4-5D6E-409C-BE32-E72D297353CC}">
                <c16:uniqueId val="{00000CB3-C110-4B3C-98C7-D19B20EBE8CB}"/>
              </c:ext>
            </c:extLst>
          </c:dPt>
          <c:dPt>
            <c:idx val="1625"/>
            <c:invertIfNegative val="1"/>
            <c:bubble3D val="0"/>
            <c:spPr>
              <a:solidFill>
                <a:srgbClr val="AEABAB"/>
              </a:solidFill>
            </c:spPr>
            <c:extLst>
              <c:ext xmlns:c16="http://schemas.microsoft.com/office/drawing/2014/chart" uri="{C3380CC4-5D6E-409C-BE32-E72D297353CC}">
                <c16:uniqueId val="{00000CB5-C110-4B3C-98C7-D19B20EBE8CB}"/>
              </c:ext>
            </c:extLst>
          </c:dPt>
          <c:dPt>
            <c:idx val="1626"/>
            <c:invertIfNegative val="1"/>
            <c:bubble3D val="0"/>
            <c:spPr>
              <a:solidFill>
                <a:srgbClr val="AEABAB"/>
              </a:solidFill>
            </c:spPr>
            <c:extLst>
              <c:ext xmlns:c16="http://schemas.microsoft.com/office/drawing/2014/chart" uri="{C3380CC4-5D6E-409C-BE32-E72D297353CC}">
                <c16:uniqueId val="{00000CB7-C110-4B3C-98C7-D19B20EBE8CB}"/>
              </c:ext>
            </c:extLst>
          </c:dPt>
          <c:dPt>
            <c:idx val="1627"/>
            <c:invertIfNegative val="1"/>
            <c:bubble3D val="0"/>
            <c:spPr>
              <a:solidFill>
                <a:srgbClr val="AEABAB"/>
              </a:solidFill>
            </c:spPr>
            <c:extLst>
              <c:ext xmlns:c16="http://schemas.microsoft.com/office/drawing/2014/chart" uri="{C3380CC4-5D6E-409C-BE32-E72D297353CC}">
                <c16:uniqueId val="{00000CB9-C110-4B3C-98C7-D19B20EBE8CB}"/>
              </c:ext>
            </c:extLst>
          </c:dPt>
          <c:dPt>
            <c:idx val="1628"/>
            <c:invertIfNegative val="1"/>
            <c:bubble3D val="0"/>
            <c:spPr>
              <a:solidFill>
                <a:srgbClr val="AEABAB"/>
              </a:solidFill>
            </c:spPr>
            <c:extLst>
              <c:ext xmlns:c16="http://schemas.microsoft.com/office/drawing/2014/chart" uri="{C3380CC4-5D6E-409C-BE32-E72D297353CC}">
                <c16:uniqueId val="{00000CBB-C110-4B3C-98C7-D19B20EBE8CB}"/>
              </c:ext>
            </c:extLst>
          </c:dPt>
          <c:dPt>
            <c:idx val="1629"/>
            <c:invertIfNegative val="1"/>
            <c:bubble3D val="0"/>
            <c:spPr>
              <a:solidFill>
                <a:srgbClr val="AEABAB"/>
              </a:solidFill>
            </c:spPr>
            <c:extLst>
              <c:ext xmlns:c16="http://schemas.microsoft.com/office/drawing/2014/chart" uri="{C3380CC4-5D6E-409C-BE32-E72D297353CC}">
                <c16:uniqueId val="{00000CBD-C110-4B3C-98C7-D19B20EBE8CB}"/>
              </c:ext>
            </c:extLst>
          </c:dPt>
          <c:dPt>
            <c:idx val="1630"/>
            <c:invertIfNegative val="1"/>
            <c:bubble3D val="0"/>
            <c:spPr>
              <a:solidFill>
                <a:srgbClr val="AEABAB"/>
              </a:solidFill>
            </c:spPr>
            <c:extLst>
              <c:ext xmlns:c16="http://schemas.microsoft.com/office/drawing/2014/chart" uri="{C3380CC4-5D6E-409C-BE32-E72D297353CC}">
                <c16:uniqueId val="{00000CBF-C110-4B3C-98C7-D19B20EBE8CB}"/>
              </c:ext>
            </c:extLst>
          </c:dPt>
          <c:dPt>
            <c:idx val="1631"/>
            <c:invertIfNegative val="1"/>
            <c:bubble3D val="0"/>
            <c:spPr>
              <a:solidFill>
                <a:srgbClr val="AEABAB"/>
              </a:solidFill>
            </c:spPr>
            <c:extLst>
              <c:ext xmlns:c16="http://schemas.microsoft.com/office/drawing/2014/chart" uri="{C3380CC4-5D6E-409C-BE32-E72D297353CC}">
                <c16:uniqueId val="{00000CC1-C110-4B3C-98C7-D19B20EBE8CB}"/>
              </c:ext>
            </c:extLst>
          </c:dPt>
          <c:dPt>
            <c:idx val="1632"/>
            <c:invertIfNegative val="1"/>
            <c:bubble3D val="0"/>
            <c:spPr>
              <a:solidFill>
                <a:srgbClr val="AEABAB"/>
              </a:solidFill>
            </c:spPr>
            <c:extLst>
              <c:ext xmlns:c16="http://schemas.microsoft.com/office/drawing/2014/chart" uri="{C3380CC4-5D6E-409C-BE32-E72D297353CC}">
                <c16:uniqueId val="{00000CC3-C110-4B3C-98C7-D19B20EBE8CB}"/>
              </c:ext>
            </c:extLst>
          </c:dPt>
          <c:dPt>
            <c:idx val="1633"/>
            <c:invertIfNegative val="1"/>
            <c:bubble3D val="0"/>
            <c:spPr>
              <a:solidFill>
                <a:srgbClr val="AEABAB"/>
              </a:solidFill>
            </c:spPr>
            <c:extLst>
              <c:ext xmlns:c16="http://schemas.microsoft.com/office/drawing/2014/chart" uri="{C3380CC4-5D6E-409C-BE32-E72D297353CC}">
                <c16:uniqueId val="{00000CC5-C110-4B3C-98C7-D19B20EBE8CB}"/>
              </c:ext>
            </c:extLst>
          </c:dPt>
          <c:dPt>
            <c:idx val="1634"/>
            <c:invertIfNegative val="1"/>
            <c:bubble3D val="0"/>
            <c:spPr>
              <a:solidFill>
                <a:srgbClr val="AEABAB"/>
              </a:solidFill>
            </c:spPr>
            <c:extLst>
              <c:ext xmlns:c16="http://schemas.microsoft.com/office/drawing/2014/chart" uri="{C3380CC4-5D6E-409C-BE32-E72D297353CC}">
                <c16:uniqueId val="{00000CC7-C110-4B3C-98C7-D19B20EBE8CB}"/>
              </c:ext>
            </c:extLst>
          </c:dPt>
          <c:dPt>
            <c:idx val="1635"/>
            <c:invertIfNegative val="1"/>
            <c:bubble3D val="0"/>
            <c:spPr>
              <a:solidFill>
                <a:srgbClr val="AEABAB"/>
              </a:solidFill>
            </c:spPr>
            <c:extLst>
              <c:ext xmlns:c16="http://schemas.microsoft.com/office/drawing/2014/chart" uri="{C3380CC4-5D6E-409C-BE32-E72D297353CC}">
                <c16:uniqueId val="{00000CC9-C110-4B3C-98C7-D19B20EBE8CB}"/>
              </c:ext>
            </c:extLst>
          </c:dPt>
          <c:dPt>
            <c:idx val="1636"/>
            <c:invertIfNegative val="1"/>
            <c:bubble3D val="0"/>
            <c:spPr>
              <a:solidFill>
                <a:srgbClr val="AEABAB"/>
              </a:solidFill>
            </c:spPr>
            <c:extLst>
              <c:ext xmlns:c16="http://schemas.microsoft.com/office/drawing/2014/chart" uri="{C3380CC4-5D6E-409C-BE32-E72D297353CC}">
                <c16:uniqueId val="{00000CCB-C110-4B3C-98C7-D19B20EBE8CB}"/>
              </c:ext>
            </c:extLst>
          </c:dPt>
          <c:dPt>
            <c:idx val="1637"/>
            <c:invertIfNegative val="1"/>
            <c:bubble3D val="0"/>
            <c:spPr>
              <a:solidFill>
                <a:srgbClr val="AEABAB"/>
              </a:solidFill>
            </c:spPr>
            <c:extLst>
              <c:ext xmlns:c16="http://schemas.microsoft.com/office/drawing/2014/chart" uri="{C3380CC4-5D6E-409C-BE32-E72D297353CC}">
                <c16:uniqueId val="{00000CCD-C110-4B3C-98C7-D19B20EBE8CB}"/>
              </c:ext>
            </c:extLst>
          </c:dPt>
          <c:dPt>
            <c:idx val="1638"/>
            <c:invertIfNegative val="1"/>
            <c:bubble3D val="0"/>
            <c:spPr>
              <a:solidFill>
                <a:srgbClr val="AEABAB"/>
              </a:solidFill>
            </c:spPr>
            <c:extLst>
              <c:ext xmlns:c16="http://schemas.microsoft.com/office/drawing/2014/chart" uri="{C3380CC4-5D6E-409C-BE32-E72D297353CC}">
                <c16:uniqueId val="{00000CCF-C110-4B3C-98C7-D19B20EBE8CB}"/>
              </c:ext>
            </c:extLst>
          </c:dPt>
          <c:dPt>
            <c:idx val="1639"/>
            <c:invertIfNegative val="1"/>
            <c:bubble3D val="0"/>
            <c:spPr>
              <a:solidFill>
                <a:srgbClr val="AEABAB"/>
              </a:solidFill>
            </c:spPr>
            <c:extLst>
              <c:ext xmlns:c16="http://schemas.microsoft.com/office/drawing/2014/chart" uri="{C3380CC4-5D6E-409C-BE32-E72D297353CC}">
                <c16:uniqueId val="{00000CD1-C110-4B3C-98C7-D19B20EBE8CB}"/>
              </c:ext>
            </c:extLst>
          </c:dPt>
          <c:dPt>
            <c:idx val="1640"/>
            <c:invertIfNegative val="1"/>
            <c:bubble3D val="0"/>
            <c:spPr>
              <a:solidFill>
                <a:srgbClr val="AEABAB"/>
              </a:solidFill>
            </c:spPr>
            <c:extLst>
              <c:ext xmlns:c16="http://schemas.microsoft.com/office/drawing/2014/chart" uri="{C3380CC4-5D6E-409C-BE32-E72D297353CC}">
                <c16:uniqueId val="{00000CD3-C110-4B3C-98C7-D19B20EBE8CB}"/>
              </c:ext>
            </c:extLst>
          </c:dPt>
          <c:dPt>
            <c:idx val="1641"/>
            <c:invertIfNegative val="1"/>
            <c:bubble3D val="0"/>
            <c:spPr>
              <a:solidFill>
                <a:srgbClr val="AEABAB"/>
              </a:solidFill>
            </c:spPr>
            <c:extLst>
              <c:ext xmlns:c16="http://schemas.microsoft.com/office/drawing/2014/chart" uri="{C3380CC4-5D6E-409C-BE32-E72D297353CC}">
                <c16:uniqueId val="{00000CD5-C110-4B3C-98C7-D19B20EBE8CB}"/>
              </c:ext>
            </c:extLst>
          </c:dPt>
          <c:dPt>
            <c:idx val="1642"/>
            <c:invertIfNegative val="1"/>
            <c:bubble3D val="0"/>
            <c:spPr>
              <a:solidFill>
                <a:srgbClr val="AEABAB"/>
              </a:solidFill>
            </c:spPr>
            <c:extLst>
              <c:ext xmlns:c16="http://schemas.microsoft.com/office/drawing/2014/chart" uri="{C3380CC4-5D6E-409C-BE32-E72D297353CC}">
                <c16:uniqueId val="{00000CD7-C110-4B3C-98C7-D19B20EBE8CB}"/>
              </c:ext>
            </c:extLst>
          </c:dPt>
          <c:dPt>
            <c:idx val="1643"/>
            <c:invertIfNegative val="1"/>
            <c:bubble3D val="0"/>
            <c:spPr>
              <a:solidFill>
                <a:srgbClr val="AEABAB"/>
              </a:solidFill>
            </c:spPr>
            <c:extLst>
              <c:ext xmlns:c16="http://schemas.microsoft.com/office/drawing/2014/chart" uri="{C3380CC4-5D6E-409C-BE32-E72D297353CC}">
                <c16:uniqueId val="{00000CD9-C110-4B3C-98C7-D19B20EBE8CB}"/>
              </c:ext>
            </c:extLst>
          </c:dPt>
          <c:dPt>
            <c:idx val="1644"/>
            <c:invertIfNegative val="1"/>
            <c:bubble3D val="0"/>
            <c:spPr>
              <a:solidFill>
                <a:srgbClr val="AEABAB"/>
              </a:solidFill>
            </c:spPr>
            <c:extLst>
              <c:ext xmlns:c16="http://schemas.microsoft.com/office/drawing/2014/chart" uri="{C3380CC4-5D6E-409C-BE32-E72D297353CC}">
                <c16:uniqueId val="{00000CDB-C110-4B3C-98C7-D19B20EBE8CB}"/>
              </c:ext>
            </c:extLst>
          </c:dPt>
          <c:dPt>
            <c:idx val="1645"/>
            <c:invertIfNegative val="1"/>
            <c:bubble3D val="0"/>
            <c:spPr>
              <a:solidFill>
                <a:srgbClr val="AEABAB"/>
              </a:solidFill>
            </c:spPr>
            <c:extLst>
              <c:ext xmlns:c16="http://schemas.microsoft.com/office/drawing/2014/chart" uri="{C3380CC4-5D6E-409C-BE32-E72D297353CC}">
                <c16:uniqueId val="{00000CDD-C110-4B3C-98C7-D19B20EBE8CB}"/>
              </c:ext>
            </c:extLst>
          </c:dPt>
          <c:dPt>
            <c:idx val="1646"/>
            <c:invertIfNegative val="1"/>
            <c:bubble3D val="0"/>
            <c:spPr>
              <a:solidFill>
                <a:srgbClr val="AEABAB"/>
              </a:solidFill>
            </c:spPr>
            <c:extLst>
              <c:ext xmlns:c16="http://schemas.microsoft.com/office/drawing/2014/chart" uri="{C3380CC4-5D6E-409C-BE32-E72D297353CC}">
                <c16:uniqueId val="{00000CDF-C110-4B3C-98C7-D19B20EBE8CB}"/>
              </c:ext>
            </c:extLst>
          </c:dPt>
          <c:dPt>
            <c:idx val="1647"/>
            <c:invertIfNegative val="1"/>
            <c:bubble3D val="0"/>
            <c:spPr>
              <a:solidFill>
                <a:srgbClr val="AEABAB"/>
              </a:solidFill>
            </c:spPr>
            <c:extLst>
              <c:ext xmlns:c16="http://schemas.microsoft.com/office/drawing/2014/chart" uri="{C3380CC4-5D6E-409C-BE32-E72D297353CC}">
                <c16:uniqueId val="{00000CE1-C110-4B3C-98C7-D19B20EBE8CB}"/>
              </c:ext>
            </c:extLst>
          </c:dPt>
          <c:dPt>
            <c:idx val="1648"/>
            <c:invertIfNegative val="1"/>
            <c:bubble3D val="0"/>
            <c:spPr>
              <a:solidFill>
                <a:srgbClr val="AEABAB"/>
              </a:solidFill>
            </c:spPr>
            <c:extLst>
              <c:ext xmlns:c16="http://schemas.microsoft.com/office/drawing/2014/chart" uri="{C3380CC4-5D6E-409C-BE32-E72D297353CC}">
                <c16:uniqueId val="{00000CE3-C110-4B3C-98C7-D19B20EBE8CB}"/>
              </c:ext>
            </c:extLst>
          </c:dPt>
          <c:dPt>
            <c:idx val="1649"/>
            <c:invertIfNegative val="1"/>
            <c:bubble3D val="0"/>
            <c:spPr>
              <a:solidFill>
                <a:srgbClr val="AEABAB"/>
              </a:solidFill>
            </c:spPr>
            <c:extLst>
              <c:ext xmlns:c16="http://schemas.microsoft.com/office/drawing/2014/chart" uri="{C3380CC4-5D6E-409C-BE32-E72D297353CC}">
                <c16:uniqueId val="{00000CE5-C110-4B3C-98C7-D19B20EBE8CB}"/>
              </c:ext>
            </c:extLst>
          </c:dPt>
          <c:dPt>
            <c:idx val="1650"/>
            <c:invertIfNegative val="1"/>
            <c:bubble3D val="0"/>
            <c:spPr>
              <a:solidFill>
                <a:srgbClr val="AEABAB"/>
              </a:solidFill>
            </c:spPr>
            <c:extLst>
              <c:ext xmlns:c16="http://schemas.microsoft.com/office/drawing/2014/chart" uri="{C3380CC4-5D6E-409C-BE32-E72D297353CC}">
                <c16:uniqueId val="{00000CE7-C110-4B3C-98C7-D19B20EBE8CB}"/>
              </c:ext>
            </c:extLst>
          </c:dPt>
          <c:dPt>
            <c:idx val="1651"/>
            <c:invertIfNegative val="1"/>
            <c:bubble3D val="0"/>
            <c:spPr>
              <a:solidFill>
                <a:srgbClr val="AEABAB"/>
              </a:solidFill>
            </c:spPr>
            <c:extLst>
              <c:ext xmlns:c16="http://schemas.microsoft.com/office/drawing/2014/chart" uri="{C3380CC4-5D6E-409C-BE32-E72D297353CC}">
                <c16:uniqueId val="{00000CE9-C110-4B3C-98C7-D19B20EBE8CB}"/>
              </c:ext>
            </c:extLst>
          </c:dPt>
          <c:dPt>
            <c:idx val="1652"/>
            <c:invertIfNegative val="1"/>
            <c:bubble3D val="0"/>
            <c:spPr>
              <a:solidFill>
                <a:srgbClr val="AEABAB"/>
              </a:solidFill>
            </c:spPr>
            <c:extLst>
              <c:ext xmlns:c16="http://schemas.microsoft.com/office/drawing/2014/chart" uri="{C3380CC4-5D6E-409C-BE32-E72D297353CC}">
                <c16:uniqueId val="{00000CEB-C110-4B3C-98C7-D19B20EBE8CB}"/>
              </c:ext>
            </c:extLst>
          </c:dPt>
          <c:dPt>
            <c:idx val="1653"/>
            <c:invertIfNegative val="1"/>
            <c:bubble3D val="0"/>
            <c:spPr>
              <a:solidFill>
                <a:srgbClr val="AEABAB"/>
              </a:solidFill>
            </c:spPr>
            <c:extLst>
              <c:ext xmlns:c16="http://schemas.microsoft.com/office/drawing/2014/chart" uri="{C3380CC4-5D6E-409C-BE32-E72D297353CC}">
                <c16:uniqueId val="{00000CED-C110-4B3C-98C7-D19B20EBE8CB}"/>
              </c:ext>
            </c:extLst>
          </c:dPt>
          <c:dPt>
            <c:idx val="1654"/>
            <c:invertIfNegative val="1"/>
            <c:bubble3D val="0"/>
            <c:spPr>
              <a:solidFill>
                <a:srgbClr val="AEABAB"/>
              </a:solidFill>
            </c:spPr>
            <c:extLst>
              <c:ext xmlns:c16="http://schemas.microsoft.com/office/drawing/2014/chart" uri="{C3380CC4-5D6E-409C-BE32-E72D297353CC}">
                <c16:uniqueId val="{00000CEF-C110-4B3C-98C7-D19B20EBE8CB}"/>
              </c:ext>
            </c:extLst>
          </c:dPt>
          <c:dPt>
            <c:idx val="1655"/>
            <c:invertIfNegative val="1"/>
            <c:bubble3D val="0"/>
            <c:spPr>
              <a:solidFill>
                <a:srgbClr val="AEABAB"/>
              </a:solidFill>
            </c:spPr>
            <c:extLst>
              <c:ext xmlns:c16="http://schemas.microsoft.com/office/drawing/2014/chart" uri="{C3380CC4-5D6E-409C-BE32-E72D297353CC}">
                <c16:uniqueId val="{00000CF1-C110-4B3C-98C7-D19B20EBE8CB}"/>
              </c:ext>
            </c:extLst>
          </c:dPt>
          <c:dPt>
            <c:idx val="1656"/>
            <c:invertIfNegative val="1"/>
            <c:bubble3D val="0"/>
            <c:spPr>
              <a:solidFill>
                <a:srgbClr val="AEABAB"/>
              </a:solidFill>
            </c:spPr>
            <c:extLst>
              <c:ext xmlns:c16="http://schemas.microsoft.com/office/drawing/2014/chart" uri="{C3380CC4-5D6E-409C-BE32-E72D297353CC}">
                <c16:uniqueId val="{00000CF3-C110-4B3C-98C7-D19B20EBE8CB}"/>
              </c:ext>
            </c:extLst>
          </c:dPt>
          <c:dPt>
            <c:idx val="1657"/>
            <c:invertIfNegative val="1"/>
            <c:bubble3D val="0"/>
            <c:spPr>
              <a:solidFill>
                <a:srgbClr val="AEABAB"/>
              </a:solidFill>
            </c:spPr>
            <c:extLst>
              <c:ext xmlns:c16="http://schemas.microsoft.com/office/drawing/2014/chart" uri="{C3380CC4-5D6E-409C-BE32-E72D297353CC}">
                <c16:uniqueId val="{00000CF5-C110-4B3C-98C7-D19B20EBE8CB}"/>
              </c:ext>
            </c:extLst>
          </c:dPt>
          <c:dPt>
            <c:idx val="1658"/>
            <c:invertIfNegative val="1"/>
            <c:bubble3D val="0"/>
            <c:spPr>
              <a:solidFill>
                <a:srgbClr val="AEABAB"/>
              </a:solidFill>
            </c:spPr>
            <c:extLst>
              <c:ext xmlns:c16="http://schemas.microsoft.com/office/drawing/2014/chart" uri="{C3380CC4-5D6E-409C-BE32-E72D297353CC}">
                <c16:uniqueId val="{00000CF7-C110-4B3C-98C7-D19B20EBE8CB}"/>
              </c:ext>
            </c:extLst>
          </c:dPt>
          <c:dPt>
            <c:idx val="1659"/>
            <c:invertIfNegative val="1"/>
            <c:bubble3D val="0"/>
            <c:spPr>
              <a:solidFill>
                <a:srgbClr val="AEABAB"/>
              </a:solidFill>
            </c:spPr>
            <c:extLst>
              <c:ext xmlns:c16="http://schemas.microsoft.com/office/drawing/2014/chart" uri="{C3380CC4-5D6E-409C-BE32-E72D297353CC}">
                <c16:uniqueId val="{00000CF9-C110-4B3C-98C7-D19B20EBE8CB}"/>
              </c:ext>
            </c:extLst>
          </c:dPt>
          <c:dPt>
            <c:idx val="1660"/>
            <c:invertIfNegative val="1"/>
            <c:bubble3D val="0"/>
            <c:spPr>
              <a:solidFill>
                <a:srgbClr val="AEABAB"/>
              </a:solidFill>
            </c:spPr>
            <c:extLst>
              <c:ext xmlns:c16="http://schemas.microsoft.com/office/drawing/2014/chart" uri="{C3380CC4-5D6E-409C-BE32-E72D297353CC}">
                <c16:uniqueId val="{00000CFB-C110-4B3C-98C7-D19B20EBE8CB}"/>
              </c:ext>
            </c:extLst>
          </c:dPt>
          <c:dPt>
            <c:idx val="1661"/>
            <c:invertIfNegative val="1"/>
            <c:bubble3D val="0"/>
            <c:spPr>
              <a:solidFill>
                <a:srgbClr val="AEABAB"/>
              </a:solidFill>
            </c:spPr>
            <c:extLst>
              <c:ext xmlns:c16="http://schemas.microsoft.com/office/drawing/2014/chart" uri="{C3380CC4-5D6E-409C-BE32-E72D297353CC}">
                <c16:uniqueId val="{00000CFD-C110-4B3C-98C7-D19B20EBE8CB}"/>
              </c:ext>
            </c:extLst>
          </c:dPt>
          <c:dPt>
            <c:idx val="1662"/>
            <c:invertIfNegative val="1"/>
            <c:bubble3D val="0"/>
            <c:spPr>
              <a:solidFill>
                <a:srgbClr val="AEABAB"/>
              </a:solidFill>
            </c:spPr>
            <c:extLst>
              <c:ext xmlns:c16="http://schemas.microsoft.com/office/drawing/2014/chart" uri="{C3380CC4-5D6E-409C-BE32-E72D297353CC}">
                <c16:uniqueId val="{00000CFF-C110-4B3C-98C7-D19B20EBE8CB}"/>
              </c:ext>
            </c:extLst>
          </c:dPt>
          <c:dPt>
            <c:idx val="1663"/>
            <c:invertIfNegative val="1"/>
            <c:bubble3D val="0"/>
            <c:spPr>
              <a:solidFill>
                <a:srgbClr val="AEABAB"/>
              </a:solidFill>
            </c:spPr>
            <c:extLst>
              <c:ext xmlns:c16="http://schemas.microsoft.com/office/drawing/2014/chart" uri="{C3380CC4-5D6E-409C-BE32-E72D297353CC}">
                <c16:uniqueId val="{00000D01-C110-4B3C-98C7-D19B20EBE8CB}"/>
              </c:ext>
            </c:extLst>
          </c:dPt>
          <c:dPt>
            <c:idx val="1664"/>
            <c:invertIfNegative val="1"/>
            <c:bubble3D val="0"/>
            <c:spPr>
              <a:solidFill>
                <a:srgbClr val="AEABAB"/>
              </a:solidFill>
            </c:spPr>
            <c:extLst>
              <c:ext xmlns:c16="http://schemas.microsoft.com/office/drawing/2014/chart" uri="{C3380CC4-5D6E-409C-BE32-E72D297353CC}">
                <c16:uniqueId val="{00000D03-C110-4B3C-98C7-D19B20EBE8CB}"/>
              </c:ext>
            </c:extLst>
          </c:dPt>
          <c:dPt>
            <c:idx val="1665"/>
            <c:invertIfNegative val="1"/>
            <c:bubble3D val="0"/>
            <c:spPr>
              <a:solidFill>
                <a:srgbClr val="AEABAB"/>
              </a:solidFill>
            </c:spPr>
            <c:extLst>
              <c:ext xmlns:c16="http://schemas.microsoft.com/office/drawing/2014/chart" uri="{C3380CC4-5D6E-409C-BE32-E72D297353CC}">
                <c16:uniqueId val="{00000D05-C110-4B3C-98C7-D19B20EBE8CB}"/>
              </c:ext>
            </c:extLst>
          </c:dPt>
          <c:dPt>
            <c:idx val="1666"/>
            <c:invertIfNegative val="1"/>
            <c:bubble3D val="0"/>
            <c:spPr>
              <a:solidFill>
                <a:srgbClr val="AEABAB"/>
              </a:solidFill>
            </c:spPr>
            <c:extLst>
              <c:ext xmlns:c16="http://schemas.microsoft.com/office/drawing/2014/chart" uri="{C3380CC4-5D6E-409C-BE32-E72D297353CC}">
                <c16:uniqueId val="{00000D07-C110-4B3C-98C7-D19B20EBE8CB}"/>
              </c:ext>
            </c:extLst>
          </c:dPt>
          <c:dPt>
            <c:idx val="1667"/>
            <c:invertIfNegative val="1"/>
            <c:bubble3D val="0"/>
            <c:spPr>
              <a:solidFill>
                <a:srgbClr val="AEABAB"/>
              </a:solidFill>
            </c:spPr>
            <c:extLst>
              <c:ext xmlns:c16="http://schemas.microsoft.com/office/drawing/2014/chart" uri="{C3380CC4-5D6E-409C-BE32-E72D297353CC}">
                <c16:uniqueId val="{00000D09-C110-4B3C-98C7-D19B20EBE8CB}"/>
              </c:ext>
            </c:extLst>
          </c:dPt>
          <c:dPt>
            <c:idx val="1668"/>
            <c:invertIfNegative val="1"/>
            <c:bubble3D val="0"/>
            <c:spPr>
              <a:solidFill>
                <a:srgbClr val="AEABAB"/>
              </a:solidFill>
            </c:spPr>
            <c:extLst>
              <c:ext xmlns:c16="http://schemas.microsoft.com/office/drawing/2014/chart" uri="{C3380CC4-5D6E-409C-BE32-E72D297353CC}">
                <c16:uniqueId val="{00000D0B-C110-4B3C-98C7-D19B20EBE8CB}"/>
              </c:ext>
            </c:extLst>
          </c:dPt>
          <c:dPt>
            <c:idx val="1669"/>
            <c:invertIfNegative val="1"/>
            <c:bubble3D val="0"/>
            <c:spPr>
              <a:solidFill>
                <a:srgbClr val="AEABAB"/>
              </a:solidFill>
            </c:spPr>
            <c:extLst>
              <c:ext xmlns:c16="http://schemas.microsoft.com/office/drawing/2014/chart" uri="{C3380CC4-5D6E-409C-BE32-E72D297353CC}">
                <c16:uniqueId val="{00000D0D-C110-4B3C-98C7-D19B20EBE8CB}"/>
              </c:ext>
            </c:extLst>
          </c:dPt>
          <c:dPt>
            <c:idx val="1670"/>
            <c:invertIfNegative val="1"/>
            <c:bubble3D val="0"/>
            <c:spPr>
              <a:solidFill>
                <a:srgbClr val="AEABAB"/>
              </a:solidFill>
            </c:spPr>
            <c:extLst>
              <c:ext xmlns:c16="http://schemas.microsoft.com/office/drawing/2014/chart" uri="{C3380CC4-5D6E-409C-BE32-E72D297353CC}">
                <c16:uniqueId val="{00000D0F-C110-4B3C-98C7-D19B20EBE8CB}"/>
              </c:ext>
            </c:extLst>
          </c:dPt>
          <c:dPt>
            <c:idx val="1671"/>
            <c:invertIfNegative val="1"/>
            <c:bubble3D val="0"/>
            <c:spPr>
              <a:solidFill>
                <a:srgbClr val="AEABAB"/>
              </a:solidFill>
            </c:spPr>
            <c:extLst>
              <c:ext xmlns:c16="http://schemas.microsoft.com/office/drawing/2014/chart" uri="{C3380CC4-5D6E-409C-BE32-E72D297353CC}">
                <c16:uniqueId val="{00000D11-C110-4B3C-98C7-D19B20EBE8CB}"/>
              </c:ext>
            </c:extLst>
          </c:dPt>
          <c:dPt>
            <c:idx val="1672"/>
            <c:invertIfNegative val="1"/>
            <c:bubble3D val="0"/>
            <c:spPr>
              <a:solidFill>
                <a:srgbClr val="AEABAB"/>
              </a:solidFill>
            </c:spPr>
            <c:extLst>
              <c:ext xmlns:c16="http://schemas.microsoft.com/office/drawing/2014/chart" uri="{C3380CC4-5D6E-409C-BE32-E72D297353CC}">
                <c16:uniqueId val="{00000D13-C110-4B3C-98C7-D19B20EBE8CB}"/>
              </c:ext>
            </c:extLst>
          </c:dPt>
          <c:dPt>
            <c:idx val="1673"/>
            <c:invertIfNegative val="1"/>
            <c:bubble3D val="0"/>
            <c:spPr>
              <a:solidFill>
                <a:srgbClr val="AEABAB"/>
              </a:solidFill>
            </c:spPr>
            <c:extLst>
              <c:ext xmlns:c16="http://schemas.microsoft.com/office/drawing/2014/chart" uri="{C3380CC4-5D6E-409C-BE32-E72D297353CC}">
                <c16:uniqueId val="{00000D15-C110-4B3C-98C7-D19B20EBE8CB}"/>
              </c:ext>
            </c:extLst>
          </c:dPt>
          <c:dPt>
            <c:idx val="1674"/>
            <c:invertIfNegative val="1"/>
            <c:bubble3D val="0"/>
            <c:spPr>
              <a:solidFill>
                <a:srgbClr val="AEABAB"/>
              </a:solidFill>
            </c:spPr>
            <c:extLst>
              <c:ext xmlns:c16="http://schemas.microsoft.com/office/drawing/2014/chart" uri="{C3380CC4-5D6E-409C-BE32-E72D297353CC}">
                <c16:uniqueId val="{00000D17-C110-4B3C-98C7-D19B20EBE8CB}"/>
              </c:ext>
            </c:extLst>
          </c:dPt>
          <c:dPt>
            <c:idx val="1675"/>
            <c:invertIfNegative val="1"/>
            <c:bubble3D val="0"/>
            <c:spPr>
              <a:solidFill>
                <a:srgbClr val="AEABAB"/>
              </a:solidFill>
            </c:spPr>
            <c:extLst>
              <c:ext xmlns:c16="http://schemas.microsoft.com/office/drawing/2014/chart" uri="{C3380CC4-5D6E-409C-BE32-E72D297353CC}">
                <c16:uniqueId val="{00000D19-C110-4B3C-98C7-D19B20EBE8CB}"/>
              </c:ext>
            </c:extLst>
          </c:dPt>
          <c:dPt>
            <c:idx val="1676"/>
            <c:invertIfNegative val="1"/>
            <c:bubble3D val="0"/>
            <c:spPr>
              <a:solidFill>
                <a:srgbClr val="AEABAB"/>
              </a:solidFill>
            </c:spPr>
            <c:extLst>
              <c:ext xmlns:c16="http://schemas.microsoft.com/office/drawing/2014/chart" uri="{C3380CC4-5D6E-409C-BE32-E72D297353CC}">
                <c16:uniqueId val="{00000D1B-C110-4B3C-98C7-D19B20EBE8CB}"/>
              </c:ext>
            </c:extLst>
          </c:dPt>
          <c:dPt>
            <c:idx val="1677"/>
            <c:invertIfNegative val="1"/>
            <c:bubble3D val="0"/>
            <c:spPr>
              <a:solidFill>
                <a:srgbClr val="AEABAB"/>
              </a:solidFill>
            </c:spPr>
            <c:extLst>
              <c:ext xmlns:c16="http://schemas.microsoft.com/office/drawing/2014/chart" uri="{C3380CC4-5D6E-409C-BE32-E72D297353CC}">
                <c16:uniqueId val="{00000D1D-C110-4B3C-98C7-D19B20EBE8CB}"/>
              </c:ext>
            </c:extLst>
          </c:dPt>
          <c:dPt>
            <c:idx val="1678"/>
            <c:invertIfNegative val="1"/>
            <c:bubble3D val="0"/>
            <c:spPr>
              <a:solidFill>
                <a:srgbClr val="AEABAB"/>
              </a:solidFill>
            </c:spPr>
            <c:extLst>
              <c:ext xmlns:c16="http://schemas.microsoft.com/office/drawing/2014/chart" uri="{C3380CC4-5D6E-409C-BE32-E72D297353CC}">
                <c16:uniqueId val="{00000D1F-C110-4B3C-98C7-D19B20EBE8CB}"/>
              </c:ext>
            </c:extLst>
          </c:dPt>
          <c:dPt>
            <c:idx val="1679"/>
            <c:invertIfNegative val="1"/>
            <c:bubble3D val="0"/>
            <c:spPr>
              <a:solidFill>
                <a:srgbClr val="AEABAB"/>
              </a:solidFill>
            </c:spPr>
            <c:extLst>
              <c:ext xmlns:c16="http://schemas.microsoft.com/office/drawing/2014/chart" uri="{C3380CC4-5D6E-409C-BE32-E72D297353CC}">
                <c16:uniqueId val="{00000D21-C110-4B3C-98C7-D19B20EBE8CB}"/>
              </c:ext>
            </c:extLst>
          </c:dPt>
          <c:cat>
            <c:strRef>
              <c:f>Sheet1!$A$2:$A$1681</c:f>
              <c:strCache>
                <c:ptCount val="1680"/>
                <c:pt idx="0">
                  <c:v>Caprice Des</c:v>
                </c:pt>
                <c:pt idx="1">
                  <c:v>Private Lab</c:v>
                </c:pt>
                <c:pt idx="2">
                  <c:v>La Vache Qu</c:v>
                </c:pt>
                <c:pt idx="3">
                  <c:v>Coeur De Li</c:v>
                </c:pt>
                <c:pt idx="4">
                  <c:v>Caprice Des</c:v>
                </c:pt>
                <c:pt idx="5">
                  <c:v>Soignon</c:v>
                </c:pt>
                <c:pt idx="6">
                  <c:v>President</c:v>
                </c:pt>
                <c:pt idx="7">
                  <c:v>Private Lab</c:v>
                </c:pt>
                <c:pt idx="8">
                  <c:v>Mini Babybe</c:v>
                </c:pt>
                <c:pt idx="9">
                  <c:v>Le Rustique</c:v>
                </c:pt>
                <c:pt idx="10">
                  <c:v>Coeur De Li</c:v>
                </c:pt>
                <c:pt idx="11">
                  <c:v>Galbani</c:v>
                </c:pt>
                <c:pt idx="12">
                  <c:v>Mini Babybe</c:v>
                </c:pt>
                <c:pt idx="13">
                  <c:v>Soignon</c:v>
                </c:pt>
                <c:pt idx="14">
                  <c:v>St Moret</c:v>
                </c:pt>
                <c:pt idx="15">
                  <c:v>La Vache Qu</c:v>
                </c:pt>
                <c:pt idx="16">
                  <c:v>La Vache Qu</c:v>
                </c:pt>
                <c:pt idx="17">
                  <c:v>Private Lab</c:v>
                </c:pt>
                <c:pt idx="18">
                  <c:v>Kiri</c:v>
                </c:pt>
                <c:pt idx="19">
                  <c:v>Private Lab</c:v>
                </c:pt>
                <c:pt idx="20">
                  <c:v>President</c:v>
                </c:pt>
                <c:pt idx="21">
                  <c:v>Tartare</c:v>
                </c:pt>
                <c:pt idx="22">
                  <c:v>Salakis</c:v>
                </c:pt>
                <c:pt idx="23">
                  <c:v>St Moret</c:v>
                </c:pt>
                <c:pt idx="24">
                  <c:v>Paysan Bret</c:v>
                </c:pt>
                <c:pt idx="25">
                  <c:v>President</c:v>
                </c:pt>
                <c:pt idx="26">
                  <c:v>Kiri</c:v>
                </c:pt>
                <c:pt idx="27">
                  <c:v>St Moret</c:v>
                </c:pt>
                <c:pt idx="28">
                  <c:v>All Others</c:v>
                </c:pt>
                <c:pt idx="29">
                  <c:v>Private Lab</c:v>
                </c:pt>
                <c:pt idx="30">
                  <c:v>Soignon</c:v>
                </c:pt>
                <c:pt idx="31">
                  <c:v>Ficello</c:v>
                </c:pt>
                <c:pt idx="32">
                  <c:v>Philadelphi</c:v>
                </c:pt>
                <c:pt idx="33">
                  <c:v>Private Lab</c:v>
                </c:pt>
                <c:pt idx="34">
                  <c:v>Kiri</c:v>
                </c:pt>
                <c:pt idx="35">
                  <c:v>Carre Frais</c:v>
                </c:pt>
                <c:pt idx="36">
                  <c:v>Carre Frais</c:v>
                </c:pt>
                <c:pt idx="37">
                  <c:v>Paysan Bret</c:v>
                </c:pt>
                <c:pt idx="38">
                  <c:v>Boursin</c:v>
                </c:pt>
                <c:pt idx="39">
                  <c:v>Petit Billy</c:v>
                </c:pt>
                <c:pt idx="40">
                  <c:v>Boursin</c:v>
                </c:pt>
                <c:pt idx="41">
                  <c:v>Islos</c:v>
                </c:pt>
                <c:pt idx="42">
                  <c:v>Kiri</c:v>
                </c:pt>
                <c:pt idx="43">
                  <c:v>Private Lab</c:v>
                </c:pt>
                <c:pt idx="44">
                  <c:v>Private Lab</c:v>
                </c:pt>
                <c:pt idx="45">
                  <c:v>Lepetit</c:v>
                </c:pt>
                <c:pt idx="46">
                  <c:v>President</c:v>
                </c:pt>
                <c:pt idx="47">
                  <c:v>Private Lab</c:v>
                </c:pt>
                <c:pt idx="48">
                  <c:v>Ficello</c:v>
                </c:pt>
                <c:pt idx="49">
                  <c:v>Philadelphi</c:v>
                </c:pt>
                <c:pt idx="50">
                  <c:v>Istara</c:v>
                </c:pt>
                <c:pt idx="51">
                  <c:v>St Moret</c:v>
                </c:pt>
                <c:pt idx="52">
                  <c:v>Caprice Des</c:v>
                </c:pt>
                <c:pt idx="53">
                  <c:v>Coeur De Li</c:v>
                </c:pt>
                <c:pt idx="54">
                  <c:v>Private Lab</c:v>
                </c:pt>
                <c:pt idx="55">
                  <c:v>All Others</c:v>
                </c:pt>
                <c:pt idx="56">
                  <c:v>St Moret</c:v>
                </c:pt>
                <c:pt idx="57">
                  <c:v>Galbani</c:v>
                </c:pt>
                <c:pt idx="58">
                  <c:v>Lou Perac</c:v>
                </c:pt>
                <c:pt idx="59">
                  <c:v>Salakis</c:v>
                </c:pt>
                <c:pt idx="60">
                  <c:v>Soignon</c:v>
                </c:pt>
                <c:pt idx="61">
                  <c:v>All Others</c:v>
                </c:pt>
                <c:pt idx="62">
                  <c:v>Private Lab</c:v>
                </c:pt>
                <c:pt idx="63">
                  <c:v>Galbani</c:v>
                </c:pt>
                <c:pt idx="64">
                  <c:v>President</c:v>
                </c:pt>
                <c:pt idx="65">
                  <c:v>Casa Azzurr</c:v>
                </c:pt>
                <c:pt idx="66">
                  <c:v>Private Lab</c:v>
                </c:pt>
                <c:pt idx="67">
                  <c:v>Tartare</c:v>
                </c:pt>
                <c:pt idx="68">
                  <c:v>Private Lab</c:v>
                </c:pt>
                <c:pt idx="69">
                  <c:v>Private Lab</c:v>
                </c:pt>
                <c:pt idx="70">
                  <c:v>Soignon</c:v>
                </c:pt>
                <c:pt idx="71">
                  <c:v>Private Lab</c:v>
                </c:pt>
                <c:pt idx="72">
                  <c:v>Tartare</c:v>
                </c:pt>
                <c:pt idx="73">
                  <c:v>President</c:v>
                </c:pt>
                <c:pt idx="74">
                  <c:v>Le Brebiou</c:v>
                </c:pt>
                <c:pt idx="75">
                  <c:v>Private Lab</c:v>
                </c:pt>
                <c:pt idx="76">
                  <c:v>Boursin</c:v>
                </c:pt>
                <c:pt idx="77">
                  <c:v>Private Lab</c:v>
                </c:pt>
                <c:pt idx="78">
                  <c:v>Private Lab</c:v>
                </c:pt>
                <c:pt idx="79">
                  <c:v>Coeur De Li</c:v>
                </c:pt>
                <c:pt idx="80">
                  <c:v>Etorki</c:v>
                </c:pt>
                <c:pt idx="81">
                  <c:v>Casa Azzurr</c:v>
                </c:pt>
                <c:pt idx="82">
                  <c:v>President</c:v>
                </c:pt>
                <c:pt idx="83">
                  <c:v>St Moret</c:v>
                </c:pt>
                <c:pt idx="84">
                  <c:v>St Moret</c:v>
                </c:pt>
                <c:pt idx="85">
                  <c:v>Galbani</c:v>
                </c:pt>
                <c:pt idx="86">
                  <c:v>Boursin</c:v>
                </c:pt>
                <c:pt idx="87">
                  <c:v>President</c:v>
                </c:pt>
                <c:pt idx="88">
                  <c:v>All Others</c:v>
                </c:pt>
                <c:pt idx="89">
                  <c:v>President</c:v>
                </c:pt>
                <c:pt idx="90">
                  <c:v>Paysan Bret</c:v>
                </c:pt>
                <c:pt idx="91">
                  <c:v>St Moret</c:v>
                </c:pt>
                <c:pt idx="92">
                  <c:v>Chavroux</c:v>
                </c:pt>
                <c:pt idx="93">
                  <c:v>Private Lab</c:v>
                </c:pt>
                <c:pt idx="94">
                  <c:v>Kiri</c:v>
                </c:pt>
                <c:pt idx="95">
                  <c:v>Paysan Bret</c:v>
                </c:pt>
                <c:pt idx="96">
                  <c:v>All Others</c:v>
                </c:pt>
                <c:pt idx="97">
                  <c:v>La Vache Qu</c:v>
                </c:pt>
                <c:pt idx="98">
                  <c:v>Casa Azzurr</c:v>
                </c:pt>
                <c:pt idx="99">
                  <c:v>All Others</c:v>
                </c:pt>
                <c:pt idx="100">
                  <c:v>Private Lab</c:v>
                </c:pt>
                <c:pt idx="101">
                  <c:v>St Moret</c:v>
                </c:pt>
                <c:pt idx="102">
                  <c:v>Mini Babybe</c:v>
                </c:pt>
                <c:pt idx="103">
                  <c:v>Private Lab</c:v>
                </c:pt>
                <c:pt idx="104">
                  <c:v>Soignon</c:v>
                </c:pt>
                <c:pt idx="105">
                  <c:v>Private Lab</c:v>
                </c:pt>
                <c:pt idx="106">
                  <c:v>President</c:v>
                </c:pt>
                <c:pt idx="107">
                  <c:v>Private Lab</c:v>
                </c:pt>
                <c:pt idx="108">
                  <c:v>La Vache Qu</c:v>
                </c:pt>
                <c:pt idx="109">
                  <c:v>Le Rustique</c:v>
                </c:pt>
                <c:pt idx="110">
                  <c:v>Mini Babybe</c:v>
                </c:pt>
                <c:pt idx="111">
                  <c:v>Istara</c:v>
                </c:pt>
                <c:pt idx="112">
                  <c:v>Private Lab</c:v>
                </c:pt>
                <c:pt idx="113">
                  <c:v>Salakis</c:v>
                </c:pt>
                <c:pt idx="114">
                  <c:v>Private Lab</c:v>
                </c:pt>
                <c:pt idx="115">
                  <c:v>Casa Azzurr</c:v>
                </c:pt>
                <c:pt idx="116">
                  <c:v>Private Lab</c:v>
                </c:pt>
                <c:pt idx="117">
                  <c:v>Private Lab</c:v>
                </c:pt>
                <c:pt idx="118">
                  <c:v>Private Lab</c:v>
                </c:pt>
                <c:pt idx="119">
                  <c:v>La Vache Qu</c:v>
                </c:pt>
                <c:pt idx="120">
                  <c:v>Coeur De Li</c:v>
                </c:pt>
                <c:pt idx="121">
                  <c:v>Casa Azzurr</c:v>
                </c:pt>
                <c:pt idx="122">
                  <c:v>Lactalis: A</c:v>
                </c:pt>
                <c:pt idx="123">
                  <c:v>Lactalis: A</c:v>
                </c:pt>
                <c:pt idx="124">
                  <c:v>All Others</c:v>
                </c:pt>
                <c:pt idx="125">
                  <c:v>Caprice Des</c:v>
                </c:pt>
                <c:pt idx="126">
                  <c:v>Casa Azzurr</c:v>
                </c:pt>
                <c:pt idx="127">
                  <c:v>Lactalis: A</c:v>
                </c:pt>
                <c:pt idx="128">
                  <c:v>Private Lab</c:v>
                </c:pt>
                <c:pt idx="129">
                  <c:v>Soignon</c:v>
                </c:pt>
                <c:pt idx="130">
                  <c:v>President</c:v>
                </c:pt>
                <c:pt idx="131">
                  <c:v>Private Lab</c:v>
                </c:pt>
                <c:pt idx="132">
                  <c:v>Kiri</c:v>
                </c:pt>
                <c:pt idx="133">
                  <c:v>Le Rustique</c:v>
                </c:pt>
                <c:pt idx="134">
                  <c:v>Salakis</c:v>
                </c:pt>
                <c:pt idx="135">
                  <c:v>Lou Perac</c:v>
                </c:pt>
                <c:pt idx="136">
                  <c:v>Casa Azzurr</c:v>
                </c:pt>
                <c:pt idx="137">
                  <c:v>All Others</c:v>
                </c:pt>
                <c:pt idx="138">
                  <c:v>Tartare</c:v>
                </c:pt>
                <c:pt idx="139">
                  <c:v>Le Rustique</c:v>
                </c:pt>
                <c:pt idx="140">
                  <c:v>Private Lab</c:v>
                </c:pt>
                <c:pt idx="141">
                  <c:v>President</c:v>
                </c:pt>
                <c:pt idx="142">
                  <c:v>Paysan Bret</c:v>
                </c:pt>
                <c:pt idx="143">
                  <c:v>P'Tit Louis</c:v>
                </c:pt>
                <c:pt idx="144">
                  <c:v>All Others</c:v>
                </c:pt>
                <c:pt idx="145">
                  <c:v>Galbani</c:v>
                </c:pt>
                <c:pt idx="146">
                  <c:v>Carre Frais</c:v>
                </c:pt>
                <c:pt idx="147">
                  <c:v>Philadelphi</c:v>
                </c:pt>
                <c:pt idx="148">
                  <c:v>Private Lab</c:v>
                </c:pt>
                <c:pt idx="149">
                  <c:v>Mini Babybe</c:v>
                </c:pt>
                <c:pt idx="150">
                  <c:v>Private Lab</c:v>
                </c:pt>
                <c:pt idx="151">
                  <c:v>Chavroux</c:v>
                </c:pt>
                <c:pt idx="152">
                  <c:v>Paysan Bret</c:v>
                </c:pt>
                <c:pt idx="153">
                  <c:v>Boursin</c:v>
                </c:pt>
                <c:pt idx="154">
                  <c:v>All Others</c:v>
                </c:pt>
                <c:pt idx="155">
                  <c:v>Soignon</c:v>
                </c:pt>
                <c:pt idx="156">
                  <c:v>Rondele</c:v>
                </c:pt>
                <c:pt idx="157">
                  <c:v>Private Lab</c:v>
                </c:pt>
                <c:pt idx="158">
                  <c:v>Private Lab</c:v>
                </c:pt>
                <c:pt idx="159">
                  <c:v>All Others</c:v>
                </c:pt>
                <c:pt idx="160">
                  <c:v>Private Lab</c:v>
                </c:pt>
                <c:pt idx="161">
                  <c:v>Private Lab</c:v>
                </c:pt>
                <c:pt idx="162">
                  <c:v>All Others</c:v>
                </c:pt>
                <c:pt idx="163">
                  <c:v>Salakis</c:v>
                </c:pt>
                <c:pt idx="164">
                  <c:v>Private Lab</c:v>
                </c:pt>
                <c:pt idx="165">
                  <c:v>All Others</c:v>
                </c:pt>
                <c:pt idx="166">
                  <c:v>Savencia: A</c:v>
                </c:pt>
                <c:pt idx="167">
                  <c:v>Soignon</c:v>
                </c:pt>
                <c:pt idx="168">
                  <c:v>Lactalis: A</c:v>
                </c:pt>
                <c:pt idx="169">
                  <c:v>All Others</c:v>
                </c:pt>
                <c:pt idx="170">
                  <c:v>Mini Babybe</c:v>
                </c:pt>
                <c:pt idx="171">
                  <c:v>Soignon</c:v>
                </c:pt>
                <c:pt idx="172">
                  <c:v>All Others</c:v>
                </c:pt>
                <c:pt idx="173">
                  <c:v>All Others</c:v>
                </c:pt>
                <c:pt idx="174">
                  <c:v>Salakis</c:v>
                </c:pt>
                <c:pt idx="175">
                  <c:v>All Others</c:v>
                </c:pt>
                <c:pt idx="176">
                  <c:v>All Others</c:v>
                </c:pt>
                <c:pt idx="177">
                  <c:v>All Others</c:v>
                </c:pt>
                <c:pt idx="178">
                  <c:v>Galbani</c:v>
                </c:pt>
                <c:pt idx="179">
                  <c:v>Paysan Bret</c:v>
                </c:pt>
                <c:pt idx="180">
                  <c:v>All Others</c:v>
                </c:pt>
                <c:pt idx="181">
                  <c:v>Private Lab</c:v>
                </c:pt>
                <c:pt idx="182">
                  <c:v>All Others</c:v>
                </c:pt>
                <c:pt idx="183">
                  <c:v>Galbani</c:v>
                </c:pt>
                <c:pt idx="184">
                  <c:v>Caprice Des</c:v>
                </c:pt>
                <c:pt idx="185">
                  <c:v>Private Lab</c:v>
                </c:pt>
                <c:pt idx="186">
                  <c:v>All Others</c:v>
                </c:pt>
                <c:pt idx="187">
                  <c:v>Laita: All </c:v>
                </c:pt>
                <c:pt idx="188">
                  <c:v>Kiri</c:v>
                </c:pt>
                <c:pt idx="189">
                  <c:v>Casa Azzurr</c:v>
                </c:pt>
                <c:pt idx="190">
                  <c:v>All Others</c:v>
                </c:pt>
                <c:pt idx="191">
                  <c:v>All Others</c:v>
                </c:pt>
                <c:pt idx="192">
                  <c:v>President</c:v>
                </c:pt>
                <c:pt idx="193">
                  <c:v>Chavroux</c:v>
                </c:pt>
                <c:pt idx="194">
                  <c:v>Galbani</c:v>
                </c:pt>
                <c:pt idx="195">
                  <c:v>Soignon</c:v>
                </c:pt>
                <c:pt idx="196">
                  <c:v>Boursin</c:v>
                </c:pt>
                <c:pt idx="197">
                  <c:v>All Others</c:v>
                </c:pt>
                <c:pt idx="198">
                  <c:v>Private Lab</c:v>
                </c:pt>
                <c:pt idx="199">
                  <c:v>Private Lab</c:v>
                </c:pt>
                <c:pt idx="200">
                  <c:v>All Others</c:v>
                </c:pt>
                <c:pt idx="201">
                  <c:v>All Others</c:v>
                </c:pt>
                <c:pt idx="202">
                  <c:v>Private Lab</c:v>
                </c:pt>
                <c:pt idx="203">
                  <c:v>Casa Azzurr</c:v>
                </c:pt>
                <c:pt idx="204">
                  <c:v>All Others</c:v>
                </c:pt>
                <c:pt idx="205">
                  <c:v>Soignon</c:v>
                </c:pt>
                <c:pt idx="206">
                  <c:v>Private Lab</c:v>
                </c:pt>
                <c:pt idx="207">
                  <c:v>Boursin</c:v>
                </c:pt>
                <c:pt idx="208">
                  <c:v>Soignon</c:v>
                </c:pt>
                <c:pt idx="209">
                  <c:v>Casa Azzurr</c:v>
                </c:pt>
                <c:pt idx="210">
                  <c:v>Private Lab</c:v>
                </c:pt>
                <c:pt idx="211">
                  <c:v>Caprice Des</c:v>
                </c:pt>
                <c:pt idx="212">
                  <c:v>Ficello</c:v>
                </c:pt>
                <c:pt idx="213">
                  <c:v>Pave D'Affi</c:v>
                </c:pt>
                <c:pt idx="214">
                  <c:v>Casa Azzurr</c:v>
                </c:pt>
                <c:pt idx="215">
                  <c:v>Mini Babybe</c:v>
                </c:pt>
                <c:pt idx="216">
                  <c:v>Lou Perac</c:v>
                </c:pt>
                <c:pt idx="217">
                  <c:v>Private Lab</c:v>
                </c:pt>
                <c:pt idx="218">
                  <c:v>Coeur De Li</c:v>
                </c:pt>
                <c:pt idx="219">
                  <c:v>Lou Perac</c:v>
                </c:pt>
                <c:pt idx="220">
                  <c:v>All Others</c:v>
                </c:pt>
                <c:pt idx="221">
                  <c:v>All Others</c:v>
                </c:pt>
                <c:pt idx="222">
                  <c:v>All Others</c:v>
                </c:pt>
                <c:pt idx="223">
                  <c:v>Paysan Bret</c:v>
                </c:pt>
                <c:pt idx="224">
                  <c:v>P'Tit Louis</c:v>
                </c:pt>
                <c:pt idx="225">
                  <c:v>Galbani</c:v>
                </c:pt>
                <c:pt idx="226">
                  <c:v>All Others</c:v>
                </c:pt>
                <c:pt idx="227">
                  <c:v>All Others</c:v>
                </c:pt>
                <c:pt idx="228">
                  <c:v>Private Lab</c:v>
                </c:pt>
                <c:pt idx="229">
                  <c:v>All Others</c:v>
                </c:pt>
                <c:pt idx="230">
                  <c:v>Private Lab</c:v>
                </c:pt>
                <c:pt idx="231">
                  <c:v>All Others</c:v>
                </c:pt>
                <c:pt idx="232">
                  <c:v>Kiri</c:v>
                </c:pt>
                <c:pt idx="233">
                  <c:v>All Others</c:v>
                </c:pt>
                <c:pt idx="234">
                  <c:v>Mini Babybe</c:v>
                </c:pt>
                <c:pt idx="235">
                  <c:v>Tartare</c:v>
                </c:pt>
                <c:pt idx="236">
                  <c:v>All Others</c:v>
                </c:pt>
                <c:pt idx="237">
                  <c:v>All Others</c:v>
                </c:pt>
                <c:pt idx="238">
                  <c:v>All Others</c:v>
                </c:pt>
                <c:pt idx="239">
                  <c:v>Private Lab</c:v>
                </c:pt>
                <c:pt idx="240">
                  <c:v>Paysan Bret</c:v>
                </c:pt>
                <c:pt idx="241">
                  <c:v>Boursin</c:v>
                </c:pt>
                <c:pt idx="242">
                  <c:v>La Vache Qu</c:v>
                </c:pt>
                <c:pt idx="243">
                  <c:v>Boursin</c:v>
                </c:pt>
                <c:pt idx="244">
                  <c:v>St Moret</c:v>
                </c:pt>
                <c:pt idx="245">
                  <c:v>P'Tit Louis</c:v>
                </c:pt>
                <c:pt idx="246">
                  <c:v>Private Lab</c:v>
                </c:pt>
                <c:pt idx="247">
                  <c:v>All Others</c:v>
                </c:pt>
                <c:pt idx="248">
                  <c:v>All Others</c:v>
                </c:pt>
                <c:pt idx="249">
                  <c:v>Savencia: A</c:v>
                </c:pt>
                <c:pt idx="250">
                  <c:v>Triballat N</c:v>
                </c:pt>
                <c:pt idx="251">
                  <c:v>All Others</c:v>
                </c:pt>
                <c:pt idx="252">
                  <c:v>All Others</c:v>
                </c:pt>
                <c:pt idx="253">
                  <c:v>Galbani</c:v>
                </c:pt>
                <c:pt idx="254">
                  <c:v>Etorki</c:v>
                </c:pt>
                <c:pt idx="255">
                  <c:v>All Others</c:v>
                </c:pt>
                <c:pt idx="256">
                  <c:v>Galbani</c:v>
                </c:pt>
                <c:pt idx="257">
                  <c:v>Kiri</c:v>
                </c:pt>
                <c:pt idx="258">
                  <c:v>All Others</c:v>
                </c:pt>
                <c:pt idx="259">
                  <c:v>Tartare</c:v>
                </c:pt>
                <c:pt idx="260">
                  <c:v>Caprice Des</c:v>
                </c:pt>
                <c:pt idx="261">
                  <c:v>All Others</c:v>
                </c:pt>
                <c:pt idx="262">
                  <c:v>Savencia: A</c:v>
                </c:pt>
                <c:pt idx="263">
                  <c:v>All Others</c:v>
                </c:pt>
                <c:pt idx="264">
                  <c:v>All Others</c:v>
                </c:pt>
                <c:pt idx="265">
                  <c:v>Private Lab</c:v>
                </c:pt>
                <c:pt idx="266">
                  <c:v>All Others</c:v>
                </c:pt>
                <c:pt idx="267">
                  <c:v>La Vache Qu</c:v>
                </c:pt>
                <c:pt idx="268">
                  <c:v>Private Lab</c:v>
                </c:pt>
                <c:pt idx="269">
                  <c:v>Caprice Des</c:v>
                </c:pt>
                <c:pt idx="270">
                  <c:v>Etoile Du Q</c:v>
                </c:pt>
                <c:pt idx="271">
                  <c:v>Private Lab</c:v>
                </c:pt>
                <c:pt idx="272">
                  <c:v>Salakis</c:v>
                </c:pt>
                <c:pt idx="273">
                  <c:v>Casa Azzurr</c:v>
                </c:pt>
                <c:pt idx="274">
                  <c:v>All Others</c:v>
                </c:pt>
                <c:pt idx="275">
                  <c:v>All Others</c:v>
                </c:pt>
                <c:pt idx="276">
                  <c:v>All Others</c:v>
                </c:pt>
                <c:pt idx="277">
                  <c:v>All Others</c:v>
                </c:pt>
                <c:pt idx="278">
                  <c:v>All Others</c:v>
                </c:pt>
                <c:pt idx="279">
                  <c:v>Lactalis: A</c:v>
                </c:pt>
                <c:pt idx="280">
                  <c:v>Boursin</c:v>
                </c:pt>
                <c:pt idx="281">
                  <c:v>All Others</c:v>
                </c:pt>
                <c:pt idx="282">
                  <c:v>All Others</c:v>
                </c:pt>
                <c:pt idx="283">
                  <c:v>All Others</c:v>
                </c:pt>
                <c:pt idx="284">
                  <c:v>Ficello</c:v>
                </c:pt>
                <c:pt idx="285">
                  <c:v>Philadelphi</c:v>
                </c:pt>
                <c:pt idx="286">
                  <c:v>All Others</c:v>
                </c:pt>
                <c:pt idx="287">
                  <c:v>All Others</c:v>
                </c:pt>
                <c:pt idx="288">
                  <c:v>Private Lab</c:v>
                </c:pt>
                <c:pt idx="289">
                  <c:v>All Others</c:v>
                </c:pt>
                <c:pt idx="290">
                  <c:v>Galbani</c:v>
                </c:pt>
                <c:pt idx="291">
                  <c:v>All Others</c:v>
                </c:pt>
                <c:pt idx="292">
                  <c:v>Corsica</c:v>
                </c:pt>
                <c:pt idx="293">
                  <c:v>All Others</c:v>
                </c:pt>
                <c:pt idx="294">
                  <c:v>Kiri</c:v>
                </c:pt>
                <c:pt idx="295">
                  <c:v>Tartare</c:v>
                </c:pt>
                <c:pt idx="296">
                  <c:v>Rondele</c:v>
                </c:pt>
                <c:pt idx="297">
                  <c:v>All Others</c:v>
                </c:pt>
                <c:pt idx="298">
                  <c:v>President</c:v>
                </c:pt>
                <c:pt idx="299">
                  <c:v>Casa Azzurr</c:v>
                </c:pt>
                <c:pt idx="300">
                  <c:v>All Others</c:v>
                </c:pt>
                <c:pt idx="301">
                  <c:v>Corsica</c:v>
                </c:pt>
                <c:pt idx="302">
                  <c:v>Private Lab</c:v>
                </c:pt>
                <c:pt idx="303">
                  <c:v>All Others</c:v>
                </c:pt>
                <c:pt idx="304">
                  <c:v>Mini Babybe</c:v>
                </c:pt>
                <c:pt idx="305">
                  <c:v>All Others</c:v>
                </c:pt>
                <c:pt idx="306">
                  <c:v>Istara</c:v>
                </c:pt>
                <c:pt idx="307">
                  <c:v>Etoile Du V</c:v>
                </c:pt>
                <c:pt idx="308">
                  <c:v>All Others</c:v>
                </c:pt>
                <c:pt idx="309">
                  <c:v>All Others</c:v>
                </c:pt>
                <c:pt idx="310">
                  <c:v>All Others</c:v>
                </c:pt>
                <c:pt idx="311">
                  <c:v>Private Lab</c:v>
                </c:pt>
                <c:pt idx="312">
                  <c:v>Private Lab</c:v>
                </c:pt>
                <c:pt idx="313">
                  <c:v>Lactalis: A</c:v>
                </c:pt>
                <c:pt idx="314">
                  <c:v>Rondele</c:v>
                </c:pt>
                <c:pt idx="315">
                  <c:v>All Others</c:v>
                </c:pt>
                <c:pt idx="316">
                  <c:v>Saint Agur</c:v>
                </c:pt>
                <c:pt idx="317">
                  <c:v>Lou Perac</c:v>
                </c:pt>
                <c:pt idx="318">
                  <c:v>All Others</c:v>
                </c:pt>
                <c:pt idx="319">
                  <c:v>Lactalis: A</c:v>
                </c:pt>
                <c:pt idx="320">
                  <c:v>President</c:v>
                </c:pt>
                <c:pt idx="321">
                  <c:v>Casa Azzurr</c:v>
                </c:pt>
                <c:pt idx="322">
                  <c:v>All Others</c:v>
                </c:pt>
                <c:pt idx="323">
                  <c:v>All Others</c:v>
                </c:pt>
                <c:pt idx="324">
                  <c:v>Private Lab</c:v>
                </c:pt>
                <c:pt idx="325">
                  <c:v>Casa Azzurr</c:v>
                </c:pt>
                <c:pt idx="326">
                  <c:v>All Others</c:v>
                </c:pt>
                <c:pt idx="327">
                  <c:v>Eurial Autr</c:v>
                </c:pt>
                <c:pt idx="328">
                  <c:v>All Others</c:v>
                </c:pt>
                <c:pt idx="329">
                  <c:v>All Others</c:v>
                </c:pt>
                <c:pt idx="330">
                  <c:v>All Others</c:v>
                </c:pt>
                <c:pt idx="331">
                  <c:v>Galbani</c:v>
                </c:pt>
                <c:pt idx="332">
                  <c:v>President</c:v>
                </c:pt>
                <c:pt idx="333">
                  <c:v>Triballat R</c:v>
                </c:pt>
                <c:pt idx="334">
                  <c:v>Islos</c:v>
                </c:pt>
                <c:pt idx="335">
                  <c:v>All Others</c:v>
                </c:pt>
                <c:pt idx="336">
                  <c:v>Private Lab</c:v>
                </c:pt>
                <c:pt idx="337">
                  <c:v>All Others</c:v>
                </c:pt>
                <c:pt idx="338">
                  <c:v>Savencia: A</c:v>
                </c:pt>
                <c:pt idx="339">
                  <c:v>All Others</c:v>
                </c:pt>
                <c:pt idx="340">
                  <c:v>All Others</c:v>
                </c:pt>
                <c:pt idx="341">
                  <c:v>All Others</c:v>
                </c:pt>
                <c:pt idx="342">
                  <c:v>All Others</c:v>
                </c:pt>
                <c:pt idx="343">
                  <c:v>All Others</c:v>
                </c:pt>
                <c:pt idx="344">
                  <c:v>All Others</c:v>
                </c:pt>
                <c:pt idx="345">
                  <c:v>All Others</c:v>
                </c:pt>
                <c:pt idx="346">
                  <c:v>Private Lab</c:v>
                </c:pt>
                <c:pt idx="347">
                  <c:v>All Others</c:v>
                </c:pt>
                <c:pt idx="348">
                  <c:v>Private Lab</c:v>
                </c:pt>
                <c:pt idx="349">
                  <c:v>All Others</c:v>
                </c:pt>
                <c:pt idx="350">
                  <c:v>All Others</c:v>
                </c:pt>
                <c:pt idx="351">
                  <c:v>Soignon</c:v>
                </c:pt>
                <c:pt idx="352">
                  <c:v>Milleret: A</c:v>
                </c:pt>
                <c:pt idx="353">
                  <c:v>Private Lab</c:v>
                </c:pt>
                <c:pt idx="354">
                  <c:v>All Others</c:v>
                </c:pt>
                <c:pt idx="355">
                  <c:v>All Others</c:v>
                </c:pt>
                <c:pt idx="356">
                  <c:v>All Others</c:v>
                </c:pt>
                <c:pt idx="357">
                  <c:v>All Others</c:v>
                </c:pt>
                <c:pt idx="358">
                  <c:v>All Others</c:v>
                </c:pt>
                <c:pt idx="359">
                  <c:v>All Others</c:v>
                </c:pt>
                <c:pt idx="360">
                  <c:v>Private Lab</c:v>
                </c:pt>
                <c:pt idx="361">
                  <c:v>All Others</c:v>
                </c:pt>
                <c:pt idx="362">
                  <c:v>Le Brebiou</c:v>
                </c:pt>
                <c:pt idx="363">
                  <c:v>All Others</c:v>
                </c:pt>
                <c:pt idx="364">
                  <c:v>Triballat N</c:v>
                </c:pt>
                <c:pt idx="365">
                  <c:v>Islos</c:v>
                </c:pt>
                <c:pt idx="366">
                  <c:v>Private Lab</c:v>
                </c:pt>
                <c:pt idx="367">
                  <c:v>Salakis</c:v>
                </c:pt>
                <c:pt idx="368">
                  <c:v>All Others</c:v>
                </c:pt>
                <c:pt idx="369">
                  <c:v>Private Lab</c:v>
                </c:pt>
                <c:pt idx="370">
                  <c:v>Private Lab</c:v>
                </c:pt>
                <c:pt idx="371">
                  <c:v>Boursin</c:v>
                </c:pt>
                <c:pt idx="372">
                  <c:v>All Others</c:v>
                </c:pt>
                <c:pt idx="373">
                  <c:v>Lactalis: A</c:v>
                </c:pt>
                <c:pt idx="374">
                  <c:v>All Others</c:v>
                </c:pt>
                <c:pt idx="375">
                  <c:v>Private Lab</c:v>
                </c:pt>
                <c:pt idx="376">
                  <c:v>All Others</c:v>
                </c:pt>
                <c:pt idx="377">
                  <c:v>All Others</c:v>
                </c:pt>
                <c:pt idx="378">
                  <c:v>Private Lab</c:v>
                </c:pt>
                <c:pt idx="379">
                  <c:v>Private Lab</c:v>
                </c:pt>
                <c:pt idx="380">
                  <c:v>All Others</c:v>
                </c:pt>
                <c:pt idx="381">
                  <c:v>Mini Babybe</c:v>
                </c:pt>
                <c:pt idx="382">
                  <c:v>All Others</c:v>
                </c:pt>
                <c:pt idx="383">
                  <c:v>All Others</c:v>
                </c:pt>
                <c:pt idx="384">
                  <c:v>La Vache Qu</c:v>
                </c:pt>
                <c:pt idx="385">
                  <c:v>All Others</c:v>
                </c:pt>
                <c:pt idx="386">
                  <c:v>Private Lab</c:v>
                </c:pt>
                <c:pt idx="387">
                  <c:v>Private Lab</c:v>
                </c:pt>
                <c:pt idx="388">
                  <c:v>Mini Babybe</c:v>
                </c:pt>
                <c:pt idx="389">
                  <c:v>Private Lab</c:v>
                </c:pt>
                <c:pt idx="390">
                  <c:v>All Others</c:v>
                </c:pt>
                <c:pt idx="391">
                  <c:v>All Others</c:v>
                </c:pt>
                <c:pt idx="392">
                  <c:v>Private Lab</c:v>
                </c:pt>
                <c:pt idx="393">
                  <c:v>All Others</c:v>
                </c:pt>
                <c:pt idx="394">
                  <c:v>All Others</c:v>
                </c:pt>
                <c:pt idx="395">
                  <c:v>All Others</c:v>
                </c:pt>
                <c:pt idx="396">
                  <c:v>Private Lab</c:v>
                </c:pt>
                <c:pt idx="397">
                  <c:v>Boursin</c:v>
                </c:pt>
                <c:pt idx="398">
                  <c:v>All Others</c:v>
                </c:pt>
                <c:pt idx="399">
                  <c:v>Ficello</c:v>
                </c:pt>
                <c:pt idx="400">
                  <c:v>Lactalis: A</c:v>
                </c:pt>
                <c:pt idx="401">
                  <c:v>Paysan Bret</c:v>
                </c:pt>
                <c:pt idx="402">
                  <c:v>Private Lab</c:v>
                </c:pt>
                <c:pt idx="403">
                  <c:v>All Others</c:v>
                </c:pt>
                <c:pt idx="404">
                  <c:v>All Others</c:v>
                </c:pt>
                <c:pt idx="405">
                  <c:v>All Others</c:v>
                </c:pt>
                <c:pt idx="406">
                  <c:v>St Moret</c:v>
                </c:pt>
                <c:pt idx="407">
                  <c:v>President</c:v>
                </c:pt>
                <c:pt idx="408">
                  <c:v>All Others</c:v>
                </c:pt>
                <c:pt idx="409">
                  <c:v>All Others</c:v>
                </c:pt>
                <c:pt idx="410">
                  <c:v>Etoile Du Q</c:v>
                </c:pt>
                <c:pt idx="411">
                  <c:v>St Moret</c:v>
                </c:pt>
                <c:pt idx="412">
                  <c:v>Boursin</c:v>
                </c:pt>
                <c:pt idx="413">
                  <c:v>Etoile Du Q</c:v>
                </c:pt>
                <c:pt idx="414">
                  <c:v>Boursin</c:v>
                </c:pt>
                <c:pt idx="415">
                  <c:v>Saint Agur</c:v>
                </c:pt>
                <c:pt idx="416">
                  <c:v>All Others</c:v>
                </c:pt>
                <c:pt idx="417">
                  <c:v>Savencia: A</c:v>
                </c:pt>
                <c:pt idx="418">
                  <c:v>All Others</c:v>
                </c:pt>
                <c:pt idx="419">
                  <c:v>Savencia: A</c:v>
                </c:pt>
                <c:pt idx="420">
                  <c:v>All Others</c:v>
                </c:pt>
                <c:pt idx="421">
                  <c:v>All Others</c:v>
                </c:pt>
                <c:pt idx="422">
                  <c:v>All Others</c:v>
                </c:pt>
                <c:pt idx="423">
                  <c:v>All Others</c:v>
                </c:pt>
                <c:pt idx="424">
                  <c:v>Boursin</c:v>
                </c:pt>
                <c:pt idx="425">
                  <c:v>Salakis</c:v>
                </c:pt>
                <c:pt idx="426">
                  <c:v>All Others</c:v>
                </c:pt>
                <c:pt idx="427">
                  <c:v>All Others</c:v>
                </c:pt>
                <c:pt idx="428">
                  <c:v>All Others</c:v>
                </c:pt>
                <c:pt idx="429">
                  <c:v>All Others</c:v>
                </c:pt>
                <c:pt idx="430">
                  <c:v>All Others</c:v>
                </c:pt>
                <c:pt idx="431">
                  <c:v>Triballat R</c:v>
                </c:pt>
                <c:pt idx="432">
                  <c:v>Paysan Bret</c:v>
                </c:pt>
                <c:pt idx="433">
                  <c:v>Private Lab</c:v>
                </c:pt>
                <c:pt idx="434">
                  <c:v>All Others</c:v>
                </c:pt>
                <c:pt idx="435">
                  <c:v>All Others</c:v>
                </c:pt>
                <c:pt idx="436">
                  <c:v>All Others</c:v>
                </c:pt>
                <c:pt idx="437">
                  <c:v>All Others</c:v>
                </c:pt>
                <c:pt idx="438">
                  <c:v>All Others</c:v>
                </c:pt>
                <c:pt idx="439">
                  <c:v>All Others</c:v>
                </c:pt>
                <c:pt idx="440">
                  <c:v>All Others</c:v>
                </c:pt>
                <c:pt idx="441">
                  <c:v>Milleret: A</c:v>
                </c:pt>
                <c:pt idx="442">
                  <c:v>Tartare</c:v>
                </c:pt>
                <c:pt idx="443">
                  <c:v>Private Lab</c:v>
                </c:pt>
                <c:pt idx="444">
                  <c:v>All Others</c:v>
                </c:pt>
                <c:pt idx="445">
                  <c:v>Triballat R</c:v>
                </c:pt>
                <c:pt idx="446">
                  <c:v>All Others</c:v>
                </c:pt>
                <c:pt idx="447">
                  <c:v>All Others</c:v>
                </c:pt>
                <c:pt idx="448">
                  <c:v>All Others</c:v>
                </c:pt>
                <c:pt idx="449">
                  <c:v>Etorki</c:v>
                </c:pt>
                <c:pt idx="450">
                  <c:v>All Others</c:v>
                </c:pt>
                <c:pt idx="451">
                  <c:v>Paysan Bret</c:v>
                </c:pt>
                <c:pt idx="452">
                  <c:v>Triballat R</c:v>
                </c:pt>
                <c:pt idx="453">
                  <c:v>All Others</c:v>
                </c:pt>
                <c:pt idx="454">
                  <c:v>All Others</c:v>
                </c:pt>
                <c:pt idx="455">
                  <c:v>All Others</c:v>
                </c:pt>
                <c:pt idx="456">
                  <c:v>All Others</c:v>
                </c:pt>
                <c:pt idx="457">
                  <c:v>Private Lab</c:v>
                </c:pt>
                <c:pt idx="458">
                  <c:v>All Others</c:v>
                </c:pt>
                <c:pt idx="459">
                  <c:v>Boursin</c:v>
                </c:pt>
                <c:pt idx="460">
                  <c:v>All Others</c:v>
                </c:pt>
                <c:pt idx="461">
                  <c:v>Lactalis: A</c:v>
                </c:pt>
                <c:pt idx="462">
                  <c:v>Private Lab</c:v>
                </c:pt>
                <c:pt idx="463">
                  <c:v>All Others</c:v>
                </c:pt>
                <c:pt idx="464">
                  <c:v>All Others</c:v>
                </c:pt>
                <c:pt idx="465">
                  <c:v>All Others</c:v>
                </c:pt>
                <c:pt idx="466">
                  <c:v>All Others</c:v>
                </c:pt>
                <c:pt idx="467">
                  <c:v>All Others</c:v>
                </c:pt>
                <c:pt idx="468">
                  <c:v>Private Lab</c:v>
                </c:pt>
                <c:pt idx="469">
                  <c:v>All Others</c:v>
                </c:pt>
                <c:pt idx="470">
                  <c:v>All Others</c:v>
                </c:pt>
                <c:pt idx="471">
                  <c:v>All Others</c:v>
                </c:pt>
                <c:pt idx="472">
                  <c:v>Lactalis: A</c:v>
                </c:pt>
                <c:pt idx="473">
                  <c:v>All Others</c:v>
                </c:pt>
                <c:pt idx="474">
                  <c:v>All Others</c:v>
                </c:pt>
                <c:pt idx="475">
                  <c:v>All Others</c:v>
                </c:pt>
                <c:pt idx="476">
                  <c:v>Petit Billy</c:v>
                </c:pt>
                <c:pt idx="477">
                  <c:v>Private Lab</c:v>
                </c:pt>
                <c:pt idx="478">
                  <c:v>Boursin</c:v>
                </c:pt>
                <c:pt idx="479">
                  <c:v>All Others</c:v>
                </c:pt>
                <c:pt idx="480">
                  <c:v>Mini Babybe</c:v>
                </c:pt>
                <c:pt idx="481">
                  <c:v>All Others</c:v>
                </c:pt>
                <c:pt idx="482">
                  <c:v>All Others</c:v>
                </c:pt>
                <c:pt idx="483">
                  <c:v>Chavroux</c:v>
                </c:pt>
                <c:pt idx="484">
                  <c:v>All Others</c:v>
                </c:pt>
                <c:pt idx="485">
                  <c:v>All Others</c:v>
                </c:pt>
                <c:pt idx="486">
                  <c:v>Etoile Du V</c:v>
                </c:pt>
                <c:pt idx="487">
                  <c:v>All Others</c:v>
                </c:pt>
                <c:pt idx="488">
                  <c:v>Private Lab</c:v>
                </c:pt>
                <c:pt idx="489">
                  <c:v>Private Lab</c:v>
                </c:pt>
                <c:pt idx="490">
                  <c:v>All Others</c:v>
                </c:pt>
                <c:pt idx="491">
                  <c:v>All Others</c:v>
                </c:pt>
                <c:pt idx="492">
                  <c:v>Eurial Autr</c:v>
                </c:pt>
                <c:pt idx="493">
                  <c:v>All Others</c:v>
                </c:pt>
                <c:pt idx="494">
                  <c:v>All Others</c:v>
                </c:pt>
                <c:pt idx="495">
                  <c:v>All Others</c:v>
                </c:pt>
                <c:pt idx="496">
                  <c:v>All Others</c:v>
                </c:pt>
                <c:pt idx="497">
                  <c:v>All Others</c:v>
                </c:pt>
                <c:pt idx="498">
                  <c:v>All Others</c:v>
                </c:pt>
                <c:pt idx="499">
                  <c:v>All Others</c:v>
                </c:pt>
                <c:pt idx="500">
                  <c:v>Savencia: A</c:v>
                </c:pt>
                <c:pt idx="501">
                  <c:v>All Others</c:v>
                </c:pt>
                <c:pt idx="502">
                  <c:v>All Others</c:v>
                </c:pt>
                <c:pt idx="503">
                  <c:v>All Others</c:v>
                </c:pt>
                <c:pt idx="504">
                  <c:v>All Others</c:v>
                </c:pt>
                <c:pt idx="505">
                  <c:v>All Others</c:v>
                </c:pt>
                <c:pt idx="506">
                  <c:v>Etoile Du V</c:v>
                </c:pt>
                <c:pt idx="507">
                  <c:v>Private Lab</c:v>
                </c:pt>
                <c:pt idx="508">
                  <c:v>All Others</c:v>
                </c:pt>
                <c:pt idx="509">
                  <c:v>All Others</c:v>
                </c:pt>
                <c:pt idx="510">
                  <c:v>All Others</c:v>
                </c:pt>
                <c:pt idx="511">
                  <c:v>All Others</c:v>
                </c:pt>
                <c:pt idx="512">
                  <c:v>All Others</c:v>
                </c:pt>
                <c:pt idx="513">
                  <c:v>Lactalis: A</c:v>
                </c:pt>
                <c:pt idx="514">
                  <c:v>Private Lab</c:v>
                </c:pt>
                <c:pt idx="515">
                  <c:v>President</c:v>
                </c:pt>
                <c:pt idx="516">
                  <c:v>All Others</c:v>
                </c:pt>
                <c:pt idx="517">
                  <c:v>Tartare</c:v>
                </c:pt>
                <c:pt idx="518">
                  <c:v>All Others</c:v>
                </c:pt>
                <c:pt idx="519">
                  <c:v>All Others</c:v>
                </c:pt>
                <c:pt idx="520">
                  <c:v>All Others</c:v>
                </c:pt>
                <c:pt idx="521">
                  <c:v>All Others</c:v>
                </c:pt>
                <c:pt idx="522">
                  <c:v>Private Lab</c:v>
                </c:pt>
                <c:pt idx="523">
                  <c:v>All Others</c:v>
                </c:pt>
                <c:pt idx="524">
                  <c:v>Carre Frais</c:v>
                </c:pt>
                <c:pt idx="525">
                  <c:v>All Others</c:v>
                </c:pt>
                <c:pt idx="526">
                  <c:v>All Others</c:v>
                </c:pt>
                <c:pt idx="527">
                  <c:v>All Others</c:v>
                </c:pt>
                <c:pt idx="528">
                  <c:v>All Others</c:v>
                </c:pt>
                <c:pt idx="529">
                  <c:v>Eurial Autr</c:v>
                </c:pt>
                <c:pt idx="530">
                  <c:v>All Others</c:v>
                </c:pt>
                <c:pt idx="531">
                  <c:v>Private Lab</c:v>
                </c:pt>
                <c:pt idx="532">
                  <c:v>Boursin</c:v>
                </c:pt>
                <c:pt idx="533">
                  <c:v>All Others</c:v>
                </c:pt>
                <c:pt idx="534">
                  <c:v>All Others</c:v>
                </c:pt>
                <c:pt idx="535">
                  <c:v>Triballat N</c:v>
                </c:pt>
                <c:pt idx="536">
                  <c:v>All Others</c:v>
                </c:pt>
                <c:pt idx="537">
                  <c:v>All Others</c:v>
                </c:pt>
                <c:pt idx="538">
                  <c:v>All Others</c:v>
                </c:pt>
                <c:pt idx="539">
                  <c:v>All Others</c:v>
                </c:pt>
                <c:pt idx="540">
                  <c:v>Casa Azzurr</c:v>
                </c:pt>
                <c:pt idx="541">
                  <c:v>All Others</c:v>
                </c:pt>
                <c:pt idx="542">
                  <c:v>All Others</c:v>
                </c:pt>
                <c:pt idx="543">
                  <c:v>All Others</c:v>
                </c:pt>
                <c:pt idx="544">
                  <c:v>All Others</c:v>
                </c:pt>
                <c:pt idx="545">
                  <c:v>All Others</c:v>
                </c:pt>
                <c:pt idx="546">
                  <c:v>All Others</c:v>
                </c:pt>
                <c:pt idx="547">
                  <c:v>All Others</c:v>
                </c:pt>
                <c:pt idx="548">
                  <c:v>All Others</c:v>
                </c:pt>
                <c:pt idx="549">
                  <c:v>All Others</c:v>
                </c:pt>
                <c:pt idx="550">
                  <c:v>All Others</c:v>
                </c:pt>
                <c:pt idx="551">
                  <c:v>All Others</c:v>
                </c:pt>
                <c:pt idx="552">
                  <c:v>Soignon</c:v>
                </c:pt>
                <c:pt idx="553">
                  <c:v>Soignon</c:v>
                </c:pt>
                <c:pt idx="554">
                  <c:v>P'Tit Louis</c:v>
                </c:pt>
                <c:pt idx="555">
                  <c:v>Istara</c:v>
                </c:pt>
                <c:pt idx="556">
                  <c:v>All Others</c:v>
                </c:pt>
                <c:pt idx="557">
                  <c:v>Private Lab</c:v>
                </c:pt>
                <c:pt idx="558">
                  <c:v>All Others</c:v>
                </c:pt>
                <c:pt idx="559">
                  <c:v>Savencia: A</c:v>
                </c:pt>
                <c:pt idx="560">
                  <c:v>All Others</c:v>
                </c:pt>
                <c:pt idx="561">
                  <c:v>Salakis</c:v>
                </c:pt>
                <c:pt idx="562">
                  <c:v>All Others</c:v>
                </c:pt>
                <c:pt idx="563">
                  <c:v>All Others</c:v>
                </c:pt>
                <c:pt idx="564">
                  <c:v>Private Lab</c:v>
                </c:pt>
                <c:pt idx="565">
                  <c:v>All Others</c:v>
                </c:pt>
                <c:pt idx="566">
                  <c:v>All Others</c:v>
                </c:pt>
                <c:pt idx="567">
                  <c:v>Lactalis: A</c:v>
                </c:pt>
                <c:pt idx="568">
                  <c:v>Private Lab</c:v>
                </c:pt>
                <c:pt idx="569">
                  <c:v>All Others</c:v>
                </c:pt>
                <c:pt idx="570">
                  <c:v>All Others</c:v>
                </c:pt>
                <c:pt idx="571">
                  <c:v>All Others</c:v>
                </c:pt>
                <c:pt idx="572">
                  <c:v>All Others</c:v>
                </c:pt>
                <c:pt idx="573">
                  <c:v>Coeur De Li</c:v>
                </c:pt>
                <c:pt idx="574">
                  <c:v>Salakis</c:v>
                </c:pt>
                <c:pt idx="575">
                  <c:v>All Others</c:v>
                </c:pt>
                <c:pt idx="576">
                  <c:v>All Others</c:v>
                </c:pt>
                <c:pt idx="577">
                  <c:v>All Others</c:v>
                </c:pt>
                <c:pt idx="578">
                  <c:v>Boursin</c:v>
                </c:pt>
                <c:pt idx="579">
                  <c:v>Etoile Du V</c:v>
                </c:pt>
                <c:pt idx="580">
                  <c:v>All Others</c:v>
                </c:pt>
                <c:pt idx="581">
                  <c:v>All Others</c:v>
                </c:pt>
                <c:pt idx="582">
                  <c:v>All Others</c:v>
                </c:pt>
                <c:pt idx="583">
                  <c:v>Boursin</c:v>
                </c:pt>
                <c:pt idx="584">
                  <c:v>All Others</c:v>
                </c:pt>
                <c:pt idx="585">
                  <c:v>Private Lab</c:v>
                </c:pt>
                <c:pt idx="586">
                  <c:v>All Others</c:v>
                </c:pt>
                <c:pt idx="587">
                  <c:v>Etoile Du V</c:v>
                </c:pt>
                <c:pt idx="588">
                  <c:v>Private Lab</c:v>
                </c:pt>
                <c:pt idx="589">
                  <c:v>All Others</c:v>
                </c:pt>
                <c:pt idx="590">
                  <c:v>All Others</c:v>
                </c:pt>
                <c:pt idx="591">
                  <c:v>All Others</c:v>
                </c:pt>
                <c:pt idx="592">
                  <c:v>All Others</c:v>
                </c:pt>
                <c:pt idx="593">
                  <c:v>Boursin</c:v>
                </c:pt>
                <c:pt idx="594">
                  <c:v>Casa Azzurr</c:v>
                </c:pt>
                <c:pt idx="595">
                  <c:v>Private Lab</c:v>
                </c:pt>
                <c:pt idx="596">
                  <c:v>All Others</c:v>
                </c:pt>
                <c:pt idx="597">
                  <c:v>All Others</c:v>
                </c:pt>
                <c:pt idx="598">
                  <c:v>All Others</c:v>
                </c:pt>
                <c:pt idx="599">
                  <c:v>All Others</c:v>
                </c:pt>
                <c:pt idx="600">
                  <c:v>All Others</c:v>
                </c:pt>
                <c:pt idx="601">
                  <c:v>All Others</c:v>
                </c:pt>
                <c:pt idx="602">
                  <c:v>Tartare</c:v>
                </c:pt>
                <c:pt idx="603">
                  <c:v>Carre Frais</c:v>
                </c:pt>
                <c:pt idx="604">
                  <c:v>All Others</c:v>
                </c:pt>
                <c:pt idx="605">
                  <c:v>Eurial Autr</c:v>
                </c:pt>
                <c:pt idx="606">
                  <c:v>All Others</c:v>
                </c:pt>
                <c:pt idx="607">
                  <c:v>All Others</c:v>
                </c:pt>
                <c:pt idx="608">
                  <c:v>Casa Azzurr</c:v>
                </c:pt>
                <c:pt idx="609">
                  <c:v>Private Lab</c:v>
                </c:pt>
                <c:pt idx="610">
                  <c:v>Philadelphi</c:v>
                </c:pt>
                <c:pt idx="611">
                  <c:v>Mini Babybe</c:v>
                </c:pt>
                <c:pt idx="612">
                  <c:v>All Others</c:v>
                </c:pt>
                <c:pt idx="613">
                  <c:v>Private Lab</c:v>
                </c:pt>
                <c:pt idx="614">
                  <c:v>All Others</c:v>
                </c:pt>
                <c:pt idx="615">
                  <c:v>Etoile Du V</c:v>
                </c:pt>
                <c:pt idx="616">
                  <c:v>Etoile Du Q</c:v>
                </c:pt>
                <c:pt idx="617">
                  <c:v>All Others</c:v>
                </c:pt>
                <c:pt idx="618">
                  <c:v>All Others</c:v>
                </c:pt>
                <c:pt idx="619">
                  <c:v>All Others</c:v>
                </c:pt>
                <c:pt idx="620">
                  <c:v>All Others</c:v>
                </c:pt>
                <c:pt idx="621">
                  <c:v>All Others</c:v>
                </c:pt>
                <c:pt idx="622">
                  <c:v>All Others</c:v>
                </c:pt>
                <c:pt idx="623">
                  <c:v>All Others</c:v>
                </c:pt>
                <c:pt idx="624">
                  <c:v>Private Lab</c:v>
                </c:pt>
                <c:pt idx="625">
                  <c:v>Lactalis: A</c:v>
                </c:pt>
                <c:pt idx="626">
                  <c:v>Lactalis: A</c:v>
                </c:pt>
                <c:pt idx="627">
                  <c:v>All Others</c:v>
                </c:pt>
                <c:pt idx="628">
                  <c:v>All Others</c:v>
                </c:pt>
                <c:pt idx="629">
                  <c:v>All Others</c:v>
                </c:pt>
                <c:pt idx="630">
                  <c:v>All Others</c:v>
                </c:pt>
                <c:pt idx="631">
                  <c:v>Private Lab</c:v>
                </c:pt>
                <c:pt idx="632">
                  <c:v>All Others</c:v>
                </c:pt>
                <c:pt idx="633">
                  <c:v>All Others</c:v>
                </c:pt>
                <c:pt idx="634">
                  <c:v>Milleret: A</c:v>
                </c:pt>
                <c:pt idx="635">
                  <c:v>All Others</c:v>
                </c:pt>
                <c:pt idx="636">
                  <c:v>All Others</c:v>
                </c:pt>
                <c:pt idx="637">
                  <c:v>All Others</c:v>
                </c:pt>
                <c:pt idx="638">
                  <c:v>All Others</c:v>
                </c:pt>
                <c:pt idx="639">
                  <c:v>Corsica</c:v>
                </c:pt>
                <c:pt idx="640">
                  <c:v>All Others</c:v>
                </c:pt>
                <c:pt idx="641">
                  <c:v>All Others</c:v>
                </c:pt>
                <c:pt idx="642">
                  <c:v>All Others</c:v>
                </c:pt>
                <c:pt idx="643">
                  <c:v>All Others</c:v>
                </c:pt>
                <c:pt idx="644">
                  <c:v>All Others</c:v>
                </c:pt>
                <c:pt idx="645">
                  <c:v>All Others</c:v>
                </c:pt>
                <c:pt idx="646">
                  <c:v>All Others</c:v>
                </c:pt>
                <c:pt idx="647">
                  <c:v>All Others</c:v>
                </c:pt>
                <c:pt idx="648">
                  <c:v>All Others</c:v>
                </c:pt>
                <c:pt idx="649">
                  <c:v>All Others</c:v>
                </c:pt>
                <c:pt idx="650">
                  <c:v>All Others</c:v>
                </c:pt>
                <c:pt idx="651">
                  <c:v>All Others</c:v>
                </c:pt>
                <c:pt idx="652">
                  <c:v>Private Lab</c:v>
                </c:pt>
                <c:pt idx="653">
                  <c:v>All Others</c:v>
                </c:pt>
                <c:pt idx="654">
                  <c:v>Mini Babybe</c:v>
                </c:pt>
                <c:pt idx="655">
                  <c:v>All Others</c:v>
                </c:pt>
                <c:pt idx="656">
                  <c:v>All Others</c:v>
                </c:pt>
                <c:pt idx="657">
                  <c:v>All Others</c:v>
                </c:pt>
                <c:pt idx="658">
                  <c:v>All Others</c:v>
                </c:pt>
                <c:pt idx="659">
                  <c:v>All Others</c:v>
                </c:pt>
                <c:pt idx="660">
                  <c:v>All Others</c:v>
                </c:pt>
                <c:pt idx="661">
                  <c:v>All Others</c:v>
                </c:pt>
                <c:pt idx="662">
                  <c:v>All Others</c:v>
                </c:pt>
                <c:pt idx="663">
                  <c:v>All Others</c:v>
                </c:pt>
                <c:pt idx="664">
                  <c:v>All Others</c:v>
                </c:pt>
                <c:pt idx="665">
                  <c:v>All Others</c:v>
                </c:pt>
                <c:pt idx="666">
                  <c:v>All Others</c:v>
                </c:pt>
                <c:pt idx="667">
                  <c:v>All Others</c:v>
                </c:pt>
                <c:pt idx="668">
                  <c:v>All Others</c:v>
                </c:pt>
                <c:pt idx="669">
                  <c:v>All Others</c:v>
                </c:pt>
                <c:pt idx="670">
                  <c:v>All Others</c:v>
                </c:pt>
                <c:pt idx="671">
                  <c:v>Lactalis: A</c:v>
                </c:pt>
                <c:pt idx="672">
                  <c:v>All Others</c:v>
                </c:pt>
                <c:pt idx="673">
                  <c:v>All Others</c:v>
                </c:pt>
                <c:pt idx="674">
                  <c:v>All Others</c:v>
                </c:pt>
                <c:pt idx="675">
                  <c:v>All Others</c:v>
                </c:pt>
                <c:pt idx="676">
                  <c:v>All Others</c:v>
                </c:pt>
                <c:pt idx="677">
                  <c:v>All Others</c:v>
                </c:pt>
                <c:pt idx="678">
                  <c:v>All Others</c:v>
                </c:pt>
                <c:pt idx="679">
                  <c:v>All Others</c:v>
                </c:pt>
                <c:pt idx="680">
                  <c:v>All Others</c:v>
                </c:pt>
                <c:pt idx="681">
                  <c:v>All Others</c:v>
                </c:pt>
                <c:pt idx="682">
                  <c:v>Triballat N</c:v>
                </c:pt>
                <c:pt idx="683">
                  <c:v>All Others</c:v>
                </c:pt>
                <c:pt idx="684">
                  <c:v>All Others</c:v>
                </c:pt>
                <c:pt idx="685">
                  <c:v>All Others</c:v>
                </c:pt>
                <c:pt idx="686">
                  <c:v>La Vache Qu</c:v>
                </c:pt>
                <c:pt idx="687">
                  <c:v>All Others</c:v>
                </c:pt>
                <c:pt idx="688">
                  <c:v>All Others</c:v>
                </c:pt>
                <c:pt idx="689">
                  <c:v>Galbani</c:v>
                </c:pt>
                <c:pt idx="690">
                  <c:v>All Others</c:v>
                </c:pt>
                <c:pt idx="691">
                  <c:v>All Others</c:v>
                </c:pt>
                <c:pt idx="692">
                  <c:v>All Others</c:v>
                </c:pt>
                <c:pt idx="693">
                  <c:v>All Others</c:v>
                </c:pt>
                <c:pt idx="694">
                  <c:v>Lactalis: A</c:v>
                </c:pt>
                <c:pt idx="695">
                  <c:v>All Others</c:v>
                </c:pt>
                <c:pt idx="696">
                  <c:v>All Others</c:v>
                </c:pt>
                <c:pt idx="697">
                  <c:v>All Others</c:v>
                </c:pt>
                <c:pt idx="698">
                  <c:v>All Others</c:v>
                </c:pt>
                <c:pt idx="699">
                  <c:v>All Others</c:v>
                </c:pt>
                <c:pt idx="700">
                  <c:v>St Moret</c:v>
                </c:pt>
                <c:pt idx="701">
                  <c:v>All Others</c:v>
                </c:pt>
                <c:pt idx="702">
                  <c:v>All Others</c:v>
                </c:pt>
                <c:pt idx="703">
                  <c:v>Savencia: A</c:v>
                </c:pt>
                <c:pt idx="704">
                  <c:v>All Others</c:v>
                </c:pt>
                <c:pt idx="705">
                  <c:v>All Others</c:v>
                </c:pt>
                <c:pt idx="706">
                  <c:v>Private Lab</c:v>
                </c:pt>
                <c:pt idx="707">
                  <c:v>All Others</c:v>
                </c:pt>
                <c:pt idx="708">
                  <c:v>All Others</c:v>
                </c:pt>
                <c:pt idx="709">
                  <c:v>All Others</c:v>
                </c:pt>
                <c:pt idx="710">
                  <c:v>All Others</c:v>
                </c:pt>
                <c:pt idx="711">
                  <c:v>Triballat N</c:v>
                </c:pt>
                <c:pt idx="712">
                  <c:v>Triballat R</c:v>
                </c:pt>
                <c:pt idx="713">
                  <c:v>All Others</c:v>
                </c:pt>
                <c:pt idx="714">
                  <c:v>All Others</c:v>
                </c:pt>
                <c:pt idx="715">
                  <c:v>All Others</c:v>
                </c:pt>
                <c:pt idx="716">
                  <c:v>All Others</c:v>
                </c:pt>
                <c:pt idx="717">
                  <c:v>All Others</c:v>
                </c:pt>
                <c:pt idx="718">
                  <c:v>All Others</c:v>
                </c:pt>
                <c:pt idx="719">
                  <c:v>Private Lab</c:v>
                </c:pt>
                <c:pt idx="720">
                  <c:v>All Others</c:v>
                </c:pt>
                <c:pt idx="721">
                  <c:v>Lactalis: A</c:v>
                </c:pt>
                <c:pt idx="722">
                  <c:v>All Others</c:v>
                </c:pt>
                <c:pt idx="723">
                  <c:v>All Others</c:v>
                </c:pt>
                <c:pt idx="724">
                  <c:v>All Others</c:v>
                </c:pt>
                <c:pt idx="725">
                  <c:v>Savencia: A</c:v>
                </c:pt>
                <c:pt idx="726">
                  <c:v>All Others</c:v>
                </c:pt>
                <c:pt idx="727">
                  <c:v>Savencia: A</c:v>
                </c:pt>
                <c:pt idx="728">
                  <c:v>Private Lab</c:v>
                </c:pt>
                <c:pt idx="729">
                  <c:v>All Others</c:v>
                </c:pt>
                <c:pt idx="730">
                  <c:v>All Others</c:v>
                </c:pt>
                <c:pt idx="731">
                  <c:v>All Others</c:v>
                </c:pt>
                <c:pt idx="732">
                  <c:v>All Others</c:v>
                </c:pt>
                <c:pt idx="733">
                  <c:v>All Others</c:v>
                </c:pt>
                <c:pt idx="734">
                  <c:v>All Others</c:v>
                </c:pt>
                <c:pt idx="735">
                  <c:v>All Others</c:v>
                </c:pt>
                <c:pt idx="736">
                  <c:v>All Others</c:v>
                </c:pt>
                <c:pt idx="737">
                  <c:v>All Others</c:v>
                </c:pt>
                <c:pt idx="738">
                  <c:v>All Others</c:v>
                </c:pt>
                <c:pt idx="739">
                  <c:v>Salakis</c:v>
                </c:pt>
                <c:pt idx="740">
                  <c:v>Triballat N</c:v>
                </c:pt>
                <c:pt idx="741">
                  <c:v>All Others</c:v>
                </c:pt>
                <c:pt idx="742">
                  <c:v>All Others</c:v>
                </c:pt>
                <c:pt idx="743">
                  <c:v>All Others</c:v>
                </c:pt>
                <c:pt idx="744">
                  <c:v>Private Lab</c:v>
                </c:pt>
                <c:pt idx="745">
                  <c:v>All Others</c:v>
                </c:pt>
                <c:pt idx="746">
                  <c:v>La Vache Qu</c:v>
                </c:pt>
                <c:pt idx="747">
                  <c:v>All Others</c:v>
                </c:pt>
                <c:pt idx="748">
                  <c:v>Private Lab</c:v>
                </c:pt>
                <c:pt idx="749">
                  <c:v>Savencia: A</c:v>
                </c:pt>
                <c:pt idx="750">
                  <c:v>All Others</c:v>
                </c:pt>
                <c:pt idx="751">
                  <c:v>All Others</c:v>
                </c:pt>
                <c:pt idx="752">
                  <c:v>All Others</c:v>
                </c:pt>
                <c:pt idx="753">
                  <c:v>All Others</c:v>
                </c:pt>
                <c:pt idx="754">
                  <c:v>All Others</c:v>
                </c:pt>
                <c:pt idx="755">
                  <c:v>All Others</c:v>
                </c:pt>
                <c:pt idx="756">
                  <c:v>Petit Billy</c:v>
                </c:pt>
                <c:pt idx="757">
                  <c:v>All Others</c:v>
                </c:pt>
                <c:pt idx="758">
                  <c:v>All Others</c:v>
                </c:pt>
                <c:pt idx="759">
                  <c:v>All Others</c:v>
                </c:pt>
                <c:pt idx="760">
                  <c:v>All Others</c:v>
                </c:pt>
                <c:pt idx="761">
                  <c:v>All Others</c:v>
                </c:pt>
                <c:pt idx="762">
                  <c:v>All Others</c:v>
                </c:pt>
                <c:pt idx="763">
                  <c:v>All Others</c:v>
                </c:pt>
                <c:pt idx="764">
                  <c:v>All Others</c:v>
                </c:pt>
                <c:pt idx="765">
                  <c:v>Private Lab</c:v>
                </c:pt>
                <c:pt idx="766">
                  <c:v>Islos</c:v>
                </c:pt>
                <c:pt idx="767">
                  <c:v>All Others</c:v>
                </c:pt>
                <c:pt idx="768">
                  <c:v>All Others</c:v>
                </c:pt>
                <c:pt idx="769">
                  <c:v>All Others</c:v>
                </c:pt>
                <c:pt idx="770">
                  <c:v>All Others</c:v>
                </c:pt>
                <c:pt idx="771">
                  <c:v>All Others</c:v>
                </c:pt>
                <c:pt idx="772">
                  <c:v>All Others</c:v>
                </c:pt>
                <c:pt idx="773">
                  <c:v>All Others</c:v>
                </c:pt>
                <c:pt idx="774">
                  <c:v>All Others</c:v>
                </c:pt>
                <c:pt idx="775">
                  <c:v>All Others</c:v>
                </c:pt>
                <c:pt idx="776">
                  <c:v>Lactalis: A</c:v>
                </c:pt>
                <c:pt idx="777">
                  <c:v>All Others</c:v>
                </c:pt>
                <c:pt idx="778">
                  <c:v>All Others</c:v>
                </c:pt>
                <c:pt idx="779">
                  <c:v>All Others</c:v>
                </c:pt>
                <c:pt idx="780">
                  <c:v>All Others</c:v>
                </c:pt>
                <c:pt idx="781">
                  <c:v>All Others</c:v>
                </c:pt>
                <c:pt idx="782">
                  <c:v>All Others</c:v>
                </c:pt>
                <c:pt idx="783">
                  <c:v>All Others</c:v>
                </c:pt>
                <c:pt idx="784">
                  <c:v>All Others</c:v>
                </c:pt>
                <c:pt idx="785">
                  <c:v>All Others</c:v>
                </c:pt>
                <c:pt idx="786">
                  <c:v>All Others</c:v>
                </c:pt>
                <c:pt idx="787">
                  <c:v>All Others</c:v>
                </c:pt>
                <c:pt idx="788">
                  <c:v>All Others</c:v>
                </c:pt>
                <c:pt idx="789">
                  <c:v>Private Lab</c:v>
                </c:pt>
                <c:pt idx="790">
                  <c:v>All Others</c:v>
                </c:pt>
                <c:pt idx="791">
                  <c:v>All Others</c:v>
                </c:pt>
                <c:pt idx="792">
                  <c:v>All Others</c:v>
                </c:pt>
                <c:pt idx="793">
                  <c:v>All Others</c:v>
                </c:pt>
                <c:pt idx="794">
                  <c:v>All Others</c:v>
                </c:pt>
                <c:pt idx="795">
                  <c:v>Private Lab</c:v>
                </c:pt>
                <c:pt idx="796">
                  <c:v>Private Lab</c:v>
                </c:pt>
                <c:pt idx="797">
                  <c:v>All Others</c:v>
                </c:pt>
                <c:pt idx="798">
                  <c:v>All Others</c:v>
                </c:pt>
                <c:pt idx="799">
                  <c:v>All Others</c:v>
                </c:pt>
                <c:pt idx="800">
                  <c:v>All Others</c:v>
                </c:pt>
                <c:pt idx="801">
                  <c:v>All Others</c:v>
                </c:pt>
                <c:pt idx="802">
                  <c:v>All Others</c:v>
                </c:pt>
                <c:pt idx="803">
                  <c:v>Private Lab</c:v>
                </c:pt>
                <c:pt idx="804">
                  <c:v>All Others</c:v>
                </c:pt>
                <c:pt idx="805">
                  <c:v>All Others</c:v>
                </c:pt>
                <c:pt idx="806">
                  <c:v>All Others</c:v>
                </c:pt>
                <c:pt idx="807">
                  <c:v>All Others</c:v>
                </c:pt>
                <c:pt idx="808">
                  <c:v>All Others</c:v>
                </c:pt>
                <c:pt idx="809">
                  <c:v>All Others</c:v>
                </c:pt>
                <c:pt idx="810">
                  <c:v>All Others</c:v>
                </c:pt>
                <c:pt idx="811">
                  <c:v>All Others</c:v>
                </c:pt>
                <c:pt idx="812">
                  <c:v>All Others</c:v>
                </c:pt>
                <c:pt idx="813">
                  <c:v>All Others</c:v>
                </c:pt>
                <c:pt idx="814">
                  <c:v>All Others</c:v>
                </c:pt>
                <c:pt idx="815">
                  <c:v>All Others</c:v>
                </c:pt>
                <c:pt idx="816">
                  <c:v>All Others</c:v>
                </c:pt>
                <c:pt idx="817">
                  <c:v>All Others</c:v>
                </c:pt>
                <c:pt idx="818">
                  <c:v>Kiri</c:v>
                </c:pt>
                <c:pt idx="819">
                  <c:v>All Others</c:v>
                </c:pt>
                <c:pt idx="820">
                  <c:v>All Others</c:v>
                </c:pt>
                <c:pt idx="821">
                  <c:v>All Others</c:v>
                </c:pt>
                <c:pt idx="822">
                  <c:v>All Others</c:v>
                </c:pt>
                <c:pt idx="823">
                  <c:v>All Others</c:v>
                </c:pt>
                <c:pt idx="824">
                  <c:v>All Others</c:v>
                </c:pt>
                <c:pt idx="825">
                  <c:v>All Others</c:v>
                </c:pt>
                <c:pt idx="826">
                  <c:v>All Others</c:v>
                </c:pt>
                <c:pt idx="827">
                  <c:v>All Others</c:v>
                </c:pt>
                <c:pt idx="828">
                  <c:v>Boursin</c:v>
                </c:pt>
                <c:pt idx="829">
                  <c:v>All Others</c:v>
                </c:pt>
                <c:pt idx="830">
                  <c:v>All Others</c:v>
                </c:pt>
                <c:pt idx="831">
                  <c:v>All Others</c:v>
                </c:pt>
                <c:pt idx="832">
                  <c:v>All Others</c:v>
                </c:pt>
                <c:pt idx="833">
                  <c:v>All Others</c:v>
                </c:pt>
                <c:pt idx="834">
                  <c:v>All Others</c:v>
                </c:pt>
                <c:pt idx="835">
                  <c:v>Soignon</c:v>
                </c:pt>
                <c:pt idx="836">
                  <c:v>Mini Babybe</c:v>
                </c:pt>
                <c:pt idx="837">
                  <c:v>All Others</c:v>
                </c:pt>
                <c:pt idx="838">
                  <c:v>All Others</c:v>
                </c:pt>
                <c:pt idx="839">
                  <c:v>All Others</c:v>
                </c:pt>
                <c:pt idx="840">
                  <c:v>All Others</c:v>
                </c:pt>
                <c:pt idx="841">
                  <c:v>Eurial Autr</c:v>
                </c:pt>
                <c:pt idx="842">
                  <c:v>All Others</c:v>
                </c:pt>
                <c:pt idx="843">
                  <c:v>All Others</c:v>
                </c:pt>
                <c:pt idx="844">
                  <c:v>All Others</c:v>
                </c:pt>
                <c:pt idx="845">
                  <c:v>Triballat R</c:v>
                </c:pt>
                <c:pt idx="846">
                  <c:v>All Others</c:v>
                </c:pt>
                <c:pt idx="847">
                  <c:v>All Others</c:v>
                </c:pt>
                <c:pt idx="848">
                  <c:v>All Others</c:v>
                </c:pt>
                <c:pt idx="849">
                  <c:v>All Others</c:v>
                </c:pt>
                <c:pt idx="850">
                  <c:v>All Others</c:v>
                </c:pt>
                <c:pt idx="851">
                  <c:v>All Others</c:v>
                </c:pt>
                <c:pt idx="852">
                  <c:v>All Others</c:v>
                </c:pt>
                <c:pt idx="853">
                  <c:v>All Others</c:v>
                </c:pt>
                <c:pt idx="854">
                  <c:v>All Others</c:v>
                </c:pt>
                <c:pt idx="855">
                  <c:v>All Others</c:v>
                </c:pt>
                <c:pt idx="856">
                  <c:v>All Others</c:v>
                </c:pt>
                <c:pt idx="857">
                  <c:v>All Others</c:v>
                </c:pt>
                <c:pt idx="858">
                  <c:v>All Others</c:v>
                </c:pt>
                <c:pt idx="859">
                  <c:v>All Others</c:v>
                </c:pt>
                <c:pt idx="860">
                  <c:v>All Others</c:v>
                </c:pt>
                <c:pt idx="861">
                  <c:v>All Others</c:v>
                </c:pt>
                <c:pt idx="862">
                  <c:v>All Others</c:v>
                </c:pt>
                <c:pt idx="863">
                  <c:v>All Others</c:v>
                </c:pt>
                <c:pt idx="864">
                  <c:v>All Others</c:v>
                </c:pt>
                <c:pt idx="865">
                  <c:v>All Others</c:v>
                </c:pt>
                <c:pt idx="866">
                  <c:v>Boursin</c:v>
                </c:pt>
                <c:pt idx="867">
                  <c:v>All Others</c:v>
                </c:pt>
                <c:pt idx="868">
                  <c:v>All Others</c:v>
                </c:pt>
                <c:pt idx="869">
                  <c:v>All Others</c:v>
                </c:pt>
                <c:pt idx="870">
                  <c:v>All Others</c:v>
                </c:pt>
                <c:pt idx="871">
                  <c:v>All Others</c:v>
                </c:pt>
                <c:pt idx="872">
                  <c:v>Etoile Du Q</c:v>
                </c:pt>
                <c:pt idx="873">
                  <c:v>All Others</c:v>
                </c:pt>
                <c:pt idx="874">
                  <c:v>All Others</c:v>
                </c:pt>
                <c:pt idx="875">
                  <c:v>All Others</c:v>
                </c:pt>
                <c:pt idx="876">
                  <c:v>All Others</c:v>
                </c:pt>
                <c:pt idx="877">
                  <c:v>All Others</c:v>
                </c:pt>
                <c:pt idx="878">
                  <c:v>All Others</c:v>
                </c:pt>
                <c:pt idx="879">
                  <c:v>All Others</c:v>
                </c:pt>
                <c:pt idx="880">
                  <c:v>All Others</c:v>
                </c:pt>
                <c:pt idx="881">
                  <c:v>All Others</c:v>
                </c:pt>
                <c:pt idx="882">
                  <c:v>All Others</c:v>
                </c:pt>
                <c:pt idx="883">
                  <c:v>All Others</c:v>
                </c:pt>
                <c:pt idx="884">
                  <c:v>All Others</c:v>
                </c:pt>
                <c:pt idx="885">
                  <c:v>All Others</c:v>
                </c:pt>
                <c:pt idx="886">
                  <c:v>All Others</c:v>
                </c:pt>
                <c:pt idx="887">
                  <c:v>All Others</c:v>
                </c:pt>
                <c:pt idx="888">
                  <c:v>All Others</c:v>
                </c:pt>
                <c:pt idx="889">
                  <c:v>President</c:v>
                </c:pt>
                <c:pt idx="890">
                  <c:v>All Others</c:v>
                </c:pt>
                <c:pt idx="891">
                  <c:v>All Others</c:v>
                </c:pt>
                <c:pt idx="892">
                  <c:v>All Others</c:v>
                </c:pt>
                <c:pt idx="893">
                  <c:v>Private Lab</c:v>
                </c:pt>
                <c:pt idx="894">
                  <c:v>All Others</c:v>
                </c:pt>
                <c:pt idx="895">
                  <c:v>All Others</c:v>
                </c:pt>
                <c:pt idx="896">
                  <c:v>All Others</c:v>
                </c:pt>
                <c:pt idx="897">
                  <c:v>All Others</c:v>
                </c:pt>
                <c:pt idx="898">
                  <c:v>Tartare</c:v>
                </c:pt>
                <c:pt idx="899">
                  <c:v>All Others</c:v>
                </c:pt>
                <c:pt idx="900">
                  <c:v>All Others</c:v>
                </c:pt>
                <c:pt idx="901">
                  <c:v>All Others</c:v>
                </c:pt>
                <c:pt idx="902">
                  <c:v>All Others</c:v>
                </c:pt>
                <c:pt idx="903">
                  <c:v>All Others</c:v>
                </c:pt>
                <c:pt idx="904">
                  <c:v>Triballat R</c:v>
                </c:pt>
                <c:pt idx="905">
                  <c:v>All Others</c:v>
                </c:pt>
                <c:pt idx="906">
                  <c:v>All Others</c:v>
                </c:pt>
                <c:pt idx="907">
                  <c:v>All Others</c:v>
                </c:pt>
                <c:pt idx="908">
                  <c:v>All Others</c:v>
                </c:pt>
                <c:pt idx="909">
                  <c:v>All Others</c:v>
                </c:pt>
                <c:pt idx="910">
                  <c:v>All Others</c:v>
                </c:pt>
                <c:pt idx="911">
                  <c:v>Triballat R</c:v>
                </c:pt>
                <c:pt idx="912">
                  <c:v>All Others</c:v>
                </c:pt>
                <c:pt idx="913">
                  <c:v>All Others</c:v>
                </c:pt>
                <c:pt idx="914">
                  <c:v>Private Lab</c:v>
                </c:pt>
                <c:pt idx="915">
                  <c:v>All Others</c:v>
                </c:pt>
                <c:pt idx="916">
                  <c:v>All Others</c:v>
                </c:pt>
                <c:pt idx="917">
                  <c:v>All Others</c:v>
                </c:pt>
                <c:pt idx="918">
                  <c:v>All Others</c:v>
                </c:pt>
                <c:pt idx="919">
                  <c:v>Savencia: A</c:v>
                </c:pt>
                <c:pt idx="920">
                  <c:v>Lactalis: A</c:v>
                </c:pt>
                <c:pt idx="921">
                  <c:v>All Others</c:v>
                </c:pt>
                <c:pt idx="922">
                  <c:v>All Others</c:v>
                </c:pt>
                <c:pt idx="923">
                  <c:v>Savencia: A</c:v>
                </c:pt>
                <c:pt idx="924">
                  <c:v>All Others</c:v>
                </c:pt>
                <c:pt idx="925">
                  <c:v>All Others</c:v>
                </c:pt>
                <c:pt idx="926">
                  <c:v>President</c:v>
                </c:pt>
                <c:pt idx="927">
                  <c:v>All Others</c:v>
                </c:pt>
                <c:pt idx="928">
                  <c:v>All Others</c:v>
                </c:pt>
                <c:pt idx="929">
                  <c:v>All Others</c:v>
                </c:pt>
                <c:pt idx="930">
                  <c:v>All Others</c:v>
                </c:pt>
                <c:pt idx="931">
                  <c:v>All Others</c:v>
                </c:pt>
                <c:pt idx="932">
                  <c:v>All Others</c:v>
                </c:pt>
                <c:pt idx="933">
                  <c:v>All Others</c:v>
                </c:pt>
                <c:pt idx="934">
                  <c:v>All Others</c:v>
                </c:pt>
                <c:pt idx="935">
                  <c:v>Private Lab</c:v>
                </c:pt>
                <c:pt idx="936">
                  <c:v>All Others</c:v>
                </c:pt>
                <c:pt idx="937">
                  <c:v>All Others</c:v>
                </c:pt>
                <c:pt idx="938">
                  <c:v>Eurial Autr</c:v>
                </c:pt>
                <c:pt idx="939">
                  <c:v>Triballat R</c:v>
                </c:pt>
                <c:pt idx="940">
                  <c:v>All Others</c:v>
                </c:pt>
                <c:pt idx="941">
                  <c:v>All Others</c:v>
                </c:pt>
                <c:pt idx="942">
                  <c:v>All Others</c:v>
                </c:pt>
                <c:pt idx="943">
                  <c:v>All Others</c:v>
                </c:pt>
                <c:pt idx="944">
                  <c:v>All Others</c:v>
                </c:pt>
                <c:pt idx="945">
                  <c:v>All Others</c:v>
                </c:pt>
                <c:pt idx="946">
                  <c:v>All Others</c:v>
                </c:pt>
                <c:pt idx="947">
                  <c:v>All Others</c:v>
                </c:pt>
                <c:pt idx="948">
                  <c:v>All Others</c:v>
                </c:pt>
                <c:pt idx="949">
                  <c:v>All Others</c:v>
                </c:pt>
                <c:pt idx="950">
                  <c:v>Eurial Autr</c:v>
                </c:pt>
                <c:pt idx="951">
                  <c:v>All Others</c:v>
                </c:pt>
                <c:pt idx="952">
                  <c:v>All Others</c:v>
                </c:pt>
                <c:pt idx="953">
                  <c:v>All Others</c:v>
                </c:pt>
                <c:pt idx="954">
                  <c:v>All Others</c:v>
                </c:pt>
                <c:pt idx="955">
                  <c:v>All Others</c:v>
                </c:pt>
                <c:pt idx="956">
                  <c:v>St Moret</c:v>
                </c:pt>
                <c:pt idx="957">
                  <c:v>All Others</c:v>
                </c:pt>
                <c:pt idx="958">
                  <c:v>Savencia: A</c:v>
                </c:pt>
                <c:pt idx="959">
                  <c:v>Private Lab</c:v>
                </c:pt>
                <c:pt idx="960">
                  <c:v>All Others</c:v>
                </c:pt>
                <c:pt idx="961">
                  <c:v>All Others</c:v>
                </c:pt>
                <c:pt idx="962">
                  <c:v>All Others</c:v>
                </c:pt>
                <c:pt idx="963">
                  <c:v>Private Lab</c:v>
                </c:pt>
                <c:pt idx="964">
                  <c:v>All Others</c:v>
                </c:pt>
                <c:pt idx="965">
                  <c:v>All Others</c:v>
                </c:pt>
                <c:pt idx="966">
                  <c:v>All Others</c:v>
                </c:pt>
                <c:pt idx="967">
                  <c:v>All Others</c:v>
                </c:pt>
                <c:pt idx="968">
                  <c:v>All Others</c:v>
                </c:pt>
                <c:pt idx="969">
                  <c:v>All Others</c:v>
                </c:pt>
                <c:pt idx="970">
                  <c:v>All Others</c:v>
                </c:pt>
                <c:pt idx="971">
                  <c:v>All Others</c:v>
                </c:pt>
                <c:pt idx="972">
                  <c:v>All Others</c:v>
                </c:pt>
                <c:pt idx="973">
                  <c:v>All Others</c:v>
                </c:pt>
                <c:pt idx="974">
                  <c:v>All Others</c:v>
                </c:pt>
                <c:pt idx="975">
                  <c:v>All Others</c:v>
                </c:pt>
                <c:pt idx="976">
                  <c:v>All Others</c:v>
                </c:pt>
                <c:pt idx="977">
                  <c:v>All Others</c:v>
                </c:pt>
                <c:pt idx="978">
                  <c:v>All Others</c:v>
                </c:pt>
                <c:pt idx="979">
                  <c:v>All Others</c:v>
                </c:pt>
                <c:pt idx="980">
                  <c:v>All Others</c:v>
                </c:pt>
                <c:pt idx="981">
                  <c:v>All Others</c:v>
                </c:pt>
                <c:pt idx="982">
                  <c:v>All Others</c:v>
                </c:pt>
                <c:pt idx="983">
                  <c:v>All Others</c:v>
                </c:pt>
                <c:pt idx="984">
                  <c:v>All Others</c:v>
                </c:pt>
                <c:pt idx="985">
                  <c:v>All Others</c:v>
                </c:pt>
                <c:pt idx="986">
                  <c:v>All Others</c:v>
                </c:pt>
                <c:pt idx="987">
                  <c:v>All Others</c:v>
                </c:pt>
                <c:pt idx="988">
                  <c:v>All Others</c:v>
                </c:pt>
                <c:pt idx="989">
                  <c:v>All Others</c:v>
                </c:pt>
                <c:pt idx="990">
                  <c:v>All Others</c:v>
                </c:pt>
                <c:pt idx="991">
                  <c:v>All Others</c:v>
                </c:pt>
                <c:pt idx="992">
                  <c:v>All Others</c:v>
                </c:pt>
                <c:pt idx="993">
                  <c:v>All Others</c:v>
                </c:pt>
                <c:pt idx="994">
                  <c:v>Eurial Autr</c:v>
                </c:pt>
                <c:pt idx="995">
                  <c:v>Eurial Autr</c:v>
                </c:pt>
                <c:pt idx="996">
                  <c:v>All Others</c:v>
                </c:pt>
                <c:pt idx="997">
                  <c:v>All Others</c:v>
                </c:pt>
                <c:pt idx="998">
                  <c:v>All Others</c:v>
                </c:pt>
                <c:pt idx="999">
                  <c:v>All Others</c:v>
                </c:pt>
                <c:pt idx="1000">
                  <c:v>All Others</c:v>
                </c:pt>
                <c:pt idx="1001">
                  <c:v>All Others</c:v>
                </c:pt>
                <c:pt idx="1002">
                  <c:v>Private Lab</c:v>
                </c:pt>
                <c:pt idx="1003">
                  <c:v>All Others</c:v>
                </c:pt>
                <c:pt idx="1004">
                  <c:v>All Others</c:v>
                </c:pt>
                <c:pt idx="1005">
                  <c:v>Eurial Autr</c:v>
                </c:pt>
                <c:pt idx="1006">
                  <c:v>All Others</c:v>
                </c:pt>
                <c:pt idx="1007">
                  <c:v>All Others</c:v>
                </c:pt>
                <c:pt idx="1008">
                  <c:v>Lou Perac</c:v>
                </c:pt>
                <c:pt idx="1009">
                  <c:v>All Others</c:v>
                </c:pt>
                <c:pt idx="1010">
                  <c:v>All Others</c:v>
                </c:pt>
                <c:pt idx="1011">
                  <c:v>Triballat N</c:v>
                </c:pt>
                <c:pt idx="1012">
                  <c:v>All Others</c:v>
                </c:pt>
                <c:pt idx="1013">
                  <c:v>All Others</c:v>
                </c:pt>
                <c:pt idx="1014">
                  <c:v>All Others</c:v>
                </c:pt>
                <c:pt idx="1015">
                  <c:v>All Others</c:v>
                </c:pt>
                <c:pt idx="1016">
                  <c:v>All Others</c:v>
                </c:pt>
                <c:pt idx="1017">
                  <c:v>All Others</c:v>
                </c:pt>
                <c:pt idx="1018">
                  <c:v>All Others</c:v>
                </c:pt>
                <c:pt idx="1019">
                  <c:v>All Others</c:v>
                </c:pt>
                <c:pt idx="1020">
                  <c:v>All Others</c:v>
                </c:pt>
                <c:pt idx="1021">
                  <c:v>All Others</c:v>
                </c:pt>
                <c:pt idx="1022">
                  <c:v>All Others</c:v>
                </c:pt>
                <c:pt idx="1023">
                  <c:v>All Others</c:v>
                </c:pt>
                <c:pt idx="1024">
                  <c:v>All Others</c:v>
                </c:pt>
                <c:pt idx="1025">
                  <c:v>All Others</c:v>
                </c:pt>
                <c:pt idx="1026">
                  <c:v>All Others</c:v>
                </c:pt>
                <c:pt idx="1027">
                  <c:v>All Others</c:v>
                </c:pt>
                <c:pt idx="1028">
                  <c:v>All Others</c:v>
                </c:pt>
                <c:pt idx="1029">
                  <c:v>All Others</c:v>
                </c:pt>
                <c:pt idx="1030">
                  <c:v>All Others</c:v>
                </c:pt>
                <c:pt idx="1031">
                  <c:v>All Others</c:v>
                </c:pt>
                <c:pt idx="1032">
                  <c:v>All Others</c:v>
                </c:pt>
                <c:pt idx="1033">
                  <c:v>All Others</c:v>
                </c:pt>
                <c:pt idx="1034">
                  <c:v>All Others</c:v>
                </c:pt>
                <c:pt idx="1035">
                  <c:v>All Others</c:v>
                </c:pt>
                <c:pt idx="1036">
                  <c:v>Triballat R</c:v>
                </c:pt>
                <c:pt idx="1037">
                  <c:v>All Others</c:v>
                </c:pt>
                <c:pt idx="1038">
                  <c:v>All Others</c:v>
                </c:pt>
                <c:pt idx="1039">
                  <c:v>All Others</c:v>
                </c:pt>
                <c:pt idx="1040">
                  <c:v>All Others</c:v>
                </c:pt>
                <c:pt idx="1041">
                  <c:v>All Others</c:v>
                </c:pt>
                <c:pt idx="1042">
                  <c:v>All Others</c:v>
                </c:pt>
                <c:pt idx="1043">
                  <c:v>All Others</c:v>
                </c:pt>
                <c:pt idx="1044">
                  <c:v>All Others</c:v>
                </c:pt>
                <c:pt idx="1045">
                  <c:v>All Others</c:v>
                </c:pt>
                <c:pt idx="1046">
                  <c:v>All Others</c:v>
                </c:pt>
                <c:pt idx="1047">
                  <c:v>All Others</c:v>
                </c:pt>
                <c:pt idx="1048">
                  <c:v>All Others</c:v>
                </c:pt>
                <c:pt idx="1049">
                  <c:v>All Others</c:v>
                </c:pt>
                <c:pt idx="1050">
                  <c:v>All Others</c:v>
                </c:pt>
                <c:pt idx="1051">
                  <c:v>All Others</c:v>
                </c:pt>
                <c:pt idx="1052">
                  <c:v>All Others</c:v>
                </c:pt>
                <c:pt idx="1053">
                  <c:v>Caprice Des</c:v>
                </c:pt>
                <c:pt idx="1054">
                  <c:v>All Others</c:v>
                </c:pt>
                <c:pt idx="1055">
                  <c:v>All Others</c:v>
                </c:pt>
                <c:pt idx="1056">
                  <c:v>Savencia: A</c:v>
                </c:pt>
                <c:pt idx="1057">
                  <c:v>Savencia: A</c:v>
                </c:pt>
                <c:pt idx="1058">
                  <c:v>All Others</c:v>
                </c:pt>
                <c:pt idx="1059">
                  <c:v>All Others</c:v>
                </c:pt>
                <c:pt idx="1060">
                  <c:v>All Others</c:v>
                </c:pt>
                <c:pt idx="1061">
                  <c:v>All Others</c:v>
                </c:pt>
                <c:pt idx="1062">
                  <c:v>All Others</c:v>
                </c:pt>
                <c:pt idx="1063">
                  <c:v>All Others</c:v>
                </c:pt>
                <c:pt idx="1064">
                  <c:v>All Others</c:v>
                </c:pt>
                <c:pt idx="1065">
                  <c:v>All Others</c:v>
                </c:pt>
                <c:pt idx="1066">
                  <c:v>All Others</c:v>
                </c:pt>
                <c:pt idx="1067">
                  <c:v>All Others</c:v>
                </c:pt>
                <c:pt idx="1068">
                  <c:v>All Others</c:v>
                </c:pt>
                <c:pt idx="1069">
                  <c:v>All Others</c:v>
                </c:pt>
                <c:pt idx="1070">
                  <c:v>All Others</c:v>
                </c:pt>
                <c:pt idx="1071">
                  <c:v>All Others</c:v>
                </c:pt>
                <c:pt idx="1072">
                  <c:v>All Others</c:v>
                </c:pt>
                <c:pt idx="1073">
                  <c:v>All Others</c:v>
                </c:pt>
                <c:pt idx="1074">
                  <c:v>All Others</c:v>
                </c:pt>
                <c:pt idx="1075">
                  <c:v>All Others</c:v>
                </c:pt>
                <c:pt idx="1076">
                  <c:v>All Others</c:v>
                </c:pt>
                <c:pt idx="1077">
                  <c:v>All Others</c:v>
                </c:pt>
                <c:pt idx="1078">
                  <c:v>All Others</c:v>
                </c:pt>
                <c:pt idx="1079">
                  <c:v>All Others</c:v>
                </c:pt>
                <c:pt idx="1080">
                  <c:v>All Others</c:v>
                </c:pt>
                <c:pt idx="1081">
                  <c:v>All Others</c:v>
                </c:pt>
                <c:pt idx="1082">
                  <c:v>Lou Perac</c:v>
                </c:pt>
                <c:pt idx="1083">
                  <c:v>All Others</c:v>
                </c:pt>
                <c:pt idx="1084">
                  <c:v>All Others</c:v>
                </c:pt>
                <c:pt idx="1085">
                  <c:v>Petit Billy</c:v>
                </c:pt>
                <c:pt idx="1086">
                  <c:v>All Others</c:v>
                </c:pt>
                <c:pt idx="1087">
                  <c:v>Lactalis: A</c:v>
                </c:pt>
                <c:pt idx="1088">
                  <c:v>All Others</c:v>
                </c:pt>
                <c:pt idx="1089">
                  <c:v>All Others</c:v>
                </c:pt>
                <c:pt idx="1090">
                  <c:v>All Others</c:v>
                </c:pt>
                <c:pt idx="1091">
                  <c:v>Eurial Autr</c:v>
                </c:pt>
                <c:pt idx="1092">
                  <c:v>All Others</c:v>
                </c:pt>
                <c:pt idx="1093">
                  <c:v>Private Lab</c:v>
                </c:pt>
                <c:pt idx="1094">
                  <c:v>All Others</c:v>
                </c:pt>
                <c:pt idx="1095">
                  <c:v>All Others</c:v>
                </c:pt>
                <c:pt idx="1096">
                  <c:v>All Others</c:v>
                </c:pt>
                <c:pt idx="1097">
                  <c:v>All Others</c:v>
                </c:pt>
                <c:pt idx="1098">
                  <c:v>All Others</c:v>
                </c:pt>
                <c:pt idx="1099">
                  <c:v>All Others</c:v>
                </c:pt>
                <c:pt idx="1100">
                  <c:v>Soignon</c:v>
                </c:pt>
                <c:pt idx="1101">
                  <c:v>All Others</c:v>
                </c:pt>
                <c:pt idx="1102">
                  <c:v>All Others</c:v>
                </c:pt>
                <c:pt idx="1103">
                  <c:v>All Others</c:v>
                </c:pt>
                <c:pt idx="1104">
                  <c:v>All Others</c:v>
                </c:pt>
                <c:pt idx="1105">
                  <c:v>All Others</c:v>
                </c:pt>
                <c:pt idx="1106">
                  <c:v>Private Lab</c:v>
                </c:pt>
                <c:pt idx="1107">
                  <c:v>All Others</c:v>
                </c:pt>
                <c:pt idx="1108">
                  <c:v>All Others</c:v>
                </c:pt>
                <c:pt idx="1109">
                  <c:v>All Others</c:v>
                </c:pt>
                <c:pt idx="1110">
                  <c:v>All Others</c:v>
                </c:pt>
                <c:pt idx="1111">
                  <c:v>All Others</c:v>
                </c:pt>
                <c:pt idx="1112">
                  <c:v>All Others</c:v>
                </c:pt>
                <c:pt idx="1113">
                  <c:v>All Others</c:v>
                </c:pt>
                <c:pt idx="1114">
                  <c:v>All Others</c:v>
                </c:pt>
                <c:pt idx="1115">
                  <c:v>All Others</c:v>
                </c:pt>
                <c:pt idx="1116">
                  <c:v>All Others</c:v>
                </c:pt>
                <c:pt idx="1117">
                  <c:v>All Others</c:v>
                </c:pt>
                <c:pt idx="1118">
                  <c:v>All Others</c:v>
                </c:pt>
                <c:pt idx="1119">
                  <c:v>All Others</c:v>
                </c:pt>
                <c:pt idx="1120">
                  <c:v>All Others</c:v>
                </c:pt>
                <c:pt idx="1121">
                  <c:v>All Others</c:v>
                </c:pt>
                <c:pt idx="1122">
                  <c:v>All Others</c:v>
                </c:pt>
                <c:pt idx="1123">
                  <c:v>All Others</c:v>
                </c:pt>
                <c:pt idx="1124">
                  <c:v>All Others</c:v>
                </c:pt>
                <c:pt idx="1125">
                  <c:v>All Others</c:v>
                </c:pt>
                <c:pt idx="1126">
                  <c:v>All Others</c:v>
                </c:pt>
                <c:pt idx="1127">
                  <c:v>All Others</c:v>
                </c:pt>
                <c:pt idx="1128">
                  <c:v>Eurial Autr</c:v>
                </c:pt>
                <c:pt idx="1129">
                  <c:v>All Others</c:v>
                </c:pt>
                <c:pt idx="1130">
                  <c:v>All Others</c:v>
                </c:pt>
                <c:pt idx="1131">
                  <c:v>All Others</c:v>
                </c:pt>
                <c:pt idx="1132">
                  <c:v>All Others</c:v>
                </c:pt>
                <c:pt idx="1133">
                  <c:v>All Others</c:v>
                </c:pt>
                <c:pt idx="1134">
                  <c:v>All Others</c:v>
                </c:pt>
                <c:pt idx="1135">
                  <c:v>All Others</c:v>
                </c:pt>
                <c:pt idx="1136">
                  <c:v>All Others</c:v>
                </c:pt>
                <c:pt idx="1137">
                  <c:v>All Others</c:v>
                </c:pt>
                <c:pt idx="1138">
                  <c:v>All Others</c:v>
                </c:pt>
                <c:pt idx="1139">
                  <c:v>Private Lab</c:v>
                </c:pt>
                <c:pt idx="1140">
                  <c:v>All Others</c:v>
                </c:pt>
                <c:pt idx="1141">
                  <c:v>All Others</c:v>
                </c:pt>
                <c:pt idx="1142">
                  <c:v>All Others</c:v>
                </c:pt>
                <c:pt idx="1143">
                  <c:v>All Others</c:v>
                </c:pt>
                <c:pt idx="1144">
                  <c:v>All Others</c:v>
                </c:pt>
                <c:pt idx="1145">
                  <c:v>All Others</c:v>
                </c:pt>
                <c:pt idx="1146">
                  <c:v>All Others</c:v>
                </c:pt>
                <c:pt idx="1147">
                  <c:v>All Others</c:v>
                </c:pt>
                <c:pt idx="1148">
                  <c:v>All Others</c:v>
                </c:pt>
                <c:pt idx="1149">
                  <c:v>All Others</c:v>
                </c:pt>
                <c:pt idx="1150">
                  <c:v>All Others</c:v>
                </c:pt>
                <c:pt idx="1151">
                  <c:v>All Others</c:v>
                </c:pt>
                <c:pt idx="1152">
                  <c:v>All Others</c:v>
                </c:pt>
                <c:pt idx="1153">
                  <c:v>All Others</c:v>
                </c:pt>
                <c:pt idx="1154">
                  <c:v>All Others</c:v>
                </c:pt>
                <c:pt idx="1155">
                  <c:v>All Others</c:v>
                </c:pt>
                <c:pt idx="1156">
                  <c:v>All Others</c:v>
                </c:pt>
                <c:pt idx="1157">
                  <c:v>All Others</c:v>
                </c:pt>
                <c:pt idx="1158">
                  <c:v>All Others</c:v>
                </c:pt>
                <c:pt idx="1159">
                  <c:v>All Others</c:v>
                </c:pt>
                <c:pt idx="1160">
                  <c:v>All Others</c:v>
                </c:pt>
                <c:pt idx="1161">
                  <c:v>All Others</c:v>
                </c:pt>
                <c:pt idx="1162">
                  <c:v>All Others</c:v>
                </c:pt>
                <c:pt idx="1163">
                  <c:v>All Others</c:v>
                </c:pt>
                <c:pt idx="1164">
                  <c:v>All Others</c:v>
                </c:pt>
                <c:pt idx="1165">
                  <c:v>All Others</c:v>
                </c:pt>
                <c:pt idx="1166">
                  <c:v>All Others</c:v>
                </c:pt>
                <c:pt idx="1167">
                  <c:v>All Others</c:v>
                </c:pt>
                <c:pt idx="1168">
                  <c:v>All Others</c:v>
                </c:pt>
                <c:pt idx="1169">
                  <c:v>All Others</c:v>
                </c:pt>
                <c:pt idx="1170">
                  <c:v>All Others</c:v>
                </c:pt>
                <c:pt idx="1171">
                  <c:v>All Others</c:v>
                </c:pt>
                <c:pt idx="1172">
                  <c:v>All Others</c:v>
                </c:pt>
                <c:pt idx="1173">
                  <c:v>Private Lab</c:v>
                </c:pt>
                <c:pt idx="1174">
                  <c:v>All Others</c:v>
                </c:pt>
                <c:pt idx="1175">
                  <c:v>All Others</c:v>
                </c:pt>
                <c:pt idx="1176">
                  <c:v>All Others</c:v>
                </c:pt>
                <c:pt idx="1177">
                  <c:v>All Others</c:v>
                </c:pt>
                <c:pt idx="1178">
                  <c:v>All Others</c:v>
                </c:pt>
                <c:pt idx="1179">
                  <c:v>All Others</c:v>
                </c:pt>
                <c:pt idx="1180">
                  <c:v>All Others</c:v>
                </c:pt>
                <c:pt idx="1181">
                  <c:v>All Others</c:v>
                </c:pt>
                <c:pt idx="1182">
                  <c:v>Private Lab</c:v>
                </c:pt>
                <c:pt idx="1183">
                  <c:v>All Others</c:v>
                </c:pt>
                <c:pt idx="1184">
                  <c:v>All Others</c:v>
                </c:pt>
                <c:pt idx="1185">
                  <c:v>All Others</c:v>
                </c:pt>
                <c:pt idx="1186">
                  <c:v>All Others</c:v>
                </c:pt>
                <c:pt idx="1187">
                  <c:v>All Others</c:v>
                </c:pt>
                <c:pt idx="1188">
                  <c:v>All Others</c:v>
                </c:pt>
                <c:pt idx="1189">
                  <c:v>All Others</c:v>
                </c:pt>
                <c:pt idx="1190">
                  <c:v>All Others</c:v>
                </c:pt>
                <c:pt idx="1191">
                  <c:v>All Others</c:v>
                </c:pt>
                <c:pt idx="1192">
                  <c:v>Lactalis: A</c:v>
                </c:pt>
                <c:pt idx="1193">
                  <c:v>Private Lab</c:v>
                </c:pt>
                <c:pt idx="1194">
                  <c:v>All Others</c:v>
                </c:pt>
                <c:pt idx="1195">
                  <c:v>All Others</c:v>
                </c:pt>
                <c:pt idx="1196">
                  <c:v>All Others</c:v>
                </c:pt>
                <c:pt idx="1197">
                  <c:v>All Others</c:v>
                </c:pt>
                <c:pt idx="1198">
                  <c:v>All Others</c:v>
                </c:pt>
                <c:pt idx="1199">
                  <c:v>Mini Babybe</c:v>
                </c:pt>
                <c:pt idx="1200">
                  <c:v>All Others</c:v>
                </c:pt>
                <c:pt idx="1201">
                  <c:v>All Others</c:v>
                </c:pt>
                <c:pt idx="1202">
                  <c:v>Private Lab</c:v>
                </c:pt>
                <c:pt idx="1203">
                  <c:v>Lactalis: A</c:v>
                </c:pt>
                <c:pt idx="1204">
                  <c:v>All Others</c:v>
                </c:pt>
                <c:pt idx="1205">
                  <c:v>All Others</c:v>
                </c:pt>
                <c:pt idx="1206">
                  <c:v>All Others</c:v>
                </c:pt>
                <c:pt idx="1207">
                  <c:v>All Others</c:v>
                </c:pt>
                <c:pt idx="1208">
                  <c:v>All Others</c:v>
                </c:pt>
                <c:pt idx="1209">
                  <c:v>All Others</c:v>
                </c:pt>
                <c:pt idx="1210">
                  <c:v>All Others</c:v>
                </c:pt>
                <c:pt idx="1211">
                  <c:v>All Others</c:v>
                </c:pt>
                <c:pt idx="1212">
                  <c:v>Soignon</c:v>
                </c:pt>
                <c:pt idx="1213">
                  <c:v>Private Lab</c:v>
                </c:pt>
                <c:pt idx="1214">
                  <c:v>All Others</c:v>
                </c:pt>
                <c:pt idx="1215">
                  <c:v>All Others</c:v>
                </c:pt>
                <c:pt idx="1216">
                  <c:v>All Others</c:v>
                </c:pt>
                <c:pt idx="1217">
                  <c:v>All Others</c:v>
                </c:pt>
                <c:pt idx="1218">
                  <c:v>All Others</c:v>
                </c:pt>
                <c:pt idx="1219">
                  <c:v>All Others</c:v>
                </c:pt>
                <c:pt idx="1220">
                  <c:v>All Others</c:v>
                </c:pt>
                <c:pt idx="1221">
                  <c:v>All Others</c:v>
                </c:pt>
                <c:pt idx="1222">
                  <c:v>All Others</c:v>
                </c:pt>
                <c:pt idx="1223">
                  <c:v>All Others</c:v>
                </c:pt>
                <c:pt idx="1224">
                  <c:v>Eurial Autr</c:v>
                </c:pt>
                <c:pt idx="1225">
                  <c:v>All Others</c:v>
                </c:pt>
                <c:pt idx="1226">
                  <c:v>All Others</c:v>
                </c:pt>
                <c:pt idx="1227">
                  <c:v>All Others</c:v>
                </c:pt>
                <c:pt idx="1228">
                  <c:v>All Others</c:v>
                </c:pt>
                <c:pt idx="1229">
                  <c:v>All Others</c:v>
                </c:pt>
                <c:pt idx="1230">
                  <c:v>All Others</c:v>
                </c:pt>
                <c:pt idx="1231">
                  <c:v>All Others</c:v>
                </c:pt>
                <c:pt idx="1232">
                  <c:v>All Others</c:v>
                </c:pt>
                <c:pt idx="1233">
                  <c:v>All Others</c:v>
                </c:pt>
                <c:pt idx="1234">
                  <c:v>All Others</c:v>
                </c:pt>
                <c:pt idx="1235">
                  <c:v>All Others</c:v>
                </c:pt>
                <c:pt idx="1236">
                  <c:v>All Others</c:v>
                </c:pt>
                <c:pt idx="1237">
                  <c:v>All Others</c:v>
                </c:pt>
                <c:pt idx="1238">
                  <c:v>All Others</c:v>
                </c:pt>
                <c:pt idx="1239">
                  <c:v>All Others</c:v>
                </c:pt>
                <c:pt idx="1240">
                  <c:v>All Others</c:v>
                </c:pt>
                <c:pt idx="1241">
                  <c:v>All Others</c:v>
                </c:pt>
                <c:pt idx="1242">
                  <c:v>All Others</c:v>
                </c:pt>
                <c:pt idx="1243">
                  <c:v>All Others</c:v>
                </c:pt>
                <c:pt idx="1244">
                  <c:v>All Others</c:v>
                </c:pt>
                <c:pt idx="1245">
                  <c:v>All Others</c:v>
                </c:pt>
                <c:pt idx="1246">
                  <c:v>All Others</c:v>
                </c:pt>
                <c:pt idx="1247">
                  <c:v>All Others</c:v>
                </c:pt>
                <c:pt idx="1248">
                  <c:v>Eurial Autr</c:v>
                </c:pt>
                <c:pt idx="1249">
                  <c:v>All Others</c:v>
                </c:pt>
                <c:pt idx="1250">
                  <c:v>All Others</c:v>
                </c:pt>
                <c:pt idx="1251">
                  <c:v>All Others</c:v>
                </c:pt>
                <c:pt idx="1252">
                  <c:v>All Others</c:v>
                </c:pt>
                <c:pt idx="1253">
                  <c:v>All Others</c:v>
                </c:pt>
                <c:pt idx="1254">
                  <c:v>All Others</c:v>
                </c:pt>
                <c:pt idx="1255">
                  <c:v>All Others</c:v>
                </c:pt>
                <c:pt idx="1256">
                  <c:v>All Others</c:v>
                </c:pt>
                <c:pt idx="1257">
                  <c:v>All Others</c:v>
                </c:pt>
                <c:pt idx="1258">
                  <c:v>All Others</c:v>
                </c:pt>
                <c:pt idx="1259">
                  <c:v>All Others</c:v>
                </c:pt>
                <c:pt idx="1260">
                  <c:v>All Others</c:v>
                </c:pt>
                <c:pt idx="1261">
                  <c:v>All Others</c:v>
                </c:pt>
                <c:pt idx="1262">
                  <c:v>All Others</c:v>
                </c:pt>
                <c:pt idx="1263">
                  <c:v>All Others</c:v>
                </c:pt>
                <c:pt idx="1264">
                  <c:v>All Others</c:v>
                </c:pt>
                <c:pt idx="1265">
                  <c:v>All Others</c:v>
                </c:pt>
                <c:pt idx="1266">
                  <c:v>All Others</c:v>
                </c:pt>
                <c:pt idx="1267">
                  <c:v>All Others</c:v>
                </c:pt>
                <c:pt idx="1268">
                  <c:v>Private Lab</c:v>
                </c:pt>
                <c:pt idx="1269">
                  <c:v>All Others</c:v>
                </c:pt>
                <c:pt idx="1270">
                  <c:v>All Others</c:v>
                </c:pt>
                <c:pt idx="1271">
                  <c:v>All Others</c:v>
                </c:pt>
                <c:pt idx="1272">
                  <c:v>All Others</c:v>
                </c:pt>
                <c:pt idx="1273">
                  <c:v>All Others</c:v>
                </c:pt>
                <c:pt idx="1274">
                  <c:v>President</c:v>
                </c:pt>
                <c:pt idx="1275">
                  <c:v>All Others</c:v>
                </c:pt>
                <c:pt idx="1276">
                  <c:v>All Others</c:v>
                </c:pt>
                <c:pt idx="1277">
                  <c:v>All Others</c:v>
                </c:pt>
                <c:pt idx="1278">
                  <c:v>All Others</c:v>
                </c:pt>
                <c:pt idx="1279">
                  <c:v>All Others</c:v>
                </c:pt>
                <c:pt idx="1280">
                  <c:v>Lactalis: A</c:v>
                </c:pt>
                <c:pt idx="1281">
                  <c:v>All Others</c:v>
                </c:pt>
                <c:pt idx="1282">
                  <c:v>All Others</c:v>
                </c:pt>
                <c:pt idx="1283">
                  <c:v>All Others</c:v>
                </c:pt>
                <c:pt idx="1284">
                  <c:v>All Others</c:v>
                </c:pt>
                <c:pt idx="1285">
                  <c:v>All Others</c:v>
                </c:pt>
                <c:pt idx="1286">
                  <c:v>All Others</c:v>
                </c:pt>
                <c:pt idx="1287">
                  <c:v>All Others</c:v>
                </c:pt>
                <c:pt idx="1288">
                  <c:v>All Others</c:v>
                </c:pt>
                <c:pt idx="1289">
                  <c:v>All Others</c:v>
                </c:pt>
                <c:pt idx="1290">
                  <c:v>All Others</c:v>
                </c:pt>
                <c:pt idx="1291">
                  <c:v>All Others</c:v>
                </c:pt>
                <c:pt idx="1292">
                  <c:v>All Others</c:v>
                </c:pt>
                <c:pt idx="1293">
                  <c:v>All Others</c:v>
                </c:pt>
                <c:pt idx="1294">
                  <c:v>All Others</c:v>
                </c:pt>
                <c:pt idx="1295">
                  <c:v>All Others</c:v>
                </c:pt>
                <c:pt idx="1296">
                  <c:v>Private Lab</c:v>
                </c:pt>
                <c:pt idx="1297">
                  <c:v>All Others</c:v>
                </c:pt>
                <c:pt idx="1298">
                  <c:v>All Others</c:v>
                </c:pt>
                <c:pt idx="1299">
                  <c:v>All Others</c:v>
                </c:pt>
                <c:pt idx="1300">
                  <c:v>All Others</c:v>
                </c:pt>
                <c:pt idx="1301">
                  <c:v>All Others</c:v>
                </c:pt>
                <c:pt idx="1302">
                  <c:v>All Others</c:v>
                </c:pt>
                <c:pt idx="1303">
                  <c:v>All Others</c:v>
                </c:pt>
                <c:pt idx="1304">
                  <c:v>All Others</c:v>
                </c:pt>
                <c:pt idx="1305">
                  <c:v>All Others</c:v>
                </c:pt>
                <c:pt idx="1306">
                  <c:v>All Others</c:v>
                </c:pt>
                <c:pt idx="1307">
                  <c:v>All Others</c:v>
                </c:pt>
                <c:pt idx="1308">
                  <c:v>All Others</c:v>
                </c:pt>
                <c:pt idx="1309">
                  <c:v>All Others</c:v>
                </c:pt>
                <c:pt idx="1310">
                  <c:v>All Others</c:v>
                </c:pt>
                <c:pt idx="1311">
                  <c:v>All Others</c:v>
                </c:pt>
                <c:pt idx="1312">
                  <c:v>All Others</c:v>
                </c:pt>
                <c:pt idx="1313">
                  <c:v>All Others</c:v>
                </c:pt>
                <c:pt idx="1314">
                  <c:v>All Others</c:v>
                </c:pt>
                <c:pt idx="1315">
                  <c:v>All Others</c:v>
                </c:pt>
                <c:pt idx="1316">
                  <c:v>All Others</c:v>
                </c:pt>
                <c:pt idx="1317">
                  <c:v>All Others</c:v>
                </c:pt>
                <c:pt idx="1318">
                  <c:v>All Others</c:v>
                </c:pt>
                <c:pt idx="1319">
                  <c:v>All Others</c:v>
                </c:pt>
                <c:pt idx="1320">
                  <c:v>All Others</c:v>
                </c:pt>
                <c:pt idx="1321">
                  <c:v>All Others</c:v>
                </c:pt>
                <c:pt idx="1322">
                  <c:v>All Others</c:v>
                </c:pt>
                <c:pt idx="1323">
                  <c:v>All Others</c:v>
                </c:pt>
                <c:pt idx="1324">
                  <c:v>All Others</c:v>
                </c:pt>
                <c:pt idx="1325">
                  <c:v>All Others</c:v>
                </c:pt>
                <c:pt idx="1326">
                  <c:v>Private Lab</c:v>
                </c:pt>
                <c:pt idx="1327">
                  <c:v>Rondele</c:v>
                </c:pt>
                <c:pt idx="1328">
                  <c:v>All Others</c:v>
                </c:pt>
                <c:pt idx="1329">
                  <c:v>Lactalis: A</c:v>
                </c:pt>
                <c:pt idx="1330">
                  <c:v>All Others</c:v>
                </c:pt>
                <c:pt idx="1331">
                  <c:v>All Others</c:v>
                </c:pt>
                <c:pt idx="1332">
                  <c:v>All Others</c:v>
                </c:pt>
                <c:pt idx="1333">
                  <c:v>All Others</c:v>
                </c:pt>
                <c:pt idx="1334">
                  <c:v>All Others</c:v>
                </c:pt>
                <c:pt idx="1335">
                  <c:v>All Others</c:v>
                </c:pt>
                <c:pt idx="1336">
                  <c:v>All Others</c:v>
                </c:pt>
                <c:pt idx="1337">
                  <c:v>All Others</c:v>
                </c:pt>
                <c:pt idx="1338">
                  <c:v>All Others</c:v>
                </c:pt>
                <c:pt idx="1339">
                  <c:v>All Others</c:v>
                </c:pt>
                <c:pt idx="1340">
                  <c:v>All Others</c:v>
                </c:pt>
                <c:pt idx="1341">
                  <c:v>All Others</c:v>
                </c:pt>
                <c:pt idx="1342">
                  <c:v>All Others</c:v>
                </c:pt>
                <c:pt idx="1343">
                  <c:v>Rondele</c:v>
                </c:pt>
                <c:pt idx="1344">
                  <c:v>All Others</c:v>
                </c:pt>
                <c:pt idx="1345">
                  <c:v>All Others</c:v>
                </c:pt>
                <c:pt idx="1346">
                  <c:v>Private Lab</c:v>
                </c:pt>
                <c:pt idx="1347">
                  <c:v>All Others</c:v>
                </c:pt>
                <c:pt idx="1348">
                  <c:v>All Others</c:v>
                </c:pt>
                <c:pt idx="1349">
                  <c:v>All Others</c:v>
                </c:pt>
                <c:pt idx="1350">
                  <c:v>All Others</c:v>
                </c:pt>
                <c:pt idx="1351">
                  <c:v>All Others</c:v>
                </c:pt>
                <c:pt idx="1352">
                  <c:v>All Others</c:v>
                </c:pt>
                <c:pt idx="1353">
                  <c:v>All Others</c:v>
                </c:pt>
                <c:pt idx="1354">
                  <c:v>All Others</c:v>
                </c:pt>
                <c:pt idx="1355">
                  <c:v>All Others</c:v>
                </c:pt>
                <c:pt idx="1356">
                  <c:v>All Others</c:v>
                </c:pt>
                <c:pt idx="1357">
                  <c:v>All Others</c:v>
                </c:pt>
                <c:pt idx="1358">
                  <c:v>All Others</c:v>
                </c:pt>
                <c:pt idx="1359">
                  <c:v>All Others</c:v>
                </c:pt>
                <c:pt idx="1360">
                  <c:v>All Others</c:v>
                </c:pt>
                <c:pt idx="1361">
                  <c:v>All Others</c:v>
                </c:pt>
                <c:pt idx="1362">
                  <c:v>All Others</c:v>
                </c:pt>
                <c:pt idx="1363">
                  <c:v>All Others</c:v>
                </c:pt>
                <c:pt idx="1364">
                  <c:v>All Others</c:v>
                </c:pt>
                <c:pt idx="1365">
                  <c:v>Lactalis: A</c:v>
                </c:pt>
                <c:pt idx="1366">
                  <c:v>All Others</c:v>
                </c:pt>
                <c:pt idx="1367">
                  <c:v>All Others</c:v>
                </c:pt>
                <c:pt idx="1368">
                  <c:v>All Others</c:v>
                </c:pt>
                <c:pt idx="1369">
                  <c:v>All Others</c:v>
                </c:pt>
                <c:pt idx="1370">
                  <c:v>All Others</c:v>
                </c:pt>
                <c:pt idx="1371">
                  <c:v>All Others</c:v>
                </c:pt>
                <c:pt idx="1372">
                  <c:v>All Others</c:v>
                </c:pt>
                <c:pt idx="1373">
                  <c:v>All Others</c:v>
                </c:pt>
                <c:pt idx="1374">
                  <c:v>Rondele</c:v>
                </c:pt>
                <c:pt idx="1375">
                  <c:v>All Others</c:v>
                </c:pt>
                <c:pt idx="1376">
                  <c:v>All Others</c:v>
                </c:pt>
                <c:pt idx="1377">
                  <c:v>All Others</c:v>
                </c:pt>
                <c:pt idx="1378">
                  <c:v>All Others</c:v>
                </c:pt>
                <c:pt idx="1379">
                  <c:v>All Others</c:v>
                </c:pt>
                <c:pt idx="1380">
                  <c:v>All Others</c:v>
                </c:pt>
                <c:pt idx="1381">
                  <c:v>All Others</c:v>
                </c:pt>
                <c:pt idx="1382">
                  <c:v>All Others</c:v>
                </c:pt>
                <c:pt idx="1383">
                  <c:v>All Others</c:v>
                </c:pt>
                <c:pt idx="1384">
                  <c:v>Lactalis: A</c:v>
                </c:pt>
                <c:pt idx="1385">
                  <c:v>All Others</c:v>
                </c:pt>
                <c:pt idx="1386">
                  <c:v>All Others</c:v>
                </c:pt>
                <c:pt idx="1387">
                  <c:v>All Others</c:v>
                </c:pt>
                <c:pt idx="1388">
                  <c:v>All Others</c:v>
                </c:pt>
                <c:pt idx="1389">
                  <c:v>All Others</c:v>
                </c:pt>
                <c:pt idx="1390">
                  <c:v>Private Lab</c:v>
                </c:pt>
                <c:pt idx="1391">
                  <c:v>Savencia: A</c:v>
                </c:pt>
                <c:pt idx="1392">
                  <c:v>Eurial Autr</c:v>
                </c:pt>
                <c:pt idx="1393">
                  <c:v>Lactalis: A</c:v>
                </c:pt>
                <c:pt idx="1394">
                  <c:v>All Others</c:v>
                </c:pt>
                <c:pt idx="1395">
                  <c:v>All Others</c:v>
                </c:pt>
                <c:pt idx="1396">
                  <c:v>All Others</c:v>
                </c:pt>
                <c:pt idx="1397">
                  <c:v>All Others</c:v>
                </c:pt>
                <c:pt idx="1398">
                  <c:v>All Others</c:v>
                </c:pt>
                <c:pt idx="1399">
                  <c:v>Savencia: A</c:v>
                </c:pt>
                <c:pt idx="1400">
                  <c:v>All Others</c:v>
                </c:pt>
                <c:pt idx="1401">
                  <c:v>All Others</c:v>
                </c:pt>
                <c:pt idx="1402">
                  <c:v>All Others</c:v>
                </c:pt>
                <c:pt idx="1403">
                  <c:v>All Others</c:v>
                </c:pt>
                <c:pt idx="1404">
                  <c:v>All Others</c:v>
                </c:pt>
                <c:pt idx="1405">
                  <c:v>All Others</c:v>
                </c:pt>
                <c:pt idx="1406">
                  <c:v>All Others</c:v>
                </c:pt>
                <c:pt idx="1407">
                  <c:v>All Others</c:v>
                </c:pt>
                <c:pt idx="1408">
                  <c:v>All Others</c:v>
                </c:pt>
                <c:pt idx="1409">
                  <c:v>All Others</c:v>
                </c:pt>
                <c:pt idx="1410">
                  <c:v>All Others</c:v>
                </c:pt>
                <c:pt idx="1411">
                  <c:v>All Others</c:v>
                </c:pt>
                <c:pt idx="1412">
                  <c:v>All Others</c:v>
                </c:pt>
                <c:pt idx="1413">
                  <c:v>All Others</c:v>
                </c:pt>
                <c:pt idx="1414">
                  <c:v>Private Lab</c:v>
                </c:pt>
                <c:pt idx="1415">
                  <c:v>All Others</c:v>
                </c:pt>
                <c:pt idx="1416">
                  <c:v>All Others</c:v>
                </c:pt>
                <c:pt idx="1417">
                  <c:v>All Others</c:v>
                </c:pt>
                <c:pt idx="1418">
                  <c:v>All Others</c:v>
                </c:pt>
                <c:pt idx="1419">
                  <c:v>All Others</c:v>
                </c:pt>
                <c:pt idx="1420">
                  <c:v>All Others</c:v>
                </c:pt>
                <c:pt idx="1421">
                  <c:v>Private Lab</c:v>
                </c:pt>
                <c:pt idx="1422">
                  <c:v>Eurial Autr</c:v>
                </c:pt>
                <c:pt idx="1423">
                  <c:v>All Others</c:v>
                </c:pt>
                <c:pt idx="1424">
                  <c:v>All Others</c:v>
                </c:pt>
                <c:pt idx="1425">
                  <c:v>All Others</c:v>
                </c:pt>
                <c:pt idx="1426">
                  <c:v>All Others</c:v>
                </c:pt>
                <c:pt idx="1427">
                  <c:v>All Others</c:v>
                </c:pt>
                <c:pt idx="1428">
                  <c:v>All Others</c:v>
                </c:pt>
                <c:pt idx="1429">
                  <c:v>All Others</c:v>
                </c:pt>
                <c:pt idx="1430">
                  <c:v>All Others</c:v>
                </c:pt>
                <c:pt idx="1431">
                  <c:v>All Others</c:v>
                </c:pt>
                <c:pt idx="1432">
                  <c:v>All Others</c:v>
                </c:pt>
                <c:pt idx="1433">
                  <c:v>All Others</c:v>
                </c:pt>
                <c:pt idx="1434">
                  <c:v>All Others</c:v>
                </c:pt>
                <c:pt idx="1435">
                  <c:v>All Others</c:v>
                </c:pt>
                <c:pt idx="1436">
                  <c:v>All Others</c:v>
                </c:pt>
                <c:pt idx="1437">
                  <c:v>All Others</c:v>
                </c:pt>
                <c:pt idx="1438">
                  <c:v>All Others</c:v>
                </c:pt>
                <c:pt idx="1439">
                  <c:v>All Others</c:v>
                </c:pt>
                <c:pt idx="1440">
                  <c:v>Galbani</c:v>
                </c:pt>
                <c:pt idx="1441">
                  <c:v>All Others</c:v>
                </c:pt>
                <c:pt idx="1442">
                  <c:v>All Others</c:v>
                </c:pt>
                <c:pt idx="1443">
                  <c:v>All Others</c:v>
                </c:pt>
                <c:pt idx="1444">
                  <c:v>All Others</c:v>
                </c:pt>
                <c:pt idx="1445">
                  <c:v>All Others</c:v>
                </c:pt>
                <c:pt idx="1446">
                  <c:v>All Others</c:v>
                </c:pt>
                <c:pt idx="1447">
                  <c:v>All Others</c:v>
                </c:pt>
                <c:pt idx="1448">
                  <c:v>All Others</c:v>
                </c:pt>
                <c:pt idx="1449">
                  <c:v>All Others</c:v>
                </c:pt>
                <c:pt idx="1450">
                  <c:v>All Others</c:v>
                </c:pt>
                <c:pt idx="1451">
                  <c:v>All Others</c:v>
                </c:pt>
                <c:pt idx="1452">
                  <c:v>All Others</c:v>
                </c:pt>
                <c:pt idx="1453">
                  <c:v>All Others</c:v>
                </c:pt>
                <c:pt idx="1454">
                  <c:v>All Others</c:v>
                </c:pt>
                <c:pt idx="1455">
                  <c:v>All Others</c:v>
                </c:pt>
                <c:pt idx="1456">
                  <c:v>All Others</c:v>
                </c:pt>
                <c:pt idx="1457">
                  <c:v>All Others</c:v>
                </c:pt>
                <c:pt idx="1458">
                  <c:v>All Others</c:v>
                </c:pt>
                <c:pt idx="1459">
                  <c:v>All Others</c:v>
                </c:pt>
                <c:pt idx="1460">
                  <c:v>All Others</c:v>
                </c:pt>
                <c:pt idx="1461">
                  <c:v>Private Lab</c:v>
                </c:pt>
                <c:pt idx="1462">
                  <c:v>All Others</c:v>
                </c:pt>
                <c:pt idx="1463">
                  <c:v>All Others</c:v>
                </c:pt>
                <c:pt idx="1464">
                  <c:v>All Others</c:v>
                </c:pt>
                <c:pt idx="1465">
                  <c:v>Eurial Autr</c:v>
                </c:pt>
                <c:pt idx="1466">
                  <c:v>All Others</c:v>
                </c:pt>
                <c:pt idx="1467">
                  <c:v>All Others</c:v>
                </c:pt>
                <c:pt idx="1468">
                  <c:v>All Others</c:v>
                </c:pt>
                <c:pt idx="1469">
                  <c:v>All Others</c:v>
                </c:pt>
                <c:pt idx="1470">
                  <c:v>All Others</c:v>
                </c:pt>
                <c:pt idx="1471">
                  <c:v>Private Lab</c:v>
                </c:pt>
                <c:pt idx="1472">
                  <c:v>All Others</c:v>
                </c:pt>
                <c:pt idx="1473">
                  <c:v>All Others</c:v>
                </c:pt>
                <c:pt idx="1474">
                  <c:v>All Others</c:v>
                </c:pt>
                <c:pt idx="1475">
                  <c:v>All Others</c:v>
                </c:pt>
                <c:pt idx="1476">
                  <c:v>All Others</c:v>
                </c:pt>
                <c:pt idx="1477">
                  <c:v>All Others</c:v>
                </c:pt>
                <c:pt idx="1478">
                  <c:v>All Others</c:v>
                </c:pt>
                <c:pt idx="1479">
                  <c:v>All Others</c:v>
                </c:pt>
                <c:pt idx="1480">
                  <c:v>All Others</c:v>
                </c:pt>
                <c:pt idx="1481">
                  <c:v>All Others</c:v>
                </c:pt>
                <c:pt idx="1482">
                  <c:v>Private Lab</c:v>
                </c:pt>
                <c:pt idx="1483">
                  <c:v>All Others</c:v>
                </c:pt>
                <c:pt idx="1484">
                  <c:v>All Others</c:v>
                </c:pt>
                <c:pt idx="1485">
                  <c:v>All Others</c:v>
                </c:pt>
                <c:pt idx="1486">
                  <c:v>All Others</c:v>
                </c:pt>
                <c:pt idx="1487">
                  <c:v>All Others</c:v>
                </c:pt>
                <c:pt idx="1488">
                  <c:v>All Others</c:v>
                </c:pt>
                <c:pt idx="1489">
                  <c:v>Savencia: A</c:v>
                </c:pt>
                <c:pt idx="1490">
                  <c:v>All Others</c:v>
                </c:pt>
                <c:pt idx="1491">
                  <c:v>All Others</c:v>
                </c:pt>
                <c:pt idx="1492">
                  <c:v>All Others</c:v>
                </c:pt>
                <c:pt idx="1493">
                  <c:v>All Others</c:v>
                </c:pt>
                <c:pt idx="1494">
                  <c:v>Limiano</c:v>
                </c:pt>
                <c:pt idx="1495">
                  <c:v>All Others</c:v>
                </c:pt>
                <c:pt idx="1496">
                  <c:v>All Others</c:v>
                </c:pt>
                <c:pt idx="1497">
                  <c:v>Private Lab</c:v>
                </c:pt>
                <c:pt idx="1498">
                  <c:v>All Others</c:v>
                </c:pt>
                <c:pt idx="1499">
                  <c:v>Private Lab</c:v>
                </c:pt>
                <c:pt idx="1500">
                  <c:v>All Others</c:v>
                </c:pt>
                <c:pt idx="1501">
                  <c:v>All Others</c:v>
                </c:pt>
                <c:pt idx="1502">
                  <c:v>All Others</c:v>
                </c:pt>
                <c:pt idx="1503">
                  <c:v>All Others</c:v>
                </c:pt>
                <c:pt idx="1504">
                  <c:v>All Others</c:v>
                </c:pt>
                <c:pt idx="1505">
                  <c:v>All Others</c:v>
                </c:pt>
                <c:pt idx="1506">
                  <c:v>All Others</c:v>
                </c:pt>
                <c:pt idx="1507">
                  <c:v>All Others</c:v>
                </c:pt>
                <c:pt idx="1508">
                  <c:v>All Others</c:v>
                </c:pt>
                <c:pt idx="1509">
                  <c:v>All Others</c:v>
                </c:pt>
                <c:pt idx="1510">
                  <c:v>All Others</c:v>
                </c:pt>
                <c:pt idx="1511">
                  <c:v>Salakis</c:v>
                </c:pt>
                <c:pt idx="1512">
                  <c:v>All Others</c:v>
                </c:pt>
                <c:pt idx="1513">
                  <c:v>Societe</c:v>
                </c:pt>
                <c:pt idx="1514">
                  <c:v>All Others</c:v>
                </c:pt>
                <c:pt idx="1515">
                  <c:v>All Others</c:v>
                </c:pt>
                <c:pt idx="1516">
                  <c:v>All Others</c:v>
                </c:pt>
                <c:pt idx="1517">
                  <c:v>All Others</c:v>
                </c:pt>
                <c:pt idx="1518">
                  <c:v>All Others</c:v>
                </c:pt>
                <c:pt idx="1519">
                  <c:v>All Others</c:v>
                </c:pt>
                <c:pt idx="1520">
                  <c:v>All Others</c:v>
                </c:pt>
                <c:pt idx="1521">
                  <c:v>All Others</c:v>
                </c:pt>
                <c:pt idx="1522">
                  <c:v>All Others</c:v>
                </c:pt>
                <c:pt idx="1523">
                  <c:v>All Others</c:v>
                </c:pt>
                <c:pt idx="1524">
                  <c:v>All Others</c:v>
                </c:pt>
                <c:pt idx="1525">
                  <c:v>All Others</c:v>
                </c:pt>
                <c:pt idx="1526">
                  <c:v>All Others</c:v>
                </c:pt>
                <c:pt idx="1527">
                  <c:v>All Others</c:v>
                </c:pt>
                <c:pt idx="1528">
                  <c:v>All Others</c:v>
                </c:pt>
                <c:pt idx="1529">
                  <c:v>All Others</c:v>
                </c:pt>
                <c:pt idx="1530">
                  <c:v>All Others</c:v>
                </c:pt>
                <c:pt idx="1531">
                  <c:v>All Others</c:v>
                </c:pt>
                <c:pt idx="1532">
                  <c:v>All Others</c:v>
                </c:pt>
                <c:pt idx="1533">
                  <c:v>All Others</c:v>
                </c:pt>
                <c:pt idx="1534">
                  <c:v>All Others</c:v>
                </c:pt>
                <c:pt idx="1535">
                  <c:v>Private Lab</c:v>
                </c:pt>
                <c:pt idx="1536">
                  <c:v>All Others</c:v>
                </c:pt>
                <c:pt idx="1537">
                  <c:v>All Others</c:v>
                </c:pt>
                <c:pt idx="1538">
                  <c:v>All Others</c:v>
                </c:pt>
                <c:pt idx="1539">
                  <c:v>All Others</c:v>
                </c:pt>
                <c:pt idx="1540">
                  <c:v>All Others</c:v>
                </c:pt>
                <c:pt idx="1541">
                  <c:v>All Others</c:v>
                </c:pt>
                <c:pt idx="1542">
                  <c:v>Private Lab</c:v>
                </c:pt>
                <c:pt idx="1543">
                  <c:v>All Others</c:v>
                </c:pt>
                <c:pt idx="1544">
                  <c:v>All Others</c:v>
                </c:pt>
                <c:pt idx="1545">
                  <c:v>All Others</c:v>
                </c:pt>
                <c:pt idx="1546">
                  <c:v>All Others</c:v>
                </c:pt>
                <c:pt idx="1547">
                  <c:v>All Others</c:v>
                </c:pt>
                <c:pt idx="1548">
                  <c:v>All Others</c:v>
                </c:pt>
                <c:pt idx="1549">
                  <c:v>All Others</c:v>
                </c:pt>
                <c:pt idx="1550">
                  <c:v>All Others</c:v>
                </c:pt>
                <c:pt idx="1551">
                  <c:v>All Others</c:v>
                </c:pt>
                <c:pt idx="1552">
                  <c:v>All Others</c:v>
                </c:pt>
                <c:pt idx="1553">
                  <c:v>All Others</c:v>
                </c:pt>
                <c:pt idx="1554">
                  <c:v>All Others</c:v>
                </c:pt>
                <c:pt idx="1555">
                  <c:v>All Others</c:v>
                </c:pt>
                <c:pt idx="1556">
                  <c:v>All Others</c:v>
                </c:pt>
                <c:pt idx="1557">
                  <c:v>All Others</c:v>
                </c:pt>
                <c:pt idx="1558">
                  <c:v>All Others</c:v>
                </c:pt>
                <c:pt idx="1559">
                  <c:v>All Others</c:v>
                </c:pt>
                <c:pt idx="1560">
                  <c:v>All Others</c:v>
                </c:pt>
                <c:pt idx="1561">
                  <c:v>All Others</c:v>
                </c:pt>
                <c:pt idx="1562">
                  <c:v>All Others</c:v>
                </c:pt>
                <c:pt idx="1563">
                  <c:v>All Others</c:v>
                </c:pt>
                <c:pt idx="1564">
                  <c:v>All Others</c:v>
                </c:pt>
                <c:pt idx="1565">
                  <c:v>All Others</c:v>
                </c:pt>
                <c:pt idx="1566">
                  <c:v>All Others</c:v>
                </c:pt>
                <c:pt idx="1567">
                  <c:v>All Others</c:v>
                </c:pt>
                <c:pt idx="1568">
                  <c:v>All Others</c:v>
                </c:pt>
                <c:pt idx="1569">
                  <c:v>All Others</c:v>
                </c:pt>
                <c:pt idx="1570">
                  <c:v>All Others</c:v>
                </c:pt>
                <c:pt idx="1571">
                  <c:v>All Others</c:v>
                </c:pt>
                <c:pt idx="1572">
                  <c:v>All Others</c:v>
                </c:pt>
                <c:pt idx="1573">
                  <c:v>All Others</c:v>
                </c:pt>
                <c:pt idx="1574">
                  <c:v>All Others</c:v>
                </c:pt>
                <c:pt idx="1575">
                  <c:v>All Others</c:v>
                </c:pt>
                <c:pt idx="1576">
                  <c:v>All Others</c:v>
                </c:pt>
                <c:pt idx="1577">
                  <c:v>All Others</c:v>
                </c:pt>
                <c:pt idx="1578">
                  <c:v>All Others</c:v>
                </c:pt>
                <c:pt idx="1579">
                  <c:v>All Others</c:v>
                </c:pt>
                <c:pt idx="1580">
                  <c:v>All Others</c:v>
                </c:pt>
                <c:pt idx="1581">
                  <c:v>All Others</c:v>
                </c:pt>
                <c:pt idx="1582">
                  <c:v>All Others</c:v>
                </c:pt>
                <c:pt idx="1583">
                  <c:v>All Others</c:v>
                </c:pt>
                <c:pt idx="1584">
                  <c:v>All Others</c:v>
                </c:pt>
                <c:pt idx="1585">
                  <c:v>All Others</c:v>
                </c:pt>
                <c:pt idx="1586">
                  <c:v>All Others</c:v>
                </c:pt>
                <c:pt idx="1587">
                  <c:v>All Others</c:v>
                </c:pt>
                <c:pt idx="1588">
                  <c:v>All Others</c:v>
                </c:pt>
                <c:pt idx="1589">
                  <c:v>All Others</c:v>
                </c:pt>
                <c:pt idx="1590">
                  <c:v>All Others</c:v>
                </c:pt>
                <c:pt idx="1591">
                  <c:v>All Others</c:v>
                </c:pt>
                <c:pt idx="1592">
                  <c:v>Private Lab</c:v>
                </c:pt>
                <c:pt idx="1593">
                  <c:v>All Others</c:v>
                </c:pt>
                <c:pt idx="1594">
                  <c:v>All Others</c:v>
                </c:pt>
                <c:pt idx="1595">
                  <c:v>All Others</c:v>
                </c:pt>
                <c:pt idx="1596">
                  <c:v>All Others</c:v>
                </c:pt>
                <c:pt idx="1597">
                  <c:v>All Others</c:v>
                </c:pt>
                <c:pt idx="1598">
                  <c:v>All Others</c:v>
                </c:pt>
                <c:pt idx="1599">
                  <c:v>All Others</c:v>
                </c:pt>
                <c:pt idx="1600">
                  <c:v>All Others</c:v>
                </c:pt>
                <c:pt idx="1601">
                  <c:v>All Others</c:v>
                </c:pt>
                <c:pt idx="1602">
                  <c:v>All Others</c:v>
                </c:pt>
                <c:pt idx="1603">
                  <c:v>All Others</c:v>
                </c:pt>
                <c:pt idx="1604">
                  <c:v>Private Lab</c:v>
                </c:pt>
                <c:pt idx="1605">
                  <c:v>All Others</c:v>
                </c:pt>
                <c:pt idx="1606">
                  <c:v>All Others</c:v>
                </c:pt>
                <c:pt idx="1607">
                  <c:v>All Others</c:v>
                </c:pt>
                <c:pt idx="1608">
                  <c:v>Private Lab</c:v>
                </c:pt>
                <c:pt idx="1609">
                  <c:v>All Others</c:v>
                </c:pt>
                <c:pt idx="1610">
                  <c:v>All Others</c:v>
                </c:pt>
                <c:pt idx="1611">
                  <c:v>All Others</c:v>
                </c:pt>
                <c:pt idx="1612">
                  <c:v>All Others</c:v>
                </c:pt>
                <c:pt idx="1613">
                  <c:v>All Others</c:v>
                </c:pt>
                <c:pt idx="1614">
                  <c:v>Milleret: A</c:v>
                </c:pt>
                <c:pt idx="1615">
                  <c:v>All Others</c:v>
                </c:pt>
                <c:pt idx="1616">
                  <c:v>All Others</c:v>
                </c:pt>
                <c:pt idx="1617">
                  <c:v>All Others</c:v>
                </c:pt>
                <c:pt idx="1618">
                  <c:v>All Others</c:v>
                </c:pt>
                <c:pt idx="1619">
                  <c:v>Private Lab</c:v>
                </c:pt>
                <c:pt idx="1620">
                  <c:v>All Others</c:v>
                </c:pt>
                <c:pt idx="1621">
                  <c:v>All Others</c:v>
                </c:pt>
                <c:pt idx="1622">
                  <c:v>All Others</c:v>
                </c:pt>
                <c:pt idx="1623">
                  <c:v>All Others</c:v>
                </c:pt>
                <c:pt idx="1624">
                  <c:v>All Others</c:v>
                </c:pt>
                <c:pt idx="1625">
                  <c:v>All Others</c:v>
                </c:pt>
                <c:pt idx="1626">
                  <c:v>All Others</c:v>
                </c:pt>
                <c:pt idx="1627">
                  <c:v>All Others</c:v>
                </c:pt>
                <c:pt idx="1628">
                  <c:v>All Others</c:v>
                </c:pt>
                <c:pt idx="1629">
                  <c:v>All Others</c:v>
                </c:pt>
                <c:pt idx="1630">
                  <c:v>All Others</c:v>
                </c:pt>
                <c:pt idx="1631">
                  <c:v>All Others</c:v>
                </c:pt>
                <c:pt idx="1632">
                  <c:v>All Others</c:v>
                </c:pt>
                <c:pt idx="1633">
                  <c:v>Private Lab</c:v>
                </c:pt>
                <c:pt idx="1634">
                  <c:v>All Others</c:v>
                </c:pt>
                <c:pt idx="1635">
                  <c:v>All Others</c:v>
                </c:pt>
                <c:pt idx="1636">
                  <c:v>All Others</c:v>
                </c:pt>
                <c:pt idx="1637">
                  <c:v>All Others</c:v>
                </c:pt>
                <c:pt idx="1638">
                  <c:v>All Others</c:v>
                </c:pt>
                <c:pt idx="1639">
                  <c:v>All Others</c:v>
                </c:pt>
                <c:pt idx="1640">
                  <c:v>All Others</c:v>
                </c:pt>
                <c:pt idx="1641">
                  <c:v>Private Lab</c:v>
                </c:pt>
                <c:pt idx="1642">
                  <c:v>All Others</c:v>
                </c:pt>
                <c:pt idx="1643">
                  <c:v>All Others</c:v>
                </c:pt>
                <c:pt idx="1644">
                  <c:v>All Others</c:v>
                </c:pt>
                <c:pt idx="1645">
                  <c:v>Private Lab</c:v>
                </c:pt>
                <c:pt idx="1646">
                  <c:v>All Others</c:v>
                </c:pt>
                <c:pt idx="1647">
                  <c:v>All Others</c:v>
                </c:pt>
                <c:pt idx="1648">
                  <c:v>All Others</c:v>
                </c:pt>
                <c:pt idx="1649">
                  <c:v>All Others</c:v>
                </c:pt>
                <c:pt idx="1650">
                  <c:v>Lactalis: A</c:v>
                </c:pt>
                <c:pt idx="1651">
                  <c:v>Private Lab</c:v>
                </c:pt>
                <c:pt idx="1652">
                  <c:v>All Others</c:v>
                </c:pt>
                <c:pt idx="1653">
                  <c:v>All Others</c:v>
                </c:pt>
                <c:pt idx="1654">
                  <c:v>Private Lab</c:v>
                </c:pt>
                <c:pt idx="1655">
                  <c:v>All Others</c:v>
                </c:pt>
                <c:pt idx="1656">
                  <c:v>All Others</c:v>
                </c:pt>
                <c:pt idx="1657">
                  <c:v>All Others</c:v>
                </c:pt>
                <c:pt idx="1658">
                  <c:v>All Others</c:v>
                </c:pt>
                <c:pt idx="1659">
                  <c:v>All Others</c:v>
                </c:pt>
                <c:pt idx="1660">
                  <c:v>All Others</c:v>
                </c:pt>
                <c:pt idx="1661">
                  <c:v>All Others</c:v>
                </c:pt>
                <c:pt idx="1662">
                  <c:v>All Others</c:v>
                </c:pt>
                <c:pt idx="1663">
                  <c:v>All Others</c:v>
                </c:pt>
                <c:pt idx="1664">
                  <c:v>All Others</c:v>
                </c:pt>
                <c:pt idx="1665">
                  <c:v>All Others</c:v>
                </c:pt>
                <c:pt idx="1666">
                  <c:v>Ficello</c:v>
                </c:pt>
                <c:pt idx="1667">
                  <c:v>Private Lab</c:v>
                </c:pt>
                <c:pt idx="1668">
                  <c:v>All Others</c:v>
                </c:pt>
                <c:pt idx="1669">
                  <c:v>Mini Babybe</c:v>
                </c:pt>
                <c:pt idx="1670">
                  <c:v>All Others</c:v>
                </c:pt>
                <c:pt idx="1671">
                  <c:v>All Others</c:v>
                </c:pt>
                <c:pt idx="1672">
                  <c:v>All Others</c:v>
                </c:pt>
                <c:pt idx="1673">
                  <c:v>All Others</c:v>
                </c:pt>
                <c:pt idx="1674">
                  <c:v>All Others</c:v>
                </c:pt>
                <c:pt idx="1675">
                  <c:v>Savencia: A</c:v>
                </c:pt>
                <c:pt idx="1676">
                  <c:v>All Others</c:v>
                </c:pt>
                <c:pt idx="1677">
                  <c:v>All Others</c:v>
                </c:pt>
                <c:pt idx="1678">
                  <c:v>All Others</c:v>
                </c:pt>
                <c:pt idx="1679">
                  <c:v>All Others</c:v>
                </c:pt>
              </c:strCache>
            </c:strRef>
          </c:cat>
          <c:val>
            <c:numRef>
              <c:f>Sheet1!$C$2:$C$1681</c:f>
              <c:numCache>
                <c:formatCode>General</c:formatCode>
                <c:ptCount val="1680"/>
                <c:pt idx="0">
                  <c:v>7.2586465367595554E-2</c:v>
                </c:pt>
                <c:pt idx="1">
                  <c:v>9.0237573301949842E-2</c:v>
                </c:pt>
                <c:pt idx="2">
                  <c:v>0.10592058710409341</c:v>
                </c:pt>
                <c:pt idx="3">
                  <c:v>0.12093901546491896</c:v>
                </c:pt>
                <c:pt idx="4">
                  <c:v>0.1351764914023906</c:v>
                </c:pt>
                <c:pt idx="5">
                  <c:v>0.14870127340494046</c:v>
                </c:pt>
                <c:pt idx="6">
                  <c:v>0.16182720953431978</c:v>
                </c:pt>
                <c:pt idx="7">
                  <c:v>0.1744802640957144</c:v>
                </c:pt>
                <c:pt idx="8">
                  <c:v>0.19806049773919096</c:v>
                </c:pt>
                <c:pt idx="9">
                  <c:v>0.21888285338661292</c:v>
                </c:pt>
                <c:pt idx="10">
                  <c:v>0.22852064083211274</c:v>
                </c:pt>
                <c:pt idx="11">
                  <c:v>0.23813414678519265</c:v>
                </c:pt>
                <c:pt idx="12">
                  <c:v>0.24759218890956047</c:v>
                </c:pt>
                <c:pt idx="13">
                  <c:v>0.25695816807011701</c:v>
                </c:pt>
                <c:pt idx="14">
                  <c:v>0.26618814967236476</c:v>
                </c:pt>
                <c:pt idx="15">
                  <c:v>0.27485333249802341</c:v>
                </c:pt>
                <c:pt idx="16">
                  <c:v>0.28327331133913752</c:v>
                </c:pt>
                <c:pt idx="17">
                  <c:v>0.29167897834398276</c:v>
                </c:pt>
                <c:pt idx="18">
                  <c:v>0.30006985649551843</c:v>
                </c:pt>
                <c:pt idx="19">
                  <c:v>0.30777411366854956</c:v>
                </c:pt>
                <c:pt idx="20">
                  <c:v>0.32235113431074647</c:v>
                </c:pt>
                <c:pt idx="21">
                  <c:v>0.32955196624966626</c:v>
                </c:pt>
                <c:pt idx="22">
                  <c:v>0.33638589523152823</c:v>
                </c:pt>
                <c:pt idx="23">
                  <c:v>0.35670996682849992</c:v>
                </c:pt>
                <c:pt idx="24">
                  <c:v>0.36323232020479074</c:v>
                </c:pt>
                <c:pt idx="25">
                  <c:v>0.37601201749030672</c:v>
                </c:pt>
                <c:pt idx="26">
                  <c:v>0.38227046383891483</c:v>
                </c:pt>
                <c:pt idx="27">
                  <c:v>0.38846019323271286</c:v>
                </c:pt>
                <c:pt idx="28">
                  <c:v>0.40068332691082881</c:v>
                </c:pt>
                <c:pt idx="29">
                  <c:v>0.40673238530436634</c:v>
                </c:pt>
                <c:pt idx="30">
                  <c:v>0.4184794215246147</c:v>
                </c:pt>
                <c:pt idx="31">
                  <c:v>0.42977444037222051</c:v>
                </c:pt>
                <c:pt idx="32">
                  <c:v>0.44502547151743166</c:v>
                </c:pt>
                <c:pt idx="33">
                  <c:v>0.44991330612799135</c:v>
                </c:pt>
                <c:pt idx="34">
                  <c:v>0.45948982603480021</c:v>
                </c:pt>
                <c:pt idx="35">
                  <c:v>0.46421029524148194</c:v>
                </c:pt>
                <c:pt idx="36">
                  <c:v>0.46877740479462005</c:v>
                </c:pt>
                <c:pt idx="37">
                  <c:v>0.47332661560835254</c:v>
                </c:pt>
                <c:pt idx="38">
                  <c:v>0.47783012023930022</c:v>
                </c:pt>
                <c:pt idx="39">
                  <c:v>0.48223267746405324</c:v>
                </c:pt>
                <c:pt idx="40">
                  <c:v>0.48662289054783031</c:v>
                </c:pt>
                <c:pt idx="41">
                  <c:v>0.49097141234224861</c:v>
                </c:pt>
                <c:pt idx="42">
                  <c:v>0.49530538511692501</c:v>
                </c:pt>
                <c:pt idx="43">
                  <c:v>0.4995534855489408</c:v>
                </c:pt>
                <c:pt idx="44">
                  <c:v>0.503765546018483</c:v>
                </c:pt>
                <c:pt idx="45">
                  <c:v>0.50795238156190259</c:v>
                </c:pt>
                <c:pt idx="46">
                  <c:v>0.51213519426161203</c:v>
                </c:pt>
                <c:pt idx="47">
                  <c:v>0.52043963957546413</c:v>
                </c:pt>
                <c:pt idx="48">
                  <c:v>0.52456714347434963</c:v>
                </c:pt>
                <c:pt idx="49">
                  <c:v>0.52859621358183562</c:v>
                </c:pt>
                <c:pt idx="50">
                  <c:v>0.53259782340834427</c:v>
                </c:pt>
                <c:pt idx="51">
                  <c:v>0.53658183395614512</c:v>
                </c:pt>
                <c:pt idx="52">
                  <c:v>0.5405297038378748</c:v>
                </c:pt>
                <c:pt idx="53">
                  <c:v>0.54443936200454834</c:v>
                </c:pt>
                <c:pt idx="54">
                  <c:v>0.54831379908800149</c:v>
                </c:pt>
                <c:pt idx="55">
                  <c:v>0.56346619370957085</c:v>
                </c:pt>
                <c:pt idx="56">
                  <c:v>0.56713494634525563</c:v>
                </c:pt>
                <c:pt idx="57">
                  <c:v>0.57070506908253527</c:v>
                </c:pt>
                <c:pt idx="58">
                  <c:v>0.57424948060132019</c:v>
                </c:pt>
                <c:pt idx="59">
                  <c:v>0.57778456246181709</c:v>
                </c:pt>
                <c:pt idx="60">
                  <c:v>0.58128629950612043</c:v>
                </c:pt>
                <c:pt idx="61">
                  <c:v>0.5847715794625189</c:v>
                </c:pt>
                <c:pt idx="62">
                  <c:v>0.59163691869146484</c:v>
                </c:pt>
                <c:pt idx="63">
                  <c:v>0.594965256066325</c:v>
                </c:pt>
                <c:pt idx="64">
                  <c:v>0.59826955708252239</c:v>
                </c:pt>
                <c:pt idx="65">
                  <c:v>0.60157209181062177</c:v>
                </c:pt>
                <c:pt idx="66">
                  <c:v>0.60794651160220714</c:v>
                </c:pt>
                <c:pt idx="67">
                  <c:v>0.61112359349869227</c:v>
                </c:pt>
                <c:pt idx="68">
                  <c:v>0.61426784204725526</c:v>
                </c:pt>
                <c:pt idx="69">
                  <c:v>0.62051025929824788</c:v>
                </c:pt>
                <c:pt idx="70">
                  <c:v>0.62359737313075891</c:v>
                </c:pt>
                <c:pt idx="71">
                  <c:v>0.62660502387457029</c:v>
                </c:pt>
                <c:pt idx="72">
                  <c:v>0.6295678509171222</c:v>
                </c:pt>
                <c:pt idx="73">
                  <c:v>0.63252750844644789</c:v>
                </c:pt>
                <c:pt idx="74">
                  <c:v>0.63828998560230066</c:v>
                </c:pt>
                <c:pt idx="75">
                  <c:v>0.64111941747951029</c:v>
                </c:pt>
                <c:pt idx="76">
                  <c:v>0.64391577352513552</c:v>
                </c:pt>
                <c:pt idx="77">
                  <c:v>0.64668308983335965</c:v>
                </c:pt>
                <c:pt idx="78">
                  <c:v>0.64944735455757052</c:v>
                </c:pt>
                <c:pt idx="79">
                  <c:v>0.65221081895319089</c:v>
                </c:pt>
                <c:pt idx="80">
                  <c:v>0.65497267474134613</c:v>
                </c:pt>
                <c:pt idx="81">
                  <c:v>0.65767006167644826</c:v>
                </c:pt>
                <c:pt idx="82">
                  <c:v>0.66036704844725513</c:v>
                </c:pt>
                <c:pt idx="83">
                  <c:v>0.66304744430037643</c:v>
                </c:pt>
                <c:pt idx="84">
                  <c:v>0.665719389001593</c:v>
                </c:pt>
                <c:pt idx="85">
                  <c:v>0.67102668192167159</c:v>
                </c:pt>
                <c:pt idx="86">
                  <c:v>0.67366864477683164</c:v>
                </c:pt>
                <c:pt idx="87">
                  <c:v>0.67628035150113686</c:v>
                </c:pt>
                <c:pt idx="88">
                  <c:v>0.67886718311181593</c:v>
                </c:pt>
                <c:pt idx="89">
                  <c:v>0.68145011643323439</c:v>
                </c:pt>
                <c:pt idx="90">
                  <c:v>0.68400186344056857</c:v>
                </c:pt>
                <c:pt idx="91">
                  <c:v>0.68654720119394175</c:v>
                </c:pt>
                <c:pt idx="92">
                  <c:v>0.68900604118231212</c:v>
                </c:pt>
                <c:pt idx="93">
                  <c:v>0.69146299297822955</c:v>
                </c:pt>
                <c:pt idx="94">
                  <c:v>0.69390451724802182</c:v>
                </c:pt>
                <c:pt idx="95">
                  <c:v>0.69634162380999809</c:v>
                </c:pt>
                <c:pt idx="96">
                  <c:v>0.69873776653360264</c:v>
                </c:pt>
                <c:pt idx="97">
                  <c:v>0.70109398160585179</c:v>
                </c:pt>
                <c:pt idx="98">
                  <c:v>0.70342416744824576</c:v>
                </c:pt>
                <c:pt idx="99">
                  <c:v>0.70575141036050792</c:v>
                </c:pt>
                <c:pt idx="100">
                  <c:v>0.70807438529530298</c:v>
                </c:pt>
                <c:pt idx="101">
                  <c:v>0.71036743403602964</c:v>
                </c:pt>
                <c:pt idx="102">
                  <c:v>0.71265733048914559</c:v>
                </c:pt>
                <c:pt idx="103">
                  <c:v>0.71486935258531692</c:v>
                </c:pt>
                <c:pt idx="104">
                  <c:v>0.71924437135129982</c:v>
                </c:pt>
                <c:pt idx="105">
                  <c:v>0.72358833100774256</c:v>
                </c:pt>
                <c:pt idx="106">
                  <c:v>0.72574548289375795</c:v>
                </c:pt>
                <c:pt idx="107">
                  <c:v>0.72789536026990243</c:v>
                </c:pt>
                <c:pt idx="108">
                  <c:v>0.72992552491948925</c:v>
                </c:pt>
                <c:pt idx="109">
                  <c:v>0.73194865886791483</c:v>
                </c:pt>
                <c:pt idx="110">
                  <c:v>0.73593987767321978</c:v>
                </c:pt>
                <c:pt idx="111">
                  <c:v>0.73790605446193624</c:v>
                </c:pt>
                <c:pt idx="112">
                  <c:v>0.73986851581792445</c:v>
                </c:pt>
                <c:pt idx="113">
                  <c:v>0.74180532028235879</c:v>
                </c:pt>
                <c:pt idx="114">
                  <c:v>0.74761162867901676</c:v>
                </c:pt>
                <c:pt idx="115">
                  <c:v>0.74952821027101924</c:v>
                </c:pt>
                <c:pt idx="116">
                  <c:v>0.75140441502061961</c:v>
                </c:pt>
                <c:pt idx="117">
                  <c:v>0.75327536198239342</c:v>
                </c:pt>
                <c:pt idx="118">
                  <c:v>0.75514428824698088</c:v>
                </c:pt>
                <c:pt idx="119">
                  <c:v>0.75700456592761056</c:v>
                </c:pt>
                <c:pt idx="120">
                  <c:v>0.75886117587721613</c:v>
                </c:pt>
                <c:pt idx="121">
                  <c:v>0.76067027625461348</c:v>
                </c:pt>
                <c:pt idx="122">
                  <c:v>0.76427038878823361</c:v>
                </c:pt>
                <c:pt idx="123">
                  <c:v>0.76780336382346737</c:v>
                </c:pt>
                <c:pt idx="124">
                  <c:v>0.76953916258227428</c:v>
                </c:pt>
                <c:pt idx="125">
                  <c:v>0.77124816225872428</c:v>
                </c:pt>
                <c:pt idx="126">
                  <c:v>0.77286680430728349</c:v>
                </c:pt>
                <c:pt idx="127">
                  <c:v>0.77447655263812798</c:v>
                </c:pt>
                <c:pt idx="128">
                  <c:v>0.77608530320832902</c:v>
                </c:pt>
                <c:pt idx="129">
                  <c:v>0.77764733393453367</c:v>
                </c:pt>
                <c:pt idx="130">
                  <c:v>0.7792093037085609</c:v>
                </c:pt>
                <c:pt idx="131">
                  <c:v>0.78076891489833122</c:v>
                </c:pt>
                <c:pt idx="132">
                  <c:v>0.78232291318758906</c:v>
                </c:pt>
                <c:pt idx="133">
                  <c:v>0.78387104681734077</c:v>
                </c:pt>
                <c:pt idx="134">
                  <c:v>0.78693871823030048</c:v>
                </c:pt>
                <c:pt idx="135">
                  <c:v>0.7884454984577639</c:v>
                </c:pt>
                <c:pt idx="136">
                  <c:v>0.78994993600153851</c:v>
                </c:pt>
                <c:pt idx="137">
                  <c:v>0.79144940991799495</c:v>
                </c:pt>
                <c:pt idx="138">
                  <c:v>0.7929236072314827</c:v>
                </c:pt>
                <c:pt idx="139">
                  <c:v>0.79576755367720353</c:v>
                </c:pt>
                <c:pt idx="140">
                  <c:v>0.79717820702067821</c:v>
                </c:pt>
                <c:pt idx="141">
                  <c:v>0.79993147517705321</c:v>
                </c:pt>
                <c:pt idx="142">
                  <c:v>0.80128252656633747</c:v>
                </c:pt>
                <c:pt idx="143">
                  <c:v>0.80263325994426127</c:v>
                </c:pt>
                <c:pt idx="144">
                  <c:v>0.80398110736908879</c:v>
                </c:pt>
                <c:pt idx="145">
                  <c:v>0.80532721103162297</c:v>
                </c:pt>
                <c:pt idx="146">
                  <c:v>0.806658393336114</c:v>
                </c:pt>
                <c:pt idx="147">
                  <c:v>0.80798828504450049</c:v>
                </c:pt>
                <c:pt idx="148">
                  <c:v>0.81064119809083979</c:v>
                </c:pt>
                <c:pt idx="149">
                  <c:v>0.81196391069276341</c:v>
                </c:pt>
                <c:pt idx="150">
                  <c:v>0.8132842898863295</c:v>
                </c:pt>
                <c:pt idx="151">
                  <c:v>0.8145941323034851</c:v>
                </c:pt>
                <c:pt idx="152">
                  <c:v>0.81588865584839698</c:v>
                </c:pt>
                <c:pt idx="153">
                  <c:v>0.81717950503704795</c:v>
                </c:pt>
                <c:pt idx="154">
                  <c:v>0.81846702570679264</c:v>
                </c:pt>
                <c:pt idx="155">
                  <c:v>0.81975135698760115</c:v>
                </c:pt>
                <c:pt idx="156">
                  <c:v>0.82103304744907035</c:v>
                </c:pt>
                <c:pt idx="157">
                  <c:v>0.82356351684629392</c:v>
                </c:pt>
                <c:pt idx="158">
                  <c:v>0.82480556454158471</c:v>
                </c:pt>
                <c:pt idx="159">
                  <c:v>0.82603488250712509</c:v>
                </c:pt>
                <c:pt idx="160">
                  <c:v>0.82726014980296136</c:v>
                </c:pt>
                <c:pt idx="161">
                  <c:v>0.82847644652833741</c:v>
                </c:pt>
                <c:pt idx="162">
                  <c:v>0.83083998646225621</c:v>
                </c:pt>
                <c:pt idx="163">
                  <c:v>0.83319739805224924</c:v>
                </c:pt>
                <c:pt idx="164">
                  <c:v>0.83437219031994081</c:v>
                </c:pt>
                <c:pt idx="165">
                  <c:v>0.83670695287583097</c:v>
                </c:pt>
                <c:pt idx="166">
                  <c:v>0.83786561004212023</c:v>
                </c:pt>
                <c:pt idx="167">
                  <c:v>0.83902268245179645</c:v>
                </c:pt>
                <c:pt idx="168">
                  <c:v>0.84015577150470322</c:v>
                </c:pt>
                <c:pt idx="169">
                  <c:v>0.84128631249158414</c:v>
                </c:pt>
                <c:pt idx="170">
                  <c:v>0.84241281340913965</c:v>
                </c:pt>
                <c:pt idx="171">
                  <c:v>0.84353799192945456</c:v>
                </c:pt>
                <c:pt idx="172">
                  <c:v>0.84466130213302659</c:v>
                </c:pt>
                <c:pt idx="173">
                  <c:v>0.84577040120392721</c:v>
                </c:pt>
                <c:pt idx="174">
                  <c:v>0.84686061040001548</c:v>
                </c:pt>
                <c:pt idx="175">
                  <c:v>0.84794397440156943</c:v>
                </c:pt>
                <c:pt idx="176">
                  <c:v>0.84902558139035667</c:v>
                </c:pt>
                <c:pt idx="177">
                  <c:v>0.85010680941560601</c:v>
                </c:pt>
                <c:pt idx="178">
                  <c:v>0.8511715790279033</c:v>
                </c:pt>
                <c:pt idx="179">
                  <c:v>0.8522334666622462</c:v>
                </c:pt>
                <c:pt idx="180">
                  <c:v>0.85327608015804945</c:v>
                </c:pt>
                <c:pt idx="181">
                  <c:v>0.85431636554568446</c:v>
                </c:pt>
                <c:pt idx="182">
                  <c:v>0.85535505425128044</c:v>
                </c:pt>
                <c:pt idx="183">
                  <c:v>0.85638418804054139</c:v>
                </c:pt>
                <c:pt idx="184">
                  <c:v>0.85741244597351363</c:v>
                </c:pt>
                <c:pt idx="185">
                  <c:v>0.85842659480245931</c:v>
                </c:pt>
                <c:pt idx="186">
                  <c:v>0.8594220975653023</c:v>
                </c:pt>
                <c:pt idx="187">
                  <c:v>0.86040850255314083</c:v>
                </c:pt>
                <c:pt idx="188">
                  <c:v>0.8613613533673069</c:v>
                </c:pt>
                <c:pt idx="189">
                  <c:v>0.8623124922203157</c:v>
                </c:pt>
                <c:pt idx="190">
                  <c:v>0.86325344013426852</c:v>
                </c:pt>
                <c:pt idx="191">
                  <c:v>0.86418069103391604</c:v>
                </c:pt>
                <c:pt idx="192">
                  <c:v>0.86510467834197669</c:v>
                </c:pt>
                <c:pt idx="193">
                  <c:v>0.86602764536358912</c:v>
                </c:pt>
                <c:pt idx="194">
                  <c:v>0.86694745479740143</c:v>
                </c:pt>
                <c:pt idx="195">
                  <c:v>0.86786620551839277</c:v>
                </c:pt>
                <c:pt idx="196">
                  <c:v>0.86877947186846327</c:v>
                </c:pt>
                <c:pt idx="197">
                  <c:v>0.86968767123752344</c:v>
                </c:pt>
                <c:pt idx="198">
                  <c:v>0.87059140122192158</c:v>
                </c:pt>
                <c:pt idx="199">
                  <c:v>0.87239273682193386</c:v>
                </c:pt>
                <c:pt idx="200">
                  <c:v>0.87327934454466483</c:v>
                </c:pt>
                <c:pt idx="201">
                  <c:v>0.87415623834538048</c:v>
                </c:pt>
                <c:pt idx="202">
                  <c:v>0.87588724705807031</c:v>
                </c:pt>
                <c:pt idx="203">
                  <c:v>0.87674685164115462</c:v>
                </c:pt>
                <c:pt idx="204">
                  <c:v>0.87758192562292003</c:v>
                </c:pt>
                <c:pt idx="205">
                  <c:v>0.87839964280964</c:v>
                </c:pt>
                <c:pt idx="206">
                  <c:v>0.87920594338851876</c:v>
                </c:pt>
                <c:pt idx="207">
                  <c:v>0.87999209529761646</c:v>
                </c:pt>
                <c:pt idx="208">
                  <c:v>0.88077731172329543</c:v>
                </c:pt>
                <c:pt idx="209">
                  <c:v>0.88155614142081817</c:v>
                </c:pt>
                <c:pt idx="210">
                  <c:v>0.88233103440270766</c:v>
                </c:pt>
                <c:pt idx="211">
                  <c:v>0.88310243323477389</c:v>
                </c:pt>
                <c:pt idx="212">
                  <c:v>0.88385070469064919</c:v>
                </c:pt>
                <c:pt idx="213">
                  <c:v>0.88458928077517196</c:v>
                </c:pt>
                <c:pt idx="214">
                  <c:v>0.88532672129412837</c:v>
                </c:pt>
                <c:pt idx="215">
                  <c:v>0.88606170517532501</c:v>
                </c:pt>
                <c:pt idx="216">
                  <c:v>0.88678462847567552</c:v>
                </c:pt>
                <c:pt idx="217">
                  <c:v>0.88750547940199354</c:v>
                </c:pt>
                <c:pt idx="218">
                  <c:v>0.88822607061903391</c:v>
                </c:pt>
                <c:pt idx="219">
                  <c:v>0.88893846244316321</c:v>
                </c:pt>
                <c:pt idx="220">
                  <c:v>0.89034562561195674</c:v>
                </c:pt>
                <c:pt idx="221">
                  <c:v>0.89104137616660173</c:v>
                </c:pt>
                <c:pt idx="222">
                  <c:v>0.89172896575470839</c:v>
                </c:pt>
                <c:pt idx="223">
                  <c:v>0.89240506585737045</c:v>
                </c:pt>
                <c:pt idx="224">
                  <c:v>0.89307701193663624</c:v>
                </c:pt>
                <c:pt idx="225">
                  <c:v>0.89374418122025812</c:v>
                </c:pt>
                <c:pt idx="226">
                  <c:v>0.89440925560404283</c:v>
                </c:pt>
                <c:pt idx="227">
                  <c:v>0.89506435370643989</c:v>
                </c:pt>
                <c:pt idx="228">
                  <c:v>0.89571569264954665</c:v>
                </c:pt>
                <c:pt idx="229">
                  <c:v>0.89635918996252295</c:v>
                </c:pt>
                <c:pt idx="230">
                  <c:v>0.89700165108848295</c:v>
                </c:pt>
                <c:pt idx="231">
                  <c:v>0.89763934601917783</c:v>
                </c:pt>
                <c:pt idx="232">
                  <c:v>0.8982716639077859</c:v>
                </c:pt>
                <c:pt idx="233">
                  <c:v>0.89890103224102558</c:v>
                </c:pt>
                <c:pt idx="234">
                  <c:v>0.89952327579474312</c:v>
                </c:pt>
                <c:pt idx="235">
                  <c:v>0.90012823675606601</c:v>
                </c:pt>
                <c:pt idx="236">
                  <c:v>0.90073145528014298</c:v>
                </c:pt>
                <c:pt idx="237">
                  <c:v>0.90132934711393187</c:v>
                </c:pt>
                <c:pt idx="238">
                  <c:v>0.90192634056562748</c:v>
                </c:pt>
                <c:pt idx="239">
                  <c:v>0.90252332209189701</c:v>
                </c:pt>
                <c:pt idx="240">
                  <c:v>0.90311196907042735</c:v>
                </c:pt>
                <c:pt idx="241">
                  <c:v>0.90369998267633145</c:v>
                </c:pt>
                <c:pt idx="242">
                  <c:v>0.90428688324247386</c:v>
                </c:pt>
                <c:pt idx="243">
                  <c:v>0.90487354927523789</c:v>
                </c:pt>
                <c:pt idx="244">
                  <c:v>0.90545537093494399</c:v>
                </c:pt>
                <c:pt idx="245">
                  <c:v>0.90603437554401511</c:v>
                </c:pt>
                <c:pt idx="246">
                  <c:v>0.90661003440856458</c:v>
                </c:pt>
                <c:pt idx="247">
                  <c:v>0.90716060880200888</c:v>
                </c:pt>
                <c:pt idx="248">
                  <c:v>0.90770921815025496</c:v>
                </c:pt>
                <c:pt idx="249">
                  <c:v>0.90825611288724906</c:v>
                </c:pt>
                <c:pt idx="250">
                  <c:v>0.90879563108572747</c:v>
                </c:pt>
                <c:pt idx="251">
                  <c:v>0.90933499425366759</c:v>
                </c:pt>
                <c:pt idx="252">
                  <c:v>0.90986480780546197</c:v>
                </c:pt>
                <c:pt idx="253">
                  <c:v>0.91038990418874266</c:v>
                </c:pt>
                <c:pt idx="254">
                  <c:v>0.91091054973802399</c:v>
                </c:pt>
                <c:pt idx="255">
                  <c:v>0.91142915073926689</c:v>
                </c:pt>
                <c:pt idx="256">
                  <c:v>0.91194611133190862</c:v>
                </c:pt>
                <c:pt idx="257">
                  <c:v>0.91245863301597696</c:v>
                </c:pt>
                <c:pt idx="258">
                  <c:v>0.91346989721687366</c:v>
                </c:pt>
                <c:pt idx="259">
                  <c:v>0.91397117189915977</c:v>
                </c:pt>
                <c:pt idx="260">
                  <c:v>0.91446938704714864</c:v>
                </c:pt>
                <c:pt idx="261">
                  <c:v>0.91496558017290375</c:v>
                </c:pt>
                <c:pt idx="262">
                  <c:v>0.91545938556336059</c:v>
                </c:pt>
                <c:pt idx="263">
                  <c:v>0.91595302002271117</c:v>
                </c:pt>
                <c:pt idx="264">
                  <c:v>0.91644575477492107</c:v>
                </c:pt>
                <c:pt idx="265">
                  <c:v>0.91693497550159775</c:v>
                </c:pt>
                <c:pt idx="266">
                  <c:v>0.91742369006019231</c:v>
                </c:pt>
                <c:pt idx="267">
                  <c:v>0.91790734691310794</c:v>
                </c:pt>
                <c:pt idx="268">
                  <c:v>0.91838873263489074</c:v>
                </c:pt>
                <c:pt idx="269">
                  <c:v>0.9188666878091224</c:v>
                </c:pt>
                <c:pt idx="270">
                  <c:v>0.91934462708278608</c:v>
                </c:pt>
                <c:pt idx="271">
                  <c:v>0.91982131683681256</c:v>
                </c:pt>
                <c:pt idx="272">
                  <c:v>0.9202965569890541</c:v>
                </c:pt>
                <c:pt idx="273">
                  <c:v>0.92076801545620068</c:v>
                </c:pt>
                <c:pt idx="274">
                  <c:v>0.92123935864422901</c:v>
                </c:pt>
                <c:pt idx="275">
                  <c:v>0.92217627311409311</c:v>
                </c:pt>
                <c:pt idx="276">
                  <c:v>0.9226428580571403</c:v>
                </c:pt>
                <c:pt idx="277">
                  <c:v>0.92310442107078661</c:v>
                </c:pt>
                <c:pt idx="278">
                  <c:v>0.92356165382974109</c:v>
                </c:pt>
                <c:pt idx="279">
                  <c:v>0.92401262308994148</c:v>
                </c:pt>
                <c:pt idx="280">
                  <c:v>0.92446070109685619</c:v>
                </c:pt>
                <c:pt idx="281">
                  <c:v>0.92490826233531009</c:v>
                </c:pt>
                <c:pt idx="282">
                  <c:v>0.92535241422697023</c:v>
                </c:pt>
                <c:pt idx="283">
                  <c:v>0.925782173454474</c:v>
                </c:pt>
                <c:pt idx="284">
                  <c:v>0.92620867836572218</c:v>
                </c:pt>
                <c:pt idx="285">
                  <c:v>0.92662406612982695</c:v>
                </c:pt>
                <c:pt idx="286">
                  <c:v>0.92703623535395419</c:v>
                </c:pt>
                <c:pt idx="287">
                  <c:v>0.92744719878500637</c:v>
                </c:pt>
                <c:pt idx="288">
                  <c:v>0.92785780047813593</c:v>
                </c:pt>
                <c:pt idx="289">
                  <c:v>0.92826490669639494</c:v>
                </c:pt>
                <c:pt idx="290">
                  <c:v>0.92867089987489226</c:v>
                </c:pt>
                <c:pt idx="291">
                  <c:v>0.92907598407091752</c:v>
                </c:pt>
                <c:pt idx="292">
                  <c:v>0.92947932185455484</c:v>
                </c:pt>
                <c:pt idx="293">
                  <c:v>0.92988232440121632</c:v>
                </c:pt>
                <c:pt idx="294">
                  <c:v>0.93027927413165001</c:v>
                </c:pt>
                <c:pt idx="295">
                  <c:v>0.93067008889292113</c:v>
                </c:pt>
                <c:pt idx="296">
                  <c:v>0.93105231072222261</c:v>
                </c:pt>
                <c:pt idx="297">
                  <c:v>0.93142947087070316</c:v>
                </c:pt>
                <c:pt idx="298">
                  <c:v>0.93180271417926053</c:v>
                </c:pt>
                <c:pt idx="299">
                  <c:v>0.93217420842533527</c:v>
                </c:pt>
                <c:pt idx="300">
                  <c:v>0.93254316255566816</c:v>
                </c:pt>
                <c:pt idx="301">
                  <c:v>0.9329097210004188</c:v>
                </c:pt>
                <c:pt idx="302">
                  <c:v>0.93327541683935411</c:v>
                </c:pt>
                <c:pt idx="303">
                  <c:v>0.93363676122284023</c:v>
                </c:pt>
                <c:pt idx="304">
                  <c:v>0.93434491422054378</c:v>
                </c:pt>
                <c:pt idx="305">
                  <c:v>0.9346964545787958</c:v>
                </c:pt>
                <c:pt idx="306">
                  <c:v>0.93504796446095906</c:v>
                </c:pt>
                <c:pt idx="307">
                  <c:v>0.93539701770536265</c:v>
                </c:pt>
                <c:pt idx="308">
                  <c:v>0.93574007246047919</c:v>
                </c:pt>
                <c:pt idx="309">
                  <c:v>0.93608283835527661</c:v>
                </c:pt>
                <c:pt idx="310">
                  <c:v>0.93642099706048909</c:v>
                </c:pt>
                <c:pt idx="311">
                  <c:v>0.93675749548139042</c:v>
                </c:pt>
                <c:pt idx="312">
                  <c:v>0.9377565453959501</c:v>
                </c:pt>
                <c:pt idx="313">
                  <c:v>0.93808841277641442</c:v>
                </c:pt>
                <c:pt idx="314">
                  <c:v>0.93841973953756597</c:v>
                </c:pt>
                <c:pt idx="315">
                  <c:v>0.93875061445757613</c:v>
                </c:pt>
                <c:pt idx="316">
                  <c:v>0.93907946338021064</c:v>
                </c:pt>
                <c:pt idx="317">
                  <c:v>0.93940498775908077</c:v>
                </c:pt>
                <c:pt idx="318">
                  <c:v>0.93973024315334186</c:v>
                </c:pt>
                <c:pt idx="319">
                  <c:v>0.94037342112991029</c:v>
                </c:pt>
                <c:pt idx="320">
                  <c:v>0.9406907818921475</c:v>
                </c:pt>
                <c:pt idx="321">
                  <c:v>0.94100796244794704</c:v>
                </c:pt>
                <c:pt idx="322">
                  <c:v>0.94132323228548909</c:v>
                </c:pt>
                <c:pt idx="323">
                  <c:v>0.94163150719814792</c:v>
                </c:pt>
                <c:pt idx="324">
                  <c:v>0.94193849018965481</c:v>
                </c:pt>
                <c:pt idx="325">
                  <c:v>0.94224479475692602</c:v>
                </c:pt>
                <c:pt idx="326">
                  <c:v>0.94255068458438129</c:v>
                </c:pt>
                <c:pt idx="327">
                  <c:v>0.94316185339247016</c:v>
                </c:pt>
                <c:pt idx="328">
                  <c:v>0.94346577287453781</c:v>
                </c:pt>
                <c:pt idx="329">
                  <c:v>0.94376907090940521</c:v>
                </c:pt>
                <c:pt idx="330">
                  <c:v>0.94406959032001037</c:v>
                </c:pt>
                <c:pt idx="331">
                  <c:v>0.94436870783053473</c:v>
                </c:pt>
                <c:pt idx="332">
                  <c:v>0.94466553963440569</c:v>
                </c:pt>
                <c:pt idx="333">
                  <c:v>0.94496175529126569</c:v>
                </c:pt>
                <c:pt idx="334">
                  <c:v>0.94525282181418058</c:v>
                </c:pt>
                <c:pt idx="335">
                  <c:v>0.94554277264723918</c:v>
                </c:pt>
                <c:pt idx="336">
                  <c:v>0.94583090286525906</c:v>
                </c:pt>
                <c:pt idx="337">
                  <c:v>0.94611823407973572</c:v>
                </c:pt>
                <c:pt idx="338">
                  <c:v>0.94640457415880552</c:v>
                </c:pt>
                <c:pt idx="339">
                  <c:v>0.94697459362189584</c:v>
                </c:pt>
                <c:pt idx="340">
                  <c:v>0.9472576555338581</c:v>
                </c:pt>
                <c:pt idx="341">
                  <c:v>0.94754057699080274</c:v>
                </c:pt>
                <c:pt idx="342">
                  <c:v>0.94782321753771237</c:v>
                </c:pt>
                <c:pt idx="343">
                  <c:v>0.94810536516701316</c:v>
                </c:pt>
                <c:pt idx="344">
                  <c:v>0.94838528671679068</c:v>
                </c:pt>
                <c:pt idx="345">
                  <c:v>0.94866502275994125</c:v>
                </c:pt>
                <c:pt idx="346">
                  <c:v>0.94894439043993262</c:v>
                </c:pt>
                <c:pt idx="347">
                  <c:v>0.94922342950818472</c:v>
                </c:pt>
                <c:pt idx="348">
                  <c:v>0.94949361328509485</c:v>
                </c:pt>
                <c:pt idx="349">
                  <c:v>0.94976328029354418</c:v>
                </c:pt>
                <c:pt idx="350">
                  <c:v>0.95002695013775385</c:v>
                </c:pt>
                <c:pt idx="351">
                  <c:v>0.95029008201274534</c:v>
                </c:pt>
                <c:pt idx="352">
                  <c:v>0.95055261099119925</c:v>
                </c:pt>
                <c:pt idx="353">
                  <c:v>0.95081510949356451</c:v>
                </c:pt>
                <c:pt idx="354">
                  <c:v>0.95106640339566217</c:v>
                </c:pt>
                <c:pt idx="355">
                  <c:v>0.95131667171112233</c:v>
                </c:pt>
                <c:pt idx="356">
                  <c:v>0.95156571038265536</c:v>
                </c:pt>
                <c:pt idx="357">
                  <c:v>0.95181425481153226</c:v>
                </c:pt>
                <c:pt idx="358">
                  <c:v>0.95205756927857665</c:v>
                </c:pt>
                <c:pt idx="359">
                  <c:v>0.95230016026977593</c:v>
                </c:pt>
                <c:pt idx="360">
                  <c:v>0.95254086836871166</c:v>
                </c:pt>
                <c:pt idx="361">
                  <c:v>0.95278075891344149</c:v>
                </c:pt>
                <c:pt idx="362">
                  <c:v>0.95301886329436336</c:v>
                </c:pt>
                <c:pt idx="363">
                  <c:v>0.95325685637130908</c:v>
                </c:pt>
                <c:pt idx="364">
                  <c:v>0.95349376688458176</c:v>
                </c:pt>
                <c:pt idx="365">
                  <c:v>0.9539642196408008</c:v>
                </c:pt>
                <c:pt idx="366">
                  <c:v>0.95419847608426089</c:v>
                </c:pt>
                <c:pt idx="367">
                  <c:v>0.95442913104906357</c:v>
                </c:pt>
                <c:pt idx="368">
                  <c:v>0.95465969856074206</c:v>
                </c:pt>
                <c:pt idx="369">
                  <c:v>0.95489013621778174</c:v>
                </c:pt>
                <c:pt idx="370">
                  <c:v>0.95511965429197065</c:v>
                </c:pt>
                <c:pt idx="371">
                  <c:v>0.95534674222934657</c:v>
                </c:pt>
                <c:pt idx="372">
                  <c:v>0.95557214205641727</c:v>
                </c:pt>
                <c:pt idx="373">
                  <c:v>0.95601810661283204</c:v>
                </c:pt>
                <c:pt idx="374">
                  <c:v>0.95624059001071771</c:v>
                </c:pt>
                <c:pt idx="375">
                  <c:v>0.95645955673297545</c:v>
                </c:pt>
                <c:pt idx="376">
                  <c:v>0.95667739716499811</c:v>
                </c:pt>
                <c:pt idx="377">
                  <c:v>0.9568940384291823</c:v>
                </c:pt>
                <c:pt idx="378">
                  <c:v>0.95710920094054031</c:v>
                </c:pt>
                <c:pt idx="379">
                  <c:v>0.95732352999712433</c:v>
                </c:pt>
                <c:pt idx="380">
                  <c:v>0.95753602386314896</c:v>
                </c:pt>
                <c:pt idx="381">
                  <c:v>0.95774649703198722</c:v>
                </c:pt>
                <c:pt idx="382">
                  <c:v>0.95795664158908633</c:v>
                </c:pt>
                <c:pt idx="383">
                  <c:v>0.95816677819590146</c:v>
                </c:pt>
                <c:pt idx="384">
                  <c:v>0.95837631720636829</c:v>
                </c:pt>
                <c:pt idx="385">
                  <c:v>0.95858522151916148</c:v>
                </c:pt>
                <c:pt idx="386">
                  <c:v>0.95879021031707878</c:v>
                </c:pt>
                <c:pt idx="387">
                  <c:v>0.95899334007358461</c:v>
                </c:pt>
                <c:pt idx="388">
                  <c:v>0.95919498577707485</c:v>
                </c:pt>
                <c:pt idx="389">
                  <c:v>0.95939564962048962</c:v>
                </c:pt>
                <c:pt idx="390">
                  <c:v>0.95959592655008252</c:v>
                </c:pt>
                <c:pt idx="391">
                  <c:v>0.9597953421989075</c:v>
                </c:pt>
                <c:pt idx="392">
                  <c:v>0.9599934818271485</c:v>
                </c:pt>
                <c:pt idx="393">
                  <c:v>0.96019033748452154</c:v>
                </c:pt>
                <c:pt idx="394">
                  <c:v>0.96038667107324449</c:v>
                </c:pt>
                <c:pt idx="395">
                  <c:v>0.96058245476732329</c:v>
                </c:pt>
                <c:pt idx="396">
                  <c:v>0.96077291574625612</c:v>
                </c:pt>
                <c:pt idx="397">
                  <c:v>0.96133667171059234</c:v>
                </c:pt>
                <c:pt idx="398">
                  <c:v>0.96152308334486836</c:v>
                </c:pt>
                <c:pt idx="399">
                  <c:v>0.96170948305371839</c:v>
                </c:pt>
                <c:pt idx="400">
                  <c:v>0.96189441593516822</c:v>
                </c:pt>
                <c:pt idx="401">
                  <c:v>0.96207779056095166</c:v>
                </c:pt>
                <c:pt idx="402">
                  <c:v>0.96226049736287811</c:v>
                </c:pt>
                <c:pt idx="403">
                  <c:v>0.96244297625666286</c:v>
                </c:pt>
                <c:pt idx="404">
                  <c:v>0.96262506426148375</c:v>
                </c:pt>
                <c:pt idx="405">
                  <c:v>0.96280714299097325</c:v>
                </c:pt>
                <c:pt idx="406">
                  <c:v>0.96298879903036283</c:v>
                </c:pt>
                <c:pt idx="407">
                  <c:v>0.96317014898381792</c:v>
                </c:pt>
                <c:pt idx="408">
                  <c:v>0.96335113189916111</c:v>
                </c:pt>
                <c:pt idx="409">
                  <c:v>0.96352664501910401</c:v>
                </c:pt>
                <c:pt idx="410">
                  <c:v>0.96370184940301784</c:v>
                </c:pt>
                <c:pt idx="411">
                  <c:v>0.96387633693632324</c:v>
                </c:pt>
                <c:pt idx="412">
                  <c:v>0.96422136601196951</c:v>
                </c:pt>
                <c:pt idx="413">
                  <c:v>0.9643921023362686</c:v>
                </c:pt>
                <c:pt idx="414">
                  <c:v>0.96472681061821985</c:v>
                </c:pt>
                <c:pt idx="415">
                  <c:v>0.96489283904933654</c:v>
                </c:pt>
                <c:pt idx="416">
                  <c:v>0.96505847659148924</c:v>
                </c:pt>
                <c:pt idx="417">
                  <c:v>0.96522376962133483</c:v>
                </c:pt>
                <c:pt idx="418">
                  <c:v>0.96538905867603841</c:v>
                </c:pt>
                <c:pt idx="419">
                  <c:v>0.96555431195446395</c:v>
                </c:pt>
                <c:pt idx="420">
                  <c:v>0.96571948175490729</c:v>
                </c:pt>
                <c:pt idx="421">
                  <c:v>0.96588284419078529</c:v>
                </c:pt>
                <c:pt idx="422">
                  <c:v>0.96604337235041304</c:v>
                </c:pt>
                <c:pt idx="423">
                  <c:v>0.96620309753135558</c:v>
                </c:pt>
                <c:pt idx="424">
                  <c:v>0.96636254312731029</c:v>
                </c:pt>
                <c:pt idx="425">
                  <c:v>0.96652179791644877</c:v>
                </c:pt>
                <c:pt idx="426">
                  <c:v>0.96668059556425656</c:v>
                </c:pt>
                <c:pt idx="427">
                  <c:v>0.96683747984371216</c:v>
                </c:pt>
                <c:pt idx="428">
                  <c:v>0.96699193001121275</c:v>
                </c:pt>
                <c:pt idx="429">
                  <c:v>0.96714577728217577</c:v>
                </c:pt>
                <c:pt idx="430">
                  <c:v>0.96729744485027214</c:v>
                </c:pt>
                <c:pt idx="431">
                  <c:v>0.96744840881823346</c:v>
                </c:pt>
                <c:pt idx="432">
                  <c:v>0.96759852078075814</c:v>
                </c:pt>
                <c:pt idx="433">
                  <c:v>0.96774743092534965</c:v>
                </c:pt>
                <c:pt idx="434">
                  <c:v>0.96789458935736394</c:v>
                </c:pt>
                <c:pt idx="435">
                  <c:v>0.96804161130950261</c:v>
                </c:pt>
                <c:pt idx="436">
                  <c:v>0.96818824237267742</c:v>
                </c:pt>
                <c:pt idx="437">
                  <c:v>0.96833354308832753</c:v>
                </c:pt>
                <c:pt idx="438">
                  <c:v>0.96847848736624442</c:v>
                </c:pt>
                <c:pt idx="439">
                  <c:v>0.96862310038232746</c:v>
                </c:pt>
                <c:pt idx="440">
                  <c:v>0.96876681766641182</c:v>
                </c:pt>
                <c:pt idx="441">
                  <c:v>0.96891012683591693</c:v>
                </c:pt>
                <c:pt idx="442">
                  <c:v>0.96905294706295531</c:v>
                </c:pt>
                <c:pt idx="443">
                  <c:v>0.96919386849716216</c:v>
                </c:pt>
                <c:pt idx="444">
                  <c:v>0.96933223921524847</c:v>
                </c:pt>
                <c:pt idx="445">
                  <c:v>0.96933223921524847</c:v>
                </c:pt>
                <c:pt idx="446">
                  <c:v>0.96947009846506338</c:v>
                </c:pt>
                <c:pt idx="447">
                  <c:v>0.96960784111071274</c:v>
                </c:pt>
                <c:pt idx="448">
                  <c:v>0.96974432231129892</c:v>
                </c:pt>
                <c:pt idx="449">
                  <c:v>0.96987968119679202</c:v>
                </c:pt>
                <c:pt idx="450">
                  <c:v>0.97001496587963443</c:v>
                </c:pt>
                <c:pt idx="451">
                  <c:v>0.97014994580158964</c:v>
                </c:pt>
                <c:pt idx="452">
                  <c:v>0.9702834946724227</c:v>
                </c:pt>
                <c:pt idx="453">
                  <c:v>0.97041576884771918</c:v>
                </c:pt>
                <c:pt idx="454">
                  <c:v>0.97054756733102232</c:v>
                </c:pt>
                <c:pt idx="455">
                  <c:v>0.9706788172447286</c:v>
                </c:pt>
                <c:pt idx="456">
                  <c:v>0.97080937283363122</c:v>
                </c:pt>
                <c:pt idx="457">
                  <c:v>0.97093889091047025</c:v>
                </c:pt>
                <c:pt idx="458">
                  <c:v>0.97106763250957073</c:v>
                </c:pt>
                <c:pt idx="459">
                  <c:v>0.97119445013994032</c:v>
                </c:pt>
                <c:pt idx="460">
                  <c:v>0.9713209100075294</c:v>
                </c:pt>
                <c:pt idx="461">
                  <c:v>0.9714458844970556</c:v>
                </c:pt>
                <c:pt idx="462">
                  <c:v>0.97157081393497235</c:v>
                </c:pt>
                <c:pt idx="463">
                  <c:v>0.97169549426399004</c:v>
                </c:pt>
                <c:pt idx="464">
                  <c:v>0.97181999703666488</c:v>
                </c:pt>
                <c:pt idx="465">
                  <c:v>0.97194265666849622</c:v>
                </c:pt>
                <c:pt idx="466">
                  <c:v>0.97206529509957018</c:v>
                </c:pt>
                <c:pt idx="467">
                  <c:v>0.97218709610072829</c:v>
                </c:pt>
                <c:pt idx="468">
                  <c:v>0.97230879374819423</c:v>
                </c:pt>
                <c:pt idx="469">
                  <c:v>0.97243042514329336</c:v>
                </c:pt>
                <c:pt idx="470">
                  <c:v>0.97255106275289105</c:v>
                </c:pt>
                <c:pt idx="471">
                  <c:v>0.97267166061106869</c:v>
                </c:pt>
                <c:pt idx="472">
                  <c:v>0.97279140646380968</c:v>
                </c:pt>
                <c:pt idx="473">
                  <c:v>0.9729103983646169</c:v>
                </c:pt>
                <c:pt idx="474">
                  <c:v>0.97302783333480503</c:v>
                </c:pt>
                <c:pt idx="475">
                  <c:v>0.97314497811962675</c:v>
                </c:pt>
                <c:pt idx="476">
                  <c:v>0.97326116357017767</c:v>
                </c:pt>
                <c:pt idx="477">
                  <c:v>0.97337678190046906</c:v>
                </c:pt>
                <c:pt idx="478">
                  <c:v>0.97349213389624611</c:v>
                </c:pt>
                <c:pt idx="479">
                  <c:v>0.97360570767849908</c:v>
                </c:pt>
                <c:pt idx="480">
                  <c:v>0.97371858316080639</c:v>
                </c:pt>
                <c:pt idx="481">
                  <c:v>0.97383092332399024</c:v>
                </c:pt>
                <c:pt idx="482">
                  <c:v>0.97394310183139909</c:v>
                </c:pt>
                <c:pt idx="483">
                  <c:v>0.97405473706940049</c:v>
                </c:pt>
                <c:pt idx="484">
                  <c:v>0.97416592576644989</c:v>
                </c:pt>
                <c:pt idx="485">
                  <c:v>0.97427693160696704</c:v>
                </c:pt>
                <c:pt idx="486">
                  <c:v>0.97438760486060305</c:v>
                </c:pt>
                <c:pt idx="487">
                  <c:v>0.97449822908748762</c:v>
                </c:pt>
                <c:pt idx="488">
                  <c:v>0.97460858565481046</c:v>
                </c:pt>
                <c:pt idx="489">
                  <c:v>0.9747185672337374</c:v>
                </c:pt>
                <c:pt idx="490">
                  <c:v>0.97482840968269413</c:v>
                </c:pt>
                <c:pt idx="491">
                  <c:v>0.97493823888117748</c:v>
                </c:pt>
                <c:pt idx="492">
                  <c:v>0.9750466860552901</c:v>
                </c:pt>
                <c:pt idx="493">
                  <c:v>0.9750466860552901</c:v>
                </c:pt>
                <c:pt idx="494">
                  <c:v>0.97515252421119947</c:v>
                </c:pt>
                <c:pt idx="495">
                  <c:v>0.97525827623903205</c:v>
                </c:pt>
                <c:pt idx="496">
                  <c:v>0.97536366652894202</c:v>
                </c:pt>
                <c:pt idx="497">
                  <c:v>0.97546860365266341</c:v>
                </c:pt>
                <c:pt idx="498">
                  <c:v>0.97557343212250325</c:v>
                </c:pt>
                <c:pt idx="499">
                  <c:v>0.97567788692899449</c:v>
                </c:pt>
                <c:pt idx="500">
                  <c:v>0.97578232185977576</c:v>
                </c:pt>
                <c:pt idx="501">
                  <c:v>0.97588673426475225</c:v>
                </c:pt>
                <c:pt idx="502">
                  <c:v>0.97598966526680786</c:v>
                </c:pt>
                <c:pt idx="503">
                  <c:v>0.97609225573169833</c:v>
                </c:pt>
                <c:pt idx="504">
                  <c:v>0.97619449373399758</c:v>
                </c:pt>
                <c:pt idx="505">
                  <c:v>0.97629541861438751</c:v>
                </c:pt>
                <c:pt idx="506">
                  <c:v>0.97639575119861854</c:v>
                </c:pt>
                <c:pt idx="507">
                  <c:v>0.97649497736832458</c:v>
                </c:pt>
                <c:pt idx="508">
                  <c:v>0.97659397827998362</c:v>
                </c:pt>
                <c:pt idx="509">
                  <c:v>0.97669222788980359</c:v>
                </c:pt>
                <c:pt idx="510">
                  <c:v>0.97679009323589627</c:v>
                </c:pt>
                <c:pt idx="511">
                  <c:v>0.97688687204317404</c:v>
                </c:pt>
                <c:pt idx="512">
                  <c:v>0.9769835792978957</c:v>
                </c:pt>
                <c:pt idx="513">
                  <c:v>0.9770793709449086</c:v>
                </c:pt>
                <c:pt idx="514">
                  <c:v>0.97717369973966328</c:v>
                </c:pt>
                <c:pt idx="515">
                  <c:v>0.97726784435283842</c:v>
                </c:pt>
                <c:pt idx="516">
                  <c:v>0.97736054863956001</c:v>
                </c:pt>
                <c:pt idx="517">
                  <c:v>0.97745306344451266</c:v>
                </c:pt>
                <c:pt idx="518">
                  <c:v>0.97754422140099395</c:v>
                </c:pt>
                <c:pt idx="519">
                  <c:v>0.97763516602485423</c:v>
                </c:pt>
                <c:pt idx="520">
                  <c:v>0.97772606427205777</c:v>
                </c:pt>
                <c:pt idx="521">
                  <c:v>0.97781622579294292</c:v>
                </c:pt>
                <c:pt idx="522">
                  <c:v>0.97799275257409735</c:v>
                </c:pt>
                <c:pt idx="523">
                  <c:v>0.97808037927942992</c:v>
                </c:pt>
                <c:pt idx="524">
                  <c:v>0.97816798080886314</c:v>
                </c:pt>
                <c:pt idx="525">
                  <c:v>0.97825552006107164</c:v>
                </c:pt>
                <c:pt idx="526">
                  <c:v>0.97834244184122188</c:v>
                </c:pt>
                <c:pt idx="527">
                  <c:v>0.97842932254490467</c:v>
                </c:pt>
                <c:pt idx="528">
                  <c:v>0.97851601111672382</c:v>
                </c:pt>
                <c:pt idx="529">
                  <c:v>0.97860190996033114</c:v>
                </c:pt>
                <c:pt idx="530">
                  <c:v>0.97868763787283219</c:v>
                </c:pt>
                <c:pt idx="531">
                  <c:v>0.97877248595390265</c:v>
                </c:pt>
                <c:pt idx="532">
                  <c:v>0.97885657478284993</c:v>
                </c:pt>
                <c:pt idx="533">
                  <c:v>0.97893973872875717</c:v>
                </c:pt>
                <c:pt idx="534">
                  <c:v>0.97902222557547602</c:v>
                </c:pt>
                <c:pt idx="535">
                  <c:v>0.97910465942030145</c:v>
                </c:pt>
                <c:pt idx="536">
                  <c:v>0.97918637906461314</c:v>
                </c:pt>
                <c:pt idx="537">
                  <c:v>0.97926804305693682</c:v>
                </c:pt>
                <c:pt idx="538">
                  <c:v>0.97934888419486521</c:v>
                </c:pt>
                <c:pt idx="539">
                  <c:v>0.97942960607853347</c:v>
                </c:pt>
                <c:pt idx="540">
                  <c:v>0.97950998875008388</c:v>
                </c:pt>
                <c:pt idx="541">
                  <c:v>0.97958916960370113</c:v>
                </c:pt>
                <c:pt idx="542">
                  <c:v>0.97966786018980423</c:v>
                </c:pt>
                <c:pt idx="543">
                  <c:v>0.97974637719470647</c:v>
                </c:pt>
                <c:pt idx="544">
                  <c:v>0.97982442380780466</c:v>
                </c:pt>
                <c:pt idx="545">
                  <c:v>0.97990199605395678</c:v>
                </c:pt>
                <c:pt idx="546">
                  <c:v>0.97997954709935153</c:v>
                </c:pt>
                <c:pt idx="547">
                  <c:v>0.98005666485426768</c:v>
                </c:pt>
                <c:pt idx="548">
                  <c:v>0.98013336256917849</c:v>
                </c:pt>
                <c:pt idx="549">
                  <c:v>0.98020986550213096</c:v>
                </c:pt>
                <c:pt idx="550">
                  <c:v>0.98028633530890008</c:v>
                </c:pt>
                <c:pt idx="551">
                  <c:v>0.98036275476387047</c:v>
                </c:pt>
                <c:pt idx="552">
                  <c:v>0.98043858457277666</c:v>
                </c:pt>
                <c:pt idx="553">
                  <c:v>0.98051434150407935</c:v>
                </c:pt>
                <c:pt idx="554">
                  <c:v>0.98059004013329931</c:v>
                </c:pt>
                <c:pt idx="555">
                  <c:v>0.98066441769032597</c:v>
                </c:pt>
                <c:pt idx="556">
                  <c:v>0.9808123512750313</c:v>
                </c:pt>
                <c:pt idx="557">
                  <c:v>0.98088592717842005</c:v>
                </c:pt>
                <c:pt idx="558">
                  <c:v>0.98095928179890379</c:v>
                </c:pt>
                <c:pt idx="559">
                  <c:v>0.98103260329320419</c:v>
                </c:pt>
                <c:pt idx="560">
                  <c:v>0.9811056120763334</c:v>
                </c:pt>
                <c:pt idx="561">
                  <c:v>0.98117828959762887</c:v>
                </c:pt>
                <c:pt idx="562">
                  <c:v>0.98132168224511607</c:v>
                </c:pt>
                <c:pt idx="563">
                  <c:v>0.98139253517623071</c:v>
                </c:pt>
                <c:pt idx="564">
                  <c:v>0.9814633483559253</c:v>
                </c:pt>
                <c:pt idx="565">
                  <c:v>0.98153343805977489</c:v>
                </c:pt>
                <c:pt idx="566">
                  <c:v>0.98160337538318088</c:v>
                </c:pt>
                <c:pt idx="567">
                  <c:v>0.98167317755175865</c:v>
                </c:pt>
                <c:pt idx="568">
                  <c:v>0.98174270278544329</c:v>
                </c:pt>
                <c:pt idx="569">
                  <c:v>0.98181206503830576</c:v>
                </c:pt>
                <c:pt idx="570">
                  <c:v>0.98188057131058959</c:v>
                </c:pt>
                <c:pt idx="571">
                  <c:v>0.98201716911534132</c:v>
                </c:pt>
                <c:pt idx="572">
                  <c:v>0.98208465377612963</c:v>
                </c:pt>
                <c:pt idx="573">
                  <c:v>0.98215075641254712</c:v>
                </c:pt>
                <c:pt idx="574">
                  <c:v>0.9822167954466926</c:v>
                </c:pt>
                <c:pt idx="575">
                  <c:v>0.98228254562051898</c:v>
                </c:pt>
                <c:pt idx="576">
                  <c:v>0.98234791285566536</c:v>
                </c:pt>
                <c:pt idx="577">
                  <c:v>0.9824778721732671</c:v>
                </c:pt>
                <c:pt idx="578">
                  <c:v>0.98254266433786996</c:v>
                </c:pt>
                <c:pt idx="579">
                  <c:v>0.98260734122335469</c:v>
                </c:pt>
                <c:pt idx="580">
                  <c:v>0.98267199955817675</c:v>
                </c:pt>
                <c:pt idx="581">
                  <c:v>0.98273587611507096</c:v>
                </c:pt>
                <c:pt idx="582">
                  <c:v>0.98279972484597111</c:v>
                </c:pt>
                <c:pt idx="583">
                  <c:v>0.98286356165144528</c:v>
                </c:pt>
                <c:pt idx="584">
                  <c:v>0.98292663787974888</c:v>
                </c:pt>
                <c:pt idx="585">
                  <c:v>0.98298964918073306</c:v>
                </c:pt>
                <c:pt idx="586">
                  <c:v>0.983052252367138</c:v>
                </c:pt>
                <c:pt idx="587">
                  <c:v>0.98311480785183891</c:v>
                </c:pt>
                <c:pt idx="588">
                  <c:v>0.98317712217792474</c:v>
                </c:pt>
                <c:pt idx="589">
                  <c:v>0.98323898996305858</c:v>
                </c:pt>
                <c:pt idx="590">
                  <c:v>0.98330068151689676</c:v>
                </c:pt>
                <c:pt idx="591">
                  <c:v>0.98336157141709712</c:v>
                </c:pt>
                <c:pt idx="592">
                  <c:v>0.9834220850038542</c:v>
                </c:pt>
                <c:pt idx="593">
                  <c:v>0.98348257208966461</c:v>
                </c:pt>
                <c:pt idx="594">
                  <c:v>0.98354303664967035</c:v>
                </c:pt>
                <c:pt idx="595">
                  <c:v>0.98360334352904311</c:v>
                </c:pt>
                <c:pt idx="596">
                  <c:v>0.98366299318493755</c:v>
                </c:pt>
                <c:pt idx="597">
                  <c:v>0.98372248516019911</c:v>
                </c:pt>
                <c:pt idx="598">
                  <c:v>0.98378178235350244</c:v>
                </c:pt>
                <c:pt idx="599">
                  <c:v>0.98384079598667595</c:v>
                </c:pt>
                <c:pt idx="600">
                  <c:v>0.98389973806729336</c:v>
                </c:pt>
                <c:pt idx="601">
                  <c:v>0.98395867484772148</c:v>
                </c:pt>
                <c:pt idx="602">
                  <c:v>0.98401735854410854</c:v>
                </c:pt>
                <c:pt idx="603">
                  <c:v>0.98407598791355477</c:v>
                </c:pt>
                <c:pt idx="604">
                  <c:v>0.98413397330999608</c:v>
                </c:pt>
                <c:pt idx="605">
                  <c:v>0.98419137171046789</c:v>
                </c:pt>
                <c:pt idx="606">
                  <c:v>0.98424841367320648</c:v>
                </c:pt>
                <c:pt idx="607">
                  <c:v>0.98430496669347833</c:v>
                </c:pt>
                <c:pt idx="608">
                  <c:v>0.9843611394251649</c:v>
                </c:pt>
                <c:pt idx="609">
                  <c:v>0.98441695041892896</c:v>
                </c:pt>
                <c:pt idx="610">
                  <c:v>0.98447234667287709</c:v>
                </c:pt>
                <c:pt idx="611">
                  <c:v>0.98452736661338192</c:v>
                </c:pt>
                <c:pt idx="612">
                  <c:v>0.98458147359627268</c:v>
                </c:pt>
                <c:pt idx="613">
                  <c:v>0.98463540169777319</c:v>
                </c:pt>
                <c:pt idx="614">
                  <c:v>0.98468925294652832</c:v>
                </c:pt>
                <c:pt idx="615">
                  <c:v>0.98474303794291662</c:v>
                </c:pt>
                <c:pt idx="616">
                  <c:v>0.98479678981312158</c:v>
                </c:pt>
                <c:pt idx="617">
                  <c:v>0.98485052445771115</c:v>
                </c:pt>
                <c:pt idx="618">
                  <c:v>0.98490408684614716</c:v>
                </c:pt>
                <c:pt idx="619">
                  <c:v>0.98495756708164839</c:v>
                </c:pt>
                <c:pt idx="620">
                  <c:v>0.9850109823898302</c:v>
                </c:pt>
                <c:pt idx="621">
                  <c:v>0.98506425856804181</c:v>
                </c:pt>
                <c:pt idx="622">
                  <c:v>0.9851170974806327</c:v>
                </c:pt>
                <c:pt idx="623">
                  <c:v>0.98516970053479791</c:v>
                </c:pt>
                <c:pt idx="624">
                  <c:v>0.98522201472864401</c:v>
                </c:pt>
                <c:pt idx="625">
                  <c:v>0.98527400163579826</c:v>
                </c:pt>
                <c:pt idx="626">
                  <c:v>0.98532558970370465</c:v>
                </c:pt>
                <c:pt idx="627">
                  <c:v>0.98537684783482449</c:v>
                </c:pt>
                <c:pt idx="628">
                  <c:v>0.98542790985893869</c:v>
                </c:pt>
                <c:pt idx="629">
                  <c:v>0.98547877047585797</c:v>
                </c:pt>
                <c:pt idx="630">
                  <c:v>0.98552928923056471</c:v>
                </c:pt>
                <c:pt idx="631">
                  <c:v>0.98562984044760604</c:v>
                </c:pt>
                <c:pt idx="632">
                  <c:v>0.985680055766473</c:v>
                </c:pt>
                <c:pt idx="633">
                  <c:v>0.98573002065139359</c:v>
                </c:pt>
                <c:pt idx="634">
                  <c:v>0.98577972582703643</c:v>
                </c:pt>
                <c:pt idx="635">
                  <c:v>0.98582920706967958</c:v>
                </c:pt>
                <c:pt idx="636">
                  <c:v>0.985878633985382</c:v>
                </c:pt>
                <c:pt idx="637">
                  <c:v>0.98592773626448726</c:v>
                </c:pt>
                <c:pt idx="638">
                  <c:v>0.98597672326447439</c:v>
                </c:pt>
                <c:pt idx="639">
                  <c:v>0.98602567978837274</c:v>
                </c:pt>
                <c:pt idx="640">
                  <c:v>0.98607452765838965</c:v>
                </c:pt>
                <c:pt idx="641">
                  <c:v>0.98612288658593983</c:v>
                </c:pt>
                <c:pt idx="642">
                  <c:v>0.98617099640459094</c:v>
                </c:pt>
                <c:pt idx="643">
                  <c:v>0.98621778647609604</c:v>
                </c:pt>
                <c:pt idx="644">
                  <c:v>0.9862642333603413</c:v>
                </c:pt>
                <c:pt idx="645">
                  <c:v>0.98631062856774054</c:v>
                </c:pt>
                <c:pt idx="646">
                  <c:v>0.986356787916714</c:v>
                </c:pt>
                <c:pt idx="647">
                  <c:v>0.98640293931540346</c:v>
                </c:pt>
                <c:pt idx="648">
                  <c:v>0.9864486627238036</c:v>
                </c:pt>
                <c:pt idx="649">
                  <c:v>0.98649419797548221</c:v>
                </c:pt>
                <c:pt idx="650">
                  <c:v>0.9865395265197765</c:v>
                </c:pt>
                <c:pt idx="651">
                  <c:v>0.98658471195895858</c:v>
                </c:pt>
                <c:pt idx="652">
                  <c:v>0.98662958601201678</c:v>
                </c:pt>
                <c:pt idx="653">
                  <c:v>0.98667443488917561</c:v>
                </c:pt>
                <c:pt idx="654">
                  <c:v>0.98671926124052978</c:v>
                </c:pt>
                <c:pt idx="655">
                  <c:v>0.98676391136058839</c:v>
                </c:pt>
                <c:pt idx="656">
                  <c:v>0.98680851112884815</c:v>
                </c:pt>
                <c:pt idx="657">
                  <c:v>0.98694174463841544</c:v>
                </c:pt>
                <c:pt idx="658">
                  <c:v>0.98698590051581792</c:v>
                </c:pt>
                <c:pt idx="659">
                  <c:v>0.98702998484066429</c:v>
                </c:pt>
                <c:pt idx="660">
                  <c:v>0.98707402808904332</c:v>
                </c:pt>
                <c:pt idx="661">
                  <c:v>0.9871179613584935</c:v>
                </c:pt>
                <c:pt idx="662">
                  <c:v>0.98716186812699691</c:v>
                </c:pt>
                <c:pt idx="663">
                  <c:v>0.98720577357045303</c:v>
                </c:pt>
                <c:pt idx="664">
                  <c:v>0.98724918212115842</c:v>
                </c:pt>
                <c:pt idx="665">
                  <c:v>0.987292524419497</c:v>
                </c:pt>
                <c:pt idx="666">
                  <c:v>0.98733579251518477</c:v>
                </c:pt>
                <c:pt idx="667">
                  <c:v>0.98737870549818674</c:v>
                </c:pt>
                <c:pt idx="668">
                  <c:v>0.98742159993052603</c:v>
                </c:pt>
                <c:pt idx="669">
                  <c:v>0.98746442016021452</c:v>
                </c:pt>
                <c:pt idx="670">
                  <c:v>0.9875071675122995</c:v>
                </c:pt>
                <c:pt idx="671">
                  <c:v>0.98754987378791714</c:v>
                </c:pt>
                <c:pt idx="672">
                  <c:v>0.98759207787059466</c:v>
                </c:pt>
                <c:pt idx="673">
                  <c:v>0.98763425677737282</c:v>
                </c:pt>
                <c:pt idx="674">
                  <c:v>0.98767635485626359</c:v>
                </c:pt>
                <c:pt idx="675">
                  <c:v>0.98771837078221958</c:v>
                </c:pt>
                <c:pt idx="676">
                  <c:v>0.98776026215372603</c:v>
                </c:pt>
                <c:pt idx="677">
                  <c:v>0.98780157845468886</c:v>
                </c:pt>
                <c:pt idx="678">
                  <c:v>0.98784256084372324</c:v>
                </c:pt>
                <c:pt idx="679">
                  <c:v>0.98788344517925475</c:v>
                </c:pt>
                <c:pt idx="680">
                  <c:v>0.98792400355314181</c:v>
                </c:pt>
                <c:pt idx="681">
                  <c:v>0.98796454867655548</c:v>
                </c:pt>
                <c:pt idx="682">
                  <c:v>0.98800496924551973</c:v>
                </c:pt>
                <c:pt idx="683">
                  <c:v>0.98808539961877406</c:v>
                </c:pt>
                <c:pt idx="684">
                  <c:v>0.98812542532363234</c:v>
                </c:pt>
                <c:pt idx="685">
                  <c:v>0.9881653967015499</c:v>
                </c:pt>
                <c:pt idx="686">
                  <c:v>0.98820520907378717</c:v>
                </c:pt>
                <c:pt idx="687">
                  <c:v>0.98824488364110152</c:v>
                </c:pt>
                <c:pt idx="688">
                  <c:v>0.9882845423078479</c:v>
                </c:pt>
                <c:pt idx="689">
                  <c:v>0.98832412279680149</c:v>
                </c:pt>
                <c:pt idx="690">
                  <c:v>0.98836352705445951</c:v>
                </c:pt>
                <c:pt idx="691">
                  <c:v>0.98840288891060279</c:v>
                </c:pt>
                <c:pt idx="692">
                  <c:v>0.9884421593384799</c:v>
                </c:pt>
                <c:pt idx="693">
                  <c:v>0.98848138736484226</c:v>
                </c:pt>
                <c:pt idx="694">
                  <c:v>0.98852050011208648</c:v>
                </c:pt>
                <c:pt idx="695">
                  <c:v>0.98855956780772125</c:v>
                </c:pt>
                <c:pt idx="696">
                  <c:v>0.98859851359900119</c:v>
                </c:pt>
                <c:pt idx="697">
                  <c:v>0.98863695984743571</c:v>
                </c:pt>
                <c:pt idx="698">
                  <c:v>0.98867523648981137</c:v>
                </c:pt>
                <c:pt idx="699">
                  <c:v>0.98871349590657165</c:v>
                </c:pt>
                <c:pt idx="700">
                  <c:v>0.98875156849165768</c:v>
                </c:pt>
                <c:pt idx="701">
                  <c:v>0.98878943039421741</c:v>
                </c:pt>
                <c:pt idx="702">
                  <c:v>0.98886456985346183</c:v>
                </c:pt>
                <c:pt idx="703">
                  <c:v>0.98890167912913507</c:v>
                </c:pt>
                <c:pt idx="704">
                  <c:v>0.98893831403786225</c:v>
                </c:pt>
                <c:pt idx="705">
                  <c:v>0.98897430099844241</c:v>
                </c:pt>
                <c:pt idx="706">
                  <c:v>0.98901006005088088</c:v>
                </c:pt>
                <c:pt idx="707">
                  <c:v>0.98904568792363323</c:v>
                </c:pt>
                <c:pt idx="708">
                  <c:v>0.9890811541406106</c:v>
                </c:pt>
                <c:pt idx="709">
                  <c:v>0.98911661903254067</c:v>
                </c:pt>
                <c:pt idx="710">
                  <c:v>0.98915181228976701</c:v>
                </c:pt>
                <c:pt idx="711">
                  <c:v>0.98918699494661466</c:v>
                </c:pt>
                <c:pt idx="712">
                  <c:v>0.98922209677557482</c:v>
                </c:pt>
                <c:pt idx="713">
                  <c:v>0.98925709790093752</c:v>
                </c:pt>
                <c:pt idx="714">
                  <c:v>0.98929199567260806</c:v>
                </c:pt>
                <c:pt idx="715">
                  <c:v>0.98932666421108961</c:v>
                </c:pt>
                <c:pt idx="716">
                  <c:v>0.98936114061770752</c:v>
                </c:pt>
                <c:pt idx="717">
                  <c:v>0.98939544079302988</c:v>
                </c:pt>
                <c:pt idx="718">
                  <c:v>0.98942964954008605</c:v>
                </c:pt>
                <c:pt idx="719">
                  <c:v>0.98946383443629016</c:v>
                </c:pt>
                <c:pt idx="720">
                  <c:v>0.98949801535735227</c:v>
                </c:pt>
                <c:pt idx="721">
                  <c:v>0.98953214327652095</c:v>
                </c:pt>
                <c:pt idx="722">
                  <c:v>0.98956616254180818</c:v>
                </c:pt>
                <c:pt idx="723">
                  <c:v>0.9896340831431697</c:v>
                </c:pt>
                <c:pt idx="724">
                  <c:v>0.98966762671646358</c:v>
                </c:pt>
                <c:pt idx="725">
                  <c:v>0.9897011305383373</c:v>
                </c:pt>
                <c:pt idx="726">
                  <c:v>0.98976771284189025</c:v>
                </c:pt>
                <c:pt idx="727">
                  <c:v>0.98980087082640955</c:v>
                </c:pt>
                <c:pt idx="728">
                  <c:v>0.98983400098493479</c:v>
                </c:pt>
                <c:pt idx="729">
                  <c:v>0.98990001484318091</c:v>
                </c:pt>
                <c:pt idx="730">
                  <c:v>0.98993289456775979</c:v>
                </c:pt>
                <c:pt idx="731">
                  <c:v>0.9899657504414866</c:v>
                </c:pt>
                <c:pt idx="732">
                  <c:v>0.99003105407436098</c:v>
                </c:pt>
                <c:pt idx="733">
                  <c:v>0.99006367276461471</c:v>
                </c:pt>
                <c:pt idx="734">
                  <c:v>0.99009607679720013</c:v>
                </c:pt>
                <c:pt idx="735">
                  <c:v>0.99012818004404046</c:v>
                </c:pt>
                <c:pt idx="736">
                  <c:v>0.99016027136545481</c:v>
                </c:pt>
                <c:pt idx="737">
                  <c:v>0.99022437583049072</c:v>
                </c:pt>
                <c:pt idx="738">
                  <c:v>0.99025627767013613</c:v>
                </c:pt>
                <c:pt idx="739">
                  <c:v>0.99028812385779341</c:v>
                </c:pt>
                <c:pt idx="740">
                  <c:v>0.99031995812002471</c:v>
                </c:pt>
                <c:pt idx="741">
                  <c:v>0.99035175793102526</c:v>
                </c:pt>
                <c:pt idx="742">
                  <c:v>0.99038343981281296</c:v>
                </c:pt>
                <c:pt idx="743">
                  <c:v>0.99041497461434647</c:v>
                </c:pt>
                <c:pt idx="744">
                  <c:v>0.99044638618647773</c:v>
                </c:pt>
                <c:pt idx="745">
                  <c:v>0.99047773680643159</c:v>
                </c:pt>
                <c:pt idx="746">
                  <c:v>0.99050888999433251</c:v>
                </c:pt>
                <c:pt idx="747">
                  <c:v>0.99053979407333437</c:v>
                </c:pt>
                <c:pt idx="748">
                  <c:v>0.99057069020205224</c:v>
                </c:pt>
                <c:pt idx="749">
                  <c:v>0.99060145382603659</c:v>
                </c:pt>
                <c:pt idx="750">
                  <c:v>0.99063201206768392</c:v>
                </c:pt>
                <c:pt idx="751">
                  <c:v>0.99066255043362128</c:v>
                </c:pt>
                <c:pt idx="752">
                  <c:v>0.99069299737129246</c:v>
                </c:pt>
                <c:pt idx="753">
                  <c:v>0.99072340588259089</c:v>
                </c:pt>
                <c:pt idx="754">
                  <c:v>0.99075379319313195</c:v>
                </c:pt>
                <c:pt idx="755">
                  <c:v>0.9907840413737028</c:v>
                </c:pt>
                <c:pt idx="756">
                  <c:v>0.99081418090039219</c:v>
                </c:pt>
                <c:pt idx="757">
                  <c:v>0.99084429790127693</c:v>
                </c:pt>
                <c:pt idx="758">
                  <c:v>0.99087439105130959</c:v>
                </c:pt>
                <c:pt idx="759">
                  <c:v>0.99093410828461814</c:v>
                </c:pt>
                <c:pt idx="760">
                  <c:v>0.99096357866240314</c:v>
                </c:pt>
                <c:pt idx="761">
                  <c:v>0.99099297616258475</c:v>
                </c:pt>
                <c:pt idx="762">
                  <c:v>0.99102229415992626</c:v>
                </c:pt>
                <c:pt idx="763">
                  <c:v>0.99105147170225016</c:v>
                </c:pt>
                <c:pt idx="764">
                  <c:v>0.99108058829239665</c:v>
                </c:pt>
                <c:pt idx="765">
                  <c:v>0.99110927821730122</c:v>
                </c:pt>
                <c:pt idx="766">
                  <c:v>0.99113768458207596</c:v>
                </c:pt>
                <c:pt idx="767">
                  <c:v>0.99119378841130101</c:v>
                </c:pt>
                <c:pt idx="768">
                  <c:v>0.99122171245884572</c:v>
                </c:pt>
                <c:pt idx="769">
                  <c:v>0.9912495729041183</c:v>
                </c:pt>
                <c:pt idx="770">
                  <c:v>0.99127711931317242</c:v>
                </c:pt>
                <c:pt idx="771">
                  <c:v>0.99130465644689525</c:v>
                </c:pt>
                <c:pt idx="772">
                  <c:v>0.9913321829802394</c:v>
                </c:pt>
                <c:pt idx="773">
                  <c:v>0.99135970553844155</c:v>
                </c:pt>
                <c:pt idx="774">
                  <c:v>0.9913872241215016</c:v>
                </c:pt>
                <c:pt idx="775">
                  <c:v>0.99141458899907076</c:v>
                </c:pt>
                <c:pt idx="776">
                  <c:v>0.99144195122654533</c:v>
                </c:pt>
                <c:pt idx="777">
                  <c:v>0.99146930285364121</c:v>
                </c:pt>
                <c:pt idx="778">
                  <c:v>0.99149655245209223</c:v>
                </c:pt>
                <c:pt idx="779">
                  <c:v>0.9915237569989338</c:v>
                </c:pt>
                <c:pt idx="780">
                  <c:v>0.99155079193971651</c:v>
                </c:pt>
                <c:pt idx="781">
                  <c:v>0.9915777010010024</c:v>
                </c:pt>
                <c:pt idx="782">
                  <c:v>0.99160456368563155</c:v>
                </c:pt>
                <c:pt idx="783">
                  <c:v>0.99163111365908951</c:v>
                </c:pt>
                <c:pt idx="784">
                  <c:v>0.99165755365361863</c:v>
                </c:pt>
                <c:pt idx="785">
                  <c:v>0.99168372466353871</c:v>
                </c:pt>
                <c:pt idx="786">
                  <c:v>0.9917096677653171</c:v>
                </c:pt>
                <c:pt idx="787">
                  <c:v>0.99173556979062816</c:v>
                </c:pt>
                <c:pt idx="788">
                  <c:v>0.99176124258275011</c:v>
                </c:pt>
                <c:pt idx="789">
                  <c:v>0.9917867470938605</c:v>
                </c:pt>
                <c:pt idx="790">
                  <c:v>0.99181217342717809</c:v>
                </c:pt>
                <c:pt idx="791">
                  <c:v>0.99186273855854157</c:v>
                </c:pt>
                <c:pt idx="792">
                  <c:v>0.9918879144579128</c:v>
                </c:pt>
                <c:pt idx="793">
                  <c:v>0.99191308770718933</c:v>
                </c:pt>
                <c:pt idx="794">
                  <c:v>0.99193821855495112</c:v>
                </c:pt>
                <c:pt idx="795">
                  <c:v>0.9919632884505355</c:v>
                </c:pt>
                <c:pt idx="796">
                  <c:v>0.99198802973438072</c:v>
                </c:pt>
                <c:pt idx="797">
                  <c:v>0.99201271536623792</c:v>
                </c:pt>
                <c:pt idx="798">
                  <c:v>0.99203737847229034</c:v>
                </c:pt>
                <c:pt idx="799">
                  <c:v>0.99211075031838947</c:v>
                </c:pt>
                <c:pt idx="800">
                  <c:v>0.99213504903642469</c:v>
                </c:pt>
                <c:pt idx="801">
                  <c:v>0.99215927752695121</c:v>
                </c:pt>
                <c:pt idx="802">
                  <c:v>0.99218334701179745</c:v>
                </c:pt>
                <c:pt idx="803">
                  <c:v>0.99223099836407058</c:v>
                </c:pt>
                <c:pt idx="804">
                  <c:v>0.99225473658708296</c:v>
                </c:pt>
                <c:pt idx="805">
                  <c:v>0.99227847083495335</c:v>
                </c:pt>
                <c:pt idx="806">
                  <c:v>0.99230214148055162</c:v>
                </c:pt>
                <c:pt idx="807">
                  <c:v>0.99232547158898476</c:v>
                </c:pt>
                <c:pt idx="808">
                  <c:v>0.99234877387142384</c:v>
                </c:pt>
                <c:pt idx="809">
                  <c:v>0.99237205892824754</c:v>
                </c:pt>
                <c:pt idx="810">
                  <c:v>0.99241831103053457</c:v>
                </c:pt>
                <c:pt idx="811">
                  <c:v>0.99244121049858369</c:v>
                </c:pt>
                <c:pt idx="812">
                  <c:v>0.99246400528789336</c:v>
                </c:pt>
                <c:pt idx="813">
                  <c:v>0.99248676960111426</c:v>
                </c:pt>
                <c:pt idx="814">
                  <c:v>0.99250949813805711</c:v>
                </c:pt>
                <c:pt idx="815">
                  <c:v>0.99253222137481067</c:v>
                </c:pt>
                <c:pt idx="816">
                  <c:v>0.99255492871099615</c:v>
                </c:pt>
                <c:pt idx="817">
                  <c:v>0.99260029833175778</c:v>
                </c:pt>
                <c:pt idx="818">
                  <c:v>0.99262286786302045</c:v>
                </c:pt>
                <c:pt idx="819">
                  <c:v>0.99264523996223009</c:v>
                </c:pt>
                <c:pt idx="820">
                  <c:v>0.99266748088175361</c:v>
                </c:pt>
                <c:pt idx="821">
                  <c:v>0.99268962639786895</c:v>
                </c:pt>
                <c:pt idx="822">
                  <c:v>0.9927116963862862</c:v>
                </c:pt>
                <c:pt idx="823">
                  <c:v>0.99273373987375668</c:v>
                </c:pt>
                <c:pt idx="824">
                  <c:v>0.99275577673599058</c:v>
                </c:pt>
                <c:pt idx="825">
                  <c:v>0.99277759629046147</c:v>
                </c:pt>
                <c:pt idx="826">
                  <c:v>0.99279932309161889</c:v>
                </c:pt>
                <c:pt idx="827">
                  <c:v>0.99282095051422614</c:v>
                </c:pt>
                <c:pt idx="828">
                  <c:v>0.99284252758503466</c:v>
                </c:pt>
                <c:pt idx="829">
                  <c:v>0.99286402515300298</c:v>
                </c:pt>
                <c:pt idx="830">
                  <c:v>0.99288551344564002</c:v>
                </c:pt>
                <c:pt idx="831">
                  <c:v>0.99292817996983762</c:v>
                </c:pt>
                <c:pt idx="832">
                  <c:v>0.99294932375016742</c:v>
                </c:pt>
                <c:pt idx="833">
                  <c:v>0.99297046753049723</c:v>
                </c:pt>
                <c:pt idx="834">
                  <c:v>0.99305431917597131</c:v>
                </c:pt>
                <c:pt idx="835">
                  <c:v>0.99307497136373979</c:v>
                </c:pt>
                <c:pt idx="836">
                  <c:v>0.99309560500084548</c:v>
                </c:pt>
                <c:pt idx="837">
                  <c:v>0.99313654896350712</c:v>
                </c:pt>
                <c:pt idx="838">
                  <c:v>0.99315687386458373</c:v>
                </c:pt>
                <c:pt idx="839">
                  <c:v>0.99317706758597413</c:v>
                </c:pt>
                <c:pt idx="840">
                  <c:v>0.99321730662345342</c:v>
                </c:pt>
                <c:pt idx="841">
                  <c:v>0.9932372154596667</c:v>
                </c:pt>
                <c:pt idx="842">
                  <c:v>0.99325709249474392</c:v>
                </c:pt>
                <c:pt idx="843">
                  <c:v>0.99327692447821181</c:v>
                </c:pt>
                <c:pt idx="844">
                  <c:v>0.99329666900855551</c:v>
                </c:pt>
                <c:pt idx="845">
                  <c:v>0.99331628765940239</c:v>
                </c:pt>
                <c:pt idx="846">
                  <c:v>0.9933553288540905</c:v>
                </c:pt>
                <c:pt idx="847">
                  <c:v>0.99337471562165369</c:v>
                </c:pt>
                <c:pt idx="848">
                  <c:v>0.99339389435678527</c:v>
                </c:pt>
                <c:pt idx="849">
                  <c:v>0.9934130280403074</c:v>
                </c:pt>
                <c:pt idx="850">
                  <c:v>0.99343211932231479</c:v>
                </c:pt>
                <c:pt idx="851">
                  <c:v>0.99345113507662408</c:v>
                </c:pt>
                <c:pt idx="852">
                  <c:v>0.99347009915408735</c:v>
                </c:pt>
                <c:pt idx="853">
                  <c:v>0.99348901950498847</c:v>
                </c:pt>
                <c:pt idx="854">
                  <c:v>0.99350791467999022</c:v>
                </c:pt>
                <c:pt idx="855">
                  <c:v>0.99352676215328795</c:v>
                </c:pt>
                <c:pt idx="856">
                  <c:v>0.99354553939907686</c:v>
                </c:pt>
                <c:pt idx="857">
                  <c:v>0.99356431531981848</c:v>
                </c:pt>
                <c:pt idx="858">
                  <c:v>0.99358301306276731</c:v>
                </c:pt>
                <c:pt idx="859">
                  <c:v>0.99360170418047944</c:v>
                </c:pt>
                <c:pt idx="860">
                  <c:v>0.99362031712039878</c:v>
                </c:pt>
                <c:pt idx="861">
                  <c:v>0.99365747542282346</c:v>
                </c:pt>
                <c:pt idx="862">
                  <c:v>0.99367600488476071</c:v>
                </c:pt>
                <c:pt idx="863">
                  <c:v>0.99369448001975724</c:v>
                </c:pt>
                <c:pt idx="864">
                  <c:v>0.99371278952383679</c:v>
                </c:pt>
                <c:pt idx="865">
                  <c:v>0.99373108710249036</c:v>
                </c:pt>
                <c:pt idx="866">
                  <c:v>0.99374938070600194</c:v>
                </c:pt>
                <c:pt idx="867">
                  <c:v>0.99376767165941882</c:v>
                </c:pt>
                <c:pt idx="868">
                  <c:v>0.99378595068740971</c:v>
                </c:pt>
                <c:pt idx="869">
                  <c:v>0.99380420586454854</c:v>
                </c:pt>
                <c:pt idx="870">
                  <c:v>0.99382244381607199</c:v>
                </c:pt>
                <c:pt idx="871">
                  <c:v>0.9938405545630512</c:v>
                </c:pt>
                <c:pt idx="872">
                  <c:v>0.99385861495823169</c:v>
                </c:pt>
                <c:pt idx="873">
                  <c:v>0.99387659452552479</c:v>
                </c:pt>
                <c:pt idx="874">
                  <c:v>0.99389444423817896</c:v>
                </c:pt>
                <c:pt idx="875">
                  <c:v>0.99391228732559644</c:v>
                </c:pt>
                <c:pt idx="876">
                  <c:v>0.99393005753541053</c:v>
                </c:pt>
                <c:pt idx="877">
                  <c:v>0.99394781051960923</c:v>
                </c:pt>
                <c:pt idx="878">
                  <c:v>0.99396528524386751</c:v>
                </c:pt>
                <c:pt idx="879">
                  <c:v>0.99398271889165846</c:v>
                </c:pt>
                <c:pt idx="880">
                  <c:v>0.99400014458916541</c:v>
                </c:pt>
                <c:pt idx="881">
                  <c:v>0.99401751728477894</c:v>
                </c:pt>
                <c:pt idx="882">
                  <c:v>0.99403483035326234</c:v>
                </c:pt>
                <c:pt idx="883">
                  <c:v>0.99405209837013631</c:v>
                </c:pt>
                <c:pt idx="884">
                  <c:v>0.99406932663559022</c:v>
                </c:pt>
                <c:pt idx="885">
                  <c:v>0.99408645287239938</c:v>
                </c:pt>
                <c:pt idx="886">
                  <c:v>0.99413705112994621</c:v>
                </c:pt>
                <c:pt idx="887">
                  <c:v>0.99415383152940084</c:v>
                </c:pt>
                <c:pt idx="888">
                  <c:v>0.99418731282547002</c:v>
                </c:pt>
                <c:pt idx="889">
                  <c:v>0.99420401902227384</c:v>
                </c:pt>
                <c:pt idx="890">
                  <c:v>0.99422068944279962</c:v>
                </c:pt>
                <c:pt idx="891">
                  <c:v>0.9942372830105799</c:v>
                </c:pt>
                <c:pt idx="892">
                  <c:v>0.99425384345217682</c:v>
                </c:pt>
                <c:pt idx="893">
                  <c:v>0.99428690603328795</c:v>
                </c:pt>
                <c:pt idx="894">
                  <c:v>0.99430340022251817</c:v>
                </c:pt>
                <c:pt idx="895">
                  <c:v>0.9943198162339556</c:v>
                </c:pt>
                <c:pt idx="896">
                  <c:v>0.99435242034868876</c:v>
                </c:pt>
                <c:pt idx="897">
                  <c:v>0.99436861242712649</c:v>
                </c:pt>
                <c:pt idx="898">
                  <c:v>0.99438476740423876</c:v>
                </c:pt>
                <c:pt idx="899">
                  <c:v>0.9944008720295523</c:v>
                </c:pt>
                <c:pt idx="900">
                  <c:v>0.99441696340439256</c:v>
                </c:pt>
                <c:pt idx="901">
                  <c:v>0.99443296335096665</c:v>
                </c:pt>
                <c:pt idx="902">
                  <c:v>0.99444885066851718</c:v>
                </c:pt>
                <c:pt idx="903">
                  <c:v>0.994464675708843</c:v>
                </c:pt>
                <c:pt idx="904">
                  <c:v>0.99448047027308017</c:v>
                </c:pt>
                <c:pt idx="905">
                  <c:v>0.99449624098646527</c:v>
                </c:pt>
                <c:pt idx="906">
                  <c:v>0.99451194809757826</c:v>
                </c:pt>
                <c:pt idx="907">
                  <c:v>0.99452759293146653</c:v>
                </c:pt>
                <c:pt idx="908">
                  <c:v>0.99454307875967451</c:v>
                </c:pt>
                <c:pt idx="909">
                  <c:v>0.99455855531255111</c:v>
                </c:pt>
                <c:pt idx="910">
                  <c:v>0.99457401198971773</c:v>
                </c:pt>
                <c:pt idx="911">
                  <c:v>0.99458935206271881</c:v>
                </c:pt>
                <c:pt idx="912">
                  <c:v>0.99460456493117577</c:v>
                </c:pt>
                <c:pt idx="913">
                  <c:v>0.99461977249944333</c:v>
                </c:pt>
                <c:pt idx="914">
                  <c:v>0.99463496946733221</c:v>
                </c:pt>
                <c:pt idx="915">
                  <c:v>0.9946501611350318</c:v>
                </c:pt>
                <c:pt idx="916">
                  <c:v>0.99466533160197401</c:v>
                </c:pt>
                <c:pt idx="917">
                  <c:v>0.99468049146853754</c:v>
                </c:pt>
                <c:pt idx="918">
                  <c:v>0.99469559700816024</c:v>
                </c:pt>
                <c:pt idx="919">
                  <c:v>0.99472567028248282</c:v>
                </c:pt>
                <c:pt idx="920">
                  <c:v>0.9947406459674667</c:v>
                </c:pt>
                <c:pt idx="921">
                  <c:v>0.99475551167352172</c:v>
                </c:pt>
                <c:pt idx="922">
                  <c:v>0.99477035617881937</c:v>
                </c:pt>
                <c:pt idx="923">
                  <c:v>0.99478517948335965</c:v>
                </c:pt>
                <c:pt idx="924">
                  <c:v>0.99480000146285263</c:v>
                </c:pt>
                <c:pt idx="925">
                  <c:v>0.99482896964769751</c:v>
                </c:pt>
                <c:pt idx="926">
                  <c:v>0.99484343651450458</c:v>
                </c:pt>
                <c:pt idx="927">
                  <c:v>0.99485780797790357</c:v>
                </c:pt>
                <c:pt idx="928">
                  <c:v>0.99487207873770511</c:v>
                </c:pt>
                <c:pt idx="929">
                  <c:v>0.99488621036753644</c:v>
                </c:pt>
                <c:pt idx="930">
                  <c:v>0.99491435834808084</c:v>
                </c:pt>
                <c:pt idx="931">
                  <c:v>0.99492842505059265</c:v>
                </c:pt>
                <c:pt idx="932">
                  <c:v>0.99497035352342444</c:v>
                </c:pt>
                <c:pt idx="933">
                  <c:v>0.99498420689331535</c:v>
                </c:pt>
                <c:pt idx="934">
                  <c:v>0.99501186725644031</c:v>
                </c:pt>
                <c:pt idx="935">
                  <c:v>0.9950256517238697</c:v>
                </c:pt>
                <c:pt idx="936">
                  <c:v>0.99503943486625179</c:v>
                </c:pt>
                <c:pt idx="937">
                  <c:v>0.9950532047581605</c:v>
                </c:pt>
                <c:pt idx="938">
                  <c:v>0.99506696007454853</c:v>
                </c:pt>
                <c:pt idx="939">
                  <c:v>0.99509440843009989</c:v>
                </c:pt>
                <c:pt idx="940">
                  <c:v>0.99510809749412121</c:v>
                </c:pt>
                <c:pt idx="941">
                  <c:v>0.99512175475700648</c:v>
                </c:pt>
                <c:pt idx="942">
                  <c:v>0.99513536961837701</c:v>
                </c:pt>
                <c:pt idx="943">
                  <c:v>0.99514890895204944</c:v>
                </c:pt>
                <c:pt idx="944">
                  <c:v>0.99517594521787955</c:v>
                </c:pt>
                <c:pt idx="945">
                  <c:v>0.99518945010032123</c:v>
                </c:pt>
                <c:pt idx="946">
                  <c:v>0.99520290595601146</c:v>
                </c:pt>
                <c:pt idx="947">
                  <c:v>0.99522974213969384</c:v>
                </c:pt>
                <c:pt idx="948">
                  <c:v>0.99524314764358535</c:v>
                </c:pt>
                <c:pt idx="949">
                  <c:v>0.99525652134634079</c:v>
                </c:pt>
                <c:pt idx="950">
                  <c:v>0.99526984867243951</c:v>
                </c:pt>
                <c:pt idx="951">
                  <c:v>0.99528315877292284</c:v>
                </c:pt>
                <c:pt idx="952">
                  <c:v>0.99529644237245951</c:v>
                </c:pt>
                <c:pt idx="953">
                  <c:v>0.99530967959533945</c:v>
                </c:pt>
                <c:pt idx="954">
                  <c:v>0.9953360930889219</c:v>
                </c:pt>
                <c:pt idx="955">
                  <c:v>0.99534929718561849</c:v>
                </c:pt>
                <c:pt idx="956">
                  <c:v>0.99536239792862291</c:v>
                </c:pt>
                <c:pt idx="957">
                  <c:v>0.99537544169459191</c:v>
                </c:pt>
                <c:pt idx="958">
                  <c:v>0.99540135564532894</c:v>
                </c:pt>
                <c:pt idx="959">
                  <c:v>0.99541427485684841</c:v>
                </c:pt>
                <c:pt idx="960">
                  <c:v>0.9954271861180839</c:v>
                </c:pt>
                <c:pt idx="961">
                  <c:v>0.99544009207912998</c:v>
                </c:pt>
                <c:pt idx="962">
                  <c:v>0.99545298611475008</c:v>
                </c:pt>
                <c:pt idx="963">
                  <c:v>0.99546577414658333</c:v>
                </c:pt>
                <c:pt idx="964">
                  <c:v>0.99547846147481911</c:v>
                </c:pt>
                <c:pt idx="965">
                  <c:v>0.99550368375084708</c:v>
                </c:pt>
                <c:pt idx="966">
                  <c:v>0.9955287205202481</c:v>
                </c:pt>
                <c:pt idx="967">
                  <c:v>0.99554114946425343</c:v>
                </c:pt>
                <c:pt idx="968">
                  <c:v>0.9955535492572174</c:v>
                </c:pt>
                <c:pt idx="969">
                  <c:v>0.99557832764238807</c:v>
                </c:pt>
                <c:pt idx="970">
                  <c:v>0.99559069563421598</c:v>
                </c:pt>
                <c:pt idx="971">
                  <c:v>0.99560302254957656</c:v>
                </c:pt>
                <c:pt idx="972">
                  <c:v>0.99561534283970043</c:v>
                </c:pt>
                <c:pt idx="973">
                  <c:v>0.99565194992243355</c:v>
                </c:pt>
                <c:pt idx="974">
                  <c:v>0.99566401315337438</c:v>
                </c:pt>
                <c:pt idx="975">
                  <c:v>0.99567605915869983</c:v>
                </c:pt>
                <c:pt idx="976">
                  <c:v>0.99570011936821468</c:v>
                </c:pt>
                <c:pt idx="977">
                  <c:v>0.99571212694716738</c:v>
                </c:pt>
                <c:pt idx="978">
                  <c:v>0.99572404839804329</c:v>
                </c:pt>
                <c:pt idx="979">
                  <c:v>0.99573594997320924</c:v>
                </c:pt>
                <c:pt idx="980">
                  <c:v>0.9957478449231385</c:v>
                </c:pt>
                <c:pt idx="981">
                  <c:v>0.99575972132240509</c:v>
                </c:pt>
                <c:pt idx="982">
                  <c:v>0.99577156989567761</c:v>
                </c:pt>
                <c:pt idx="983">
                  <c:v>0.99578338799286137</c:v>
                </c:pt>
                <c:pt idx="984">
                  <c:v>0.99579518621433516</c:v>
                </c:pt>
                <c:pt idx="985">
                  <c:v>0.99580695925990959</c:v>
                </c:pt>
                <c:pt idx="986">
                  <c:v>0.99581870315444265</c:v>
                </c:pt>
                <c:pt idx="987">
                  <c:v>0.99583042717326564</c:v>
                </c:pt>
                <c:pt idx="988">
                  <c:v>0.99584212071599987</c:v>
                </c:pt>
                <c:pt idx="989">
                  <c:v>0.99585380763349751</c:v>
                </c:pt>
                <c:pt idx="990">
                  <c:v>0.99586540709787097</c:v>
                </c:pt>
                <c:pt idx="991">
                  <c:v>0.99587696151063498</c:v>
                </c:pt>
                <c:pt idx="992">
                  <c:v>0.99588850399797302</c:v>
                </c:pt>
                <c:pt idx="993">
                  <c:v>0.99591146706829425</c:v>
                </c:pt>
                <c:pt idx="994">
                  <c:v>0.99592292210250821</c:v>
                </c:pt>
                <c:pt idx="995">
                  <c:v>0.99593437448662747</c:v>
                </c:pt>
                <c:pt idx="996">
                  <c:v>0.99594582422065203</c:v>
                </c:pt>
                <c:pt idx="997">
                  <c:v>0.99595725672906121</c:v>
                </c:pt>
                <c:pt idx="998">
                  <c:v>0.99596858455873094</c:v>
                </c:pt>
                <c:pt idx="999">
                  <c:v>0.99600233748950384</c:v>
                </c:pt>
                <c:pt idx="1000">
                  <c:v>0.99601347583740463</c:v>
                </c:pt>
                <c:pt idx="1001">
                  <c:v>0.9960356001527626</c:v>
                </c:pt>
                <c:pt idx="1002">
                  <c:v>0.99604662719668724</c:v>
                </c:pt>
                <c:pt idx="1003">
                  <c:v>0.99605759196338706</c:v>
                </c:pt>
                <c:pt idx="1004">
                  <c:v>0.99606848517753077</c:v>
                </c:pt>
                <c:pt idx="1005">
                  <c:v>0.99607934924063313</c:v>
                </c:pt>
                <c:pt idx="1006">
                  <c:v>0.99609018282764672</c:v>
                </c:pt>
                <c:pt idx="1007">
                  <c:v>0.99610098991371365</c:v>
                </c:pt>
                <c:pt idx="1008">
                  <c:v>0.99611176254854983</c:v>
                </c:pt>
                <c:pt idx="1009">
                  <c:v>0.99613316338806279</c:v>
                </c:pt>
                <c:pt idx="1010">
                  <c:v>0.99614379556788146</c:v>
                </c:pt>
                <c:pt idx="1011">
                  <c:v>0.99615437607085411</c:v>
                </c:pt>
                <c:pt idx="1012">
                  <c:v>0.9961649154973593</c:v>
                </c:pt>
                <c:pt idx="1013">
                  <c:v>0.99620675916716173</c:v>
                </c:pt>
                <c:pt idx="1014">
                  <c:v>0.99621711308703997</c:v>
                </c:pt>
                <c:pt idx="1015">
                  <c:v>0.99622745243139754</c:v>
                </c:pt>
                <c:pt idx="1016">
                  <c:v>0.99623769902244164</c:v>
                </c:pt>
                <c:pt idx="1017">
                  <c:v>0.996247895261687</c:v>
                </c:pt>
                <c:pt idx="1018">
                  <c:v>0.9962580610248436</c:v>
                </c:pt>
                <c:pt idx="1019">
                  <c:v>0.99626815921058609</c:v>
                </c:pt>
                <c:pt idx="1020">
                  <c:v>0.99627825474623399</c:v>
                </c:pt>
                <c:pt idx="1021">
                  <c:v>0.99628831185550915</c:v>
                </c:pt>
                <c:pt idx="1022">
                  <c:v>0.9962983636645949</c:v>
                </c:pt>
                <c:pt idx="1023">
                  <c:v>0.99631836525412176</c:v>
                </c:pt>
                <c:pt idx="1024">
                  <c:v>0.99632826468276403</c:v>
                </c:pt>
                <c:pt idx="1025">
                  <c:v>0.99635762508162018</c:v>
                </c:pt>
                <c:pt idx="1026">
                  <c:v>0.99636739730571822</c:v>
                </c:pt>
                <c:pt idx="1027">
                  <c:v>0.99637715362924828</c:v>
                </c:pt>
                <c:pt idx="1028">
                  <c:v>0.99638690730268364</c:v>
                </c:pt>
                <c:pt idx="1029">
                  <c:v>0.99639664242545634</c:v>
                </c:pt>
                <c:pt idx="1030">
                  <c:v>0.99640633779680898</c:v>
                </c:pt>
                <c:pt idx="1031">
                  <c:v>0.99642569143818882</c:v>
                </c:pt>
                <c:pt idx="1032">
                  <c:v>0.99643534573307402</c:v>
                </c:pt>
                <c:pt idx="1033">
                  <c:v>0.99646398265608516</c:v>
                </c:pt>
                <c:pt idx="1034">
                  <c:v>0.99648299576029986</c:v>
                </c:pt>
                <c:pt idx="1035">
                  <c:v>0.99650191346110639</c:v>
                </c:pt>
                <c:pt idx="1036">
                  <c:v>0.99651131202185583</c:v>
                </c:pt>
                <c:pt idx="1037">
                  <c:v>0.99653009191773945</c:v>
                </c:pt>
                <c:pt idx="1038">
                  <c:v>0.99653946397754223</c:v>
                </c:pt>
                <c:pt idx="1039">
                  <c:v>0.99654871545803747</c:v>
                </c:pt>
                <c:pt idx="1040">
                  <c:v>0.99655795236301203</c:v>
                </c:pt>
                <c:pt idx="1041">
                  <c:v>0.99657637449611514</c:v>
                </c:pt>
                <c:pt idx="1042">
                  <c:v>0.99658557164966965</c:v>
                </c:pt>
                <c:pt idx="1043">
                  <c:v>0.99659469857571537</c:v>
                </c:pt>
                <c:pt idx="1044">
                  <c:v>0.99660381490138239</c:v>
                </c:pt>
                <c:pt idx="1045">
                  <c:v>0.99661291532648144</c:v>
                </c:pt>
                <c:pt idx="1046">
                  <c:v>0.99663099162223001</c:v>
                </c:pt>
                <c:pt idx="1047">
                  <c:v>0.9966399833934475</c:v>
                </c:pt>
                <c:pt idx="1048">
                  <c:v>0.99665795103531452</c:v>
                </c:pt>
                <c:pt idx="1049">
                  <c:v>0.99666692690596403</c:v>
                </c:pt>
                <c:pt idx="1050">
                  <c:v>0.99667580737320538</c:v>
                </c:pt>
                <c:pt idx="1051">
                  <c:v>0.99670232157038541</c:v>
                </c:pt>
                <c:pt idx="1052">
                  <c:v>0.99674614751100132</c:v>
                </c:pt>
                <c:pt idx="1053">
                  <c:v>0.99675485307199441</c:v>
                </c:pt>
                <c:pt idx="1054">
                  <c:v>0.99676351755652015</c:v>
                </c:pt>
                <c:pt idx="1055">
                  <c:v>0.99677214096457845</c:v>
                </c:pt>
                <c:pt idx="1056">
                  <c:v>0.99678929502738167</c:v>
                </c:pt>
                <c:pt idx="1057">
                  <c:v>0.99679784290774187</c:v>
                </c:pt>
                <c:pt idx="1058">
                  <c:v>0.9968149108424682</c:v>
                </c:pt>
                <c:pt idx="1059">
                  <c:v>0.99682343354692904</c:v>
                </c:pt>
                <c:pt idx="1060">
                  <c:v>0.99683194167586919</c:v>
                </c:pt>
                <c:pt idx="1061">
                  <c:v>0.99684044582966735</c:v>
                </c:pt>
                <c:pt idx="1062">
                  <c:v>0.99684893540794484</c:v>
                </c:pt>
                <c:pt idx="1063">
                  <c:v>0.99685742366117491</c:v>
                </c:pt>
                <c:pt idx="1064">
                  <c:v>0.99686589601383702</c:v>
                </c:pt>
                <c:pt idx="1065">
                  <c:v>0.99687431801470039</c:v>
                </c:pt>
                <c:pt idx="1066">
                  <c:v>0.99688272278994838</c:v>
                </c:pt>
                <c:pt idx="1067">
                  <c:v>0.99689112624014908</c:v>
                </c:pt>
                <c:pt idx="1068">
                  <c:v>0.99689940381085285</c:v>
                </c:pt>
                <c:pt idx="1069">
                  <c:v>0.99691595232702379</c:v>
                </c:pt>
                <c:pt idx="1070">
                  <c:v>0.9969241967715442</c:v>
                </c:pt>
                <c:pt idx="1071">
                  <c:v>0.99693239881454987</c:v>
                </c:pt>
                <c:pt idx="1072">
                  <c:v>0.99694059555736625</c:v>
                </c:pt>
                <c:pt idx="1073">
                  <c:v>0.99694877109942526</c:v>
                </c:pt>
                <c:pt idx="1074">
                  <c:v>0.99695692014053749</c:v>
                </c:pt>
                <c:pt idx="1075">
                  <c:v>0.99696504135565567</c:v>
                </c:pt>
                <c:pt idx="1076">
                  <c:v>0.99697315727058455</c:v>
                </c:pt>
                <c:pt idx="1077">
                  <c:v>0.99698933344845431</c:v>
                </c:pt>
                <c:pt idx="1078">
                  <c:v>0.99699740961196315</c:v>
                </c:pt>
                <c:pt idx="1079">
                  <c:v>0.99701349038642473</c:v>
                </c:pt>
                <c:pt idx="1080">
                  <c:v>0.99702947708252543</c:v>
                </c:pt>
                <c:pt idx="1081">
                  <c:v>0.99705305762490481</c:v>
                </c:pt>
                <c:pt idx="1082">
                  <c:v>0.99707643145989999</c:v>
                </c:pt>
                <c:pt idx="1083">
                  <c:v>0.99709197029000129</c:v>
                </c:pt>
                <c:pt idx="1084">
                  <c:v>0.9971151731938902</c:v>
                </c:pt>
                <c:pt idx="1085">
                  <c:v>0.99713062324582014</c:v>
                </c:pt>
                <c:pt idx="1086">
                  <c:v>0.99713833767140647</c:v>
                </c:pt>
                <c:pt idx="1087">
                  <c:v>0.99714601632071465</c:v>
                </c:pt>
                <c:pt idx="1088">
                  <c:v>0.99715368304459684</c:v>
                </c:pt>
                <c:pt idx="1089">
                  <c:v>0.99718414853293069</c:v>
                </c:pt>
                <c:pt idx="1090">
                  <c:v>0.99719174502930408</c:v>
                </c:pt>
                <c:pt idx="1091">
                  <c:v>0.99719933622548818</c:v>
                </c:pt>
                <c:pt idx="1092">
                  <c:v>0.99720685056892677</c:v>
                </c:pt>
                <c:pt idx="1093">
                  <c:v>0.9972290848632136</c:v>
                </c:pt>
                <c:pt idx="1094">
                  <c:v>0.99723638719907859</c:v>
                </c:pt>
                <c:pt idx="1095">
                  <c:v>0.99724367098428091</c:v>
                </c:pt>
                <c:pt idx="1096">
                  <c:v>0.99725820675354948</c:v>
                </c:pt>
                <c:pt idx="1097">
                  <c:v>0.99727271469682399</c:v>
                </c:pt>
                <c:pt idx="1098">
                  <c:v>0.99727991102890212</c:v>
                </c:pt>
                <c:pt idx="1099">
                  <c:v>0.99728709941069626</c:v>
                </c:pt>
                <c:pt idx="1100">
                  <c:v>0.99729428646744311</c:v>
                </c:pt>
                <c:pt idx="1101">
                  <c:v>0.99730145099838519</c:v>
                </c:pt>
                <c:pt idx="1102">
                  <c:v>0.99730861155418526</c:v>
                </c:pt>
                <c:pt idx="1103">
                  <c:v>0.99731574030884929</c:v>
                </c:pt>
                <c:pt idx="1104">
                  <c:v>0.99732996866713597</c:v>
                </c:pt>
                <c:pt idx="1105">
                  <c:v>0.99733705502028536</c:v>
                </c:pt>
                <c:pt idx="1106">
                  <c:v>0.99734413739829264</c:v>
                </c:pt>
                <c:pt idx="1107">
                  <c:v>0.9973723821072924</c:v>
                </c:pt>
                <c:pt idx="1108">
                  <c:v>0.99737941148340636</c:v>
                </c:pt>
                <c:pt idx="1109">
                  <c:v>0.99740041878386076</c:v>
                </c:pt>
                <c:pt idx="1110">
                  <c:v>0.99740741105864927</c:v>
                </c:pt>
                <c:pt idx="1111">
                  <c:v>0.99742129490462883</c:v>
                </c:pt>
                <c:pt idx="1112">
                  <c:v>0.99742820370143526</c:v>
                </c:pt>
                <c:pt idx="1113">
                  <c:v>0.99743508864738961</c:v>
                </c:pt>
                <c:pt idx="1114">
                  <c:v>0.99744196564305998</c:v>
                </c:pt>
                <c:pt idx="1115">
                  <c:v>0.99744883071330437</c:v>
                </c:pt>
                <c:pt idx="1116">
                  <c:v>0.99745569313345406</c:v>
                </c:pt>
                <c:pt idx="1117">
                  <c:v>0.99746254097808307</c:v>
                </c:pt>
                <c:pt idx="1118">
                  <c:v>0.9974693742471914</c:v>
                </c:pt>
                <c:pt idx="1119">
                  <c:v>0.99747620486620503</c:v>
                </c:pt>
                <c:pt idx="1120">
                  <c:v>0.99748302223474528</c:v>
                </c:pt>
                <c:pt idx="1121">
                  <c:v>0.99748982900290684</c:v>
                </c:pt>
                <c:pt idx="1122">
                  <c:v>0.99749660927012174</c:v>
                </c:pt>
                <c:pt idx="1123">
                  <c:v>0.99751679504122803</c:v>
                </c:pt>
                <c:pt idx="1124">
                  <c:v>0.99752345737923009</c:v>
                </c:pt>
                <c:pt idx="1125">
                  <c:v>0.99753674760400346</c:v>
                </c:pt>
                <c:pt idx="1126">
                  <c:v>0.99755653983605119</c:v>
                </c:pt>
                <c:pt idx="1127">
                  <c:v>0.99756966045476558</c:v>
                </c:pt>
                <c:pt idx="1128">
                  <c:v>0.99757619956336541</c:v>
                </c:pt>
                <c:pt idx="1129">
                  <c:v>0.99758273469682324</c:v>
                </c:pt>
                <c:pt idx="1130">
                  <c:v>0.99760212278943383</c:v>
                </c:pt>
                <c:pt idx="1131">
                  <c:v>0.99760854131872612</c:v>
                </c:pt>
                <c:pt idx="1132">
                  <c:v>0.99762135187636414</c:v>
                </c:pt>
                <c:pt idx="1133">
                  <c:v>0.99763411870744001</c:v>
                </c:pt>
                <c:pt idx="1134">
                  <c:v>0.99764048158474428</c:v>
                </c:pt>
                <c:pt idx="1135">
                  <c:v>0.99764678483491842</c:v>
                </c:pt>
                <c:pt idx="1136">
                  <c:v>0.99765307483461918</c:v>
                </c:pt>
                <c:pt idx="1137">
                  <c:v>0.99765935820908336</c:v>
                </c:pt>
                <c:pt idx="1138">
                  <c:v>0.99766563495831084</c:v>
                </c:pt>
                <c:pt idx="1139">
                  <c:v>0.99767188520659156</c:v>
                </c:pt>
                <c:pt idx="1140">
                  <c:v>0.99769045707004356</c:v>
                </c:pt>
                <c:pt idx="1141">
                  <c:v>0.99770275615941006</c:v>
                </c:pt>
                <c:pt idx="1142">
                  <c:v>0.99770889775380933</c:v>
                </c:pt>
                <c:pt idx="1143">
                  <c:v>0.99771501947249852</c:v>
                </c:pt>
                <c:pt idx="1144">
                  <c:v>0.99772112661566703</c:v>
                </c:pt>
                <c:pt idx="1145">
                  <c:v>0.99772722448350426</c:v>
                </c:pt>
                <c:pt idx="1146">
                  <c:v>0.99773330645077341</c:v>
                </c:pt>
                <c:pt idx="1147">
                  <c:v>0.99773937119242717</c:v>
                </c:pt>
                <c:pt idx="1148">
                  <c:v>0.99775146754955146</c:v>
                </c:pt>
                <c:pt idx="1149">
                  <c:v>0.99776353873077628</c:v>
                </c:pt>
                <c:pt idx="1150">
                  <c:v>0.99777556221029706</c:v>
                </c:pt>
                <c:pt idx="1151">
                  <c:v>0.99778156467472612</c:v>
                </c:pt>
                <c:pt idx="1152">
                  <c:v>0.99779350467626471</c:v>
                </c:pt>
                <c:pt idx="1153">
                  <c:v>0.99779942498775898</c:v>
                </c:pt>
                <c:pt idx="1154">
                  <c:v>0.99780533337382715</c:v>
                </c:pt>
                <c:pt idx="1155">
                  <c:v>0.99781123115951675</c:v>
                </c:pt>
                <c:pt idx="1156">
                  <c:v>0.99784058890827831</c:v>
                </c:pt>
                <c:pt idx="1157">
                  <c:v>0.99784643899226377</c:v>
                </c:pt>
                <c:pt idx="1158">
                  <c:v>0.99786957696883338</c:v>
                </c:pt>
                <c:pt idx="1159">
                  <c:v>0.99788096177553853</c:v>
                </c:pt>
                <c:pt idx="1160">
                  <c:v>0.99788662767794445</c:v>
                </c:pt>
                <c:pt idx="1161">
                  <c:v>0.99789228960520826</c:v>
                </c:pt>
                <c:pt idx="1162">
                  <c:v>0.99790360948459389</c:v>
                </c:pt>
                <c:pt idx="1163">
                  <c:v>0.99790925948643172</c:v>
                </c:pt>
                <c:pt idx="1164">
                  <c:v>0.99791488828751218</c:v>
                </c:pt>
                <c:pt idx="1165">
                  <c:v>0.99792051708859264</c:v>
                </c:pt>
                <c:pt idx="1166">
                  <c:v>0.99793170843838686</c:v>
                </c:pt>
                <c:pt idx="1167">
                  <c:v>0.99794284016105095</c:v>
                </c:pt>
                <c:pt idx="1168">
                  <c:v>0.99794839210938602</c:v>
                </c:pt>
                <c:pt idx="1169">
                  <c:v>0.99795391093153762</c:v>
                </c:pt>
                <c:pt idx="1170">
                  <c:v>0.99795942975368923</c:v>
                </c:pt>
                <c:pt idx="1171">
                  <c:v>0.99796493665041486</c:v>
                </c:pt>
                <c:pt idx="1172">
                  <c:v>0.99798683835782043</c:v>
                </c:pt>
                <c:pt idx="1173">
                  <c:v>0.9979923041780786</c:v>
                </c:pt>
                <c:pt idx="1174">
                  <c:v>0.99800323184345308</c:v>
                </c:pt>
                <c:pt idx="1175">
                  <c:v>0.9980086671876226</c:v>
                </c:pt>
                <c:pt idx="1176">
                  <c:v>0.99802492949356914</c:v>
                </c:pt>
                <c:pt idx="1177">
                  <c:v>0.998035708753642</c:v>
                </c:pt>
                <c:pt idx="1178">
                  <c:v>0.99805723149750969</c:v>
                </c:pt>
                <c:pt idx="1179">
                  <c:v>0.9980626032394071</c:v>
                </c:pt>
                <c:pt idx="1180">
                  <c:v>0.99807329902149788</c:v>
                </c:pt>
                <c:pt idx="1181">
                  <c:v>0.9980785912605552</c:v>
                </c:pt>
                <c:pt idx="1182">
                  <c:v>0.99808386097380786</c:v>
                </c:pt>
                <c:pt idx="1183">
                  <c:v>0.99808910948630314</c:v>
                </c:pt>
                <c:pt idx="1184">
                  <c:v>0.99809435402365632</c:v>
                </c:pt>
                <c:pt idx="1185">
                  <c:v>0.99810473974467062</c:v>
                </c:pt>
                <c:pt idx="1186">
                  <c:v>0.9981099167046098</c:v>
                </c:pt>
                <c:pt idx="1187">
                  <c:v>0.9981202321981153</c:v>
                </c:pt>
                <c:pt idx="1188">
                  <c:v>0.99812537603187101</c:v>
                </c:pt>
                <c:pt idx="1189">
                  <c:v>0.99813047613906469</c:v>
                </c:pt>
                <c:pt idx="1190">
                  <c:v>0.99813556962102168</c:v>
                </c:pt>
                <c:pt idx="1191">
                  <c:v>0.9981457287589417</c:v>
                </c:pt>
                <c:pt idx="1192">
                  <c:v>0.99815079441490462</c:v>
                </c:pt>
                <c:pt idx="1193">
                  <c:v>0.99815585212058355</c:v>
                </c:pt>
                <c:pt idx="1194">
                  <c:v>0.99817099078638971</c:v>
                </c:pt>
                <c:pt idx="1195">
                  <c:v>0.99818603934897698</c:v>
                </c:pt>
                <c:pt idx="1196">
                  <c:v>0.9981910334523838</c:v>
                </c:pt>
                <c:pt idx="1197">
                  <c:v>0.99819602225560133</c:v>
                </c:pt>
                <c:pt idx="1198">
                  <c:v>0.99820100973377146</c:v>
                </c:pt>
                <c:pt idx="1199">
                  <c:v>0.99821097806487513</c:v>
                </c:pt>
                <c:pt idx="1200">
                  <c:v>0.99821595759276127</c:v>
                </c:pt>
                <c:pt idx="1201">
                  <c:v>0.99823077427206486</c:v>
                </c:pt>
                <c:pt idx="1202">
                  <c:v>0.99823563852083286</c:v>
                </c:pt>
                <c:pt idx="1203">
                  <c:v>0.99825494181041396</c:v>
                </c:pt>
                <c:pt idx="1204">
                  <c:v>0.99825973715672056</c:v>
                </c:pt>
                <c:pt idx="1205">
                  <c:v>0.99826452985293246</c:v>
                </c:pt>
                <c:pt idx="1206">
                  <c:v>0.99826930532352898</c:v>
                </c:pt>
                <c:pt idx="1207">
                  <c:v>0.99828354825733645</c:v>
                </c:pt>
                <c:pt idx="1208">
                  <c:v>0.99829773818925049</c:v>
                </c:pt>
                <c:pt idx="1209">
                  <c:v>0.9983024434323382</c:v>
                </c:pt>
                <c:pt idx="1210">
                  <c:v>0.99830713940009463</c:v>
                </c:pt>
                <c:pt idx="1211">
                  <c:v>0.99831183271775636</c:v>
                </c:pt>
                <c:pt idx="1212">
                  <c:v>0.9983165220602761</c:v>
                </c:pt>
                <c:pt idx="1213">
                  <c:v>0.99832119815232245</c:v>
                </c:pt>
                <c:pt idx="1214">
                  <c:v>0.99832586761913211</c:v>
                </c:pt>
                <c:pt idx="1215">
                  <c:v>0.99833053178575248</c:v>
                </c:pt>
                <c:pt idx="1216">
                  <c:v>0.99833519330227816</c:v>
                </c:pt>
                <c:pt idx="1217">
                  <c:v>0.99833985216870913</c:v>
                </c:pt>
                <c:pt idx="1218">
                  <c:v>0.99834448188409874</c:v>
                </c:pt>
                <c:pt idx="1219">
                  <c:v>0.99835370421355263</c:v>
                </c:pt>
                <c:pt idx="1220">
                  <c:v>0.99835830212780619</c:v>
                </c:pt>
                <c:pt idx="1221">
                  <c:v>0.99836289474187045</c:v>
                </c:pt>
                <c:pt idx="1222">
                  <c:v>0.99837197131611743</c:v>
                </c:pt>
                <c:pt idx="1223">
                  <c:v>0.99838997870940449</c:v>
                </c:pt>
                <c:pt idx="1224">
                  <c:v>0.99839894265462792</c:v>
                </c:pt>
                <c:pt idx="1225">
                  <c:v>0.99840340673910066</c:v>
                </c:pt>
                <c:pt idx="1226">
                  <c:v>0.99840786419833671</c:v>
                </c:pt>
                <c:pt idx="1227">
                  <c:v>0.99841228985643671</c:v>
                </c:pt>
                <c:pt idx="1228">
                  <c:v>0.99842551912903255</c:v>
                </c:pt>
                <c:pt idx="1229">
                  <c:v>0.99842991563609118</c:v>
                </c:pt>
                <c:pt idx="1230">
                  <c:v>0.99843431081810241</c:v>
                </c:pt>
                <c:pt idx="1231">
                  <c:v>0.99843869672478236</c:v>
                </c:pt>
                <c:pt idx="1232">
                  <c:v>0.99844307203108362</c:v>
                </c:pt>
                <c:pt idx="1233">
                  <c:v>0.9984517802421714</c:v>
                </c:pt>
                <c:pt idx="1234">
                  <c:v>0.99846039304985101</c:v>
                </c:pt>
                <c:pt idx="1235">
                  <c:v>0.9984646822280755</c:v>
                </c:pt>
                <c:pt idx="1236">
                  <c:v>0.998473223483199</c:v>
                </c:pt>
                <c:pt idx="1237">
                  <c:v>0.99848172233680776</c:v>
                </c:pt>
                <c:pt idx="1238">
                  <c:v>0.99848595718809152</c:v>
                </c:pt>
                <c:pt idx="1239">
                  <c:v>0.99849018541413859</c:v>
                </c:pt>
                <c:pt idx="1240">
                  <c:v>0.99849440038971227</c:v>
                </c:pt>
                <c:pt idx="1241">
                  <c:v>0.99850282371562304</c:v>
                </c:pt>
                <c:pt idx="1242">
                  <c:v>0.99850698568930329</c:v>
                </c:pt>
                <c:pt idx="1243">
                  <c:v>0.99851941198321403</c:v>
                </c:pt>
                <c:pt idx="1244">
                  <c:v>0.99852351697985886</c:v>
                </c:pt>
                <c:pt idx="1245">
                  <c:v>0.99852761932640899</c:v>
                </c:pt>
                <c:pt idx="1246">
                  <c:v>0.99853989854006553</c:v>
                </c:pt>
                <c:pt idx="1247">
                  <c:v>0.99854807540717183</c:v>
                </c:pt>
                <c:pt idx="1248">
                  <c:v>0.99855215390287</c:v>
                </c:pt>
                <c:pt idx="1249">
                  <c:v>0.99855622179818948</c:v>
                </c:pt>
                <c:pt idx="1250">
                  <c:v>0.99856028704341426</c:v>
                </c:pt>
                <c:pt idx="1251">
                  <c:v>0.99856434698844976</c:v>
                </c:pt>
                <c:pt idx="1252">
                  <c:v>0.99856840560843785</c:v>
                </c:pt>
                <c:pt idx="1253">
                  <c:v>0.99857246290337864</c:v>
                </c:pt>
                <c:pt idx="1254">
                  <c:v>0.99860058173288158</c:v>
                </c:pt>
                <c:pt idx="1255">
                  <c:v>0.99860453832422491</c:v>
                </c:pt>
                <c:pt idx="1256">
                  <c:v>0.99861243825643808</c:v>
                </c:pt>
                <c:pt idx="1257">
                  <c:v>0.99862817054345054</c:v>
                </c:pt>
                <c:pt idx="1258">
                  <c:v>0.99863208075813714</c:v>
                </c:pt>
                <c:pt idx="1259">
                  <c:v>0.99864380477696013</c:v>
                </c:pt>
                <c:pt idx="1260">
                  <c:v>0.99864770571631534</c:v>
                </c:pt>
                <c:pt idx="1261">
                  <c:v>0.99865160135548126</c:v>
                </c:pt>
                <c:pt idx="1262">
                  <c:v>0.99865936083267692</c:v>
                </c:pt>
                <c:pt idx="1263">
                  <c:v>0.99866321937051739</c:v>
                </c:pt>
                <c:pt idx="1264">
                  <c:v>0.99866706333283717</c:v>
                </c:pt>
                <c:pt idx="1265">
                  <c:v>0.99867090199496766</c:v>
                </c:pt>
                <c:pt idx="1266">
                  <c:v>0.99868612678885049</c:v>
                </c:pt>
                <c:pt idx="1267">
                  <c:v>0.9986973923412954</c:v>
                </c:pt>
                <c:pt idx="1268">
                  <c:v>0.99870112632468633</c:v>
                </c:pt>
                <c:pt idx="1269">
                  <c:v>0.99870484838265128</c:v>
                </c:pt>
                <c:pt idx="1270">
                  <c:v>0.99870856911556893</c:v>
                </c:pt>
                <c:pt idx="1271">
                  <c:v>0.9987122752729658</c:v>
                </c:pt>
                <c:pt idx="1272">
                  <c:v>0.99871597878026808</c:v>
                </c:pt>
                <c:pt idx="1273">
                  <c:v>0.99871968096252295</c:v>
                </c:pt>
                <c:pt idx="1274">
                  <c:v>0.99872338314477782</c:v>
                </c:pt>
                <c:pt idx="1275">
                  <c:v>0.99873078750928757</c:v>
                </c:pt>
                <c:pt idx="1276">
                  <c:v>0.99873447909116375</c:v>
                </c:pt>
                <c:pt idx="1277">
                  <c:v>0.99873815344742467</c:v>
                </c:pt>
                <c:pt idx="1278">
                  <c:v>0.9987418172033069</c:v>
                </c:pt>
                <c:pt idx="1279">
                  <c:v>0.99874912616440858</c:v>
                </c:pt>
                <c:pt idx="1280">
                  <c:v>0.99875277004458074</c:v>
                </c:pt>
                <c:pt idx="1281">
                  <c:v>0.99876001142826831</c:v>
                </c:pt>
                <c:pt idx="1282">
                  <c:v>0.99876362218225712</c:v>
                </c:pt>
                <c:pt idx="1283">
                  <c:v>0.99876723293624592</c:v>
                </c:pt>
                <c:pt idx="1284">
                  <c:v>0.99877083308985604</c:v>
                </c:pt>
                <c:pt idx="1285">
                  <c:v>0.99877442926832416</c:v>
                </c:pt>
                <c:pt idx="1286">
                  <c:v>0.99878159644936093</c:v>
                </c:pt>
                <c:pt idx="1287">
                  <c:v>0.99878516480183499</c:v>
                </c:pt>
                <c:pt idx="1288">
                  <c:v>0.99879228428116773</c:v>
                </c:pt>
                <c:pt idx="1289">
                  <c:v>0.99879583143288442</c:v>
                </c:pt>
                <c:pt idx="1290">
                  <c:v>0.99880290056041832</c:v>
                </c:pt>
                <c:pt idx="1291">
                  <c:v>0.99880640796071496</c:v>
                </c:pt>
                <c:pt idx="1292">
                  <c:v>0.99880990078549092</c:v>
                </c:pt>
                <c:pt idx="1293">
                  <c:v>0.99881337108446211</c:v>
                </c:pt>
                <c:pt idx="1294">
                  <c:v>0.99881683873333871</c:v>
                </c:pt>
                <c:pt idx="1295">
                  <c:v>0.99882028253136323</c:v>
                </c:pt>
                <c:pt idx="1296">
                  <c:v>0.99883402327223059</c:v>
                </c:pt>
                <c:pt idx="1297">
                  <c:v>0.99883743791921376</c:v>
                </c:pt>
                <c:pt idx="1298">
                  <c:v>0.99884084726600753</c:v>
                </c:pt>
                <c:pt idx="1299">
                  <c:v>0.99884766198445318</c:v>
                </c:pt>
                <c:pt idx="1300">
                  <c:v>0.99885439852510605</c:v>
                </c:pt>
                <c:pt idx="1301">
                  <c:v>0.99886445430933379</c:v>
                </c:pt>
                <c:pt idx="1302">
                  <c:v>0.99886779607871345</c:v>
                </c:pt>
                <c:pt idx="1303">
                  <c:v>0.99887780151114247</c:v>
                </c:pt>
                <c:pt idx="1304">
                  <c:v>0.99888446252409713</c:v>
                </c:pt>
                <c:pt idx="1305">
                  <c:v>0.99889444278062689</c:v>
                </c:pt>
                <c:pt idx="1306">
                  <c:v>0.99890105344178282</c:v>
                </c:pt>
                <c:pt idx="1307">
                  <c:v>0.99890765217751265</c:v>
                </c:pt>
                <c:pt idx="1308">
                  <c:v>0.99891743500198937</c:v>
                </c:pt>
                <c:pt idx="1309">
                  <c:v>0.99892068136796097</c:v>
                </c:pt>
                <c:pt idx="1310">
                  <c:v>0.99892715422419409</c:v>
                </c:pt>
                <c:pt idx="1311">
                  <c:v>0.99893684562040463</c:v>
                </c:pt>
                <c:pt idx="1312">
                  <c:v>0.99894647208929588</c:v>
                </c:pt>
                <c:pt idx="1313">
                  <c:v>0.99895286014249951</c:v>
                </c:pt>
                <c:pt idx="1314">
                  <c:v>0.99896225472810707</c:v>
                </c:pt>
                <c:pt idx="1315">
                  <c:v>0.99896536726429774</c:v>
                </c:pt>
                <c:pt idx="1316">
                  <c:v>0.99896847185020443</c:v>
                </c:pt>
                <c:pt idx="1317">
                  <c:v>0.99897467307173382</c:v>
                </c:pt>
                <c:pt idx="1318">
                  <c:v>0.99897776838230912</c:v>
                </c:pt>
                <c:pt idx="1319">
                  <c:v>0.99898394442793903</c:v>
                </c:pt>
                <c:pt idx="1320">
                  <c:v>0.99899007807205431</c:v>
                </c:pt>
                <c:pt idx="1321">
                  <c:v>0.99899313893139896</c:v>
                </c:pt>
                <c:pt idx="1322">
                  <c:v>0.99900229368343874</c:v>
                </c:pt>
                <c:pt idx="1323">
                  <c:v>0.99900835312490321</c:v>
                </c:pt>
                <c:pt idx="1324">
                  <c:v>0.99901439269065762</c:v>
                </c:pt>
                <c:pt idx="1325">
                  <c:v>0.99902341096282188</c:v>
                </c:pt>
                <c:pt idx="1326">
                  <c:v>0.99902639364437373</c:v>
                </c:pt>
                <c:pt idx="1327">
                  <c:v>0.9990323113057733</c:v>
                </c:pt>
                <c:pt idx="1328">
                  <c:v>0.99903526748637839</c:v>
                </c:pt>
                <c:pt idx="1329">
                  <c:v>0.99903822234193618</c:v>
                </c:pt>
                <c:pt idx="1330">
                  <c:v>0.99905291579183753</c:v>
                </c:pt>
                <c:pt idx="1331">
                  <c:v>0.99905583089597527</c:v>
                </c:pt>
                <c:pt idx="1332">
                  <c:v>0.99906455368258362</c:v>
                </c:pt>
                <c:pt idx="1333">
                  <c:v>0.99907322214225136</c:v>
                </c:pt>
                <c:pt idx="1334">
                  <c:v>0.99907610014506365</c:v>
                </c:pt>
                <c:pt idx="1335">
                  <c:v>0.99907897682282865</c:v>
                </c:pt>
                <c:pt idx="1336">
                  <c:v>0.99908185350059364</c:v>
                </c:pt>
                <c:pt idx="1337">
                  <c:v>0.99908471560283796</c:v>
                </c:pt>
                <c:pt idx="1338">
                  <c:v>0.99908757770508227</c:v>
                </c:pt>
                <c:pt idx="1339">
                  <c:v>0.99910177028709102</c:v>
                </c:pt>
                <c:pt idx="1340">
                  <c:v>0.9991045833625839</c:v>
                </c:pt>
                <c:pt idx="1341">
                  <c:v>0.9991129815125952</c:v>
                </c:pt>
                <c:pt idx="1342">
                  <c:v>0.99911577206228341</c:v>
                </c:pt>
                <c:pt idx="1343">
                  <c:v>0.99911855068654565</c:v>
                </c:pt>
                <c:pt idx="1344">
                  <c:v>0.99912409070945463</c:v>
                </c:pt>
                <c:pt idx="1345">
                  <c:v>0.99912958170561228</c:v>
                </c:pt>
                <c:pt idx="1346">
                  <c:v>0.99913505680120185</c:v>
                </c:pt>
                <c:pt idx="1347">
                  <c:v>0.99914047359470859</c:v>
                </c:pt>
                <c:pt idx="1348">
                  <c:v>0.99914318066641461</c:v>
                </c:pt>
                <c:pt idx="1349">
                  <c:v>0.99914588508802604</c:v>
                </c:pt>
                <c:pt idx="1350">
                  <c:v>0.99914858553449548</c:v>
                </c:pt>
                <c:pt idx="1351">
                  <c:v>0.99915128465591752</c:v>
                </c:pt>
                <c:pt idx="1352">
                  <c:v>0.99915668157371429</c:v>
                </c:pt>
                <c:pt idx="1353">
                  <c:v>0.99916474978693914</c:v>
                </c:pt>
                <c:pt idx="1354">
                  <c:v>0.99916742240741452</c:v>
                </c:pt>
                <c:pt idx="1355">
                  <c:v>0.99917009370284249</c:v>
                </c:pt>
                <c:pt idx="1356">
                  <c:v>0.99917274644760778</c:v>
                </c:pt>
                <c:pt idx="1357">
                  <c:v>0.99917539919237308</c:v>
                </c:pt>
                <c:pt idx="1358">
                  <c:v>0.99918067553086232</c:v>
                </c:pt>
                <c:pt idx="1359">
                  <c:v>0.99918330839991765</c:v>
                </c:pt>
                <c:pt idx="1360">
                  <c:v>0.99918593331868888</c:v>
                </c:pt>
                <c:pt idx="1361">
                  <c:v>0.99919116725566337</c:v>
                </c:pt>
                <c:pt idx="1362">
                  <c:v>0.9991963813169279</c:v>
                </c:pt>
                <c:pt idx="1363">
                  <c:v>0.9992092727024533</c:v>
                </c:pt>
                <c:pt idx="1364">
                  <c:v>0.99921183269390512</c:v>
                </c:pt>
                <c:pt idx="1365">
                  <c:v>0.99921439268535694</c:v>
                </c:pt>
                <c:pt idx="1366">
                  <c:v>0.999224595549839</c:v>
                </c:pt>
                <c:pt idx="1367">
                  <c:v>0.99923216422021843</c:v>
                </c:pt>
                <c:pt idx="1368">
                  <c:v>0.99923717157409864</c:v>
                </c:pt>
                <c:pt idx="1369">
                  <c:v>0.99925442236535733</c:v>
                </c:pt>
                <c:pt idx="1370">
                  <c:v>0.99926167434942348</c:v>
                </c:pt>
                <c:pt idx="1371">
                  <c:v>0.99926406738491114</c:v>
                </c:pt>
                <c:pt idx="1372">
                  <c:v>0.99926883093008168</c:v>
                </c:pt>
                <c:pt idx="1373">
                  <c:v>0.9992782440663518</c:v>
                </c:pt>
                <c:pt idx="1374">
                  <c:v>0.99928058144985132</c:v>
                </c:pt>
                <c:pt idx="1375">
                  <c:v>0.99928753264817249</c:v>
                </c:pt>
                <c:pt idx="1376">
                  <c:v>0.99930121906209912</c:v>
                </c:pt>
                <c:pt idx="1377">
                  <c:v>0.99930346766742717</c:v>
                </c:pt>
                <c:pt idx="1378">
                  <c:v>0.99930571362266052</c:v>
                </c:pt>
                <c:pt idx="1379">
                  <c:v>0.99931012868038183</c:v>
                </c:pt>
                <c:pt idx="1380">
                  <c:v>0.99931452386239317</c:v>
                </c:pt>
                <c:pt idx="1381">
                  <c:v>0.99931889651859984</c:v>
                </c:pt>
                <c:pt idx="1382">
                  <c:v>0.99932542767691568</c:v>
                </c:pt>
                <c:pt idx="1383">
                  <c:v>0.99932975130637081</c:v>
                </c:pt>
                <c:pt idx="1384">
                  <c:v>0.99933620958708325</c:v>
                </c:pt>
                <c:pt idx="1385">
                  <c:v>0.99933835748881383</c:v>
                </c:pt>
                <c:pt idx="1386">
                  <c:v>0.99934050406549702</c:v>
                </c:pt>
                <c:pt idx="1387">
                  <c:v>0.99934263739170692</c:v>
                </c:pt>
                <c:pt idx="1388">
                  <c:v>0.99934686694280128</c:v>
                </c:pt>
                <c:pt idx="1389">
                  <c:v>0.99934896581778043</c:v>
                </c:pt>
                <c:pt idx="1390">
                  <c:v>0.99936349628685961</c:v>
                </c:pt>
                <c:pt idx="1391">
                  <c:v>0.99936761188388323</c:v>
                </c:pt>
                <c:pt idx="1392">
                  <c:v>0.99937172085567005</c:v>
                </c:pt>
                <c:pt idx="1393">
                  <c:v>0.99937582320222018</c:v>
                </c:pt>
                <c:pt idx="1394">
                  <c:v>0.99938190384444203</c:v>
                </c:pt>
                <c:pt idx="1395">
                  <c:v>0.99938391526629711</c:v>
                </c:pt>
                <c:pt idx="1396">
                  <c:v>0.99938792883467586</c:v>
                </c:pt>
                <c:pt idx="1397">
                  <c:v>0.99939190397668187</c:v>
                </c:pt>
                <c:pt idx="1398">
                  <c:v>0.9993938729970222</c:v>
                </c:pt>
                <c:pt idx="1399">
                  <c:v>0.99939778718685079</c:v>
                </c:pt>
                <c:pt idx="1400">
                  <c:v>0.99940167222563803</c:v>
                </c:pt>
                <c:pt idx="1401">
                  <c:v>0.99940547246139577</c:v>
                </c:pt>
                <c:pt idx="1402">
                  <c:v>0.99940736065384861</c:v>
                </c:pt>
                <c:pt idx="1403">
                  <c:v>0.99941299740521305</c:v>
                </c:pt>
                <c:pt idx="1404">
                  <c:v>0.99942040706991231</c:v>
                </c:pt>
                <c:pt idx="1405">
                  <c:v>0.99942224358551912</c:v>
                </c:pt>
                <c:pt idx="1406">
                  <c:v>0.99942773193158208</c:v>
                </c:pt>
                <c:pt idx="1407">
                  <c:v>0.99942954592138411</c:v>
                </c:pt>
                <c:pt idx="1408">
                  <c:v>0.99943315535032551</c:v>
                </c:pt>
                <c:pt idx="1409">
                  <c:v>0.99943494813937017</c:v>
                </c:pt>
                <c:pt idx="1410">
                  <c:v>0.99945093086032877</c:v>
                </c:pt>
                <c:pt idx="1411">
                  <c:v>0.99945442766024672</c:v>
                </c:pt>
                <c:pt idx="1412">
                  <c:v>0.99945964304655865</c:v>
                </c:pt>
                <c:pt idx="1413">
                  <c:v>0.99946309479486717</c:v>
                </c:pt>
                <c:pt idx="1414">
                  <c:v>0.99946481868145043</c:v>
                </c:pt>
                <c:pt idx="1415">
                  <c:v>0.99947658245169346</c:v>
                </c:pt>
                <c:pt idx="1416">
                  <c:v>0.99947989374498447</c:v>
                </c:pt>
                <c:pt idx="1417">
                  <c:v>0.99948484014668715</c:v>
                </c:pt>
                <c:pt idx="1418">
                  <c:v>0.99948975342220647</c:v>
                </c:pt>
                <c:pt idx="1419">
                  <c:v>0.99949298786275198</c:v>
                </c:pt>
                <c:pt idx="1420">
                  <c:v>0.9994945964702171</c:v>
                </c:pt>
                <c:pt idx="1421">
                  <c:v>0.99949620507768222</c:v>
                </c:pt>
                <c:pt idx="1422">
                  <c:v>0.99949940506699708</c:v>
                </c:pt>
                <c:pt idx="1423">
                  <c:v>0.99950100174903611</c:v>
                </c:pt>
                <c:pt idx="1424">
                  <c:v>0.99950737257662448</c:v>
                </c:pt>
                <c:pt idx="1425">
                  <c:v>0.99951054871508727</c:v>
                </c:pt>
                <c:pt idx="1426">
                  <c:v>0.99951687051592408</c:v>
                </c:pt>
                <c:pt idx="1427">
                  <c:v>0.99951844599720574</c:v>
                </c:pt>
                <c:pt idx="1428">
                  <c:v>0.99952627305181541</c:v>
                </c:pt>
                <c:pt idx="1429">
                  <c:v>0.99952939088819537</c:v>
                </c:pt>
                <c:pt idx="1430">
                  <c:v>0.99953093986853037</c:v>
                </c:pt>
                <c:pt idx="1431">
                  <c:v>0.99953403252901096</c:v>
                </c:pt>
                <c:pt idx="1432">
                  <c:v>0.99954016087293684</c:v>
                </c:pt>
                <c:pt idx="1433">
                  <c:v>0.99954473361129115</c:v>
                </c:pt>
                <c:pt idx="1434">
                  <c:v>0.99955079040266093</c:v>
                </c:pt>
                <c:pt idx="1435">
                  <c:v>0.99955229830652859</c:v>
                </c:pt>
                <c:pt idx="1436">
                  <c:v>0.99955380488534884</c:v>
                </c:pt>
                <c:pt idx="1437">
                  <c:v>0.99955530881407439</c:v>
                </c:pt>
                <c:pt idx="1438">
                  <c:v>0.99956130067812476</c:v>
                </c:pt>
                <c:pt idx="1439">
                  <c:v>0.99956427408434523</c:v>
                </c:pt>
                <c:pt idx="1440">
                  <c:v>0.99956575813736082</c:v>
                </c:pt>
                <c:pt idx="1441">
                  <c:v>0.99956870769272932</c:v>
                </c:pt>
                <c:pt idx="1442">
                  <c:v>0.99958022897930998</c:v>
                </c:pt>
                <c:pt idx="1443">
                  <c:v>0.99958164943005345</c:v>
                </c:pt>
                <c:pt idx="1444">
                  <c:v>0.99958730870722279</c:v>
                </c:pt>
                <c:pt idx="1445">
                  <c:v>0.99959151838260707</c:v>
                </c:pt>
                <c:pt idx="1446">
                  <c:v>0.99959570553218668</c:v>
                </c:pt>
                <c:pt idx="1447">
                  <c:v>0.99959845235531275</c:v>
                </c:pt>
                <c:pt idx="1448">
                  <c:v>0.99960391817557104</c:v>
                </c:pt>
                <c:pt idx="1449">
                  <c:v>0.99960929124251585</c:v>
                </c:pt>
                <c:pt idx="1450">
                  <c:v>0.99961061496480386</c:v>
                </c:pt>
                <c:pt idx="1451">
                  <c:v>0.99961325445909577</c:v>
                </c:pt>
                <c:pt idx="1452">
                  <c:v>0.99961588600310369</c:v>
                </c:pt>
                <c:pt idx="1453">
                  <c:v>0.99961980416807428</c:v>
                </c:pt>
                <c:pt idx="1454">
                  <c:v>0.99962110403951021</c:v>
                </c:pt>
                <c:pt idx="1455">
                  <c:v>0.99962239463561486</c:v>
                </c:pt>
                <c:pt idx="1456">
                  <c:v>0.99962496920258748</c:v>
                </c:pt>
                <c:pt idx="1457">
                  <c:v>0.99963631823301469</c:v>
                </c:pt>
                <c:pt idx="1458">
                  <c:v>0.99964485153785421</c:v>
                </c:pt>
                <c:pt idx="1459">
                  <c:v>0.99964726047390984</c:v>
                </c:pt>
                <c:pt idx="1460">
                  <c:v>0.99965321391158746</c:v>
                </c:pt>
                <c:pt idx="1461">
                  <c:v>0.99966021016151785</c:v>
                </c:pt>
                <c:pt idx="1462">
                  <c:v>0.99966136295269958</c:v>
                </c:pt>
                <c:pt idx="1463">
                  <c:v>0.99966251441883403</c:v>
                </c:pt>
                <c:pt idx="1464">
                  <c:v>0.99966480675072411</c:v>
                </c:pt>
                <c:pt idx="1465">
                  <c:v>0.99967158701793912</c:v>
                </c:pt>
                <c:pt idx="1466">
                  <c:v>0.99967495396321815</c:v>
                </c:pt>
                <c:pt idx="1467">
                  <c:v>0.9996783103081186</c:v>
                </c:pt>
                <c:pt idx="1468">
                  <c:v>0.9996794140725489</c:v>
                </c:pt>
                <c:pt idx="1469">
                  <c:v>0.99968270681517712</c:v>
                </c:pt>
                <c:pt idx="1470">
                  <c:v>0.99968379997922874</c:v>
                </c:pt>
                <c:pt idx="1471">
                  <c:v>0.99968596775666929</c:v>
                </c:pt>
                <c:pt idx="1472">
                  <c:v>0.99969132624809331</c:v>
                </c:pt>
                <c:pt idx="1473">
                  <c:v>0.99969239291119827</c:v>
                </c:pt>
                <c:pt idx="1474">
                  <c:v>0.99969557699994505</c:v>
                </c:pt>
                <c:pt idx="1475">
                  <c:v>0.99970073143407956</c:v>
                </c:pt>
                <c:pt idx="1476">
                  <c:v>0.99970174377024379</c:v>
                </c:pt>
                <c:pt idx="1477">
                  <c:v>0.99970578251452191</c:v>
                </c:pt>
                <c:pt idx="1478">
                  <c:v>0.99971373544862852</c:v>
                </c:pt>
                <c:pt idx="1479">
                  <c:v>0.99971471730870398</c:v>
                </c:pt>
                <c:pt idx="1480">
                  <c:v>0.99972052896631669</c:v>
                </c:pt>
                <c:pt idx="1481">
                  <c:v>0.9997214803503035</c:v>
                </c:pt>
                <c:pt idx="1482">
                  <c:v>0.99972896686774804</c:v>
                </c:pt>
                <c:pt idx="1483">
                  <c:v>0.99973171501592151</c:v>
                </c:pt>
                <c:pt idx="1484">
                  <c:v>0.99973444461343219</c:v>
                </c:pt>
                <c:pt idx="1485">
                  <c:v>0.99974155481743343</c:v>
                </c:pt>
                <c:pt idx="1486">
                  <c:v>0.99974242934867474</c:v>
                </c:pt>
                <c:pt idx="1487">
                  <c:v>0.99974591024802473</c:v>
                </c:pt>
                <c:pt idx="1488">
                  <c:v>0.99974677285384006</c:v>
                </c:pt>
                <c:pt idx="1489">
                  <c:v>0.9997501954511071</c:v>
                </c:pt>
                <c:pt idx="1490">
                  <c:v>0.99975358492219091</c:v>
                </c:pt>
                <c:pt idx="1491">
                  <c:v>0.99975442897734346</c:v>
                </c:pt>
                <c:pt idx="1492">
                  <c:v>0.99975776942167593</c:v>
                </c:pt>
                <c:pt idx="1493">
                  <c:v>0.99975941910560839</c:v>
                </c:pt>
                <c:pt idx="1494">
                  <c:v>0.99976106348935156</c:v>
                </c:pt>
                <c:pt idx="1495">
                  <c:v>0.99976268799738466</c:v>
                </c:pt>
                <c:pt idx="1496">
                  <c:v>0.99976429925494448</c:v>
                </c:pt>
                <c:pt idx="1497">
                  <c:v>0.99976986445375282</c:v>
                </c:pt>
                <c:pt idx="1498">
                  <c:v>0.99977064225653867</c:v>
                </c:pt>
                <c:pt idx="1499">
                  <c:v>0.99977141873427722</c:v>
                </c:pt>
                <c:pt idx="1500">
                  <c:v>0.99977450344447394</c:v>
                </c:pt>
                <c:pt idx="1501">
                  <c:v>0.99977602459881487</c:v>
                </c:pt>
                <c:pt idx="1502">
                  <c:v>0.99977678517598534</c:v>
                </c:pt>
                <c:pt idx="1503">
                  <c:v>0.99977904173159748</c:v>
                </c:pt>
                <c:pt idx="1504">
                  <c:v>0.99977979170838926</c:v>
                </c:pt>
                <c:pt idx="1505">
                  <c:v>0.99978349919083354</c:v>
                </c:pt>
                <c:pt idx="1506">
                  <c:v>0.99978423194200994</c:v>
                </c:pt>
                <c:pt idx="1507">
                  <c:v>0.99978715234633697</c:v>
                </c:pt>
                <c:pt idx="1508">
                  <c:v>0.9997886045982165</c:v>
                </c:pt>
                <c:pt idx="1509">
                  <c:v>0.99979076972556247</c:v>
                </c:pt>
                <c:pt idx="1510">
                  <c:v>0.9997914892262656</c:v>
                </c:pt>
                <c:pt idx="1511">
                  <c:v>0.99979220740192132</c:v>
                </c:pt>
                <c:pt idx="1512">
                  <c:v>0.99979292557757704</c:v>
                </c:pt>
                <c:pt idx="1513">
                  <c:v>0.99979364242818547</c:v>
                </c:pt>
                <c:pt idx="1514">
                  <c:v>0.99979791173069976</c:v>
                </c:pt>
                <c:pt idx="1515">
                  <c:v>0.9997986206310242</c:v>
                </c:pt>
                <c:pt idx="1516">
                  <c:v>0.99980285945745007</c:v>
                </c:pt>
                <c:pt idx="1517">
                  <c:v>0.99980355643234842</c:v>
                </c:pt>
                <c:pt idx="1518">
                  <c:v>0.99980494773205053</c:v>
                </c:pt>
                <c:pt idx="1519">
                  <c:v>0.99980702275617772</c:v>
                </c:pt>
                <c:pt idx="1520">
                  <c:v>0.99980839815531186</c:v>
                </c:pt>
                <c:pt idx="1521">
                  <c:v>0.99980976162901991</c:v>
                </c:pt>
                <c:pt idx="1522">
                  <c:v>0.99981246340053664</c:v>
                </c:pt>
                <c:pt idx="1523">
                  <c:v>0.99981313519953563</c:v>
                </c:pt>
                <c:pt idx="1524">
                  <c:v>0.99981380567348732</c:v>
                </c:pt>
                <c:pt idx="1525">
                  <c:v>0.99981643854254254</c:v>
                </c:pt>
                <c:pt idx="1526">
                  <c:v>0.99982157177591968</c:v>
                </c:pt>
                <c:pt idx="1527">
                  <c:v>0.99982220647359332</c:v>
                </c:pt>
                <c:pt idx="1528">
                  <c:v>0.99982283587107756</c:v>
                </c:pt>
                <c:pt idx="1529">
                  <c:v>0.99982467901192096</c:v>
                </c:pt>
                <c:pt idx="1530">
                  <c:v>0.9998258954053747</c:v>
                </c:pt>
                <c:pt idx="1531">
                  <c:v>0.99982709854835516</c:v>
                </c:pt>
                <c:pt idx="1532">
                  <c:v>0.99982949158384271</c:v>
                </c:pt>
                <c:pt idx="1533">
                  <c:v>0.9998306828013972</c:v>
                </c:pt>
                <c:pt idx="1534">
                  <c:v>0.99983127642260339</c:v>
                </c:pt>
                <c:pt idx="1535">
                  <c:v>0.99983481032384669</c:v>
                </c:pt>
                <c:pt idx="1536">
                  <c:v>0.99983539334467419</c:v>
                </c:pt>
                <c:pt idx="1537">
                  <c:v>0.99983995680769711</c:v>
                </c:pt>
                <c:pt idx="1538">
                  <c:v>0.99984439439122297</c:v>
                </c:pt>
                <c:pt idx="1539">
                  <c:v>0.99984926394018026</c:v>
                </c:pt>
                <c:pt idx="1540">
                  <c:v>0.9998560097561644</c:v>
                </c:pt>
                <c:pt idx="1541">
                  <c:v>0.99985753091050544</c:v>
                </c:pt>
                <c:pt idx="1542">
                  <c:v>0.99985803575354015</c:v>
                </c:pt>
                <c:pt idx="1543">
                  <c:v>0.9998615352035527</c:v>
                </c:pt>
                <c:pt idx="1544">
                  <c:v>0.99986202812116143</c:v>
                </c:pt>
                <c:pt idx="1545">
                  <c:v>0.99986350289884562</c:v>
                </c:pt>
                <c:pt idx="1546">
                  <c:v>0.9998644807837791</c:v>
                </c:pt>
                <c:pt idx="1547">
                  <c:v>0.99986739191277485</c:v>
                </c:pt>
                <c:pt idx="1548">
                  <c:v>0.99986834992199825</c:v>
                </c:pt>
                <c:pt idx="1549">
                  <c:v>0.9998688256139916</c:v>
                </c:pt>
                <c:pt idx="1550">
                  <c:v>0.99986929998093765</c:v>
                </c:pt>
                <c:pt idx="1551">
                  <c:v>0.99987166254033666</c:v>
                </c:pt>
                <c:pt idx="1552">
                  <c:v>0.99987260199889738</c:v>
                </c:pt>
                <c:pt idx="1553">
                  <c:v>0.99987536869773341</c:v>
                </c:pt>
                <c:pt idx="1554">
                  <c:v>0.99987628298039477</c:v>
                </c:pt>
                <c:pt idx="1555">
                  <c:v>0.99987673614658346</c:v>
                </c:pt>
                <c:pt idx="1556">
                  <c:v>0.99987718666267744</c:v>
                </c:pt>
                <c:pt idx="1557">
                  <c:v>0.99987763452867673</c:v>
                </c:pt>
                <c:pt idx="1558">
                  <c:v>0.99987942201753199</c:v>
                </c:pt>
                <c:pt idx="1559">
                  <c:v>0.99988119228077199</c:v>
                </c:pt>
                <c:pt idx="1560">
                  <c:v>0.99988293736811262</c:v>
                </c:pt>
                <c:pt idx="1561">
                  <c:v>0.99988337198363864</c:v>
                </c:pt>
                <c:pt idx="1562">
                  <c:v>0.99988380659916465</c:v>
                </c:pt>
                <c:pt idx="1563">
                  <c:v>0.99988510514555318</c:v>
                </c:pt>
                <c:pt idx="1564">
                  <c:v>0.9998855357859372</c:v>
                </c:pt>
                <c:pt idx="1565">
                  <c:v>0.99988682373194715</c:v>
                </c:pt>
                <c:pt idx="1566">
                  <c:v>0.99988809577738902</c:v>
                </c:pt>
                <c:pt idx="1567">
                  <c:v>0.99989475016510709</c:v>
                </c:pt>
                <c:pt idx="1568">
                  <c:v>0.99990157813402591</c:v>
                </c:pt>
                <c:pt idx="1569">
                  <c:v>0.99990197299813188</c:v>
                </c:pt>
                <c:pt idx="1570">
                  <c:v>0.99990353655398745</c:v>
                </c:pt>
                <c:pt idx="1571">
                  <c:v>0.99990507890908575</c:v>
                </c:pt>
                <c:pt idx="1572">
                  <c:v>0.9999084975312108</c:v>
                </c:pt>
                <c:pt idx="1573">
                  <c:v>0.99991290728874282</c:v>
                </c:pt>
                <c:pt idx="1574">
                  <c:v>0.99991433568977039</c:v>
                </c:pt>
                <c:pt idx="1575">
                  <c:v>0.99991469212750361</c:v>
                </c:pt>
                <c:pt idx="1576">
                  <c:v>0.99991715539049997</c:v>
                </c:pt>
                <c:pt idx="1577">
                  <c:v>0.99991820085284766</c:v>
                </c:pt>
                <c:pt idx="1578">
                  <c:v>0.99991854669020219</c:v>
                </c:pt>
                <c:pt idx="1579">
                  <c:v>0.99991957757702921</c:v>
                </c:pt>
                <c:pt idx="1580">
                  <c:v>0.99992060183861942</c:v>
                </c:pt>
                <c:pt idx="1581">
                  <c:v>0.99992094237578455</c:v>
                </c:pt>
                <c:pt idx="1582">
                  <c:v>0.99992229259901921</c:v>
                </c:pt>
                <c:pt idx="1583">
                  <c:v>0.99992296042287621</c:v>
                </c:pt>
                <c:pt idx="1584">
                  <c:v>0.99992558534164744</c:v>
                </c:pt>
                <c:pt idx="1585">
                  <c:v>0.9999259086531973</c:v>
                </c:pt>
                <c:pt idx="1586">
                  <c:v>0.99992622931465247</c:v>
                </c:pt>
                <c:pt idx="1587">
                  <c:v>0.99992939352768917</c:v>
                </c:pt>
                <c:pt idx="1588">
                  <c:v>0.99993153612923058</c:v>
                </c:pt>
                <c:pt idx="1589">
                  <c:v>0.99993359790288439</c:v>
                </c:pt>
                <c:pt idx="1590">
                  <c:v>0.99993388676320349</c:v>
                </c:pt>
                <c:pt idx="1591">
                  <c:v>0.99993530986404178</c:v>
                </c:pt>
                <c:pt idx="1592">
                  <c:v>0.9999366865882231</c:v>
                </c:pt>
                <c:pt idx="1593">
                  <c:v>0.99993722720753597</c:v>
                </c:pt>
                <c:pt idx="1594">
                  <c:v>0.99993749751719241</c:v>
                </c:pt>
                <c:pt idx="1595">
                  <c:v>0.99993857345562864</c:v>
                </c:pt>
                <c:pt idx="1596">
                  <c:v>0.99993884111519038</c:v>
                </c:pt>
                <c:pt idx="1597">
                  <c:v>0.99993990247810594</c:v>
                </c:pt>
                <c:pt idx="1598">
                  <c:v>0.99994120764973138</c:v>
                </c:pt>
                <c:pt idx="1599">
                  <c:v>0.99994321774653927</c:v>
                </c:pt>
                <c:pt idx="1600">
                  <c:v>0.999943710664148</c:v>
                </c:pt>
                <c:pt idx="1601">
                  <c:v>0.99994419828156733</c:v>
                </c:pt>
                <c:pt idx="1602">
                  <c:v>0.999944442090277</c:v>
                </c:pt>
                <c:pt idx="1603">
                  <c:v>0.99994706965914293</c:v>
                </c:pt>
                <c:pt idx="1604">
                  <c:v>0.99994730419252131</c:v>
                </c:pt>
                <c:pt idx="1605">
                  <c:v>0.99995006956631016</c:v>
                </c:pt>
                <c:pt idx="1606">
                  <c:v>0.99995453100068832</c:v>
                </c:pt>
                <c:pt idx="1607">
                  <c:v>0.99995474698340403</c:v>
                </c:pt>
                <c:pt idx="1608">
                  <c:v>0.9999560283041774</c:v>
                </c:pt>
                <c:pt idx="1609">
                  <c:v>0.99995687500942454</c:v>
                </c:pt>
                <c:pt idx="1610">
                  <c:v>0.99995872080036285</c:v>
                </c:pt>
                <c:pt idx="1611">
                  <c:v>0.99995891955746319</c:v>
                </c:pt>
                <c:pt idx="1612">
                  <c:v>0.99995931707166386</c:v>
                </c:pt>
                <c:pt idx="1613">
                  <c:v>0.99995971193576982</c:v>
                </c:pt>
                <c:pt idx="1614">
                  <c:v>0.99996184128683763</c:v>
                </c:pt>
                <c:pt idx="1615">
                  <c:v>0.99996203076860657</c:v>
                </c:pt>
                <c:pt idx="1616">
                  <c:v>0.9999656865742047</c:v>
                </c:pt>
                <c:pt idx="1617">
                  <c:v>0.99996655713030402</c:v>
                </c:pt>
                <c:pt idx="1618">
                  <c:v>0.99996706992362283</c:v>
                </c:pt>
                <c:pt idx="1619">
                  <c:v>0.99996824126546724</c:v>
                </c:pt>
                <c:pt idx="1620">
                  <c:v>0.99996937418093901</c:v>
                </c:pt>
                <c:pt idx="1621">
                  <c:v>0.9999725503194018</c:v>
                </c:pt>
                <c:pt idx="1622">
                  <c:v>0.99997385549102702</c:v>
                </c:pt>
                <c:pt idx="1623">
                  <c:v>0.99997470617141626</c:v>
                </c:pt>
                <c:pt idx="1624">
                  <c:v>0.9999751222362796</c:v>
                </c:pt>
                <c:pt idx="1625">
                  <c:v>0.99997567345597127</c:v>
                </c:pt>
                <c:pt idx="1626">
                  <c:v>0.9999770210291109</c:v>
                </c:pt>
                <c:pt idx="1627">
                  <c:v>0.99997741721826416</c:v>
                </c:pt>
                <c:pt idx="1628">
                  <c:v>0.99997983940479318</c:v>
                </c:pt>
                <c:pt idx="1629">
                  <c:v>0.99998081596467936</c:v>
                </c:pt>
                <c:pt idx="1630">
                  <c:v>0.99998177397390264</c:v>
                </c:pt>
                <c:pt idx="1631">
                  <c:v>0.99998212643649387</c:v>
                </c:pt>
                <c:pt idx="1632">
                  <c:v>0.9999824762489905</c:v>
                </c:pt>
                <c:pt idx="1633">
                  <c:v>0.99998294001555788</c:v>
                </c:pt>
                <c:pt idx="1634">
                  <c:v>0.99998350316067541</c:v>
                </c:pt>
                <c:pt idx="1635">
                  <c:v>0.99998382382213058</c:v>
                </c:pt>
                <c:pt idx="1636">
                  <c:v>0.9999840358297043</c:v>
                </c:pt>
                <c:pt idx="1637">
                  <c:v>0.99998414183349116</c:v>
                </c:pt>
                <c:pt idx="1638">
                  <c:v>0.9999850640664365</c:v>
                </c:pt>
                <c:pt idx="1639">
                  <c:v>0.99998516211993926</c:v>
                </c:pt>
                <c:pt idx="1640">
                  <c:v>0.99998564178707461</c:v>
                </c:pt>
                <c:pt idx="1641">
                  <c:v>0.9999862976855054</c:v>
                </c:pt>
                <c:pt idx="1642">
                  <c:v>0.99998683830481827</c:v>
                </c:pt>
                <c:pt idx="1643">
                  <c:v>0.99998789039240288</c:v>
                </c:pt>
                <c:pt idx="1644">
                  <c:v>0.99998814480149134</c:v>
                </c:pt>
                <c:pt idx="1645">
                  <c:v>0.99998872649727144</c:v>
                </c:pt>
                <c:pt idx="1646">
                  <c:v>0.99998920616440679</c:v>
                </c:pt>
                <c:pt idx="1647">
                  <c:v>0.99998975738409823</c:v>
                </c:pt>
                <c:pt idx="1648">
                  <c:v>0.99999006479508024</c:v>
                </c:pt>
                <c:pt idx="1649">
                  <c:v>0.99999044508366552</c:v>
                </c:pt>
                <c:pt idx="1650">
                  <c:v>0.99999059613906172</c:v>
                </c:pt>
                <c:pt idx="1651">
                  <c:v>0.99999104135496653</c:v>
                </c:pt>
                <c:pt idx="1652">
                  <c:v>0.9999926976641359</c:v>
                </c:pt>
                <c:pt idx="1653">
                  <c:v>0.99999295472331895</c:v>
                </c:pt>
                <c:pt idx="1654">
                  <c:v>0.9999931455301353</c:v>
                </c:pt>
                <c:pt idx="1655">
                  <c:v>0.99999333368685683</c:v>
                </c:pt>
                <c:pt idx="1656">
                  <c:v>0.99999345824130625</c:v>
                </c:pt>
                <c:pt idx="1657">
                  <c:v>0.99999370205001592</c:v>
                </c:pt>
                <c:pt idx="1658">
                  <c:v>0.99999382130427616</c:v>
                </c:pt>
                <c:pt idx="1659">
                  <c:v>0.99999515960208496</c:v>
                </c:pt>
                <c:pt idx="1660">
                  <c:v>0.99999536365937447</c:v>
                </c:pt>
                <c:pt idx="1661">
                  <c:v>0.99999551471477066</c:v>
                </c:pt>
                <c:pt idx="1662">
                  <c:v>0.99999561276827353</c:v>
                </c:pt>
                <c:pt idx="1663">
                  <c:v>0.99999676290936046</c:v>
                </c:pt>
                <c:pt idx="1664">
                  <c:v>0.99999684771238995</c:v>
                </c:pt>
                <c:pt idx="1665">
                  <c:v>0.99999697491693418</c:v>
                </c:pt>
                <c:pt idx="1666">
                  <c:v>0.99999745855921174</c:v>
                </c:pt>
                <c:pt idx="1667">
                  <c:v>0.99999760961460793</c:v>
                </c:pt>
                <c:pt idx="1668">
                  <c:v>0.99999764671593327</c:v>
                </c:pt>
                <c:pt idx="1669">
                  <c:v>0.99999772091858397</c:v>
                </c:pt>
                <c:pt idx="1670">
                  <c:v>0.99999786799883805</c:v>
                </c:pt>
                <c:pt idx="1671">
                  <c:v>0.9999979037751161</c:v>
                </c:pt>
                <c:pt idx="1672">
                  <c:v>0.99999807735631707</c:v>
                </c:pt>
                <c:pt idx="1673">
                  <c:v>0.99999824298723383</c:v>
                </c:pt>
                <c:pt idx="1674">
                  <c:v>0.9999983397156893</c:v>
                </c:pt>
                <c:pt idx="1675">
                  <c:v>0.99999840331796142</c:v>
                </c:pt>
                <c:pt idx="1676">
                  <c:v>0.99999865507695529</c:v>
                </c:pt>
                <c:pt idx="1677">
                  <c:v>0.99999877433121553</c:v>
                </c:pt>
                <c:pt idx="1678">
                  <c:v>0.99999888961033367</c:v>
                </c:pt>
                <c:pt idx="1679">
                  <c:v>0.9999990009143099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27</c:f>
              <c:strCache>
                <c:ptCount val="626"/>
                <c:pt idx="0">
                  <c:v>Caprice Des</c:v>
                </c:pt>
                <c:pt idx="1">
                  <c:v>Private Lab</c:v>
                </c:pt>
                <c:pt idx="2">
                  <c:v>Private Lab</c:v>
                </c:pt>
                <c:pt idx="3">
                  <c:v>Private Lab</c:v>
                </c:pt>
                <c:pt idx="4">
                  <c:v>Coeur De Li</c:v>
                </c:pt>
                <c:pt idx="5">
                  <c:v>President</c:v>
                </c:pt>
                <c:pt idx="6">
                  <c:v>Private Lab</c:v>
                </c:pt>
                <c:pt idx="7">
                  <c:v>Mini Babybe</c:v>
                </c:pt>
                <c:pt idx="8">
                  <c:v>Soignon</c:v>
                </c:pt>
                <c:pt idx="9">
                  <c:v>Private Lab</c:v>
                </c:pt>
                <c:pt idx="10">
                  <c:v>Private Lab</c:v>
                </c:pt>
                <c:pt idx="11">
                  <c:v>Caprice Des</c:v>
                </c:pt>
                <c:pt idx="12">
                  <c:v>President</c:v>
                </c:pt>
                <c:pt idx="13">
                  <c:v>La Vache Qu</c:v>
                </c:pt>
                <c:pt idx="14">
                  <c:v>Soignon</c:v>
                </c:pt>
                <c:pt idx="15">
                  <c:v>Le Rustique</c:v>
                </c:pt>
                <c:pt idx="16">
                  <c:v>Private Lab</c:v>
                </c:pt>
                <c:pt idx="17">
                  <c:v>St Moret</c:v>
                </c:pt>
                <c:pt idx="18">
                  <c:v>St Moret</c:v>
                </c:pt>
                <c:pt idx="19">
                  <c:v>La Vache Qu</c:v>
                </c:pt>
                <c:pt idx="20">
                  <c:v>Private Lab</c:v>
                </c:pt>
                <c:pt idx="21">
                  <c:v>President</c:v>
                </c:pt>
                <c:pt idx="22">
                  <c:v>Private Lab</c:v>
                </c:pt>
                <c:pt idx="23">
                  <c:v>St Moret</c:v>
                </c:pt>
                <c:pt idx="24">
                  <c:v>Private Lab</c:v>
                </c:pt>
                <c:pt idx="25">
                  <c:v>Galbani</c:v>
                </c:pt>
                <c:pt idx="26">
                  <c:v>Mini Babybe</c:v>
                </c:pt>
                <c:pt idx="27">
                  <c:v>Tartare</c:v>
                </c:pt>
                <c:pt idx="28">
                  <c:v>Private Lab</c:v>
                </c:pt>
                <c:pt idx="29">
                  <c:v>Private Lab</c:v>
                </c:pt>
                <c:pt idx="30">
                  <c:v>La Vache Qu</c:v>
                </c:pt>
                <c:pt idx="31">
                  <c:v>Coeur De Li</c:v>
                </c:pt>
                <c:pt idx="32">
                  <c:v>St Moret</c:v>
                </c:pt>
                <c:pt idx="33">
                  <c:v>Salakis</c:v>
                </c:pt>
                <c:pt idx="34">
                  <c:v>Kiri</c:v>
                </c:pt>
                <c:pt idx="35">
                  <c:v>Soignon</c:v>
                </c:pt>
                <c:pt idx="36">
                  <c:v>All Others</c:v>
                </c:pt>
                <c:pt idx="37">
                  <c:v>Private Lab</c:v>
                </c:pt>
                <c:pt idx="38">
                  <c:v>Private Lab</c:v>
                </c:pt>
                <c:pt idx="39">
                  <c:v>Private Lab</c:v>
                </c:pt>
                <c:pt idx="40">
                  <c:v>Private Lab</c:v>
                </c:pt>
                <c:pt idx="41">
                  <c:v>Private Lab</c:v>
                </c:pt>
                <c:pt idx="42">
                  <c:v>Galbani</c:v>
                </c:pt>
                <c:pt idx="43">
                  <c:v>Private Lab</c:v>
                </c:pt>
                <c:pt idx="44">
                  <c:v>Kiri</c:v>
                </c:pt>
                <c:pt idx="45">
                  <c:v>Private Lab</c:v>
                </c:pt>
                <c:pt idx="46">
                  <c:v>Private Lab</c:v>
                </c:pt>
                <c:pt idx="47">
                  <c:v>Galbani</c:v>
                </c:pt>
                <c:pt idx="48">
                  <c:v>Private Lab</c:v>
                </c:pt>
                <c:pt idx="49">
                  <c:v>Istara</c:v>
                </c:pt>
                <c:pt idx="50">
                  <c:v>Private Lab</c:v>
                </c:pt>
                <c:pt idx="51">
                  <c:v>Paysan Bret</c:v>
                </c:pt>
                <c:pt idx="52">
                  <c:v>Paysan Bret</c:v>
                </c:pt>
                <c:pt idx="53">
                  <c:v>Private Lab</c:v>
                </c:pt>
                <c:pt idx="54">
                  <c:v>Private Lab</c:v>
                </c:pt>
                <c:pt idx="55">
                  <c:v>Ficello</c:v>
                </c:pt>
                <c:pt idx="56">
                  <c:v>Tartare</c:v>
                </c:pt>
                <c:pt idx="57">
                  <c:v>Boursin</c:v>
                </c:pt>
                <c:pt idx="58">
                  <c:v>Boursin</c:v>
                </c:pt>
                <c:pt idx="59">
                  <c:v>Lou Perac</c:v>
                </c:pt>
                <c:pt idx="60">
                  <c:v>Private Lab</c:v>
                </c:pt>
                <c:pt idx="61">
                  <c:v>Kiri</c:v>
                </c:pt>
                <c:pt idx="62">
                  <c:v>Galbani</c:v>
                </c:pt>
                <c:pt idx="63">
                  <c:v>Galbani</c:v>
                </c:pt>
                <c:pt idx="64">
                  <c:v>Private Lab</c:v>
                </c:pt>
                <c:pt idx="65">
                  <c:v>Kiri</c:v>
                </c:pt>
                <c:pt idx="66">
                  <c:v>Private Lab</c:v>
                </c:pt>
                <c:pt idx="67">
                  <c:v>St Moret</c:v>
                </c:pt>
                <c:pt idx="68">
                  <c:v>Carre Frais</c:v>
                </c:pt>
                <c:pt idx="69">
                  <c:v>Private Lab</c:v>
                </c:pt>
                <c:pt idx="70">
                  <c:v>Lepetit</c:v>
                </c:pt>
                <c:pt idx="71">
                  <c:v>President</c:v>
                </c:pt>
                <c:pt idx="72">
                  <c:v>Boursin</c:v>
                </c:pt>
                <c:pt idx="73">
                  <c:v>Islos</c:v>
                </c:pt>
                <c:pt idx="74">
                  <c:v>Caprice Des</c:v>
                </c:pt>
                <c:pt idx="75">
                  <c:v>President</c:v>
                </c:pt>
                <c:pt idx="76">
                  <c:v>All Others</c:v>
                </c:pt>
                <c:pt idx="77">
                  <c:v>Salakis</c:v>
                </c:pt>
                <c:pt idx="78">
                  <c:v>Carre Frais</c:v>
                </c:pt>
                <c:pt idx="79">
                  <c:v>Coeur De Li</c:v>
                </c:pt>
                <c:pt idx="80">
                  <c:v>Philadelphi</c:v>
                </c:pt>
                <c:pt idx="81">
                  <c:v>Private Lab</c:v>
                </c:pt>
                <c:pt idx="82">
                  <c:v>Private Lab</c:v>
                </c:pt>
                <c:pt idx="83">
                  <c:v>Coeur De Li</c:v>
                </c:pt>
                <c:pt idx="84">
                  <c:v>Galbani</c:v>
                </c:pt>
                <c:pt idx="85">
                  <c:v>Kiri</c:v>
                </c:pt>
                <c:pt idx="86">
                  <c:v>St Moret</c:v>
                </c:pt>
                <c:pt idx="87">
                  <c:v>Soignon</c:v>
                </c:pt>
                <c:pt idx="88">
                  <c:v>President</c:v>
                </c:pt>
                <c:pt idx="89">
                  <c:v>Private Lab</c:v>
                </c:pt>
                <c:pt idx="90">
                  <c:v>Coeur De Li</c:v>
                </c:pt>
                <c:pt idx="91">
                  <c:v>Mini Babybe</c:v>
                </c:pt>
                <c:pt idx="92">
                  <c:v>President</c:v>
                </c:pt>
                <c:pt idx="93">
                  <c:v>All Others</c:v>
                </c:pt>
                <c:pt idx="94">
                  <c:v>Le Rustique</c:v>
                </c:pt>
                <c:pt idx="95">
                  <c:v>Petit Billy</c:v>
                </c:pt>
                <c:pt idx="96">
                  <c:v>Istara</c:v>
                </c:pt>
                <c:pt idx="97">
                  <c:v>Private Lab</c:v>
                </c:pt>
                <c:pt idx="98">
                  <c:v>Private Lab</c:v>
                </c:pt>
                <c:pt idx="99">
                  <c:v>President</c:v>
                </c:pt>
                <c:pt idx="100">
                  <c:v>Private Lab</c:v>
                </c:pt>
                <c:pt idx="101">
                  <c:v>President</c:v>
                </c:pt>
                <c:pt idx="102">
                  <c:v>Philadelphi</c:v>
                </c:pt>
                <c:pt idx="103">
                  <c:v>Ficello</c:v>
                </c:pt>
                <c:pt idx="104">
                  <c:v>Private Lab</c:v>
                </c:pt>
                <c:pt idx="105">
                  <c:v>Private Lab</c:v>
                </c:pt>
                <c:pt idx="106">
                  <c:v>All Others</c:v>
                </c:pt>
                <c:pt idx="107">
                  <c:v>Soignon</c:v>
                </c:pt>
                <c:pt idx="108">
                  <c:v>Etorki</c:v>
                </c:pt>
                <c:pt idx="109">
                  <c:v>Private Lab</c:v>
                </c:pt>
                <c:pt idx="110">
                  <c:v>Private Lab</c:v>
                </c:pt>
                <c:pt idx="111">
                  <c:v>St Moret</c:v>
                </c:pt>
                <c:pt idx="112">
                  <c:v>Private Lab</c:v>
                </c:pt>
                <c:pt idx="113">
                  <c:v>Soignon</c:v>
                </c:pt>
                <c:pt idx="114">
                  <c:v>All Others</c:v>
                </c:pt>
                <c:pt idx="115">
                  <c:v>Lactalis: A</c:v>
                </c:pt>
                <c:pt idx="116">
                  <c:v>Casa Azzurr</c:v>
                </c:pt>
                <c:pt idx="117">
                  <c:v>Tartare</c:v>
                </c:pt>
                <c:pt idx="118">
                  <c:v>La Vache Qu</c:v>
                </c:pt>
                <c:pt idx="119">
                  <c:v>All Others</c:v>
                </c:pt>
                <c:pt idx="120">
                  <c:v>Caprice Des</c:v>
                </c:pt>
                <c:pt idx="121">
                  <c:v>Soignon</c:v>
                </c:pt>
                <c:pt idx="122">
                  <c:v>Ficello</c:v>
                </c:pt>
                <c:pt idx="123">
                  <c:v>P'Tit Louis</c:v>
                </c:pt>
                <c:pt idx="124">
                  <c:v>Coeur De Li</c:v>
                </c:pt>
                <c:pt idx="125">
                  <c:v>Casa Azzurr</c:v>
                </c:pt>
                <c:pt idx="126">
                  <c:v>La Vache Qu</c:v>
                </c:pt>
                <c:pt idx="127">
                  <c:v>Soignon</c:v>
                </c:pt>
                <c:pt idx="128">
                  <c:v>All Others</c:v>
                </c:pt>
                <c:pt idx="129">
                  <c:v>All Others</c:v>
                </c:pt>
                <c:pt idx="130">
                  <c:v>Private Lab</c:v>
                </c:pt>
                <c:pt idx="131">
                  <c:v>Chavroux</c:v>
                </c:pt>
                <c:pt idx="132">
                  <c:v>Boursin</c:v>
                </c:pt>
                <c:pt idx="133">
                  <c:v>Private Lab</c:v>
                </c:pt>
                <c:pt idx="134">
                  <c:v>Lactalis: A</c:v>
                </c:pt>
                <c:pt idx="135">
                  <c:v>President</c:v>
                </c:pt>
                <c:pt idx="136">
                  <c:v>Paysan Bret</c:v>
                </c:pt>
                <c:pt idx="137">
                  <c:v>Salakis</c:v>
                </c:pt>
                <c:pt idx="138">
                  <c:v>Le Brebiou</c:v>
                </c:pt>
                <c:pt idx="139">
                  <c:v>Private Lab</c:v>
                </c:pt>
                <c:pt idx="140">
                  <c:v>President</c:v>
                </c:pt>
                <c:pt idx="141">
                  <c:v>Boursin</c:v>
                </c:pt>
                <c:pt idx="142">
                  <c:v>Private Lab</c:v>
                </c:pt>
                <c:pt idx="143">
                  <c:v>Boursin</c:v>
                </c:pt>
                <c:pt idx="144">
                  <c:v>Galbani</c:v>
                </c:pt>
                <c:pt idx="145">
                  <c:v>Private Lab</c:v>
                </c:pt>
                <c:pt idx="146">
                  <c:v>Soignon</c:v>
                </c:pt>
                <c:pt idx="147">
                  <c:v>Boursin</c:v>
                </c:pt>
                <c:pt idx="148">
                  <c:v>President</c:v>
                </c:pt>
                <c:pt idx="149">
                  <c:v>Les Mousque</c:v>
                </c:pt>
                <c:pt idx="150">
                  <c:v>Private Lab</c:v>
                </c:pt>
                <c:pt idx="151">
                  <c:v>Casa Azzurr</c:v>
                </c:pt>
                <c:pt idx="152">
                  <c:v>All Others</c:v>
                </c:pt>
                <c:pt idx="153">
                  <c:v>Casa Azzurr</c:v>
                </c:pt>
                <c:pt idx="154">
                  <c:v>Paysan Bret</c:v>
                </c:pt>
                <c:pt idx="155">
                  <c:v>Private Lab</c:v>
                </c:pt>
                <c:pt idx="156">
                  <c:v>Le Rustique</c:v>
                </c:pt>
                <c:pt idx="157">
                  <c:v>Private Lab</c:v>
                </c:pt>
                <c:pt idx="158">
                  <c:v>All Others</c:v>
                </c:pt>
                <c:pt idx="159">
                  <c:v>Paysan Bret</c:v>
                </c:pt>
                <c:pt idx="160">
                  <c:v>Private Lab</c:v>
                </c:pt>
                <c:pt idx="161">
                  <c:v>Salakis</c:v>
                </c:pt>
                <c:pt idx="162">
                  <c:v>Soignon</c:v>
                </c:pt>
                <c:pt idx="163">
                  <c:v>La Vache Qu</c:v>
                </c:pt>
                <c:pt idx="164">
                  <c:v>Casa Azzurr</c:v>
                </c:pt>
                <c:pt idx="165">
                  <c:v>Lou Perac</c:v>
                </c:pt>
                <c:pt idx="166">
                  <c:v>Carre Frais</c:v>
                </c:pt>
                <c:pt idx="167">
                  <c:v>Paysan Bret</c:v>
                </c:pt>
                <c:pt idx="168">
                  <c:v>Boursin</c:v>
                </c:pt>
                <c:pt idx="169">
                  <c:v>All Others</c:v>
                </c:pt>
                <c:pt idx="170">
                  <c:v>Tartare</c:v>
                </c:pt>
                <c:pt idx="171">
                  <c:v>Chavroux</c:v>
                </c:pt>
                <c:pt idx="172">
                  <c:v>Lactalis: A</c:v>
                </c:pt>
                <c:pt idx="173">
                  <c:v>Soignon</c:v>
                </c:pt>
                <c:pt idx="174">
                  <c:v>Galbani</c:v>
                </c:pt>
                <c:pt idx="175">
                  <c:v>Private Lab</c:v>
                </c:pt>
                <c:pt idx="176">
                  <c:v>Pave D'Affi</c:v>
                </c:pt>
                <c:pt idx="177">
                  <c:v>Private Lab</c:v>
                </c:pt>
                <c:pt idx="178">
                  <c:v>Private Lab</c:v>
                </c:pt>
                <c:pt idx="179">
                  <c:v>All Others</c:v>
                </c:pt>
                <c:pt idx="180">
                  <c:v>Boursin</c:v>
                </c:pt>
                <c:pt idx="181">
                  <c:v>Paysan Bret</c:v>
                </c:pt>
                <c:pt idx="182">
                  <c:v>Private Lab</c:v>
                </c:pt>
                <c:pt idx="183">
                  <c:v>All Others</c:v>
                </c:pt>
                <c:pt idx="184">
                  <c:v>Caprice Des</c:v>
                </c:pt>
                <c:pt idx="185">
                  <c:v>All Others</c:v>
                </c:pt>
                <c:pt idx="186">
                  <c:v>Casa Azzurr</c:v>
                </c:pt>
                <c:pt idx="187">
                  <c:v>Boursin</c:v>
                </c:pt>
                <c:pt idx="188">
                  <c:v>Mini Babybe</c:v>
                </c:pt>
                <c:pt idx="189">
                  <c:v>Private Lab</c:v>
                </c:pt>
                <c:pt idx="190">
                  <c:v>Salakis</c:v>
                </c:pt>
                <c:pt idx="191">
                  <c:v>Private Lab</c:v>
                </c:pt>
                <c:pt idx="192">
                  <c:v>Les Mousque</c:v>
                </c:pt>
                <c:pt idx="193">
                  <c:v>Tartare</c:v>
                </c:pt>
                <c:pt idx="194">
                  <c:v>Mini Babybe</c:v>
                </c:pt>
                <c:pt idx="195">
                  <c:v>Private Lab</c:v>
                </c:pt>
                <c:pt idx="196">
                  <c:v>Etorki</c:v>
                </c:pt>
                <c:pt idx="197">
                  <c:v>Galbani</c:v>
                </c:pt>
                <c:pt idx="198">
                  <c:v>Lou Perac</c:v>
                </c:pt>
                <c:pt idx="199">
                  <c:v>Private Lab</c:v>
                </c:pt>
                <c:pt idx="200">
                  <c:v>Savencia: A</c:v>
                </c:pt>
                <c:pt idx="201">
                  <c:v>St Moret</c:v>
                </c:pt>
                <c:pt idx="202">
                  <c:v>Private Lab</c:v>
                </c:pt>
                <c:pt idx="203">
                  <c:v>Saint Agur</c:v>
                </c:pt>
                <c:pt idx="204">
                  <c:v>Caprice Des</c:v>
                </c:pt>
                <c:pt idx="205">
                  <c:v>Kiri</c:v>
                </c:pt>
                <c:pt idx="206">
                  <c:v>Salakis</c:v>
                </c:pt>
                <c:pt idx="207">
                  <c:v>Caprice Des</c:v>
                </c:pt>
                <c:pt idx="208">
                  <c:v>Tartare</c:v>
                </c:pt>
                <c:pt idx="209">
                  <c:v>Casa Azzurr</c:v>
                </c:pt>
                <c:pt idx="210">
                  <c:v>Private Lab</c:v>
                </c:pt>
                <c:pt idx="211">
                  <c:v>Private Lab</c:v>
                </c:pt>
                <c:pt idx="212">
                  <c:v>St Moret</c:v>
                </c:pt>
                <c:pt idx="213">
                  <c:v>Boursin</c:v>
                </c:pt>
                <c:pt idx="214">
                  <c:v>Tartare</c:v>
                </c:pt>
                <c:pt idx="215">
                  <c:v>La Vache Qu</c:v>
                </c:pt>
                <c:pt idx="216">
                  <c:v>Paysan Bret</c:v>
                </c:pt>
                <c:pt idx="217">
                  <c:v>Le Rustique</c:v>
                </c:pt>
                <c:pt idx="218">
                  <c:v>Soignon</c:v>
                </c:pt>
                <c:pt idx="219">
                  <c:v>Kiri</c:v>
                </c:pt>
                <c:pt idx="220">
                  <c:v>Private Lab</c:v>
                </c:pt>
                <c:pt idx="221">
                  <c:v>All Others</c:v>
                </c:pt>
                <c:pt idx="222">
                  <c:v>Istara</c:v>
                </c:pt>
                <c:pt idx="223">
                  <c:v>All Others</c:v>
                </c:pt>
                <c:pt idx="224">
                  <c:v>Galbani</c:v>
                </c:pt>
                <c:pt idx="225">
                  <c:v>Soignon</c:v>
                </c:pt>
                <c:pt idx="226">
                  <c:v>Soignon</c:v>
                </c:pt>
                <c:pt idx="227">
                  <c:v>All Others</c:v>
                </c:pt>
                <c:pt idx="228">
                  <c:v>Kiri</c:v>
                </c:pt>
                <c:pt idx="229">
                  <c:v>All Others</c:v>
                </c:pt>
                <c:pt idx="230">
                  <c:v>All Others</c:v>
                </c:pt>
                <c:pt idx="231">
                  <c:v>Mini Babybe</c:v>
                </c:pt>
                <c:pt idx="232">
                  <c:v>Private Lab</c:v>
                </c:pt>
                <c:pt idx="233">
                  <c:v>All Others</c:v>
                </c:pt>
                <c:pt idx="234">
                  <c:v>Paysan Bret</c:v>
                </c:pt>
                <c:pt idx="235">
                  <c:v>All Others</c:v>
                </c:pt>
                <c:pt idx="236">
                  <c:v>Casa Azzurr</c:v>
                </c:pt>
                <c:pt idx="237">
                  <c:v>Private Lab</c:v>
                </c:pt>
                <c:pt idx="238">
                  <c:v>Corsica</c:v>
                </c:pt>
                <c:pt idx="239">
                  <c:v>Casa Azzurr</c:v>
                </c:pt>
                <c:pt idx="240">
                  <c:v>All Others</c:v>
                </c:pt>
                <c:pt idx="241">
                  <c:v>Islos</c:v>
                </c:pt>
                <c:pt idx="242">
                  <c:v>Soignon</c:v>
                </c:pt>
                <c:pt idx="243">
                  <c:v>Les Mousque</c:v>
                </c:pt>
                <c:pt idx="244">
                  <c:v>Mini Babybe</c:v>
                </c:pt>
                <c:pt idx="245">
                  <c:v>Milleret: A</c:v>
                </c:pt>
                <c:pt idx="246">
                  <c:v>All Others</c:v>
                </c:pt>
                <c:pt idx="247">
                  <c:v>Boursin</c:v>
                </c:pt>
                <c:pt idx="248">
                  <c:v>Kiri</c:v>
                </c:pt>
                <c:pt idx="249">
                  <c:v>Soignon</c:v>
                </c:pt>
                <c:pt idx="250">
                  <c:v>Kiri</c:v>
                </c:pt>
                <c:pt idx="251">
                  <c:v>Paysan Bret</c:v>
                </c:pt>
                <c:pt idx="252">
                  <c:v>P'Tit Louis</c:v>
                </c:pt>
                <c:pt idx="253">
                  <c:v>All Others</c:v>
                </c:pt>
                <c:pt idx="254">
                  <c:v>All Others</c:v>
                </c:pt>
                <c:pt idx="255">
                  <c:v>Etoile Du Q</c:v>
                </c:pt>
                <c:pt idx="256">
                  <c:v>Galbani</c:v>
                </c:pt>
                <c:pt idx="257">
                  <c:v>All Others</c:v>
                </c:pt>
                <c:pt idx="258">
                  <c:v>Caprice Des</c:v>
                </c:pt>
                <c:pt idx="259">
                  <c:v>Triballat N</c:v>
                </c:pt>
                <c:pt idx="260">
                  <c:v>Lactalis: A</c:v>
                </c:pt>
                <c:pt idx="261">
                  <c:v>Salakis</c:v>
                </c:pt>
                <c:pt idx="262">
                  <c:v>All Others</c:v>
                </c:pt>
                <c:pt idx="263">
                  <c:v>Galbani</c:v>
                </c:pt>
                <c:pt idx="264">
                  <c:v>Mini Babybe</c:v>
                </c:pt>
                <c:pt idx="265">
                  <c:v>All Others</c:v>
                </c:pt>
                <c:pt idx="266">
                  <c:v>All Others</c:v>
                </c:pt>
                <c:pt idx="267">
                  <c:v>Le Brebiou</c:v>
                </c:pt>
                <c:pt idx="268">
                  <c:v>Galbani</c:v>
                </c:pt>
                <c:pt idx="269">
                  <c:v>Boursin</c:v>
                </c:pt>
                <c:pt idx="270">
                  <c:v>Paysan Bret</c:v>
                </c:pt>
                <c:pt idx="271">
                  <c:v>All Others</c:v>
                </c:pt>
                <c:pt idx="272">
                  <c:v>Salakis</c:v>
                </c:pt>
                <c:pt idx="273">
                  <c:v>Etorki</c:v>
                </c:pt>
                <c:pt idx="274">
                  <c:v>Saint Agur</c:v>
                </c:pt>
                <c:pt idx="275">
                  <c:v>Islos</c:v>
                </c:pt>
                <c:pt idx="276">
                  <c:v>Carre Frais</c:v>
                </c:pt>
                <c:pt idx="277">
                  <c:v>All Others</c:v>
                </c:pt>
                <c:pt idx="278">
                  <c:v>Milleret: A</c:v>
                </c:pt>
                <c:pt idx="279">
                  <c:v>Triballat N</c:v>
                </c:pt>
                <c:pt idx="280">
                  <c:v>Galbani</c:v>
                </c:pt>
                <c:pt idx="281">
                  <c:v>Private Lab</c:v>
                </c:pt>
                <c:pt idx="282">
                  <c:v>Lactalis: A</c:v>
                </c:pt>
                <c:pt idx="283">
                  <c:v>Istara</c:v>
                </c:pt>
                <c:pt idx="284">
                  <c:v>Triballat N</c:v>
                </c:pt>
                <c:pt idx="285">
                  <c:v>All Others</c:v>
                </c:pt>
                <c:pt idx="286">
                  <c:v>All Others</c:v>
                </c:pt>
                <c:pt idx="287">
                  <c:v>All Others</c:v>
                </c:pt>
                <c:pt idx="288">
                  <c:v>Boursin</c:v>
                </c:pt>
                <c:pt idx="289">
                  <c:v>Chavroux</c:v>
                </c:pt>
                <c:pt idx="290">
                  <c:v>All Others</c:v>
                </c:pt>
                <c:pt idx="291">
                  <c:v>All Others</c:v>
                </c:pt>
                <c:pt idx="292">
                  <c:v>All Others</c:v>
                </c:pt>
                <c:pt idx="293">
                  <c:v>Lactalis: A</c:v>
                </c:pt>
                <c:pt idx="294">
                  <c:v>All Others</c:v>
                </c:pt>
                <c:pt idx="295">
                  <c:v>All Others</c:v>
                </c:pt>
                <c:pt idx="296">
                  <c:v>All Others</c:v>
                </c:pt>
                <c:pt idx="297">
                  <c:v>All Others</c:v>
                </c:pt>
                <c:pt idx="298">
                  <c:v>All Others</c:v>
                </c:pt>
                <c:pt idx="299">
                  <c:v>Boursin</c:v>
                </c:pt>
                <c:pt idx="300">
                  <c:v>Boursin</c:v>
                </c:pt>
                <c:pt idx="301">
                  <c:v>All Others</c:v>
                </c:pt>
                <c:pt idx="302">
                  <c:v>All Others</c:v>
                </c:pt>
                <c:pt idx="303">
                  <c:v>Triballat N</c:v>
                </c:pt>
                <c:pt idx="304">
                  <c:v>Tartare</c:v>
                </c:pt>
                <c:pt idx="305">
                  <c:v>Mini Babybe</c:v>
                </c:pt>
                <c:pt idx="306">
                  <c:v>All Others</c:v>
                </c:pt>
                <c:pt idx="307">
                  <c:v>All Others</c:v>
                </c:pt>
                <c:pt idx="308">
                  <c:v>Les Mousque</c:v>
                </c:pt>
                <c:pt idx="309">
                  <c:v>All Others</c:v>
                </c:pt>
                <c:pt idx="310">
                  <c:v>All Others</c:v>
                </c:pt>
                <c:pt idx="311">
                  <c:v>Chavroux</c:v>
                </c:pt>
                <c:pt idx="312">
                  <c:v>All Others</c:v>
                </c:pt>
                <c:pt idx="313">
                  <c:v>All Others</c:v>
                </c:pt>
                <c:pt idx="314">
                  <c:v>All Others</c:v>
                </c:pt>
                <c:pt idx="315">
                  <c:v>All Others</c:v>
                </c:pt>
                <c:pt idx="316">
                  <c:v>All Others</c:v>
                </c:pt>
                <c:pt idx="317">
                  <c:v>Soignon</c:v>
                </c:pt>
                <c:pt idx="318">
                  <c:v>All Others</c:v>
                </c:pt>
                <c:pt idx="319">
                  <c:v>All Others</c:v>
                </c:pt>
                <c:pt idx="320">
                  <c:v>All Others</c:v>
                </c:pt>
                <c:pt idx="321">
                  <c:v>All Others</c:v>
                </c:pt>
                <c:pt idx="322">
                  <c:v>All Others</c:v>
                </c:pt>
                <c:pt idx="323">
                  <c:v>All Others</c:v>
                </c:pt>
                <c:pt idx="324">
                  <c:v>All Others</c:v>
                </c:pt>
                <c:pt idx="325">
                  <c:v>All Others</c:v>
                </c:pt>
                <c:pt idx="326">
                  <c:v>All Others</c:v>
                </c:pt>
                <c:pt idx="327">
                  <c:v>All Others</c:v>
                </c:pt>
                <c:pt idx="328">
                  <c:v>All Others</c:v>
                </c:pt>
                <c:pt idx="329">
                  <c:v>Chavroux</c:v>
                </c:pt>
                <c:pt idx="330">
                  <c:v>Boursin</c:v>
                </c:pt>
                <c:pt idx="331">
                  <c:v>All Others</c:v>
                </c:pt>
                <c:pt idx="332">
                  <c:v>All Others</c:v>
                </c:pt>
                <c:pt idx="333">
                  <c:v>All Others</c:v>
                </c:pt>
                <c:pt idx="334">
                  <c:v>All Others</c:v>
                </c:pt>
                <c:pt idx="335">
                  <c:v>Boursin</c:v>
                </c:pt>
                <c:pt idx="336">
                  <c:v>All Others</c:v>
                </c:pt>
                <c:pt idx="337">
                  <c:v>Salakis</c:v>
                </c:pt>
                <c:pt idx="338">
                  <c:v>All Others</c:v>
                </c:pt>
                <c:pt idx="339">
                  <c:v>All Others</c:v>
                </c:pt>
                <c:pt idx="340">
                  <c:v>All Others</c:v>
                </c:pt>
                <c:pt idx="341">
                  <c:v>All Others</c:v>
                </c:pt>
                <c:pt idx="342">
                  <c:v>All Others</c:v>
                </c:pt>
                <c:pt idx="343">
                  <c:v>All Others</c:v>
                </c:pt>
                <c:pt idx="344">
                  <c:v>All Others</c:v>
                </c:pt>
                <c:pt idx="345">
                  <c:v>President</c:v>
                </c:pt>
                <c:pt idx="346">
                  <c:v>All Others</c:v>
                </c:pt>
                <c:pt idx="347">
                  <c:v>Private Lab</c:v>
                </c:pt>
                <c:pt idx="348">
                  <c:v>All Others</c:v>
                </c:pt>
                <c:pt idx="349">
                  <c:v>All Others</c:v>
                </c:pt>
                <c:pt idx="350">
                  <c:v>All Others</c:v>
                </c:pt>
                <c:pt idx="351">
                  <c:v>All Others</c:v>
                </c:pt>
                <c:pt idx="352">
                  <c:v>All Others</c:v>
                </c:pt>
                <c:pt idx="353">
                  <c:v>Petit Billy</c:v>
                </c:pt>
                <c:pt idx="354">
                  <c:v>All Others</c:v>
                </c:pt>
                <c:pt idx="355">
                  <c:v>All Others</c:v>
                </c:pt>
                <c:pt idx="356">
                  <c:v>La Table M</c:v>
                </c:pt>
                <c:pt idx="357">
                  <c:v>All Others</c:v>
                </c:pt>
                <c:pt idx="358">
                  <c:v>Salakis</c:v>
                </c:pt>
                <c:pt idx="359">
                  <c:v>Etoile Du V</c:v>
                </c:pt>
                <c:pt idx="360">
                  <c:v>All Others</c:v>
                </c:pt>
                <c:pt idx="361">
                  <c:v>All Others</c:v>
                </c:pt>
                <c:pt idx="362">
                  <c:v>All Others</c:v>
                </c:pt>
                <c:pt idx="363">
                  <c:v>All Others</c:v>
                </c:pt>
                <c:pt idx="364">
                  <c:v>Chavroux</c:v>
                </c:pt>
                <c:pt idx="365">
                  <c:v>All Others</c:v>
                </c:pt>
                <c:pt idx="366">
                  <c:v>Entremont</c:v>
                </c:pt>
                <c:pt idx="367">
                  <c:v>All Others</c:v>
                </c:pt>
                <c:pt idx="368">
                  <c:v>All Others</c:v>
                </c:pt>
                <c:pt idx="369">
                  <c:v>La Vache Qu</c:v>
                </c:pt>
                <c:pt idx="370">
                  <c:v>Lactalis: A</c:v>
                </c:pt>
                <c:pt idx="371">
                  <c:v>All Others</c:v>
                </c:pt>
                <c:pt idx="372">
                  <c:v>All Others</c:v>
                </c:pt>
                <c:pt idx="373">
                  <c:v>Entremont</c:v>
                </c:pt>
                <c:pt idx="374">
                  <c:v>All Others</c:v>
                </c:pt>
                <c:pt idx="375">
                  <c:v>Private Lab</c:v>
                </c:pt>
                <c:pt idx="376">
                  <c:v>All Others</c:v>
                </c:pt>
                <c:pt idx="377">
                  <c:v>All Others</c:v>
                </c:pt>
                <c:pt idx="378">
                  <c:v>Chavroux</c:v>
                </c:pt>
                <c:pt idx="379">
                  <c:v>Mini Babybe</c:v>
                </c:pt>
                <c:pt idx="380">
                  <c:v>All Others</c:v>
                </c:pt>
                <c:pt idx="381">
                  <c:v>All Others</c:v>
                </c:pt>
                <c:pt idx="382">
                  <c:v>All Others</c:v>
                </c:pt>
                <c:pt idx="383">
                  <c:v>All Others</c:v>
                </c:pt>
                <c:pt idx="384">
                  <c:v>All Others</c:v>
                </c:pt>
                <c:pt idx="385">
                  <c:v>All Others</c:v>
                </c:pt>
                <c:pt idx="386">
                  <c:v>Mini Babybe</c:v>
                </c:pt>
                <c:pt idx="387">
                  <c:v>All Others</c:v>
                </c:pt>
                <c:pt idx="388">
                  <c:v>All Others</c:v>
                </c:pt>
                <c:pt idx="389">
                  <c:v>All Others</c:v>
                </c:pt>
                <c:pt idx="390">
                  <c:v>All Others</c:v>
                </c:pt>
                <c:pt idx="391">
                  <c:v>All Others</c:v>
                </c:pt>
                <c:pt idx="392">
                  <c:v>All Others</c:v>
                </c:pt>
                <c:pt idx="393">
                  <c:v>All Others</c:v>
                </c:pt>
                <c:pt idx="394">
                  <c:v>All Others</c:v>
                </c:pt>
                <c:pt idx="395">
                  <c:v>All Others</c:v>
                </c:pt>
                <c:pt idx="396">
                  <c:v>Casa Azzurr</c:v>
                </c:pt>
                <c:pt idx="397">
                  <c:v>All Others</c:v>
                </c:pt>
                <c:pt idx="398">
                  <c:v>Corsica</c:v>
                </c:pt>
                <c:pt idx="399">
                  <c:v>All Others</c:v>
                </c:pt>
                <c:pt idx="400">
                  <c:v>All Others</c:v>
                </c:pt>
                <c:pt idx="401">
                  <c:v>All Others</c:v>
                </c:pt>
                <c:pt idx="402">
                  <c:v>All Others</c:v>
                </c:pt>
                <c:pt idx="403">
                  <c:v>Savencia: A</c:v>
                </c:pt>
                <c:pt idx="404">
                  <c:v>Savencia: A</c:v>
                </c:pt>
                <c:pt idx="405">
                  <c:v>All Others</c:v>
                </c:pt>
                <c:pt idx="406">
                  <c:v>All Others</c:v>
                </c:pt>
                <c:pt idx="407">
                  <c:v>All Others</c:v>
                </c:pt>
                <c:pt idx="408">
                  <c:v>All Others</c:v>
                </c:pt>
                <c:pt idx="409">
                  <c:v>All Others</c:v>
                </c:pt>
                <c:pt idx="410">
                  <c:v>All Others</c:v>
                </c:pt>
                <c:pt idx="411">
                  <c:v>All Others</c:v>
                </c:pt>
                <c:pt idx="412">
                  <c:v>All Others</c:v>
                </c:pt>
                <c:pt idx="413">
                  <c:v>All Others</c:v>
                </c:pt>
                <c:pt idx="414">
                  <c:v>All Others</c:v>
                </c:pt>
                <c:pt idx="415">
                  <c:v>All Others</c:v>
                </c:pt>
                <c:pt idx="416">
                  <c:v>All Others</c:v>
                </c:pt>
                <c:pt idx="417">
                  <c:v>All Others</c:v>
                </c:pt>
                <c:pt idx="418">
                  <c:v>All Others</c:v>
                </c:pt>
                <c:pt idx="419">
                  <c:v>Entremont</c:v>
                </c:pt>
                <c:pt idx="420">
                  <c:v>All Others</c:v>
                </c:pt>
                <c:pt idx="421">
                  <c:v>All Others</c:v>
                </c:pt>
                <c:pt idx="422">
                  <c:v>All Others</c:v>
                </c:pt>
                <c:pt idx="423">
                  <c:v>All Others</c:v>
                </c:pt>
                <c:pt idx="424">
                  <c:v>Kiri</c:v>
                </c:pt>
                <c:pt idx="425">
                  <c:v>All Others</c:v>
                </c:pt>
                <c:pt idx="426">
                  <c:v>All Others</c:v>
                </c:pt>
                <c:pt idx="427">
                  <c:v>All Others</c:v>
                </c:pt>
                <c:pt idx="428">
                  <c:v>All Others</c:v>
                </c:pt>
                <c:pt idx="429">
                  <c:v>All Others</c:v>
                </c:pt>
                <c:pt idx="430">
                  <c:v>All Others</c:v>
                </c:pt>
                <c:pt idx="431">
                  <c:v>All Others</c:v>
                </c:pt>
                <c:pt idx="432">
                  <c:v>All Others</c:v>
                </c:pt>
                <c:pt idx="433">
                  <c:v>All Others</c:v>
                </c:pt>
                <c:pt idx="434">
                  <c:v>All Others</c:v>
                </c:pt>
                <c:pt idx="435">
                  <c:v>All Others</c:v>
                </c:pt>
                <c:pt idx="436">
                  <c:v>All Others</c:v>
                </c:pt>
                <c:pt idx="437">
                  <c:v>All Others</c:v>
                </c:pt>
                <c:pt idx="438">
                  <c:v>All Others</c:v>
                </c:pt>
                <c:pt idx="439">
                  <c:v>All Others</c:v>
                </c:pt>
                <c:pt idx="440">
                  <c:v>All Others</c:v>
                </c:pt>
                <c:pt idx="441">
                  <c:v>All Others</c:v>
                </c:pt>
                <c:pt idx="442">
                  <c:v>All Others</c:v>
                </c:pt>
                <c:pt idx="443">
                  <c:v>All Others</c:v>
                </c:pt>
                <c:pt idx="444">
                  <c:v>All Others</c:v>
                </c:pt>
                <c:pt idx="445">
                  <c:v>All Others</c:v>
                </c:pt>
                <c:pt idx="446">
                  <c:v>All Others</c:v>
                </c:pt>
                <c:pt idx="447">
                  <c:v>All Others</c:v>
                </c:pt>
                <c:pt idx="448">
                  <c:v>All Others</c:v>
                </c:pt>
                <c:pt idx="449">
                  <c:v>All Others</c:v>
                </c:pt>
                <c:pt idx="450">
                  <c:v>All Others</c:v>
                </c:pt>
                <c:pt idx="451">
                  <c:v>All Others</c:v>
                </c:pt>
                <c:pt idx="452">
                  <c:v>All Others</c:v>
                </c:pt>
                <c:pt idx="453">
                  <c:v>All Others</c:v>
                </c:pt>
                <c:pt idx="454">
                  <c:v>All Others</c:v>
                </c:pt>
                <c:pt idx="455">
                  <c:v>All Others</c:v>
                </c:pt>
                <c:pt idx="456">
                  <c:v>All Others</c:v>
                </c:pt>
                <c:pt idx="457">
                  <c:v>All Others</c:v>
                </c:pt>
                <c:pt idx="458">
                  <c:v>All Others</c:v>
                </c:pt>
                <c:pt idx="459">
                  <c:v>All Others</c:v>
                </c:pt>
                <c:pt idx="460">
                  <c:v>All Others</c:v>
                </c:pt>
                <c:pt idx="461">
                  <c:v>All Others</c:v>
                </c:pt>
                <c:pt idx="462">
                  <c:v>Paysan Bret</c:v>
                </c:pt>
                <c:pt idx="463">
                  <c:v>All Others</c:v>
                </c:pt>
                <c:pt idx="464">
                  <c:v>All Others</c:v>
                </c:pt>
                <c:pt idx="465">
                  <c:v>All Others</c:v>
                </c:pt>
                <c:pt idx="466">
                  <c:v>All Others</c:v>
                </c:pt>
                <c:pt idx="467">
                  <c:v>All Others</c:v>
                </c:pt>
                <c:pt idx="468">
                  <c:v>All Others</c:v>
                </c:pt>
                <c:pt idx="469">
                  <c:v>All Others</c:v>
                </c:pt>
                <c:pt idx="470">
                  <c:v>All Others</c:v>
                </c:pt>
                <c:pt idx="471">
                  <c:v>All Others</c:v>
                </c:pt>
                <c:pt idx="472">
                  <c:v>All Others</c:v>
                </c:pt>
                <c:pt idx="473">
                  <c:v>All Others</c:v>
                </c:pt>
                <c:pt idx="474">
                  <c:v>All Others</c:v>
                </c:pt>
                <c:pt idx="475">
                  <c:v>Etoile Du V</c:v>
                </c:pt>
                <c:pt idx="476">
                  <c:v>All Others</c:v>
                </c:pt>
                <c:pt idx="477">
                  <c:v>All Others</c:v>
                </c:pt>
                <c:pt idx="478">
                  <c:v>All Others</c:v>
                </c:pt>
                <c:pt idx="479">
                  <c:v>Lactalis: A</c:v>
                </c:pt>
                <c:pt idx="480">
                  <c:v>All Others</c:v>
                </c:pt>
                <c:pt idx="481">
                  <c:v>All Others</c:v>
                </c:pt>
                <c:pt idx="482">
                  <c:v>All Others</c:v>
                </c:pt>
                <c:pt idx="483">
                  <c:v>All Others</c:v>
                </c:pt>
                <c:pt idx="484">
                  <c:v>All Others</c:v>
                </c:pt>
                <c:pt idx="485">
                  <c:v>All Others</c:v>
                </c:pt>
                <c:pt idx="486">
                  <c:v>All Others</c:v>
                </c:pt>
                <c:pt idx="487">
                  <c:v>All Others</c:v>
                </c:pt>
                <c:pt idx="488">
                  <c:v>All Others</c:v>
                </c:pt>
                <c:pt idx="489">
                  <c:v>All Others</c:v>
                </c:pt>
                <c:pt idx="490">
                  <c:v>All Others</c:v>
                </c:pt>
                <c:pt idx="491">
                  <c:v>All Others</c:v>
                </c:pt>
                <c:pt idx="492">
                  <c:v>All Others</c:v>
                </c:pt>
                <c:pt idx="493">
                  <c:v>All Others</c:v>
                </c:pt>
                <c:pt idx="494">
                  <c:v>All Others</c:v>
                </c:pt>
                <c:pt idx="495">
                  <c:v>Etoile Du V</c:v>
                </c:pt>
                <c:pt idx="496">
                  <c:v>All Others</c:v>
                </c:pt>
                <c:pt idx="497">
                  <c:v>All Others</c:v>
                </c:pt>
                <c:pt idx="498">
                  <c:v>All Others</c:v>
                </c:pt>
                <c:pt idx="499">
                  <c:v>All Others</c:v>
                </c:pt>
                <c:pt idx="500">
                  <c:v>All Others</c:v>
                </c:pt>
                <c:pt idx="501">
                  <c:v>All Others</c:v>
                </c:pt>
                <c:pt idx="502">
                  <c:v>All Others</c:v>
                </c:pt>
                <c:pt idx="503">
                  <c:v>All Others</c:v>
                </c:pt>
                <c:pt idx="504">
                  <c:v>All Others</c:v>
                </c:pt>
                <c:pt idx="505">
                  <c:v>All Others</c:v>
                </c:pt>
                <c:pt idx="506">
                  <c:v>All Others</c:v>
                </c:pt>
                <c:pt idx="507">
                  <c:v>All Others</c:v>
                </c:pt>
                <c:pt idx="508">
                  <c:v>Savencia: A</c:v>
                </c:pt>
                <c:pt idx="509">
                  <c:v>All Others</c:v>
                </c:pt>
                <c:pt idx="510">
                  <c:v>All Others</c:v>
                </c:pt>
                <c:pt idx="511">
                  <c:v>All Others</c:v>
                </c:pt>
                <c:pt idx="512">
                  <c:v>All Others</c:v>
                </c:pt>
                <c:pt idx="513">
                  <c:v>All Others</c:v>
                </c:pt>
                <c:pt idx="514">
                  <c:v>All Others</c:v>
                </c:pt>
                <c:pt idx="515">
                  <c:v>All Others</c:v>
                </c:pt>
                <c:pt idx="516">
                  <c:v>All Others</c:v>
                </c:pt>
                <c:pt idx="517">
                  <c:v>All Others</c:v>
                </c:pt>
                <c:pt idx="518">
                  <c:v>Other Suppl</c:v>
                </c:pt>
                <c:pt idx="519">
                  <c:v>All Others</c:v>
                </c:pt>
                <c:pt idx="520">
                  <c:v>All Others</c:v>
                </c:pt>
                <c:pt idx="521">
                  <c:v>All Others</c:v>
                </c:pt>
                <c:pt idx="522">
                  <c:v>All Others</c:v>
                </c:pt>
                <c:pt idx="523">
                  <c:v>All Others</c:v>
                </c:pt>
                <c:pt idx="524">
                  <c:v>All Others</c:v>
                </c:pt>
                <c:pt idx="525">
                  <c:v>All Others</c:v>
                </c:pt>
                <c:pt idx="526">
                  <c:v>All Others</c:v>
                </c:pt>
                <c:pt idx="527">
                  <c:v>All Others</c:v>
                </c:pt>
                <c:pt idx="528">
                  <c:v>All Others</c:v>
                </c:pt>
                <c:pt idx="529">
                  <c:v>All Others</c:v>
                </c:pt>
                <c:pt idx="530">
                  <c:v>All Others</c:v>
                </c:pt>
                <c:pt idx="531">
                  <c:v>All Others</c:v>
                </c:pt>
                <c:pt idx="532">
                  <c:v>All Others</c:v>
                </c:pt>
                <c:pt idx="533">
                  <c:v>All Others</c:v>
                </c:pt>
                <c:pt idx="534">
                  <c:v>All Others</c:v>
                </c:pt>
                <c:pt idx="535">
                  <c:v>All Others</c:v>
                </c:pt>
                <c:pt idx="536">
                  <c:v>All Others</c:v>
                </c:pt>
                <c:pt idx="537">
                  <c:v>All Others</c:v>
                </c:pt>
                <c:pt idx="538">
                  <c:v>All Others</c:v>
                </c:pt>
                <c:pt idx="539">
                  <c:v>All Others</c:v>
                </c:pt>
                <c:pt idx="540">
                  <c:v>All Others</c:v>
                </c:pt>
                <c:pt idx="541">
                  <c:v>All Others</c:v>
                </c:pt>
                <c:pt idx="542">
                  <c:v>All Others</c:v>
                </c:pt>
                <c:pt idx="543">
                  <c:v>All Others</c:v>
                </c:pt>
                <c:pt idx="544">
                  <c:v>All Others</c:v>
                </c:pt>
                <c:pt idx="545">
                  <c:v>All Others</c:v>
                </c:pt>
                <c:pt idx="546">
                  <c:v>All Others</c:v>
                </c:pt>
                <c:pt idx="547">
                  <c:v>Other Suppl</c:v>
                </c:pt>
                <c:pt idx="548">
                  <c:v>All Others</c:v>
                </c:pt>
                <c:pt idx="549">
                  <c:v>Savencia: A</c:v>
                </c:pt>
                <c:pt idx="550">
                  <c:v>Lactalis: A</c:v>
                </c:pt>
                <c:pt idx="551">
                  <c:v>All Others</c:v>
                </c:pt>
                <c:pt idx="552">
                  <c:v>All Others</c:v>
                </c:pt>
                <c:pt idx="553">
                  <c:v>All Others</c:v>
                </c:pt>
                <c:pt idx="554">
                  <c:v>All Others</c:v>
                </c:pt>
                <c:pt idx="555">
                  <c:v>All Others</c:v>
                </c:pt>
                <c:pt idx="556">
                  <c:v>All Others</c:v>
                </c:pt>
                <c:pt idx="557">
                  <c:v>All Others</c:v>
                </c:pt>
                <c:pt idx="558">
                  <c:v>All Others</c:v>
                </c:pt>
                <c:pt idx="559">
                  <c:v>All Others</c:v>
                </c:pt>
                <c:pt idx="560">
                  <c:v>Caprice Des</c:v>
                </c:pt>
                <c:pt idx="561">
                  <c:v>All Others</c:v>
                </c:pt>
                <c:pt idx="562">
                  <c:v>All Others</c:v>
                </c:pt>
                <c:pt idx="563">
                  <c:v>All Others</c:v>
                </c:pt>
                <c:pt idx="564">
                  <c:v>All Others</c:v>
                </c:pt>
                <c:pt idx="565">
                  <c:v>All Others</c:v>
                </c:pt>
                <c:pt idx="566">
                  <c:v>All Others</c:v>
                </c:pt>
                <c:pt idx="567">
                  <c:v>All Others</c:v>
                </c:pt>
                <c:pt idx="568">
                  <c:v>All Others</c:v>
                </c:pt>
                <c:pt idx="569">
                  <c:v>All Others</c:v>
                </c:pt>
                <c:pt idx="570">
                  <c:v>All Others</c:v>
                </c:pt>
                <c:pt idx="571">
                  <c:v>All Others</c:v>
                </c:pt>
                <c:pt idx="572">
                  <c:v>All Others</c:v>
                </c:pt>
                <c:pt idx="573">
                  <c:v>All Others</c:v>
                </c:pt>
                <c:pt idx="574">
                  <c:v>All Others</c:v>
                </c:pt>
                <c:pt idx="575">
                  <c:v>Lactalis: A</c:v>
                </c:pt>
                <c:pt idx="576">
                  <c:v>All Others</c:v>
                </c:pt>
                <c:pt idx="577">
                  <c:v>All Others</c:v>
                </c:pt>
                <c:pt idx="578">
                  <c:v>La Vache Qu</c:v>
                </c:pt>
                <c:pt idx="579">
                  <c:v>All Others</c:v>
                </c:pt>
                <c:pt idx="580">
                  <c:v>All Others</c:v>
                </c:pt>
                <c:pt idx="581">
                  <c:v>All Others</c:v>
                </c:pt>
                <c:pt idx="582">
                  <c:v>All Others</c:v>
                </c:pt>
                <c:pt idx="583">
                  <c:v>Gillot</c:v>
                </c:pt>
                <c:pt idx="584">
                  <c:v>All Others</c:v>
                </c:pt>
                <c:pt idx="585">
                  <c:v>All Others</c:v>
                </c:pt>
                <c:pt idx="586">
                  <c:v>All Others</c:v>
                </c:pt>
                <c:pt idx="587">
                  <c:v>All Others</c:v>
                </c:pt>
                <c:pt idx="588">
                  <c:v>Lactalis: A</c:v>
                </c:pt>
                <c:pt idx="589">
                  <c:v>Private Lab</c:v>
                </c:pt>
                <c:pt idx="590">
                  <c:v>All Others</c:v>
                </c:pt>
                <c:pt idx="591">
                  <c:v>All Others</c:v>
                </c:pt>
                <c:pt idx="592">
                  <c:v>All Others</c:v>
                </c:pt>
                <c:pt idx="593">
                  <c:v>All Others</c:v>
                </c:pt>
                <c:pt idx="594">
                  <c:v>All Others</c:v>
                </c:pt>
                <c:pt idx="595">
                  <c:v>All Others</c:v>
                </c:pt>
                <c:pt idx="596">
                  <c:v>All Others</c:v>
                </c:pt>
                <c:pt idx="597">
                  <c:v>All Others</c:v>
                </c:pt>
                <c:pt idx="598">
                  <c:v>All Others</c:v>
                </c:pt>
                <c:pt idx="599">
                  <c:v>All Others</c:v>
                </c:pt>
                <c:pt idx="600">
                  <c:v>All Others</c:v>
                </c:pt>
                <c:pt idx="601">
                  <c:v>Private Lab</c:v>
                </c:pt>
                <c:pt idx="602">
                  <c:v>All Others</c:v>
                </c:pt>
                <c:pt idx="603">
                  <c:v>All Others</c:v>
                </c:pt>
                <c:pt idx="604">
                  <c:v>Netto</c:v>
                </c:pt>
                <c:pt idx="605">
                  <c:v>All Others</c:v>
                </c:pt>
                <c:pt idx="606">
                  <c:v>All Others</c:v>
                </c:pt>
                <c:pt idx="607">
                  <c:v>All Others</c:v>
                </c:pt>
                <c:pt idx="608">
                  <c:v>All Others</c:v>
                </c:pt>
                <c:pt idx="609">
                  <c:v>All Others</c:v>
                </c:pt>
                <c:pt idx="610">
                  <c:v>All Others</c:v>
                </c:pt>
                <c:pt idx="611">
                  <c:v>All Others</c:v>
                </c:pt>
                <c:pt idx="612">
                  <c:v>Private Lab</c:v>
                </c:pt>
                <c:pt idx="613">
                  <c:v>All Others</c:v>
                </c:pt>
                <c:pt idx="614">
                  <c:v>Private Lab</c:v>
                </c:pt>
                <c:pt idx="615">
                  <c:v>All Others</c:v>
                </c:pt>
                <c:pt idx="616">
                  <c:v>All Others</c:v>
                </c:pt>
                <c:pt idx="617">
                  <c:v>All Others</c:v>
                </c:pt>
                <c:pt idx="618">
                  <c:v>Private Lab</c:v>
                </c:pt>
                <c:pt idx="619">
                  <c:v>Private Lab</c:v>
                </c:pt>
                <c:pt idx="620">
                  <c:v>All Others</c:v>
                </c:pt>
                <c:pt idx="621">
                  <c:v>All Others</c:v>
                </c:pt>
                <c:pt idx="622">
                  <c:v>Lactalis: A</c:v>
                </c:pt>
                <c:pt idx="623">
                  <c:v>All Others</c:v>
                </c:pt>
                <c:pt idx="624">
                  <c:v>President</c:v>
                </c:pt>
                <c:pt idx="625">
                  <c:v>All Others</c:v>
                </c:pt>
              </c:strCache>
            </c:strRef>
          </c:cat>
          <c:val>
            <c:numRef>
              <c:f>Sheet1!$B$2:$B$627</c:f>
              <c:numCache>
                <c:formatCode>General</c:formatCode>
                <c:ptCount val="626"/>
                <c:pt idx="0">
                  <c:v>0.99199999999999999</c:v>
                </c:pt>
                <c:pt idx="1">
                  <c:v>0.999</c:v>
                </c:pt>
                <c:pt idx="2">
                  <c:v>1</c:v>
                </c:pt>
                <c:pt idx="3">
                  <c:v>0.998</c:v>
                </c:pt>
                <c:pt idx="4">
                  <c:v>0.998</c:v>
                </c:pt>
                <c:pt idx="5">
                  <c:v>0.999</c:v>
                </c:pt>
                <c:pt idx="6">
                  <c:v>0.99</c:v>
                </c:pt>
                <c:pt idx="7">
                  <c:v>0.98599999999999999</c:v>
                </c:pt>
                <c:pt idx="8">
                  <c:v>0.999</c:v>
                </c:pt>
                <c:pt idx="9">
                  <c:v>1</c:v>
                </c:pt>
                <c:pt idx="10">
                  <c:v>0.97699999999999998</c:v>
                </c:pt>
                <c:pt idx="11">
                  <c:v>0.98199999999999998</c:v>
                </c:pt>
                <c:pt idx="12">
                  <c:v>0.998</c:v>
                </c:pt>
                <c:pt idx="13">
                  <c:v>0.94699999999999995</c:v>
                </c:pt>
                <c:pt idx="14">
                  <c:v>0.98699999999999999</c:v>
                </c:pt>
                <c:pt idx="15">
                  <c:v>0.997</c:v>
                </c:pt>
                <c:pt idx="16">
                  <c:v>0.998</c:v>
                </c:pt>
                <c:pt idx="17">
                  <c:v>0.95699999999999996</c:v>
                </c:pt>
                <c:pt idx="18">
                  <c:v>0.97899999999999998</c:v>
                </c:pt>
                <c:pt idx="19">
                  <c:v>0.998</c:v>
                </c:pt>
                <c:pt idx="20">
                  <c:v>0.98399999999999999</c:v>
                </c:pt>
                <c:pt idx="21">
                  <c:v>0.99299999999999999</c:v>
                </c:pt>
                <c:pt idx="22">
                  <c:v>0.999</c:v>
                </c:pt>
                <c:pt idx="23">
                  <c:v>0.999</c:v>
                </c:pt>
                <c:pt idx="24">
                  <c:v>0.98899999999999999</c:v>
                </c:pt>
                <c:pt idx="25">
                  <c:v>0.995</c:v>
                </c:pt>
                <c:pt idx="26">
                  <c:v>0.998</c:v>
                </c:pt>
                <c:pt idx="27">
                  <c:v>0.99199999999999999</c:v>
                </c:pt>
                <c:pt idx="28">
                  <c:v>0.93200000000000005</c:v>
                </c:pt>
                <c:pt idx="29">
                  <c:v>0.93600000000000005</c:v>
                </c:pt>
                <c:pt idx="30">
                  <c:v>0.94099999999999995</c:v>
                </c:pt>
                <c:pt idx="31">
                  <c:v>0.98899999999999999</c:v>
                </c:pt>
                <c:pt idx="32">
                  <c:v>0.997</c:v>
                </c:pt>
                <c:pt idx="33">
                  <c:v>0.98399999999999999</c:v>
                </c:pt>
                <c:pt idx="34">
                  <c:v>0.97499999999999998</c:v>
                </c:pt>
                <c:pt idx="35">
                  <c:v>0.90900000000000003</c:v>
                </c:pt>
                <c:pt idx="36">
                  <c:v>0.98</c:v>
                </c:pt>
                <c:pt idx="37">
                  <c:v>0.98699999999999999</c:v>
                </c:pt>
                <c:pt idx="38">
                  <c:v>0.99199999999999999</c:v>
                </c:pt>
                <c:pt idx="39">
                  <c:v>0.99</c:v>
                </c:pt>
                <c:pt idx="40">
                  <c:v>0.999</c:v>
                </c:pt>
                <c:pt idx="41">
                  <c:v>0.98399999999999999</c:v>
                </c:pt>
                <c:pt idx="42">
                  <c:v>0.95299999999999996</c:v>
                </c:pt>
                <c:pt idx="43">
                  <c:v>0.98599999999999999</c:v>
                </c:pt>
                <c:pt idx="44">
                  <c:v>0.86099999999999999</c:v>
                </c:pt>
                <c:pt idx="45">
                  <c:v>0.997</c:v>
                </c:pt>
                <c:pt idx="46">
                  <c:v>0.98099999999999998</c:v>
                </c:pt>
                <c:pt idx="47">
                  <c:v>0.93200000000000005</c:v>
                </c:pt>
                <c:pt idx="48">
                  <c:v>0.98499999999999999</c:v>
                </c:pt>
                <c:pt idx="49">
                  <c:v>0.96299999999999997</c:v>
                </c:pt>
                <c:pt idx="50">
                  <c:v>0.98699999999999999</c:v>
                </c:pt>
                <c:pt idx="51">
                  <c:v>0.98399999999999999</c:v>
                </c:pt>
                <c:pt idx="52">
                  <c:v>0.92400000000000004</c:v>
                </c:pt>
                <c:pt idx="53">
                  <c:v>0.98799999999999999</c:v>
                </c:pt>
                <c:pt idx="54">
                  <c:v>0.99199999999999999</c:v>
                </c:pt>
                <c:pt idx="55">
                  <c:v>0.70799999999999996</c:v>
                </c:pt>
                <c:pt idx="56">
                  <c:v>0.96599999999999997</c:v>
                </c:pt>
                <c:pt idx="57">
                  <c:v>0.98</c:v>
                </c:pt>
                <c:pt idx="58">
                  <c:v>0.98099999999999998</c:v>
                </c:pt>
                <c:pt idx="59">
                  <c:v>0.97299999999999998</c:v>
                </c:pt>
                <c:pt idx="60">
                  <c:v>0.998</c:v>
                </c:pt>
                <c:pt idx="61">
                  <c:v>0.93200000000000005</c:v>
                </c:pt>
                <c:pt idx="62">
                  <c:v>0.96599999999999997</c:v>
                </c:pt>
                <c:pt idx="63">
                  <c:v>0.92700000000000005</c:v>
                </c:pt>
                <c:pt idx="64">
                  <c:v>0.88300000000000001</c:v>
                </c:pt>
                <c:pt idx="65">
                  <c:v>0.98299999999999998</c:v>
                </c:pt>
                <c:pt idx="66">
                  <c:v>0.998</c:v>
                </c:pt>
                <c:pt idx="67">
                  <c:v>0.85899999999999999</c:v>
                </c:pt>
                <c:pt idx="68">
                  <c:v>0.98199999999999998</c:v>
                </c:pt>
                <c:pt idx="69">
                  <c:v>0.97299999999999998</c:v>
                </c:pt>
                <c:pt idx="70">
                  <c:v>0.94099999999999995</c:v>
                </c:pt>
                <c:pt idx="71">
                  <c:v>0.88600000000000001</c:v>
                </c:pt>
                <c:pt idx="72">
                  <c:v>0.998</c:v>
                </c:pt>
                <c:pt idx="73">
                  <c:v>0.92500000000000004</c:v>
                </c:pt>
                <c:pt idx="74">
                  <c:v>0.94599999999999995</c:v>
                </c:pt>
                <c:pt idx="75">
                  <c:v>0.85499999999999998</c:v>
                </c:pt>
                <c:pt idx="76">
                  <c:v>0.69199999999999995</c:v>
                </c:pt>
                <c:pt idx="77">
                  <c:v>0.995</c:v>
                </c:pt>
                <c:pt idx="78">
                  <c:v>0.94599999999999995</c:v>
                </c:pt>
                <c:pt idx="79">
                  <c:v>0.97799999999999998</c:v>
                </c:pt>
                <c:pt idx="80">
                  <c:v>0.89400000000000002</c:v>
                </c:pt>
                <c:pt idx="81">
                  <c:v>0.95799999999999996</c:v>
                </c:pt>
                <c:pt idx="82">
                  <c:v>0.80500000000000005</c:v>
                </c:pt>
                <c:pt idx="83">
                  <c:v>0.95499999999999996</c:v>
                </c:pt>
                <c:pt idx="84">
                  <c:v>0.92700000000000005</c:v>
                </c:pt>
                <c:pt idx="85">
                  <c:v>0.98099999999999998</c:v>
                </c:pt>
                <c:pt idx="86">
                  <c:v>0.94899999999999995</c:v>
                </c:pt>
                <c:pt idx="87">
                  <c:v>0.91300000000000003</c:v>
                </c:pt>
                <c:pt idx="88">
                  <c:v>0.96099999999999997</c:v>
                </c:pt>
                <c:pt idx="89">
                  <c:v>0.97799999999999998</c:v>
                </c:pt>
                <c:pt idx="90">
                  <c:v>0.88900000000000001</c:v>
                </c:pt>
                <c:pt idx="91">
                  <c:v>0.85199999999999998</c:v>
                </c:pt>
                <c:pt idx="92">
                  <c:v>0.79500000000000004</c:v>
                </c:pt>
                <c:pt idx="93">
                  <c:v>0.497</c:v>
                </c:pt>
                <c:pt idx="94">
                  <c:v>0.93400000000000005</c:v>
                </c:pt>
                <c:pt idx="95">
                  <c:v>0.93200000000000005</c:v>
                </c:pt>
                <c:pt idx="96">
                  <c:v>0.78</c:v>
                </c:pt>
                <c:pt idx="97">
                  <c:v>0.97</c:v>
                </c:pt>
                <c:pt idx="98">
                  <c:v>0.96399999999999997</c:v>
                </c:pt>
                <c:pt idx="99">
                  <c:v>0.96599999999999997</c:v>
                </c:pt>
                <c:pt idx="100">
                  <c:v>0.93600000000000005</c:v>
                </c:pt>
                <c:pt idx="101">
                  <c:v>0.97499999999999998</c:v>
                </c:pt>
                <c:pt idx="102">
                  <c:v>0.97399999999999998</c:v>
                </c:pt>
                <c:pt idx="103">
                  <c:v>0.94899999999999995</c:v>
                </c:pt>
                <c:pt idx="104">
                  <c:v>0.97199999999999998</c:v>
                </c:pt>
                <c:pt idx="105">
                  <c:v>0.72399999999999998</c:v>
                </c:pt>
                <c:pt idx="106">
                  <c:v>0.748</c:v>
                </c:pt>
                <c:pt idx="107">
                  <c:v>0.93200000000000005</c:v>
                </c:pt>
                <c:pt idx="108">
                  <c:v>0.89200000000000002</c:v>
                </c:pt>
                <c:pt idx="109">
                  <c:v>0.89900000000000002</c:v>
                </c:pt>
                <c:pt idx="110">
                  <c:v>0.92300000000000004</c:v>
                </c:pt>
                <c:pt idx="111">
                  <c:v>0.878</c:v>
                </c:pt>
                <c:pt idx="112">
                  <c:v>0.83899999999999997</c:v>
                </c:pt>
                <c:pt idx="113">
                  <c:v>0.875</c:v>
                </c:pt>
                <c:pt idx="114">
                  <c:v>0.86</c:v>
                </c:pt>
                <c:pt idx="115">
                  <c:v>0.82899999999999996</c:v>
                </c:pt>
                <c:pt idx="116">
                  <c:v>0.93500000000000005</c:v>
                </c:pt>
                <c:pt idx="117">
                  <c:v>0.94199999999999995</c:v>
                </c:pt>
                <c:pt idx="118">
                  <c:v>0.95499999999999996</c:v>
                </c:pt>
                <c:pt idx="119">
                  <c:v>0.92500000000000004</c:v>
                </c:pt>
                <c:pt idx="120">
                  <c:v>0.88300000000000001</c:v>
                </c:pt>
                <c:pt idx="121">
                  <c:v>0.91700000000000004</c:v>
                </c:pt>
                <c:pt idx="122">
                  <c:v>0.89700000000000002</c:v>
                </c:pt>
                <c:pt idx="123">
                  <c:v>0.90800000000000003</c:v>
                </c:pt>
                <c:pt idx="124">
                  <c:v>0.88500000000000001</c:v>
                </c:pt>
                <c:pt idx="125">
                  <c:v>0.86499999999999999</c:v>
                </c:pt>
                <c:pt idx="126">
                  <c:v>0.84799999999999998</c:v>
                </c:pt>
                <c:pt idx="127">
                  <c:v>0.85399999999999998</c:v>
                </c:pt>
                <c:pt idx="128">
                  <c:v>0.84699999999999998</c:v>
                </c:pt>
                <c:pt idx="129">
                  <c:v>0.91200000000000003</c:v>
                </c:pt>
                <c:pt idx="130">
                  <c:v>0.90200000000000002</c:v>
                </c:pt>
                <c:pt idx="131">
                  <c:v>0.98199999999999998</c:v>
                </c:pt>
                <c:pt idx="132">
                  <c:v>0.95399999999999996</c:v>
                </c:pt>
                <c:pt idx="133">
                  <c:v>0.86099999999999999</c:v>
                </c:pt>
                <c:pt idx="134">
                  <c:v>0.624</c:v>
                </c:pt>
                <c:pt idx="135">
                  <c:v>0.93300000000000005</c:v>
                </c:pt>
                <c:pt idx="136">
                  <c:v>0.69499999999999995</c:v>
                </c:pt>
                <c:pt idx="137">
                  <c:v>0.85699999999999998</c:v>
                </c:pt>
                <c:pt idx="138">
                  <c:v>0.872</c:v>
                </c:pt>
                <c:pt idx="139">
                  <c:v>0.86799999999999999</c:v>
                </c:pt>
                <c:pt idx="140">
                  <c:v>0.94599999999999995</c:v>
                </c:pt>
                <c:pt idx="141">
                  <c:v>0.96799999999999997</c:v>
                </c:pt>
                <c:pt idx="142">
                  <c:v>0.93899999999999995</c:v>
                </c:pt>
                <c:pt idx="143">
                  <c:v>0.93899999999999995</c:v>
                </c:pt>
                <c:pt idx="144">
                  <c:v>0.83899999999999997</c:v>
                </c:pt>
                <c:pt idx="145">
                  <c:v>0.71799999999999997</c:v>
                </c:pt>
                <c:pt idx="146">
                  <c:v>0.84199999999999997</c:v>
                </c:pt>
                <c:pt idx="147">
                  <c:v>0.98</c:v>
                </c:pt>
                <c:pt idx="148">
                  <c:v>0.84499999999999997</c:v>
                </c:pt>
                <c:pt idx="149">
                  <c:v>0.91300000000000003</c:v>
                </c:pt>
                <c:pt idx="150">
                  <c:v>0.95899999999999996</c:v>
                </c:pt>
                <c:pt idx="151">
                  <c:v>0.75700000000000001</c:v>
                </c:pt>
                <c:pt idx="152">
                  <c:v>0.89100000000000001</c:v>
                </c:pt>
                <c:pt idx="153">
                  <c:v>0.80400000000000005</c:v>
                </c:pt>
                <c:pt idx="154">
                  <c:v>0.65800000000000003</c:v>
                </c:pt>
                <c:pt idx="155">
                  <c:v>0.84099999999999997</c:v>
                </c:pt>
                <c:pt idx="156">
                  <c:v>0.92300000000000004</c:v>
                </c:pt>
                <c:pt idx="157">
                  <c:v>0.92100000000000004</c:v>
                </c:pt>
                <c:pt idx="158">
                  <c:v>0.9</c:v>
                </c:pt>
                <c:pt idx="159">
                  <c:v>0.51900000000000002</c:v>
                </c:pt>
                <c:pt idx="160">
                  <c:v>0.78500000000000003</c:v>
                </c:pt>
                <c:pt idx="161">
                  <c:v>0.94699999999999995</c:v>
                </c:pt>
                <c:pt idx="162">
                  <c:v>0.89300000000000002</c:v>
                </c:pt>
                <c:pt idx="163">
                  <c:v>0.84099999999999997</c:v>
                </c:pt>
                <c:pt idx="164">
                  <c:v>0.83599999999999997</c:v>
                </c:pt>
                <c:pt idx="165">
                  <c:v>0.76300000000000001</c:v>
                </c:pt>
                <c:pt idx="166">
                  <c:v>0.76300000000000001</c:v>
                </c:pt>
                <c:pt idx="167">
                  <c:v>0.42199999999999999</c:v>
                </c:pt>
                <c:pt idx="168">
                  <c:v>0.97299999999999998</c:v>
                </c:pt>
                <c:pt idx="169">
                  <c:v>0.76600000000000001</c:v>
                </c:pt>
                <c:pt idx="170">
                  <c:v>0.93799999999999994</c:v>
                </c:pt>
                <c:pt idx="171">
                  <c:v>0.82799999999999996</c:v>
                </c:pt>
                <c:pt idx="172">
                  <c:v>0.59</c:v>
                </c:pt>
                <c:pt idx="173">
                  <c:v>0.78300000000000003</c:v>
                </c:pt>
                <c:pt idx="174">
                  <c:v>0.86099999999999999</c:v>
                </c:pt>
                <c:pt idx="175">
                  <c:v>0.73699999999999999</c:v>
                </c:pt>
                <c:pt idx="176">
                  <c:v>0.75800000000000001</c:v>
                </c:pt>
                <c:pt idx="177">
                  <c:v>0.75600000000000001</c:v>
                </c:pt>
                <c:pt idx="178">
                  <c:v>0.57199999999999995</c:v>
                </c:pt>
                <c:pt idx="179">
                  <c:v>0.73599999999999999</c:v>
                </c:pt>
                <c:pt idx="180">
                  <c:v>0.86</c:v>
                </c:pt>
                <c:pt idx="181">
                  <c:v>0.55500000000000005</c:v>
                </c:pt>
                <c:pt idx="182">
                  <c:v>0.86399999999999999</c:v>
                </c:pt>
                <c:pt idx="183">
                  <c:v>0.42699999999999999</c:v>
                </c:pt>
                <c:pt idx="184">
                  <c:v>0.87</c:v>
                </c:pt>
                <c:pt idx="185">
                  <c:v>0.249</c:v>
                </c:pt>
                <c:pt idx="186">
                  <c:v>0.67200000000000004</c:v>
                </c:pt>
                <c:pt idx="187">
                  <c:v>0.94</c:v>
                </c:pt>
                <c:pt idx="188">
                  <c:v>0.78500000000000003</c:v>
                </c:pt>
                <c:pt idx="189">
                  <c:v>0.85099999999999998</c:v>
                </c:pt>
                <c:pt idx="190">
                  <c:v>0.57599999999999996</c:v>
                </c:pt>
                <c:pt idx="191">
                  <c:v>0.63500000000000001</c:v>
                </c:pt>
                <c:pt idx="192">
                  <c:v>0.876</c:v>
                </c:pt>
                <c:pt idx="193">
                  <c:v>0.86399999999999999</c:v>
                </c:pt>
                <c:pt idx="194">
                  <c:v>0.81</c:v>
                </c:pt>
                <c:pt idx="195">
                  <c:v>0.77100000000000002</c:v>
                </c:pt>
                <c:pt idx="196">
                  <c:v>0.46899999999999997</c:v>
                </c:pt>
                <c:pt idx="197">
                  <c:v>0.45300000000000001</c:v>
                </c:pt>
                <c:pt idx="198">
                  <c:v>0.76</c:v>
                </c:pt>
                <c:pt idx="199">
                  <c:v>0.67100000000000004</c:v>
                </c:pt>
                <c:pt idx="200">
                  <c:v>0.86299999999999999</c:v>
                </c:pt>
                <c:pt idx="201">
                  <c:v>0.25700000000000001</c:v>
                </c:pt>
                <c:pt idx="202">
                  <c:v>0.59499999999999997</c:v>
                </c:pt>
                <c:pt idx="203">
                  <c:v>0.83299999999999996</c:v>
                </c:pt>
                <c:pt idx="204">
                  <c:v>0.84099999999999997</c:v>
                </c:pt>
                <c:pt idx="205">
                  <c:v>0.83699999999999997</c:v>
                </c:pt>
                <c:pt idx="206">
                  <c:v>0.92400000000000004</c:v>
                </c:pt>
                <c:pt idx="207">
                  <c:v>0.81899999999999995</c:v>
                </c:pt>
                <c:pt idx="208">
                  <c:v>0.77300000000000002</c:v>
                </c:pt>
                <c:pt idx="209">
                  <c:v>0.34100000000000003</c:v>
                </c:pt>
                <c:pt idx="210">
                  <c:v>0.71499999999999997</c:v>
                </c:pt>
                <c:pt idx="211">
                  <c:v>0.443</c:v>
                </c:pt>
                <c:pt idx="212">
                  <c:v>0.65900000000000003</c:v>
                </c:pt>
                <c:pt idx="213">
                  <c:v>0.80800000000000005</c:v>
                </c:pt>
                <c:pt idx="214">
                  <c:v>0.88600000000000001</c:v>
                </c:pt>
                <c:pt idx="215">
                  <c:v>0.67900000000000005</c:v>
                </c:pt>
                <c:pt idx="216">
                  <c:v>0.53900000000000003</c:v>
                </c:pt>
                <c:pt idx="217">
                  <c:v>0.59899999999999998</c:v>
                </c:pt>
                <c:pt idx="218">
                  <c:v>0.71</c:v>
                </c:pt>
                <c:pt idx="219">
                  <c:v>0.60299999999999998</c:v>
                </c:pt>
                <c:pt idx="220">
                  <c:v>0.45100000000000001</c:v>
                </c:pt>
                <c:pt idx="221">
                  <c:v>0.40200000000000002</c:v>
                </c:pt>
                <c:pt idx="222">
                  <c:v>0.38100000000000001</c:v>
                </c:pt>
                <c:pt idx="223">
                  <c:v>0.88500000000000001</c:v>
                </c:pt>
                <c:pt idx="224">
                  <c:v>0.36</c:v>
                </c:pt>
                <c:pt idx="225">
                  <c:v>0.86</c:v>
                </c:pt>
                <c:pt idx="226">
                  <c:v>0.84499999999999997</c:v>
                </c:pt>
                <c:pt idx="227">
                  <c:v>0.247</c:v>
                </c:pt>
                <c:pt idx="228">
                  <c:v>0.67200000000000004</c:v>
                </c:pt>
                <c:pt idx="229">
                  <c:v>0.318</c:v>
                </c:pt>
                <c:pt idx="230">
                  <c:v>0.252</c:v>
                </c:pt>
                <c:pt idx="231">
                  <c:v>0.71</c:v>
                </c:pt>
                <c:pt idx="232">
                  <c:v>0.69899999999999995</c:v>
                </c:pt>
                <c:pt idx="233">
                  <c:v>0.82599999999999996</c:v>
                </c:pt>
                <c:pt idx="234">
                  <c:v>0.47699999999999998</c:v>
                </c:pt>
                <c:pt idx="235">
                  <c:v>6.2E-2</c:v>
                </c:pt>
                <c:pt idx="236">
                  <c:v>0.33900000000000002</c:v>
                </c:pt>
                <c:pt idx="237">
                  <c:v>0.92500000000000004</c:v>
                </c:pt>
                <c:pt idx="238">
                  <c:v>0.255</c:v>
                </c:pt>
                <c:pt idx="239">
                  <c:v>0.77600000000000002</c:v>
                </c:pt>
                <c:pt idx="240">
                  <c:v>0.17499999999999999</c:v>
                </c:pt>
                <c:pt idx="241">
                  <c:v>0.66900000000000004</c:v>
                </c:pt>
                <c:pt idx="242">
                  <c:v>0.65300000000000002</c:v>
                </c:pt>
                <c:pt idx="243">
                  <c:v>0.875</c:v>
                </c:pt>
                <c:pt idx="244">
                  <c:v>0.876</c:v>
                </c:pt>
                <c:pt idx="245">
                  <c:v>0.14000000000000001</c:v>
                </c:pt>
                <c:pt idx="246">
                  <c:v>0.109</c:v>
                </c:pt>
                <c:pt idx="247">
                  <c:v>0.82299999999999995</c:v>
                </c:pt>
                <c:pt idx="248">
                  <c:v>0.81699999999999995</c:v>
                </c:pt>
                <c:pt idx="249">
                  <c:v>0.67300000000000004</c:v>
                </c:pt>
                <c:pt idx="250">
                  <c:v>0.89500000000000002</c:v>
                </c:pt>
                <c:pt idx="251">
                  <c:v>0.221</c:v>
                </c:pt>
                <c:pt idx="252">
                  <c:v>0.375</c:v>
                </c:pt>
                <c:pt idx="253">
                  <c:v>0.14699999999999999</c:v>
                </c:pt>
                <c:pt idx="254">
                  <c:v>0.36</c:v>
                </c:pt>
                <c:pt idx="255">
                  <c:v>0.20399999999999999</c:v>
                </c:pt>
                <c:pt idx="256">
                  <c:v>0.55100000000000005</c:v>
                </c:pt>
                <c:pt idx="257">
                  <c:v>0.17699999999999999</c:v>
                </c:pt>
                <c:pt idx="258">
                  <c:v>0.14599999999999999</c:v>
                </c:pt>
                <c:pt idx="259">
                  <c:v>0.60799999999999998</c:v>
                </c:pt>
                <c:pt idx="260">
                  <c:v>0.32200000000000001</c:v>
                </c:pt>
                <c:pt idx="261">
                  <c:v>0.438</c:v>
                </c:pt>
                <c:pt idx="262">
                  <c:v>0.13600000000000001</c:v>
                </c:pt>
                <c:pt idx="263">
                  <c:v>0.39700000000000002</c:v>
                </c:pt>
                <c:pt idx="264">
                  <c:v>0.73899999999999999</c:v>
                </c:pt>
                <c:pt idx="265">
                  <c:v>0.20699999999999999</c:v>
                </c:pt>
                <c:pt idx="266">
                  <c:v>0.17899999999999999</c:v>
                </c:pt>
                <c:pt idx="267">
                  <c:v>0.86199999999999999</c:v>
                </c:pt>
                <c:pt idx="268">
                  <c:v>0.30099999999999999</c:v>
                </c:pt>
                <c:pt idx="269">
                  <c:v>0.84499999999999997</c:v>
                </c:pt>
                <c:pt idx="270">
                  <c:v>5.7000000000000002E-2</c:v>
                </c:pt>
                <c:pt idx="271">
                  <c:v>0.22900000000000001</c:v>
                </c:pt>
                <c:pt idx="272">
                  <c:v>0.437</c:v>
                </c:pt>
                <c:pt idx="273">
                  <c:v>0.42</c:v>
                </c:pt>
                <c:pt idx="274">
                  <c:v>0.80100000000000005</c:v>
                </c:pt>
                <c:pt idx="275">
                  <c:v>0.54400000000000004</c:v>
                </c:pt>
                <c:pt idx="276">
                  <c:v>0.28499999999999998</c:v>
                </c:pt>
                <c:pt idx="277">
                  <c:v>0.254</c:v>
                </c:pt>
                <c:pt idx="278">
                  <c:v>0.11899999999999999</c:v>
                </c:pt>
                <c:pt idx="279">
                  <c:v>0.53400000000000003</c:v>
                </c:pt>
                <c:pt idx="280">
                  <c:v>0.56699999999999995</c:v>
                </c:pt>
                <c:pt idx="281">
                  <c:v>0.67300000000000004</c:v>
                </c:pt>
                <c:pt idx="282">
                  <c:v>0.39500000000000002</c:v>
                </c:pt>
                <c:pt idx="283">
                  <c:v>0.14799999999999999</c:v>
                </c:pt>
                <c:pt idx="284">
                  <c:v>0.24099999999999999</c:v>
                </c:pt>
                <c:pt idx="285">
                  <c:v>0.14699999999999999</c:v>
                </c:pt>
                <c:pt idx="286">
                  <c:v>8.2000000000000003E-2</c:v>
                </c:pt>
                <c:pt idx="287">
                  <c:v>0.17499999999999999</c:v>
                </c:pt>
                <c:pt idx="288">
                  <c:v>0.66</c:v>
                </c:pt>
                <c:pt idx="289">
                  <c:v>0.77600000000000002</c:v>
                </c:pt>
                <c:pt idx="290">
                  <c:v>0.214</c:v>
                </c:pt>
                <c:pt idx="291">
                  <c:v>0.193</c:v>
                </c:pt>
                <c:pt idx="292">
                  <c:v>0.307</c:v>
                </c:pt>
                <c:pt idx="293">
                  <c:v>9.1999999999999998E-2</c:v>
                </c:pt>
                <c:pt idx="294">
                  <c:v>4.5999999999999999E-2</c:v>
                </c:pt>
                <c:pt idx="295">
                  <c:v>9.2999999999999999E-2</c:v>
                </c:pt>
                <c:pt idx="296">
                  <c:v>2.8000000000000001E-2</c:v>
                </c:pt>
                <c:pt idx="297">
                  <c:v>0.14199999999999999</c:v>
                </c:pt>
                <c:pt idx="298">
                  <c:v>9.8000000000000004E-2</c:v>
                </c:pt>
                <c:pt idx="299">
                  <c:v>0.32500000000000001</c:v>
                </c:pt>
                <c:pt idx="300">
                  <c:v>0.80300000000000005</c:v>
                </c:pt>
                <c:pt idx="301">
                  <c:v>0.16900000000000001</c:v>
                </c:pt>
                <c:pt idx="302">
                  <c:v>9.2999999999999999E-2</c:v>
                </c:pt>
                <c:pt idx="303">
                  <c:v>0.26100000000000001</c:v>
                </c:pt>
                <c:pt idx="304">
                  <c:v>0.57099999999999995</c:v>
                </c:pt>
                <c:pt idx="305">
                  <c:v>0.58499999999999996</c:v>
                </c:pt>
                <c:pt idx="306">
                  <c:v>0.17199999999999999</c:v>
                </c:pt>
                <c:pt idx="307">
                  <c:v>6.7000000000000004E-2</c:v>
                </c:pt>
                <c:pt idx="308">
                  <c:v>0.56599999999999995</c:v>
                </c:pt>
                <c:pt idx="309">
                  <c:v>8.1000000000000003E-2</c:v>
                </c:pt>
                <c:pt idx="310">
                  <c:v>6.0999999999999999E-2</c:v>
                </c:pt>
                <c:pt idx="311">
                  <c:v>0.28999999999999998</c:v>
                </c:pt>
                <c:pt idx="312">
                  <c:v>0.06</c:v>
                </c:pt>
                <c:pt idx="313">
                  <c:v>0.21299999999999999</c:v>
                </c:pt>
                <c:pt idx="314">
                  <c:v>0.12</c:v>
                </c:pt>
                <c:pt idx="315">
                  <c:v>7.4999999999999997E-2</c:v>
                </c:pt>
                <c:pt idx="316">
                  <c:v>7.1999999999999995E-2</c:v>
                </c:pt>
                <c:pt idx="317">
                  <c:v>0.54600000000000004</c:v>
                </c:pt>
                <c:pt idx="318">
                  <c:v>0.25800000000000001</c:v>
                </c:pt>
                <c:pt idx="319">
                  <c:v>7.4999999999999997E-2</c:v>
                </c:pt>
                <c:pt idx="320">
                  <c:v>1.4999999999999999E-2</c:v>
                </c:pt>
                <c:pt idx="321">
                  <c:v>0.121</c:v>
                </c:pt>
                <c:pt idx="322">
                  <c:v>0.154</c:v>
                </c:pt>
                <c:pt idx="323">
                  <c:v>3.9E-2</c:v>
                </c:pt>
                <c:pt idx="324">
                  <c:v>0.112</c:v>
                </c:pt>
                <c:pt idx="325">
                  <c:v>6.5000000000000002E-2</c:v>
                </c:pt>
                <c:pt idx="326">
                  <c:v>0.09</c:v>
                </c:pt>
                <c:pt idx="327">
                  <c:v>0.11700000000000001</c:v>
                </c:pt>
                <c:pt idx="328">
                  <c:v>4.9000000000000002E-2</c:v>
                </c:pt>
                <c:pt idx="329">
                  <c:v>0.31</c:v>
                </c:pt>
                <c:pt idx="330">
                  <c:v>0.41399999999999998</c:v>
                </c:pt>
                <c:pt idx="331">
                  <c:v>2.1000000000000001E-2</c:v>
                </c:pt>
                <c:pt idx="332">
                  <c:v>8.6999999999999994E-2</c:v>
                </c:pt>
                <c:pt idx="333">
                  <c:v>0.104</c:v>
                </c:pt>
                <c:pt idx="334">
                  <c:v>3.6999999999999998E-2</c:v>
                </c:pt>
                <c:pt idx="335">
                  <c:v>0.68700000000000006</c:v>
                </c:pt>
                <c:pt idx="336">
                  <c:v>0.01</c:v>
                </c:pt>
                <c:pt idx="337">
                  <c:v>0.25</c:v>
                </c:pt>
                <c:pt idx="338">
                  <c:v>3.4000000000000002E-2</c:v>
                </c:pt>
                <c:pt idx="339">
                  <c:v>1.4999999999999999E-2</c:v>
                </c:pt>
                <c:pt idx="340">
                  <c:v>9.2999999999999999E-2</c:v>
                </c:pt>
                <c:pt idx="341">
                  <c:v>0.42699999999999999</c:v>
                </c:pt>
                <c:pt idx="342">
                  <c:v>2.1999999999999999E-2</c:v>
                </c:pt>
                <c:pt idx="343">
                  <c:v>3.5000000000000003E-2</c:v>
                </c:pt>
                <c:pt idx="344">
                  <c:v>3.2000000000000001E-2</c:v>
                </c:pt>
                <c:pt idx="345">
                  <c:v>0.40200000000000002</c:v>
                </c:pt>
                <c:pt idx="346">
                  <c:v>0.155</c:v>
                </c:pt>
                <c:pt idx="347">
                  <c:v>0.19900000000000001</c:v>
                </c:pt>
                <c:pt idx="348">
                  <c:v>4.0000000000000001E-3</c:v>
                </c:pt>
                <c:pt idx="349">
                  <c:v>4.4999999999999998E-2</c:v>
                </c:pt>
                <c:pt idx="350">
                  <c:v>4.5999999999999999E-2</c:v>
                </c:pt>
                <c:pt idx="351">
                  <c:v>0.104</c:v>
                </c:pt>
                <c:pt idx="352">
                  <c:v>0.11799999999999999</c:v>
                </c:pt>
                <c:pt idx="353">
                  <c:v>0.159</c:v>
                </c:pt>
                <c:pt idx="354">
                  <c:v>7.0000000000000007E-2</c:v>
                </c:pt>
                <c:pt idx="355">
                  <c:v>4.2000000000000003E-2</c:v>
                </c:pt>
                <c:pt idx="356">
                  <c:v>3.3000000000000002E-2</c:v>
                </c:pt>
                <c:pt idx="357">
                  <c:v>9.0999999999999998E-2</c:v>
                </c:pt>
                <c:pt idx="358">
                  <c:v>0.23499999999999999</c:v>
                </c:pt>
                <c:pt idx="359">
                  <c:v>8.2000000000000003E-2</c:v>
                </c:pt>
                <c:pt idx="360">
                  <c:v>5.3999999999999999E-2</c:v>
                </c:pt>
                <c:pt idx="361">
                  <c:v>6.4000000000000001E-2</c:v>
                </c:pt>
                <c:pt idx="362">
                  <c:v>8.4000000000000005E-2</c:v>
                </c:pt>
                <c:pt idx="363">
                  <c:v>0.11600000000000001</c:v>
                </c:pt>
                <c:pt idx="364">
                  <c:v>0.66100000000000003</c:v>
                </c:pt>
                <c:pt idx="365">
                  <c:v>3.4000000000000002E-2</c:v>
                </c:pt>
                <c:pt idx="366">
                  <c:v>0.38900000000000001</c:v>
                </c:pt>
                <c:pt idx="367">
                  <c:v>4.5999999999999999E-2</c:v>
                </c:pt>
                <c:pt idx="368">
                  <c:v>8.9999999999999993E-3</c:v>
                </c:pt>
                <c:pt idx="369">
                  <c:v>0.23100000000000001</c:v>
                </c:pt>
                <c:pt idx="370">
                  <c:v>0.04</c:v>
                </c:pt>
                <c:pt idx="371">
                  <c:v>7.3999999999999996E-2</c:v>
                </c:pt>
                <c:pt idx="372">
                  <c:v>1.4E-2</c:v>
                </c:pt>
                <c:pt idx="373">
                  <c:v>0.4</c:v>
                </c:pt>
                <c:pt idx="374">
                  <c:v>7.4999999999999997E-2</c:v>
                </c:pt>
                <c:pt idx="375">
                  <c:v>0.17</c:v>
                </c:pt>
                <c:pt idx="376">
                  <c:v>1.9E-2</c:v>
                </c:pt>
                <c:pt idx="377">
                  <c:v>1.2999999999999999E-2</c:v>
                </c:pt>
                <c:pt idx="378">
                  <c:v>0.60399999999999998</c:v>
                </c:pt>
                <c:pt idx="379">
                  <c:v>0.114</c:v>
                </c:pt>
                <c:pt idx="380">
                  <c:v>0.14000000000000001</c:v>
                </c:pt>
                <c:pt idx="381">
                  <c:v>2.1999999999999999E-2</c:v>
                </c:pt>
                <c:pt idx="382">
                  <c:v>1.4E-2</c:v>
                </c:pt>
                <c:pt idx="383">
                  <c:v>9.8000000000000004E-2</c:v>
                </c:pt>
                <c:pt idx="384">
                  <c:v>0.06</c:v>
                </c:pt>
                <c:pt idx="385">
                  <c:v>7.6999999999999999E-2</c:v>
                </c:pt>
                <c:pt idx="386">
                  <c:v>0.312</c:v>
                </c:pt>
                <c:pt idx="387">
                  <c:v>6.7000000000000004E-2</c:v>
                </c:pt>
                <c:pt idx="388">
                  <c:v>2.7E-2</c:v>
                </c:pt>
                <c:pt idx="389">
                  <c:v>0.35699999999999998</c:v>
                </c:pt>
                <c:pt idx="390">
                  <c:v>5.6000000000000001E-2</c:v>
                </c:pt>
                <c:pt idx="391">
                  <c:v>8.8999999999999996E-2</c:v>
                </c:pt>
                <c:pt idx="392">
                  <c:v>8.6999999999999994E-2</c:v>
                </c:pt>
                <c:pt idx="393">
                  <c:v>8.8999999999999996E-2</c:v>
                </c:pt>
                <c:pt idx="394">
                  <c:v>0.04</c:v>
                </c:pt>
                <c:pt idx="395">
                  <c:v>1.2999999999999999E-2</c:v>
                </c:pt>
                <c:pt idx="396">
                  <c:v>8.2000000000000003E-2</c:v>
                </c:pt>
                <c:pt idx="397">
                  <c:v>0.12</c:v>
                </c:pt>
                <c:pt idx="398">
                  <c:v>7.4999999999999997E-2</c:v>
                </c:pt>
                <c:pt idx="399">
                  <c:v>9.5000000000000001E-2</c:v>
                </c:pt>
                <c:pt idx="400">
                  <c:v>8.2000000000000003E-2</c:v>
                </c:pt>
                <c:pt idx="401">
                  <c:v>3.0000000000000001E-3</c:v>
                </c:pt>
                <c:pt idx="402">
                  <c:v>2.5999999999999999E-2</c:v>
                </c:pt>
                <c:pt idx="403">
                  <c:v>0.27600000000000002</c:v>
                </c:pt>
                <c:pt idx="404">
                  <c:v>0.255</c:v>
                </c:pt>
                <c:pt idx="405">
                  <c:v>3.0000000000000001E-3</c:v>
                </c:pt>
                <c:pt idx="406">
                  <c:v>0.01</c:v>
                </c:pt>
                <c:pt idx="407">
                  <c:v>0.03</c:v>
                </c:pt>
                <c:pt idx="408">
                  <c:v>0.09</c:v>
                </c:pt>
                <c:pt idx="409">
                  <c:v>4.3999999999999997E-2</c:v>
                </c:pt>
                <c:pt idx="410">
                  <c:v>0.09</c:v>
                </c:pt>
                <c:pt idx="411">
                  <c:v>0.10299999999999999</c:v>
                </c:pt>
                <c:pt idx="412">
                  <c:v>0.125</c:v>
                </c:pt>
                <c:pt idx="413">
                  <c:v>3.6999999999999998E-2</c:v>
                </c:pt>
                <c:pt idx="414">
                  <c:v>2.8000000000000001E-2</c:v>
                </c:pt>
                <c:pt idx="415">
                  <c:v>0.13600000000000001</c:v>
                </c:pt>
                <c:pt idx="416">
                  <c:v>7.4999999999999997E-2</c:v>
                </c:pt>
                <c:pt idx="417">
                  <c:v>6.7000000000000004E-2</c:v>
                </c:pt>
                <c:pt idx="418">
                  <c:v>0.156</c:v>
                </c:pt>
                <c:pt idx="419">
                  <c:v>0.33400000000000002</c:v>
                </c:pt>
                <c:pt idx="420">
                  <c:v>1.7999999999999999E-2</c:v>
                </c:pt>
                <c:pt idx="421">
                  <c:v>0.01</c:v>
                </c:pt>
                <c:pt idx="422">
                  <c:v>7.1999999999999995E-2</c:v>
                </c:pt>
                <c:pt idx="423">
                  <c:v>1E-3</c:v>
                </c:pt>
                <c:pt idx="424">
                  <c:v>0.372</c:v>
                </c:pt>
                <c:pt idx="425">
                  <c:v>6.9000000000000006E-2</c:v>
                </c:pt>
                <c:pt idx="426">
                  <c:v>1.4E-2</c:v>
                </c:pt>
                <c:pt idx="427">
                  <c:v>7.9000000000000001E-2</c:v>
                </c:pt>
                <c:pt idx="428">
                  <c:v>2.1999999999999999E-2</c:v>
                </c:pt>
                <c:pt idx="429">
                  <c:v>0.04</c:v>
                </c:pt>
                <c:pt idx="430">
                  <c:v>0.111</c:v>
                </c:pt>
                <c:pt idx="431">
                  <c:v>6.8000000000000005E-2</c:v>
                </c:pt>
                <c:pt idx="432">
                  <c:v>4.3999999999999997E-2</c:v>
                </c:pt>
                <c:pt idx="433">
                  <c:v>1.0999999999999999E-2</c:v>
                </c:pt>
                <c:pt idx="434">
                  <c:v>4.0000000000000001E-3</c:v>
                </c:pt>
                <c:pt idx="435">
                  <c:v>5.0999999999999997E-2</c:v>
                </c:pt>
                <c:pt idx="436">
                  <c:v>0.12</c:v>
                </c:pt>
                <c:pt idx="437">
                  <c:v>9.4E-2</c:v>
                </c:pt>
                <c:pt idx="438">
                  <c:v>8.0000000000000002E-3</c:v>
                </c:pt>
                <c:pt idx="439">
                  <c:v>1.4E-2</c:v>
                </c:pt>
                <c:pt idx="440">
                  <c:v>0.01</c:v>
                </c:pt>
                <c:pt idx="441">
                  <c:v>1.4E-2</c:v>
                </c:pt>
                <c:pt idx="442">
                  <c:v>8.9999999999999993E-3</c:v>
                </c:pt>
                <c:pt idx="443">
                  <c:v>1.6E-2</c:v>
                </c:pt>
                <c:pt idx="444">
                  <c:v>1.7000000000000001E-2</c:v>
                </c:pt>
                <c:pt idx="445">
                  <c:v>1.2E-2</c:v>
                </c:pt>
                <c:pt idx="446">
                  <c:v>1.2999999999999999E-2</c:v>
                </c:pt>
                <c:pt idx="447">
                  <c:v>2.1999999999999999E-2</c:v>
                </c:pt>
                <c:pt idx="448">
                  <c:v>2.9000000000000001E-2</c:v>
                </c:pt>
                <c:pt idx="449">
                  <c:v>3.0000000000000001E-3</c:v>
                </c:pt>
                <c:pt idx="450">
                  <c:v>0.10299999999999999</c:v>
                </c:pt>
                <c:pt idx="451">
                  <c:v>1.4E-2</c:v>
                </c:pt>
                <c:pt idx="452">
                  <c:v>3.5000000000000003E-2</c:v>
                </c:pt>
                <c:pt idx="453">
                  <c:v>0.189</c:v>
                </c:pt>
                <c:pt idx="454">
                  <c:v>5.1999999999999998E-2</c:v>
                </c:pt>
                <c:pt idx="455">
                  <c:v>6.7000000000000004E-2</c:v>
                </c:pt>
                <c:pt idx="456">
                  <c:v>8.9999999999999993E-3</c:v>
                </c:pt>
                <c:pt idx="457">
                  <c:v>0.01</c:v>
                </c:pt>
                <c:pt idx="458">
                  <c:v>8.9999999999999993E-3</c:v>
                </c:pt>
                <c:pt idx="459">
                  <c:v>0.03</c:v>
                </c:pt>
                <c:pt idx="460">
                  <c:v>1.2999999999999999E-2</c:v>
                </c:pt>
                <c:pt idx="461">
                  <c:v>8.9999999999999993E-3</c:v>
                </c:pt>
                <c:pt idx="462">
                  <c:v>0.13300000000000001</c:v>
                </c:pt>
                <c:pt idx="463">
                  <c:v>2.5000000000000001E-2</c:v>
                </c:pt>
                <c:pt idx="464">
                  <c:v>2.8000000000000001E-2</c:v>
                </c:pt>
                <c:pt idx="465">
                  <c:v>8.9999999999999993E-3</c:v>
                </c:pt>
                <c:pt idx="466">
                  <c:v>2.3E-2</c:v>
                </c:pt>
                <c:pt idx="467">
                  <c:v>2.9000000000000001E-2</c:v>
                </c:pt>
                <c:pt idx="468">
                  <c:v>0.113</c:v>
                </c:pt>
                <c:pt idx="469">
                  <c:v>0.10299999999999999</c:v>
                </c:pt>
                <c:pt idx="470">
                  <c:v>2.8000000000000001E-2</c:v>
                </c:pt>
                <c:pt idx="471">
                  <c:v>1.9E-2</c:v>
                </c:pt>
                <c:pt idx="472">
                  <c:v>1.4999999999999999E-2</c:v>
                </c:pt>
                <c:pt idx="473">
                  <c:v>2.3E-2</c:v>
                </c:pt>
                <c:pt idx="474">
                  <c:v>0.12</c:v>
                </c:pt>
                <c:pt idx="475">
                  <c:v>1E-3</c:v>
                </c:pt>
                <c:pt idx="476">
                  <c:v>1.9E-2</c:v>
                </c:pt>
                <c:pt idx="477">
                  <c:v>0.01</c:v>
                </c:pt>
                <c:pt idx="478">
                  <c:v>7.8E-2</c:v>
                </c:pt>
                <c:pt idx="479">
                  <c:v>0.03</c:v>
                </c:pt>
                <c:pt idx="480">
                  <c:v>0.01</c:v>
                </c:pt>
                <c:pt idx="481">
                  <c:v>0.27100000000000002</c:v>
                </c:pt>
                <c:pt idx="482">
                  <c:v>0.01</c:v>
                </c:pt>
                <c:pt idx="483">
                  <c:v>0.01</c:v>
                </c:pt>
                <c:pt idx="484">
                  <c:v>2.1000000000000001E-2</c:v>
                </c:pt>
                <c:pt idx="485">
                  <c:v>1E-3</c:v>
                </c:pt>
                <c:pt idx="486">
                  <c:v>2.1999999999999999E-2</c:v>
                </c:pt>
                <c:pt idx="487">
                  <c:v>2.5000000000000001E-2</c:v>
                </c:pt>
                <c:pt idx="488">
                  <c:v>3.7999999999999999E-2</c:v>
                </c:pt>
                <c:pt idx="489">
                  <c:v>7.3999999999999996E-2</c:v>
                </c:pt>
                <c:pt idx="490">
                  <c:v>0.01</c:v>
                </c:pt>
                <c:pt idx="491">
                  <c:v>1.0999999999999999E-2</c:v>
                </c:pt>
                <c:pt idx="492">
                  <c:v>8.9999999999999993E-3</c:v>
                </c:pt>
                <c:pt idx="493">
                  <c:v>1.0999999999999999E-2</c:v>
                </c:pt>
                <c:pt idx="494">
                  <c:v>1.9E-2</c:v>
                </c:pt>
                <c:pt idx="495">
                  <c:v>8.6999999999999994E-2</c:v>
                </c:pt>
                <c:pt idx="496">
                  <c:v>0.01</c:v>
                </c:pt>
                <c:pt idx="497">
                  <c:v>8.0000000000000002E-3</c:v>
                </c:pt>
                <c:pt idx="498">
                  <c:v>4.5999999999999999E-2</c:v>
                </c:pt>
                <c:pt idx="499">
                  <c:v>8.9999999999999993E-3</c:v>
                </c:pt>
                <c:pt idx="500">
                  <c:v>4.2999999999999997E-2</c:v>
                </c:pt>
                <c:pt idx="501">
                  <c:v>1E-3</c:v>
                </c:pt>
                <c:pt idx="502">
                  <c:v>0.01</c:v>
                </c:pt>
                <c:pt idx="503">
                  <c:v>1E-3</c:v>
                </c:pt>
                <c:pt idx="504">
                  <c:v>1.4999999999999999E-2</c:v>
                </c:pt>
                <c:pt idx="505">
                  <c:v>0.01</c:v>
                </c:pt>
                <c:pt idx="506">
                  <c:v>8.9999999999999993E-3</c:v>
                </c:pt>
                <c:pt idx="507">
                  <c:v>6.0999999999999999E-2</c:v>
                </c:pt>
                <c:pt idx="508">
                  <c:v>1.7999999999999999E-2</c:v>
                </c:pt>
                <c:pt idx="509">
                  <c:v>1.4E-2</c:v>
                </c:pt>
                <c:pt idx="510">
                  <c:v>3.1E-2</c:v>
                </c:pt>
                <c:pt idx="511">
                  <c:v>0.01</c:v>
                </c:pt>
                <c:pt idx="512">
                  <c:v>1.2999999999999999E-2</c:v>
                </c:pt>
                <c:pt idx="513">
                  <c:v>1.4E-2</c:v>
                </c:pt>
                <c:pt idx="514">
                  <c:v>4.0000000000000001E-3</c:v>
                </c:pt>
                <c:pt idx="515">
                  <c:v>1.2999999999999999E-2</c:v>
                </c:pt>
                <c:pt idx="516">
                  <c:v>1.2E-2</c:v>
                </c:pt>
                <c:pt idx="517">
                  <c:v>1.7000000000000001E-2</c:v>
                </c:pt>
                <c:pt idx="518">
                  <c:v>0.04</c:v>
                </c:pt>
                <c:pt idx="519">
                  <c:v>1.9E-2</c:v>
                </c:pt>
                <c:pt idx="520">
                  <c:v>1E-3</c:v>
                </c:pt>
                <c:pt idx="521">
                  <c:v>5.5E-2</c:v>
                </c:pt>
                <c:pt idx="522">
                  <c:v>1E-3</c:v>
                </c:pt>
                <c:pt idx="523">
                  <c:v>0.02</c:v>
                </c:pt>
                <c:pt idx="524">
                  <c:v>0.01</c:v>
                </c:pt>
                <c:pt idx="525">
                  <c:v>8.9999999999999993E-3</c:v>
                </c:pt>
                <c:pt idx="526">
                  <c:v>1.0999999999999999E-2</c:v>
                </c:pt>
                <c:pt idx="527">
                  <c:v>4.8000000000000001E-2</c:v>
                </c:pt>
                <c:pt idx="528">
                  <c:v>1.0999999999999999E-2</c:v>
                </c:pt>
                <c:pt idx="529">
                  <c:v>2.1999999999999999E-2</c:v>
                </c:pt>
                <c:pt idx="530">
                  <c:v>5.0000000000000001E-3</c:v>
                </c:pt>
                <c:pt idx="531">
                  <c:v>1.4999999999999999E-2</c:v>
                </c:pt>
                <c:pt idx="532">
                  <c:v>1E-3</c:v>
                </c:pt>
                <c:pt idx="533">
                  <c:v>1.9E-2</c:v>
                </c:pt>
                <c:pt idx="534">
                  <c:v>1.7999999999999999E-2</c:v>
                </c:pt>
                <c:pt idx="535">
                  <c:v>4.1000000000000002E-2</c:v>
                </c:pt>
                <c:pt idx="536">
                  <c:v>4.0000000000000001E-3</c:v>
                </c:pt>
                <c:pt idx="537">
                  <c:v>0.02</c:v>
                </c:pt>
                <c:pt idx="538">
                  <c:v>4.2000000000000003E-2</c:v>
                </c:pt>
                <c:pt idx="539">
                  <c:v>1E-3</c:v>
                </c:pt>
                <c:pt idx="540">
                  <c:v>8.9999999999999993E-3</c:v>
                </c:pt>
                <c:pt idx="541">
                  <c:v>1.9E-2</c:v>
                </c:pt>
                <c:pt idx="542">
                  <c:v>0.01</c:v>
                </c:pt>
                <c:pt idx="543">
                  <c:v>3.2000000000000001E-2</c:v>
                </c:pt>
                <c:pt idx="544">
                  <c:v>1.6E-2</c:v>
                </c:pt>
                <c:pt idx="545">
                  <c:v>0.01</c:v>
                </c:pt>
                <c:pt idx="546">
                  <c:v>2.4E-2</c:v>
                </c:pt>
                <c:pt idx="547">
                  <c:v>4.5999999999999999E-2</c:v>
                </c:pt>
                <c:pt idx="548">
                  <c:v>2.4E-2</c:v>
                </c:pt>
                <c:pt idx="549">
                  <c:v>1.4999999999999999E-2</c:v>
                </c:pt>
                <c:pt idx="550">
                  <c:v>1.4999999999999999E-2</c:v>
                </c:pt>
                <c:pt idx="551">
                  <c:v>8.0000000000000002E-3</c:v>
                </c:pt>
                <c:pt idx="552">
                  <c:v>4.0000000000000001E-3</c:v>
                </c:pt>
                <c:pt idx="553">
                  <c:v>4.0000000000000001E-3</c:v>
                </c:pt>
                <c:pt idx="554">
                  <c:v>8.9999999999999993E-3</c:v>
                </c:pt>
                <c:pt idx="555">
                  <c:v>2.7E-2</c:v>
                </c:pt>
                <c:pt idx="556">
                  <c:v>8.9999999999999993E-3</c:v>
                </c:pt>
                <c:pt idx="557">
                  <c:v>3.5000000000000003E-2</c:v>
                </c:pt>
                <c:pt idx="558">
                  <c:v>5.0000000000000001E-3</c:v>
                </c:pt>
                <c:pt idx="559">
                  <c:v>2.1000000000000001E-2</c:v>
                </c:pt>
                <c:pt idx="560">
                  <c:v>0.03</c:v>
                </c:pt>
                <c:pt idx="561">
                  <c:v>2.1999999999999999E-2</c:v>
                </c:pt>
                <c:pt idx="562">
                  <c:v>0.01</c:v>
                </c:pt>
                <c:pt idx="563">
                  <c:v>1.4999999999999999E-2</c:v>
                </c:pt>
                <c:pt idx="564">
                  <c:v>2.1999999999999999E-2</c:v>
                </c:pt>
                <c:pt idx="565">
                  <c:v>1.2E-2</c:v>
                </c:pt>
                <c:pt idx="566">
                  <c:v>0.01</c:v>
                </c:pt>
                <c:pt idx="567">
                  <c:v>7.0000000000000001E-3</c:v>
                </c:pt>
                <c:pt idx="568">
                  <c:v>1.2999999999999999E-2</c:v>
                </c:pt>
                <c:pt idx="569">
                  <c:v>8.0000000000000002E-3</c:v>
                </c:pt>
                <c:pt idx="570">
                  <c:v>1.2E-2</c:v>
                </c:pt>
                <c:pt idx="571">
                  <c:v>3.0000000000000001E-3</c:v>
                </c:pt>
                <c:pt idx="572">
                  <c:v>1.2999999999999999E-2</c:v>
                </c:pt>
                <c:pt idx="573">
                  <c:v>2.5000000000000001E-2</c:v>
                </c:pt>
                <c:pt idx="574">
                  <c:v>3.0000000000000001E-3</c:v>
                </c:pt>
                <c:pt idx="575">
                  <c:v>3.0000000000000001E-3</c:v>
                </c:pt>
                <c:pt idx="576">
                  <c:v>1.0999999999999999E-2</c:v>
                </c:pt>
                <c:pt idx="577">
                  <c:v>1.2E-2</c:v>
                </c:pt>
                <c:pt idx="578">
                  <c:v>0.112</c:v>
                </c:pt>
                <c:pt idx="579">
                  <c:v>1.2999999999999999E-2</c:v>
                </c:pt>
                <c:pt idx="580">
                  <c:v>1E-3</c:v>
                </c:pt>
                <c:pt idx="581">
                  <c:v>2E-3</c:v>
                </c:pt>
                <c:pt idx="582">
                  <c:v>8.0000000000000002E-3</c:v>
                </c:pt>
                <c:pt idx="583">
                  <c:v>1E-3</c:v>
                </c:pt>
                <c:pt idx="584">
                  <c:v>7.0000000000000001E-3</c:v>
                </c:pt>
                <c:pt idx="585">
                  <c:v>3.0000000000000001E-3</c:v>
                </c:pt>
                <c:pt idx="586">
                  <c:v>4.4999999999999998E-2</c:v>
                </c:pt>
                <c:pt idx="587">
                  <c:v>8.0000000000000002E-3</c:v>
                </c:pt>
                <c:pt idx="588">
                  <c:v>8.9999999999999993E-3</c:v>
                </c:pt>
                <c:pt idx="589">
                  <c:v>2E-3</c:v>
                </c:pt>
                <c:pt idx="590">
                  <c:v>1.4E-2</c:v>
                </c:pt>
                <c:pt idx="591">
                  <c:v>0.03</c:v>
                </c:pt>
                <c:pt idx="592">
                  <c:v>1.0999999999999999E-2</c:v>
                </c:pt>
                <c:pt idx="593">
                  <c:v>0.03</c:v>
                </c:pt>
                <c:pt idx="594">
                  <c:v>8.9999999999999993E-3</c:v>
                </c:pt>
                <c:pt idx="595">
                  <c:v>0.01</c:v>
                </c:pt>
                <c:pt idx="596">
                  <c:v>5.0000000000000001E-3</c:v>
                </c:pt>
                <c:pt idx="597">
                  <c:v>5.0000000000000001E-3</c:v>
                </c:pt>
                <c:pt idx="598">
                  <c:v>8.0000000000000002E-3</c:v>
                </c:pt>
                <c:pt idx="599">
                  <c:v>1.4999999999999999E-2</c:v>
                </c:pt>
                <c:pt idx="600">
                  <c:v>4.0000000000000001E-3</c:v>
                </c:pt>
                <c:pt idx="601">
                  <c:v>8.0000000000000002E-3</c:v>
                </c:pt>
                <c:pt idx="602">
                  <c:v>1.4E-2</c:v>
                </c:pt>
                <c:pt idx="603">
                  <c:v>8.0000000000000002E-3</c:v>
                </c:pt>
                <c:pt idx="604">
                  <c:v>1E-3</c:v>
                </c:pt>
                <c:pt idx="605">
                  <c:v>0.01</c:v>
                </c:pt>
                <c:pt idx="606">
                  <c:v>1E-3</c:v>
                </c:pt>
                <c:pt idx="607">
                  <c:v>2E-3</c:v>
                </c:pt>
                <c:pt idx="608">
                  <c:v>2.3E-2</c:v>
                </c:pt>
                <c:pt idx="609">
                  <c:v>8.0000000000000002E-3</c:v>
                </c:pt>
                <c:pt idx="610">
                  <c:v>1.2999999999999999E-2</c:v>
                </c:pt>
                <c:pt idx="611">
                  <c:v>1E-3</c:v>
                </c:pt>
                <c:pt idx="612">
                  <c:v>0.02</c:v>
                </c:pt>
                <c:pt idx="613">
                  <c:v>8.0000000000000002E-3</c:v>
                </c:pt>
                <c:pt idx="614">
                  <c:v>3.0000000000000001E-3</c:v>
                </c:pt>
                <c:pt idx="615">
                  <c:v>0.01</c:v>
                </c:pt>
                <c:pt idx="616">
                  <c:v>0.01</c:v>
                </c:pt>
                <c:pt idx="617">
                  <c:v>5.0000000000000001E-3</c:v>
                </c:pt>
                <c:pt idx="618">
                  <c:v>1E-3</c:v>
                </c:pt>
                <c:pt idx="619">
                  <c:v>1E-3</c:v>
                </c:pt>
                <c:pt idx="620">
                  <c:v>8.0000000000000002E-3</c:v>
                </c:pt>
                <c:pt idx="621">
                  <c:v>3.0000000000000001E-3</c:v>
                </c:pt>
                <c:pt idx="622">
                  <c:v>1E-3</c:v>
                </c:pt>
                <c:pt idx="623">
                  <c:v>1E-3</c:v>
                </c:pt>
                <c:pt idx="624">
                  <c:v>3.0000000000000001E-3</c:v>
                </c:pt>
                <c:pt idx="625">
                  <c:v>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7ECAC4"/>
              </a:solidFill>
            </c:spPr>
            <c:extLst>
              <c:ext xmlns:c16="http://schemas.microsoft.com/office/drawing/2014/chart" uri="{C3380CC4-5D6E-409C-BE32-E72D297353CC}">
                <c16:uniqueId val="{00000185-2993-41DE-A2CB-63102DE87051}"/>
              </c:ext>
            </c:extLst>
          </c:dPt>
          <c:dPt>
            <c:idx val="194"/>
            <c:invertIfNegative val="1"/>
            <c:bubble3D val="0"/>
            <c:spPr>
              <a:solidFill>
                <a:srgbClr val="7ECAC4"/>
              </a:solidFill>
            </c:spPr>
            <c:extLst>
              <c:ext xmlns:c16="http://schemas.microsoft.com/office/drawing/2014/chart" uri="{C3380CC4-5D6E-409C-BE32-E72D297353CC}">
                <c16:uniqueId val="{00000187-2993-41DE-A2CB-63102DE87051}"/>
              </c:ext>
            </c:extLst>
          </c:dPt>
          <c:dPt>
            <c:idx val="195"/>
            <c:invertIfNegative val="1"/>
            <c:bubble3D val="0"/>
            <c:spPr>
              <a:solidFill>
                <a:srgbClr val="7ECAC4"/>
              </a:solidFill>
            </c:spPr>
            <c:extLst>
              <c:ext xmlns:c16="http://schemas.microsoft.com/office/drawing/2014/chart" uri="{C3380CC4-5D6E-409C-BE32-E72D297353CC}">
                <c16:uniqueId val="{00000189-2993-41DE-A2CB-63102DE87051}"/>
              </c:ext>
            </c:extLst>
          </c:dPt>
          <c:dPt>
            <c:idx val="196"/>
            <c:invertIfNegative val="1"/>
            <c:bubble3D val="0"/>
            <c:spPr>
              <a:solidFill>
                <a:srgbClr val="7ECAC4"/>
              </a:solidFill>
            </c:spPr>
            <c:extLst>
              <c:ext xmlns:c16="http://schemas.microsoft.com/office/drawing/2014/chart" uri="{C3380CC4-5D6E-409C-BE32-E72D297353CC}">
                <c16:uniqueId val="{0000018B-2993-41DE-A2CB-63102DE87051}"/>
              </c:ext>
            </c:extLst>
          </c:dPt>
          <c:dPt>
            <c:idx val="197"/>
            <c:invertIfNegative val="1"/>
            <c:bubble3D val="0"/>
            <c:spPr>
              <a:solidFill>
                <a:srgbClr val="7ECAC4"/>
              </a:solidFill>
            </c:spPr>
            <c:extLst>
              <c:ext xmlns:c16="http://schemas.microsoft.com/office/drawing/2014/chart" uri="{C3380CC4-5D6E-409C-BE32-E72D297353CC}">
                <c16:uniqueId val="{0000018D-2993-41DE-A2CB-63102DE87051}"/>
              </c:ext>
            </c:extLst>
          </c:dPt>
          <c:dPt>
            <c:idx val="198"/>
            <c:invertIfNegative val="1"/>
            <c:bubble3D val="0"/>
            <c:spPr>
              <a:solidFill>
                <a:srgbClr val="7ECAC4"/>
              </a:solidFill>
            </c:spPr>
            <c:extLst>
              <c:ext xmlns:c16="http://schemas.microsoft.com/office/drawing/2014/chart" uri="{C3380CC4-5D6E-409C-BE32-E72D297353CC}">
                <c16:uniqueId val="{0000018F-2993-41DE-A2CB-63102DE87051}"/>
              </c:ext>
            </c:extLst>
          </c:dPt>
          <c:dPt>
            <c:idx val="199"/>
            <c:invertIfNegative val="1"/>
            <c:bubble3D val="0"/>
            <c:spPr>
              <a:solidFill>
                <a:srgbClr val="7ECAC4"/>
              </a:solidFill>
            </c:spPr>
            <c:extLst>
              <c:ext xmlns:c16="http://schemas.microsoft.com/office/drawing/2014/chart" uri="{C3380CC4-5D6E-409C-BE32-E72D297353CC}">
                <c16:uniqueId val="{00000191-2993-41DE-A2CB-63102DE87051}"/>
              </c:ext>
            </c:extLst>
          </c:dPt>
          <c:dPt>
            <c:idx val="200"/>
            <c:invertIfNegative val="1"/>
            <c:bubble3D val="0"/>
            <c:spPr>
              <a:solidFill>
                <a:srgbClr val="7ECAC4"/>
              </a:solidFill>
            </c:spPr>
            <c:extLst>
              <c:ext xmlns:c16="http://schemas.microsoft.com/office/drawing/2014/chart" uri="{C3380CC4-5D6E-409C-BE32-E72D297353CC}">
                <c16:uniqueId val="{00000193-2993-41DE-A2CB-63102DE87051}"/>
              </c:ext>
            </c:extLst>
          </c:dPt>
          <c:dPt>
            <c:idx val="201"/>
            <c:invertIfNegative val="1"/>
            <c:bubble3D val="0"/>
            <c:spPr>
              <a:solidFill>
                <a:srgbClr val="7ECAC4"/>
              </a:solidFill>
            </c:spPr>
            <c:extLst>
              <c:ext xmlns:c16="http://schemas.microsoft.com/office/drawing/2014/chart" uri="{C3380CC4-5D6E-409C-BE32-E72D297353CC}">
                <c16:uniqueId val="{00000195-2993-41DE-A2CB-63102DE87051}"/>
              </c:ext>
            </c:extLst>
          </c:dPt>
          <c:dPt>
            <c:idx val="202"/>
            <c:invertIfNegative val="1"/>
            <c:bubble3D val="0"/>
            <c:spPr>
              <a:solidFill>
                <a:srgbClr val="7ECAC4"/>
              </a:solidFill>
            </c:spPr>
            <c:extLst>
              <c:ext xmlns:c16="http://schemas.microsoft.com/office/drawing/2014/chart" uri="{C3380CC4-5D6E-409C-BE32-E72D297353CC}">
                <c16:uniqueId val="{00000197-2993-41DE-A2CB-63102DE87051}"/>
              </c:ext>
            </c:extLst>
          </c:dPt>
          <c:dPt>
            <c:idx val="203"/>
            <c:invertIfNegative val="1"/>
            <c:bubble3D val="0"/>
            <c:spPr>
              <a:solidFill>
                <a:srgbClr val="7ECAC4"/>
              </a:solidFill>
            </c:spPr>
            <c:extLst>
              <c:ext xmlns:c16="http://schemas.microsoft.com/office/drawing/2014/chart" uri="{C3380CC4-5D6E-409C-BE32-E72D297353CC}">
                <c16:uniqueId val="{00000199-2993-41DE-A2CB-63102DE87051}"/>
              </c:ext>
            </c:extLst>
          </c:dPt>
          <c:dPt>
            <c:idx val="204"/>
            <c:invertIfNegative val="1"/>
            <c:bubble3D val="0"/>
            <c:spPr>
              <a:solidFill>
                <a:srgbClr val="7ECAC4"/>
              </a:solidFill>
            </c:spPr>
            <c:extLst>
              <c:ext xmlns:c16="http://schemas.microsoft.com/office/drawing/2014/chart" uri="{C3380CC4-5D6E-409C-BE32-E72D297353CC}">
                <c16:uniqueId val="{0000019B-2993-41DE-A2CB-63102DE87051}"/>
              </c:ext>
            </c:extLst>
          </c:dPt>
          <c:dPt>
            <c:idx val="205"/>
            <c:invertIfNegative val="1"/>
            <c:bubble3D val="0"/>
            <c:spPr>
              <a:solidFill>
                <a:srgbClr val="7ECAC4"/>
              </a:solidFill>
            </c:spPr>
            <c:extLst>
              <c:ext xmlns:c16="http://schemas.microsoft.com/office/drawing/2014/chart" uri="{C3380CC4-5D6E-409C-BE32-E72D297353CC}">
                <c16:uniqueId val="{0000019D-2993-41DE-A2CB-63102DE87051}"/>
              </c:ext>
            </c:extLst>
          </c:dPt>
          <c:dPt>
            <c:idx val="206"/>
            <c:invertIfNegative val="1"/>
            <c:bubble3D val="0"/>
            <c:spPr>
              <a:solidFill>
                <a:srgbClr val="7ECAC4"/>
              </a:solidFill>
            </c:spPr>
            <c:extLst>
              <c:ext xmlns:c16="http://schemas.microsoft.com/office/drawing/2014/chart" uri="{C3380CC4-5D6E-409C-BE32-E72D297353CC}">
                <c16:uniqueId val="{0000019F-2993-41DE-A2CB-63102DE87051}"/>
              </c:ext>
            </c:extLst>
          </c:dPt>
          <c:dPt>
            <c:idx val="207"/>
            <c:invertIfNegative val="1"/>
            <c:bubble3D val="0"/>
            <c:spPr>
              <a:solidFill>
                <a:srgbClr val="7ECAC4"/>
              </a:solidFill>
            </c:spPr>
            <c:extLst>
              <c:ext xmlns:c16="http://schemas.microsoft.com/office/drawing/2014/chart" uri="{C3380CC4-5D6E-409C-BE32-E72D297353CC}">
                <c16:uniqueId val="{000001A1-2993-41DE-A2CB-63102DE87051}"/>
              </c:ext>
            </c:extLst>
          </c:dPt>
          <c:dPt>
            <c:idx val="208"/>
            <c:invertIfNegative val="1"/>
            <c:bubble3D val="0"/>
            <c:spPr>
              <a:solidFill>
                <a:srgbClr val="7ECAC4"/>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FAF2-40A3-8A98-006EB2CA5507}"/>
              </c:ext>
            </c:extLst>
          </c:dPt>
          <c:dPt>
            <c:idx val="211"/>
            <c:invertIfNegative val="1"/>
            <c:bubble3D val="0"/>
            <c:spPr>
              <a:solidFill>
                <a:srgbClr val="AEABAB"/>
              </a:solidFill>
            </c:spPr>
            <c:extLst>
              <c:ext xmlns:c16="http://schemas.microsoft.com/office/drawing/2014/chart" uri="{C3380CC4-5D6E-409C-BE32-E72D297353CC}">
                <c16:uniqueId val="{000001A9-FAF2-40A3-8A98-006EB2CA5507}"/>
              </c:ext>
            </c:extLst>
          </c:dPt>
          <c:dPt>
            <c:idx val="212"/>
            <c:invertIfNegative val="1"/>
            <c:bubble3D val="0"/>
            <c:spPr>
              <a:solidFill>
                <a:srgbClr val="AEABAB"/>
              </a:solidFill>
            </c:spPr>
            <c:extLst>
              <c:ext xmlns:c16="http://schemas.microsoft.com/office/drawing/2014/chart" uri="{C3380CC4-5D6E-409C-BE32-E72D297353CC}">
                <c16:uniqueId val="{000001AB-FAF2-40A3-8A98-006EB2CA5507}"/>
              </c:ext>
            </c:extLst>
          </c:dPt>
          <c:dPt>
            <c:idx val="213"/>
            <c:invertIfNegative val="1"/>
            <c:bubble3D val="0"/>
            <c:spPr>
              <a:solidFill>
                <a:srgbClr val="AEABAB"/>
              </a:solidFill>
            </c:spPr>
            <c:extLst>
              <c:ext xmlns:c16="http://schemas.microsoft.com/office/drawing/2014/chart" uri="{C3380CC4-5D6E-409C-BE32-E72D297353CC}">
                <c16:uniqueId val="{000001AD-FAF2-40A3-8A98-006EB2CA5507}"/>
              </c:ext>
            </c:extLst>
          </c:dPt>
          <c:dPt>
            <c:idx val="214"/>
            <c:invertIfNegative val="1"/>
            <c:bubble3D val="0"/>
            <c:spPr>
              <a:solidFill>
                <a:srgbClr val="AEABAB"/>
              </a:solidFill>
            </c:spPr>
            <c:extLst>
              <c:ext xmlns:c16="http://schemas.microsoft.com/office/drawing/2014/chart" uri="{C3380CC4-5D6E-409C-BE32-E72D297353CC}">
                <c16:uniqueId val="{000001AF-FAF2-40A3-8A98-006EB2CA5507}"/>
              </c:ext>
            </c:extLst>
          </c:dPt>
          <c:dPt>
            <c:idx val="215"/>
            <c:invertIfNegative val="1"/>
            <c:bubble3D val="0"/>
            <c:spPr>
              <a:solidFill>
                <a:srgbClr val="AEABAB"/>
              </a:solidFill>
            </c:spPr>
            <c:extLst>
              <c:ext xmlns:c16="http://schemas.microsoft.com/office/drawing/2014/chart" uri="{C3380CC4-5D6E-409C-BE32-E72D297353CC}">
                <c16:uniqueId val="{000001B1-FAF2-40A3-8A98-006EB2CA5507}"/>
              </c:ext>
            </c:extLst>
          </c:dPt>
          <c:dPt>
            <c:idx val="216"/>
            <c:invertIfNegative val="1"/>
            <c:bubble3D val="0"/>
            <c:spPr>
              <a:solidFill>
                <a:srgbClr val="AEABAB"/>
              </a:solidFill>
            </c:spPr>
            <c:extLst>
              <c:ext xmlns:c16="http://schemas.microsoft.com/office/drawing/2014/chart" uri="{C3380CC4-5D6E-409C-BE32-E72D297353CC}">
                <c16:uniqueId val="{000001B3-FAF2-40A3-8A98-006EB2CA5507}"/>
              </c:ext>
            </c:extLst>
          </c:dPt>
          <c:dPt>
            <c:idx val="217"/>
            <c:invertIfNegative val="1"/>
            <c:bubble3D val="0"/>
            <c:spPr>
              <a:solidFill>
                <a:srgbClr val="AEABAB"/>
              </a:solidFill>
            </c:spPr>
            <c:extLst>
              <c:ext xmlns:c16="http://schemas.microsoft.com/office/drawing/2014/chart" uri="{C3380CC4-5D6E-409C-BE32-E72D297353CC}">
                <c16:uniqueId val="{000001B5-FAF2-40A3-8A98-006EB2CA5507}"/>
              </c:ext>
            </c:extLst>
          </c:dPt>
          <c:dPt>
            <c:idx val="218"/>
            <c:invertIfNegative val="1"/>
            <c:bubble3D val="0"/>
            <c:spPr>
              <a:solidFill>
                <a:srgbClr val="AEABAB"/>
              </a:solidFill>
            </c:spPr>
            <c:extLst>
              <c:ext xmlns:c16="http://schemas.microsoft.com/office/drawing/2014/chart" uri="{C3380CC4-5D6E-409C-BE32-E72D297353CC}">
                <c16:uniqueId val="{000001B7-FAF2-40A3-8A98-006EB2CA5507}"/>
              </c:ext>
            </c:extLst>
          </c:dPt>
          <c:dPt>
            <c:idx val="219"/>
            <c:invertIfNegative val="1"/>
            <c:bubble3D val="0"/>
            <c:spPr>
              <a:solidFill>
                <a:srgbClr val="AEABAB"/>
              </a:solidFill>
            </c:spPr>
            <c:extLst>
              <c:ext xmlns:c16="http://schemas.microsoft.com/office/drawing/2014/chart" uri="{C3380CC4-5D6E-409C-BE32-E72D297353CC}">
                <c16:uniqueId val="{000001B9-FAF2-40A3-8A98-006EB2CA5507}"/>
              </c:ext>
            </c:extLst>
          </c:dPt>
          <c:dPt>
            <c:idx val="220"/>
            <c:invertIfNegative val="1"/>
            <c:bubble3D val="0"/>
            <c:spPr>
              <a:solidFill>
                <a:srgbClr val="AEABAB"/>
              </a:solidFill>
            </c:spPr>
            <c:extLst>
              <c:ext xmlns:c16="http://schemas.microsoft.com/office/drawing/2014/chart" uri="{C3380CC4-5D6E-409C-BE32-E72D297353CC}">
                <c16:uniqueId val="{000001BB-FAF2-40A3-8A98-006EB2CA5507}"/>
              </c:ext>
            </c:extLst>
          </c:dPt>
          <c:dPt>
            <c:idx val="221"/>
            <c:invertIfNegative val="1"/>
            <c:bubble3D val="0"/>
            <c:spPr>
              <a:solidFill>
                <a:srgbClr val="AEABAB"/>
              </a:solidFill>
            </c:spPr>
            <c:extLst>
              <c:ext xmlns:c16="http://schemas.microsoft.com/office/drawing/2014/chart" uri="{C3380CC4-5D6E-409C-BE32-E72D297353CC}">
                <c16:uniqueId val="{000001BD-FAF2-40A3-8A98-006EB2CA5507}"/>
              </c:ext>
            </c:extLst>
          </c:dPt>
          <c:dPt>
            <c:idx val="222"/>
            <c:invertIfNegative val="1"/>
            <c:bubble3D val="0"/>
            <c:spPr>
              <a:solidFill>
                <a:srgbClr val="AEABAB"/>
              </a:solidFill>
            </c:spPr>
            <c:extLst>
              <c:ext xmlns:c16="http://schemas.microsoft.com/office/drawing/2014/chart" uri="{C3380CC4-5D6E-409C-BE32-E72D297353CC}">
                <c16:uniqueId val="{000001BF-FAF2-40A3-8A98-006EB2CA5507}"/>
              </c:ext>
            </c:extLst>
          </c:dPt>
          <c:dPt>
            <c:idx val="223"/>
            <c:invertIfNegative val="1"/>
            <c:bubble3D val="0"/>
            <c:spPr>
              <a:solidFill>
                <a:srgbClr val="AEABAB"/>
              </a:solidFill>
            </c:spPr>
            <c:extLst>
              <c:ext xmlns:c16="http://schemas.microsoft.com/office/drawing/2014/chart" uri="{C3380CC4-5D6E-409C-BE32-E72D297353CC}">
                <c16:uniqueId val="{000001C1-FAF2-40A3-8A98-006EB2CA5507}"/>
              </c:ext>
            </c:extLst>
          </c:dPt>
          <c:dPt>
            <c:idx val="224"/>
            <c:invertIfNegative val="1"/>
            <c:bubble3D val="0"/>
            <c:spPr>
              <a:solidFill>
                <a:srgbClr val="AEABAB"/>
              </a:solidFill>
            </c:spPr>
            <c:extLst>
              <c:ext xmlns:c16="http://schemas.microsoft.com/office/drawing/2014/chart" uri="{C3380CC4-5D6E-409C-BE32-E72D297353CC}">
                <c16:uniqueId val="{000001C3-FAF2-40A3-8A98-006EB2CA5507}"/>
              </c:ext>
            </c:extLst>
          </c:dPt>
          <c:dPt>
            <c:idx val="225"/>
            <c:invertIfNegative val="1"/>
            <c:bubble3D val="0"/>
            <c:spPr>
              <a:solidFill>
                <a:srgbClr val="AEABAB"/>
              </a:solidFill>
            </c:spPr>
            <c:extLst>
              <c:ext xmlns:c16="http://schemas.microsoft.com/office/drawing/2014/chart" uri="{C3380CC4-5D6E-409C-BE32-E72D297353CC}">
                <c16:uniqueId val="{000001C5-FAF2-40A3-8A98-006EB2CA5507}"/>
              </c:ext>
            </c:extLst>
          </c:dPt>
          <c:dPt>
            <c:idx val="226"/>
            <c:invertIfNegative val="1"/>
            <c:bubble3D val="0"/>
            <c:spPr>
              <a:solidFill>
                <a:srgbClr val="AEABAB"/>
              </a:solidFill>
            </c:spPr>
            <c:extLst>
              <c:ext xmlns:c16="http://schemas.microsoft.com/office/drawing/2014/chart" uri="{C3380CC4-5D6E-409C-BE32-E72D297353CC}">
                <c16:uniqueId val="{000001C7-FAF2-40A3-8A98-006EB2CA5507}"/>
              </c:ext>
            </c:extLst>
          </c:dPt>
          <c:dPt>
            <c:idx val="227"/>
            <c:invertIfNegative val="1"/>
            <c:bubble3D val="0"/>
            <c:spPr>
              <a:solidFill>
                <a:srgbClr val="AEABAB"/>
              </a:solidFill>
            </c:spPr>
            <c:extLst>
              <c:ext xmlns:c16="http://schemas.microsoft.com/office/drawing/2014/chart" uri="{C3380CC4-5D6E-409C-BE32-E72D297353CC}">
                <c16:uniqueId val="{000001C9-FAF2-40A3-8A98-006EB2CA5507}"/>
              </c:ext>
            </c:extLst>
          </c:dPt>
          <c:dPt>
            <c:idx val="228"/>
            <c:invertIfNegative val="1"/>
            <c:bubble3D val="0"/>
            <c:spPr>
              <a:solidFill>
                <a:srgbClr val="AEABAB"/>
              </a:solidFill>
            </c:spPr>
            <c:extLst>
              <c:ext xmlns:c16="http://schemas.microsoft.com/office/drawing/2014/chart" uri="{C3380CC4-5D6E-409C-BE32-E72D297353CC}">
                <c16:uniqueId val="{000001CB-FAF2-40A3-8A98-006EB2CA5507}"/>
              </c:ext>
            </c:extLst>
          </c:dPt>
          <c:dPt>
            <c:idx val="229"/>
            <c:invertIfNegative val="1"/>
            <c:bubble3D val="0"/>
            <c:spPr>
              <a:solidFill>
                <a:srgbClr val="AEABAB"/>
              </a:solidFill>
            </c:spPr>
            <c:extLst>
              <c:ext xmlns:c16="http://schemas.microsoft.com/office/drawing/2014/chart" uri="{C3380CC4-5D6E-409C-BE32-E72D297353CC}">
                <c16:uniqueId val="{000001CD-FAF2-40A3-8A98-006EB2CA5507}"/>
              </c:ext>
            </c:extLst>
          </c:dPt>
          <c:dPt>
            <c:idx val="230"/>
            <c:invertIfNegative val="1"/>
            <c:bubble3D val="0"/>
            <c:spPr>
              <a:solidFill>
                <a:srgbClr val="AEABAB"/>
              </a:solidFill>
            </c:spPr>
            <c:extLst>
              <c:ext xmlns:c16="http://schemas.microsoft.com/office/drawing/2014/chart" uri="{C3380CC4-5D6E-409C-BE32-E72D297353CC}">
                <c16:uniqueId val="{000001CF-FAF2-40A3-8A98-006EB2CA5507}"/>
              </c:ext>
            </c:extLst>
          </c:dPt>
          <c:dPt>
            <c:idx val="231"/>
            <c:invertIfNegative val="1"/>
            <c:bubble3D val="0"/>
            <c:spPr>
              <a:solidFill>
                <a:srgbClr val="AEABAB"/>
              </a:solidFill>
            </c:spPr>
            <c:extLst>
              <c:ext xmlns:c16="http://schemas.microsoft.com/office/drawing/2014/chart" uri="{C3380CC4-5D6E-409C-BE32-E72D297353CC}">
                <c16:uniqueId val="{000001D1-FAF2-40A3-8A98-006EB2CA5507}"/>
              </c:ext>
            </c:extLst>
          </c:dPt>
          <c:dPt>
            <c:idx val="232"/>
            <c:invertIfNegative val="1"/>
            <c:bubble3D val="0"/>
            <c:spPr>
              <a:solidFill>
                <a:srgbClr val="AEABAB"/>
              </a:solidFill>
            </c:spPr>
            <c:extLst>
              <c:ext xmlns:c16="http://schemas.microsoft.com/office/drawing/2014/chart" uri="{C3380CC4-5D6E-409C-BE32-E72D297353CC}">
                <c16:uniqueId val="{000001D3-FAF2-40A3-8A98-006EB2CA5507}"/>
              </c:ext>
            </c:extLst>
          </c:dPt>
          <c:dPt>
            <c:idx val="233"/>
            <c:invertIfNegative val="1"/>
            <c:bubble3D val="0"/>
            <c:spPr>
              <a:solidFill>
                <a:srgbClr val="AEABAB"/>
              </a:solidFill>
            </c:spPr>
            <c:extLst>
              <c:ext xmlns:c16="http://schemas.microsoft.com/office/drawing/2014/chart" uri="{C3380CC4-5D6E-409C-BE32-E72D297353CC}">
                <c16:uniqueId val="{000001D5-FAF2-40A3-8A98-006EB2CA5507}"/>
              </c:ext>
            </c:extLst>
          </c:dPt>
          <c:dPt>
            <c:idx val="234"/>
            <c:invertIfNegative val="1"/>
            <c:bubble3D val="0"/>
            <c:spPr>
              <a:solidFill>
                <a:srgbClr val="AEABAB"/>
              </a:solidFill>
            </c:spPr>
            <c:extLst>
              <c:ext xmlns:c16="http://schemas.microsoft.com/office/drawing/2014/chart" uri="{C3380CC4-5D6E-409C-BE32-E72D297353CC}">
                <c16:uniqueId val="{000001D7-FAF2-40A3-8A98-006EB2CA5507}"/>
              </c:ext>
            </c:extLst>
          </c:dPt>
          <c:dPt>
            <c:idx val="235"/>
            <c:invertIfNegative val="1"/>
            <c:bubble3D val="0"/>
            <c:spPr>
              <a:solidFill>
                <a:srgbClr val="AEABAB"/>
              </a:solidFill>
            </c:spPr>
            <c:extLst>
              <c:ext xmlns:c16="http://schemas.microsoft.com/office/drawing/2014/chart" uri="{C3380CC4-5D6E-409C-BE32-E72D297353CC}">
                <c16:uniqueId val="{000001D9-FAF2-40A3-8A98-006EB2CA5507}"/>
              </c:ext>
            </c:extLst>
          </c:dPt>
          <c:dPt>
            <c:idx val="236"/>
            <c:invertIfNegative val="1"/>
            <c:bubble3D val="0"/>
            <c:spPr>
              <a:solidFill>
                <a:srgbClr val="AEABAB"/>
              </a:solidFill>
            </c:spPr>
            <c:extLst>
              <c:ext xmlns:c16="http://schemas.microsoft.com/office/drawing/2014/chart" uri="{C3380CC4-5D6E-409C-BE32-E72D297353CC}">
                <c16:uniqueId val="{000001DB-FAF2-40A3-8A98-006EB2CA5507}"/>
              </c:ext>
            </c:extLst>
          </c:dPt>
          <c:dPt>
            <c:idx val="237"/>
            <c:invertIfNegative val="1"/>
            <c:bubble3D val="0"/>
            <c:spPr>
              <a:solidFill>
                <a:srgbClr val="AEABAB"/>
              </a:solidFill>
            </c:spPr>
            <c:extLst>
              <c:ext xmlns:c16="http://schemas.microsoft.com/office/drawing/2014/chart" uri="{C3380CC4-5D6E-409C-BE32-E72D297353CC}">
                <c16:uniqueId val="{000001DD-FAF2-40A3-8A98-006EB2CA5507}"/>
              </c:ext>
            </c:extLst>
          </c:dPt>
          <c:dPt>
            <c:idx val="238"/>
            <c:invertIfNegative val="1"/>
            <c:bubble3D val="0"/>
            <c:spPr>
              <a:solidFill>
                <a:srgbClr val="AEABAB"/>
              </a:solidFill>
            </c:spPr>
            <c:extLst>
              <c:ext xmlns:c16="http://schemas.microsoft.com/office/drawing/2014/chart" uri="{C3380CC4-5D6E-409C-BE32-E72D297353CC}">
                <c16:uniqueId val="{000001DF-FAF2-40A3-8A98-006EB2CA5507}"/>
              </c:ext>
            </c:extLst>
          </c:dPt>
          <c:dPt>
            <c:idx val="239"/>
            <c:invertIfNegative val="1"/>
            <c:bubble3D val="0"/>
            <c:spPr>
              <a:solidFill>
                <a:srgbClr val="AEABAB"/>
              </a:solidFill>
            </c:spPr>
            <c:extLst>
              <c:ext xmlns:c16="http://schemas.microsoft.com/office/drawing/2014/chart" uri="{C3380CC4-5D6E-409C-BE32-E72D297353CC}">
                <c16:uniqueId val="{000001E1-FAF2-40A3-8A98-006EB2CA5507}"/>
              </c:ext>
            </c:extLst>
          </c:dPt>
          <c:dPt>
            <c:idx val="240"/>
            <c:invertIfNegative val="1"/>
            <c:bubble3D val="0"/>
            <c:spPr>
              <a:solidFill>
                <a:srgbClr val="AEABAB"/>
              </a:solidFill>
            </c:spPr>
            <c:extLst>
              <c:ext xmlns:c16="http://schemas.microsoft.com/office/drawing/2014/chart" uri="{C3380CC4-5D6E-409C-BE32-E72D297353CC}">
                <c16:uniqueId val="{000001E3-FAF2-40A3-8A98-006EB2CA5507}"/>
              </c:ext>
            </c:extLst>
          </c:dPt>
          <c:dPt>
            <c:idx val="241"/>
            <c:invertIfNegative val="1"/>
            <c:bubble3D val="0"/>
            <c:spPr>
              <a:solidFill>
                <a:srgbClr val="AEABAB"/>
              </a:solidFill>
            </c:spPr>
            <c:extLst>
              <c:ext xmlns:c16="http://schemas.microsoft.com/office/drawing/2014/chart" uri="{C3380CC4-5D6E-409C-BE32-E72D297353CC}">
                <c16:uniqueId val="{000001E5-FAF2-40A3-8A98-006EB2CA5507}"/>
              </c:ext>
            </c:extLst>
          </c:dPt>
          <c:dPt>
            <c:idx val="242"/>
            <c:invertIfNegative val="1"/>
            <c:bubble3D val="0"/>
            <c:spPr>
              <a:solidFill>
                <a:srgbClr val="AEABAB"/>
              </a:solidFill>
            </c:spPr>
            <c:extLst>
              <c:ext xmlns:c16="http://schemas.microsoft.com/office/drawing/2014/chart" uri="{C3380CC4-5D6E-409C-BE32-E72D297353CC}">
                <c16:uniqueId val="{000001E7-FAF2-40A3-8A98-006EB2CA5507}"/>
              </c:ext>
            </c:extLst>
          </c:dPt>
          <c:dPt>
            <c:idx val="243"/>
            <c:invertIfNegative val="1"/>
            <c:bubble3D val="0"/>
            <c:spPr>
              <a:solidFill>
                <a:srgbClr val="AEABAB"/>
              </a:solidFill>
            </c:spPr>
            <c:extLst>
              <c:ext xmlns:c16="http://schemas.microsoft.com/office/drawing/2014/chart" uri="{C3380CC4-5D6E-409C-BE32-E72D297353CC}">
                <c16:uniqueId val="{000001E9-FAF2-40A3-8A98-006EB2CA5507}"/>
              </c:ext>
            </c:extLst>
          </c:dPt>
          <c:dPt>
            <c:idx val="244"/>
            <c:invertIfNegative val="1"/>
            <c:bubble3D val="0"/>
            <c:spPr>
              <a:solidFill>
                <a:srgbClr val="AEABAB"/>
              </a:solidFill>
            </c:spPr>
            <c:extLst>
              <c:ext xmlns:c16="http://schemas.microsoft.com/office/drawing/2014/chart" uri="{C3380CC4-5D6E-409C-BE32-E72D297353CC}">
                <c16:uniqueId val="{000001EB-FAF2-40A3-8A98-006EB2CA5507}"/>
              </c:ext>
            </c:extLst>
          </c:dPt>
          <c:dPt>
            <c:idx val="245"/>
            <c:invertIfNegative val="1"/>
            <c:bubble3D val="0"/>
            <c:spPr>
              <a:solidFill>
                <a:srgbClr val="AEABAB"/>
              </a:solidFill>
            </c:spPr>
            <c:extLst>
              <c:ext xmlns:c16="http://schemas.microsoft.com/office/drawing/2014/chart" uri="{C3380CC4-5D6E-409C-BE32-E72D297353CC}">
                <c16:uniqueId val="{000001ED-FAF2-40A3-8A98-006EB2CA5507}"/>
              </c:ext>
            </c:extLst>
          </c:dPt>
          <c:dPt>
            <c:idx val="246"/>
            <c:invertIfNegative val="1"/>
            <c:bubble3D val="0"/>
            <c:spPr>
              <a:solidFill>
                <a:srgbClr val="AEABAB"/>
              </a:solidFill>
            </c:spPr>
            <c:extLst>
              <c:ext xmlns:c16="http://schemas.microsoft.com/office/drawing/2014/chart" uri="{C3380CC4-5D6E-409C-BE32-E72D297353CC}">
                <c16:uniqueId val="{000001EF-FAF2-40A3-8A98-006EB2CA5507}"/>
              </c:ext>
            </c:extLst>
          </c:dPt>
          <c:dPt>
            <c:idx val="247"/>
            <c:invertIfNegative val="1"/>
            <c:bubble3D val="0"/>
            <c:spPr>
              <a:solidFill>
                <a:srgbClr val="AEABAB"/>
              </a:solidFill>
            </c:spPr>
            <c:extLst>
              <c:ext xmlns:c16="http://schemas.microsoft.com/office/drawing/2014/chart" uri="{C3380CC4-5D6E-409C-BE32-E72D297353CC}">
                <c16:uniqueId val="{000001F1-FAF2-40A3-8A98-006EB2CA5507}"/>
              </c:ext>
            </c:extLst>
          </c:dPt>
          <c:dPt>
            <c:idx val="248"/>
            <c:invertIfNegative val="1"/>
            <c:bubble3D val="0"/>
            <c:spPr>
              <a:solidFill>
                <a:srgbClr val="AEABAB"/>
              </a:solidFill>
            </c:spPr>
            <c:extLst>
              <c:ext xmlns:c16="http://schemas.microsoft.com/office/drawing/2014/chart" uri="{C3380CC4-5D6E-409C-BE32-E72D297353CC}">
                <c16:uniqueId val="{000001F3-FAF2-40A3-8A98-006EB2CA5507}"/>
              </c:ext>
            </c:extLst>
          </c:dPt>
          <c:dPt>
            <c:idx val="249"/>
            <c:invertIfNegative val="1"/>
            <c:bubble3D val="0"/>
            <c:spPr>
              <a:solidFill>
                <a:srgbClr val="AEABAB"/>
              </a:solidFill>
            </c:spPr>
            <c:extLst>
              <c:ext xmlns:c16="http://schemas.microsoft.com/office/drawing/2014/chart" uri="{C3380CC4-5D6E-409C-BE32-E72D297353CC}">
                <c16:uniqueId val="{000001F5-FAF2-40A3-8A98-006EB2CA5507}"/>
              </c:ext>
            </c:extLst>
          </c:dPt>
          <c:dPt>
            <c:idx val="250"/>
            <c:invertIfNegative val="1"/>
            <c:bubble3D val="0"/>
            <c:spPr>
              <a:solidFill>
                <a:srgbClr val="AEABAB"/>
              </a:solidFill>
            </c:spPr>
            <c:extLst>
              <c:ext xmlns:c16="http://schemas.microsoft.com/office/drawing/2014/chart" uri="{C3380CC4-5D6E-409C-BE32-E72D297353CC}">
                <c16:uniqueId val="{000001F7-FAF2-40A3-8A98-006EB2CA5507}"/>
              </c:ext>
            </c:extLst>
          </c:dPt>
          <c:dPt>
            <c:idx val="251"/>
            <c:invertIfNegative val="1"/>
            <c:bubble3D val="0"/>
            <c:spPr>
              <a:solidFill>
                <a:srgbClr val="AEABAB"/>
              </a:solidFill>
            </c:spPr>
            <c:extLst>
              <c:ext xmlns:c16="http://schemas.microsoft.com/office/drawing/2014/chart" uri="{C3380CC4-5D6E-409C-BE32-E72D297353CC}">
                <c16:uniqueId val="{000001F9-FAF2-40A3-8A98-006EB2CA5507}"/>
              </c:ext>
            </c:extLst>
          </c:dPt>
          <c:dPt>
            <c:idx val="252"/>
            <c:invertIfNegative val="1"/>
            <c:bubble3D val="0"/>
            <c:spPr>
              <a:solidFill>
                <a:srgbClr val="AEABAB"/>
              </a:solidFill>
            </c:spPr>
            <c:extLst>
              <c:ext xmlns:c16="http://schemas.microsoft.com/office/drawing/2014/chart" uri="{C3380CC4-5D6E-409C-BE32-E72D297353CC}">
                <c16:uniqueId val="{000001FB-FAF2-40A3-8A98-006EB2CA5507}"/>
              </c:ext>
            </c:extLst>
          </c:dPt>
          <c:dPt>
            <c:idx val="253"/>
            <c:invertIfNegative val="1"/>
            <c:bubble3D val="0"/>
            <c:spPr>
              <a:solidFill>
                <a:srgbClr val="AEABAB"/>
              </a:solidFill>
            </c:spPr>
            <c:extLst>
              <c:ext xmlns:c16="http://schemas.microsoft.com/office/drawing/2014/chart" uri="{C3380CC4-5D6E-409C-BE32-E72D297353CC}">
                <c16:uniqueId val="{000001FD-FAF2-40A3-8A98-006EB2CA5507}"/>
              </c:ext>
            </c:extLst>
          </c:dPt>
          <c:dPt>
            <c:idx val="254"/>
            <c:invertIfNegative val="1"/>
            <c:bubble3D val="0"/>
            <c:spPr>
              <a:solidFill>
                <a:srgbClr val="AEABAB"/>
              </a:solidFill>
            </c:spPr>
            <c:extLst>
              <c:ext xmlns:c16="http://schemas.microsoft.com/office/drawing/2014/chart" uri="{C3380CC4-5D6E-409C-BE32-E72D297353CC}">
                <c16:uniqueId val="{000001FF-FAF2-40A3-8A98-006EB2CA5507}"/>
              </c:ext>
            </c:extLst>
          </c:dPt>
          <c:dPt>
            <c:idx val="255"/>
            <c:invertIfNegative val="1"/>
            <c:bubble3D val="0"/>
            <c:spPr>
              <a:solidFill>
                <a:srgbClr val="AEABAB"/>
              </a:solidFill>
            </c:spPr>
            <c:extLst>
              <c:ext xmlns:c16="http://schemas.microsoft.com/office/drawing/2014/chart" uri="{C3380CC4-5D6E-409C-BE32-E72D297353CC}">
                <c16:uniqueId val="{00000201-FAF2-40A3-8A98-006EB2CA5507}"/>
              </c:ext>
            </c:extLst>
          </c:dPt>
          <c:dPt>
            <c:idx val="256"/>
            <c:invertIfNegative val="1"/>
            <c:bubble3D val="0"/>
            <c:spPr>
              <a:solidFill>
                <a:srgbClr val="AEABAB"/>
              </a:solidFill>
            </c:spPr>
            <c:extLst>
              <c:ext xmlns:c16="http://schemas.microsoft.com/office/drawing/2014/chart" uri="{C3380CC4-5D6E-409C-BE32-E72D297353CC}">
                <c16:uniqueId val="{00000203-FAF2-40A3-8A98-006EB2CA5507}"/>
              </c:ext>
            </c:extLst>
          </c:dPt>
          <c:dPt>
            <c:idx val="257"/>
            <c:invertIfNegative val="1"/>
            <c:bubble3D val="0"/>
            <c:spPr>
              <a:solidFill>
                <a:srgbClr val="AEABAB"/>
              </a:solidFill>
            </c:spPr>
            <c:extLst>
              <c:ext xmlns:c16="http://schemas.microsoft.com/office/drawing/2014/chart" uri="{C3380CC4-5D6E-409C-BE32-E72D297353CC}">
                <c16:uniqueId val="{00000205-FAF2-40A3-8A98-006EB2CA5507}"/>
              </c:ext>
            </c:extLst>
          </c:dPt>
          <c:dPt>
            <c:idx val="258"/>
            <c:invertIfNegative val="1"/>
            <c:bubble3D val="0"/>
            <c:spPr>
              <a:solidFill>
                <a:srgbClr val="AEABAB"/>
              </a:solidFill>
            </c:spPr>
            <c:extLst>
              <c:ext xmlns:c16="http://schemas.microsoft.com/office/drawing/2014/chart" uri="{C3380CC4-5D6E-409C-BE32-E72D297353CC}">
                <c16:uniqueId val="{00000207-FAF2-40A3-8A98-006EB2CA5507}"/>
              </c:ext>
            </c:extLst>
          </c:dPt>
          <c:dPt>
            <c:idx val="259"/>
            <c:invertIfNegative val="1"/>
            <c:bubble3D val="0"/>
            <c:spPr>
              <a:solidFill>
                <a:srgbClr val="AEABAB"/>
              </a:solidFill>
            </c:spPr>
            <c:extLst>
              <c:ext xmlns:c16="http://schemas.microsoft.com/office/drawing/2014/chart" uri="{C3380CC4-5D6E-409C-BE32-E72D297353CC}">
                <c16:uniqueId val="{00000209-FAF2-40A3-8A98-006EB2CA5507}"/>
              </c:ext>
            </c:extLst>
          </c:dPt>
          <c:dPt>
            <c:idx val="260"/>
            <c:invertIfNegative val="1"/>
            <c:bubble3D val="0"/>
            <c:spPr>
              <a:solidFill>
                <a:srgbClr val="AEABAB"/>
              </a:solidFill>
            </c:spPr>
            <c:extLst>
              <c:ext xmlns:c16="http://schemas.microsoft.com/office/drawing/2014/chart" uri="{C3380CC4-5D6E-409C-BE32-E72D297353CC}">
                <c16:uniqueId val="{0000020B-FAF2-40A3-8A98-006EB2CA5507}"/>
              </c:ext>
            </c:extLst>
          </c:dPt>
          <c:dPt>
            <c:idx val="261"/>
            <c:invertIfNegative val="1"/>
            <c:bubble3D val="0"/>
            <c:spPr>
              <a:solidFill>
                <a:srgbClr val="AEABAB"/>
              </a:solidFill>
            </c:spPr>
            <c:extLst>
              <c:ext xmlns:c16="http://schemas.microsoft.com/office/drawing/2014/chart" uri="{C3380CC4-5D6E-409C-BE32-E72D297353CC}">
                <c16:uniqueId val="{0000020D-FAF2-40A3-8A98-006EB2CA5507}"/>
              </c:ext>
            </c:extLst>
          </c:dPt>
          <c:dPt>
            <c:idx val="262"/>
            <c:invertIfNegative val="1"/>
            <c:bubble3D val="0"/>
            <c:spPr>
              <a:solidFill>
                <a:srgbClr val="AEABAB"/>
              </a:solidFill>
            </c:spPr>
            <c:extLst>
              <c:ext xmlns:c16="http://schemas.microsoft.com/office/drawing/2014/chart" uri="{C3380CC4-5D6E-409C-BE32-E72D297353CC}">
                <c16:uniqueId val="{0000020F-FAF2-40A3-8A98-006EB2CA5507}"/>
              </c:ext>
            </c:extLst>
          </c:dPt>
          <c:dPt>
            <c:idx val="263"/>
            <c:invertIfNegative val="1"/>
            <c:bubble3D val="0"/>
            <c:spPr>
              <a:solidFill>
                <a:srgbClr val="AEABAB"/>
              </a:solidFill>
            </c:spPr>
            <c:extLst>
              <c:ext xmlns:c16="http://schemas.microsoft.com/office/drawing/2014/chart" uri="{C3380CC4-5D6E-409C-BE32-E72D297353CC}">
                <c16:uniqueId val="{00000211-FAF2-40A3-8A98-006EB2CA5507}"/>
              </c:ext>
            </c:extLst>
          </c:dPt>
          <c:dPt>
            <c:idx val="264"/>
            <c:invertIfNegative val="1"/>
            <c:bubble3D val="0"/>
            <c:spPr>
              <a:solidFill>
                <a:srgbClr val="AEABAB"/>
              </a:solidFill>
            </c:spPr>
            <c:extLst>
              <c:ext xmlns:c16="http://schemas.microsoft.com/office/drawing/2014/chart" uri="{C3380CC4-5D6E-409C-BE32-E72D297353CC}">
                <c16:uniqueId val="{00000213-FAF2-40A3-8A98-006EB2CA5507}"/>
              </c:ext>
            </c:extLst>
          </c:dPt>
          <c:dPt>
            <c:idx val="265"/>
            <c:invertIfNegative val="1"/>
            <c:bubble3D val="0"/>
            <c:spPr>
              <a:solidFill>
                <a:srgbClr val="AEABAB"/>
              </a:solidFill>
            </c:spPr>
            <c:extLst>
              <c:ext xmlns:c16="http://schemas.microsoft.com/office/drawing/2014/chart" uri="{C3380CC4-5D6E-409C-BE32-E72D297353CC}">
                <c16:uniqueId val="{00000215-FAF2-40A3-8A98-006EB2CA5507}"/>
              </c:ext>
            </c:extLst>
          </c:dPt>
          <c:dPt>
            <c:idx val="266"/>
            <c:invertIfNegative val="1"/>
            <c:bubble3D val="0"/>
            <c:spPr>
              <a:solidFill>
                <a:srgbClr val="AEABAB"/>
              </a:solidFill>
            </c:spPr>
            <c:extLst>
              <c:ext xmlns:c16="http://schemas.microsoft.com/office/drawing/2014/chart" uri="{C3380CC4-5D6E-409C-BE32-E72D297353CC}">
                <c16:uniqueId val="{00000217-FAF2-40A3-8A98-006EB2CA5507}"/>
              </c:ext>
            </c:extLst>
          </c:dPt>
          <c:dPt>
            <c:idx val="267"/>
            <c:invertIfNegative val="1"/>
            <c:bubble3D val="0"/>
            <c:spPr>
              <a:solidFill>
                <a:srgbClr val="AEABAB"/>
              </a:solidFill>
            </c:spPr>
            <c:extLst>
              <c:ext xmlns:c16="http://schemas.microsoft.com/office/drawing/2014/chart" uri="{C3380CC4-5D6E-409C-BE32-E72D297353CC}">
                <c16:uniqueId val="{00000219-FAF2-40A3-8A98-006EB2CA5507}"/>
              </c:ext>
            </c:extLst>
          </c:dPt>
          <c:dPt>
            <c:idx val="268"/>
            <c:invertIfNegative val="1"/>
            <c:bubble3D val="0"/>
            <c:spPr>
              <a:solidFill>
                <a:srgbClr val="AEABAB"/>
              </a:solidFill>
            </c:spPr>
            <c:extLst>
              <c:ext xmlns:c16="http://schemas.microsoft.com/office/drawing/2014/chart" uri="{C3380CC4-5D6E-409C-BE32-E72D297353CC}">
                <c16:uniqueId val="{0000021B-FAF2-40A3-8A98-006EB2CA5507}"/>
              </c:ext>
            </c:extLst>
          </c:dPt>
          <c:dPt>
            <c:idx val="269"/>
            <c:invertIfNegative val="1"/>
            <c:bubble3D val="0"/>
            <c:spPr>
              <a:solidFill>
                <a:srgbClr val="AEABAB"/>
              </a:solidFill>
            </c:spPr>
            <c:extLst>
              <c:ext xmlns:c16="http://schemas.microsoft.com/office/drawing/2014/chart" uri="{C3380CC4-5D6E-409C-BE32-E72D297353CC}">
                <c16:uniqueId val="{0000021D-FAF2-40A3-8A98-006EB2CA5507}"/>
              </c:ext>
            </c:extLst>
          </c:dPt>
          <c:dPt>
            <c:idx val="270"/>
            <c:invertIfNegative val="1"/>
            <c:bubble3D val="0"/>
            <c:spPr>
              <a:solidFill>
                <a:srgbClr val="AEABAB"/>
              </a:solidFill>
            </c:spPr>
            <c:extLst>
              <c:ext xmlns:c16="http://schemas.microsoft.com/office/drawing/2014/chart" uri="{C3380CC4-5D6E-409C-BE32-E72D297353CC}">
                <c16:uniqueId val="{0000021F-FAF2-40A3-8A98-006EB2CA5507}"/>
              </c:ext>
            </c:extLst>
          </c:dPt>
          <c:dPt>
            <c:idx val="271"/>
            <c:invertIfNegative val="1"/>
            <c:bubble3D val="0"/>
            <c:spPr>
              <a:solidFill>
                <a:srgbClr val="AEABAB"/>
              </a:solidFill>
            </c:spPr>
            <c:extLst>
              <c:ext xmlns:c16="http://schemas.microsoft.com/office/drawing/2014/chart" uri="{C3380CC4-5D6E-409C-BE32-E72D297353CC}">
                <c16:uniqueId val="{00000221-FAF2-40A3-8A98-006EB2CA5507}"/>
              </c:ext>
            </c:extLst>
          </c:dPt>
          <c:dPt>
            <c:idx val="272"/>
            <c:invertIfNegative val="1"/>
            <c:bubble3D val="0"/>
            <c:spPr>
              <a:solidFill>
                <a:srgbClr val="AEABAB"/>
              </a:solidFill>
            </c:spPr>
            <c:extLst>
              <c:ext xmlns:c16="http://schemas.microsoft.com/office/drawing/2014/chart" uri="{C3380CC4-5D6E-409C-BE32-E72D297353CC}">
                <c16:uniqueId val="{00000223-FAF2-40A3-8A98-006EB2CA5507}"/>
              </c:ext>
            </c:extLst>
          </c:dPt>
          <c:dPt>
            <c:idx val="273"/>
            <c:invertIfNegative val="1"/>
            <c:bubble3D val="0"/>
            <c:spPr>
              <a:solidFill>
                <a:srgbClr val="AEABAB"/>
              </a:solidFill>
            </c:spPr>
            <c:extLst>
              <c:ext xmlns:c16="http://schemas.microsoft.com/office/drawing/2014/chart" uri="{C3380CC4-5D6E-409C-BE32-E72D297353CC}">
                <c16:uniqueId val="{00000225-FAF2-40A3-8A98-006EB2CA5507}"/>
              </c:ext>
            </c:extLst>
          </c:dPt>
          <c:dPt>
            <c:idx val="274"/>
            <c:invertIfNegative val="1"/>
            <c:bubble3D val="0"/>
            <c:spPr>
              <a:solidFill>
                <a:srgbClr val="AEABAB"/>
              </a:solidFill>
            </c:spPr>
            <c:extLst>
              <c:ext xmlns:c16="http://schemas.microsoft.com/office/drawing/2014/chart" uri="{C3380CC4-5D6E-409C-BE32-E72D297353CC}">
                <c16:uniqueId val="{00000227-FAF2-40A3-8A98-006EB2CA5507}"/>
              </c:ext>
            </c:extLst>
          </c:dPt>
          <c:dPt>
            <c:idx val="275"/>
            <c:invertIfNegative val="1"/>
            <c:bubble3D val="0"/>
            <c:spPr>
              <a:solidFill>
                <a:srgbClr val="AEABAB"/>
              </a:solidFill>
            </c:spPr>
            <c:extLst>
              <c:ext xmlns:c16="http://schemas.microsoft.com/office/drawing/2014/chart" uri="{C3380CC4-5D6E-409C-BE32-E72D297353CC}">
                <c16:uniqueId val="{00000229-FAF2-40A3-8A98-006EB2CA5507}"/>
              </c:ext>
            </c:extLst>
          </c:dPt>
          <c:dPt>
            <c:idx val="276"/>
            <c:invertIfNegative val="1"/>
            <c:bubble3D val="0"/>
            <c:spPr>
              <a:solidFill>
                <a:srgbClr val="AEABAB"/>
              </a:solidFill>
            </c:spPr>
            <c:extLst>
              <c:ext xmlns:c16="http://schemas.microsoft.com/office/drawing/2014/chart" uri="{C3380CC4-5D6E-409C-BE32-E72D297353CC}">
                <c16:uniqueId val="{0000022B-FAF2-40A3-8A98-006EB2CA5507}"/>
              </c:ext>
            </c:extLst>
          </c:dPt>
          <c:dPt>
            <c:idx val="277"/>
            <c:invertIfNegative val="1"/>
            <c:bubble3D val="0"/>
            <c:spPr>
              <a:solidFill>
                <a:srgbClr val="AEABAB"/>
              </a:solidFill>
            </c:spPr>
            <c:extLst>
              <c:ext xmlns:c16="http://schemas.microsoft.com/office/drawing/2014/chart" uri="{C3380CC4-5D6E-409C-BE32-E72D297353CC}">
                <c16:uniqueId val="{0000022D-FAF2-40A3-8A98-006EB2CA5507}"/>
              </c:ext>
            </c:extLst>
          </c:dPt>
          <c:dPt>
            <c:idx val="278"/>
            <c:invertIfNegative val="1"/>
            <c:bubble3D val="0"/>
            <c:spPr>
              <a:solidFill>
                <a:srgbClr val="AEABAB"/>
              </a:solidFill>
            </c:spPr>
            <c:extLst>
              <c:ext xmlns:c16="http://schemas.microsoft.com/office/drawing/2014/chart" uri="{C3380CC4-5D6E-409C-BE32-E72D297353CC}">
                <c16:uniqueId val="{0000022F-FAF2-40A3-8A98-006EB2CA5507}"/>
              </c:ext>
            </c:extLst>
          </c:dPt>
          <c:dPt>
            <c:idx val="279"/>
            <c:invertIfNegative val="1"/>
            <c:bubble3D val="0"/>
            <c:spPr>
              <a:solidFill>
                <a:srgbClr val="AEABAB"/>
              </a:solidFill>
            </c:spPr>
            <c:extLst>
              <c:ext xmlns:c16="http://schemas.microsoft.com/office/drawing/2014/chart" uri="{C3380CC4-5D6E-409C-BE32-E72D297353CC}">
                <c16:uniqueId val="{00000231-FAF2-40A3-8A98-006EB2CA5507}"/>
              </c:ext>
            </c:extLst>
          </c:dPt>
          <c:dPt>
            <c:idx val="280"/>
            <c:invertIfNegative val="1"/>
            <c:bubble3D val="0"/>
            <c:spPr>
              <a:solidFill>
                <a:srgbClr val="AEABAB"/>
              </a:solidFill>
            </c:spPr>
            <c:extLst>
              <c:ext xmlns:c16="http://schemas.microsoft.com/office/drawing/2014/chart" uri="{C3380CC4-5D6E-409C-BE32-E72D297353CC}">
                <c16:uniqueId val="{00000233-FAF2-40A3-8A98-006EB2CA5507}"/>
              </c:ext>
            </c:extLst>
          </c:dPt>
          <c:dPt>
            <c:idx val="281"/>
            <c:invertIfNegative val="1"/>
            <c:bubble3D val="0"/>
            <c:spPr>
              <a:solidFill>
                <a:srgbClr val="AEABAB"/>
              </a:solidFill>
            </c:spPr>
            <c:extLst>
              <c:ext xmlns:c16="http://schemas.microsoft.com/office/drawing/2014/chart" uri="{C3380CC4-5D6E-409C-BE32-E72D297353CC}">
                <c16:uniqueId val="{00000235-FAF2-40A3-8A98-006EB2CA5507}"/>
              </c:ext>
            </c:extLst>
          </c:dPt>
          <c:dPt>
            <c:idx val="282"/>
            <c:invertIfNegative val="1"/>
            <c:bubble3D val="0"/>
            <c:spPr>
              <a:solidFill>
                <a:srgbClr val="AEABAB"/>
              </a:solidFill>
            </c:spPr>
            <c:extLst>
              <c:ext xmlns:c16="http://schemas.microsoft.com/office/drawing/2014/chart" uri="{C3380CC4-5D6E-409C-BE32-E72D297353CC}">
                <c16:uniqueId val="{00000237-FAF2-40A3-8A98-006EB2CA5507}"/>
              </c:ext>
            </c:extLst>
          </c:dPt>
          <c:dPt>
            <c:idx val="283"/>
            <c:invertIfNegative val="1"/>
            <c:bubble3D val="0"/>
            <c:spPr>
              <a:solidFill>
                <a:srgbClr val="AEABAB"/>
              </a:solidFill>
            </c:spPr>
            <c:extLst>
              <c:ext xmlns:c16="http://schemas.microsoft.com/office/drawing/2014/chart" uri="{C3380CC4-5D6E-409C-BE32-E72D297353CC}">
                <c16:uniqueId val="{00000239-FAF2-40A3-8A98-006EB2CA5507}"/>
              </c:ext>
            </c:extLst>
          </c:dPt>
          <c:dPt>
            <c:idx val="284"/>
            <c:invertIfNegative val="1"/>
            <c:bubble3D val="0"/>
            <c:spPr>
              <a:solidFill>
                <a:srgbClr val="AEABAB"/>
              </a:solidFill>
            </c:spPr>
            <c:extLst>
              <c:ext xmlns:c16="http://schemas.microsoft.com/office/drawing/2014/chart" uri="{C3380CC4-5D6E-409C-BE32-E72D297353CC}">
                <c16:uniqueId val="{0000023B-FAF2-40A3-8A98-006EB2CA5507}"/>
              </c:ext>
            </c:extLst>
          </c:dPt>
          <c:dPt>
            <c:idx val="285"/>
            <c:invertIfNegative val="1"/>
            <c:bubble3D val="0"/>
            <c:spPr>
              <a:solidFill>
                <a:srgbClr val="AEABAB"/>
              </a:solidFill>
            </c:spPr>
            <c:extLst>
              <c:ext xmlns:c16="http://schemas.microsoft.com/office/drawing/2014/chart" uri="{C3380CC4-5D6E-409C-BE32-E72D297353CC}">
                <c16:uniqueId val="{0000023D-FAF2-40A3-8A98-006EB2CA5507}"/>
              </c:ext>
            </c:extLst>
          </c:dPt>
          <c:dPt>
            <c:idx val="286"/>
            <c:invertIfNegative val="1"/>
            <c:bubble3D val="0"/>
            <c:spPr>
              <a:solidFill>
                <a:srgbClr val="AEABAB"/>
              </a:solidFill>
            </c:spPr>
            <c:extLst>
              <c:ext xmlns:c16="http://schemas.microsoft.com/office/drawing/2014/chart" uri="{C3380CC4-5D6E-409C-BE32-E72D297353CC}">
                <c16:uniqueId val="{0000023F-FAF2-40A3-8A98-006EB2CA5507}"/>
              </c:ext>
            </c:extLst>
          </c:dPt>
          <c:dPt>
            <c:idx val="287"/>
            <c:invertIfNegative val="1"/>
            <c:bubble3D val="0"/>
            <c:spPr>
              <a:solidFill>
                <a:srgbClr val="AEABAB"/>
              </a:solidFill>
            </c:spPr>
            <c:extLst>
              <c:ext xmlns:c16="http://schemas.microsoft.com/office/drawing/2014/chart" uri="{C3380CC4-5D6E-409C-BE32-E72D297353CC}">
                <c16:uniqueId val="{00000241-FAF2-40A3-8A98-006EB2CA5507}"/>
              </c:ext>
            </c:extLst>
          </c:dPt>
          <c:dPt>
            <c:idx val="288"/>
            <c:invertIfNegative val="1"/>
            <c:bubble3D val="0"/>
            <c:spPr>
              <a:solidFill>
                <a:srgbClr val="AEABAB"/>
              </a:solidFill>
            </c:spPr>
            <c:extLst>
              <c:ext xmlns:c16="http://schemas.microsoft.com/office/drawing/2014/chart" uri="{C3380CC4-5D6E-409C-BE32-E72D297353CC}">
                <c16:uniqueId val="{00000243-FAF2-40A3-8A98-006EB2CA5507}"/>
              </c:ext>
            </c:extLst>
          </c:dPt>
          <c:dPt>
            <c:idx val="289"/>
            <c:invertIfNegative val="1"/>
            <c:bubble3D val="0"/>
            <c:spPr>
              <a:solidFill>
                <a:srgbClr val="AEABAB"/>
              </a:solidFill>
            </c:spPr>
            <c:extLst>
              <c:ext xmlns:c16="http://schemas.microsoft.com/office/drawing/2014/chart" uri="{C3380CC4-5D6E-409C-BE32-E72D297353CC}">
                <c16:uniqueId val="{00000245-FAF2-40A3-8A98-006EB2CA5507}"/>
              </c:ext>
            </c:extLst>
          </c:dPt>
          <c:dPt>
            <c:idx val="290"/>
            <c:invertIfNegative val="1"/>
            <c:bubble3D val="0"/>
            <c:spPr>
              <a:solidFill>
                <a:srgbClr val="AEABAB"/>
              </a:solidFill>
            </c:spPr>
            <c:extLst>
              <c:ext xmlns:c16="http://schemas.microsoft.com/office/drawing/2014/chart" uri="{C3380CC4-5D6E-409C-BE32-E72D297353CC}">
                <c16:uniqueId val="{00000247-FAF2-40A3-8A98-006EB2CA5507}"/>
              </c:ext>
            </c:extLst>
          </c:dPt>
          <c:dPt>
            <c:idx val="291"/>
            <c:invertIfNegative val="1"/>
            <c:bubble3D val="0"/>
            <c:spPr>
              <a:solidFill>
                <a:srgbClr val="AEABAB"/>
              </a:solidFill>
            </c:spPr>
            <c:extLst>
              <c:ext xmlns:c16="http://schemas.microsoft.com/office/drawing/2014/chart" uri="{C3380CC4-5D6E-409C-BE32-E72D297353CC}">
                <c16:uniqueId val="{00000249-FAF2-40A3-8A98-006EB2CA5507}"/>
              </c:ext>
            </c:extLst>
          </c:dPt>
          <c:dPt>
            <c:idx val="292"/>
            <c:invertIfNegative val="1"/>
            <c:bubble3D val="0"/>
            <c:spPr>
              <a:solidFill>
                <a:srgbClr val="AEABAB"/>
              </a:solidFill>
            </c:spPr>
            <c:extLst>
              <c:ext xmlns:c16="http://schemas.microsoft.com/office/drawing/2014/chart" uri="{C3380CC4-5D6E-409C-BE32-E72D297353CC}">
                <c16:uniqueId val="{0000024B-FAF2-40A3-8A98-006EB2CA5507}"/>
              </c:ext>
            </c:extLst>
          </c:dPt>
          <c:dPt>
            <c:idx val="293"/>
            <c:invertIfNegative val="1"/>
            <c:bubble3D val="0"/>
            <c:spPr>
              <a:solidFill>
                <a:srgbClr val="AEABAB"/>
              </a:solidFill>
            </c:spPr>
            <c:extLst>
              <c:ext xmlns:c16="http://schemas.microsoft.com/office/drawing/2014/chart" uri="{C3380CC4-5D6E-409C-BE32-E72D297353CC}">
                <c16:uniqueId val="{0000024D-FAF2-40A3-8A98-006EB2CA5507}"/>
              </c:ext>
            </c:extLst>
          </c:dPt>
          <c:dPt>
            <c:idx val="294"/>
            <c:invertIfNegative val="1"/>
            <c:bubble3D val="0"/>
            <c:spPr>
              <a:solidFill>
                <a:srgbClr val="AEABAB"/>
              </a:solidFill>
            </c:spPr>
            <c:extLst>
              <c:ext xmlns:c16="http://schemas.microsoft.com/office/drawing/2014/chart" uri="{C3380CC4-5D6E-409C-BE32-E72D297353CC}">
                <c16:uniqueId val="{0000024F-FAF2-40A3-8A98-006EB2CA5507}"/>
              </c:ext>
            </c:extLst>
          </c:dPt>
          <c:dPt>
            <c:idx val="295"/>
            <c:invertIfNegative val="1"/>
            <c:bubble3D val="0"/>
            <c:spPr>
              <a:solidFill>
                <a:srgbClr val="AEABAB"/>
              </a:solidFill>
            </c:spPr>
            <c:extLst>
              <c:ext xmlns:c16="http://schemas.microsoft.com/office/drawing/2014/chart" uri="{C3380CC4-5D6E-409C-BE32-E72D297353CC}">
                <c16:uniqueId val="{00000251-FAF2-40A3-8A98-006EB2CA5507}"/>
              </c:ext>
            </c:extLst>
          </c:dPt>
          <c:dPt>
            <c:idx val="296"/>
            <c:invertIfNegative val="1"/>
            <c:bubble3D val="0"/>
            <c:spPr>
              <a:solidFill>
                <a:srgbClr val="AEABAB"/>
              </a:solidFill>
            </c:spPr>
            <c:extLst>
              <c:ext xmlns:c16="http://schemas.microsoft.com/office/drawing/2014/chart" uri="{C3380CC4-5D6E-409C-BE32-E72D297353CC}">
                <c16:uniqueId val="{00000253-FAF2-40A3-8A98-006EB2CA5507}"/>
              </c:ext>
            </c:extLst>
          </c:dPt>
          <c:dPt>
            <c:idx val="297"/>
            <c:invertIfNegative val="1"/>
            <c:bubble3D val="0"/>
            <c:spPr>
              <a:solidFill>
                <a:srgbClr val="AEABAB"/>
              </a:solidFill>
            </c:spPr>
            <c:extLst>
              <c:ext xmlns:c16="http://schemas.microsoft.com/office/drawing/2014/chart" uri="{C3380CC4-5D6E-409C-BE32-E72D297353CC}">
                <c16:uniqueId val="{00000255-FAF2-40A3-8A98-006EB2CA5507}"/>
              </c:ext>
            </c:extLst>
          </c:dPt>
          <c:dPt>
            <c:idx val="298"/>
            <c:invertIfNegative val="1"/>
            <c:bubble3D val="0"/>
            <c:spPr>
              <a:solidFill>
                <a:srgbClr val="AEABAB"/>
              </a:solidFill>
            </c:spPr>
            <c:extLst>
              <c:ext xmlns:c16="http://schemas.microsoft.com/office/drawing/2014/chart" uri="{C3380CC4-5D6E-409C-BE32-E72D297353CC}">
                <c16:uniqueId val="{00000257-FAF2-40A3-8A98-006EB2CA5507}"/>
              </c:ext>
            </c:extLst>
          </c:dPt>
          <c:dPt>
            <c:idx val="299"/>
            <c:invertIfNegative val="1"/>
            <c:bubble3D val="0"/>
            <c:spPr>
              <a:solidFill>
                <a:srgbClr val="AEABAB"/>
              </a:solidFill>
            </c:spPr>
            <c:extLst>
              <c:ext xmlns:c16="http://schemas.microsoft.com/office/drawing/2014/chart" uri="{C3380CC4-5D6E-409C-BE32-E72D297353CC}">
                <c16:uniqueId val="{00000259-FAF2-40A3-8A98-006EB2CA5507}"/>
              </c:ext>
            </c:extLst>
          </c:dPt>
          <c:dPt>
            <c:idx val="300"/>
            <c:invertIfNegative val="1"/>
            <c:bubble3D val="0"/>
            <c:spPr>
              <a:solidFill>
                <a:srgbClr val="AEABAB"/>
              </a:solidFill>
            </c:spPr>
            <c:extLst>
              <c:ext xmlns:c16="http://schemas.microsoft.com/office/drawing/2014/chart" uri="{C3380CC4-5D6E-409C-BE32-E72D297353CC}">
                <c16:uniqueId val="{0000025B-FAF2-40A3-8A98-006EB2CA5507}"/>
              </c:ext>
            </c:extLst>
          </c:dPt>
          <c:dPt>
            <c:idx val="301"/>
            <c:invertIfNegative val="1"/>
            <c:bubble3D val="0"/>
            <c:spPr>
              <a:solidFill>
                <a:srgbClr val="AEABAB"/>
              </a:solidFill>
            </c:spPr>
            <c:extLst>
              <c:ext xmlns:c16="http://schemas.microsoft.com/office/drawing/2014/chart" uri="{C3380CC4-5D6E-409C-BE32-E72D297353CC}">
                <c16:uniqueId val="{0000025D-FAF2-40A3-8A98-006EB2CA5507}"/>
              </c:ext>
            </c:extLst>
          </c:dPt>
          <c:dPt>
            <c:idx val="302"/>
            <c:invertIfNegative val="1"/>
            <c:bubble3D val="0"/>
            <c:spPr>
              <a:solidFill>
                <a:srgbClr val="AEABAB"/>
              </a:solidFill>
            </c:spPr>
            <c:extLst>
              <c:ext xmlns:c16="http://schemas.microsoft.com/office/drawing/2014/chart" uri="{C3380CC4-5D6E-409C-BE32-E72D297353CC}">
                <c16:uniqueId val="{0000025F-FAF2-40A3-8A98-006EB2CA5507}"/>
              </c:ext>
            </c:extLst>
          </c:dPt>
          <c:dPt>
            <c:idx val="303"/>
            <c:invertIfNegative val="1"/>
            <c:bubble3D val="0"/>
            <c:spPr>
              <a:solidFill>
                <a:srgbClr val="AEABAB"/>
              </a:solidFill>
            </c:spPr>
            <c:extLst>
              <c:ext xmlns:c16="http://schemas.microsoft.com/office/drawing/2014/chart" uri="{C3380CC4-5D6E-409C-BE32-E72D297353CC}">
                <c16:uniqueId val="{00000261-FAF2-40A3-8A98-006EB2CA5507}"/>
              </c:ext>
            </c:extLst>
          </c:dPt>
          <c:dPt>
            <c:idx val="304"/>
            <c:invertIfNegative val="1"/>
            <c:bubble3D val="0"/>
            <c:spPr>
              <a:solidFill>
                <a:srgbClr val="AEABAB"/>
              </a:solidFill>
            </c:spPr>
            <c:extLst>
              <c:ext xmlns:c16="http://schemas.microsoft.com/office/drawing/2014/chart" uri="{C3380CC4-5D6E-409C-BE32-E72D297353CC}">
                <c16:uniqueId val="{00000263-FAF2-40A3-8A98-006EB2CA5507}"/>
              </c:ext>
            </c:extLst>
          </c:dPt>
          <c:dPt>
            <c:idx val="305"/>
            <c:invertIfNegative val="1"/>
            <c:bubble3D val="0"/>
            <c:spPr>
              <a:solidFill>
                <a:srgbClr val="AEABAB"/>
              </a:solidFill>
            </c:spPr>
            <c:extLst>
              <c:ext xmlns:c16="http://schemas.microsoft.com/office/drawing/2014/chart" uri="{C3380CC4-5D6E-409C-BE32-E72D297353CC}">
                <c16:uniqueId val="{00000265-FAF2-40A3-8A98-006EB2CA5507}"/>
              </c:ext>
            </c:extLst>
          </c:dPt>
          <c:dPt>
            <c:idx val="306"/>
            <c:invertIfNegative val="1"/>
            <c:bubble3D val="0"/>
            <c:spPr>
              <a:solidFill>
                <a:srgbClr val="AEABAB"/>
              </a:solidFill>
            </c:spPr>
            <c:extLst>
              <c:ext xmlns:c16="http://schemas.microsoft.com/office/drawing/2014/chart" uri="{C3380CC4-5D6E-409C-BE32-E72D297353CC}">
                <c16:uniqueId val="{00000267-FAF2-40A3-8A98-006EB2CA5507}"/>
              </c:ext>
            </c:extLst>
          </c:dPt>
          <c:dPt>
            <c:idx val="307"/>
            <c:invertIfNegative val="1"/>
            <c:bubble3D val="0"/>
            <c:spPr>
              <a:solidFill>
                <a:srgbClr val="AEABAB"/>
              </a:solidFill>
            </c:spPr>
            <c:extLst>
              <c:ext xmlns:c16="http://schemas.microsoft.com/office/drawing/2014/chart" uri="{C3380CC4-5D6E-409C-BE32-E72D297353CC}">
                <c16:uniqueId val="{00000269-FAF2-40A3-8A98-006EB2CA5507}"/>
              </c:ext>
            </c:extLst>
          </c:dPt>
          <c:dPt>
            <c:idx val="308"/>
            <c:invertIfNegative val="1"/>
            <c:bubble3D val="0"/>
            <c:spPr>
              <a:solidFill>
                <a:srgbClr val="AEABAB"/>
              </a:solidFill>
            </c:spPr>
            <c:extLst>
              <c:ext xmlns:c16="http://schemas.microsoft.com/office/drawing/2014/chart" uri="{C3380CC4-5D6E-409C-BE32-E72D297353CC}">
                <c16:uniqueId val="{0000026B-FAF2-40A3-8A98-006EB2CA5507}"/>
              </c:ext>
            </c:extLst>
          </c:dPt>
          <c:dPt>
            <c:idx val="309"/>
            <c:invertIfNegative val="1"/>
            <c:bubble3D val="0"/>
            <c:spPr>
              <a:solidFill>
                <a:srgbClr val="AEABAB"/>
              </a:solidFill>
            </c:spPr>
            <c:extLst>
              <c:ext xmlns:c16="http://schemas.microsoft.com/office/drawing/2014/chart" uri="{C3380CC4-5D6E-409C-BE32-E72D297353CC}">
                <c16:uniqueId val="{0000026D-FAF2-40A3-8A98-006EB2CA5507}"/>
              </c:ext>
            </c:extLst>
          </c:dPt>
          <c:dPt>
            <c:idx val="310"/>
            <c:invertIfNegative val="1"/>
            <c:bubble3D val="0"/>
            <c:spPr>
              <a:solidFill>
                <a:srgbClr val="AEABAB"/>
              </a:solidFill>
            </c:spPr>
            <c:extLst>
              <c:ext xmlns:c16="http://schemas.microsoft.com/office/drawing/2014/chart" uri="{C3380CC4-5D6E-409C-BE32-E72D297353CC}">
                <c16:uniqueId val="{0000026F-FAF2-40A3-8A98-006EB2CA5507}"/>
              </c:ext>
            </c:extLst>
          </c:dPt>
          <c:dPt>
            <c:idx val="311"/>
            <c:invertIfNegative val="1"/>
            <c:bubble3D val="0"/>
            <c:spPr>
              <a:solidFill>
                <a:srgbClr val="AEABAB"/>
              </a:solidFill>
            </c:spPr>
            <c:extLst>
              <c:ext xmlns:c16="http://schemas.microsoft.com/office/drawing/2014/chart" uri="{C3380CC4-5D6E-409C-BE32-E72D297353CC}">
                <c16:uniqueId val="{00000271-FAF2-40A3-8A98-006EB2CA5507}"/>
              </c:ext>
            </c:extLst>
          </c:dPt>
          <c:dPt>
            <c:idx val="312"/>
            <c:invertIfNegative val="1"/>
            <c:bubble3D val="0"/>
            <c:spPr>
              <a:solidFill>
                <a:srgbClr val="AEABAB"/>
              </a:solidFill>
            </c:spPr>
            <c:extLst>
              <c:ext xmlns:c16="http://schemas.microsoft.com/office/drawing/2014/chart" uri="{C3380CC4-5D6E-409C-BE32-E72D297353CC}">
                <c16:uniqueId val="{00000273-FAF2-40A3-8A98-006EB2CA5507}"/>
              </c:ext>
            </c:extLst>
          </c:dPt>
          <c:dPt>
            <c:idx val="313"/>
            <c:invertIfNegative val="1"/>
            <c:bubble3D val="0"/>
            <c:spPr>
              <a:solidFill>
                <a:srgbClr val="AEABAB"/>
              </a:solidFill>
            </c:spPr>
            <c:extLst>
              <c:ext xmlns:c16="http://schemas.microsoft.com/office/drawing/2014/chart" uri="{C3380CC4-5D6E-409C-BE32-E72D297353CC}">
                <c16:uniqueId val="{00000275-FAF2-40A3-8A98-006EB2CA5507}"/>
              </c:ext>
            </c:extLst>
          </c:dPt>
          <c:dPt>
            <c:idx val="314"/>
            <c:invertIfNegative val="1"/>
            <c:bubble3D val="0"/>
            <c:spPr>
              <a:solidFill>
                <a:srgbClr val="AEABAB"/>
              </a:solidFill>
            </c:spPr>
            <c:extLst>
              <c:ext xmlns:c16="http://schemas.microsoft.com/office/drawing/2014/chart" uri="{C3380CC4-5D6E-409C-BE32-E72D297353CC}">
                <c16:uniqueId val="{00000277-FAF2-40A3-8A98-006EB2CA5507}"/>
              </c:ext>
            </c:extLst>
          </c:dPt>
          <c:dPt>
            <c:idx val="315"/>
            <c:invertIfNegative val="1"/>
            <c:bubble3D val="0"/>
            <c:spPr>
              <a:solidFill>
                <a:srgbClr val="AEABAB"/>
              </a:solidFill>
            </c:spPr>
            <c:extLst>
              <c:ext xmlns:c16="http://schemas.microsoft.com/office/drawing/2014/chart" uri="{C3380CC4-5D6E-409C-BE32-E72D297353CC}">
                <c16:uniqueId val="{00000279-FAF2-40A3-8A98-006EB2CA5507}"/>
              </c:ext>
            </c:extLst>
          </c:dPt>
          <c:dPt>
            <c:idx val="316"/>
            <c:invertIfNegative val="1"/>
            <c:bubble3D val="0"/>
            <c:spPr>
              <a:solidFill>
                <a:srgbClr val="AEABAB"/>
              </a:solidFill>
            </c:spPr>
            <c:extLst>
              <c:ext xmlns:c16="http://schemas.microsoft.com/office/drawing/2014/chart" uri="{C3380CC4-5D6E-409C-BE32-E72D297353CC}">
                <c16:uniqueId val="{0000027B-FAF2-40A3-8A98-006EB2CA5507}"/>
              </c:ext>
            </c:extLst>
          </c:dPt>
          <c:dPt>
            <c:idx val="317"/>
            <c:invertIfNegative val="1"/>
            <c:bubble3D val="0"/>
            <c:spPr>
              <a:solidFill>
                <a:srgbClr val="AEABAB"/>
              </a:solidFill>
            </c:spPr>
            <c:extLst>
              <c:ext xmlns:c16="http://schemas.microsoft.com/office/drawing/2014/chart" uri="{C3380CC4-5D6E-409C-BE32-E72D297353CC}">
                <c16:uniqueId val="{0000027D-FAF2-40A3-8A98-006EB2CA5507}"/>
              </c:ext>
            </c:extLst>
          </c:dPt>
          <c:dPt>
            <c:idx val="318"/>
            <c:invertIfNegative val="1"/>
            <c:bubble3D val="0"/>
            <c:spPr>
              <a:solidFill>
                <a:srgbClr val="AEABAB"/>
              </a:solidFill>
            </c:spPr>
            <c:extLst>
              <c:ext xmlns:c16="http://schemas.microsoft.com/office/drawing/2014/chart" uri="{C3380CC4-5D6E-409C-BE32-E72D297353CC}">
                <c16:uniqueId val="{0000027F-FAF2-40A3-8A98-006EB2CA5507}"/>
              </c:ext>
            </c:extLst>
          </c:dPt>
          <c:dPt>
            <c:idx val="319"/>
            <c:invertIfNegative val="1"/>
            <c:bubble3D val="0"/>
            <c:spPr>
              <a:solidFill>
                <a:srgbClr val="AEABAB"/>
              </a:solidFill>
            </c:spPr>
            <c:extLst>
              <c:ext xmlns:c16="http://schemas.microsoft.com/office/drawing/2014/chart" uri="{C3380CC4-5D6E-409C-BE32-E72D297353CC}">
                <c16:uniqueId val="{00000281-FAF2-40A3-8A98-006EB2CA5507}"/>
              </c:ext>
            </c:extLst>
          </c:dPt>
          <c:dPt>
            <c:idx val="320"/>
            <c:invertIfNegative val="1"/>
            <c:bubble3D val="0"/>
            <c:spPr>
              <a:solidFill>
                <a:srgbClr val="AEABAB"/>
              </a:solidFill>
            </c:spPr>
            <c:extLst>
              <c:ext xmlns:c16="http://schemas.microsoft.com/office/drawing/2014/chart" uri="{C3380CC4-5D6E-409C-BE32-E72D297353CC}">
                <c16:uniqueId val="{00000283-FAF2-40A3-8A98-006EB2CA5507}"/>
              </c:ext>
            </c:extLst>
          </c:dPt>
          <c:dPt>
            <c:idx val="321"/>
            <c:invertIfNegative val="1"/>
            <c:bubble3D val="0"/>
            <c:spPr>
              <a:solidFill>
                <a:srgbClr val="AEABAB"/>
              </a:solidFill>
            </c:spPr>
            <c:extLst>
              <c:ext xmlns:c16="http://schemas.microsoft.com/office/drawing/2014/chart" uri="{C3380CC4-5D6E-409C-BE32-E72D297353CC}">
                <c16:uniqueId val="{00000285-FAF2-40A3-8A98-006EB2CA5507}"/>
              </c:ext>
            </c:extLst>
          </c:dPt>
          <c:dPt>
            <c:idx val="322"/>
            <c:invertIfNegative val="1"/>
            <c:bubble3D val="0"/>
            <c:spPr>
              <a:solidFill>
                <a:srgbClr val="AEABAB"/>
              </a:solidFill>
            </c:spPr>
            <c:extLst>
              <c:ext xmlns:c16="http://schemas.microsoft.com/office/drawing/2014/chart" uri="{C3380CC4-5D6E-409C-BE32-E72D297353CC}">
                <c16:uniqueId val="{00000287-FAF2-40A3-8A98-006EB2CA5507}"/>
              </c:ext>
            </c:extLst>
          </c:dPt>
          <c:dPt>
            <c:idx val="323"/>
            <c:invertIfNegative val="1"/>
            <c:bubble3D val="0"/>
            <c:spPr>
              <a:solidFill>
                <a:srgbClr val="AEABAB"/>
              </a:solidFill>
            </c:spPr>
            <c:extLst>
              <c:ext xmlns:c16="http://schemas.microsoft.com/office/drawing/2014/chart" uri="{C3380CC4-5D6E-409C-BE32-E72D297353CC}">
                <c16:uniqueId val="{00000289-FAF2-40A3-8A98-006EB2CA5507}"/>
              </c:ext>
            </c:extLst>
          </c:dPt>
          <c:dPt>
            <c:idx val="324"/>
            <c:invertIfNegative val="1"/>
            <c:bubble3D val="0"/>
            <c:spPr>
              <a:solidFill>
                <a:srgbClr val="AEABAB"/>
              </a:solidFill>
            </c:spPr>
            <c:extLst>
              <c:ext xmlns:c16="http://schemas.microsoft.com/office/drawing/2014/chart" uri="{C3380CC4-5D6E-409C-BE32-E72D297353CC}">
                <c16:uniqueId val="{0000028B-FAF2-40A3-8A98-006EB2CA5507}"/>
              </c:ext>
            </c:extLst>
          </c:dPt>
          <c:dPt>
            <c:idx val="325"/>
            <c:invertIfNegative val="1"/>
            <c:bubble3D val="0"/>
            <c:spPr>
              <a:solidFill>
                <a:srgbClr val="AEABAB"/>
              </a:solidFill>
            </c:spPr>
            <c:extLst>
              <c:ext xmlns:c16="http://schemas.microsoft.com/office/drawing/2014/chart" uri="{C3380CC4-5D6E-409C-BE32-E72D297353CC}">
                <c16:uniqueId val="{0000028D-FAF2-40A3-8A98-006EB2CA5507}"/>
              </c:ext>
            </c:extLst>
          </c:dPt>
          <c:dPt>
            <c:idx val="326"/>
            <c:invertIfNegative val="1"/>
            <c:bubble3D val="0"/>
            <c:spPr>
              <a:solidFill>
                <a:srgbClr val="AEABAB"/>
              </a:solidFill>
            </c:spPr>
            <c:extLst>
              <c:ext xmlns:c16="http://schemas.microsoft.com/office/drawing/2014/chart" uri="{C3380CC4-5D6E-409C-BE32-E72D297353CC}">
                <c16:uniqueId val="{0000028F-FAF2-40A3-8A98-006EB2CA5507}"/>
              </c:ext>
            </c:extLst>
          </c:dPt>
          <c:dPt>
            <c:idx val="327"/>
            <c:invertIfNegative val="1"/>
            <c:bubble3D val="0"/>
            <c:spPr>
              <a:solidFill>
                <a:srgbClr val="AEABAB"/>
              </a:solidFill>
            </c:spPr>
            <c:extLst>
              <c:ext xmlns:c16="http://schemas.microsoft.com/office/drawing/2014/chart" uri="{C3380CC4-5D6E-409C-BE32-E72D297353CC}">
                <c16:uniqueId val="{00000291-FAF2-40A3-8A98-006EB2CA5507}"/>
              </c:ext>
            </c:extLst>
          </c:dPt>
          <c:dPt>
            <c:idx val="328"/>
            <c:invertIfNegative val="1"/>
            <c:bubble3D val="0"/>
            <c:spPr>
              <a:solidFill>
                <a:srgbClr val="AEABAB"/>
              </a:solidFill>
            </c:spPr>
            <c:extLst>
              <c:ext xmlns:c16="http://schemas.microsoft.com/office/drawing/2014/chart" uri="{C3380CC4-5D6E-409C-BE32-E72D297353CC}">
                <c16:uniqueId val="{00000293-FAF2-40A3-8A98-006EB2CA5507}"/>
              </c:ext>
            </c:extLst>
          </c:dPt>
          <c:dPt>
            <c:idx val="329"/>
            <c:invertIfNegative val="1"/>
            <c:bubble3D val="0"/>
            <c:spPr>
              <a:solidFill>
                <a:srgbClr val="AEABAB"/>
              </a:solidFill>
            </c:spPr>
            <c:extLst>
              <c:ext xmlns:c16="http://schemas.microsoft.com/office/drawing/2014/chart" uri="{C3380CC4-5D6E-409C-BE32-E72D297353CC}">
                <c16:uniqueId val="{00000295-FAF2-40A3-8A98-006EB2CA5507}"/>
              </c:ext>
            </c:extLst>
          </c:dPt>
          <c:dPt>
            <c:idx val="330"/>
            <c:invertIfNegative val="1"/>
            <c:bubble3D val="0"/>
            <c:spPr>
              <a:solidFill>
                <a:srgbClr val="AEABAB"/>
              </a:solidFill>
            </c:spPr>
            <c:extLst>
              <c:ext xmlns:c16="http://schemas.microsoft.com/office/drawing/2014/chart" uri="{C3380CC4-5D6E-409C-BE32-E72D297353CC}">
                <c16:uniqueId val="{00000297-FAF2-40A3-8A98-006EB2CA5507}"/>
              </c:ext>
            </c:extLst>
          </c:dPt>
          <c:dPt>
            <c:idx val="331"/>
            <c:invertIfNegative val="1"/>
            <c:bubble3D val="0"/>
            <c:spPr>
              <a:solidFill>
                <a:srgbClr val="AEABAB"/>
              </a:solidFill>
            </c:spPr>
            <c:extLst>
              <c:ext xmlns:c16="http://schemas.microsoft.com/office/drawing/2014/chart" uri="{C3380CC4-5D6E-409C-BE32-E72D297353CC}">
                <c16:uniqueId val="{00000299-FAF2-40A3-8A98-006EB2CA5507}"/>
              </c:ext>
            </c:extLst>
          </c:dPt>
          <c:dPt>
            <c:idx val="332"/>
            <c:invertIfNegative val="1"/>
            <c:bubble3D val="0"/>
            <c:spPr>
              <a:solidFill>
                <a:srgbClr val="AEABAB"/>
              </a:solidFill>
            </c:spPr>
            <c:extLst>
              <c:ext xmlns:c16="http://schemas.microsoft.com/office/drawing/2014/chart" uri="{C3380CC4-5D6E-409C-BE32-E72D297353CC}">
                <c16:uniqueId val="{0000029B-FAF2-40A3-8A98-006EB2CA5507}"/>
              </c:ext>
            </c:extLst>
          </c:dPt>
          <c:dPt>
            <c:idx val="333"/>
            <c:invertIfNegative val="1"/>
            <c:bubble3D val="0"/>
            <c:spPr>
              <a:solidFill>
                <a:srgbClr val="AEABAB"/>
              </a:solidFill>
            </c:spPr>
            <c:extLst>
              <c:ext xmlns:c16="http://schemas.microsoft.com/office/drawing/2014/chart" uri="{C3380CC4-5D6E-409C-BE32-E72D297353CC}">
                <c16:uniqueId val="{0000029D-FAF2-40A3-8A98-006EB2CA5507}"/>
              </c:ext>
            </c:extLst>
          </c:dPt>
          <c:dPt>
            <c:idx val="334"/>
            <c:invertIfNegative val="1"/>
            <c:bubble3D val="0"/>
            <c:spPr>
              <a:solidFill>
                <a:srgbClr val="AEABAB"/>
              </a:solidFill>
            </c:spPr>
            <c:extLst>
              <c:ext xmlns:c16="http://schemas.microsoft.com/office/drawing/2014/chart" uri="{C3380CC4-5D6E-409C-BE32-E72D297353CC}">
                <c16:uniqueId val="{0000029F-FAF2-40A3-8A98-006EB2CA5507}"/>
              </c:ext>
            </c:extLst>
          </c:dPt>
          <c:dPt>
            <c:idx val="335"/>
            <c:invertIfNegative val="1"/>
            <c:bubble3D val="0"/>
            <c:spPr>
              <a:solidFill>
                <a:srgbClr val="AEABAB"/>
              </a:solidFill>
            </c:spPr>
            <c:extLst>
              <c:ext xmlns:c16="http://schemas.microsoft.com/office/drawing/2014/chart" uri="{C3380CC4-5D6E-409C-BE32-E72D297353CC}">
                <c16:uniqueId val="{000002A1-FAF2-40A3-8A98-006EB2CA5507}"/>
              </c:ext>
            </c:extLst>
          </c:dPt>
          <c:dPt>
            <c:idx val="336"/>
            <c:invertIfNegative val="1"/>
            <c:bubble3D val="0"/>
            <c:spPr>
              <a:solidFill>
                <a:srgbClr val="AEABAB"/>
              </a:solidFill>
            </c:spPr>
            <c:extLst>
              <c:ext xmlns:c16="http://schemas.microsoft.com/office/drawing/2014/chart" uri="{C3380CC4-5D6E-409C-BE32-E72D297353CC}">
                <c16:uniqueId val="{000002A3-FAF2-40A3-8A98-006EB2CA5507}"/>
              </c:ext>
            </c:extLst>
          </c:dPt>
          <c:dPt>
            <c:idx val="337"/>
            <c:invertIfNegative val="1"/>
            <c:bubble3D val="0"/>
            <c:spPr>
              <a:solidFill>
                <a:srgbClr val="AEABAB"/>
              </a:solidFill>
            </c:spPr>
            <c:extLst>
              <c:ext xmlns:c16="http://schemas.microsoft.com/office/drawing/2014/chart" uri="{C3380CC4-5D6E-409C-BE32-E72D297353CC}">
                <c16:uniqueId val="{000002A5-FAF2-40A3-8A98-006EB2CA5507}"/>
              </c:ext>
            </c:extLst>
          </c:dPt>
          <c:dPt>
            <c:idx val="338"/>
            <c:invertIfNegative val="1"/>
            <c:bubble3D val="0"/>
            <c:spPr>
              <a:solidFill>
                <a:srgbClr val="AEABAB"/>
              </a:solidFill>
            </c:spPr>
            <c:extLst>
              <c:ext xmlns:c16="http://schemas.microsoft.com/office/drawing/2014/chart" uri="{C3380CC4-5D6E-409C-BE32-E72D297353CC}">
                <c16:uniqueId val="{000002A7-FAF2-40A3-8A98-006EB2CA5507}"/>
              </c:ext>
            </c:extLst>
          </c:dPt>
          <c:dPt>
            <c:idx val="339"/>
            <c:invertIfNegative val="1"/>
            <c:bubble3D val="0"/>
            <c:spPr>
              <a:solidFill>
                <a:srgbClr val="AEABAB"/>
              </a:solidFill>
            </c:spPr>
            <c:extLst>
              <c:ext xmlns:c16="http://schemas.microsoft.com/office/drawing/2014/chart" uri="{C3380CC4-5D6E-409C-BE32-E72D297353CC}">
                <c16:uniqueId val="{000002A9-FAF2-40A3-8A98-006EB2CA5507}"/>
              </c:ext>
            </c:extLst>
          </c:dPt>
          <c:dPt>
            <c:idx val="340"/>
            <c:invertIfNegative val="1"/>
            <c:bubble3D val="0"/>
            <c:spPr>
              <a:solidFill>
                <a:srgbClr val="AEABAB"/>
              </a:solidFill>
            </c:spPr>
            <c:extLst>
              <c:ext xmlns:c16="http://schemas.microsoft.com/office/drawing/2014/chart" uri="{C3380CC4-5D6E-409C-BE32-E72D297353CC}">
                <c16:uniqueId val="{000002AB-FAF2-40A3-8A98-006EB2CA5507}"/>
              </c:ext>
            </c:extLst>
          </c:dPt>
          <c:dPt>
            <c:idx val="341"/>
            <c:invertIfNegative val="1"/>
            <c:bubble3D val="0"/>
            <c:spPr>
              <a:solidFill>
                <a:srgbClr val="AEABAB"/>
              </a:solidFill>
            </c:spPr>
            <c:extLst>
              <c:ext xmlns:c16="http://schemas.microsoft.com/office/drawing/2014/chart" uri="{C3380CC4-5D6E-409C-BE32-E72D297353CC}">
                <c16:uniqueId val="{000002AD-FAF2-40A3-8A98-006EB2CA5507}"/>
              </c:ext>
            </c:extLst>
          </c:dPt>
          <c:dPt>
            <c:idx val="342"/>
            <c:invertIfNegative val="1"/>
            <c:bubble3D val="0"/>
            <c:spPr>
              <a:solidFill>
                <a:srgbClr val="AEABAB"/>
              </a:solidFill>
            </c:spPr>
            <c:extLst>
              <c:ext xmlns:c16="http://schemas.microsoft.com/office/drawing/2014/chart" uri="{C3380CC4-5D6E-409C-BE32-E72D297353CC}">
                <c16:uniqueId val="{000002AF-FAF2-40A3-8A98-006EB2CA5507}"/>
              </c:ext>
            </c:extLst>
          </c:dPt>
          <c:dPt>
            <c:idx val="343"/>
            <c:invertIfNegative val="1"/>
            <c:bubble3D val="0"/>
            <c:spPr>
              <a:solidFill>
                <a:srgbClr val="AEABAB"/>
              </a:solidFill>
            </c:spPr>
            <c:extLst>
              <c:ext xmlns:c16="http://schemas.microsoft.com/office/drawing/2014/chart" uri="{C3380CC4-5D6E-409C-BE32-E72D297353CC}">
                <c16:uniqueId val="{000002B1-FAF2-40A3-8A98-006EB2CA5507}"/>
              </c:ext>
            </c:extLst>
          </c:dPt>
          <c:dPt>
            <c:idx val="344"/>
            <c:invertIfNegative val="1"/>
            <c:bubble3D val="0"/>
            <c:spPr>
              <a:solidFill>
                <a:srgbClr val="AEABAB"/>
              </a:solidFill>
            </c:spPr>
            <c:extLst>
              <c:ext xmlns:c16="http://schemas.microsoft.com/office/drawing/2014/chart" uri="{C3380CC4-5D6E-409C-BE32-E72D297353CC}">
                <c16:uniqueId val="{000002B3-FAF2-40A3-8A98-006EB2CA5507}"/>
              </c:ext>
            </c:extLst>
          </c:dPt>
          <c:dPt>
            <c:idx val="345"/>
            <c:invertIfNegative val="1"/>
            <c:bubble3D val="0"/>
            <c:spPr>
              <a:solidFill>
                <a:srgbClr val="AEABAB"/>
              </a:solidFill>
            </c:spPr>
            <c:extLst>
              <c:ext xmlns:c16="http://schemas.microsoft.com/office/drawing/2014/chart" uri="{C3380CC4-5D6E-409C-BE32-E72D297353CC}">
                <c16:uniqueId val="{000002B5-FAF2-40A3-8A98-006EB2CA5507}"/>
              </c:ext>
            </c:extLst>
          </c:dPt>
          <c:dPt>
            <c:idx val="346"/>
            <c:invertIfNegative val="1"/>
            <c:bubble3D val="0"/>
            <c:spPr>
              <a:solidFill>
                <a:srgbClr val="AEABAB"/>
              </a:solidFill>
            </c:spPr>
            <c:extLst>
              <c:ext xmlns:c16="http://schemas.microsoft.com/office/drawing/2014/chart" uri="{C3380CC4-5D6E-409C-BE32-E72D297353CC}">
                <c16:uniqueId val="{000002B7-FAF2-40A3-8A98-006EB2CA5507}"/>
              </c:ext>
            </c:extLst>
          </c:dPt>
          <c:dPt>
            <c:idx val="347"/>
            <c:invertIfNegative val="1"/>
            <c:bubble3D val="0"/>
            <c:spPr>
              <a:solidFill>
                <a:srgbClr val="AEABAB"/>
              </a:solidFill>
            </c:spPr>
            <c:extLst>
              <c:ext xmlns:c16="http://schemas.microsoft.com/office/drawing/2014/chart" uri="{C3380CC4-5D6E-409C-BE32-E72D297353CC}">
                <c16:uniqueId val="{000002B9-FAF2-40A3-8A98-006EB2CA5507}"/>
              </c:ext>
            </c:extLst>
          </c:dPt>
          <c:dPt>
            <c:idx val="348"/>
            <c:invertIfNegative val="1"/>
            <c:bubble3D val="0"/>
            <c:spPr>
              <a:solidFill>
                <a:srgbClr val="AEABAB"/>
              </a:solidFill>
            </c:spPr>
            <c:extLst>
              <c:ext xmlns:c16="http://schemas.microsoft.com/office/drawing/2014/chart" uri="{C3380CC4-5D6E-409C-BE32-E72D297353CC}">
                <c16:uniqueId val="{000002BB-FAF2-40A3-8A98-006EB2CA5507}"/>
              </c:ext>
            </c:extLst>
          </c:dPt>
          <c:dPt>
            <c:idx val="349"/>
            <c:invertIfNegative val="1"/>
            <c:bubble3D val="0"/>
            <c:spPr>
              <a:solidFill>
                <a:srgbClr val="AEABAB"/>
              </a:solidFill>
            </c:spPr>
            <c:extLst>
              <c:ext xmlns:c16="http://schemas.microsoft.com/office/drawing/2014/chart" uri="{C3380CC4-5D6E-409C-BE32-E72D297353CC}">
                <c16:uniqueId val="{000002BD-FAF2-40A3-8A98-006EB2CA5507}"/>
              </c:ext>
            </c:extLst>
          </c:dPt>
          <c:dPt>
            <c:idx val="350"/>
            <c:invertIfNegative val="1"/>
            <c:bubble3D val="0"/>
            <c:spPr>
              <a:solidFill>
                <a:srgbClr val="AEABAB"/>
              </a:solidFill>
            </c:spPr>
            <c:extLst>
              <c:ext xmlns:c16="http://schemas.microsoft.com/office/drawing/2014/chart" uri="{C3380CC4-5D6E-409C-BE32-E72D297353CC}">
                <c16:uniqueId val="{000002BF-FAF2-40A3-8A98-006EB2CA5507}"/>
              </c:ext>
            </c:extLst>
          </c:dPt>
          <c:dPt>
            <c:idx val="351"/>
            <c:invertIfNegative val="1"/>
            <c:bubble3D val="0"/>
            <c:spPr>
              <a:solidFill>
                <a:srgbClr val="AEABAB"/>
              </a:solidFill>
            </c:spPr>
            <c:extLst>
              <c:ext xmlns:c16="http://schemas.microsoft.com/office/drawing/2014/chart" uri="{C3380CC4-5D6E-409C-BE32-E72D297353CC}">
                <c16:uniqueId val="{000002C1-FAF2-40A3-8A98-006EB2CA5507}"/>
              </c:ext>
            </c:extLst>
          </c:dPt>
          <c:dPt>
            <c:idx val="352"/>
            <c:invertIfNegative val="1"/>
            <c:bubble3D val="0"/>
            <c:spPr>
              <a:solidFill>
                <a:srgbClr val="AEABAB"/>
              </a:solidFill>
            </c:spPr>
            <c:extLst>
              <c:ext xmlns:c16="http://schemas.microsoft.com/office/drawing/2014/chart" uri="{C3380CC4-5D6E-409C-BE32-E72D297353CC}">
                <c16:uniqueId val="{000002C3-FAF2-40A3-8A98-006EB2CA5507}"/>
              </c:ext>
            </c:extLst>
          </c:dPt>
          <c:dPt>
            <c:idx val="353"/>
            <c:invertIfNegative val="1"/>
            <c:bubble3D val="0"/>
            <c:spPr>
              <a:solidFill>
                <a:srgbClr val="AEABAB"/>
              </a:solidFill>
            </c:spPr>
            <c:extLst>
              <c:ext xmlns:c16="http://schemas.microsoft.com/office/drawing/2014/chart" uri="{C3380CC4-5D6E-409C-BE32-E72D297353CC}">
                <c16:uniqueId val="{000002C5-FAF2-40A3-8A98-006EB2CA5507}"/>
              </c:ext>
            </c:extLst>
          </c:dPt>
          <c:dPt>
            <c:idx val="354"/>
            <c:invertIfNegative val="1"/>
            <c:bubble3D val="0"/>
            <c:spPr>
              <a:solidFill>
                <a:srgbClr val="AEABAB"/>
              </a:solidFill>
            </c:spPr>
            <c:extLst>
              <c:ext xmlns:c16="http://schemas.microsoft.com/office/drawing/2014/chart" uri="{C3380CC4-5D6E-409C-BE32-E72D297353CC}">
                <c16:uniqueId val="{000002C7-FAF2-40A3-8A98-006EB2CA5507}"/>
              </c:ext>
            </c:extLst>
          </c:dPt>
          <c:dPt>
            <c:idx val="355"/>
            <c:invertIfNegative val="1"/>
            <c:bubble3D val="0"/>
            <c:spPr>
              <a:solidFill>
                <a:srgbClr val="AEABAB"/>
              </a:solidFill>
            </c:spPr>
            <c:extLst>
              <c:ext xmlns:c16="http://schemas.microsoft.com/office/drawing/2014/chart" uri="{C3380CC4-5D6E-409C-BE32-E72D297353CC}">
                <c16:uniqueId val="{000002C9-FAF2-40A3-8A98-006EB2CA5507}"/>
              </c:ext>
            </c:extLst>
          </c:dPt>
          <c:dPt>
            <c:idx val="356"/>
            <c:invertIfNegative val="1"/>
            <c:bubble3D val="0"/>
            <c:spPr>
              <a:solidFill>
                <a:srgbClr val="AEABAB"/>
              </a:solidFill>
            </c:spPr>
            <c:extLst>
              <c:ext xmlns:c16="http://schemas.microsoft.com/office/drawing/2014/chart" uri="{C3380CC4-5D6E-409C-BE32-E72D297353CC}">
                <c16:uniqueId val="{000002CB-FAF2-40A3-8A98-006EB2CA5507}"/>
              </c:ext>
            </c:extLst>
          </c:dPt>
          <c:dPt>
            <c:idx val="357"/>
            <c:invertIfNegative val="1"/>
            <c:bubble3D val="0"/>
            <c:spPr>
              <a:solidFill>
                <a:srgbClr val="AEABAB"/>
              </a:solidFill>
            </c:spPr>
            <c:extLst>
              <c:ext xmlns:c16="http://schemas.microsoft.com/office/drawing/2014/chart" uri="{C3380CC4-5D6E-409C-BE32-E72D297353CC}">
                <c16:uniqueId val="{000002CD-FAF2-40A3-8A98-006EB2CA5507}"/>
              </c:ext>
            </c:extLst>
          </c:dPt>
          <c:dPt>
            <c:idx val="358"/>
            <c:invertIfNegative val="1"/>
            <c:bubble3D val="0"/>
            <c:spPr>
              <a:solidFill>
                <a:srgbClr val="AEABAB"/>
              </a:solidFill>
            </c:spPr>
            <c:extLst>
              <c:ext xmlns:c16="http://schemas.microsoft.com/office/drawing/2014/chart" uri="{C3380CC4-5D6E-409C-BE32-E72D297353CC}">
                <c16:uniqueId val="{000002CF-FAF2-40A3-8A98-006EB2CA5507}"/>
              </c:ext>
            </c:extLst>
          </c:dPt>
          <c:dPt>
            <c:idx val="359"/>
            <c:invertIfNegative val="1"/>
            <c:bubble3D val="0"/>
            <c:spPr>
              <a:solidFill>
                <a:srgbClr val="AEABAB"/>
              </a:solidFill>
            </c:spPr>
            <c:extLst>
              <c:ext xmlns:c16="http://schemas.microsoft.com/office/drawing/2014/chart" uri="{C3380CC4-5D6E-409C-BE32-E72D297353CC}">
                <c16:uniqueId val="{000002D1-FAF2-40A3-8A98-006EB2CA5507}"/>
              </c:ext>
            </c:extLst>
          </c:dPt>
          <c:dPt>
            <c:idx val="360"/>
            <c:invertIfNegative val="1"/>
            <c:bubble3D val="0"/>
            <c:spPr>
              <a:solidFill>
                <a:srgbClr val="AEABAB"/>
              </a:solidFill>
            </c:spPr>
            <c:extLst>
              <c:ext xmlns:c16="http://schemas.microsoft.com/office/drawing/2014/chart" uri="{C3380CC4-5D6E-409C-BE32-E72D297353CC}">
                <c16:uniqueId val="{000002D3-FAF2-40A3-8A98-006EB2CA5507}"/>
              </c:ext>
            </c:extLst>
          </c:dPt>
          <c:dPt>
            <c:idx val="361"/>
            <c:invertIfNegative val="1"/>
            <c:bubble3D val="0"/>
            <c:spPr>
              <a:solidFill>
                <a:srgbClr val="AEABAB"/>
              </a:solidFill>
            </c:spPr>
            <c:extLst>
              <c:ext xmlns:c16="http://schemas.microsoft.com/office/drawing/2014/chart" uri="{C3380CC4-5D6E-409C-BE32-E72D297353CC}">
                <c16:uniqueId val="{000002D5-FAF2-40A3-8A98-006EB2CA5507}"/>
              </c:ext>
            </c:extLst>
          </c:dPt>
          <c:dPt>
            <c:idx val="362"/>
            <c:invertIfNegative val="1"/>
            <c:bubble3D val="0"/>
            <c:spPr>
              <a:solidFill>
                <a:srgbClr val="AEABAB"/>
              </a:solidFill>
            </c:spPr>
            <c:extLst>
              <c:ext xmlns:c16="http://schemas.microsoft.com/office/drawing/2014/chart" uri="{C3380CC4-5D6E-409C-BE32-E72D297353CC}">
                <c16:uniqueId val="{000002D7-FAF2-40A3-8A98-006EB2CA5507}"/>
              </c:ext>
            </c:extLst>
          </c:dPt>
          <c:dPt>
            <c:idx val="363"/>
            <c:invertIfNegative val="1"/>
            <c:bubble3D val="0"/>
            <c:spPr>
              <a:solidFill>
                <a:srgbClr val="AEABAB"/>
              </a:solidFill>
            </c:spPr>
            <c:extLst>
              <c:ext xmlns:c16="http://schemas.microsoft.com/office/drawing/2014/chart" uri="{C3380CC4-5D6E-409C-BE32-E72D297353CC}">
                <c16:uniqueId val="{000002D9-FAF2-40A3-8A98-006EB2CA5507}"/>
              </c:ext>
            </c:extLst>
          </c:dPt>
          <c:dPt>
            <c:idx val="364"/>
            <c:invertIfNegative val="1"/>
            <c:bubble3D val="0"/>
            <c:spPr>
              <a:solidFill>
                <a:srgbClr val="AEABAB"/>
              </a:solidFill>
            </c:spPr>
            <c:extLst>
              <c:ext xmlns:c16="http://schemas.microsoft.com/office/drawing/2014/chart" uri="{C3380CC4-5D6E-409C-BE32-E72D297353CC}">
                <c16:uniqueId val="{000002DB-FAF2-40A3-8A98-006EB2CA5507}"/>
              </c:ext>
            </c:extLst>
          </c:dPt>
          <c:dPt>
            <c:idx val="365"/>
            <c:invertIfNegative val="1"/>
            <c:bubble3D val="0"/>
            <c:spPr>
              <a:solidFill>
                <a:srgbClr val="AEABAB"/>
              </a:solidFill>
            </c:spPr>
            <c:extLst>
              <c:ext xmlns:c16="http://schemas.microsoft.com/office/drawing/2014/chart" uri="{C3380CC4-5D6E-409C-BE32-E72D297353CC}">
                <c16:uniqueId val="{000002DD-FAF2-40A3-8A98-006EB2CA5507}"/>
              </c:ext>
            </c:extLst>
          </c:dPt>
          <c:dPt>
            <c:idx val="366"/>
            <c:invertIfNegative val="1"/>
            <c:bubble3D val="0"/>
            <c:spPr>
              <a:solidFill>
                <a:srgbClr val="AEABAB"/>
              </a:solidFill>
            </c:spPr>
            <c:extLst>
              <c:ext xmlns:c16="http://schemas.microsoft.com/office/drawing/2014/chart" uri="{C3380CC4-5D6E-409C-BE32-E72D297353CC}">
                <c16:uniqueId val="{000002DF-FAF2-40A3-8A98-006EB2CA5507}"/>
              </c:ext>
            </c:extLst>
          </c:dPt>
          <c:dPt>
            <c:idx val="367"/>
            <c:invertIfNegative val="1"/>
            <c:bubble3D val="0"/>
            <c:spPr>
              <a:solidFill>
                <a:srgbClr val="AEABAB"/>
              </a:solidFill>
            </c:spPr>
            <c:extLst>
              <c:ext xmlns:c16="http://schemas.microsoft.com/office/drawing/2014/chart" uri="{C3380CC4-5D6E-409C-BE32-E72D297353CC}">
                <c16:uniqueId val="{000002E1-FAF2-40A3-8A98-006EB2CA5507}"/>
              </c:ext>
            </c:extLst>
          </c:dPt>
          <c:dPt>
            <c:idx val="368"/>
            <c:invertIfNegative val="1"/>
            <c:bubble3D val="0"/>
            <c:spPr>
              <a:solidFill>
                <a:srgbClr val="AEABAB"/>
              </a:solidFill>
            </c:spPr>
            <c:extLst>
              <c:ext xmlns:c16="http://schemas.microsoft.com/office/drawing/2014/chart" uri="{C3380CC4-5D6E-409C-BE32-E72D297353CC}">
                <c16:uniqueId val="{000002E3-FAF2-40A3-8A98-006EB2CA5507}"/>
              </c:ext>
            </c:extLst>
          </c:dPt>
          <c:dPt>
            <c:idx val="369"/>
            <c:invertIfNegative val="1"/>
            <c:bubble3D val="0"/>
            <c:spPr>
              <a:solidFill>
                <a:srgbClr val="AEABAB"/>
              </a:solidFill>
            </c:spPr>
            <c:extLst>
              <c:ext xmlns:c16="http://schemas.microsoft.com/office/drawing/2014/chart" uri="{C3380CC4-5D6E-409C-BE32-E72D297353CC}">
                <c16:uniqueId val="{000002E5-FAF2-40A3-8A98-006EB2CA5507}"/>
              </c:ext>
            </c:extLst>
          </c:dPt>
          <c:dPt>
            <c:idx val="370"/>
            <c:invertIfNegative val="1"/>
            <c:bubble3D val="0"/>
            <c:spPr>
              <a:solidFill>
                <a:srgbClr val="AEABAB"/>
              </a:solidFill>
            </c:spPr>
            <c:extLst>
              <c:ext xmlns:c16="http://schemas.microsoft.com/office/drawing/2014/chart" uri="{C3380CC4-5D6E-409C-BE32-E72D297353CC}">
                <c16:uniqueId val="{000002E7-FAF2-40A3-8A98-006EB2CA5507}"/>
              </c:ext>
            </c:extLst>
          </c:dPt>
          <c:dPt>
            <c:idx val="371"/>
            <c:invertIfNegative val="1"/>
            <c:bubble3D val="0"/>
            <c:spPr>
              <a:solidFill>
                <a:srgbClr val="AEABAB"/>
              </a:solidFill>
            </c:spPr>
            <c:extLst>
              <c:ext xmlns:c16="http://schemas.microsoft.com/office/drawing/2014/chart" uri="{C3380CC4-5D6E-409C-BE32-E72D297353CC}">
                <c16:uniqueId val="{000002E9-FAF2-40A3-8A98-006EB2CA5507}"/>
              </c:ext>
            </c:extLst>
          </c:dPt>
          <c:dPt>
            <c:idx val="372"/>
            <c:invertIfNegative val="1"/>
            <c:bubble3D val="0"/>
            <c:spPr>
              <a:solidFill>
                <a:srgbClr val="AEABAB"/>
              </a:solidFill>
            </c:spPr>
            <c:extLst>
              <c:ext xmlns:c16="http://schemas.microsoft.com/office/drawing/2014/chart" uri="{C3380CC4-5D6E-409C-BE32-E72D297353CC}">
                <c16:uniqueId val="{000002EB-FAF2-40A3-8A98-006EB2CA5507}"/>
              </c:ext>
            </c:extLst>
          </c:dPt>
          <c:dPt>
            <c:idx val="373"/>
            <c:invertIfNegative val="1"/>
            <c:bubble3D val="0"/>
            <c:spPr>
              <a:solidFill>
                <a:srgbClr val="AEABAB"/>
              </a:solidFill>
            </c:spPr>
            <c:extLst>
              <c:ext xmlns:c16="http://schemas.microsoft.com/office/drawing/2014/chart" uri="{C3380CC4-5D6E-409C-BE32-E72D297353CC}">
                <c16:uniqueId val="{000002ED-FAF2-40A3-8A98-006EB2CA5507}"/>
              </c:ext>
            </c:extLst>
          </c:dPt>
          <c:dPt>
            <c:idx val="374"/>
            <c:invertIfNegative val="1"/>
            <c:bubble3D val="0"/>
            <c:spPr>
              <a:solidFill>
                <a:srgbClr val="AEABAB"/>
              </a:solidFill>
            </c:spPr>
            <c:extLst>
              <c:ext xmlns:c16="http://schemas.microsoft.com/office/drawing/2014/chart" uri="{C3380CC4-5D6E-409C-BE32-E72D297353CC}">
                <c16:uniqueId val="{000002EF-FAF2-40A3-8A98-006EB2CA5507}"/>
              </c:ext>
            </c:extLst>
          </c:dPt>
          <c:dPt>
            <c:idx val="375"/>
            <c:invertIfNegative val="1"/>
            <c:bubble3D val="0"/>
            <c:spPr>
              <a:solidFill>
                <a:srgbClr val="AEABAB"/>
              </a:solidFill>
            </c:spPr>
            <c:extLst>
              <c:ext xmlns:c16="http://schemas.microsoft.com/office/drawing/2014/chart" uri="{C3380CC4-5D6E-409C-BE32-E72D297353CC}">
                <c16:uniqueId val="{000002F1-FAF2-40A3-8A98-006EB2CA5507}"/>
              </c:ext>
            </c:extLst>
          </c:dPt>
          <c:dPt>
            <c:idx val="376"/>
            <c:invertIfNegative val="1"/>
            <c:bubble3D val="0"/>
            <c:spPr>
              <a:solidFill>
                <a:srgbClr val="AEABAB"/>
              </a:solidFill>
            </c:spPr>
            <c:extLst>
              <c:ext xmlns:c16="http://schemas.microsoft.com/office/drawing/2014/chart" uri="{C3380CC4-5D6E-409C-BE32-E72D297353CC}">
                <c16:uniqueId val="{000002F3-FAF2-40A3-8A98-006EB2CA5507}"/>
              </c:ext>
            </c:extLst>
          </c:dPt>
          <c:dPt>
            <c:idx val="377"/>
            <c:invertIfNegative val="1"/>
            <c:bubble3D val="0"/>
            <c:spPr>
              <a:solidFill>
                <a:srgbClr val="AEABAB"/>
              </a:solidFill>
            </c:spPr>
            <c:extLst>
              <c:ext xmlns:c16="http://schemas.microsoft.com/office/drawing/2014/chart" uri="{C3380CC4-5D6E-409C-BE32-E72D297353CC}">
                <c16:uniqueId val="{000002F5-FAF2-40A3-8A98-006EB2CA5507}"/>
              </c:ext>
            </c:extLst>
          </c:dPt>
          <c:dPt>
            <c:idx val="378"/>
            <c:invertIfNegative val="1"/>
            <c:bubble3D val="0"/>
            <c:spPr>
              <a:solidFill>
                <a:srgbClr val="AEABAB"/>
              </a:solidFill>
            </c:spPr>
            <c:extLst>
              <c:ext xmlns:c16="http://schemas.microsoft.com/office/drawing/2014/chart" uri="{C3380CC4-5D6E-409C-BE32-E72D297353CC}">
                <c16:uniqueId val="{000002F7-FAF2-40A3-8A98-006EB2CA5507}"/>
              </c:ext>
            </c:extLst>
          </c:dPt>
          <c:dPt>
            <c:idx val="379"/>
            <c:invertIfNegative val="1"/>
            <c:bubble3D val="0"/>
            <c:spPr>
              <a:solidFill>
                <a:srgbClr val="AEABAB"/>
              </a:solidFill>
            </c:spPr>
            <c:extLst>
              <c:ext xmlns:c16="http://schemas.microsoft.com/office/drawing/2014/chart" uri="{C3380CC4-5D6E-409C-BE32-E72D297353CC}">
                <c16:uniqueId val="{000002F9-FAF2-40A3-8A98-006EB2CA5507}"/>
              </c:ext>
            </c:extLst>
          </c:dPt>
          <c:dPt>
            <c:idx val="380"/>
            <c:invertIfNegative val="1"/>
            <c:bubble3D val="0"/>
            <c:spPr>
              <a:solidFill>
                <a:srgbClr val="AEABAB"/>
              </a:solidFill>
            </c:spPr>
            <c:extLst>
              <c:ext xmlns:c16="http://schemas.microsoft.com/office/drawing/2014/chart" uri="{C3380CC4-5D6E-409C-BE32-E72D297353CC}">
                <c16:uniqueId val="{000002FB-FAF2-40A3-8A98-006EB2CA5507}"/>
              </c:ext>
            </c:extLst>
          </c:dPt>
          <c:dPt>
            <c:idx val="381"/>
            <c:invertIfNegative val="1"/>
            <c:bubble3D val="0"/>
            <c:spPr>
              <a:solidFill>
                <a:srgbClr val="AEABAB"/>
              </a:solidFill>
            </c:spPr>
            <c:extLst>
              <c:ext xmlns:c16="http://schemas.microsoft.com/office/drawing/2014/chart" uri="{C3380CC4-5D6E-409C-BE32-E72D297353CC}">
                <c16:uniqueId val="{000002FD-FAF2-40A3-8A98-006EB2CA5507}"/>
              </c:ext>
            </c:extLst>
          </c:dPt>
          <c:dPt>
            <c:idx val="382"/>
            <c:invertIfNegative val="1"/>
            <c:bubble3D val="0"/>
            <c:spPr>
              <a:solidFill>
                <a:srgbClr val="AEABAB"/>
              </a:solidFill>
            </c:spPr>
            <c:extLst>
              <c:ext xmlns:c16="http://schemas.microsoft.com/office/drawing/2014/chart" uri="{C3380CC4-5D6E-409C-BE32-E72D297353CC}">
                <c16:uniqueId val="{000002FF-FAF2-40A3-8A98-006EB2CA5507}"/>
              </c:ext>
            </c:extLst>
          </c:dPt>
          <c:dPt>
            <c:idx val="383"/>
            <c:invertIfNegative val="1"/>
            <c:bubble3D val="0"/>
            <c:spPr>
              <a:solidFill>
                <a:srgbClr val="AEABAB"/>
              </a:solidFill>
            </c:spPr>
            <c:extLst>
              <c:ext xmlns:c16="http://schemas.microsoft.com/office/drawing/2014/chart" uri="{C3380CC4-5D6E-409C-BE32-E72D297353CC}">
                <c16:uniqueId val="{00000301-FAF2-40A3-8A98-006EB2CA5507}"/>
              </c:ext>
            </c:extLst>
          </c:dPt>
          <c:dPt>
            <c:idx val="384"/>
            <c:invertIfNegative val="1"/>
            <c:bubble3D val="0"/>
            <c:spPr>
              <a:solidFill>
                <a:srgbClr val="AEABAB"/>
              </a:solidFill>
            </c:spPr>
            <c:extLst>
              <c:ext xmlns:c16="http://schemas.microsoft.com/office/drawing/2014/chart" uri="{C3380CC4-5D6E-409C-BE32-E72D297353CC}">
                <c16:uniqueId val="{00000303-FAF2-40A3-8A98-006EB2CA5507}"/>
              </c:ext>
            </c:extLst>
          </c:dPt>
          <c:dPt>
            <c:idx val="385"/>
            <c:invertIfNegative val="1"/>
            <c:bubble3D val="0"/>
            <c:spPr>
              <a:solidFill>
                <a:srgbClr val="AEABAB"/>
              </a:solidFill>
            </c:spPr>
            <c:extLst>
              <c:ext xmlns:c16="http://schemas.microsoft.com/office/drawing/2014/chart" uri="{C3380CC4-5D6E-409C-BE32-E72D297353CC}">
                <c16:uniqueId val="{00000305-FAF2-40A3-8A98-006EB2CA5507}"/>
              </c:ext>
            </c:extLst>
          </c:dPt>
          <c:dPt>
            <c:idx val="386"/>
            <c:invertIfNegative val="1"/>
            <c:bubble3D val="0"/>
            <c:spPr>
              <a:solidFill>
                <a:srgbClr val="AEABAB"/>
              </a:solidFill>
            </c:spPr>
            <c:extLst>
              <c:ext xmlns:c16="http://schemas.microsoft.com/office/drawing/2014/chart" uri="{C3380CC4-5D6E-409C-BE32-E72D297353CC}">
                <c16:uniqueId val="{00000307-FAF2-40A3-8A98-006EB2CA5507}"/>
              </c:ext>
            </c:extLst>
          </c:dPt>
          <c:dPt>
            <c:idx val="387"/>
            <c:invertIfNegative val="1"/>
            <c:bubble3D val="0"/>
            <c:spPr>
              <a:solidFill>
                <a:srgbClr val="AEABAB"/>
              </a:solidFill>
            </c:spPr>
            <c:extLst>
              <c:ext xmlns:c16="http://schemas.microsoft.com/office/drawing/2014/chart" uri="{C3380CC4-5D6E-409C-BE32-E72D297353CC}">
                <c16:uniqueId val="{00000309-FAF2-40A3-8A98-006EB2CA5507}"/>
              </c:ext>
            </c:extLst>
          </c:dPt>
          <c:dPt>
            <c:idx val="388"/>
            <c:invertIfNegative val="1"/>
            <c:bubble3D val="0"/>
            <c:spPr>
              <a:solidFill>
                <a:srgbClr val="AEABAB"/>
              </a:solidFill>
            </c:spPr>
            <c:extLst>
              <c:ext xmlns:c16="http://schemas.microsoft.com/office/drawing/2014/chart" uri="{C3380CC4-5D6E-409C-BE32-E72D297353CC}">
                <c16:uniqueId val="{0000030B-FAF2-40A3-8A98-006EB2CA5507}"/>
              </c:ext>
            </c:extLst>
          </c:dPt>
          <c:dPt>
            <c:idx val="389"/>
            <c:invertIfNegative val="1"/>
            <c:bubble3D val="0"/>
            <c:spPr>
              <a:solidFill>
                <a:srgbClr val="AEABAB"/>
              </a:solidFill>
            </c:spPr>
            <c:extLst>
              <c:ext xmlns:c16="http://schemas.microsoft.com/office/drawing/2014/chart" uri="{C3380CC4-5D6E-409C-BE32-E72D297353CC}">
                <c16:uniqueId val="{0000030D-FAF2-40A3-8A98-006EB2CA5507}"/>
              </c:ext>
            </c:extLst>
          </c:dPt>
          <c:dPt>
            <c:idx val="390"/>
            <c:invertIfNegative val="1"/>
            <c:bubble3D val="0"/>
            <c:spPr>
              <a:solidFill>
                <a:srgbClr val="AEABAB"/>
              </a:solidFill>
            </c:spPr>
            <c:extLst>
              <c:ext xmlns:c16="http://schemas.microsoft.com/office/drawing/2014/chart" uri="{C3380CC4-5D6E-409C-BE32-E72D297353CC}">
                <c16:uniqueId val="{0000030F-FAF2-40A3-8A98-006EB2CA5507}"/>
              </c:ext>
            </c:extLst>
          </c:dPt>
          <c:dPt>
            <c:idx val="391"/>
            <c:invertIfNegative val="1"/>
            <c:bubble3D val="0"/>
            <c:spPr>
              <a:solidFill>
                <a:srgbClr val="AEABAB"/>
              </a:solidFill>
            </c:spPr>
            <c:extLst>
              <c:ext xmlns:c16="http://schemas.microsoft.com/office/drawing/2014/chart" uri="{C3380CC4-5D6E-409C-BE32-E72D297353CC}">
                <c16:uniqueId val="{00000311-FAF2-40A3-8A98-006EB2CA5507}"/>
              </c:ext>
            </c:extLst>
          </c:dPt>
          <c:dPt>
            <c:idx val="392"/>
            <c:invertIfNegative val="1"/>
            <c:bubble3D val="0"/>
            <c:spPr>
              <a:solidFill>
                <a:srgbClr val="AEABAB"/>
              </a:solidFill>
            </c:spPr>
            <c:extLst>
              <c:ext xmlns:c16="http://schemas.microsoft.com/office/drawing/2014/chart" uri="{C3380CC4-5D6E-409C-BE32-E72D297353CC}">
                <c16:uniqueId val="{00000313-FAF2-40A3-8A98-006EB2CA5507}"/>
              </c:ext>
            </c:extLst>
          </c:dPt>
          <c:dPt>
            <c:idx val="393"/>
            <c:invertIfNegative val="1"/>
            <c:bubble3D val="0"/>
            <c:spPr>
              <a:solidFill>
                <a:srgbClr val="AEABAB"/>
              </a:solidFill>
            </c:spPr>
            <c:extLst>
              <c:ext xmlns:c16="http://schemas.microsoft.com/office/drawing/2014/chart" uri="{C3380CC4-5D6E-409C-BE32-E72D297353CC}">
                <c16:uniqueId val="{00000315-FAF2-40A3-8A98-006EB2CA5507}"/>
              </c:ext>
            </c:extLst>
          </c:dPt>
          <c:dPt>
            <c:idx val="394"/>
            <c:invertIfNegative val="1"/>
            <c:bubble3D val="0"/>
            <c:spPr>
              <a:solidFill>
                <a:srgbClr val="AEABAB"/>
              </a:solidFill>
            </c:spPr>
            <c:extLst>
              <c:ext xmlns:c16="http://schemas.microsoft.com/office/drawing/2014/chart" uri="{C3380CC4-5D6E-409C-BE32-E72D297353CC}">
                <c16:uniqueId val="{00000317-FAF2-40A3-8A98-006EB2CA5507}"/>
              </c:ext>
            </c:extLst>
          </c:dPt>
          <c:dPt>
            <c:idx val="395"/>
            <c:invertIfNegative val="1"/>
            <c:bubble3D val="0"/>
            <c:spPr>
              <a:solidFill>
                <a:srgbClr val="AEABAB"/>
              </a:solidFill>
            </c:spPr>
            <c:extLst>
              <c:ext xmlns:c16="http://schemas.microsoft.com/office/drawing/2014/chart" uri="{C3380CC4-5D6E-409C-BE32-E72D297353CC}">
                <c16:uniqueId val="{00000319-FAF2-40A3-8A98-006EB2CA5507}"/>
              </c:ext>
            </c:extLst>
          </c:dPt>
          <c:dPt>
            <c:idx val="396"/>
            <c:invertIfNegative val="1"/>
            <c:bubble3D val="0"/>
            <c:spPr>
              <a:solidFill>
                <a:srgbClr val="AEABAB"/>
              </a:solidFill>
            </c:spPr>
            <c:extLst>
              <c:ext xmlns:c16="http://schemas.microsoft.com/office/drawing/2014/chart" uri="{C3380CC4-5D6E-409C-BE32-E72D297353CC}">
                <c16:uniqueId val="{0000031B-FAF2-40A3-8A98-006EB2CA5507}"/>
              </c:ext>
            </c:extLst>
          </c:dPt>
          <c:dPt>
            <c:idx val="397"/>
            <c:invertIfNegative val="1"/>
            <c:bubble3D val="0"/>
            <c:spPr>
              <a:solidFill>
                <a:srgbClr val="AEABAB"/>
              </a:solidFill>
            </c:spPr>
            <c:extLst>
              <c:ext xmlns:c16="http://schemas.microsoft.com/office/drawing/2014/chart" uri="{C3380CC4-5D6E-409C-BE32-E72D297353CC}">
                <c16:uniqueId val="{0000031D-FAF2-40A3-8A98-006EB2CA5507}"/>
              </c:ext>
            </c:extLst>
          </c:dPt>
          <c:dPt>
            <c:idx val="398"/>
            <c:invertIfNegative val="1"/>
            <c:bubble3D val="0"/>
            <c:spPr>
              <a:solidFill>
                <a:srgbClr val="AEABAB"/>
              </a:solidFill>
            </c:spPr>
            <c:extLst>
              <c:ext xmlns:c16="http://schemas.microsoft.com/office/drawing/2014/chart" uri="{C3380CC4-5D6E-409C-BE32-E72D297353CC}">
                <c16:uniqueId val="{0000031F-FAF2-40A3-8A98-006EB2CA5507}"/>
              </c:ext>
            </c:extLst>
          </c:dPt>
          <c:dPt>
            <c:idx val="399"/>
            <c:invertIfNegative val="1"/>
            <c:bubble3D val="0"/>
            <c:spPr>
              <a:solidFill>
                <a:srgbClr val="AEABAB"/>
              </a:solidFill>
            </c:spPr>
            <c:extLst>
              <c:ext xmlns:c16="http://schemas.microsoft.com/office/drawing/2014/chart" uri="{C3380CC4-5D6E-409C-BE32-E72D297353CC}">
                <c16:uniqueId val="{00000321-FAF2-40A3-8A98-006EB2CA5507}"/>
              </c:ext>
            </c:extLst>
          </c:dPt>
          <c:dPt>
            <c:idx val="400"/>
            <c:invertIfNegative val="1"/>
            <c:bubble3D val="0"/>
            <c:spPr>
              <a:solidFill>
                <a:srgbClr val="AEABAB"/>
              </a:solidFill>
            </c:spPr>
            <c:extLst>
              <c:ext xmlns:c16="http://schemas.microsoft.com/office/drawing/2014/chart" uri="{C3380CC4-5D6E-409C-BE32-E72D297353CC}">
                <c16:uniqueId val="{00000323-FAF2-40A3-8A98-006EB2CA5507}"/>
              </c:ext>
            </c:extLst>
          </c:dPt>
          <c:dPt>
            <c:idx val="401"/>
            <c:invertIfNegative val="1"/>
            <c:bubble3D val="0"/>
            <c:spPr>
              <a:solidFill>
                <a:srgbClr val="AEABAB"/>
              </a:solidFill>
            </c:spPr>
            <c:extLst>
              <c:ext xmlns:c16="http://schemas.microsoft.com/office/drawing/2014/chart" uri="{C3380CC4-5D6E-409C-BE32-E72D297353CC}">
                <c16:uniqueId val="{00000325-FAF2-40A3-8A98-006EB2CA5507}"/>
              </c:ext>
            </c:extLst>
          </c:dPt>
          <c:dPt>
            <c:idx val="402"/>
            <c:invertIfNegative val="1"/>
            <c:bubble3D val="0"/>
            <c:spPr>
              <a:solidFill>
                <a:srgbClr val="AEABAB"/>
              </a:solidFill>
            </c:spPr>
            <c:extLst>
              <c:ext xmlns:c16="http://schemas.microsoft.com/office/drawing/2014/chart" uri="{C3380CC4-5D6E-409C-BE32-E72D297353CC}">
                <c16:uniqueId val="{00000327-FAF2-40A3-8A98-006EB2CA5507}"/>
              </c:ext>
            </c:extLst>
          </c:dPt>
          <c:dPt>
            <c:idx val="403"/>
            <c:invertIfNegative val="1"/>
            <c:bubble3D val="0"/>
            <c:spPr>
              <a:solidFill>
                <a:srgbClr val="AEABAB"/>
              </a:solidFill>
            </c:spPr>
            <c:extLst>
              <c:ext xmlns:c16="http://schemas.microsoft.com/office/drawing/2014/chart" uri="{C3380CC4-5D6E-409C-BE32-E72D297353CC}">
                <c16:uniqueId val="{00000329-FAF2-40A3-8A98-006EB2CA5507}"/>
              </c:ext>
            </c:extLst>
          </c:dPt>
          <c:dPt>
            <c:idx val="404"/>
            <c:invertIfNegative val="1"/>
            <c:bubble3D val="0"/>
            <c:spPr>
              <a:solidFill>
                <a:srgbClr val="AEABAB"/>
              </a:solidFill>
            </c:spPr>
            <c:extLst>
              <c:ext xmlns:c16="http://schemas.microsoft.com/office/drawing/2014/chart" uri="{C3380CC4-5D6E-409C-BE32-E72D297353CC}">
                <c16:uniqueId val="{0000032B-FAF2-40A3-8A98-006EB2CA5507}"/>
              </c:ext>
            </c:extLst>
          </c:dPt>
          <c:dPt>
            <c:idx val="405"/>
            <c:invertIfNegative val="1"/>
            <c:bubble3D val="0"/>
            <c:spPr>
              <a:solidFill>
                <a:srgbClr val="AEABAB"/>
              </a:solidFill>
            </c:spPr>
            <c:extLst>
              <c:ext xmlns:c16="http://schemas.microsoft.com/office/drawing/2014/chart" uri="{C3380CC4-5D6E-409C-BE32-E72D297353CC}">
                <c16:uniqueId val="{0000032D-FAF2-40A3-8A98-006EB2CA5507}"/>
              </c:ext>
            </c:extLst>
          </c:dPt>
          <c:dPt>
            <c:idx val="406"/>
            <c:invertIfNegative val="1"/>
            <c:bubble3D val="0"/>
            <c:spPr>
              <a:solidFill>
                <a:srgbClr val="AEABAB"/>
              </a:solidFill>
            </c:spPr>
            <c:extLst>
              <c:ext xmlns:c16="http://schemas.microsoft.com/office/drawing/2014/chart" uri="{C3380CC4-5D6E-409C-BE32-E72D297353CC}">
                <c16:uniqueId val="{0000032F-FAF2-40A3-8A98-006EB2CA5507}"/>
              </c:ext>
            </c:extLst>
          </c:dPt>
          <c:dPt>
            <c:idx val="407"/>
            <c:invertIfNegative val="1"/>
            <c:bubble3D val="0"/>
            <c:spPr>
              <a:solidFill>
                <a:srgbClr val="AEABAB"/>
              </a:solidFill>
            </c:spPr>
            <c:extLst>
              <c:ext xmlns:c16="http://schemas.microsoft.com/office/drawing/2014/chart" uri="{C3380CC4-5D6E-409C-BE32-E72D297353CC}">
                <c16:uniqueId val="{00000331-FAF2-40A3-8A98-006EB2CA5507}"/>
              </c:ext>
            </c:extLst>
          </c:dPt>
          <c:dPt>
            <c:idx val="408"/>
            <c:invertIfNegative val="1"/>
            <c:bubble3D val="0"/>
            <c:spPr>
              <a:solidFill>
                <a:srgbClr val="AEABAB"/>
              </a:solidFill>
            </c:spPr>
            <c:extLst>
              <c:ext xmlns:c16="http://schemas.microsoft.com/office/drawing/2014/chart" uri="{C3380CC4-5D6E-409C-BE32-E72D297353CC}">
                <c16:uniqueId val="{00000333-FAF2-40A3-8A98-006EB2CA5507}"/>
              </c:ext>
            </c:extLst>
          </c:dPt>
          <c:dPt>
            <c:idx val="409"/>
            <c:invertIfNegative val="1"/>
            <c:bubble3D val="0"/>
            <c:spPr>
              <a:solidFill>
                <a:srgbClr val="AEABAB"/>
              </a:solidFill>
            </c:spPr>
            <c:extLst>
              <c:ext xmlns:c16="http://schemas.microsoft.com/office/drawing/2014/chart" uri="{C3380CC4-5D6E-409C-BE32-E72D297353CC}">
                <c16:uniqueId val="{00000335-FAF2-40A3-8A98-006EB2CA5507}"/>
              </c:ext>
            </c:extLst>
          </c:dPt>
          <c:dPt>
            <c:idx val="410"/>
            <c:invertIfNegative val="1"/>
            <c:bubble3D val="0"/>
            <c:spPr>
              <a:solidFill>
                <a:srgbClr val="AEABAB"/>
              </a:solidFill>
            </c:spPr>
            <c:extLst>
              <c:ext xmlns:c16="http://schemas.microsoft.com/office/drawing/2014/chart" uri="{C3380CC4-5D6E-409C-BE32-E72D297353CC}">
                <c16:uniqueId val="{00000337-FAF2-40A3-8A98-006EB2CA5507}"/>
              </c:ext>
            </c:extLst>
          </c:dPt>
          <c:dPt>
            <c:idx val="411"/>
            <c:invertIfNegative val="1"/>
            <c:bubble3D val="0"/>
            <c:spPr>
              <a:solidFill>
                <a:srgbClr val="AEABAB"/>
              </a:solidFill>
            </c:spPr>
            <c:extLst>
              <c:ext xmlns:c16="http://schemas.microsoft.com/office/drawing/2014/chart" uri="{C3380CC4-5D6E-409C-BE32-E72D297353CC}">
                <c16:uniqueId val="{00000339-FAF2-40A3-8A98-006EB2CA5507}"/>
              </c:ext>
            </c:extLst>
          </c:dPt>
          <c:dPt>
            <c:idx val="412"/>
            <c:invertIfNegative val="1"/>
            <c:bubble3D val="0"/>
            <c:spPr>
              <a:solidFill>
                <a:srgbClr val="AEABAB"/>
              </a:solidFill>
            </c:spPr>
            <c:extLst>
              <c:ext xmlns:c16="http://schemas.microsoft.com/office/drawing/2014/chart" uri="{C3380CC4-5D6E-409C-BE32-E72D297353CC}">
                <c16:uniqueId val="{0000033B-FAF2-40A3-8A98-006EB2CA5507}"/>
              </c:ext>
            </c:extLst>
          </c:dPt>
          <c:dPt>
            <c:idx val="413"/>
            <c:invertIfNegative val="1"/>
            <c:bubble3D val="0"/>
            <c:spPr>
              <a:solidFill>
                <a:srgbClr val="AEABAB"/>
              </a:solidFill>
            </c:spPr>
            <c:extLst>
              <c:ext xmlns:c16="http://schemas.microsoft.com/office/drawing/2014/chart" uri="{C3380CC4-5D6E-409C-BE32-E72D297353CC}">
                <c16:uniqueId val="{0000033D-FAF2-40A3-8A98-006EB2CA5507}"/>
              </c:ext>
            </c:extLst>
          </c:dPt>
          <c:dPt>
            <c:idx val="414"/>
            <c:invertIfNegative val="1"/>
            <c:bubble3D val="0"/>
            <c:spPr>
              <a:solidFill>
                <a:srgbClr val="AEABAB"/>
              </a:solidFill>
            </c:spPr>
            <c:extLst>
              <c:ext xmlns:c16="http://schemas.microsoft.com/office/drawing/2014/chart" uri="{C3380CC4-5D6E-409C-BE32-E72D297353CC}">
                <c16:uniqueId val="{0000033F-FAF2-40A3-8A98-006EB2CA5507}"/>
              </c:ext>
            </c:extLst>
          </c:dPt>
          <c:dPt>
            <c:idx val="415"/>
            <c:invertIfNegative val="1"/>
            <c:bubble3D val="0"/>
            <c:spPr>
              <a:solidFill>
                <a:srgbClr val="AEABAB"/>
              </a:solidFill>
            </c:spPr>
            <c:extLst>
              <c:ext xmlns:c16="http://schemas.microsoft.com/office/drawing/2014/chart" uri="{C3380CC4-5D6E-409C-BE32-E72D297353CC}">
                <c16:uniqueId val="{00000341-FAF2-40A3-8A98-006EB2CA5507}"/>
              </c:ext>
            </c:extLst>
          </c:dPt>
          <c:dPt>
            <c:idx val="416"/>
            <c:invertIfNegative val="1"/>
            <c:bubble3D val="0"/>
            <c:spPr>
              <a:solidFill>
                <a:srgbClr val="AEABAB"/>
              </a:solidFill>
            </c:spPr>
            <c:extLst>
              <c:ext xmlns:c16="http://schemas.microsoft.com/office/drawing/2014/chart" uri="{C3380CC4-5D6E-409C-BE32-E72D297353CC}">
                <c16:uniqueId val="{00000343-FAF2-40A3-8A98-006EB2CA5507}"/>
              </c:ext>
            </c:extLst>
          </c:dPt>
          <c:dPt>
            <c:idx val="417"/>
            <c:invertIfNegative val="1"/>
            <c:bubble3D val="0"/>
            <c:spPr>
              <a:solidFill>
                <a:srgbClr val="AEABAB"/>
              </a:solidFill>
            </c:spPr>
            <c:extLst>
              <c:ext xmlns:c16="http://schemas.microsoft.com/office/drawing/2014/chart" uri="{C3380CC4-5D6E-409C-BE32-E72D297353CC}">
                <c16:uniqueId val="{00000345-FAF2-40A3-8A98-006EB2CA5507}"/>
              </c:ext>
            </c:extLst>
          </c:dPt>
          <c:dPt>
            <c:idx val="418"/>
            <c:invertIfNegative val="1"/>
            <c:bubble3D val="0"/>
            <c:spPr>
              <a:solidFill>
                <a:srgbClr val="AEABAB"/>
              </a:solidFill>
            </c:spPr>
            <c:extLst>
              <c:ext xmlns:c16="http://schemas.microsoft.com/office/drawing/2014/chart" uri="{C3380CC4-5D6E-409C-BE32-E72D297353CC}">
                <c16:uniqueId val="{00000347-FAF2-40A3-8A98-006EB2CA5507}"/>
              </c:ext>
            </c:extLst>
          </c:dPt>
          <c:dPt>
            <c:idx val="419"/>
            <c:invertIfNegative val="1"/>
            <c:bubble3D val="0"/>
            <c:spPr>
              <a:solidFill>
                <a:srgbClr val="AEABAB"/>
              </a:solidFill>
            </c:spPr>
            <c:extLst>
              <c:ext xmlns:c16="http://schemas.microsoft.com/office/drawing/2014/chart" uri="{C3380CC4-5D6E-409C-BE32-E72D297353CC}">
                <c16:uniqueId val="{00000349-FAF2-40A3-8A98-006EB2CA5507}"/>
              </c:ext>
            </c:extLst>
          </c:dPt>
          <c:dPt>
            <c:idx val="420"/>
            <c:invertIfNegative val="1"/>
            <c:bubble3D val="0"/>
            <c:spPr>
              <a:solidFill>
                <a:srgbClr val="AEABAB"/>
              </a:solidFill>
            </c:spPr>
            <c:extLst>
              <c:ext xmlns:c16="http://schemas.microsoft.com/office/drawing/2014/chart" uri="{C3380CC4-5D6E-409C-BE32-E72D297353CC}">
                <c16:uniqueId val="{0000034B-FAF2-40A3-8A98-006EB2CA5507}"/>
              </c:ext>
            </c:extLst>
          </c:dPt>
          <c:dPt>
            <c:idx val="421"/>
            <c:invertIfNegative val="1"/>
            <c:bubble3D val="0"/>
            <c:spPr>
              <a:solidFill>
                <a:srgbClr val="AEABAB"/>
              </a:solidFill>
            </c:spPr>
            <c:extLst>
              <c:ext xmlns:c16="http://schemas.microsoft.com/office/drawing/2014/chart" uri="{C3380CC4-5D6E-409C-BE32-E72D297353CC}">
                <c16:uniqueId val="{0000034D-FAF2-40A3-8A98-006EB2CA5507}"/>
              </c:ext>
            </c:extLst>
          </c:dPt>
          <c:dPt>
            <c:idx val="422"/>
            <c:invertIfNegative val="1"/>
            <c:bubble3D val="0"/>
            <c:spPr>
              <a:solidFill>
                <a:srgbClr val="AEABAB"/>
              </a:solidFill>
            </c:spPr>
            <c:extLst>
              <c:ext xmlns:c16="http://schemas.microsoft.com/office/drawing/2014/chart" uri="{C3380CC4-5D6E-409C-BE32-E72D297353CC}">
                <c16:uniqueId val="{0000034F-FAF2-40A3-8A98-006EB2CA5507}"/>
              </c:ext>
            </c:extLst>
          </c:dPt>
          <c:dPt>
            <c:idx val="423"/>
            <c:invertIfNegative val="1"/>
            <c:bubble3D val="0"/>
            <c:spPr>
              <a:solidFill>
                <a:srgbClr val="AEABAB"/>
              </a:solidFill>
            </c:spPr>
            <c:extLst>
              <c:ext xmlns:c16="http://schemas.microsoft.com/office/drawing/2014/chart" uri="{C3380CC4-5D6E-409C-BE32-E72D297353CC}">
                <c16:uniqueId val="{00000351-FAF2-40A3-8A98-006EB2CA5507}"/>
              </c:ext>
            </c:extLst>
          </c:dPt>
          <c:dPt>
            <c:idx val="424"/>
            <c:invertIfNegative val="1"/>
            <c:bubble3D val="0"/>
            <c:spPr>
              <a:solidFill>
                <a:srgbClr val="AEABAB"/>
              </a:solidFill>
            </c:spPr>
            <c:extLst>
              <c:ext xmlns:c16="http://schemas.microsoft.com/office/drawing/2014/chart" uri="{C3380CC4-5D6E-409C-BE32-E72D297353CC}">
                <c16:uniqueId val="{00000353-FAF2-40A3-8A98-006EB2CA5507}"/>
              </c:ext>
            </c:extLst>
          </c:dPt>
          <c:dPt>
            <c:idx val="425"/>
            <c:invertIfNegative val="1"/>
            <c:bubble3D val="0"/>
            <c:spPr>
              <a:solidFill>
                <a:srgbClr val="AEABAB"/>
              </a:solidFill>
            </c:spPr>
            <c:extLst>
              <c:ext xmlns:c16="http://schemas.microsoft.com/office/drawing/2014/chart" uri="{C3380CC4-5D6E-409C-BE32-E72D297353CC}">
                <c16:uniqueId val="{00000355-FAF2-40A3-8A98-006EB2CA5507}"/>
              </c:ext>
            </c:extLst>
          </c:dPt>
          <c:dPt>
            <c:idx val="426"/>
            <c:invertIfNegative val="1"/>
            <c:bubble3D val="0"/>
            <c:spPr>
              <a:solidFill>
                <a:srgbClr val="AEABAB"/>
              </a:solidFill>
            </c:spPr>
            <c:extLst>
              <c:ext xmlns:c16="http://schemas.microsoft.com/office/drawing/2014/chart" uri="{C3380CC4-5D6E-409C-BE32-E72D297353CC}">
                <c16:uniqueId val="{00000357-FAF2-40A3-8A98-006EB2CA5507}"/>
              </c:ext>
            </c:extLst>
          </c:dPt>
          <c:dPt>
            <c:idx val="427"/>
            <c:invertIfNegative val="1"/>
            <c:bubble3D val="0"/>
            <c:spPr>
              <a:solidFill>
                <a:srgbClr val="AEABAB"/>
              </a:solidFill>
            </c:spPr>
            <c:extLst>
              <c:ext xmlns:c16="http://schemas.microsoft.com/office/drawing/2014/chart" uri="{C3380CC4-5D6E-409C-BE32-E72D297353CC}">
                <c16:uniqueId val="{00000359-FAF2-40A3-8A98-006EB2CA5507}"/>
              </c:ext>
            </c:extLst>
          </c:dPt>
          <c:dPt>
            <c:idx val="428"/>
            <c:invertIfNegative val="1"/>
            <c:bubble3D val="0"/>
            <c:spPr>
              <a:solidFill>
                <a:srgbClr val="AEABAB"/>
              </a:solidFill>
            </c:spPr>
            <c:extLst>
              <c:ext xmlns:c16="http://schemas.microsoft.com/office/drawing/2014/chart" uri="{C3380CC4-5D6E-409C-BE32-E72D297353CC}">
                <c16:uniqueId val="{0000035B-FAF2-40A3-8A98-006EB2CA5507}"/>
              </c:ext>
            </c:extLst>
          </c:dPt>
          <c:dPt>
            <c:idx val="429"/>
            <c:invertIfNegative val="1"/>
            <c:bubble3D val="0"/>
            <c:spPr>
              <a:solidFill>
                <a:srgbClr val="AEABAB"/>
              </a:solidFill>
            </c:spPr>
            <c:extLst>
              <c:ext xmlns:c16="http://schemas.microsoft.com/office/drawing/2014/chart" uri="{C3380CC4-5D6E-409C-BE32-E72D297353CC}">
                <c16:uniqueId val="{0000035D-FAF2-40A3-8A98-006EB2CA5507}"/>
              </c:ext>
            </c:extLst>
          </c:dPt>
          <c:dPt>
            <c:idx val="430"/>
            <c:invertIfNegative val="1"/>
            <c:bubble3D val="0"/>
            <c:spPr>
              <a:solidFill>
                <a:srgbClr val="AEABAB"/>
              </a:solidFill>
            </c:spPr>
            <c:extLst>
              <c:ext xmlns:c16="http://schemas.microsoft.com/office/drawing/2014/chart" uri="{C3380CC4-5D6E-409C-BE32-E72D297353CC}">
                <c16:uniqueId val="{0000035F-FAF2-40A3-8A98-006EB2CA5507}"/>
              </c:ext>
            </c:extLst>
          </c:dPt>
          <c:dPt>
            <c:idx val="431"/>
            <c:invertIfNegative val="1"/>
            <c:bubble3D val="0"/>
            <c:spPr>
              <a:solidFill>
                <a:srgbClr val="AEABAB"/>
              </a:solidFill>
            </c:spPr>
            <c:extLst>
              <c:ext xmlns:c16="http://schemas.microsoft.com/office/drawing/2014/chart" uri="{C3380CC4-5D6E-409C-BE32-E72D297353CC}">
                <c16:uniqueId val="{00000361-FAF2-40A3-8A98-006EB2CA5507}"/>
              </c:ext>
            </c:extLst>
          </c:dPt>
          <c:dPt>
            <c:idx val="432"/>
            <c:invertIfNegative val="1"/>
            <c:bubble3D val="0"/>
            <c:spPr>
              <a:solidFill>
                <a:srgbClr val="AEABAB"/>
              </a:solidFill>
            </c:spPr>
            <c:extLst>
              <c:ext xmlns:c16="http://schemas.microsoft.com/office/drawing/2014/chart" uri="{C3380CC4-5D6E-409C-BE32-E72D297353CC}">
                <c16:uniqueId val="{00000363-FAF2-40A3-8A98-006EB2CA5507}"/>
              </c:ext>
            </c:extLst>
          </c:dPt>
          <c:dPt>
            <c:idx val="433"/>
            <c:invertIfNegative val="1"/>
            <c:bubble3D val="0"/>
            <c:spPr>
              <a:solidFill>
                <a:srgbClr val="AEABAB"/>
              </a:solidFill>
            </c:spPr>
            <c:extLst>
              <c:ext xmlns:c16="http://schemas.microsoft.com/office/drawing/2014/chart" uri="{C3380CC4-5D6E-409C-BE32-E72D297353CC}">
                <c16:uniqueId val="{00000365-FAF2-40A3-8A98-006EB2CA5507}"/>
              </c:ext>
            </c:extLst>
          </c:dPt>
          <c:dPt>
            <c:idx val="434"/>
            <c:invertIfNegative val="1"/>
            <c:bubble3D val="0"/>
            <c:spPr>
              <a:solidFill>
                <a:srgbClr val="AEABAB"/>
              </a:solidFill>
            </c:spPr>
            <c:extLst>
              <c:ext xmlns:c16="http://schemas.microsoft.com/office/drawing/2014/chart" uri="{C3380CC4-5D6E-409C-BE32-E72D297353CC}">
                <c16:uniqueId val="{00000367-FAF2-40A3-8A98-006EB2CA5507}"/>
              </c:ext>
            </c:extLst>
          </c:dPt>
          <c:dPt>
            <c:idx val="435"/>
            <c:invertIfNegative val="1"/>
            <c:bubble3D val="0"/>
            <c:spPr>
              <a:solidFill>
                <a:srgbClr val="AEABAB"/>
              </a:solidFill>
            </c:spPr>
            <c:extLst>
              <c:ext xmlns:c16="http://schemas.microsoft.com/office/drawing/2014/chart" uri="{C3380CC4-5D6E-409C-BE32-E72D297353CC}">
                <c16:uniqueId val="{00000369-FAF2-40A3-8A98-006EB2CA5507}"/>
              </c:ext>
            </c:extLst>
          </c:dPt>
          <c:dPt>
            <c:idx val="436"/>
            <c:invertIfNegative val="1"/>
            <c:bubble3D val="0"/>
            <c:spPr>
              <a:solidFill>
                <a:srgbClr val="AEABAB"/>
              </a:solidFill>
            </c:spPr>
            <c:extLst>
              <c:ext xmlns:c16="http://schemas.microsoft.com/office/drawing/2014/chart" uri="{C3380CC4-5D6E-409C-BE32-E72D297353CC}">
                <c16:uniqueId val="{0000036B-FAF2-40A3-8A98-006EB2CA5507}"/>
              </c:ext>
            </c:extLst>
          </c:dPt>
          <c:dPt>
            <c:idx val="437"/>
            <c:invertIfNegative val="1"/>
            <c:bubble3D val="0"/>
            <c:spPr>
              <a:solidFill>
                <a:srgbClr val="AEABAB"/>
              </a:solidFill>
            </c:spPr>
            <c:extLst>
              <c:ext xmlns:c16="http://schemas.microsoft.com/office/drawing/2014/chart" uri="{C3380CC4-5D6E-409C-BE32-E72D297353CC}">
                <c16:uniqueId val="{0000036D-FAF2-40A3-8A98-006EB2CA5507}"/>
              </c:ext>
            </c:extLst>
          </c:dPt>
          <c:dPt>
            <c:idx val="438"/>
            <c:invertIfNegative val="1"/>
            <c:bubble3D val="0"/>
            <c:spPr>
              <a:solidFill>
                <a:srgbClr val="AEABAB"/>
              </a:solidFill>
            </c:spPr>
            <c:extLst>
              <c:ext xmlns:c16="http://schemas.microsoft.com/office/drawing/2014/chart" uri="{C3380CC4-5D6E-409C-BE32-E72D297353CC}">
                <c16:uniqueId val="{0000036F-FAF2-40A3-8A98-006EB2CA5507}"/>
              </c:ext>
            </c:extLst>
          </c:dPt>
          <c:dPt>
            <c:idx val="439"/>
            <c:invertIfNegative val="1"/>
            <c:bubble3D val="0"/>
            <c:spPr>
              <a:solidFill>
                <a:srgbClr val="AEABAB"/>
              </a:solidFill>
            </c:spPr>
            <c:extLst>
              <c:ext xmlns:c16="http://schemas.microsoft.com/office/drawing/2014/chart" uri="{C3380CC4-5D6E-409C-BE32-E72D297353CC}">
                <c16:uniqueId val="{00000371-FAF2-40A3-8A98-006EB2CA5507}"/>
              </c:ext>
            </c:extLst>
          </c:dPt>
          <c:dPt>
            <c:idx val="440"/>
            <c:invertIfNegative val="1"/>
            <c:bubble3D val="0"/>
            <c:spPr>
              <a:solidFill>
                <a:srgbClr val="AEABAB"/>
              </a:solidFill>
            </c:spPr>
            <c:extLst>
              <c:ext xmlns:c16="http://schemas.microsoft.com/office/drawing/2014/chart" uri="{C3380CC4-5D6E-409C-BE32-E72D297353CC}">
                <c16:uniqueId val="{00000373-FAF2-40A3-8A98-006EB2CA5507}"/>
              </c:ext>
            </c:extLst>
          </c:dPt>
          <c:dPt>
            <c:idx val="441"/>
            <c:invertIfNegative val="1"/>
            <c:bubble3D val="0"/>
            <c:spPr>
              <a:solidFill>
                <a:srgbClr val="AEABAB"/>
              </a:solidFill>
            </c:spPr>
            <c:extLst>
              <c:ext xmlns:c16="http://schemas.microsoft.com/office/drawing/2014/chart" uri="{C3380CC4-5D6E-409C-BE32-E72D297353CC}">
                <c16:uniqueId val="{00000375-FAF2-40A3-8A98-006EB2CA5507}"/>
              </c:ext>
            </c:extLst>
          </c:dPt>
          <c:dPt>
            <c:idx val="442"/>
            <c:invertIfNegative val="1"/>
            <c:bubble3D val="0"/>
            <c:spPr>
              <a:solidFill>
                <a:srgbClr val="AEABAB"/>
              </a:solidFill>
            </c:spPr>
            <c:extLst>
              <c:ext xmlns:c16="http://schemas.microsoft.com/office/drawing/2014/chart" uri="{C3380CC4-5D6E-409C-BE32-E72D297353CC}">
                <c16:uniqueId val="{00000377-FAF2-40A3-8A98-006EB2CA5507}"/>
              </c:ext>
            </c:extLst>
          </c:dPt>
          <c:dPt>
            <c:idx val="443"/>
            <c:invertIfNegative val="1"/>
            <c:bubble3D val="0"/>
            <c:spPr>
              <a:solidFill>
                <a:srgbClr val="AEABAB"/>
              </a:solidFill>
            </c:spPr>
            <c:extLst>
              <c:ext xmlns:c16="http://schemas.microsoft.com/office/drawing/2014/chart" uri="{C3380CC4-5D6E-409C-BE32-E72D297353CC}">
                <c16:uniqueId val="{00000379-FAF2-40A3-8A98-006EB2CA5507}"/>
              </c:ext>
            </c:extLst>
          </c:dPt>
          <c:dPt>
            <c:idx val="444"/>
            <c:invertIfNegative val="1"/>
            <c:bubble3D val="0"/>
            <c:spPr>
              <a:solidFill>
                <a:srgbClr val="AEABAB"/>
              </a:solidFill>
            </c:spPr>
            <c:extLst>
              <c:ext xmlns:c16="http://schemas.microsoft.com/office/drawing/2014/chart" uri="{C3380CC4-5D6E-409C-BE32-E72D297353CC}">
                <c16:uniqueId val="{0000037B-FAF2-40A3-8A98-006EB2CA5507}"/>
              </c:ext>
            </c:extLst>
          </c:dPt>
          <c:dPt>
            <c:idx val="445"/>
            <c:invertIfNegative val="1"/>
            <c:bubble3D val="0"/>
            <c:spPr>
              <a:solidFill>
                <a:srgbClr val="AEABAB"/>
              </a:solidFill>
            </c:spPr>
            <c:extLst>
              <c:ext xmlns:c16="http://schemas.microsoft.com/office/drawing/2014/chart" uri="{C3380CC4-5D6E-409C-BE32-E72D297353CC}">
                <c16:uniqueId val="{0000037D-FAF2-40A3-8A98-006EB2CA5507}"/>
              </c:ext>
            </c:extLst>
          </c:dPt>
          <c:dPt>
            <c:idx val="446"/>
            <c:invertIfNegative val="1"/>
            <c:bubble3D val="0"/>
            <c:spPr>
              <a:solidFill>
                <a:srgbClr val="AEABAB"/>
              </a:solidFill>
            </c:spPr>
            <c:extLst>
              <c:ext xmlns:c16="http://schemas.microsoft.com/office/drawing/2014/chart" uri="{C3380CC4-5D6E-409C-BE32-E72D297353CC}">
                <c16:uniqueId val="{0000037F-FAF2-40A3-8A98-006EB2CA5507}"/>
              </c:ext>
            </c:extLst>
          </c:dPt>
          <c:dPt>
            <c:idx val="447"/>
            <c:invertIfNegative val="1"/>
            <c:bubble3D val="0"/>
            <c:spPr>
              <a:solidFill>
                <a:srgbClr val="AEABAB"/>
              </a:solidFill>
            </c:spPr>
            <c:extLst>
              <c:ext xmlns:c16="http://schemas.microsoft.com/office/drawing/2014/chart" uri="{C3380CC4-5D6E-409C-BE32-E72D297353CC}">
                <c16:uniqueId val="{00000381-FAF2-40A3-8A98-006EB2CA5507}"/>
              </c:ext>
            </c:extLst>
          </c:dPt>
          <c:dPt>
            <c:idx val="448"/>
            <c:invertIfNegative val="1"/>
            <c:bubble3D val="0"/>
            <c:spPr>
              <a:solidFill>
                <a:srgbClr val="AEABAB"/>
              </a:solidFill>
            </c:spPr>
            <c:extLst>
              <c:ext xmlns:c16="http://schemas.microsoft.com/office/drawing/2014/chart" uri="{C3380CC4-5D6E-409C-BE32-E72D297353CC}">
                <c16:uniqueId val="{00000383-FAF2-40A3-8A98-006EB2CA5507}"/>
              </c:ext>
            </c:extLst>
          </c:dPt>
          <c:dPt>
            <c:idx val="449"/>
            <c:invertIfNegative val="1"/>
            <c:bubble3D val="0"/>
            <c:spPr>
              <a:solidFill>
                <a:srgbClr val="AEABAB"/>
              </a:solidFill>
            </c:spPr>
            <c:extLst>
              <c:ext xmlns:c16="http://schemas.microsoft.com/office/drawing/2014/chart" uri="{C3380CC4-5D6E-409C-BE32-E72D297353CC}">
                <c16:uniqueId val="{00000385-FAF2-40A3-8A98-006EB2CA5507}"/>
              </c:ext>
            </c:extLst>
          </c:dPt>
          <c:dPt>
            <c:idx val="450"/>
            <c:invertIfNegative val="1"/>
            <c:bubble3D val="0"/>
            <c:spPr>
              <a:solidFill>
                <a:srgbClr val="AEABAB"/>
              </a:solidFill>
            </c:spPr>
            <c:extLst>
              <c:ext xmlns:c16="http://schemas.microsoft.com/office/drawing/2014/chart" uri="{C3380CC4-5D6E-409C-BE32-E72D297353CC}">
                <c16:uniqueId val="{00000387-FAF2-40A3-8A98-006EB2CA5507}"/>
              </c:ext>
            </c:extLst>
          </c:dPt>
          <c:dPt>
            <c:idx val="451"/>
            <c:invertIfNegative val="1"/>
            <c:bubble3D val="0"/>
            <c:spPr>
              <a:solidFill>
                <a:srgbClr val="AEABAB"/>
              </a:solidFill>
            </c:spPr>
            <c:extLst>
              <c:ext xmlns:c16="http://schemas.microsoft.com/office/drawing/2014/chart" uri="{C3380CC4-5D6E-409C-BE32-E72D297353CC}">
                <c16:uniqueId val="{00000389-FAF2-40A3-8A98-006EB2CA5507}"/>
              </c:ext>
            </c:extLst>
          </c:dPt>
          <c:dPt>
            <c:idx val="452"/>
            <c:invertIfNegative val="1"/>
            <c:bubble3D val="0"/>
            <c:spPr>
              <a:solidFill>
                <a:srgbClr val="AEABAB"/>
              </a:solidFill>
            </c:spPr>
            <c:extLst>
              <c:ext xmlns:c16="http://schemas.microsoft.com/office/drawing/2014/chart" uri="{C3380CC4-5D6E-409C-BE32-E72D297353CC}">
                <c16:uniqueId val="{0000038B-FAF2-40A3-8A98-006EB2CA5507}"/>
              </c:ext>
            </c:extLst>
          </c:dPt>
          <c:dPt>
            <c:idx val="453"/>
            <c:invertIfNegative val="1"/>
            <c:bubble3D val="0"/>
            <c:spPr>
              <a:solidFill>
                <a:srgbClr val="AEABAB"/>
              </a:solidFill>
            </c:spPr>
            <c:extLst>
              <c:ext xmlns:c16="http://schemas.microsoft.com/office/drawing/2014/chart" uri="{C3380CC4-5D6E-409C-BE32-E72D297353CC}">
                <c16:uniqueId val="{0000038D-FAF2-40A3-8A98-006EB2CA5507}"/>
              </c:ext>
            </c:extLst>
          </c:dPt>
          <c:dPt>
            <c:idx val="454"/>
            <c:invertIfNegative val="1"/>
            <c:bubble3D val="0"/>
            <c:spPr>
              <a:solidFill>
                <a:srgbClr val="AEABAB"/>
              </a:solidFill>
            </c:spPr>
            <c:extLst>
              <c:ext xmlns:c16="http://schemas.microsoft.com/office/drawing/2014/chart" uri="{C3380CC4-5D6E-409C-BE32-E72D297353CC}">
                <c16:uniqueId val="{0000038F-FAF2-40A3-8A98-006EB2CA5507}"/>
              </c:ext>
            </c:extLst>
          </c:dPt>
          <c:dPt>
            <c:idx val="455"/>
            <c:invertIfNegative val="1"/>
            <c:bubble3D val="0"/>
            <c:spPr>
              <a:solidFill>
                <a:srgbClr val="AEABAB"/>
              </a:solidFill>
            </c:spPr>
            <c:extLst>
              <c:ext xmlns:c16="http://schemas.microsoft.com/office/drawing/2014/chart" uri="{C3380CC4-5D6E-409C-BE32-E72D297353CC}">
                <c16:uniqueId val="{00000391-FAF2-40A3-8A98-006EB2CA5507}"/>
              </c:ext>
            </c:extLst>
          </c:dPt>
          <c:dPt>
            <c:idx val="456"/>
            <c:invertIfNegative val="1"/>
            <c:bubble3D val="0"/>
            <c:spPr>
              <a:solidFill>
                <a:srgbClr val="AEABAB"/>
              </a:solidFill>
            </c:spPr>
            <c:extLst>
              <c:ext xmlns:c16="http://schemas.microsoft.com/office/drawing/2014/chart" uri="{C3380CC4-5D6E-409C-BE32-E72D297353CC}">
                <c16:uniqueId val="{00000393-FAF2-40A3-8A98-006EB2CA5507}"/>
              </c:ext>
            </c:extLst>
          </c:dPt>
          <c:dPt>
            <c:idx val="457"/>
            <c:invertIfNegative val="1"/>
            <c:bubble3D val="0"/>
            <c:spPr>
              <a:solidFill>
                <a:srgbClr val="AEABAB"/>
              </a:solidFill>
            </c:spPr>
            <c:extLst>
              <c:ext xmlns:c16="http://schemas.microsoft.com/office/drawing/2014/chart" uri="{C3380CC4-5D6E-409C-BE32-E72D297353CC}">
                <c16:uniqueId val="{00000395-FAF2-40A3-8A98-006EB2CA5507}"/>
              </c:ext>
            </c:extLst>
          </c:dPt>
          <c:dPt>
            <c:idx val="458"/>
            <c:invertIfNegative val="1"/>
            <c:bubble3D val="0"/>
            <c:spPr>
              <a:solidFill>
                <a:srgbClr val="AEABAB"/>
              </a:solidFill>
            </c:spPr>
            <c:extLst>
              <c:ext xmlns:c16="http://schemas.microsoft.com/office/drawing/2014/chart" uri="{C3380CC4-5D6E-409C-BE32-E72D297353CC}">
                <c16:uniqueId val="{00000397-FAF2-40A3-8A98-006EB2CA5507}"/>
              </c:ext>
            </c:extLst>
          </c:dPt>
          <c:dPt>
            <c:idx val="459"/>
            <c:invertIfNegative val="1"/>
            <c:bubble3D val="0"/>
            <c:spPr>
              <a:solidFill>
                <a:srgbClr val="AEABAB"/>
              </a:solidFill>
            </c:spPr>
            <c:extLst>
              <c:ext xmlns:c16="http://schemas.microsoft.com/office/drawing/2014/chart" uri="{C3380CC4-5D6E-409C-BE32-E72D297353CC}">
                <c16:uniqueId val="{00000399-FAF2-40A3-8A98-006EB2CA5507}"/>
              </c:ext>
            </c:extLst>
          </c:dPt>
          <c:dPt>
            <c:idx val="460"/>
            <c:invertIfNegative val="1"/>
            <c:bubble3D val="0"/>
            <c:spPr>
              <a:solidFill>
                <a:srgbClr val="AEABAB"/>
              </a:solidFill>
            </c:spPr>
            <c:extLst>
              <c:ext xmlns:c16="http://schemas.microsoft.com/office/drawing/2014/chart" uri="{C3380CC4-5D6E-409C-BE32-E72D297353CC}">
                <c16:uniqueId val="{0000039B-FAF2-40A3-8A98-006EB2CA5507}"/>
              </c:ext>
            </c:extLst>
          </c:dPt>
          <c:dPt>
            <c:idx val="461"/>
            <c:invertIfNegative val="1"/>
            <c:bubble3D val="0"/>
            <c:spPr>
              <a:solidFill>
                <a:srgbClr val="AEABAB"/>
              </a:solidFill>
            </c:spPr>
            <c:extLst>
              <c:ext xmlns:c16="http://schemas.microsoft.com/office/drawing/2014/chart" uri="{C3380CC4-5D6E-409C-BE32-E72D297353CC}">
                <c16:uniqueId val="{0000039D-FAF2-40A3-8A98-006EB2CA5507}"/>
              </c:ext>
            </c:extLst>
          </c:dPt>
          <c:dPt>
            <c:idx val="462"/>
            <c:invertIfNegative val="1"/>
            <c:bubble3D val="0"/>
            <c:spPr>
              <a:solidFill>
                <a:srgbClr val="AEABAB"/>
              </a:solidFill>
            </c:spPr>
            <c:extLst>
              <c:ext xmlns:c16="http://schemas.microsoft.com/office/drawing/2014/chart" uri="{C3380CC4-5D6E-409C-BE32-E72D297353CC}">
                <c16:uniqueId val="{0000039F-FAF2-40A3-8A98-006EB2CA5507}"/>
              </c:ext>
            </c:extLst>
          </c:dPt>
          <c:dPt>
            <c:idx val="463"/>
            <c:invertIfNegative val="1"/>
            <c:bubble3D val="0"/>
            <c:spPr>
              <a:solidFill>
                <a:srgbClr val="AEABAB"/>
              </a:solidFill>
            </c:spPr>
            <c:extLst>
              <c:ext xmlns:c16="http://schemas.microsoft.com/office/drawing/2014/chart" uri="{C3380CC4-5D6E-409C-BE32-E72D297353CC}">
                <c16:uniqueId val="{000003A1-FAF2-40A3-8A98-006EB2CA5507}"/>
              </c:ext>
            </c:extLst>
          </c:dPt>
          <c:dPt>
            <c:idx val="464"/>
            <c:invertIfNegative val="1"/>
            <c:bubble3D val="0"/>
            <c:spPr>
              <a:solidFill>
                <a:srgbClr val="AEABAB"/>
              </a:solidFill>
            </c:spPr>
            <c:extLst>
              <c:ext xmlns:c16="http://schemas.microsoft.com/office/drawing/2014/chart" uri="{C3380CC4-5D6E-409C-BE32-E72D297353CC}">
                <c16:uniqueId val="{000003A3-FAF2-40A3-8A98-006EB2CA5507}"/>
              </c:ext>
            </c:extLst>
          </c:dPt>
          <c:dPt>
            <c:idx val="465"/>
            <c:invertIfNegative val="1"/>
            <c:bubble3D val="0"/>
            <c:spPr>
              <a:solidFill>
                <a:srgbClr val="AEABAB"/>
              </a:solidFill>
            </c:spPr>
            <c:extLst>
              <c:ext xmlns:c16="http://schemas.microsoft.com/office/drawing/2014/chart" uri="{C3380CC4-5D6E-409C-BE32-E72D297353CC}">
                <c16:uniqueId val="{000003A5-FAF2-40A3-8A98-006EB2CA5507}"/>
              </c:ext>
            </c:extLst>
          </c:dPt>
          <c:dPt>
            <c:idx val="466"/>
            <c:invertIfNegative val="1"/>
            <c:bubble3D val="0"/>
            <c:spPr>
              <a:solidFill>
                <a:srgbClr val="AEABAB"/>
              </a:solidFill>
            </c:spPr>
            <c:extLst>
              <c:ext xmlns:c16="http://schemas.microsoft.com/office/drawing/2014/chart" uri="{C3380CC4-5D6E-409C-BE32-E72D297353CC}">
                <c16:uniqueId val="{000003A7-FAF2-40A3-8A98-006EB2CA5507}"/>
              </c:ext>
            </c:extLst>
          </c:dPt>
          <c:dPt>
            <c:idx val="467"/>
            <c:invertIfNegative val="1"/>
            <c:bubble3D val="0"/>
            <c:spPr>
              <a:solidFill>
                <a:srgbClr val="AEABAB"/>
              </a:solidFill>
            </c:spPr>
            <c:extLst>
              <c:ext xmlns:c16="http://schemas.microsoft.com/office/drawing/2014/chart" uri="{C3380CC4-5D6E-409C-BE32-E72D297353CC}">
                <c16:uniqueId val="{000003A9-FAF2-40A3-8A98-006EB2CA5507}"/>
              </c:ext>
            </c:extLst>
          </c:dPt>
          <c:dPt>
            <c:idx val="468"/>
            <c:invertIfNegative val="1"/>
            <c:bubble3D val="0"/>
            <c:spPr>
              <a:solidFill>
                <a:srgbClr val="AEABAB"/>
              </a:solidFill>
            </c:spPr>
            <c:extLst>
              <c:ext xmlns:c16="http://schemas.microsoft.com/office/drawing/2014/chart" uri="{C3380CC4-5D6E-409C-BE32-E72D297353CC}">
                <c16:uniqueId val="{000003AB-FAF2-40A3-8A98-006EB2CA5507}"/>
              </c:ext>
            </c:extLst>
          </c:dPt>
          <c:dPt>
            <c:idx val="469"/>
            <c:invertIfNegative val="1"/>
            <c:bubble3D val="0"/>
            <c:spPr>
              <a:solidFill>
                <a:srgbClr val="AEABAB"/>
              </a:solidFill>
            </c:spPr>
            <c:extLst>
              <c:ext xmlns:c16="http://schemas.microsoft.com/office/drawing/2014/chart" uri="{C3380CC4-5D6E-409C-BE32-E72D297353CC}">
                <c16:uniqueId val="{000003AD-FAF2-40A3-8A98-006EB2CA5507}"/>
              </c:ext>
            </c:extLst>
          </c:dPt>
          <c:dPt>
            <c:idx val="470"/>
            <c:invertIfNegative val="1"/>
            <c:bubble3D val="0"/>
            <c:spPr>
              <a:solidFill>
                <a:srgbClr val="AEABAB"/>
              </a:solidFill>
            </c:spPr>
            <c:extLst>
              <c:ext xmlns:c16="http://schemas.microsoft.com/office/drawing/2014/chart" uri="{C3380CC4-5D6E-409C-BE32-E72D297353CC}">
                <c16:uniqueId val="{000003AF-FAF2-40A3-8A98-006EB2CA5507}"/>
              </c:ext>
            </c:extLst>
          </c:dPt>
          <c:dPt>
            <c:idx val="471"/>
            <c:invertIfNegative val="1"/>
            <c:bubble3D val="0"/>
            <c:spPr>
              <a:solidFill>
                <a:srgbClr val="AEABAB"/>
              </a:solidFill>
            </c:spPr>
            <c:extLst>
              <c:ext xmlns:c16="http://schemas.microsoft.com/office/drawing/2014/chart" uri="{C3380CC4-5D6E-409C-BE32-E72D297353CC}">
                <c16:uniqueId val="{000003B1-FAF2-40A3-8A98-006EB2CA5507}"/>
              </c:ext>
            </c:extLst>
          </c:dPt>
          <c:dPt>
            <c:idx val="472"/>
            <c:invertIfNegative val="1"/>
            <c:bubble3D val="0"/>
            <c:spPr>
              <a:solidFill>
                <a:srgbClr val="AEABAB"/>
              </a:solidFill>
            </c:spPr>
            <c:extLst>
              <c:ext xmlns:c16="http://schemas.microsoft.com/office/drawing/2014/chart" uri="{C3380CC4-5D6E-409C-BE32-E72D297353CC}">
                <c16:uniqueId val="{000003B3-FAF2-40A3-8A98-006EB2CA5507}"/>
              </c:ext>
            </c:extLst>
          </c:dPt>
          <c:dPt>
            <c:idx val="473"/>
            <c:invertIfNegative val="1"/>
            <c:bubble3D val="0"/>
            <c:spPr>
              <a:solidFill>
                <a:srgbClr val="AEABAB"/>
              </a:solidFill>
            </c:spPr>
            <c:extLst>
              <c:ext xmlns:c16="http://schemas.microsoft.com/office/drawing/2014/chart" uri="{C3380CC4-5D6E-409C-BE32-E72D297353CC}">
                <c16:uniqueId val="{000003B5-FAF2-40A3-8A98-006EB2CA5507}"/>
              </c:ext>
            </c:extLst>
          </c:dPt>
          <c:dPt>
            <c:idx val="474"/>
            <c:invertIfNegative val="1"/>
            <c:bubble3D val="0"/>
            <c:spPr>
              <a:solidFill>
                <a:srgbClr val="AEABAB"/>
              </a:solidFill>
            </c:spPr>
            <c:extLst>
              <c:ext xmlns:c16="http://schemas.microsoft.com/office/drawing/2014/chart" uri="{C3380CC4-5D6E-409C-BE32-E72D297353CC}">
                <c16:uniqueId val="{000003B7-FAF2-40A3-8A98-006EB2CA5507}"/>
              </c:ext>
            </c:extLst>
          </c:dPt>
          <c:dPt>
            <c:idx val="475"/>
            <c:invertIfNegative val="1"/>
            <c:bubble3D val="0"/>
            <c:spPr>
              <a:solidFill>
                <a:srgbClr val="AEABAB"/>
              </a:solidFill>
            </c:spPr>
            <c:extLst>
              <c:ext xmlns:c16="http://schemas.microsoft.com/office/drawing/2014/chart" uri="{C3380CC4-5D6E-409C-BE32-E72D297353CC}">
                <c16:uniqueId val="{000003B9-FAF2-40A3-8A98-006EB2CA5507}"/>
              </c:ext>
            </c:extLst>
          </c:dPt>
          <c:dPt>
            <c:idx val="476"/>
            <c:invertIfNegative val="1"/>
            <c:bubble3D val="0"/>
            <c:spPr>
              <a:solidFill>
                <a:srgbClr val="AEABAB"/>
              </a:solidFill>
            </c:spPr>
            <c:extLst>
              <c:ext xmlns:c16="http://schemas.microsoft.com/office/drawing/2014/chart" uri="{C3380CC4-5D6E-409C-BE32-E72D297353CC}">
                <c16:uniqueId val="{000003BB-FAF2-40A3-8A98-006EB2CA5507}"/>
              </c:ext>
            </c:extLst>
          </c:dPt>
          <c:dPt>
            <c:idx val="477"/>
            <c:invertIfNegative val="1"/>
            <c:bubble3D val="0"/>
            <c:spPr>
              <a:solidFill>
                <a:srgbClr val="AEABAB"/>
              </a:solidFill>
            </c:spPr>
            <c:extLst>
              <c:ext xmlns:c16="http://schemas.microsoft.com/office/drawing/2014/chart" uri="{C3380CC4-5D6E-409C-BE32-E72D297353CC}">
                <c16:uniqueId val="{000003BD-FAF2-40A3-8A98-006EB2CA5507}"/>
              </c:ext>
            </c:extLst>
          </c:dPt>
          <c:dPt>
            <c:idx val="478"/>
            <c:invertIfNegative val="1"/>
            <c:bubble3D val="0"/>
            <c:spPr>
              <a:solidFill>
                <a:srgbClr val="AEABAB"/>
              </a:solidFill>
            </c:spPr>
            <c:extLst>
              <c:ext xmlns:c16="http://schemas.microsoft.com/office/drawing/2014/chart" uri="{C3380CC4-5D6E-409C-BE32-E72D297353CC}">
                <c16:uniqueId val="{000003BF-FAF2-40A3-8A98-006EB2CA5507}"/>
              </c:ext>
            </c:extLst>
          </c:dPt>
          <c:dPt>
            <c:idx val="479"/>
            <c:invertIfNegative val="1"/>
            <c:bubble3D val="0"/>
            <c:spPr>
              <a:solidFill>
                <a:srgbClr val="AEABAB"/>
              </a:solidFill>
            </c:spPr>
            <c:extLst>
              <c:ext xmlns:c16="http://schemas.microsoft.com/office/drawing/2014/chart" uri="{C3380CC4-5D6E-409C-BE32-E72D297353CC}">
                <c16:uniqueId val="{000003C1-FAF2-40A3-8A98-006EB2CA5507}"/>
              </c:ext>
            </c:extLst>
          </c:dPt>
          <c:dPt>
            <c:idx val="480"/>
            <c:invertIfNegative val="1"/>
            <c:bubble3D val="0"/>
            <c:spPr>
              <a:solidFill>
                <a:srgbClr val="AEABAB"/>
              </a:solidFill>
            </c:spPr>
            <c:extLst>
              <c:ext xmlns:c16="http://schemas.microsoft.com/office/drawing/2014/chart" uri="{C3380CC4-5D6E-409C-BE32-E72D297353CC}">
                <c16:uniqueId val="{000003C3-FAF2-40A3-8A98-006EB2CA5507}"/>
              </c:ext>
            </c:extLst>
          </c:dPt>
          <c:dPt>
            <c:idx val="481"/>
            <c:invertIfNegative val="1"/>
            <c:bubble3D val="0"/>
            <c:spPr>
              <a:solidFill>
                <a:srgbClr val="AEABAB"/>
              </a:solidFill>
            </c:spPr>
            <c:extLst>
              <c:ext xmlns:c16="http://schemas.microsoft.com/office/drawing/2014/chart" uri="{C3380CC4-5D6E-409C-BE32-E72D297353CC}">
                <c16:uniqueId val="{000003C5-FAF2-40A3-8A98-006EB2CA5507}"/>
              </c:ext>
            </c:extLst>
          </c:dPt>
          <c:dPt>
            <c:idx val="482"/>
            <c:invertIfNegative val="1"/>
            <c:bubble3D val="0"/>
            <c:spPr>
              <a:solidFill>
                <a:srgbClr val="AEABAB"/>
              </a:solidFill>
            </c:spPr>
            <c:extLst>
              <c:ext xmlns:c16="http://schemas.microsoft.com/office/drawing/2014/chart" uri="{C3380CC4-5D6E-409C-BE32-E72D297353CC}">
                <c16:uniqueId val="{000003C7-FAF2-40A3-8A98-006EB2CA5507}"/>
              </c:ext>
            </c:extLst>
          </c:dPt>
          <c:dPt>
            <c:idx val="483"/>
            <c:invertIfNegative val="1"/>
            <c:bubble3D val="0"/>
            <c:spPr>
              <a:solidFill>
                <a:srgbClr val="AEABAB"/>
              </a:solidFill>
            </c:spPr>
            <c:extLst>
              <c:ext xmlns:c16="http://schemas.microsoft.com/office/drawing/2014/chart" uri="{C3380CC4-5D6E-409C-BE32-E72D297353CC}">
                <c16:uniqueId val="{000003C9-FAF2-40A3-8A98-006EB2CA5507}"/>
              </c:ext>
            </c:extLst>
          </c:dPt>
          <c:dPt>
            <c:idx val="484"/>
            <c:invertIfNegative val="1"/>
            <c:bubble3D val="0"/>
            <c:spPr>
              <a:solidFill>
                <a:srgbClr val="AEABAB"/>
              </a:solidFill>
            </c:spPr>
            <c:extLst>
              <c:ext xmlns:c16="http://schemas.microsoft.com/office/drawing/2014/chart" uri="{C3380CC4-5D6E-409C-BE32-E72D297353CC}">
                <c16:uniqueId val="{000003CB-FAF2-40A3-8A98-006EB2CA5507}"/>
              </c:ext>
            </c:extLst>
          </c:dPt>
          <c:dPt>
            <c:idx val="485"/>
            <c:invertIfNegative val="1"/>
            <c:bubble3D val="0"/>
            <c:spPr>
              <a:solidFill>
                <a:srgbClr val="AEABAB"/>
              </a:solidFill>
            </c:spPr>
            <c:extLst>
              <c:ext xmlns:c16="http://schemas.microsoft.com/office/drawing/2014/chart" uri="{C3380CC4-5D6E-409C-BE32-E72D297353CC}">
                <c16:uniqueId val="{000003CD-FAF2-40A3-8A98-006EB2CA5507}"/>
              </c:ext>
            </c:extLst>
          </c:dPt>
          <c:dPt>
            <c:idx val="486"/>
            <c:invertIfNegative val="1"/>
            <c:bubble3D val="0"/>
            <c:spPr>
              <a:solidFill>
                <a:srgbClr val="AEABAB"/>
              </a:solidFill>
            </c:spPr>
            <c:extLst>
              <c:ext xmlns:c16="http://schemas.microsoft.com/office/drawing/2014/chart" uri="{C3380CC4-5D6E-409C-BE32-E72D297353CC}">
                <c16:uniqueId val="{000003CF-FAF2-40A3-8A98-006EB2CA5507}"/>
              </c:ext>
            </c:extLst>
          </c:dPt>
          <c:dPt>
            <c:idx val="487"/>
            <c:invertIfNegative val="1"/>
            <c:bubble3D val="0"/>
            <c:spPr>
              <a:solidFill>
                <a:srgbClr val="AEABAB"/>
              </a:solidFill>
            </c:spPr>
            <c:extLst>
              <c:ext xmlns:c16="http://schemas.microsoft.com/office/drawing/2014/chart" uri="{C3380CC4-5D6E-409C-BE32-E72D297353CC}">
                <c16:uniqueId val="{000003D1-FAF2-40A3-8A98-006EB2CA5507}"/>
              </c:ext>
            </c:extLst>
          </c:dPt>
          <c:dPt>
            <c:idx val="488"/>
            <c:invertIfNegative val="1"/>
            <c:bubble3D val="0"/>
            <c:spPr>
              <a:solidFill>
                <a:srgbClr val="AEABAB"/>
              </a:solidFill>
            </c:spPr>
            <c:extLst>
              <c:ext xmlns:c16="http://schemas.microsoft.com/office/drawing/2014/chart" uri="{C3380CC4-5D6E-409C-BE32-E72D297353CC}">
                <c16:uniqueId val="{000003D3-FAF2-40A3-8A98-006EB2CA5507}"/>
              </c:ext>
            </c:extLst>
          </c:dPt>
          <c:dPt>
            <c:idx val="489"/>
            <c:invertIfNegative val="1"/>
            <c:bubble3D val="0"/>
            <c:spPr>
              <a:solidFill>
                <a:srgbClr val="AEABAB"/>
              </a:solidFill>
            </c:spPr>
            <c:extLst>
              <c:ext xmlns:c16="http://schemas.microsoft.com/office/drawing/2014/chart" uri="{C3380CC4-5D6E-409C-BE32-E72D297353CC}">
                <c16:uniqueId val="{000003D5-FAF2-40A3-8A98-006EB2CA5507}"/>
              </c:ext>
            </c:extLst>
          </c:dPt>
          <c:dPt>
            <c:idx val="490"/>
            <c:invertIfNegative val="1"/>
            <c:bubble3D val="0"/>
            <c:spPr>
              <a:solidFill>
                <a:srgbClr val="AEABAB"/>
              </a:solidFill>
            </c:spPr>
            <c:extLst>
              <c:ext xmlns:c16="http://schemas.microsoft.com/office/drawing/2014/chart" uri="{C3380CC4-5D6E-409C-BE32-E72D297353CC}">
                <c16:uniqueId val="{000003D7-FAF2-40A3-8A98-006EB2CA5507}"/>
              </c:ext>
            </c:extLst>
          </c:dPt>
          <c:dPt>
            <c:idx val="491"/>
            <c:invertIfNegative val="1"/>
            <c:bubble3D val="0"/>
            <c:spPr>
              <a:solidFill>
                <a:srgbClr val="AEABAB"/>
              </a:solidFill>
            </c:spPr>
            <c:extLst>
              <c:ext xmlns:c16="http://schemas.microsoft.com/office/drawing/2014/chart" uri="{C3380CC4-5D6E-409C-BE32-E72D297353CC}">
                <c16:uniqueId val="{000003D9-FAF2-40A3-8A98-006EB2CA5507}"/>
              </c:ext>
            </c:extLst>
          </c:dPt>
          <c:dPt>
            <c:idx val="492"/>
            <c:invertIfNegative val="1"/>
            <c:bubble3D val="0"/>
            <c:spPr>
              <a:solidFill>
                <a:srgbClr val="AEABAB"/>
              </a:solidFill>
            </c:spPr>
            <c:extLst>
              <c:ext xmlns:c16="http://schemas.microsoft.com/office/drawing/2014/chart" uri="{C3380CC4-5D6E-409C-BE32-E72D297353CC}">
                <c16:uniqueId val="{000003DB-FAF2-40A3-8A98-006EB2CA5507}"/>
              </c:ext>
            </c:extLst>
          </c:dPt>
          <c:dPt>
            <c:idx val="493"/>
            <c:invertIfNegative val="1"/>
            <c:bubble3D val="0"/>
            <c:spPr>
              <a:solidFill>
                <a:srgbClr val="AEABAB"/>
              </a:solidFill>
            </c:spPr>
            <c:extLst>
              <c:ext xmlns:c16="http://schemas.microsoft.com/office/drawing/2014/chart" uri="{C3380CC4-5D6E-409C-BE32-E72D297353CC}">
                <c16:uniqueId val="{000003DD-FAF2-40A3-8A98-006EB2CA5507}"/>
              </c:ext>
            </c:extLst>
          </c:dPt>
          <c:dPt>
            <c:idx val="494"/>
            <c:invertIfNegative val="1"/>
            <c:bubble3D val="0"/>
            <c:spPr>
              <a:solidFill>
                <a:srgbClr val="AEABAB"/>
              </a:solidFill>
            </c:spPr>
            <c:extLst>
              <c:ext xmlns:c16="http://schemas.microsoft.com/office/drawing/2014/chart" uri="{C3380CC4-5D6E-409C-BE32-E72D297353CC}">
                <c16:uniqueId val="{000003DF-FAF2-40A3-8A98-006EB2CA5507}"/>
              </c:ext>
            </c:extLst>
          </c:dPt>
          <c:dPt>
            <c:idx val="495"/>
            <c:invertIfNegative val="1"/>
            <c:bubble3D val="0"/>
            <c:spPr>
              <a:solidFill>
                <a:srgbClr val="AEABAB"/>
              </a:solidFill>
            </c:spPr>
            <c:extLst>
              <c:ext xmlns:c16="http://schemas.microsoft.com/office/drawing/2014/chart" uri="{C3380CC4-5D6E-409C-BE32-E72D297353CC}">
                <c16:uniqueId val="{000003E1-FAF2-40A3-8A98-006EB2CA5507}"/>
              </c:ext>
            </c:extLst>
          </c:dPt>
          <c:dPt>
            <c:idx val="496"/>
            <c:invertIfNegative val="1"/>
            <c:bubble3D val="0"/>
            <c:spPr>
              <a:solidFill>
                <a:srgbClr val="AEABAB"/>
              </a:solidFill>
            </c:spPr>
            <c:extLst>
              <c:ext xmlns:c16="http://schemas.microsoft.com/office/drawing/2014/chart" uri="{C3380CC4-5D6E-409C-BE32-E72D297353CC}">
                <c16:uniqueId val="{000003E3-FAF2-40A3-8A98-006EB2CA5507}"/>
              </c:ext>
            </c:extLst>
          </c:dPt>
          <c:dPt>
            <c:idx val="497"/>
            <c:invertIfNegative val="1"/>
            <c:bubble3D val="0"/>
            <c:spPr>
              <a:solidFill>
                <a:srgbClr val="AEABAB"/>
              </a:solidFill>
            </c:spPr>
            <c:extLst>
              <c:ext xmlns:c16="http://schemas.microsoft.com/office/drawing/2014/chart" uri="{C3380CC4-5D6E-409C-BE32-E72D297353CC}">
                <c16:uniqueId val="{000003E5-FAF2-40A3-8A98-006EB2CA5507}"/>
              </c:ext>
            </c:extLst>
          </c:dPt>
          <c:dPt>
            <c:idx val="498"/>
            <c:invertIfNegative val="1"/>
            <c:bubble3D val="0"/>
            <c:spPr>
              <a:solidFill>
                <a:srgbClr val="AEABAB"/>
              </a:solidFill>
            </c:spPr>
            <c:extLst>
              <c:ext xmlns:c16="http://schemas.microsoft.com/office/drawing/2014/chart" uri="{C3380CC4-5D6E-409C-BE32-E72D297353CC}">
                <c16:uniqueId val="{000003E7-FAF2-40A3-8A98-006EB2CA5507}"/>
              </c:ext>
            </c:extLst>
          </c:dPt>
          <c:dPt>
            <c:idx val="499"/>
            <c:invertIfNegative val="1"/>
            <c:bubble3D val="0"/>
            <c:spPr>
              <a:solidFill>
                <a:srgbClr val="AEABAB"/>
              </a:solidFill>
            </c:spPr>
            <c:extLst>
              <c:ext xmlns:c16="http://schemas.microsoft.com/office/drawing/2014/chart" uri="{C3380CC4-5D6E-409C-BE32-E72D297353CC}">
                <c16:uniqueId val="{000003E9-FAF2-40A3-8A98-006EB2CA5507}"/>
              </c:ext>
            </c:extLst>
          </c:dPt>
          <c:dPt>
            <c:idx val="500"/>
            <c:invertIfNegative val="1"/>
            <c:bubble3D val="0"/>
            <c:spPr>
              <a:solidFill>
                <a:srgbClr val="AEABAB"/>
              </a:solidFill>
            </c:spPr>
            <c:extLst>
              <c:ext xmlns:c16="http://schemas.microsoft.com/office/drawing/2014/chart" uri="{C3380CC4-5D6E-409C-BE32-E72D297353CC}">
                <c16:uniqueId val="{000003EB-FAF2-40A3-8A98-006EB2CA5507}"/>
              </c:ext>
            </c:extLst>
          </c:dPt>
          <c:dPt>
            <c:idx val="501"/>
            <c:invertIfNegative val="1"/>
            <c:bubble3D val="0"/>
            <c:spPr>
              <a:solidFill>
                <a:srgbClr val="AEABAB"/>
              </a:solidFill>
            </c:spPr>
            <c:extLst>
              <c:ext xmlns:c16="http://schemas.microsoft.com/office/drawing/2014/chart" uri="{C3380CC4-5D6E-409C-BE32-E72D297353CC}">
                <c16:uniqueId val="{000003ED-FAF2-40A3-8A98-006EB2CA5507}"/>
              </c:ext>
            </c:extLst>
          </c:dPt>
          <c:dPt>
            <c:idx val="502"/>
            <c:invertIfNegative val="1"/>
            <c:bubble3D val="0"/>
            <c:spPr>
              <a:solidFill>
                <a:srgbClr val="AEABAB"/>
              </a:solidFill>
            </c:spPr>
            <c:extLst>
              <c:ext xmlns:c16="http://schemas.microsoft.com/office/drawing/2014/chart" uri="{C3380CC4-5D6E-409C-BE32-E72D297353CC}">
                <c16:uniqueId val="{000003EF-FAF2-40A3-8A98-006EB2CA5507}"/>
              </c:ext>
            </c:extLst>
          </c:dPt>
          <c:dPt>
            <c:idx val="503"/>
            <c:invertIfNegative val="1"/>
            <c:bubble3D val="0"/>
            <c:spPr>
              <a:solidFill>
                <a:srgbClr val="AEABAB"/>
              </a:solidFill>
            </c:spPr>
            <c:extLst>
              <c:ext xmlns:c16="http://schemas.microsoft.com/office/drawing/2014/chart" uri="{C3380CC4-5D6E-409C-BE32-E72D297353CC}">
                <c16:uniqueId val="{000003F1-FAF2-40A3-8A98-006EB2CA5507}"/>
              </c:ext>
            </c:extLst>
          </c:dPt>
          <c:dPt>
            <c:idx val="504"/>
            <c:invertIfNegative val="1"/>
            <c:bubble3D val="0"/>
            <c:spPr>
              <a:solidFill>
                <a:srgbClr val="AEABAB"/>
              </a:solidFill>
            </c:spPr>
            <c:extLst>
              <c:ext xmlns:c16="http://schemas.microsoft.com/office/drawing/2014/chart" uri="{C3380CC4-5D6E-409C-BE32-E72D297353CC}">
                <c16:uniqueId val="{000003F3-FAF2-40A3-8A98-006EB2CA5507}"/>
              </c:ext>
            </c:extLst>
          </c:dPt>
          <c:dPt>
            <c:idx val="505"/>
            <c:invertIfNegative val="1"/>
            <c:bubble3D val="0"/>
            <c:spPr>
              <a:solidFill>
                <a:srgbClr val="AEABAB"/>
              </a:solidFill>
            </c:spPr>
            <c:extLst>
              <c:ext xmlns:c16="http://schemas.microsoft.com/office/drawing/2014/chart" uri="{C3380CC4-5D6E-409C-BE32-E72D297353CC}">
                <c16:uniqueId val="{000003F5-FAF2-40A3-8A98-006EB2CA5507}"/>
              </c:ext>
            </c:extLst>
          </c:dPt>
          <c:dPt>
            <c:idx val="506"/>
            <c:invertIfNegative val="1"/>
            <c:bubble3D val="0"/>
            <c:spPr>
              <a:solidFill>
                <a:srgbClr val="AEABAB"/>
              </a:solidFill>
            </c:spPr>
            <c:extLst>
              <c:ext xmlns:c16="http://schemas.microsoft.com/office/drawing/2014/chart" uri="{C3380CC4-5D6E-409C-BE32-E72D297353CC}">
                <c16:uniqueId val="{000003F7-FAF2-40A3-8A98-006EB2CA5507}"/>
              </c:ext>
            </c:extLst>
          </c:dPt>
          <c:dPt>
            <c:idx val="507"/>
            <c:invertIfNegative val="1"/>
            <c:bubble3D val="0"/>
            <c:spPr>
              <a:solidFill>
                <a:srgbClr val="AEABAB"/>
              </a:solidFill>
            </c:spPr>
            <c:extLst>
              <c:ext xmlns:c16="http://schemas.microsoft.com/office/drawing/2014/chart" uri="{C3380CC4-5D6E-409C-BE32-E72D297353CC}">
                <c16:uniqueId val="{000003F9-FAF2-40A3-8A98-006EB2CA5507}"/>
              </c:ext>
            </c:extLst>
          </c:dPt>
          <c:dPt>
            <c:idx val="508"/>
            <c:invertIfNegative val="1"/>
            <c:bubble3D val="0"/>
            <c:spPr>
              <a:solidFill>
                <a:srgbClr val="AEABAB"/>
              </a:solidFill>
            </c:spPr>
            <c:extLst>
              <c:ext xmlns:c16="http://schemas.microsoft.com/office/drawing/2014/chart" uri="{C3380CC4-5D6E-409C-BE32-E72D297353CC}">
                <c16:uniqueId val="{000003FB-FAF2-40A3-8A98-006EB2CA5507}"/>
              </c:ext>
            </c:extLst>
          </c:dPt>
          <c:dPt>
            <c:idx val="509"/>
            <c:invertIfNegative val="1"/>
            <c:bubble3D val="0"/>
            <c:spPr>
              <a:solidFill>
                <a:srgbClr val="AEABAB"/>
              </a:solidFill>
            </c:spPr>
            <c:extLst>
              <c:ext xmlns:c16="http://schemas.microsoft.com/office/drawing/2014/chart" uri="{C3380CC4-5D6E-409C-BE32-E72D297353CC}">
                <c16:uniqueId val="{000003FD-FAF2-40A3-8A98-006EB2CA5507}"/>
              </c:ext>
            </c:extLst>
          </c:dPt>
          <c:dPt>
            <c:idx val="510"/>
            <c:invertIfNegative val="1"/>
            <c:bubble3D val="0"/>
            <c:spPr>
              <a:solidFill>
                <a:srgbClr val="AEABAB"/>
              </a:solidFill>
            </c:spPr>
            <c:extLst>
              <c:ext xmlns:c16="http://schemas.microsoft.com/office/drawing/2014/chart" uri="{C3380CC4-5D6E-409C-BE32-E72D297353CC}">
                <c16:uniqueId val="{000003FF-FAF2-40A3-8A98-006EB2CA5507}"/>
              </c:ext>
            </c:extLst>
          </c:dPt>
          <c:dPt>
            <c:idx val="511"/>
            <c:invertIfNegative val="1"/>
            <c:bubble3D val="0"/>
            <c:spPr>
              <a:solidFill>
                <a:srgbClr val="AEABAB"/>
              </a:solidFill>
            </c:spPr>
            <c:extLst>
              <c:ext xmlns:c16="http://schemas.microsoft.com/office/drawing/2014/chart" uri="{C3380CC4-5D6E-409C-BE32-E72D297353CC}">
                <c16:uniqueId val="{00000401-FAF2-40A3-8A98-006EB2CA5507}"/>
              </c:ext>
            </c:extLst>
          </c:dPt>
          <c:dPt>
            <c:idx val="512"/>
            <c:invertIfNegative val="1"/>
            <c:bubble3D val="0"/>
            <c:spPr>
              <a:solidFill>
                <a:srgbClr val="AEABAB"/>
              </a:solidFill>
            </c:spPr>
            <c:extLst>
              <c:ext xmlns:c16="http://schemas.microsoft.com/office/drawing/2014/chart" uri="{C3380CC4-5D6E-409C-BE32-E72D297353CC}">
                <c16:uniqueId val="{00000403-FAF2-40A3-8A98-006EB2CA5507}"/>
              </c:ext>
            </c:extLst>
          </c:dPt>
          <c:dPt>
            <c:idx val="513"/>
            <c:invertIfNegative val="1"/>
            <c:bubble3D val="0"/>
            <c:spPr>
              <a:solidFill>
                <a:srgbClr val="AEABAB"/>
              </a:solidFill>
            </c:spPr>
            <c:extLst>
              <c:ext xmlns:c16="http://schemas.microsoft.com/office/drawing/2014/chart" uri="{C3380CC4-5D6E-409C-BE32-E72D297353CC}">
                <c16:uniqueId val="{00000405-FAF2-40A3-8A98-006EB2CA5507}"/>
              </c:ext>
            </c:extLst>
          </c:dPt>
          <c:dPt>
            <c:idx val="514"/>
            <c:invertIfNegative val="1"/>
            <c:bubble3D val="0"/>
            <c:spPr>
              <a:solidFill>
                <a:srgbClr val="AEABAB"/>
              </a:solidFill>
            </c:spPr>
            <c:extLst>
              <c:ext xmlns:c16="http://schemas.microsoft.com/office/drawing/2014/chart" uri="{C3380CC4-5D6E-409C-BE32-E72D297353CC}">
                <c16:uniqueId val="{00000407-FAF2-40A3-8A98-006EB2CA5507}"/>
              </c:ext>
            </c:extLst>
          </c:dPt>
          <c:dPt>
            <c:idx val="515"/>
            <c:invertIfNegative val="1"/>
            <c:bubble3D val="0"/>
            <c:spPr>
              <a:solidFill>
                <a:srgbClr val="AEABAB"/>
              </a:solidFill>
            </c:spPr>
            <c:extLst>
              <c:ext xmlns:c16="http://schemas.microsoft.com/office/drawing/2014/chart" uri="{C3380CC4-5D6E-409C-BE32-E72D297353CC}">
                <c16:uniqueId val="{00000409-FAF2-40A3-8A98-006EB2CA5507}"/>
              </c:ext>
            </c:extLst>
          </c:dPt>
          <c:dPt>
            <c:idx val="516"/>
            <c:invertIfNegative val="1"/>
            <c:bubble3D val="0"/>
            <c:spPr>
              <a:solidFill>
                <a:srgbClr val="AEABAB"/>
              </a:solidFill>
            </c:spPr>
            <c:extLst>
              <c:ext xmlns:c16="http://schemas.microsoft.com/office/drawing/2014/chart" uri="{C3380CC4-5D6E-409C-BE32-E72D297353CC}">
                <c16:uniqueId val="{0000040B-FAF2-40A3-8A98-006EB2CA5507}"/>
              </c:ext>
            </c:extLst>
          </c:dPt>
          <c:dPt>
            <c:idx val="517"/>
            <c:invertIfNegative val="1"/>
            <c:bubble3D val="0"/>
            <c:spPr>
              <a:solidFill>
                <a:srgbClr val="AEABAB"/>
              </a:solidFill>
            </c:spPr>
            <c:extLst>
              <c:ext xmlns:c16="http://schemas.microsoft.com/office/drawing/2014/chart" uri="{C3380CC4-5D6E-409C-BE32-E72D297353CC}">
                <c16:uniqueId val="{0000040D-FAF2-40A3-8A98-006EB2CA5507}"/>
              </c:ext>
            </c:extLst>
          </c:dPt>
          <c:dPt>
            <c:idx val="518"/>
            <c:invertIfNegative val="1"/>
            <c:bubble3D val="0"/>
            <c:spPr>
              <a:solidFill>
                <a:srgbClr val="AEABAB"/>
              </a:solidFill>
            </c:spPr>
            <c:extLst>
              <c:ext xmlns:c16="http://schemas.microsoft.com/office/drawing/2014/chart" uri="{C3380CC4-5D6E-409C-BE32-E72D297353CC}">
                <c16:uniqueId val="{0000040F-FAF2-40A3-8A98-006EB2CA5507}"/>
              </c:ext>
            </c:extLst>
          </c:dPt>
          <c:dPt>
            <c:idx val="519"/>
            <c:invertIfNegative val="1"/>
            <c:bubble3D val="0"/>
            <c:spPr>
              <a:solidFill>
                <a:srgbClr val="AEABAB"/>
              </a:solidFill>
            </c:spPr>
            <c:extLst>
              <c:ext xmlns:c16="http://schemas.microsoft.com/office/drawing/2014/chart" uri="{C3380CC4-5D6E-409C-BE32-E72D297353CC}">
                <c16:uniqueId val="{00000411-FAF2-40A3-8A98-006EB2CA5507}"/>
              </c:ext>
            </c:extLst>
          </c:dPt>
          <c:dPt>
            <c:idx val="520"/>
            <c:invertIfNegative val="1"/>
            <c:bubble3D val="0"/>
            <c:spPr>
              <a:solidFill>
                <a:srgbClr val="AEABAB"/>
              </a:solidFill>
            </c:spPr>
            <c:extLst>
              <c:ext xmlns:c16="http://schemas.microsoft.com/office/drawing/2014/chart" uri="{C3380CC4-5D6E-409C-BE32-E72D297353CC}">
                <c16:uniqueId val="{00000413-FAF2-40A3-8A98-006EB2CA5507}"/>
              </c:ext>
            </c:extLst>
          </c:dPt>
          <c:dPt>
            <c:idx val="521"/>
            <c:invertIfNegative val="1"/>
            <c:bubble3D val="0"/>
            <c:spPr>
              <a:solidFill>
                <a:srgbClr val="AEABAB"/>
              </a:solidFill>
            </c:spPr>
            <c:extLst>
              <c:ext xmlns:c16="http://schemas.microsoft.com/office/drawing/2014/chart" uri="{C3380CC4-5D6E-409C-BE32-E72D297353CC}">
                <c16:uniqueId val="{00000415-FAF2-40A3-8A98-006EB2CA5507}"/>
              </c:ext>
            </c:extLst>
          </c:dPt>
          <c:dPt>
            <c:idx val="522"/>
            <c:invertIfNegative val="1"/>
            <c:bubble3D val="0"/>
            <c:spPr>
              <a:solidFill>
                <a:srgbClr val="AEABAB"/>
              </a:solidFill>
            </c:spPr>
            <c:extLst>
              <c:ext xmlns:c16="http://schemas.microsoft.com/office/drawing/2014/chart" uri="{C3380CC4-5D6E-409C-BE32-E72D297353CC}">
                <c16:uniqueId val="{00000417-FAF2-40A3-8A98-006EB2CA5507}"/>
              </c:ext>
            </c:extLst>
          </c:dPt>
          <c:dPt>
            <c:idx val="523"/>
            <c:invertIfNegative val="1"/>
            <c:bubble3D val="0"/>
            <c:spPr>
              <a:solidFill>
                <a:srgbClr val="AEABAB"/>
              </a:solidFill>
            </c:spPr>
            <c:extLst>
              <c:ext xmlns:c16="http://schemas.microsoft.com/office/drawing/2014/chart" uri="{C3380CC4-5D6E-409C-BE32-E72D297353CC}">
                <c16:uniqueId val="{00000419-FAF2-40A3-8A98-006EB2CA5507}"/>
              </c:ext>
            </c:extLst>
          </c:dPt>
          <c:dPt>
            <c:idx val="524"/>
            <c:invertIfNegative val="1"/>
            <c:bubble3D val="0"/>
            <c:spPr>
              <a:solidFill>
                <a:srgbClr val="AEABAB"/>
              </a:solidFill>
            </c:spPr>
            <c:extLst>
              <c:ext xmlns:c16="http://schemas.microsoft.com/office/drawing/2014/chart" uri="{C3380CC4-5D6E-409C-BE32-E72D297353CC}">
                <c16:uniqueId val="{0000041B-FAF2-40A3-8A98-006EB2CA5507}"/>
              </c:ext>
            </c:extLst>
          </c:dPt>
          <c:dPt>
            <c:idx val="525"/>
            <c:invertIfNegative val="1"/>
            <c:bubble3D val="0"/>
            <c:spPr>
              <a:solidFill>
                <a:srgbClr val="AEABAB"/>
              </a:solidFill>
            </c:spPr>
            <c:extLst>
              <c:ext xmlns:c16="http://schemas.microsoft.com/office/drawing/2014/chart" uri="{C3380CC4-5D6E-409C-BE32-E72D297353CC}">
                <c16:uniqueId val="{0000041D-FAF2-40A3-8A98-006EB2CA5507}"/>
              </c:ext>
            </c:extLst>
          </c:dPt>
          <c:dPt>
            <c:idx val="526"/>
            <c:invertIfNegative val="1"/>
            <c:bubble3D val="0"/>
            <c:spPr>
              <a:solidFill>
                <a:srgbClr val="AEABAB"/>
              </a:solidFill>
            </c:spPr>
            <c:extLst>
              <c:ext xmlns:c16="http://schemas.microsoft.com/office/drawing/2014/chart" uri="{C3380CC4-5D6E-409C-BE32-E72D297353CC}">
                <c16:uniqueId val="{0000041F-FAF2-40A3-8A98-006EB2CA5507}"/>
              </c:ext>
            </c:extLst>
          </c:dPt>
          <c:dPt>
            <c:idx val="527"/>
            <c:invertIfNegative val="1"/>
            <c:bubble3D val="0"/>
            <c:spPr>
              <a:solidFill>
                <a:srgbClr val="AEABAB"/>
              </a:solidFill>
            </c:spPr>
            <c:extLst>
              <c:ext xmlns:c16="http://schemas.microsoft.com/office/drawing/2014/chart" uri="{C3380CC4-5D6E-409C-BE32-E72D297353CC}">
                <c16:uniqueId val="{00000421-FAF2-40A3-8A98-006EB2CA5507}"/>
              </c:ext>
            </c:extLst>
          </c:dPt>
          <c:dPt>
            <c:idx val="528"/>
            <c:invertIfNegative val="1"/>
            <c:bubble3D val="0"/>
            <c:spPr>
              <a:solidFill>
                <a:srgbClr val="AEABAB"/>
              </a:solidFill>
            </c:spPr>
            <c:extLst>
              <c:ext xmlns:c16="http://schemas.microsoft.com/office/drawing/2014/chart" uri="{C3380CC4-5D6E-409C-BE32-E72D297353CC}">
                <c16:uniqueId val="{00000423-FAF2-40A3-8A98-006EB2CA5507}"/>
              </c:ext>
            </c:extLst>
          </c:dPt>
          <c:dPt>
            <c:idx val="529"/>
            <c:invertIfNegative val="1"/>
            <c:bubble3D val="0"/>
            <c:spPr>
              <a:solidFill>
                <a:srgbClr val="AEABAB"/>
              </a:solidFill>
            </c:spPr>
            <c:extLst>
              <c:ext xmlns:c16="http://schemas.microsoft.com/office/drawing/2014/chart" uri="{C3380CC4-5D6E-409C-BE32-E72D297353CC}">
                <c16:uniqueId val="{00000425-FAF2-40A3-8A98-006EB2CA5507}"/>
              </c:ext>
            </c:extLst>
          </c:dPt>
          <c:dPt>
            <c:idx val="530"/>
            <c:invertIfNegative val="1"/>
            <c:bubble3D val="0"/>
            <c:spPr>
              <a:solidFill>
                <a:srgbClr val="AEABAB"/>
              </a:solidFill>
            </c:spPr>
            <c:extLst>
              <c:ext xmlns:c16="http://schemas.microsoft.com/office/drawing/2014/chart" uri="{C3380CC4-5D6E-409C-BE32-E72D297353CC}">
                <c16:uniqueId val="{00000427-FAF2-40A3-8A98-006EB2CA5507}"/>
              </c:ext>
            </c:extLst>
          </c:dPt>
          <c:dPt>
            <c:idx val="531"/>
            <c:invertIfNegative val="1"/>
            <c:bubble3D val="0"/>
            <c:spPr>
              <a:solidFill>
                <a:srgbClr val="AEABAB"/>
              </a:solidFill>
            </c:spPr>
            <c:extLst>
              <c:ext xmlns:c16="http://schemas.microsoft.com/office/drawing/2014/chart" uri="{C3380CC4-5D6E-409C-BE32-E72D297353CC}">
                <c16:uniqueId val="{00000429-FAF2-40A3-8A98-006EB2CA5507}"/>
              </c:ext>
            </c:extLst>
          </c:dPt>
          <c:dPt>
            <c:idx val="532"/>
            <c:invertIfNegative val="1"/>
            <c:bubble3D val="0"/>
            <c:spPr>
              <a:solidFill>
                <a:srgbClr val="AEABAB"/>
              </a:solidFill>
            </c:spPr>
            <c:extLst>
              <c:ext xmlns:c16="http://schemas.microsoft.com/office/drawing/2014/chart" uri="{C3380CC4-5D6E-409C-BE32-E72D297353CC}">
                <c16:uniqueId val="{0000042B-FAF2-40A3-8A98-006EB2CA5507}"/>
              </c:ext>
            </c:extLst>
          </c:dPt>
          <c:dPt>
            <c:idx val="533"/>
            <c:invertIfNegative val="1"/>
            <c:bubble3D val="0"/>
            <c:spPr>
              <a:solidFill>
                <a:srgbClr val="AEABAB"/>
              </a:solidFill>
            </c:spPr>
            <c:extLst>
              <c:ext xmlns:c16="http://schemas.microsoft.com/office/drawing/2014/chart" uri="{C3380CC4-5D6E-409C-BE32-E72D297353CC}">
                <c16:uniqueId val="{0000042D-FAF2-40A3-8A98-006EB2CA5507}"/>
              </c:ext>
            </c:extLst>
          </c:dPt>
          <c:dPt>
            <c:idx val="534"/>
            <c:invertIfNegative val="1"/>
            <c:bubble3D val="0"/>
            <c:spPr>
              <a:solidFill>
                <a:srgbClr val="AEABAB"/>
              </a:solidFill>
            </c:spPr>
            <c:extLst>
              <c:ext xmlns:c16="http://schemas.microsoft.com/office/drawing/2014/chart" uri="{C3380CC4-5D6E-409C-BE32-E72D297353CC}">
                <c16:uniqueId val="{0000042F-FAF2-40A3-8A98-006EB2CA5507}"/>
              </c:ext>
            </c:extLst>
          </c:dPt>
          <c:dPt>
            <c:idx val="535"/>
            <c:invertIfNegative val="1"/>
            <c:bubble3D val="0"/>
            <c:spPr>
              <a:solidFill>
                <a:srgbClr val="AEABAB"/>
              </a:solidFill>
            </c:spPr>
            <c:extLst>
              <c:ext xmlns:c16="http://schemas.microsoft.com/office/drawing/2014/chart" uri="{C3380CC4-5D6E-409C-BE32-E72D297353CC}">
                <c16:uniqueId val="{00000431-FAF2-40A3-8A98-006EB2CA5507}"/>
              </c:ext>
            </c:extLst>
          </c:dPt>
          <c:dPt>
            <c:idx val="536"/>
            <c:invertIfNegative val="1"/>
            <c:bubble3D val="0"/>
            <c:spPr>
              <a:solidFill>
                <a:srgbClr val="AEABAB"/>
              </a:solidFill>
            </c:spPr>
            <c:extLst>
              <c:ext xmlns:c16="http://schemas.microsoft.com/office/drawing/2014/chart" uri="{C3380CC4-5D6E-409C-BE32-E72D297353CC}">
                <c16:uniqueId val="{00000433-FAF2-40A3-8A98-006EB2CA5507}"/>
              </c:ext>
            </c:extLst>
          </c:dPt>
          <c:dPt>
            <c:idx val="537"/>
            <c:invertIfNegative val="1"/>
            <c:bubble3D val="0"/>
            <c:spPr>
              <a:solidFill>
                <a:srgbClr val="AEABAB"/>
              </a:solidFill>
            </c:spPr>
            <c:extLst>
              <c:ext xmlns:c16="http://schemas.microsoft.com/office/drawing/2014/chart" uri="{C3380CC4-5D6E-409C-BE32-E72D297353CC}">
                <c16:uniqueId val="{00000435-FAF2-40A3-8A98-006EB2CA5507}"/>
              </c:ext>
            </c:extLst>
          </c:dPt>
          <c:dPt>
            <c:idx val="538"/>
            <c:invertIfNegative val="1"/>
            <c:bubble3D val="0"/>
            <c:spPr>
              <a:solidFill>
                <a:srgbClr val="AEABAB"/>
              </a:solidFill>
            </c:spPr>
            <c:extLst>
              <c:ext xmlns:c16="http://schemas.microsoft.com/office/drawing/2014/chart" uri="{C3380CC4-5D6E-409C-BE32-E72D297353CC}">
                <c16:uniqueId val="{00000437-FAF2-40A3-8A98-006EB2CA5507}"/>
              </c:ext>
            </c:extLst>
          </c:dPt>
          <c:dPt>
            <c:idx val="539"/>
            <c:invertIfNegative val="1"/>
            <c:bubble3D val="0"/>
            <c:spPr>
              <a:solidFill>
                <a:srgbClr val="AEABAB"/>
              </a:solidFill>
            </c:spPr>
            <c:extLst>
              <c:ext xmlns:c16="http://schemas.microsoft.com/office/drawing/2014/chart" uri="{C3380CC4-5D6E-409C-BE32-E72D297353CC}">
                <c16:uniqueId val="{00000439-FAF2-40A3-8A98-006EB2CA5507}"/>
              </c:ext>
            </c:extLst>
          </c:dPt>
          <c:dPt>
            <c:idx val="540"/>
            <c:invertIfNegative val="1"/>
            <c:bubble3D val="0"/>
            <c:spPr>
              <a:solidFill>
                <a:srgbClr val="AEABAB"/>
              </a:solidFill>
            </c:spPr>
            <c:extLst>
              <c:ext xmlns:c16="http://schemas.microsoft.com/office/drawing/2014/chart" uri="{C3380CC4-5D6E-409C-BE32-E72D297353CC}">
                <c16:uniqueId val="{0000043B-FAF2-40A3-8A98-006EB2CA5507}"/>
              </c:ext>
            </c:extLst>
          </c:dPt>
          <c:dPt>
            <c:idx val="541"/>
            <c:invertIfNegative val="1"/>
            <c:bubble3D val="0"/>
            <c:spPr>
              <a:solidFill>
                <a:srgbClr val="AEABAB"/>
              </a:solidFill>
            </c:spPr>
            <c:extLst>
              <c:ext xmlns:c16="http://schemas.microsoft.com/office/drawing/2014/chart" uri="{C3380CC4-5D6E-409C-BE32-E72D297353CC}">
                <c16:uniqueId val="{0000043D-FAF2-40A3-8A98-006EB2CA5507}"/>
              </c:ext>
            </c:extLst>
          </c:dPt>
          <c:dPt>
            <c:idx val="542"/>
            <c:invertIfNegative val="1"/>
            <c:bubble3D val="0"/>
            <c:spPr>
              <a:solidFill>
                <a:srgbClr val="AEABAB"/>
              </a:solidFill>
            </c:spPr>
            <c:extLst>
              <c:ext xmlns:c16="http://schemas.microsoft.com/office/drawing/2014/chart" uri="{C3380CC4-5D6E-409C-BE32-E72D297353CC}">
                <c16:uniqueId val="{0000043F-FAF2-40A3-8A98-006EB2CA5507}"/>
              </c:ext>
            </c:extLst>
          </c:dPt>
          <c:dPt>
            <c:idx val="543"/>
            <c:invertIfNegative val="1"/>
            <c:bubble3D val="0"/>
            <c:spPr>
              <a:solidFill>
                <a:srgbClr val="AEABAB"/>
              </a:solidFill>
            </c:spPr>
            <c:extLst>
              <c:ext xmlns:c16="http://schemas.microsoft.com/office/drawing/2014/chart" uri="{C3380CC4-5D6E-409C-BE32-E72D297353CC}">
                <c16:uniqueId val="{00000441-FAF2-40A3-8A98-006EB2CA5507}"/>
              </c:ext>
            </c:extLst>
          </c:dPt>
          <c:dPt>
            <c:idx val="544"/>
            <c:invertIfNegative val="1"/>
            <c:bubble3D val="0"/>
            <c:spPr>
              <a:solidFill>
                <a:srgbClr val="AEABAB"/>
              </a:solidFill>
            </c:spPr>
            <c:extLst>
              <c:ext xmlns:c16="http://schemas.microsoft.com/office/drawing/2014/chart" uri="{C3380CC4-5D6E-409C-BE32-E72D297353CC}">
                <c16:uniqueId val="{00000443-FAF2-40A3-8A98-006EB2CA5507}"/>
              </c:ext>
            </c:extLst>
          </c:dPt>
          <c:dPt>
            <c:idx val="545"/>
            <c:invertIfNegative val="1"/>
            <c:bubble3D val="0"/>
            <c:spPr>
              <a:solidFill>
                <a:srgbClr val="AEABAB"/>
              </a:solidFill>
            </c:spPr>
            <c:extLst>
              <c:ext xmlns:c16="http://schemas.microsoft.com/office/drawing/2014/chart" uri="{C3380CC4-5D6E-409C-BE32-E72D297353CC}">
                <c16:uniqueId val="{00000445-FAF2-40A3-8A98-006EB2CA5507}"/>
              </c:ext>
            </c:extLst>
          </c:dPt>
          <c:dPt>
            <c:idx val="546"/>
            <c:invertIfNegative val="1"/>
            <c:bubble3D val="0"/>
            <c:spPr>
              <a:solidFill>
                <a:srgbClr val="AEABAB"/>
              </a:solidFill>
            </c:spPr>
            <c:extLst>
              <c:ext xmlns:c16="http://schemas.microsoft.com/office/drawing/2014/chart" uri="{C3380CC4-5D6E-409C-BE32-E72D297353CC}">
                <c16:uniqueId val="{00000447-FAF2-40A3-8A98-006EB2CA5507}"/>
              </c:ext>
            </c:extLst>
          </c:dPt>
          <c:dPt>
            <c:idx val="547"/>
            <c:invertIfNegative val="1"/>
            <c:bubble3D val="0"/>
            <c:spPr>
              <a:solidFill>
                <a:srgbClr val="AEABAB"/>
              </a:solidFill>
            </c:spPr>
            <c:extLst>
              <c:ext xmlns:c16="http://schemas.microsoft.com/office/drawing/2014/chart" uri="{C3380CC4-5D6E-409C-BE32-E72D297353CC}">
                <c16:uniqueId val="{00000449-FAF2-40A3-8A98-006EB2CA5507}"/>
              </c:ext>
            </c:extLst>
          </c:dPt>
          <c:dPt>
            <c:idx val="548"/>
            <c:invertIfNegative val="1"/>
            <c:bubble3D val="0"/>
            <c:spPr>
              <a:solidFill>
                <a:srgbClr val="AEABAB"/>
              </a:solidFill>
            </c:spPr>
            <c:extLst>
              <c:ext xmlns:c16="http://schemas.microsoft.com/office/drawing/2014/chart" uri="{C3380CC4-5D6E-409C-BE32-E72D297353CC}">
                <c16:uniqueId val="{0000044B-FAF2-40A3-8A98-006EB2CA5507}"/>
              </c:ext>
            </c:extLst>
          </c:dPt>
          <c:dPt>
            <c:idx val="549"/>
            <c:invertIfNegative val="1"/>
            <c:bubble3D val="0"/>
            <c:spPr>
              <a:solidFill>
                <a:srgbClr val="AEABAB"/>
              </a:solidFill>
            </c:spPr>
            <c:extLst>
              <c:ext xmlns:c16="http://schemas.microsoft.com/office/drawing/2014/chart" uri="{C3380CC4-5D6E-409C-BE32-E72D297353CC}">
                <c16:uniqueId val="{0000044D-FAF2-40A3-8A98-006EB2CA5507}"/>
              </c:ext>
            </c:extLst>
          </c:dPt>
          <c:dPt>
            <c:idx val="550"/>
            <c:invertIfNegative val="1"/>
            <c:bubble3D val="0"/>
            <c:spPr>
              <a:solidFill>
                <a:srgbClr val="AEABAB"/>
              </a:solidFill>
            </c:spPr>
            <c:extLst>
              <c:ext xmlns:c16="http://schemas.microsoft.com/office/drawing/2014/chart" uri="{C3380CC4-5D6E-409C-BE32-E72D297353CC}">
                <c16:uniqueId val="{0000044F-FAF2-40A3-8A98-006EB2CA5507}"/>
              </c:ext>
            </c:extLst>
          </c:dPt>
          <c:dPt>
            <c:idx val="551"/>
            <c:invertIfNegative val="1"/>
            <c:bubble3D val="0"/>
            <c:spPr>
              <a:solidFill>
                <a:srgbClr val="AEABAB"/>
              </a:solidFill>
            </c:spPr>
            <c:extLst>
              <c:ext xmlns:c16="http://schemas.microsoft.com/office/drawing/2014/chart" uri="{C3380CC4-5D6E-409C-BE32-E72D297353CC}">
                <c16:uniqueId val="{00000451-FAF2-40A3-8A98-006EB2CA5507}"/>
              </c:ext>
            </c:extLst>
          </c:dPt>
          <c:dPt>
            <c:idx val="552"/>
            <c:invertIfNegative val="1"/>
            <c:bubble3D val="0"/>
            <c:spPr>
              <a:solidFill>
                <a:srgbClr val="AEABAB"/>
              </a:solidFill>
            </c:spPr>
            <c:extLst>
              <c:ext xmlns:c16="http://schemas.microsoft.com/office/drawing/2014/chart" uri="{C3380CC4-5D6E-409C-BE32-E72D297353CC}">
                <c16:uniqueId val="{00000453-FAF2-40A3-8A98-006EB2CA5507}"/>
              </c:ext>
            </c:extLst>
          </c:dPt>
          <c:dPt>
            <c:idx val="553"/>
            <c:invertIfNegative val="1"/>
            <c:bubble3D val="0"/>
            <c:spPr>
              <a:solidFill>
                <a:srgbClr val="AEABAB"/>
              </a:solidFill>
            </c:spPr>
            <c:extLst>
              <c:ext xmlns:c16="http://schemas.microsoft.com/office/drawing/2014/chart" uri="{C3380CC4-5D6E-409C-BE32-E72D297353CC}">
                <c16:uniqueId val="{00000455-FAF2-40A3-8A98-006EB2CA5507}"/>
              </c:ext>
            </c:extLst>
          </c:dPt>
          <c:dPt>
            <c:idx val="554"/>
            <c:invertIfNegative val="1"/>
            <c:bubble3D val="0"/>
            <c:spPr>
              <a:solidFill>
                <a:srgbClr val="AEABAB"/>
              </a:solidFill>
            </c:spPr>
            <c:extLst>
              <c:ext xmlns:c16="http://schemas.microsoft.com/office/drawing/2014/chart" uri="{C3380CC4-5D6E-409C-BE32-E72D297353CC}">
                <c16:uniqueId val="{00000457-FAF2-40A3-8A98-006EB2CA5507}"/>
              </c:ext>
            </c:extLst>
          </c:dPt>
          <c:dPt>
            <c:idx val="555"/>
            <c:invertIfNegative val="1"/>
            <c:bubble3D val="0"/>
            <c:spPr>
              <a:solidFill>
                <a:srgbClr val="AEABAB"/>
              </a:solidFill>
            </c:spPr>
            <c:extLst>
              <c:ext xmlns:c16="http://schemas.microsoft.com/office/drawing/2014/chart" uri="{C3380CC4-5D6E-409C-BE32-E72D297353CC}">
                <c16:uniqueId val="{00000459-FAF2-40A3-8A98-006EB2CA5507}"/>
              </c:ext>
            </c:extLst>
          </c:dPt>
          <c:dPt>
            <c:idx val="556"/>
            <c:invertIfNegative val="1"/>
            <c:bubble3D val="0"/>
            <c:spPr>
              <a:solidFill>
                <a:srgbClr val="AEABAB"/>
              </a:solidFill>
            </c:spPr>
            <c:extLst>
              <c:ext xmlns:c16="http://schemas.microsoft.com/office/drawing/2014/chart" uri="{C3380CC4-5D6E-409C-BE32-E72D297353CC}">
                <c16:uniqueId val="{0000045B-FAF2-40A3-8A98-006EB2CA5507}"/>
              </c:ext>
            </c:extLst>
          </c:dPt>
          <c:dPt>
            <c:idx val="557"/>
            <c:invertIfNegative val="1"/>
            <c:bubble3D val="0"/>
            <c:spPr>
              <a:solidFill>
                <a:srgbClr val="AEABAB"/>
              </a:solidFill>
            </c:spPr>
            <c:extLst>
              <c:ext xmlns:c16="http://schemas.microsoft.com/office/drawing/2014/chart" uri="{C3380CC4-5D6E-409C-BE32-E72D297353CC}">
                <c16:uniqueId val="{0000045D-FAF2-40A3-8A98-006EB2CA5507}"/>
              </c:ext>
            </c:extLst>
          </c:dPt>
          <c:dPt>
            <c:idx val="558"/>
            <c:invertIfNegative val="1"/>
            <c:bubble3D val="0"/>
            <c:spPr>
              <a:solidFill>
                <a:srgbClr val="AEABAB"/>
              </a:solidFill>
            </c:spPr>
            <c:extLst>
              <c:ext xmlns:c16="http://schemas.microsoft.com/office/drawing/2014/chart" uri="{C3380CC4-5D6E-409C-BE32-E72D297353CC}">
                <c16:uniqueId val="{0000045F-FAF2-40A3-8A98-006EB2CA5507}"/>
              </c:ext>
            </c:extLst>
          </c:dPt>
          <c:dPt>
            <c:idx val="559"/>
            <c:invertIfNegative val="1"/>
            <c:bubble3D val="0"/>
            <c:spPr>
              <a:solidFill>
                <a:srgbClr val="AEABAB"/>
              </a:solidFill>
            </c:spPr>
            <c:extLst>
              <c:ext xmlns:c16="http://schemas.microsoft.com/office/drawing/2014/chart" uri="{C3380CC4-5D6E-409C-BE32-E72D297353CC}">
                <c16:uniqueId val="{00000461-FAF2-40A3-8A98-006EB2CA5507}"/>
              </c:ext>
            </c:extLst>
          </c:dPt>
          <c:dPt>
            <c:idx val="560"/>
            <c:invertIfNegative val="1"/>
            <c:bubble3D val="0"/>
            <c:spPr>
              <a:solidFill>
                <a:srgbClr val="AEABAB"/>
              </a:solidFill>
            </c:spPr>
            <c:extLst>
              <c:ext xmlns:c16="http://schemas.microsoft.com/office/drawing/2014/chart" uri="{C3380CC4-5D6E-409C-BE32-E72D297353CC}">
                <c16:uniqueId val="{00000463-FAF2-40A3-8A98-006EB2CA5507}"/>
              </c:ext>
            </c:extLst>
          </c:dPt>
          <c:dPt>
            <c:idx val="561"/>
            <c:invertIfNegative val="1"/>
            <c:bubble3D val="0"/>
            <c:spPr>
              <a:solidFill>
                <a:srgbClr val="AEABAB"/>
              </a:solidFill>
            </c:spPr>
            <c:extLst>
              <c:ext xmlns:c16="http://schemas.microsoft.com/office/drawing/2014/chart" uri="{C3380CC4-5D6E-409C-BE32-E72D297353CC}">
                <c16:uniqueId val="{00000465-FAF2-40A3-8A98-006EB2CA5507}"/>
              </c:ext>
            </c:extLst>
          </c:dPt>
          <c:dPt>
            <c:idx val="562"/>
            <c:invertIfNegative val="1"/>
            <c:bubble3D val="0"/>
            <c:spPr>
              <a:solidFill>
                <a:srgbClr val="AEABAB"/>
              </a:solidFill>
            </c:spPr>
            <c:extLst>
              <c:ext xmlns:c16="http://schemas.microsoft.com/office/drawing/2014/chart" uri="{C3380CC4-5D6E-409C-BE32-E72D297353CC}">
                <c16:uniqueId val="{00000467-FAF2-40A3-8A98-006EB2CA5507}"/>
              </c:ext>
            </c:extLst>
          </c:dPt>
          <c:dPt>
            <c:idx val="563"/>
            <c:invertIfNegative val="1"/>
            <c:bubble3D val="0"/>
            <c:spPr>
              <a:solidFill>
                <a:srgbClr val="AEABAB"/>
              </a:solidFill>
            </c:spPr>
            <c:extLst>
              <c:ext xmlns:c16="http://schemas.microsoft.com/office/drawing/2014/chart" uri="{C3380CC4-5D6E-409C-BE32-E72D297353CC}">
                <c16:uniqueId val="{00000469-FAF2-40A3-8A98-006EB2CA5507}"/>
              </c:ext>
            </c:extLst>
          </c:dPt>
          <c:dPt>
            <c:idx val="564"/>
            <c:invertIfNegative val="1"/>
            <c:bubble3D val="0"/>
            <c:spPr>
              <a:solidFill>
                <a:srgbClr val="AEABAB"/>
              </a:solidFill>
            </c:spPr>
            <c:extLst>
              <c:ext xmlns:c16="http://schemas.microsoft.com/office/drawing/2014/chart" uri="{C3380CC4-5D6E-409C-BE32-E72D297353CC}">
                <c16:uniqueId val="{0000046B-FAF2-40A3-8A98-006EB2CA5507}"/>
              </c:ext>
            </c:extLst>
          </c:dPt>
          <c:dPt>
            <c:idx val="565"/>
            <c:invertIfNegative val="1"/>
            <c:bubble3D val="0"/>
            <c:spPr>
              <a:solidFill>
                <a:srgbClr val="AEABAB"/>
              </a:solidFill>
            </c:spPr>
            <c:extLst>
              <c:ext xmlns:c16="http://schemas.microsoft.com/office/drawing/2014/chart" uri="{C3380CC4-5D6E-409C-BE32-E72D297353CC}">
                <c16:uniqueId val="{0000046D-FAF2-40A3-8A98-006EB2CA5507}"/>
              </c:ext>
            </c:extLst>
          </c:dPt>
          <c:dPt>
            <c:idx val="566"/>
            <c:invertIfNegative val="1"/>
            <c:bubble3D val="0"/>
            <c:spPr>
              <a:solidFill>
                <a:srgbClr val="AEABAB"/>
              </a:solidFill>
            </c:spPr>
            <c:extLst>
              <c:ext xmlns:c16="http://schemas.microsoft.com/office/drawing/2014/chart" uri="{C3380CC4-5D6E-409C-BE32-E72D297353CC}">
                <c16:uniqueId val="{0000046F-FAF2-40A3-8A98-006EB2CA5507}"/>
              </c:ext>
            </c:extLst>
          </c:dPt>
          <c:dPt>
            <c:idx val="567"/>
            <c:invertIfNegative val="1"/>
            <c:bubble3D val="0"/>
            <c:spPr>
              <a:solidFill>
                <a:srgbClr val="AEABAB"/>
              </a:solidFill>
            </c:spPr>
            <c:extLst>
              <c:ext xmlns:c16="http://schemas.microsoft.com/office/drawing/2014/chart" uri="{C3380CC4-5D6E-409C-BE32-E72D297353CC}">
                <c16:uniqueId val="{00000471-FAF2-40A3-8A98-006EB2CA5507}"/>
              </c:ext>
            </c:extLst>
          </c:dPt>
          <c:dPt>
            <c:idx val="568"/>
            <c:invertIfNegative val="1"/>
            <c:bubble3D val="0"/>
            <c:spPr>
              <a:solidFill>
                <a:srgbClr val="AEABAB"/>
              </a:solidFill>
            </c:spPr>
            <c:extLst>
              <c:ext xmlns:c16="http://schemas.microsoft.com/office/drawing/2014/chart" uri="{C3380CC4-5D6E-409C-BE32-E72D297353CC}">
                <c16:uniqueId val="{00000473-FAF2-40A3-8A98-006EB2CA5507}"/>
              </c:ext>
            </c:extLst>
          </c:dPt>
          <c:dPt>
            <c:idx val="569"/>
            <c:invertIfNegative val="1"/>
            <c:bubble3D val="0"/>
            <c:spPr>
              <a:solidFill>
                <a:srgbClr val="AEABAB"/>
              </a:solidFill>
            </c:spPr>
            <c:extLst>
              <c:ext xmlns:c16="http://schemas.microsoft.com/office/drawing/2014/chart" uri="{C3380CC4-5D6E-409C-BE32-E72D297353CC}">
                <c16:uniqueId val="{00000475-FAF2-40A3-8A98-006EB2CA5507}"/>
              </c:ext>
            </c:extLst>
          </c:dPt>
          <c:dPt>
            <c:idx val="570"/>
            <c:invertIfNegative val="1"/>
            <c:bubble3D val="0"/>
            <c:spPr>
              <a:solidFill>
                <a:srgbClr val="AEABAB"/>
              </a:solidFill>
            </c:spPr>
            <c:extLst>
              <c:ext xmlns:c16="http://schemas.microsoft.com/office/drawing/2014/chart" uri="{C3380CC4-5D6E-409C-BE32-E72D297353CC}">
                <c16:uniqueId val="{00000477-FAF2-40A3-8A98-006EB2CA5507}"/>
              </c:ext>
            </c:extLst>
          </c:dPt>
          <c:dPt>
            <c:idx val="571"/>
            <c:invertIfNegative val="1"/>
            <c:bubble3D val="0"/>
            <c:spPr>
              <a:solidFill>
                <a:srgbClr val="AEABAB"/>
              </a:solidFill>
            </c:spPr>
            <c:extLst>
              <c:ext xmlns:c16="http://schemas.microsoft.com/office/drawing/2014/chart" uri="{C3380CC4-5D6E-409C-BE32-E72D297353CC}">
                <c16:uniqueId val="{00000479-FAF2-40A3-8A98-006EB2CA5507}"/>
              </c:ext>
            </c:extLst>
          </c:dPt>
          <c:dPt>
            <c:idx val="572"/>
            <c:invertIfNegative val="1"/>
            <c:bubble3D val="0"/>
            <c:spPr>
              <a:solidFill>
                <a:srgbClr val="AEABAB"/>
              </a:solidFill>
            </c:spPr>
            <c:extLst>
              <c:ext xmlns:c16="http://schemas.microsoft.com/office/drawing/2014/chart" uri="{C3380CC4-5D6E-409C-BE32-E72D297353CC}">
                <c16:uniqueId val="{0000047B-FAF2-40A3-8A98-006EB2CA5507}"/>
              </c:ext>
            </c:extLst>
          </c:dPt>
          <c:dPt>
            <c:idx val="573"/>
            <c:invertIfNegative val="1"/>
            <c:bubble3D val="0"/>
            <c:spPr>
              <a:solidFill>
                <a:srgbClr val="AEABAB"/>
              </a:solidFill>
            </c:spPr>
            <c:extLst>
              <c:ext xmlns:c16="http://schemas.microsoft.com/office/drawing/2014/chart" uri="{C3380CC4-5D6E-409C-BE32-E72D297353CC}">
                <c16:uniqueId val="{0000047D-FAF2-40A3-8A98-006EB2CA5507}"/>
              </c:ext>
            </c:extLst>
          </c:dPt>
          <c:dPt>
            <c:idx val="574"/>
            <c:invertIfNegative val="1"/>
            <c:bubble3D val="0"/>
            <c:spPr>
              <a:solidFill>
                <a:srgbClr val="AEABAB"/>
              </a:solidFill>
            </c:spPr>
            <c:extLst>
              <c:ext xmlns:c16="http://schemas.microsoft.com/office/drawing/2014/chart" uri="{C3380CC4-5D6E-409C-BE32-E72D297353CC}">
                <c16:uniqueId val="{0000047F-FAF2-40A3-8A98-006EB2CA5507}"/>
              </c:ext>
            </c:extLst>
          </c:dPt>
          <c:dPt>
            <c:idx val="575"/>
            <c:invertIfNegative val="1"/>
            <c:bubble3D val="0"/>
            <c:spPr>
              <a:solidFill>
                <a:srgbClr val="AEABAB"/>
              </a:solidFill>
            </c:spPr>
            <c:extLst>
              <c:ext xmlns:c16="http://schemas.microsoft.com/office/drawing/2014/chart" uri="{C3380CC4-5D6E-409C-BE32-E72D297353CC}">
                <c16:uniqueId val="{00000481-FAF2-40A3-8A98-006EB2CA5507}"/>
              </c:ext>
            </c:extLst>
          </c:dPt>
          <c:dPt>
            <c:idx val="576"/>
            <c:invertIfNegative val="1"/>
            <c:bubble3D val="0"/>
            <c:spPr>
              <a:solidFill>
                <a:srgbClr val="AEABAB"/>
              </a:solidFill>
            </c:spPr>
            <c:extLst>
              <c:ext xmlns:c16="http://schemas.microsoft.com/office/drawing/2014/chart" uri="{C3380CC4-5D6E-409C-BE32-E72D297353CC}">
                <c16:uniqueId val="{00000483-FAF2-40A3-8A98-006EB2CA5507}"/>
              </c:ext>
            </c:extLst>
          </c:dPt>
          <c:dPt>
            <c:idx val="577"/>
            <c:invertIfNegative val="1"/>
            <c:bubble3D val="0"/>
            <c:spPr>
              <a:solidFill>
                <a:srgbClr val="AEABAB"/>
              </a:solidFill>
            </c:spPr>
            <c:extLst>
              <c:ext xmlns:c16="http://schemas.microsoft.com/office/drawing/2014/chart" uri="{C3380CC4-5D6E-409C-BE32-E72D297353CC}">
                <c16:uniqueId val="{00000485-FAF2-40A3-8A98-006EB2CA5507}"/>
              </c:ext>
            </c:extLst>
          </c:dPt>
          <c:dPt>
            <c:idx val="578"/>
            <c:invertIfNegative val="1"/>
            <c:bubble3D val="0"/>
            <c:spPr>
              <a:solidFill>
                <a:srgbClr val="AEABAB"/>
              </a:solidFill>
            </c:spPr>
            <c:extLst>
              <c:ext xmlns:c16="http://schemas.microsoft.com/office/drawing/2014/chart" uri="{C3380CC4-5D6E-409C-BE32-E72D297353CC}">
                <c16:uniqueId val="{00000487-FAF2-40A3-8A98-006EB2CA5507}"/>
              </c:ext>
            </c:extLst>
          </c:dPt>
          <c:dPt>
            <c:idx val="579"/>
            <c:invertIfNegative val="1"/>
            <c:bubble3D val="0"/>
            <c:spPr>
              <a:solidFill>
                <a:srgbClr val="AEABAB"/>
              </a:solidFill>
            </c:spPr>
            <c:extLst>
              <c:ext xmlns:c16="http://schemas.microsoft.com/office/drawing/2014/chart" uri="{C3380CC4-5D6E-409C-BE32-E72D297353CC}">
                <c16:uniqueId val="{00000489-FAF2-40A3-8A98-006EB2CA5507}"/>
              </c:ext>
            </c:extLst>
          </c:dPt>
          <c:dPt>
            <c:idx val="580"/>
            <c:invertIfNegative val="1"/>
            <c:bubble3D val="0"/>
            <c:spPr>
              <a:solidFill>
                <a:srgbClr val="AEABAB"/>
              </a:solidFill>
            </c:spPr>
            <c:extLst>
              <c:ext xmlns:c16="http://schemas.microsoft.com/office/drawing/2014/chart" uri="{C3380CC4-5D6E-409C-BE32-E72D297353CC}">
                <c16:uniqueId val="{0000048B-FAF2-40A3-8A98-006EB2CA5507}"/>
              </c:ext>
            </c:extLst>
          </c:dPt>
          <c:dPt>
            <c:idx val="581"/>
            <c:invertIfNegative val="1"/>
            <c:bubble3D val="0"/>
            <c:spPr>
              <a:solidFill>
                <a:srgbClr val="AEABAB"/>
              </a:solidFill>
            </c:spPr>
            <c:extLst>
              <c:ext xmlns:c16="http://schemas.microsoft.com/office/drawing/2014/chart" uri="{C3380CC4-5D6E-409C-BE32-E72D297353CC}">
                <c16:uniqueId val="{0000048D-FAF2-40A3-8A98-006EB2CA5507}"/>
              </c:ext>
            </c:extLst>
          </c:dPt>
          <c:dPt>
            <c:idx val="582"/>
            <c:invertIfNegative val="1"/>
            <c:bubble3D val="0"/>
            <c:spPr>
              <a:solidFill>
                <a:srgbClr val="AEABAB"/>
              </a:solidFill>
            </c:spPr>
            <c:extLst>
              <c:ext xmlns:c16="http://schemas.microsoft.com/office/drawing/2014/chart" uri="{C3380CC4-5D6E-409C-BE32-E72D297353CC}">
                <c16:uniqueId val="{0000048F-FAF2-40A3-8A98-006EB2CA5507}"/>
              </c:ext>
            </c:extLst>
          </c:dPt>
          <c:dPt>
            <c:idx val="583"/>
            <c:invertIfNegative val="1"/>
            <c:bubble3D val="0"/>
            <c:spPr>
              <a:solidFill>
                <a:srgbClr val="AEABAB"/>
              </a:solidFill>
            </c:spPr>
            <c:extLst>
              <c:ext xmlns:c16="http://schemas.microsoft.com/office/drawing/2014/chart" uri="{C3380CC4-5D6E-409C-BE32-E72D297353CC}">
                <c16:uniqueId val="{00000491-FAF2-40A3-8A98-006EB2CA5507}"/>
              </c:ext>
            </c:extLst>
          </c:dPt>
          <c:dPt>
            <c:idx val="584"/>
            <c:invertIfNegative val="1"/>
            <c:bubble3D val="0"/>
            <c:spPr>
              <a:solidFill>
                <a:srgbClr val="AEABAB"/>
              </a:solidFill>
            </c:spPr>
            <c:extLst>
              <c:ext xmlns:c16="http://schemas.microsoft.com/office/drawing/2014/chart" uri="{C3380CC4-5D6E-409C-BE32-E72D297353CC}">
                <c16:uniqueId val="{00000493-FAF2-40A3-8A98-006EB2CA5507}"/>
              </c:ext>
            </c:extLst>
          </c:dPt>
          <c:dPt>
            <c:idx val="585"/>
            <c:invertIfNegative val="1"/>
            <c:bubble3D val="0"/>
            <c:spPr>
              <a:solidFill>
                <a:srgbClr val="AEABAB"/>
              </a:solidFill>
            </c:spPr>
            <c:extLst>
              <c:ext xmlns:c16="http://schemas.microsoft.com/office/drawing/2014/chart" uri="{C3380CC4-5D6E-409C-BE32-E72D297353CC}">
                <c16:uniqueId val="{00000495-FAF2-40A3-8A98-006EB2CA5507}"/>
              </c:ext>
            </c:extLst>
          </c:dPt>
          <c:dPt>
            <c:idx val="586"/>
            <c:invertIfNegative val="1"/>
            <c:bubble3D val="0"/>
            <c:spPr>
              <a:solidFill>
                <a:srgbClr val="AEABAB"/>
              </a:solidFill>
            </c:spPr>
            <c:extLst>
              <c:ext xmlns:c16="http://schemas.microsoft.com/office/drawing/2014/chart" uri="{C3380CC4-5D6E-409C-BE32-E72D297353CC}">
                <c16:uniqueId val="{00000497-FAF2-40A3-8A98-006EB2CA5507}"/>
              </c:ext>
            </c:extLst>
          </c:dPt>
          <c:dPt>
            <c:idx val="587"/>
            <c:invertIfNegative val="1"/>
            <c:bubble3D val="0"/>
            <c:spPr>
              <a:solidFill>
                <a:srgbClr val="AEABAB"/>
              </a:solidFill>
            </c:spPr>
            <c:extLst>
              <c:ext xmlns:c16="http://schemas.microsoft.com/office/drawing/2014/chart" uri="{C3380CC4-5D6E-409C-BE32-E72D297353CC}">
                <c16:uniqueId val="{00000499-FAF2-40A3-8A98-006EB2CA5507}"/>
              </c:ext>
            </c:extLst>
          </c:dPt>
          <c:dPt>
            <c:idx val="588"/>
            <c:invertIfNegative val="1"/>
            <c:bubble3D val="0"/>
            <c:spPr>
              <a:solidFill>
                <a:srgbClr val="AEABAB"/>
              </a:solidFill>
            </c:spPr>
            <c:extLst>
              <c:ext xmlns:c16="http://schemas.microsoft.com/office/drawing/2014/chart" uri="{C3380CC4-5D6E-409C-BE32-E72D297353CC}">
                <c16:uniqueId val="{0000049B-FAF2-40A3-8A98-006EB2CA5507}"/>
              </c:ext>
            </c:extLst>
          </c:dPt>
          <c:dPt>
            <c:idx val="589"/>
            <c:invertIfNegative val="1"/>
            <c:bubble3D val="0"/>
            <c:spPr>
              <a:solidFill>
                <a:srgbClr val="AEABAB"/>
              </a:solidFill>
            </c:spPr>
            <c:extLst>
              <c:ext xmlns:c16="http://schemas.microsoft.com/office/drawing/2014/chart" uri="{C3380CC4-5D6E-409C-BE32-E72D297353CC}">
                <c16:uniqueId val="{0000049D-FAF2-40A3-8A98-006EB2CA5507}"/>
              </c:ext>
            </c:extLst>
          </c:dPt>
          <c:dPt>
            <c:idx val="590"/>
            <c:invertIfNegative val="1"/>
            <c:bubble3D val="0"/>
            <c:spPr>
              <a:solidFill>
                <a:srgbClr val="AEABAB"/>
              </a:solidFill>
            </c:spPr>
            <c:extLst>
              <c:ext xmlns:c16="http://schemas.microsoft.com/office/drawing/2014/chart" uri="{C3380CC4-5D6E-409C-BE32-E72D297353CC}">
                <c16:uniqueId val="{0000049F-FAF2-40A3-8A98-006EB2CA5507}"/>
              </c:ext>
            </c:extLst>
          </c:dPt>
          <c:dPt>
            <c:idx val="591"/>
            <c:invertIfNegative val="1"/>
            <c:bubble3D val="0"/>
            <c:spPr>
              <a:solidFill>
                <a:srgbClr val="AEABAB"/>
              </a:solidFill>
            </c:spPr>
            <c:extLst>
              <c:ext xmlns:c16="http://schemas.microsoft.com/office/drawing/2014/chart" uri="{C3380CC4-5D6E-409C-BE32-E72D297353CC}">
                <c16:uniqueId val="{000004A1-FAF2-40A3-8A98-006EB2CA5507}"/>
              </c:ext>
            </c:extLst>
          </c:dPt>
          <c:dPt>
            <c:idx val="592"/>
            <c:invertIfNegative val="1"/>
            <c:bubble3D val="0"/>
            <c:spPr>
              <a:solidFill>
                <a:srgbClr val="AEABAB"/>
              </a:solidFill>
            </c:spPr>
            <c:extLst>
              <c:ext xmlns:c16="http://schemas.microsoft.com/office/drawing/2014/chart" uri="{C3380CC4-5D6E-409C-BE32-E72D297353CC}">
                <c16:uniqueId val="{000004A3-FAF2-40A3-8A98-006EB2CA5507}"/>
              </c:ext>
            </c:extLst>
          </c:dPt>
          <c:dPt>
            <c:idx val="593"/>
            <c:invertIfNegative val="1"/>
            <c:bubble3D val="0"/>
            <c:spPr>
              <a:solidFill>
                <a:srgbClr val="AEABAB"/>
              </a:solidFill>
            </c:spPr>
            <c:extLst>
              <c:ext xmlns:c16="http://schemas.microsoft.com/office/drawing/2014/chart" uri="{C3380CC4-5D6E-409C-BE32-E72D297353CC}">
                <c16:uniqueId val="{000004A5-FAF2-40A3-8A98-006EB2CA5507}"/>
              </c:ext>
            </c:extLst>
          </c:dPt>
          <c:dPt>
            <c:idx val="594"/>
            <c:invertIfNegative val="1"/>
            <c:bubble3D val="0"/>
            <c:spPr>
              <a:solidFill>
                <a:srgbClr val="AEABAB"/>
              </a:solidFill>
            </c:spPr>
            <c:extLst>
              <c:ext xmlns:c16="http://schemas.microsoft.com/office/drawing/2014/chart" uri="{C3380CC4-5D6E-409C-BE32-E72D297353CC}">
                <c16:uniqueId val="{000004A7-FAF2-40A3-8A98-006EB2CA5507}"/>
              </c:ext>
            </c:extLst>
          </c:dPt>
          <c:dPt>
            <c:idx val="595"/>
            <c:invertIfNegative val="1"/>
            <c:bubble3D val="0"/>
            <c:spPr>
              <a:solidFill>
                <a:srgbClr val="AEABAB"/>
              </a:solidFill>
            </c:spPr>
            <c:extLst>
              <c:ext xmlns:c16="http://schemas.microsoft.com/office/drawing/2014/chart" uri="{C3380CC4-5D6E-409C-BE32-E72D297353CC}">
                <c16:uniqueId val="{000004A9-FAF2-40A3-8A98-006EB2CA5507}"/>
              </c:ext>
            </c:extLst>
          </c:dPt>
          <c:dPt>
            <c:idx val="596"/>
            <c:invertIfNegative val="1"/>
            <c:bubble3D val="0"/>
            <c:spPr>
              <a:solidFill>
                <a:srgbClr val="AEABAB"/>
              </a:solidFill>
            </c:spPr>
            <c:extLst>
              <c:ext xmlns:c16="http://schemas.microsoft.com/office/drawing/2014/chart" uri="{C3380CC4-5D6E-409C-BE32-E72D297353CC}">
                <c16:uniqueId val="{000004AB-FAF2-40A3-8A98-006EB2CA5507}"/>
              </c:ext>
            </c:extLst>
          </c:dPt>
          <c:dPt>
            <c:idx val="597"/>
            <c:invertIfNegative val="1"/>
            <c:bubble3D val="0"/>
            <c:spPr>
              <a:solidFill>
                <a:srgbClr val="AEABAB"/>
              </a:solidFill>
            </c:spPr>
            <c:extLst>
              <c:ext xmlns:c16="http://schemas.microsoft.com/office/drawing/2014/chart" uri="{C3380CC4-5D6E-409C-BE32-E72D297353CC}">
                <c16:uniqueId val="{000004AD-FAF2-40A3-8A98-006EB2CA5507}"/>
              </c:ext>
            </c:extLst>
          </c:dPt>
          <c:dPt>
            <c:idx val="598"/>
            <c:invertIfNegative val="1"/>
            <c:bubble3D val="0"/>
            <c:spPr>
              <a:solidFill>
                <a:srgbClr val="AEABAB"/>
              </a:solidFill>
            </c:spPr>
            <c:extLst>
              <c:ext xmlns:c16="http://schemas.microsoft.com/office/drawing/2014/chart" uri="{C3380CC4-5D6E-409C-BE32-E72D297353CC}">
                <c16:uniqueId val="{000004AF-FAF2-40A3-8A98-006EB2CA5507}"/>
              </c:ext>
            </c:extLst>
          </c:dPt>
          <c:dPt>
            <c:idx val="599"/>
            <c:invertIfNegative val="1"/>
            <c:bubble3D val="0"/>
            <c:spPr>
              <a:solidFill>
                <a:srgbClr val="AEABAB"/>
              </a:solidFill>
            </c:spPr>
            <c:extLst>
              <c:ext xmlns:c16="http://schemas.microsoft.com/office/drawing/2014/chart" uri="{C3380CC4-5D6E-409C-BE32-E72D297353CC}">
                <c16:uniqueId val="{000004B1-FAF2-40A3-8A98-006EB2CA5507}"/>
              </c:ext>
            </c:extLst>
          </c:dPt>
          <c:dPt>
            <c:idx val="600"/>
            <c:invertIfNegative val="1"/>
            <c:bubble3D val="0"/>
            <c:spPr>
              <a:solidFill>
                <a:srgbClr val="AEABAB"/>
              </a:solidFill>
            </c:spPr>
            <c:extLst>
              <c:ext xmlns:c16="http://schemas.microsoft.com/office/drawing/2014/chart" uri="{C3380CC4-5D6E-409C-BE32-E72D297353CC}">
                <c16:uniqueId val="{000004B3-FAF2-40A3-8A98-006EB2CA5507}"/>
              </c:ext>
            </c:extLst>
          </c:dPt>
          <c:dPt>
            <c:idx val="601"/>
            <c:invertIfNegative val="1"/>
            <c:bubble3D val="0"/>
            <c:spPr>
              <a:solidFill>
                <a:srgbClr val="AEABAB"/>
              </a:solidFill>
            </c:spPr>
            <c:extLst>
              <c:ext xmlns:c16="http://schemas.microsoft.com/office/drawing/2014/chart" uri="{C3380CC4-5D6E-409C-BE32-E72D297353CC}">
                <c16:uniqueId val="{000004B5-FAF2-40A3-8A98-006EB2CA5507}"/>
              </c:ext>
            </c:extLst>
          </c:dPt>
          <c:dPt>
            <c:idx val="602"/>
            <c:invertIfNegative val="1"/>
            <c:bubble3D val="0"/>
            <c:spPr>
              <a:solidFill>
                <a:srgbClr val="AEABAB"/>
              </a:solidFill>
            </c:spPr>
            <c:extLst>
              <c:ext xmlns:c16="http://schemas.microsoft.com/office/drawing/2014/chart" uri="{C3380CC4-5D6E-409C-BE32-E72D297353CC}">
                <c16:uniqueId val="{000004B7-FAF2-40A3-8A98-006EB2CA5507}"/>
              </c:ext>
            </c:extLst>
          </c:dPt>
          <c:dPt>
            <c:idx val="603"/>
            <c:invertIfNegative val="1"/>
            <c:bubble3D val="0"/>
            <c:spPr>
              <a:solidFill>
                <a:srgbClr val="AEABAB"/>
              </a:solidFill>
            </c:spPr>
            <c:extLst>
              <c:ext xmlns:c16="http://schemas.microsoft.com/office/drawing/2014/chart" uri="{C3380CC4-5D6E-409C-BE32-E72D297353CC}">
                <c16:uniqueId val="{000004B9-FAF2-40A3-8A98-006EB2CA5507}"/>
              </c:ext>
            </c:extLst>
          </c:dPt>
          <c:dPt>
            <c:idx val="604"/>
            <c:invertIfNegative val="1"/>
            <c:bubble3D val="0"/>
            <c:spPr>
              <a:solidFill>
                <a:srgbClr val="AEABAB"/>
              </a:solidFill>
            </c:spPr>
            <c:extLst>
              <c:ext xmlns:c16="http://schemas.microsoft.com/office/drawing/2014/chart" uri="{C3380CC4-5D6E-409C-BE32-E72D297353CC}">
                <c16:uniqueId val="{000004BB-FAF2-40A3-8A98-006EB2CA5507}"/>
              </c:ext>
            </c:extLst>
          </c:dPt>
          <c:dPt>
            <c:idx val="605"/>
            <c:invertIfNegative val="1"/>
            <c:bubble3D val="0"/>
            <c:spPr>
              <a:solidFill>
                <a:srgbClr val="AEABAB"/>
              </a:solidFill>
            </c:spPr>
            <c:extLst>
              <c:ext xmlns:c16="http://schemas.microsoft.com/office/drawing/2014/chart" uri="{C3380CC4-5D6E-409C-BE32-E72D297353CC}">
                <c16:uniqueId val="{000004BD-FAF2-40A3-8A98-006EB2CA5507}"/>
              </c:ext>
            </c:extLst>
          </c:dPt>
          <c:dPt>
            <c:idx val="606"/>
            <c:invertIfNegative val="1"/>
            <c:bubble3D val="0"/>
            <c:spPr>
              <a:solidFill>
                <a:srgbClr val="AEABAB"/>
              </a:solidFill>
            </c:spPr>
            <c:extLst>
              <c:ext xmlns:c16="http://schemas.microsoft.com/office/drawing/2014/chart" uri="{C3380CC4-5D6E-409C-BE32-E72D297353CC}">
                <c16:uniqueId val="{000004BF-FAF2-40A3-8A98-006EB2CA5507}"/>
              </c:ext>
            </c:extLst>
          </c:dPt>
          <c:dPt>
            <c:idx val="607"/>
            <c:invertIfNegative val="1"/>
            <c:bubble3D val="0"/>
            <c:spPr>
              <a:solidFill>
                <a:srgbClr val="AEABAB"/>
              </a:solidFill>
            </c:spPr>
            <c:extLst>
              <c:ext xmlns:c16="http://schemas.microsoft.com/office/drawing/2014/chart" uri="{C3380CC4-5D6E-409C-BE32-E72D297353CC}">
                <c16:uniqueId val="{000004C1-FAF2-40A3-8A98-006EB2CA5507}"/>
              </c:ext>
            </c:extLst>
          </c:dPt>
          <c:dPt>
            <c:idx val="608"/>
            <c:invertIfNegative val="1"/>
            <c:bubble3D val="0"/>
            <c:spPr>
              <a:solidFill>
                <a:srgbClr val="AEABAB"/>
              </a:solidFill>
            </c:spPr>
            <c:extLst>
              <c:ext xmlns:c16="http://schemas.microsoft.com/office/drawing/2014/chart" uri="{C3380CC4-5D6E-409C-BE32-E72D297353CC}">
                <c16:uniqueId val="{000004C3-FAF2-40A3-8A98-006EB2CA5507}"/>
              </c:ext>
            </c:extLst>
          </c:dPt>
          <c:dPt>
            <c:idx val="609"/>
            <c:invertIfNegative val="1"/>
            <c:bubble3D val="0"/>
            <c:spPr>
              <a:solidFill>
                <a:srgbClr val="AEABAB"/>
              </a:solidFill>
            </c:spPr>
            <c:extLst>
              <c:ext xmlns:c16="http://schemas.microsoft.com/office/drawing/2014/chart" uri="{C3380CC4-5D6E-409C-BE32-E72D297353CC}">
                <c16:uniqueId val="{000004C5-FAF2-40A3-8A98-006EB2CA5507}"/>
              </c:ext>
            </c:extLst>
          </c:dPt>
          <c:dPt>
            <c:idx val="610"/>
            <c:invertIfNegative val="1"/>
            <c:bubble3D val="0"/>
            <c:spPr>
              <a:solidFill>
                <a:srgbClr val="AEABAB"/>
              </a:solidFill>
            </c:spPr>
            <c:extLst>
              <c:ext xmlns:c16="http://schemas.microsoft.com/office/drawing/2014/chart" uri="{C3380CC4-5D6E-409C-BE32-E72D297353CC}">
                <c16:uniqueId val="{000004C7-FAF2-40A3-8A98-006EB2CA5507}"/>
              </c:ext>
            </c:extLst>
          </c:dPt>
          <c:dPt>
            <c:idx val="611"/>
            <c:invertIfNegative val="1"/>
            <c:bubble3D val="0"/>
            <c:spPr>
              <a:solidFill>
                <a:srgbClr val="AEABAB"/>
              </a:solidFill>
            </c:spPr>
            <c:extLst>
              <c:ext xmlns:c16="http://schemas.microsoft.com/office/drawing/2014/chart" uri="{C3380CC4-5D6E-409C-BE32-E72D297353CC}">
                <c16:uniqueId val="{000004C9-FAF2-40A3-8A98-006EB2CA5507}"/>
              </c:ext>
            </c:extLst>
          </c:dPt>
          <c:dPt>
            <c:idx val="612"/>
            <c:invertIfNegative val="1"/>
            <c:bubble3D val="0"/>
            <c:spPr>
              <a:solidFill>
                <a:srgbClr val="AEABAB"/>
              </a:solidFill>
            </c:spPr>
            <c:extLst>
              <c:ext xmlns:c16="http://schemas.microsoft.com/office/drawing/2014/chart" uri="{C3380CC4-5D6E-409C-BE32-E72D297353CC}">
                <c16:uniqueId val="{000004CB-FAF2-40A3-8A98-006EB2CA5507}"/>
              </c:ext>
            </c:extLst>
          </c:dPt>
          <c:dPt>
            <c:idx val="613"/>
            <c:invertIfNegative val="1"/>
            <c:bubble3D val="0"/>
            <c:spPr>
              <a:solidFill>
                <a:srgbClr val="AEABAB"/>
              </a:solidFill>
            </c:spPr>
            <c:extLst>
              <c:ext xmlns:c16="http://schemas.microsoft.com/office/drawing/2014/chart" uri="{C3380CC4-5D6E-409C-BE32-E72D297353CC}">
                <c16:uniqueId val="{000004CD-FAF2-40A3-8A98-006EB2CA5507}"/>
              </c:ext>
            </c:extLst>
          </c:dPt>
          <c:dPt>
            <c:idx val="614"/>
            <c:invertIfNegative val="1"/>
            <c:bubble3D val="0"/>
            <c:spPr>
              <a:solidFill>
                <a:srgbClr val="AEABAB"/>
              </a:solidFill>
            </c:spPr>
            <c:extLst>
              <c:ext xmlns:c16="http://schemas.microsoft.com/office/drawing/2014/chart" uri="{C3380CC4-5D6E-409C-BE32-E72D297353CC}">
                <c16:uniqueId val="{000004CF-FAF2-40A3-8A98-006EB2CA5507}"/>
              </c:ext>
            </c:extLst>
          </c:dPt>
          <c:dPt>
            <c:idx val="615"/>
            <c:invertIfNegative val="1"/>
            <c:bubble3D val="0"/>
            <c:spPr>
              <a:solidFill>
                <a:srgbClr val="AEABAB"/>
              </a:solidFill>
            </c:spPr>
            <c:extLst>
              <c:ext xmlns:c16="http://schemas.microsoft.com/office/drawing/2014/chart" uri="{C3380CC4-5D6E-409C-BE32-E72D297353CC}">
                <c16:uniqueId val="{000004D1-FAF2-40A3-8A98-006EB2CA5507}"/>
              </c:ext>
            </c:extLst>
          </c:dPt>
          <c:dPt>
            <c:idx val="616"/>
            <c:invertIfNegative val="1"/>
            <c:bubble3D val="0"/>
            <c:spPr>
              <a:solidFill>
                <a:srgbClr val="AEABAB"/>
              </a:solidFill>
            </c:spPr>
            <c:extLst>
              <c:ext xmlns:c16="http://schemas.microsoft.com/office/drawing/2014/chart" uri="{C3380CC4-5D6E-409C-BE32-E72D297353CC}">
                <c16:uniqueId val="{000004D3-FAF2-40A3-8A98-006EB2CA5507}"/>
              </c:ext>
            </c:extLst>
          </c:dPt>
          <c:dPt>
            <c:idx val="617"/>
            <c:invertIfNegative val="1"/>
            <c:bubble3D val="0"/>
            <c:spPr>
              <a:solidFill>
                <a:srgbClr val="AEABAB"/>
              </a:solidFill>
            </c:spPr>
            <c:extLst>
              <c:ext xmlns:c16="http://schemas.microsoft.com/office/drawing/2014/chart" uri="{C3380CC4-5D6E-409C-BE32-E72D297353CC}">
                <c16:uniqueId val="{000004D5-FAF2-40A3-8A98-006EB2CA5507}"/>
              </c:ext>
            </c:extLst>
          </c:dPt>
          <c:dPt>
            <c:idx val="618"/>
            <c:invertIfNegative val="1"/>
            <c:bubble3D val="0"/>
            <c:spPr>
              <a:solidFill>
                <a:srgbClr val="AEABAB"/>
              </a:solidFill>
            </c:spPr>
            <c:extLst>
              <c:ext xmlns:c16="http://schemas.microsoft.com/office/drawing/2014/chart" uri="{C3380CC4-5D6E-409C-BE32-E72D297353CC}">
                <c16:uniqueId val="{000004D7-FAF2-40A3-8A98-006EB2CA5507}"/>
              </c:ext>
            </c:extLst>
          </c:dPt>
          <c:dPt>
            <c:idx val="619"/>
            <c:invertIfNegative val="1"/>
            <c:bubble3D val="0"/>
            <c:spPr>
              <a:solidFill>
                <a:srgbClr val="AEABAB"/>
              </a:solidFill>
            </c:spPr>
            <c:extLst>
              <c:ext xmlns:c16="http://schemas.microsoft.com/office/drawing/2014/chart" uri="{C3380CC4-5D6E-409C-BE32-E72D297353CC}">
                <c16:uniqueId val="{000004D9-FAF2-40A3-8A98-006EB2CA5507}"/>
              </c:ext>
            </c:extLst>
          </c:dPt>
          <c:dPt>
            <c:idx val="620"/>
            <c:invertIfNegative val="1"/>
            <c:bubble3D val="0"/>
            <c:spPr>
              <a:solidFill>
                <a:srgbClr val="AEABAB"/>
              </a:solidFill>
            </c:spPr>
            <c:extLst>
              <c:ext xmlns:c16="http://schemas.microsoft.com/office/drawing/2014/chart" uri="{C3380CC4-5D6E-409C-BE32-E72D297353CC}">
                <c16:uniqueId val="{000004DB-FAF2-40A3-8A98-006EB2CA5507}"/>
              </c:ext>
            </c:extLst>
          </c:dPt>
          <c:dPt>
            <c:idx val="621"/>
            <c:invertIfNegative val="1"/>
            <c:bubble3D val="0"/>
            <c:spPr>
              <a:solidFill>
                <a:srgbClr val="AEABAB"/>
              </a:solidFill>
            </c:spPr>
            <c:extLst>
              <c:ext xmlns:c16="http://schemas.microsoft.com/office/drawing/2014/chart" uri="{C3380CC4-5D6E-409C-BE32-E72D297353CC}">
                <c16:uniqueId val="{000004DD-FAF2-40A3-8A98-006EB2CA5507}"/>
              </c:ext>
            </c:extLst>
          </c:dPt>
          <c:dPt>
            <c:idx val="622"/>
            <c:invertIfNegative val="1"/>
            <c:bubble3D val="0"/>
            <c:spPr>
              <a:solidFill>
                <a:srgbClr val="AEABAB"/>
              </a:solidFill>
            </c:spPr>
            <c:extLst>
              <c:ext xmlns:c16="http://schemas.microsoft.com/office/drawing/2014/chart" uri="{C3380CC4-5D6E-409C-BE32-E72D297353CC}">
                <c16:uniqueId val="{000004DF-FAF2-40A3-8A98-006EB2CA5507}"/>
              </c:ext>
            </c:extLst>
          </c:dPt>
          <c:dPt>
            <c:idx val="623"/>
            <c:invertIfNegative val="1"/>
            <c:bubble3D val="0"/>
            <c:spPr>
              <a:solidFill>
                <a:srgbClr val="AEABAB"/>
              </a:solidFill>
            </c:spPr>
            <c:extLst>
              <c:ext xmlns:c16="http://schemas.microsoft.com/office/drawing/2014/chart" uri="{C3380CC4-5D6E-409C-BE32-E72D297353CC}">
                <c16:uniqueId val="{000004E1-FAF2-40A3-8A98-006EB2CA5507}"/>
              </c:ext>
            </c:extLst>
          </c:dPt>
          <c:dPt>
            <c:idx val="624"/>
            <c:invertIfNegative val="1"/>
            <c:bubble3D val="0"/>
            <c:spPr>
              <a:solidFill>
                <a:srgbClr val="AEABAB"/>
              </a:solidFill>
            </c:spPr>
            <c:extLst>
              <c:ext xmlns:c16="http://schemas.microsoft.com/office/drawing/2014/chart" uri="{C3380CC4-5D6E-409C-BE32-E72D297353CC}">
                <c16:uniqueId val="{000004E3-FAF2-40A3-8A98-006EB2CA5507}"/>
              </c:ext>
            </c:extLst>
          </c:dPt>
          <c:dPt>
            <c:idx val="625"/>
            <c:invertIfNegative val="1"/>
            <c:bubble3D val="0"/>
            <c:spPr>
              <a:solidFill>
                <a:srgbClr val="AEABAB"/>
              </a:solidFill>
            </c:spPr>
            <c:extLst>
              <c:ext xmlns:c16="http://schemas.microsoft.com/office/drawing/2014/chart" uri="{C3380CC4-5D6E-409C-BE32-E72D297353CC}">
                <c16:uniqueId val="{000004E5-FAF2-40A3-8A98-006EB2CA5507}"/>
              </c:ext>
            </c:extLst>
          </c:dPt>
          <c:cat>
            <c:strRef>
              <c:f>Sheet1!$A$2:$A$627</c:f>
              <c:strCache>
                <c:ptCount val="626"/>
                <c:pt idx="0">
                  <c:v>Caprice Des</c:v>
                </c:pt>
                <c:pt idx="1">
                  <c:v>Private Lab</c:v>
                </c:pt>
                <c:pt idx="2">
                  <c:v>Private Lab</c:v>
                </c:pt>
                <c:pt idx="3">
                  <c:v>Private Lab</c:v>
                </c:pt>
                <c:pt idx="4">
                  <c:v>Coeur De Li</c:v>
                </c:pt>
                <c:pt idx="5">
                  <c:v>President</c:v>
                </c:pt>
                <c:pt idx="6">
                  <c:v>Private Lab</c:v>
                </c:pt>
                <c:pt idx="7">
                  <c:v>Mini Babybe</c:v>
                </c:pt>
                <c:pt idx="8">
                  <c:v>Soignon</c:v>
                </c:pt>
                <c:pt idx="9">
                  <c:v>Private Lab</c:v>
                </c:pt>
                <c:pt idx="10">
                  <c:v>Private Lab</c:v>
                </c:pt>
                <c:pt idx="11">
                  <c:v>Caprice Des</c:v>
                </c:pt>
                <c:pt idx="12">
                  <c:v>President</c:v>
                </c:pt>
                <c:pt idx="13">
                  <c:v>La Vache Qu</c:v>
                </c:pt>
                <c:pt idx="14">
                  <c:v>Soignon</c:v>
                </c:pt>
                <c:pt idx="15">
                  <c:v>Le Rustique</c:v>
                </c:pt>
                <c:pt idx="16">
                  <c:v>Private Lab</c:v>
                </c:pt>
                <c:pt idx="17">
                  <c:v>St Moret</c:v>
                </c:pt>
                <c:pt idx="18">
                  <c:v>St Moret</c:v>
                </c:pt>
                <c:pt idx="19">
                  <c:v>La Vache Qu</c:v>
                </c:pt>
                <c:pt idx="20">
                  <c:v>Private Lab</c:v>
                </c:pt>
                <c:pt idx="21">
                  <c:v>President</c:v>
                </c:pt>
                <c:pt idx="22">
                  <c:v>Private Lab</c:v>
                </c:pt>
                <c:pt idx="23">
                  <c:v>St Moret</c:v>
                </c:pt>
                <c:pt idx="24">
                  <c:v>Private Lab</c:v>
                </c:pt>
                <c:pt idx="25">
                  <c:v>Galbani</c:v>
                </c:pt>
                <c:pt idx="26">
                  <c:v>Mini Babybe</c:v>
                </c:pt>
                <c:pt idx="27">
                  <c:v>Tartare</c:v>
                </c:pt>
                <c:pt idx="28">
                  <c:v>Private Lab</c:v>
                </c:pt>
                <c:pt idx="29">
                  <c:v>Private Lab</c:v>
                </c:pt>
                <c:pt idx="30">
                  <c:v>La Vache Qu</c:v>
                </c:pt>
                <c:pt idx="31">
                  <c:v>Coeur De Li</c:v>
                </c:pt>
                <c:pt idx="32">
                  <c:v>St Moret</c:v>
                </c:pt>
                <c:pt idx="33">
                  <c:v>Salakis</c:v>
                </c:pt>
                <c:pt idx="34">
                  <c:v>Kiri</c:v>
                </c:pt>
                <c:pt idx="35">
                  <c:v>Soignon</c:v>
                </c:pt>
                <c:pt idx="36">
                  <c:v>All Others</c:v>
                </c:pt>
                <c:pt idx="37">
                  <c:v>Private Lab</c:v>
                </c:pt>
                <c:pt idx="38">
                  <c:v>Private Lab</c:v>
                </c:pt>
                <c:pt idx="39">
                  <c:v>Private Lab</c:v>
                </c:pt>
                <c:pt idx="40">
                  <c:v>Private Lab</c:v>
                </c:pt>
                <c:pt idx="41">
                  <c:v>Private Lab</c:v>
                </c:pt>
                <c:pt idx="42">
                  <c:v>Galbani</c:v>
                </c:pt>
                <c:pt idx="43">
                  <c:v>Private Lab</c:v>
                </c:pt>
                <c:pt idx="44">
                  <c:v>Kiri</c:v>
                </c:pt>
                <c:pt idx="45">
                  <c:v>Private Lab</c:v>
                </c:pt>
                <c:pt idx="46">
                  <c:v>Private Lab</c:v>
                </c:pt>
                <c:pt idx="47">
                  <c:v>Galbani</c:v>
                </c:pt>
                <c:pt idx="48">
                  <c:v>Private Lab</c:v>
                </c:pt>
                <c:pt idx="49">
                  <c:v>Istara</c:v>
                </c:pt>
                <c:pt idx="50">
                  <c:v>Private Lab</c:v>
                </c:pt>
                <c:pt idx="51">
                  <c:v>Paysan Bret</c:v>
                </c:pt>
                <c:pt idx="52">
                  <c:v>Paysan Bret</c:v>
                </c:pt>
                <c:pt idx="53">
                  <c:v>Private Lab</c:v>
                </c:pt>
                <c:pt idx="54">
                  <c:v>Private Lab</c:v>
                </c:pt>
                <c:pt idx="55">
                  <c:v>Ficello</c:v>
                </c:pt>
                <c:pt idx="56">
                  <c:v>Tartare</c:v>
                </c:pt>
                <c:pt idx="57">
                  <c:v>Boursin</c:v>
                </c:pt>
                <c:pt idx="58">
                  <c:v>Boursin</c:v>
                </c:pt>
                <c:pt idx="59">
                  <c:v>Lou Perac</c:v>
                </c:pt>
                <c:pt idx="60">
                  <c:v>Private Lab</c:v>
                </c:pt>
                <c:pt idx="61">
                  <c:v>Kiri</c:v>
                </c:pt>
                <c:pt idx="62">
                  <c:v>Galbani</c:v>
                </c:pt>
                <c:pt idx="63">
                  <c:v>Galbani</c:v>
                </c:pt>
                <c:pt idx="64">
                  <c:v>Private Lab</c:v>
                </c:pt>
                <c:pt idx="65">
                  <c:v>Kiri</c:v>
                </c:pt>
                <c:pt idx="66">
                  <c:v>Private Lab</c:v>
                </c:pt>
                <c:pt idx="67">
                  <c:v>St Moret</c:v>
                </c:pt>
                <c:pt idx="68">
                  <c:v>Carre Frais</c:v>
                </c:pt>
                <c:pt idx="69">
                  <c:v>Private Lab</c:v>
                </c:pt>
                <c:pt idx="70">
                  <c:v>Lepetit</c:v>
                </c:pt>
                <c:pt idx="71">
                  <c:v>President</c:v>
                </c:pt>
                <c:pt idx="72">
                  <c:v>Boursin</c:v>
                </c:pt>
                <c:pt idx="73">
                  <c:v>Islos</c:v>
                </c:pt>
                <c:pt idx="74">
                  <c:v>Caprice Des</c:v>
                </c:pt>
                <c:pt idx="75">
                  <c:v>President</c:v>
                </c:pt>
                <c:pt idx="76">
                  <c:v>All Others</c:v>
                </c:pt>
                <c:pt idx="77">
                  <c:v>Salakis</c:v>
                </c:pt>
                <c:pt idx="78">
                  <c:v>Carre Frais</c:v>
                </c:pt>
                <c:pt idx="79">
                  <c:v>Coeur De Li</c:v>
                </c:pt>
                <c:pt idx="80">
                  <c:v>Philadelphi</c:v>
                </c:pt>
                <c:pt idx="81">
                  <c:v>Private Lab</c:v>
                </c:pt>
                <c:pt idx="82">
                  <c:v>Private Lab</c:v>
                </c:pt>
                <c:pt idx="83">
                  <c:v>Coeur De Li</c:v>
                </c:pt>
                <c:pt idx="84">
                  <c:v>Galbani</c:v>
                </c:pt>
                <c:pt idx="85">
                  <c:v>Kiri</c:v>
                </c:pt>
                <c:pt idx="86">
                  <c:v>St Moret</c:v>
                </c:pt>
                <c:pt idx="87">
                  <c:v>Soignon</c:v>
                </c:pt>
                <c:pt idx="88">
                  <c:v>President</c:v>
                </c:pt>
                <c:pt idx="89">
                  <c:v>Private Lab</c:v>
                </c:pt>
                <c:pt idx="90">
                  <c:v>Coeur De Li</c:v>
                </c:pt>
                <c:pt idx="91">
                  <c:v>Mini Babybe</c:v>
                </c:pt>
                <c:pt idx="92">
                  <c:v>President</c:v>
                </c:pt>
                <c:pt idx="93">
                  <c:v>All Others</c:v>
                </c:pt>
                <c:pt idx="94">
                  <c:v>Le Rustique</c:v>
                </c:pt>
                <c:pt idx="95">
                  <c:v>Petit Billy</c:v>
                </c:pt>
                <c:pt idx="96">
                  <c:v>Istara</c:v>
                </c:pt>
                <c:pt idx="97">
                  <c:v>Private Lab</c:v>
                </c:pt>
                <c:pt idx="98">
                  <c:v>Private Lab</c:v>
                </c:pt>
                <c:pt idx="99">
                  <c:v>President</c:v>
                </c:pt>
                <c:pt idx="100">
                  <c:v>Private Lab</c:v>
                </c:pt>
                <c:pt idx="101">
                  <c:v>President</c:v>
                </c:pt>
                <c:pt idx="102">
                  <c:v>Philadelphi</c:v>
                </c:pt>
                <c:pt idx="103">
                  <c:v>Ficello</c:v>
                </c:pt>
                <c:pt idx="104">
                  <c:v>Private Lab</c:v>
                </c:pt>
                <c:pt idx="105">
                  <c:v>Private Lab</c:v>
                </c:pt>
                <c:pt idx="106">
                  <c:v>All Others</c:v>
                </c:pt>
                <c:pt idx="107">
                  <c:v>Soignon</c:v>
                </c:pt>
                <c:pt idx="108">
                  <c:v>Etorki</c:v>
                </c:pt>
                <c:pt idx="109">
                  <c:v>Private Lab</c:v>
                </c:pt>
                <c:pt idx="110">
                  <c:v>Private Lab</c:v>
                </c:pt>
                <c:pt idx="111">
                  <c:v>St Moret</c:v>
                </c:pt>
                <c:pt idx="112">
                  <c:v>Private Lab</c:v>
                </c:pt>
                <c:pt idx="113">
                  <c:v>Soignon</c:v>
                </c:pt>
                <c:pt idx="114">
                  <c:v>All Others</c:v>
                </c:pt>
                <c:pt idx="115">
                  <c:v>Lactalis: A</c:v>
                </c:pt>
                <c:pt idx="116">
                  <c:v>Casa Azzurr</c:v>
                </c:pt>
                <c:pt idx="117">
                  <c:v>Tartare</c:v>
                </c:pt>
                <c:pt idx="118">
                  <c:v>La Vache Qu</c:v>
                </c:pt>
                <c:pt idx="119">
                  <c:v>All Others</c:v>
                </c:pt>
                <c:pt idx="120">
                  <c:v>Caprice Des</c:v>
                </c:pt>
                <c:pt idx="121">
                  <c:v>Soignon</c:v>
                </c:pt>
                <c:pt idx="122">
                  <c:v>Ficello</c:v>
                </c:pt>
                <c:pt idx="123">
                  <c:v>P'Tit Louis</c:v>
                </c:pt>
                <c:pt idx="124">
                  <c:v>Coeur De Li</c:v>
                </c:pt>
                <c:pt idx="125">
                  <c:v>Casa Azzurr</c:v>
                </c:pt>
                <c:pt idx="126">
                  <c:v>La Vache Qu</c:v>
                </c:pt>
                <c:pt idx="127">
                  <c:v>Soignon</c:v>
                </c:pt>
                <c:pt idx="128">
                  <c:v>All Others</c:v>
                </c:pt>
                <c:pt idx="129">
                  <c:v>All Others</c:v>
                </c:pt>
                <c:pt idx="130">
                  <c:v>Private Lab</c:v>
                </c:pt>
                <c:pt idx="131">
                  <c:v>Chavroux</c:v>
                </c:pt>
                <c:pt idx="132">
                  <c:v>Boursin</c:v>
                </c:pt>
                <c:pt idx="133">
                  <c:v>Private Lab</c:v>
                </c:pt>
                <c:pt idx="134">
                  <c:v>Lactalis: A</c:v>
                </c:pt>
                <c:pt idx="135">
                  <c:v>President</c:v>
                </c:pt>
                <c:pt idx="136">
                  <c:v>Paysan Bret</c:v>
                </c:pt>
                <c:pt idx="137">
                  <c:v>Salakis</c:v>
                </c:pt>
                <c:pt idx="138">
                  <c:v>Le Brebiou</c:v>
                </c:pt>
                <c:pt idx="139">
                  <c:v>Private Lab</c:v>
                </c:pt>
                <c:pt idx="140">
                  <c:v>President</c:v>
                </c:pt>
                <c:pt idx="141">
                  <c:v>Boursin</c:v>
                </c:pt>
                <c:pt idx="142">
                  <c:v>Private Lab</c:v>
                </c:pt>
                <c:pt idx="143">
                  <c:v>Boursin</c:v>
                </c:pt>
                <c:pt idx="144">
                  <c:v>Galbani</c:v>
                </c:pt>
                <c:pt idx="145">
                  <c:v>Private Lab</c:v>
                </c:pt>
                <c:pt idx="146">
                  <c:v>Soignon</c:v>
                </c:pt>
                <c:pt idx="147">
                  <c:v>Boursin</c:v>
                </c:pt>
                <c:pt idx="148">
                  <c:v>President</c:v>
                </c:pt>
                <c:pt idx="149">
                  <c:v>Les Mousque</c:v>
                </c:pt>
                <c:pt idx="150">
                  <c:v>Private Lab</c:v>
                </c:pt>
                <c:pt idx="151">
                  <c:v>Casa Azzurr</c:v>
                </c:pt>
                <c:pt idx="152">
                  <c:v>All Others</c:v>
                </c:pt>
                <c:pt idx="153">
                  <c:v>Casa Azzurr</c:v>
                </c:pt>
                <c:pt idx="154">
                  <c:v>Paysan Bret</c:v>
                </c:pt>
                <c:pt idx="155">
                  <c:v>Private Lab</c:v>
                </c:pt>
                <c:pt idx="156">
                  <c:v>Le Rustique</c:v>
                </c:pt>
                <c:pt idx="157">
                  <c:v>Private Lab</c:v>
                </c:pt>
                <c:pt idx="158">
                  <c:v>All Others</c:v>
                </c:pt>
                <c:pt idx="159">
                  <c:v>Paysan Bret</c:v>
                </c:pt>
                <c:pt idx="160">
                  <c:v>Private Lab</c:v>
                </c:pt>
                <c:pt idx="161">
                  <c:v>Salakis</c:v>
                </c:pt>
                <c:pt idx="162">
                  <c:v>Soignon</c:v>
                </c:pt>
                <c:pt idx="163">
                  <c:v>La Vache Qu</c:v>
                </c:pt>
                <c:pt idx="164">
                  <c:v>Casa Azzurr</c:v>
                </c:pt>
                <c:pt idx="165">
                  <c:v>Lou Perac</c:v>
                </c:pt>
                <c:pt idx="166">
                  <c:v>Carre Frais</c:v>
                </c:pt>
                <c:pt idx="167">
                  <c:v>Paysan Bret</c:v>
                </c:pt>
                <c:pt idx="168">
                  <c:v>Boursin</c:v>
                </c:pt>
                <c:pt idx="169">
                  <c:v>All Others</c:v>
                </c:pt>
                <c:pt idx="170">
                  <c:v>Tartare</c:v>
                </c:pt>
                <c:pt idx="171">
                  <c:v>Chavroux</c:v>
                </c:pt>
                <c:pt idx="172">
                  <c:v>Lactalis: A</c:v>
                </c:pt>
                <c:pt idx="173">
                  <c:v>Soignon</c:v>
                </c:pt>
                <c:pt idx="174">
                  <c:v>Galbani</c:v>
                </c:pt>
                <c:pt idx="175">
                  <c:v>Private Lab</c:v>
                </c:pt>
                <c:pt idx="176">
                  <c:v>Pave D'Affi</c:v>
                </c:pt>
                <c:pt idx="177">
                  <c:v>Private Lab</c:v>
                </c:pt>
                <c:pt idx="178">
                  <c:v>Private Lab</c:v>
                </c:pt>
                <c:pt idx="179">
                  <c:v>All Others</c:v>
                </c:pt>
                <c:pt idx="180">
                  <c:v>Boursin</c:v>
                </c:pt>
                <c:pt idx="181">
                  <c:v>Paysan Bret</c:v>
                </c:pt>
                <c:pt idx="182">
                  <c:v>Private Lab</c:v>
                </c:pt>
                <c:pt idx="183">
                  <c:v>All Others</c:v>
                </c:pt>
                <c:pt idx="184">
                  <c:v>Caprice Des</c:v>
                </c:pt>
                <c:pt idx="185">
                  <c:v>All Others</c:v>
                </c:pt>
                <c:pt idx="186">
                  <c:v>Casa Azzurr</c:v>
                </c:pt>
                <c:pt idx="187">
                  <c:v>Boursin</c:v>
                </c:pt>
                <c:pt idx="188">
                  <c:v>Mini Babybe</c:v>
                </c:pt>
                <c:pt idx="189">
                  <c:v>Private Lab</c:v>
                </c:pt>
                <c:pt idx="190">
                  <c:v>Salakis</c:v>
                </c:pt>
                <c:pt idx="191">
                  <c:v>Private Lab</c:v>
                </c:pt>
                <c:pt idx="192">
                  <c:v>Les Mousque</c:v>
                </c:pt>
                <c:pt idx="193">
                  <c:v>Tartare</c:v>
                </c:pt>
                <c:pt idx="194">
                  <c:v>Mini Babybe</c:v>
                </c:pt>
                <c:pt idx="195">
                  <c:v>Private Lab</c:v>
                </c:pt>
                <c:pt idx="196">
                  <c:v>Etorki</c:v>
                </c:pt>
                <c:pt idx="197">
                  <c:v>Galbani</c:v>
                </c:pt>
                <c:pt idx="198">
                  <c:v>Lou Perac</c:v>
                </c:pt>
                <c:pt idx="199">
                  <c:v>Private Lab</c:v>
                </c:pt>
                <c:pt idx="200">
                  <c:v>Savencia: A</c:v>
                </c:pt>
                <c:pt idx="201">
                  <c:v>St Moret</c:v>
                </c:pt>
                <c:pt idx="202">
                  <c:v>Private Lab</c:v>
                </c:pt>
                <c:pt idx="203">
                  <c:v>Saint Agur</c:v>
                </c:pt>
                <c:pt idx="204">
                  <c:v>Caprice Des</c:v>
                </c:pt>
                <c:pt idx="205">
                  <c:v>Kiri</c:v>
                </c:pt>
                <c:pt idx="206">
                  <c:v>Salakis</c:v>
                </c:pt>
                <c:pt idx="207">
                  <c:v>Caprice Des</c:v>
                </c:pt>
                <c:pt idx="208">
                  <c:v>Tartare</c:v>
                </c:pt>
                <c:pt idx="209">
                  <c:v>Casa Azzurr</c:v>
                </c:pt>
                <c:pt idx="210">
                  <c:v>Private Lab</c:v>
                </c:pt>
                <c:pt idx="211">
                  <c:v>Private Lab</c:v>
                </c:pt>
                <c:pt idx="212">
                  <c:v>St Moret</c:v>
                </c:pt>
                <c:pt idx="213">
                  <c:v>Boursin</c:v>
                </c:pt>
                <c:pt idx="214">
                  <c:v>Tartare</c:v>
                </c:pt>
                <c:pt idx="215">
                  <c:v>La Vache Qu</c:v>
                </c:pt>
                <c:pt idx="216">
                  <c:v>Paysan Bret</c:v>
                </c:pt>
                <c:pt idx="217">
                  <c:v>Le Rustique</c:v>
                </c:pt>
                <c:pt idx="218">
                  <c:v>Soignon</c:v>
                </c:pt>
                <c:pt idx="219">
                  <c:v>Kiri</c:v>
                </c:pt>
                <c:pt idx="220">
                  <c:v>Private Lab</c:v>
                </c:pt>
                <c:pt idx="221">
                  <c:v>All Others</c:v>
                </c:pt>
                <c:pt idx="222">
                  <c:v>Istara</c:v>
                </c:pt>
                <c:pt idx="223">
                  <c:v>All Others</c:v>
                </c:pt>
                <c:pt idx="224">
                  <c:v>Galbani</c:v>
                </c:pt>
                <c:pt idx="225">
                  <c:v>Soignon</c:v>
                </c:pt>
                <c:pt idx="226">
                  <c:v>Soignon</c:v>
                </c:pt>
                <c:pt idx="227">
                  <c:v>All Others</c:v>
                </c:pt>
                <c:pt idx="228">
                  <c:v>Kiri</c:v>
                </c:pt>
                <c:pt idx="229">
                  <c:v>All Others</c:v>
                </c:pt>
                <c:pt idx="230">
                  <c:v>All Others</c:v>
                </c:pt>
                <c:pt idx="231">
                  <c:v>Mini Babybe</c:v>
                </c:pt>
                <c:pt idx="232">
                  <c:v>Private Lab</c:v>
                </c:pt>
                <c:pt idx="233">
                  <c:v>All Others</c:v>
                </c:pt>
                <c:pt idx="234">
                  <c:v>Paysan Bret</c:v>
                </c:pt>
                <c:pt idx="235">
                  <c:v>All Others</c:v>
                </c:pt>
                <c:pt idx="236">
                  <c:v>Casa Azzurr</c:v>
                </c:pt>
                <c:pt idx="237">
                  <c:v>Private Lab</c:v>
                </c:pt>
                <c:pt idx="238">
                  <c:v>Corsica</c:v>
                </c:pt>
                <c:pt idx="239">
                  <c:v>Casa Azzurr</c:v>
                </c:pt>
                <c:pt idx="240">
                  <c:v>All Others</c:v>
                </c:pt>
                <c:pt idx="241">
                  <c:v>Islos</c:v>
                </c:pt>
                <c:pt idx="242">
                  <c:v>Soignon</c:v>
                </c:pt>
                <c:pt idx="243">
                  <c:v>Les Mousque</c:v>
                </c:pt>
                <c:pt idx="244">
                  <c:v>Mini Babybe</c:v>
                </c:pt>
                <c:pt idx="245">
                  <c:v>Milleret: A</c:v>
                </c:pt>
                <c:pt idx="246">
                  <c:v>All Others</c:v>
                </c:pt>
                <c:pt idx="247">
                  <c:v>Boursin</c:v>
                </c:pt>
                <c:pt idx="248">
                  <c:v>Kiri</c:v>
                </c:pt>
                <c:pt idx="249">
                  <c:v>Soignon</c:v>
                </c:pt>
                <c:pt idx="250">
                  <c:v>Kiri</c:v>
                </c:pt>
                <c:pt idx="251">
                  <c:v>Paysan Bret</c:v>
                </c:pt>
                <c:pt idx="252">
                  <c:v>P'Tit Louis</c:v>
                </c:pt>
                <c:pt idx="253">
                  <c:v>All Others</c:v>
                </c:pt>
                <c:pt idx="254">
                  <c:v>All Others</c:v>
                </c:pt>
                <c:pt idx="255">
                  <c:v>Etoile Du Q</c:v>
                </c:pt>
                <c:pt idx="256">
                  <c:v>Galbani</c:v>
                </c:pt>
                <c:pt idx="257">
                  <c:v>All Others</c:v>
                </c:pt>
                <c:pt idx="258">
                  <c:v>Caprice Des</c:v>
                </c:pt>
                <c:pt idx="259">
                  <c:v>Triballat N</c:v>
                </c:pt>
                <c:pt idx="260">
                  <c:v>Lactalis: A</c:v>
                </c:pt>
                <c:pt idx="261">
                  <c:v>Salakis</c:v>
                </c:pt>
                <c:pt idx="262">
                  <c:v>All Others</c:v>
                </c:pt>
                <c:pt idx="263">
                  <c:v>Galbani</c:v>
                </c:pt>
                <c:pt idx="264">
                  <c:v>Mini Babybe</c:v>
                </c:pt>
                <c:pt idx="265">
                  <c:v>All Others</c:v>
                </c:pt>
                <c:pt idx="266">
                  <c:v>All Others</c:v>
                </c:pt>
                <c:pt idx="267">
                  <c:v>Le Brebiou</c:v>
                </c:pt>
                <c:pt idx="268">
                  <c:v>Galbani</c:v>
                </c:pt>
                <c:pt idx="269">
                  <c:v>Boursin</c:v>
                </c:pt>
                <c:pt idx="270">
                  <c:v>Paysan Bret</c:v>
                </c:pt>
                <c:pt idx="271">
                  <c:v>All Others</c:v>
                </c:pt>
                <c:pt idx="272">
                  <c:v>Salakis</c:v>
                </c:pt>
                <c:pt idx="273">
                  <c:v>Etorki</c:v>
                </c:pt>
                <c:pt idx="274">
                  <c:v>Saint Agur</c:v>
                </c:pt>
                <c:pt idx="275">
                  <c:v>Islos</c:v>
                </c:pt>
                <c:pt idx="276">
                  <c:v>Carre Frais</c:v>
                </c:pt>
                <c:pt idx="277">
                  <c:v>All Others</c:v>
                </c:pt>
                <c:pt idx="278">
                  <c:v>Milleret: A</c:v>
                </c:pt>
                <c:pt idx="279">
                  <c:v>Triballat N</c:v>
                </c:pt>
                <c:pt idx="280">
                  <c:v>Galbani</c:v>
                </c:pt>
                <c:pt idx="281">
                  <c:v>Private Lab</c:v>
                </c:pt>
                <c:pt idx="282">
                  <c:v>Lactalis: A</c:v>
                </c:pt>
                <c:pt idx="283">
                  <c:v>Istara</c:v>
                </c:pt>
                <c:pt idx="284">
                  <c:v>Triballat N</c:v>
                </c:pt>
                <c:pt idx="285">
                  <c:v>All Others</c:v>
                </c:pt>
                <c:pt idx="286">
                  <c:v>All Others</c:v>
                </c:pt>
                <c:pt idx="287">
                  <c:v>All Others</c:v>
                </c:pt>
                <c:pt idx="288">
                  <c:v>Boursin</c:v>
                </c:pt>
                <c:pt idx="289">
                  <c:v>Chavroux</c:v>
                </c:pt>
                <c:pt idx="290">
                  <c:v>All Others</c:v>
                </c:pt>
                <c:pt idx="291">
                  <c:v>All Others</c:v>
                </c:pt>
                <c:pt idx="292">
                  <c:v>All Others</c:v>
                </c:pt>
                <c:pt idx="293">
                  <c:v>Lactalis: A</c:v>
                </c:pt>
                <c:pt idx="294">
                  <c:v>All Others</c:v>
                </c:pt>
                <c:pt idx="295">
                  <c:v>All Others</c:v>
                </c:pt>
                <c:pt idx="296">
                  <c:v>All Others</c:v>
                </c:pt>
                <c:pt idx="297">
                  <c:v>All Others</c:v>
                </c:pt>
                <c:pt idx="298">
                  <c:v>All Others</c:v>
                </c:pt>
                <c:pt idx="299">
                  <c:v>Boursin</c:v>
                </c:pt>
                <c:pt idx="300">
                  <c:v>Boursin</c:v>
                </c:pt>
                <c:pt idx="301">
                  <c:v>All Others</c:v>
                </c:pt>
                <c:pt idx="302">
                  <c:v>All Others</c:v>
                </c:pt>
                <c:pt idx="303">
                  <c:v>Triballat N</c:v>
                </c:pt>
                <c:pt idx="304">
                  <c:v>Tartare</c:v>
                </c:pt>
                <c:pt idx="305">
                  <c:v>Mini Babybe</c:v>
                </c:pt>
                <c:pt idx="306">
                  <c:v>All Others</c:v>
                </c:pt>
                <c:pt idx="307">
                  <c:v>All Others</c:v>
                </c:pt>
                <c:pt idx="308">
                  <c:v>Les Mousque</c:v>
                </c:pt>
                <c:pt idx="309">
                  <c:v>All Others</c:v>
                </c:pt>
                <c:pt idx="310">
                  <c:v>All Others</c:v>
                </c:pt>
                <c:pt idx="311">
                  <c:v>Chavroux</c:v>
                </c:pt>
                <c:pt idx="312">
                  <c:v>All Others</c:v>
                </c:pt>
                <c:pt idx="313">
                  <c:v>All Others</c:v>
                </c:pt>
                <c:pt idx="314">
                  <c:v>All Others</c:v>
                </c:pt>
                <c:pt idx="315">
                  <c:v>All Others</c:v>
                </c:pt>
                <c:pt idx="316">
                  <c:v>All Others</c:v>
                </c:pt>
                <c:pt idx="317">
                  <c:v>Soignon</c:v>
                </c:pt>
                <c:pt idx="318">
                  <c:v>All Others</c:v>
                </c:pt>
                <c:pt idx="319">
                  <c:v>All Others</c:v>
                </c:pt>
                <c:pt idx="320">
                  <c:v>All Others</c:v>
                </c:pt>
                <c:pt idx="321">
                  <c:v>All Others</c:v>
                </c:pt>
                <c:pt idx="322">
                  <c:v>All Others</c:v>
                </c:pt>
                <c:pt idx="323">
                  <c:v>All Others</c:v>
                </c:pt>
                <c:pt idx="324">
                  <c:v>All Others</c:v>
                </c:pt>
                <c:pt idx="325">
                  <c:v>All Others</c:v>
                </c:pt>
                <c:pt idx="326">
                  <c:v>All Others</c:v>
                </c:pt>
                <c:pt idx="327">
                  <c:v>All Others</c:v>
                </c:pt>
                <c:pt idx="328">
                  <c:v>All Others</c:v>
                </c:pt>
                <c:pt idx="329">
                  <c:v>Chavroux</c:v>
                </c:pt>
                <c:pt idx="330">
                  <c:v>Boursin</c:v>
                </c:pt>
                <c:pt idx="331">
                  <c:v>All Others</c:v>
                </c:pt>
                <c:pt idx="332">
                  <c:v>All Others</c:v>
                </c:pt>
                <c:pt idx="333">
                  <c:v>All Others</c:v>
                </c:pt>
                <c:pt idx="334">
                  <c:v>All Others</c:v>
                </c:pt>
                <c:pt idx="335">
                  <c:v>Boursin</c:v>
                </c:pt>
                <c:pt idx="336">
                  <c:v>All Others</c:v>
                </c:pt>
                <c:pt idx="337">
                  <c:v>Salakis</c:v>
                </c:pt>
                <c:pt idx="338">
                  <c:v>All Others</c:v>
                </c:pt>
                <c:pt idx="339">
                  <c:v>All Others</c:v>
                </c:pt>
                <c:pt idx="340">
                  <c:v>All Others</c:v>
                </c:pt>
                <c:pt idx="341">
                  <c:v>All Others</c:v>
                </c:pt>
                <c:pt idx="342">
                  <c:v>All Others</c:v>
                </c:pt>
                <c:pt idx="343">
                  <c:v>All Others</c:v>
                </c:pt>
                <c:pt idx="344">
                  <c:v>All Others</c:v>
                </c:pt>
                <c:pt idx="345">
                  <c:v>President</c:v>
                </c:pt>
                <c:pt idx="346">
                  <c:v>All Others</c:v>
                </c:pt>
                <c:pt idx="347">
                  <c:v>Private Lab</c:v>
                </c:pt>
                <c:pt idx="348">
                  <c:v>All Others</c:v>
                </c:pt>
                <c:pt idx="349">
                  <c:v>All Others</c:v>
                </c:pt>
                <c:pt idx="350">
                  <c:v>All Others</c:v>
                </c:pt>
                <c:pt idx="351">
                  <c:v>All Others</c:v>
                </c:pt>
                <c:pt idx="352">
                  <c:v>All Others</c:v>
                </c:pt>
                <c:pt idx="353">
                  <c:v>Petit Billy</c:v>
                </c:pt>
                <c:pt idx="354">
                  <c:v>All Others</c:v>
                </c:pt>
                <c:pt idx="355">
                  <c:v>All Others</c:v>
                </c:pt>
                <c:pt idx="356">
                  <c:v>La Table M</c:v>
                </c:pt>
                <c:pt idx="357">
                  <c:v>All Others</c:v>
                </c:pt>
                <c:pt idx="358">
                  <c:v>Salakis</c:v>
                </c:pt>
                <c:pt idx="359">
                  <c:v>Etoile Du V</c:v>
                </c:pt>
                <c:pt idx="360">
                  <c:v>All Others</c:v>
                </c:pt>
                <c:pt idx="361">
                  <c:v>All Others</c:v>
                </c:pt>
                <c:pt idx="362">
                  <c:v>All Others</c:v>
                </c:pt>
                <c:pt idx="363">
                  <c:v>All Others</c:v>
                </c:pt>
                <c:pt idx="364">
                  <c:v>Chavroux</c:v>
                </c:pt>
                <c:pt idx="365">
                  <c:v>All Others</c:v>
                </c:pt>
                <c:pt idx="366">
                  <c:v>Entremont</c:v>
                </c:pt>
                <c:pt idx="367">
                  <c:v>All Others</c:v>
                </c:pt>
                <c:pt idx="368">
                  <c:v>All Others</c:v>
                </c:pt>
                <c:pt idx="369">
                  <c:v>La Vache Qu</c:v>
                </c:pt>
                <c:pt idx="370">
                  <c:v>Lactalis: A</c:v>
                </c:pt>
                <c:pt idx="371">
                  <c:v>All Others</c:v>
                </c:pt>
                <c:pt idx="372">
                  <c:v>All Others</c:v>
                </c:pt>
                <c:pt idx="373">
                  <c:v>Entremont</c:v>
                </c:pt>
                <c:pt idx="374">
                  <c:v>All Others</c:v>
                </c:pt>
                <c:pt idx="375">
                  <c:v>Private Lab</c:v>
                </c:pt>
                <c:pt idx="376">
                  <c:v>All Others</c:v>
                </c:pt>
                <c:pt idx="377">
                  <c:v>All Others</c:v>
                </c:pt>
                <c:pt idx="378">
                  <c:v>Chavroux</c:v>
                </c:pt>
                <c:pt idx="379">
                  <c:v>Mini Babybe</c:v>
                </c:pt>
                <c:pt idx="380">
                  <c:v>All Others</c:v>
                </c:pt>
                <c:pt idx="381">
                  <c:v>All Others</c:v>
                </c:pt>
                <c:pt idx="382">
                  <c:v>All Others</c:v>
                </c:pt>
                <c:pt idx="383">
                  <c:v>All Others</c:v>
                </c:pt>
                <c:pt idx="384">
                  <c:v>All Others</c:v>
                </c:pt>
                <c:pt idx="385">
                  <c:v>All Others</c:v>
                </c:pt>
                <c:pt idx="386">
                  <c:v>Mini Babybe</c:v>
                </c:pt>
                <c:pt idx="387">
                  <c:v>All Others</c:v>
                </c:pt>
                <c:pt idx="388">
                  <c:v>All Others</c:v>
                </c:pt>
                <c:pt idx="389">
                  <c:v>All Others</c:v>
                </c:pt>
                <c:pt idx="390">
                  <c:v>All Others</c:v>
                </c:pt>
                <c:pt idx="391">
                  <c:v>All Others</c:v>
                </c:pt>
                <c:pt idx="392">
                  <c:v>All Others</c:v>
                </c:pt>
                <c:pt idx="393">
                  <c:v>All Others</c:v>
                </c:pt>
                <c:pt idx="394">
                  <c:v>All Others</c:v>
                </c:pt>
                <c:pt idx="395">
                  <c:v>All Others</c:v>
                </c:pt>
                <c:pt idx="396">
                  <c:v>Casa Azzurr</c:v>
                </c:pt>
                <c:pt idx="397">
                  <c:v>All Others</c:v>
                </c:pt>
                <c:pt idx="398">
                  <c:v>Corsica</c:v>
                </c:pt>
                <c:pt idx="399">
                  <c:v>All Others</c:v>
                </c:pt>
                <c:pt idx="400">
                  <c:v>All Others</c:v>
                </c:pt>
                <c:pt idx="401">
                  <c:v>All Others</c:v>
                </c:pt>
                <c:pt idx="402">
                  <c:v>All Others</c:v>
                </c:pt>
                <c:pt idx="403">
                  <c:v>Savencia: A</c:v>
                </c:pt>
                <c:pt idx="404">
                  <c:v>Savencia: A</c:v>
                </c:pt>
                <c:pt idx="405">
                  <c:v>All Others</c:v>
                </c:pt>
                <c:pt idx="406">
                  <c:v>All Others</c:v>
                </c:pt>
                <c:pt idx="407">
                  <c:v>All Others</c:v>
                </c:pt>
                <c:pt idx="408">
                  <c:v>All Others</c:v>
                </c:pt>
                <c:pt idx="409">
                  <c:v>All Others</c:v>
                </c:pt>
                <c:pt idx="410">
                  <c:v>All Others</c:v>
                </c:pt>
                <c:pt idx="411">
                  <c:v>All Others</c:v>
                </c:pt>
                <c:pt idx="412">
                  <c:v>All Others</c:v>
                </c:pt>
                <c:pt idx="413">
                  <c:v>All Others</c:v>
                </c:pt>
                <c:pt idx="414">
                  <c:v>All Others</c:v>
                </c:pt>
                <c:pt idx="415">
                  <c:v>All Others</c:v>
                </c:pt>
                <c:pt idx="416">
                  <c:v>All Others</c:v>
                </c:pt>
                <c:pt idx="417">
                  <c:v>All Others</c:v>
                </c:pt>
                <c:pt idx="418">
                  <c:v>All Others</c:v>
                </c:pt>
                <c:pt idx="419">
                  <c:v>Entremont</c:v>
                </c:pt>
                <c:pt idx="420">
                  <c:v>All Others</c:v>
                </c:pt>
                <c:pt idx="421">
                  <c:v>All Others</c:v>
                </c:pt>
                <c:pt idx="422">
                  <c:v>All Others</c:v>
                </c:pt>
                <c:pt idx="423">
                  <c:v>All Others</c:v>
                </c:pt>
                <c:pt idx="424">
                  <c:v>Kiri</c:v>
                </c:pt>
                <c:pt idx="425">
                  <c:v>All Others</c:v>
                </c:pt>
                <c:pt idx="426">
                  <c:v>All Others</c:v>
                </c:pt>
                <c:pt idx="427">
                  <c:v>All Others</c:v>
                </c:pt>
                <c:pt idx="428">
                  <c:v>All Others</c:v>
                </c:pt>
                <c:pt idx="429">
                  <c:v>All Others</c:v>
                </c:pt>
                <c:pt idx="430">
                  <c:v>All Others</c:v>
                </c:pt>
                <c:pt idx="431">
                  <c:v>All Others</c:v>
                </c:pt>
                <c:pt idx="432">
                  <c:v>All Others</c:v>
                </c:pt>
                <c:pt idx="433">
                  <c:v>All Others</c:v>
                </c:pt>
                <c:pt idx="434">
                  <c:v>All Others</c:v>
                </c:pt>
                <c:pt idx="435">
                  <c:v>All Others</c:v>
                </c:pt>
                <c:pt idx="436">
                  <c:v>All Others</c:v>
                </c:pt>
                <c:pt idx="437">
                  <c:v>All Others</c:v>
                </c:pt>
                <c:pt idx="438">
                  <c:v>All Others</c:v>
                </c:pt>
                <c:pt idx="439">
                  <c:v>All Others</c:v>
                </c:pt>
                <c:pt idx="440">
                  <c:v>All Others</c:v>
                </c:pt>
                <c:pt idx="441">
                  <c:v>All Others</c:v>
                </c:pt>
                <c:pt idx="442">
                  <c:v>All Others</c:v>
                </c:pt>
                <c:pt idx="443">
                  <c:v>All Others</c:v>
                </c:pt>
                <c:pt idx="444">
                  <c:v>All Others</c:v>
                </c:pt>
                <c:pt idx="445">
                  <c:v>All Others</c:v>
                </c:pt>
                <c:pt idx="446">
                  <c:v>All Others</c:v>
                </c:pt>
                <c:pt idx="447">
                  <c:v>All Others</c:v>
                </c:pt>
                <c:pt idx="448">
                  <c:v>All Others</c:v>
                </c:pt>
                <c:pt idx="449">
                  <c:v>All Others</c:v>
                </c:pt>
                <c:pt idx="450">
                  <c:v>All Others</c:v>
                </c:pt>
                <c:pt idx="451">
                  <c:v>All Others</c:v>
                </c:pt>
                <c:pt idx="452">
                  <c:v>All Others</c:v>
                </c:pt>
                <c:pt idx="453">
                  <c:v>All Others</c:v>
                </c:pt>
                <c:pt idx="454">
                  <c:v>All Others</c:v>
                </c:pt>
                <c:pt idx="455">
                  <c:v>All Others</c:v>
                </c:pt>
                <c:pt idx="456">
                  <c:v>All Others</c:v>
                </c:pt>
                <c:pt idx="457">
                  <c:v>All Others</c:v>
                </c:pt>
                <c:pt idx="458">
                  <c:v>All Others</c:v>
                </c:pt>
                <c:pt idx="459">
                  <c:v>All Others</c:v>
                </c:pt>
                <c:pt idx="460">
                  <c:v>All Others</c:v>
                </c:pt>
                <c:pt idx="461">
                  <c:v>All Others</c:v>
                </c:pt>
                <c:pt idx="462">
                  <c:v>Paysan Bret</c:v>
                </c:pt>
                <c:pt idx="463">
                  <c:v>All Others</c:v>
                </c:pt>
                <c:pt idx="464">
                  <c:v>All Others</c:v>
                </c:pt>
                <c:pt idx="465">
                  <c:v>All Others</c:v>
                </c:pt>
                <c:pt idx="466">
                  <c:v>All Others</c:v>
                </c:pt>
                <c:pt idx="467">
                  <c:v>All Others</c:v>
                </c:pt>
                <c:pt idx="468">
                  <c:v>All Others</c:v>
                </c:pt>
                <c:pt idx="469">
                  <c:v>All Others</c:v>
                </c:pt>
                <c:pt idx="470">
                  <c:v>All Others</c:v>
                </c:pt>
                <c:pt idx="471">
                  <c:v>All Others</c:v>
                </c:pt>
                <c:pt idx="472">
                  <c:v>All Others</c:v>
                </c:pt>
                <c:pt idx="473">
                  <c:v>All Others</c:v>
                </c:pt>
                <c:pt idx="474">
                  <c:v>All Others</c:v>
                </c:pt>
                <c:pt idx="475">
                  <c:v>Etoile Du V</c:v>
                </c:pt>
                <c:pt idx="476">
                  <c:v>All Others</c:v>
                </c:pt>
                <c:pt idx="477">
                  <c:v>All Others</c:v>
                </c:pt>
                <c:pt idx="478">
                  <c:v>All Others</c:v>
                </c:pt>
                <c:pt idx="479">
                  <c:v>Lactalis: A</c:v>
                </c:pt>
                <c:pt idx="480">
                  <c:v>All Others</c:v>
                </c:pt>
                <c:pt idx="481">
                  <c:v>All Others</c:v>
                </c:pt>
                <c:pt idx="482">
                  <c:v>All Others</c:v>
                </c:pt>
                <c:pt idx="483">
                  <c:v>All Others</c:v>
                </c:pt>
                <c:pt idx="484">
                  <c:v>All Others</c:v>
                </c:pt>
                <c:pt idx="485">
                  <c:v>All Others</c:v>
                </c:pt>
                <c:pt idx="486">
                  <c:v>All Others</c:v>
                </c:pt>
                <c:pt idx="487">
                  <c:v>All Others</c:v>
                </c:pt>
                <c:pt idx="488">
                  <c:v>All Others</c:v>
                </c:pt>
                <c:pt idx="489">
                  <c:v>All Others</c:v>
                </c:pt>
                <c:pt idx="490">
                  <c:v>All Others</c:v>
                </c:pt>
                <c:pt idx="491">
                  <c:v>All Others</c:v>
                </c:pt>
                <c:pt idx="492">
                  <c:v>All Others</c:v>
                </c:pt>
                <c:pt idx="493">
                  <c:v>All Others</c:v>
                </c:pt>
                <c:pt idx="494">
                  <c:v>All Others</c:v>
                </c:pt>
                <c:pt idx="495">
                  <c:v>Etoile Du V</c:v>
                </c:pt>
                <c:pt idx="496">
                  <c:v>All Others</c:v>
                </c:pt>
                <c:pt idx="497">
                  <c:v>All Others</c:v>
                </c:pt>
                <c:pt idx="498">
                  <c:v>All Others</c:v>
                </c:pt>
                <c:pt idx="499">
                  <c:v>All Others</c:v>
                </c:pt>
                <c:pt idx="500">
                  <c:v>All Others</c:v>
                </c:pt>
                <c:pt idx="501">
                  <c:v>All Others</c:v>
                </c:pt>
                <c:pt idx="502">
                  <c:v>All Others</c:v>
                </c:pt>
                <c:pt idx="503">
                  <c:v>All Others</c:v>
                </c:pt>
                <c:pt idx="504">
                  <c:v>All Others</c:v>
                </c:pt>
                <c:pt idx="505">
                  <c:v>All Others</c:v>
                </c:pt>
                <c:pt idx="506">
                  <c:v>All Others</c:v>
                </c:pt>
                <c:pt idx="507">
                  <c:v>All Others</c:v>
                </c:pt>
                <c:pt idx="508">
                  <c:v>Savencia: A</c:v>
                </c:pt>
                <c:pt idx="509">
                  <c:v>All Others</c:v>
                </c:pt>
                <c:pt idx="510">
                  <c:v>All Others</c:v>
                </c:pt>
                <c:pt idx="511">
                  <c:v>All Others</c:v>
                </c:pt>
                <c:pt idx="512">
                  <c:v>All Others</c:v>
                </c:pt>
                <c:pt idx="513">
                  <c:v>All Others</c:v>
                </c:pt>
                <c:pt idx="514">
                  <c:v>All Others</c:v>
                </c:pt>
                <c:pt idx="515">
                  <c:v>All Others</c:v>
                </c:pt>
                <c:pt idx="516">
                  <c:v>All Others</c:v>
                </c:pt>
                <c:pt idx="517">
                  <c:v>All Others</c:v>
                </c:pt>
                <c:pt idx="518">
                  <c:v>Other Suppl</c:v>
                </c:pt>
                <c:pt idx="519">
                  <c:v>All Others</c:v>
                </c:pt>
                <c:pt idx="520">
                  <c:v>All Others</c:v>
                </c:pt>
                <c:pt idx="521">
                  <c:v>All Others</c:v>
                </c:pt>
                <c:pt idx="522">
                  <c:v>All Others</c:v>
                </c:pt>
                <c:pt idx="523">
                  <c:v>All Others</c:v>
                </c:pt>
                <c:pt idx="524">
                  <c:v>All Others</c:v>
                </c:pt>
                <c:pt idx="525">
                  <c:v>All Others</c:v>
                </c:pt>
                <c:pt idx="526">
                  <c:v>All Others</c:v>
                </c:pt>
                <c:pt idx="527">
                  <c:v>All Others</c:v>
                </c:pt>
                <c:pt idx="528">
                  <c:v>All Others</c:v>
                </c:pt>
                <c:pt idx="529">
                  <c:v>All Others</c:v>
                </c:pt>
                <c:pt idx="530">
                  <c:v>All Others</c:v>
                </c:pt>
                <c:pt idx="531">
                  <c:v>All Others</c:v>
                </c:pt>
                <c:pt idx="532">
                  <c:v>All Others</c:v>
                </c:pt>
                <c:pt idx="533">
                  <c:v>All Others</c:v>
                </c:pt>
                <c:pt idx="534">
                  <c:v>All Others</c:v>
                </c:pt>
                <c:pt idx="535">
                  <c:v>All Others</c:v>
                </c:pt>
                <c:pt idx="536">
                  <c:v>All Others</c:v>
                </c:pt>
                <c:pt idx="537">
                  <c:v>All Others</c:v>
                </c:pt>
                <c:pt idx="538">
                  <c:v>All Others</c:v>
                </c:pt>
                <c:pt idx="539">
                  <c:v>All Others</c:v>
                </c:pt>
                <c:pt idx="540">
                  <c:v>All Others</c:v>
                </c:pt>
                <c:pt idx="541">
                  <c:v>All Others</c:v>
                </c:pt>
                <c:pt idx="542">
                  <c:v>All Others</c:v>
                </c:pt>
                <c:pt idx="543">
                  <c:v>All Others</c:v>
                </c:pt>
                <c:pt idx="544">
                  <c:v>All Others</c:v>
                </c:pt>
                <c:pt idx="545">
                  <c:v>All Others</c:v>
                </c:pt>
                <c:pt idx="546">
                  <c:v>All Others</c:v>
                </c:pt>
                <c:pt idx="547">
                  <c:v>Other Suppl</c:v>
                </c:pt>
                <c:pt idx="548">
                  <c:v>All Others</c:v>
                </c:pt>
                <c:pt idx="549">
                  <c:v>Savencia: A</c:v>
                </c:pt>
                <c:pt idx="550">
                  <c:v>Lactalis: A</c:v>
                </c:pt>
                <c:pt idx="551">
                  <c:v>All Others</c:v>
                </c:pt>
                <c:pt idx="552">
                  <c:v>All Others</c:v>
                </c:pt>
                <c:pt idx="553">
                  <c:v>All Others</c:v>
                </c:pt>
                <c:pt idx="554">
                  <c:v>All Others</c:v>
                </c:pt>
                <c:pt idx="555">
                  <c:v>All Others</c:v>
                </c:pt>
                <c:pt idx="556">
                  <c:v>All Others</c:v>
                </c:pt>
                <c:pt idx="557">
                  <c:v>All Others</c:v>
                </c:pt>
                <c:pt idx="558">
                  <c:v>All Others</c:v>
                </c:pt>
                <c:pt idx="559">
                  <c:v>All Others</c:v>
                </c:pt>
                <c:pt idx="560">
                  <c:v>Caprice Des</c:v>
                </c:pt>
                <c:pt idx="561">
                  <c:v>All Others</c:v>
                </c:pt>
                <c:pt idx="562">
                  <c:v>All Others</c:v>
                </c:pt>
                <c:pt idx="563">
                  <c:v>All Others</c:v>
                </c:pt>
                <c:pt idx="564">
                  <c:v>All Others</c:v>
                </c:pt>
                <c:pt idx="565">
                  <c:v>All Others</c:v>
                </c:pt>
                <c:pt idx="566">
                  <c:v>All Others</c:v>
                </c:pt>
                <c:pt idx="567">
                  <c:v>All Others</c:v>
                </c:pt>
                <c:pt idx="568">
                  <c:v>All Others</c:v>
                </c:pt>
                <c:pt idx="569">
                  <c:v>All Others</c:v>
                </c:pt>
                <c:pt idx="570">
                  <c:v>All Others</c:v>
                </c:pt>
                <c:pt idx="571">
                  <c:v>All Others</c:v>
                </c:pt>
                <c:pt idx="572">
                  <c:v>All Others</c:v>
                </c:pt>
                <c:pt idx="573">
                  <c:v>All Others</c:v>
                </c:pt>
                <c:pt idx="574">
                  <c:v>All Others</c:v>
                </c:pt>
                <c:pt idx="575">
                  <c:v>Lactalis: A</c:v>
                </c:pt>
                <c:pt idx="576">
                  <c:v>All Others</c:v>
                </c:pt>
                <c:pt idx="577">
                  <c:v>All Others</c:v>
                </c:pt>
                <c:pt idx="578">
                  <c:v>La Vache Qu</c:v>
                </c:pt>
                <c:pt idx="579">
                  <c:v>All Others</c:v>
                </c:pt>
                <c:pt idx="580">
                  <c:v>All Others</c:v>
                </c:pt>
                <c:pt idx="581">
                  <c:v>All Others</c:v>
                </c:pt>
                <c:pt idx="582">
                  <c:v>All Others</c:v>
                </c:pt>
                <c:pt idx="583">
                  <c:v>Gillot</c:v>
                </c:pt>
                <c:pt idx="584">
                  <c:v>All Others</c:v>
                </c:pt>
                <c:pt idx="585">
                  <c:v>All Others</c:v>
                </c:pt>
                <c:pt idx="586">
                  <c:v>All Others</c:v>
                </c:pt>
                <c:pt idx="587">
                  <c:v>All Others</c:v>
                </c:pt>
                <c:pt idx="588">
                  <c:v>Lactalis: A</c:v>
                </c:pt>
                <c:pt idx="589">
                  <c:v>Private Lab</c:v>
                </c:pt>
                <c:pt idx="590">
                  <c:v>All Others</c:v>
                </c:pt>
                <c:pt idx="591">
                  <c:v>All Others</c:v>
                </c:pt>
                <c:pt idx="592">
                  <c:v>All Others</c:v>
                </c:pt>
                <c:pt idx="593">
                  <c:v>All Others</c:v>
                </c:pt>
                <c:pt idx="594">
                  <c:v>All Others</c:v>
                </c:pt>
                <c:pt idx="595">
                  <c:v>All Others</c:v>
                </c:pt>
                <c:pt idx="596">
                  <c:v>All Others</c:v>
                </c:pt>
                <c:pt idx="597">
                  <c:v>All Others</c:v>
                </c:pt>
                <c:pt idx="598">
                  <c:v>All Others</c:v>
                </c:pt>
                <c:pt idx="599">
                  <c:v>All Others</c:v>
                </c:pt>
                <c:pt idx="600">
                  <c:v>All Others</c:v>
                </c:pt>
                <c:pt idx="601">
                  <c:v>Private Lab</c:v>
                </c:pt>
                <c:pt idx="602">
                  <c:v>All Others</c:v>
                </c:pt>
                <c:pt idx="603">
                  <c:v>All Others</c:v>
                </c:pt>
                <c:pt idx="604">
                  <c:v>Netto</c:v>
                </c:pt>
                <c:pt idx="605">
                  <c:v>All Others</c:v>
                </c:pt>
                <c:pt idx="606">
                  <c:v>All Others</c:v>
                </c:pt>
                <c:pt idx="607">
                  <c:v>All Others</c:v>
                </c:pt>
                <c:pt idx="608">
                  <c:v>All Others</c:v>
                </c:pt>
                <c:pt idx="609">
                  <c:v>All Others</c:v>
                </c:pt>
                <c:pt idx="610">
                  <c:v>All Others</c:v>
                </c:pt>
                <c:pt idx="611">
                  <c:v>All Others</c:v>
                </c:pt>
                <c:pt idx="612">
                  <c:v>Private Lab</c:v>
                </c:pt>
                <c:pt idx="613">
                  <c:v>All Others</c:v>
                </c:pt>
                <c:pt idx="614">
                  <c:v>Private Lab</c:v>
                </c:pt>
                <c:pt idx="615">
                  <c:v>All Others</c:v>
                </c:pt>
                <c:pt idx="616">
                  <c:v>All Others</c:v>
                </c:pt>
                <c:pt idx="617">
                  <c:v>All Others</c:v>
                </c:pt>
                <c:pt idx="618">
                  <c:v>Private Lab</c:v>
                </c:pt>
                <c:pt idx="619">
                  <c:v>Private Lab</c:v>
                </c:pt>
                <c:pt idx="620">
                  <c:v>All Others</c:v>
                </c:pt>
                <c:pt idx="621">
                  <c:v>All Others</c:v>
                </c:pt>
                <c:pt idx="622">
                  <c:v>Lactalis: A</c:v>
                </c:pt>
                <c:pt idx="623">
                  <c:v>All Others</c:v>
                </c:pt>
                <c:pt idx="624">
                  <c:v>President</c:v>
                </c:pt>
                <c:pt idx="625">
                  <c:v>All Others</c:v>
                </c:pt>
              </c:strCache>
            </c:strRef>
          </c:cat>
          <c:val>
            <c:numRef>
              <c:f>Sheet1!$C$2:$C$627</c:f>
              <c:numCache>
                <c:formatCode>General</c:formatCode>
                <c:ptCount val="626"/>
                <c:pt idx="0">
                  <c:v>2.6328395013684423E-2</c:v>
                </c:pt>
                <c:pt idx="1">
                  <c:v>4.7837643296408522E-2</c:v>
                </c:pt>
                <c:pt idx="2">
                  <c:v>6.9076088823074477E-2</c:v>
                </c:pt>
                <c:pt idx="3">
                  <c:v>8.8346390341052849E-2</c:v>
                </c:pt>
                <c:pt idx="4">
                  <c:v>0.10600737410770644</c:v>
                </c:pt>
                <c:pt idx="5">
                  <c:v>0.12350803221056471</c:v>
                </c:pt>
                <c:pt idx="6">
                  <c:v>0.1409279398004239</c:v>
                </c:pt>
                <c:pt idx="7">
                  <c:v>0.15822434394650572</c:v>
                </c:pt>
                <c:pt idx="8">
                  <c:v>0.17516456118407672</c:v>
                </c:pt>
                <c:pt idx="9">
                  <c:v>0.19162301032108675</c:v>
                </c:pt>
                <c:pt idx="10">
                  <c:v>0.20800603980384616</c:v>
                </c:pt>
                <c:pt idx="11">
                  <c:v>0.22285302910930371</c:v>
                </c:pt>
                <c:pt idx="12">
                  <c:v>0.23636963706503453</c:v>
                </c:pt>
                <c:pt idx="13">
                  <c:v>0.24943357061212812</c:v>
                </c:pt>
                <c:pt idx="14">
                  <c:v>0.26158513794275973</c:v>
                </c:pt>
                <c:pt idx="15">
                  <c:v>0.27352204518823603</c:v>
                </c:pt>
                <c:pt idx="16">
                  <c:v>0.2852484721869234</c:v>
                </c:pt>
                <c:pt idx="17">
                  <c:v>0.29651060329625772</c:v>
                </c:pt>
                <c:pt idx="18">
                  <c:v>0.30756770846535691</c:v>
                </c:pt>
                <c:pt idx="19">
                  <c:v>0.31827928496603924</c:v>
                </c:pt>
                <c:pt idx="20">
                  <c:v>0.32869950899782974</c:v>
                </c:pt>
                <c:pt idx="21">
                  <c:v>0.33903988664139256</c:v>
                </c:pt>
                <c:pt idx="22">
                  <c:v>0.34888158905116867</c:v>
                </c:pt>
                <c:pt idx="23">
                  <c:v>0.3585567655876592</c:v>
                </c:pt>
                <c:pt idx="24">
                  <c:v>0.36787417125858746</c:v>
                </c:pt>
                <c:pt idx="25">
                  <c:v>0.37716974405498715</c:v>
                </c:pt>
                <c:pt idx="26">
                  <c:v>0.38630288040399052</c:v>
                </c:pt>
                <c:pt idx="27">
                  <c:v>0.39539286044347144</c:v>
                </c:pt>
                <c:pt idx="28">
                  <c:v>0.40438992949177754</c:v>
                </c:pt>
                <c:pt idx="29">
                  <c:v>0.41294687755615744</c:v>
                </c:pt>
                <c:pt idx="30">
                  <c:v>0.42149181640939065</c:v>
                </c:pt>
                <c:pt idx="31">
                  <c:v>0.42991143313709473</c:v>
                </c:pt>
                <c:pt idx="32">
                  <c:v>0.43828587840025701</c:v>
                </c:pt>
                <c:pt idx="33">
                  <c:v>0.4463420369698462</c:v>
                </c:pt>
                <c:pt idx="34">
                  <c:v>0.45409347593353827</c:v>
                </c:pt>
                <c:pt idx="35">
                  <c:v>0.46171691691011807</c:v>
                </c:pt>
                <c:pt idx="36">
                  <c:v>0.46927479319245585</c:v>
                </c:pt>
                <c:pt idx="37">
                  <c:v>0.47677114552279931</c:v>
                </c:pt>
                <c:pt idx="38">
                  <c:v>0.48404872400027743</c:v>
                </c:pt>
                <c:pt idx="39">
                  <c:v>0.49125232072963182</c:v>
                </c:pt>
                <c:pt idx="40">
                  <c:v>0.49845475079029072</c:v>
                </c:pt>
                <c:pt idx="41">
                  <c:v>0.50511657335348492</c:v>
                </c:pt>
                <c:pt idx="42">
                  <c:v>0.51175474783780173</c:v>
                </c:pt>
                <c:pt idx="43">
                  <c:v>0.51830429896880215</c:v>
                </c:pt>
                <c:pt idx="44">
                  <c:v>0.52479550797152297</c:v>
                </c:pt>
                <c:pt idx="45">
                  <c:v>0.53123250252328624</c:v>
                </c:pt>
                <c:pt idx="46">
                  <c:v>0.53758179523351934</c:v>
                </c:pt>
                <c:pt idx="47">
                  <c:v>0.54363526005724194</c:v>
                </c:pt>
                <c:pt idx="48">
                  <c:v>0.54951017240951749</c:v>
                </c:pt>
                <c:pt idx="49">
                  <c:v>0.55524633290600522</c:v>
                </c:pt>
                <c:pt idx="50">
                  <c:v>0.56096423182081157</c:v>
                </c:pt>
                <c:pt idx="51">
                  <c:v>0.56661624612030292</c:v>
                </c:pt>
                <c:pt idx="52">
                  <c:v>0.57223816871321898</c:v>
                </c:pt>
                <c:pt idx="53">
                  <c:v>0.57765843149197205</c:v>
                </c:pt>
                <c:pt idx="54">
                  <c:v>0.58298871646895301</c:v>
                </c:pt>
                <c:pt idx="55">
                  <c:v>0.58793379908706611</c:v>
                </c:pt>
                <c:pt idx="56">
                  <c:v>0.59274022200057008</c:v>
                </c:pt>
                <c:pt idx="57">
                  <c:v>0.59748365523672908</c:v>
                </c:pt>
                <c:pt idx="58">
                  <c:v>0.6021789125321827</c:v>
                </c:pt>
                <c:pt idx="59">
                  <c:v>0.60679567614916285</c:v>
                </c:pt>
                <c:pt idx="60">
                  <c:v>0.61132332262160527</c:v>
                </c:pt>
                <c:pt idx="61">
                  <c:v>0.6158080527253299</c:v>
                </c:pt>
                <c:pt idx="62">
                  <c:v>0.62025314391263331</c:v>
                </c:pt>
                <c:pt idx="63">
                  <c:v>0.62468431853326256</c:v>
                </c:pt>
                <c:pt idx="64">
                  <c:v>0.62909790444968461</c:v>
                </c:pt>
                <c:pt idx="65">
                  <c:v>0.63350527103090004</c:v>
                </c:pt>
                <c:pt idx="66">
                  <c:v>0.63790618007480571</c:v>
                </c:pt>
                <c:pt idx="67">
                  <c:v>0.64229552327644301</c:v>
                </c:pt>
                <c:pt idx="68">
                  <c:v>0.64668085529375785</c:v>
                </c:pt>
                <c:pt idx="69">
                  <c:v>0.65102590855250542</c:v>
                </c:pt>
                <c:pt idx="70">
                  <c:v>0.65535012173527152</c:v>
                </c:pt>
                <c:pt idx="71">
                  <c:v>0.65967062279037036</c:v>
                </c:pt>
                <c:pt idx="72">
                  <c:v>0.6639320758043874</c:v>
                </c:pt>
                <c:pt idx="73">
                  <c:v>0.66817854816642241</c:v>
                </c:pt>
                <c:pt idx="74">
                  <c:v>0.6723975612159282</c:v>
                </c:pt>
                <c:pt idx="75">
                  <c:v>0.67657194875315796</c:v>
                </c:pt>
                <c:pt idx="76">
                  <c:v>0.68070873513210517</c:v>
                </c:pt>
                <c:pt idx="77">
                  <c:v>0.68473481838759664</c:v>
                </c:pt>
                <c:pt idx="78">
                  <c:v>0.68872331091701444</c:v>
                </c:pt>
                <c:pt idx="79">
                  <c:v>0.69270417054691957</c:v>
                </c:pt>
                <c:pt idx="80">
                  <c:v>0.69663092178665764</c:v>
                </c:pt>
                <c:pt idx="81">
                  <c:v>0.7003370178985252</c:v>
                </c:pt>
                <c:pt idx="82">
                  <c:v>0.70390085171630978</c:v>
                </c:pt>
                <c:pt idx="83">
                  <c:v>0.70744912415581684</c:v>
                </c:pt>
                <c:pt idx="84">
                  <c:v>0.71096285902905521</c:v>
                </c:pt>
                <c:pt idx="85">
                  <c:v>0.7144740832173514</c:v>
                </c:pt>
                <c:pt idx="86">
                  <c:v>0.7179716412119872</c:v>
                </c:pt>
                <c:pt idx="87">
                  <c:v>0.7213857936964585</c:v>
                </c:pt>
                <c:pt idx="88">
                  <c:v>0.72476105316744499</c:v>
                </c:pt>
                <c:pt idx="89">
                  <c:v>0.72812108509083884</c:v>
                </c:pt>
                <c:pt idx="90">
                  <c:v>0.73141632082604635</c:v>
                </c:pt>
                <c:pt idx="91">
                  <c:v>0.73469439036150708</c:v>
                </c:pt>
                <c:pt idx="92">
                  <c:v>0.73796861215058474</c:v>
                </c:pt>
                <c:pt idx="93">
                  <c:v>0.74123024574092178</c:v>
                </c:pt>
                <c:pt idx="94">
                  <c:v>0.74448893570964714</c:v>
                </c:pt>
                <c:pt idx="95">
                  <c:v>0.74774611822418635</c:v>
                </c:pt>
                <c:pt idx="96">
                  <c:v>0.75086894605898957</c:v>
                </c:pt>
                <c:pt idx="97">
                  <c:v>0.75398622395865733</c:v>
                </c:pt>
                <c:pt idx="98">
                  <c:v>0.75710036350214738</c:v>
                </c:pt>
                <c:pt idx="99">
                  <c:v>0.76017342796179077</c:v>
                </c:pt>
                <c:pt idx="100">
                  <c:v>0.76320382816443155</c:v>
                </c:pt>
                <c:pt idx="101">
                  <c:v>0.76615991104956227</c:v>
                </c:pt>
                <c:pt idx="102">
                  <c:v>0.76909986400103036</c:v>
                </c:pt>
                <c:pt idx="103">
                  <c:v>0.77198464795442645</c:v>
                </c:pt>
                <c:pt idx="104">
                  <c:v>0.77474374117757883</c:v>
                </c:pt>
                <c:pt idx="105">
                  <c:v>0.77749105469818036</c:v>
                </c:pt>
                <c:pt idx="106">
                  <c:v>0.78019583610309207</c:v>
                </c:pt>
                <c:pt idx="107">
                  <c:v>0.78285409854981225</c:v>
                </c:pt>
                <c:pt idx="108">
                  <c:v>0.78550828200285205</c:v>
                </c:pt>
                <c:pt idx="109">
                  <c:v>0.78815313906113427</c:v>
                </c:pt>
                <c:pt idx="110">
                  <c:v>0.79078820723006427</c:v>
                </c:pt>
                <c:pt idx="111">
                  <c:v>0.79336930436624431</c:v>
                </c:pt>
                <c:pt idx="112">
                  <c:v>0.79590338353690704</c:v>
                </c:pt>
                <c:pt idx="113">
                  <c:v>0.79841138044661553</c:v>
                </c:pt>
                <c:pt idx="114">
                  <c:v>0.8009018564614746</c:v>
                </c:pt>
                <c:pt idx="115">
                  <c:v>0.80335680558892086</c:v>
                </c:pt>
                <c:pt idx="116">
                  <c:v>0.80580249786966895</c:v>
                </c:pt>
                <c:pt idx="117">
                  <c:v>0.8082388029011075</c:v>
                </c:pt>
                <c:pt idx="118">
                  <c:v>0.81060707080479444</c:v>
                </c:pt>
                <c:pt idx="119">
                  <c:v>0.81296428578315061</c:v>
                </c:pt>
                <c:pt idx="120">
                  <c:v>0.81530934897683849</c:v>
                </c:pt>
                <c:pt idx="121">
                  <c:v>0.81763536817317739</c:v>
                </c:pt>
                <c:pt idx="122">
                  <c:v>0.8198893773088749</c:v>
                </c:pt>
                <c:pt idx="123">
                  <c:v>0.82210637470609271</c:v>
                </c:pt>
                <c:pt idx="124">
                  <c:v>0.82431143765632764</c:v>
                </c:pt>
                <c:pt idx="125">
                  <c:v>0.82649802516459869</c:v>
                </c:pt>
                <c:pt idx="126">
                  <c:v>0.82867156371823592</c:v>
                </c:pt>
                <c:pt idx="127">
                  <c:v>0.83083493956170196</c:v>
                </c:pt>
                <c:pt idx="128">
                  <c:v>0.83298658438625872</c:v>
                </c:pt>
                <c:pt idx="129">
                  <c:v>0.83510693084541066</c:v>
                </c:pt>
                <c:pt idx="130">
                  <c:v>0.83721125517039197</c:v>
                </c:pt>
                <c:pt idx="131">
                  <c:v>0.83930021980646785</c:v>
                </c:pt>
                <c:pt idx="132">
                  <c:v>0.84136883641908211</c:v>
                </c:pt>
                <c:pt idx="133">
                  <c:v>0.84343139365702624</c:v>
                </c:pt>
                <c:pt idx="134">
                  <c:v>0.84546970644148423</c:v>
                </c:pt>
                <c:pt idx="135">
                  <c:v>0.84750692036660458</c:v>
                </c:pt>
                <c:pt idx="136">
                  <c:v>0.84951186051478789</c:v>
                </c:pt>
                <c:pt idx="137">
                  <c:v>0.85148502763206135</c:v>
                </c:pt>
                <c:pt idx="138">
                  <c:v>0.85343951240189442</c:v>
                </c:pt>
                <c:pt idx="139">
                  <c:v>0.85539054758798416</c:v>
                </c:pt>
                <c:pt idx="140">
                  <c:v>0.85730039989073525</c:v>
                </c:pt>
                <c:pt idx="141">
                  <c:v>0.85920117791044393</c:v>
                </c:pt>
                <c:pt idx="142">
                  <c:v>0.86107284658991545</c:v>
                </c:pt>
                <c:pt idx="143">
                  <c:v>0.86294027631517012</c:v>
                </c:pt>
                <c:pt idx="144">
                  <c:v>0.86480586127815084</c:v>
                </c:pt>
                <c:pt idx="145">
                  <c:v>0.86663853436075</c:v>
                </c:pt>
                <c:pt idx="146">
                  <c:v>0.86841014946335238</c:v>
                </c:pt>
                <c:pt idx="147">
                  <c:v>0.87016676826565942</c:v>
                </c:pt>
                <c:pt idx="148">
                  <c:v>0.8719114960885207</c:v>
                </c:pt>
                <c:pt idx="149">
                  <c:v>0.87365273607620608</c:v>
                </c:pt>
                <c:pt idx="150">
                  <c:v>0.87539281808870339</c:v>
                </c:pt>
                <c:pt idx="151">
                  <c:v>0.87713001211803654</c:v>
                </c:pt>
                <c:pt idx="152">
                  <c:v>0.87882995968418975</c:v>
                </c:pt>
                <c:pt idx="153">
                  <c:v>0.88052181011753428</c:v>
                </c:pt>
                <c:pt idx="154">
                  <c:v>0.88220154354024016</c:v>
                </c:pt>
                <c:pt idx="155">
                  <c:v>0.88385843042545253</c:v>
                </c:pt>
                <c:pt idx="156">
                  <c:v>0.8855011886224099</c:v>
                </c:pt>
                <c:pt idx="157">
                  <c:v>0.88711378382603112</c:v>
                </c:pt>
                <c:pt idx="158">
                  <c:v>0.88868306449829493</c:v>
                </c:pt>
                <c:pt idx="159">
                  <c:v>0.89025049519218025</c:v>
                </c:pt>
                <c:pt idx="160">
                  <c:v>0.89181121797574214</c:v>
                </c:pt>
                <c:pt idx="161">
                  <c:v>0.89334854479214176</c:v>
                </c:pt>
                <c:pt idx="162">
                  <c:v>0.89485872352357776</c:v>
                </c:pt>
                <c:pt idx="163">
                  <c:v>0.896365447455166</c:v>
                </c:pt>
                <c:pt idx="164">
                  <c:v>0.89786851837493731</c:v>
                </c:pt>
                <c:pt idx="165">
                  <c:v>0.89935442657236486</c:v>
                </c:pt>
                <c:pt idx="166">
                  <c:v>0.90083994703936154</c:v>
                </c:pt>
                <c:pt idx="167">
                  <c:v>0.90231894042098915</c:v>
                </c:pt>
                <c:pt idx="168">
                  <c:v>0.90377980262354662</c:v>
                </c:pt>
                <c:pt idx="169">
                  <c:v>0.90521493552155097</c:v>
                </c:pt>
                <c:pt idx="170">
                  <c:v>0.90663666303111734</c:v>
                </c:pt>
                <c:pt idx="171">
                  <c:v>0.90803061130708151</c:v>
                </c:pt>
                <c:pt idx="172">
                  <c:v>0.9094170588248458</c:v>
                </c:pt>
                <c:pt idx="173">
                  <c:v>0.91078133963739671</c:v>
                </c:pt>
                <c:pt idx="174">
                  <c:v>0.91212298603403519</c:v>
                </c:pt>
                <c:pt idx="175">
                  <c:v>0.91346371613499178</c:v>
                </c:pt>
                <c:pt idx="176">
                  <c:v>0.91479872938547058</c:v>
                </c:pt>
                <c:pt idx="177">
                  <c:v>0.91611972000848485</c:v>
                </c:pt>
                <c:pt idx="178">
                  <c:v>0.91743102084813144</c:v>
                </c:pt>
                <c:pt idx="179">
                  <c:v>0.91873384377934442</c:v>
                </c:pt>
                <c:pt idx="180">
                  <c:v>0.9200056708792107</c:v>
                </c:pt>
                <c:pt idx="181">
                  <c:v>0.92123263948080214</c:v>
                </c:pt>
                <c:pt idx="182">
                  <c:v>0.92245948463458827</c:v>
                </c:pt>
                <c:pt idx="183">
                  <c:v>0.92367918894138157</c:v>
                </c:pt>
                <c:pt idx="184">
                  <c:v>0.92489591137513061</c:v>
                </c:pt>
                <c:pt idx="185">
                  <c:v>0.92609465737424157</c:v>
                </c:pt>
                <c:pt idx="186">
                  <c:v>0.92728022749351047</c:v>
                </c:pt>
                <c:pt idx="187">
                  <c:v>0.92846174296091977</c:v>
                </c:pt>
                <c:pt idx="188">
                  <c:v>0.92962068138956555</c:v>
                </c:pt>
                <c:pt idx="189">
                  <c:v>0.93076576062868621</c:v>
                </c:pt>
                <c:pt idx="190">
                  <c:v>0.93189540889214062</c:v>
                </c:pt>
                <c:pt idx="191">
                  <c:v>0.93300498210826632</c:v>
                </c:pt>
                <c:pt idx="192">
                  <c:v>0.93407236921029735</c:v>
                </c:pt>
                <c:pt idx="193">
                  <c:v>0.93509393631213322</c:v>
                </c:pt>
                <c:pt idx="194">
                  <c:v>0.93611301359344468</c:v>
                </c:pt>
                <c:pt idx="195">
                  <c:v>0.93712157173078092</c:v>
                </c:pt>
                <c:pt idx="196">
                  <c:v>0.93812872325861696</c:v>
                </c:pt>
                <c:pt idx="197">
                  <c:v>0.9391238986106345</c:v>
                </c:pt>
                <c:pt idx="198">
                  <c:v>0.94011803769656788</c:v>
                </c:pt>
                <c:pt idx="199">
                  <c:v>0.94108817748592422</c:v>
                </c:pt>
                <c:pt idx="200">
                  <c:v>0.9420435348352677</c:v>
                </c:pt>
                <c:pt idx="201">
                  <c:v>0.94298979703715091</c:v>
                </c:pt>
                <c:pt idx="202">
                  <c:v>0.9439340423453132</c:v>
                </c:pt>
                <c:pt idx="203">
                  <c:v>0.9448497677330413</c:v>
                </c:pt>
                <c:pt idx="204">
                  <c:v>0.94575271018746254</c:v>
                </c:pt>
                <c:pt idx="205">
                  <c:v>0.94664623583464913</c:v>
                </c:pt>
                <c:pt idx="206">
                  <c:v>0.9475363118980924</c:v>
                </c:pt>
                <c:pt idx="207">
                  <c:v>0.94839677439786829</c:v>
                </c:pt>
                <c:pt idx="208">
                  <c:v>0.94924179375106765</c:v>
                </c:pt>
                <c:pt idx="209">
                  <c:v>0.95007606966780034</c:v>
                </c:pt>
                <c:pt idx="210">
                  <c:v>0.95090796182479909</c:v>
                </c:pt>
                <c:pt idx="211">
                  <c:v>0.95173918979783112</c:v>
                </c:pt>
                <c:pt idx="212">
                  <c:v>0.95255749226403463</c:v>
                </c:pt>
                <c:pt idx="213">
                  <c:v>0.95337363178559276</c:v>
                </c:pt>
                <c:pt idx="214">
                  <c:v>0.95417128717167954</c:v>
                </c:pt>
                <c:pt idx="215">
                  <c:v>0.95496705954405969</c:v>
                </c:pt>
                <c:pt idx="216">
                  <c:v>0.9557549312568987</c:v>
                </c:pt>
                <c:pt idx="217">
                  <c:v>0.95651065785671041</c:v>
                </c:pt>
                <c:pt idx="218">
                  <c:v>0.9572601355633904</c:v>
                </c:pt>
                <c:pt idx="219">
                  <c:v>0.95800357475981812</c:v>
                </c:pt>
                <c:pt idx="220">
                  <c:v>0.95874143098578224</c:v>
                </c:pt>
                <c:pt idx="221">
                  <c:v>0.95946003804762225</c:v>
                </c:pt>
                <c:pt idx="222">
                  <c:v>0.96016689148743373</c:v>
                </c:pt>
                <c:pt idx="223">
                  <c:v>0.96086388648983367</c:v>
                </c:pt>
                <c:pt idx="224">
                  <c:v>0.96153312138434766</c:v>
                </c:pt>
                <c:pt idx="225">
                  <c:v>0.9621989849366851</c:v>
                </c:pt>
                <c:pt idx="226">
                  <c:v>0.96284474736117165</c:v>
                </c:pt>
                <c:pt idx="227">
                  <c:v>0.96348977257622914</c:v>
                </c:pt>
                <c:pt idx="228">
                  <c:v>0.9641328730487444</c:v>
                </c:pt>
                <c:pt idx="229">
                  <c:v>0.96476201696445141</c:v>
                </c:pt>
                <c:pt idx="230">
                  <c:v>0.96538779823148935</c:v>
                </c:pt>
                <c:pt idx="231">
                  <c:v>0.96597796741474184</c:v>
                </c:pt>
                <c:pt idx="232">
                  <c:v>0.96655137899309618</c:v>
                </c:pt>
                <c:pt idx="233">
                  <c:v>0.96711936756152339</c:v>
                </c:pt>
                <c:pt idx="234">
                  <c:v>0.96768655632726819</c:v>
                </c:pt>
                <c:pt idx="235">
                  <c:v>0.96825209332660367</c:v>
                </c:pt>
                <c:pt idx="236">
                  <c:v>0.96881297234466479</c:v>
                </c:pt>
                <c:pt idx="237">
                  <c:v>0.96937061390056356</c:v>
                </c:pt>
                <c:pt idx="238">
                  <c:v>0.96990469083525621</c:v>
                </c:pt>
                <c:pt idx="239">
                  <c:v>0.9704386512769495</c:v>
                </c:pt>
                <c:pt idx="240">
                  <c:v>0.97097161544269273</c:v>
                </c:pt>
                <c:pt idx="241">
                  <c:v>0.97149276860925837</c:v>
                </c:pt>
                <c:pt idx="242">
                  <c:v>0.97200969325381614</c:v>
                </c:pt>
                <c:pt idx="243">
                  <c:v>0.97251997432000536</c:v>
                </c:pt>
                <c:pt idx="244">
                  <c:v>0.9730103176962831</c:v>
                </c:pt>
                <c:pt idx="245">
                  <c:v>0.97349877110404825</c:v>
                </c:pt>
                <c:pt idx="246">
                  <c:v>0.97397951163203245</c:v>
                </c:pt>
                <c:pt idx="247">
                  <c:v>0.97445685821472083</c:v>
                </c:pt>
                <c:pt idx="248">
                  <c:v>0.97493373013190421</c:v>
                </c:pt>
                <c:pt idx="249">
                  <c:v>0.97540605360600674</c:v>
                </c:pt>
                <c:pt idx="250">
                  <c:v>0.97587717563738408</c:v>
                </c:pt>
                <c:pt idx="251">
                  <c:v>0.97632747497979488</c:v>
                </c:pt>
                <c:pt idx="252">
                  <c:v>0.97675842605209706</c:v>
                </c:pt>
                <c:pt idx="253">
                  <c:v>0.97717930482670523</c:v>
                </c:pt>
                <c:pt idx="254">
                  <c:v>0.9775993594568102</c:v>
                </c:pt>
                <c:pt idx="255">
                  <c:v>0.97801764930490931</c:v>
                </c:pt>
                <c:pt idx="256">
                  <c:v>0.97843550621633912</c:v>
                </c:pt>
                <c:pt idx="257">
                  <c:v>0.97885149402367411</c:v>
                </c:pt>
                <c:pt idx="258">
                  <c:v>0.97926650294207385</c:v>
                </c:pt>
                <c:pt idx="259">
                  <c:v>0.97967942194129043</c:v>
                </c:pt>
                <c:pt idx="260">
                  <c:v>0.98008622766609099</c:v>
                </c:pt>
                <c:pt idx="261">
                  <c:v>0.98049155027852608</c:v>
                </c:pt>
                <c:pt idx="262">
                  <c:v>0.98088566000509392</c:v>
                </c:pt>
                <c:pt idx="263">
                  <c:v>0.98127036857274041</c:v>
                </c:pt>
                <c:pt idx="264">
                  <c:v>0.98165264991311585</c:v>
                </c:pt>
                <c:pt idx="265">
                  <c:v>0.98198902257952048</c:v>
                </c:pt>
                <c:pt idx="266">
                  <c:v>0.98232074769685962</c:v>
                </c:pt>
                <c:pt idx="267">
                  <c:v>0.98264804260281879</c:v>
                </c:pt>
                <c:pt idx="268">
                  <c:v>0.98297503323601831</c:v>
                </c:pt>
                <c:pt idx="269">
                  <c:v>0.98329814656490966</c:v>
                </c:pt>
                <c:pt idx="270">
                  <c:v>0.98359976258865878</c:v>
                </c:pt>
                <c:pt idx="271">
                  <c:v>0.98390002416395217</c:v>
                </c:pt>
                <c:pt idx="272">
                  <c:v>0.98418882595776769</c:v>
                </c:pt>
                <c:pt idx="273">
                  <c:v>0.98447599511089023</c:v>
                </c:pt>
                <c:pt idx="274">
                  <c:v>0.98476163246800574</c:v>
                </c:pt>
                <c:pt idx="275">
                  <c:v>0.9850435316169317</c:v>
                </c:pt>
                <c:pt idx="276">
                  <c:v>0.98531885151944398</c:v>
                </c:pt>
                <c:pt idx="277">
                  <c:v>0.98559109044292748</c:v>
                </c:pt>
                <c:pt idx="278">
                  <c:v>0.98585050296556709</c:v>
                </c:pt>
                <c:pt idx="279">
                  <c:v>0.98609736727960018</c:v>
                </c:pt>
                <c:pt idx="280">
                  <c:v>0.98634248767604527</c:v>
                </c:pt>
                <c:pt idx="281">
                  <c:v>0.98657892673598313</c:v>
                </c:pt>
                <c:pt idx="282">
                  <c:v>0.98679319909070762</c:v>
                </c:pt>
                <c:pt idx="283">
                  <c:v>0.98700627521881146</c:v>
                </c:pt>
                <c:pt idx="284">
                  <c:v>0.98721455948562664</c:v>
                </c:pt>
                <c:pt idx="285">
                  <c:v>0.98741746942615627</c:v>
                </c:pt>
                <c:pt idx="286">
                  <c:v>0.98761856242363566</c:v>
                </c:pt>
                <c:pt idx="287">
                  <c:v>0.98781555730171844</c:v>
                </c:pt>
                <c:pt idx="288">
                  <c:v>0.98800077943205633</c:v>
                </c:pt>
                <c:pt idx="289">
                  <c:v>0.98818069156806354</c:v>
                </c:pt>
                <c:pt idx="290">
                  <c:v>0.98836043331132528</c:v>
                </c:pt>
                <c:pt idx="291">
                  <c:v>0.98853692020540995</c:v>
                </c:pt>
                <c:pt idx="292">
                  <c:v>0.9887118231424431</c:v>
                </c:pt>
                <c:pt idx="293">
                  <c:v>0.98887898016436715</c:v>
                </c:pt>
                <c:pt idx="294">
                  <c:v>0.98904602243199335</c:v>
                </c:pt>
                <c:pt idx="295">
                  <c:v>0.9892098394083676</c:v>
                </c:pt>
                <c:pt idx="296">
                  <c:v>0.98937363204292106</c:v>
                </c:pt>
                <c:pt idx="297">
                  <c:v>0.98953701086652146</c:v>
                </c:pt>
                <c:pt idx="298">
                  <c:v>0.98969701139313937</c:v>
                </c:pt>
                <c:pt idx="299">
                  <c:v>0.98985132810460763</c:v>
                </c:pt>
                <c:pt idx="300">
                  <c:v>0.99000465723363329</c:v>
                </c:pt>
                <c:pt idx="301">
                  <c:v>0.99015739694285598</c:v>
                </c:pt>
                <c:pt idx="302">
                  <c:v>0.9903077459375389</c:v>
                </c:pt>
                <c:pt idx="303">
                  <c:v>0.9904557563787264</c:v>
                </c:pt>
                <c:pt idx="304">
                  <c:v>0.99059841509674773</c:v>
                </c:pt>
                <c:pt idx="305">
                  <c:v>0.99074039919859336</c:v>
                </c:pt>
                <c:pt idx="306">
                  <c:v>0.990873260333755</c:v>
                </c:pt>
                <c:pt idx="307">
                  <c:v>0.99100537382727871</c:v>
                </c:pt>
                <c:pt idx="308">
                  <c:v>0.99113609635961564</c:v>
                </c:pt>
                <c:pt idx="309">
                  <c:v>0.99126343885626855</c:v>
                </c:pt>
                <c:pt idx="310">
                  <c:v>0.99138936778861542</c:v>
                </c:pt>
                <c:pt idx="311">
                  <c:v>0.99151246437624563</c:v>
                </c:pt>
                <c:pt idx="312">
                  <c:v>0.99163379792057149</c:v>
                </c:pt>
                <c:pt idx="313">
                  <c:v>0.99175302937480381</c:v>
                </c:pt>
                <c:pt idx="314">
                  <c:v>0.99187085943564046</c:v>
                </c:pt>
                <c:pt idx="315">
                  <c:v>0.99198529033507676</c:v>
                </c:pt>
                <c:pt idx="316">
                  <c:v>0.99209567353745942</c:v>
                </c:pt>
                <c:pt idx="317">
                  <c:v>0.99219518985557009</c:v>
                </c:pt>
                <c:pt idx="318">
                  <c:v>0.99229090537223785</c:v>
                </c:pt>
                <c:pt idx="319">
                  <c:v>0.99238630096783265</c:v>
                </c:pt>
                <c:pt idx="320">
                  <c:v>0.99248050903031415</c:v>
                </c:pt>
                <c:pt idx="321">
                  <c:v>0.99257396075765036</c:v>
                </c:pt>
                <c:pt idx="322">
                  <c:v>0.99266735858524058</c:v>
                </c:pt>
                <c:pt idx="323">
                  <c:v>0.99275753459898186</c:v>
                </c:pt>
                <c:pt idx="324">
                  <c:v>0.99284716987656174</c:v>
                </c:pt>
                <c:pt idx="325">
                  <c:v>0.99293590798417608</c:v>
                </c:pt>
                <c:pt idx="326">
                  <c:v>0.99302148860989636</c:v>
                </c:pt>
                <c:pt idx="327">
                  <c:v>0.99310464722445013</c:v>
                </c:pt>
                <c:pt idx="328">
                  <c:v>0.99318664612511443</c:v>
                </c:pt>
                <c:pt idx="329">
                  <c:v>0.99326738794460612</c:v>
                </c:pt>
                <c:pt idx="330">
                  <c:v>0.99334738212245988</c:v>
                </c:pt>
                <c:pt idx="331">
                  <c:v>0.9934268981574057</c:v>
                </c:pt>
                <c:pt idx="332">
                  <c:v>0.99350610470348744</c:v>
                </c:pt>
                <c:pt idx="333">
                  <c:v>0.99358511651500303</c:v>
                </c:pt>
                <c:pt idx="334">
                  <c:v>0.99366378580232639</c:v>
                </c:pt>
                <c:pt idx="335">
                  <c:v>0.9937412188728949</c:v>
                </c:pt>
                <c:pt idx="336">
                  <c:v>0.99381786778909442</c:v>
                </c:pt>
                <c:pt idx="337">
                  <c:v>0.99389374819923815</c:v>
                </c:pt>
                <c:pt idx="338">
                  <c:v>0.99396956775483003</c:v>
                </c:pt>
                <c:pt idx="339">
                  <c:v>0.99404446405993407</c:v>
                </c:pt>
                <c:pt idx="340">
                  <c:v>0.99411598206805563</c:v>
                </c:pt>
                <c:pt idx="341">
                  <c:v>0.99418716276808938</c:v>
                </c:pt>
                <c:pt idx="342">
                  <c:v>0.99425799225042355</c:v>
                </c:pt>
                <c:pt idx="343">
                  <c:v>0.99432765854146521</c:v>
                </c:pt>
                <c:pt idx="344">
                  <c:v>0.99439706576598585</c:v>
                </c:pt>
                <c:pt idx="345">
                  <c:v>0.99446643473907381</c:v>
                </c:pt>
                <c:pt idx="346">
                  <c:v>0.9945354281526414</c:v>
                </c:pt>
                <c:pt idx="347">
                  <c:v>0.99460420944462791</c:v>
                </c:pt>
                <c:pt idx="348">
                  <c:v>0.99467220136614098</c:v>
                </c:pt>
                <c:pt idx="349">
                  <c:v>0.99473968037071636</c:v>
                </c:pt>
                <c:pt idx="350">
                  <c:v>0.99480379151051812</c:v>
                </c:pt>
                <c:pt idx="351">
                  <c:v>0.99486738103987482</c:v>
                </c:pt>
                <c:pt idx="352">
                  <c:v>0.99493049068762207</c:v>
                </c:pt>
                <c:pt idx="353">
                  <c:v>0.9949927448942395</c:v>
                </c:pt>
                <c:pt idx="354">
                  <c:v>0.99505445662599401</c:v>
                </c:pt>
                <c:pt idx="355">
                  <c:v>0.99511604143254029</c:v>
                </c:pt>
                <c:pt idx="356">
                  <c:v>0.99517685077822493</c:v>
                </c:pt>
                <c:pt idx="357">
                  <c:v>0.99523716807138973</c:v>
                </c:pt>
                <c:pt idx="358">
                  <c:v>0.99529730801700322</c:v>
                </c:pt>
                <c:pt idx="359">
                  <c:v>0.99535704632257394</c:v>
                </c:pt>
                <c:pt idx="360">
                  <c:v>0.99541659163228002</c:v>
                </c:pt>
                <c:pt idx="361">
                  <c:v>0.99547521021409535</c:v>
                </c:pt>
                <c:pt idx="362">
                  <c:v>0.99553332109507753</c:v>
                </c:pt>
                <c:pt idx="363">
                  <c:v>0.99559127201552322</c:v>
                </c:pt>
                <c:pt idx="364">
                  <c:v>0.99564863351616606</c:v>
                </c:pt>
                <c:pt idx="365">
                  <c:v>0.99570566814092998</c:v>
                </c:pt>
                <c:pt idx="366">
                  <c:v>0.99576182298274318</c:v>
                </c:pt>
                <c:pt idx="367">
                  <c:v>0.99581635387737077</c:v>
                </c:pt>
                <c:pt idx="368">
                  <c:v>0.99586998934073434</c:v>
                </c:pt>
                <c:pt idx="369">
                  <c:v>0.99592321447054788</c:v>
                </c:pt>
                <c:pt idx="370">
                  <c:v>0.99597595624134894</c:v>
                </c:pt>
                <c:pt idx="371">
                  <c:v>0.99602845981004673</c:v>
                </c:pt>
                <c:pt idx="372">
                  <c:v>0.99608024007892737</c:v>
                </c:pt>
                <c:pt idx="373">
                  <c:v>0.99613124836434941</c:v>
                </c:pt>
                <c:pt idx="374">
                  <c:v>0.99618225664977145</c:v>
                </c:pt>
                <c:pt idx="375">
                  <c:v>0.9962331727840148</c:v>
                </c:pt>
                <c:pt idx="376">
                  <c:v>0.9962832717285609</c:v>
                </c:pt>
                <c:pt idx="377">
                  <c:v>0.99633229789429167</c:v>
                </c:pt>
                <c:pt idx="378">
                  <c:v>0.99638107020960587</c:v>
                </c:pt>
                <c:pt idx="379">
                  <c:v>0.99642964257424949</c:v>
                </c:pt>
                <c:pt idx="380">
                  <c:v>0.99647504354738714</c:v>
                </c:pt>
                <c:pt idx="381">
                  <c:v>0.99652009330282509</c:v>
                </c:pt>
                <c:pt idx="382">
                  <c:v>0.99656486486602569</c:v>
                </c:pt>
                <c:pt idx="383">
                  <c:v>0.99660814462335345</c:v>
                </c:pt>
                <c:pt idx="384">
                  <c:v>0.99665137569703965</c:v>
                </c:pt>
                <c:pt idx="385">
                  <c:v>0.99669425207562323</c:v>
                </c:pt>
                <c:pt idx="386">
                  <c:v>0.99673639298347927</c:v>
                </c:pt>
                <c:pt idx="387">
                  <c:v>0.99677824700559059</c:v>
                </c:pt>
                <c:pt idx="388">
                  <c:v>0.996819925418852</c:v>
                </c:pt>
                <c:pt idx="389">
                  <c:v>0.99686051018888033</c:v>
                </c:pt>
                <c:pt idx="390">
                  <c:v>0.99690102367214783</c:v>
                </c:pt>
                <c:pt idx="391">
                  <c:v>0.99694142761722182</c:v>
                </c:pt>
                <c:pt idx="392">
                  <c:v>0.99698165073734157</c:v>
                </c:pt>
                <c:pt idx="393">
                  <c:v>0.99702068458564663</c:v>
                </c:pt>
                <c:pt idx="394">
                  <c:v>0.9970595445638033</c:v>
                </c:pt>
                <c:pt idx="395">
                  <c:v>0.99709838020013919</c:v>
                </c:pt>
                <c:pt idx="396">
                  <c:v>0.99713719844946025</c:v>
                </c:pt>
                <c:pt idx="397">
                  <c:v>0.99717590368318487</c:v>
                </c:pt>
                <c:pt idx="398">
                  <c:v>0.99721446286598492</c:v>
                </c:pt>
                <c:pt idx="399">
                  <c:v>0.99725241176456425</c:v>
                </c:pt>
                <c:pt idx="400">
                  <c:v>0.99729033979872572</c:v>
                </c:pt>
                <c:pt idx="401">
                  <c:v>0.99732824696846945</c:v>
                </c:pt>
                <c:pt idx="402">
                  <c:v>0.99736587768467722</c:v>
                </c:pt>
                <c:pt idx="403">
                  <c:v>0.99740345971724353</c:v>
                </c:pt>
                <c:pt idx="404">
                  <c:v>0.99744097915655638</c:v>
                </c:pt>
                <c:pt idx="405">
                  <c:v>0.99747848816366036</c:v>
                </c:pt>
                <c:pt idx="406">
                  <c:v>0.99751594327101833</c:v>
                </c:pt>
                <c:pt idx="407">
                  <c:v>0.99755313757315378</c:v>
                </c:pt>
                <c:pt idx="408">
                  <c:v>0.99758986764199309</c:v>
                </c:pt>
                <c:pt idx="409">
                  <c:v>0.99762616129676007</c:v>
                </c:pt>
                <c:pt idx="410">
                  <c:v>0.99766149692700967</c:v>
                </c:pt>
                <c:pt idx="411">
                  <c:v>0.99769652132969366</c:v>
                </c:pt>
                <c:pt idx="412">
                  <c:v>0.99773147096821391</c:v>
                </c:pt>
                <c:pt idx="413">
                  <c:v>0.9977660763438404</c:v>
                </c:pt>
                <c:pt idx="414">
                  <c:v>0.99780008882226101</c:v>
                </c:pt>
                <c:pt idx="415">
                  <c:v>0.99783409260717415</c:v>
                </c:pt>
                <c:pt idx="416">
                  <c:v>0.99786757130423931</c:v>
                </c:pt>
                <c:pt idx="417">
                  <c:v>0.99790094394051398</c:v>
                </c:pt>
                <c:pt idx="418">
                  <c:v>0.99793350112579293</c:v>
                </c:pt>
                <c:pt idx="419">
                  <c:v>0.99796565319362618</c:v>
                </c:pt>
                <c:pt idx="420">
                  <c:v>0.99799727669620841</c:v>
                </c:pt>
                <c:pt idx="421">
                  <c:v>0.99802869503201563</c:v>
                </c:pt>
                <c:pt idx="422">
                  <c:v>0.99806010989041982</c:v>
                </c:pt>
                <c:pt idx="423">
                  <c:v>0.99809127089840743</c:v>
                </c:pt>
                <c:pt idx="424">
                  <c:v>0.99812240582587286</c:v>
                </c:pt>
                <c:pt idx="425">
                  <c:v>0.99815344686345808</c:v>
                </c:pt>
                <c:pt idx="426">
                  <c:v>0.99818329167442266</c:v>
                </c:pt>
                <c:pt idx="427">
                  <c:v>0.99821304955031309</c:v>
                </c:pt>
                <c:pt idx="428">
                  <c:v>0.99824196937208842</c:v>
                </c:pt>
                <c:pt idx="429">
                  <c:v>0.99827021631638968</c:v>
                </c:pt>
                <c:pt idx="430">
                  <c:v>0.99829801119830519</c:v>
                </c:pt>
                <c:pt idx="431">
                  <c:v>0.99832487935233005</c:v>
                </c:pt>
                <c:pt idx="432">
                  <c:v>0.99835104680965703</c:v>
                </c:pt>
                <c:pt idx="433">
                  <c:v>0.99837690825552294</c:v>
                </c:pt>
                <c:pt idx="434">
                  <c:v>0.99840262886656861</c:v>
                </c:pt>
                <c:pt idx="435">
                  <c:v>0.99842792523445234</c:v>
                </c:pt>
                <c:pt idx="436">
                  <c:v>0.99845294514880023</c:v>
                </c:pt>
                <c:pt idx="437">
                  <c:v>0.99847750604595642</c:v>
                </c:pt>
                <c:pt idx="438">
                  <c:v>0.99850205998830666</c:v>
                </c:pt>
                <c:pt idx="439">
                  <c:v>0.99852588715343682</c:v>
                </c:pt>
                <c:pt idx="440">
                  <c:v>0.99854931615592724</c:v>
                </c:pt>
                <c:pt idx="441">
                  <c:v>0.99857254346904556</c:v>
                </c:pt>
                <c:pt idx="442">
                  <c:v>0.99859535697121082</c:v>
                </c:pt>
                <c:pt idx="443">
                  <c:v>0.99861770276267703</c:v>
                </c:pt>
                <c:pt idx="444">
                  <c:v>0.99863994075465123</c:v>
                </c:pt>
                <c:pt idx="445">
                  <c:v>0.99866181883541838</c:v>
                </c:pt>
                <c:pt idx="446">
                  <c:v>0.99868366909696182</c:v>
                </c:pt>
                <c:pt idx="447">
                  <c:v>0.99870542372992366</c:v>
                </c:pt>
                <c:pt idx="448">
                  <c:v>0.99872679237115614</c:v>
                </c:pt>
                <c:pt idx="449">
                  <c:v>0.99874731426476615</c:v>
                </c:pt>
                <c:pt idx="450">
                  <c:v>0.99876754057912398</c:v>
                </c:pt>
                <c:pt idx="451">
                  <c:v>0.99878746957552811</c:v>
                </c:pt>
                <c:pt idx="452">
                  <c:v>0.99880688913239757</c:v>
                </c:pt>
                <c:pt idx="453">
                  <c:v>0.99882613655782015</c:v>
                </c:pt>
                <c:pt idx="454">
                  <c:v>0.99884529878687001</c:v>
                </c:pt>
                <c:pt idx="455">
                  <c:v>0.99886414109484689</c:v>
                </c:pt>
                <c:pt idx="456">
                  <c:v>0.99888265652694486</c:v>
                </c:pt>
                <c:pt idx="457">
                  <c:v>0.99890099982759595</c:v>
                </c:pt>
                <c:pt idx="458">
                  <c:v>0.9989192822736952</c:v>
                </c:pt>
                <c:pt idx="459">
                  <c:v>0.99893755428758546</c:v>
                </c:pt>
                <c:pt idx="460">
                  <c:v>0.99895553941573101</c:v>
                </c:pt>
                <c:pt idx="461">
                  <c:v>0.9989732480903406</c:v>
                </c:pt>
                <c:pt idx="462">
                  <c:v>0.99899080028181675</c:v>
                </c:pt>
                <c:pt idx="463">
                  <c:v>0.99900834551848694</c:v>
                </c:pt>
                <c:pt idx="464">
                  <c:v>0.9990255760501886</c:v>
                </c:pt>
                <c:pt idx="465">
                  <c:v>0.9990423249615793</c:v>
                </c:pt>
                <c:pt idx="466">
                  <c:v>0.99905890869632907</c:v>
                </c:pt>
                <c:pt idx="467">
                  <c:v>0.99907544896354183</c:v>
                </c:pt>
                <c:pt idx="468">
                  <c:v>0.9990916519226668</c:v>
                </c:pt>
                <c:pt idx="469">
                  <c:v>0.99910771404697152</c:v>
                </c:pt>
                <c:pt idx="470">
                  <c:v>0.9991237309650377</c:v>
                </c:pt>
                <c:pt idx="471">
                  <c:v>0.99913938101709088</c:v>
                </c:pt>
                <c:pt idx="472">
                  <c:v>0.99915485719899566</c:v>
                </c:pt>
                <c:pt idx="473">
                  <c:v>0.99916963442290407</c:v>
                </c:pt>
                <c:pt idx="474">
                  <c:v>0.99918429341511161</c:v>
                </c:pt>
                <c:pt idx="475">
                  <c:v>0.9991988915527672</c:v>
                </c:pt>
                <c:pt idx="476">
                  <c:v>0.99921308457297719</c:v>
                </c:pt>
                <c:pt idx="477">
                  <c:v>0.99922720804512777</c:v>
                </c:pt>
                <c:pt idx="478">
                  <c:v>0.99924096812866836</c:v>
                </c:pt>
                <c:pt idx="479">
                  <c:v>0.99925464997064217</c:v>
                </c:pt>
                <c:pt idx="480">
                  <c:v>0.99928119820359407</c:v>
                </c:pt>
                <c:pt idx="481">
                  <c:v>0.99929440711876438</c:v>
                </c:pt>
                <c:pt idx="482">
                  <c:v>0.9993075899534124</c:v>
                </c:pt>
                <c:pt idx="483">
                  <c:v>0.99932072236571745</c:v>
                </c:pt>
                <c:pt idx="484">
                  <c:v>0.99933374523982899</c:v>
                </c:pt>
                <c:pt idx="485">
                  <c:v>0.99935943629294954</c:v>
                </c:pt>
                <c:pt idx="486">
                  <c:v>0.99937211664286885</c:v>
                </c:pt>
                <c:pt idx="487">
                  <c:v>0.9993845327101627</c:v>
                </c:pt>
                <c:pt idx="488">
                  <c:v>0.99939679751042743</c:v>
                </c:pt>
                <c:pt idx="489">
                  <c:v>0.99940876847014148</c:v>
                </c:pt>
                <c:pt idx="490">
                  <c:v>0.9994206942236169</c:v>
                </c:pt>
                <c:pt idx="491">
                  <c:v>0.9994320357733939</c:v>
                </c:pt>
                <c:pt idx="492">
                  <c:v>0.9994428626675318</c:v>
                </c:pt>
                <c:pt idx="493">
                  <c:v>0.99945331574085072</c:v>
                </c:pt>
                <c:pt idx="494">
                  <c:v>0.99946375142715482</c:v>
                </c:pt>
                <c:pt idx="495">
                  <c:v>0.99947404453993727</c:v>
                </c:pt>
                <c:pt idx="496">
                  <c:v>0.99948428549167523</c:v>
                </c:pt>
                <c:pt idx="497">
                  <c:v>0.99949402221998296</c:v>
                </c:pt>
                <c:pt idx="498">
                  <c:v>0.99950331557941241</c:v>
                </c:pt>
                <c:pt idx="499">
                  <c:v>0.99951260024533439</c:v>
                </c:pt>
                <c:pt idx="500">
                  <c:v>0.99952168843798872</c:v>
                </c:pt>
                <c:pt idx="501">
                  <c:v>0.99953073664050895</c:v>
                </c:pt>
                <c:pt idx="502">
                  <c:v>0.99954862787877441</c:v>
                </c:pt>
                <c:pt idx="503">
                  <c:v>0.99955731443138607</c:v>
                </c:pt>
                <c:pt idx="504">
                  <c:v>0.99956596968737099</c:v>
                </c:pt>
                <c:pt idx="505">
                  <c:v>0.99957457799841587</c:v>
                </c:pt>
                <c:pt idx="506">
                  <c:v>0.99958317239984895</c:v>
                </c:pt>
                <c:pt idx="507">
                  <c:v>0.99959172333374491</c:v>
                </c:pt>
                <c:pt idx="508">
                  <c:v>0.99960013864892516</c:v>
                </c:pt>
                <c:pt idx="509">
                  <c:v>0.99960854700929946</c:v>
                </c:pt>
                <c:pt idx="510">
                  <c:v>0.99961670325795871</c:v>
                </c:pt>
                <c:pt idx="511">
                  <c:v>0.99962483864220009</c:v>
                </c:pt>
                <c:pt idx="512">
                  <c:v>0.99963293055890434</c:v>
                </c:pt>
                <c:pt idx="513">
                  <c:v>0.99964896312528395</c:v>
                </c:pt>
                <c:pt idx="514">
                  <c:v>0.99965607441435156</c:v>
                </c:pt>
                <c:pt idx="515">
                  <c:v>0.99966305356210639</c:v>
                </c:pt>
                <c:pt idx="516">
                  <c:v>0.99967003270986121</c:v>
                </c:pt>
                <c:pt idx="517">
                  <c:v>0.99967681364564698</c:v>
                </c:pt>
                <c:pt idx="518">
                  <c:v>0.99968358936532831</c:v>
                </c:pt>
                <c:pt idx="519">
                  <c:v>0.99969653573657458</c:v>
                </c:pt>
                <c:pt idx="520">
                  <c:v>0.9997028246198405</c:v>
                </c:pt>
                <c:pt idx="521">
                  <c:v>0.9997090561259574</c:v>
                </c:pt>
                <c:pt idx="522">
                  <c:v>0.99972122529764051</c:v>
                </c:pt>
                <c:pt idx="523">
                  <c:v>0.99972728988841508</c:v>
                </c:pt>
                <c:pt idx="524">
                  <c:v>0.99973321538307092</c:v>
                </c:pt>
                <c:pt idx="525">
                  <c:v>0.99974467168714576</c:v>
                </c:pt>
                <c:pt idx="526">
                  <c:v>0.99975549510388062</c:v>
                </c:pt>
                <c:pt idx="527">
                  <c:v>0.99976081205301726</c:v>
                </c:pt>
                <c:pt idx="528">
                  <c:v>0.99976607510240789</c:v>
                </c:pt>
                <c:pt idx="529">
                  <c:v>0.99977132424218662</c:v>
                </c:pt>
                <c:pt idx="530">
                  <c:v>0.99977646384377195</c:v>
                </c:pt>
                <c:pt idx="531">
                  <c:v>0.99978148347495488</c:v>
                </c:pt>
                <c:pt idx="532">
                  <c:v>0.99978637618092947</c:v>
                </c:pt>
                <c:pt idx="533">
                  <c:v>0.99979102720739788</c:v>
                </c:pt>
                <c:pt idx="534">
                  <c:v>0.99979564345983662</c:v>
                </c:pt>
                <c:pt idx="535">
                  <c:v>0.99980014843538045</c:v>
                </c:pt>
                <c:pt idx="536">
                  <c:v>0.99980440651531355</c:v>
                </c:pt>
                <c:pt idx="537">
                  <c:v>0.99980866285654524</c:v>
                </c:pt>
                <c:pt idx="538">
                  <c:v>0.99981280270477746</c:v>
                </c:pt>
                <c:pt idx="539">
                  <c:v>0.9998168225826074</c:v>
                </c:pt>
                <c:pt idx="540">
                  <c:v>0.99982081464121353</c:v>
                </c:pt>
                <c:pt idx="541">
                  <c:v>0.999824718026044</c:v>
                </c:pt>
                <c:pt idx="542">
                  <c:v>0.99982859706905369</c:v>
                </c:pt>
                <c:pt idx="543">
                  <c:v>0.9998324517702426</c:v>
                </c:pt>
                <c:pt idx="544">
                  <c:v>0.99983630473273011</c:v>
                </c:pt>
                <c:pt idx="545">
                  <c:v>0.9998401020567701</c:v>
                </c:pt>
                <c:pt idx="546">
                  <c:v>0.99984371507845282</c:v>
                </c:pt>
                <c:pt idx="547">
                  <c:v>0.99984718031050945</c:v>
                </c:pt>
                <c:pt idx="548">
                  <c:v>0.99985063858776013</c:v>
                </c:pt>
                <c:pt idx="549">
                  <c:v>0.99985406035227975</c:v>
                </c:pt>
                <c:pt idx="550">
                  <c:v>0.9998574473427696</c:v>
                </c:pt>
                <c:pt idx="551">
                  <c:v>0.99986076130779722</c:v>
                </c:pt>
                <c:pt idx="552">
                  <c:v>0.99986397095073576</c:v>
                </c:pt>
                <c:pt idx="553">
                  <c:v>0.99986710409080903</c:v>
                </c:pt>
                <c:pt idx="554">
                  <c:v>0.99987021288906153</c:v>
                </c:pt>
                <c:pt idx="555">
                  <c:v>0.99987636963101467</c:v>
                </c:pt>
                <c:pt idx="556">
                  <c:v>0.9998824429152966</c:v>
                </c:pt>
                <c:pt idx="557">
                  <c:v>0.99988542304963934</c:v>
                </c:pt>
                <c:pt idx="558">
                  <c:v>0.99988839449047473</c:v>
                </c:pt>
                <c:pt idx="559">
                  <c:v>0.99989135028299669</c:v>
                </c:pt>
                <c:pt idx="560">
                  <c:v>0.99989430433681714</c:v>
                </c:pt>
                <c:pt idx="561">
                  <c:v>0.99989723578751832</c:v>
                </c:pt>
                <c:pt idx="562">
                  <c:v>0.99990014985120468</c:v>
                </c:pt>
                <c:pt idx="563">
                  <c:v>0.99990302740215986</c:v>
                </c:pt>
                <c:pt idx="564">
                  <c:v>0.99990585626947359</c:v>
                </c:pt>
                <c:pt idx="565">
                  <c:v>0.99990867644327985</c:v>
                </c:pt>
                <c:pt idx="566">
                  <c:v>0.99991136273707193</c:v>
                </c:pt>
                <c:pt idx="567">
                  <c:v>0.99991404207605805</c:v>
                </c:pt>
                <c:pt idx="568">
                  <c:v>0.9999166709927011</c:v>
                </c:pt>
                <c:pt idx="569">
                  <c:v>0.99991917124543439</c:v>
                </c:pt>
                <c:pt idx="570">
                  <c:v>0.99992159847270534</c:v>
                </c:pt>
                <c:pt idx="571">
                  <c:v>0.99992639555009832</c:v>
                </c:pt>
                <c:pt idx="572">
                  <c:v>0.9999287845259367</c:v>
                </c:pt>
                <c:pt idx="573">
                  <c:v>0.99993110221501424</c:v>
                </c:pt>
                <c:pt idx="574">
                  <c:v>0.99993316605367522</c:v>
                </c:pt>
                <c:pt idx="575">
                  <c:v>0.9999351516507694</c:v>
                </c:pt>
                <c:pt idx="576">
                  <c:v>0.99993713029305764</c:v>
                </c:pt>
                <c:pt idx="577">
                  <c:v>0.999939044603391</c:v>
                </c:pt>
                <c:pt idx="578">
                  <c:v>0.99994088414956062</c:v>
                </c:pt>
                <c:pt idx="579">
                  <c:v>0.99994265936377524</c:v>
                </c:pt>
                <c:pt idx="580">
                  <c:v>0.99994615241505558</c:v>
                </c:pt>
                <c:pt idx="581">
                  <c:v>0.99994779548795754</c:v>
                </c:pt>
                <c:pt idx="582">
                  <c:v>0.99994943682215798</c:v>
                </c:pt>
                <c:pt idx="583">
                  <c:v>0.99995271079705139</c:v>
                </c:pt>
                <c:pt idx="584">
                  <c:v>0.99995576047945345</c:v>
                </c:pt>
                <c:pt idx="585">
                  <c:v>0.99995723663701297</c:v>
                </c:pt>
                <c:pt idx="586">
                  <c:v>0.99995865367872205</c:v>
                </c:pt>
                <c:pt idx="587">
                  <c:v>0.99996004985601328</c:v>
                </c:pt>
                <c:pt idx="588">
                  <c:v>0.99996144255590158</c:v>
                </c:pt>
                <c:pt idx="589">
                  <c:v>0.99996280222046174</c:v>
                </c:pt>
                <c:pt idx="590">
                  <c:v>0.99996415666891736</c:v>
                </c:pt>
                <c:pt idx="591">
                  <c:v>0.99996548329814927</c:v>
                </c:pt>
                <c:pt idx="592">
                  <c:v>0.99996784793216686</c:v>
                </c:pt>
                <c:pt idx="593">
                  <c:v>0.99996895548501186</c:v>
                </c:pt>
                <c:pt idx="594">
                  <c:v>0.99997105583640389</c:v>
                </c:pt>
                <c:pt idx="595">
                  <c:v>0.99997303969479656</c:v>
                </c:pt>
                <c:pt idx="596">
                  <c:v>0.99997396990009024</c:v>
                </c:pt>
                <c:pt idx="597">
                  <c:v>0.99997571903378268</c:v>
                </c:pt>
                <c:pt idx="598">
                  <c:v>0.99997652579127105</c:v>
                </c:pt>
                <c:pt idx="599">
                  <c:v>0.99997733081005791</c:v>
                </c:pt>
                <c:pt idx="600">
                  <c:v>0.99997812191923285</c:v>
                </c:pt>
                <c:pt idx="601">
                  <c:v>0.99997890781230336</c:v>
                </c:pt>
                <c:pt idx="602">
                  <c:v>0.99997967457965764</c:v>
                </c:pt>
                <c:pt idx="603">
                  <c:v>0.99998043786960888</c:v>
                </c:pt>
                <c:pt idx="604">
                  <c:v>0.99998194880119806</c:v>
                </c:pt>
                <c:pt idx="605">
                  <c:v>0.99998267557841813</c:v>
                </c:pt>
                <c:pt idx="606">
                  <c:v>0.99998388397594917</c:v>
                </c:pt>
                <c:pt idx="607">
                  <c:v>0.99998555486807494</c:v>
                </c:pt>
                <c:pt idx="608">
                  <c:v>0.99998661199857697</c:v>
                </c:pt>
                <c:pt idx="609">
                  <c:v>0.99998712665421607</c:v>
                </c:pt>
                <c:pt idx="610">
                  <c:v>0.99998810032704688</c:v>
                </c:pt>
                <c:pt idx="611">
                  <c:v>0.99998981294800826</c:v>
                </c:pt>
                <c:pt idx="612">
                  <c:v>0.99999097961670369</c:v>
                </c:pt>
                <c:pt idx="613">
                  <c:v>0.99999136560843305</c:v>
                </c:pt>
                <c:pt idx="614">
                  <c:v>0.99999286958521638</c:v>
                </c:pt>
                <c:pt idx="615">
                  <c:v>0.99999389194168864</c:v>
                </c:pt>
                <c:pt idx="616">
                  <c:v>0.99999474216671402</c:v>
                </c:pt>
                <c:pt idx="617">
                  <c:v>0.99999547589874016</c:v>
                </c:pt>
                <c:pt idx="618">
                  <c:v>0.99999568280421669</c:v>
                </c:pt>
                <c:pt idx="619">
                  <c:v>0.999996722547704</c:v>
                </c:pt>
                <c:pt idx="620">
                  <c:v>0.99999903675937829</c:v>
                </c:pt>
                <c:pt idx="621">
                  <c:v>0.99999927322278004</c:v>
                </c:pt>
                <c:pt idx="622">
                  <c:v>0.99999941579630169</c:v>
                </c:pt>
                <c:pt idx="623">
                  <c:v>0.99999961226956935</c:v>
                </c:pt>
                <c:pt idx="624">
                  <c:v>0.99999967486282271</c:v>
                </c:pt>
                <c:pt idx="625">
                  <c:v>0.99999991654232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475</c:f>
              <c:strCache>
                <c:ptCount val="1474"/>
                <c:pt idx="0">
                  <c:v>Caprice Des</c:v>
                </c:pt>
                <c:pt idx="1">
                  <c:v>La Vache Qu</c:v>
                </c:pt>
                <c:pt idx="2">
                  <c:v>Private Lab</c:v>
                </c:pt>
                <c:pt idx="3">
                  <c:v>Mini Babybe</c:v>
                </c:pt>
                <c:pt idx="4">
                  <c:v>Kiri</c:v>
                </c:pt>
                <c:pt idx="5">
                  <c:v>Coeur De Li</c:v>
                </c:pt>
                <c:pt idx="6">
                  <c:v>Caprice Des</c:v>
                </c:pt>
                <c:pt idx="7">
                  <c:v>President</c:v>
                </c:pt>
                <c:pt idx="8">
                  <c:v>Soignon</c:v>
                </c:pt>
                <c:pt idx="9">
                  <c:v>Soignon</c:v>
                </c:pt>
                <c:pt idx="10">
                  <c:v>Private Lab</c:v>
                </c:pt>
                <c:pt idx="11">
                  <c:v>La Vache Qu</c:v>
                </c:pt>
                <c:pt idx="12">
                  <c:v>Tartare</c:v>
                </c:pt>
                <c:pt idx="13">
                  <c:v>Coeur De Li</c:v>
                </c:pt>
                <c:pt idx="14">
                  <c:v>President</c:v>
                </c:pt>
                <c:pt idx="15">
                  <c:v>President</c:v>
                </c:pt>
                <c:pt idx="16">
                  <c:v>Le Rustique</c:v>
                </c:pt>
                <c:pt idx="17">
                  <c:v>Galbani</c:v>
                </c:pt>
                <c:pt idx="18">
                  <c:v>Ficello</c:v>
                </c:pt>
                <c:pt idx="19">
                  <c:v>Soignon</c:v>
                </c:pt>
                <c:pt idx="20">
                  <c:v>St Moret</c:v>
                </c:pt>
                <c:pt idx="21">
                  <c:v>Private Lab</c:v>
                </c:pt>
                <c:pt idx="22">
                  <c:v>St Moret</c:v>
                </c:pt>
                <c:pt idx="23">
                  <c:v>President</c:v>
                </c:pt>
                <c:pt idx="24">
                  <c:v>Mini Babybe</c:v>
                </c:pt>
                <c:pt idx="25">
                  <c:v>Kiri</c:v>
                </c:pt>
                <c:pt idx="26">
                  <c:v>St Moret</c:v>
                </c:pt>
                <c:pt idx="27">
                  <c:v>Private Lab</c:v>
                </c:pt>
                <c:pt idx="28">
                  <c:v>La Vache Qu</c:v>
                </c:pt>
                <c:pt idx="29">
                  <c:v>Private Lab</c:v>
                </c:pt>
                <c:pt idx="30">
                  <c:v>All Others</c:v>
                </c:pt>
                <c:pt idx="31">
                  <c:v>St Moret</c:v>
                </c:pt>
                <c:pt idx="32">
                  <c:v>Salakis</c:v>
                </c:pt>
                <c:pt idx="33">
                  <c:v>Carre Frais</c:v>
                </c:pt>
                <c:pt idx="34">
                  <c:v>Coeur De Li</c:v>
                </c:pt>
                <c:pt idx="35">
                  <c:v>St Moret</c:v>
                </c:pt>
                <c:pt idx="36">
                  <c:v>Paysan Bret</c:v>
                </c:pt>
                <c:pt idx="37">
                  <c:v>President</c:v>
                </c:pt>
                <c:pt idx="38">
                  <c:v>Galbani</c:v>
                </c:pt>
                <c:pt idx="39">
                  <c:v>Philadelphi</c:v>
                </c:pt>
                <c:pt idx="40">
                  <c:v>Kiri</c:v>
                </c:pt>
                <c:pt idx="41">
                  <c:v>Boursin</c:v>
                </c:pt>
                <c:pt idx="42">
                  <c:v>Carre Frais</c:v>
                </c:pt>
                <c:pt idx="43">
                  <c:v>Private Lab</c:v>
                </c:pt>
                <c:pt idx="44">
                  <c:v>Private Lab</c:v>
                </c:pt>
                <c:pt idx="45">
                  <c:v>Paysan Bret</c:v>
                </c:pt>
                <c:pt idx="46">
                  <c:v>Islos</c:v>
                </c:pt>
                <c:pt idx="47">
                  <c:v>St Moret</c:v>
                </c:pt>
                <c:pt idx="48">
                  <c:v>Private Lab</c:v>
                </c:pt>
                <c:pt idx="49">
                  <c:v>Paysan Bret</c:v>
                </c:pt>
                <c:pt idx="50">
                  <c:v>Galbani</c:v>
                </c:pt>
                <c:pt idx="51">
                  <c:v>Salakis</c:v>
                </c:pt>
                <c:pt idx="52">
                  <c:v>Tartare</c:v>
                </c:pt>
                <c:pt idx="53">
                  <c:v>Kiri</c:v>
                </c:pt>
                <c:pt idx="54">
                  <c:v>Lepetit</c:v>
                </c:pt>
                <c:pt idx="55">
                  <c:v>Istara</c:v>
                </c:pt>
                <c:pt idx="56">
                  <c:v>Coeur De Li</c:v>
                </c:pt>
                <c:pt idx="57">
                  <c:v>Casa Azzurr</c:v>
                </c:pt>
                <c:pt idx="58">
                  <c:v>Boursin</c:v>
                </c:pt>
                <c:pt idx="59">
                  <c:v>Private Lab</c:v>
                </c:pt>
                <c:pt idx="60">
                  <c:v>Private Lab</c:v>
                </c:pt>
                <c:pt idx="61">
                  <c:v>All Others</c:v>
                </c:pt>
                <c:pt idx="62">
                  <c:v>Kiri</c:v>
                </c:pt>
                <c:pt idx="63">
                  <c:v>All Others</c:v>
                </c:pt>
                <c:pt idx="64">
                  <c:v>Petit Billy</c:v>
                </c:pt>
                <c:pt idx="65">
                  <c:v>Lou Perac</c:v>
                </c:pt>
                <c:pt idx="66">
                  <c:v>Mini Babybe</c:v>
                </c:pt>
                <c:pt idx="67">
                  <c:v>Carre Frais</c:v>
                </c:pt>
                <c:pt idx="68">
                  <c:v>Mini Babybe</c:v>
                </c:pt>
                <c:pt idx="69">
                  <c:v>Boursin</c:v>
                </c:pt>
                <c:pt idx="70">
                  <c:v>All Others</c:v>
                </c:pt>
                <c:pt idx="71">
                  <c:v>Private Lab</c:v>
                </c:pt>
                <c:pt idx="72">
                  <c:v>Galbani</c:v>
                </c:pt>
                <c:pt idx="73">
                  <c:v>La Vache Qu</c:v>
                </c:pt>
                <c:pt idx="74">
                  <c:v>All Others</c:v>
                </c:pt>
                <c:pt idx="75">
                  <c:v>Private Lab</c:v>
                </c:pt>
                <c:pt idx="76">
                  <c:v>Private Lab</c:v>
                </c:pt>
                <c:pt idx="77">
                  <c:v>St Moret</c:v>
                </c:pt>
                <c:pt idx="78">
                  <c:v>President</c:v>
                </c:pt>
                <c:pt idx="79">
                  <c:v>St Moret</c:v>
                </c:pt>
                <c:pt idx="80">
                  <c:v>Private Lab</c:v>
                </c:pt>
                <c:pt idx="81">
                  <c:v>Caprice Des</c:v>
                </c:pt>
                <c:pt idx="82">
                  <c:v>Philadelphi</c:v>
                </c:pt>
                <c:pt idx="83">
                  <c:v>President</c:v>
                </c:pt>
                <c:pt idx="84">
                  <c:v>Private Lab</c:v>
                </c:pt>
                <c:pt idx="85">
                  <c:v>Philadelphi</c:v>
                </c:pt>
                <c:pt idx="86">
                  <c:v>Private Lab</c:v>
                </c:pt>
                <c:pt idx="87">
                  <c:v>Casa Azzurr</c:v>
                </c:pt>
                <c:pt idx="88">
                  <c:v>Salakis</c:v>
                </c:pt>
                <c:pt idx="89">
                  <c:v>Kiri</c:v>
                </c:pt>
                <c:pt idx="90">
                  <c:v>Istara</c:v>
                </c:pt>
                <c:pt idx="91">
                  <c:v>La Vache Qu</c:v>
                </c:pt>
                <c:pt idx="92">
                  <c:v>Ficello</c:v>
                </c:pt>
                <c:pt idx="93">
                  <c:v>Private Lab</c:v>
                </c:pt>
                <c:pt idx="94">
                  <c:v>Mini Babybe</c:v>
                </c:pt>
                <c:pt idx="95">
                  <c:v>Laita: All </c:v>
                </c:pt>
                <c:pt idx="96">
                  <c:v>La Vache Qu</c:v>
                </c:pt>
                <c:pt idx="97">
                  <c:v>Le Rustique</c:v>
                </c:pt>
                <c:pt idx="98">
                  <c:v>Private Lab</c:v>
                </c:pt>
                <c:pt idx="99">
                  <c:v>All Others</c:v>
                </c:pt>
                <c:pt idx="100">
                  <c:v>Etorki</c:v>
                </c:pt>
                <c:pt idx="101">
                  <c:v>Private Lab</c:v>
                </c:pt>
                <c:pt idx="102">
                  <c:v>Lactalis: A</c:v>
                </c:pt>
                <c:pt idx="103">
                  <c:v>Soignon</c:v>
                </c:pt>
                <c:pt idx="104">
                  <c:v>Private Lab</c:v>
                </c:pt>
                <c:pt idx="105">
                  <c:v>All Others</c:v>
                </c:pt>
                <c:pt idx="106">
                  <c:v>Coeur De Li</c:v>
                </c:pt>
                <c:pt idx="107">
                  <c:v>Caprice Des</c:v>
                </c:pt>
                <c:pt idx="108">
                  <c:v>Tartare</c:v>
                </c:pt>
                <c:pt idx="109">
                  <c:v>All Others</c:v>
                </c:pt>
                <c:pt idx="110">
                  <c:v>Salakis</c:v>
                </c:pt>
                <c:pt idx="111">
                  <c:v>Boursin</c:v>
                </c:pt>
                <c:pt idx="112">
                  <c:v>St Moret</c:v>
                </c:pt>
                <c:pt idx="113">
                  <c:v>Soignon</c:v>
                </c:pt>
                <c:pt idx="114">
                  <c:v>President</c:v>
                </c:pt>
                <c:pt idx="115">
                  <c:v>All Others</c:v>
                </c:pt>
                <c:pt idx="116">
                  <c:v>Private Lab</c:v>
                </c:pt>
                <c:pt idx="117">
                  <c:v>Private Lab</c:v>
                </c:pt>
                <c:pt idx="118">
                  <c:v>Private Lab</c:v>
                </c:pt>
                <c:pt idx="119">
                  <c:v>President</c:v>
                </c:pt>
                <c:pt idx="120">
                  <c:v>Private Lab</c:v>
                </c:pt>
                <c:pt idx="121">
                  <c:v>Soignon</c:v>
                </c:pt>
                <c:pt idx="122">
                  <c:v>Mini Babybe</c:v>
                </c:pt>
                <c:pt idx="123">
                  <c:v>Le Rustique</c:v>
                </c:pt>
                <c:pt idx="124">
                  <c:v>Soignon</c:v>
                </c:pt>
                <c:pt idx="125">
                  <c:v>Galbani</c:v>
                </c:pt>
                <c:pt idx="126">
                  <c:v>President</c:v>
                </c:pt>
                <c:pt idx="127">
                  <c:v>Lactalis: A</c:v>
                </c:pt>
                <c:pt idx="128">
                  <c:v>Caprice Des</c:v>
                </c:pt>
                <c:pt idx="129">
                  <c:v>Casa Azzurr</c:v>
                </c:pt>
                <c:pt idx="130">
                  <c:v>All Others</c:v>
                </c:pt>
                <c:pt idx="131">
                  <c:v>Casa Azzurr</c:v>
                </c:pt>
                <c:pt idx="132">
                  <c:v>Paysan Bret</c:v>
                </c:pt>
                <c:pt idx="133">
                  <c:v>Casa Azzurr</c:v>
                </c:pt>
                <c:pt idx="134">
                  <c:v>All Others</c:v>
                </c:pt>
                <c:pt idx="135">
                  <c:v>Paysan Bret</c:v>
                </c:pt>
                <c:pt idx="136">
                  <c:v>Salakis</c:v>
                </c:pt>
                <c:pt idx="137">
                  <c:v>Le Brebiou</c:v>
                </c:pt>
                <c:pt idx="138">
                  <c:v>Lactalis: A</c:v>
                </c:pt>
                <c:pt idx="139">
                  <c:v>Private Lab</c:v>
                </c:pt>
                <c:pt idx="140">
                  <c:v>Coeur De Li</c:v>
                </c:pt>
                <c:pt idx="141">
                  <c:v>Galbani</c:v>
                </c:pt>
                <c:pt idx="142">
                  <c:v>Savencia: A</c:v>
                </c:pt>
                <c:pt idx="143">
                  <c:v>Private Lab</c:v>
                </c:pt>
                <c:pt idx="144">
                  <c:v>Chavroux</c:v>
                </c:pt>
                <c:pt idx="145">
                  <c:v>Chavroux</c:v>
                </c:pt>
                <c:pt idx="146">
                  <c:v>Paysan Bret</c:v>
                </c:pt>
                <c:pt idx="147">
                  <c:v>All Others</c:v>
                </c:pt>
                <c:pt idx="148">
                  <c:v>Casa Azzurr</c:v>
                </c:pt>
                <c:pt idx="149">
                  <c:v>All Others</c:v>
                </c:pt>
                <c:pt idx="150">
                  <c:v>All Others</c:v>
                </c:pt>
                <c:pt idx="151">
                  <c:v>Private Lab</c:v>
                </c:pt>
                <c:pt idx="152">
                  <c:v>All Others</c:v>
                </c:pt>
                <c:pt idx="153">
                  <c:v>President</c:v>
                </c:pt>
                <c:pt idx="154">
                  <c:v>Casa Azzurr</c:v>
                </c:pt>
                <c:pt idx="155">
                  <c:v>Paysan Bret</c:v>
                </c:pt>
                <c:pt idx="156">
                  <c:v>Salakis</c:v>
                </c:pt>
                <c:pt idx="157">
                  <c:v>All Others</c:v>
                </c:pt>
                <c:pt idx="158">
                  <c:v>Lactalis: A</c:v>
                </c:pt>
                <c:pt idx="159">
                  <c:v>La Vache Qu</c:v>
                </c:pt>
                <c:pt idx="160">
                  <c:v>President</c:v>
                </c:pt>
                <c:pt idx="161">
                  <c:v>Le Rustique</c:v>
                </c:pt>
                <c:pt idx="162">
                  <c:v>Private Lab</c:v>
                </c:pt>
                <c:pt idx="163">
                  <c:v>Boursin</c:v>
                </c:pt>
                <c:pt idx="164">
                  <c:v>Private Lab</c:v>
                </c:pt>
                <c:pt idx="165">
                  <c:v>Lou Perac</c:v>
                </c:pt>
                <c:pt idx="166">
                  <c:v>Casa Azzurr</c:v>
                </c:pt>
                <c:pt idx="167">
                  <c:v>Soignon</c:v>
                </c:pt>
                <c:pt idx="168">
                  <c:v>Chavroux</c:v>
                </c:pt>
                <c:pt idx="169">
                  <c:v>All Others</c:v>
                </c:pt>
                <c:pt idx="170">
                  <c:v>Soignon</c:v>
                </c:pt>
                <c:pt idx="171">
                  <c:v>Etorki</c:v>
                </c:pt>
                <c:pt idx="172">
                  <c:v>All Others</c:v>
                </c:pt>
                <c:pt idx="173">
                  <c:v>President</c:v>
                </c:pt>
                <c:pt idx="174">
                  <c:v>Private Lab</c:v>
                </c:pt>
                <c:pt idx="175">
                  <c:v>Rondele</c:v>
                </c:pt>
                <c:pt idx="176">
                  <c:v>Soignon</c:v>
                </c:pt>
                <c:pt idx="177">
                  <c:v>P'Tit Louis</c:v>
                </c:pt>
                <c:pt idx="178">
                  <c:v>Galbani</c:v>
                </c:pt>
                <c:pt idx="179">
                  <c:v>Private Lab</c:v>
                </c:pt>
                <c:pt idx="180">
                  <c:v>All Others</c:v>
                </c:pt>
                <c:pt idx="181">
                  <c:v>Boursin</c:v>
                </c:pt>
                <c:pt idx="182">
                  <c:v>Caprice Des</c:v>
                </c:pt>
                <c:pt idx="183">
                  <c:v>Private Lab</c:v>
                </c:pt>
                <c:pt idx="184">
                  <c:v>Private Lab</c:v>
                </c:pt>
                <c:pt idx="185">
                  <c:v>All Others</c:v>
                </c:pt>
                <c:pt idx="186">
                  <c:v>Private Lab</c:v>
                </c:pt>
                <c:pt idx="187">
                  <c:v>Ficello</c:v>
                </c:pt>
                <c:pt idx="188">
                  <c:v>Casa Azzurr</c:v>
                </c:pt>
                <c:pt idx="189">
                  <c:v>All Others</c:v>
                </c:pt>
                <c:pt idx="190">
                  <c:v>Soignon</c:v>
                </c:pt>
                <c:pt idx="191">
                  <c:v>Private Lab</c:v>
                </c:pt>
                <c:pt idx="192">
                  <c:v>Private Lab</c:v>
                </c:pt>
                <c:pt idx="193">
                  <c:v>Soignon</c:v>
                </c:pt>
                <c:pt idx="194">
                  <c:v>P'Tit Louis</c:v>
                </c:pt>
                <c:pt idx="195">
                  <c:v>Tartare</c:v>
                </c:pt>
                <c:pt idx="196">
                  <c:v>Lactalis: A</c:v>
                </c:pt>
                <c:pt idx="197">
                  <c:v>All Others</c:v>
                </c:pt>
                <c:pt idx="198">
                  <c:v>Soignon</c:v>
                </c:pt>
                <c:pt idx="199">
                  <c:v>Galbani</c:v>
                </c:pt>
                <c:pt idx="200">
                  <c:v>Caprice Des</c:v>
                </c:pt>
                <c:pt idx="201">
                  <c:v>Private Lab</c:v>
                </c:pt>
                <c:pt idx="202">
                  <c:v>Kiri</c:v>
                </c:pt>
                <c:pt idx="203">
                  <c:v>Galbani</c:v>
                </c:pt>
                <c:pt idx="204">
                  <c:v>Boursin</c:v>
                </c:pt>
                <c:pt idx="205">
                  <c:v>All Others</c:v>
                </c:pt>
                <c:pt idx="206">
                  <c:v>All Others</c:v>
                </c:pt>
                <c:pt idx="207">
                  <c:v>Salakis</c:v>
                </c:pt>
                <c:pt idx="208">
                  <c:v>All Others</c:v>
                </c:pt>
                <c:pt idx="209">
                  <c:v>All Others</c:v>
                </c:pt>
                <c:pt idx="210">
                  <c:v>All Others</c:v>
                </c:pt>
                <c:pt idx="211">
                  <c:v>All Others</c:v>
                </c:pt>
                <c:pt idx="212">
                  <c:v>Caprice Des</c:v>
                </c:pt>
                <c:pt idx="213">
                  <c:v>Mini Babybe</c:v>
                </c:pt>
                <c:pt idx="214">
                  <c:v>Casa Azzurr</c:v>
                </c:pt>
                <c:pt idx="215">
                  <c:v>Private Lab</c:v>
                </c:pt>
                <c:pt idx="216">
                  <c:v>Paysan Bret</c:v>
                </c:pt>
                <c:pt idx="217">
                  <c:v>Tartare</c:v>
                </c:pt>
                <c:pt idx="218">
                  <c:v>Private Lab</c:v>
                </c:pt>
                <c:pt idx="219">
                  <c:v>Pave D'Affi</c:v>
                </c:pt>
                <c:pt idx="220">
                  <c:v>P'Tit Louis</c:v>
                </c:pt>
                <c:pt idx="221">
                  <c:v>Private Lab</c:v>
                </c:pt>
                <c:pt idx="222">
                  <c:v>All Others</c:v>
                </c:pt>
                <c:pt idx="223">
                  <c:v>Casa Azzurr</c:v>
                </c:pt>
                <c:pt idx="224">
                  <c:v>Boursin</c:v>
                </c:pt>
                <c:pt idx="225">
                  <c:v>Mini Babybe</c:v>
                </c:pt>
                <c:pt idx="226">
                  <c:v>La Vache Qu</c:v>
                </c:pt>
                <c:pt idx="227">
                  <c:v>Private Lab</c:v>
                </c:pt>
                <c:pt idx="228">
                  <c:v>Boursin</c:v>
                </c:pt>
                <c:pt idx="229">
                  <c:v>Tartare</c:v>
                </c:pt>
                <c:pt idx="230">
                  <c:v>All Others</c:v>
                </c:pt>
                <c:pt idx="231">
                  <c:v>All Others</c:v>
                </c:pt>
                <c:pt idx="232">
                  <c:v>All Others</c:v>
                </c:pt>
                <c:pt idx="233">
                  <c:v>Private Lab</c:v>
                </c:pt>
                <c:pt idx="234">
                  <c:v>Lactalis: A</c:v>
                </c:pt>
                <c:pt idx="235">
                  <c:v>Lou Perac</c:v>
                </c:pt>
                <c:pt idx="236">
                  <c:v>All Others</c:v>
                </c:pt>
                <c:pt idx="237">
                  <c:v>All Others</c:v>
                </c:pt>
                <c:pt idx="238">
                  <c:v>All Others</c:v>
                </c:pt>
                <c:pt idx="239">
                  <c:v>Lactalis: A</c:v>
                </c:pt>
                <c:pt idx="240">
                  <c:v>St Moret</c:v>
                </c:pt>
                <c:pt idx="241">
                  <c:v>All Others</c:v>
                </c:pt>
                <c:pt idx="242">
                  <c:v>Philadelphi</c:v>
                </c:pt>
                <c:pt idx="243">
                  <c:v>Casa Azzurr</c:v>
                </c:pt>
                <c:pt idx="244">
                  <c:v>Private Lab</c:v>
                </c:pt>
                <c:pt idx="245">
                  <c:v>All Others</c:v>
                </c:pt>
                <c:pt idx="246">
                  <c:v>Private Lab</c:v>
                </c:pt>
                <c:pt idx="247">
                  <c:v>Tartare</c:v>
                </c:pt>
                <c:pt idx="248">
                  <c:v>Private Lab</c:v>
                </c:pt>
                <c:pt idx="249">
                  <c:v>President</c:v>
                </c:pt>
                <c:pt idx="250">
                  <c:v>Private Lab</c:v>
                </c:pt>
                <c:pt idx="251">
                  <c:v>All Others</c:v>
                </c:pt>
                <c:pt idx="252">
                  <c:v>Corsica</c:v>
                </c:pt>
                <c:pt idx="253">
                  <c:v>Kiri</c:v>
                </c:pt>
                <c:pt idx="254">
                  <c:v>Ficello</c:v>
                </c:pt>
                <c:pt idx="255">
                  <c:v>Lou Perac</c:v>
                </c:pt>
                <c:pt idx="256">
                  <c:v>Private Lab</c:v>
                </c:pt>
                <c:pt idx="257">
                  <c:v>Private Lab</c:v>
                </c:pt>
                <c:pt idx="258">
                  <c:v>Istara</c:v>
                </c:pt>
                <c:pt idx="259">
                  <c:v>All Others</c:v>
                </c:pt>
                <c:pt idx="260">
                  <c:v>All Others</c:v>
                </c:pt>
                <c:pt idx="261">
                  <c:v>All Others</c:v>
                </c:pt>
                <c:pt idx="262">
                  <c:v>Paysan Bret</c:v>
                </c:pt>
                <c:pt idx="263">
                  <c:v>All Others</c:v>
                </c:pt>
                <c:pt idx="264">
                  <c:v>All Others</c:v>
                </c:pt>
                <c:pt idx="265">
                  <c:v>All Others</c:v>
                </c:pt>
                <c:pt idx="266">
                  <c:v>Savencia: A</c:v>
                </c:pt>
                <c:pt idx="267">
                  <c:v>All Others</c:v>
                </c:pt>
                <c:pt idx="268">
                  <c:v>Galbani</c:v>
                </c:pt>
                <c:pt idx="269">
                  <c:v>All Others</c:v>
                </c:pt>
                <c:pt idx="270">
                  <c:v>All Others</c:v>
                </c:pt>
                <c:pt idx="271">
                  <c:v>Galbani</c:v>
                </c:pt>
                <c:pt idx="272">
                  <c:v>All Others</c:v>
                </c:pt>
                <c:pt idx="273">
                  <c:v>President</c:v>
                </c:pt>
                <c:pt idx="274">
                  <c:v>Private Lab</c:v>
                </c:pt>
                <c:pt idx="275">
                  <c:v>Corsica</c:v>
                </c:pt>
                <c:pt idx="276">
                  <c:v>All Others</c:v>
                </c:pt>
                <c:pt idx="277">
                  <c:v>Triballat N</c:v>
                </c:pt>
                <c:pt idx="278">
                  <c:v>Private Lab</c:v>
                </c:pt>
                <c:pt idx="279">
                  <c:v>Private Lab</c:v>
                </c:pt>
                <c:pt idx="280">
                  <c:v>Private Lab</c:v>
                </c:pt>
                <c:pt idx="281">
                  <c:v>All Others</c:v>
                </c:pt>
                <c:pt idx="282">
                  <c:v>Savencia: A</c:v>
                </c:pt>
                <c:pt idx="283">
                  <c:v>All Others</c:v>
                </c:pt>
                <c:pt idx="284">
                  <c:v>Private Lab</c:v>
                </c:pt>
                <c:pt idx="285">
                  <c:v>Private Lab</c:v>
                </c:pt>
                <c:pt idx="286">
                  <c:v>Private Lab</c:v>
                </c:pt>
                <c:pt idx="287">
                  <c:v>Private Lab</c:v>
                </c:pt>
                <c:pt idx="288">
                  <c:v>All Others</c:v>
                </c:pt>
                <c:pt idx="289">
                  <c:v>Private Lab</c:v>
                </c:pt>
                <c:pt idx="290">
                  <c:v>All Others</c:v>
                </c:pt>
                <c:pt idx="291">
                  <c:v>Private Lab</c:v>
                </c:pt>
                <c:pt idx="292">
                  <c:v>Private Lab</c:v>
                </c:pt>
                <c:pt idx="293">
                  <c:v>All Others</c:v>
                </c:pt>
                <c:pt idx="294">
                  <c:v>Private Lab</c:v>
                </c:pt>
                <c:pt idx="295">
                  <c:v>All Others</c:v>
                </c:pt>
                <c:pt idx="296">
                  <c:v>Boursin</c:v>
                </c:pt>
                <c:pt idx="297">
                  <c:v>All Others</c:v>
                </c:pt>
                <c:pt idx="298">
                  <c:v>Islos</c:v>
                </c:pt>
                <c:pt idx="299">
                  <c:v>All Others</c:v>
                </c:pt>
                <c:pt idx="300">
                  <c:v>Mini Babybe</c:v>
                </c:pt>
                <c:pt idx="301">
                  <c:v>All Others</c:v>
                </c:pt>
                <c:pt idx="302">
                  <c:v>Private Lab</c:v>
                </c:pt>
                <c:pt idx="303">
                  <c:v>Casa Azzurr</c:v>
                </c:pt>
                <c:pt idx="304">
                  <c:v>Galbani</c:v>
                </c:pt>
                <c:pt idx="305">
                  <c:v>Casa Azzurr</c:v>
                </c:pt>
                <c:pt idx="306">
                  <c:v>Private Lab</c:v>
                </c:pt>
                <c:pt idx="307">
                  <c:v>All Others</c:v>
                </c:pt>
                <c:pt idx="308">
                  <c:v>All Others</c:v>
                </c:pt>
                <c:pt idx="309">
                  <c:v>All Others</c:v>
                </c:pt>
                <c:pt idx="310">
                  <c:v>Kiri</c:v>
                </c:pt>
                <c:pt idx="311">
                  <c:v>Rondele</c:v>
                </c:pt>
                <c:pt idx="312">
                  <c:v>Ficello</c:v>
                </c:pt>
                <c:pt idx="313">
                  <c:v>All Others</c:v>
                </c:pt>
                <c:pt idx="314">
                  <c:v>Private Lab</c:v>
                </c:pt>
                <c:pt idx="315">
                  <c:v>Casa Azzurr</c:v>
                </c:pt>
                <c:pt idx="316">
                  <c:v>Private Lab</c:v>
                </c:pt>
                <c:pt idx="317">
                  <c:v>All Others</c:v>
                </c:pt>
                <c:pt idx="318">
                  <c:v>All Others</c:v>
                </c:pt>
                <c:pt idx="319">
                  <c:v>All Others</c:v>
                </c:pt>
                <c:pt idx="320">
                  <c:v>All Others</c:v>
                </c:pt>
                <c:pt idx="321">
                  <c:v>President</c:v>
                </c:pt>
                <c:pt idx="322">
                  <c:v>All Others</c:v>
                </c:pt>
                <c:pt idx="323">
                  <c:v>All Others</c:v>
                </c:pt>
                <c:pt idx="324">
                  <c:v>All Others</c:v>
                </c:pt>
                <c:pt idx="325">
                  <c:v>Private Lab</c:v>
                </c:pt>
                <c:pt idx="326">
                  <c:v>Private Lab</c:v>
                </c:pt>
                <c:pt idx="327">
                  <c:v>Galbani</c:v>
                </c:pt>
                <c:pt idx="328">
                  <c:v>Etoile Du Q</c:v>
                </c:pt>
                <c:pt idx="329">
                  <c:v>Eurial Autr</c:v>
                </c:pt>
                <c:pt idx="330">
                  <c:v>All Others</c:v>
                </c:pt>
                <c:pt idx="331">
                  <c:v>Private Lab</c:v>
                </c:pt>
                <c:pt idx="332">
                  <c:v>All Others</c:v>
                </c:pt>
                <c:pt idx="333">
                  <c:v>All Others</c:v>
                </c:pt>
                <c:pt idx="334">
                  <c:v>Boursin</c:v>
                </c:pt>
                <c:pt idx="335">
                  <c:v>Kiri</c:v>
                </c:pt>
                <c:pt idx="336">
                  <c:v>Lou Perac</c:v>
                </c:pt>
                <c:pt idx="337">
                  <c:v>Saint Agur</c:v>
                </c:pt>
                <c:pt idx="338">
                  <c:v>All Others</c:v>
                </c:pt>
                <c:pt idx="339">
                  <c:v>All Others</c:v>
                </c:pt>
                <c:pt idx="340">
                  <c:v>All Others</c:v>
                </c:pt>
                <c:pt idx="341">
                  <c:v>All Others</c:v>
                </c:pt>
                <c:pt idx="342">
                  <c:v>Boursin</c:v>
                </c:pt>
                <c:pt idx="343">
                  <c:v>Salakis</c:v>
                </c:pt>
                <c:pt idx="344">
                  <c:v>All Others</c:v>
                </c:pt>
                <c:pt idx="345">
                  <c:v>All Others</c:v>
                </c:pt>
                <c:pt idx="346">
                  <c:v>All Others</c:v>
                </c:pt>
                <c:pt idx="347">
                  <c:v>All Others</c:v>
                </c:pt>
                <c:pt idx="348">
                  <c:v>Mini Babybe</c:v>
                </c:pt>
                <c:pt idx="349">
                  <c:v>Private Lab</c:v>
                </c:pt>
                <c:pt idx="350">
                  <c:v>Etoile Du V</c:v>
                </c:pt>
                <c:pt idx="351">
                  <c:v>All Others</c:v>
                </c:pt>
                <c:pt idx="352">
                  <c:v>All Others</c:v>
                </c:pt>
                <c:pt idx="353">
                  <c:v>All Others</c:v>
                </c:pt>
                <c:pt idx="354">
                  <c:v>All Others</c:v>
                </c:pt>
                <c:pt idx="355">
                  <c:v>Rondele</c:v>
                </c:pt>
                <c:pt idx="356">
                  <c:v>All Others</c:v>
                </c:pt>
                <c:pt idx="357">
                  <c:v>Savencia: A</c:v>
                </c:pt>
                <c:pt idx="358">
                  <c:v>All Others</c:v>
                </c:pt>
                <c:pt idx="359">
                  <c:v>Private Lab</c:v>
                </c:pt>
                <c:pt idx="360">
                  <c:v>Private Lab</c:v>
                </c:pt>
                <c:pt idx="361">
                  <c:v>All Others</c:v>
                </c:pt>
                <c:pt idx="362">
                  <c:v>All Others</c:v>
                </c:pt>
                <c:pt idx="363">
                  <c:v>All Others</c:v>
                </c:pt>
                <c:pt idx="364">
                  <c:v>Private Lab</c:v>
                </c:pt>
                <c:pt idx="365">
                  <c:v>Soignon</c:v>
                </c:pt>
                <c:pt idx="366">
                  <c:v>All Others</c:v>
                </c:pt>
                <c:pt idx="367">
                  <c:v>Milleret: A</c:v>
                </c:pt>
                <c:pt idx="368">
                  <c:v>Triballat R</c:v>
                </c:pt>
                <c:pt idx="369">
                  <c:v>All Others</c:v>
                </c:pt>
                <c:pt idx="370">
                  <c:v>Mini Babybe</c:v>
                </c:pt>
                <c:pt idx="371">
                  <c:v>All Others</c:v>
                </c:pt>
                <c:pt idx="372">
                  <c:v>Salakis</c:v>
                </c:pt>
                <c:pt idx="373">
                  <c:v>Private Lab</c:v>
                </c:pt>
                <c:pt idx="374">
                  <c:v>All Others</c:v>
                </c:pt>
                <c:pt idx="375">
                  <c:v>All Others</c:v>
                </c:pt>
                <c:pt idx="376">
                  <c:v>Boursin</c:v>
                </c:pt>
                <c:pt idx="377">
                  <c:v>Private Lab</c:v>
                </c:pt>
                <c:pt idx="378">
                  <c:v>Savencia: A</c:v>
                </c:pt>
                <c:pt idx="379">
                  <c:v>All Others</c:v>
                </c:pt>
                <c:pt idx="380">
                  <c:v>All Others</c:v>
                </c:pt>
                <c:pt idx="381">
                  <c:v>Mini Babybe</c:v>
                </c:pt>
                <c:pt idx="382">
                  <c:v>St Moret</c:v>
                </c:pt>
                <c:pt idx="383">
                  <c:v>President</c:v>
                </c:pt>
                <c:pt idx="384">
                  <c:v>Saint Agur</c:v>
                </c:pt>
                <c:pt idx="385">
                  <c:v>Etoile Du V</c:v>
                </c:pt>
                <c:pt idx="386">
                  <c:v>All Others</c:v>
                </c:pt>
                <c:pt idx="387">
                  <c:v>All Others</c:v>
                </c:pt>
                <c:pt idx="388">
                  <c:v>Private Lab</c:v>
                </c:pt>
                <c:pt idx="389">
                  <c:v>La Vache Qu</c:v>
                </c:pt>
                <c:pt idx="390">
                  <c:v>All Others</c:v>
                </c:pt>
                <c:pt idx="391">
                  <c:v>Private Lab</c:v>
                </c:pt>
                <c:pt idx="392">
                  <c:v>All Others</c:v>
                </c:pt>
                <c:pt idx="393">
                  <c:v>All Others</c:v>
                </c:pt>
                <c:pt idx="394">
                  <c:v>Boursin</c:v>
                </c:pt>
                <c:pt idx="395">
                  <c:v>Triballat R</c:v>
                </c:pt>
                <c:pt idx="396">
                  <c:v>All Others</c:v>
                </c:pt>
                <c:pt idx="397">
                  <c:v>All Others</c:v>
                </c:pt>
                <c:pt idx="398">
                  <c:v>All Others</c:v>
                </c:pt>
                <c:pt idx="399">
                  <c:v>All Others</c:v>
                </c:pt>
                <c:pt idx="400">
                  <c:v>All Others</c:v>
                </c:pt>
                <c:pt idx="401">
                  <c:v>Savencia: A</c:v>
                </c:pt>
                <c:pt idx="402">
                  <c:v>Private Lab</c:v>
                </c:pt>
                <c:pt idx="403">
                  <c:v>All Others</c:v>
                </c:pt>
                <c:pt idx="404">
                  <c:v>St Moret</c:v>
                </c:pt>
                <c:pt idx="405">
                  <c:v>Islos</c:v>
                </c:pt>
                <c:pt idx="406">
                  <c:v>Triballat N</c:v>
                </c:pt>
                <c:pt idx="407">
                  <c:v>Private Lab</c:v>
                </c:pt>
                <c:pt idx="408">
                  <c:v>President</c:v>
                </c:pt>
                <c:pt idx="409">
                  <c:v>All Others</c:v>
                </c:pt>
                <c:pt idx="410">
                  <c:v>All Others</c:v>
                </c:pt>
                <c:pt idx="411">
                  <c:v>All Others</c:v>
                </c:pt>
                <c:pt idx="412">
                  <c:v>Etorki</c:v>
                </c:pt>
                <c:pt idx="413">
                  <c:v>Private Lab</c:v>
                </c:pt>
                <c:pt idx="414">
                  <c:v>Boursin</c:v>
                </c:pt>
                <c:pt idx="415">
                  <c:v>Etoile Du Q</c:v>
                </c:pt>
                <c:pt idx="416">
                  <c:v>Tartare</c:v>
                </c:pt>
                <c:pt idx="417">
                  <c:v>All Others</c:v>
                </c:pt>
                <c:pt idx="418">
                  <c:v>All Others</c:v>
                </c:pt>
                <c:pt idx="419">
                  <c:v>All Others</c:v>
                </c:pt>
                <c:pt idx="420">
                  <c:v>Eurial Autr</c:v>
                </c:pt>
                <c:pt idx="421">
                  <c:v>All Others</c:v>
                </c:pt>
                <c:pt idx="422">
                  <c:v>Lactalis: A</c:v>
                </c:pt>
                <c:pt idx="423">
                  <c:v>Private Lab</c:v>
                </c:pt>
                <c:pt idx="424">
                  <c:v>All Others</c:v>
                </c:pt>
                <c:pt idx="425">
                  <c:v>All Others</c:v>
                </c:pt>
                <c:pt idx="426">
                  <c:v>All Others</c:v>
                </c:pt>
                <c:pt idx="427">
                  <c:v>Private Lab</c:v>
                </c:pt>
                <c:pt idx="428">
                  <c:v>All Others</c:v>
                </c:pt>
                <c:pt idx="429">
                  <c:v>All Others</c:v>
                </c:pt>
                <c:pt idx="430">
                  <c:v>All Others</c:v>
                </c:pt>
                <c:pt idx="431">
                  <c:v>All Others</c:v>
                </c:pt>
                <c:pt idx="432">
                  <c:v>Casa Azzurr</c:v>
                </c:pt>
                <c:pt idx="433">
                  <c:v>Boursin</c:v>
                </c:pt>
                <c:pt idx="434">
                  <c:v>All Others</c:v>
                </c:pt>
                <c:pt idx="435">
                  <c:v>All Others</c:v>
                </c:pt>
                <c:pt idx="436">
                  <c:v>Private Lab</c:v>
                </c:pt>
                <c:pt idx="437">
                  <c:v>All Others</c:v>
                </c:pt>
                <c:pt idx="438">
                  <c:v>All Others</c:v>
                </c:pt>
                <c:pt idx="439">
                  <c:v>Etoile Du Q</c:v>
                </c:pt>
                <c:pt idx="440">
                  <c:v>Boursin</c:v>
                </c:pt>
                <c:pt idx="441">
                  <c:v>All Others</c:v>
                </c:pt>
                <c:pt idx="442">
                  <c:v>All Others</c:v>
                </c:pt>
                <c:pt idx="443">
                  <c:v>Private Lab</c:v>
                </c:pt>
                <c:pt idx="444">
                  <c:v>Soignon</c:v>
                </c:pt>
                <c:pt idx="445">
                  <c:v>All Others</c:v>
                </c:pt>
                <c:pt idx="446">
                  <c:v>All Others</c:v>
                </c:pt>
                <c:pt idx="447">
                  <c:v>Lactalis: A</c:v>
                </c:pt>
                <c:pt idx="448">
                  <c:v>All Others</c:v>
                </c:pt>
                <c:pt idx="449">
                  <c:v>Soignon</c:v>
                </c:pt>
                <c:pt idx="450">
                  <c:v>All Others</c:v>
                </c:pt>
                <c:pt idx="451">
                  <c:v>Triballat N</c:v>
                </c:pt>
                <c:pt idx="452">
                  <c:v>Boursin</c:v>
                </c:pt>
                <c:pt idx="453">
                  <c:v>All Others</c:v>
                </c:pt>
                <c:pt idx="454">
                  <c:v>Le Brebiou</c:v>
                </c:pt>
                <c:pt idx="455">
                  <c:v>Savencia: A</c:v>
                </c:pt>
                <c:pt idx="456">
                  <c:v>All Others</c:v>
                </c:pt>
                <c:pt idx="457">
                  <c:v>All Others</c:v>
                </c:pt>
                <c:pt idx="458">
                  <c:v>Private Lab</c:v>
                </c:pt>
                <c:pt idx="459">
                  <c:v>All Others</c:v>
                </c:pt>
                <c:pt idx="460">
                  <c:v>All Others</c:v>
                </c:pt>
                <c:pt idx="461">
                  <c:v>Lactalis: A</c:v>
                </c:pt>
                <c:pt idx="462">
                  <c:v>All Others</c:v>
                </c:pt>
                <c:pt idx="463">
                  <c:v>Private Lab</c:v>
                </c:pt>
                <c:pt idx="464">
                  <c:v>All Others</c:v>
                </c:pt>
                <c:pt idx="465">
                  <c:v>All Others</c:v>
                </c:pt>
                <c:pt idx="466">
                  <c:v>Chavroux</c:v>
                </c:pt>
                <c:pt idx="467">
                  <c:v>Coeur De Li</c:v>
                </c:pt>
                <c:pt idx="468">
                  <c:v>Salakis</c:v>
                </c:pt>
                <c:pt idx="469">
                  <c:v>Private Lab</c:v>
                </c:pt>
                <c:pt idx="470">
                  <c:v>All Others</c:v>
                </c:pt>
                <c:pt idx="471">
                  <c:v>All Others</c:v>
                </c:pt>
                <c:pt idx="472">
                  <c:v>Etoile Du V</c:v>
                </c:pt>
                <c:pt idx="473">
                  <c:v>Milleret: A</c:v>
                </c:pt>
                <c:pt idx="474">
                  <c:v>Paysan Bret</c:v>
                </c:pt>
                <c:pt idx="475">
                  <c:v>Etoile Du V</c:v>
                </c:pt>
                <c:pt idx="476">
                  <c:v>All Others</c:v>
                </c:pt>
                <c:pt idx="477">
                  <c:v>Lactalis: A</c:v>
                </c:pt>
                <c:pt idx="478">
                  <c:v>Casa Azzurr</c:v>
                </c:pt>
                <c:pt idx="479">
                  <c:v>All Others</c:v>
                </c:pt>
                <c:pt idx="480">
                  <c:v>All Others</c:v>
                </c:pt>
                <c:pt idx="481">
                  <c:v>All Others</c:v>
                </c:pt>
                <c:pt idx="482">
                  <c:v>All Others</c:v>
                </c:pt>
                <c:pt idx="483">
                  <c:v>All Others</c:v>
                </c:pt>
                <c:pt idx="484">
                  <c:v>Carre Frais</c:v>
                </c:pt>
                <c:pt idx="485">
                  <c:v>All Others</c:v>
                </c:pt>
                <c:pt idx="486">
                  <c:v>Triballat R</c:v>
                </c:pt>
                <c:pt idx="487">
                  <c:v>All Others</c:v>
                </c:pt>
                <c:pt idx="488">
                  <c:v>Tartare</c:v>
                </c:pt>
                <c:pt idx="489">
                  <c:v>All Others</c:v>
                </c:pt>
                <c:pt idx="490">
                  <c:v>Casa Azzurr</c:v>
                </c:pt>
                <c:pt idx="491">
                  <c:v>Paysan Bret</c:v>
                </c:pt>
                <c:pt idx="492">
                  <c:v>All Others</c:v>
                </c:pt>
                <c:pt idx="493">
                  <c:v>All Others</c:v>
                </c:pt>
                <c:pt idx="494">
                  <c:v>Private Lab</c:v>
                </c:pt>
                <c:pt idx="495">
                  <c:v>Etoile Du V</c:v>
                </c:pt>
                <c:pt idx="496">
                  <c:v>Etoile Du Q</c:v>
                </c:pt>
                <c:pt idx="497">
                  <c:v>All Others</c:v>
                </c:pt>
                <c:pt idx="498">
                  <c:v>All Others</c:v>
                </c:pt>
                <c:pt idx="499">
                  <c:v>All Others</c:v>
                </c:pt>
                <c:pt idx="500">
                  <c:v>Private Lab</c:v>
                </c:pt>
                <c:pt idx="501">
                  <c:v>All Others</c:v>
                </c:pt>
                <c:pt idx="502">
                  <c:v>All Others</c:v>
                </c:pt>
                <c:pt idx="503">
                  <c:v>Private Lab</c:v>
                </c:pt>
                <c:pt idx="504">
                  <c:v>All Others</c:v>
                </c:pt>
                <c:pt idx="505">
                  <c:v>All Others</c:v>
                </c:pt>
                <c:pt idx="506">
                  <c:v>All Others</c:v>
                </c:pt>
                <c:pt idx="507">
                  <c:v>Milleret: A</c:v>
                </c:pt>
                <c:pt idx="508">
                  <c:v>Etoile Du V</c:v>
                </c:pt>
                <c:pt idx="509">
                  <c:v>All Others</c:v>
                </c:pt>
                <c:pt idx="510">
                  <c:v>Corsica</c:v>
                </c:pt>
                <c:pt idx="511">
                  <c:v>All Others</c:v>
                </c:pt>
                <c:pt idx="512">
                  <c:v>All Others</c:v>
                </c:pt>
                <c:pt idx="513">
                  <c:v>All Others</c:v>
                </c:pt>
                <c:pt idx="514">
                  <c:v>All Others</c:v>
                </c:pt>
                <c:pt idx="515">
                  <c:v>All Others</c:v>
                </c:pt>
                <c:pt idx="516">
                  <c:v>All Others</c:v>
                </c:pt>
                <c:pt idx="517">
                  <c:v>All Others</c:v>
                </c:pt>
                <c:pt idx="518">
                  <c:v>All Others</c:v>
                </c:pt>
                <c:pt idx="519">
                  <c:v>All Others</c:v>
                </c:pt>
                <c:pt idx="520">
                  <c:v>Lactalis: A</c:v>
                </c:pt>
                <c:pt idx="521">
                  <c:v>All Others</c:v>
                </c:pt>
                <c:pt idx="522">
                  <c:v>All Others</c:v>
                </c:pt>
                <c:pt idx="523">
                  <c:v>All Others</c:v>
                </c:pt>
                <c:pt idx="524">
                  <c:v>Private Lab</c:v>
                </c:pt>
                <c:pt idx="525">
                  <c:v>Private Lab</c:v>
                </c:pt>
                <c:pt idx="526">
                  <c:v>Mini Babybe</c:v>
                </c:pt>
                <c:pt idx="527">
                  <c:v>All Others</c:v>
                </c:pt>
                <c:pt idx="528">
                  <c:v>All Others</c:v>
                </c:pt>
                <c:pt idx="529">
                  <c:v>All Others</c:v>
                </c:pt>
                <c:pt idx="530">
                  <c:v>All Others</c:v>
                </c:pt>
                <c:pt idx="531">
                  <c:v>All Others</c:v>
                </c:pt>
                <c:pt idx="532">
                  <c:v>All Others</c:v>
                </c:pt>
                <c:pt idx="533">
                  <c:v>P'Tit Louis</c:v>
                </c:pt>
                <c:pt idx="534">
                  <c:v>All Others</c:v>
                </c:pt>
                <c:pt idx="535">
                  <c:v>All Others</c:v>
                </c:pt>
                <c:pt idx="536">
                  <c:v>All Others</c:v>
                </c:pt>
                <c:pt idx="537">
                  <c:v>All Others</c:v>
                </c:pt>
                <c:pt idx="538">
                  <c:v>Boursin</c:v>
                </c:pt>
                <c:pt idx="539">
                  <c:v>Private Lab</c:v>
                </c:pt>
                <c:pt idx="540">
                  <c:v>All Others</c:v>
                </c:pt>
                <c:pt idx="541">
                  <c:v>All Others</c:v>
                </c:pt>
                <c:pt idx="542">
                  <c:v>All Others</c:v>
                </c:pt>
                <c:pt idx="543">
                  <c:v>All Others</c:v>
                </c:pt>
                <c:pt idx="544">
                  <c:v>All Others</c:v>
                </c:pt>
                <c:pt idx="545">
                  <c:v>All Others</c:v>
                </c:pt>
                <c:pt idx="546">
                  <c:v>Triballat N</c:v>
                </c:pt>
                <c:pt idx="547">
                  <c:v>All Others</c:v>
                </c:pt>
                <c:pt idx="548">
                  <c:v>Petit Billy</c:v>
                </c:pt>
                <c:pt idx="549">
                  <c:v>La Vache Qu</c:v>
                </c:pt>
                <c:pt idx="550">
                  <c:v>Private Lab</c:v>
                </c:pt>
                <c:pt idx="551">
                  <c:v>All Others</c:v>
                </c:pt>
                <c:pt idx="552">
                  <c:v>Galbani</c:v>
                </c:pt>
                <c:pt idx="553">
                  <c:v>All Others</c:v>
                </c:pt>
                <c:pt idx="554">
                  <c:v>Lactalis: A</c:v>
                </c:pt>
                <c:pt idx="555">
                  <c:v>All Others</c:v>
                </c:pt>
                <c:pt idx="556">
                  <c:v>St Moret</c:v>
                </c:pt>
                <c:pt idx="557">
                  <c:v>All Others</c:v>
                </c:pt>
                <c:pt idx="558">
                  <c:v>All Others</c:v>
                </c:pt>
                <c:pt idx="559">
                  <c:v>Boursin</c:v>
                </c:pt>
                <c:pt idx="560">
                  <c:v>All Others</c:v>
                </c:pt>
                <c:pt idx="561">
                  <c:v>All Others</c:v>
                </c:pt>
                <c:pt idx="562">
                  <c:v>All Others</c:v>
                </c:pt>
                <c:pt idx="563">
                  <c:v>All Others</c:v>
                </c:pt>
                <c:pt idx="564">
                  <c:v>All Others</c:v>
                </c:pt>
                <c:pt idx="565">
                  <c:v>All Others</c:v>
                </c:pt>
                <c:pt idx="566">
                  <c:v>Savencia: A</c:v>
                </c:pt>
                <c:pt idx="567">
                  <c:v>All Others</c:v>
                </c:pt>
                <c:pt idx="568">
                  <c:v>All Others</c:v>
                </c:pt>
                <c:pt idx="569">
                  <c:v>All Others</c:v>
                </c:pt>
                <c:pt idx="570">
                  <c:v>Triballat N</c:v>
                </c:pt>
                <c:pt idx="571">
                  <c:v>All Others</c:v>
                </c:pt>
                <c:pt idx="572">
                  <c:v>All Others</c:v>
                </c:pt>
                <c:pt idx="573">
                  <c:v>Boursin</c:v>
                </c:pt>
                <c:pt idx="574">
                  <c:v>All Others</c:v>
                </c:pt>
                <c:pt idx="575">
                  <c:v>Savencia: A</c:v>
                </c:pt>
                <c:pt idx="576">
                  <c:v>Lactalis: A</c:v>
                </c:pt>
                <c:pt idx="577">
                  <c:v>All Others</c:v>
                </c:pt>
                <c:pt idx="578">
                  <c:v>All Others</c:v>
                </c:pt>
                <c:pt idx="579">
                  <c:v>All Others</c:v>
                </c:pt>
                <c:pt idx="580">
                  <c:v>Private Lab</c:v>
                </c:pt>
                <c:pt idx="581">
                  <c:v>Private Lab</c:v>
                </c:pt>
                <c:pt idx="582">
                  <c:v>All Others</c:v>
                </c:pt>
                <c:pt idx="583">
                  <c:v>Private Lab</c:v>
                </c:pt>
                <c:pt idx="584">
                  <c:v>All Others</c:v>
                </c:pt>
                <c:pt idx="585">
                  <c:v>All Others</c:v>
                </c:pt>
                <c:pt idx="586">
                  <c:v>Salakis</c:v>
                </c:pt>
                <c:pt idx="587">
                  <c:v>All Others</c:v>
                </c:pt>
                <c:pt idx="588">
                  <c:v>All Others</c:v>
                </c:pt>
                <c:pt idx="589">
                  <c:v>Triballat N</c:v>
                </c:pt>
                <c:pt idx="590">
                  <c:v>All Others</c:v>
                </c:pt>
                <c:pt idx="591">
                  <c:v>All Others</c:v>
                </c:pt>
                <c:pt idx="592">
                  <c:v>Private Lab</c:v>
                </c:pt>
                <c:pt idx="593">
                  <c:v>All Others</c:v>
                </c:pt>
                <c:pt idx="594">
                  <c:v>Savencia: A</c:v>
                </c:pt>
                <c:pt idx="595">
                  <c:v>Petit Billy</c:v>
                </c:pt>
                <c:pt idx="596">
                  <c:v>Salakis</c:v>
                </c:pt>
                <c:pt idx="597">
                  <c:v>All Others</c:v>
                </c:pt>
                <c:pt idx="598">
                  <c:v>All Others</c:v>
                </c:pt>
                <c:pt idx="599">
                  <c:v>All Others</c:v>
                </c:pt>
                <c:pt idx="600">
                  <c:v>Private Lab</c:v>
                </c:pt>
                <c:pt idx="601">
                  <c:v>All Others</c:v>
                </c:pt>
                <c:pt idx="602">
                  <c:v>Tartare</c:v>
                </c:pt>
                <c:pt idx="603">
                  <c:v>All Others</c:v>
                </c:pt>
                <c:pt idx="604">
                  <c:v>All Others</c:v>
                </c:pt>
                <c:pt idx="605">
                  <c:v>All Others</c:v>
                </c:pt>
                <c:pt idx="606">
                  <c:v>All Others</c:v>
                </c:pt>
                <c:pt idx="607">
                  <c:v>All Others</c:v>
                </c:pt>
                <c:pt idx="608">
                  <c:v>All Others</c:v>
                </c:pt>
                <c:pt idx="609">
                  <c:v>Islos</c:v>
                </c:pt>
                <c:pt idx="610">
                  <c:v>All Others</c:v>
                </c:pt>
                <c:pt idx="611">
                  <c:v>All Others</c:v>
                </c:pt>
                <c:pt idx="612">
                  <c:v>All Others</c:v>
                </c:pt>
                <c:pt idx="613">
                  <c:v>Philadelphi</c:v>
                </c:pt>
                <c:pt idx="614">
                  <c:v>All Others</c:v>
                </c:pt>
                <c:pt idx="615">
                  <c:v>All Others</c:v>
                </c:pt>
                <c:pt idx="616">
                  <c:v>All Others</c:v>
                </c:pt>
                <c:pt idx="617">
                  <c:v>All Others</c:v>
                </c:pt>
                <c:pt idx="618">
                  <c:v>All Others</c:v>
                </c:pt>
                <c:pt idx="619">
                  <c:v>All Others</c:v>
                </c:pt>
                <c:pt idx="620">
                  <c:v>All Others</c:v>
                </c:pt>
                <c:pt idx="621">
                  <c:v>All Others</c:v>
                </c:pt>
                <c:pt idx="622">
                  <c:v>All Others</c:v>
                </c:pt>
                <c:pt idx="623">
                  <c:v>All Others</c:v>
                </c:pt>
                <c:pt idx="624">
                  <c:v>All Others</c:v>
                </c:pt>
                <c:pt idx="625">
                  <c:v>All Others</c:v>
                </c:pt>
                <c:pt idx="626">
                  <c:v>All Others</c:v>
                </c:pt>
                <c:pt idx="627">
                  <c:v>Private Lab</c:v>
                </c:pt>
                <c:pt idx="628">
                  <c:v>All Others</c:v>
                </c:pt>
                <c:pt idx="629">
                  <c:v>Private Lab</c:v>
                </c:pt>
                <c:pt idx="630">
                  <c:v>Private Lab</c:v>
                </c:pt>
                <c:pt idx="631">
                  <c:v>All Others</c:v>
                </c:pt>
                <c:pt idx="632">
                  <c:v>All Others</c:v>
                </c:pt>
                <c:pt idx="633">
                  <c:v>All Others</c:v>
                </c:pt>
                <c:pt idx="634">
                  <c:v>Private Lab</c:v>
                </c:pt>
                <c:pt idx="635">
                  <c:v>All Others</c:v>
                </c:pt>
                <c:pt idx="636">
                  <c:v>Private Lab</c:v>
                </c:pt>
                <c:pt idx="637">
                  <c:v>All Others</c:v>
                </c:pt>
                <c:pt idx="638">
                  <c:v>All Others</c:v>
                </c:pt>
                <c:pt idx="639">
                  <c:v>All Others</c:v>
                </c:pt>
                <c:pt idx="640">
                  <c:v>All Others</c:v>
                </c:pt>
                <c:pt idx="641">
                  <c:v>All Others</c:v>
                </c:pt>
                <c:pt idx="642">
                  <c:v>All Others</c:v>
                </c:pt>
                <c:pt idx="643">
                  <c:v>All Others</c:v>
                </c:pt>
                <c:pt idx="644">
                  <c:v>Private Lab</c:v>
                </c:pt>
                <c:pt idx="645">
                  <c:v>All Others</c:v>
                </c:pt>
                <c:pt idx="646">
                  <c:v>All Others</c:v>
                </c:pt>
                <c:pt idx="647">
                  <c:v>All Others</c:v>
                </c:pt>
                <c:pt idx="648">
                  <c:v>All Others</c:v>
                </c:pt>
                <c:pt idx="649">
                  <c:v>All Others</c:v>
                </c:pt>
                <c:pt idx="650">
                  <c:v>All Others</c:v>
                </c:pt>
                <c:pt idx="651">
                  <c:v>All Others</c:v>
                </c:pt>
                <c:pt idx="652">
                  <c:v>All Others</c:v>
                </c:pt>
                <c:pt idx="653">
                  <c:v>All Others</c:v>
                </c:pt>
                <c:pt idx="654">
                  <c:v>All Others</c:v>
                </c:pt>
                <c:pt idx="655">
                  <c:v>All Others</c:v>
                </c:pt>
                <c:pt idx="656">
                  <c:v>All Others</c:v>
                </c:pt>
                <c:pt idx="657">
                  <c:v>Private Lab</c:v>
                </c:pt>
                <c:pt idx="658">
                  <c:v>Boursin</c:v>
                </c:pt>
                <c:pt idx="659">
                  <c:v>All Others</c:v>
                </c:pt>
                <c:pt idx="660">
                  <c:v>Private Lab</c:v>
                </c:pt>
                <c:pt idx="661">
                  <c:v>All Others</c:v>
                </c:pt>
                <c:pt idx="662">
                  <c:v>All Others</c:v>
                </c:pt>
                <c:pt idx="663">
                  <c:v>All Others</c:v>
                </c:pt>
                <c:pt idx="664">
                  <c:v>All Others</c:v>
                </c:pt>
                <c:pt idx="665">
                  <c:v>All Others</c:v>
                </c:pt>
                <c:pt idx="666">
                  <c:v>Triballat R</c:v>
                </c:pt>
                <c:pt idx="667">
                  <c:v>Eurial Autr</c:v>
                </c:pt>
                <c:pt idx="668">
                  <c:v>All Others</c:v>
                </c:pt>
                <c:pt idx="669">
                  <c:v>Kiri</c:v>
                </c:pt>
                <c:pt idx="670">
                  <c:v>Triballat R</c:v>
                </c:pt>
                <c:pt idx="671">
                  <c:v>All Others</c:v>
                </c:pt>
                <c:pt idx="672">
                  <c:v>All Others</c:v>
                </c:pt>
                <c:pt idx="673">
                  <c:v>All Others</c:v>
                </c:pt>
                <c:pt idx="674">
                  <c:v>All Others</c:v>
                </c:pt>
                <c:pt idx="675">
                  <c:v>All Others</c:v>
                </c:pt>
                <c:pt idx="676">
                  <c:v>All Others</c:v>
                </c:pt>
                <c:pt idx="677">
                  <c:v>All Others</c:v>
                </c:pt>
                <c:pt idx="678">
                  <c:v>All Others</c:v>
                </c:pt>
                <c:pt idx="679">
                  <c:v>All Others</c:v>
                </c:pt>
                <c:pt idx="680">
                  <c:v>Private Lab</c:v>
                </c:pt>
                <c:pt idx="681">
                  <c:v>All Others</c:v>
                </c:pt>
                <c:pt idx="682">
                  <c:v>All Others</c:v>
                </c:pt>
                <c:pt idx="683">
                  <c:v>All Others</c:v>
                </c:pt>
                <c:pt idx="684">
                  <c:v>All Others</c:v>
                </c:pt>
                <c:pt idx="685">
                  <c:v>All Others</c:v>
                </c:pt>
                <c:pt idx="686">
                  <c:v>Eurial Autr</c:v>
                </c:pt>
                <c:pt idx="687">
                  <c:v>All Others</c:v>
                </c:pt>
                <c:pt idx="688">
                  <c:v>All Others</c:v>
                </c:pt>
                <c:pt idx="689">
                  <c:v>All Others</c:v>
                </c:pt>
                <c:pt idx="690">
                  <c:v>Boursin</c:v>
                </c:pt>
                <c:pt idx="691">
                  <c:v>All Others</c:v>
                </c:pt>
                <c:pt idx="692">
                  <c:v>All Others</c:v>
                </c:pt>
                <c:pt idx="693">
                  <c:v>Lactalis: A</c:v>
                </c:pt>
                <c:pt idx="694">
                  <c:v>All Others</c:v>
                </c:pt>
                <c:pt idx="695">
                  <c:v>All Others</c:v>
                </c:pt>
                <c:pt idx="696">
                  <c:v>All Others</c:v>
                </c:pt>
                <c:pt idx="697">
                  <c:v>All Others</c:v>
                </c:pt>
                <c:pt idx="698">
                  <c:v>All Others</c:v>
                </c:pt>
                <c:pt idx="699">
                  <c:v>All Others</c:v>
                </c:pt>
                <c:pt idx="700">
                  <c:v>All Others</c:v>
                </c:pt>
                <c:pt idx="701">
                  <c:v>All Others</c:v>
                </c:pt>
                <c:pt idx="702">
                  <c:v>All Others</c:v>
                </c:pt>
                <c:pt idx="703">
                  <c:v>All Others</c:v>
                </c:pt>
                <c:pt idx="704">
                  <c:v>All Others</c:v>
                </c:pt>
                <c:pt idx="705">
                  <c:v>President</c:v>
                </c:pt>
                <c:pt idx="706">
                  <c:v>All Others</c:v>
                </c:pt>
                <c:pt idx="707">
                  <c:v>All Others</c:v>
                </c:pt>
                <c:pt idx="708">
                  <c:v>All Others</c:v>
                </c:pt>
                <c:pt idx="709">
                  <c:v>All Others</c:v>
                </c:pt>
                <c:pt idx="710">
                  <c:v>All Others</c:v>
                </c:pt>
                <c:pt idx="711">
                  <c:v>All Others</c:v>
                </c:pt>
                <c:pt idx="712">
                  <c:v>All Others</c:v>
                </c:pt>
                <c:pt idx="713">
                  <c:v>Tartare</c:v>
                </c:pt>
                <c:pt idx="714">
                  <c:v>All Others</c:v>
                </c:pt>
                <c:pt idx="715">
                  <c:v>All Others</c:v>
                </c:pt>
                <c:pt idx="716">
                  <c:v>All Others</c:v>
                </c:pt>
                <c:pt idx="717">
                  <c:v>All Others</c:v>
                </c:pt>
                <c:pt idx="718">
                  <c:v>All Others</c:v>
                </c:pt>
                <c:pt idx="719">
                  <c:v>All Others</c:v>
                </c:pt>
                <c:pt idx="720">
                  <c:v>All Others</c:v>
                </c:pt>
                <c:pt idx="721">
                  <c:v>Private Lab</c:v>
                </c:pt>
                <c:pt idx="722">
                  <c:v>Private Lab</c:v>
                </c:pt>
                <c:pt idx="723">
                  <c:v>All Others</c:v>
                </c:pt>
                <c:pt idx="724">
                  <c:v>All Others</c:v>
                </c:pt>
                <c:pt idx="725">
                  <c:v>All Others</c:v>
                </c:pt>
                <c:pt idx="726">
                  <c:v>All Others</c:v>
                </c:pt>
                <c:pt idx="727">
                  <c:v>Mini Babybe</c:v>
                </c:pt>
                <c:pt idx="728">
                  <c:v>All Others</c:v>
                </c:pt>
                <c:pt idx="729">
                  <c:v>President</c:v>
                </c:pt>
                <c:pt idx="730">
                  <c:v>Soignon</c:v>
                </c:pt>
                <c:pt idx="731">
                  <c:v>Lactalis: A</c:v>
                </c:pt>
                <c:pt idx="732">
                  <c:v>All Others</c:v>
                </c:pt>
                <c:pt idx="733">
                  <c:v>All Others</c:v>
                </c:pt>
                <c:pt idx="734">
                  <c:v>All Others</c:v>
                </c:pt>
                <c:pt idx="735">
                  <c:v>All Others</c:v>
                </c:pt>
                <c:pt idx="736">
                  <c:v>Private Lab</c:v>
                </c:pt>
                <c:pt idx="737">
                  <c:v>All Others</c:v>
                </c:pt>
                <c:pt idx="738">
                  <c:v>Mini Babybe</c:v>
                </c:pt>
                <c:pt idx="739">
                  <c:v>All Others</c:v>
                </c:pt>
                <c:pt idx="740">
                  <c:v>All Others</c:v>
                </c:pt>
                <c:pt idx="741">
                  <c:v>All Others</c:v>
                </c:pt>
                <c:pt idx="742">
                  <c:v>All Others</c:v>
                </c:pt>
                <c:pt idx="743">
                  <c:v>Eurial Autr</c:v>
                </c:pt>
                <c:pt idx="744">
                  <c:v>All Others</c:v>
                </c:pt>
                <c:pt idx="745">
                  <c:v>All Others</c:v>
                </c:pt>
                <c:pt idx="746">
                  <c:v>All Others</c:v>
                </c:pt>
                <c:pt idx="747">
                  <c:v>All Others</c:v>
                </c:pt>
                <c:pt idx="748">
                  <c:v>All Others</c:v>
                </c:pt>
                <c:pt idx="749">
                  <c:v>St Moret</c:v>
                </c:pt>
                <c:pt idx="750">
                  <c:v>Carre Frais</c:v>
                </c:pt>
                <c:pt idx="751">
                  <c:v>Private Lab</c:v>
                </c:pt>
                <c:pt idx="752">
                  <c:v>Private Lab</c:v>
                </c:pt>
                <c:pt idx="753">
                  <c:v>All Others</c:v>
                </c:pt>
                <c:pt idx="754">
                  <c:v>All Others</c:v>
                </c:pt>
                <c:pt idx="755">
                  <c:v>All Others</c:v>
                </c:pt>
                <c:pt idx="756">
                  <c:v>All Others</c:v>
                </c:pt>
                <c:pt idx="757">
                  <c:v>All Others</c:v>
                </c:pt>
                <c:pt idx="758">
                  <c:v>All Others</c:v>
                </c:pt>
                <c:pt idx="759">
                  <c:v>All Others</c:v>
                </c:pt>
                <c:pt idx="760">
                  <c:v>All Others</c:v>
                </c:pt>
                <c:pt idx="761">
                  <c:v>All Others</c:v>
                </c:pt>
                <c:pt idx="762">
                  <c:v>All Others</c:v>
                </c:pt>
                <c:pt idx="763">
                  <c:v>All Others</c:v>
                </c:pt>
                <c:pt idx="764">
                  <c:v>All Others</c:v>
                </c:pt>
                <c:pt idx="765">
                  <c:v>All Others</c:v>
                </c:pt>
                <c:pt idx="766">
                  <c:v>All Others</c:v>
                </c:pt>
                <c:pt idx="767">
                  <c:v>All Others</c:v>
                </c:pt>
                <c:pt idx="768">
                  <c:v>Lactalis: A</c:v>
                </c:pt>
                <c:pt idx="769">
                  <c:v>All Others</c:v>
                </c:pt>
                <c:pt idx="770">
                  <c:v>All Others</c:v>
                </c:pt>
                <c:pt idx="771">
                  <c:v>Savencia: A</c:v>
                </c:pt>
                <c:pt idx="772">
                  <c:v>All Others</c:v>
                </c:pt>
                <c:pt idx="773">
                  <c:v>All Others</c:v>
                </c:pt>
                <c:pt idx="774">
                  <c:v>Eurial Autr</c:v>
                </c:pt>
                <c:pt idx="775">
                  <c:v>Etoile Du Q</c:v>
                </c:pt>
                <c:pt idx="776">
                  <c:v>Private Lab</c:v>
                </c:pt>
                <c:pt idx="777">
                  <c:v>All Others</c:v>
                </c:pt>
                <c:pt idx="778">
                  <c:v>All Others</c:v>
                </c:pt>
                <c:pt idx="779">
                  <c:v>All Others</c:v>
                </c:pt>
                <c:pt idx="780">
                  <c:v>All Others</c:v>
                </c:pt>
                <c:pt idx="781">
                  <c:v>Eurial Autr</c:v>
                </c:pt>
                <c:pt idx="782">
                  <c:v>All Others</c:v>
                </c:pt>
                <c:pt idx="783">
                  <c:v>Lou Perac</c:v>
                </c:pt>
                <c:pt idx="784">
                  <c:v>All Others</c:v>
                </c:pt>
                <c:pt idx="785">
                  <c:v>All Others</c:v>
                </c:pt>
                <c:pt idx="786">
                  <c:v>All Others</c:v>
                </c:pt>
                <c:pt idx="787">
                  <c:v>All Others</c:v>
                </c:pt>
                <c:pt idx="788">
                  <c:v>All Others</c:v>
                </c:pt>
                <c:pt idx="789">
                  <c:v>All Others</c:v>
                </c:pt>
                <c:pt idx="790">
                  <c:v>All Others</c:v>
                </c:pt>
                <c:pt idx="791">
                  <c:v>All Others</c:v>
                </c:pt>
                <c:pt idx="792">
                  <c:v>All Others</c:v>
                </c:pt>
                <c:pt idx="793">
                  <c:v>All Others</c:v>
                </c:pt>
                <c:pt idx="794">
                  <c:v>All Others</c:v>
                </c:pt>
                <c:pt idx="795">
                  <c:v>All Others</c:v>
                </c:pt>
                <c:pt idx="796">
                  <c:v>All Others</c:v>
                </c:pt>
                <c:pt idx="797">
                  <c:v>All Others</c:v>
                </c:pt>
                <c:pt idx="798">
                  <c:v>All Others</c:v>
                </c:pt>
                <c:pt idx="799">
                  <c:v>All Others</c:v>
                </c:pt>
                <c:pt idx="800">
                  <c:v>All Others</c:v>
                </c:pt>
                <c:pt idx="801">
                  <c:v>All Others</c:v>
                </c:pt>
                <c:pt idx="802">
                  <c:v>All Others</c:v>
                </c:pt>
                <c:pt idx="803">
                  <c:v>All Others</c:v>
                </c:pt>
                <c:pt idx="804">
                  <c:v>All Others</c:v>
                </c:pt>
                <c:pt idx="805">
                  <c:v>All Others</c:v>
                </c:pt>
                <c:pt idx="806">
                  <c:v>All Others</c:v>
                </c:pt>
                <c:pt idx="807">
                  <c:v>All Others</c:v>
                </c:pt>
                <c:pt idx="808">
                  <c:v>All Others</c:v>
                </c:pt>
                <c:pt idx="809">
                  <c:v>Lactalis: A</c:v>
                </c:pt>
                <c:pt idx="810">
                  <c:v>Lactalis: A</c:v>
                </c:pt>
                <c:pt idx="811">
                  <c:v>All Others</c:v>
                </c:pt>
                <c:pt idx="812">
                  <c:v>All Others</c:v>
                </c:pt>
                <c:pt idx="813">
                  <c:v>All Others</c:v>
                </c:pt>
                <c:pt idx="814">
                  <c:v>All Others</c:v>
                </c:pt>
                <c:pt idx="815">
                  <c:v>All Others</c:v>
                </c:pt>
                <c:pt idx="816">
                  <c:v>All Others</c:v>
                </c:pt>
                <c:pt idx="817">
                  <c:v>All Others</c:v>
                </c:pt>
                <c:pt idx="818">
                  <c:v>All Others</c:v>
                </c:pt>
                <c:pt idx="819">
                  <c:v>All Others</c:v>
                </c:pt>
                <c:pt idx="820">
                  <c:v>All Others</c:v>
                </c:pt>
                <c:pt idx="821">
                  <c:v>All Others</c:v>
                </c:pt>
                <c:pt idx="822">
                  <c:v>All Others</c:v>
                </c:pt>
                <c:pt idx="823">
                  <c:v>All Others</c:v>
                </c:pt>
                <c:pt idx="824">
                  <c:v>All Others</c:v>
                </c:pt>
                <c:pt idx="825">
                  <c:v>All Others</c:v>
                </c:pt>
                <c:pt idx="826">
                  <c:v>All Others</c:v>
                </c:pt>
                <c:pt idx="827">
                  <c:v>Triballat R</c:v>
                </c:pt>
                <c:pt idx="828">
                  <c:v>Savencia: A</c:v>
                </c:pt>
                <c:pt idx="829">
                  <c:v>Savencia: A</c:v>
                </c:pt>
                <c:pt idx="830">
                  <c:v>All Others</c:v>
                </c:pt>
                <c:pt idx="831">
                  <c:v>All Others</c:v>
                </c:pt>
                <c:pt idx="832">
                  <c:v>All Others</c:v>
                </c:pt>
                <c:pt idx="833">
                  <c:v>All Others</c:v>
                </c:pt>
                <c:pt idx="834">
                  <c:v>All Others</c:v>
                </c:pt>
                <c:pt idx="835">
                  <c:v>All Others</c:v>
                </c:pt>
                <c:pt idx="836">
                  <c:v>All Others</c:v>
                </c:pt>
                <c:pt idx="837">
                  <c:v>All Others</c:v>
                </c:pt>
                <c:pt idx="838">
                  <c:v>All Others</c:v>
                </c:pt>
                <c:pt idx="839">
                  <c:v>All Others</c:v>
                </c:pt>
                <c:pt idx="840">
                  <c:v>All Others</c:v>
                </c:pt>
                <c:pt idx="841">
                  <c:v>All Others</c:v>
                </c:pt>
                <c:pt idx="842">
                  <c:v>All Others</c:v>
                </c:pt>
                <c:pt idx="843">
                  <c:v>All Others</c:v>
                </c:pt>
                <c:pt idx="844">
                  <c:v>All Others</c:v>
                </c:pt>
                <c:pt idx="845">
                  <c:v>All Others</c:v>
                </c:pt>
                <c:pt idx="846">
                  <c:v>All Others</c:v>
                </c:pt>
                <c:pt idx="847">
                  <c:v>All Others</c:v>
                </c:pt>
                <c:pt idx="848">
                  <c:v>All Others</c:v>
                </c:pt>
                <c:pt idx="849">
                  <c:v>All Others</c:v>
                </c:pt>
                <c:pt idx="850">
                  <c:v>Lou Perac</c:v>
                </c:pt>
                <c:pt idx="851">
                  <c:v>All Others</c:v>
                </c:pt>
                <c:pt idx="852">
                  <c:v>All Others</c:v>
                </c:pt>
                <c:pt idx="853">
                  <c:v>All Others</c:v>
                </c:pt>
                <c:pt idx="854">
                  <c:v>All Others</c:v>
                </c:pt>
                <c:pt idx="855">
                  <c:v>All Others</c:v>
                </c:pt>
                <c:pt idx="856">
                  <c:v>All Others</c:v>
                </c:pt>
                <c:pt idx="857">
                  <c:v>All Others</c:v>
                </c:pt>
                <c:pt idx="858">
                  <c:v>All Others</c:v>
                </c:pt>
                <c:pt idx="859">
                  <c:v>All Others</c:v>
                </c:pt>
                <c:pt idx="860">
                  <c:v>All Others</c:v>
                </c:pt>
                <c:pt idx="861">
                  <c:v>All Others</c:v>
                </c:pt>
                <c:pt idx="862">
                  <c:v>All Others</c:v>
                </c:pt>
                <c:pt idx="863">
                  <c:v>All Others</c:v>
                </c:pt>
                <c:pt idx="864">
                  <c:v>All Others</c:v>
                </c:pt>
                <c:pt idx="865">
                  <c:v>All Others</c:v>
                </c:pt>
                <c:pt idx="866">
                  <c:v>All Others</c:v>
                </c:pt>
                <c:pt idx="867">
                  <c:v>Soignon</c:v>
                </c:pt>
                <c:pt idx="868">
                  <c:v>All Others</c:v>
                </c:pt>
                <c:pt idx="869">
                  <c:v>All Others</c:v>
                </c:pt>
                <c:pt idx="870">
                  <c:v>All Others</c:v>
                </c:pt>
                <c:pt idx="871">
                  <c:v>All Others</c:v>
                </c:pt>
                <c:pt idx="872">
                  <c:v>All Others</c:v>
                </c:pt>
                <c:pt idx="873">
                  <c:v>All Others</c:v>
                </c:pt>
                <c:pt idx="874">
                  <c:v>All Others</c:v>
                </c:pt>
                <c:pt idx="875">
                  <c:v>All Others</c:v>
                </c:pt>
                <c:pt idx="876">
                  <c:v>All Others</c:v>
                </c:pt>
                <c:pt idx="877">
                  <c:v>All Others</c:v>
                </c:pt>
                <c:pt idx="878">
                  <c:v>All Others</c:v>
                </c:pt>
                <c:pt idx="879">
                  <c:v>All Others</c:v>
                </c:pt>
                <c:pt idx="880">
                  <c:v>All Others</c:v>
                </c:pt>
                <c:pt idx="881">
                  <c:v>All Others</c:v>
                </c:pt>
                <c:pt idx="882">
                  <c:v>All Others</c:v>
                </c:pt>
                <c:pt idx="883">
                  <c:v>All Others</c:v>
                </c:pt>
                <c:pt idx="884">
                  <c:v>All Others</c:v>
                </c:pt>
                <c:pt idx="885">
                  <c:v>All Others</c:v>
                </c:pt>
                <c:pt idx="886">
                  <c:v>All Others</c:v>
                </c:pt>
                <c:pt idx="887">
                  <c:v>All Others</c:v>
                </c:pt>
                <c:pt idx="888">
                  <c:v>All Others</c:v>
                </c:pt>
                <c:pt idx="889">
                  <c:v>Triballat R</c:v>
                </c:pt>
                <c:pt idx="890">
                  <c:v>All Others</c:v>
                </c:pt>
                <c:pt idx="891">
                  <c:v>All Others</c:v>
                </c:pt>
                <c:pt idx="892">
                  <c:v>All Others</c:v>
                </c:pt>
                <c:pt idx="893">
                  <c:v>Triballat R</c:v>
                </c:pt>
                <c:pt idx="894">
                  <c:v>All Others</c:v>
                </c:pt>
                <c:pt idx="895">
                  <c:v>All Others</c:v>
                </c:pt>
                <c:pt idx="896">
                  <c:v>All Others</c:v>
                </c:pt>
                <c:pt idx="897">
                  <c:v>All Others</c:v>
                </c:pt>
                <c:pt idx="898">
                  <c:v>All Others</c:v>
                </c:pt>
                <c:pt idx="899">
                  <c:v>Private Lab</c:v>
                </c:pt>
                <c:pt idx="900">
                  <c:v>All Others</c:v>
                </c:pt>
                <c:pt idx="901">
                  <c:v>All Others</c:v>
                </c:pt>
                <c:pt idx="902">
                  <c:v>All Others</c:v>
                </c:pt>
                <c:pt idx="903">
                  <c:v>All Others</c:v>
                </c:pt>
                <c:pt idx="904">
                  <c:v>All Others</c:v>
                </c:pt>
                <c:pt idx="905">
                  <c:v>All Others</c:v>
                </c:pt>
                <c:pt idx="906">
                  <c:v>All Others</c:v>
                </c:pt>
                <c:pt idx="907">
                  <c:v>All Others</c:v>
                </c:pt>
                <c:pt idx="908">
                  <c:v>All Others</c:v>
                </c:pt>
                <c:pt idx="909">
                  <c:v>All Others</c:v>
                </c:pt>
                <c:pt idx="910">
                  <c:v>All Others</c:v>
                </c:pt>
                <c:pt idx="911">
                  <c:v>All Others</c:v>
                </c:pt>
                <c:pt idx="912">
                  <c:v>All Others</c:v>
                </c:pt>
                <c:pt idx="913">
                  <c:v>All Others</c:v>
                </c:pt>
                <c:pt idx="914">
                  <c:v>All Others</c:v>
                </c:pt>
                <c:pt idx="915">
                  <c:v>All Others</c:v>
                </c:pt>
                <c:pt idx="916">
                  <c:v>All Others</c:v>
                </c:pt>
                <c:pt idx="917">
                  <c:v>All Others</c:v>
                </c:pt>
                <c:pt idx="918">
                  <c:v>Caprice Des</c:v>
                </c:pt>
                <c:pt idx="919">
                  <c:v>All Others</c:v>
                </c:pt>
                <c:pt idx="920">
                  <c:v>All Others</c:v>
                </c:pt>
                <c:pt idx="921">
                  <c:v>Private Lab</c:v>
                </c:pt>
                <c:pt idx="922">
                  <c:v>All Others</c:v>
                </c:pt>
                <c:pt idx="923">
                  <c:v>All Others</c:v>
                </c:pt>
                <c:pt idx="924">
                  <c:v>All Others</c:v>
                </c:pt>
                <c:pt idx="925">
                  <c:v>All Others</c:v>
                </c:pt>
                <c:pt idx="926">
                  <c:v>All Others</c:v>
                </c:pt>
                <c:pt idx="927">
                  <c:v>All Others</c:v>
                </c:pt>
                <c:pt idx="928">
                  <c:v>All Others</c:v>
                </c:pt>
                <c:pt idx="929">
                  <c:v>All Others</c:v>
                </c:pt>
                <c:pt idx="930">
                  <c:v>All Others</c:v>
                </c:pt>
                <c:pt idx="931">
                  <c:v>All Others</c:v>
                </c:pt>
                <c:pt idx="932">
                  <c:v>All Others</c:v>
                </c:pt>
                <c:pt idx="933">
                  <c:v>All Others</c:v>
                </c:pt>
                <c:pt idx="934">
                  <c:v>All Others</c:v>
                </c:pt>
                <c:pt idx="935">
                  <c:v>Mini Babybe</c:v>
                </c:pt>
                <c:pt idx="936">
                  <c:v>All Others</c:v>
                </c:pt>
                <c:pt idx="937">
                  <c:v>All Others</c:v>
                </c:pt>
                <c:pt idx="938">
                  <c:v>All Others</c:v>
                </c:pt>
                <c:pt idx="939">
                  <c:v>Lactalis: A</c:v>
                </c:pt>
                <c:pt idx="940">
                  <c:v>All Others</c:v>
                </c:pt>
                <c:pt idx="941">
                  <c:v>All Others</c:v>
                </c:pt>
                <c:pt idx="942">
                  <c:v>All Others</c:v>
                </c:pt>
                <c:pt idx="943">
                  <c:v>All Others</c:v>
                </c:pt>
                <c:pt idx="944">
                  <c:v>All Others</c:v>
                </c:pt>
                <c:pt idx="945">
                  <c:v>All Others</c:v>
                </c:pt>
                <c:pt idx="946">
                  <c:v>All Others</c:v>
                </c:pt>
                <c:pt idx="947">
                  <c:v>All Others</c:v>
                </c:pt>
                <c:pt idx="948">
                  <c:v>All Others</c:v>
                </c:pt>
                <c:pt idx="949">
                  <c:v>All Others</c:v>
                </c:pt>
                <c:pt idx="950">
                  <c:v>Private Lab</c:v>
                </c:pt>
                <c:pt idx="951">
                  <c:v>All Others</c:v>
                </c:pt>
                <c:pt idx="952">
                  <c:v>All Others</c:v>
                </c:pt>
                <c:pt idx="953">
                  <c:v>All Others</c:v>
                </c:pt>
                <c:pt idx="954">
                  <c:v>All Others</c:v>
                </c:pt>
                <c:pt idx="955">
                  <c:v>All Others</c:v>
                </c:pt>
                <c:pt idx="956">
                  <c:v>All Others</c:v>
                </c:pt>
                <c:pt idx="957">
                  <c:v>All Others</c:v>
                </c:pt>
                <c:pt idx="958">
                  <c:v>All Others</c:v>
                </c:pt>
                <c:pt idx="959">
                  <c:v>All Others</c:v>
                </c:pt>
                <c:pt idx="960">
                  <c:v>Eurial Autr</c:v>
                </c:pt>
                <c:pt idx="961">
                  <c:v>All Others</c:v>
                </c:pt>
                <c:pt idx="962">
                  <c:v>All Others</c:v>
                </c:pt>
                <c:pt idx="963">
                  <c:v>All Others</c:v>
                </c:pt>
                <c:pt idx="964">
                  <c:v>All Others</c:v>
                </c:pt>
                <c:pt idx="965">
                  <c:v>All Others</c:v>
                </c:pt>
                <c:pt idx="966">
                  <c:v>All Others</c:v>
                </c:pt>
                <c:pt idx="967">
                  <c:v>All Others</c:v>
                </c:pt>
                <c:pt idx="968">
                  <c:v>All Others</c:v>
                </c:pt>
                <c:pt idx="969">
                  <c:v>All Others</c:v>
                </c:pt>
                <c:pt idx="970">
                  <c:v>All Others</c:v>
                </c:pt>
                <c:pt idx="971">
                  <c:v>All Others</c:v>
                </c:pt>
                <c:pt idx="972">
                  <c:v>All Others</c:v>
                </c:pt>
                <c:pt idx="973">
                  <c:v>All Others</c:v>
                </c:pt>
                <c:pt idx="974">
                  <c:v>All Others</c:v>
                </c:pt>
                <c:pt idx="975">
                  <c:v>All Others</c:v>
                </c:pt>
                <c:pt idx="976">
                  <c:v>All Others</c:v>
                </c:pt>
                <c:pt idx="977">
                  <c:v>All Others</c:v>
                </c:pt>
                <c:pt idx="978">
                  <c:v>All Others</c:v>
                </c:pt>
                <c:pt idx="979">
                  <c:v>All Others</c:v>
                </c:pt>
                <c:pt idx="980">
                  <c:v>All Others</c:v>
                </c:pt>
                <c:pt idx="981">
                  <c:v>All Others</c:v>
                </c:pt>
                <c:pt idx="982">
                  <c:v>Eurial Autr</c:v>
                </c:pt>
                <c:pt idx="983">
                  <c:v>All Others</c:v>
                </c:pt>
                <c:pt idx="984">
                  <c:v>All Others</c:v>
                </c:pt>
                <c:pt idx="985">
                  <c:v>All Others</c:v>
                </c:pt>
                <c:pt idx="986">
                  <c:v>All Others</c:v>
                </c:pt>
                <c:pt idx="987">
                  <c:v>All Others</c:v>
                </c:pt>
                <c:pt idx="988">
                  <c:v>All Others</c:v>
                </c:pt>
                <c:pt idx="989">
                  <c:v>All Others</c:v>
                </c:pt>
                <c:pt idx="990">
                  <c:v>All Others</c:v>
                </c:pt>
                <c:pt idx="991">
                  <c:v>All Others</c:v>
                </c:pt>
                <c:pt idx="992">
                  <c:v>All Others</c:v>
                </c:pt>
                <c:pt idx="993">
                  <c:v>All Others</c:v>
                </c:pt>
                <c:pt idx="994">
                  <c:v>All Others</c:v>
                </c:pt>
                <c:pt idx="995">
                  <c:v>All Others</c:v>
                </c:pt>
                <c:pt idx="996">
                  <c:v>All Others</c:v>
                </c:pt>
                <c:pt idx="997">
                  <c:v>All Others</c:v>
                </c:pt>
                <c:pt idx="998">
                  <c:v>All Others</c:v>
                </c:pt>
                <c:pt idx="999">
                  <c:v>All Others</c:v>
                </c:pt>
                <c:pt idx="1000">
                  <c:v>All Others</c:v>
                </c:pt>
                <c:pt idx="1001">
                  <c:v>All Others</c:v>
                </c:pt>
                <c:pt idx="1002">
                  <c:v>All Others</c:v>
                </c:pt>
                <c:pt idx="1003">
                  <c:v>All Others</c:v>
                </c:pt>
                <c:pt idx="1004">
                  <c:v>All Others</c:v>
                </c:pt>
                <c:pt idx="1005">
                  <c:v>Private Lab</c:v>
                </c:pt>
                <c:pt idx="1006">
                  <c:v>All Others</c:v>
                </c:pt>
                <c:pt idx="1007">
                  <c:v>All Others</c:v>
                </c:pt>
                <c:pt idx="1008">
                  <c:v>All Others</c:v>
                </c:pt>
                <c:pt idx="1009">
                  <c:v>All Others</c:v>
                </c:pt>
                <c:pt idx="1010">
                  <c:v>All Others</c:v>
                </c:pt>
                <c:pt idx="1011">
                  <c:v>All Others</c:v>
                </c:pt>
                <c:pt idx="1012">
                  <c:v>All Others</c:v>
                </c:pt>
                <c:pt idx="1013">
                  <c:v>All Others</c:v>
                </c:pt>
                <c:pt idx="1014">
                  <c:v>All Others</c:v>
                </c:pt>
                <c:pt idx="1015">
                  <c:v>All Others</c:v>
                </c:pt>
                <c:pt idx="1016">
                  <c:v>All Others</c:v>
                </c:pt>
                <c:pt idx="1017">
                  <c:v>All Others</c:v>
                </c:pt>
                <c:pt idx="1018">
                  <c:v>Lactalis: A</c:v>
                </c:pt>
                <c:pt idx="1019">
                  <c:v>Private Lab</c:v>
                </c:pt>
                <c:pt idx="1020">
                  <c:v>All Others</c:v>
                </c:pt>
                <c:pt idx="1021">
                  <c:v>All Others</c:v>
                </c:pt>
                <c:pt idx="1022">
                  <c:v>All Others</c:v>
                </c:pt>
                <c:pt idx="1023">
                  <c:v>All Others</c:v>
                </c:pt>
                <c:pt idx="1024">
                  <c:v>All Others</c:v>
                </c:pt>
                <c:pt idx="1025">
                  <c:v>All Others</c:v>
                </c:pt>
                <c:pt idx="1026">
                  <c:v>All Others</c:v>
                </c:pt>
                <c:pt idx="1027">
                  <c:v>All Others</c:v>
                </c:pt>
                <c:pt idx="1028">
                  <c:v>All Others</c:v>
                </c:pt>
                <c:pt idx="1029">
                  <c:v>All Others</c:v>
                </c:pt>
                <c:pt idx="1030">
                  <c:v>All Others</c:v>
                </c:pt>
                <c:pt idx="1031">
                  <c:v>All Others</c:v>
                </c:pt>
                <c:pt idx="1032">
                  <c:v>All Others</c:v>
                </c:pt>
                <c:pt idx="1033">
                  <c:v>All Others</c:v>
                </c:pt>
                <c:pt idx="1034">
                  <c:v>All Others</c:v>
                </c:pt>
                <c:pt idx="1035">
                  <c:v>All Others</c:v>
                </c:pt>
                <c:pt idx="1036">
                  <c:v>All Others</c:v>
                </c:pt>
                <c:pt idx="1037">
                  <c:v>All Others</c:v>
                </c:pt>
                <c:pt idx="1038">
                  <c:v>All Others</c:v>
                </c:pt>
                <c:pt idx="1039">
                  <c:v>All Others</c:v>
                </c:pt>
                <c:pt idx="1040">
                  <c:v>All Others</c:v>
                </c:pt>
                <c:pt idx="1041">
                  <c:v>All Others</c:v>
                </c:pt>
                <c:pt idx="1042">
                  <c:v>President</c:v>
                </c:pt>
                <c:pt idx="1043">
                  <c:v>All Others</c:v>
                </c:pt>
                <c:pt idx="1044">
                  <c:v>All Others</c:v>
                </c:pt>
                <c:pt idx="1045">
                  <c:v>All Others</c:v>
                </c:pt>
                <c:pt idx="1046">
                  <c:v>All Others</c:v>
                </c:pt>
                <c:pt idx="1047">
                  <c:v>All Others</c:v>
                </c:pt>
                <c:pt idx="1048">
                  <c:v>All Others</c:v>
                </c:pt>
                <c:pt idx="1049">
                  <c:v>All Others</c:v>
                </c:pt>
                <c:pt idx="1050">
                  <c:v>Rondele</c:v>
                </c:pt>
                <c:pt idx="1051">
                  <c:v>All Others</c:v>
                </c:pt>
                <c:pt idx="1052">
                  <c:v>Lactalis: A</c:v>
                </c:pt>
                <c:pt idx="1053">
                  <c:v>All Others</c:v>
                </c:pt>
                <c:pt idx="1054">
                  <c:v>All Others</c:v>
                </c:pt>
                <c:pt idx="1055">
                  <c:v>All Others</c:v>
                </c:pt>
                <c:pt idx="1056">
                  <c:v>All Others</c:v>
                </c:pt>
                <c:pt idx="1057">
                  <c:v>All Others</c:v>
                </c:pt>
                <c:pt idx="1058">
                  <c:v>All Others</c:v>
                </c:pt>
                <c:pt idx="1059">
                  <c:v>All Others</c:v>
                </c:pt>
                <c:pt idx="1060">
                  <c:v>All Others</c:v>
                </c:pt>
                <c:pt idx="1061">
                  <c:v>All Others</c:v>
                </c:pt>
                <c:pt idx="1062">
                  <c:v>All Others</c:v>
                </c:pt>
                <c:pt idx="1063">
                  <c:v>All Others</c:v>
                </c:pt>
                <c:pt idx="1064">
                  <c:v>All Others</c:v>
                </c:pt>
                <c:pt idx="1065">
                  <c:v>All Others</c:v>
                </c:pt>
                <c:pt idx="1066">
                  <c:v>All Others</c:v>
                </c:pt>
                <c:pt idx="1067">
                  <c:v>All Others</c:v>
                </c:pt>
                <c:pt idx="1068">
                  <c:v>Rondele</c:v>
                </c:pt>
                <c:pt idx="1069">
                  <c:v>All Others</c:v>
                </c:pt>
                <c:pt idx="1070">
                  <c:v>All Others</c:v>
                </c:pt>
                <c:pt idx="1071">
                  <c:v>All Others</c:v>
                </c:pt>
                <c:pt idx="1072">
                  <c:v>All Others</c:v>
                </c:pt>
                <c:pt idx="1073">
                  <c:v>Private Lab</c:v>
                </c:pt>
                <c:pt idx="1074">
                  <c:v>All Others</c:v>
                </c:pt>
                <c:pt idx="1075">
                  <c:v>All Others</c:v>
                </c:pt>
                <c:pt idx="1076">
                  <c:v>All Others</c:v>
                </c:pt>
                <c:pt idx="1077">
                  <c:v>All Others</c:v>
                </c:pt>
                <c:pt idx="1078">
                  <c:v>All Others</c:v>
                </c:pt>
                <c:pt idx="1079">
                  <c:v>All Others</c:v>
                </c:pt>
                <c:pt idx="1080">
                  <c:v>All Others</c:v>
                </c:pt>
                <c:pt idx="1081">
                  <c:v>All Others</c:v>
                </c:pt>
                <c:pt idx="1082">
                  <c:v>All Others</c:v>
                </c:pt>
                <c:pt idx="1083">
                  <c:v>All Others</c:v>
                </c:pt>
                <c:pt idx="1084">
                  <c:v>Soignon</c:v>
                </c:pt>
                <c:pt idx="1085">
                  <c:v>All Others</c:v>
                </c:pt>
                <c:pt idx="1086">
                  <c:v>All Others</c:v>
                </c:pt>
                <c:pt idx="1087">
                  <c:v>All Others</c:v>
                </c:pt>
                <c:pt idx="1088">
                  <c:v>All Others</c:v>
                </c:pt>
                <c:pt idx="1089">
                  <c:v>All Others</c:v>
                </c:pt>
                <c:pt idx="1090">
                  <c:v>All Others</c:v>
                </c:pt>
                <c:pt idx="1091">
                  <c:v>Lactalis: A</c:v>
                </c:pt>
                <c:pt idx="1092">
                  <c:v>All Others</c:v>
                </c:pt>
                <c:pt idx="1093">
                  <c:v>All Others</c:v>
                </c:pt>
                <c:pt idx="1094">
                  <c:v>All Others</c:v>
                </c:pt>
                <c:pt idx="1095">
                  <c:v>Rondele</c:v>
                </c:pt>
                <c:pt idx="1096">
                  <c:v>All Others</c:v>
                </c:pt>
                <c:pt idx="1097">
                  <c:v>All Others</c:v>
                </c:pt>
                <c:pt idx="1098">
                  <c:v>All Others</c:v>
                </c:pt>
                <c:pt idx="1099">
                  <c:v>All Others</c:v>
                </c:pt>
                <c:pt idx="1100">
                  <c:v>All Others</c:v>
                </c:pt>
                <c:pt idx="1101">
                  <c:v>All Others</c:v>
                </c:pt>
                <c:pt idx="1102">
                  <c:v>All Others</c:v>
                </c:pt>
                <c:pt idx="1103">
                  <c:v>All Others</c:v>
                </c:pt>
                <c:pt idx="1104">
                  <c:v>All Others</c:v>
                </c:pt>
                <c:pt idx="1105">
                  <c:v>Petit Billy</c:v>
                </c:pt>
                <c:pt idx="1106">
                  <c:v>All Others</c:v>
                </c:pt>
                <c:pt idx="1107">
                  <c:v>All Others</c:v>
                </c:pt>
                <c:pt idx="1108">
                  <c:v>All Others</c:v>
                </c:pt>
                <c:pt idx="1109">
                  <c:v>All Others</c:v>
                </c:pt>
                <c:pt idx="1110">
                  <c:v>All Others</c:v>
                </c:pt>
                <c:pt idx="1111">
                  <c:v>All Others</c:v>
                </c:pt>
                <c:pt idx="1112">
                  <c:v>Lactalis: A</c:v>
                </c:pt>
                <c:pt idx="1113">
                  <c:v>All Others</c:v>
                </c:pt>
                <c:pt idx="1114">
                  <c:v>All Others</c:v>
                </c:pt>
                <c:pt idx="1115">
                  <c:v>All Others</c:v>
                </c:pt>
                <c:pt idx="1116">
                  <c:v>All Others</c:v>
                </c:pt>
                <c:pt idx="1117">
                  <c:v>All Others</c:v>
                </c:pt>
                <c:pt idx="1118">
                  <c:v>All Others</c:v>
                </c:pt>
                <c:pt idx="1119">
                  <c:v>All Others</c:v>
                </c:pt>
                <c:pt idx="1120">
                  <c:v>All Others</c:v>
                </c:pt>
                <c:pt idx="1121">
                  <c:v>Savencia: A</c:v>
                </c:pt>
                <c:pt idx="1122">
                  <c:v>All Others</c:v>
                </c:pt>
                <c:pt idx="1123">
                  <c:v>All Others</c:v>
                </c:pt>
                <c:pt idx="1124">
                  <c:v>All Others</c:v>
                </c:pt>
                <c:pt idx="1125">
                  <c:v>All Others</c:v>
                </c:pt>
                <c:pt idx="1126">
                  <c:v>All Others</c:v>
                </c:pt>
                <c:pt idx="1127">
                  <c:v>All Others</c:v>
                </c:pt>
                <c:pt idx="1128">
                  <c:v>All Others</c:v>
                </c:pt>
                <c:pt idx="1129">
                  <c:v>All Others</c:v>
                </c:pt>
                <c:pt idx="1130">
                  <c:v>All Others</c:v>
                </c:pt>
                <c:pt idx="1131">
                  <c:v>Savencia: A</c:v>
                </c:pt>
                <c:pt idx="1132">
                  <c:v>All Others</c:v>
                </c:pt>
                <c:pt idx="1133">
                  <c:v>All Others</c:v>
                </c:pt>
                <c:pt idx="1134">
                  <c:v>All Others</c:v>
                </c:pt>
                <c:pt idx="1135">
                  <c:v>All Others</c:v>
                </c:pt>
                <c:pt idx="1136">
                  <c:v>All Others</c:v>
                </c:pt>
                <c:pt idx="1137">
                  <c:v>All Others</c:v>
                </c:pt>
                <c:pt idx="1138">
                  <c:v>All Others</c:v>
                </c:pt>
                <c:pt idx="1139">
                  <c:v>All Others</c:v>
                </c:pt>
                <c:pt idx="1140">
                  <c:v>All Others</c:v>
                </c:pt>
                <c:pt idx="1141">
                  <c:v>All Others</c:v>
                </c:pt>
                <c:pt idx="1142">
                  <c:v>All Others</c:v>
                </c:pt>
                <c:pt idx="1143">
                  <c:v>All Others</c:v>
                </c:pt>
                <c:pt idx="1144">
                  <c:v>All Others</c:v>
                </c:pt>
                <c:pt idx="1145">
                  <c:v>All Others</c:v>
                </c:pt>
                <c:pt idx="1146">
                  <c:v>All Others</c:v>
                </c:pt>
                <c:pt idx="1147">
                  <c:v>All Others</c:v>
                </c:pt>
                <c:pt idx="1148">
                  <c:v>All Others</c:v>
                </c:pt>
                <c:pt idx="1149">
                  <c:v>All Others</c:v>
                </c:pt>
                <c:pt idx="1150">
                  <c:v>All Others</c:v>
                </c:pt>
                <c:pt idx="1151">
                  <c:v>Private Lab</c:v>
                </c:pt>
                <c:pt idx="1152">
                  <c:v>All Others</c:v>
                </c:pt>
                <c:pt idx="1153">
                  <c:v>All Others</c:v>
                </c:pt>
                <c:pt idx="1154">
                  <c:v>All Others</c:v>
                </c:pt>
                <c:pt idx="1155">
                  <c:v>All Others</c:v>
                </c:pt>
                <c:pt idx="1156">
                  <c:v>All Others</c:v>
                </c:pt>
                <c:pt idx="1157">
                  <c:v>All Others</c:v>
                </c:pt>
                <c:pt idx="1158">
                  <c:v>Private Lab</c:v>
                </c:pt>
                <c:pt idx="1159">
                  <c:v>All Others</c:v>
                </c:pt>
                <c:pt idx="1160">
                  <c:v>All Others</c:v>
                </c:pt>
                <c:pt idx="1161">
                  <c:v>All Others</c:v>
                </c:pt>
                <c:pt idx="1162">
                  <c:v>All Others</c:v>
                </c:pt>
                <c:pt idx="1163">
                  <c:v>All Others</c:v>
                </c:pt>
                <c:pt idx="1164">
                  <c:v>All Others</c:v>
                </c:pt>
                <c:pt idx="1165">
                  <c:v>All Others</c:v>
                </c:pt>
                <c:pt idx="1166">
                  <c:v>All Others</c:v>
                </c:pt>
                <c:pt idx="1167">
                  <c:v>All Others</c:v>
                </c:pt>
                <c:pt idx="1168">
                  <c:v>All Others</c:v>
                </c:pt>
                <c:pt idx="1169">
                  <c:v>All Others</c:v>
                </c:pt>
                <c:pt idx="1170">
                  <c:v>All Others</c:v>
                </c:pt>
                <c:pt idx="1171">
                  <c:v>All Others</c:v>
                </c:pt>
                <c:pt idx="1172">
                  <c:v>All Others</c:v>
                </c:pt>
                <c:pt idx="1173">
                  <c:v>All Others</c:v>
                </c:pt>
                <c:pt idx="1174">
                  <c:v>All Others</c:v>
                </c:pt>
                <c:pt idx="1175">
                  <c:v>All Others</c:v>
                </c:pt>
                <c:pt idx="1176">
                  <c:v>All Others</c:v>
                </c:pt>
                <c:pt idx="1177">
                  <c:v>All Others</c:v>
                </c:pt>
                <c:pt idx="1178">
                  <c:v>All Others</c:v>
                </c:pt>
                <c:pt idx="1179">
                  <c:v>All Others</c:v>
                </c:pt>
                <c:pt idx="1180">
                  <c:v>All Others</c:v>
                </c:pt>
                <c:pt idx="1181">
                  <c:v>All Others</c:v>
                </c:pt>
                <c:pt idx="1182">
                  <c:v>All Others</c:v>
                </c:pt>
                <c:pt idx="1183">
                  <c:v>All Others</c:v>
                </c:pt>
                <c:pt idx="1184">
                  <c:v>All Others</c:v>
                </c:pt>
                <c:pt idx="1185">
                  <c:v>All Others</c:v>
                </c:pt>
                <c:pt idx="1186">
                  <c:v>All Others</c:v>
                </c:pt>
                <c:pt idx="1187">
                  <c:v>All Others</c:v>
                </c:pt>
                <c:pt idx="1188">
                  <c:v>All Others</c:v>
                </c:pt>
                <c:pt idx="1189">
                  <c:v>All Others</c:v>
                </c:pt>
                <c:pt idx="1190">
                  <c:v>All Others</c:v>
                </c:pt>
                <c:pt idx="1191">
                  <c:v>All Others</c:v>
                </c:pt>
                <c:pt idx="1192">
                  <c:v>All Others</c:v>
                </c:pt>
                <c:pt idx="1193">
                  <c:v>All Others</c:v>
                </c:pt>
                <c:pt idx="1194">
                  <c:v>All Others</c:v>
                </c:pt>
                <c:pt idx="1195">
                  <c:v>All Others</c:v>
                </c:pt>
                <c:pt idx="1196">
                  <c:v>All Others</c:v>
                </c:pt>
                <c:pt idx="1197">
                  <c:v>All Others</c:v>
                </c:pt>
                <c:pt idx="1198">
                  <c:v>All Others</c:v>
                </c:pt>
                <c:pt idx="1199">
                  <c:v>All Others</c:v>
                </c:pt>
                <c:pt idx="1200">
                  <c:v>All Others</c:v>
                </c:pt>
                <c:pt idx="1201">
                  <c:v>All Others</c:v>
                </c:pt>
                <c:pt idx="1202">
                  <c:v>All Others</c:v>
                </c:pt>
                <c:pt idx="1203">
                  <c:v>All Others</c:v>
                </c:pt>
                <c:pt idx="1204">
                  <c:v>All Others</c:v>
                </c:pt>
                <c:pt idx="1205">
                  <c:v>All Others</c:v>
                </c:pt>
                <c:pt idx="1206">
                  <c:v>Private Lab</c:v>
                </c:pt>
                <c:pt idx="1207">
                  <c:v>Private Lab</c:v>
                </c:pt>
                <c:pt idx="1208">
                  <c:v>All Others</c:v>
                </c:pt>
                <c:pt idx="1209">
                  <c:v>All Others</c:v>
                </c:pt>
                <c:pt idx="1210">
                  <c:v>All Others</c:v>
                </c:pt>
                <c:pt idx="1211">
                  <c:v>All Others</c:v>
                </c:pt>
                <c:pt idx="1212">
                  <c:v>All Others</c:v>
                </c:pt>
                <c:pt idx="1213">
                  <c:v>All Others</c:v>
                </c:pt>
                <c:pt idx="1214">
                  <c:v>All Others</c:v>
                </c:pt>
                <c:pt idx="1215">
                  <c:v>All Others</c:v>
                </c:pt>
                <c:pt idx="1216">
                  <c:v>All Others</c:v>
                </c:pt>
                <c:pt idx="1217">
                  <c:v>All Others</c:v>
                </c:pt>
                <c:pt idx="1218">
                  <c:v>All Others</c:v>
                </c:pt>
                <c:pt idx="1219">
                  <c:v>All Others</c:v>
                </c:pt>
                <c:pt idx="1220">
                  <c:v>All Others</c:v>
                </c:pt>
                <c:pt idx="1221">
                  <c:v>All Others</c:v>
                </c:pt>
                <c:pt idx="1222">
                  <c:v>All Others</c:v>
                </c:pt>
                <c:pt idx="1223">
                  <c:v>All Others</c:v>
                </c:pt>
                <c:pt idx="1224">
                  <c:v>All Others</c:v>
                </c:pt>
                <c:pt idx="1225">
                  <c:v>All Others</c:v>
                </c:pt>
                <c:pt idx="1226">
                  <c:v>All Others</c:v>
                </c:pt>
                <c:pt idx="1227">
                  <c:v>All Others</c:v>
                </c:pt>
                <c:pt idx="1228">
                  <c:v>Private Lab</c:v>
                </c:pt>
                <c:pt idx="1229">
                  <c:v>All Others</c:v>
                </c:pt>
                <c:pt idx="1230">
                  <c:v>All Others</c:v>
                </c:pt>
                <c:pt idx="1231">
                  <c:v>All Others</c:v>
                </c:pt>
                <c:pt idx="1232">
                  <c:v>All Others</c:v>
                </c:pt>
                <c:pt idx="1233">
                  <c:v>All Others</c:v>
                </c:pt>
                <c:pt idx="1234">
                  <c:v>All Others</c:v>
                </c:pt>
                <c:pt idx="1235">
                  <c:v>All Others</c:v>
                </c:pt>
                <c:pt idx="1236">
                  <c:v>Savencia: A</c:v>
                </c:pt>
                <c:pt idx="1237">
                  <c:v>All Others</c:v>
                </c:pt>
                <c:pt idx="1238">
                  <c:v>All Others</c:v>
                </c:pt>
                <c:pt idx="1239">
                  <c:v>Istara</c:v>
                </c:pt>
                <c:pt idx="1240">
                  <c:v>All Others</c:v>
                </c:pt>
                <c:pt idx="1241">
                  <c:v>All Others</c:v>
                </c:pt>
                <c:pt idx="1242">
                  <c:v>All Others</c:v>
                </c:pt>
                <c:pt idx="1243">
                  <c:v>All Others</c:v>
                </c:pt>
                <c:pt idx="1244">
                  <c:v>All Others</c:v>
                </c:pt>
                <c:pt idx="1245">
                  <c:v>All Others</c:v>
                </c:pt>
                <c:pt idx="1246">
                  <c:v>All Others</c:v>
                </c:pt>
                <c:pt idx="1247">
                  <c:v>All Others</c:v>
                </c:pt>
                <c:pt idx="1248">
                  <c:v>Private Lab</c:v>
                </c:pt>
                <c:pt idx="1249">
                  <c:v>All Others</c:v>
                </c:pt>
                <c:pt idx="1250">
                  <c:v>All Others</c:v>
                </c:pt>
                <c:pt idx="1251">
                  <c:v>All Others</c:v>
                </c:pt>
                <c:pt idx="1252">
                  <c:v>All Others</c:v>
                </c:pt>
                <c:pt idx="1253">
                  <c:v>All Others</c:v>
                </c:pt>
                <c:pt idx="1254">
                  <c:v>All Others</c:v>
                </c:pt>
                <c:pt idx="1255">
                  <c:v>All Others</c:v>
                </c:pt>
                <c:pt idx="1256">
                  <c:v>All Others</c:v>
                </c:pt>
                <c:pt idx="1257">
                  <c:v>All Others</c:v>
                </c:pt>
                <c:pt idx="1258">
                  <c:v>All Others</c:v>
                </c:pt>
                <c:pt idx="1259">
                  <c:v>Salakis</c:v>
                </c:pt>
                <c:pt idx="1260">
                  <c:v>Societe</c:v>
                </c:pt>
                <c:pt idx="1261">
                  <c:v>All Others</c:v>
                </c:pt>
                <c:pt idx="1262">
                  <c:v>All Others</c:v>
                </c:pt>
                <c:pt idx="1263">
                  <c:v>All Others</c:v>
                </c:pt>
                <c:pt idx="1264">
                  <c:v>Lactalis: A</c:v>
                </c:pt>
                <c:pt idx="1265">
                  <c:v>All Others</c:v>
                </c:pt>
                <c:pt idx="1266">
                  <c:v>All Others</c:v>
                </c:pt>
                <c:pt idx="1267">
                  <c:v>All Others</c:v>
                </c:pt>
                <c:pt idx="1268">
                  <c:v>All Others</c:v>
                </c:pt>
                <c:pt idx="1269">
                  <c:v>All Others</c:v>
                </c:pt>
                <c:pt idx="1270">
                  <c:v>All Others</c:v>
                </c:pt>
                <c:pt idx="1271">
                  <c:v>All Others</c:v>
                </c:pt>
                <c:pt idx="1272">
                  <c:v>All Others</c:v>
                </c:pt>
                <c:pt idx="1273">
                  <c:v>All Others</c:v>
                </c:pt>
                <c:pt idx="1274">
                  <c:v>Limiano</c:v>
                </c:pt>
                <c:pt idx="1275">
                  <c:v>All Others</c:v>
                </c:pt>
                <c:pt idx="1276">
                  <c:v>All Others</c:v>
                </c:pt>
                <c:pt idx="1277">
                  <c:v>All Others</c:v>
                </c:pt>
                <c:pt idx="1278">
                  <c:v>All Others</c:v>
                </c:pt>
                <c:pt idx="1279">
                  <c:v>All Others</c:v>
                </c:pt>
                <c:pt idx="1280">
                  <c:v>All Others</c:v>
                </c:pt>
                <c:pt idx="1281">
                  <c:v>All Others</c:v>
                </c:pt>
                <c:pt idx="1282">
                  <c:v>All Others</c:v>
                </c:pt>
                <c:pt idx="1283">
                  <c:v>All Others</c:v>
                </c:pt>
                <c:pt idx="1284">
                  <c:v>All Others</c:v>
                </c:pt>
                <c:pt idx="1285">
                  <c:v>Private Lab</c:v>
                </c:pt>
                <c:pt idx="1286">
                  <c:v>All Others</c:v>
                </c:pt>
                <c:pt idx="1287">
                  <c:v>All Others</c:v>
                </c:pt>
                <c:pt idx="1288">
                  <c:v>All Others</c:v>
                </c:pt>
                <c:pt idx="1289">
                  <c:v>All Others</c:v>
                </c:pt>
                <c:pt idx="1290">
                  <c:v>All Others</c:v>
                </c:pt>
                <c:pt idx="1291">
                  <c:v>All Others</c:v>
                </c:pt>
                <c:pt idx="1292">
                  <c:v>All Others</c:v>
                </c:pt>
                <c:pt idx="1293">
                  <c:v>All Others</c:v>
                </c:pt>
                <c:pt idx="1294">
                  <c:v>All Others</c:v>
                </c:pt>
                <c:pt idx="1295">
                  <c:v>All Others</c:v>
                </c:pt>
                <c:pt idx="1296">
                  <c:v>All Others</c:v>
                </c:pt>
                <c:pt idx="1297">
                  <c:v>All Others</c:v>
                </c:pt>
                <c:pt idx="1298">
                  <c:v>All Others</c:v>
                </c:pt>
                <c:pt idx="1299">
                  <c:v>Private Lab</c:v>
                </c:pt>
                <c:pt idx="1300">
                  <c:v>All Others</c:v>
                </c:pt>
                <c:pt idx="1301">
                  <c:v>All Others</c:v>
                </c:pt>
                <c:pt idx="1302">
                  <c:v>All Others</c:v>
                </c:pt>
                <c:pt idx="1303">
                  <c:v>All Others</c:v>
                </c:pt>
                <c:pt idx="1304">
                  <c:v>All Others</c:v>
                </c:pt>
                <c:pt idx="1305">
                  <c:v>All Others</c:v>
                </c:pt>
                <c:pt idx="1306">
                  <c:v>All Others</c:v>
                </c:pt>
                <c:pt idx="1307">
                  <c:v>All Others</c:v>
                </c:pt>
                <c:pt idx="1308">
                  <c:v>All Others</c:v>
                </c:pt>
                <c:pt idx="1309">
                  <c:v>All Others</c:v>
                </c:pt>
                <c:pt idx="1310">
                  <c:v>All Others</c:v>
                </c:pt>
                <c:pt idx="1311">
                  <c:v>All Others</c:v>
                </c:pt>
                <c:pt idx="1312">
                  <c:v>All Others</c:v>
                </c:pt>
                <c:pt idx="1313">
                  <c:v>All Others</c:v>
                </c:pt>
                <c:pt idx="1314">
                  <c:v>All Others</c:v>
                </c:pt>
                <c:pt idx="1315">
                  <c:v>All Others</c:v>
                </c:pt>
                <c:pt idx="1316">
                  <c:v>All Others</c:v>
                </c:pt>
                <c:pt idx="1317">
                  <c:v>All Others</c:v>
                </c:pt>
                <c:pt idx="1318">
                  <c:v>All Others</c:v>
                </c:pt>
                <c:pt idx="1319">
                  <c:v>All Others</c:v>
                </c:pt>
                <c:pt idx="1320">
                  <c:v>All Others</c:v>
                </c:pt>
                <c:pt idx="1321">
                  <c:v>All Others</c:v>
                </c:pt>
                <c:pt idx="1322">
                  <c:v>All Others</c:v>
                </c:pt>
                <c:pt idx="1323">
                  <c:v>All Others</c:v>
                </c:pt>
                <c:pt idx="1324">
                  <c:v>All Others</c:v>
                </c:pt>
                <c:pt idx="1325">
                  <c:v>All Others</c:v>
                </c:pt>
                <c:pt idx="1326">
                  <c:v>All Others</c:v>
                </c:pt>
                <c:pt idx="1327">
                  <c:v>All Others</c:v>
                </c:pt>
                <c:pt idx="1328">
                  <c:v>All Others</c:v>
                </c:pt>
                <c:pt idx="1329">
                  <c:v>All Others</c:v>
                </c:pt>
                <c:pt idx="1330">
                  <c:v>All Others</c:v>
                </c:pt>
                <c:pt idx="1331">
                  <c:v>All Others</c:v>
                </c:pt>
                <c:pt idx="1332">
                  <c:v>All Others</c:v>
                </c:pt>
                <c:pt idx="1333">
                  <c:v>All Others</c:v>
                </c:pt>
                <c:pt idx="1334">
                  <c:v>All Others</c:v>
                </c:pt>
                <c:pt idx="1335">
                  <c:v>All Others</c:v>
                </c:pt>
                <c:pt idx="1336">
                  <c:v>All Others</c:v>
                </c:pt>
                <c:pt idx="1337">
                  <c:v>All Others</c:v>
                </c:pt>
                <c:pt idx="1338">
                  <c:v>All Others</c:v>
                </c:pt>
                <c:pt idx="1339">
                  <c:v>All Others</c:v>
                </c:pt>
                <c:pt idx="1340">
                  <c:v>All Others</c:v>
                </c:pt>
                <c:pt idx="1341">
                  <c:v>All Others</c:v>
                </c:pt>
                <c:pt idx="1342">
                  <c:v>All Others</c:v>
                </c:pt>
                <c:pt idx="1343">
                  <c:v>All Others</c:v>
                </c:pt>
                <c:pt idx="1344">
                  <c:v>All Others</c:v>
                </c:pt>
                <c:pt idx="1345">
                  <c:v>All Others</c:v>
                </c:pt>
                <c:pt idx="1346">
                  <c:v>All Others</c:v>
                </c:pt>
                <c:pt idx="1347">
                  <c:v>All Others</c:v>
                </c:pt>
                <c:pt idx="1348">
                  <c:v>All Others</c:v>
                </c:pt>
                <c:pt idx="1349">
                  <c:v>All Others</c:v>
                </c:pt>
                <c:pt idx="1350">
                  <c:v>All Others</c:v>
                </c:pt>
                <c:pt idx="1351">
                  <c:v>All Others</c:v>
                </c:pt>
                <c:pt idx="1352">
                  <c:v>All Others</c:v>
                </c:pt>
                <c:pt idx="1353">
                  <c:v>All Others</c:v>
                </c:pt>
                <c:pt idx="1354">
                  <c:v>All Others</c:v>
                </c:pt>
                <c:pt idx="1355">
                  <c:v>All Others</c:v>
                </c:pt>
                <c:pt idx="1356">
                  <c:v>All Others</c:v>
                </c:pt>
                <c:pt idx="1357">
                  <c:v>All Others</c:v>
                </c:pt>
                <c:pt idx="1358">
                  <c:v>All Others</c:v>
                </c:pt>
                <c:pt idx="1359">
                  <c:v>All Others</c:v>
                </c:pt>
                <c:pt idx="1360">
                  <c:v>Private Lab</c:v>
                </c:pt>
                <c:pt idx="1361">
                  <c:v>All Others</c:v>
                </c:pt>
                <c:pt idx="1362">
                  <c:v>All Others</c:v>
                </c:pt>
                <c:pt idx="1363">
                  <c:v>All Others</c:v>
                </c:pt>
                <c:pt idx="1364">
                  <c:v>All Others</c:v>
                </c:pt>
                <c:pt idx="1365">
                  <c:v>All Others</c:v>
                </c:pt>
                <c:pt idx="1366">
                  <c:v>All Others</c:v>
                </c:pt>
                <c:pt idx="1367">
                  <c:v>All Others</c:v>
                </c:pt>
                <c:pt idx="1368">
                  <c:v>All Others</c:v>
                </c:pt>
                <c:pt idx="1369">
                  <c:v>All Others</c:v>
                </c:pt>
                <c:pt idx="1370">
                  <c:v>All Others</c:v>
                </c:pt>
                <c:pt idx="1371">
                  <c:v>All Others</c:v>
                </c:pt>
                <c:pt idx="1372">
                  <c:v>All Others</c:v>
                </c:pt>
                <c:pt idx="1373">
                  <c:v>All Others</c:v>
                </c:pt>
                <c:pt idx="1374">
                  <c:v>All Others</c:v>
                </c:pt>
                <c:pt idx="1375">
                  <c:v>All Others</c:v>
                </c:pt>
                <c:pt idx="1376">
                  <c:v>Private Lab</c:v>
                </c:pt>
                <c:pt idx="1377">
                  <c:v>All Others</c:v>
                </c:pt>
                <c:pt idx="1378">
                  <c:v>All Others</c:v>
                </c:pt>
                <c:pt idx="1379">
                  <c:v>Private Lab</c:v>
                </c:pt>
                <c:pt idx="1380">
                  <c:v>All Others</c:v>
                </c:pt>
                <c:pt idx="1381">
                  <c:v>All Others</c:v>
                </c:pt>
                <c:pt idx="1382">
                  <c:v>All Others</c:v>
                </c:pt>
                <c:pt idx="1383">
                  <c:v>All Others</c:v>
                </c:pt>
                <c:pt idx="1384">
                  <c:v>All Others</c:v>
                </c:pt>
                <c:pt idx="1385">
                  <c:v>All Others</c:v>
                </c:pt>
                <c:pt idx="1386">
                  <c:v>All Others</c:v>
                </c:pt>
                <c:pt idx="1387">
                  <c:v>Lactalis: A</c:v>
                </c:pt>
                <c:pt idx="1388">
                  <c:v>All Others</c:v>
                </c:pt>
                <c:pt idx="1389">
                  <c:v>All Others</c:v>
                </c:pt>
                <c:pt idx="1390">
                  <c:v>All Others</c:v>
                </c:pt>
                <c:pt idx="1391">
                  <c:v>All Others</c:v>
                </c:pt>
                <c:pt idx="1392">
                  <c:v>All Others</c:v>
                </c:pt>
                <c:pt idx="1393">
                  <c:v>Private Lab</c:v>
                </c:pt>
                <c:pt idx="1394">
                  <c:v>All Others</c:v>
                </c:pt>
                <c:pt idx="1395">
                  <c:v>All Others</c:v>
                </c:pt>
                <c:pt idx="1396">
                  <c:v>All Others</c:v>
                </c:pt>
                <c:pt idx="1397">
                  <c:v>Milleret: A</c:v>
                </c:pt>
                <c:pt idx="1398">
                  <c:v>All Others</c:v>
                </c:pt>
                <c:pt idx="1399">
                  <c:v>All Others</c:v>
                </c:pt>
                <c:pt idx="1400">
                  <c:v>All Others</c:v>
                </c:pt>
                <c:pt idx="1401">
                  <c:v>All Others</c:v>
                </c:pt>
                <c:pt idx="1402">
                  <c:v>All Others</c:v>
                </c:pt>
                <c:pt idx="1403">
                  <c:v>All Others</c:v>
                </c:pt>
                <c:pt idx="1404">
                  <c:v>All Others</c:v>
                </c:pt>
                <c:pt idx="1405">
                  <c:v>All Others</c:v>
                </c:pt>
                <c:pt idx="1406">
                  <c:v>All Others</c:v>
                </c:pt>
                <c:pt idx="1407">
                  <c:v>All Others</c:v>
                </c:pt>
                <c:pt idx="1408">
                  <c:v>All Others</c:v>
                </c:pt>
                <c:pt idx="1409">
                  <c:v>All Others</c:v>
                </c:pt>
                <c:pt idx="1410">
                  <c:v>All Others</c:v>
                </c:pt>
                <c:pt idx="1411">
                  <c:v>All Others</c:v>
                </c:pt>
                <c:pt idx="1412">
                  <c:v>All Others</c:v>
                </c:pt>
                <c:pt idx="1413">
                  <c:v>Private Lab</c:v>
                </c:pt>
                <c:pt idx="1414">
                  <c:v>All Others</c:v>
                </c:pt>
                <c:pt idx="1415">
                  <c:v>All Others</c:v>
                </c:pt>
                <c:pt idx="1416">
                  <c:v>All Others</c:v>
                </c:pt>
                <c:pt idx="1417">
                  <c:v>All Others</c:v>
                </c:pt>
                <c:pt idx="1418">
                  <c:v>All Others</c:v>
                </c:pt>
                <c:pt idx="1419">
                  <c:v>All Others</c:v>
                </c:pt>
                <c:pt idx="1420">
                  <c:v>All Others</c:v>
                </c:pt>
                <c:pt idx="1421">
                  <c:v>All Others</c:v>
                </c:pt>
                <c:pt idx="1422">
                  <c:v>Private Lab</c:v>
                </c:pt>
                <c:pt idx="1423">
                  <c:v>All Others</c:v>
                </c:pt>
                <c:pt idx="1424">
                  <c:v>All Others</c:v>
                </c:pt>
                <c:pt idx="1425">
                  <c:v>All Others</c:v>
                </c:pt>
                <c:pt idx="1426">
                  <c:v>All Others</c:v>
                </c:pt>
                <c:pt idx="1427">
                  <c:v>All Others</c:v>
                </c:pt>
                <c:pt idx="1428">
                  <c:v>All Others</c:v>
                </c:pt>
                <c:pt idx="1429">
                  <c:v>All Others</c:v>
                </c:pt>
                <c:pt idx="1430">
                  <c:v>All Others</c:v>
                </c:pt>
                <c:pt idx="1431">
                  <c:v>All Others</c:v>
                </c:pt>
                <c:pt idx="1432">
                  <c:v>All Others</c:v>
                </c:pt>
                <c:pt idx="1433">
                  <c:v>Lactalis: A</c:v>
                </c:pt>
                <c:pt idx="1434">
                  <c:v>All Others</c:v>
                </c:pt>
                <c:pt idx="1435">
                  <c:v>Private Lab</c:v>
                </c:pt>
                <c:pt idx="1436">
                  <c:v>All Others</c:v>
                </c:pt>
                <c:pt idx="1437">
                  <c:v>All Others</c:v>
                </c:pt>
                <c:pt idx="1438">
                  <c:v>All Others</c:v>
                </c:pt>
                <c:pt idx="1439">
                  <c:v>All Others</c:v>
                </c:pt>
                <c:pt idx="1440">
                  <c:v>All Others</c:v>
                </c:pt>
                <c:pt idx="1441">
                  <c:v>All Others</c:v>
                </c:pt>
                <c:pt idx="1442">
                  <c:v>All Others</c:v>
                </c:pt>
                <c:pt idx="1443">
                  <c:v>All Others</c:v>
                </c:pt>
                <c:pt idx="1444">
                  <c:v>All Others</c:v>
                </c:pt>
                <c:pt idx="1445">
                  <c:v>All Others</c:v>
                </c:pt>
                <c:pt idx="1446">
                  <c:v>All Others</c:v>
                </c:pt>
                <c:pt idx="1447">
                  <c:v>All Others</c:v>
                </c:pt>
                <c:pt idx="1448">
                  <c:v>All Others</c:v>
                </c:pt>
                <c:pt idx="1449">
                  <c:v>All Others</c:v>
                </c:pt>
                <c:pt idx="1450">
                  <c:v>All Others</c:v>
                </c:pt>
                <c:pt idx="1451">
                  <c:v>All Others</c:v>
                </c:pt>
                <c:pt idx="1452">
                  <c:v>All Others</c:v>
                </c:pt>
                <c:pt idx="1453">
                  <c:v>Ficello</c:v>
                </c:pt>
                <c:pt idx="1454">
                  <c:v>Private Lab</c:v>
                </c:pt>
                <c:pt idx="1455">
                  <c:v>Private Lab</c:v>
                </c:pt>
                <c:pt idx="1456">
                  <c:v>Mini Babybe</c:v>
                </c:pt>
                <c:pt idx="1457">
                  <c:v>All Others</c:v>
                </c:pt>
                <c:pt idx="1458">
                  <c:v>All Others</c:v>
                </c:pt>
                <c:pt idx="1459">
                  <c:v>All Others</c:v>
                </c:pt>
                <c:pt idx="1460">
                  <c:v>All Others</c:v>
                </c:pt>
                <c:pt idx="1461">
                  <c:v>All Others</c:v>
                </c:pt>
                <c:pt idx="1462">
                  <c:v>All Others</c:v>
                </c:pt>
                <c:pt idx="1463">
                  <c:v>All Others</c:v>
                </c:pt>
                <c:pt idx="1464">
                  <c:v>All Others</c:v>
                </c:pt>
                <c:pt idx="1465">
                  <c:v>All Others</c:v>
                </c:pt>
                <c:pt idx="1466">
                  <c:v>All Others</c:v>
                </c:pt>
                <c:pt idx="1467">
                  <c:v>All Others</c:v>
                </c:pt>
                <c:pt idx="1468">
                  <c:v>All Others</c:v>
                </c:pt>
                <c:pt idx="1469">
                  <c:v>All Others</c:v>
                </c:pt>
                <c:pt idx="1470">
                  <c:v>Private Lab</c:v>
                </c:pt>
                <c:pt idx="1471">
                  <c:v>All Others</c:v>
                </c:pt>
                <c:pt idx="1472">
                  <c:v>All Others</c:v>
                </c:pt>
                <c:pt idx="1473">
                  <c:v>All Others</c:v>
                </c:pt>
              </c:strCache>
            </c:strRef>
          </c:cat>
          <c:val>
            <c:numRef>
              <c:f>Sheet1!$B$2:$B$1475</c:f>
              <c:numCache>
                <c:formatCode>General</c:formatCode>
                <c:ptCount val="1474"/>
                <c:pt idx="0">
                  <c:v>1</c:v>
                </c:pt>
                <c:pt idx="1">
                  <c:v>0.99</c:v>
                </c:pt>
                <c:pt idx="2">
                  <c:v>0.53</c:v>
                </c:pt>
                <c:pt idx="3">
                  <c:v>1</c:v>
                </c:pt>
                <c:pt idx="4">
                  <c:v>0.99</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0.99</c:v>
                </c:pt>
                <c:pt idx="32">
                  <c:v>1</c:v>
                </c:pt>
                <c:pt idx="33">
                  <c:v>1</c:v>
                </c:pt>
                <c:pt idx="34">
                  <c:v>1</c:v>
                </c:pt>
                <c:pt idx="35">
                  <c:v>1</c:v>
                </c:pt>
                <c:pt idx="36">
                  <c:v>1</c:v>
                </c:pt>
                <c:pt idx="37">
                  <c:v>1</c:v>
                </c:pt>
                <c:pt idx="38">
                  <c:v>0.99</c:v>
                </c:pt>
                <c:pt idx="39">
                  <c:v>1</c:v>
                </c:pt>
                <c:pt idx="40">
                  <c:v>1</c:v>
                </c:pt>
                <c:pt idx="41">
                  <c:v>1</c:v>
                </c:pt>
                <c:pt idx="42">
                  <c:v>1</c:v>
                </c:pt>
                <c:pt idx="43">
                  <c:v>1</c:v>
                </c:pt>
                <c:pt idx="44">
                  <c:v>1</c:v>
                </c:pt>
                <c:pt idx="45">
                  <c:v>1</c:v>
                </c:pt>
                <c:pt idx="46">
                  <c:v>1</c:v>
                </c:pt>
                <c:pt idx="47">
                  <c:v>1</c:v>
                </c:pt>
                <c:pt idx="48">
                  <c:v>1</c:v>
                </c:pt>
                <c:pt idx="49">
                  <c:v>1</c:v>
                </c:pt>
                <c:pt idx="50">
                  <c:v>1</c:v>
                </c:pt>
                <c:pt idx="51">
                  <c:v>0.99</c:v>
                </c:pt>
                <c:pt idx="52">
                  <c:v>1</c:v>
                </c:pt>
                <c:pt idx="53">
                  <c:v>1</c:v>
                </c:pt>
                <c:pt idx="54">
                  <c:v>1</c:v>
                </c:pt>
                <c:pt idx="55">
                  <c:v>1</c:v>
                </c:pt>
                <c:pt idx="56">
                  <c:v>1</c:v>
                </c:pt>
                <c:pt idx="57">
                  <c:v>1</c:v>
                </c:pt>
                <c:pt idx="58">
                  <c:v>1</c:v>
                </c:pt>
                <c:pt idx="59">
                  <c:v>1</c:v>
                </c:pt>
                <c:pt idx="60">
                  <c:v>1</c:v>
                </c:pt>
                <c:pt idx="61">
                  <c:v>0.99</c:v>
                </c:pt>
                <c:pt idx="62">
                  <c:v>0.99</c:v>
                </c:pt>
                <c:pt idx="63">
                  <c:v>0.97</c:v>
                </c:pt>
                <c:pt idx="64">
                  <c:v>1</c:v>
                </c:pt>
                <c:pt idx="65">
                  <c:v>1</c:v>
                </c:pt>
                <c:pt idx="66">
                  <c:v>0.97</c:v>
                </c:pt>
                <c:pt idx="67">
                  <c:v>1</c:v>
                </c:pt>
                <c:pt idx="68">
                  <c:v>1</c:v>
                </c:pt>
                <c:pt idx="69">
                  <c:v>1</c:v>
                </c:pt>
                <c:pt idx="70">
                  <c:v>0.98</c:v>
                </c:pt>
                <c:pt idx="71">
                  <c:v>1</c:v>
                </c:pt>
                <c:pt idx="72">
                  <c:v>0.99</c:v>
                </c:pt>
                <c:pt idx="73">
                  <c:v>0.94</c:v>
                </c:pt>
                <c:pt idx="74">
                  <c:v>1</c:v>
                </c:pt>
                <c:pt idx="75">
                  <c:v>1</c:v>
                </c:pt>
                <c:pt idx="76">
                  <c:v>1</c:v>
                </c:pt>
                <c:pt idx="77">
                  <c:v>1</c:v>
                </c:pt>
                <c:pt idx="78">
                  <c:v>1</c:v>
                </c:pt>
                <c:pt idx="79">
                  <c:v>1</c:v>
                </c:pt>
                <c:pt idx="80">
                  <c:v>1</c:v>
                </c:pt>
                <c:pt idx="81">
                  <c:v>1</c:v>
                </c:pt>
                <c:pt idx="82">
                  <c:v>0.97</c:v>
                </c:pt>
                <c:pt idx="83">
                  <c:v>1</c:v>
                </c:pt>
                <c:pt idx="84">
                  <c:v>1</c:v>
                </c:pt>
                <c:pt idx="85">
                  <c:v>1</c:v>
                </c:pt>
                <c:pt idx="86">
                  <c:v>1</c:v>
                </c:pt>
                <c:pt idx="87">
                  <c:v>0.99</c:v>
                </c:pt>
                <c:pt idx="88">
                  <c:v>1</c:v>
                </c:pt>
                <c:pt idx="89">
                  <c:v>0.98</c:v>
                </c:pt>
                <c:pt idx="90">
                  <c:v>1</c:v>
                </c:pt>
                <c:pt idx="91">
                  <c:v>0.94</c:v>
                </c:pt>
                <c:pt idx="92">
                  <c:v>1</c:v>
                </c:pt>
                <c:pt idx="93">
                  <c:v>1</c:v>
                </c:pt>
                <c:pt idx="94">
                  <c:v>0.99</c:v>
                </c:pt>
                <c:pt idx="95">
                  <c:v>0.85</c:v>
                </c:pt>
                <c:pt idx="96">
                  <c:v>1</c:v>
                </c:pt>
                <c:pt idx="97">
                  <c:v>1</c:v>
                </c:pt>
                <c:pt idx="98">
                  <c:v>1</c:v>
                </c:pt>
                <c:pt idx="99">
                  <c:v>0.99</c:v>
                </c:pt>
                <c:pt idx="100">
                  <c:v>1</c:v>
                </c:pt>
                <c:pt idx="101">
                  <c:v>1</c:v>
                </c:pt>
                <c:pt idx="102">
                  <c:v>0.99</c:v>
                </c:pt>
                <c:pt idx="103">
                  <c:v>1</c:v>
                </c:pt>
                <c:pt idx="104">
                  <c:v>1</c:v>
                </c:pt>
                <c:pt idx="105">
                  <c:v>0.94</c:v>
                </c:pt>
                <c:pt idx="106">
                  <c:v>1</c:v>
                </c:pt>
                <c:pt idx="107">
                  <c:v>0.98</c:v>
                </c:pt>
                <c:pt idx="108">
                  <c:v>1</c:v>
                </c:pt>
                <c:pt idx="109">
                  <c:v>0.96</c:v>
                </c:pt>
                <c:pt idx="110">
                  <c:v>0.99</c:v>
                </c:pt>
                <c:pt idx="111">
                  <c:v>1</c:v>
                </c:pt>
                <c:pt idx="112">
                  <c:v>0.97</c:v>
                </c:pt>
                <c:pt idx="113">
                  <c:v>1</c:v>
                </c:pt>
                <c:pt idx="114">
                  <c:v>1</c:v>
                </c:pt>
                <c:pt idx="115">
                  <c:v>0.98</c:v>
                </c:pt>
                <c:pt idx="116">
                  <c:v>1</c:v>
                </c:pt>
                <c:pt idx="117">
                  <c:v>1</c:v>
                </c:pt>
                <c:pt idx="118">
                  <c:v>1</c:v>
                </c:pt>
                <c:pt idx="119">
                  <c:v>1</c:v>
                </c:pt>
                <c:pt idx="120">
                  <c:v>1</c:v>
                </c:pt>
                <c:pt idx="121">
                  <c:v>1</c:v>
                </c:pt>
                <c:pt idx="122">
                  <c:v>0.94</c:v>
                </c:pt>
                <c:pt idx="123">
                  <c:v>0.96</c:v>
                </c:pt>
                <c:pt idx="124">
                  <c:v>1</c:v>
                </c:pt>
                <c:pt idx="125">
                  <c:v>0.96</c:v>
                </c:pt>
                <c:pt idx="126">
                  <c:v>0.97</c:v>
                </c:pt>
                <c:pt idx="127">
                  <c:v>0.98</c:v>
                </c:pt>
                <c:pt idx="128">
                  <c:v>0.9</c:v>
                </c:pt>
                <c:pt idx="129">
                  <c:v>0.94</c:v>
                </c:pt>
                <c:pt idx="130">
                  <c:v>0.85</c:v>
                </c:pt>
                <c:pt idx="131">
                  <c:v>0.97</c:v>
                </c:pt>
                <c:pt idx="132">
                  <c:v>1</c:v>
                </c:pt>
                <c:pt idx="133">
                  <c:v>0.94</c:v>
                </c:pt>
                <c:pt idx="134">
                  <c:v>0.98</c:v>
                </c:pt>
                <c:pt idx="135">
                  <c:v>1</c:v>
                </c:pt>
                <c:pt idx="136">
                  <c:v>0.95</c:v>
                </c:pt>
                <c:pt idx="137">
                  <c:v>1</c:v>
                </c:pt>
                <c:pt idx="138">
                  <c:v>0.99</c:v>
                </c:pt>
                <c:pt idx="139">
                  <c:v>1</c:v>
                </c:pt>
                <c:pt idx="140">
                  <c:v>0.99</c:v>
                </c:pt>
                <c:pt idx="141">
                  <c:v>0.99</c:v>
                </c:pt>
                <c:pt idx="142">
                  <c:v>0.99</c:v>
                </c:pt>
                <c:pt idx="143">
                  <c:v>1</c:v>
                </c:pt>
                <c:pt idx="144">
                  <c:v>1</c:v>
                </c:pt>
                <c:pt idx="145">
                  <c:v>0.99</c:v>
                </c:pt>
                <c:pt idx="146">
                  <c:v>0.95</c:v>
                </c:pt>
                <c:pt idx="147">
                  <c:v>0.91</c:v>
                </c:pt>
                <c:pt idx="148">
                  <c:v>0.92</c:v>
                </c:pt>
                <c:pt idx="149">
                  <c:v>0.96</c:v>
                </c:pt>
                <c:pt idx="150">
                  <c:v>0.97</c:v>
                </c:pt>
                <c:pt idx="151">
                  <c:v>1</c:v>
                </c:pt>
                <c:pt idx="152">
                  <c:v>1</c:v>
                </c:pt>
                <c:pt idx="153">
                  <c:v>0.99</c:v>
                </c:pt>
                <c:pt idx="154">
                  <c:v>0.99</c:v>
                </c:pt>
                <c:pt idx="155">
                  <c:v>1</c:v>
                </c:pt>
                <c:pt idx="156">
                  <c:v>0.98</c:v>
                </c:pt>
                <c:pt idx="157">
                  <c:v>0.91</c:v>
                </c:pt>
                <c:pt idx="158">
                  <c:v>0.92</c:v>
                </c:pt>
                <c:pt idx="159">
                  <c:v>0.95</c:v>
                </c:pt>
                <c:pt idx="160">
                  <c:v>0.83</c:v>
                </c:pt>
                <c:pt idx="161">
                  <c:v>1</c:v>
                </c:pt>
                <c:pt idx="162">
                  <c:v>0.95</c:v>
                </c:pt>
                <c:pt idx="163">
                  <c:v>1</c:v>
                </c:pt>
                <c:pt idx="164">
                  <c:v>1</c:v>
                </c:pt>
                <c:pt idx="165">
                  <c:v>0.95</c:v>
                </c:pt>
                <c:pt idx="166">
                  <c:v>0.93</c:v>
                </c:pt>
                <c:pt idx="167">
                  <c:v>0.99</c:v>
                </c:pt>
                <c:pt idx="168">
                  <c:v>0.89</c:v>
                </c:pt>
                <c:pt idx="169">
                  <c:v>0.98</c:v>
                </c:pt>
                <c:pt idx="170">
                  <c:v>0.95</c:v>
                </c:pt>
                <c:pt idx="171">
                  <c:v>0.88</c:v>
                </c:pt>
                <c:pt idx="172">
                  <c:v>0.64</c:v>
                </c:pt>
                <c:pt idx="173">
                  <c:v>1</c:v>
                </c:pt>
                <c:pt idx="174">
                  <c:v>1</c:v>
                </c:pt>
                <c:pt idx="175">
                  <c:v>0.99</c:v>
                </c:pt>
                <c:pt idx="176">
                  <c:v>0.97</c:v>
                </c:pt>
                <c:pt idx="177">
                  <c:v>0.99</c:v>
                </c:pt>
                <c:pt idx="178">
                  <c:v>0.99</c:v>
                </c:pt>
                <c:pt idx="179">
                  <c:v>1</c:v>
                </c:pt>
                <c:pt idx="180">
                  <c:v>0.94</c:v>
                </c:pt>
                <c:pt idx="181">
                  <c:v>0.98</c:v>
                </c:pt>
                <c:pt idx="182">
                  <c:v>0.99</c:v>
                </c:pt>
                <c:pt idx="183">
                  <c:v>1</c:v>
                </c:pt>
                <c:pt idx="184">
                  <c:v>0.99</c:v>
                </c:pt>
                <c:pt idx="185">
                  <c:v>0.96</c:v>
                </c:pt>
                <c:pt idx="186">
                  <c:v>1</c:v>
                </c:pt>
                <c:pt idx="187">
                  <c:v>0.97</c:v>
                </c:pt>
                <c:pt idx="188">
                  <c:v>0.97</c:v>
                </c:pt>
                <c:pt idx="189">
                  <c:v>0.89</c:v>
                </c:pt>
                <c:pt idx="190">
                  <c:v>0.96</c:v>
                </c:pt>
                <c:pt idx="191">
                  <c:v>1</c:v>
                </c:pt>
                <c:pt idx="192">
                  <c:v>1</c:v>
                </c:pt>
                <c:pt idx="193">
                  <c:v>0.97</c:v>
                </c:pt>
                <c:pt idx="194">
                  <c:v>0.99</c:v>
                </c:pt>
                <c:pt idx="195">
                  <c:v>0.98</c:v>
                </c:pt>
                <c:pt idx="196">
                  <c:v>1</c:v>
                </c:pt>
                <c:pt idx="197">
                  <c:v>0.89</c:v>
                </c:pt>
                <c:pt idx="198">
                  <c:v>0.95</c:v>
                </c:pt>
                <c:pt idx="199">
                  <c:v>0.81</c:v>
                </c:pt>
                <c:pt idx="200">
                  <c:v>0.87</c:v>
                </c:pt>
                <c:pt idx="201">
                  <c:v>0.99</c:v>
                </c:pt>
                <c:pt idx="202">
                  <c:v>0.96</c:v>
                </c:pt>
                <c:pt idx="203">
                  <c:v>0.95</c:v>
                </c:pt>
                <c:pt idx="204">
                  <c:v>0.97</c:v>
                </c:pt>
                <c:pt idx="205">
                  <c:v>0.34</c:v>
                </c:pt>
                <c:pt idx="206">
                  <c:v>0.98</c:v>
                </c:pt>
                <c:pt idx="207">
                  <c:v>0.95</c:v>
                </c:pt>
                <c:pt idx="208">
                  <c:v>0.89</c:v>
                </c:pt>
                <c:pt idx="209">
                  <c:v>0.94</c:v>
                </c:pt>
                <c:pt idx="210">
                  <c:v>0.89</c:v>
                </c:pt>
                <c:pt idx="211">
                  <c:v>0.97</c:v>
                </c:pt>
                <c:pt idx="212">
                  <c:v>0.95</c:v>
                </c:pt>
                <c:pt idx="213">
                  <c:v>0.96</c:v>
                </c:pt>
                <c:pt idx="214">
                  <c:v>0.93</c:v>
                </c:pt>
                <c:pt idx="215">
                  <c:v>1</c:v>
                </c:pt>
                <c:pt idx="216">
                  <c:v>0.99</c:v>
                </c:pt>
                <c:pt idx="217">
                  <c:v>0.99</c:v>
                </c:pt>
                <c:pt idx="218">
                  <c:v>1</c:v>
                </c:pt>
                <c:pt idx="219">
                  <c:v>0.95</c:v>
                </c:pt>
                <c:pt idx="220">
                  <c:v>0.95</c:v>
                </c:pt>
                <c:pt idx="221">
                  <c:v>1</c:v>
                </c:pt>
                <c:pt idx="222">
                  <c:v>0.94</c:v>
                </c:pt>
                <c:pt idx="223">
                  <c:v>0.92</c:v>
                </c:pt>
                <c:pt idx="224">
                  <c:v>1</c:v>
                </c:pt>
                <c:pt idx="225">
                  <c:v>0.92</c:v>
                </c:pt>
                <c:pt idx="226">
                  <c:v>0.86</c:v>
                </c:pt>
                <c:pt idx="227">
                  <c:v>1</c:v>
                </c:pt>
                <c:pt idx="228">
                  <c:v>0.99</c:v>
                </c:pt>
                <c:pt idx="229">
                  <c:v>0.92</c:v>
                </c:pt>
                <c:pt idx="230">
                  <c:v>0.96</c:v>
                </c:pt>
                <c:pt idx="231">
                  <c:v>0.97</c:v>
                </c:pt>
                <c:pt idx="232">
                  <c:v>0.95</c:v>
                </c:pt>
                <c:pt idx="233">
                  <c:v>0.98</c:v>
                </c:pt>
                <c:pt idx="234">
                  <c:v>0.84</c:v>
                </c:pt>
                <c:pt idx="235">
                  <c:v>0.9</c:v>
                </c:pt>
                <c:pt idx="236">
                  <c:v>0.6</c:v>
                </c:pt>
                <c:pt idx="237">
                  <c:v>0.9</c:v>
                </c:pt>
                <c:pt idx="238">
                  <c:v>0.9</c:v>
                </c:pt>
                <c:pt idx="239">
                  <c:v>0.92</c:v>
                </c:pt>
                <c:pt idx="240">
                  <c:v>0.82</c:v>
                </c:pt>
                <c:pt idx="241">
                  <c:v>0.91</c:v>
                </c:pt>
                <c:pt idx="242">
                  <c:v>0.85</c:v>
                </c:pt>
                <c:pt idx="243">
                  <c:v>0.9</c:v>
                </c:pt>
                <c:pt idx="244">
                  <c:v>0.05</c:v>
                </c:pt>
                <c:pt idx="245">
                  <c:v>0.95</c:v>
                </c:pt>
                <c:pt idx="246">
                  <c:v>0.93</c:v>
                </c:pt>
                <c:pt idx="247">
                  <c:v>0.88</c:v>
                </c:pt>
                <c:pt idx="248">
                  <c:v>0.99</c:v>
                </c:pt>
                <c:pt idx="249">
                  <c:v>0.93</c:v>
                </c:pt>
                <c:pt idx="250">
                  <c:v>1</c:v>
                </c:pt>
                <c:pt idx="251">
                  <c:v>0.96</c:v>
                </c:pt>
                <c:pt idx="252">
                  <c:v>0.84</c:v>
                </c:pt>
                <c:pt idx="253">
                  <c:v>0.98</c:v>
                </c:pt>
                <c:pt idx="254">
                  <c:v>0.93</c:v>
                </c:pt>
                <c:pt idx="255">
                  <c:v>0.93</c:v>
                </c:pt>
                <c:pt idx="256">
                  <c:v>1</c:v>
                </c:pt>
                <c:pt idx="257">
                  <c:v>0.97</c:v>
                </c:pt>
                <c:pt idx="258">
                  <c:v>0.97</c:v>
                </c:pt>
                <c:pt idx="259">
                  <c:v>0.87</c:v>
                </c:pt>
                <c:pt idx="260">
                  <c:v>0.94</c:v>
                </c:pt>
                <c:pt idx="261">
                  <c:v>0.88</c:v>
                </c:pt>
                <c:pt idx="262">
                  <c:v>0.77</c:v>
                </c:pt>
                <c:pt idx="263">
                  <c:v>0.74</c:v>
                </c:pt>
                <c:pt idx="264">
                  <c:v>0.98</c:v>
                </c:pt>
                <c:pt idx="265">
                  <c:v>0.82</c:v>
                </c:pt>
                <c:pt idx="266">
                  <c:v>0.87</c:v>
                </c:pt>
                <c:pt idx="267">
                  <c:v>0.55000000000000004</c:v>
                </c:pt>
                <c:pt idx="268">
                  <c:v>0.89</c:v>
                </c:pt>
                <c:pt idx="269">
                  <c:v>0.67</c:v>
                </c:pt>
                <c:pt idx="270">
                  <c:v>0.73</c:v>
                </c:pt>
                <c:pt idx="271">
                  <c:v>0.83</c:v>
                </c:pt>
                <c:pt idx="272">
                  <c:v>0.93</c:v>
                </c:pt>
                <c:pt idx="273">
                  <c:v>0.93</c:v>
                </c:pt>
                <c:pt idx="274">
                  <c:v>1</c:v>
                </c:pt>
                <c:pt idx="275">
                  <c:v>0.75</c:v>
                </c:pt>
                <c:pt idx="276">
                  <c:v>0.33</c:v>
                </c:pt>
                <c:pt idx="277">
                  <c:v>0.51</c:v>
                </c:pt>
                <c:pt idx="278">
                  <c:v>0.96</c:v>
                </c:pt>
                <c:pt idx="279">
                  <c:v>0.93</c:v>
                </c:pt>
                <c:pt idx="280">
                  <c:v>0.99</c:v>
                </c:pt>
                <c:pt idx="281">
                  <c:v>0.56999999999999995</c:v>
                </c:pt>
                <c:pt idx="282">
                  <c:v>0.63</c:v>
                </c:pt>
                <c:pt idx="283">
                  <c:v>0.49</c:v>
                </c:pt>
                <c:pt idx="284">
                  <c:v>0.97</c:v>
                </c:pt>
                <c:pt idx="285">
                  <c:v>0.93</c:v>
                </c:pt>
                <c:pt idx="286">
                  <c:v>1</c:v>
                </c:pt>
                <c:pt idx="287">
                  <c:v>1</c:v>
                </c:pt>
                <c:pt idx="288">
                  <c:v>0.71</c:v>
                </c:pt>
                <c:pt idx="289">
                  <c:v>1</c:v>
                </c:pt>
                <c:pt idx="290">
                  <c:v>0.87</c:v>
                </c:pt>
                <c:pt idx="291">
                  <c:v>0.97</c:v>
                </c:pt>
                <c:pt idx="292">
                  <c:v>0.95</c:v>
                </c:pt>
                <c:pt idx="293">
                  <c:v>0.92</c:v>
                </c:pt>
                <c:pt idx="294">
                  <c:v>0.96</c:v>
                </c:pt>
                <c:pt idx="295">
                  <c:v>0.95</c:v>
                </c:pt>
                <c:pt idx="296">
                  <c:v>1</c:v>
                </c:pt>
                <c:pt idx="297">
                  <c:v>0.77</c:v>
                </c:pt>
                <c:pt idx="298">
                  <c:v>0.93</c:v>
                </c:pt>
                <c:pt idx="299">
                  <c:v>0.56000000000000005</c:v>
                </c:pt>
                <c:pt idx="300">
                  <c:v>0.96</c:v>
                </c:pt>
                <c:pt idx="301">
                  <c:v>0.96</c:v>
                </c:pt>
                <c:pt idx="302">
                  <c:v>0.96</c:v>
                </c:pt>
                <c:pt idx="303">
                  <c:v>0.88</c:v>
                </c:pt>
                <c:pt idx="304">
                  <c:v>0.84</c:v>
                </c:pt>
                <c:pt idx="305">
                  <c:v>0.88</c:v>
                </c:pt>
                <c:pt idx="306">
                  <c:v>0.85</c:v>
                </c:pt>
                <c:pt idx="307">
                  <c:v>0.73</c:v>
                </c:pt>
                <c:pt idx="308">
                  <c:v>0.86</c:v>
                </c:pt>
                <c:pt idx="309">
                  <c:v>0.22</c:v>
                </c:pt>
                <c:pt idx="310">
                  <c:v>0.75</c:v>
                </c:pt>
                <c:pt idx="311">
                  <c:v>0.95</c:v>
                </c:pt>
                <c:pt idx="312">
                  <c:v>0.99</c:v>
                </c:pt>
                <c:pt idx="313">
                  <c:v>0.78</c:v>
                </c:pt>
                <c:pt idx="314">
                  <c:v>0.79</c:v>
                </c:pt>
                <c:pt idx="315">
                  <c:v>0.92</c:v>
                </c:pt>
                <c:pt idx="316">
                  <c:v>1</c:v>
                </c:pt>
                <c:pt idx="317">
                  <c:v>0.57999999999999996</c:v>
                </c:pt>
                <c:pt idx="318">
                  <c:v>0.94</c:v>
                </c:pt>
                <c:pt idx="319">
                  <c:v>0.67</c:v>
                </c:pt>
                <c:pt idx="320">
                  <c:v>0.9</c:v>
                </c:pt>
                <c:pt idx="321">
                  <c:v>0.73</c:v>
                </c:pt>
                <c:pt idx="322">
                  <c:v>0.83</c:v>
                </c:pt>
                <c:pt idx="323">
                  <c:v>0.87</c:v>
                </c:pt>
                <c:pt idx="324">
                  <c:v>0.84</c:v>
                </c:pt>
                <c:pt idx="325">
                  <c:v>0.94</c:v>
                </c:pt>
                <c:pt idx="326">
                  <c:v>0.93</c:v>
                </c:pt>
                <c:pt idx="327">
                  <c:v>0.99</c:v>
                </c:pt>
                <c:pt idx="328">
                  <c:v>0.34</c:v>
                </c:pt>
                <c:pt idx="329">
                  <c:v>0.48</c:v>
                </c:pt>
                <c:pt idx="330">
                  <c:v>0.36</c:v>
                </c:pt>
                <c:pt idx="331">
                  <c:v>0.91</c:v>
                </c:pt>
                <c:pt idx="332">
                  <c:v>0.06</c:v>
                </c:pt>
                <c:pt idx="333">
                  <c:v>0.89</c:v>
                </c:pt>
                <c:pt idx="334">
                  <c:v>0.57999999999999996</c:v>
                </c:pt>
                <c:pt idx="335">
                  <c:v>0.89</c:v>
                </c:pt>
                <c:pt idx="336">
                  <c:v>0.77</c:v>
                </c:pt>
                <c:pt idx="337">
                  <c:v>0.56999999999999995</c:v>
                </c:pt>
                <c:pt idx="338">
                  <c:v>0.71</c:v>
                </c:pt>
                <c:pt idx="339">
                  <c:v>0.23</c:v>
                </c:pt>
                <c:pt idx="340">
                  <c:v>0.87</c:v>
                </c:pt>
                <c:pt idx="341">
                  <c:v>0.59</c:v>
                </c:pt>
                <c:pt idx="342">
                  <c:v>0.94</c:v>
                </c:pt>
                <c:pt idx="343">
                  <c:v>0.73</c:v>
                </c:pt>
                <c:pt idx="344">
                  <c:v>0.78</c:v>
                </c:pt>
                <c:pt idx="345">
                  <c:v>0.84</c:v>
                </c:pt>
                <c:pt idx="346">
                  <c:v>0.84</c:v>
                </c:pt>
                <c:pt idx="347">
                  <c:v>0.76</c:v>
                </c:pt>
                <c:pt idx="348">
                  <c:v>0.88</c:v>
                </c:pt>
                <c:pt idx="349">
                  <c:v>0.93</c:v>
                </c:pt>
                <c:pt idx="350">
                  <c:v>0.89</c:v>
                </c:pt>
                <c:pt idx="351">
                  <c:v>0.93</c:v>
                </c:pt>
                <c:pt idx="352">
                  <c:v>0.18</c:v>
                </c:pt>
                <c:pt idx="353">
                  <c:v>0.91</c:v>
                </c:pt>
                <c:pt idx="354">
                  <c:v>0.9</c:v>
                </c:pt>
                <c:pt idx="355">
                  <c:v>0.94</c:v>
                </c:pt>
                <c:pt idx="356">
                  <c:v>0.76</c:v>
                </c:pt>
                <c:pt idx="357">
                  <c:v>0.39</c:v>
                </c:pt>
                <c:pt idx="358">
                  <c:v>0.76</c:v>
                </c:pt>
                <c:pt idx="359">
                  <c:v>0.74</c:v>
                </c:pt>
                <c:pt idx="360">
                  <c:v>0.86</c:v>
                </c:pt>
                <c:pt idx="361">
                  <c:v>0.47</c:v>
                </c:pt>
                <c:pt idx="362">
                  <c:v>0.93</c:v>
                </c:pt>
                <c:pt idx="363">
                  <c:v>0.78</c:v>
                </c:pt>
                <c:pt idx="364">
                  <c:v>0.99</c:v>
                </c:pt>
                <c:pt idx="365">
                  <c:v>0.73</c:v>
                </c:pt>
                <c:pt idx="366">
                  <c:v>7.0000000000000007E-2</c:v>
                </c:pt>
                <c:pt idx="367">
                  <c:v>0.15</c:v>
                </c:pt>
                <c:pt idx="368">
                  <c:v>0.74</c:v>
                </c:pt>
                <c:pt idx="369">
                  <c:v>0.36</c:v>
                </c:pt>
                <c:pt idx="370">
                  <c:v>0.94</c:v>
                </c:pt>
                <c:pt idx="371">
                  <c:v>0.82</c:v>
                </c:pt>
                <c:pt idx="372">
                  <c:v>0.96</c:v>
                </c:pt>
                <c:pt idx="373">
                  <c:v>0.79</c:v>
                </c:pt>
                <c:pt idx="374">
                  <c:v>0.57999999999999996</c:v>
                </c:pt>
                <c:pt idx="375">
                  <c:v>0.61</c:v>
                </c:pt>
                <c:pt idx="376">
                  <c:v>0.88</c:v>
                </c:pt>
                <c:pt idx="377">
                  <c:v>0.93</c:v>
                </c:pt>
                <c:pt idx="378">
                  <c:v>0.49</c:v>
                </c:pt>
                <c:pt idx="379">
                  <c:v>0.82</c:v>
                </c:pt>
                <c:pt idx="380">
                  <c:v>0.55000000000000004</c:v>
                </c:pt>
                <c:pt idx="381">
                  <c:v>0.7</c:v>
                </c:pt>
                <c:pt idx="382">
                  <c:v>0.89</c:v>
                </c:pt>
                <c:pt idx="383">
                  <c:v>0.96</c:v>
                </c:pt>
                <c:pt idx="384">
                  <c:v>0.77</c:v>
                </c:pt>
                <c:pt idx="385">
                  <c:v>0.19</c:v>
                </c:pt>
                <c:pt idx="386">
                  <c:v>0.7</c:v>
                </c:pt>
                <c:pt idx="387">
                  <c:v>0.85</c:v>
                </c:pt>
                <c:pt idx="388">
                  <c:v>0.8</c:v>
                </c:pt>
                <c:pt idx="389">
                  <c:v>0.82</c:v>
                </c:pt>
                <c:pt idx="390">
                  <c:v>0.22</c:v>
                </c:pt>
                <c:pt idx="391">
                  <c:v>0.9</c:v>
                </c:pt>
                <c:pt idx="392">
                  <c:v>0.12</c:v>
                </c:pt>
                <c:pt idx="393">
                  <c:v>0.73</c:v>
                </c:pt>
                <c:pt idx="394">
                  <c:v>0.95</c:v>
                </c:pt>
                <c:pt idx="395">
                  <c:v>0.33</c:v>
                </c:pt>
                <c:pt idx="396">
                  <c:v>0.67</c:v>
                </c:pt>
                <c:pt idx="397">
                  <c:v>0.1</c:v>
                </c:pt>
                <c:pt idx="398">
                  <c:v>0.06</c:v>
                </c:pt>
                <c:pt idx="399">
                  <c:v>0.8</c:v>
                </c:pt>
                <c:pt idx="400">
                  <c:v>0.62</c:v>
                </c:pt>
                <c:pt idx="401">
                  <c:v>0.36</c:v>
                </c:pt>
                <c:pt idx="402">
                  <c:v>0.25</c:v>
                </c:pt>
                <c:pt idx="403">
                  <c:v>0.2</c:v>
                </c:pt>
                <c:pt idx="404">
                  <c:v>0.86</c:v>
                </c:pt>
                <c:pt idx="405">
                  <c:v>0.99</c:v>
                </c:pt>
                <c:pt idx="406">
                  <c:v>0.44</c:v>
                </c:pt>
                <c:pt idx="407">
                  <c:v>0.63</c:v>
                </c:pt>
                <c:pt idx="408">
                  <c:v>0.91</c:v>
                </c:pt>
                <c:pt idx="409">
                  <c:v>0.89</c:v>
                </c:pt>
                <c:pt idx="410">
                  <c:v>0.16</c:v>
                </c:pt>
                <c:pt idx="411">
                  <c:v>0.41</c:v>
                </c:pt>
                <c:pt idx="412">
                  <c:v>0.83</c:v>
                </c:pt>
                <c:pt idx="413">
                  <c:v>0.82</c:v>
                </c:pt>
                <c:pt idx="414">
                  <c:v>0.96</c:v>
                </c:pt>
                <c:pt idx="415">
                  <c:v>0.34</c:v>
                </c:pt>
                <c:pt idx="416">
                  <c:v>0.62</c:v>
                </c:pt>
                <c:pt idx="417">
                  <c:v>0.32</c:v>
                </c:pt>
                <c:pt idx="418">
                  <c:v>0.81</c:v>
                </c:pt>
                <c:pt idx="419">
                  <c:v>0.89</c:v>
                </c:pt>
                <c:pt idx="420">
                  <c:v>0.41</c:v>
                </c:pt>
                <c:pt idx="421">
                  <c:v>0.14000000000000001</c:v>
                </c:pt>
                <c:pt idx="422">
                  <c:v>0.96</c:v>
                </c:pt>
                <c:pt idx="423">
                  <c:v>0.79</c:v>
                </c:pt>
                <c:pt idx="424">
                  <c:v>0.55000000000000004</c:v>
                </c:pt>
                <c:pt idx="425">
                  <c:v>0.56999999999999995</c:v>
                </c:pt>
                <c:pt idx="426">
                  <c:v>0.71</c:v>
                </c:pt>
                <c:pt idx="427">
                  <c:v>0.74</c:v>
                </c:pt>
                <c:pt idx="428">
                  <c:v>0.25</c:v>
                </c:pt>
                <c:pt idx="429">
                  <c:v>0.09</c:v>
                </c:pt>
                <c:pt idx="430">
                  <c:v>0.73</c:v>
                </c:pt>
                <c:pt idx="431">
                  <c:v>0.64</c:v>
                </c:pt>
                <c:pt idx="432">
                  <c:v>0.72</c:v>
                </c:pt>
                <c:pt idx="433">
                  <c:v>0.59</c:v>
                </c:pt>
                <c:pt idx="434">
                  <c:v>0.33</c:v>
                </c:pt>
                <c:pt idx="435">
                  <c:v>0.41</c:v>
                </c:pt>
                <c:pt idx="436">
                  <c:v>0.77</c:v>
                </c:pt>
                <c:pt idx="437">
                  <c:v>0.51</c:v>
                </c:pt>
                <c:pt idx="438">
                  <c:v>0.14000000000000001</c:v>
                </c:pt>
                <c:pt idx="439">
                  <c:v>0.26</c:v>
                </c:pt>
                <c:pt idx="440">
                  <c:v>0.67</c:v>
                </c:pt>
                <c:pt idx="441">
                  <c:v>0.53</c:v>
                </c:pt>
                <c:pt idx="442">
                  <c:v>0.16</c:v>
                </c:pt>
                <c:pt idx="443">
                  <c:v>0.8</c:v>
                </c:pt>
                <c:pt idx="444">
                  <c:v>0.79</c:v>
                </c:pt>
                <c:pt idx="445">
                  <c:v>0.4</c:v>
                </c:pt>
                <c:pt idx="446">
                  <c:v>0.42</c:v>
                </c:pt>
                <c:pt idx="447">
                  <c:v>0.88</c:v>
                </c:pt>
                <c:pt idx="448">
                  <c:v>0.9</c:v>
                </c:pt>
                <c:pt idx="449">
                  <c:v>0.71</c:v>
                </c:pt>
                <c:pt idx="450">
                  <c:v>0.68</c:v>
                </c:pt>
                <c:pt idx="451">
                  <c:v>0.45</c:v>
                </c:pt>
                <c:pt idx="452">
                  <c:v>0.94</c:v>
                </c:pt>
                <c:pt idx="453">
                  <c:v>0.6</c:v>
                </c:pt>
                <c:pt idx="454">
                  <c:v>0.89</c:v>
                </c:pt>
                <c:pt idx="455">
                  <c:v>0.3</c:v>
                </c:pt>
                <c:pt idx="456">
                  <c:v>0.3</c:v>
                </c:pt>
                <c:pt idx="457">
                  <c:v>0.84</c:v>
                </c:pt>
                <c:pt idx="458">
                  <c:v>0.74</c:v>
                </c:pt>
                <c:pt idx="459">
                  <c:v>0.18</c:v>
                </c:pt>
                <c:pt idx="460">
                  <c:v>0.22</c:v>
                </c:pt>
                <c:pt idx="461">
                  <c:v>0.54</c:v>
                </c:pt>
                <c:pt idx="462">
                  <c:v>0.22</c:v>
                </c:pt>
                <c:pt idx="463">
                  <c:v>0.16</c:v>
                </c:pt>
                <c:pt idx="464">
                  <c:v>0.53</c:v>
                </c:pt>
                <c:pt idx="465">
                  <c:v>0.31</c:v>
                </c:pt>
                <c:pt idx="466">
                  <c:v>0.85</c:v>
                </c:pt>
                <c:pt idx="467">
                  <c:v>0.62</c:v>
                </c:pt>
                <c:pt idx="468">
                  <c:v>0.7</c:v>
                </c:pt>
                <c:pt idx="469">
                  <c:v>0.64</c:v>
                </c:pt>
                <c:pt idx="470">
                  <c:v>0.14000000000000001</c:v>
                </c:pt>
                <c:pt idx="471">
                  <c:v>0.42</c:v>
                </c:pt>
                <c:pt idx="472">
                  <c:v>0.23</c:v>
                </c:pt>
                <c:pt idx="473">
                  <c:v>0.19</c:v>
                </c:pt>
                <c:pt idx="474">
                  <c:v>0.05</c:v>
                </c:pt>
                <c:pt idx="475">
                  <c:v>0.22</c:v>
                </c:pt>
                <c:pt idx="476">
                  <c:v>0.45</c:v>
                </c:pt>
                <c:pt idx="477">
                  <c:v>0.3</c:v>
                </c:pt>
                <c:pt idx="478">
                  <c:v>0.18</c:v>
                </c:pt>
                <c:pt idx="479">
                  <c:v>0.25</c:v>
                </c:pt>
                <c:pt idx="480">
                  <c:v>0.41</c:v>
                </c:pt>
                <c:pt idx="481">
                  <c:v>0.77</c:v>
                </c:pt>
                <c:pt idx="482">
                  <c:v>0.36</c:v>
                </c:pt>
                <c:pt idx="483">
                  <c:v>0.16</c:v>
                </c:pt>
                <c:pt idx="484">
                  <c:v>0.15</c:v>
                </c:pt>
                <c:pt idx="485">
                  <c:v>0.64</c:v>
                </c:pt>
                <c:pt idx="486">
                  <c:v>0.33</c:v>
                </c:pt>
                <c:pt idx="487">
                  <c:v>0.15</c:v>
                </c:pt>
                <c:pt idx="488">
                  <c:v>0.7</c:v>
                </c:pt>
                <c:pt idx="489">
                  <c:v>0.56000000000000005</c:v>
                </c:pt>
                <c:pt idx="490">
                  <c:v>0.59</c:v>
                </c:pt>
                <c:pt idx="491">
                  <c:v>0.92</c:v>
                </c:pt>
                <c:pt idx="492">
                  <c:v>0.72</c:v>
                </c:pt>
                <c:pt idx="493">
                  <c:v>0.21</c:v>
                </c:pt>
                <c:pt idx="494">
                  <c:v>0.62</c:v>
                </c:pt>
                <c:pt idx="495">
                  <c:v>0.19</c:v>
                </c:pt>
                <c:pt idx="496">
                  <c:v>0.25</c:v>
                </c:pt>
                <c:pt idx="497">
                  <c:v>0.68</c:v>
                </c:pt>
                <c:pt idx="498">
                  <c:v>0.81</c:v>
                </c:pt>
                <c:pt idx="499">
                  <c:v>0.02</c:v>
                </c:pt>
                <c:pt idx="500">
                  <c:v>0.69</c:v>
                </c:pt>
                <c:pt idx="501">
                  <c:v>0.39</c:v>
                </c:pt>
                <c:pt idx="502">
                  <c:v>0.17</c:v>
                </c:pt>
                <c:pt idx="503">
                  <c:v>0.16</c:v>
                </c:pt>
                <c:pt idx="504">
                  <c:v>0.32</c:v>
                </c:pt>
                <c:pt idx="505">
                  <c:v>0.28000000000000003</c:v>
                </c:pt>
                <c:pt idx="506">
                  <c:v>0.08</c:v>
                </c:pt>
                <c:pt idx="507">
                  <c:v>0.73</c:v>
                </c:pt>
                <c:pt idx="508">
                  <c:v>0.26</c:v>
                </c:pt>
                <c:pt idx="509">
                  <c:v>0.11</c:v>
                </c:pt>
                <c:pt idx="510">
                  <c:v>0.64</c:v>
                </c:pt>
                <c:pt idx="511">
                  <c:v>0.12</c:v>
                </c:pt>
                <c:pt idx="512">
                  <c:v>0.57999999999999996</c:v>
                </c:pt>
                <c:pt idx="513">
                  <c:v>0.11</c:v>
                </c:pt>
                <c:pt idx="514">
                  <c:v>0.28999999999999998</c:v>
                </c:pt>
                <c:pt idx="515">
                  <c:v>0.31</c:v>
                </c:pt>
                <c:pt idx="516">
                  <c:v>0.55000000000000004</c:v>
                </c:pt>
                <c:pt idx="517">
                  <c:v>0.11</c:v>
                </c:pt>
                <c:pt idx="518">
                  <c:v>0.13</c:v>
                </c:pt>
                <c:pt idx="519">
                  <c:v>0.21</c:v>
                </c:pt>
                <c:pt idx="520">
                  <c:v>0.67</c:v>
                </c:pt>
                <c:pt idx="521">
                  <c:v>0.17</c:v>
                </c:pt>
                <c:pt idx="522">
                  <c:v>0.09</c:v>
                </c:pt>
                <c:pt idx="523">
                  <c:v>0.36</c:v>
                </c:pt>
                <c:pt idx="524">
                  <c:v>0.83</c:v>
                </c:pt>
                <c:pt idx="525">
                  <c:v>0.01</c:v>
                </c:pt>
                <c:pt idx="526">
                  <c:v>0.68</c:v>
                </c:pt>
                <c:pt idx="527">
                  <c:v>0.47</c:v>
                </c:pt>
                <c:pt idx="528">
                  <c:v>7.0000000000000007E-2</c:v>
                </c:pt>
                <c:pt idx="529">
                  <c:v>0.9</c:v>
                </c:pt>
                <c:pt idx="530">
                  <c:v>0.15</c:v>
                </c:pt>
                <c:pt idx="531">
                  <c:v>0.39</c:v>
                </c:pt>
                <c:pt idx="532">
                  <c:v>0.76</c:v>
                </c:pt>
                <c:pt idx="533">
                  <c:v>0.72</c:v>
                </c:pt>
                <c:pt idx="534">
                  <c:v>0.6</c:v>
                </c:pt>
                <c:pt idx="535">
                  <c:v>0.56000000000000005</c:v>
                </c:pt>
                <c:pt idx="536">
                  <c:v>0.53</c:v>
                </c:pt>
                <c:pt idx="537">
                  <c:v>0.14000000000000001</c:v>
                </c:pt>
                <c:pt idx="538">
                  <c:v>0.66</c:v>
                </c:pt>
                <c:pt idx="539">
                  <c:v>0.73</c:v>
                </c:pt>
                <c:pt idx="540">
                  <c:v>0.05</c:v>
                </c:pt>
                <c:pt idx="541">
                  <c:v>0.06</c:v>
                </c:pt>
                <c:pt idx="542">
                  <c:v>0.45</c:v>
                </c:pt>
                <c:pt idx="543">
                  <c:v>0.1</c:v>
                </c:pt>
                <c:pt idx="544">
                  <c:v>0.09</c:v>
                </c:pt>
                <c:pt idx="545">
                  <c:v>0.66</c:v>
                </c:pt>
                <c:pt idx="546">
                  <c:v>0.36</c:v>
                </c:pt>
                <c:pt idx="547">
                  <c:v>0.01</c:v>
                </c:pt>
                <c:pt idx="548">
                  <c:v>0.83</c:v>
                </c:pt>
                <c:pt idx="549">
                  <c:v>0.08</c:v>
                </c:pt>
                <c:pt idx="550">
                  <c:v>0.48</c:v>
                </c:pt>
                <c:pt idx="551">
                  <c:v>0.24</c:v>
                </c:pt>
                <c:pt idx="552">
                  <c:v>0.72</c:v>
                </c:pt>
                <c:pt idx="553">
                  <c:v>0.2</c:v>
                </c:pt>
                <c:pt idx="554">
                  <c:v>0.27</c:v>
                </c:pt>
                <c:pt idx="555">
                  <c:v>0.04</c:v>
                </c:pt>
                <c:pt idx="556">
                  <c:v>0.73</c:v>
                </c:pt>
                <c:pt idx="557">
                  <c:v>0.14000000000000001</c:v>
                </c:pt>
                <c:pt idx="558">
                  <c:v>0.09</c:v>
                </c:pt>
                <c:pt idx="559">
                  <c:v>0.85</c:v>
                </c:pt>
                <c:pt idx="560">
                  <c:v>0.15</c:v>
                </c:pt>
                <c:pt idx="561">
                  <c:v>0.25</c:v>
                </c:pt>
                <c:pt idx="562">
                  <c:v>0.14000000000000001</c:v>
                </c:pt>
                <c:pt idx="563">
                  <c:v>0.08</c:v>
                </c:pt>
                <c:pt idx="564">
                  <c:v>0.72</c:v>
                </c:pt>
                <c:pt idx="565">
                  <c:v>7.0000000000000007E-2</c:v>
                </c:pt>
                <c:pt idx="566">
                  <c:v>0.15</c:v>
                </c:pt>
                <c:pt idx="567">
                  <c:v>0.01</c:v>
                </c:pt>
                <c:pt idx="568">
                  <c:v>0.11</c:v>
                </c:pt>
                <c:pt idx="569">
                  <c:v>0.9</c:v>
                </c:pt>
                <c:pt idx="570">
                  <c:v>0.31</c:v>
                </c:pt>
                <c:pt idx="571">
                  <c:v>0.22</c:v>
                </c:pt>
                <c:pt idx="572">
                  <c:v>0.09</c:v>
                </c:pt>
                <c:pt idx="573">
                  <c:v>0.49</c:v>
                </c:pt>
                <c:pt idx="574">
                  <c:v>0.15</c:v>
                </c:pt>
                <c:pt idx="575">
                  <c:v>0.56999999999999995</c:v>
                </c:pt>
                <c:pt idx="576">
                  <c:v>0.24</c:v>
                </c:pt>
                <c:pt idx="577">
                  <c:v>0.69</c:v>
                </c:pt>
                <c:pt idx="578">
                  <c:v>0.21</c:v>
                </c:pt>
                <c:pt idx="579">
                  <c:v>0.12</c:v>
                </c:pt>
                <c:pt idx="580">
                  <c:v>0.5</c:v>
                </c:pt>
                <c:pt idx="581">
                  <c:v>0.67</c:v>
                </c:pt>
                <c:pt idx="582">
                  <c:v>0.09</c:v>
                </c:pt>
                <c:pt idx="583">
                  <c:v>0.64</c:v>
                </c:pt>
                <c:pt idx="584">
                  <c:v>0.09</c:v>
                </c:pt>
                <c:pt idx="585">
                  <c:v>0.01</c:v>
                </c:pt>
                <c:pt idx="586">
                  <c:v>0.54</c:v>
                </c:pt>
                <c:pt idx="587">
                  <c:v>0.01</c:v>
                </c:pt>
                <c:pt idx="588">
                  <c:v>0.11</c:v>
                </c:pt>
                <c:pt idx="589">
                  <c:v>0.21</c:v>
                </c:pt>
                <c:pt idx="590">
                  <c:v>0.14000000000000001</c:v>
                </c:pt>
                <c:pt idx="591">
                  <c:v>0.05</c:v>
                </c:pt>
                <c:pt idx="592">
                  <c:v>0.32</c:v>
                </c:pt>
                <c:pt idx="593">
                  <c:v>0.1</c:v>
                </c:pt>
                <c:pt idx="594">
                  <c:v>0.53</c:v>
                </c:pt>
                <c:pt idx="595">
                  <c:v>0.59</c:v>
                </c:pt>
                <c:pt idx="596">
                  <c:v>0.55000000000000004</c:v>
                </c:pt>
                <c:pt idx="597">
                  <c:v>0.13</c:v>
                </c:pt>
                <c:pt idx="598">
                  <c:v>0.06</c:v>
                </c:pt>
                <c:pt idx="599">
                  <c:v>0.61</c:v>
                </c:pt>
                <c:pt idx="600">
                  <c:v>0.64</c:v>
                </c:pt>
                <c:pt idx="601">
                  <c:v>0.1</c:v>
                </c:pt>
                <c:pt idx="602">
                  <c:v>0.56000000000000005</c:v>
                </c:pt>
                <c:pt idx="603">
                  <c:v>0.04</c:v>
                </c:pt>
                <c:pt idx="604">
                  <c:v>0.11</c:v>
                </c:pt>
                <c:pt idx="605">
                  <c:v>0.02</c:v>
                </c:pt>
                <c:pt idx="606">
                  <c:v>0.12</c:v>
                </c:pt>
                <c:pt idx="607">
                  <c:v>0.02</c:v>
                </c:pt>
                <c:pt idx="608">
                  <c:v>0.01</c:v>
                </c:pt>
                <c:pt idx="609">
                  <c:v>0.46</c:v>
                </c:pt>
                <c:pt idx="610">
                  <c:v>0.2</c:v>
                </c:pt>
                <c:pt idx="611">
                  <c:v>0.09</c:v>
                </c:pt>
                <c:pt idx="612">
                  <c:v>0.11</c:v>
                </c:pt>
                <c:pt idx="613">
                  <c:v>0.44</c:v>
                </c:pt>
                <c:pt idx="614">
                  <c:v>0.28999999999999998</c:v>
                </c:pt>
                <c:pt idx="615">
                  <c:v>0.06</c:v>
                </c:pt>
                <c:pt idx="616">
                  <c:v>0.1</c:v>
                </c:pt>
                <c:pt idx="617">
                  <c:v>0.13</c:v>
                </c:pt>
                <c:pt idx="618">
                  <c:v>0.3</c:v>
                </c:pt>
                <c:pt idx="619">
                  <c:v>0.16</c:v>
                </c:pt>
                <c:pt idx="620">
                  <c:v>0.72</c:v>
                </c:pt>
                <c:pt idx="621">
                  <c:v>0.68</c:v>
                </c:pt>
                <c:pt idx="622">
                  <c:v>7.0000000000000007E-2</c:v>
                </c:pt>
                <c:pt idx="623">
                  <c:v>0.09</c:v>
                </c:pt>
                <c:pt idx="624">
                  <c:v>0.08</c:v>
                </c:pt>
                <c:pt idx="625">
                  <c:v>0.72</c:v>
                </c:pt>
                <c:pt idx="626">
                  <c:v>0.31</c:v>
                </c:pt>
                <c:pt idx="627">
                  <c:v>0.46</c:v>
                </c:pt>
                <c:pt idx="628">
                  <c:v>0.6</c:v>
                </c:pt>
                <c:pt idx="629">
                  <c:v>0.31</c:v>
                </c:pt>
                <c:pt idx="630">
                  <c:v>0.65</c:v>
                </c:pt>
                <c:pt idx="631">
                  <c:v>0.02</c:v>
                </c:pt>
                <c:pt idx="632">
                  <c:v>0.69</c:v>
                </c:pt>
                <c:pt idx="633">
                  <c:v>0.08</c:v>
                </c:pt>
                <c:pt idx="634">
                  <c:v>0.37</c:v>
                </c:pt>
                <c:pt idx="635">
                  <c:v>0.05</c:v>
                </c:pt>
                <c:pt idx="636">
                  <c:v>0.28000000000000003</c:v>
                </c:pt>
                <c:pt idx="637">
                  <c:v>0.14000000000000001</c:v>
                </c:pt>
                <c:pt idx="638">
                  <c:v>0.15</c:v>
                </c:pt>
                <c:pt idx="639">
                  <c:v>0.5</c:v>
                </c:pt>
                <c:pt idx="640">
                  <c:v>0.53</c:v>
                </c:pt>
                <c:pt idx="641">
                  <c:v>7.0000000000000007E-2</c:v>
                </c:pt>
                <c:pt idx="642">
                  <c:v>0.08</c:v>
                </c:pt>
                <c:pt idx="643">
                  <c:v>0.06</c:v>
                </c:pt>
                <c:pt idx="644">
                  <c:v>0.17</c:v>
                </c:pt>
                <c:pt idx="645">
                  <c:v>0.05</c:v>
                </c:pt>
                <c:pt idx="646">
                  <c:v>0.11</c:v>
                </c:pt>
                <c:pt idx="647">
                  <c:v>0.48</c:v>
                </c:pt>
                <c:pt idx="648">
                  <c:v>0.08</c:v>
                </c:pt>
                <c:pt idx="649">
                  <c:v>0.08</c:v>
                </c:pt>
                <c:pt idx="650">
                  <c:v>0.02</c:v>
                </c:pt>
                <c:pt idx="651">
                  <c:v>0.14000000000000001</c:v>
                </c:pt>
                <c:pt idx="652">
                  <c:v>0.34</c:v>
                </c:pt>
                <c:pt idx="653">
                  <c:v>0.03</c:v>
                </c:pt>
                <c:pt idx="654">
                  <c:v>7.0000000000000007E-2</c:v>
                </c:pt>
                <c:pt idx="655">
                  <c:v>0.09</c:v>
                </c:pt>
                <c:pt idx="656">
                  <c:v>0.72</c:v>
                </c:pt>
                <c:pt idx="657">
                  <c:v>0.7</c:v>
                </c:pt>
                <c:pt idx="658">
                  <c:v>0.71</c:v>
                </c:pt>
                <c:pt idx="659">
                  <c:v>0.69</c:v>
                </c:pt>
                <c:pt idx="660">
                  <c:v>0.69</c:v>
                </c:pt>
                <c:pt idx="661">
                  <c:v>0.02</c:v>
                </c:pt>
                <c:pt idx="662">
                  <c:v>0.28999999999999998</c:v>
                </c:pt>
                <c:pt idx="663">
                  <c:v>0.66</c:v>
                </c:pt>
                <c:pt idx="664">
                  <c:v>0.28999999999999998</c:v>
                </c:pt>
                <c:pt idx="665">
                  <c:v>0.06</c:v>
                </c:pt>
                <c:pt idx="666">
                  <c:v>7.0000000000000007E-2</c:v>
                </c:pt>
                <c:pt idx="667">
                  <c:v>0.12</c:v>
                </c:pt>
                <c:pt idx="668">
                  <c:v>0.1</c:v>
                </c:pt>
                <c:pt idx="669">
                  <c:v>0.56000000000000005</c:v>
                </c:pt>
                <c:pt idx="670">
                  <c:v>0.1</c:v>
                </c:pt>
                <c:pt idx="671">
                  <c:v>0.05</c:v>
                </c:pt>
                <c:pt idx="672">
                  <c:v>0.02</c:v>
                </c:pt>
                <c:pt idx="673">
                  <c:v>0.11</c:v>
                </c:pt>
                <c:pt idx="674">
                  <c:v>0.08</c:v>
                </c:pt>
                <c:pt idx="675">
                  <c:v>0.08</c:v>
                </c:pt>
                <c:pt idx="676">
                  <c:v>0.68</c:v>
                </c:pt>
                <c:pt idx="677">
                  <c:v>0.21</c:v>
                </c:pt>
                <c:pt idx="678">
                  <c:v>0.02</c:v>
                </c:pt>
                <c:pt idx="679">
                  <c:v>0.17</c:v>
                </c:pt>
                <c:pt idx="680">
                  <c:v>0.77</c:v>
                </c:pt>
                <c:pt idx="681">
                  <c:v>0.13</c:v>
                </c:pt>
                <c:pt idx="682">
                  <c:v>0.01</c:v>
                </c:pt>
                <c:pt idx="683">
                  <c:v>0.05</c:v>
                </c:pt>
                <c:pt idx="684">
                  <c:v>0.08</c:v>
                </c:pt>
                <c:pt idx="685">
                  <c:v>0.03</c:v>
                </c:pt>
                <c:pt idx="686">
                  <c:v>0.02</c:v>
                </c:pt>
                <c:pt idx="687">
                  <c:v>0.12</c:v>
                </c:pt>
                <c:pt idx="688">
                  <c:v>0.06</c:v>
                </c:pt>
                <c:pt idx="689">
                  <c:v>0.17</c:v>
                </c:pt>
                <c:pt idx="690">
                  <c:v>0.14000000000000001</c:v>
                </c:pt>
                <c:pt idx="691">
                  <c:v>0.11</c:v>
                </c:pt>
                <c:pt idx="692">
                  <c:v>0.15</c:v>
                </c:pt>
                <c:pt idx="693">
                  <c:v>0.06</c:v>
                </c:pt>
                <c:pt idx="694">
                  <c:v>0.02</c:v>
                </c:pt>
                <c:pt idx="695">
                  <c:v>0.09</c:v>
                </c:pt>
                <c:pt idx="696">
                  <c:v>0.02</c:v>
                </c:pt>
                <c:pt idx="697">
                  <c:v>0.01</c:v>
                </c:pt>
                <c:pt idx="698">
                  <c:v>0.01</c:v>
                </c:pt>
                <c:pt idx="699">
                  <c:v>0.11</c:v>
                </c:pt>
                <c:pt idx="700">
                  <c:v>0.1</c:v>
                </c:pt>
                <c:pt idx="701">
                  <c:v>0.06</c:v>
                </c:pt>
                <c:pt idx="702">
                  <c:v>0.12</c:v>
                </c:pt>
                <c:pt idx="703">
                  <c:v>0.06</c:v>
                </c:pt>
                <c:pt idx="704">
                  <c:v>0.09</c:v>
                </c:pt>
                <c:pt idx="705">
                  <c:v>0.1</c:v>
                </c:pt>
                <c:pt idx="706">
                  <c:v>0.06</c:v>
                </c:pt>
                <c:pt idx="707">
                  <c:v>0.05</c:v>
                </c:pt>
                <c:pt idx="708">
                  <c:v>0.01</c:v>
                </c:pt>
                <c:pt idx="709">
                  <c:v>0.08</c:v>
                </c:pt>
                <c:pt idx="710">
                  <c:v>0.14000000000000001</c:v>
                </c:pt>
                <c:pt idx="711">
                  <c:v>0.69</c:v>
                </c:pt>
                <c:pt idx="712">
                  <c:v>0.05</c:v>
                </c:pt>
                <c:pt idx="713">
                  <c:v>0.41</c:v>
                </c:pt>
                <c:pt idx="714">
                  <c:v>0.09</c:v>
                </c:pt>
                <c:pt idx="715">
                  <c:v>0.15</c:v>
                </c:pt>
                <c:pt idx="716">
                  <c:v>0.08</c:v>
                </c:pt>
                <c:pt idx="717">
                  <c:v>0.02</c:v>
                </c:pt>
                <c:pt idx="718">
                  <c:v>0.06</c:v>
                </c:pt>
                <c:pt idx="719">
                  <c:v>0.05</c:v>
                </c:pt>
                <c:pt idx="720">
                  <c:v>0.02</c:v>
                </c:pt>
                <c:pt idx="721">
                  <c:v>0.77</c:v>
                </c:pt>
                <c:pt idx="722">
                  <c:v>0.39</c:v>
                </c:pt>
                <c:pt idx="723">
                  <c:v>0.09</c:v>
                </c:pt>
                <c:pt idx="724">
                  <c:v>0.06</c:v>
                </c:pt>
                <c:pt idx="725">
                  <c:v>0.1</c:v>
                </c:pt>
                <c:pt idx="726">
                  <c:v>7.0000000000000007E-2</c:v>
                </c:pt>
                <c:pt idx="727">
                  <c:v>0.21</c:v>
                </c:pt>
                <c:pt idx="728">
                  <c:v>0.03</c:v>
                </c:pt>
                <c:pt idx="729">
                  <c:v>0.1</c:v>
                </c:pt>
                <c:pt idx="730">
                  <c:v>0.04</c:v>
                </c:pt>
                <c:pt idx="731">
                  <c:v>0.65</c:v>
                </c:pt>
                <c:pt idx="732">
                  <c:v>0.08</c:v>
                </c:pt>
                <c:pt idx="733">
                  <c:v>0.02</c:v>
                </c:pt>
                <c:pt idx="734">
                  <c:v>0.1</c:v>
                </c:pt>
                <c:pt idx="735">
                  <c:v>0.09</c:v>
                </c:pt>
                <c:pt idx="736">
                  <c:v>0.16</c:v>
                </c:pt>
                <c:pt idx="737">
                  <c:v>0.17</c:v>
                </c:pt>
                <c:pt idx="738">
                  <c:v>0.67</c:v>
                </c:pt>
                <c:pt idx="739">
                  <c:v>0.14000000000000001</c:v>
                </c:pt>
                <c:pt idx="740">
                  <c:v>0.11</c:v>
                </c:pt>
                <c:pt idx="741">
                  <c:v>7.0000000000000007E-2</c:v>
                </c:pt>
                <c:pt idx="742">
                  <c:v>0.03</c:v>
                </c:pt>
                <c:pt idx="743">
                  <c:v>0.15</c:v>
                </c:pt>
                <c:pt idx="744">
                  <c:v>0.3</c:v>
                </c:pt>
                <c:pt idx="745">
                  <c:v>0.1</c:v>
                </c:pt>
                <c:pt idx="746">
                  <c:v>7.0000000000000007E-2</c:v>
                </c:pt>
                <c:pt idx="747">
                  <c:v>0.32</c:v>
                </c:pt>
                <c:pt idx="748">
                  <c:v>0.1</c:v>
                </c:pt>
                <c:pt idx="749">
                  <c:v>0.27</c:v>
                </c:pt>
                <c:pt idx="750">
                  <c:v>0.1</c:v>
                </c:pt>
                <c:pt idx="751">
                  <c:v>0.19</c:v>
                </c:pt>
                <c:pt idx="752">
                  <c:v>0.1</c:v>
                </c:pt>
                <c:pt idx="753">
                  <c:v>0.27</c:v>
                </c:pt>
                <c:pt idx="754">
                  <c:v>0.2</c:v>
                </c:pt>
                <c:pt idx="755">
                  <c:v>0.09</c:v>
                </c:pt>
                <c:pt idx="756">
                  <c:v>0.09</c:v>
                </c:pt>
                <c:pt idx="757">
                  <c:v>0.09</c:v>
                </c:pt>
                <c:pt idx="758">
                  <c:v>0.1</c:v>
                </c:pt>
                <c:pt idx="759">
                  <c:v>0.11</c:v>
                </c:pt>
                <c:pt idx="760">
                  <c:v>0.05</c:v>
                </c:pt>
                <c:pt idx="761">
                  <c:v>0.01</c:v>
                </c:pt>
                <c:pt idx="762">
                  <c:v>0.06</c:v>
                </c:pt>
                <c:pt idx="763">
                  <c:v>0.25</c:v>
                </c:pt>
                <c:pt idx="764">
                  <c:v>0.06</c:v>
                </c:pt>
                <c:pt idx="765">
                  <c:v>0.01</c:v>
                </c:pt>
                <c:pt idx="766">
                  <c:v>0.01</c:v>
                </c:pt>
                <c:pt idx="767">
                  <c:v>0.43</c:v>
                </c:pt>
                <c:pt idx="768">
                  <c:v>0.09</c:v>
                </c:pt>
                <c:pt idx="769">
                  <c:v>0.04</c:v>
                </c:pt>
                <c:pt idx="770">
                  <c:v>0.01</c:v>
                </c:pt>
                <c:pt idx="771">
                  <c:v>0.08</c:v>
                </c:pt>
                <c:pt idx="772">
                  <c:v>0.1</c:v>
                </c:pt>
                <c:pt idx="773">
                  <c:v>0.08</c:v>
                </c:pt>
                <c:pt idx="774">
                  <c:v>0.04</c:v>
                </c:pt>
                <c:pt idx="775">
                  <c:v>0.16</c:v>
                </c:pt>
                <c:pt idx="776">
                  <c:v>0.54</c:v>
                </c:pt>
                <c:pt idx="777">
                  <c:v>0.18</c:v>
                </c:pt>
                <c:pt idx="778">
                  <c:v>0.13</c:v>
                </c:pt>
                <c:pt idx="779">
                  <c:v>0.08</c:v>
                </c:pt>
                <c:pt idx="780">
                  <c:v>0.01</c:v>
                </c:pt>
                <c:pt idx="781">
                  <c:v>0.04</c:v>
                </c:pt>
                <c:pt idx="782">
                  <c:v>0.04</c:v>
                </c:pt>
                <c:pt idx="783">
                  <c:v>0.06</c:v>
                </c:pt>
                <c:pt idx="784">
                  <c:v>0.28999999999999998</c:v>
                </c:pt>
                <c:pt idx="785">
                  <c:v>0.01</c:v>
                </c:pt>
                <c:pt idx="786">
                  <c:v>0.11</c:v>
                </c:pt>
                <c:pt idx="787">
                  <c:v>7.0000000000000007E-2</c:v>
                </c:pt>
                <c:pt idx="788">
                  <c:v>0.05</c:v>
                </c:pt>
                <c:pt idx="789">
                  <c:v>0.02</c:v>
                </c:pt>
                <c:pt idx="790">
                  <c:v>0.02</c:v>
                </c:pt>
                <c:pt idx="791">
                  <c:v>0.05</c:v>
                </c:pt>
                <c:pt idx="792">
                  <c:v>0.01</c:v>
                </c:pt>
                <c:pt idx="793">
                  <c:v>0.01</c:v>
                </c:pt>
                <c:pt idx="794">
                  <c:v>7.0000000000000007E-2</c:v>
                </c:pt>
                <c:pt idx="795">
                  <c:v>0.02</c:v>
                </c:pt>
                <c:pt idx="796">
                  <c:v>0.01</c:v>
                </c:pt>
                <c:pt idx="797">
                  <c:v>0.02</c:v>
                </c:pt>
                <c:pt idx="798">
                  <c:v>0.39</c:v>
                </c:pt>
                <c:pt idx="799">
                  <c:v>7.0000000000000007E-2</c:v>
                </c:pt>
                <c:pt idx="800">
                  <c:v>0.13</c:v>
                </c:pt>
                <c:pt idx="801">
                  <c:v>0.05</c:v>
                </c:pt>
                <c:pt idx="802">
                  <c:v>0.01</c:v>
                </c:pt>
                <c:pt idx="803">
                  <c:v>0.03</c:v>
                </c:pt>
                <c:pt idx="804">
                  <c:v>0.17</c:v>
                </c:pt>
                <c:pt idx="805">
                  <c:v>0.06</c:v>
                </c:pt>
                <c:pt idx="806">
                  <c:v>0.06</c:v>
                </c:pt>
                <c:pt idx="807">
                  <c:v>0.28999999999999998</c:v>
                </c:pt>
                <c:pt idx="808">
                  <c:v>0.03</c:v>
                </c:pt>
                <c:pt idx="809">
                  <c:v>0.15</c:v>
                </c:pt>
                <c:pt idx="810">
                  <c:v>0.15</c:v>
                </c:pt>
                <c:pt idx="811">
                  <c:v>0.1</c:v>
                </c:pt>
                <c:pt idx="812">
                  <c:v>0.11</c:v>
                </c:pt>
                <c:pt idx="813">
                  <c:v>0.09</c:v>
                </c:pt>
                <c:pt idx="814">
                  <c:v>0.18</c:v>
                </c:pt>
                <c:pt idx="815">
                  <c:v>0.04</c:v>
                </c:pt>
                <c:pt idx="816">
                  <c:v>0.01</c:v>
                </c:pt>
                <c:pt idx="817">
                  <c:v>0.03</c:v>
                </c:pt>
                <c:pt idx="818">
                  <c:v>0.01</c:v>
                </c:pt>
                <c:pt idx="819">
                  <c:v>0.03</c:v>
                </c:pt>
                <c:pt idx="820">
                  <c:v>7.0000000000000007E-2</c:v>
                </c:pt>
                <c:pt idx="821">
                  <c:v>0.08</c:v>
                </c:pt>
                <c:pt idx="822">
                  <c:v>0.04</c:v>
                </c:pt>
                <c:pt idx="823">
                  <c:v>0.02</c:v>
                </c:pt>
                <c:pt idx="824">
                  <c:v>0.12</c:v>
                </c:pt>
                <c:pt idx="825">
                  <c:v>0.03</c:v>
                </c:pt>
                <c:pt idx="826">
                  <c:v>0.12</c:v>
                </c:pt>
                <c:pt idx="827">
                  <c:v>0.08</c:v>
                </c:pt>
                <c:pt idx="828">
                  <c:v>0.62</c:v>
                </c:pt>
                <c:pt idx="829">
                  <c:v>0.59</c:v>
                </c:pt>
                <c:pt idx="830">
                  <c:v>0.01</c:v>
                </c:pt>
                <c:pt idx="831">
                  <c:v>0.05</c:v>
                </c:pt>
                <c:pt idx="832">
                  <c:v>0.1</c:v>
                </c:pt>
                <c:pt idx="833">
                  <c:v>0.06</c:v>
                </c:pt>
                <c:pt idx="834">
                  <c:v>0.04</c:v>
                </c:pt>
                <c:pt idx="835">
                  <c:v>0.01</c:v>
                </c:pt>
                <c:pt idx="836">
                  <c:v>0.14000000000000001</c:v>
                </c:pt>
                <c:pt idx="837">
                  <c:v>0.02</c:v>
                </c:pt>
                <c:pt idx="838">
                  <c:v>0.04</c:v>
                </c:pt>
                <c:pt idx="839">
                  <c:v>0.01</c:v>
                </c:pt>
                <c:pt idx="840">
                  <c:v>0.01</c:v>
                </c:pt>
                <c:pt idx="841">
                  <c:v>0.15</c:v>
                </c:pt>
                <c:pt idx="842">
                  <c:v>0.08</c:v>
                </c:pt>
                <c:pt idx="843">
                  <c:v>0.66</c:v>
                </c:pt>
                <c:pt idx="844">
                  <c:v>0.02</c:v>
                </c:pt>
                <c:pt idx="845">
                  <c:v>0.06</c:v>
                </c:pt>
                <c:pt idx="846">
                  <c:v>0.13</c:v>
                </c:pt>
                <c:pt idx="847">
                  <c:v>0.05</c:v>
                </c:pt>
                <c:pt idx="848">
                  <c:v>0.02</c:v>
                </c:pt>
                <c:pt idx="849">
                  <c:v>0.23</c:v>
                </c:pt>
                <c:pt idx="850">
                  <c:v>0.05</c:v>
                </c:pt>
                <c:pt idx="851">
                  <c:v>0.06</c:v>
                </c:pt>
                <c:pt idx="852">
                  <c:v>0.02</c:v>
                </c:pt>
                <c:pt idx="853">
                  <c:v>0.03</c:v>
                </c:pt>
                <c:pt idx="854">
                  <c:v>0.02</c:v>
                </c:pt>
                <c:pt idx="855">
                  <c:v>0.01</c:v>
                </c:pt>
                <c:pt idx="856">
                  <c:v>0.02</c:v>
                </c:pt>
                <c:pt idx="857">
                  <c:v>0.11</c:v>
                </c:pt>
                <c:pt idx="858">
                  <c:v>0.01</c:v>
                </c:pt>
                <c:pt idx="859">
                  <c:v>0.06</c:v>
                </c:pt>
                <c:pt idx="860">
                  <c:v>0.03</c:v>
                </c:pt>
                <c:pt idx="861">
                  <c:v>0.03</c:v>
                </c:pt>
                <c:pt idx="862">
                  <c:v>0.05</c:v>
                </c:pt>
                <c:pt idx="863">
                  <c:v>0.06</c:v>
                </c:pt>
                <c:pt idx="864">
                  <c:v>0.08</c:v>
                </c:pt>
                <c:pt idx="865">
                  <c:v>0.14000000000000001</c:v>
                </c:pt>
                <c:pt idx="866">
                  <c:v>0.24</c:v>
                </c:pt>
                <c:pt idx="867">
                  <c:v>0.04</c:v>
                </c:pt>
                <c:pt idx="868">
                  <c:v>0.42</c:v>
                </c:pt>
                <c:pt idx="869">
                  <c:v>0.08</c:v>
                </c:pt>
                <c:pt idx="870">
                  <c:v>0.01</c:v>
                </c:pt>
                <c:pt idx="871">
                  <c:v>0.02</c:v>
                </c:pt>
                <c:pt idx="872">
                  <c:v>0.06</c:v>
                </c:pt>
                <c:pt idx="873">
                  <c:v>0.01</c:v>
                </c:pt>
                <c:pt idx="874">
                  <c:v>0.02</c:v>
                </c:pt>
                <c:pt idx="875">
                  <c:v>0.09</c:v>
                </c:pt>
                <c:pt idx="876">
                  <c:v>0.1</c:v>
                </c:pt>
                <c:pt idx="877">
                  <c:v>0.01</c:v>
                </c:pt>
                <c:pt idx="878">
                  <c:v>0.04</c:v>
                </c:pt>
                <c:pt idx="879">
                  <c:v>0.08</c:v>
                </c:pt>
                <c:pt idx="880">
                  <c:v>0.15</c:v>
                </c:pt>
                <c:pt idx="881">
                  <c:v>0.02</c:v>
                </c:pt>
                <c:pt idx="882">
                  <c:v>0.3</c:v>
                </c:pt>
                <c:pt idx="883">
                  <c:v>0.01</c:v>
                </c:pt>
                <c:pt idx="884">
                  <c:v>0.21</c:v>
                </c:pt>
                <c:pt idx="885">
                  <c:v>0.04</c:v>
                </c:pt>
                <c:pt idx="886">
                  <c:v>0.01</c:v>
                </c:pt>
                <c:pt idx="887">
                  <c:v>0.03</c:v>
                </c:pt>
                <c:pt idx="888">
                  <c:v>0.02</c:v>
                </c:pt>
                <c:pt idx="889">
                  <c:v>0.08</c:v>
                </c:pt>
                <c:pt idx="890">
                  <c:v>0.03</c:v>
                </c:pt>
                <c:pt idx="891">
                  <c:v>0.04</c:v>
                </c:pt>
                <c:pt idx="892">
                  <c:v>0.06</c:v>
                </c:pt>
                <c:pt idx="893">
                  <c:v>0.21</c:v>
                </c:pt>
                <c:pt idx="894">
                  <c:v>0.09</c:v>
                </c:pt>
                <c:pt idx="895">
                  <c:v>0.02</c:v>
                </c:pt>
                <c:pt idx="896">
                  <c:v>0.56999999999999995</c:v>
                </c:pt>
                <c:pt idx="897">
                  <c:v>0.14000000000000001</c:v>
                </c:pt>
                <c:pt idx="898">
                  <c:v>0.01</c:v>
                </c:pt>
                <c:pt idx="899">
                  <c:v>0.02</c:v>
                </c:pt>
                <c:pt idx="900">
                  <c:v>0.08</c:v>
                </c:pt>
                <c:pt idx="901">
                  <c:v>0.04</c:v>
                </c:pt>
                <c:pt idx="902">
                  <c:v>0.03</c:v>
                </c:pt>
                <c:pt idx="903">
                  <c:v>0.01</c:v>
                </c:pt>
                <c:pt idx="904">
                  <c:v>0.38</c:v>
                </c:pt>
                <c:pt idx="905">
                  <c:v>0.01</c:v>
                </c:pt>
                <c:pt idx="906">
                  <c:v>0.03</c:v>
                </c:pt>
                <c:pt idx="907">
                  <c:v>0.02</c:v>
                </c:pt>
                <c:pt idx="908">
                  <c:v>0.11</c:v>
                </c:pt>
                <c:pt idx="909">
                  <c:v>0.25</c:v>
                </c:pt>
                <c:pt idx="910">
                  <c:v>0.1</c:v>
                </c:pt>
                <c:pt idx="911">
                  <c:v>0.12</c:v>
                </c:pt>
                <c:pt idx="912">
                  <c:v>0.01</c:v>
                </c:pt>
                <c:pt idx="913">
                  <c:v>0.02</c:v>
                </c:pt>
                <c:pt idx="914">
                  <c:v>0.06</c:v>
                </c:pt>
                <c:pt idx="915">
                  <c:v>0.01</c:v>
                </c:pt>
                <c:pt idx="916">
                  <c:v>0.02</c:v>
                </c:pt>
                <c:pt idx="917">
                  <c:v>0.08</c:v>
                </c:pt>
                <c:pt idx="918">
                  <c:v>0.37</c:v>
                </c:pt>
                <c:pt idx="919">
                  <c:v>0.03</c:v>
                </c:pt>
                <c:pt idx="920">
                  <c:v>7.0000000000000007E-2</c:v>
                </c:pt>
                <c:pt idx="921">
                  <c:v>0.03</c:v>
                </c:pt>
                <c:pt idx="922">
                  <c:v>0.02</c:v>
                </c:pt>
                <c:pt idx="923">
                  <c:v>0.01</c:v>
                </c:pt>
                <c:pt idx="924">
                  <c:v>0.02</c:v>
                </c:pt>
                <c:pt idx="925">
                  <c:v>0.06</c:v>
                </c:pt>
                <c:pt idx="926">
                  <c:v>0.04</c:v>
                </c:pt>
                <c:pt idx="927">
                  <c:v>0.05</c:v>
                </c:pt>
                <c:pt idx="928">
                  <c:v>7.0000000000000007E-2</c:v>
                </c:pt>
                <c:pt idx="929">
                  <c:v>0.01</c:v>
                </c:pt>
                <c:pt idx="930">
                  <c:v>0.03</c:v>
                </c:pt>
                <c:pt idx="931">
                  <c:v>0.02</c:v>
                </c:pt>
                <c:pt idx="932">
                  <c:v>0.06</c:v>
                </c:pt>
                <c:pt idx="933">
                  <c:v>0.01</c:v>
                </c:pt>
                <c:pt idx="934">
                  <c:v>0.01</c:v>
                </c:pt>
                <c:pt idx="935">
                  <c:v>0.05</c:v>
                </c:pt>
                <c:pt idx="936">
                  <c:v>0.01</c:v>
                </c:pt>
                <c:pt idx="937">
                  <c:v>0.13</c:v>
                </c:pt>
                <c:pt idx="938">
                  <c:v>0.03</c:v>
                </c:pt>
                <c:pt idx="939">
                  <c:v>0.03</c:v>
                </c:pt>
                <c:pt idx="940">
                  <c:v>0.02</c:v>
                </c:pt>
                <c:pt idx="941">
                  <c:v>0.01</c:v>
                </c:pt>
                <c:pt idx="942">
                  <c:v>0.04</c:v>
                </c:pt>
                <c:pt idx="943">
                  <c:v>0.02</c:v>
                </c:pt>
                <c:pt idx="944">
                  <c:v>0.01</c:v>
                </c:pt>
                <c:pt idx="945">
                  <c:v>0.02</c:v>
                </c:pt>
                <c:pt idx="946">
                  <c:v>0.02</c:v>
                </c:pt>
                <c:pt idx="947">
                  <c:v>0.01</c:v>
                </c:pt>
                <c:pt idx="948">
                  <c:v>0.03</c:v>
                </c:pt>
                <c:pt idx="949">
                  <c:v>0.1</c:v>
                </c:pt>
                <c:pt idx="950">
                  <c:v>0.13</c:v>
                </c:pt>
                <c:pt idx="951">
                  <c:v>0.02</c:v>
                </c:pt>
                <c:pt idx="952">
                  <c:v>0.04</c:v>
                </c:pt>
                <c:pt idx="953">
                  <c:v>0.03</c:v>
                </c:pt>
                <c:pt idx="954">
                  <c:v>0.01</c:v>
                </c:pt>
                <c:pt idx="955">
                  <c:v>0.01</c:v>
                </c:pt>
                <c:pt idx="956">
                  <c:v>0.02</c:v>
                </c:pt>
                <c:pt idx="957">
                  <c:v>0.02</c:v>
                </c:pt>
                <c:pt idx="958">
                  <c:v>0.01</c:v>
                </c:pt>
                <c:pt idx="959">
                  <c:v>0.01</c:v>
                </c:pt>
                <c:pt idx="960">
                  <c:v>0.03</c:v>
                </c:pt>
                <c:pt idx="961">
                  <c:v>0.04</c:v>
                </c:pt>
                <c:pt idx="962">
                  <c:v>0.01</c:v>
                </c:pt>
                <c:pt idx="963">
                  <c:v>0.11</c:v>
                </c:pt>
                <c:pt idx="964">
                  <c:v>0.19</c:v>
                </c:pt>
                <c:pt idx="965">
                  <c:v>0.06</c:v>
                </c:pt>
                <c:pt idx="966">
                  <c:v>0.01</c:v>
                </c:pt>
                <c:pt idx="967">
                  <c:v>0.02</c:v>
                </c:pt>
                <c:pt idx="968">
                  <c:v>0.02</c:v>
                </c:pt>
                <c:pt idx="969">
                  <c:v>0.02</c:v>
                </c:pt>
                <c:pt idx="970">
                  <c:v>0.02</c:v>
                </c:pt>
                <c:pt idx="971">
                  <c:v>0.01</c:v>
                </c:pt>
                <c:pt idx="972">
                  <c:v>0.05</c:v>
                </c:pt>
                <c:pt idx="973">
                  <c:v>0.21</c:v>
                </c:pt>
                <c:pt idx="974">
                  <c:v>7.0000000000000007E-2</c:v>
                </c:pt>
                <c:pt idx="975">
                  <c:v>0.05</c:v>
                </c:pt>
                <c:pt idx="976">
                  <c:v>0.02</c:v>
                </c:pt>
                <c:pt idx="977">
                  <c:v>0.04</c:v>
                </c:pt>
                <c:pt idx="978">
                  <c:v>0.02</c:v>
                </c:pt>
                <c:pt idx="979">
                  <c:v>0.09</c:v>
                </c:pt>
                <c:pt idx="980">
                  <c:v>0.02</c:v>
                </c:pt>
                <c:pt idx="981">
                  <c:v>0.06</c:v>
                </c:pt>
                <c:pt idx="982">
                  <c:v>0.05</c:v>
                </c:pt>
                <c:pt idx="983">
                  <c:v>0.05</c:v>
                </c:pt>
                <c:pt idx="984">
                  <c:v>0.01</c:v>
                </c:pt>
                <c:pt idx="985">
                  <c:v>0.02</c:v>
                </c:pt>
                <c:pt idx="986">
                  <c:v>0.01</c:v>
                </c:pt>
                <c:pt idx="987">
                  <c:v>0.01</c:v>
                </c:pt>
                <c:pt idx="988">
                  <c:v>0.08</c:v>
                </c:pt>
                <c:pt idx="989">
                  <c:v>0.06</c:v>
                </c:pt>
                <c:pt idx="990">
                  <c:v>7.0000000000000007E-2</c:v>
                </c:pt>
                <c:pt idx="991">
                  <c:v>0.04</c:v>
                </c:pt>
                <c:pt idx="992">
                  <c:v>0.01</c:v>
                </c:pt>
                <c:pt idx="993">
                  <c:v>0.01</c:v>
                </c:pt>
                <c:pt idx="994">
                  <c:v>0.1</c:v>
                </c:pt>
                <c:pt idx="995">
                  <c:v>7.0000000000000007E-2</c:v>
                </c:pt>
                <c:pt idx="996">
                  <c:v>0.02</c:v>
                </c:pt>
                <c:pt idx="997">
                  <c:v>0.08</c:v>
                </c:pt>
                <c:pt idx="998">
                  <c:v>0.01</c:v>
                </c:pt>
                <c:pt idx="999">
                  <c:v>0.02</c:v>
                </c:pt>
                <c:pt idx="1000">
                  <c:v>0.01</c:v>
                </c:pt>
                <c:pt idx="1001">
                  <c:v>0.02</c:v>
                </c:pt>
                <c:pt idx="1002">
                  <c:v>0.04</c:v>
                </c:pt>
                <c:pt idx="1003">
                  <c:v>0.02</c:v>
                </c:pt>
                <c:pt idx="1004">
                  <c:v>0.01</c:v>
                </c:pt>
                <c:pt idx="1005">
                  <c:v>0.04</c:v>
                </c:pt>
                <c:pt idx="1006">
                  <c:v>0.05</c:v>
                </c:pt>
                <c:pt idx="1007">
                  <c:v>0.05</c:v>
                </c:pt>
                <c:pt idx="1008">
                  <c:v>0.02</c:v>
                </c:pt>
                <c:pt idx="1009">
                  <c:v>0.02</c:v>
                </c:pt>
                <c:pt idx="1010">
                  <c:v>0.01</c:v>
                </c:pt>
                <c:pt idx="1011">
                  <c:v>0.02</c:v>
                </c:pt>
                <c:pt idx="1012">
                  <c:v>0.01</c:v>
                </c:pt>
                <c:pt idx="1013">
                  <c:v>0.04</c:v>
                </c:pt>
                <c:pt idx="1014">
                  <c:v>0.03</c:v>
                </c:pt>
                <c:pt idx="1015">
                  <c:v>0.01</c:v>
                </c:pt>
                <c:pt idx="1016">
                  <c:v>0.02</c:v>
                </c:pt>
                <c:pt idx="1017">
                  <c:v>0.01</c:v>
                </c:pt>
                <c:pt idx="1018">
                  <c:v>0.03</c:v>
                </c:pt>
                <c:pt idx="1019">
                  <c:v>0.08</c:v>
                </c:pt>
                <c:pt idx="1020">
                  <c:v>0.13</c:v>
                </c:pt>
                <c:pt idx="1021">
                  <c:v>0.01</c:v>
                </c:pt>
                <c:pt idx="1022">
                  <c:v>0.02</c:v>
                </c:pt>
                <c:pt idx="1023">
                  <c:v>0.02</c:v>
                </c:pt>
                <c:pt idx="1024">
                  <c:v>0.03</c:v>
                </c:pt>
                <c:pt idx="1025">
                  <c:v>0.01</c:v>
                </c:pt>
                <c:pt idx="1026">
                  <c:v>0.01</c:v>
                </c:pt>
                <c:pt idx="1027">
                  <c:v>0.02</c:v>
                </c:pt>
                <c:pt idx="1028">
                  <c:v>0.02</c:v>
                </c:pt>
                <c:pt idx="1029">
                  <c:v>0.02</c:v>
                </c:pt>
                <c:pt idx="1030">
                  <c:v>0.03</c:v>
                </c:pt>
                <c:pt idx="1031">
                  <c:v>0.01</c:v>
                </c:pt>
                <c:pt idx="1032">
                  <c:v>0.04</c:v>
                </c:pt>
                <c:pt idx="1033">
                  <c:v>0.01</c:v>
                </c:pt>
                <c:pt idx="1034">
                  <c:v>0.01</c:v>
                </c:pt>
                <c:pt idx="1035">
                  <c:v>0.02</c:v>
                </c:pt>
                <c:pt idx="1036">
                  <c:v>7.0000000000000007E-2</c:v>
                </c:pt>
                <c:pt idx="1037">
                  <c:v>0.02</c:v>
                </c:pt>
                <c:pt idx="1038">
                  <c:v>0.01</c:v>
                </c:pt>
                <c:pt idx="1039">
                  <c:v>0.02</c:v>
                </c:pt>
                <c:pt idx="1040">
                  <c:v>0.01</c:v>
                </c:pt>
                <c:pt idx="1041">
                  <c:v>0.01</c:v>
                </c:pt>
                <c:pt idx="1042">
                  <c:v>0.28999999999999998</c:v>
                </c:pt>
                <c:pt idx="1043">
                  <c:v>0.01</c:v>
                </c:pt>
                <c:pt idx="1044">
                  <c:v>0.01</c:v>
                </c:pt>
                <c:pt idx="1045">
                  <c:v>0.01</c:v>
                </c:pt>
                <c:pt idx="1046">
                  <c:v>0.01</c:v>
                </c:pt>
                <c:pt idx="1047">
                  <c:v>0.01</c:v>
                </c:pt>
                <c:pt idx="1048">
                  <c:v>0.02</c:v>
                </c:pt>
                <c:pt idx="1049">
                  <c:v>0.03</c:v>
                </c:pt>
                <c:pt idx="1050">
                  <c:v>0.13</c:v>
                </c:pt>
                <c:pt idx="1051">
                  <c:v>0.03</c:v>
                </c:pt>
                <c:pt idx="1052">
                  <c:v>0.03</c:v>
                </c:pt>
                <c:pt idx="1053">
                  <c:v>0.01</c:v>
                </c:pt>
                <c:pt idx="1054">
                  <c:v>0.02</c:v>
                </c:pt>
                <c:pt idx="1055">
                  <c:v>0.03</c:v>
                </c:pt>
                <c:pt idx="1056">
                  <c:v>0.02</c:v>
                </c:pt>
                <c:pt idx="1057">
                  <c:v>0.02</c:v>
                </c:pt>
                <c:pt idx="1058">
                  <c:v>0.01</c:v>
                </c:pt>
                <c:pt idx="1059">
                  <c:v>0.01</c:v>
                </c:pt>
                <c:pt idx="1060">
                  <c:v>0.03</c:v>
                </c:pt>
                <c:pt idx="1061">
                  <c:v>0.03</c:v>
                </c:pt>
                <c:pt idx="1062">
                  <c:v>0.13</c:v>
                </c:pt>
                <c:pt idx="1063">
                  <c:v>0.01</c:v>
                </c:pt>
                <c:pt idx="1064">
                  <c:v>0.01</c:v>
                </c:pt>
                <c:pt idx="1065">
                  <c:v>0.06</c:v>
                </c:pt>
                <c:pt idx="1066">
                  <c:v>0.01</c:v>
                </c:pt>
                <c:pt idx="1067">
                  <c:v>0.02</c:v>
                </c:pt>
                <c:pt idx="1068">
                  <c:v>0.14000000000000001</c:v>
                </c:pt>
                <c:pt idx="1069">
                  <c:v>0.01</c:v>
                </c:pt>
                <c:pt idx="1070">
                  <c:v>0.03</c:v>
                </c:pt>
                <c:pt idx="1071">
                  <c:v>0.01</c:v>
                </c:pt>
                <c:pt idx="1072">
                  <c:v>0.09</c:v>
                </c:pt>
                <c:pt idx="1073">
                  <c:v>0.04</c:v>
                </c:pt>
                <c:pt idx="1074">
                  <c:v>0.01</c:v>
                </c:pt>
                <c:pt idx="1075">
                  <c:v>0.01</c:v>
                </c:pt>
                <c:pt idx="1076">
                  <c:v>0.01</c:v>
                </c:pt>
                <c:pt idx="1077">
                  <c:v>0.01</c:v>
                </c:pt>
                <c:pt idx="1078">
                  <c:v>0.08</c:v>
                </c:pt>
                <c:pt idx="1079">
                  <c:v>0.05</c:v>
                </c:pt>
                <c:pt idx="1080">
                  <c:v>0.02</c:v>
                </c:pt>
                <c:pt idx="1081">
                  <c:v>0.01</c:v>
                </c:pt>
                <c:pt idx="1082">
                  <c:v>0.01</c:v>
                </c:pt>
                <c:pt idx="1083">
                  <c:v>0.01</c:v>
                </c:pt>
                <c:pt idx="1084">
                  <c:v>0.02</c:v>
                </c:pt>
                <c:pt idx="1085">
                  <c:v>0.01</c:v>
                </c:pt>
                <c:pt idx="1086">
                  <c:v>7.0000000000000007E-2</c:v>
                </c:pt>
                <c:pt idx="1087">
                  <c:v>0.02</c:v>
                </c:pt>
                <c:pt idx="1088">
                  <c:v>0.02</c:v>
                </c:pt>
                <c:pt idx="1089">
                  <c:v>0.02</c:v>
                </c:pt>
                <c:pt idx="1090">
                  <c:v>0.01</c:v>
                </c:pt>
                <c:pt idx="1091">
                  <c:v>0.01</c:v>
                </c:pt>
                <c:pt idx="1092">
                  <c:v>0.13</c:v>
                </c:pt>
                <c:pt idx="1093">
                  <c:v>0.04</c:v>
                </c:pt>
                <c:pt idx="1094">
                  <c:v>0.01</c:v>
                </c:pt>
                <c:pt idx="1095">
                  <c:v>0.13</c:v>
                </c:pt>
                <c:pt idx="1096">
                  <c:v>0.02</c:v>
                </c:pt>
                <c:pt idx="1097">
                  <c:v>0.04</c:v>
                </c:pt>
                <c:pt idx="1098">
                  <c:v>0.02</c:v>
                </c:pt>
                <c:pt idx="1099">
                  <c:v>0.01</c:v>
                </c:pt>
                <c:pt idx="1100">
                  <c:v>0.02</c:v>
                </c:pt>
                <c:pt idx="1101">
                  <c:v>0.06</c:v>
                </c:pt>
                <c:pt idx="1102">
                  <c:v>0.01</c:v>
                </c:pt>
                <c:pt idx="1103">
                  <c:v>0.01</c:v>
                </c:pt>
                <c:pt idx="1104">
                  <c:v>0.01</c:v>
                </c:pt>
                <c:pt idx="1105">
                  <c:v>0.19</c:v>
                </c:pt>
                <c:pt idx="1106">
                  <c:v>7.0000000000000007E-2</c:v>
                </c:pt>
                <c:pt idx="1107">
                  <c:v>0.04</c:v>
                </c:pt>
                <c:pt idx="1108">
                  <c:v>0.01</c:v>
                </c:pt>
                <c:pt idx="1109">
                  <c:v>7.0000000000000007E-2</c:v>
                </c:pt>
                <c:pt idx="1110">
                  <c:v>0.03</c:v>
                </c:pt>
                <c:pt idx="1111">
                  <c:v>0.01</c:v>
                </c:pt>
                <c:pt idx="1112">
                  <c:v>0.01</c:v>
                </c:pt>
                <c:pt idx="1113">
                  <c:v>0.03</c:v>
                </c:pt>
                <c:pt idx="1114">
                  <c:v>0.01</c:v>
                </c:pt>
                <c:pt idx="1115">
                  <c:v>0.01</c:v>
                </c:pt>
                <c:pt idx="1116">
                  <c:v>0.01</c:v>
                </c:pt>
                <c:pt idx="1117">
                  <c:v>0.01</c:v>
                </c:pt>
                <c:pt idx="1118">
                  <c:v>0.01</c:v>
                </c:pt>
                <c:pt idx="1119">
                  <c:v>0.01</c:v>
                </c:pt>
                <c:pt idx="1120">
                  <c:v>0.01</c:v>
                </c:pt>
                <c:pt idx="1121">
                  <c:v>7.0000000000000007E-2</c:v>
                </c:pt>
                <c:pt idx="1122">
                  <c:v>0.01</c:v>
                </c:pt>
                <c:pt idx="1123">
                  <c:v>0.01</c:v>
                </c:pt>
                <c:pt idx="1124">
                  <c:v>0.06</c:v>
                </c:pt>
                <c:pt idx="1125">
                  <c:v>0.01</c:v>
                </c:pt>
                <c:pt idx="1126">
                  <c:v>0.01</c:v>
                </c:pt>
                <c:pt idx="1127">
                  <c:v>0.01</c:v>
                </c:pt>
                <c:pt idx="1128">
                  <c:v>0.01</c:v>
                </c:pt>
                <c:pt idx="1129">
                  <c:v>0.01</c:v>
                </c:pt>
                <c:pt idx="1130">
                  <c:v>0.02</c:v>
                </c:pt>
                <c:pt idx="1131">
                  <c:v>7.0000000000000007E-2</c:v>
                </c:pt>
                <c:pt idx="1132">
                  <c:v>0.01</c:v>
                </c:pt>
                <c:pt idx="1133">
                  <c:v>0.01</c:v>
                </c:pt>
                <c:pt idx="1134">
                  <c:v>0.02</c:v>
                </c:pt>
                <c:pt idx="1135">
                  <c:v>0.02</c:v>
                </c:pt>
                <c:pt idx="1136">
                  <c:v>0.01</c:v>
                </c:pt>
                <c:pt idx="1137">
                  <c:v>0.01</c:v>
                </c:pt>
                <c:pt idx="1138">
                  <c:v>0.02</c:v>
                </c:pt>
                <c:pt idx="1139">
                  <c:v>0.01</c:v>
                </c:pt>
                <c:pt idx="1140">
                  <c:v>0.02</c:v>
                </c:pt>
                <c:pt idx="1141">
                  <c:v>0.01</c:v>
                </c:pt>
                <c:pt idx="1142">
                  <c:v>0.01</c:v>
                </c:pt>
                <c:pt idx="1143">
                  <c:v>0.02</c:v>
                </c:pt>
                <c:pt idx="1144">
                  <c:v>0.03</c:v>
                </c:pt>
                <c:pt idx="1145">
                  <c:v>0.01</c:v>
                </c:pt>
                <c:pt idx="1146">
                  <c:v>0.01</c:v>
                </c:pt>
                <c:pt idx="1147">
                  <c:v>0.01</c:v>
                </c:pt>
                <c:pt idx="1148">
                  <c:v>0.04</c:v>
                </c:pt>
                <c:pt idx="1149">
                  <c:v>0.01</c:v>
                </c:pt>
                <c:pt idx="1150">
                  <c:v>0.12</c:v>
                </c:pt>
                <c:pt idx="1151">
                  <c:v>0.03</c:v>
                </c:pt>
                <c:pt idx="1152">
                  <c:v>0.01</c:v>
                </c:pt>
                <c:pt idx="1153">
                  <c:v>0.01</c:v>
                </c:pt>
                <c:pt idx="1154">
                  <c:v>0.01</c:v>
                </c:pt>
                <c:pt idx="1155">
                  <c:v>0.09</c:v>
                </c:pt>
                <c:pt idx="1156">
                  <c:v>0.01</c:v>
                </c:pt>
                <c:pt idx="1157">
                  <c:v>0.03</c:v>
                </c:pt>
                <c:pt idx="1158">
                  <c:v>0.01</c:v>
                </c:pt>
                <c:pt idx="1159">
                  <c:v>0.02</c:v>
                </c:pt>
                <c:pt idx="1160">
                  <c:v>0.06</c:v>
                </c:pt>
                <c:pt idx="1161">
                  <c:v>0.01</c:v>
                </c:pt>
                <c:pt idx="1162">
                  <c:v>0.01</c:v>
                </c:pt>
                <c:pt idx="1163">
                  <c:v>0.01</c:v>
                </c:pt>
                <c:pt idx="1164">
                  <c:v>0.01</c:v>
                </c:pt>
                <c:pt idx="1165">
                  <c:v>0.01</c:v>
                </c:pt>
                <c:pt idx="1166">
                  <c:v>0.01</c:v>
                </c:pt>
                <c:pt idx="1167">
                  <c:v>0.05</c:v>
                </c:pt>
                <c:pt idx="1168">
                  <c:v>0.02</c:v>
                </c:pt>
                <c:pt idx="1169">
                  <c:v>0.02</c:v>
                </c:pt>
                <c:pt idx="1170">
                  <c:v>0.08</c:v>
                </c:pt>
                <c:pt idx="1171">
                  <c:v>0.03</c:v>
                </c:pt>
                <c:pt idx="1172">
                  <c:v>0.08</c:v>
                </c:pt>
                <c:pt idx="1173">
                  <c:v>0.01</c:v>
                </c:pt>
                <c:pt idx="1174">
                  <c:v>0.01</c:v>
                </c:pt>
                <c:pt idx="1175">
                  <c:v>0.13</c:v>
                </c:pt>
                <c:pt idx="1176">
                  <c:v>0.01</c:v>
                </c:pt>
                <c:pt idx="1177">
                  <c:v>0.01</c:v>
                </c:pt>
                <c:pt idx="1178">
                  <c:v>7.0000000000000007E-2</c:v>
                </c:pt>
                <c:pt idx="1179">
                  <c:v>0.02</c:v>
                </c:pt>
                <c:pt idx="1180">
                  <c:v>0.04</c:v>
                </c:pt>
                <c:pt idx="1181">
                  <c:v>0.04</c:v>
                </c:pt>
                <c:pt idx="1182">
                  <c:v>0.01</c:v>
                </c:pt>
                <c:pt idx="1183">
                  <c:v>0.01</c:v>
                </c:pt>
                <c:pt idx="1184">
                  <c:v>0.01</c:v>
                </c:pt>
                <c:pt idx="1185">
                  <c:v>0.03</c:v>
                </c:pt>
                <c:pt idx="1186">
                  <c:v>0.02</c:v>
                </c:pt>
                <c:pt idx="1187">
                  <c:v>0.03</c:v>
                </c:pt>
                <c:pt idx="1188">
                  <c:v>0.03</c:v>
                </c:pt>
                <c:pt idx="1189">
                  <c:v>0.02</c:v>
                </c:pt>
                <c:pt idx="1190">
                  <c:v>0.01</c:v>
                </c:pt>
                <c:pt idx="1191">
                  <c:v>0.01</c:v>
                </c:pt>
                <c:pt idx="1192">
                  <c:v>0.01</c:v>
                </c:pt>
                <c:pt idx="1193">
                  <c:v>0.02</c:v>
                </c:pt>
                <c:pt idx="1194">
                  <c:v>0.08</c:v>
                </c:pt>
                <c:pt idx="1195">
                  <c:v>0.03</c:v>
                </c:pt>
                <c:pt idx="1196">
                  <c:v>0.02</c:v>
                </c:pt>
                <c:pt idx="1197">
                  <c:v>0.01</c:v>
                </c:pt>
                <c:pt idx="1198">
                  <c:v>0.02</c:v>
                </c:pt>
                <c:pt idx="1199">
                  <c:v>0.01</c:v>
                </c:pt>
                <c:pt idx="1200">
                  <c:v>0.13</c:v>
                </c:pt>
                <c:pt idx="1201">
                  <c:v>0.02</c:v>
                </c:pt>
                <c:pt idx="1202">
                  <c:v>0.01</c:v>
                </c:pt>
                <c:pt idx="1203">
                  <c:v>0.01</c:v>
                </c:pt>
                <c:pt idx="1204">
                  <c:v>0.01</c:v>
                </c:pt>
                <c:pt idx="1205">
                  <c:v>0.01</c:v>
                </c:pt>
                <c:pt idx="1206">
                  <c:v>0.01</c:v>
                </c:pt>
                <c:pt idx="1207">
                  <c:v>0.01</c:v>
                </c:pt>
                <c:pt idx="1208">
                  <c:v>0.04</c:v>
                </c:pt>
                <c:pt idx="1209">
                  <c:v>0.01</c:v>
                </c:pt>
                <c:pt idx="1210">
                  <c:v>0.01</c:v>
                </c:pt>
                <c:pt idx="1211">
                  <c:v>0.01</c:v>
                </c:pt>
                <c:pt idx="1212">
                  <c:v>0.03</c:v>
                </c:pt>
                <c:pt idx="1213">
                  <c:v>0.01</c:v>
                </c:pt>
                <c:pt idx="1214">
                  <c:v>0.04</c:v>
                </c:pt>
                <c:pt idx="1215">
                  <c:v>0.01</c:v>
                </c:pt>
                <c:pt idx="1216">
                  <c:v>0.01</c:v>
                </c:pt>
                <c:pt idx="1217">
                  <c:v>0.02</c:v>
                </c:pt>
                <c:pt idx="1218">
                  <c:v>0.02</c:v>
                </c:pt>
                <c:pt idx="1219">
                  <c:v>0.02</c:v>
                </c:pt>
                <c:pt idx="1220">
                  <c:v>0.01</c:v>
                </c:pt>
                <c:pt idx="1221">
                  <c:v>0.02</c:v>
                </c:pt>
                <c:pt idx="1222">
                  <c:v>0.01</c:v>
                </c:pt>
                <c:pt idx="1223">
                  <c:v>0.01</c:v>
                </c:pt>
                <c:pt idx="1224">
                  <c:v>0.01</c:v>
                </c:pt>
                <c:pt idx="1225">
                  <c:v>0.02</c:v>
                </c:pt>
                <c:pt idx="1226">
                  <c:v>0.03</c:v>
                </c:pt>
                <c:pt idx="1227">
                  <c:v>0.03</c:v>
                </c:pt>
                <c:pt idx="1228">
                  <c:v>0.01</c:v>
                </c:pt>
                <c:pt idx="1229">
                  <c:v>0.01</c:v>
                </c:pt>
                <c:pt idx="1230">
                  <c:v>0.01</c:v>
                </c:pt>
                <c:pt idx="1231">
                  <c:v>0.01</c:v>
                </c:pt>
                <c:pt idx="1232">
                  <c:v>0.01</c:v>
                </c:pt>
                <c:pt idx="1233">
                  <c:v>0.01</c:v>
                </c:pt>
                <c:pt idx="1234">
                  <c:v>7.0000000000000007E-2</c:v>
                </c:pt>
                <c:pt idx="1235">
                  <c:v>0.01</c:v>
                </c:pt>
                <c:pt idx="1236">
                  <c:v>0.01</c:v>
                </c:pt>
                <c:pt idx="1237">
                  <c:v>0.01</c:v>
                </c:pt>
                <c:pt idx="1238">
                  <c:v>0.05</c:v>
                </c:pt>
                <c:pt idx="1239">
                  <c:v>0.01</c:v>
                </c:pt>
                <c:pt idx="1240">
                  <c:v>0.01</c:v>
                </c:pt>
                <c:pt idx="1241">
                  <c:v>0.01</c:v>
                </c:pt>
                <c:pt idx="1242">
                  <c:v>0.02</c:v>
                </c:pt>
                <c:pt idx="1243">
                  <c:v>0.01</c:v>
                </c:pt>
                <c:pt idx="1244">
                  <c:v>0.01</c:v>
                </c:pt>
                <c:pt idx="1245">
                  <c:v>0.02</c:v>
                </c:pt>
                <c:pt idx="1246">
                  <c:v>0.01</c:v>
                </c:pt>
                <c:pt idx="1247">
                  <c:v>0.02</c:v>
                </c:pt>
                <c:pt idx="1248">
                  <c:v>0.02</c:v>
                </c:pt>
                <c:pt idx="1249">
                  <c:v>0.01</c:v>
                </c:pt>
                <c:pt idx="1250">
                  <c:v>0.01</c:v>
                </c:pt>
                <c:pt idx="1251">
                  <c:v>0.01</c:v>
                </c:pt>
                <c:pt idx="1252">
                  <c:v>0.04</c:v>
                </c:pt>
                <c:pt idx="1253">
                  <c:v>0.02</c:v>
                </c:pt>
                <c:pt idx="1254">
                  <c:v>0.01</c:v>
                </c:pt>
                <c:pt idx="1255">
                  <c:v>0.05</c:v>
                </c:pt>
                <c:pt idx="1256">
                  <c:v>0.02</c:v>
                </c:pt>
                <c:pt idx="1257">
                  <c:v>0.01</c:v>
                </c:pt>
                <c:pt idx="1258">
                  <c:v>0.03</c:v>
                </c:pt>
                <c:pt idx="1259">
                  <c:v>0.01</c:v>
                </c:pt>
                <c:pt idx="1260">
                  <c:v>0.01</c:v>
                </c:pt>
                <c:pt idx="1261">
                  <c:v>0.01</c:v>
                </c:pt>
                <c:pt idx="1262">
                  <c:v>0.03</c:v>
                </c:pt>
                <c:pt idx="1263">
                  <c:v>0.14000000000000001</c:v>
                </c:pt>
                <c:pt idx="1264">
                  <c:v>0.01</c:v>
                </c:pt>
                <c:pt idx="1265">
                  <c:v>0.03</c:v>
                </c:pt>
                <c:pt idx="1266">
                  <c:v>0.03</c:v>
                </c:pt>
                <c:pt idx="1267">
                  <c:v>0.01</c:v>
                </c:pt>
                <c:pt idx="1268">
                  <c:v>0.01</c:v>
                </c:pt>
                <c:pt idx="1269">
                  <c:v>0.01</c:v>
                </c:pt>
                <c:pt idx="1270">
                  <c:v>0.01</c:v>
                </c:pt>
                <c:pt idx="1271">
                  <c:v>0.03</c:v>
                </c:pt>
                <c:pt idx="1272">
                  <c:v>0.01</c:v>
                </c:pt>
                <c:pt idx="1273">
                  <c:v>0.02</c:v>
                </c:pt>
                <c:pt idx="1274">
                  <c:v>0.01</c:v>
                </c:pt>
                <c:pt idx="1275">
                  <c:v>0.02</c:v>
                </c:pt>
                <c:pt idx="1276">
                  <c:v>0.01</c:v>
                </c:pt>
                <c:pt idx="1277">
                  <c:v>0.02</c:v>
                </c:pt>
                <c:pt idx="1278">
                  <c:v>0.01</c:v>
                </c:pt>
                <c:pt idx="1279">
                  <c:v>0.02</c:v>
                </c:pt>
                <c:pt idx="1280">
                  <c:v>0.01</c:v>
                </c:pt>
                <c:pt idx="1281">
                  <c:v>0.01</c:v>
                </c:pt>
                <c:pt idx="1282">
                  <c:v>0.01</c:v>
                </c:pt>
                <c:pt idx="1283">
                  <c:v>0.01</c:v>
                </c:pt>
                <c:pt idx="1284">
                  <c:v>0.01</c:v>
                </c:pt>
                <c:pt idx="1285">
                  <c:v>0.01</c:v>
                </c:pt>
                <c:pt idx="1286">
                  <c:v>0.01</c:v>
                </c:pt>
                <c:pt idx="1287">
                  <c:v>0.01</c:v>
                </c:pt>
                <c:pt idx="1288">
                  <c:v>0.01</c:v>
                </c:pt>
                <c:pt idx="1289">
                  <c:v>0.04</c:v>
                </c:pt>
                <c:pt idx="1290">
                  <c:v>0.06</c:v>
                </c:pt>
                <c:pt idx="1291">
                  <c:v>0.01</c:v>
                </c:pt>
                <c:pt idx="1292">
                  <c:v>0.01</c:v>
                </c:pt>
                <c:pt idx="1293">
                  <c:v>0.04</c:v>
                </c:pt>
                <c:pt idx="1294">
                  <c:v>0.01</c:v>
                </c:pt>
                <c:pt idx="1295">
                  <c:v>0.01</c:v>
                </c:pt>
                <c:pt idx="1296">
                  <c:v>0.03</c:v>
                </c:pt>
                <c:pt idx="1297">
                  <c:v>0.01</c:v>
                </c:pt>
                <c:pt idx="1298">
                  <c:v>0.01</c:v>
                </c:pt>
                <c:pt idx="1299">
                  <c:v>0.01</c:v>
                </c:pt>
                <c:pt idx="1300">
                  <c:v>0.01</c:v>
                </c:pt>
                <c:pt idx="1301">
                  <c:v>0.01</c:v>
                </c:pt>
                <c:pt idx="1302">
                  <c:v>0.01</c:v>
                </c:pt>
                <c:pt idx="1303">
                  <c:v>0.02</c:v>
                </c:pt>
                <c:pt idx="1304">
                  <c:v>0.01</c:v>
                </c:pt>
                <c:pt idx="1305">
                  <c:v>0.01</c:v>
                </c:pt>
                <c:pt idx="1306">
                  <c:v>0.01</c:v>
                </c:pt>
                <c:pt idx="1307">
                  <c:v>0.01</c:v>
                </c:pt>
                <c:pt idx="1308">
                  <c:v>0.03</c:v>
                </c:pt>
                <c:pt idx="1309">
                  <c:v>0.02</c:v>
                </c:pt>
                <c:pt idx="1310">
                  <c:v>0.03</c:v>
                </c:pt>
                <c:pt idx="1311">
                  <c:v>0.02</c:v>
                </c:pt>
                <c:pt idx="1312">
                  <c:v>0.05</c:v>
                </c:pt>
                <c:pt idx="1313">
                  <c:v>0.02</c:v>
                </c:pt>
                <c:pt idx="1314">
                  <c:v>0.03</c:v>
                </c:pt>
                <c:pt idx="1315">
                  <c:v>0.01</c:v>
                </c:pt>
                <c:pt idx="1316">
                  <c:v>0.01</c:v>
                </c:pt>
                <c:pt idx="1317">
                  <c:v>0.01</c:v>
                </c:pt>
                <c:pt idx="1318">
                  <c:v>0.02</c:v>
                </c:pt>
                <c:pt idx="1319">
                  <c:v>0.01</c:v>
                </c:pt>
                <c:pt idx="1320">
                  <c:v>0.02</c:v>
                </c:pt>
                <c:pt idx="1321">
                  <c:v>0.01</c:v>
                </c:pt>
                <c:pt idx="1322">
                  <c:v>0.01</c:v>
                </c:pt>
                <c:pt idx="1323">
                  <c:v>0.01</c:v>
                </c:pt>
                <c:pt idx="1324">
                  <c:v>0.01</c:v>
                </c:pt>
                <c:pt idx="1325">
                  <c:v>0.01</c:v>
                </c:pt>
                <c:pt idx="1326">
                  <c:v>0.01</c:v>
                </c:pt>
                <c:pt idx="1327">
                  <c:v>0.03</c:v>
                </c:pt>
                <c:pt idx="1328">
                  <c:v>0.01</c:v>
                </c:pt>
                <c:pt idx="1329">
                  <c:v>0.01</c:v>
                </c:pt>
                <c:pt idx="1330">
                  <c:v>0.01</c:v>
                </c:pt>
                <c:pt idx="1331">
                  <c:v>0.01</c:v>
                </c:pt>
                <c:pt idx="1332">
                  <c:v>0.02</c:v>
                </c:pt>
                <c:pt idx="1333">
                  <c:v>0.02</c:v>
                </c:pt>
                <c:pt idx="1334">
                  <c:v>0.02</c:v>
                </c:pt>
                <c:pt idx="1335">
                  <c:v>0.01</c:v>
                </c:pt>
                <c:pt idx="1336">
                  <c:v>0.04</c:v>
                </c:pt>
                <c:pt idx="1337">
                  <c:v>0.01</c:v>
                </c:pt>
                <c:pt idx="1338">
                  <c:v>0.03</c:v>
                </c:pt>
                <c:pt idx="1339">
                  <c:v>0.01</c:v>
                </c:pt>
                <c:pt idx="1340">
                  <c:v>0.02</c:v>
                </c:pt>
                <c:pt idx="1341">
                  <c:v>0.01</c:v>
                </c:pt>
                <c:pt idx="1342">
                  <c:v>0.01</c:v>
                </c:pt>
                <c:pt idx="1343">
                  <c:v>0.01</c:v>
                </c:pt>
                <c:pt idx="1344">
                  <c:v>0.01</c:v>
                </c:pt>
                <c:pt idx="1345">
                  <c:v>0.02</c:v>
                </c:pt>
                <c:pt idx="1346">
                  <c:v>0.01</c:v>
                </c:pt>
                <c:pt idx="1347">
                  <c:v>0.01</c:v>
                </c:pt>
                <c:pt idx="1348">
                  <c:v>0.01</c:v>
                </c:pt>
                <c:pt idx="1349">
                  <c:v>0.01</c:v>
                </c:pt>
                <c:pt idx="1350">
                  <c:v>0.01</c:v>
                </c:pt>
                <c:pt idx="1351">
                  <c:v>0.01</c:v>
                </c:pt>
                <c:pt idx="1352">
                  <c:v>0.03</c:v>
                </c:pt>
                <c:pt idx="1353">
                  <c:v>0.01</c:v>
                </c:pt>
                <c:pt idx="1354">
                  <c:v>0.01</c:v>
                </c:pt>
                <c:pt idx="1355">
                  <c:v>0.01</c:v>
                </c:pt>
                <c:pt idx="1356">
                  <c:v>0.01</c:v>
                </c:pt>
                <c:pt idx="1357">
                  <c:v>0.02</c:v>
                </c:pt>
                <c:pt idx="1358">
                  <c:v>0.01</c:v>
                </c:pt>
                <c:pt idx="1359">
                  <c:v>0.01</c:v>
                </c:pt>
                <c:pt idx="1360">
                  <c:v>0.02</c:v>
                </c:pt>
                <c:pt idx="1361">
                  <c:v>0.01</c:v>
                </c:pt>
                <c:pt idx="1362">
                  <c:v>0.01</c:v>
                </c:pt>
                <c:pt idx="1363">
                  <c:v>0.01</c:v>
                </c:pt>
                <c:pt idx="1364">
                  <c:v>0.01</c:v>
                </c:pt>
                <c:pt idx="1365">
                  <c:v>0.01</c:v>
                </c:pt>
                <c:pt idx="1366">
                  <c:v>0.01</c:v>
                </c:pt>
                <c:pt idx="1367">
                  <c:v>0.01</c:v>
                </c:pt>
                <c:pt idx="1368">
                  <c:v>0.01</c:v>
                </c:pt>
                <c:pt idx="1369">
                  <c:v>0.01</c:v>
                </c:pt>
                <c:pt idx="1370">
                  <c:v>0.01</c:v>
                </c:pt>
                <c:pt idx="1371">
                  <c:v>0.01</c:v>
                </c:pt>
                <c:pt idx="1372">
                  <c:v>0.01</c:v>
                </c:pt>
                <c:pt idx="1373">
                  <c:v>0.01</c:v>
                </c:pt>
                <c:pt idx="1374">
                  <c:v>0.05</c:v>
                </c:pt>
                <c:pt idx="1375">
                  <c:v>0.01</c:v>
                </c:pt>
                <c:pt idx="1376">
                  <c:v>0.01</c:v>
                </c:pt>
                <c:pt idx="1377">
                  <c:v>0.01</c:v>
                </c:pt>
                <c:pt idx="1378">
                  <c:v>0.02</c:v>
                </c:pt>
                <c:pt idx="1379">
                  <c:v>0.01</c:v>
                </c:pt>
                <c:pt idx="1380">
                  <c:v>0.03</c:v>
                </c:pt>
                <c:pt idx="1381">
                  <c:v>0.01</c:v>
                </c:pt>
                <c:pt idx="1382">
                  <c:v>0.01</c:v>
                </c:pt>
                <c:pt idx="1383">
                  <c:v>0.01</c:v>
                </c:pt>
                <c:pt idx="1384">
                  <c:v>0.01</c:v>
                </c:pt>
                <c:pt idx="1385">
                  <c:v>0.01</c:v>
                </c:pt>
                <c:pt idx="1386">
                  <c:v>0.02</c:v>
                </c:pt>
                <c:pt idx="1387">
                  <c:v>0.01</c:v>
                </c:pt>
                <c:pt idx="1388">
                  <c:v>0.01</c:v>
                </c:pt>
                <c:pt idx="1389">
                  <c:v>0.01</c:v>
                </c:pt>
                <c:pt idx="1390">
                  <c:v>0.01</c:v>
                </c:pt>
                <c:pt idx="1391">
                  <c:v>0.01</c:v>
                </c:pt>
                <c:pt idx="1392">
                  <c:v>0.01</c:v>
                </c:pt>
                <c:pt idx="1393">
                  <c:v>0.01</c:v>
                </c:pt>
                <c:pt idx="1394">
                  <c:v>0.01</c:v>
                </c:pt>
                <c:pt idx="1395">
                  <c:v>0.01</c:v>
                </c:pt>
                <c:pt idx="1396">
                  <c:v>0.01</c:v>
                </c:pt>
                <c:pt idx="1397">
                  <c:v>0.01</c:v>
                </c:pt>
                <c:pt idx="1398">
                  <c:v>0.01</c:v>
                </c:pt>
                <c:pt idx="1399">
                  <c:v>0.01</c:v>
                </c:pt>
                <c:pt idx="1400">
                  <c:v>0.01</c:v>
                </c:pt>
                <c:pt idx="1401">
                  <c:v>0.02</c:v>
                </c:pt>
                <c:pt idx="1402">
                  <c:v>0.01</c:v>
                </c:pt>
                <c:pt idx="1403">
                  <c:v>0.01</c:v>
                </c:pt>
                <c:pt idx="1404">
                  <c:v>0.01</c:v>
                </c:pt>
                <c:pt idx="1405">
                  <c:v>0.01</c:v>
                </c:pt>
                <c:pt idx="1406">
                  <c:v>0.01</c:v>
                </c:pt>
                <c:pt idx="1407">
                  <c:v>0.01</c:v>
                </c:pt>
                <c:pt idx="1408">
                  <c:v>0.01</c:v>
                </c:pt>
                <c:pt idx="1409">
                  <c:v>0.01</c:v>
                </c:pt>
                <c:pt idx="1410">
                  <c:v>0.01</c:v>
                </c:pt>
                <c:pt idx="1411">
                  <c:v>0.01</c:v>
                </c:pt>
                <c:pt idx="1412">
                  <c:v>0.01</c:v>
                </c:pt>
                <c:pt idx="1413">
                  <c:v>0.01</c:v>
                </c:pt>
                <c:pt idx="1414">
                  <c:v>0.01</c:v>
                </c:pt>
                <c:pt idx="1415">
                  <c:v>0.01</c:v>
                </c:pt>
                <c:pt idx="1416">
                  <c:v>0.01</c:v>
                </c:pt>
                <c:pt idx="1417">
                  <c:v>0.01</c:v>
                </c:pt>
                <c:pt idx="1418">
                  <c:v>0.01</c:v>
                </c:pt>
                <c:pt idx="1419">
                  <c:v>0.01</c:v>
                </c:pt>
                <c:pt idx="1420">
                  <c:v>0.01</c:v>
                </c:pt>
                <c:pt idx="1421">
                  <c:v>0.02</c:v>
                </c:pt>
                <c:pt idx="1422">
                  <c:v>0.01</c:v>
                </c:pt>
                <c:pt idx="1423">
                  <c:v>0.01</c:v>
                </c:pt>
                <c:pt idx="1424">
                  <c:v>0.01</c:v>
                </c:pt>
                <c:pt idx="1425">
                  <c:v>0.01</c:v>
                </c:pt>
                <c:pt idx="1426">
                  <c:v>0.01</c:v>
                </c:pt>
                <c:pt idx="1427">
                  <c:v>0.01</c:v>
                </c:pt>
                <c:pt idx="1428">
                  <c:v>0.01</c:v>
                </c:pt>
                <c:pt idx="1429">
                  <c:v>0.01</c:v>
                </c:pt>
                <c:pt idx="1430">
                  <c:v>0.01</c:v>
                </c:pt>
                <c:pt idx="1431">
                  <c:v>0.01</c:v>
                </c:pt>
                <c:pt idx="1432">
                  <c:v>0.01</c:v>
                </c:pt>
                <c:pt idx="1433">
                  <c:v>0.01</c:v>
                </c:pt>
                <c:pt idx="1434">
                  <c:v>0.01</c:v>
                </c:pt>
                <c:pt idx="1435">
                  <c:v>0.01</c:v>
                </c:pt>
                <c:pt idx="1436">
                  <c:v>0.01</c:v>
                </c:pt>
                <c:pt idx="1437">
                  <c:v>0.01</c:v>
                </c:pt>
                <c:pt idx="1438">
                  <c:v>0.01</c:v>
                </c:pt>
                <c:pt idx="1439">
                  <c:v>0.01</c:v>
                </c:pt>
                <c:pt idx="1440">
                  <c:v>0.01</c:v>
                </c:pt>
                <c:pt idx="1441">
                  <c:v>0.01</c:v>
                </c:pt>
                <c:pt idx="1442">
                  <c:v>0.01</c:v>
                </c:pt>
                <c:pt idx="1443">
                  <c:v>0.01</c:v>
                </c:pt>
                <c:pt idx="1444">
                  <c:v>0.01</c:v>
                </c:pt>
                <c:pt idx="1445">
                  <c:v>0.01</c:v>
                </c:pt>
                <c:pt idx="1446">
                  <c:v>0.01</c:v>
                </c:pt>
                <c:pt idx="1447">
                  <c:v>0.01</c:v>
                </c:pt>
                <c:pt idx="1448">
                  <c:v>0.04</c:v>
                </c:pt>
                <c:pt idx="1449">
                  <c:v>0.01</c:v>
                </c:pt>
                <c:pt idx="1450">
                  <c:v>0.01</c:v>
                </c:pt>
                <c:pt idx="1451">
                  <c:v>0.01</c:v>
                </c:pt>
                <c:pt idx="1452">
                  <c:v>0.01</c:v>
                </c:pt>
                <c:pt idx="1453">
                  <c:v>0.01</c:v>
                </c:pt>
                <c:pt idx="1454">
                  <c:v>0.03</c:v>
                </c:pt>
                <c:pt idx="1455">
                  <c:v>0.01</c:v>
                </c:pt>
                <c:pt idx="1456">
                  <c:v>0.01</c:v>
                </c:pt>
                <c:pt idx="1457">
                  <c:v>0.01</c:v>
                </c:pt>
                <c:pt idx="1458">
                  <c:v>0.01</c:v>
                </c:pt>
                <c:pt idx="1459">
                  <c:v>0.01</c:v>
                </c:pt>
                <c:pt idx="1460">
                  <c:v>0.01</c:v>
                </c:pt>
                <c:pt idx="1461">
                  <c:v>0.01</c:v>
                </c:pt>
                <c:pt idx="1462">
                  <c:v>0.01</c:v>
                </c:pt>
                <c:pt idx="1463">
                  <c:v>0.01</c:v>
                </c:pt>
                <c:pt idx="1464">
                  <c:v>0.01</c:v>
                </c:pt>
                <c:pt idx="1465">
                  <c:v>0.01</c:v>
                </c:pt>
                <c:pt idx="1466">
                  <c:v>0.01</c:v>
                </c:pt>
                <c:pt idx="1467">
                  <c:v>0.01</c:v>
                </c:pt>
                <c:pt idx="1468">
                  <c:v>0.01</c:v>
                </c:pt>
                <c:pt idx="1469">
                  <c:v>0.01</c:v>
                </c:pt>
                <c:pt idx="1470">
                  <c:v>0.01</c:v>
                </c:pt>
                <c:pt idx="1471">
                  <c:v>0.01</c:v>
                </c:pt>
                <c:pt idx="1472">
                  <c:v>0.01</c:v>
                </c:pt>
                <c:pt idx="147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00A097"/>
              </a:solidFill>
            </c:spPr>
            <c:extLst>
              <c:ext xmlns:c16="http://schemas.microsoft.com/office/drawing/2014/chart" uri="{C3380CC4-5D6E-409C-BE32-E72D297353CC}">
                <c16:uniqueId val="{00000119-2993-41DE-A2CB-63102DE87051}"/>
              </c:ext>
            </c:extLst>
          </c:dPt>
          <c:dPt>
            <c:idx val="140"/>
            <c:invertIfNegative val="1"/>
            <c:bubble3D val="0"/>
            <c:spPr>
              <a:solidFill>
                <a:srgbClr val="00A097"/>
              </a:solidFill>
            </c:spPr>
            <c:extLst>
              <c:ext xmlns:c16="http://schemas.microsoft.com/office/drawing/2014/chart" uri="{C3380CC4-5D6E-409C-BE32-E72D297353CC}">
                <c16:uniqueId val="{0000011B-2993-41DE-A2CB-63102DE87051}"/>
              </c:ext>
            </c:extLst>
          </c:dPt>
          <c:dPt>
            <c:idx val="141"/>
            <c:invertIfNegative val="1"/>
            <c:bubble3D val="0"/>
            <c:spPr>
              <a:solidFill>
                <a:srgbClr val="00A097"/>
              </a:solidFill>
            </c:spPr>
            <c:extLst>
              <c:ext xmlns:c16="http://schemas.microsoft.com/office/drawing/2014/chart" uri="{C3380CC4-5D6E-409C-BE32-E72D297353CC}">
                <c16:uniqueId val="{0000011D-2993-41DE-A2CB-63102DE87051}"/>
              </c:ext>
            </c:extLst>
          </c:dPt>
          <c:dPt>
            <c:idx val="142"/>
            <c:invertIfNegative val="1"/>
            <c:bubble3D val="0"/>
            <c:spPr>
              <a:solidFill>
                <a:srgbClr val="00A097"/>
              </a:solidFill>
            </c:spPr>
            <c:extLst>
              <c:ext xmlns:c16="http://schemas.microsoft.com/office/drawing/2014/chart" uri="{C3380CC4-5D6E-409C-BE32-E72D297353CC}">
                <c16:uniqueId val="{0000011F-2993-41DE-A2CB-63102DE87051}"/>
              </c:ext>
            </c:extLst>
          </c:dPt>
          <c:dPt>
            <c:idx val="143"/>
            <c:invertIfNegative val="1"/>
            <c:bubble3D val="0"/>
            <c:spPr>
              <a:solidFill>
                <a:srgbClr val="00A097"/>
              </a:solidFill>
            </c:spPr>
            <c:extLst>
              <c:ext xmlns:c16="http://schemas.microsoft.com/office/drawing/2014/chart" uri="{C3380CC4-5D6E-409C-BE32-E72D297353CC}">
                <c16:uniqueId val="{00000121-2993-41DE-A2CB-63102DE87051}"/>
              </c:ext>
            </c:extLst>
          </c:dPt>
          <c:dPt>
            <c:idx val="144"/>
            <c:invertIfNegative val="1"/>
            <c:bubble3D val="0"/>
            <c:spPr>
              <a:solidFill>
                <a:srgbClr val="00A097"/>
              </a:solidFill>
            </c:spPr>
            <c:extLst>
              <c:ext xmlns:c16="http://schemas.microsoft.com/office/drawing/2014/chart" uri="{C3380CC4-5D6E-409C-BE32-E72D297353CC}">
                <c16:uniqueId val="{00000123-2993-41DE-A2CB-63102DE87051}"/>
              </c:ext>
            </c:extLst>
          </c:dPt>
          <c:dPt>
            <c:idx val="145"/>
            <c:invertIfNegative val="1"/>
            <c:bubble3D val="0"/>
            <c:spPr>
              <a:solidFill>
                <a:srgbClr val="00A097"/>
              </a:solidFill>
            </c:spPr>
            <c:extLst>
              <c:ext xmlns:c16="http://schemas.microsoft.com/office/drawing/2014/chart" uri="{C3380CC4-5D6E-409C-BE32-E72D297353CC}">
                <c16:uniqueId val="{00000125-2993-41DE-A2CB-63102DE87051}"/>
              </c:ext>
            </c:extLst>
          </c:dPt>
          <c:dPt>
            <c:idx val="146"/>
            <c:invertIfNegative val="1"/>
            <c:bubble3D val="0"/>
            <c:spPr>
              <a:solidFill>
                <a:srgbClr val="00A097"/>
              </a:solidFill>
            </c:spPr>
            <c:extLst>
              <c:ext xmlns:c16="http://schemas.microsoft.com/office/drawing/2014/chart" uri="{C3380CC4-5D6E-409C-BE32-E72D297353CC}">
                <c16:uniqueId val="{00000127-2993-41DE-A2CB-63102DE87051}"/>
              </c:ext>
            </c:extLst>
          </c:dPt>
          <c:dPt>
            <c:idx val="147"/>
            <c:invertIfNegative val="1"/>
            <c:bubble3D val="0"/>
            <c:spPr>
              <a:solidFill>
                <a:srgbClr val="00A097"/>
              </a:solidFill>
            </c:spPr>
            <c:extLst>
              <c:ext xmlns:c16="http://schemas.microsoft.com/office/drawing/2014/chart" uri="{C3380CC4-5D6E-409C-BE32-E72D297353CC}">
                <c16:uniqueId val="{00000129-2993-41DE-A2CB-63102DE87051}"/>
              </c:ext>
            </c:extLst>
          </c:dPt>
          <c:dPt>
            <c:idx val="148"/>
            <c:invertIfNegative val="1"/>
            <c:bubble3D val="0"/>
            <c:spPr>
              <a:solidFill>
                <a:srgbClr val="00A097"/>
              </a:solidFill>
            </c:spPr>
            <c:extLst>
              <c:ext xmlns:c16="http://schemas.microsoft.com/office/drawing/2014/chart" uri="{C3380CC4-5D6E-409C-BE32-E72D297353CC}">
                <c16:uniqueId val="{0000012B-2993-41DE-A2CB-63102DE87051}"/>
              </c:ext>
            </c:extLst>
          </c:dPt>
          <c:dPt>
            <c:idx val="149"/>
            <c:invertIfNegative val="1"/>
            <c:bubble3D val="0"/>
            <c:spPr>
              <a:solidFill>
                <a:srgbClr val="00A097"/>
              </a:solidFill>
            </c:spPr>
            <c:extLst>
              <c:ext xmlns:c16="http://schemas.microsoft.com/office/drawing/2014/chart" uri="{C3380CC4-5D6E-409C-BE32-E72D297353CC}">
                <c16:uniqueId val="{0000012D-2993-41DE-A2CB-63102DE87051}"/>
              </c:ext>
            </c:extLst>
          </c:dPt>
          <c:dPt>
            <c:idx val="150"/>
            <c:invertIfNegative val="1"/>
            <c:bubble3D val="0"/>
            <c:spPr>
              <a:solidFill>
                <a:srgbClr val="00A097"/>
              </a:solidFill>
            </c:spPr>
            <c:extLst>
              <c:ext xmlns:c16="http://schemas.microsoft.com/office/drawing/2014/chart" uri="{C3380CC4-5D6E-409C-BE32-E72D297353CC}">
                <c16:uniqueId val="{0000012F-2993-41DE-A2CB-63102DE87051}"/>
              </c:ext>
            </c:extLst>
          </c:dPt>
          <c:dPt>
            <c:idx val="151"/>
            <c:invertIfNegative val="1"/>
            <c:bubble3D val="0"/>
            <c:spPr>
              <a:solidFill>
                <a:srgbClr val="00A097"/>
              </a:solidFill>
            </c:spPr>
            <c:extLst>
              <c:ext xmlns:c16="http://schemas.microsoft.com/office/drawing/2014/chart" uri="{C3380CC4-5D6E-409C-BE32-E72D297353CC}">
                <c16:uniqueId val="{00000131-2993-41DE-A2CB-63102DE87051}"/>
              </c:ext>
            </c:extLst>
          </c:dPt>
          <c:dPt>
            <c:idx val="152"/>
            <c:invertIfNegative val="1"/>
            <c:bubble3D val="0"/>
            <c:spPr>
              <a:solidFill>
                <a:srgbClr val="00A097"/>
              </a:solidFill>
            </c:spPr>
            <c:extLst>
              <c:ext xmlns:c16="http://schemas.microsoft.com/office/drawing/2014/chart" uri="{C3380CC4-5D6E-409C-BE32-E72D297353CC}">
                <c16:uniqueId val="{00000133-2993-41DE-A2CB-63102DE87051}"/>
              </c:ext>
            </c:extLst>
          </c:dPt>
          <c:dPt>
            <c:idx val="153"/>
            <c:invertIfNegative val="1"/>
            <c:bubble3D val="0"/>
            <c:spPr>
              <a:solidFill>
                <a:srgbClr val="00A097"/>
              </a:solidFill>
            </c:spPr>
            <c:extLst>
              <c:ext xmlns:c16="http://schemas.microsoft.com/office/drawing/2014/chart" uri="{C3380CC4-5D6E-409C-BE32-E72D297353CC}">
                <c16:uniqueId val="{00000135-2993-41DE-A2CB-63102DE87051}"/>
              </c:ext>
            </c:extLst>
          </c:dPt>
          <c:dPt>
            <c:idx val="154"/>
            <c:invertIfNegative val="1"/>
            <c:bubble3D val="0"/>
            <c:spPr>
              <a:solidFill>
                <a:srgbClr val="00A097"/>
              </a:solidFill>
            </c:spPr>
            <c:extLst>
              <c:ext xmlns:c16="http://schemas.microsoft.com/office/drawing/2014/chart" uri="{C3380CC4-5D6E-409C-BE32-E72D297353CC}">
                <c16:uniqueId val="{00000137-2993-41DE-A2CB-63102DE87051}"/>
              </c:ext>
            </c:extLst>
          </c:dPt>
          <c:dPt>
            <c:idx val="155"/>
            <c:invertIfNegative val="1"/>
            <c:bubble3D val="0"/>
            <c:spPr>
              <a:solidFill>
                <a:srgbClr val="00A097"/>
              </a:solidFill>
            </c:spPr>
            <c:extLst>
              <c:ext xmlns:c16="http://schemas.microsoft.com/office/drawing/2014/chart" uri="{C3380CC4-5D6E-409C-BE32-E72D297353CC}">
                <c16:uniqueId val="{00000139-2993-41DE-A2CB-63102DE87051}"/>
              </c:ext>
            </c:extLst>
          </c:dPt>
          <c:dPt>
            <c:idx val="156"/>
            <c:invertIfNegative val="1"/>
            <c:bubble3D val="0"/>
            <c:spPr>
              <a:solidFill>
                <a:srgbClr val="00A097"/>
              </a:solidFill>
            </c:spPr>
            <c:extLst>
              <c:ext xmlns:c16="http://schemas.microsoft.com/office/drawing/2014/chart" uri="{C3380CC4-5D6E-409C-BE32-E72D297353CC}">
                <c16:uniqueId val="{0000013B-2993-41DE-A2CB-63102DE87051}"/>
              </c:ext>
            </c:extLst>
          </c:dPt>
          <c:dPt>
            <c:idx val="157"/>
            <c:invertIfNegative val="1"/>
            <c:bubble3D val="0"/>
            <c:spPr>
              <a:solidFill>
                <a:srgbClr val="00A097"/>
              </a:solidFill>
            </c:spPr>
            <c:extLst>
              <c:ext xmlns:c16="http://schemas.microsoft.com/office/drawing/2014/chart" uri="{C3380CC4-5D6E-409C-BE32-E72D297353CC}">
                <c16:uniqueId val="{0000013D-2993-41DE-A2CB-63102DE87051}"/>
              </c:ext>
            </c:extLst>
          </c:dPt>
          <c:dPt>
            <c:idx val="158"/>
            <c:invertIfNegative val="1"/>
            <c:bubble3D val="0"/>
            <c:spPr>
              <a:solidFill>
                <a:srgbClr val="00A097"/>
              </a:solidFill>
            </c:spPr>
            <c:extLst>
              <c:ext xmlns:c16="http://schemas.microsoft.com/office/drawing/2014/chart" uri="{C3380CC4-5D6E-409C-BE32-E72D297353CC}">
                <c16:uniqueId val="{0000013F-2993-41DE-A2CB-63102DE87051}"/>
              </c:ext>
            </c:extLst>
          </c:dPt>
          <c:dPt>
            <c:idx val="159"/>
            <c:invertIfNegative val="1"/>
            <c:bubble3D val="0"/>
            <c:spPr>
              <a:solidFill>
                <a:srgbClr val="00A097"/>
              </a:solidFill>
            </c:spPr>
            <c:extLst>
              <c:ext xmlns:c16="http://schemas.microsoft.com/office/drawing/2014/chart" uri="{C3380CC4-5D6E-409C-BE32-E72D297353CC}">
                <c16:uniqueId val="{00000141-2993-41DE-A2CB-63102DE87051}"/>
              </c:ext>
            </c:extLst>
          </c:dPt>
          <c:dPt>
            <c:idx val="160"/>
            <c:invertIfNegative val="1"/>
            <c:bubble3D val="0"/>
            <c:spPr>
              <a:solidFill>
                <a:srgbClr val="00A097"/>
              </a:solidFill>
            </c:spPr>
            <c:extLst>
              <c:ext xmlns:c16="http://schemas.microsoft.com/office/drawing/2014/chart" uri="{C3380CC4-5D6E-409C-BE32-E72D297353CC}">
                <c16:uniqueId val="{00000143-2993-41DE-A2CB-63102DE87051}"/>
              </c:ext>
            </c:extLst>
          </c:dPt>
          <c:dPt>
            <c:idx val="161"/>
            <c:invertIfNegative val="1"/>
            <c:bubble3D val="0"/>
            <c:spPr>
              <a:solidFill>
                <a:srgbClr val="00A097"/>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7ECAC4"/>
              </a:solidFill>
            </c:spPr>
            <c:extLst>
              <c:ext xmlns:c16="http://schemas.microsoft.com/office/drawing/2014/chart" uri="{C3380CC4-5D6E-409C-BE32-E72D297353CC}">
                <c16:uniqueId val="{00000185-2993-41DE-A2CB-63102DE87051}"/>
              </c:ext>
            </c:extLst>
          </c:dPt>
          <c:dPt>
            <c:idx val="194"/>
            <c:invertIfNegative val="1"/>
            <c:bubble3D val="0"/>
            <c:spPr>
              <a:solidFill>
                <a:srgbClr val="7ECAC4"/>
              </a:solidFill>
            </c:spPr>
            <c:extLst>
              <c:ext xmlns:c16="http://schemas.microsoft.com/office/drawing/2014/chart" uri="{C3380CC4-5D6E-409C-BE32-E72D297353CC}">
                <c16:uniqueId val="{00000187-2993-41DE-A2CB-63102DE87051}"/>
              </c:ext>
            </c:extLst>
          </c:dPt>
          <c:dPt>
            <c:idx val="195"/>
            <c:invertIfNegative val="1"/>
            <c:bubble3D val="0"/>
            <c:spPr>
              <a:solidFill>
                <a:srgbClr val="7ECAC4"/>
              </a:solidFill>
            </c:spPr>
            <c:extLst>
              <c:ext xmlns:c16="http://schemas.microsoft.com/office/drawing/2014/chart" uri="{C3380CC4-5D6E-409C-BE32-E72D297353CC}">
                <c16:uniqueId val="{00000189-2993-41DE-A2CB-63102DE87051}"/>
              </c:ext>
            </c:extLst>
          </c:dPt>
          <c:dPt>
            <c:idx val="196"/>
            <c:invertIfNegative val="1"/>
            <c:bubble3D val="0"/>
            <c:spPr>
              <a:solidFill>
                <a:srgbClr val="7ECAC4"/>
              </a:solidFill>
            </c:spPr>
            <c:extLst>
              <c:ext xmlns:c16="http://schemas.microsoft.com/office/drawing/2014/chart" uri="{C3380CC4-5D6E-409C-BE32-E72D297353CC}">
                <c16:uniqueId val="{0000018B-2993-41DE-A2CB-63102DE87051}"/>
              </c:ext>
            </c:extLst>
          </c:dPt>
          <c:dPt>
            <c:idx val="197"/>
            <c:invertIfNegative val="1"/>
            <c:bubble3D val="0"/>
            <c:spPr>
              <a:solidFill>
                <a:srgbClr val="7ECAC4"/>
              </a:solidFill>
            </c:spPr>
            <c:extLst>
              <c:ext xmlns:c16="http://schemas.microsoft.com/office/drawing/2014/chart" uri="{C3380CC4-5D6E-409C-BE32-E72D297353CC}">
                <c16:uniqueId val="{0000018D-2993-41DE-A2CB-63102DE87051}"/>
              </c:ext>
            </c:extLst>
          </c:dPt>
          <c:dPt>
            <c:idx val="198"/>
            <c:invertIfNegative val="1"/>
            <c:bubble3D val="0"/>
            <c:spPr>
              <a:solidFill>
                <a:srgbClr val="7ECAC4"/>
              </a:solidFill>
            </c:spPr>
            <c:extLst>
              <c:ext xmlns:c16="http://schemas.microsoft.com/office/drawing/2014/chart" uri="{C3380CC4-5D6E-409C-BE32-E72D297353CC}">
                <c16:uniqueId val="{0000018F-2993-41DE-A2CB-63102DE87051}"/>
              </c:ext>
            </c:extLst>
          </c:dPt>
          <c:dPt>
            <c:idx val="199"/>
            <c:invertIfNegative val="1"/>
            <c:bubble3D val="0"/>
            <c:spPr>
              <a:solidFill>
                <a:srgbClr val="7ECAC4"/>
              </a:solidFill>
            </c:spPr>
            <c:extLst>
              <c:ext xmlns:c16="http://schemas.microsoft.com/office/drawing/2014/chart" uri="{C3380CC4-5D6E-409C-BE32-E72D297353CC}">
                <c16:uniqueId val="{00000191-2993-41DE-A2CB-63102DE87051}"/>
              </c:ext>
            </c:extLst>
          </c:dPt>
          <c:dPt>
            <c:idx val="200"/>
            <c:invertIfNegative val="1"/>
            <c:bubble3D val="0"/>
            <c:spPr>
              <a:solidFill>
                <a:srgbClr val="7ECAC4"/>
              </a:solidFill>
            </c:spPr>
            <c:extLst>
              <c:ext xmlns:c16="http://schemas.microsoft.com/office/drawing/2014/chart" uri="{C3380CC4-5D6E-409C-BE32-E72D297353CC}">
                <c16:uniqueId val="{00000193-2993-41DE-A2CB-63102DE87051}"/>
              </c:ext>
            </c:extLst>
          </c:dPt>
          <c:dPt>
            <c:idx val="201"/>
            <c:invertIfNegative val="1"/>
            <c:bubble3D val="0"/>
            <c:spPr>
              <a:solidFill>
                <a:srgbClr val="7ECAC4"/>
              </a:solidFill>
            </c:spPr>
            <c:extLst>
              <c:ext xmlns:c16="http://schemas.microsoft.com/office/drawing/2014/chart" uri="{C3380CC4-5D6E-409C-BE32-E72D297353CC}">
                <c16:uniqueId val="{00000195-2993-41DE-A2CB-63102DE87051}"/>
              </c:ext>
            </c:extLst>
          </c:dPt>
          <c:dPt>
            <c:idx val="202"/>
            <c:invertIfNegative val="1"/>
            <c:bubble3D val="0"/>
            <c:spPr>
              <a:solidFill>
                <a:srgbClr val="7ECAC4"/>
              </a:solidFill>
            </c:spPr>
            <c:extLst>
              <c:ext xmlns:c16="http://schemas.microsoft.com/office/drawing/2014/chart" uri="{C3380CC4-5D6E-409C-BE32-E72D297353CC}">
                <c16:uniqueId val="{00000197-2993-41DE-A2CB-63102DE87051}"/>
              </c:ext>
            </c:extLst>
          </c:dPt>
          <c:dPt>
            <c:idx val="203"/>
            <c:invertIfNegative val="1"/>
            <c:bubble3D val="0"/>
            <c:spPr>
              <a:solidFill>
                <a:srgbClr val="7ECAC4"/>
              </a:solidFill>
            </c:spPr>
            <c:extLst>
              <c:ext xmlns:c16="http://schemas.microsoft.com/office/drawing/2014/chart" uri="{C3380CC4-5D6E-409C-BE32-E72D297353CC}">
                <c16:uniqueId val="{00000199-2993-41DE-A2CB-63102DE87051}"/>
              </c:ext>
            </c:extLst>
          </c:dPt>
          <c:dPt>
            <c:idx val="204"/>
            <c:invertIfNegative val="1"/>
            <c:bubble3D val="0"/>
            <c:spPr>
              <a:solidFill>
                <a:srgbClr val="7ECAC4"/>
              </a:solidFill>
            </c:spPr>
            <c:extLst>
              <c:ext xmlns:c16="http://schemas.microsoft.com/office/drawing/2014/chart" uri="{C3380CC4-5D6E-409C-BE32-E72D297353CC}">
                <c16:uniqueId val="{0000019B-2993-41DE-A2CB-63102DE87051}"/>
              </c:ext>
            </c:extLst>
          </c:dPt>
          <c:dPt>
            <c:idx val="205"/>
            <c:invertIfNegative val="1"/>
            <c:bubble3D val="0"/>
            <c:spPr>
              <a:solidFill>
                <a:srgbClr val="7ECAC4"/>
              </a:solidFill>
            </c:spPr>
            <c:extLst>
              <c:ext xmlns:c16="http://schemas.microsoft.com/office/drawing/2014/chart" uri="{C3380CC4-5D6E-409C-BE32-E72D297353CC}">
                <c16:uniqueId val="{0000019D-2993-41DE-A2CB-63102DE87051}"/>
              </c:ext>
            </c:extLst>
          </c:dPt>
          <c:dPt>
            <c:idx val="206"/>
            <c:invertIfNegative val="1"/>
            <c:bubble3D val="0"/>
            <c:spPr>
              <a:solidFill>
                <a:srgbClr val="7ECAC4"/>
              </a:solidFill>
            </c:spPr>
            <c:extLst>
              <c:ext xmlns:c16="http://schemas.microsoft.com/office/drawing/2014/chart" uri="{C3380CC4-5D6E-409C-BE32-E72D297353CC}">
                <c16:uniqueId val="{0000019F-2993-41DE-A2CB-63102DE87051}"/>
              </c:ext>
            </c:extLst>
          </c:dPt>
          <c:dPt>
            <c:idx val="207"/>
            <c:invertIfNegative val="1"/>
            <c:bubble3D val="0"/>
            <c:spPr>
              <a:solidFill>
                <a:srgbClr val="7ECAC4"/>
              </a:solidFill>
            </c:spPr>
            <c:extLst>
              <c:ext xmlns:c16="http://schemas.microsoft.com/office/drawing/2014/chart" uri="{C3380CC4-5D6E-409C-BE32-E72D297353CC}">
                <c16:uniqueId val="{000001A1-2993-41DE-A2CB-63102DE87051}"/>
              </c:ext>
            </c:extLst>
          </c:dPt>
          <c:dPt>
            <c:idx val="208"/>
            <c:invertIfNegative val="1"/>
            <c:bubble3D val="0"/>
            <c:spPr>
              <a:solidFill>
                <a:srgbClr val="7ECAC4"/>
              </a:solidFill>
            </c:spPr>
            <c:extLst>
              <c:ext xmlns:c16="http://schemas.microsoft.com/office/drawing/2014/chart" uri="{C3380CC4-5D6E-409C-BE32-E72D297353CC}">
                <c16:uniqueId val="{000001A3-2993-41DE-A2CB-63102DE87051}"/>
              </c:ext>
            </c:extLst>
          </c:dPt>
          <c:dPt>
            <c:idx val="209"/>
            <c:invertIfNegative val="1"/>
            <c:bubble3D val="0"/>
            <c:spPr>
              <a:solidFill>
                <a:srgbClr val="7ECAC4"/>
              </a:solidFill>
            </c:spPr>
            <c:extLst>
              <c:ext xmlns:c16="http://schemas.microsoft.com/office/drawing/2014/chart" uri="{C3380CC4-5D6E-409C-BE32-E72D297353CC}">
                <c16:uniqueId val="{000001A5-2993-41DE-A2CB-63102DE87051}"/>
              </c:ext>
            </c:extLst>
          </c:dPt>
          <c:dPt>
            <c:idx val="210"/>
            <c:invertIfNegative val="1"/>
            <c:bubble3D val="0"/>
            <c:spPr>
              <a:solidFill>
                <a:srgbClr val="7ECAC4"/>
              </a:solidFill>
            </c:spPr>
            <c:extLst>
              <c:ext xmlns:c16="http://schemas.microsoft.com/office/drawing/2014/chart" uri="{C3380CC4-5D6E-409C-BE32-E72D297353CC}">
                <c16:uniqueId val="{000001A7-A7CE-4049-B88B-35FCDA646473}"/>
              </c:ext>
            </c:extLst>
          </c:dPt>
          <c:dPt>
            <c:idx val="211"/>
            <c:invertIfNegative val="1"/>
            <c:bubble3D val="0"/>
            <c:spPr>
              <a:solidFill>
                <a:srgbClr val="7ECAC4"/>
              </a:solidFill>
            </c:spPr>
            <c:extLst>
              <c:ext xmlns:c16="http://schemas.microsoft.com/office/drawing/2014/chart" uri="{C3380CC4-5D6E-409C-BE32-E72D297353CC}">
                <c16:uniqueId val="{000001A9-A7CE-4049-B88B-35FCDA646473}"/>
              </c:ext>
            </c:extLst>
          </c:dPt>
          <c:dPt>
            <c:idx val="212"/>
            <c:invertIfNegative val="1"/>
            <c:bubble3D val="0"/>
            <c:spPr>
              <a:solidFill>
                <a:srgbClr val="7ECAC4"/>
              </a:solidFill>
            </c:spPr>
            <c:extLst>
              <c:ext xmlns:c16="http://schemas.microsoft.com/office/drawing/2014/chart" uri="{C3380CC4-5D6E-409C-BE32-E72D297353CC}">
                <c16:uniqueId val="{000001AB-A7CE-4049-B88B-35FCDA646473}"/>
              </c:ext>
            </c:extLst>
          </c:dPt>
          <c:dPt>
            <c:idx val="213"/>
            <c:invertIfNegative val="1"/>
            <c:bubble3D val="0"/>
            <c:spPr>
              <a:solidFill>
                <a:srgbClr val="7ECAC4"/>
              </a:solidFill>
            </c:spPr>
            <c:extLst>
              <c:ext xmlns:c16="http://schemas.microsoft.com/office/drawing/2014/chart" uri="{C3380CC4-5D6E-409C-BE32-E72D297353CC}">
                <c16:uniqueId val="{000001AD-A7CE-4049-B88B-35FCDA646473}"/>
              </c:ext>
            </c:extLst>
          </c:dPt>
          <c:dPt>
            <c:idx val="214"/>
            <c:invertIfNegative val="1"/>
            <c:bubble3D val="0"/>
            <c:spPr>
              <a:solidFill>
                <a:srgbClr val="7ECAC4"/>
              </a:solidFill>
            </c:spPr>
            <c:extLst>
              <c:ext xmlns:c16="http://schemas.microsoft.com/office/drawing/2014/chart" uri="{C3380CC4-5D6E-409C-BE32-E72D297353CC}">
                <c16:uniqueId val="{000001AF-A7CE-4049-B88B-35FCDA646473}"/>
              </c:ext>
            </c:extLst>
          </c:dPt>
          <c:dPt>
            <c:idx val="215"/>
            <c:invertIfNegative val="1"/>
            <c:bubble3D val="0"/>
            <c:spPr>
              <a:solidFill>
                <a:srgbClr val="7ECAC4"/>
              </a:solidFill>
            </c:spPr>
            <c:extLst>
              <c:ext xmlns:c16="http://schemas.microsoft.com/office/drawing/2014/chart" uri="{C3380CC4-5D6E-409C-BE32-E72D297353CC}">
                <c16:uniqueId val="{000001B1-A7CE-4049-B88B-35FCDA646473}"/>
              </c:ext>
            </c:extLst>
          </c:dPt>
          <c:dPt>
            <c:idx val="216"/>
            <c:invertIfNegative val="1"/>
            <c:bubble3D val="0"/>
            <c:spPr>
              <a:solidFill>
                <a:srgbClr val="7ECAC4"/>
              </a:solidFill>
            </c:spPr>
            <c:extLst>
              <c:ext xmlns:c16="http://schemas.microsoft.com/office/drawing/2014/chart" uri="{C3380CC4-5D6E-409C-BE32-E72D297353CC}">
                <c16:uniqueId val="{000001B3-A7CE-4049-B88B-35FCDA646473}"/>
              </c:ext>
            </c:extLst>
          </c:dPt>
          <c:dPt>
            <c:idx val="217"/>
            <c:invertIfNegative val="1"/>
            <c:bubble3D val="0"/>
            <c:spPr>
              <a:solidFill>
                <a:srgbClr val="7ECAC4"/>
              </a:solidFill>
            </c:spPr>
            <c:extLst>
              <c:ext xmlns:c16="http://schemas.microsoft.com/office/drawing/2014/chart" uri="{C3380CC4-5D6E-409C-BE32-E72D297353CC}">
                <c16:uniqueId val="{000001B5-A7CE-4049-B88B-35FCDA646473}"/>
              </c:ext>
            </c:extLst>
          </c:dPt>
          <c:dPt>
            <c:idx val="218"/>
            <c:invertIfNegative val="1"/>
            <c:bubble3D val="0"/>
            <c:spPr>
              <a:solidFill>
                <a:srgbClr val="7ECAC4"/>
              </a:solidFill>
            </c:spPr>
            <c:extLst>
              <c:ext xmlns:c16="http://schemas.microsoft.com/office/drawing/2014/chart" uri="{C3380CC4-5D6E-409C-BE32-E72D297353CC}">
                <c16:uniqueId val="{000001B7-A7CE-4049-B88B-35FCDA646473}"/>
              </c:ext>
            </c:extLst>
          </c:dPt>
          <c:dPt>
            <c:idx val="219"/>
            <c:invertIfNegative val="1"/>
            <c:bubble3D val="0"/>
            <c:spPr>
              <a:solidFill>
                <a:srgbClr val="7ECAC4"/>
              </a:solidFill>
            </c:spPr>
            <c:extLst>
              <c:ext xmlns:c16="http://schemas.microsoft.com/office/drawing/2014/chart" uri="{C3380CC4-5D6E-409C-BE32-E72D297353CC}">
                <c16:uniqueId val="{000001B9-A7CE-4049-B88B-35FCDA646473}"/>
              </c:ext>
            </c:extLst>
          </c:dPt>
          <c:dPt>
            <c:idx val="220"/>
            <c:invertIfNegative val="1"/>
            <c:bubble3D val="0"/>
            <c:spPr>
              <a:solidFill>
                <a:srgbClr val="7ECAC4"/>
              </a:solidFill>
            </c:spPr>
            <c:extLst>
              <c:ext xmlns:c16="http://schemas.microsoft.com/office/drawing/2014/chart" uri="{C3380CC4-5D6E-409C-BE32-E72D297353CC}">
                <c16:uniqueId val="{000001BB-A7CE-4049-B88B-35FCDA646473}"/>
              </c:ext>
            </c:extLst>
          </c:dPt>
          <c:dPt>
            <c:idx val="221"/>
            <c:invertIfNegative val="1"/>
            <c:bubble3D val="0"/>
            <c:spPr>
              <a:solidFill>
                <a:srgbClr val="7ECAC4"/>
              </a:solidFill>
            </c:spPr>
            <c:extLst>
              <c:ext xmlns:c16="http://schemas.microsoft.com/office/drawing/2014/chart" uri="{C3380CC4-5D6E-409C-BE32-E72D297353CC}">
                <c16:uniqueId val="{000001BD-A7CE-4049-B88B-35FCDA646473}"/>
              </c:ext>
            </c:extLst>
          </c:dPt>
          <c:dPt>
            <c:idx val="222"/>
            <c:invertIfNegative val="1"/>
            <c:bubble3D val="0"/>
            <c:spPr>
              <a:solidFill>
                <a:srgbClr val="7ECAC4"/>
              </a:solidFill>
            </c:spPr>
            <c:extLst>
              <c:ext xmlns:c16="http://schemas.microsoft.com/office/drawing/2014/chart" uri="{C3380CC4-5D6E-409C-BE32-E72D297353CC}">
                <c16:uniqueId val="{000001BF-A7CE-4049-B88B-35FCDA646473}"/>
              </c:ext>
            </c:extLst>
          </c:dPt>
          <c:dPt>
            <c:idx val="223"/>
            <c:invertIfNegative val="1"/>
            <c:bubble3D val="0"/>
            <c:spPr>
              <a:solidFill>
                <a:srgbClr val="7ECAC4"/>
              </a:solidFill>
            </c:spPr>
            <c:extLst>
              <c:ext xmlns:c16="http://schemas.microsoft.com/office/drawing/2014/chart" uri="{C3380CC4-5D6E-409C-BE32-E72D297353CC}">
                <c16:uniqueId val="{000001C1-A7CE-4049-B88B-35FCDA646473}"/>
              </c:ext>
            </c:extLst>
          </c:dPt>
          <c:dPt>
            <c:idx val="224"/>
            <c:invertIfNegative val="1"/>
            <c:bubble3D val="0"/>
            <c:spPr>
              <a:solidFill>
                <a:srgbClr val="7ECAC4"/>
              </a:solidFill>
            </c:spPr>
            <c:extLst>
              <c:ext xmlns:c16="http://schemas.microsoft.com/office/drawing/2014/chart" uri="{C3380CC4-5D6E-409C-BE32-E72D297353CC}">
                <c16:uniqueId val="{000001C3-A7CE-4049-B88B-35FCDA646473}"/>
              </c:ext>
            </c:extLst>
          </c:dPt>
          <c:dPt>
            <c:idx val="225"/>
            <c:invertIfNegative val="1"/>
            <c:bubble3D val="0"/>
            <c:spPr>
              <a:solidFill>
                <a:srgbClr val="7ECAC4"/>
              </a:solidFill>
            </c:spPr>
            <c:extLst>
              <c:ext xmlns:c16="http://schemas.microsoft.com/office/drawing/2014/chart" uri="{C3380CC4-5D6E-409C-BE32-E72D297353CC}">
                <c16:uniqueId val="{000001C5-A7CE-4049-B88B-35FCDA646473}"/>
              </c:ext>
            </c:extLst>
          </c:dPt>
          <c:dPt>
            <c:idx val="226"/>
            <c:invertIfNegative val="1"/>
            <c:bubble3D val="0"/>
            <c:spPr>
              <a:solidFill>
                <a:srgbClr val="7ECAC4"/>
              </a:solidFill>
            </c:spPr>
            <c:extLst>
              <c:ext xmlns:c16="http://schemas.microsoft.com/office/drawing/2014/chart" uri="{C3380CC4-5D6E-409C-BE32-E72D297353CC}">
                <c16:uniqueId val="{000001C7-A7CE-4049-B88B-35FCDA646473}"/>
              </c:ext>
            </c:extLst>
          </c:dPt>
          <c:dPt>
            <c:idx val="227"/>
            <c:invertIfNegative val="1"/>
            <c:bubble3D val="0"/>
            <c:spPr>
              <a:solidFill>
                <a:srgbClr val="7ECAC4"/>
              </a:solidFill>
            </c:spPr>
            <c:extLst>
              <c:ext xmlns:c16="http://schemas.microsoft.com/office/drawing/2014/chart" uri="{C3380CC4-5D6E-409C-BE32-E72D297353CC}">
                <c16:uniqueId val="{000001C9-A7CE-4049-B88B-35FCDA646473}"/>
              </c:ext>
            </c:extLst>
          </c:dPt>
          <c:dPt>
            <c:idx val="228"/>
            <c:invertIfNegative val="1"/>
            <c:bubble3D val="0"/>
            <c:spPr>
              <a:solidFill>
                <a:srgbClr val="7ECAC4"/>
              </a:solidFill>
            </c:spPr>
            <c:extLst>
              <c:ext xmlns:c16="http://schemas.microsoft.com/office/drawing/2014/chart" uri="{C3380CC4-5D6E-409C-BE32-E72D297353CC}">
                <c16:uniqueId val="{000001CB-A7CE-4049-B88B-35FCDA646473}"/>
              </c:ext>
            </c:extLst>
          </c:dPt>
          <c:dPt>
            <c:idx val="229"/>
            <c:invertIfNegative val="1"/>
            <c:bubble3D val="0"/>
            <c:spPr>
              <a:solidFill>
                <a:srgbClr val="7ECAC4"/>
              </a:solidFill>
            </c:spPr>
            <c:extLst>
              <c:ext xmlns:c16="http://schemas.microsoft.com/office/drawing/2014/chart" uri="{C3380CC4-5D6E-409C-BE32-E72D297353CC}">
                <c16:uniqueId val="{000001CD-A7CE-4049-B88B-35FCDA646473}"/>
              </c:ext>
            </c:extLst>
          </c:dPt>
          <c:dPt>
            <c:idx val="230"/>
            <c:invertIfNegative val="1"/>
            <c:bubble3D val="0"/>
            <c:spPr>
              <a:solidFill>
                <a:srgbClr val="7ECAC4"/>
              </a:solidFill>
            </c:spPr>
            <c:extLst>
              <c:ext xmlns:c16="http://schemas.microsoft.com/office/drawing/2014/chart" uri="{C3380CC4-5D6E-409C-BE32-E72D297353CC}">
                <c16:uniqueId val="{000001CF-A7CE-4049-B88B-35FCDA646473}"/>
              </c:ext>
            </c:extLst>
          </c:dPt>
          <c:dPt>
            <c:idx val="231"/>
            <c:invertIfNegative val="1"/>
            <c:bubble3D val="0"/>
            <c:spPr>
              <a:solidFill>
                <a:srgbClr val="7ECAC4"/>
              </a:solidFill>
            </c:spPr>
            <c:extLst>
              <c:ext xmlns:c16="http://schemas.microsoft.com/office/drawing/2014/chart" uri="{C3380CC4-5D6E-409C-BE32-E72D297353CC}">
                <c16:uniqueId val="{000001D1-A7CE-4049-B88B-35FCDA646473}"/>
              </c:ext>
            </c:extLst>
          </c:dPt>
          <c:dPt>
            <c:idx val="232"/>
            <c:invertIfNegative val="1"/>
            <c:bubble3D val="0"/>
            <c:spPr>
              <a:solidFill>
                <a:srgbClr val="7ECAC4"/>
              </a:solidFill>
            </c:spPr>
            <c:extLst>
              <c:ext xmlns:c16="http://schemas.microsoft.com/office/drawing/2014/chart" uri="{C3380CC4-5D6E-409C-BE32-E72D297353CC}">
                <c16:uniqueId val="{000001D3-A7CE-4049-B88B-35FCDA646473}"/>
              </c:ext>
            </c:extLst>
          </c:dPt>
          <c:dPt>
            <c:idx val="233"/>
            <c:invertIfNegative val="1"/>
            <c:bubble3D val="0"/>
            <c:spPr>
              <a:solidFill>
                <a:srgbClr val="7ECAC4"/>
              </a:solidFill>
            </c:spPr>
            <c:extLst>
              <c:ext xmlns:c16="http://schemas.microsoft.com/office/drawing/2014/chart" uri="{C3380CC4-5D6E-409C-BE32-E72D297353CC}">
                <c16:uniqueId val="{000001D5-A7CE-4049-B88B-35FCDA646473}"/>
              </c:ext>
            </c:extLst>
          </c:dPt>
          <c:dPt>
            <c:idx val="234"/>
            <c:invertIfNegative val="1"/>
            <c:bubble3D val="0"/>
            <c:spPr>
              <a:solidFill>
                <a:srgbClr val="7ECAC4"/>
              </a:solidFill>
            </c:spPr>
            <c:extLst>
              <c:ext xmlns:c16="http://schemas.microsoft.com/office/drawing/2014/chart" uri="{C3380CC4-5D6E-409C-BE32-E72D297353CC}">
                <c16:uniqueId val="{000001D7-A7CE-4049-B88B-35FCDA646473}"/>
              </c:ext>
            </c:extLst>
          </c:dPt>
          <c:dPt>
            <c:idx val="235"/>
            <c:invertIfNegative val="1"/>
            <c:bubble3D val="0"/>
            <c:spPr>
              <a:solidFill>
                <a:srgbClr val="7ECAC4"/>
              </a:solidFill>
            </c:spPr>
            <c:extLst>
              <c:ext xmlns:c16="http://schemas.microsoft.com/office/drawing/2014/chart" uri="{C3380CC4-5D6E-409C-BE32-E72D297353CC}">
                <c16:uniqueId val="{000001D9-A7CE-4049-B88B-35FCDA646473}"/>
              </c:ext>
            </c:extLst>
          </c:dPt>
          <c:dPt>
            <c:idx val="236"/>
            <c:invertIfNegative val="1"/>
            <c:bubble3D val="0"/>
            <c:spPr>
              <a:solidFill>
                <a:srgbClr val="7ECAC4"/>
              </a:solidFill>
            </c:spPr>
            <c:extLst>
              <c:ext xmlns:c16="http://schemas.microsoft.com/office/drawing/2014/chart" uri="{C3380CC4-5D6E-409C-BE32-E72D297353CC}">
                <c16:uniqueId val="{000001DB-A7CE-4049-B88B-35FCDA646473}"/>
              </c:ext>
            </c:extLst>
          </c:dPt>
          <c:dPt>
            <c:idx val="237"/>
            <c:invertIfNegative val="1"/>
            <c:bubble3D val="0"/>
            <c:spPr>
              <a:solidFill>
                <a:srgbClr val="7ECAC4"/>
              </a:solidFill>
            </c:spPr>
            <c:extLst>
              <c:ext xmlns:c16="http://schemas.microsoft.com/office/drawing/2014/chart" uri="{C3380CC4-5D6E-409C-BE32-E72D297353CC}">
                <c16:uniqueId val="{000001DD-A7CE-4049-B88B-35FCDA646473}"/>
              </c:ext>
            </c:extLst>
          </c:dPt>
          <c:dPt>
            <c:idx val="238"/>
            <c:invertIfNegative val="1"/>
            <c:bubble3D val="0"/>
            <c:spPr>
              <a:solidFill>
                <a:srgbClr val="7ECAC4"/>
              </a:solidFill>
            </c:spPr>
            <c:extLst>
              <c:ext xmlns:c16="http://schemas.microsoft.com/office/drawing/2014/chart" uri="{C3380CC4-5D6E-409C-BE32-E72D297353CC}">
                <c16:uniqueId val="{000001DF-A7CE-4049-B88B-35FCDA646473}"/>
              </c:ext>
            </c:extLst>
          </c:dPt>
          <c:dPt>
            <c:idx val="239"/>
            <c:invertIfNegative val="1"/>
            <c:bubble3D val="0"/>
            <c:spPr>
              <a:solidFill>
                <a:srgbClr val="7ECAC4"/>
              </a:solidFill>
            </c:spPr>
            <c:extLst>
              <c:ext xmlns:c16="http://schemas.microsoft.com/office/drawing/2014/chart" uri="{C3380CC4-5D6E-409C-BE32-E72D297353CC}">
                <c16:uniqueId val="{000001E1-A7CE-4049-B88B-35FCDA646473}"/>
              </c:ext>
            </c:extLst>
          </c:dPt>
          <c:dPt>
            <c:idx val="240"/>
            <c:invertIfNegative val="1"/>
            <c:bubble3D val="0"/>
            <c:spPr>
              <a:solidFill>
                <a:srgbClr val="7ECAC4"/>
              </a:solidFill>
            </c:spPr>
            <c:extLst>
              <c:ext xmlns:c16="http://schemas.microsoft.com/office/drawing/2014/chart" uri="{C3380CC4-5D6E-409C-BE32-E72D297353CC}">
                <c16:uniqueId val="{000001E3-A7CE-4049-B88B-35FCDA646473}"/>
              </c:ext>
            </c:extLst>
          </c:dPt>
          <c:dPt>
            <c:idx val="241"/>
            <c:invertIfNegative val="1"/>
            <c:bubble3D val="0"/>
            <c:spPr>
              <a:solidFill>
                <a:srgbClr val="7ECAC4"/>
              </a:solidFill>
            </c:spPr>
            <c:extLst>
              <c:ext xmlns:c16="http://schemas.microsoft.com/office/drawing/2014/chart" uri="{C3380CC4-5D6E-409C-BE32-E72D297353CC}">
                <c16:uniqueId val="{000001E5-A7CE-4049-B88B-35FCDA646473}"/>
              </c:ext>
            </c:extLst>
          </c:dPt>
          <c:dPt>
            <c:idx val="242"/>
            <c:invertIfNegative val="1"/>
            <c:bubble3D val="0"/>
            <c:spPr>
              <a:solidFill>
                <a:srgbClr val="7ECAC4"/>
              </a:solidFill>
            </c:spPr>
            <c:extLst>
              <c:ext xmlns:c16="http://schemas.microsoft.com/office/drawing/2014/chart" uri="{C3380CC4-5D6E-409C-BE32-E72D297353CC}">
                <c16:uniqueId val="{000001E7-A7CE-4049-B88B-35FCDA646473}"/>
              </c:ext>
            </c:extLst>
          </c:dPt>
          <c:dPt>
            <c:idx val="243"/>
            <c:invertIfNegative val="1"/>
            <c:bubble3D val="0"/>
            <c:spPr>
              <a:solidFill>
                <a:srgbClr val="7ECAC4"/>
              </a:solidFill>
            </c:spPr>
            <c:extLst>
              <c:ext xmlns:c16="http://schemas.microsoft.com/office/drawing/2014/chart" uri="{C3380CC4-5D6E-409C-BE32-E72D297353CC}">
                <c16:uniqueId val="{000001E9-A7CE-4049-B88B-35FCDA646473}"/>
              </c:ext>
            </c:extLst>
          </c:dPt>
          <c:dPt>
            <c:idx val="244"/>
            <c:invertIfNegative val="1"/>
            <c:bubble3D val="0"/>
            <c:spPr>
              <a:solidFill>
                <a:srgbClr val="7ECAC4"/>
              </a:solidFill>
            </c:spPr>
            <c:extLst>
              <c:ext xmlns:c16="http://schemas.microsoft.com/office/drawing/2014/chart" uri="{C3380CC4-5D6E-409C-BE32-E72D297353CC}">
                <c16:uniqueId val="{000001EB-A7CE-4049-B88B-35FCDA646473}"/>
              </c:ext>
            </c:extLst>
          </c:dPt>
          <c:dPt>
            <c:idx val="245"/>
            <c:invertIfNegative val="1"/>
            <c:bubble3D val="0"/>
            <c:spPr>
              <a:solidFill>
                <a:srgbClr val="7ECAC4"/>
              </a:solidFill>
            </c:spPr>
            <c:extLst>
              <c:ext xmlns:c16="http://schemas.microsoft.com/office/drawing/2014/chart" uri="{C3380CC4-5D6E-409C-BE32-E72D297353CC}">
                <c16:uniqueId val="{000001ED-A7CE-4049-B88B-35FCDA646473}"/>
              </c:ext>
            </c:extLst>
          </c:dPt>
          <c:dPt>
            <c:idx val="246"/>
            <c:invertIfNegative val="1"/>
            <c:bubble3D val="0"/>
            <c:spPr>
              <a:solidFill>
                <a:srgbClr val="7ECAC4"/>
              </a:solidFill>
            </c:spPr>
            <c:extLst>
              <c:ext xmlns:c16="http://schemas.microsoft.com/office/drawing/2014/chart" uri="{C3380CC4-5D6E-409C-BE32-E72D297353CC}">
                <c16:uniqueId val="{000001EF-A7CE-4049-B88B-35FCDA646473}"/>
              </c:ext>
            </c:extLst>
          </c:dPt>
          <c:dPt>
            <c:idx val="247"/>
            <c:invertIfNegative val="1"/>
            <c:bubble3D val="0"/>
            <c:spPr>
              <a:solidFill>
                <a:srgbClr val="7ECAC4"/>
              </a:solidFill>
            </c:spPr>
            <c:extLst>
              <c:ext xmlns:c16="http://schemas.microsoft.com/office/drawing/2014/chart" uri="{C3380CC4-5D6E-409C-BE32-E72D297353CC}">
                <c16:uniqueId val="{000001F1-A7CE-4049-B88B-35FCDA646473}"/>
              </c:ext>
            </c:extLst>
          </c:dPt>
          <c:dPt>
            <c:idx val="248"/>
            <c:invertIfNegative val="1"/>
            <c:bubble3D val="0"/>
            <c:spPr>
              <a:solidFill>
                <a:srgbClr val="7ECAC4"/>
              </a:solidFill>
            </c:spPr>
            <c:extLst>
              <c:ext xmlns:c16="http://schemas.microsoft.com/office/drawing/2014/chart" uri="{C3380CC4-5D6E-409C-BE32-E72D297353CC}">
                <c16:uniqueId val="{000001F3-A7CE-4049-B88B-35FCDA646473}"/>
              </c:ext>
            </c:extLst>
          </c:dPt>
          <c:dPt>
            <c:idx val="249"/>
            <c:invertIfNegative val="1"/>
            <c:bubble3D val="0"/>
            <c:spPr>
              <a:solidFill>
                <a:srgbClr val="7ECAC4"/>
              </a:solidFill>
            </c:spPr>
            <c:extLst>
              <c:ext xmlns:c16="http://schemas.microsoft.com/office/drawing/2014/chart" uri="{C3380CC4-5D6E-409C-BE32-E72D297353CC}">
                <c16:uniqueId val="{000001F5-A7CE-4049-B88B-35FCDA646473}"/>
              </c:ext>
            </c:extLst>
          </c:dPt>
          <c:dPt>
            <c:idx val="250"/>
            <c:invertIfNegative val="1"/>
            <c:bubble3D val="0"/>
            <c:spPr>
              <a:solidFill>
                <a:srgbClr val="7ECAC4"/>
              </a:solidFill>
            </c:spPr>
            <c:extLst>
              <c:ext xmlns:c16="http://schemas.microsoft.com/office/drawing/2014/chart" uri="{C3380CC4-5D6E-409C-BE32-E72D297353CC}">
                <c16:uniqueId val="{000001F7-A7CE-4049-B88B-35FCDA646473}"/>
              </c:ext>
            </c:extLst>
          </c:dPt>
          <c:dPt>
            <c:idx val="251"/>
            <c:invertIfNegative val="1"/>
            <c:bubble3D val="0"/>
            <c:spPr>
              <a:solidFill>
                <a:srgbClr val="7ECAC4"/>
              </a:solidFill>
            </c:spPr>
            <c:extLst>
              <c:ext xmlns:c16="http://schemas.microsoft.com/office/drawing/2014/chart" uri="{C3380CC4-5D6E-409C-BE32-E72D297353CC}">
                <c16:uniqueId val="{000001F9-A7CE-4049-B88B-35FCDA646473}"/>
              </c:ext>
            </c:extLst>
          </c:dPt>
          <c:dPt>
            <c:idx val="252"/>
            <c:invertIfNegative val="1"/>
            <c:bubble3D val="0"/>
            <c:spPr>
              <a:solidFill>
                <a:srgbClr val="7ECAC4"/>
              </a:solidFill>
            </c:spPr>
            <c:extLst>
              <c:ext xmlns:c16="http://schemas.microsoft.com/office/drawing/2014/chart" uri="{C3380CC4-5D6E-409C-BE32-E72D297353CC}">
                <c16:uniqueId val="{000001FB-A7CE-4049-B88B-35FCDA646473}"/>
              </c:ext>
            </c:extLst>
          </c:dPt>
          <c:dPt>
            <c:idx val="253"/>
            <c:invertIfNegative val="1"/>
            <c:bubble3D val="0"/>
            <c:spPr>
              <a:solidFill>
                <a:srgbClr val="7ECAC4"/>
              </a:solidFill>
            </c:spPr>
            <c:extLst>
              <c:ext xmlns:c16="http://schemas.microsoft.com/office/drawing/2014/chart" uri="{C3380CC4-5D6E-409C-BE32-E72D297353CC}">
                <c16:uniqueId val="{000001FD-A7CE-4049-B88B-35FCDA646473}"/>
              </c:ext>
            </c:extLst>
          </c:dPt>
          <c:dPt>
            <c:idx val="254"/>
            <c:invertIfNegative val="1"/>
            <c:bubble3D val="0"/>
            <c:spPr>
              <a:solidFill>
                <a:srgbClr val="7ECAC4"/>
              </a:solidFill>
            </c:spPr>
            <c:extLst>
              <c:ext xmlns:c16="http://schemas.microsoft.com/office/drawing/2014/chart" uri="{C3380CC4-5D6E-409C-BE32-E72D297353CC}">
                <c16:uniqueId val="{000001FF-A7CE-4049-B88B-35FCDA646473}"/>
              </c:ext>
            </c:extLst>
          </c:dPt>
          <c:dPt>
            <c:idx val="255"/>
            <c:invertIfNegative val="1"/>
            <c:bubble3D val="0"/>
            <c:spPr>
              <a:solidFill>
                <a:srgbClr val="7ECAC4"/>
              </a:solidFill>
            </c:spPr>
            <c:extLst>
              <c:ext xmlns:c16="http://schemas.microsoft.com/office/drawing/2014/chart" uri="{C3380CC4-5D6E-409C-BE32-E72D297353CC}">
                <c16:uniqueId val="{00000201-A7CE-4049-B88B-35FCDA646473}"/>
              </c:ext>
            </c:extLst>
          </c:dPt>
          <c:dPt>
            <c:idx val="256"/>
            <c:invertIfNegative val="1"/>
            <c:bubble3D val="0"/>
            <c:spPr>
              <a:solidFill>
                <a:srgbClr val="7ECAC4"/>
              </a:solidFill>
            </c:spPr>
            <c:extLst>
              <c:ext xmlns:c16="http://schemas.microsoft.com/office/drawing/2014/chart" uri="{C3380CC4-5D6E-409C-BE32-E72D297353CC}">
                <c16:uniqueId val="{00000203-A7CE-4049-B88B-35FCDA646473}"/>
              </c:ext>
            </c:extLst>
          </c:dPt>
          <c:dPt>
            <c:idx val="257"/>
            <c:invertIfNegative val="1"/>
            <c:bubble3D val="0"/>
            <c:spPr>
              <a:solidFill>
                <a:srgbClr val="7ECAC4"/>
              </a:solidFill>
            </c:spPr>
            <c:extLst>
              <c:ext xmlns:c16="http://schemas.microsoft.com/office/drawing/2014/chart" uri="{C3380CC4-5D6E-409C-BE32-E72D297353CC}">
                <c16:uniqueId val="{00000205-A7CE-4049-B88B-35FCDA646473}"/>
              </c:ext>
            </c:extLst>
          </c:dPt>
          <c:dPt>
            <c:idx val="258"/>
            <c:invertIfNegative val="1"/>
            <c:bubble3D val="0"/>
            <c:spPr>
              <a:solidFill>
                <a:srgbClr val="7ECAC4"/>
              </a:solidFill>
            </c:spPr>
            <c:extLst>
              <c:ext xmlns:c16="http://schemas.microsoft.com/office/drawing/2014/chart" uri="{C3380CC4-5D6E-409C-BE32-E72D297353CC}">
                <c16:uniqueId val="{00000207-A7CE-4049-B88B-35FCDA646473}"/>
              </c:ext>
            </c:extLst>
          </c:dPt>
          <c:dPt>
            <c:idx val="259"/>
            <c:invertIfNegative val="1"/>
            <c:bubble3D val="0"/>
            <c:spPr>
              <a:solidFill>
                <a:srgbClr val="7ECAC4"/>
              </a:solidFill>
            </c:spPr>
            <c:extLst>
              <c:ext xmlns:c16="http://schemas.microsoft.com/office/drawing/2014/chart" uri="{C3380CC4-5D6E-409C-BE32-E72D297353CC}">
                <c16:uniqueId val="{00000209-A7CE-4049-B88B-35FCDA646473}"/>
              </c:ext>
            </c:extLst>
          </c:dPt>
          <c:dPt>
            <c:idx val="260"/>
            <c:invertIfNegative val="1"/>
            <c:bubble3D val="0"/>
            <c:spPr>
              <a:solidFill>
                <a:srgbClr val="7ECAC4"/>
              </a:solidFill>
            </c:spPr>
            <c:extLst>
              <c:ext xmlns:c16="http://schemas.microsoft.com/office/drawing/2014/chart" uri="{C3380CC4-5D6E-409C-BE32-E72D297353CC}">
                <c16:uniqueId val="{0000020B-A7CE-4049-B88B-35FCDA646473}"/>
              </c:ext>
            </c:extLst>
          </c:dPt>
          <c:dPt>
            <c:idx val="261"/>
            <c:invertIfNegative val="1"/>
            <c:bubble3D val="0"/>
            <c:spPr>
              <a:solidFill>
                <a:srgbClr val="7ECAC4"/>
              </a:solidFill>
            </c:spPr>
            <c:extLst>
              <c:ext xmlns:c16="http://schemas.microsoft.com/office/drawing/2014/chart" uri="{C3380CC4-5D6E-409C-BE32-E72D297353CC}">
                <c16:uniqueId val="{0000020D-A7CE-4049-B88B-35FCDA646473}"/>
              </c:ext>
            </c:extLst>
          </c:dPt>
          <c:dPt>
            <c:idx val="262"/>
            <c:invertIfNegative val="1"/>
            <c:bubble3D val="0"/>
            <c:spPr>
              <a:solidFill>
                <a:srgbClr val="7ECAC4"/>
              </a:solidFill>
            </c:spPr>
            <c:extLst>
              <c:ext xmlns:c16="http://schemas.microsoft.com/office/drawing/2014/chart" uri="{C3380CC4-5D6E-409C-BE32-E72D297353CC}">
                <c16:uniqueId val="{0000020F-A7CE-4049-B88B-35FCDA646473}"/>
              </c:ext>
            </c:extLst>
          </c:dPt>
          <c:dPt>
            <c:idx val="263"/>
            <c:invertIfNegative val="1"/>
            <c:bubble3D val="0"/>
            <c:spPr>
              <a:solidFill>
                <a:srgbClr val="7ECAC4"/>
              </a:solidFill>
            </c:spPr>
            <c:extLst>
              <c:ext xmlns:c16="http://schemas.microsoft.com/office/drawing/2014/chart" uri="{C3380CC4-5D6E-409C-BE32-E72D297353CC}">
                <c16:uniqueId val="{00000211-A7CE-4049-B88B-35FCDA646473}"/>
              </c:ext>
            </c:extLst>
          </c:dPt>
          <c:dPt>
            <c:idx val="264"/>
            <c:invertIfNegative val="1"/>
            <c:bubble3D val="0"/>
            <c:spPr>
              <a:solidFill>
                <a:srgbClr val="7ECAC4"/>
              </a:solidFill>
            </c:spPr>
            <c:extLst>
              <c:ext xmlns:c16="http://schemas.microsoft.com/office/drawing/2014/chart" uri="{C3380CC4-5D6E-409C-BE32-E72D297353CC}">
                <c16:uniqueId val="{00000213-A7CE-4049-B88B-35FCDA646473}"/>
              </c:ext>
            </c:extLst>
          </c:dPt>
          <c:dPt>
            <c:idx val="265"/>
            <c:invertIfNegative val="1"/>
            <c:bubble3D val="0"/>
            <c:spPr>
              <a:solidFill>
                <a:srgbClr val="7ECAC4"/>
              </a:solidFill>
            </c:spPr>
            <c:extLst>
              <c:ext xmlns:c16="http://schemas.microsoft.com/office/drawing/2014/chart" uri="{C3380CC4-5D6E-409C-BE32-E72D297353CC}">
                <c16:uniqueId val="{00000215-A7CE-4049-B88B-35FCDA646473}"/>
              </c:ext>
            </c:extLst>
          </c:dPt>
          <c:dPt>
            <c:idx val="266"/>
            <c:invertIfNegative val="1"/>
            <c:bubble3D val="0"/>
            <c:spPr>
              <a:solidFill>
                <a:srgbClr val="7ECAC4"/>
              </a:solidFill>
            </c:spPr>
            <c:extLst>
              <c:ext xmlns:c16="http://schemas.microsoft.com/office/drawing/2014/chart" uri="{C3380CC4-5D6E-409C-BE32-E72D297353CC}">
                <c16:uniqueId val="{00000217-A7CE-4049-B88B-35FCDA646473}"/>
              </c:ext>
            </c:extLst>
          </c:dPt>
          <c:dPt>
            <c:idx val="267"/>
            <c:invertIfNegative val="1"/>
            <c:bubble3D val="0"/>
            <c:spPr>
              <a:solidFill>
                <a:srgbClr val="7ECAC4"/>
              </a:solidFill>
            </c:spPr>
            <c:extLst>
              <c:ext xmlns:c16="http://schemas.microsoft.com/office/drawing/2014/chart" uri="{C3380CC4-5D6E-409C-BE32-E72D297353CC}">
                <c16:uniqueId val="{00000219-A7CE-4049-B88B-35FCDA646473}"/>
              </c:ext>
            </c:extLst>
          </c:dPt>
          <c:dPt>
            <c:idx val="268"/>
            <c:invertIfNegative val="1"/>
            <c:bubble3D val="0"/>
            <c:spPr>
              <a:solidFill>
                <a:srgbClr val="7ECAC4"/>
              </a:solidFill>
            </c:spPr>
            <c:extLst>
              <c:ext xmlns:c16="http://schemas.microsoft.com/office/drawing/2014/chart" uri="{C3380CC4-5D6E-409C-BE32-E72D297353CC}">
                <c16:uniqueId val="{0000021B-A7CE-4049-B88B-35FCDA646473}"/>
              </c:ext>
            </c:extLst>
          </c:dPt>
          <c:dPt>
            <c:idx val="269"/>
            <c:invertIfNegative val="1"/>
            <c:bubble3D val="0"/>
            <c:spPr>
              <a:solidFill>
                <a:srgbClr val="7ECAC4"/>
              </a:solidFill>
            </c:spPr>
            <c:extLst>
              <c:ext xmlns:c16="http://schemas.microsoft.com/office/drawing/2014/chart" uri="{C3380CC4-5D6E-409C-BE32-E72D297353CC}">
                <c16:uniqueId val="{0000021D-A7CE-4049-B88B-35FCDA646473}"/>
              </c:ext>
            </c:extLst>
          </c:dPt>
          <c:dPt>
            <c:idx val="270"/>
            <c:invertIfNegative val="1"/>
            <c:bubble3D val="0"/>
            <c:spPr>
              <a:solidFill>
                <a:srgbClr val="7ECAC4"/>
              </a:solidFill>
            </c:spPr>
            <c:extLst>
              <c:ext xmlns:c16="http://schemas.microsoft.com/office/drawing/2014/chart" uri="{C3380CC4-5D6E-409C-BE32-E72D297353CC}">
                <c16:uniqueId val="{0000021F-A7CE-4049-B88B-35FCDA646473}"/>
              </c:ext>
            </c:extLst>
          </c:dPt>
          <c:dPt>
            <c:idx val="271"/>
            <c:invertIfNegative val="1"/>
            <c:bubble3D val="0"/>
            <c:spPr>
              <a:solidFill>
                <a:srgbClr val="7ECAC4"/>
              </a:solidFill>
            </c:spPr>
            <c:extLst>
              <c:ext xmlns:c16="http://schemas.microsoft.com/office/drawing/2014/chart" uri="{C3380CC4-5D6E-409C-BE32-E72D297353CC}">
                <c16:uniqueId val="{00000221-A7CE-4049-B88B-35FCDA646473}"/>
              </c:ext>
            </c:extLst>
          </c:dPt>
          <c:dPt>
            <c:idx val="272"/>
            <c:invertIfNegative val="1"/>
            <c:bubble3D val="0"/>
            <c:spPr>
              <a:solidFill>
                <a:srgbClr val="7ECAC4"/>
              </a:solidFill>
            </c:spPr>
            <c:extLst>
              <c:ext xmlns:c16="http://schemas.microsoft.com/office/drawing/2014/chart" uri="{C3380CC4-5D6E-409C-BE32-E72D297353CC}">
                <c16:uniqueId val="{00000223-A7CE-4049-B88B-35FCDA646473}"/>
              </c:ext>
            </c:extLst>
          </c:dPt>
          <c:dPt>
            <c:idx val="273"/>
            <c:invertIfNegative val="1"/>
            <c:bubble3D val="0"/>
            <c:spPr>
              <a:solidFill>
                <a:srgbClr val="7ECAC4"/>
              </a:solidFill>
            </c:spPr>
            <c:extLst>
              <c:ext xmlns:c16="http://schemas.microsoft.com/office/drawing/2014/chart" uri="{C3380CC4-5D6E-409C-BE32-E72D297353CC}">
                <c16:uniqueId val="{00000225-A7CE-4049-B88B-35FCDA646473}"/>
              </c:ext>
            </c:extLst>
          </c:dPt>
          <c:dPt>
            <c:idx val="274"/>
            <c:invertIfNegative val="1"/>
            <c:bubble3D val="0"/>
            <c:spPr>
              <a:solidFill>
                <a:srgbClr val="7ECAC4"/>
              </a:solidFill>
            </c:spPr>
            <c:extLst>
              <c:ext xmlns:c16="http://schemas.microsoft.com/office/drawing/2014/chart" uri="{C3380CC4-5D6E-409C-BE32-E72D297353CC}">
                <c16:uniqueId val="{00000227-A7CE-4049-B88B-35FCDA646473}"/>
              </c:ext>
            </c:extLst>
          </c:dPt>
          <c:dPt>
            <c:idx val="275"/>
            <c:invertIfNegative val="1"/>
            <c:bubble3D val="0"/>
            <c:spPr>
              <a:solidFill>
                <a:srgbClr val="7ECAC4"/>
              </a:solidFill>
            </c:spPr>
            <c:extLst>
              <c:ext xmlns:c16="http://schemas.microsoft.com/office/drawing/2014/chart" uri="{C3380CC4-5D6E-409C-BE32-E72D297353CC}">
                <c16:uniqueId val="{00000229-A7CE-4049-B88B-35FCDA646473}"/>
              </c:ext>
            </c:extLst>
          </c:dPt>
          <c:dPt>
            <c:idx val="276"/>
            <c:invertIfNegative val="1"/>
            <c:bubble3D val="0"/>
            <c:spPr>
              <a:solidFill>
                <a:srgbClr val="7ECAC4"/>
              </a:solidFill>
            </c:spPr>
            <c:extLst>
              <c:ext xmlns:c16="http://schemas.microsoft.com/office/drawing/2014/chart" uri="{C3380CC4-5D6E-409C-BE32-E72D297353CC}">
                <c16:uniqueId val="{0000022B-A7CE-4049-B88B-35FCDA646473}"/>
              </c:ext>
            </c:extLst>
          </c:dPt>
          <c:dPt>
            <c:idx val="277"/>
            <c:invertIfNegative val="1"/>
            <c:bubble3D val="0"/>
            <c:spPr>
              <a:solidFill>
                <a:srgbClr val="7ECAC4"/>
              </a:solidFill>
            </c:spPr>
            <c:extLst>
              <c:ext xmlns:c16="http://schemas.microsoft.com/office/drawing/2014/chart" uri="{C3380CC4-5D6E-409C-BE32-E72D297353CC}">
                <c16:uniqueId val="{0000022D-A7CE-4049-B88B-35FCDA646473}"/>
              </c:ext>
            </c:extLst>
          </c:dPt>
          <c:dPt>
            <c:idx val="278"/>
            <c:invertIfNegative val="1"/>
            <c:bubble3D val="0"/>
            <c:spPr>
              <a:solidFill>
                <a:srgbClr val="7ECAC4"/>
              </a:solidFill>
            </c:spPr>
            <c:extLst>
              <c:ext xmlns:c16="http://schemas.microsoft.com/office/drawing/2014/chart" uri="{C3380CC4-5D6E-409C-BE32-E72D297353CC}">
                <c16:uniqueId val="{0000022F-A7CE-4049-B88B-35FCDA646473}"/>
              </c:ext>
            </c:extLst>
          </c:dPt>
          <c:dPt>
            <c:idx val="279"/>
            <c:invertIfNegative val="1"/>
            <c:bubble3D val="0"/>
            <c:spPr>
              <a:solidFill>
                <a:srgbClr val="7ECAC4"/>
              </a:solidFill>
            </c:spPr>
            <c:extLst>
              <c:ext xmlns:c16="http://schemas.microsoft.com/office/drawing/2014/chart" uri="{C3380CC4-5D6E-409C-BE32-E72D297353CC}">
                <c16:uniqueId val="{00000231-A7CE-4049-B88B-35FCDA646473}"/>
              </c:ext>
            </c:extLst>
          </c:dPt>
          <c:dPt>
            <c:idx val="280"/>
            <c:invertIfNegative val="1"/>
            <c:bubble3D val="0"/>
            <c:spPr>
              <a:solidFill>
                <a:srgbClr val="7ECAC4"/>
              </a:solidFill>
            </c:spPr>
            <c:extLst>
              <c:ext xmlns:c16="http://schemas.microsoft.com/office/drawing/2014/chart" uri="{C3380CC4-5D6E-409C-BE32-E72D297353CC}">
                <c16:uniqueId val="{00000233-A7CE-4049-B88B-35FCDA646473}"/>
              </c:ext>
            </c:extLst>
          </c:dPt>
          <c:dPt>
            <c:idx val="281"/>
            <c:invertIfNegative val="1"/>
            <c:bubble3D val="0"/>
            <c:spPr>
              <a:solidFill>
                <a:srgbClr val="7ECAC4"/>
              </a:solidFill>
            </c:spPr>
            <c:extLst>
              <c:ext xmlns:c16="http://schemas.microsoft.com/office/drawing/2014/chart" uri="{C3380CC4-5D6E-409C-BE32-E72D297353CC}">
                <c16:uniqueId val="{00000235-A7CE-4049-B88B-35FCDA646473}"/>
              </c:ext>
            </c:extLst>
          </c:dPt>
          <c:dPt>
            <c:idx val="282"/>
            <c:invertIfNegative val="1"/>
            <c:bubble3D val="0"/>
            <c:spPr>
              <a:solidFill>
                <a:srgbClr val="7ECAC4"/>
              </a:solidFill>
            </c:spPr>
            <c:extLst>
              <c:ext xmlns:c16="http://schemas.microsoft.com/office/drawing/2014/chart" uri="{C3380CC4-5D6E-409C-BE32-E72D297353CC}">
                <c16:uniqueId val="{00000237-A7CE-4049-B88B-35FCDA646473}"/>
              </c:ext>
            </c:extLst>
          </c:dPt>
          <c:dPt>
            <c:idx val="283"/>
            <c:invertIfNegative val="1"/>
            <c:bubble3D val="0"/>
            <c:spPr>
              <a:solidFill>
                <a:srgbClr val="7ECAC4"/>
              </a:solidFill>
            </c:spPr>
            <c:extLst>
              <c:ext xmlns:c16="http://schemas.microsoft.com/office/drawing/2014/chart" uri="{C3380CC4-5D6E-409C-BE32-E72D297353CC}">
                <c16:uniqueId val="{00000239-A7CE-4049-B88B-35FCDA646473}"/>
              </c:ext>
            </c:extLst>
          </c:dPt>
          <c:dPt>
            <c:idx val="284"/>
            <c:invertIfNegative val="1"/>
            <c:bubble3D val="0"/>
            <c:spPr>
              <a:solidFill>
                <a:srgbClr val="7ECAC4"/>
              </a:solidFill>
            </c:spPr>
            <c:extLst>
              <c:ext xmlns:c16="http://schemas.microsoft.com/office/drawing/2014/chart" uri="{C3380CC4-5D6E-409C-BE32-E72D297353CC}">
                <c16:uniqueId val="{0000023B-A7CE-4049-B88B-35FCDA646473}"/>
              </c:ext>
            </c:extLst>
          </c:dPt>
          <c:dPt>
            <c:idx val="285"/>
            <c:invertIfNegative val="1"/>
            <c:bubble3D val="0"/>
            <c:spPr>
              <a:solidFill>
                <a:srgbClr val="7ECAC4"/>
              </a:solidFill>
            </c:spPr>
            <c:extLst>
              <c:ext xmlns:c16="http://schemas.microsoft.com/office/drawing/2014/chart" uri="{C3380CC4-5D6E-409C-BE32-E72D297353CC}">
                <c16:uniqueId val="{0000023D-A7CE-4049-B88B-35FCDA646473}"/>
              </c:ext>
            </c:extLst>
          </c:dPt>
          <c:dPt>
            <c:idx val="286"/>
            <c:invertIfNegative val="1"/>
            <c:bubble3D val="0"/>
            <c:spPr>
              <a:solidFill>
                <a:srgbClr val="7ECAC4"/>
              </a:solidFill>
            </c:spPr>
            <c:extLst>
              <c:ext xmlns:c16="http://schemas.microsoft.com/office/drawing/2014/chart" uri="{C3380CC4-5D6E-409C-BE32-E72D297353CC}">
                <c16:uniqueId val="{0000023F-A7CE-4049-B88B-35FCDA646473}"/>
              </c:ext>
            </c:extLst>
          </c:dPt>
          <c:dPt>
            <c:idx val="287"/>
            <c:invertIfNegative val="1"/>
            <c:bubble3D val="0"/>
            <c:spPr>
              <a:solidFill>
                <a:srgbClr val="7ECAC4"/>
              </a:solidFill>
            </c:spPr>
            <c:extLst>
              <c:ext xmlns:c16="http://schemas.microsoft.com/office/drawing/2014/chart" uri="{C3380CC4-5D6E-409C-BE32-E72D297353CC}">
                <c16:uniqueId val="{00000241-A7CE-4049-B88B-35FCDA646473}"/>
              </c:ext>
            </c:extLst>
          </c:dPt>
          <c:dPt>
            <c:idx val="288"/>
            <c:invertIfNegative val="1"/>
            <c:bubble3D val="0"/>
            <c:spPr>
              <a:solidFill>
                <a:srgbClr val="7ECAC4"/>
              </a:solidFill>
            </c:spPr>
            <c:extLst>
              <c:ext xmlns:c16="http://schemas.microsoft.com/office/drawing/2014/chart" uri="{C3380CC4-5D6E-409C-BE32-E72D297353CC}">
                <c16:uniqueId val="{00000243-A7CE-4049-B88B-35FCDA646473}"/>
              </c:ext>
            </c:extLst>
          </c:dPt>
          <c:dPt>
            <c:idx val="289"/>
            <c:invertIfNegative val="1"/>
            <c:bubble3D val="0"/>
            <c:spPr>
              <a:solidFill>
                <a:srgbClr val="7ECAC4"/>
              </a:solidFill>
            </c:spPr>
            <c:extLst>
              <c:ext xmlns:c16="http://schemas.microsoft.com/office/drawing/2014/chart" uri="{C3380CC4-5D6E-409C-BE32-E72D297353CC}">
                <c16:uniqueId val="{00000245-A7CE-4049-B88B-35FCDA646473}"/>
              </c:ext>
            </c:extLst>
          </c:dPt>
          <c:dPt>
            <c:idx val="290"/>
            <c:invertIfNegative val="1"/>
            <c:bubble3D val="0"/>
            <c:spPr>
              <a:solidFill>
                <a:srgbClr val="7ECAC4"/>
              </a:solidFill>
            </c:spPr>
            <c:extLst>
              <c:ext xmlns:c16="http://schemas.microsoft.com/office/drawing/2014/chart" uri="{C3380CC4-5D6E-409C-BE32-E72D297353CC}">
                <c16:uniqueId val="{00000247-A7CE-4049-B88B-35FCDA646473}"/>
              </c:ext>
            </c:extLst>
          </c:dPt>
          <c:dPt>
            <c:idx val="291"/>
            <c:invertIfNegative val="1"/>
            <c:bubble3D val="0"/>
            <c:spPr>
              <a:solidFill>
                <a:srgbClr val="7ECAC4"/>
              </a:solidFill>
            </c:spPr>
            <c:extLst>
              <c:ext xmlns:c16="http://schemas.microsoft.com/office/drawing/2014/chart" uri="{C3380CC4-5D6E-409C-BE32-E72D297353CC}">
                <c16:uniqueId val="{00000249-A7CE-4049-B88B-35FCDA646473}"/>
              </c:ext>
            </c:extLst>
          </c:dPt>
          <c:dPt>
            <c:idx val="292"/>
            <c:invertIfNegative val="1"/>
            <c:bubble3D val="0"/>
            <c:spPr>
              <a:solidFill>
                <a:srgbClr val="7ECAC4"/>
              </a:solidFill>
            </c:spPr>
            <c:extLst>
              <c:ext xmlns:c16="http://schemas.microsoft.com/office/drawing/2014/chart" uri="{C3380CC4-5D6E-409C-BE32-E72D297353CC}">
                <c16:uniqueId val="{0000024B-A7CE-4049-B88B-35FCDA646473}"/>
              </c:ext>
            </c:extLst>
          </c:dPt>
          <c:dPt>
            <c:idx val="293"/>
            <c:invertIfNegative val="1"/>
            <c:bubble3D val="0"/>
            <c:spPr>
              <a:solidFill>
                <a:srgbClr val="7ECAC4"/>
              </a:solidFill>
            </c:spPr>
            <c:extLst>
              <c:ext xmlns:c16="http://schemas.microsoft.com/office/drawing/2014/chart" uri="{C3380CC4-5D6E-409C-BE32-E72D297353CC}">
                <c16:uniqueId val="{0000024D-A7CE-4049-B88B-35FCDA646473}"/>
              </c:ext>
            </c:extLst>
          </c:dPt>
          <c:dPt>
            <c:idx val="294"/>
            <c:invertIfNegative val="1"/>
            <c:bubble3D val="0"/>
            <c:spPr>
              <a:solidFill>
                <a:srgbClr val="7ECAC4"/>
              </a:solidFill>
            </c:spPr>
            <c:extLst>
              <c:ext xmlns:c16="http://schemas.microsoft.com/office/drawing/2014/chart" uri="{C3380CC4-5D6E-409C-BE32-E72D297353CC}">
                <c16:uniqueId val="{0000024F-A7CE-4049-B88B-35FCDA646473}"/>
              </c:ext>
            </c:extLst>
          </c:dPt>
          <c:dPt>
            <c:idx val="295"/>
            <c:invertIfNegative val="1"/>
            <c:bubble3D val="0"/>
            <c:spPr>
              <a:solidFill>
                <a:srgbClr val="7ECAC4"/>
              </a:solidFill>
            </c:spPr>
            <c:extLst>
              <c:ext xmlns:c16="http://schemas.microsoft.com/office/drawing/2014/chart" uri="{C3380CC4-5D6E-409C-BE32-E72D297353CC}">
                <c16:uniqueId val="{00000251-A7CE-4049-B88B-35FCDA646473}"/>
              </c:ext>
            </c:extLst>
          </c:dPt>
          <c:dPt>
            <c:idx val="296"/>
            <c:invertIfNegative val="1"/>
            <c:bubble3D val="0"/>
            <c:spPr>
              <a:solidFill>
                <a:srgbClr val="7ECAC4"/>
              </a:solidFill>
            </c:spPr>
            <c:extLst>
              <c:ext xmlns:c16="http://schemas.microsoft.com/office/drawing/2014/chart" uri="{C3380CC4-5D6E-409C-BE32-E72D297353CC}">
                <c16:uniqueId val="{00000253-A7CE-4049-B88B-35FCDA646473}"/>
              </c:ext>
            </c:extLst>
          </c:dPt>
          <c:dPt>
            <c:idx val="297"/>
            <c:invertIfNegative val="1"/>
            <c:bubble3D val="0"/>
            <c:spPr>
              <a:solidFill>
                <a:srgbClr val="7ECAC4"/>
              </a:solidFill>
            </c:spPr>
            <c:extLst>
              <c:ext xmlns:c16="http://schemas.microsoft.com/office/drawing/2014/chart" uri="{C3380CC4-5D6E-409C-BE32-E72D297353CC}">
                <c16:uniqueId val="{00000255-A7CE-4049-B88B-35FCDA646473}"/>
              </c:ext>
            </c:extLst>
          </c:dPt>
          <c:dPt>
            <c:idx val="298"/>
            <c:invertIfNegative val="1"/>
            <c:bubble3D val="0"/>
            <c:spPr>
              <a:solidFill>
                <a:srgbClr val="7ECAC4"/>
              </a:solidFill>
            </c:spPr>
            <c:extLst>
              <c:ext xmlns:c16="http://schemas.microsoft.com/office/drawing/2014/chart" uri="{C3380CC4-5D6E-409C-BE32-E72D297353CC}">
                <c16:uniqueId val="{00000257-A7CE-4049-B88B-35FCDA646473}"/>
              </c:ext>
            </c:extLst>
          </c:dPt>
          <c:dPt>
            <c:idx val="299"/>
            <c:invertIfNegative val="1"/>
            <c:bubble3D val="0"/>
            <c:spPr>
              <a:solidFill>
                <a:srgbClr val="7ECAC4"/>
              </a:solidFill>
            </c:spPr>
            <c:extLst>
              <c:ext xmlns:c16="http://schemas.microsoft.com/office/drawing/2014/chart" uri="{C3380CC4-5D6E-409C-BE32-E72D297353CC}">
                <c16:uniqueId val="{00000259-A7CE-4049-B88B-35FCDA646473}"/>
              </c:ext>
            </c:extLst>
          </c:dPt>
          <c:dPt>
            <c:idx val="300"/>
            <c:invertIfNegative val="1"/>
            <c:bubble3D val="0"/>
            <c:spPr>
              <a:solidFill>
                <a:srgbClr val="7ECAC4"/>
              </a:solidFill>
            </c:spPr>
            <c:extLst>
              <c:ext xmlns:c16="http://schemas.microsoft.com/office/drawing/2014/chart" uri="{C3380CC4-5D6E-409C-BE32-E72D297353CC}">
                <c16:uniqueId val="{0000025B-A7CE-4049-B88B-35FCDA646473}"/>
              </c:ext>
            </c:extLst>
          </c:dPt>
          <c:dPt>
            <c:idx val="301"/>
            <c:invertIfNegative val="1"/>
            <c:bubble3D val="0"/>
            <c:spPr>
              <a:solidFill>
                <a:srgbClr val="7ECAC4"/>
              </a:solidFill>
            </c:spPr>
            <c:extLst>
              <c:ext xmlns:c16="http://schemas.microsoft.com/office/drawing/2014/chart" uri="{C3380CC4-5D6E-409C-BE32-E72D297353CC}">
                <c16:uniqueId val="{0000025D-A7CE-4049-B88B-35FCDA646473}"/>
              </c:ext>
            </c:extLst>
          </c:dPt>
          <c:dPt>
            <c:idx val="302"/>
            <c:invertIfNegative val="1"/>
            <c:bubble3D val="0"/>
            <c:spPr>
              <a:solidFill>
                <a:srgbClr val="7ECAC4"/>
              </a:solidFill>
            </c:spPr>
            <c:extLst>
              <c:ext xmlns:c16="http://schemas.microsoft.com/office/drawing/2014/chart" uri="{C3380CC4-5D6E-409C-BE32-E72D297353CC}">
                <c16:uniqueId val="{0000025F-A7CE-4049-B88B-35FCDA646473}"/>
              </c:ext>
            </c:extLst>
          </c:dPt>
          <c:dPt>
            <c:idx val="303"/>
            <c:invertIfNegative val="1"/>
            <c:bubble3D val="0"/>
            <c:spPr>
              <a:solidFill>
                <a:srgbClr val="7ECAC4"/>
              </a:solidFill>
            </c:spPr>
            <c:extLst>
              <c:ext xmlns:c16="http://schemas.microsoft.com/office/drawing/2014/chart" uri="{C3380CC4-5D6E-409C-BE32-E72D297353CC}">
                <c16:uniqueId val="{00000261-A7CE-4049-B88B-35FCDA646473}"/>
              </c:ext>
            </c:extLst>
          </c:dPt>
          <c:dPt>
            <c:idx val="304"/>
            <c:invertIfNegative val="1"/>
            <c:bubble3D val="0"/>
            <c:spPr>
              <a:solidFill>
                <a:srgbClr val="7ECAC4"/>
              </a:solidFill>
            </c:spPr>
            <c:extLst>
              <c:ext xmlns:c16="http://schemas.microsoft.com/office/drawing/2014/chart" uri="{C3380CC4-5D6E-409C-BE32-E72D297353CC}">
                <c16:uniqueId val="{00000263-A7CE-4049-B88B-35FCDA646473}"/>
              </c:ext>
            </c:extLst>
          </c:dPt>
          <c:dPt>
            <c:idx val="305"/>
            <c:invertIfNegative val="1"/>
            <c:bubble3D val="0"/>
            <c:spPr>
              <a:solidFill>
                <a:srgbClr val="7ECAC4"/>
              </a:solidFill>
            </c:spPr>
            <c:extLst>
              <c:ext xmlns:c16="http://schemas.microsoft.com/office/drawing/2014/chart" uri="{C3380CC4-5D6E-409C-BE32-E72D297353CC}">
                <c16:uniqueId val="{00000265-A7CE-4049-B88B-35FCDA646473}"/>
              </c:ext>
            </c:extLst>
          </c:dPt>
          <c:dPt>
            <c:idx val="306"/>
            <c:invertIfNegative val="1"/>
            <c:bubble3D val="0"/>
            <c:spPr>
              <a:solidFill>
                <a:srgbClr val="7ECAC4"/>
              </a:solidFill>
            </c:spPr>
            <c:extLst>
              <c:ext xmlns:c16="http://schemas.microsoft.com/office/drawing/2014/chart" uri="{C3380CC4-5D6E-409C-BE32-E72D297353CC}">
                <c16:uniqueId val="{00000267-A7CE-4049-B88B-35FCDA646473}"/>
              </c:ext>
            </c:extLst>
          </c:dPt>
          <c:dPt>
            <c:idx val="307"/>
            <c:invertIfNegative val="1"/>
            <c:bubble3D val="0"/>
            <c:spPr>
              <a:solidFill>
                <a:srgbClr val="7ECAC4"/>
              </a:solidFill>
            </c:spPr>
            <c:extLst>
              <c:ext xmlns:c16="http://schemas.microsoft.com/office/drawing/2014/chart" uri="{C3380CC4-5D6E-409C-BE32-E72D297353CC}">
                <c16:uniqueId val="{00000269-A7CE-4049-B88B-35FCDA646473}"/>
              </c:ext>
            </c:extLst>
          </c:dPt>
          <c:dPt>
            <c:idx val="308"/>
            <c:invertIfNegative val="1"/>
            <c:bubble3D val="0"/>
            <c:spPr>
              <a:solidFill>
                <a:srgbClr val="7ECAC4"/>
              </a:solidFill>
            </c:spPr>
            <c:extLst>
              <c:ext xmlns:c16="http://schemas.microsoft.com/office/drawing/2014/chart" uri="{C3380CC4-5D6E-409C-BE32-E72D297353CC}">
                <c16:uniqueId val="{0000026B-A7CE-4049-B88B-35FCDA646473}"/>
              </c:ext>
            </c:extLst>
          </c:dPt>
          <c:dPt>
            <c:idx val="309"/>
            <c:invertIfNegative val="1"/>
            <c:bubble3D val="0"/>
            <c:spPr>
              <a:solidFill>
                <a:srgbClr val="7ECAC4"/>
              </a:solidFill>
            </c:spPr>
            <c:extLst>
              <c:ext xmlns:c16="http://schemas.microsoft.com/office/drawing/2014/chart" uri="{C3380CC4-5D6E-409C-BE32-E72D297353CC}">
                <c16:uniqueId val="{0000026D-A7CE-4049-B88B-35FCDA646473}"/>
              </c:ext>
            </c:extLst>
          </c:dPt>
          <c:dPt>
            <c:idx val="310"/>
            <c:invertIfNegative val="1"/>
            <c:bubble3D val="0"/>
            <c:spPr>
              <a:solidFill>
                <a:srgbClr val="7ECAC4"/>
              </a:solidFill>
            </c:spPr>
            <c:extLst>
              <c:ext xmlns:c16="http://schemas.microsoft.com/office/drawing/2014/chart" uri="{C3380CC4-5D6E-409C-BE32-E72D297353CC}">
                <c16:uniqueId val="{0000026F-A7CE-4049-B88B-35FCDA646473}"/>
              </c:ext>
            </c:extLst>
          </c:dPt>
          <c:dPt>
            <c:idx val="311"/>
            <c:invertIfNegative val="1"/>
            <c:bubble3D val="0"/>
            <c:spPr>
              <a:solidFill>
                <a:srgbClr val="7ECAC4"/>
              </a:solidFill>
            </c:spPr>
            <c:extLst>
              <c:ext xmlns:c16="http://schemas.microsoft.com/office/drawing/2014/chart" uri="{C3380CC4-5D6E-409C-BE32-E72D297353CC}">
                <c16:uniqueId val="{00000271-A7CE-4049-B88B-35FCDA646473}"/>
              </c:ext>
            </c:extLst>
          </c:dPt>
          <c:dPt>
            <c:idx val="312"/>
            <c:invertIfNegative val="1"/>
            <c:bubble3D val="0"/>
            <c:spPr>
              <a:solidFill>
                <a:srgbClr val="7ECAC4"/>
              </a:solidFill>
            </c:spPr>
            <c:extLst>
              <c:ext xmlns:c16="http://schemas.microsoft.com/office/drawing/2014/chart" uri="{C3380CC4-5D6E-409C-BE32-E72D297353CC}">
                <c16:uniqueId val="{00000273-A7CE-4049-B88B-35FCDA646473}"/>
              </c:ext>
            </c:extLst>
          </c:dPt>
          <c:dPt>
            <c:idx val="313"/>
            <c:invertIfNegative val="1"/>
            <c:bubble3D val="0"/>
            <c:spPr>
              <a:solidFill>
                <a:srgbClr val="7ECAC4"/>
              </a:solidFill>
            </c:spPr>
            <c:extLst>
              <c:ext xmlns:c16="http://schemas.microsoft.com/office/drawing/2014/chart" uri="{C3380CC4-5D6E-409C-BE32-E72D297353CC}">
                <c16:uniqueId val="{00000275-A7CE-4049-B88B-35FCDA646473}"/>
              </c:ext>
            </c:extLst>
          </c:dPt>
          <c:dPt>
            <c:idx val="314"/>
            <c:invertIfNegative val="1"/>
            <c:bubble3D val="0"/>
            <c:spPr>
              <a:solidFill>
                <a:srgbClr val="7ECAC4"/>
              </a:solidFill>
            </c:spPr>
            <c:extLst>
              <c:ext xmlns:c16="http://schemas.microsoft.com/office/drawing/2014/chart" uri="{C3380CC4-5D6E-409C-BE32-E72D297353CC}">
                <c16:uniqueId val="{00000277-A7CE-4049-B88B-35FCDA646473}"/>
              </c:ext>
            </c:extLst>
          </c:dPt>
          <c:dPt>
            <c:idx val="315"/>
            <c:invertIfNegative val="1"/>
            <c:bubble3D val="0"/>
            <c:spPr>
              <a:solidFill>
                <a:srgbClr val="7ECAC4"/>
              </a:solidFill>
            </c:spPr>
            <c:extLst>
              <c:ext xmlns:c16="http://schemas.microsoft.com/office/drawing/2014/chart" uri="{C3380CC4-5D6E-409C-BE32-E72D297353CC}">
                <c16:uniqueId val="{00000279-A7CE-4049-B88B-35FCDA646473}"/>
              </c:ext>
            </c:extLst>
          </c:dPt>
          <c:dPt>
            <c:idx val="316"/>
            <c:invertIfNegative val="1"/>
            <c:bubble3D val="0"/>
            <c:spPr>
              <a:solidFill>
                <a:srgbClr val="7ECAC4"/>
              </a:solidFill>
            </c:spPr>
            <c:extLst>
              <c:ext xmlns:c16="http://schemas.microsoft.com/office/drawing/2014/chart" uri="{C3380CC4-5D6E-409C-BE32-E72D297353CC}">
                <c16:uniqueId val="{0000027B-A7CE-4049-B88B-35FCDA646473}"/>
              </c:ext>
            </c:extLst>
          </c:dPt>
          <c:dPt>
            <c:idx val="317"/>
            <c:invertIfNegative val="1"/>
            <c:bubble3D val="0"/>
            <c:spPr>
              <a:solidFill>
                <a:srgbClr val="7ECAC4"/>
              </a:solidFill>
            </c:spPr>
            <c:extLst>
              <c:ext xmlns:c16="http://schemas.microsoft.com/office/drawing/2014/chart" uri="{C3380CC4-5D6E-409C-BE32-E72D297353CC}">
                <c16:uniqueId val="{0000027D-A7CE-4049-B88B-35FCDA646473}"/>
              </c:ext>
            </c:extLst>
          </c:dPt>
          <c:dPt>
            <c:idx val="318"/>
            <c:invertIfNegative val="1"/>
            <c:bubble3D val="0"/>
            <c:spPr>
              <a:solidFill>
                <a:srgbClr val="7ECAC4"/>
              </a:solidFill>
            </c:spPr>
            <c:extLst>
              <c:ext xmlns:c16="http://schemas.microsoft.com/office/drawing/2014/chart" uri="{C3380CC4-5D6E-409C-BE32-E72D297353CC}">
                <c16:uniqueId val="{0000027F-A7CE-4049-B88B-35FCDA646473}"/>
              </c:ext>
            </c:extLst>
          </c:dPt>
          <c:dPt>
            <c:idx val="319"/>
            <c:invertIfNegative val="1"/>
            <c:bubble3D val="0"/>
            <c:spPr>
              <a:solidFill>
                <a:srgbClr val="7ECAC4"/>
              </a:solidFill>
            </c:spPr>
            <c:extLst>
              <c:ext xmlns:c16="http://schemas.microsoft.com/office/drawing/2014/chart" uri="{C3380CC4-5D6E-409C-BE32-E72D297353CC}">
                <c16:uniqueId val="{00000281-A7CE-4049-B88B-35FCDA646473}"/>
              </c:ext>
            </c:extLst>
          </c:dPt>
          <c:dPt>
            <c:idx val="320"/>
            <c:invertIfNegative val="1"/>
            <c:bubble3D val="0"/>
            <c:spPr>
              <a:solidFill>
                <a:srgbClr val="7ECAC4"/>
              </a:solidFill>
            </c:spPr>
            <c:extLst>
              <c:ext xmlns:c16="http://schemas.microsoft.com/office/drawing/2014/chart" uri="{C3380CC4-5D6E-409C-BE32-E72D297353CC}">
                <c16:uniqueId val="{00000283-A7CE-4049-B88B-35FCDA646473}"/>
              </c:ext>
            </c:extLst>
          </c:dPt>
          <c:dPt>
            <c:idx val="321"/>
            <c:invertIfNegative val="1"/>
            <c:bubble3D val="0"/>
            <c:spPr>
              <a:solidFill>
                <a:srgbClr val="7ECAC4"/>
              </a:solidFill>
            </c:spPr>
            <c:extLst>
              <c:ext xmlns:c16="http://schemas.microsoft.com/office/drawing/2014/chart" uri="{C3380CC4-5D6E-409C-BE32-E72D297353CC}">
                <c16:uniqueId val="{00000285-A7CE-4049-B88B-35FCDA646473}"/>
              </c:ext>
            </c:extLst>
          </c:dPt>
          <c:dPt>
            <c:idx val="322"/>
            <c:invertIfNegative val="1"/>
            <c:bubble3D val="0"/>
            <c:spPr>
              <a:solidFill>
                <a:srgbClr val="7ECAC4"/>
              </a:solidFill>
            </c:spPr>
            <c:extLst>
              <c:ext xmlns:c16="http://schemas.microsoft.com/office/drawing/2014/chart" uri="{C3380CC4-5D6E-409C-BE32-E72D297353CC}">
                <c16:uniqueId val="{00000287-A7CE-4049-B88B-35FCDA646473}"/>
              </c:ext>
            </c:extLst>
          </c:dPt>
          <c:dPt>
            <c:idx val="323"/>
            <c:invertIfNegative val="1"/>
            <c:bubble3D val="0"/>
            <c:spPr>
              <a:solidFill>
                <a:srgbClr val="7ECAC4"/>
              </a:solidFill>
            </c:spPr>
            <c:extLst>
              <c:ext xmlns:c16="http://schemas.microsoft.com/office/drawing/2014/chart" uri="{C3380CC4-5D6E-409C-BE32-E72D297353CC}">
                <c16:uniqueId val="{00000289-A7CE-4049-B88B-35FCDA646473}"/>
              </c:ext>
            </c:extLst>
          </c:dPt>
          <c:dPt>
            <c:idx val="324"/>
            <c:invertIfNegative val="1"/>
            <c:bubble3D val="0"/>
            <c:spPr>
              <a:solidFill>
                <a:srgbClr val="7ECAC4"/>
              </a:solidFill>
            </c:spPr>
            <c:extLst>
              <c:ext xmlns:c16="http://schemas.microsoft.com/office/drawing/2014/chart" uri="{C3380CC4-5D6E-409C-BE32-E72D297353CC}">
                <c16:uniqueId val="{0000028B-A7CE-4049-B88B-35FCDA646473}"/>
              </c:ext>
            </c:extLst>
          </c:dPt>
          <c:dPt>
            <c:idx val="325"/>
            <c:invertIfNegative val="1"/>
            <c:bubble3D val="0"/>
            <c:spPr>
              <a:solidFill>
                <a:srgbClr val="7ECAC4"/>
              </a:solidFill>
            </c:spPr>
            <c:extLst>
              <c:ext xmlns:c16="http://schemas.microsoft.com/office/drawing/2014/chart" uri="{C3380CC4-5D6E-409C-BE32-E72D297353CC}">
                <c16:uniqueId val="{0000028D-A7CE-4049-B88B-35FCDA646473}"/>
              </c:ext>
            </c:extLst>
          </c:dPt>
          <c:dPt>
            <c:idx val="326"/>
            <c:invertIfNegative val="1"/>
            <c:bubble3D val="0"/>
            <c:spPr>
              <a:solidFill>
                <a:srgbClr val="7ECAC4"/>
              </a:solidFill>
            </c:spPr>
            <c:extLst>
              <c:ext xmlns:c16="http://schemas.microsoft.com/office/drawing/2014/chart" uri="{C3380CC4-5D6E-409C-BE32-E72D297353CC}">
                <c16:uniqueId val="{0000028F-A7CE-4049-B88B-35FCDA646473}"/>
              </c:ext>
            </c:extLst>
          </c:dPt>
          <c:dPt>
            <c:idx val="327"/>
            <c:invertIfNegative val="1"/>
            <c:bubble3D val="0"/>
            <c:spPr>
              <a:solidFill>
                <a:srgbClr val="7ECAC4"/>
              </a:solidFill>
            </c:spPr>
            <c:extLst>
              <c:ext xmlns:c16="http://schemas.microsoft.com/office/drawing/2014/chart" uri="{C3380CC4-5D6E-409C-BE32-E72D297353CC}">
                <c16:uniqueId val="{00000291-A7CE-4049-B88B-35FCDA646473}"/>
              </c:ext>
            </c:extLst>
          </c:dPt>
          <c:dPt>
            <c:idx val="328"/>
            <c:invertIfNegative val="1"/>
            <c:bubble3D val="0"/>
            <c:spPr>
              <a:solidFill>
                <a:srgbClr val="7ECAC4"/>
              </a:solidFill>
            </c:spPr>
            <c:extLst>
              <c:ext xmlns:c16="http://schemas.microsoft.com/office/drawing/2014/chart" uri="{C3380CC4-5D6E-409C-BE32-E72D297353CC}">
                <c16:uniqueId val="{00000293-A7CE-4049-B88B-35FCDA646473}"/>
              </c:ext>
            </c:extLst>
          </c:dPt>
          <c:dPt>
            <c:idx val="329"/>
            <c:invertIfNegative val="1"/>
            <c:bubble3D val="0"/>
            <c:spPr>
              <a:solidFill>
                <a:srgbClr val="7ECAC4"/>
              </a:solidFill>
            </c:spPr>
            <c:extLst>
              <c:ext xmlns:c16="http://schemas.microsoft.com/office/drawing/2014/chart" uri="{C3380CC4-5D6E-409C-BE32-E72D297353CC}">
                <c16:uniqueId val="{00000295-A7CE-4049-B88B-35FCDA646473}"/>
              </c:ext>
            </c:extLst>
          </c:dPt>
          <c:dPt>
            <c:idx val="330"/>
            <c:invertIfNegative val="1"/>
            <c:bubble3D val="0"/>
            <c:spPr>
              <a:solidFill>
                <a:srgbClr val="7ECAC4"/>
              </a:solidFill>
            </c:spPr>
            <c:extLst>
              <c:ext xmlns:c16="http://schemas.microsoft.com/office/drawing/2014/chart" uri="{C3380CC4-5D6E-409C-BE32-E72D297353CC}">
                <c16:uniqueId val="{00000297-A7CE-4049-B88B-35FCDA646473}"/>
              </c:ext>
            </c:extLst>
          </c:dPt>
          <c:dPt>
            <c:idx val="331"/>
            <c:invertIfNegative val="1"/>
            <c:bubble3D val="0"/>
            <c:spPr>
              <a:solidFill>
                <a:srgbClr val="7ECAC4"/>
              </a:solidFill>
            </c:spPr>
            <c:extLst>
              <c:ext xmlns:c16="http://schemas.microsoft.com/office/drawing/2014/chart" uri="{C3380CC4-5D6E-409C-BE32-E72D297353CC}">
                <c16:uniqueId val="{00000299-A7CE-4049-B88B-35FCDA646473}"/>
              </c:ext>
            </c:extLst>
          </c:dPt>
          <c:dPt>
            <c:idx val="332"/>
            <c:invertIfNegative val="1"/>
            <c:bubble3D val="0"/>
            <c:spPr>
              <a:solidFill>
                <a:srgbClr val="7ECAC4"/>
              </a:solidFill>
            </c:spPr>
            <c:extLst>
              <c:ext xmlns:c16="http://schemas.microsoft.com/office/drawing/2014/chart" uri="{C3380CC4-5D6E-409C-BE32-E72D297353CC}">
                <c16:uniqueId val="{0000029B-A7CE-4049-B88B-35FCDA646473}"/>
              </c:ext>
            </c:extLst>
          </c:dPt>
          <c:dPt>
            <c:idx val="333"/>
            <c:invertIfNegative val="1"/>
            <c:bubble3D val="0"/>
            <c:spPr>
              <a:solidFill>
                <a:srgbClr val="7ECAC4"/>
              </a:solidFill>
            </c:spPr>
            <c:extLst>
              <c:ext xmlns:c16="http://schemas.microsoft.com/office/drawing/2014/chart" uri="{C3380CC4-5D6E-409C-BE32-E72D297353CC}">
                <c16:uniqueId val="{0000029D-A7CE-4049-B88B-35FCDA646473}"/>
              </c:ext>
            </c:extLst>
          </c:dPt>
          <c:dPt>
            <c:idx val="334"/>
            <c:invertIfNegative val="1"/>
            <c:bubble3D val="0"/>
            <c:spPr>
              <a:solidFill>
                <a:srgbClr val="7ECAC4"/>
              </a:solidFill>
            </c:spPr>
            <c:extLst>
              <c:ext xmlns:c16="http://schemas.microsoft.com/office/drawing/2014/chart" uri="{C3380CC4-5D6E-409C-BE32-E72D297353CC}">
                <c16:uniqueId val="{0000029F-A7CE-4049-B88B-35FCDA646473}"/>
              </c:ext>
            </c:extLst>
          </c:dPt>
          <c:dPt>
            <c:idx val="335"/>
            <c:invertIfNegative val="1"/>
            <c:bubble3D val="0"/>
            <c:spPr>
              <a:solidFill>
                <a:srgbClr val="7ECAC4"/>
              </a:solidFill>
            </c:spPr>
            <c:extLst>
              <c:ext xmlns:c16="http://schemas.microsoft.com/office/drawing/2014/chart" uri="{C3380CC4-5D6E-409C-BE32-E72D297353CC}">
                <c16:uniqueId val="{000002A1-A7CE-4049-B88B-35FCDA646473}"/>
              </c:ext>
            </c:extLst>
          </c:dPt>
          <c:dPt>
            <c:idx val="336"/>
            <c:invertIfNegative val="1"/>
            <c:bubble3D val="0"/>
            <c:spPr>
              <a:solidFill>
                <a:srgbClr val="7ECAC4"/>
              </a:solidFill>
            </c:spPr>
            <c:extLst>
              <c:ext xmlns:c16="http://schemas.microsoft.com/office/drawing/2014/chart" uri="{C3380CC4-5D6E-409C-BE32-E72D297353CC}">
                <c16:uniqueId val="{000002A3-A7CE-4049-B88B-35FCDA646473}"/>
              </c:ext>
            </c:extLst>
          </c:dPt>
          <c:dPt>
            <c:idx val="337"/>
            <c:invertIfNegative val="1"/>
            <c:bubble3D val="0"/>
            <c:spPr>
              <a:solidFill>
                <a:srgbClr val="7ECAC4"/>
              </a:solidFill>
            </c:spPr>
            <c:extLst>
              <c:ext xmlns:c16="http://schemas.microsoft.com/office/drawing/2014/chart" uri="{C3380CC4-5D6E-409C-BE32-E72D297353CC}">
                <c16:uniqueId val="{000002A5-A7CE-4049-B88B-35FCDA646473}"/>
              </c:ext>
            </c:extLst>
          </c:dPt>
          <c:dPt>
            <c:idx val="338"/>
            <c:invertIfNegative val="1"/>
            <c:bubble3D val="0"/>
            <c:spPr>
              <a:solidFill>
                <a:srgbClr val="7ECAC4"/>
              </a:solidFill>
            </c:spPr>
            <c:extLst>
              <c:ext xmlns:c16="http://schemas.microsoft.com/office/drawing/2014/chart" uri="{C3380CC4-5D6E-409C-BE32-E72D297353CC}">
                <c16:uniqueId val="{000002A7-A7CE-4049-B88B-35FCDA646473}"/>
              </c:ext>
            </c:extLst>
          </c:dPt>
          <c:dPt>
            <c:idx val="339"/>
            <c:invertIfNegative val="1"/>
            <c:bubble3D val="0"/>
            <c:spPr>
              <a:solidFill>
                <a:srgbClr val="7ECAC4"/>
              </a:solidFill>
            </c:spPr>
            <c:extLst>
              <c:ext xmlns:c16="http://schemas.microsoft.com/office/drawing/2014/chart" uri="{C3380CC4-5D6E-409C-BE32-E72D297353CC}">
                <c16:uniqueId val="{000002A9-A7CE-4049-B88B-35FCDA646473}"/>
              </c:ext>
            </c:extLst>
          </c:dPt>
          <c:dPt>
            <c:idx val="340"/>
            <c:invertIfNegative val="1"/>
            <c:bubble3D val="0"/>
            <c:spPr>
              <a:solidFill>
                <a:srgbClr val="7ECAC4"/>
              </a:solidFill>
            </c:spPr>
            <c:extLst>
              <c:ext xmlns:c16="http://schemas.microsoft.com/office/drawing/2014/chart" uri="{C3380CC4-5D6E-409C-BE32-E72D297353CC}">
                <c16:uniqueId val="{000002AB-A7CE-4049-B88B-35FCDA646473}"/>
              </c:ext>
            </c:extLst>
          </c:dPt>
          <c:dPt>
            <c:idx val="341"/>
            <c:invertIfNegative val="1"/>
            <c:bubble3D val="0"/>
            <c:spPr>
              <a:solidFill>
                <a:srgbClr val="7ECAC4"/>
              </a:solidFill>
            </c:spPr>
            <c:extLst>
              <c:ext xmlns:c16="http://schemas.microsoft.com/office/drawing/2014/chart" uri="{C3380CC4-5D6E-409C-BE32-E72D297353CC}">
                <c16:uniqueId val="{000002AD-A7CE-4049-B88B-35FCDA646473}"/>
              </c:ext>
            </c:extLst>
          </c:dPt>
          <c:dPt>
            <c:idx val="342"/>
            <c:invertIfNegative val="1"/>
            <c:bubble3D val="0"/>
            <c:spPr>
              <a:solidFill>
                <a:srgbClr val="7ECAC4"/>
              </a:solidFill>
            </c:spPr>
            <c:extLst>
              <c:ext xmlns:c16="http://schemas.microsoft.com/office/drawing/2014/chart" uri="{C3380CC4-5D6E-409C-BE32-E72D297353CC}">
                <c16:uniqueId val="{000002AF-A7CE-4049-B88B-35FCDA646473}"/>
              </c:ext>
            </c:extLst>
          </c:dPt>
          <c:dPt>
            <c:idx val="343"/>
            <c:invertIfNegative val="1"/>
            <c:bubble3D val="0"/>
            <c:spPr>
              <a:solidFill>
                <a:srgbClr val="7ECAC4"/>
              </a:solidFill>
            </c:spPr>
            <c:extLst>
              <c:ext xmlns:c16="http://schemas.microsoft.com/office/drawing/2014/chart" uri="{C3380CC4-5D6E-409C-BE32-E72D297353CC}">
                <c16:uniqueId val="{000002B1-A7CE-4049-B88B-35FCDA646473}"/>
              </c:ext>
            </c:extLst>
          </c:dPt>
          <c:dPt>
            <c:idx val="344"/>
            <c:invertIfNegative val="1"/>
            <c:bubble3D val="0"/>
            <c:spPr>
              <a:solidFill>
                <a:srgbClr val="7ECAC4"/>
              </a:solidFill>
            </c:spPr>
            <c:extLst>
              <c:ext xmlns:c16="http://schemas.microsoft.com/office/drawing/2014/chart" uri="{C3380CC4-5D6E-409C-BE32-E72D297353CC}">
                <c16:uniqueId val="{000002B3-A7CE-4049-B88B-35FCDA646473}"/>
              </c:ext>
            </c:extLst>
          </c:dPt>
          <c:dPt>
            <c:idx val="345"/>
            <c:invertIfNegative val="1"/>
            <c:bubble3D val="0"/>
            <c:spPr>
              <a:solidFill>
                <a:srgbClr val="7ECAC4"/>
              </a:solidFill>
            </c:spPr>
            <c:extLst>
              <c:ext xmlns:c16="http://schemas.microsoft.com/office/drawing/2014/chart" uri="{C3380CC4-5D6E-409C-BE32-E72D297353CC}">
                <c16:uniqueId val="{000002B5-A7CE-4049-B88B-35FCDA646473}"/>
              </c:ext>
            </c:extLst>
          </c:dPt>
          <c:dPt>
            <c:idx val="346"/>
            <c:invertIfNegative val="1"/>
            <c:bubble3D val="0"/>
            <c:spPr>
              <a:solidFill>
                <a:srgbClr val="7ECAC4"/>
              </a:solidFill>
            </c:spPr>
            <c:extLst>
              <c:ext xmlns:c16="http://schemas.microsoft.com/office/drawing/2014/chart" uri="{C3380CC4-5D6E-409C-BE32-E72D297353CC}">
                <c16:uniqueId val="{000002B7-A7CE-4049-B88B-35FCDA646473}"/>
              </c:ext>
            </c:extLst>
          </c:dPt>
          <c:dPt>
            <c:idx val="347"/>
            <c:invertIfNegative val="1"/>
            <c:bubble3D val="0"/>
            <c:spPr>
              <a:solidFill>
                <a:srgbClr val="7ECAC4"/>
              </a:solidFill>
            </c:spPr>
            <c:extLst>
              <c:ext xmlns:c16="http://schemas.microsoft.com/office/drawing/2014/chart" uri="{C3380CC4-5D6E-409C-BE32-E72D297353CC}">
                <c16:uniqueId val="{000002B9-A7CE-4049-B88B-35FCDA646473}"/>
              </c:ext>
            </c:extLst>
          </c:dPt>
          <c:dPt>
            <c:idx val="348"/>
            <c:invertIfNegative val="1"/>
            <c:bubble3D val="0"/>
            <c:spPr>
              <a:solidFill>
                <a:srgbClr val="7ECAC4"/>
              </a:solidFill>
            </c:spPr>
            <c:extLst>
              <c:ext xmlns:c16="http://schemas.microsoft.com/office/drawing/2014/chart" uri="{C3380CC4-5D6E-409C-BE32-E72D297353CC}">
                <c16:uniqueId val="{000002BB-A7CE-4049-B88B-35FCDA646473}"/>
              </c:ext>
            </c:extLst>
          </c:dPt>
          <c:dPt>
            <c:idx val="349"/>
            <c:invertIfNegative val="1"/>
            <c:bubble3D val="0"/>
            <c:spPr>
              <a:solidFill>
                <a:srgbClr val="7ECAC4"/>
              </a:solidFill>
            </c:spPr>
            <c:extLst>
              <c:ext xmlns:c16="http://schemas.microsoft.com/office/drawing/2014/chart" uri="{C3380CC4-5D6E-409C-BE32-E72D297353CC}">
                <c16:uniqueId val="{000002BD-A7CE-4049-B88B-35FCDA646473}"/>
              </c:ext>
            </c:extLst>
          </c:dPt>
          <c:dPt>
            <c:idx val="350"/>
            <c:invertIfNegative val="1"/>
            <c:bubble3D val="0"/>
            <c:spPr>
              <a:solidFill>
                <a:srgbClr val="7ECAC4"/>
              </a:solidFill>
            </c:spPr>
            <c:extLst>
              <c:ext xmlns:c16="http://schemas.microsoft.com/office/drawing/2014/chart" uri="{C3380CC4-5D6E-409C-BE32-E72D297353CC}">
                <c16:uniqueId val="{000002BF-A7CE-4049-B88B-35FCDA646473}"/>
              </c:ext>
            </c:extLst>
          </c:dPt>
          <c:dPt>
            <c:idx val="351"/>
            <c:invertIfNegative val="1"/>
            <c:bubble3D val="0"/>
            <c:spPr>
              <a:solidFill>
                <a:srgbClr val="7ECAC4"/>
              </a:solidFill>
            </c:spPr>
            <c:extLst>
              <c:ext xmlns:c16="http://schemas.microsoft.com/office/drawing/2014/chart" uri="{C3380CC4-5D6E-409C-BE32-E72D297353CC}">
                <c16:uniqueId val="{000002C1-A7CE-4049-B88B-35FCDA646473}"/>
              </c:ext>
            </c:extLst>
          </c:dPt>
          <c:dPt>
            <c:idx val="352"/>
            <c:invertIfNegative val="1"/>
            <c:bubble3D val="0"/>
            <c:spPr>
              <a:solidFill>
                <a:srgbClr val="7ECAC4"/>
              </a:solidFill>
            </c:spPr>
            <c:extLst>
              <c:ext xmlns:c16="http://schemas.microsoft.com/office/drawing/2014/chart" uri="{C3380CC4-5D6E-409C-BE32-E72D297353CC}">
                <c16:uniqueId val="{000002C3-A7CE-4049-B88B-35FCDA646473}"/>
              </c:ext>
            </c:extLst>
          </c:dPt>
          <c:dPt>
            <c:idx val="353"/>
            <c:invertIfNegative val="1"/>
            <c:bubble3D val="0"/>
            <c:spPr>
              <a:solidFill>
                <a:srgbClr val="7ECAC4"/>
              </a:solidFill>
            </c:spPr>
            <c:extLst>
              <c:ext xmlns:c16="http://schemas.microsoft.com/office/drawing/2014/chart" uri="{C3380CC4-5D6E-409C-BE32-E72D297353CC}">
                <c16:uniqueId val="{000002C5-A7CE-4049-B88B-35FCDA646473}"/>
              </c:ext>
            </c:extLst>
          </c:dPt>
          <c:dPt>
            <c:idx val="354"/>
            <c:invertIfNegative val="1"/>
            <c:bubble3D val="0"/>
            <c:spPr>
              <a:solidFill>
                <a:srgbClr val="7ECAC4"/>
              </a:solidFill>
            </c:spPr>
            <c:extLst>
              <c:ext xmlns:c16="http://schemas.microsoft.com/office/drawing/2014/chart" uri="{C3380CC4-5D6E-409C-BE32-E72D297353CC}">
                <c16:uniqueId val="{000002C7-A7CE-4049-B88B-35FCDA646473}"/>
              </c:ext>
            </c:extLst>
          </c:dPt>
          <c:dPt>
            <c:idx val="355"/>
            <c:invertIfNegative val="1"/>
            <c:bubble3D val="0"/>
            <c:spPr>
              <a:solidFill>
                <a:srgbClr val="7ECAC4"/>
              </a:solidFill>
            </c:spPr>
            <c:extLst>
              <c:ext xmlns:c16="http://schemas.microsoft.com/office/drawing/2014/chart" uri="{C3380CC4-5D6E-409C-BE32-E72D297353CC}">
                <c16:uniqueId val="{000002C9-A7CE-4049-B88B-35FCDA646473}"/>
              </c:ext>
            </c:extLst>
          </c:dPt>
          <c:dPt>
            <c:idx val="356"/>
            <c:invertIfNegative val="1"/>
            <c:bubble3D val="0"/>
            <c:spPr>
              <a:solidFill>
                <a:srgbClr val="7ECAC4"/>
              </a:solidFill>
            </c:spPr>
            <c:extLst>
              <c:ext xmlns:c16="http://schemas.microsoft.com/office/drawing/2014/chart" uri="{C3380CC4-5D6E-409C-BE32-E72D297353CC}">
                <c16:uniqueId val="{000002CB-A7CE-4049-B88B-35FCDA646473}"/>
              </c:ext>
            </c:extLst>
          </c:dPt>
          <c:dPt>
            <c:idx val="357"/>
            <c:invertIfNegative val="1"/>
            <c:bubble3D val="0"/>
            <c:spPr>
              <a:solidFill>
                <a:srgbClr val="7ECAC4"/>
              </a:solidFill>
            </c:spPr>
            <c:extLst>
              <c:ext xmlns:c16="http://schemas.microsoft.com/office/drawing/2014/chart" uri="{C3380CC4-5D6E-409C-BE32-E72D297353CC}">
                <c16:uniqueId val="{000002CD-A7CE-4049-B88B-35FCDA646473}"/>
              </c:ext>
            </c:extLst>
          </c:dPt>
          <c:dPt>
            <c:idx val="358"/>
            <c:invertIfNegative val="1"/>
            <c:bubble3D val="0"/>
            <c:spPr>
              <a:solidFill>
                <a:srgbClr val="7ECAC4"/>
              </a:solidFill>
            </c:spPr>
            <c:extLst>
              <c:ext xmlns:c16="http://schemas.microsoft.com/office/drawing/2014/chart" uri="{C3380CC4-5D6E-409C-BE32-E72D297353CC}">
                <c16:uniqueId val="{000002CF-A7CE-4049-B88B-35FCDA646473}"/>
              </c:ext>
            </c:extLst>
          </c:dPt>
          <c:dPt>
            <c:idx val="359"/>
            <c:invertIfNegative val="1"/>
            <c:bubble3D val="0"/>
            <c:spPr>
              <a:solidFill>
                <a:srgbClr val="7ECAC4"/>
              </a:solidFill>
            </c:spPr>
            <c:extLst>
              <c:ext xmlns:c16="http://schemas.microsoft.com/office/drawing/2014/chart" uri="{C3380CC4-5D6E-409C-BE32-E72D297353CC}">
                <c16:uniqueId val="{000002D1-A7CE-4049-B88B-35FCDA646473}"/>
              </c:ext>
            </c:extLst>
          </c:dPt>
          <c:dPt>
            <c:idx val="360"/>
            <c:invertIfNegative val="1"/>
            <c:bubble3D val="0"/>
            <c:spPr>
              <a:solidFill>
                <a:srgbClr val="7ECAC4"/>
              </a:solidFill>
            </c:spPr>
            <c:extLst>
              <c:ext xmlns:c16="http://schemas.microsoft.com/office/drawing/2014/chart" uri="{C3380CC4-5D6E-409C-BE32-E72D297353CC}">
                <c16:uniqueId val="{000002D3-A7CE-4049-B88B-35FCDA646473}"/>
              </c:ext>
            </c:extLst>
          </c:dPt>
          <c:dPt>
            <c:idx val="361"/>
            <c:invertIfNegative val="1"/>
            <c:bubble3D val="0"/>
            <c:spPr>
              <a:solidFill>
                <a:srgbClr val="7ECAC4"/>
              </a:solidFill>
            </c:spPr>
            <c:extLst>
              <c:ext xmlns:c16="http://schemas.microsoft.com/office/drawing/2014/chart" uri="{C3380CC4-5D6E-409C-BE32-E72D297353CC}">
                <c16:uniqueId val="{000002D5-A7CE-4049-B88B-35FCDA646473}"/>
              </c:ext>
            </c:extLst>
          </c:dPt>
          <c:dPt>
            <c:idx val="362"/>
            <c:invertIfNegative val="1"/>
            <c:bubble3D val="0"/>
            <c:spPr>
              <a:solidFill>
                <a:srgbClr val="7ECAC4"/>
              </a:solidFill>
            </c:spPr>
            <c:extLst>
              <c:ext xmlns:c16="http://schemas.microsoft.com/office/drawing/2014/chart" uri="{C3380CC4-5D6E-409C-BE32-E72D297353CC}">
                <c16:uniqueId val="{000002D7-A7CE-4049-B88B-35FCDA646473}"/>
              </c:ext>
            </c:extLst>
          </c:dPt>
          <c:dPt>
            <c:idx val="363"/>
            <c:invertIfNegative val="1"/>
            <c:bubble3D val="0"/>
            <c:spPr>
              <a:solidFill>
                <a:srgbClr val="7ECAC4"/>
              </a:solidFill>
            </c:spPr>
            <c:extLst>
              <c:ext xmlns:c16="http://schemas.microsoft.com/office/drawing/2014/chart" uri="{C3380CC4-5D6E-409C-BE32-E72D297353CC}">
                <c16:uniqueId val="{000002D9-A7CE-4049-B88B-35FCDA646473}"/>
              </c:ext>
            </c:extLst>
          </c:dPt>
          <c:dPt>
            <c:idx val="364"/>
            <c:invertIfNegative val="1"/>
            <c:bubble3D val="0"/>
            <c:spPr>
              <a:solidFill>
                <a:srgbClr val="7ECAC4"/>
              </a:solidFill>
            </c:spPr>
            <c:extLst>
              <c:ext xmlns:c16="http://schemas.microsoft.com/office/drawing/2014/chart" uri="{C3380CC4-5D6E-409C-BE32-E72D297353CC}">
                <c16:uniqueId val="{000002DB-A7CE-4049-B88B-35FCDA646473}"/>
              </c:ext>
            </c:extLst>
          </c:dPt>
          <c:dPt>
            <c:idx val="365"/>
            <c:invertIfNegative val="1"/>
            <c:bubble3D val="0"/>
            <c:spPr>
              <a:solidFill>
                <a:srgbClr val="7ECAC4"/>
              </a:solidFill>
            </c:spPr>
            <c:extLst>
              <c:ext xmlns:c16="http://schemas.microsoft.com/office/drawing/2014/chart" uri="{C3380CC4-5D6E-409C-BE32-E72D297353CC}">
                <c16:uniqueId val="{000002DD-A7CE-4049-B88B-35FCDA646473}"/>
              </c:ext>
            </c:extLst>
          </c:dPt>
          <c:dPt>
            <c:idx val="366"/>
            <c:invertIfNegative val="1"/>
            <c:bubble3D val="0"/>
            <c:spPr>
              <a:solidFill>
                <a:srgbClr val="AEABAB"/>
              </a:solidFill>
            </c:spPr>
            <c:extLst>
              <c:ext xmlns:c16="http://schemas.microsoft.com/office/drawing/2014/chart" uri="{C3380CC4-5D6E-409C-BE32-E72D297353CC}">
                <c16:uniqueId val="{000002DF-A7CE-4049-B88B-35FCDA646473}"/>
              </c:ext>
            </c:extLst>
          </c:dPt>
          <c:dPt>
            <c:idx val="367"/>
            <c:invertIfNegative val="1"/>
            <c:bubble3D val="0"/>
            <c:spPr>
              <a:solidFill>
                <a:srgbClr val="AEABAB"/>
              </a:solidFill>
            </c:spPr>
            <c:extLst>
              <c:ext xmlns:c16="http://schemas.microsoft.com/office/drawing/2014/chart" uri="{C3380CC4-5D6E-409C-BE32-E72D297353CC}">
                <c16:uniqueId val="{000002E1-A7CE-4049-B88B-35FCDA646473}"/>
              </c:ext>
            </c:extLst>
          </c:dPt>
          <c:dPt>
            <c:idx val="368"/>
            <c:invertIfNegative val="1"/>
            <c:bubble3D val="0"/>
            <c:spPr>
              <a:solidFill>
                <a:srgbClr val="AEABAB"/>
              </a:solidFill>
            </c:spPr>
            <c:extLst>
              <c:ext xmlns:c16="http://schemas.microsoft.com/office/drawing/2014/chart" uri="{C3380CC4-5D6E-409C-BE32-E72D297353CC}">
                <c16:uniqueId val="{000002E3-A7CE-4049-B88B-35FCDA646473}"/>
              </c:ext>
            </c:extLst>
          </c:dPt>
          <c:dPt>
            <c:idx val="369"/>
            <c:invertIfNegative val="1"/>
            <c:bubble3D val="0"/>
            <c:spPr>
              <a:solidFill>
                <a:srgbClr val="AEABAB"/>
              </a:solidFill>
            </c:spPr>
            <c:extLst>
              <c:ext xmlns:c16="http://schemas.microsoft.com/office/drawing/2014/chart" uri="{C3380CC4-5D6E-409C-BE32-E72D297353CC}">
                <c16:uniqueId val="{000002E5-A7CE-4049-B88B-35FCDA646473}"/>
              </c:ext>
            </c:extLst>
          </c:dPt>
          <c:dPt>
            <c:idx val="370"/>
            <c:invertIfNegative val="1"/>
            <c:bubble3D val="0"/>
            <c:spPr>
              <a:solidFill>
                <a:srgbClr val="AEABAB"/>
              </a:solidFill>
            </c:spPr>
            <c:extLst>
              <c:ext xmlns:c16="http://schemas.microsoft.com/office/drawing/2014/chart" uri="{C3380CC4-5D6E-409C-BE32-E72D297353CC}">
                <c16:uniqueId val="{000002E7-A7CE-4049-B88B-35FCDA646473}"/>
              </c:ext>
            </c:extLst>
          </c:dPt>
          <c:dPt>
            <c:idx val="371"/>
            <c:invertIfNegative val="1"/>
            <c:bubble3D val="0"/>
            <c:spPr>
              <a:solidFill>
                <a:srgbClr val="AEABAB"/>
              </a:solidFill>
            </c:spPr>
            <c:extLst>
              <c:ext xmlns:c16="http://schemas.microsoft.com/office/drawing/2014/chart" uri="{C3380CC4-5D6E-409C-BE32-E72D297353CC}">
                <c16:uniqueId val="{000002E9-A7CE-4049-B88B-35FCDA646473}"/>
              </c:ext>
            </c:extLst>
          </c:dPt>
          <c:dPt>
            <c:idx val="372"/>
            <c:invertIfNegative val="1"/>
            <c:bubble3D val="0"/>
            <c:spPr>
              <a:solidFill>
                <a:srgbClr val="AEABAB"/>
              </a:solidFill>
            </c:spPr>
            <c:extLst>
              <c:ext xmlns:c16="http://schemas.microsoft.com/office/drawing/2014/chart" uri="{C3380CC4-5D6E-409C-BE32-E72D297353CC}">
                <c16:uniqueId val="{000002EB-A7CE-4049-B88B-35FCDA646473}"/>
              </c:ext>
            </c:extLst>
          </c:dPt>
          <c:dPt>
            <c:idx val="373"/>
            <c:invertIfNegative val="1"/>
            <c:bubble3D val="0"/>
            <c:spPr>
              <a:solidFill>
                <a:srgbClr val="AEABAB"/>
              </a:solidFill>
            </c:spPr>
            <c:extLst>
              <c:ext xmlns:c16="http://schemas.microsoft.com/office/drawing/2014/chart" uri="{C3380CC4-5D6E-409C-BE32-E72D297353CC}">
                <c16:uniqueId val="{000002ED-A7CE-4049-B88B-35FCDA646473}"/>
              </c:ext>
            </c:extLst>
          </c:dPt>
          <c:dPt>
            <c:idx val="374"/>
            <c:invertIfNegative val="1"/>
            <c:bubble3D val="0"/>
            <c:spPr>
              <a:solidFill>
                <a:srgbClr val="AEABAB"/>
              </a:solidFill>
            </c:spPr>
            <c:extLst>
              <c:ext xmlns:c16="http://schemas.microsoft.com/office/drawing/2014/chart" uri="{C3380CC4-5D6E-409C-BE32-E72D297353CC}">
                <c16:uniqueId val="{000002EF-A7CE-4049-B88B-35FCDA646473}"/>
              </c:ext>
            </c:extLst>
          </c:dPt>
          <c:dPt>
            <c:idx val="375"/>
            <c:invertIfNegative val="1"/>
            <c:bubble3D val="0"/>
            <c:spPr>
              <a:solidFill>
                <a:srgbClr val="AEABAB"/>
              </a:solidFill>
            </c:spPr>
            <c:extLst>
              <c:ext xmlns:c16="http://schemas.microsoft.com/office/drawing/2014/chart" uri="{C3380CC4-5D6E-409C-BE32-E72D297353CC}">
                <c16:uniqueId val="{000002F1-A7CE-4049-B88B-35FCDA646473}"/>
              </c:ext>
            </c:extLst>
          </c:dPt>
          <c:dPt>
            <c:idx val="376"/>
            <c:invertIfNegative val="1"/>
            <c:bubble3D val="0"/>
            <c:spPr>
              <a:solidFill>
                <a:srgbClr val="AEABAB"/>
              </a:solidFill>
            </c:spPr>
            <c:extLst>
              <c:ext xmlns:c16="http://schemas.microsoft.com/office/drawing/2014/chart" uri="{C3380CC4-5D6E-409C-BE32-E72D297353CC}">
                <c16:uniqueId val="{000002F3-A7CE-4049-B88B-35FCDA646473}"/>
              </c:ext>
            </c:extLst>
          </c:dPt>
          <c:dPt>
            <c:idx val="377"/>
            <c:invertIfNegative val="1"/>
            <c:bubble3D val="0"/>
            <c:spPr>
              <a:solidFill>
                <a:srgbClr val="AEABAB"/>
              </a:solidFill>
            </c:spPr>
            <c:extLst>
              <c:ext xmlns:c16="http://schemas.microsoft.com/office/drawing/2014/chart" uri="{C3380CC4-5D6E-409C-BE32-E72D297353CC}">
                <c16:uniqueId val="{000002F5-A7CE-4049-B88B-35FCDA646473}"/>
              </c:ext>
            </c:extLst>
          </c:dPt>
          <c:dPt>
            <c:idx val="378"/>
            <c:invertIfNegative val="1"/>
            <c:bubble3D val="0"/>
            <c:spPr>
              <a:solidFill>
                <a:srgbClr val="AEABAB"/>
              </a:solidFill>
            </c:spPr>
            <c:extLst>
              <c:ext xmlns:c16="http://schemas.microsoft.com/office/drawing/2014/chart" uri="{C3380CC4-5D6E-409C-BE32-E72D297353CC}">
                <c16:uniqueId val="{000002F7-A7CE-4049-B88B-35FCDA646473}"/>
              </c:ext>
            </c:extLst>
          </c:dPt>
          <c:dPt>
            <c:idx val="379"/>
            <c:invertIfNegative val="1"/>
            <c:bubble3D val="0"/>
            <c:spPr>
              <a:solidFill>
                <a:srgbClr val="AEABAB"/>
              </a:solidFill>
            </c:spPr>
            <c:extLst>
              <c:ext xmlns:c16="http://schemas.microsoft.com/office/drawing/2014/chart" uri="{C3380CC4-5D6E-409C-BE32-E72D297353CC}">
                <c16:uniqueId val="{000002F9-A7CE-4049-B88B-35FCDA646473}"/>
              </c:ext>
            </c:extLst>
          </c:dPt>
          <c:dPt>
            <c:idx val="380"/>
            <c:invertIfNegative val="1"/>
            <c:bubble3D val="0"/>
            <c:spPr>
              <a:solidFill>
                <a:srgbClr val="AEABAB"/>
              </a:solidFill>
            </c:spPr>
            <c:extLst>
              <c:ext xmlns:c16="http://schemas.microsoft.com/office/drawing/2014/chart" uri="{C3380CC4-5D6E-409C-BE32-E72D297353CC}">
                <c16:uniqueId val="{000002FB-A7CE-4049-B88B-35FCDA646473}"/>
              </c:ext>
            </c:extLst>
          </c:dPt>
          <c:dPt>
            <c:idx val="381"/>
            <c:invertIfNegative val="1"/>
            <c:bubble3D val="0"/>
            <c:spPr>
              <a:solidFill>
                <a:srgbClr val="AEABAB"/>
              </a:solidFill>
            </c:spPr>
            <c:extLst>
              <c:ext xmlns:c16="http://schemas.microsoft.com/office/drawing/2014/chart" uri="{C3380CC4-5D6E-409C-BE32-E72D297353CC}">
                <c16:uniqueId val="{000002FD-A7CE-4049-B88B-35FCDA646473}"/>
              </c:ext>
            </c:extLst>
          </c:dPt>
          <c:dPt>
            <c:idx val="382"/>
            <c:invertIfNegative val="1"/>
            <c:bubble3D val="0"/>
            <c:spPr>
              <a:solidFill>
                <a:srgbClr val="AEABAB"/>
              </a:solidFill>
            </c:spPr>
            <c:extLst>
              <c:ext xmlns:c16="http://schemas.microsoft.com/office/drawing/2014/chart" uri="{C3380CC4-5D6E-409C-BE32-E72D297353CC}">
                <c16:uniqueId val="{000002FF-A7CE-4049-B88B-35FCDA646473}"/>
              </c:ext>
            </c:extLst>
          </c:dPt>
          <c:dPt>
            <c:idx val="383"/>
            <c:invertIfNegative val="1"/>
            <c:bubble3D val="0"/>
            <c:spPr>
              <a:solidFill>
                <a:srgbClr val="AEABAB"/>
              </a:solidFill>
            </c:spPr>
            <c:extLst>
              <c:ext xmlns:c16="http://schemas.microsoft.com/office/drawing/2014/chart" uri="{C3380CC4-5D6E-409C-BE32-E72D297353CC}">
                <c16:uniqueId val="{00000301-A7CE-4049-B88B-35FCDA646473}"/>
              </c:ext>
            </c:extLst>
          </c:dPt>
          <c:dPt>
            <c:idx val="384"/>
            <c:invertIfNegative val="1"/>
            <c:bubble3D val="0"/>
            <c:spPr>
              <a:solidFill>
                <a:srgbClr val="AEABAB"/>
              </a:solidFill>
            </c:spPr>
            <c:extLst>
              <c:ext xmlns:c16="http://schemas.microsoft.com/office/drawing/2014/chart" uri="{C3380CC4-5D6E-409C-BE32-E72D297353CC}">
                <c16:uniqueId val="{00000303-A7CE-4049-B88B-35FCDA646473}"/>
              </c:ext>
            </c:extLst>
          </c:dPt>
          <c:dPt>
            <c:idx val="385"/>
            <c:invertIfNegative val="1"/>
            <c:bubble3D val="0"/>
            <c:spPr>
              <a:solidFill>
                <a:srgbClr val="AEABAB"/>
              </a:solidFill>
            </c:spPr>
            <c:extLst>
              <c:ext xmlns:c16="http://schemas.microsoft.com/office/drawing/2014/chart" uri="{C3380CC4-5D6E-409C-BE32-E72D297353CC}">
                <c16:uniqueId val="{00000305-A7CE-4049-B88B-35FCDA646473}"/>
              </c:ext>
            </c:extLst>
          </c:dPt>
          <c:dPt>
            <c:idx val="386"/>
            <c:invertIfNegative val="1"/>
            <c:bubble3D val="0"/>
            <c:spPr>
              <a:solidFill>
                <a:srgbClr val="AEABAB"/>
              </a:solidFill>
            </c:spPr>
            <c:extLst>
              <c:ext xmlns:c16="http://schemas.microsoft.com/office/drawing/2014/chart" uri="{C3380CC4-5D6E-409C-BE32-E72D297353CC}">
                <c16:uniqueId val="{00000307-A7CE-4049-B88B-35FCDA646473}"/>
              </c:ext>
            </c:extLst>
          </c:dPt>
          <c:dPt>
            <c:idx val="387"/>
            <c:invertIfNegative val="1"/>
            <c:bubble3D val="0"/>
            <c:spPr>
              <a:solidFill>
                <a:srgbClr val="AEABAB"/>
              </a:solidFill>
            </c:spPr>
            <c:extLst>
              <c:ext xmlns:c16="http://schemas.microsoft.com/office/drawing/2014/chart" uri="{C3380CC4-5D6E-409C-BE32-E72D297353CC}">
                <c16:uniqueId val="{00000309-A7CE-4049-B88B-35FCDA646473}"/>
              </c:ext>
            </c:extLst>
          </c:dPt>
          <c:dPt>
            <c:idx val="388"/>
            <c:invertIfNegative val="1"/>
            <c:bubble3D val="0"/>
            <c:spPr>
              <a:solidFill>
                <a:srgbClr val="AEABAB"/>
              </a:solidFill>
            </c:spPr>
            <c:extLst>
              <c:ext xmlns:c16="http://schemas.microsoft.com/office/drawing/2014/chart" uri="{C3380CC4-5D6E-409C-BE32-E72D297353CC}">
                <c16:uniqueId val="{0000030B-A7CE-4049-B88B-35FCDA646473}"/>
              </c:ext>
            </c:extLst>
          </c:dPt>
          <c:dPt>
            <c:idx val="389"/>
            <c:invertIfNegative val="1"/>
            <c:bubble3D val="0"/>
            <c:spPr>
              <a:solidFill>
                <a:srgbClr val="AEABAB"/>
              </a:solidFill>
            </c:spPr>
            <c:extLst>
              <c:ext xmlns:c16="http://schemas.microsoft.com/office/drawing/2014/chart" uri="{C3380CC4-5D6E-409C-BE32-E72D297353CC}">
                <c16:uniqueId val="{0000030D-A7CE-4049-B88B-35FCDA646473}"/>
              </c:ext>
            </c:extLst>
          </c:dPt>
          <c:dPt>
            <c:idx val="390"/>
            <c:invertIfNegative val="1"/>
            <c:bubble3D val="0"/>
            <c:spPr>
              <a:solidFill>
                <a:srgbClr val="AEABAB"/>
              </a:solidFill>
            </c:spPr>
            <c:extLst>
              <c:ext xmlns:c16="http://schemas.microsoft.com/office/drawing/2014/chart" uri="{C3380CC4-5D6E-409C-BE32-E72D297353CC}">
                <c16:uniqueId val="{0000030F-A7CE-4049-B88B-35FCDA646473}"/>
              </c:ext>
            </c:extLst>
          </c:dPt>
          <c:dPt>
            <c:idx val="391"/>
            <c:invertIfNegative val="1"/>
            <c:bubble3D val="0"/>
            <c:spPr>
              <a:solidFill>
                <a:srgbClr val="AEABAB"/>
              </a:solidFill>
            </c:spPr>
            <c:extLst>
              <c:ext xmlns:c16="http://schemas.microsoft.com/office/drawing/2014/chart" uri="{C3380CC4-5D6E-409C-BE32-E72D297353CC}">
                <c16:uniqueId val="{00000311-A7CE-4049-B88B-35FCDA646473}"/>
              </c:ext>
            </c:extLst>
          </c:dPt>
          <c:dPt>
            <c:idx val="392"/>
            <c:invertIfNegative val="1"/>
            <c:bubble3D val="0"/>
            <c:spPr>
              <a:solidFill>
                <a:srgbClr val="AEABAB"/>
              </a:solidFill>
            </c:spPr>
            <c:extLst>
              <c:ext xmlns:c16="http://schemas.microsoft.com/office/drawing/2014/chart" uri="{C3380CC4-5D6E-409C-BE32-E72D297353CC}">
                <c16:uniqueId val="{00000313-A7CE-4049-B88B-35FCDA646473}"/>
              </c:ext>
            </c:extLst>
          </c:dPt>
          <c:dPt>
            <c:idx val="393"/>
            <c:invertIfNegative val="1"/>
            <c:bubble3D val="0"/>
            <c:spPr>
              <a:solidFill>
                <a:srgbClr val="AEABAB"/>
              </a:solidFill>
            </c:spPr>
            <c:extLst>
              <c:ext xmlns:c16="http://schemas.microsoft.com/office/drawing/2014/chart" uri="{C3380CC4-5D6E-409C-BE32-E72D297353CC}">
                <c16:uniqueId val="{00000315-A7CE-4049-B88B-35FCDA646473}"/>
              </c:ext>
            </c:extLst>
          </c:dPt>
          <c:dPt>
            <c:idx val="394"/>
            <c:invertIfNegative val="1"/>
            <c:bubble3D val="0"/>
            <c:spPr>
              <a:solidFill>
                <a:srgbClr val="AEABAB"/>
              </a:solidFill>
            </c:spPr>
            <c:extLst>
              <c:ext xmlns:c16="http://schemas.microsoft.com/office/drawing/2014/chart" uri="{C3380CC4-5D6E-409C-BE32-E72D297353CC}">
                <c16:uniqueId val="{00000317-A7CE-4049-B88B-35FCDA646473}"/>
              </c:ext>
            </c:extLst>
          </c:dPt>
          <c:dPt>
            <c:idx val="395"/>
            <c:invertIfNegative val="1"/>
            <c:bubble3D val="0"/>
            <c:spPr>
              <a:solidFill>
                <a:srgbClr val="AEABAB"/>
              </a:solidFill>
            </c:spPr>
            <c:extLst>
              <c:ext xmlns:c16="http://schemas.microsoft.com/office/drawing/2014/chart" uri="{C3380CC4-5D6E-409C-BE32-E72D297353CC}">
                <c16:uniqueId val="{00000319-A7CE-4049-B88B-35FCDA646473}"/>
              </c:ext>
            </c:extLst>
          </c:dPt>
          <c:dPt>
            <c:idx val="396"/>
            <c:invertIfNegative val="1"/>
            <c:bubble3D val="0"/>
            <c:spPr>
              <a:solidFill>
                <a:srgbClr val="AEABAB"/>
              </a:solidFill>
            </c:spPr>
            <c:extLst>
              <c:ext xmlns:c16="http://schemas.microsoft.com/office/drawing/2014/chart" uri="{C3380CC4-5D6E-409C-BE32-E72D297353CC}">
                <c16:uniqueId val="{0000031B-A7CE-4049-B88B-35FCDA646473}"/>
              </c:ext>
            </c:extLst>
          </c:dPt>
          <c:dPt>
            <c:idx val="397"/>
            <c:invertIfNegative val="1"/>
            <c:bubble3D val="0"/>
            <c:spPr>
              <a:solidFill>
                <a:srgbClr val="AEABAB"/>
              </a:solidFill>
            </c:spPr>
            <c:extLst>
              <c:ext xmlns:c16="http://schemas.microsoft.com/office/drawing/2014/chart" uri="{C3380CC4-5D6E-409C-BE32-E72D297353CC}">
                <c16:uniqueId val="{0000031D-A7CE-4049-B88B-35FCDA646473}"/>
              </c:ext>
            </c:extLst>
          </c:dPt>
          <c:dPt>
            <c:idx val="398"/>
            <c:invertIfNegative val="1"/>
            <c:bubble3D val="0"/>
            <c:spPr>
              <a:solidFill>
                <a:srgbClr val="AEABAB"/>
              </a:solidFill>
            </c:spPr>
            <c:extLst>
              <c:ext xmlns:c16="http://schemas.microsoft.com/office/drawing/2014/chart" uri="{C3380CC4-5D6E-409C-BE32-E72D297353CC}">
                <c16:uniqueId val="{0000031F-A7CE-4049-B88B-35FCDA646473}"/>
              </c:ext>
            </c:extLst>
          </c:dPt>
          <c:dPt>
            <c:idx val="399"/>
            <c:invertIfNegative val="1"/>
            <c:bubble3D val="0"/>
            <c:spPr>
              <a:solidFill>
                <a:srgbClr val="AEABAB"/>
              </a:solidFill>
            </c:spPr>
            <c:extLst>
              <c:ext xmlns:c16="http://schemas.microsoft.com/office/drawing/2014/chart" uri="{C3380CC4-5D6E-409C-BE32-E72D297353CC}">
                <c16:uniqueId val="{00000321-A7CE-4049-B88B-35FCDA646473}"/>
              </c:ext>
            </c:extLst>
          </c:dPt>
          <c:dPt>
            <c:idx val="400"/>
            <c:invertIfNegative val="1"/>
            <c:bubble3D val="0"/>
            <c:spPr>
              <a:solidFill>
                <a:srgbClr val="AEABAB"/>
              </a:solidFill>
            </c:spPr>
            <c:extLst>
              <c:ext xmlns:c16="http://schemas.microsoft.com/office/drawing/2014/chart" uri="{C3380CC4-5D6E-409C-BE32-E72D297353CC}">
                <c16:uniqueId val="{00000323-A7CE-4049-B88B-35FCDA646473}"/>
              </c:ext>
            </c:extLst>
          </c:dPt>
          <c:dPt>
            <c:idx val="401"/>
            <c:invertIfNegative val="1"/>
            <c:bubble3D val="0"/>
            <c:spPr>
              <a:solidFill>
                <a:srgbClr val="AEABAB"/>
              </a:solidFill>
            </c:spPr>
            <c:extLst>
              <c:ext xmlns:c16="http://schemas.microsoft.com/office/drawing/2014/chart" uri="{C3380CC4-5D6E-409C-BE32-E72D297353CC}">
                <c16:uniqueId val="{00000325-A7CE-4049-B88B-35FCDA646473}"/>
              </c:ext>
            </c:extLst>
          </c:dPt>
          <c:dPt>
            <c:idx val="402"/>
            <c:invertIfNegative val="1"/>
            <c:bubble3D val="0"/>
            <c:spPr>
              <a:solidFill>
                <a:srgbClr val="AEABAB"/>
              </a:solidFill>
            </c:spPr>
            <c:extLst>
              <c:ext xmlns:c16="http://schemas.microsoft.com/office/drawing/2014/chart" uri="{C3380CC4-5D6E-409C-BE32-E72D297353CC}">
                <c16:uniqueId val="{00000327-A7CE-4049-B88B-35FCDA646473}"/>
              </c:ext>
            </c:extLst>
          </c:dPt>
          <c:dPt>
            <c:idx val="403"/>
            <c:invertIfNegative val="1"/>
            <c:bubble3D val="0"/>
            <c:spPr>
              <a:solidFill>
                <a:srgbClr val="AEABAB"/>
              </a:solidFill>
            </c:spPr>
            <c:extLst>
              <c:ext xmlns:c16="http://schemas.microsoft.com/office/drawing/2014/chart" uri="{C3380CC4-5D6E-409C-BE32-E72D297353CC}">
                <c16:uniqueId val="{00000329-A7CE-4049-B88B-35FCDA646473}"/>
              </c:ext>
            </c:extLst>
          </c:dPt>
          <c:dPt>
            <c:idx val="404"/>
            <c:invertIfNegative val="1"/>
            <c:bubble3D val="0"/>
            <c:spPr>
              <a:solidFill>
                <a:srgbClr val="AEABAB"/>
              </a:solidFill>
            </c:spPr>
            <c:extLst>
              <c:ext xmlns:c16="http://schemas.microsoft.com/office/drawing/2014/chart" uri="{C3380CC4-5D6E-409C-BE32-E72D297353CC}">
                <c16:uniqueId val="{0000032B-A7CE-4049-B88B-35FCDA646473}"/>
              </c:ext>
            </c:extLst>
          </c:dPt>
          <c:dPt>
            <c:idx val="405"/>
            <c:invertIfNegative val="1"/>
            <c:bubble3D val="0"/>
            <c:spPr>
              <a:solidFill>
                <a:srgbClr val="AEABAB"/>
              </a:solidFill>
            </c:spPr>
            <c:extLst>
              <c:ext xmlns:c16="http://schemas.microsoft.com/office/drawing/2014/chart" uri="{C3380CC4-5D6E-409C-BE32-E72D297353CC}">
                <c16:uniqueId val="{0000032D-A7CE-4049-B88B-35FCDA646473}"/>
              </c:ext>
            </c:extLst>
          </c:dPt>
          <c:dPt>
            <c:idx val="406"/>
            <c:invertIfNegative val="1"/>
            <c:bubble3D val="0"/>
            <c:spPr>
              <a:solidFill>
                <a:srgbClr val="AEABAB"/>
              </a:solidFill>
            </c:spPr>
            <c:extLst>
              <c:ext xmlns:c16="http://schemas.microsoft.com/office/drawing/2014/chart" uri="{C3380CC4-5D6E-409C-BE32-E72D297353CC}">
                <c16:uniqueId val="{0000032F-A7CE-4049-B88B-35FCDA646473}"/>
              </c:ext>
            </c:extLst>
          </c:dPt>
          <c:dPt>
            <c:idx val="407"/>
            <c:invertIfNegative val="1"/>
            <c:bubble3D val="0"/>
            <c:spPr>
              <a:solidFill>
                <a:srgbClr val="AEABAB"/>
              </a:solidFill>
            </c:spPr>
            <c:extLst>
              <c:ext xmlns:c16="http://schemas.microsoft.com/office/drawing/2014/chart" uri="{C3380CC4-5D6E-409C-BE32-E72D297353CC}">
                <c16:uniqueId val="{00000331-A7CE-4049-B88B-35FCDA646473}"/>
              </c:ext>
            </c:extLst>
          </c:dPt>
          <c:dPt>
            <c:idx val="408"/>
            <c:invertIfNegative val="1"/>
            <c:bubble3D val="0"/>
            <c:spPr>
              <a:solidFill>
                <a:srgbClr val="AEABAB"/>
              </a:solidFill>
            </c:spPr>
            <c:extLst>
              <c:ext xmlns:c16="http://schemas.microsoft.com/office/drawing/2014/chart" uri="{C3380CC4-5D6E-409C-BE32-E72D297353CC}">
                <c16:uniqueId val="{00000333-A7CE-4049-B88B-35FCDA646473}"/>
              </c:ext>
            </c:extLst>
          </c:dPt>
          <c:dPt>
            <c:idx val="409"/>
            <c:invertIfNegative val="1"/>
            <c:bubble3D val="0"/>
            <c:spPr>
              <a:solidFill>
                <a:srgbClr val="AEABAB"/>
              </a:solidFill>
            </c:spPr>
            <c:extLst>
              <c:ext xmlns:c16="http://schemas.microsoft.com/office/drawing/2014/chart" uri="{C3380CC4-5D6E-409C-BE32-E72D297353CC}">
                <c16:uniqueId val="{00000335-A7CE-4049-B88B-35FCDA646473}"/>
              </c:ext>
            </c:extLst>
          </c:dPt>
          <c:dPt>
            <c:idx val="410"/>
            <c:invertIfNegative val="1"/>
            <c:bubble3D val="0"/>
            <c:spPr>
              <a:solidFill>
                <a:srgbClr val="AEABAB"/>
              </a:solidFill>
            </c:spPr>
            <c:extLst>
              <c:ext xmlns:c16="http://schemas.microsoft.com/office/drawing/2014/chart" uri="{C3380CC4-5D6E-409C-BE32-E72D297353CC}">
                <c16:uniqueId val="{00000337-A7CE-4049-B88B-35FCDA646473}"/>
              </c:ext>
            </c:extLst>
          </c:dPt>
          <c:dPt>
            <c:idx val="411"/>
            <c:invertIfNegative val="1"/>
            <c:bubble3D val="0"/>
            <c:spPr>
              <a:solidFill>
                <a:srgbClr val="AEABAB"/>
              </a:solidFill>
            </c:spPr>
            <c:extLst>
              <c:ext xmlns:c16="http://schemas.microsoft.com/office/drawing/2014/chart" uri="{C3380CC4-5D6E-409C-BE32-E72D297353CC}">
                <c16:uniqueId val="{00000339-A7CE-4049-B88B-35FCDA646473}"/>
              </c:ext>
            </c:extLst>
          </c:dPt>
          <c:dPt>
            <c:idx val="412"/>
            <c:invertIfNegative val="1"/>
            <c:bubble3D val="0"/>
            <c:spPr>
              <a:solidFill>
                <a:srgbClr val="AEABAB"/>
              </a:solidFill>
            </c:spPr>
            <c:extLst>
              <c:ext xmlns:c16="http://schemas.microsoft.com/office/drawing/2014/chart" uri="{C3380CC4-5D6E-409C-BE32-E72D297353CC}">
                <c16:uniqueId val="{0000033B-A7CE-4049-B88B-35FCDA646473}"/>
              </c:ext>
            </c:extLst>
          </c:dPt>
          <c:dPt>
            <c:idx val="413"/>
            <c:invertIfNegative val="1"/>
            <c:bubble3D val="0"/>
            <c:spPr>
              <a:solidFill>
                <a:srgbClr val="AEABAB"/>
              </a:solidFill>
            </c:spPr>
            <c:extLst>
              <c:ext xmlns:c16="http://schemas.microsoft.com/office/drawing/2014/chart" uri="{C3380CC4-5D6E-409C-BE32-E72D297353CC}">
                <c16:uniqueId val="{0000033D-A7CE-4049-B88B-35FCDA646473}"/>
              </c:ext>
            </c:extLst>
          </c:dPt>
          <c:dPt>
            <c:idx val="414"/>
            <c:invertIfNegative val="1"/>
            <c:bubble3D val="0"/>
            <c:spPr>
              <a:solidFill>
                <a:srgbClr val="AEABAB"/>
              </a:solidFill>
            </c:spPr>
            <c:extLst>
              <c:ext xmlns:c16="http://schemas.microsoft.com/office/drawing/2014/chart" uri="{C3380CC4-5D6E-409C-BE32-E72D297353CC}">
                <c16:uniqueId val="{0000033F-A7CE-4049-B88B-35FCDA646473}"/>
              </c:ext>
            </c:extLst>
          </c:dPt>
          <c:dPt>
            <c:idx val="415"/>
            <c:invertIfNegative val="1"/>
            <c:bubble3D val="0"/>
            <c:spPr>
              <a:solidFill>
                <a:srgbClr val="AEABAB"/>
              </a:solidFill>
            </c:spPr>
            <c:extLst>
              <c:ext xmlns:c16="http://schemas.microsoft.com/office/drawing/2014/chart" uri="{C3380CC4-5D6E-409C-BE32-E72D297353CC}">
                <c16:uniqueId val="{00000341-A7CE-4049-B88B-35FCDA646473}"/>
              </c:ext>
            </c:extLst>
          </c:dPt>
          <c:dPt>
            <c:idx val="416"/>
            <c:invertIfNegative val="1"/>
            <c:bubble3D val="0"/>
            <c:spPr>
              <a:solidFill>
                <a:srgbClr val="AEABAB"/>
              </a:solidFill>
            </c:spPr>
            <c:extLst>
              <c:ext xmlns:c16="http://schemas.microsoft.com/office/drawing/2014/chart" uri="{C3380CC4-5D6E-409C-BE32-E72D297353CC}">
                <c16:uniqueId val="{00000343-A7CE-4049-B88B-35FCDA646473}"/>
              </c:ext>
            </c:extLst>
          </c:dPt>
          <c:dPt>
            <c:idx val="417"/>
            <c:invertIfNegative val="1"/>
            <c:bubble3D val="0"/>
            <c:spPr>
              <a:solidFill>
                <a:srgbClr val="AEABAB"/>
              </a:solidFill>
            </c:spPr>
            <c:extLst>
              <c:ext xmlns:c16="http://schemas.microsoft.com/office/drawing/2014/chart" uri="{C3380CC4-5D6E-409C-BE32-E72D297353CC}">
                <c16:uniqueId val="{00000345-A7CE-4049-B88B-35FCDA646473}"/>
              </c:ext>
            </c:extLst>
          </c:dPt>
          <c:dPt>
            <c:idx val="418"/>
            <c:invertIfNegative val="1"/>
            <c:bubble3D val="0"/>
            <c:spPr>
              <a:solidFill>
                <a:srgbClr val="AEABAB"/>
              </a:solidFill>
            </c:spPr>
            <c:extLst>
              <c:ext xmlns:c16="http://schemas.microsoft.com/office/drawing/2014/chart" uri="{C3380CC4-5D6E-409C-BE32-E72D297353CC}">
                <c16:uniqueId val="{00000347-A7CE-4049-B88B-35FCDA646473}"/>
              </c:ext>
            </c:extLst>
          </c:dPt>
          <c:dPt>
            <c:idx val="419"/>
            <c:invertIfNegative val="1"/>
            <c:bubble3D val="0"/>
            <c:spPr>
              <a:solidFill>
                <a:srgbClr val="AEABAB"/>
              </a:solidFill>
            </c:spPr>
            <c:extLst>
              <c:ext xmlns:c16="http://schemas.microsoft.com/office/drawing/2014/chart" uri="{C3380CC4-5D6E-409C-BE32-E72D297353CC}">
                <c16:uniqueId val="{00000349-A7CE-4049-B88B-35FCDA646473}"/>
              </c:ext>
            </c:extLst>
          </c:dPt>
          <c:dPt>
            <c:idx val="420"/>
            <c:invertIfNegative val="1"/>
            <c:bubble3D val="0"/>
            <c:spPr>
              <a:solidFill>
                <a:srgbClr val="AEABAB"/>
              </a:solidFill>
            </c:spPr>
            <c:extLst>
              <c:ext xmlns:c16="http://schemas.microsoft.com/office/drawing/2014/chart" uri="{C3380CC4-5D6E-409C-BE32-E72D297353CC}">
                <c16:uniqueId val="{0000034B-A7CE-4049-B88B-35FCDA646473}"/>
              </c:ext>
            </c:extLst>
          </c:dPt>
          <c:dPt>
            <c:idx val="421"/>
            <c:invertIfNegative val="1"/>
            <c:bubble3D val="0"/>
            <c:spPr>
              <a:solidFill>
                <a:srgbClr val="AEABAB"/>
              </a:solidFill>
            </c:spPr>
            <c:extLst>
              <c:ext xmlns:c16="http://schemas.microsoft.com/office/drawing/2014/chart" uri="{C3380CC4-5D6E-409C-BE32-E72D297353CC}">
                <c16:uniqueId val="{0000034D-A7CE-4049-B88B-35FCDA646473}"/>
              </c:ext>
            </c:extLst>
          </c:dPt>
          <c:dPt>
            <c:idx val="422"/>
            <c:invertIfNegative val="1"/>
            <c:bubble3D val="0"/>
            <c:spPr>
              <a:solidFill>
                <a:srgbClr val="AEABAB"/>
              </a:solidFill>
            </c:spPr>
            <c:extLst>
              <c:ext xmlns:c16="http://schemas.microsoft.com/office/drawing/2014/chart" uri="{C3380CC4-5D6E-409C-BE32-E72D297353CC}">
                <c16:uniqueId val="{0000034F-A7CE-4049-B88B-35FCDA646473}"/>
              </c:ext>
            </c:extLst>
          </c:dPt>
          <c:dPt>
            <c:idx val="423"/>
            <c:invertIfNegative val="1"/>
            <c:bubble3D val="0"/>
            <c:spPr>
              <a:solidFill>
                <a:srgbClr val="AEABAB"/>
              </a:solidFill>
            </c:spPr>
            <c:extLst>
              <c:ext xmlns:c16="http://schemas.microsoft.com/office/drawing/2014/chart" uri="{C3380CC4-5D6E-409C-BE32-E72D297353CC}">
                <c16:uniqueId val="{00000351-A7CE-4049-B88B-35FCDA646473}"/>
              </c:ext>
            </c:extLst>
          </c:dPt>
          <c:dPt>
            <c:idx val="424"/>
            <c:invertIfNegative val="1"/>
            <c:bubble3D val="0"/>
            <c:spPr>
              <a:solidFill>
                <a:srgbClr val="AEABAB"/>
              </a:solidFill>
            </c:spPr>
            <c:extLst>
              <c:ext xmlns:c16="http://schemas.microsoft.com/office/drawing/2014/chart" uri="{C3380CC4-5D6E-409C-BE32-E72D297353CC}">
                <c16:uniqueId val="{00000353-A7CE-4049-B88B-35FCDA646473}"/>
              </c:ext>
            </c:extLst>
          </c:dPt>
          <c:dPt>
            <c:idx val="425"/>
            <c:invertIfNegative val="1"/>
            <c:bubble3D val="0"/>
            <c:spPr>
              <a:solidFill>
                <a:srgbClr val="AEABAB"/>
              </a:solidFill>
            </c:spPr>
            <c:extLst>
              <c:ext xmlns:c16="http://schemas.microsoft.com/office/drawing/2014/chart" uri="{C3380CC4-5D6E-409C-BE32-E72D297353CC}">
                <c16:uniqueId val="{00000355-A7CE-4049-B88B-35FCDA646473}"/>
              </c:ext>
            </c:extLst>
          </c:dPt>
          <c:dPt>
            <c:idx val="426"/>
            <c:invertIfNegative val="1"/>
            <c:bubble3D val="0"/>
            <c:spPr>
              <a:solidFill>
                <a:srgbClr val="AEABAB"/>
              </a:solidFill>
            </c:spPr>
            <c:extLst>
              <c:ext xmlns:c16="http://schemas.microsoft.com/office/drawing/2014/chart" uri="{C3380CC4-5D6E-409C-BE32-E72D297353CC}">
                <c16:uniqueId val="{00000357-A7CE-4049-B88B-35FCDA646473}"/>
              </c:ext>
            </c:extLst>
          </c:dPt>
          <c:dPt>
            <c:idx val="427"/>
            <c:invertIfNegative val="1"/>
            <c:bubble3D val="0"/>
            <c:spPr>
              <a:solidFill>
                <a:srgbClr val="AEABAB"/>
              </a:solidFill>
            </c:spPr>
            <c:extLst>
              <c:ext xmlns:c16="http://schemas.microsoft.com/office/drawing/2014/chart" uri="{C3380CC4-5D6E-409C-BE32-E72D297353CC}">
                <c16:uniqueId val="{00000359-A7CE-4049-B88B-35FCDA646473}"/>
              </c:ext>
            </c:extLst>
          </c:dPt>
          <c:dPt>
            <c:idx val="428"/>
            <c:invertIfNegative val="1"/>
            <c:bubble3D val="0"/>
            <c:spPr>
              <a:solidFill>
                <a:srgbClr val="AEABAB"/>
              </a:solidFill>
            </c:spPr>
            <c:extLst>
              <c:ext xmlns:c16="http://schemas.microsoft.com/office/drawing/2014/chart" uri="{C3380CC4-5D6E-409C-BE32-E72D297353CC}">
                <c16:uniqueId val="{0000035B-A7CE-4049-B88B-35FCDA646473}"/>
              </c:ext>
            </c:extLst>
          </c:dPt>
          <c:dPt>
            <c:idx val="429"/>
            <c:invertIfNegative val="1"/>
            <c:bubble3D val="0"/>
            <c:spPr>
              <a:solidFill>
                <a:srgbClr val="AEABAB"/>
              </a:solidFill>
            </c:spPr>
            <c:extLst>
              <c:ext xmlns:c16="http://schemas.microsoft.com/office/drawing/2014/chart" uri="{C3380CC4-5D6E-409C-BE32-E72D297353CC}">
                <c16:uniqueId val="{0000035D-A7CE-4049-B88B-35FCDA646473}"/>
              </c:ext>
            </c:extLst>
          </c:dPt>
          <c:dPt>
            <c:idx val="430"/>
            <c:invertIfNegative val="1"/>
            <c:bubble3D val="0"/>
            <c:spPr>
              <a:solidFill>
                <a:srgbClr val="AEABAB"/>
              </a:solidFill>
            </c:spPr>
            <c:extLst>
              <c:ext xmlns:c16="http://schemas.microsoft.com/office/drawing/2014/chart" uri="{C3380CC4-5D6E-409C-BE32-E72D297353CC}">
                <c16:uniqueId val="{0000035F-A7CE-4049-B88B-35FCDA646473}"/>
              </c:ext>
            </c:extLst>
          </c:dPt>
          <c:dPt>
            <c:idx val="431"/>
            <c:invertIfNegative val="1"/>
            <c:bubble3D val="0"/>
            <c:spPr>
              <a:solidFill>
                <a:srgbClr val="AEABAB"/>
              </a:solidFill>
            </c:spPr>
            <c:extLst>
              <c:ext xmlns:c16="http://schemas.microsoft.com/office/drawing/2014/chart" uri="{C3380CC4-5D6E-409C-BE32-E72D297353CC}">
                <c16:uniqueId val="{00000361-A7CE-4049-B88B-35FCDA646473}"/>
              </c:ext>
            </c:extLst>
          </c:dPt>
          <c:dPt>
            <c:idx val="432"/>
            <c:invertIfNegative val="1"/>
            <c:bubble3D val="0"/>
            <c:spPr>
              <a:solidFill>
                <a:srgbClr val="AEABAB"/>
              </a:solidFill>
            </c:spPr>
            <c:extLst>
              <c:ext xmlns:c16="http://schemas.microsoft.com/office/drawing/2014/chart" uri="{C3380CC4-5D6E-409C-BE32-E72D297353CC}">
                <c16:uniqueId val="{00000363-A7CE-4049-B88B-35FCDA646473}"/>
              </c:ext>
            </c:extLst>
          </c:dPt>
          <c:dPt>
            <c:idx val="433"/>
            <c:invertIfNegative val="1"/>
            <c:bubble3D val="0"/>
            <c:spPr>
              <a:solidFill>
                <a:srgbClr val="AEABAB"/>
              </a:solidFill>
            </c:spPr>
            <c:extLst>
              <c:ext xmlns:c16="http://schemas.microsoft.com/office/drawing/2014/chart" uri="{C3380CC4-5D6E-409C-BE32-E72D297353CC}">
                <c16:uniqueId val="{00000365-A7CE-4049-B88B-35FCDA646473}"/>
              </c:ext>
            </c:extLst>
          </c:dPt>
          <c:dPt>
            <c:idx val="434"/>
            <c:invertIfNegative val="1"/>
            <c:bubble3D val="0"/>
            <c:spPr>
              <a:solidFill>
                <a:srgbClr val="AEABAB"/>
              </a:solidFill>
            </c:spPr>
            <c:extLst>
              <c:ext xmlns:c16="http://schemas.microsoft.com/office/drawing/2014/chart" uri="{C3380CC4-5D6E-409C-BE32-E72D297353CC}">
                <c16:uniqueId val="{00000367-A7CE-4049-B88B-35FCDA646473}"/>
              </c:ext>
            </c:extLst>
          </c:dPt>
          <c:dPt>
            <c:idx val="435"/>
            <c:invertIfNegative val="1"/>
            <c:bubble3D val="0"/>
            <c:spPr>
              <a:solidFill>
                <a:srgbClr val="AEABAB"/>
              </a:solidFill>
            </c:spPr>
            <c:extLst>
              <c:ext xmlns:c16="http://schemas.microsoft.com/office/drawing/2014/chart" uri="{C3380CC4-5D6E-409C-BE32-E72D297353CC}">
                <c16:uniqueId val="{00000369-A7CE-4049-B88B-35FCDA646473}"/>
              </c:ext>
            </c:extLst>
          </c:dPt>
          <c:dPt>
            <c:idx val="436"/>
            <c:invertIfNegative val="1"/>
            <c:bubble3D val="0"/>
            <c:spPr>
              <a:solidFill>
                <a:srgbClr val="AEABAB"/>
              </a:solidFill>
            </c:spPr>
            <c:extLst>
              <c:ext xmlns:c16="http://schemas.microsoft.com/office/drawing/2014/chart" uri="{C3380CC4-5D6E-409C-BE32-E72D297353CC}">
                <c16:uniqueId val="{0000036B-A7CE-4049-B88B-35FCDA646473}"/>
              </c:ext>
            </c:extLst>
          </c:dPt>
          <c:dPt>
            <c:idx val="437"/>
            <c:invertIfNegative val="1"/>
            <c:bubble3D val="0"/>
            <c:spPr>
              <a:solidFill>
                <a:srgbClr val="AEABAB"/>
              </a:solidFill>
            </c:spPr>
            <c:extLst>
              <c:ext xmlns:c16="http://schemas.microsoft.com/office/drawing/2014/chart" uri="{C3380CC4-5D6E-409C-BE32-E72D297353CC}">
                <c16:uniqueId val="{0000036D-A7CE-4049-B88B-35FCDA646473}"/>
              </c:ext>
            </c:extLst>
          </c:dPt>
          <c:dPt>
            <c:idx val="438"/>
            <c:invertIfNegative val="1"/>
            <c:bubble3D val="0"/>
            <c:spPr>
              <a:solidFill>
                <a:srgbClr val="AEABAB"/>
              </a:solidFill>
            </c:spPr>
            <c:extLst>
              <c:ext xmlns:c16="http://schemas.microsoft.com/office/drawing/2014/chart" uri="{C3380CC4-5D6E-409C-BE32-E72D297353CC}">
                <c16:uniqueId val="{0000036F-A7CE-4049-B88B-35FCDA646473}"/>
              </c:ext>
            </c:extLst>
          </c:dPt>
          <c:dPt>
            <c:idx val="439"/>
            <c:invertIfNegative val="1"/>
            <c:bubble3D val="0"/>
            <c:spPr>
              <a:solidFill>
                <a:srgbClr val="AEABAB"/>
              </a:solidFill>
            </c:spPr>
            <c:extLst>
              <c:ext xmlns:c16="http://schemas.microsoft.com/office/drawing/2014/chart" uri="{C3380CC4-5D6E-409C-BE32-E72D297353CC}">
                <c16:uniqueId val="{00000371-A7CE-4049-B88B-35FCDA646473}"/>
              </c:ext>
            </c:extLst>
          </c:dPt>
          <c:dPt>
            <c:idx val="440"/>
            <c:invertIfNegative val="1"/>
            <c:bubble3D val="0"/>
            <c:spPr>
              <a:solidFill>
                <a:srgbClr val="AEABAB"/>
              </a:solidFill>
            </c:spPr>
            <c:extLst>
              <c:ext xmlns:c16="http://schemas.microsoft.com/office/drawing/2014/chart" uri="{C3380CC4-5D6E-409C-BE32-E72D297353CC}">
                <c16:uniqueId val="{00000373-A7CE-4049-B88B-35FCDA646473}"/>
              </c:ext>
            </c:extLst>
          </c:dPt>
          <c:dPt>
            <c:idx val="441"/>
            <c:invertIfNegative val="1"/>
            <c:bubble3D val="0"/>
            <c:spPr>
              <a:solidFill>
                <a:srgbClr val="AEABAB"/>
              </a:solidFill>
            </c:spPr>
            <c:extLst>
              <c:ext xmlns:c16="http://schemas.microsoft.com/office/drawing/2014/chart" uri="{C3380CC4-5D6E-409C-BE32-E72D297353CC}">
                <c16:uniqueId val="{00000375-A7CE-4049-B88B-35FCDA646473}"/>
              </c:ext>
            </c:extLst>
          </c:dPt>
          <c:dPt>
            <c:idx val="442"/>
            <c:invertIfNegative val="1"/>
            <c:bubble3D val="0"/>
            <c:spPr>
              <a:solidFill>
                <a:srgbClr val="AEABAB"/>
              </a:solidFill>
            </c:spPr>
            <c:extLst>
              <c:ext xmlns:c16="http://schemas.microsoft.com/office/drawing/2014/chart" uri="{C3380CC4-5D6E-409C-BE32-E72D297353CC}">
                <c16:uniqueId val="{00000377-A7CE-4049-B88B-35FCDA646473}"/>
              </c:ext>
            </c:extLst>
          </c:dPt>
          <c:dPt>
            <c:idx val="443"/>
            <c:invertIfNegative val="1"/>
            <c:bubble3D val="0"/>
            <c:spPr>
              <a:solidFill>
                <a:srgbClr val="AEABAB"/>
              </a:solidFill>
            </c:spPr>
            <c:extLst>
              <c:ext xmlns:c16="http://schemas.microsoft.com/office/drawing/2014/chart" uri="{C3380CC4-5D6E-409C-BE32-E72D297353CC}">
                <c16:uniqueId val="{00000379-A7CE-4049-B88B-35FCDA646473}"/>
              </c:ext>
            </c:extLst>
          </c:dPt>
          <c:dPt>
            <c:idx val="444"/>
            <c:invertIfNegative val="1"/>
            <c:bubble3D val="0"/>
            <c:spPr>
              <a:solidFill>
                <a:srgbClr val="AEABAB"/>
              </a:solidFill>
            </c:spPr>
            <c:extLst>
              <c:ext xmlns:c16="http://schemas.microsoft.com/office/drawing/2014/chart" uri="{C3380CC4-5D6E-409C-BE32-E72D297353CC}">
                <c16:uniqueId val="{0000037B-A7CE-4049-B88B-35FCDA646473}"/>
              </c:ext>
            </c:extLst>
          </c:dPt>
          <c:dPt>
            <c:idx val="445"/>
            <c:invertIfNegative val="1"/>
            <c:bubble3D val="0"/>
            <c:spPr>
              <a:solidFill>
                <a:srgbClr val="AEABAB"/>
              </a:solidFill>
            </c:spPr>
            <c:extLst>
              <c:ext xmlns:c16="http://schemas.microsoft.com/office/drawing/2014/chart" uri="{C3380CC4-5D6E-409C-BE32-E72D297353CC}">
                <c16:uniqueId val="{0000037D-A7CE-4049-B88B-35FCDA646473}"/>
              </c:ext>
            </c:extLst>
          </c:dPt>
          <c:dPt>
            <c:idx val="446"/>
            <c:invertIfNegative val="1"/>
            <c:bubble3D val="0"/>
            <c:spPr>
              <a:solidFill>
                <a:srgbClr val="AEABAB"/>
              </a:solidFill>
            </c:spPr>
            <c:extLst>
              <c:ext xmlns:c16="http://schemas.microsoft.com/office/drawing/2014/chart" uri="{C3380CC4-5D6E-409C-BE32-E72D297353CC}">
                <c16:uniqueId val="{0000037F-A7CE-4049-B88B-35FCDA646473}"/>
              </c:ext>
            </c:extLst>
          </c:dPt>
          <c:dPt>
            <c:idx val="447"/>
            <c:invertIfNegative val="1"/>
            <c:bubble3D val="0"/>
            <c:spPr>
              <a:solidFill>
                <a:srgbClr val="AEABAB"/>
              </a:solidFill>
            </c:spPr>
            <c:extLst>
              <c:ext xmlns:c16="http://schemas.microsoft.com/office/drawing/2014/chart" uri="{C3380CC4-5D6E-409C-BE32-E72D297353CC}">
                <c16:uniqueId val="{00000381-A7CE-4049-B88B-35FCDA646473}"/>
              </c:ext>
            </c:extLst>
          </c:dPt>
          <c:dPt>
            <c:idx val="448"/>
            <c:invertIfNegative val="1"/>
            <c:bubble3D val="0"/>
            <c:spPr>
              <a:solidFill>
                <a:srgbClr val="AEABAB"/>
              </a:solidFill>
            </c:spPr>
            <c:extLst>
              <c:ext xmlns:c16="http://schemas.microsoft.com/office/drawing/2014/chart" uri="{C3380CC4-5D6E-409C-BE32-E72D297353CC}">
                <c16:uniqueId val="{00000383-A7CE-4049-B88B-35FCDA646473}"/>
              </c:ext>
            </c:extLst>
          </c:dPt>
          <c:dPt>
            <c:idx val="449"/>
            <c:invertIfNegative val="1"/>
            <c:bubble3D val="0"/>
            <c:spPr>
              <a:solidFill>
                <a:srgbClr val="AEABAB"/>
              </a:solidFill>
            </c:spPr>
            <c:extLst>
              <c:ext xmlns:c16="http://schemas.microsoft.com/office/drawing/2014/chart" uri="{C3380CC4-5D6E-409C-BE32-E72D297353CC}">
                <c16:uniqueId val="{00000385-A7CE-4049-B88B-35FCDA646473}"/>
              </c:ext>
            </c:extLst>
          </c:dPt>
          <c:dPt>
            <c:idx val="450"/>
            <c:invertIfNegative val="1"/>
            <c:bubble3D val="0"/>
            <c:spPr>
              <a:solidFill>
                <a:srgbClr val="AEABAB"/>
              </a:solidFill>
            </c:spPr>
            <c:extLst>
              <c:ext xmlns:c16="http://schemas.microsoft.com/office/drawing/2014/chart" uri="{C3380CC4-5D6E-409C-BE32-E72D297353CC}">
                <c16:uniqueId val="{00000387-A7CE-4049-B88B-35FCDA646473}"/>
              </c:ext>
            </c:extLst>
          </c:dPt>
          <c:dPt>
            <c:idx val="451"/>
            <c:invertIfNegative val="1"/>
            <c:bubble3D val="0"/>
            <c:spPr>
              <a:solidFill>
                <a:srgbClr val="AEABAB"/>
              </a:solidFill>
            </c:spPr>
            <c:extLst>
              <c:ext xmlns:c16="http://schemas.microsoft.com/office/drawing/2014/chart" uri="{C3380CC4-5D6E-409C-BE32-E72D297353CC}">
                <c16:uniqueId val="{00000389-A7CE-4049-B88B-35FCDA646473}"/>
              </c:ext>
            </c:extLst>
          </c:dPt>
          <c:dPt>
            <c:idx val="452"/>
            <c:invertIfNegative val="1"/>
            <c:bubble3D val="0"/>
            <c:spPr>
              <a:solidFill>
                <a:srgbClr val="AEABAB"/>
              </a:solidFill>
            </c:spPr>
            <c:extLst>
              <c:ext xmlns:c16="http://schemas.microsoft.com/office/drawing/2014/chart" uri="{C3380CC4-5D6E-409C-BE32-E72D297353CC}">
                <c16:uniqueId val="{0000038B-A7CE-4049-B88B-35FCDA646473}"/>
              </c:ext>
            </c:extLst>
          </c:dPt>
          <c:dPt>
            <c:idx val="453"/>
            <c:invertIfNegative val="1"/>
            <c:bubble3D val="0"/>
            <c:spPr>
              <a:solidFill>
                <a:srgbClr val="AEABAB"/>
              </a:solidFill>
            </c:spPr>
            <c:extLst>
              <c:ext xmlns:c16="http://schemas.microsoft.com/office/drawing/2014/chart" uri="{C3380CC4-5D6E-409C-BE32-E72D297353CC}">
                <c16:uniqueId val="{0000038D-A7CE-4049-B88B-35FCDA646473}"/>
              </c:ext>
            </c:extLst>
          </c:dPt>
          <c:dPt>
            <c:idx val="454"/>
            <c:invertIfNegative val="1"/>
            <c:bubble3D val="0"/>
            <c:spPr>
              <a:solidFill>
                <a:srgbClr val="AEABAB"/>
              </a:solidFill>
            </c:spPr>
            <c:extLst>
              <c:ext xmlns:c16="http://schemas.microsoft.com/office/drawing/2014/chart" uri="{C3380CC4-5D6E-409C-BE32-E72D297353CC}">
                <c16:uniqueId val="{0000038F-A7CE-4049-B88B-35FCDA646473}"/>
              </c:ext>
            </c:extLst>
          </c:dPt>
          <c:dPt>
            <c:idx val="455"/>
            <c:invertIfNegative val="1"/>
            <c:bubble3D val="0"/>
            <c:spPr>
              <a:solidFill>
                <a:srgbClr val="AEABAB"/>
              </a:solidFill>
            </c:spPr>
            <c:extLst>
              <c:ext xmlns:c16="http://schemas.microsoft.com/office/drawing/2014/chart" uri="{C3380CC4-5D6E-409C-BE32-E72D297353CC}">
                <c16:uniqueId val="{00000391-A7CE-4049-B88B-35FCDA646473}"/>
              </c:ext>
            </c:extLst>
          </c:dPt>
          <c:dPt>
            <c:idx val="456"/>
            <c:invertIfNegative val="1"/>
            <c:bubble3D val="0"/>
            <c:spPr>
              <a:solidFill>
                <a:srgbClr val="AEABAB"/>
              </a:solidFill>
            </c:spPr>
            <c:extLst>
              <c:ext xmlns:c16="http://schemas.microsoft.com/office/drawing/2014/chart" uri="{C3380CC4-5D6E-409C-BE32-E72D297353CC}">
                <c16:uniqueId val="{00000393-A7CE-4049-B88B-35FCDA646473}"/>
              </c:ext>
            </c:extLst>
          </c:dPt>
          <c:dPt>
            <c:idx val="457"/>
            <c:invertIfNegative val="1"/>
            <c:bubble3D val="0"/>
            <c:spPr>
              <a:solidFill>
                <a:srgbClr val="AEABAB"/>
              </a:solidFill>
            </c:spPr>
            <c:extLst>
              <c:ext xmlns:c16="http://schemas.microsoft.com/office/drawing/2014/chart" uri="{C3380CC4-5D6E-409C-BE32-E72D297353CC}">
                <c16:uniqueId val="{00000395-A7CE-4049-B88B-35FCDA646473}"/>
              </c:ext>
            </c:extLst>
          </c:dPt>
          <c:dPt>
            <c:idx val="458"/>
            <c:invertIfNegative val="1"/>
            <c:bubble3D val="0"/>
            <c:spPr>
              <a:solidFill>
                <a:srgbClr val="AEABAB"/>
              </a:solidFill>
            </c:spPr>
            <c:extLst>
              <c:ext xmlns:c16="http://schemas.microsoft.com/office/drawing/2014/chart" uri="{C3380CC4-5D6E-409C-BE32-E72D297353CC}">
                <c16:uniqueId val="{00000397-A7CE-4049-B88B-35FCDA646473}"/>
              </c:ext>
            </c:extLst>
          </c:dPt>
          <c:dPt>
            <c:idx val="459"/>
            <c:invertIfNegative val="1"/>
            <c:bubble3D val="0"/>
            <c:spPr>
              <a:solidFill>
                <a:srgbClr val="AEABAB"/>
              </a:solidFill>
            </c:spPr>
            <c:extLst>
              <c:ext xmlns:c16="http://schemas.microsoft.com/office/drawing/2014/chart" uri="{C3380CC4-5D6E-409C-BE32-E72D297353CC}">
                <c16:uniqueId val="{00000399-A7CE-4049-B88B-35FCDA646473}"/>
              </c:ext>
            </c:extLst>
          </c:dPt>
          <c:dPt>
            <c:idx val="460"/>
            <c:invertIfNegative val="1"/>
            <c:bubble3D val="0"/>
            <c:spPr>
              <a:solidFill>
                <a:srgbClr val="AEABAB"/>
              </a:solidFill>
            </c:spPr>
            <c:extLst>
              <c:ext xmlns:c16="http://schemas.microsoft.com/office/drawing/2014/chart" uri="{C3380CC4-5D6E-409C-BE32-E72D297353CC}">
                <c16:uniqueId val="{0000039B-A7CE-4049-B88B-35FCDA646473}"/>
              </c:ext>
            </c:extLst>
          </c:dPt>
          <c:dPt>
            <c:idx val="461"/>
            <c:invertIfNegative val="1"/>
            <c:bubble3D val="0"/>
            <c:spPr>
              <a:solidFill>
                <a:srgbClr val="AEABAB"/>
              </a:solidFill>
            </c:spPr>
            <c:extLst>
              <c:ext xmlns:c16="http://schemas.microsoft.com/office/drawing/2014/chart" uri="{C3380CC4-5D6E-409C-BE32-E72D297353CC}">
                <c16:uniqueId val="{0000039D-A7CE-4049-B88B-35FCDA646473}"/>
              </c:ext>
            </c:extLst>
          </c:dPt>
          <c:dPt>
            <c:idx val="462"/>
            <c:invertIfNegative val="1"/>
            <c:bubble3D val="0"/>
            <c:spPr>
              <a:solidFill>
                <a:srgbClr val="AEABAB"/>
              </a:solidFill>
            </c:spPr>
            <c:extLst>
              <c:ext xmlns:c16="http://schemas.microsoft.com/office/drawing/2014/chart" uri="{C3380CC4-5D6E-409C-BE32-E72D297353CC}">
                <c16:uniqueId val="{0000039F-A7CE-4049-B88B-35FCDA646473}"/>
              </c:ext>
            </c:extLst>
          </c:dPt>
          <c:dPt>
            <c:idx val="463"/>
            <c:invertIfNegative val="1"/>
            <c:bubble3D val="0"/>
            <c:spPr>
              <a:solidFill>
                <a:srgbClr val="AEABAB"/>
              </a:solidFill>
            </c:spPr>
            <c:extLst>
              <c:ext xmlns:c16="http://schemas.microsoft.com/office/drawing/2014/chart" uri="{C3380CC4-5D6E-409C-BE32-E72D297353CC}">
                <c16:uniqueId val="{000003A1-A7CE-4049-B88B-35FCDA646473}"/>
              </c:ext>
            </c:extLst>
          </c:dPt>
          <c:dPt>
            <c:idx val="464"/>
            <c:invertIfNegative val="1"/>
            <c:bubble3D val="0"/>
            <c:spPr>
              <a:solidFill>
                <a:srgbClr val="AEABAB"/>
              </a:solidFill>
            </c:spPr>
            <c:extLst>
              <c:ext xmlns:c16="http://schemas.microsoft.com/office/drawing/2014/chart" uri="{C3380CC4-5D6E-409C-BE32-E72D297353CC}">
                <c16:uniqueId val="{000003A3-A7CE-4049-B88B-35FCDA646473}"/>
              </c:ext>
            </c:extLst>
          </c:dPt>
          <c:dPt>
            <c:idx val="465"/>
            <c:invertIfNegative val="1"/>
            <c:bubble3D val="0"/>
            <c:spPr>
              <a:solidFill>
                <a:srgbClr val="AEABAB"/>
              </a:solidFill>
            </c:spPr>
            <c:extLst>
              <c:ext xmlns:c16="http://schemas.microsoft.com/office/drawing/2014/chart" uri="{C3380CC4-5D6E-409C-BE32-E72D297353CC}">
                <c16:uniqueId val="{000003A5-A7CE-4049-B88B-35FCDA646473}"/>
              </c:ext>
            </c:extLst>
          </c:dPt>
          <c:dPt>
            <c:idx val="466"/>
            <c:invertIfNegative val="1"/>
            <c:bubble3D val="0"/>
            <c:spPr>
              <a:solidFill>
                <a:srgbClr val="AEABAB"/>
              </a:solidFill>
            </c:spPr>
            <c:extLst>
              <c:ext xmlns:c16="http://schemas.microsoft.com/office/drawing/2014/chart" uri="{C3380CC4-5D6E-409C-BE32-E72D297353CC}">
                <c16:uniqueId val="{000003A7-A7CE-4049-B88B-35FCDA646473}"/>
              </c:ext>
            </c:extLst>
          </c:dPt>
          <c:dPt>
            <c:idx val="467"/>
            <c:invertIfNegative val="1"/>
            <c:bubble3D val="0"/>
            <c:spPr>
              <a:solidFill>
                <a:srgbClr val="AEABAB"/>
              </a:solidFill>
            </c:spPr>
            <c:extLst>
              <c:ext xmlns:c16="http://schemas.microsoft.com/office/drawing/2014/chart" uri="{C3380CC4-5D6E-409C-BE32-E72D297353CC}">
                <c16:uniqueId val="{000003A9-A7CE-4049-B88B-35FCDA646473}"/>
              </c:ext>
            </c:extLst>
          </c:dPt>
          <c:dPt>
            <c:idx val="468"/>
            <c:invertIfNegative val="1"/>
            <c:bubble3D val="0"/>
            <c:spPr>
              <a:solidFill>
                <a:srgbClr val="AEABAB"/>
              </a:solidFill>
            </c:spPr>
            <c:extLst>
              <c:ext xmlns:c16="http://schemas.microsoft.com/office/drawing/2014/chart" uri="{C3380CC4-5D6E-409C-BE32-E72D297353CC}">
                <c16:uniqueId val="{000003AB-A7CE-4049-B88B-35FCDA646473}"/>
              </c:ext>
            </c:extLst>
          </c:dPt>
          <c:dPt>
            <c:idx val="469"/>
            <c:invertIfNegative val="1"/>
            <c:bubble3D val="0"/>
            <c:spPr>
              <a:solidFill>
                <a:srgbClr val="AEABAB"/>
              </a:solidFill>
            </c:spPr>
            <c:extLst>
              <c:ext xmlns:c16="http://schemas.microsoft.com/office/drawing/2014/chart" uri="{C3380CC4-5D6E-409C-BE32-E72D297353CC}">
                <c16:uniqueId val="{000003AD-A7CE-4049-B88B-35FCDA646473}"/>
              </c:ext>
            </c:extLst>
          </c:dPt>
          <c:dPt>
            <c:idx val="470"/>
            <c:invertIfNegative val="1"/>
            <c:bubble3D val="0"/>
            <c:spPr>
              <a:solidFill>
                <a:srgbClr val="AEABAB"/>
              </a:solidFill>
            </c:spPr>
            <c:extLst>
              <c:ext xmlns:c16="http://schemas.microsoft.com/office/drawing/2014/chart" uri="{C3380CC4-5D6E-409C-BE32-E72D297353CC}">
                <c16:uniqueId val="{000003AF-A7CE-4049-B88B-35FCDA646473}"/>
              </c:ext>
            </c:extLst>
          </c:dPt>
          <c:dPt>
            <c:idx val="471"/>
            <c:invertIfNegative val="1"/>
            <c:bubble3D val="0"/>
            <c:spPr>
              <a:solidFill>
                <a:srgbClr val="AEABAB"/>
              </a:solidFill>
            </c:spPr>
            <c:extLst>
              <c:ext xmlns:c16="http://schemas.microsoft.com/office/drawing/2014/chart" uri="{C3380CC4-5D6E-409C-BE32-E72D297353CC}">
                <c16:uniqueId val="{000003B1-A7CE-4049-B88B-35FCDA646473}"/>
              </c:ext>
            </c:extLst>
          </c:dPt>
          <c:dPt>
            <c:idx val="472"/>
            <c:invertIfNegative val="1"/>
            <c:bubble3D val="0"/>
            <c:spPr>
              <a:solidFill>
                <a:srgbClr val="AEABAB"/>
              </a:solidFill>
            </c:spPr>
            <c:extLst>
              <c:ext xmlns:c16="http://schemas.microsoft.com/office/drawing/2014/chart" uri="{C3380CC4-5D6E-409C-BE32-E72D297353CC}">
                <c16:uniqueId val="{000003B3-A7CE-4049-B88B-35FCDA646473}"/>
              </c:ext>
            </c:extLst>
          </c:dPt>
          <c:dPt>
            <c:idx val="473"/>
            <c:invertIfNegative val="1"/>
            <c:bubble3D val="0"/>
            <c:spPr>
              <a:solidFill>
                <a:srgbClr val="AEABAB"/>
              </a:solidFill>
            </c:spPr>
            <c:extLst>
              <c:ext xmlns:c16="http://schemas.microsoft.com/office/drawing/2014/chart" uri="{C3380CC4-5D6E-409C-BE32-E72D297353CC}">
                <c16:uniqueId val="{000003B5-A7CE-4049-B88B-35FCDA646473}"/>
              </c:ext>
            </c:extLst>
          </c:dPt>
          <c:dPt>
            <c:idx val="474"/>
            <c:invertIfNegative val="1"/>
            <c:bubble3D val="0"/>
            <c:spPr>
              <a:solidFill>
                <a:srgbClr val="AEABAB"/>
              </a:solidFill>
            </c:spPr>
            <c:extLst>
              <c:ext xmlns:c16="http://schemas.microsoft.com/office/drawing/2014/chart" uri="{C3380CC4-5D6E-409C-BE32-E72D297353CC}">
                <c16:uniqueId val="{000003B7-A7CE-4049-B88B-35FCDA646473}"/>
              </c:ext>
            </c:extLst>
          </c:dPt>
          <c:dPt>
            <c:idx val="475"/>
            <c:invertIfNegative val="1"/>
            <c:bubble3D val="0"/>
            <c:spPr>
              <a:solidFill>
                <a:srgbClr val="AEABAB"/>
              </a:solidFill>
            </c:spPr>
            <c:extLst>
              <c:ext xmlns:c16="http://schemas.microsoft.com/office/drawing/2014/chart" uri="{C3380CC4-5D6E-409C-BE32-E72D297353CC}">
                <c16:uniqueId val="{000003B9-A7CE-4049-B88B-35FCDA646473}"/>
              </c:ext>
            </c:extLst>
          </c:dPt>
          <c:dPt>
            <c:idx val="476"/>
            <c:invertIfNegative val="1"/>
            <c:bubble3D val="0"/>
            <c:spPr>
              <a:solidFill>
                <a:srgbClr val="AEABAB"/>
              </a:solidFill>
            </c:spPr>
            <c:extLst>
              <c:ext xmlns:c16="http://schemas.microsoft.com/office/drawing/2014/chart" uri="{C3380CC4-5D6E-409C-BE32-E72D297353CC}">
                <c16:uniqueId val="{000003BB-A7CE-4049-B88B-35FCDA646473}"/>
              </c:ext>
            </c:extLst>
          </c:dPt>
          <c:dPt>
            <c:idx val="477"/>
            <c:invertIfNegative val="1"/>
            <c:bubble3D val="0"/>
            <c:spPr>
              <a:solidFill>
                <a:srgbClr val="AEABAB"/>
              </a:solidFill>
            </c:spPr>
            <c:extLst>
              <c:ext xmlns:c16="http://schemas.microsoft.com/office/drawing/2014/chart" uri="{C3380CC4-5D6E-409C-BE32-E72D297353CC}">
                <c16:uniqueId val="{000003BD-A7CE-4049-B88B-35FCDA646473}"/>
              </c:ext>
            </c:extLst>
          </c:dPt>
          <c:dPt>
            <c:idx val="478"/>
            <c:invertIfNegative val="1"/>
            <c:bubble3D val="0"/>
            <c:spPr>
              <a:solidFill>
                <a:srgbClr val="AEABAB"/>
              </a:solidFill>
            </c:spPr>
            <c:extLst>
              <c:ext xmlns:c16="http://schemas.microsoft.com/office/drawing/2014/chart" uri="{C3380CC4-5D6E-409C-BE32-E72D297353CC}">
                <c16:uniqueId val="{000003BF-A7CE-4049-B88B-35FCDA646473}"/>
              </c:ext>
            </c:extLst>
          </c:dPt>
          <c:dPt>
            <c:idx val="479"/>
            <c:invertIfNegative val="1"/>
            <c:bubble3D val="0"/>
            <c:spPr>
              <a:solidFill>
                <a:srgbClr val="AEABAB"/>
              </a:solidFill>
            </c:spPr>
            <c:extLst>
              <c:ext xmlns:c16="http://schemas.microsoft.com/office/drawing/2014/chart" uri="{C3380CC4-5D6E-409C-BE32-E72D297353CC}">
                <c16:uniqueId val="{000003C1-A7CE-4049-B88B-35FCDA646473}"/>
              </c:ext>
            </c:extLst>
          </c:dPt>
          <c:dPt>
            <c:idx val="480"/>
            <c:invertIfNegative val="1"/>
            <c:bubble3D val="0"/>
            <c:spPr>
              <a:solidFill>
                <a:srgbClr val="AEABAB"/>
              </a:solidFill>
            </c:spPr>
            <c:extLst>
              <c:ext xmlns:c16="http://schemas.microsoft.com/office/drawing/2014/chart" uri="{C3380CC4-5D6E-409C-BE32-E72D297353CC}">
                <c16:uniqueId val="{000003C3-A7CE-4049-B88B-35FCDA646473}"/>
              </c:ext>
            </c:extLst>
          </c:dPt>
          <c:dPt>
            <c:idx val="481"/>
            <c:invertIfNegative val="1"/>
            <c:bubble3D val="0"/>
            <c:spPr>
              <a:solidFill>
                <a:srgbClr val="AEABAB"/>
              </a:solidFill>
            </c:spPr>
            <c:extLst>
              <c:ext xmlns:c16="http://schemas.microsoft.com/office/drawing/2014/chart" uri="{C3380CC4-5D6E-409C-BE32-E72D297353CC}">
                <c16:uniqueId val="{000003C5-A7CE-4049-B88B-35FCDA646473}"/>
              </c:ext>
            </c:extLst>
          </c:dPt>
          <c:dPt>
            <c:idx val="482"/>
            <c:invertIfNegative val="1"/>
            <c:bubble3D val="0"/>
            <c:spPr>
              <a:solidFill>
                <a:srgbClr val="AEABAB"/>
              </a:solidFill>
            </c:spPr>
            <c:extLst>
              <c:ext xmlns:c16="http://schemas.microsoft.com/office/drawing/2014/chart" uri="{C3380CC4-5D6E-409C-BE32-E72D297353CC}">
                <c16:uniqueId val="{000003C7-A7CE-4049-B88B-35FCDA646473}"/>
              </c:ext>
            </c:extLst>
          </c:dPt>
          <c:dPt>
            <c:idx val="483"/>
            <c:invertIfNegative val="1"/>
            <c:bubble3D val="0"/>
            <c:spPr>
              <a:solidFill>
                <a:srgbClr val="AEABAB"/>
              </a:solidFill>
            </c:spPr>
            <c:extLst>
              <c:ext xmlns:c16="http://schemas.microsoft.com/office/drawing/2014/chart" uri="{C3380CC4-5D6E-409C-BE32-E72D297353CC}">
                <c16:uniqueId val="{000003C9-A7CE-4049-B88B-35FCDA646473}"/>
              </c:ext>
            </c:extLst>
          </c:dPt>
          <c:dPt>
            <c:idx val="484"/>
            <c:invertIfNegative val="1"/>
            <c:bubble3D val="0"/>
            <c:spPr>
              <a:solidFill>
                <a:srgbClr val="AEABAB"/>
              </a:solidFill>
            </c:spPr>
            <c:extLst>
              <c:ext xmlns:c16="http://schemas.microsoft.com/office/drawing/2014/chart" uri="{C3380CC4-5D6E-409C-BE32-E72D297353CC}">
                <c16:uniqueId val="{000003CB-A7CE-4049-B88B-35FCDA646473}"/>
              </c:ext>
            </c:extLst>
          </c:dPt>
          <c:dPt>
            <c:idx val="485"/>
            <c:invertIfNegative val="1"/>
            <c:bubble3D val="0"/>
            <c:spPr>
              <a:solidFill>
                <a:srgbClr val="AEABAB"/>
              </a:solidFill>
            </c:spPr>
            <c:extLst>
              <c:ext xmlns:c16="http://schemas.microsoft.com/office/drawing/2014/chart" uri="{C3380CC4-5D6E-409C-BE32-E72D297353CC}">
                <c16:uniqueId val="{000003CD-A7CE-4049-B88B-35FCDA646473}"/>
              </c:ext>
            </c:extLst>
          </c:dPt>
          <c:dPt>
            <c:idx val="486"/>
            <c:invertIfNegative val="1"/>
            <c:bubble3D val="0"/>
            <c:spPr>
              <a:solidFill>
                <a:srgbClr val="AEABAB"/>
              </a:solidFill>
            </c:spPr>
            <c:extLst>
              <c:ext xmlns:c16="http://schemas.microsoft.com/office/drawing/2014/chart" uri="{C3380CC4-5D6E-409C-BE32-E72D297353CC}">
                <c16:uniqueId val="{000003CF-A7CE-4049-B88B-35FCDA646473}"/>
              </c:ext>
            </c:extLst>
          </c:dPt>
          <c:dPt>
            <c:idx val="487"/>
            <c:invertIfNegative val="1"/>
            <c:bubble3D val="0"/>
            <c:spPr>
              <a:solidFill>
                <a:srgbClr val="AEABAB"/>
              </a:solidFill>
            </c:spPr>
            <c:extLst>
              <c:ext xmlns:c16="http://schemas.microsoft.com/office/drawing/2014/chart" uri="{C3380CC4-5D6E-409C-BE32-E72D297353CC}">
                <c16:uniqueId val="{000003D1-A7CE-4049-B88B-35FCDA646473}"/>
              </c:ext>
            </c:extLst>
          </c:dPt>
          <c:dPt>
            <c:idx val="488"/>
            <c:invertIfNegative val="1"/>
            <c:bubble3D val="0"/>
            <c:spPr>
              <a:solidFill>
                <a:srgbClr val="AEABAB"/>
              </a:solidFill>
            </c:spPr>
            <c:extLst>
              <c:ext xmlns:c16="http://schemas.microsoft.com/office/drawing/2014/chart" uri="{C3380CC4-5D6E-409C-BE32-E72D297353CC}">
                <c16:uniqueId val="{000003D3-A7CE-4049-B88B-35FCDA646473}"/>
              </c:ext>
            </c:extLst>
          </c:dPt>
          <c:dPt>
            <c:idx val="489"/>
            <c:invertIfNegative val="1"/>
            <c:bubble3D val="0"/>
            <c:spPr>
              <a:solidFill>
                <a:srgbClr val="AEABAB"/>
              </a:solidFill>
            </c:spPr>
            <c:extLst>
              <c:ext xmlns:c16="http://schemas.microsoft.com/office/drawing/2014/chart" uri="{C3380CC4-5D6E-409C-BE32-E72D297353CC}">
                <c16:uniqueId val="{000003D5-A7CE-4049-B88B-35FCDA646473}"/>
              </c:ext>
            </c:extLst>
          </c:dPt>
          <c:dPt>
            <c:idx val="490"/>
            <c:invertIfNegative val="1"/>
            <c:bubble3D val="0"/>
            <c:spPr>
              <a:solidFill>
                <a:srgbClr val="AEABAB"/>
              </a:solidFill>
            </c:spPr>
            <c:extLst>
              <c:ext xmlns:c16="http://schemas.microsoft.com/office/drawing/2014/chart" uri="{C3380CC4-5D6E-409C-BE32-E72D297353CC}">
                <c16:uniqueId val="{000003D7-A7CE-4049-B88B-35FCDA646473}"/>
              </c:ext>
            </c:extLst>
          </c:dPt>
          <c:dPt>
            <c:idx val="491"/>
            <c:invertIfNegative val="1"/>
            <c:bubble3D val="0"/>
            <c:spPr>
              <a:solidFill>
                <a:srgbClr val="AEABAB"/>
              </a:solidFill>
            </c:spPr>
            <c:extLst>
              <c:ext xmlns:c16="http://schemas.microsoft.com/office/drawing/2014/chart" uri="{C3380CC4-5D6E-409C-BE32-E72D297353CC}">
                <c16:uniqueId val="{000003D9-A7CE-4049-B88B-35FCDA646473}"/>
              </c:ext>
            </c:extLst>
          </c:dPt>
          <c:dPt>
            <c:idx val="492"/>
            <c:invertIfNegative val="1"/>
            <c:bubble3D val="0"/>
            <c:spPr>
              <a:solidFill>
                <a:srgbClr val="AEABAB"/>
              </a:solidFill>
            </c:spPr>
            <c:extLst>
              <c:ext xmlns:c16="http://schemas.microsoft.com/office/drawing/2014/chart" uri="{C3380CC4-5D6E-409C-BE32-E72D297353CC}">
                <c16:uniqueId val="{000003DB-A7CE-4049-B88B-35FCDA646473}"/>
              </c:ext>
            </c:extLst>
          </c:dPt>
          <c:dPt>
            <c:idx val="493"/>
            <c:invertIfNegative val="1"/>
            <c:bubble3D val="0"/>
            <c:spPr>
              <a:solidFill>
                <a:srgbClr val="AEABAB"/>
              </a:solidFill>
            </c:spPr>
            <c:extLst>
              <c:ext xmlns:c16="http://schemas.microsoft.com/office/drawing/2014/chart" uri="{C3380CC4-5D6E-409C-BE32-E72D297353CC}">
                <c16:uniqueId val="{000003DD-A7CE-4049-B88B-35FCDA646473}"/>
              </c:ext>
            </c:extLst>
          </c:dPt>
          <c:dPt>
            <c:idx val="494"/>
            <c:invertIfNegative val="1"/>
            <c:bubble3D val="0"/>
            <c:spPr>
              <a:solidFill>
                <a:srgbClr val="AEABAB"/>
              </a:solidFill>
            </c:spPr>
            <c:extLst>
              <c:ext xmlns:c16="http://schemas.microsoft.com/office/drawing/2014/chart" uri="{C3380CC4-5D6E-409C-BE32-E72D297353CC}">
                <c16:uniqueId val="{000003DF-A7CE-4049-B88B-35FCDA646473}"/>
              </c:ext>
            </c:extLst>
          </c:dPt>
          <c:dPt>
            <c:idx val="495"/>
            <c:invertIfNegative val="1"/>
            <c:bubble3D val="0"/>
            <c:spPr>
              <a:solidFill>
                <a:srgbClr val="AEABAB"/>
              </a:solidFill>
            </c:spPr>
            <c:extLst>
              <c:ext xmlns:c16="http://schemas.microsoft.com/office/drawing/2014/chart" uri="{C3380CC4-5D6E-409C-BE32-E72D297353CC}">
                <c16:uniqueId val="{000003E1-A7CE-4049-B88B-35FCDA646473}"/>
              </c:ext>
            </c:extLst>
          </c:dPt>
          <c:dPt>
            <c:idx val="496"/>
            <c:invertIfNegative val="1"/>
            <c:bubble3D val="0"/>
            <c:spPr>
              <a:solidFill>
                <a:srgbClr val="AEABAB"/>
              </a:solidFill>
            </c:spPr>
            <c:extLst>
              <c:ext xmlns:c16="http://schemas.microsoft.com/office/drawing/2014/chart" uri="{C3380CC4-5D6E-409C-BE32-E72D297353CC}">
                <c16:uniqueId val="{000003E3-A7CE-4049-B88B-35FCDA646473}"/>
              </c:ext>
            </c:extLst>
          </c:dPt>
          <c:dPt>
            <c:idx val="497"/>
            <c:invertIfNegative val="1"/>
            <c:bubble3D val="0"/>
            <c:spPr>
              <a:solidFill>
                <a:srgbClr val="AEABAB"/>
              </a:solidFill>
            </c:spPr>
            <c:extLst>
              <c:ext xmlns:c16="http://schemas.microsoft.com/office/drawing/2014/chart" uri="{C3380CC4-5D6E-409C-BE32-E72D297353CC}">
                <c16:uniqueId val="{000003E5-A7CE-4049-B88B-35FCDA646473}"/>
              </c:ext>
            </c:extLst>
          </c:dPt>
          <c:dPt>
            <c:idx val="498"/>
            <c:invertIfNegative val="1"/>
            <c:bubble3D val="0"/>
            <c:spPr>
              <a:solidFill>
                <a:srgbClr val="AEABAB"/>
              </a:solidFill>
            </c:spPr>
            <c:extLst>
              <c:ext xmlns:c16="http://schemas.microsoft.com/office/drawing/2014/chart" uri="{C3380CC4-5D6E-409C-BE32-E72D297353CC}">
                <c16:uniqueId val="{000003E7-A7CE-4049-B88B-35FCDA646473}"/>
              </c:ext>
            </c:extLst>
          </c:dPt>
          <c:dPt>
            <c:idx val="499"/>
            <c:invertIfNegative val="1"/>
            <c:bubble3D val="0"/>
            <c:spPr>
              <a:solidFill>
                <a:srgbClr val="AEABAB"/>
              </a:solidFill>
            </c:spPr>
            <c:extLst>
              <c:ext xmlns:c16="http://schemas.microsoft.com/office/drawing/2014/chart" uri="{C3380CC4-5D6E-409C-BE32-E72D297353CC}">
                <c16:uniqueId val="{000003E9-A7CE-4049-B88B-35FCDA646473}"/>
              </c:ext>
            </c:extLst>
          </c:dPt>
          <c:dPt>
            <c:idx val="500"/>
            <c:invertIfNegative val="1"/>
            <c:bubble3D val="0"/>
            <c:spPr>
              <a:solidFill>
                <a:srgbClr val="AEABAB"/>
              </a:solidFill>
            </c:spPr>
            <c:extLst>
              <c:ext xmlns:c16="http://schemas.microsoft.com/office/drawing/2014/chart" uri="{C3380CC4-5D6E-409C-BE32-E72D297353CC}">
                <c16:uniqueId val="{000003EB-A7CE-4049-B88B-35FCDA646473}"/>
              </c:ext>
            </c:extLst>
          </c:dPt>
          <c:dPt>
            <c:idx val="501"/>
            <c:invertIfNegative val="1"/>
            <c:bubble3D val="0"/>
            <c:spPr>
              <a:solidFill>
                <a:srgbClr val="AEABAB"/>
              </a:solidFill>
            </c:spPr>
            <c:extLst>
              <c:ext xmlns:c16="http://schemas.microsoft.com/office/drawing/2014/chart" uri="{C3380CC4-5D6E-409C-BE32-E72D297353CC}">
                <c16:uniqueId val="{000003ED-A7CE-4049-B88B-35FCDA646473}"/>
              </c:ext>
            </c:extLst>
          </c:dPt>
          <c:dPt>
            <c:idx val="502"/>
            <c:invertIfNegative val="1"/>
            <c:bubble3D val="0"/>
            <c:spPr>
              <a:solidFill>
                <a:srgbClr val="AEABAB"/>
              </a:solidFill>
            </c:spPr>
            <c:extLst>
              <c:ext xmlns:c16="http://schemas.microsoft.com/office/drawing/2014/chart" uri="{C3380CC4-5D6E-409C-BE32-E72D297353CC}">
                <c16:uniqueId val="{000003EF-A7CE-4049-B88B-35FCDA646473}"/>
              </c:ext>
            </c:extLst>
          </c:dPt>
          <c:dPt>
            <c:idx val="503"/>
            <c:invertIfNegative val="1"/>
            <c:bubble3D val="0"/>
            <c:spPr>
              <a:solidFill>
                <a:srgbClr val="AEABAB"/>
              </a:solidFill>
            </c:spPr>
            <c:extLst>
              <c:ext xmlns:c16="http://schemas.microsoft.com/office/drawing/2014/chart" uri="{C3380CC4-5D6E-409C-BE32-E72D297353CC}">
                <c16:uniqueId val="{000003F1-A7CE-4049-B88B-35FCDA646473}"/>
              </c:ext>
            </c:extLst>
          </c:dPt>
          <c:dPt>
            <c:idx val="504"/>
            <c:invertIfNegative val="1"/>
            <c:bubble3D val="0"/>
            <c:spPr>
              <a:solidFill>
                <a:srgbClr val="AEABAB"/>
              </a:solidFill>
            </c:spPr>
            <c:extLst>
              <c:ext xmlns:c16="http://schemas.microsoft.com/office/drawing/2014/chart" uri="{C3380CC4-5D6E-409C-BE32-E72D297353CC}">
                <c16:uniqueId val="{000003F3-A7CE-4049-B88B-35FCDA646473}"/>
              </c:ext>
            </c:extLst>
          </c:dPt>
          <c:dPt>
            <c:idx val="505"/>
            <c:invertIfNegative val="1"/>
            <c:bubble3D val="0"/>
            <c:spPr>
              <a:solidFill>
                <a:srgbClr val="AEABAB"/>
              </a:solidFill>
            </c:spPr>
            <c:extLst>
              <c:ext xmlns:c16="http://schemas.microsoft.com/office/drawing/2014/chart" uri="{C3380CC4-5D6E-409C-BE32-E72D297353CC}">
                <c16:uniqueId val="{000003F5-A7CE-4049-B88B-35FCDA646473}"/>
              </c:ext>
            </c:extLst>
          </c:dPt>
          <c:dPt>
            <c:idx val="506"/>
            <c:invertIfNegative val="1"/>
            <c:bubble3D val="0"/>
            <c:spPr>
              <a:solidFill>
                <a:srgbClr val="AEABAB"/>
              </a:solidFill>
            </c:spPr>
            <c:extLst>
              <c:ext xmlns:c16="http://schemas.microsoft.com/office/drawing/2014/chart" uri="{C3380CC4-5D6E-409C-BE32-E72D297353CC}">
                <c16:uniqueId val="{000003F7-A7CE-4049-B88B-35FCDA646473}"/>
              </c:ext>
            </c:extLst>
          </c:dPt>
          <c:dPt>
            <c:idx val="507"/>
            <c:invertIfNegative val="1"/>
            <c:bubble3D val="0"/>
            <c:spPr>
              <a:solidFill>
                <a:srgbClr val="AEABAB"/>
              </a:solidFill>
            </c:spPr>
            <c:extLst>
              <c:ext xmlns:c16="http://schemas.microsoft.com/office/drawing/2014/chart" uri="{C3380CC4-5D6E-409C-BE32-E72D297353CC}">
                <c16:uniqueId val="{000003F9-A7CE-4049-B88B-35FCDA646473}"/>
              </c:ext>
            </c:extLst>
          </c:dPt>
          <c:dPt>
            <c:idx val="508"/>
            <c:invertIfNegative val="1"/>
            <c:bubble3D val="0"/>
            <c:spPr>
              <a:solidFill>
                <a:srgbClr val="AEABAB"/>
              </a:solidFill>
            </c:spPr>
            <c:extLst>
              <c:ext xmlns:c16="http://schemas.microsoft.com/office/drawing/2014/chart" uri="{C3380CC4-5D6E-409C-BE32-E72D297353CC}">
                <c16:uniqueId val="{000003FB-A7CE-4049-B88B-35FCDA646473}"/>
              </c:ext>
            </c:extLst>
          </c:dPt>
          <c:dPt>
            <c:idx val="509"/>
            <c:invertIfNegative val="1"/>
            <c:bubble3D val="0"/>
            <c:spPr>
              <a:solidFill>
                <a:srgbClr val="AEABAB"/>
              </a:solidFill>
            </c:spPr>
            <c:extLst>
              <c:ext xmlns:c16="http://schemas.microsoft.com/office/drawing/2014/chart" uri="{C3380CC4-5D6E-409C-BE32-E72D297353CC}">
                <c16:uniqueId val="{000003FD-A7CE-4049-B88B-35FCDA646473}"/>
              </c:ext>
            </c:extLst>
          </c:dPt>
          <c:dPt>
            <c:idx val="510"/>
            <c:invertIfNegative val="1"/>
            <c:bubble3D val="0"/>
            <c:spPr>
              <a:solidFill>
                <a:srgbClr val="AEABAB"/>
              </a:solidFill>
            </c:spPr>
            <c:extLst>
              <c:ext xmlns:c16="http://schemas.microsoft.com/office/drawing/2014/chart" uri="{C3380CC4-5D6E-409C-BE32-E72D297353CC}">
                <c16:uniqueId val="{000003FF-A7CE-4049-B88B-35FCDA646473}"/>
              </c:ext>
            </c:extLst>
          </c:dPt>
          <c:dPt>
            <c:idx val="511"/>
            <c:invertIfNegative val="1"/>
            <c:bubble3D val="0"/>
            <c:spPr>
              <a:solidFill>
                <a:srgbClr val="AEABAB"/>
              </a:solidFill>
            </c:spPr>
            <c:extLst>
              <c:ext xmlns:c16="http://schemas.microsoft.com/office/drawing/2014/chart" uri="{C3380CC4-5D6E-409C-BE32-E72D297353CC}">
                <c16:uniqueId val="{00000401-A7CE-4049-B88B-35FCDA646473}"/>
              </c:ext>
            </c:extLst>
          </c:dPt>
          <c:dPt>
            <c:idx val="512"/>
            <c:invertIfNegative val="1"/>
            <c:bubble3D val="0"/>
            <c:spPr>
              <a:solidFill>
                <a:srgbClr val="AEABAB"/>
              </a:solidFill>
            </c:spPr>
            <c:extLst>
              <c:ext xmlns:c16="http://schemas.microsoft.com/office/drawing/2014/chart" uri="{C3380CC4-5D6E-409C-BE32-E72D297353CC}">
                <c16:uniqueId val="{00000403-A7CE-4049-B88B-35FCDA646473}"/>
              </c:ext>
            </c:extLst>
          </c:dPt>
          <c:dPt>
            <c:idx val="513"/>
            <c:invertIfNegative val="1"/>
            <c:bubble3D val="0"/>
            <c:spPr>
              <a:solidFill>
                <a:srgbClr val="AEABAB"/>
              </a:solidFill>
            </c:spPr>
            <c:extLst>
              <c:ext xmlns:c16="http://schemas.microsoft.com/office/drawing/2014/chart" uri="{C3380CC4-5D6E-409C-BE32-E72D297353CC}">
                <c16:uniqueId val="{00000405-A7CE-4049-B88B-35FCDA646473}"/>
              </c:ext>
            </c:extLst>
          </c:dPt>
          <c:dPt>
            <c:idx val="514"/>
            <c:invertIfNegative val="1"/>
            <c:bubble3D val="0"/>
            <c:spPr>
              <a:solidFill>
                <a:srgbClr val="AEABAB"/>
              </a:solidFill>
            </c:spPr>
            <c:extLst>
              <c:ext xmlns:c16="http://schemas.microsoft.com/office/drawing/2014/chart" uri="{C3380CC4-5D6E-409C-BE32-E72D297353CC}">
                <c16:uniqueId val="{00000407-A7CE-4049-B88B-35FCDA646473}"/>
              </c:ext>
            </c:extLst>
          </c:dPt>
          <c:dPt>
            <c:idx val="515"/>
            <c:invertIfNegative val="1"/>
            <c:bubble3D val="0"/>
            <c:spPr>
              <a:solidFill>
                <a:srgbClr val="AEABAB"/>
              </a:solidFill>
            </c:spPr>
            <c:extLst>
              <c:ext xmlns:c16="http://schemas.microsoft.com/office/drawing/2014/chart" uri="{C3380CC4-5D6E-409C-BE32-E72D297353CC}">
                <c16:uniqueId val="{00000409-A7CE-4049-B88B-35FCDA646473}"/>
              </c:ext>
            </c:extLst>
          </c:dPt>
          <c:dPt>
            <c:idx val="516"/>
            <c:invertIfNegative val="1"/>
            <c:bubble3D val="0"/>
            <c:spPr>
              <a:solidFill>
                <a:srgbClr val="AEABAB"/>
              </a:solidFill>
            </c:spPr>
            <c:extLst>
              <c:ext xmlns:c16="http://schemas.microsoft.com/office/drawing/2014/chart" uri="{C3380CC4-5D6E-409C-BE32-E72D297353CC}">
                <c16:uniqueId val="{0000040B-A7CE-4049-B88B-35FCDA646473}"/>
              </c:ext>
            </c:extLst>
          </c:dPt>
          <c:dPt>
            <c:idx val="517"/>
            <c:invertIfNegative val="1"/>
            <c:bubble3D val="0"/>
            <c:spPr>
              <a:solidFill>
                <a:srgbClr val="AEABAB"/>
              </a:solidFill>
            </c:spPr>
            <c:extLst>
              <c:ext xmlns:c16="http://schemas.microsoft.com/office/drawing/2014/chart" uri="{C3380CC4-5D6E-409C-BE32-E72D297353CC}">
                <c16:uniqueId val="{0000040D-A7CE-4049-B88B-35FCDA646473}"/>
              </c:ext>
            </c:extLst>
          </c:dPt>
          <c:dPt>
            <c:idx val="518"/>
            <c:invertIfNegative val="1"/>
            <c:bubble3D val="0"/>
            <c:spPr>
              <a:solidFill>
                <a:srgbClr val="AEABAB"/>
              </a:solidFill>
            </c:spPr>
            <c:extLst>
              <c:ext xmlns:c16="http://schemas.microsoft.com/office/drawing/2014/chart" uri="{C3380CC4-5D6E-409C-BE32-E72D297353CC}">
                <c16:uniqueId val="{0000040F-A7CE-4049-B88B-35FCDA646473}"/>
              </c:ext>
            </c:extLst>
          </c:dPt>
          <c:dPt>
            <c:idx val="519"/>
            <c:invertIfNegative val="1"/>
            <c:bubble3D val="0"/>
            <c:spPr>
              <a:solidFill>
                <a:srgbClr val="AEABAB"/>
              </a:solidFill>
            </c:spPr>
            <c:extLst>
              <c:ext xmlns:c16="http://schemas.microsoft.com/office/drawing/2014/chart" uri="{C3380CC4-5D6E-409C-BE32-E72D297353CC}">
                <c16:uniqueId val="{00000411-A7CE-4049-B88B-35FCDA646473}"/>
              </c:ext>
            </c:extLst>
          </c:dPt>
          <c:dPt>
            <c:idx val="520"/>
            <c:invertIfNegative val="1"/>
            <c:bubble3D val="0"/>
            <c:spPr>
              <a:solidFill>
                <a:srgbClr val="AEABAB"/>
              </a:solidFill>
            </c:spPr>
            <c:extLst>
              <c:ext xmlns:c16="http://schemas.microsoft.com/office/drawing/2014/chart" uri="{C3380CC4-5D6E-409C-BE32-E72D297353CC}">
                <c16:uniqueId val="{00000413-A7CE-4049-B88B-35FCDA646473}"/>
              </c:ext>
            </c:extLst>
          </c:dPt>
          <c:dPt>
            <c:idx val="521"/>
            <c:invertIfNegative val="1"/>
            <c:bubble3D val="0"/>
            <c:spPr>
              <a:solidFill>
                <a:srgbClr val="AEABAB"/>
              </a:solidFill>
            </c:spPr>
            <c:extLst>
              <c:ext xmlns:c16="http://schemas.microsoft.com/office/drawing/2014/chart" uri="{C3380CC4-5D6E-409C-BE32-E72D297353CC}">
                <c16:uniqueId val="{00000415-A7CE-4049-B88B-35FCDA646473}"/>
              </c:ext>
            </c:extLst>
          </c:dPt>
          <c:dPt>
            <c:idx val="522"/>
            <c:invertIfNegative val="1"/>
            <c:bubble3D val="0"/>
            <c:spPr>
              <a:solidFill>
                <a:srgbClr val="AEABAB"/>
              </a:solidFill>
            </c:spPr>
            <c:extLst>
              <c:ext xmlns:c16="http://schemas.microsoft.com/office/drawing/2014/chart" uri="{C3380CC4-5D6E-409C-BE32-E72D297353CC}">
                <c16:uniqueId val="{00000417-A7CE-4049-B88B-35FCDA646473}"/>
              </c:ext>
            </c:extLst>
          </c:dPt>
          <c:dPt>
            <c:idx val="523"/>
            <c:invertIfNegative val="1"/>
            <c:bubble3D val="0"/>
            <c:spPr>
              <a:solidFill>
                <a:srgbClr val="AEABAB"/>
              </a:solidFill>
            </c:spPr>
            <c:extLst>
              <c:ext xmlns:c16="http://schemas.microsoft.com/office/drawing/2014/chart" uri="{C3380CC4-5D6E-409C-BE32-E72D297353CC}">
                <c16:uniqueId val="{00000419-A7CE-4049-B88B-35FCDA646473}"/>
              </c:ext>
            </c:extLst>
          </c:dPt>
          <c:dPt>
            <c:idx val="524"/>
            <c:invertIfNegative val="1"/>
            <c:bubble3D val="0"/>
            <c:spPr>
              <a:solidFill>
                <a:srgbClr val="AEABAB"/>
              </a:solidFill>
            </c:spPr>
            <c:extLst>
              <c:ext xmlns:c16="http://schemas.microsoft.com/office/drawing/2014/chart" uri="{C3380CC4-5D6E-409C-BE32-E72D297353CC}">
                <c16:uniqueId val="{0000041B-A7CE-4049-B88B-35FCDA646473}"/>
              </c:ext>
            </c:extLst>
          </c:dPt>
          <c:dPt>
            <c:idx val="525"/>
            <c:invertIfNegative val="1"/>
            <c:bubble3D val="0"/>
            <c:spPr>
              <a:solidFill>
                <a:srgbClr val="AEABAB"/>
              </a:solidFill>
            </c:spPr>
            <c:extLst>
              <c:ext xmlns:c16="http://schemas.microsoft.com/office/drawing/2014/chart" uri="{C3380CC4-5D6E-409C-BE32-E72D297353CC}">
                <c16:uniqueId val="{0000041D-A7CE-4049-B88B-35FCDA646473}"/>
              </c:ext>
            </c:extLst>
          </c:dPt>
          <c:dPt>
            <c:idx val="526"/>
            <c:invertIfNegative val="1"/>
            <c:bubble3D val="0"/>
            <c:spPr>
              <a:solidFill>
                <a:srgbClr val="AEABAB"/>
              </a:solidFill>
            </c:spPr>
            <c:extLst>
              <c:ext xmlns:c16="http://schemas.microsoft.com/office/drawing/2014/chart" uri="{C3380CC4-5D6E-409C-BE32-E72D297353CC}">
                <c16:uniqueId val="{0000041F-A7CE-4049-B88B-35FCDA646473}"/>
              </c:ext>
            </c:extLst>
          </c:dPt>
          <c:dPt>
            <c:idx val="527"/>
            <c:invertIfNegative val="1"/>
            <c:bubble3D val="0"/>
            <c:spPr>
              <a:solidFill>
                <a:srgbClr val="AEABAB"/>
              </a:solidFill>
            </c:spPr>
            <c:extLst>
              <c:ext xmlns:c16="http://schemas.microsoft.com/office/drawing/2014/chart" uri="{C3380CC4-5D6E-409C-BE32-E72D297353CC}">
                <c16:uniqueId val="{00000421-A7CE-4049-B88B-35FCDA646473}"/>
              </c:ext>
            </c:extLst>
          </c:dPt>
          <c:dPt>
            <c:idx val="528"/>
            <c:invertIfNegative val="1"/>
            <c:bubble3D val="0"/>
            <c:spPr>
              <a:solidFill>
                <a:srgbClr val="AEABAB"/>
              </a:solidFill>
            </c:spPr>
            <c:extLst>
              <c:ext xmlns:c16="http://schemas.microsoft.com/office/drawing/2014/chart" uri="{C3380CC4-5D6E-409C-BE32-E72D297353CC}">
                <c16:uniqueId val="{00000423-A7CE-4049-B88B-35FCDA646473}"/>
              </c:ext>
            </c:extLst>
          </c:dPt>
          <c:dPt>
            <c:idx val="529"/>
            <c:invertIfNegative val="1"/>
            <c:bubble3D val="0"/>
            <c:spPr>
              <a:solidFill>
                <a:srgbClr val="AEABAB"/>
              </a:solidFill>
            </c:spPr>
            <c:extLst>
              <c:ext xmlns:c16="http://schemas.microsoft.com/office/drawing/2014/chart" uri="{C3380CC4-5D6E-409C-BE32-E72D297353CC}">
                <c16:uniqueId val="{00000425-A7CE-4049-B88B-35FCDA646473}"/>
              </c:ext>
            </c:extLst>
          </c:dPt>
          <c:dPt>
            <c:idx val="530"/>
            <c:invertIfNegative val="1"/>
            <c:bubble3D val="0"/>
            <c:spPr>
              <a:solidFill>
                <a:srgbClr val="AEABAB"/>
              </a:solidFill>
            </c:spPr>
            <c:extLst>
              <c:ext xmlns:c16="http://schemas.microsoft.com/office/drawing/2014/chart" uri="{C3380CC4-5D6E-409C-BE32-E72D297353CC}">
                <c16:uniqueId val="{00000427-A7CE-4049-B88B-35FCDA646473}"/>
              </c:ext>
            </c:extLst>
          </c:dPt>
          <c:dPt>
            <c:idx val="531"/>
            <c:invertIfNegative val="1"/>
            <c:bubble3D val="0"/>
            <c:spPr>
              <a:solidFill>
                <a:srgbClr val="AEABAB"/>
              </a:solidFill>
            </c:spPr>
            <c:extLst>
              <c:ext xmlns:c16="http://schemas.microsoft.com/office/drawing/2014/chart" uri="{C3380CC4-5D6E-409C-BE32-E72D297353CC}">
                <c16:uniqueId val="{00000429-A7CE-4049-B88B-35FCDA646473}"/>
              </c:ext>
            </c:extLst>
          </c:dPt>
          <c:dPt>
            <c:idx val="532"/>
            <c:invertIfNegative val="1"/>
            <c:bubble3D val="0"/>
            <c:spPr>
              <a:solidFill>
                <a:srgbClr val="AEABAB"/>
              </a:solidFill>
            </c:spPr>
            <c:extLst>
              <c:ext xmlns:c16="http://schemas.microsoft.com/office/drawing/2014/chart" uri="{C3380CC4-5D6E-409C-BE32-E72D297353CC}">
                <c16:uniqueId val="{0000042B-A7CE-4049-B88B-35FCDA646473}"/>
              </c:ext>
            </c:extLst>
          </c:dPt>
          <c:dPt>
            <c:idx val="533"/>
            <c:invertIfNegative val="1"/>
            <c:bubble3D val="0"/>
            <c:spPr>
              <a:solidFill>
                <a:srgbClr val="AEABAB"/>
              </a:solidFill>
            </c:spPr>
            <c:extLst>
              <c:ext xmlns:c16="http://schemas.microsoft.com/office/drawing/2014/chart" uri="{C3380CC4-5D6E-409C-BE32-E72D297353CC}">
                <c16:uniqueId val="{0000042D-A7CE-4049-B88B-35FCDA646473}"/>
              </c:ext>
            </c:extLst>
          </c:dPt>
          <c:dPt>
            <c:idx val="534"/>
            <c:invertIfNegative val="1"/>
            <c:bubble3D val="0"/>
            <c:spPr>
              <a:solidFill>
                <a:srgbClr val="AEABAB"/>
              </a:solidFill>
            </c:spPr>
            <c:extLst>
              <c:ext xmlns:c16="http://schemas.microsoft.com/office/drawing/2014/chart" uri="{C3380CC4-5D6E-409C-BE32-E72D297353CC}">
                <c16:uniqueId val="{0000042F-A7CE-4049-B88B-35FCDA646473}"/>
              </c:ext>
            </c:extLst>
          </c:dPt>
          <c:dPt>
            <c:idx val="535"/>
            <c:invertIfNegative val="1"/>
            <c:bubble3D val="0"/>
            <c:spPr>
              <a:solidFill>
                <a:srgbClr val="AEABAB"/>
              </a:solidFill>
            </c:spPr>
            <c:extLst>
              <c:ext xmlns:c16="http://schemas.microsoft.com/office/drawing/2014/chart" uri="{C3380CC4-5D6E-409C-BE32-E72D297353CC}">
                <c16:uniqueId val="{00000431-A7CE-4049-B88B-35FCDA646473}"/>
              </c:ext>
            </c:extLst>
          </c:dPt>
          <c:dPt>
            <c:idx val="536"/>
            <c:invertIfNegative val="1"/>
            <c:bubble3D val="0"/>
            <c:spPr>
              <a:solidFill>
                <a:srgbClr val="AEABAB"/>
              </a:solidFill>
            </c:spPr>
            <c:extLst>
              <c:ext xmlns:c16="http://schemas.microsoft.com/office/drawing/2014/chart" uri="{C3380CC4-5D6E-409C-BE32-E72D297353CC}">
                <c16:uniqueId val="{00000433-A7CE-4049-B88B-35FCDA646473}"/>
              </c:ext>
            </c:extLst>
          </c:dPt>
          <c:dPt>
            <c:idx val="537"/>
            <c:invertIfNegative val="1"/>
            <c:bubble3D val="0"/>
            <c:spPr>
              <a:solidFill>
                <a:srgbClr val="AEABAB"/>
              </a:solidFill>
            </c:spPr>
            <c:extLst>
              <c:ext xmlns:c16="http://schemas.microsoft.com/office/drawing/2014/chart" uri="{C3380CC4-5D6E-409C-BE32-E72D297353CC}">
                <c16:uniqueId val="{00000435-A7CE-4049-B88B-35FCDA646473}"/>
              </c:ext>
            </c:extLst>
          </c:dPt>
          <c:dPt>
            <c:idx val="538"/>
            <c:invertIfNegative val="1"/>
            <c:bubble3D val="0"/>
            <c:spPr>
              <a:solidFill>
                <a:srgbClr val="AEABAB"/>
              </a:solidFill>
            </c:spPr>
            <c:extLst>
              <c:ext xmlns:c16="http://schemas.microsoft.com/office/drawing/2014/chart" uri="{C3380CC4-5D6E-409C-BE32-E72D297353CC}">
                <c16:uniqueId val="{00000437-A7CE-4049-B88B-35FCDA646473}"/>
              </c:ext>
            </c:extLst>
          </c:dPt>
          <c:dPt>
            <c:idx val="539"/>
            <c:invertIfNegative val="1"/>
            <c:bubble3D val="0"/>
            <c:spPr>
              <a:solidFill>
                <a:srgbClr val="AEABAB"/>
              </a:solidFill>
            </c:spPr>
            <c:extLst>
              <c:ext xmlns:c16="http://schemas.microsoft.com/office/drawing/2014/chart" uri="{C3380CC4-5D6E-409C-BE32-E72D297353CC}">
                <c16:uniqueId val="{00000439-A7CE-4049-B88B-35FCDA646473}"/>
              </c:ext>
            </c:extLst>
          </c:dPt>
          <c:dPt>
            <c:idx val="540"/>
            <c:invertIfNegative val="1"/>
            <c:bubble3D val="0"/>
            <c:spPr>
              <a:solidFill>
                <a:srgbClr val="AEABAB"/>
              </a:solidFill>
            </c:spPr>
            <c:extLst>
              <c:ext xmlns:c16="http://schemas.microsoft.com/office/drawing/2014/chart" uri="{C3380CC4-5D6E-409C-BE32-E72D297353CC}">
                <c16:uniqueId val="{0000043B-A7CE-4049-B88B-35FCDA646473}"/>
              </c:ext>
            </c:extLst>
          </c:dPt>
          <c:dPt>
            <c:idx val="541"/>
            <c:invertIfNegative val="1"/>
            <c:bubble3D val="0"/>
            <c:spPr>
              <a:solidFill>
                <a:srgbClr val="AEABAB"/>
              </a:solidFill>
            </c:spPr>
            <c:extLst>
              <c:ext xmlns:c16="http://schemas.microsoft.com/office/drawing/2014/chart" uri="{C3380CC4-5D6E-409C-BE32-E72D297353CC}">
                <c16:uniqueId val="{0000043D-A7CE-4049-B88B-35FCDA646473}"/>
              </c:ext>
            </c:extLst>
          </c:dPt>
          <c:dPt>
            <c:idx val="542"/>
            <c:invertIfNegative val="1"/>
            <c:bubble3D val="0"/>
            <c:spPr>
              <a:solidFill>
                <a:srgbClr val="AEABAB"/>
              </a:solidFill>
            </c:spPr>
            <c:extLst>
              <c:ext xmlns:c16="http://schemas.microsoft.com/office/drawing/2014/chart" uri="{C3380CC4-5D6E-409C-BE32-E72D297353CC}">
                <c16:uniqueId val="{0000043F-A7CE-4049-B88B-35FCDA646473}"/>
              </c:ext>
            </c:extLst>
          </c:dPt>
          <c:dPt>
            <c:idx val="543"/>
            <c:invertIfNegative val="1"/>
            <c:bubble3D val="0"/>
            <c:spPr>
              <a:solidFill>
                <a:srgbClr val="AEABAB"/>
              </a:solidFill>
            </c:spPr>
            <c:extLst>
              <c:ext xmlns:c16="http://schemas.microsoft.com/office/drawing/2014/chart" uri="{C3380CC4-5D6E-409C-BE32-E72D297353CC}">
                <c16:uniqueId val="{00000441-A7CE-4049-B88B-35FCDA646473}"/>
              </c:ext>
            </c:extLst>
          </c:dPt>
          <c:dPt>
            <c:idx val="544"/>
            <c:invertIfNegative val="1"/>
            <c:bubble3D val="0"/>
            <c:spPr>
              <a:solidFill>
                <a:srgbClr val="AEABAB"/>
              </a:solidFill>
            </c:spPr>
            <c:extLst>
              <c:ext xmlns:c16="http://schemas.microsoft.com/office/drawing/2014/chart" uri="{C3380CC4-5D6E-409C-BE32-E72D297353CC}">
                <c16:uniqueId val="{00000443-A7CE-4049-B88B-35FCDA646473}"/>
              </c:ext>
            </c:extLst>
          </c:dPt>
          <c:dPt>
            <c:idx val="545"/>
            <c:invertIfNegative val="1"/>
            <c:bubble3D val="0"/>
            <c:spPr>
              <a:solidFill>
                <a:srgbClr val="AEABAB"/>
              </a:solidFill>
            </c:spPr>
            <c:extLst>
              <c:ext xmlns:c16="http://schemas.microsoft.com/office/drawing/2014/chart" uri="{C3380CC4-5D6E-409C-BE32-E72D297353CC}">
                <c16:uniqueId val="{00000445-A7CE-4049-B88B-35FCDA646473}"/>
              </c:ext>
            </c:extLst>
          </c:dPt>
          <c:dPt>
            <c:idx val="546"/>
            <c:invertIfNegative val="1"/>
            <c:bubble3D val="0"/>
            <c:spPr>
              <a:solidFill>
                <a:srgbClr val="AEABAB"/>
              </a:solidFill>
            </c:spPr>
            <c:extLst>
              <c:ext xmlns:c16="http://schemas.microsoft.com/office/drawing/2014/chart" uri="{C3380CC4-5D6E-409C-BE32-E72D297353CC}">
                <c16:uniqueId val="{00000447-A7CE-4049-B88B-35FCDA646473}"/>
              </c:ext>
            </c:extLst>
          </c:dPt>
          <c:dPt>
            <c:idx val="547"/>
            <c:invertIfNegative val="1"/>
            <c:bubble3D val="0"/>
            <c:spPr>
              <a:solidFill>
                <a:srgbClr val="AEABAB"/>
              </a:solidFill>
            </c:spPr>
            <c:extLst>
              <c:ext xmlns:c16="http://schemas.microsoft.com/office/drawing/2014/chart" uri="{C3380CC4-5D6E-409C-BE32-E72D297353CC}">
                <c16:uniqueId val="{00000449-A7CE-4049-B88B-35FCDA646473}"/>
              </c:ext>
            </c:extLst>
          </c:dPt>
          <c:dPt>
            <c:idx val="548"/>
            <c:invertIfNegative val="1"/>
            <c:bubble3D val="0"/>
            <c:spPr>
              <a:solidFill>
                <a:srgbClr val="AEABAB"/>
              </a:solidFill>
            </c:spPr>
            <c:extLst>
              <c:ext xmlns:c16="http://schemas.microsoft.com/office/drawing/2014/chart" uri="{C3380CC4-5D6E-409C-BE32-E72D297353CC}">
                <c16:uniqueId val="{0000044B-A7CE-4049-B88B-35FCDA646473}"/>
              </c:ext>
            </c:extLst>
          </c:dPt>
          <c:dPt>
            <c:idx val="549"/>
            <c:invertIfNegative val="1"/>
            <c:bubble3D val="0"/>
            <c:spPr>
              <a:solidFill>
                <a:srgbClr val="AEABAB"/>
              </a:solidFill>
            </c:spPr>
            <c:extLst>
              <c:ext xmlns:c16="http://schemas.microsoft.com/office/drawing/2014/chart" uri="{C3380CC4-5D6E-409C-BE32-E72D297353CC}">
                <c16:uniqueId val="{0000044D-A7CE-4049-B88B-35FCDA646473}"/>
              </c:ext>
            </c:extLst>
          </c:dPt>
          <c:dPt>
            <c:idx val="550"/>
            <c:invertIfNegative val="1"/>
            <c:bubble3D val="0"/>
            <c:spPr>
              <a:solidFill>
                <a:srgbClr val="AEABAB"/>
              </a:solidFill>
            </c:spPr>
            <c:extLst>
              <c:ext xmlns:c16="http://schemas.microsoft.com/office/drawing/2014/chart" uri="{C3380CC4-5D6E-409C-BE32-E72D297353CC}">
                <c16:uniqueId val="{0000044F-A7CE-4049-B88B-35FCDA646473}"/>
              </c:ext>
            </c:extLst>
          </c:dPt>
          <c:dPt>
            <c:idx val="551"/>
            <c:invertIfNegative val="1"/>
            <c:bubble3D val="0"/>
            <c:spPr>
              <a:solidFill>
                <a:srgbClr val="AEABAB"/>
              </a:solidFill>
            </c:spPr>
            <c:extLst>
              <c:ext xmlns:c16="http://schemas.microsoft.com/office/drawing/2014/chart" uri="{C3380CC4-5D6E-409C-BE32-E72D297353CC}">
                <c16:uniqueId val="{00000451-A7CE-4049-B88B-35FCDA646473}"/>
              </c:ext>
            </c:extLst>
          </c:dPt>
          <c:dPt>
            <c:idx val="552"/>
            <c:invertIfNegative val="1"/>
            <c:bubble3D val="0"/>
            <c:spPr>
              <a:solidFill>
                <a:srgbClr val="AEABAB"/>
              </a:solidFill>
            </c:spPr>
            <c:extLst>
              <c:ext xmlns:c16="http://schemas.microsoft.com/office/drawing/2014/chart" uri="{C3380CC4-5D6E-409C-BE32-E72D297353CC}">
                <c16:uniqueId val="{00000453-A7CE-4049-B88B-35FCDA646473}"/>
              </c:ext>
            </c:extLst>
          </c:dPt>
          <c:dPt>
            <c:idx val="553"/>
            <c:invertIfNegative val="1"/>
            <c:bubble3D val="0"/>
            <c:spPr>
              <a:solidFill>
                <a:srgbClr val="AEABAB"/>
              </a:solidFill>
            </c:spPr>
            <c:extLst>
              <c:ext xmlns:c16="http://schemas.microsoft.com/office/drawing/2014/chart" uri="{C3380CC4-5D6E-409C-BE32-E72D297353CC}">
                <c16:uniqueId val="{00000455-A7CE-4049-B88B-35FCDA646473}"/>
              </c:ext>
            </c:extLst>
          </c:dPt>
          <c:dPt>
            <c:idx val="554"/>
            <c:invertIfNegative val="1"/>
            <c:bubble3D val="0"/>
            <c:spPr>
              <a:solidFill>
                <a:srgbClr val="AEABAB"/>
              </a:solidFill>
            </c:spPr>
            <c:extLst>
              <c:ext xmlns:c16="http://schemas.microsoft.com/office/drawing/2014/chart" uri="{C3380CC4-5D6E-409C-BE32-E72D297353CC}">
                <c16:uniqueId val="{00000457-A7CE-4049-B88B-35FCDA646473}"/>
              </c:ext>
            </c:extLst>
          </c:dPt>
          <c:dPt>
            <c:idx val="555"/>
            <c:invertIfNegative val="1"/>
            <c:bubble3D val="0"/>
            <c:spPr>
              <a:solidFill>
                <a:srgbClr val="AEABAB"/>
              </a:solidFill>
            </c:spPr>
            <c:extLst>
              <c:ext xmlns:c16="http://schemas.microsoft.com/office/drawing/2014/chart" uri="{C3380CC4-5D6E-409C-BE32-E72D297353CC}">
                <c16:uniqueId val="{00000459-A7CE-4049-B88B-35FCDA646473}"/>
              </c:ext>
            </c:extLst>
          </c:dPt>
          <c:dPt>
            <c:idx val="556"/>
            <c:invertIfNegative val="1"/>
            <c:bubble3D val="0"/>
            <c:spPr>
              <a:solidFill>
                <a:srgbClr val="AEABAB"/>
              </a:solidFill>
            </c:spPr>
            <c:extLst>
              <c:ext xmlns:c16="http://schemas.microsoft.com/office/drawing/2014/chart" uri="{C3380CC4-5D6E-409C-BE32-E72D297353CC}">
                <c16:uniqueId val="{0000045B-A7CE-4049-B88B-35FCDA646473}"/>
              </c:ext>
            </c:extLst>
          </c:dPt>
          <c:dPt>
            <c:idx val="557"/>
            <c:invertIfNegative val="1"/>
            <c:bubble3D val="0"/>
            <c:spPr>
              <a:solidFill>
                <a:srgbClr val="AEABAB"/>
              </a:solidFill>
            </c:spPr>
            <c:extLst>
              <c:ext xmlns:c16="http://schemas.microsoft.com/office/drawing/2014/chart" uri="{C3380CC4-5D6E-409C-BE32-E72D297353CC}">
                <c16:uniqueId val="{0000045D-A7CE-4049-B88B-35FCDA646473}"/>
              </c:ext>
            </c:extLst>
          </c:dPt>
          <c:dPt>
            <c:idx val="558"/>
            <c:invertIfNegative val="1"/>
            <c:bubble3D val="0"/>
            <c:spPr>
              <a:solidFill>
                <a:srgbClr val="AEABAB"/>
              </a:solidFill>
            </c:spPr>
            <c:extLst>
              <c:ext xmlns:c16="http://schemas.microsoft.com/office/drawing/2014/chart" uri="{C3380CC4-5D6E-409C-BE32-E72D297353CC}">
                <c16:uniqueId val="{0000045F-A7CE-4049-B88B-35FCDA646473}"/>
              </c:ext>
            </c:extLst>
          </c:dPt>
          <c:dPt>
            <c:idx val="559"/>
            <c:invertIfNegative val="1"/>
            <c:bubble3D val="0"/>
            <c:spPr>
              <a:solidFill>
                <a:srgbClr val="AEABAB"/>
              </a:solidFill>
            </c:spPr>
            <c:extLst>
              <c:ext xmlns:c16="http://schemas.microsoft.com/office/drawing/2014/chart" uri="{C3380CC4-5D6E-409C-BE32-E72D297353CC}">
                <c16:uniqueId val="{00000461-A7CE-4049-B88B-35FCDA646473}"/>
              </c:ext>
            </c:extLst>
          </c:dPt>
          <c:dPt>
            <c:idx val="560"/>
            <c:invertIfNegative val="1"/>
            <c:bubble3D val="0"/>
            <c:spPr>
              <a:solidFill>
                <a:srgbClr val="AEABAB"/>
              </a:solidFill>
            </c:spPr>
            <c:extLst>
              <c:ext xmlns:c16="http://schemas.microsoft.com/office/drawing/2014/chart" uri="{C3380CC4-5D6E-409C-BE32-E72D297353CC}">
                <c16:uniqueId val="{00000463-A7CE-4049-B88B-35FCDA646473}"/>
              </c:ext>
            </c:extLst>
          </c:dPt>
          <c:dPt>
            <c:idx val="561"/>
            <c:invertIfNegative val="1"/>
            <c:bubble3D val="0"/>
            <c:spPr>
              <a:solidFill>
                <a:srgbClr val="AEABAB"/>
              </a:solidFill>
            </c:spPr>
            <c:extLst>
              <c:ext xmlns:c16="http://schemas.microsoft.com/office/drawing/2014/chart" uri="{C3380CC4-5D6E-409C-BE32-E72D297353CC}">
                <c16:uniqueId val="{00000465-A7CE-4049-B88B-35FCDA646473}"/>
              </c:ext>
            </c:extLst>
          </c:dPt>
          <c:dPt>
            <c:idx val="562"/>
            <c:invertIfNegative val="1"/>
            <c:bubble3D val="0"/>
            <c:spPr>
              <a:solidFill>
                <a:srgbClr val="AEABAB"/>
              </a:solidFill>
            </c:spPr>
            <c:extLst>
              <c:ext xmlns:c16="http://schemas.microsoft.com/office/drawing/2014/chart" uri="{C3380CC4-5D6E-409C-BE32-E72D297353CC}">
                <c16:uniqueId val="{00000467-A7CE-4049-B88B-35FCDA646473}"/>
              </c:ext>
            </c:extLst>
          </c:dPt>
          <c:dPt>
            <c:idx val="563"/>
            <c:invertIfNegative val="1"/>
            <c:bubble3D val="0"/>
            <c:spPr>
              <a:solidFill>
                <a:srgbClr val="AEABAB"/>
              </a:solidFill>
            </c:spPr>
            <c:extLst>
              <c:ext xmlns:c16="http://schemas.microsoft.com/office/drawing/2014/chart" uri="{C3380CC4-5D6E-409C-BE32-E72D297353CC}">
                <c16:uniqueId val="{00000469-A7CE-4049-B88B-35FCDA646473}"/>
              </c:ext>
            </c:extLst>
          </c:dPt>
          <c:dPt>
            <c:idx val="564"/>
            <c:invertIfNegative val="1"/>
            <c:bubble3D val="0"/>
            <c:spPr>
              <a:solidFill>
                <a:srgbClr val="AEABAB"/>
              </a:solidFill>
            </c:spPr>
            <c:extLst>
              <c:ext xmlns:c16="http://schemas.microsoft.com/office/drawing/2014/chart" uri="{C3380CC4-5D6E-409C-BE32-E72D297353CC}">
                <c16:uniqueId val="{0000046B-A7CE-4049-B88B-35FCDA646473}"/>
              </c:ext>
            </c:extLst>
          </c:dPt>
          <c:dPt>
            <c:idx val="565"/>
            <c:invertIfNegative val="1"/>
            <c:bubble3D val="0"/>
            <c:spPr>
              <a:solidFill>
                <a:srgbClr val="AEABAB"/>
              </a:solidFill>
            </c:spPr>
            <c:extLst>
              <c:ext xmlns:c16="http://schemas.microsoft.com/office/drawing/2014/chart" uri="{C3380CC4-5D6E-409C-BE32-E72D297353CC}">
                <c16:uniqueId val="{0000046D-A7CE-4049-B88B-35FCDA646473}"/>
              </c:ext>
            </c:extLst>
          </c:dPt>
          <c:dPt>
            <c:idx val="566"/>
            <c:invertIfNegative val="1"/>
            <c:bubble3D val="0"/>
            <c:spPr>
              <a:solidFill>
                <a:srgbClr val="AEABAB"/>
              </a:solidFill>
            </c:spPr>
            <c:extLst>
              <c:ext xmlns:c16="http://schemas.microsoft.com/office/drawing/2014/chart" uri="{C3380CC4-5D6E-409C-BE32-E72D297353CC}">
                <c16:uniqueId val="{0000046F-A7CE-4049-B88B-35FCDA646473}"/>
              </c:ext>
            </c:extLst>
          </c:dPt>
          <c:dPt>
            <c:idx val="567"/>
            <c:invertIfNegative val="1"/>
            <c:bubble3D val="0"/>
            <c:spPr>
              <a:solidFill>
                <a:srgbClr val="AEABAB"/>
              </a:solidFill>
            </c:spPr>
            <c:extLst>
              <c:ext xmlns:c16="http://schemas.microsoft.com/office/drawing/2014/chart" uri="{C3380CC4-5D6E-409C-BE32-E72D297353CC}">
                <c16:uniqueId val="{00000471-A7CE-4049-B88B-35FCDA646473}"/>
              </c:ext>
            </c:extLst>
          </c:dPt>
          <c:dPt>
            <c:idx val="568"/>
            <c:invertIfNegative val="1"/>
            <c:bubble3D val="0"/>
            <c:spPr>
              <a:solidFill>
                <a:srgbClr val="AEABAB"/>
              </a:solidFill>
            </c:spPr>
            <c:extLst>
              <c:ext xmlns:c16="http://schemas.microsoft.com/office/drawing/2014/chart" uri="{C3380CC4-5D6E-409C-BE32-E72D297353CC}">
                <c16:uniqueId val="{00000473-A7CE-4049-B88B-35FCDA646473}"/>
              </c:ext>
            </c:extLst>
          </c:dPt>
          <c:dPt>
            <c:idx val="569"/>
            <c:invertIfNegative val="1"/>
            <c:bubble3D val="0"/>
            <c:spPr>
              <a:solidFill>
                <a:srgbClr val="AEABAB"/>
              </a:solidFill>
            </c:spPr>
            <c:extLst>
              <c:ext xmlns:c16="http://schemas.microsoft.com/office/drawing/2014/chart" uri="{C3380CC4-5D6E-409C-BE32-E72D297353CC}">
                <c16:uniqueId val="{00000475-A7CE-4049-B88B-35FCDA646473}"/>
              </c:ext>
            </c:extLst>
          </c:dPt>
          <c:dPt>
            <c:idx val="570"/>
            <c:invertIfNegative val="1"/>
            <c:bubble3D val="0"/>
            <c:spPr>
              <a:solidFill>
                <a:srgbClr val="AEABAB"/>
              </a:solidFill>
            </c:spPr>
            <c:extLst>
              <c:ext xmlns:c16="http://schemas.microsoft.com/office/drawing/2014/chart" uri="{C3380CC4-5D6E-409C-BE32-E72D297353CC}">
                <c16:uniqueId val="{00000477-A7CE-4049-B88B-35FCDA646473}"/>
              </c:ext>
            </c:extLst>
          </c:dPt>
          <c:dPt>
            <c:idx val="571"/>
            <c:invertIfNegative val="1"/>
            <c:bubble3D val="0"/>
            <c:spPr>
              <a:solidFill>
                <a:srgbClr val="AEABAB"/>
              </a:solidFill>
            </c:spPr>
            <c:extLst>
              <c:ext xmlns:c16="http://schemas.microsoft.com/office/drawing/2014/chart" uri="{C3380CC4-5D6E-409C-BE32-E72D297353CC}">
                <c16:uniqueId val="{00000479-A7CE-4049-B88B-35FCDA646473}"/>
              </c:ext>
            </c:extLst>
          </c:dPt>
          <c:dPt>
            <c:idx val="572"/>
            <c:invertIfNegative val="1"/>
            <c:bubble3D val="0"/>
            <c:spPr>
              <a:solidFill>
                <a:srgbClr val="AEABAB"/>
              </a:solidFill>
            </c:spPr>
            <c:extLst>
              <c:ext xmlns:c16="http://schemas.microsoft.com/office/drawing/2014/chart" uri="{C3380CC4-5D6E-409C-BE32-E72D297353CC}">
                <c16:uniqueId val="{0000047B-A7CE-4049-B88B-35FCDA646473}"/>
              </c:ext>
            </c:extLst>
          </c:dPt>
          <c:dPt>
            <c:idx val="573"/>
            <c:invertIfNegative val="1"/>
            <c:bubble3D val="0"/>
            <c:spPr>
              <a:solidFill>
                <a:srgbClr val="AEABAB"/>
              </a:solidFill>
            </c:spPr>
            <c:extLst>
              <c:ext xmlns:c16="http://schemas.microsoft.com/office/drawing/2014/chart" uri="{C3380CC4-5D6E-409C-BE32-E72D297353CC}">
                <c16:uniqueId val="{0000047D-A7CE-4049-B88B-35FCDA646473}"/>
              </c:ext>
            </c:extLst>
          </c:dPt>
          <c:dPt>
            <c:idx val="574"/>
            <c:invertIfNegative val="1"/>
            <c:bubble3D val="0"/>
            <c:spPr>
              <a:solidFill>
                <a:srgbClr val="AEABAB"/>
              </a:solidFill>
            </c:spPr>
            <c:extLst>
              <c:ext xmlns:c16="http://schemas.microsoft.com/office/drawing/2014/chart" uri="{C3380CC4-5D6E-409C-BE32-E72D297353CC}">
                <c16:uniqueId val="{0000047F-A7CE-4049-B88B-35FCDA646473}"/>
              </c:ext>
            </c:extLst>
          </c:dPt>
          <c:dPt>
            <c:idx val="575"/>
            <c:invertIfNegative val="1"/>
            <c:bubble3D val="0"/>
            <c:spPr>
              <a:solidFill>
                <a:srgbClr val="AEABAB"/>
              </a:solidFill>
            </c:spPr>
            <c:extLst>
              <c:ext xmlns:c16="http://schemas.microsoft.com/office/drawing/2014/chart" uri="{C3380CC4-5D6E-409C-BE32-E72D297353CC}">
                <c16:uniqueId val="{00000481-A7CE-4049-B88B-35FCDA646473}"/>
              </c:ext>
            </c:extLst>
          </c:dPt>
          <c:dPt>
            <c:idx val="576"/>
            <c:invertIfNegative val="1"/>
            <c:bubble3D val="0"/>
            <c:spPr>
              <a:solidFill>
                <a:srgbClr val="AEABAB"/>
              </a:solidFill>
            </c:spPr>
            <c:extLst>
              <c:ext xmlns:c16="http://schemas.microsoft.com/office/drawing/2014/chart" uri="{C3380CC4-5D6E-409C-BE32-E72D297353CC}">
                <c16:uniqueId val="{00000483-A7CE-4049-B88B-35FCDA646473}"/>
              </c:ext>
            </c:extLst>
          </c:dPt>
          <c:dPt>
            <c:idx val="577"/>
            <c:invertIfNegative val="1"/>
            <c:bubble3D val="0"/>
            <c:spPr>
              <a:solidFill>
                <a:srgbClr val="AEABAB"/>
              </a:solidFill>
            </c:spPr>
            <c:extLst>
              <c:ext xmlns:c16="http://schemas.microsoft.com/office/drawing/2014/chart" uri="{C3380CC4-5D6E-409C-BE32-E72D297353CC}">
                <c16:uniqueId val="{00000485-A7CE-4049-B88B-35FCDA646473}"/>
              </c:ext>
            </c:extLst>
          </c:dPt>
          <c:dPt>
            <c:idx val="578"/>
            <c:invertIfNegative val="1"/>
            <c:bubble3D val="0"/>
            <c:spPr>
              <a:solidFill>
                <a:srgbClr val="AEABAB"/>
              </a:solidFill>
            </c:spPr>
            <c:extLst>
              <c:ext xmlns:c16="http://schemas.microsoft.com/office/drawing/2014/chart" uri="{C3380CC4-5D6E-409C-BE32-E72D297353CC}">
                <c16:uniqueId val="{00000487-A7CE-4049-B88B-35FCDA646473}"/>
              </c:ext>
            </c:extLst>
          </c:dPt>
          <c:dPt>
            <c:idx val="579"/>
            <c:invertIfNegative val="1"/>
            <c:bubble3D val="0"/>
            <c:spPr>
              <a:solidFill>
                <a:srgbClr val="AEABAB"/>
              </a:solidFill>
            </c:spPr>
            <c:extLst>
              <c:ext xmlns:c16="http://schemas.microsoft.com/office/drawing/2014/chart" uri="{C3380CC4-5D6E-409C-BE32-E72D297353CC}">
                <c16:uniqueId val="{00000489-A7CE-4049-B88B-35FCDA646473}"/>
              </c:ext>
            </c:extLst>
          </c:dPt>
          <c:dPt>
            <c:idx val="580"/>
            <c:invertIfNegative val="1"/>
            <c:bubble3D val="0"/>
            <c:spPr>
              <a:solidFill>
                <a:srgbClr val="AEABAB"/>
              </a:solidFill>
            </c:spPr>
            <c:extLst>
              <c:ext xmlns:c16="http://schemas.microsoft.com/office/drawing/2014/chart" uri="{C3380CC4-5D6E-409C-BE32-E72D297353CC}">
                <c16:uniqueId val="{0000048B-A7CE-4049-B88B-35FCDA646473}"/>
              </c:ext>
            </c:extLst>
          </c:dPt>
          <c:dPt>
            <c:idx val="581"/>
            <c:invertIfNegative val="1"/>
            <c:bubble3D val="0"/>
            <c:spPr>
              <a:solidFill>
                <a:srgbClr val="AEABAB"/>
              </a:solidFill>
            </c:spPr>
            <c:extLst>
              <c:ext xmlns:c16="http://schemas.microsoft.com/office/drawing/2014/chart" uri="{C3380CC4-5D6E-409C-BE32-E72D297353CC}">
                <c16:uniqueId val="{0000048D-A7CE-4049-B88B-35FCDA646473}"/>
              </c:ext>
            </c:extLst>
          </c:dPt>
          <c:dPt>
            <c:idx val="582"/>
            <c:invertIfNegative val="1"/>
            <c:bubble3D val="0"/>
            <c:spPr>
              <a:solidFill>
                <a:srgbClr val="AEABAB"/>
              </a:solidFill>
            </c:spPr>
            <c:extLst>
              <c:ext xmlns:c16="http://schemas.microsoft.com/office/drawing/2014/chart" uri="{C3380CC4-5D6E-409C-BE32-E72D297353CC}">
                <c16:uniqueId val="{0000048F-A7CE-4049-B88B-35FCDA646473}"/>
              </c:ext>
            </c:extLst>
          </c:dPt>
          <c:dPt>
            <c:idx val="583"/>
            <c:invertIfNegative val="1"/>
            <c:bubble3D val="0"/>
            <c:spPr>
              <a:solidFill>
                <a:srgbClr val="AEABAB"/>
              </a:solidFill>
            </c:spPr>
            <c:extLst>
              <c:ext xmlns:c16="http://schemas.microsoft.com/office/drawing/2014/chart" uri="{C3380CC4-5D6E-409C-BE32-E72D297353CC}">
                <c16:uniqueId val="{00000491-A7CE-4049-B88B-35FCDA646473}"/>
              </c:ext>
            </c:extLst>
          </c:dPt>
          <c:dPt>
            <c:idx val="584"/>
            <c:invertIfNegative val="1"/>
            <c:bubble3D val="0"/>
            <c:spPr>
              <a:solidFill>
                <a:srgbClr val="AEABAB"/>
              </a:solidFill>
            </c:spPr>
            <c:extLst>
              <c:ext xmlns:c16="http://schemas.microsoft.com/office/drawing/2014/chart" uri="{C3380CC4-5D6E-409C-BE32-E72D297353CC}">
                <c16:uniqueId val="{00000493-A7CE-4049-B88B-35FCDA646473}"/>
              </c:ext>
            </c:extLst>
          </c:dPt>
          <c:dPt>
            <c:idx val="585"/>
            <c:invertIfNegative val="1"/>
            <c:bubble3D val="0"/>
            <c:spPr>
              <a:solidFill>
                <a:srgbClr val="AEABAB"/>
              </a:solidFill>
            </c:spPr>
            <c:extLst>
              <c:ext xmlns:c16="http://schemas.microsoft.com/office/drawing/2014/chart" uri="{C3380CC4-5D6E-409C-BE32-E72D297353CC}">
                <c16:uniqueId val="{00000495-A7CE-4049-B88B-35FCDA646473}"/>
              </c:ext>
            </c:extLst>
          </c:dPt>
          <c:dPt>
            <c:idx val="586"/>
            <c:invertIfNegative val="1"/>
            <c:bubble3D val="0"/>
            <c:spPr>
              <a:solidFill>
                <a:srgbClr val="AEABAB"/>
              </a:solidFill>
            </c:spPr>
            <c:extLst>
              <c:ext xmlns:c16="http://schemas.microsoft.com/office/drawing/2014/chart" uri="{C3380CC4-5D6E-409C-BE32-E72D297353CC}">
                <c16:uniqueId val="{00000497-A7CE-4049-B88B-35FCDA646473}"/>
              </c:ext>
            </c:extLst>
          </c:dPt>
          <c:dPt>
            <c:idx val="587"/>
            <c:invertIfNegative val="1"/>
            <c:bubble3D val="0"/>
            <c:spPr>
              <a:solidFill>
                <a:srgbClr val="AEABAB"/>
              </a:solidFill>
            </c:spPr>
            <c:extLst>
              <c:ext xmlns:c16="http://schemas.microsoft.com/office/drawing/2014/chart" uri="{C3380CC4-5D6E-409C-BE32-E72D297353CC}">
                <c16:uniqueId val="{00000499-A7CE-4049-B88B-35FCDA646473}"/>
              </c:ext>
            </c:extLst>
          </c:dPt>
          <c:dPt>
            <c:idx val="588"/>
            <c:invertIfNegative val="1"/>
            <c:bubble3D val="0"/>
            <c:spPr>
              <a:solidFill>
                <a:srgbClr val="AEABAB"/>
              </a:solidFill>
            </c:spPr>
            <c:extLst>
              <c:ext xmlns:c16="http://schemas.microsoft.com/office/drawing/2014/chart" uri="{C3380CC4-5D6E-409C-BE32-E72D297353CC}">
                <c16:uniqueId val="{0000049B-A7CE-4049-B88B-35FCDA646473}"/>
              </c:ext>
            </c:extLst>
          </c:dPt>
          <c:dPt>
            <c:idx val="589"/>
            <c:invertIfNegative val="1"/>
            <c:bubble3D val="0"/>
            <c:spPr>
              <a:solidFill>
                <a:srgbClr val="AEABAB"/>
              </a:solidFill>
            </c:spPr>
            <c:extLst>
              <c:ext xmlns:c16="http://schemas.microsoft.com/office/drawing/2014/chart" uri="{C3380CC4-5D6E-409C-BE32-E72D297353CC}">
                <c16:uniqueId val="{0000049D-A7CE-4049-B88B-35FCDA646473}"/>
              </c:ext>
            </c:extLst>
          </c:dPt>
          <c:dPt>
            <c:idx val="590"/>
            <c:invertIfNegative val="1"/>
            <c:bubble3D val="0"/>
            <c:spPr>
              <a:solidFill>
                <a:srgbClr val="AEABAB"/>
              </a:solidFill>
            </c:spPr>
            <c:extLst>
              <c:ext xmlns:c16="http://schemas.microsoft.com/office/drawing/2014/chart" uri="{C3380CC4-5D6E-409C-BE32-E72D297353CC}">
                <c16:uniqueId val="{0000049F-A7CE-4049-B88B-35FCDA646473}"/>
              </c:ext>
            </c:extLst>
          </c:dPt>
          <c:dPt>
            <c:idx val="591"/>
            <c:invertIfNegative val="1"/>
            <c:bubble3D val="0"/>
            <c:spPr>
              <a:solidFill>
                <a:srgbClr val="AEABAB"/>
              </a:solidFill>
            </c:spPr>
            <c:extLst>
              <c:ext xmlns:c16="http://schemas.microsoft.com/office/drawing/2014/chart" uri="{C3380CC4-5D6E-409C-BE32-E72D297353CC}">
                <c16:uniqueId val="{000004A1-A7CE-4049-B88B-35FCDA646473}"/>
              </c:ext>
            </c:extLst>
          </c:dPt>
          <c:dPt>
            <c:idx val="592"/>
            <c:invertIfNegative val="1"/>
            <c:bubble3D val="0"/>
            <c:spPr>
              <a:solidFill>
                <a:srgbClr val="AEABAB"/>
              </a:solidFill>
            </c:spPr>
            <c:extLst>
              <c:ext xmlns:c16="http://schemas.microsoft.com/office/drawing/2014/chart" uri="{C3380CC4-5D6E-409C-BE32-E72D297353CC}">
                <c16:uniqueId val="{000004A3-A7CE-4049-B88B-35FCDA646473}"/>
              </c:ext>
            </c:extLst>
          </c:dPt>
          <c:dPt>
            <c:idx val="593"/>
            <c:invertIfNegative val="1"/>
            <c:bubble3D val="0"/>
            <c:spPr>
              <a:solidFill>
                <a:srgbClr val="AEABAB"/>
              </a:solidFill>
            </c:spPr>
            <c:extLst>
              <c:ext xmlns:c16="http://schemas.microsoft.com/office/drawing/2014/chart" uri="{C3380CC4-5D6E-409C-BE32-E72D297353CC}">
                <c16:uniqueId val="{000004A5-A7CE-4049-B88B-35FCDA646473}"/>
              </c:ext>
            </c:extLst>
          </c:dPt>
          <c:dPt>
            <c:idx val="594"/>
            <c:invertIfNegative val="1"/>
            <c:bubble3D val="0"/>
            <c:spPr>
              <a:solidFill>
                <a:srgbClr val="AEABAB"/>
              </a:solidFill>
            </c:spPr>
            <c:extLst>
              <c:ext xmlns:c16="http://schemas.microsoft.com/office/drawing/2014/chart" uri="{C3380CC4-5D6E-409C-BE32-E72D297353CC}">
                <c16:uniqueId val="{000004A7-A7CE-4049-B88B-35FCDA646473}"/>
              </c:ext>
            </c:extLst>
          </c:dPt>
          <c:dPt>
            <c:idx val="595"/>
            <c:invertIfNegative val="1"/>
            <c:bubble3D val="0"/>
            <c:spPr>
              <a:solidFill>
                <a:srgbClr val="AEABAB"/>
              </a:solidFill>
            </c:spPr>
            <c:extLst>
              <c:ext xmlns:c16="http://schemas.microsoft.com/office/drawing/2014/chart" uri="{C3380CC4-5D6E-409C-BE32-E72D297353CC}">
                <c16:uniqueId val="{000004A9-A7CE-4049-B88B-35FCDA646473}"/>
              </c:ext>
            </c:extLst>
          </c:dPt>
          <c:dPt>
            <c:idx val="596"/>
            <c:invertIfNegative val="1"/>
            <c:bubble3D val="0"/>
            <c:spPr>
              <a:solidFill>
                <a:srgbClr val="AEABAB"/>
              </a:solidFill>
            </c:spPr>
            <c:extLst>
              <c:ext xmlns:c16="http://schemas.microsoft.com/office/drawing/2014/chart" uri="{C3380CC4-5D6E-409C-BE32-E72D297353CC}">
                <c16:uniqueId val="{000004AB-A7CE-4049-B88B-35FCDA646473}"/>
              </c:ext>
            </c:extLst>
          </c:dPt>
          <c:dPt>
            <c:idx val="597"/>
            <c:invertIfNegative val="1"/>
            <c:bubble3D val="0"/>
            <c:spPr>
              <a:solidFill>
                <a:srgbClr val="AEABAB"/>
              </a:solidFill>
            </c:spPr>
            <c:extLst>
              <c:ext xmlns:c16="http://schemas.microsoft.com/office/drawing/2014/chart" uri="{C3380CC4-5D6E-409C-BE32-E72D297353CC}">
                <c16:uniqueId val="{000004AD-A7CE-4049-B88B-35FCDA646473}"/>
              </c:ext>
            </c:extLst>
          </c:dPt>
          <c:dPt>
            <c:idx val="598"/>
            <c:invertIfNegative val="1"/>
            <c:bubble3D val="0"/>
            <c:spPr>
              <a:solidFill>
                <a:srgbClr val="AEABAB"/>
              </a:solidFill>
            </c:spPr>
            <c:extLst>
              <c:ext xmlns:c16="http://schemas.microsoft.com/office/drawing/2014/chart" uri="{C3380CC4-5D6E-409C-BE32-E72D297353CC}">
                <c16:uniqueId val="{000004AF-A7CE-4049-B88B-35FCDA646473}"/>
              </c:ext>
            </c:extLst>
          </c:dPt>
          <c:dPt>
            <c:idx val="599"/>
            <c:invertIfNegative val="1"/>
            <c:bubble3D val="0"/>
            <c:spPr>
              <a:solidFill>
                <a:srgbClr val="AEABAB"/>
              </a:solidFill>
            </c:spPr>
            <c:extLst>
              <c:ext xmlns:c16="http://schemas.microsoft.com/office/drawing/2014/chart" uri="{C3380CC4-5D6E-409C-BE32-E72D297353CC}">
                <c16:uniqueId val="{000004B1-A7CE-4049-B88B-35FCDA646473}"/>
              </c:ext>
            </c:extLst>
          </c:dPt>
          <c:dPt>
            <c:idx val="600"/>
            <c:invertIfNegative val="1"/>
            <c:bubble3D val="0"/>
            <c:spPr>
              <a:solidFill>
                <a:srgbClr val="AEABAB"/>
              </a:solidFill>
            </c:spPr>
            <c:extLst>
              <c:ext xmlns:c16="http://schemas.microsoft.com/office/drawing/2014/chart" uri="{C3380CC4-5D6E-409C-BE32-E72D297353CC}">
                <c16:uniqueId val="{000004B3-A7CE-4049-B88B-35FCDA646473}"/>
              </c:ext>
            </c:extLst>
          </c:dPt>
          <c:dPt>
            <c:idx val="601"/>
            <c:invertIfNegative val="1"/>
            <c:bubble3D val="0"/>
            <c:spPr>
              <a:solidFill>
                <a:srgbClr val="AEABAB"/>
              </a:solidFill>
            </c:spPr>
            <c:extLst>
              <c:ext xmlns:c16="http://schemas.microsoft.com/office/drawing/2014/chart" uri="{C3380CC4-5D6E-409C-BE32-E72D297353CC}">
                <c16:uniqueId val="{000004B5-A7CE-4049-B88B-35FCDA646473}"/>
              </c:ext>
            </c:extLst>
          </c:dPt>
          <c:dPt>
            <c:idx val="602"/>
            <c:invertIfNegative val="1"/>
            <c:bubble3D val="0"/>
            <c:spPr>
              <a:solidFill>
                <a:srgbClr val="AEABAB"/>
              </a:solidFill>
            </c:spPr>
            <c:extLst>
              <c:ext xmlns:c16="http://schemas.microsoft.com/office/drawing/2014/chart" uri="{C3380CC4-5D6E-409C-BE32-E72D297353CC}">
                <c16:uniqueId val="{000004B7-A7CE-4049-B88B-35FCDA646473}"/>
              </c:ext>
            </c:extLst>
          </c:dPt>
          <c:dPt>
            <c:idx val="603"/>
            <c:invertIfNegative val="1"/>
            <c:bubble3D val="0"/>
            <c:spPr>
              <a:solidFill>
                <a:srgbClr val="AEABAB"/>
              </a:solidFill>
            </c:spPr>
            <c:extLst>
              <c:ext xmlns:c16="http://schemas.microsoft.com/office/drawing/2014/chart" uri="{C3380CC4-5D6E-409C-BE32-E72D297353CC}">
                <c16:uniqueId val="{000004B9-A7CE-4049-B88B-35FCDA646473}"/>
              </c:ext>
            </c:extLst>
          </c:dPt>
          <c:dPt>
            <c:idx val="604"/>
            <c:invertIfNegative val="1"/>
            <c:bubble3D val="0"/>
            <c:spPr>
              <a:solidFill>
                <a:srgbClr val="AEABAB"/>
              </a:solidFill>
            </c:spPr>
            <c:extLst>
              <c:ext xmlns:c16="http://schemas.microsoft.com/office/drawing/2014/chart" uri="{C3380CC4-5D6E-409C-BE32-E72D297353CC}">
                <c16:uniqueId val="{000004BB-A7CE-4049-B88B-35FCDA646473}"/>
              </c:ext>
            </c:extLst>
          </c:dPt>
          <c:dPt>
            <c:idx val="605"/>
            <c:invertIfNegative val="1"/>
            <c:bubble3D val="0"/>
            <c:spPr>
              <a:solidFill>
                <a:srgbClr val="AEABAB"/>
              </a:solidFill>
            </c:spPr>
            <c:extLst>
              <c:ext xmlns:c16="http://schemas.microsoft.com/office/drawing/2014/chart" uri="{C3380CC4-5D6E-409C-BE32-E72D297353CC}">
                <c16:uniqueId val="{000004BD-A7CE-4049-B88B-35FCDA646473}"/>
              </c:ext>
            </c:extLst>
          </c:dPt>
          <c:dPt>
            <c:idx val="606"/>
            <c:invertIfNegative val="1"/>
            <c:bubble3D val="0"/>
            <c:spPr>
              <a:solidFill>
                <a:srgbClr val="AEABAB"/>
              </a:solidFill>
            </c:spPr>
            <c:extLst>
              <c:ext xmlns:c16="http://schemas.microsoft.com/office/drawing/2014/chart" uri="{C3380CC4-5D6E-409C-BE32-E72D297353CC}">
                <c16:uniqueId val="{000004BF-A7CE-4049-B88B-35FCDA646473}"/>
              </c:ext>
            </c:extLst>
          </c:dPt>
          <c:dPt>
            <c:idx val="607"/>
            <c:invertIfNegative val="1"/>
            <c:bubble3D val="0"/>
            <c:spPr>
              <a:solidFill>
                <a:srgbClr val="AEABAB"/>
              </a:solidFill>
            </c:spPr>
            <c:extLst>
              <c:ext xmlns:c16="http://schemas.microsoft.com/office/drawing/2014/chart" uri="{C3380CC4-5D6E-409C-BE32-E72D297353CC}">
                <c16:uniqueId val="{000004C1-A7CE-4049-B88B-35FCDA646473}"/>
              </c:ext>
            </c:extLst>
          </c:dPt>
          <c:dPt>
            <c:idx val="608"/>
            <c:invertIfNegative val="1"/>
            <c:bubble3D val="0"/>
            <c:spPr>
              <a:solidFill>
                <a:srgbClr val="AEABAB"/>
              </a:solidFill>
            </c:spPr>
            <c:extLst>
              <c:ext xmlns:c16="http://schemas.microsoft.com/office/drawing/2014/chart" uri="{C3380CC4-5D6E-409C-BE32-E72D297353CC}">
                <c16:uniqueId val="{000004C3-A7CE-4049-B88B-35FCDA646473}"/>
              </c:ext>
            </c:extLst>
          </c:dPt>
          <c:dPt>
            <c:idx val="609"/>
            <c:invertIfNegative val="1"/>
            <c:bubble3D val="0"/>
            <c:spPr>
              <a:solidFill>
                <a:srgbClr val="AEABAB"/>
              </a:solidFill>
            </c:spPr>
            <c:extLst>
              <c:ext xmlns:c16="http://schemas.microsoft.com/office/drawing/2014/chart" uri="{C3380CC4-5D6E-409C-BE32-E72D297353CC}">
                <c16:uniqueId val="{000004C5-A7CE-4049-B88B-35FCDA646473}"/>
              </c:ext>
            </c:extLst>
          </c:dPt>
          <c:dPt>
            <c:idx val="610"/>
            <c:invertIfNegative val="1"/>
            <c:bubble3D val="0"/>
            <c:spPr>
              <a:solidFill>
                <a:srgbClr val="AEABAB"/>
              </a:solidFill>
            </c:spPr>
            <c:extLst>
              <c:ext xmlns:c16="http://schemas.microsoft.com/office/drawing/2014/chart" uri="{C3380CC4-5D6E-409C-BE32-E72D297353CC}">
                <c16:uniqueId val="{000004C7-A7CE-4049-B88B-35FCDA646473}"/>
              </c:ext>
            </c:extLst>
          </c:dPt>
          <c:dPt>
            <c:idx val="611"/>
            <c:invertIfNegative val="1"/>
            <c:bubble3D val="0"/>
            <c:spPr>
              <a:solidFill>
                <a:srgbClr val="AEABAB"/>
              </a:solidFill>
            </c:spPr>
            <c:extLst>
              <c:ext xmlns:c16="http://schemas.microsoft.com/office/drawing/2014/chart" uri="{C3380CC4-5D6E-409C-BE32-E72D297353CC}">
                <c16:uniqueId val="{000004C9-A7CE-4049-B88B-35FCDA646473}"/>
              </c:ext>
            </c:extLst>
          </c:dPt>
          <c:dPt>
            <c:idx val="612"/>
            <c:invertIfNegative val="1"/>
            <c:bubble3D val="0"/>
            <c:spPr>
              <a:solidFill>
                <a:srgbClr val="AEABAB"/>
              </a:solidFill>
            </c:spPr>
            <c:extLst>
              <c:ext xmlns:c16="http://schemas.microsoft.com/office/drawing/2014/chart" uri="{C3380CC4-5D6E-409C-BE32-E72D297353CC}">
                <c16:uniqueId val="{000004CB-A7CE-4049-B88B-35FCDA646473}"/>
              </c:ext>
            </c:extLst>
          </c:dPt>
          <c:dPt>
            <c:idx val="613"/>
            <c:invertIfNegative val="1"/>
            <c:bubble3D val="0"/>
            <c:spPr>
              <a:solidFill>
                <a:srgbClr val="AEABAB"/>
              </a:solidFill>
            </c:spPr>
            <c:extLst>
              <c:ext xmlns:c16="http://schemas.microsoft.com/office/drawing/2014/chart" uri="{C3380CC4-5D6E-409C-BE32-E72D297353CC}">
                <c16:uniqueId val="{000004CD-A7CE-4049-B88B-35FCDA646473}"/>
              </c:ext>
            </c:extLst>
          </c:dPt>
          <c:dPt>
            <c:idx val="614"/>
            <c:invertIfNegative val="1"/>
            <c:bubble3D val="0"/>
            <c:spPr>
              <a:solidFill>
                <a:srgbClr val="AEABAB"/>
              </a:solidFill>
            </c:spPr>
            <c:extLst>
              <c:ext xmlns:c16="http://schemas.microsoft.com/office/drawing/2014/chart" uri="{C3380CC4-5D6E-409C-BE32-E72D297353CC}">
                <c16:uniqueId val="{000004CF-A7CE-4049-B88B-35FCDA646473}"/>
              </c:ext>
            </c:extLst>
          </c:dPt>
          <c:dPt>
            <c:idx val="615"/>
            <c:invertIfNegative val="1"/>
            <c:bubble3D val="0"/>
            <c:spPr>
              <a:solidFill>
                <a:srgbClr val="AEABAB"/>
              </a:solidFill>
            </c:spPr>
            <c:extLst>
              <c:ext xmlns:c16="http://schemas.microsoft.com/office/drawing/2014/chart" uri="{C3380CC4-5D6E-409C-BE32-E72D297353CC}">
                <c16:uniqueId val="{000004D1-A7CE-4049-B88B-35FCDA646473}"/>
              </c:ext>
            </c:extLst>
          </c:dPt>
          <c:dPt>
            <c:idx val="616"/>
            <c:invertIfNegative val="1"/>
            <c:bubble3D val="0"/>
            <c:spPr>
              <a:solidFill>
                <a:srgbClr val="AEABAB"/>
              </a:solidFill>
            </c:spPr>
            <c:extLst>
              <c:ext xmlns:c16="http://schemas.microsoft.com/office/drawing/2014/chart" uri="{C3380CC4-5D6E-409C-BE32-E72D297353CC}">
                <c16:uniqueId val="{000004D3-A7CE-4049-B88B-35FCDA646473}"/>
              </c:ext>
            </c:extLst>
          </c:dPt>
          <c:dPt>
            <c:idx val="617"/>
            <c:invertIfNegative val="1"/>
            <c:bubble3D val="0"/>
            <c:spPr>
              <a:solidFill>
                <a:srgbClr val="AEABAB"/>
              </a:solidFill>
            </c:spPr>
            <c:extLst>
              <c:ext xmlns:c16="http://schemas.microsoft.com/office/drawing/2014/chart" uri="{C3380CC4-5D6E-409C-BE32-E72D297353CC}">
                <c16:uniqueId val="{000004D5-A7CE-4049-B88B-35FCDA646473}"/>
              </c:ext>
            </c:extLst>
          </c:dPt>
          <c:dPt>
            <c:idx val="618"/>
            <c:invertIfNegative val="1"/>
            <c:bubble3D val="0"/>
            <c:spPr>
              <a:solidFill>
                <a:srgbClr val="AEABAB"/>
              </a:solidFill>
            </c:spPr>
            <c:extLst>
              <c:ext xmlns:c16="http://schemas.microsoft.com/office/drawing/2014/chart" uri="{C3380CC4-5D6E-409C-BE32-E72D297353CC}">
                <c16:uniqueId val="{000004D7-A7CE-4049-B88B-35FCDA646473}"/>
              </c:ext>
            </c:extLst>
          </c:dPt>
          <c:dPt>
            <c:idx val="619"/>
            <c:invertIfNegative val="1"/>
            <c:bubble3D val="0"/>
            <c:spPr>
              <a:solidFill>
                <a:srgbClr val="AEABAB"/>
              </a:solidFill>
            </c:spPr>
            <c:extLst>
              <c:ext xmlns:c16="http://schemas.microsoft.com/office/drawing/2014/chart" uri="{C3380CC4-5D6E-409C-BE32-E72D297353CC}">
                <c16:uniqueId val="{000004D9-A7CE-4049-B88B-35FCDA646473}"/>
              </c:ext>
            </c:extLst>
          </c:dPt>
          <c:dPt>
            <c:idx val="620"/>
            <c:invertIfNegative val="1"/>
            <c:bubble3D val="0"/>
            <c:spPr>
              <a:solidFill>
                <a:srgbClr val="AEABAB"/>
              </a:solidFill>
            </c:spPr>
            <c:extLst>
              <c:ext xmlns:c16="http://schemas.microsoft.com/office/drawing/2014/chart" uri="{C3380CC4-5D6E-409C-BE32-E72D297353CC}">
                <c16:uniqueId val="{000004DB-A7CE-4049-B88B-35FCDA646473}"/>
              </c:ext>
            </c:extLst>
          </c:dPt>
          <c:dPt>
            <c:idx val="621"/>
            <c:invertIfNegative val="1"/>
            <c:bubble3D val="0"/>
            <c:spPr>
              <a:solidFill>
                <a:srgbClr val="AEABAB"/>
              </a:solidFill>
            </c:spPr>
            <c:extLst>
              <c:ext xmlns:c16="http://schemas.microsoft.com/office/drawing/2014/chart" uri="{C3380CC4-5D6E-409C-BE32-E72D297353CC}">
                <c16:uniqueId val="{000004DD-A7CE-4049-B88B-35FCDA646473}"/>
              </c:ext>
            </c:extLst>
          </c:dPt>
          <c:dPt>
            <c:idx val="622"/>
            <c:invertIfNegative val="1"/>
            <c:bubble3D val="0"/>
            <c:spPr>
              <a:solidFill>
                <a:srgbClr val="AEABAB"/>
              </a:solidFill>
            </c:spPr>
            <c:extLst>
              <c:ext xmlns:c16="http://schemas.microsoft.com/office/drawing/2014/chart" uri="{C3380CC4-5D6E-409C-BE32-E72D297353CC}">
                <c16:uniqueId val="{000004DF-A7CE-4049-B88B-35FCDA646473}"/>
              </c:ext>
            </c:extLst>
          </c:dPt>
          <c:dPt>
            <c:idx val="623"/>
            <c:invertIfNegative val="1"/>
            <c:bubble3D val="0"/>
            <c:spPr>
              <a:solidFill>
                <a:srgbClr val="AEABAB"/>
              </a:solidFill>
            </c:spPr>
            <c:extLst>
              <c:ext xmlns:c16="http://schemas.microsoft.com/office/drawing/2014/chart" uri="{C3380CC4-5D6E-409C-BE32-E72D297353CC}">
                <c16:uniqueId val="{000004E1-A7CE-4049-B88B-35FCDA646473}"/>
              </c:ext>
            </c:extLst>
          </c:dPt>
          <c:dPt>
            <c:idx val="624"/>
            <c:invertIfNegative val="1"/>
            <c:bubble3D val="0"/>
            <c:spPr>
              <a:solidFill>
                <a:srgbClr val="AEABAB"/>
              </a:solidFill>
            </c:spPr>
            <c:extLst>
              <c:ext xmlns:c16="http://schemas.microsoft.com/office/drawing/2014/chart" uri="{C3380CC4-5D6E-409C-BE32-E72D297353CC}">
                <c16:uniqueId val="{000004E3-A7CE-4049-B88B-35FCDA646473}"/>
              </c:ext>
            </c:extLst>
          </c:dPt>
          <c:dPt>
            <c:idx val="625"/>
            <c:invertIfNegative val="1"/>
            <c:bubble3D val="0"/>
            <c:spPr>
              <a:solidFill>
                <a:srgbClr val="AEABAB"/>
              </a:solidFill>
            </c:spPr>
            <c:extLst>
              <c:ext xmlns:c16="http://schemas.microsoft.com/office/drawing/2014/chart" uri="{C3380CC4-5D6E-409C-BE32-E72D297353CC}">
                <c16:uniqueId val="{000004E5-A7CE-4049-B88B-35FCDA646473}"/>
              </c:ext>
            </c:extLst>
          </c:dPt>
          <c:dPt>
            <c:idx val="626"/>
            <c:invertIfNegative val="1"/>
            <c:bubble3D val="0"/>
            <c:spPr>
              <a:solidFill>
                <a:srgbClr val="AEABAB"/>
              </a:solidFill>
            </c:spPr>
            <c:extLst>
              <c:ext xmlns:c16="http://schemas.microsoft.com/office/drawing/2014/chart" uri="{C3380CC4-5D6E-409C-BE32-E72D297353CC}">
                <c16:uniqueId val="{000004E7-A7CE-4049-B88B-35FCDA646473}"/>
              </c:ext>
            </c:extLst>
          </c:dPt>
          <c:dPt>
            <c:idx val="627"/>
            <c:invertIfNegative val="1"/>
            <c:bubble3D val="0"/>
            <c:spPr>
              <a:solidFill>
                <a:srgbClr val="AEABAB"/>
              </a:solidFill>
            </c:spPr>
            <c:extLst>
              <c:ext xmlns:c16="http://schemas.microsoft.com/office/drawing/2014/chart" uri="{C3380CC4-5D6E-409C-BE32-E72D297353CC}">
                <c16:uniqueId val="{000004E9-A7CE-4049-B88B-35FCDA646473}"/>
              </c:ext>
            </c:extLst>
          </c:dPt>
          <c:dPt>
            <c:idx val="628"/>
            <c:invertIfNegative val="1"/>
            <c:bubble3D val="0"/>
            <c:spPr>
              <a:solidFill>
                <a:srgbClr val="AEABAB"/>
              </a:solidFill>
            </c:spPr>
            <c:extLst>
              <c:ext xmlns:c16="http://schemas.microsoft.com/office/drawing/2014/chart" uri="{C3380CC4-5D6E-409C-BE32-E72D297353CC}">
                <c16:uniqueId val="{000004EB-A7CE-4049-B88B-35FCDA646473}"/>
              </c:ext>
            </c:extLst>
          </c:dPt>
          <c:dPt>
            <c:idx val="629"/>
            <c:invertIfNegative val="1"/>
            <c:bubble3D val="0"/>
            <c:spPr>
              <a:solidFill>
                <a:srgbClr val="AEABAB"/>
              </a:solidFill>
            </c:spPr>
            <c:extLst>
              <c:ext xmlns:c16="http://schemas.microsoft.com/office/drawing/2014/chart" uri="{C3380CC4-5D6E-409C-BE32-E72D297353CC}">
                <c16:uniqueId val="{000004ED-A7CE-4049-B88B-35FCDA646473}"/>
              </c:ext>
            </c:extLst>
          </c:dPt>
          <c:dPt>
            <c:idx val="630"/>
            <c:invertIfNegative val="1"/>
            <c:bubble3D val="0"/>
            <c:spPr>
              <a:solidFill>
                <a:srgbClr val="AEABAB"/>
              </a:solidFill>
            </c:spPr>
            <c:extLst>
              <c:ext xmlns:c16="http://schemas.microsoft.com/office/drawing/2014/chart" uri="{C3380CC4-5D6E-409C-BE32-E72D297353CC}">
                <c16:uniqueId val="{000004EF-A7CE-4049-B88B-35FCDA646473}"/>
              </c:ext>
            </c:extLst>
          </c:dPt>
          <c:dPt>
            <c:idx val="631"/>
            <c:invertIfNegative val="1"/>
            <c:bubble3D val="0"/>
            <c:spPr>
              <a:solidFill>
                <a:srgbClr val="AEABAB"/>
              </a:solidFill>
            </c:spPr>
            <c:extLst>
              <c:ext xmlns:c16="http://schemas.microsoft.com/office/drawing/2014/chart" uri="{C3380CC4-5D6E-409C-BE32-E72D297353CC}">
                <c16:uniqueId val="{000004F1-A7CE-4049-B88B-35FCDA646473}"/>
              </c:ext>
            </c:extLst>
          </c:dPt>
          <c:dPt>
            <c:idx val="632"/>
            <c:invertIfNegative val="1"/>
            <c:bubble3D val="0"/>
            <c:spPr>
              <a:solidFill>
                <a:srgbClr val="AEABAB"/>
              </a:solidFill>
            </c:spPr>
            <c:extLst>
              <c:ext xmlns:c16="http://schemas.microsoft.com/office/drawing/2014/chart" uri="{C3380CC4-5D6E-409C-BE32-E72D297353CC}">
                <c16:uniqueId val="{000004F3-A7CE-4049-B88B-35FCDA646473}"/>
              </c:ext>
            </c:extLst>
          </c:dPt>
          <c:dPt>
            <c:idx val="633"/>
            <c:invertIfNegative val="1"/>
            <c:bubble3D val="0"/>
            <c:spPr>
              <a:solidFill>
                <a:srgbClr val="AEABAB"/>
              </a:solidFill>
            </c:spPr>
            <c:extLst>
              <c:ext xmlns:c16="http://schemas.microsoft.com/office/drawing/2014/chart" uri="{C3380CC4-5D6E-409C-BE32-E72D297353CC}">
                <c16:uniqueId val="{000004F5-A7CE-4049-B88B-35FCDA646473}"/>
              </c:ext>
            </c:extLst>
          </c:dPt>
          <c:dPt>
            <c:idx val="634"/>
            <c:invertIfNegative val="1"/>
            <c:bubble3D val="0"/>
            <c:spPr>
              <a:solidFill>
                <a:srgbClr val="AEABAB"/>
              </a:solidFill>
            </c:spPr>
            <c:extLst>
              <c:ext xmlns:c16="http://schemas.microsoft.com/office/drawing/2014/chart" uri="{C3380CC4-5D6E-409C-BE32-E72D297353CC}">
                <c16:uniqueId val="{000004F7-A7CE-4049-B88B-35FCDA646473}"/>
              </c:ext>
            </c:extLst>
          </c:dPt>
          <c:dPt>
            <c:idx val="635"/>
            <c:invertIfNegative val="1"/>
            <c:bubble3D val="0"/>
            <c:spPr>
              <a:solidFill>
                <a:srgbClr val="AEABAB"/>
              </a:solidFill>
            </c:spPr>
            <c:extLst>
              <c:ext xmlns:c16="http://schemas.microsoft.com/office/drawing/2014/chart" uri="{C3380CC4-5D6E-409C-BE32-E72D297353CC}">
                <c16:uniqueId val="{000004F9-A7CE-4049-B88B-35FCDA646473}"/>
              </c:ext>
            </c:extLst>
          </c:dPt>
          <c:dPt>
            <c:idx val="636"/>
            <c:invertIfNegative val="1"/>
            <c:bubble3D val="0"/>
            <c:spPr>
              <a:solidFill>
                <a:srgbClr val="AEABAB"/>
              </a:solidFill>
            </c:spPr>
            <c:extLst>
              <c:ext xmlns:c16="http://schemas.microsoft.com/office/drawing/2014/chart" uri="{C3380CC4-5D6E-409C-BE32-E72D297353CC}">
                <c16:uniqueId val="{000004FB-A7CE-4049-B88B-35FCDA646473}"/>
              </c:ext>
            </c:extLst>
          </c:dPt>
          <c:dPt>
            <c:idx val="637"/>
            <c:invertIfNegative val="1"/>
            <c:bubble3D val="0"/>
            <c:spPr>
              <a:solidFill>
                <a:srgbClr val="AEABAB"/>
              </a:solidFill>
            </c:spPr>
            <c:extLst>
              <c:ext xmlns:c16="http://schemas.microsoft.com/office/drawing/2014/chart" uri="{C3380CC4-5D6E-409C-BE32-E72D297353CC}">
                <c16:uniqueId val="{000004FD-A7CE-4049-B88B-35FCDA646473}"/>
              </c:ext>
            </c:extLst>
          </c:dPt>
          <c:dPt>
            <c:idx val="638"/>
            <c:invertIfNegative val="1"/>
            <c:bubble3D val="0"/>
            <c:spPr>
              <a:solidFill>
                <a:srgbClr val="AEABAB"/>
              </a:solidFill>
            </c:spPr>
            <c:extLst>
              <c:ext xmlns:c16="http://schemas.microsoft.com/office/drawing/2014/chart" uri="{C3380CC4-5D6E-409C-BE32-E72D297353CC}">
                <c16:uniqueId val="{000004FF-A7CE-4049-B88B-35FCDA646473}"/>
              </c:ext>
            </c:extLst>
          </c:dPt>
          <c:dPt>
            <c:idx val="639"/>
            <c:invertIfNegative val="1"/>
            <c:bubble3D val="0"/>
            <c:spPr>
              <a:solidFill>
                <a:srgbClr val="AEABAB"/>
              </a:solidFill>
            </c:spPr>
            <c:extLst>
              <c:ext xmlns:c16="http://schemas.microsoft.com/office/drawing/2014/chart" uri="{C3380CC4-5D6E-409C-BE32-E72D297353CC}">
                <c16:uniqueId val="{00000501-A7CE-4049-B88B-35FCDA646473}"/>
              </c:ext>
            </c:extLst>
          </c:dPt>
          <c:dPt>
            <c:idx val="640"/>
            <c:invertIfNegative val="1"/>
            <c:bubble3D val="0"/>
            <c:spPr>
              <a:solidFill>
                <a:srgbClr val="AEABAB"/>
              </a:solidFill>
            </c:spPr>
            <c:extLst>
              <c:ext xmlns:c16="http://schemas.microsoft.com/office/drawing/2014/chart" uri="{C3380CC4-5D6E-409C-BE32-E72D297353CC}">
                <c16:uniqueId val="{00000503-A7CE-4049-B88B-35FCDA646473}"/>
              </c:ext>
            </c:extLst>
          </c:dPt>
          <c:dPt>
            <c:idx val="641"/>
            <c:invertIfNegative val="1"/>
            <c:bubble3D val="0"/>
            <c:spPr>
              <a:solidFill>
                <a:srgbClr val="AEABAB"/>
              </a:solidFill>
            </c:spPr>
            <c:extLst>
              <c:ext xmlns:c16="http://schemas.microsoft.com/office/drawing/2014/chart" uri="{C3380CC4-5D6E-409C-BE32-E72D297353CC}">
                <c16:uniqueId val="{00000505-A7CE-4049-B88B-35FCDA646473}"/>
              </c:ext>
            </c:extLst>
          </c:dPt>
          <c:dPt>
            <c:idx val="642"/>
            <c:invertIfNegative val="1"/>
            <c:bubble3D val="0"/>
            <c:spPr>
              <a:solidFill>
                <a:srgbClr val="AEABAB"/>
              </a:solidFill>
            </c:spPr>
            <c:extLst>
              <c:ext xmlns:c16="http://schemas.microsoft.com/office/drawing/2014/chart" uri="{C3380CC4-5D6E-409C-BE32-E72D297353CC}">
                <c16:uniqueId val="{00000507-A7CE-4049-B88B-35FCDA646473}"/>
              </c:ext>
            </c:extLst>
          </c:dPt>
          <c:dPt>
            <c:idx val="643"/>
            <c:invertIfNegative val="1"/>
            <c:bubble3D val="0"/>
            <c:spPr>
              <a:solidFill>
                <a:srgbClr val="AEABAB"/>
              </a:solidFill>
            </c:spPr>
            <c:extLst>
              <c:ext xmlns:c16="http://schemas.microsoft.com/office/drawing/2014/chart" uri="{C3380CC4-5D6E-409C-BE32-E72D297353CC}">
                <c16:uniqueId val="{00000509-A7CE-4049-B88B-35FCDA646473}"/>
              </c:ext>
            </c:extLst>
          </c:dPt>
          <c:dPt>
            <c:idx val="644"/>
            <c:invertIfNegative val="1"/>
            <c:bubble3D val="0"/>
            <c:spPr>
              <a:solidFill>
                <a:srgbClr val="AEABAB"/>
              </a:solidFill>
            </c:spPr>
            <c:extLst>
              <c:ext xmlns:c16="http://schemas.microsoft.com/office/drawing/2014/chart" uri="{C3380CC4-5D6E-409C-BE32-E72D297353CC}">
                <c16:uniqueId val="{0000050B-A7CE-4049-B88B-35FCDA646473}"/>
              </c:ext>
            </c:extLst>
          </c:dPt>
          <c:dPt>
            <c:idx val="645"/>
            <c:invertIfNegative val="1"/>
            <c:bubble3D val="0"/>
            <c:spPr>
              <a:solidFill>
                <a:srgbClr val="AEABAB"/>
              </a:solidFill>
            </c:spPr>
            <c:extLst>
              <c:ext xmlns:c16="http://schemas.microsoft.com/office/drawing/2014/chart" uri="{C3380CC4-5D6E-409C-BE32-E72D297353CC}">
                <c16:uniqueId val="{0000050D-A7CE-4049-B88B-35FCDA646473}"/>
              </c:ext>
            </c:extLst>
          </c:dPt>
          <c:dPt>
            <c:idx val="646"/>
            <c:invertIfNegative val="1"/>
            <c:bubble3D val="0"/>
            <c:spPr>
              <a:solidFill>
                <a:srgbClr val="AEABAB"/>
              </a:solidFill>
            </c:spPr>
            <c:extLst>
              <c:ext xmlns:c16="http://schemas.microsoft.com/office/drawing/2014/chart" uri="{C3380CC4-5D6E-409C-BE32-E72D297353CC}">
                <c16:uniqueId val="{0000050F-A7CE-4049-B88B-35FCDA646473}"/>
              </c:ext>
            </c:extLst>
          </c:dPt>
          <c:dPt>
            <c:idx val="647"/>
            <c:invertIfNegative val="1"/>
            <c:bubble3D val="0"/>
            <c:spPr>
              <a:solidFill>
                <a:srgbClr val="AEABAB"/>
              </a:solidFill>
            </c:spPr>
            <c:extLst>
              <c:ext xmlns:c16="http://schemas.microsoft.com/office/drawing/2014/chart" uri="{C3380CC4-5D6E-409C-BE32-E72D297353CC}">
                <c16:uniqueId val="{00000511-A7CE-4049-B88B-35FCDA646473}"/>
              </c:ext>
            </c:extLst>
          </c:dPt>
          <c:dPt>
            <c:idx val="648"/>
            <c:invertIfNegative val="1"/>
            <c:bubble3D val="0"/>
            <c:spPr>
              <a:solidFill>
                <a:srgbClr val="AEABAB"/>
              </a:solidFill>
            </c:spPr>
            <c:extLst>
              <c:ext xmlns:c16="http://schemas.microsoft.com/office/drawing/2014/chart" uri="{C3380CC4-5D6E-409C-BE32-E72D297353CC}">
                <c16:uniqueId val="{00000513-A7CE-4049-B88B-35FCDA646473}"/>
              </c:ext>
            </c:extLst>
          </c:dPt>
          <c:dPt>
            <c:idx val="649"/>
            <c:invertIfNegative val="1"/>
            <c:bubble3D val="0"/>
            <c:spPr>
              <a:solidFill>
                <a:srgbClr val="AEABAB"/>
              </a:solidFill>
            </c:spPr>
            <c:extLst>
              <c:ext xmlns:c16="http://schemas.microsoft.com/office/drawing/2014/chart" uri="{C3380CC4-5D6E-409C-BE32-E72D297353CC}">
                <c16:uniqueId val="{00000515-A7CE-4049-B88B-35FCDA646473}"/>
              </c:ext>
            </c:extLst>
          </c:dPt>
          <c:dPt>
            <c:idx val="650"/>
            <c:invertIfNegative val="1"/>
            <c:bubble3D val="0"/>
            <c:spPr>
              <a:solidFill>
                <a:srgbClr val="AEABAB"/>
              </a:solidFill>
            </c:spPr>
            <c:extLst>
              <c:ext xmlns:c16="http://schemas.microsoft.com/office/drawing/2014/chart" uri="{C3380CC4-5D6E-409C-BE32-E72D297353CC}">
                <c16:uniqueId val="{00000517-A7CE-4049-B88B-35FCDA646473}"/>
              </c:ext>
            </c:extLst>
          </c:dPt>
          <c:dPt>
            <c:idx val="651"/>
            <c:invertIfNegative val="1"/>
            <c:bubble3D val="0"/>
            <c:spPr>
              <a:solidFill>
                <a:srgbClr val="AEABAB"/>
              </a:solidFill>
            </c:spPr>
            <c:extLst>
              <c:ext xmlns:c16="http://schemas.microsoft.com/office/drawing/2014/chart" uri="{C3380CC4-5D6E-409C-BE32-E72D297353CC}">
                <c16:uniqueId val="{00000519-A7CE-4049-B88B-35FCDA646473}"/>
              </c:ext>
            </c:extLst>
          </c:dPt>
          <c:dPt>
            <c:idx val="652"/>
            <c:invertIfNegative val="1"/>
            <c:bubble3D val="0"/>
            <c:spPr>
              <a:solidFill>
                <a:srgbClr val="AEABAB"/>
              </a:solidFill>
            </c:spPr>
            <c:extLst>
              <c:ext xmlns:c16="http://schemas.microsoft.com/office/drawing/2014/chart" uri="{C3380CC4-5D6E-409C-BE32-E72D297353CC}">
                <c16:uniqueId val="{0000051B-A7CE-4049-B88B-35FCDA646473}"/>
              </c:ext>
            </c:extLst>
          </c:dPt>
          <c:dPt>
            <c:idx val="653"/>
            <c:invertIfNegative val="1"/>
            <c:bubble3D val="0"/>
            <c:spPr>
              <a:solidFill>
                <a:srgbClr val="AEABAB"/>
              </a:solidFill>
            </c:spPr>
            <c:extLst>
              <c:ext xmlns:c16="http://schemas.microsoft.com/office/drawing/2014/chart" uri="{C3380CC4-5D6E-409C-BE32-E72D297353CC}">
                <c16:uniqueId val="{0000051D-A7CE-4049-B88B-35FCDA646473}"/>
              </c:ext>
            </c:extLst>
          </c:dPt>
          <c:dPt>
            <c:idx val="654"/>
            <c:invertIfNegative val="1"/>
            <c:bubble3D val="0"/>
            <c:spPr>
              <a:solidFill>
                <a:srgbClr val="AEABAB"/>
              </a:solidFill>
            </c:spPr>
            <c:extLst>
              <c:ext xmlns:c16="http://schemas.microsoft.com/office/drawing/2014/chart" uri="{C3380CC4-5D6E-409C-BE32-E72D297353CC}">
                <c16:uniqueId val="{0000051F-A7CE-4049-B88B-35FCDA646473}"/>
              </c:ext>
            </c:extLst>
          </c:dPt>
          <c:dPt>
            <c:idx val="655"/>
            <c:invertIfNegative val="1"/>
            <c:bubble3D val="0"/>
            <c:spPr>
              <a:solidFill>
                <a:srgbClr val="AEABAB"/>
              </a:solidFill>
            </c:spPr>
            <c:extLst>
              <c:ext xmlns:c16="http://schemas.microsoft.com/office/drawing/2014/chart" uri="{C3380CC4-5D6E-409C-BE32-E72D297353CC}">
                <c16:uniqueId val="{00000521-A7CE-4049-B88B-35FCDA646473}"/>
              </c:ext>
            </c:extLst>
          </c:dPt>
          <c:dPt>
            <c:idx val="656"/>
            <c:invertIfNegative val="1"/>
            <c:bubble3D val="0"/>
            <c:spPr>
              <a:solidFill>
                <a:srgbClr val="AEABAB"/>
              </a:solidFill>
            </c:spPr>
            <c:extLst>
              <c:ext xmlns:c16="http://schemas.microsoft.com/office/drawing/2014/chart" uri="{C3380CC4-5D6E-409C-BE32-E72D297353CC}">
                <c16:uniqueId val="{00000523-A7CE-4049-B88B-35FCDA646473}"/>
              </c:ext>
            </c:extLst>
          </c:dPt>
          <c:dPt>
            <c:idx val="657"/>
            <c:invertIfNegative val="1"/>
            <c:bubble3D val="0"/>
            <c:spPr>
              <a:solidFill>
                <a:srgbClr val="AEABAB"/>
              </a:solidFill>
            </c:spPr>
            <c:extLst>
              <c:ext xmlns:c16="http://schemas.microsoft.com/office/drawing/2014/chart" uri="{C3380CC4-5D6E-409C-BE32-E72D297353CC}">
                <c16:uniqueId val="{00000525-A7CE-4049-B88B-35FCDA646473}"/>
              </c:ext>
            </c:extLst>
          </c:dPt>
          <c:dPt>
            <c:idx val="658"/>
            <c:invertIfNegative val="1"/>
            <c:bubble3D val="0"/>
            <c:spPr>
              <a:solidFill>
                <a:srgbClr val="AEABAB"/>
              </a:solidFill>
            </c:spPr>
            <c:extLst>
              <c:ext xmlns:c16="http://schemas.microsoft.com/office/drawing/2014/chart" uri="{C3380CC4-5D6E-409C-BE32-E72D297353CC}">
                <c16:uniqueId val="{00000527-A7CE-4049-B88B-35FCDA646473}"/>
              </c:ext>
            </c:extLst>
          </c:dPt>
          <c:dPt>
            <c:idx val="659"/>
            <c:invertIfNegative val="1"/>
            <c:bubble3D val="0"/>
            <c:spPr>
              <a:solidFill>
                <a:srgbClr val="AEABAB"/>
              </a:solidFill>
            </c:spPr>
            <c:extLst>
              <c:ext xmlns:c16="http://schemas.microsoft.com/office/drawing/2014/chart" uri="{C3380CC4-5D6E-409C-BE32-E72D297353CC}">
                <c16:uniqueId val="{00000529-A7CE-4049-B88B-35FCDA646473}"/>
              </c:ext>
            </c:extLst>
          </c:dPt>
          <c:dPt>
            <c:idx val="660"/>
            <c:invertIfNegative val="1"/>
            <c:bubble3D val="0"/>
            <c:spPr>
              <a:solidFill>
                <a:srgbClr val="AEABAB"/>
              </a:solidFill>
            </c:spPr>
            <c:extLst>
              <c:ext xmlns:c16="http://schemas.microsoft.com/office/drawing/2014/chart" uri="{C3380CC4-5D6E-409C-BE32-E72D297353CC}">
                <c16:uniqueId val="{0000052B-A7CE-4049-B88B-35FCDA646473}"/>
              </c:ext>
            </c:extLst>
          </c:dPt>
          <c:dPt>
            <c:idx val="661"/>
            <c:invertIfNegative val="1"/>
            <c:bubble3D val="0"/>
            <c:spPr>
              <a:solidFill>
                <a:srgbClr val="AEABAB"/>
              </a:solidFill>
            </c:spPr>
            <c:extLst>
              <c:ext xmlns:c16="http://schemas.microsoft.com/office/drawing/2014/chart" uri="{C3380CC4-5D6E-409C-BE32-E72D297353CC}">
                <c16:uniqueId val="{0000052D-A7CE-4049-B88B-35FCDA646473}"/>
              </c:ext>
            </c:extLst>
          </c:dPt>
          <c:dPt>
            <c:idx val="662"/>
            <c:invertIfNegative val="1"/>
            <c:bubble3D val="0"/>
            <c:spPr>
              <a:solidFill>
                <a:srgbClr val="AEABAB"/>
              </a:solidFill>
            </c:spPr>
            <c:extLst>
              <c:ext xmlns:c16="http://schemas.microsoft.com/office/drawing/2014/chart" uri="{C3380CC4-5D6E-409C-BE32-E72D297353CC}">
                <c16:uniqueId val="{0000052F-A7CE-4049-B88B-35FCDA646473}"/>
              </c:ext>
            </c:extLst>
          </c:dPt>
          <c:dPt>
            <c:idx val="663"/>
            <c:invertIfNegative val="1"/>
            <c:bubble3D val="0"/>
            <c:spPr>
              <a:solidFill>
                <a:srgbClr val="AEABAB"/>
              </a:solidFill>
            </c:spPr>
            <c:extLst>
              <c:ext xmlns:c16="http://schemas.microsoft.com/office/drawing/2014/chart" uri="{C3380CC4-5D6E-409C-BE32-E72D297353CC}">
                <c16:uniqueId val="{00000531-A7CE-4049-B88B-35FCDA646473}"/>
              </c:ext>
            </c:extLst>
          </c:dPt>
          <c:dPt>
            <c:idx val="664"/>
            <c:invertIfNegative val="1"/>
            <c:bubble3D val="0"/>
            <c:spPr>
              <a:solidFill>
                <a:srgbClr val="AEABAB"/>
              </a:solidFill>
            </c:spPr>
            <c:extLst>
              <c:ext xmlns:c16="http://schemas.microsoft.com/office/drawing/2014/chart" uri="{C3380CC4-5D6E-409C-BE32-E72D297353CC}">
                <c16:uniqueId val="{00000533-A7CE-4049-B88B-35FCDA646473}"/>
              </c:ext>
            </c:extLst>
          </c:dPt>
          <c:dPt>
            <c:idx val="665"/>
            <c:invertIfNegative val="1"/>
            <c:bubble3D val="0"/>
            <c:spPr>
              <a:solidFill>
                <a:srgbClr val="AEABAB"/>
              </a:solidFill>
            </c:spPr>
            <c:extLst>
              <c:ext xmlns:c16="http://schemas.microsoft.com/office/drawing/2014/chart" uri="{C3380CC4-5D6E-409C-BE32-E72D297353CC}">
                <c16:uniqueId val="{00000535-A7CE-4049-B88B-35FCDA646473}"/>
              </c:ext>
            </c:extLst>
          </c:dPt>
          <c:dPt>
            <c:idx val="666"/>
            <c:invertIfNegative val="1"/>
            <c:bubble3D val="0"/>
            <c:spPr>
              <a:solidFill>
                <a:srgbClr val="AEABAB"/>
              </a:solidFill>
            </c:spPr>
            <c:extLst>
              <c:ext xmlns:c16="http://schemas.microsoft.com/office/drawing/2014/chart" uri="{C3380CC4-5D6E-409C-BE32-E72D297353CC}">
                <c16:uniqueId val="{00000537-A7CE-4049-B88B-35FCDA646473}"/>
              </c:ext>
            </c:extLst>
          </c:dPt>
          <c:dPt>
            <c:idx val="667"/>
            <c:invertIfNegative val="1"/>
            <c:bubble3D val="0"/>
            <c:spPr>
              <a:solidFill>
                <a:srgbClr val="AEABAB"/>
              </a:solidFill>
            </c:spPr>
            <c:extLst>
              <c:ext xmlns:c16="http://schemas.microsoft.com/office/drawing/2014/chart" uri="{C3380CC4-5D6E-409C-BE32-E72D297353CC}">
                <c16:uniqueId val="{00000539-A7CE-4049-B88B-35FCDA646473}"/>
              </c:ext>
            </c:extLst>
          </c:dPt>
          <c:dPt>
            <c:idx val="668"/>
            <c:invertIfNegative val="1"/>
            <c:bubble3D val="0"/>
            <c:spPr>
              <a:solidFill>
                <a:srgbClr val="AEABAB"/>
              </a:solidFill>
            </c:spPr>
            <c:extLst>
              <c:ext xmlns:c16="http://schemas.microsoft.com/office/drawing/2014/chart" uri="{C3380CC4-5D6E-409C-BE32-E72D297353CC}">
                <c16:uniqueId val="{0000053B-A7CE-4049-B88B-35FCDA646473}"/>
              </c:ext>
            </c:extLst>
          </c:dPt>
          <c:dPt>
            <c:idx val="669"/>
            <c:invertIfNegative val="1"/>
            <c:bubble3D val="0"/>
            <c:spPr>
              <a:solidFill>
                <a:srgbClr val="AEABAB"/>
              </a:solidFill>
            </c:spPr>
            <c:extLst>
              <c:ext xmlns:c16="http://schemas.microsoft.com/office/drawing/2014/chart" uri="{C3380CC4-5D6E-409C-BE32-E72D297353CC}">
                <c16:uniqueId val="{0000053D-A7CE-4049-B88B-35FCDA646473}"/>
              </c:ext>
            </c:extLst>
          </c:dPt>
          <c:dPt>
            <c:idx val="670"/>
            <c:invertIfNegative val="1"/>
            <c:bubble3D val="0"/>
            <c:spPr>
              <a:solidFill>
                <a:srgbClr val="AEABAB"/>
              </a:solidFill>
            </c:spPr>
            <c:extLst>
              <c:ext xmlns:c16="http://schemas.microsoft.com/office/drawing/2014/chart" uri="{C3380CC4-5D6E-409C-BE32-E72D297353CC}">
                <c16:uniqueId val="{0000053F-A7CE-4049-B88B-35FCDA646473}"/>
              </c:ext>
            </c:extLst>
          </c:dPt>
          <c:dPt>
            <c:idx val="671"/>
            <c:invertIfNegative val="1"/>
            <c:bubble3D val="0"/>
            <c:spPr>
              <a:solidFill>
                <a:srgbClr val="AEABAB"/>
              </a:solidFill>
            </c:spPr>
            <c:extLst>
              <c:ext xmlns:c16="http://schemas.microsoft.com/office/drawing/2014/chart" uri="{C3380CC4-5D6E-409C-BE32-E72D297353CC}">
                <c16:uniqueId val="{00000541-A7CE-4049-B88B-35FCDA646473}"/>
              </c:ext>
            </c:extLst>
          </c:dPt>
          <c:dPt>
            <c:idx val="672"/>
            <c:invertIfNegative val="1"/>
            <c:bubble3D val="0"/>
            <c:spPr>
              <a:solidFill>
                <a:srgbClr val="AEABAB"/>
              </a:solidFill>
            </c:spPr>
            <c:extLst>
              <c:ext xmlns:c16="http://schemas.microsoft.com/office/drawing/2014/chart" uri="{C3380CC4-5D6E-409C-BE32-E72D297353CC}">
                <c16:uniqueId val="{00000543-A7CE-4049-B88B-35FCDA646473}"/>
              </c:ext>
            </c:extLst>
          </c:dPt>
          <c:dPt>
            <c:idx val="673"/>
            <c:invertIfNegative val="1"/>
            <c:bubble3D val="0"/>
            <c:spPr>
              <a:solidFill>
                <a:srgbClr val="AEABAB"/>
              </a:solidFill>
            </c:spPr>
            <c:extLst>
              <c:ext xmlns:c16="http://schemas.microsoft.com/office/drawing/2014/chart" uri="{C3380CC4-5D6E-409C-BE32-E72D297353CC}">
                <c16:uniqueId val="{00000545-A7CE-4049-B88B-35FCDA646473}"/>
              </c:ext>
            </c:extLst>
          </c:dPt>
          <c:dPt>
            <c:idx val="674"/>
            <c:invertIfNegative val="1"/>
            <c:bubble3D val="0"/>
            <c:spPr>
              <a:solidFill>
                <a:srgbClr val="AEABAB"/>
              </a:solidFill>
            </c:spPr>
            <c:extLst>
              <c:ext xmlns:c16="http://schemas.microsoft.com/office/drawing/2014/chart" uri="{C3380CC4-5D6E-409C-BE32-E72D297353CC}">
                <c16:uniqueId val="{00000547-A7CE-4049-B88B-35FCDA646473}"/>
              </c:ext>
            </c:extLst>
          </c:dPt>
          <c:dPt>
            <c:idx val="675"/>
            <c:invertIfNegative val="1"/>
            <c:bubble3D val="0"/>
            <c:spPr>
              <a:solidFill>
                <a:srgbClr val="AEABAB"/>
              </a:solidFill>
            </c:spPr>
            <c:extLst>
              <c:ext xmlns:c16="http://schemas.microsoft.com/office/drawing/2014/chart" uri="{C3380CC4-5D6E-409C-BE32-E72D297353CC}">
                <c16:uniqueId val="{00000549-A7CE-4049-B88B-35FCDA646473}"/>
              </c:ext>
            </c:extLst>
          </c:dPt>
          <c:dPt>
            <c:idx val="676"/>
            <c:invertIfNegative val="1"/>
            <c:bubble3D val="0"/>
            <c:spPr>
              <a:solidFill>
                <a:srgbClr val="AEABAB"/>
              </a:solidFill>
            </c:spPr>
            <c:extLst>
              <c:ext xmlns:c16="http://schemas.microsoft.com/office/drawing/2014/chart" uri="{C3380CC4-5D6E-409C-BE32-E72D297353CC}">
                <c16:uniqueId val="{0000054B-A7CE-4049-B88B-35FCDA646473}"/>
              </c:ext>
            </c:extLst>
          </c:dPt>
          <c:dPt>
            <c:idx val="677"/>
            <c:invertIfNegative val="1"/>
            <c:bubble3D val="0"/>
            <c:spPr>
              <a:solidFill>
                <a:srgbClr val="AEABAB"/>
              </a:solidFill>
            </c:spPr>
            <c:extLst>
              <c:ext xmlns:c16="http://schemas.microsoft.com/office/drawing/2014/chart" uri="{C3380CC4-5D6E-409C-BE32-E72D297353CC}">
                <c16:uniqueId val="{0000054D-A7CE-4049-B88B-35FCDA646473}"/>
              </c:ext>
            </c:extLst>
          </c:dPt>
          <c:dPt>
            <c:idx val="678"/>
            <c:invertIfNegative val="1"/>
            <c:bubble3D val="0"/>
            <c:spPr>
              <a:solidFill>
                <a:srgbClr val="AEABAB"/>
              </a:solidFill>
            </c:spPr>
            <c:extLst>
              <c:ext xmlns:c16="http://schemas.microsoft.com/office/drawing/2014/chart" uri="{C3380CC4-5D6E-409C-BE32-E72D297353CC}">
                <c16:uniqueId val="{0000054F-A7CE-4049-B88B-35FCDA646473}"/>
              </c:ext>
            </c:extLst>
          </c:dPt>
          <c:dPt>
            <c:idx val="679"/>
            <c:invertIfNegative val="1"/>
            <c:bubble3D val="0"/>
            <c:spPr>
              <a:solidFill>
                <a:srgbClr val="AEABAB"/>
              </a:solidFill>
            </c:spPr>
            <c:extLst>
              <c:ext xmlns:c16="http://schemas.microsoft.com/office/drawing/2014/chart" uri="{C3380CC4-5D6E-409C-BE32-E72D297353CC}">
                <c16:uniqueId val="{00000551-A7CE-4049-B88B-35FCDA646473}"/>
              </c:ext>
            </c:extLst>
          </c:dPt>
          <c:dPt>
            <c:idx val="680"/>
            <c:invertIfNegative val="1"/>
            <c:bubble3D val="0"/>
            <c:spPr>
              <a:solidFill>
                <a:srgbClr val="AEABAB"/>
              </a:solidFill>
            </c:spPr>
            <c:extLst>
              <c:ext xmlns:c16="http://schemas.microsoft.com/office/drawing/2014/chart" uri="{C3380CC4-5D6E-409C-BE32-E72D297353CC}">
                <c16:uniqueId val="{00000553-A7CE-4049-B88B-35FCDA646473}"/>
              </c:ext>
            </c:extLst>
          </c:dPt>
          <c:dPt>
            <c:idx val="681"/>
            <c:invertIfNegative val="1"/>
            <c:bubble3D val="0"/>
            <c:spPr>
              <a:solidFill>
                <a:srgbClr val="AEABAB"/>
              </a:solidFill>
            </c:spPr>
            <c:extLst>
              <c:ext xmlns:c16="http://schemas.microsoft.com/office/drawing/2014/chart" uri="{C3380CC4-5D6E-409C-BE32-E72D297353CC}">
                <c16:uniqueId val="{00000555-A7CE-4049-B88B-35FCDA646473}"/>
              </c:ext>
            </c:extLst>
          </c:dPt>
          <c:dPt>
            <c:idx val="682"/>
            <c:invertIfNegative val="1"/>
            <c:bubble3D val="0"/>
            <c:spPr>
              <a:solidFill>
                <a:srgbClr val="AEABAB"/>
              </a:solidFill>
            </c:spPr>
            <c:extLst>
              <c:ext xmlns:c16="http://schemas.microsoft.com/office/drawing/2014/chart" uri="{C3380CC4-5D6E-409C-BE32-E72D297353CC}">
                <c16:uniqueId val="{00000557-A7CE-4049-B88B-35FCDA646473}"/>
              </c:ext>
            </c:extLst>
          </c:dPt>
          <c:dPt>
            <c:idx val="683"/>
            <c:invertIfNegative val="1"/>
            <c:bubble3D val="0"/>
            <c:spPr>
              <a:solidFill>
                <a:srgbClr val="AEABAB"/>
              </a:solidFill>
            </c:spPr>
            <c:extLst>
              <c:ext xmlns:c16="http://schemas.microsoft.com/office/drawing/2014/chart" uri="{C3380CC4-5D6E-409C-BE32-E72D297353CC}">
                <c16:uniqueId val="{00000559-A7CE-4049-B88B-35FCDA646473}"/>
              </c:ext>
            </c:extLst>
          </c:dPt>
          <c:dPt>
            <c:idx val="684"/>
            <c:invertIfNegative val="1"/>
            <c:bubble3D val="0"/>
            <c:spPr>
              <a:solidFill>
                <a:srgbClr val="AEABAB"/>
              </a:solidFill>
            </c:spPr>
            <c:extLst>
              <c:ext xmlns:c16="http://schemas.microsoft.com/office/drawing/2014/chart" uri="{C3380CC4-5D6E-409C-BE32-E72D297353CC}">
                <c16:uniqueId val="{0000055B-A7CE-4049-B88B-35FCDA646473}"/>
              </c:ext>
            </c:extLst>
          </c:dPt>
          <c:dPt>
            <c:idx val="685"/>
            <c:invertIfNegative val="1"/>
            <c:bubble3D val="0"/>
            <c:spPr>
              <a:solidFill>
                <a:srgbClr val="AEABAB"/>
              </a:solidFill>
            </c:spPr>
            <c:extLst>
              <c:ext xmlns:c16="http://schemas.microsoft.com/office/drawing/2014/chart" uri="{C3380CC4-5D6E-409C-BE32-E72D297353CC}">
                <c16:uniqueId val="{0000055D-A7CE-4049-B88B-35FCDA646473}"/>
              </c:ext>
            </c:extLst>
          </c:dPt>
          <c:dPt>
            <c:idx val="686"/>
            <c:invertIfNegative val="1"/>
            <c:bubble3D val="0"/>
            <c:spPr>
              <a:solidFill>
                <a:srgbClr val="AEABAB"/>
              </a:solidFill>
            </c:spPr>
            <c:extLst>
              <c:ext xmlns:c16="http://schemas.microsoft.com/office/drawing/2014/chart" uri="{C3380CC4-5D6E-409C-BE32-E72D297353CC}">
                <c16:uniqueId val="{0000055F-A7CE-4049-B88B-35FCDA646473}"/>
              </c:ext>
            </c:extLst>
          </c:dPt>
          <c:dPt>
            <c:idx val="687"/>
            <c:invertIfNegative val="1"/>
            <c:bubble3D val="0"/>
            <c:spPr>
              <a:solidFill>
                <a:srgbClr val="AEABAB"/>
              </a:solidFill>
            </c:spPr>
            <c:extLst>
              <c:ext xmlns:c16="http://schemas.microsoft.com/office/drawing/2014/chart" uri="{C3380CC4-5D6E-409C-BE32-E72D297353CC}">
                <c16:uniqueId val="{00000561-A7CE-4049-B88B-35FCDA646473}"/>
              </c:ext>
            </c:extLst>
          </c:dPt>
          <c:dPt>
            <c:idx val="688"/>
            <c:invertIfNegative val="1"/>
            <c:bubble3D val="0"/>
            <c:spPr>
              <a:solidFill>
                <a:srgbClr val="AEABAB"/>
              </a:solidFill>
            </c:spPr>
            <c:extLst>
              <c:ext xmlns:c16="http://schemas.microsoft.com/office/drawing/2014/chart" uri="{C3380CC4-5D6E-409C-BE32-E72D297353CC}">
                <c16:uniqueId val="{00000563-A7CE-4049-B88B-35FCDA646473}"/>
              </c:ext>
            </c:extLst>
          </c:dPt>
          <c:dPt>
            <c:idx val="689"/>
            <c:invertIfNegative val="1"/>
            <c:bubble3D val="0"/>
            <c:spPr>
              <a:solidFill>
                <a:srgbClr val="AEABAB"/>
              </a:solidFill>
            </c:spPr>
            <c:extLst>
              <c:ext xmlns:c16="http://schemas.microsoft.com/office/drawing/2014/chart" uri="{C3380CC4-5D6E-409C-BE32-E72D297353CC}">
                <c16:uniqueId val="{00000565-A7CE-4049-B88B-35FCDA646473}"/>
              </c:ext>
            </c:extLst>
          </c:dPt>
          <c:dPt>
            <c:idx val="690"/>
            <c:invertIfNegative val="1"/>
            <c:bubble3D val="0"/>
            <c:spPr>
              <a:solidFill>
                <a:srgbClr val="AEABAB"/>
              </a:solidFill>
            </c:spPr>
            <c:extLst>
              <c:ext xmlns:c16="http://schemas.microsoft.com/office/drawing/2014/chart" uri="{C3380CC4-5D6E-409C-BE32-E72D297353CC}">
                <c16:uniqueId val="{00000567-A7CE-4049-B88B-35FCDA646473}"/>
              </c:ext>
            </c:extLst>
          </c:dPt>
          <c:dPt>
            <c:idx val="691"/>
            <c:invertIfNegative val="1"/>
            <c:bubble3D val="0"/>
            <c:spPr>
              <a:solidFill>
                <a:srgbClr val="AEABAB"/>
              </a:solidFill>
            </c:spPr>
            <c:extLst>
              <c:ext xmlns:c16="http://schemas.microsoft.com/office/drawing/2014/chart" uri="{C3380CC4-5D6E-409C-BE32-E72D297353CC}">
                <c16:uniqueId val="{00000569-A7CE-4049-B88B-35FCDA646473}"/>
              </c:ext>
            </c:extLst>
          </c:dPt>
          <c:dPt>
            <c:idx val="692"/>
            <c:invertIfNegative val="1"/>
            <c:bubble3D val="0"/>
            <c:spPr>
              <a:solidFill>
                <a:srgbClr val="AEABAB"/>
              </a:solidFill>
            </c:spPr>
            <c:extLst>
              <c:ext xmlns:c16="http://schemas.microsoft.com/office/drawing/2014/chart" uri="{C3380CC4-5D6E-409C-BE32-E72D297353CC}">
                <c16:uniqueId val="{0000056B-A7CE-4049-B88B-35FCDA646473}"/>
              </c:ext>
            </c:extLst>
          </c:dPt>
          <c:dPt>
            <c:idx val="693"/>
            <c:invertIfNegative val="1"/>
            <c:bubble3D val="0"/>
            <c:spPr>
              <a:solidFill>
                <a:srgbClr val="AEABAB"/>
              </a:solidFill>
            </c:spPr>
            <c:extLst>
              <c:ext xmlns:c16="http://schemas.microsoft.com/office/drawing/2014/chart" uri="{C3380CC4-5D6E-409C-BE32-E72D297353CC}">
                <c16:uniqueId val="{0000056D-A7CE-4049-B88B-35FCDA646473}"/>
              </c:ext>
            </c:extLst>
          </c:dPt>
          <c:dPt>
            <c:idx val="694"/>
            <c:invertIfNegative val="1"/>
            <c:bubble3D val="0"/>
            <c:spPr>
              <a:solidFill>
                <a:srgbClr val="AEABAB"/>
              </a:solidFill>
            </c:spPr>
            <c:extLst>
              <c:ext xmlns:c16="http://schemas.microsoft.com/office/drawing/2014/chart" uri="{C3380CC4-5D6E-409C-BE32-E72D297353CC}">
                <c16:uniqueId val="{0000056F-A7CE-4049-B88B-35FCDA646473}"/>
              </c:ext>
            </c:extLst>
          </c:dPt>
          <c:dPt>
            <c:idx val="695"/>
            <c:invertIfNegative val="1"/>
            <c:bubble3D val="0"/>
            <c:spPr>
              <a:solidFill>
                <a:srgbClr val="AEABAB"/>
              </a:solidFill>
            </c:spPr>
            <c:extLst>
              <c:ext xmlns:c16="http://schemas.microsoft.com/office/drawing/2014/chart" uri="{C3380CC4-5D6E-409C-BE32-E72D297353CC}">
                <c16:uniqueId val="{00000571-A7CE-4049-B88B-35FCDA646473}"/>
              </c:ext>
            </c:extLst>
          </c:dPt>
          <c:dPt>
            <c:idx val="696"/>
            <c:invertIfNegative val="1"/>
            <c:bubble3D val="0"/>
            <c:spPr>
              <a:solidFill>
                <a:srgbClr val="AEABAB"/>
              </a:solidFill>
            </c:spPr>
            <c:extLst>
              <c:ext xmlns:c16="http://schemas.microsoft.com/office/drawing/2014/chart" uri="{C3380CC4-5D6E-409C-BE32-E72D297353CC}">
                <c16:uniqueId val="{00000573-A7CE-4049-B88B-35FCDA646473}"/>
              </c:ext>
            </c:extLst>
          </c:dPt>
          <c:dPt>
            <c:idx val="697"/>
            <c:invertIfNegative val="1"/>
            <c:bubble3D val="0"/>
            <c:spPr>
              <a:solidFill>
                <a:srgbClr val="AEABAB"/>
              </a:solidFill>
            </c:spPr>
            <c:extLst>
              <c:ext xmlns:c16="http://schemas.microsoft.com/office/drawing/2014/chart" uri="{C3380CC4-5D6E-409C-BE32-E72D297353CC}">
                <c16:uniqueId val="{00000575-A7CE-4049-B88B-35FCDA646473}"/>
              </c:ext>
            </c:extLst>
          </c:dPt>
          <c:dPt>
            <c:idx val="698"/>
            <c:invertIfNegative val="1"/>
            <c:bubble3D val="0"/>
            <c:spPr>
              <a:solidFill>
                <a:srgbClr val="AEABAB"/>
              </a:solidFill>
            </c:spPr>
            <c:extLst>
              <c:ext xmlns:c16="http://schemas.microsoft.com/office/drawing/2014/chart" uri="{C3380CC4-5D6E-409C-BE32-E72D297353CC}">
                <c16:uniqueId val="{00000577-A7CE-4049-B88B-35FCDA646473}"/>
              </c:ext>
            </c:extLst>
          </c:dPt>
          <c:dPt>
            <c:idx val="699"/>
            <c:invertIfNegative val="1"/>
            <c:bubble3D val="0"/>
            <c:spPr>
              <a:solidFill>
                <a:srgbClr val="AEABAB"/>
              </a:solidFill>
            </c:spPr>
            <c:extLst>
              <c:ext xmlns:c16="http://schemas.microsoft.com/office/drawing/2014/chart" uri="{C3380CC4-5D6E-409C-BE32-E72D297353CC}">
                <c16:uniqueId val="{00000579-A7CE-4049-B88B-35FCDA646473}"/>
              </c:ext>
            </c:extLst>
          </c:dPt>
          <c:dPt>
            <c:idx val="700"/>
            <c:invertIfNegative val="1"/>
            <c:bubble3D val="0"/>
            <c:spPr>
              <a:solidFill>
                <a:srgbClr val="AEABAB"/>
              </a:solidFill>
            </c:spPr>
            <c:extLst>
              <c:ext xmlns:c16="http://schemas.microsoft.com/office/drawing/2014/chart" uri="{C3380CC4-5D6E-409C-BE32-E72D297353CC}">
                <c16:uniqueId val="{0000057B-A7CE-4049-B88B-35FCDA646473}"/>
              </c:ext>
            </c:extLst>
          </c:dPt>
          <c:dPt>
            <c:idx val="701"/>
            <c:invertIfNegative val="1"/>
            <c:bubble3D val="0"/>
            <c:spPr>
              <a:solidFill>
                <a:srgbClr val="AEABAB"/>
              </a:solidFill>
            </c:spPr>
            <c:extLst>
              <c:ext xmlns:c16="http://schemas.microsoft.com/office/drawing/2014/chart" uri="{C3380CC4-5D6E-409C-BE32-E72D297353CC}">
                <c16:uniqueId val="{0000057D-A7CE-4049-B88B-35FCDA646473}"/>
              </c:ext>
            </c:extLst>
          </c:dPt>
          <c:dPt>
            <c:idx val="702"/>
            <c:invertIfNegative val="1"/>
            <c:bubble3D val="0"/>
            <c:spPr>
              <a:solidFill>
                <a:srgbClr val="AEABAB"/>
              </a:solidFill>
            </c:spPr>
            <c:extLst>
              <c:ext xmlns:c16="http://schemas.microsoft.com/office/drawing/2014/chart" uri="{C3380CC4-5D6E-409C-BE32-E72D297353CC}">
                <c16:uniqueId val="{0000057F-A7CE-4049-B88B-35FCDA646473}"/>
              </c:ext>
            </c:extLst>
          </c:dPt>
          <c:dPt>
            <c:idx val="703"/>
            <c:invertIfNegative val="1"/>
            <c:bubble3D val="0"/>
            <c:spPr>
              <a:solidFill>
                <a:srgbClr val="AEABAB"/>
              </a:solidFill>
            </c:spPr>
            <c:extLst>
              <c:ext xmlns:c16="http://schemas.microsoft.com/office/drawing/2014/chart" uri="{C3380CC4-5D6E-409C-BE32-E72D297353CC}">
                <c16:uniqueId val="{00000581-A7CE-4049-B88B-35FCDA646473}"/>
              </c:ext>
            </c:extLst>
          </c:dPt>
          <c:dPt>
            <c:idx val="704"/>
            <c:invertIfNegative val="1"/>
            <c:bubble3D val="0"/>
            <c:spPr>
              <a:solidFill>
                <a:srgbClr val="AEABAB"/>
              </a:solidFill>
            </c:spPr>
            <c:extLst>
              <c:ext xmlns:c16="http://schemas.microsoft.com/office/drawing/2014/chart" uri="{C3380CC4-5D6E-409C-BE32-E72D297353CC}">
                <c16:uniqueId val="{00000583-A7CE-4049-B88B-35FCDA646473}"/>
              </c:ext>
            </c:extLst>
          </c:dPt>
          <c:dPt>
            <c:idx val="705"/>
            <c:invertIfNegative val="1"/>
            <c:bubble3D val="0"/>
            <c:spPr>
              <a:solidFill>
                <a:srgbClr val="AEABAB"/>
              </a:solidFill>
            </c:spPr>
            <c:extLst>
              <c:ext xmlns:c16="http://schemas.microsoft.com/office/drawing/2014/chart" uri="{C3380CC4-5D6E-409C-BE32-E72D297353CC}">
                <c16:uniqueId val="{00000585-A7CE-4049-B88B-35FCDA646473}"/>
              </c:ext>
            </c:extLst>
          </c:dPt>
          <c:dPt>
            <c:idx val="706"/>
            <c:invertIfNegative val="1"/>
            <c:bubble3D val="0"/>
            <c:spPr>
              <a:solidFill>
                <a:srgbClr val="AEABAB"/>
              </a:solidFill>
            </c:spPr>
            <c:extLst>
              <c:ext xmlns:c16="http://schemas.microsoft.com/office/drawing/2014/chart" uri="{C3380CC4-5D6E-409C-BE32-E72D297353CC}">
                <c16:uniqueId val="{00000587-A7CE-4049-B88B-35FCDA646473}"/>
              </c:ext>
            </c:extLst>
          </c:dPt>
          <c:dPt>
            <c:idx val="707"/>
            <c:invertIfNegative val="1"/>
            <c:bubble3D val="0"/>
            <c:spPr>
              <a:solidFill>
                <a:srgbClr val="AEABAB"/>
              </a:solidFill>
            </c:spPr>
            <c:extLst>
              <c:ext xmlns:c16="http://schemas.microsoft.com/office/drawing/2014/chart" uri="{C3380CC4-5D6E-409C-BE32-E72D297353CC}">
                <c16:uniqueId val="{00000589-A7CE-4049-B88B-35FCDA646473}"/>
              </c:ext>
            </c:extLst>
          </c:dPt>
          <c:dPt>
            <c:idx val="708"/>
            <c:invertIfNegative val="1"/>
            <c:bubble3D val="0"/>
            <c:spPr>
              <a:solidFill>
                <a:srgbClr val="AEABAB"/>
              </a:solidFill>
            </c:spPr>
            <c:extLst>
              <c:ext xmlns:c16="http://schemas.microsoft.com/office/drawing/2014/chart" uri="{C3380CC4-5D6E-409C-BE32-E72D297353CC}">
                <c16:uniqueId val="{0000058B-A7CE-4049-B88B-35FCDA646473}"/>
              </c:ext>
            </c:extLst>
          </c:dPt>
          <c:dPt>
            <c:idx val="709"/>
            <c:invertIfNegative val="1"/>
            <c:bubble3D val="0"/>
            <c:spPr>
              <a:solidFill>
                <a:srgbClr val="AEABAB"/>
              </a:solidFill>
            </c:spPr>
            <c:extLst>
              <c:ext xmlns:c16="http://schemas.microsoft.com/office/drawing/2014/chart" uri="{C3380CC4-5D6E-409C-BE32-E72D297353CC}">
                <c16:uniqueId val="{0000058D-A7CE-4049-B88B-35FCDA646473}"/>
              </c:ext>
            </c:extLst>
          </c:dPt>
          <c:dPt>
            <c:idx val="710"/>
            <c:invertIfNegative val="1"/>
            <c:bubble3D val="0"/>
            <c:spPr>
              <a:solidFill>
                <a:srgbClr val="AEABAB"/>
              </a:solidFill>
            </c:spPr>
            <c:extLst>
              <c:ext xmlns:c16="http://schemas.microsoft.com/office/drawing/2014/chart" uri="{C3380CC4-5D6E-409C-BE32-E72D297353CC}">
                <c16:uniqueId val="{0000058F-A7CE-4049-B88B-35FCDA646473}"/>
              </c:ext>
            </c:extLst>
          </c:dPt>
          <c:dPt>
            <c:idx val="711"/>
            <c:invertIfNegative val="1"/>
            <c:bubble3D val="0"/>
            <c:spPr>
              <a:solidFill>
                <a:srgbClr val="AEABAB"/>
              </a:solidFill>
            </c:spPr>
            <c:extLst>
              <c:ext xmlns:c16="http://schemas.microsoft.com/office/drawing/2014/chart" uri="{C3380CC4-5D6E-409C-BE32-E72D297353CC}">
                <c16:uniqueId val="{00000591-A7CE-4049-B88B-35FCDA646473}"/>
              </c:ext>
            </c:extLst>
          </c:dPt>
          <c:dPt>
            <c:idx val="712"/>
            <c:invertIfNegative val="1"/>
            <c:bubble3D val="0"/>
            <c:spPr>
              <a:solidFill>
                <a:srgbClr val="AEABAB"/>
              </a:solidFill>
            </c:spPr>
            <c:extLst>
              <c:ext xmlns:c16="http://schemas.microsoft.com/office/drawing/2014/chart" uri="{C3380CC4-5D6E-409C-BE32-E72D297353CC}">
                <c16:uniqueId val="{00000593-A7CE-4049-B88B-35FCDA646473}"/>
              </c:ext>
            </c:extLst>
          </c:dPt>
          <c:dPt>
            <c:idx val="713"/>
            <c:invertIfNegative val="1"/>
            <c:bubble3D val="0"/>
            <c:spPr>
              <a:solidFill>
                <a:srgbClr val="AEABAB"/>
              </a:solidFill>
            </c:spPr>
            <c:extLst>
              <c:ext xmlns:c16="http://schemas.microsoft.com/office/drawing/2014/chart" uri="{C3380CC4-5D6E-409C-BE32-E72D297353CC}">
                <c16:uniqueId val="{00000595-A7CE-4049-B88B-35FCDA646473}"/>
              </c:ext>
            </c:extLst>
          </c:dPt>
          <c:dPt>
            <c:idx val="714"/>
            <c:invertIfNegative val="1"/>
            <c:bubble3D val="0"/>
            <c:spPr>
              <a:solidFill>
                <a:srgbClr val="AEABAB"/>
              </a:solidFill>
            </c:spPr>
            <c:extLst>
              <c:ext xmlns:c16="http://schemas.microsoft.com/office/drawing/2014/chart" uri="{C3380CC4-5D6E-409C-BE32-E72D297353CC}">
                <c16:uniqueId val="{00000597-A7CE-4049-B88B-35FCDA646473}"/>
              </c:ext>
            </c:extLst>
          </c:dPt>
          <c:dPt>
            <c:idx val="715"/>
            <c:invertIfNegative val="1"/>
            <c:bubble3D val="0"/>
            <c:spPr>
              <a:solidFill>
                <a:srgbClr val="AEABAB"/>
              </a:solidFill>
            </c:spPr>
            <c:extLst>
              <c:ext xmlns:c16="http://schemas.microsoft.com/office/drawing/2014/chart" uri="{C3380CC4-5D6E-409C-BE32-E72D297353CC}">
                <c16:uniqueId val="{00000599-A7CE-4049-B88B-35FCDA646473}"/>
              </c:ext>
            </c:extLst>
          </c:dPt>
          <c:dPt>
            <c:idx val="716"/>
            <c:invertIfNegative val="1"/>
            <c:bubble3D val="0"/>
            <c:spPr>
              <a:solidFill>
                <a:srgbClr val="AEABAB"/>
              </a:solidFill>
            </c:spPr>
            <c:extLst>
              <c:ext xmlns:c16="http://schemas.microsoft.com/office/drawing/2014/chart" uri="{C3380CC4-5D6E-409C-BE32-E72D297353CC}">
                <c16:uniqueId val="{0000059B-A7CE-4049-B88B-35FCDA646473}"/>
              </c:ext>
            </c:extLst>
          </c:dPt>
          <c:dPt>
            <c:idx val="717"/>
            <c:invertIfNegative val="1"/>
            <c:bubble3D val="0"/>
            <c:spPr>
              <a:solidFill>
                <a:srgbClr val="AEABAB"/>
              </a:solidFill>
            </c:spPr>
            <c:extLst>
              <c:ext xmlns:c16="http://schemas.microsoft.com/office/drawing/2014/chart" uri="{C3380CC4-5D6E-409C-BE32-E72D297353CC}">
                <c16:uniqueId val="{0000059D-A7CE-4049-B88B-35FCDA646473}"/>
              </c:ext>
            </c:extLst>
          </c:dPt>
          <c:dPt>
            <c:idx val="718"/>
            <c:invertIfNegative val="1"/>
            <c:bubble3D val="0"/>
            <c:spPr>
              <a:solidFill>
                <a:srgbClr val="AEABAB"/>
              </a:solidFill>
            </c:spPr>
            <c:extLst>
              <c:ext xmlns:c16="http://schemas.microsoft.com/office/drawing/2014/chart" uri="{C3380CC4-5D6E-409C-BE32-E72D297353CC}">
                <c16:uniqueId val="{0000059F-A7CE-4049-B88B-35FCDA646473}"/>
              </c:ext>
            </c:extLst>
          </c:dPt>
          <c:dPt>
            <c:idx val="719"/>
            <c:invertIfNegative val="1"/>
            <c:bubble3D val="0"/>
            <c:spPr>
              <a:solidFill>
                <a:srgbClr val="AEABAB"/>
              </a:solidFill>
            </c:spPr>
            <c:extLst>
              <c:ext xmlns:c16="http://schemas.microsoft.com/office/drawing/2014/chart" uri="{C3380CC4-5D6E-409C-BE32-E72D297353CC}">
                <c16:uniqueId val="{000005A1-A7CE-4049-B88B-35FCDA646473}"/>
              </c:ext>
            </c:extLst>
          </c:dPt>
          <c:dPt>
            <c:idx val="720"/>
            <c:invertIfNegative val="1"/>
            <c:bubble3D val="0"/>
            <c:spPr>
              <a:solidFill>
                <a:srgbClr val="AEABAB"/>
              </a:solidFill>
            </c:spPr>
            <c:extLst>
              <c:ext xmlns:c16="http://schemas.microsoft.com/office/drawing/2014/chart" uri="{C3380CC4-5D6E-409C-BE32-E72D297353CC}">
                <c16:uniqueId val="{000005A3-A7CE-4049-B88B-35FCDA646473}"/>
              </c:ext>
            </c:extLst>
          </c:dPt>
          <c:dPt>
            <c:idx val="721"/>
            <c:invertIfNegative val="1"/>
            <c:bubble3D val="0"/>
            <c:spPr>
              <a:solidFill>
                <a:srgbClr val="AEABAB"/>
              </a:solidFill>
            </c:spPr>
            <c:extLst>
              <c:ext xmlns:c16="http://schemas.microsoft.com/office/drawing/2014/chart" uri="{C3380CC4-5D6E-409C-BE32-E72D297353CC}">
                <c16:uniqueId val="{000005A5-A7CE-4049-B88B-35FCDA646473}"/>
              </c:ext>
            </c:extLst>
          </c:dPt>
          <c:dPt>
            <c:idx val="722"/>
            <c:invertIfNegative val="1"/>
            <c:bubble3D val="0"/>
            <c:spPr>
              <a:solidFill>
                <a:srgbClr val="AEABAB"/>
              </a:solidFill>
            </c:spPr>
            <c:extLst>
              <c:ext xmlns:c16="http://schemas.microsoft.com/office/drawing/2014/chart" uri="{C3380CC4-5D6E-409C-BE32-E72D297353CC}">
                <c16:uniqueId val="{000005A7-A7CE-4049-B88B-35FCDA646473}"/>
              </c:ext>
            </c:extLst>
          </c:dPt>
          <c:dPt>
            <c:idx val="723"/>
            <c:invertIfNegative val="1"/>
            <c:bubble3D val="0"/>
            <c:spPr>
              <a:solidFill>
                <a:srgbClr val="AEABAB"/>
              </a:solidFill>
            </c:spPr>
            <c:extLst>
              <c:ext xmlns:c16="http://schemas.microsoft.com/office/drawing/2014/chart" uri="{C3380CC4-5D6E-409C-BE32-E72D297353CC}">
                <c16:uniqueId val="{000005A9-A7CE-4049-B88B-35FCDA646473}"/>
              </c:ext>
            </c:extLst>
          </c:dPt>
          <c:dPt>
            <c:idx val="724"/>
            <c:invertIfNegative val="1"/>
            <c:bubble3D val="0"/>
            <c:spPr>
              <a:solidFill>
                <a:srgbClr val="AEABAB"/>
              </a:solidFill>
            </c:spPr>
            <c:extLst>
              <c:ext xmlns:c16="http://schemas.microsoft.com/office/drawing/2014/chart" uri="{C3380CC4-5D6E-409C-BE32-E72D297353CC}">
                <c16:uniqueId val="{000005AB-A7CE-4049-B88B-35FCDA646473}"/>
              </c:ext>
            </c:extLst>
          </c:dPt>
          <c:dPt>
            <c:idx val="725"/>
            <c:invertIfNegative val="1"/>
            <c:bubble3D val="0"/>
            <c:spPr>
              <a:solidFill>
                <a:srgbClr val="AEABAB"/>
              </a:solidFill>
            </c:spPr>
            <c:extLst>
              <c:ext xmlns:c16="http://schemas.microsoft.com/office/drawing/2014/chart" uri="{C3380CC4-5D6E-409C-BE32-E72D297353CC}">
                <c16:uniqueId val="{000005AD-A7CE-4049-B88B-35FCDA646473}"/>
              </c:ext>
            </c:extLst>
          </c:dPt>
          <c:dPt>
            <c:idx val="726"/>
            <c:invertIfNegative val="1"/>
            <c:bubble3D val="0"/>
            <c:spPr>
              <a:solidFill>
                <a:srgbClr val="AEABAB"/>
              </a:solidFill>
            </c:spPr>
            <c:extLst>
              <c:ext xmlns:c16="http://schemas.microsoft.com/office/drawing/2014/chart" uri="{C3380CC4-5D6E-409C-BE32-E72D297353CC}">
                <c16:uniqueId val="{000005AF-A7CE-4049-B88B-35FCDA646473}"/>
              </c:ext>
            </c:extLst>
          </c:dPt>
          <c:dPt>
            <c:idx val="727"/>
            <c:invertIfNegative val="1"/>
            <c:bubble3D val="0"/>
            <c:spPr>
              <a:solidFill>
                <a:srgbClr val="AEABAB"/>
              </a:solidFill>
            </c:spPr>
            <c:extLst>
              <c:ext xmlns:c16="http://schemas.microsoft.com/office/drawing/2014/chart" uri="{C3380CC4-5D6E-409C-BE32-E72D297353CC}">
                <c16:uniqueId val="{000005B1-A7CE-4049-B88B-35FCDA646473}"/>
              </c:ext>
            </c:extLst>
          </c:dPt>
          <c:dPt>
            <c:idx val="728"/>
            <c:invertIfNegative val="1"/>
            <c:bubble3D val="0"/>
            <c:spPr>
              <a:solidFill>
                <a:srgbClr val="AEABAB"/>
              </a:solidFill>
            </c:spPr>
            <c:extLst>
              <c:ext xmlns:c16="http://schemas.microsoft.com/office/drawing/2014/chart" uri="{C3380CC4-5D6E-409C-BE32-E72D297353CC}">
                <c16:uniqueId val="{000005B3-A7CE-4049-B88B-35FCDA646473}"/>
              </c:ext>
            </c:extLst>
          </c:dPt>
          <c:dPt>
            <c:idx val="729"/>
            <c:invertIfNegative val="1"/>
            <c:bubble3D val="0"/>
            <c:spPr>
              <a:solidFill>
                <a:srgbClr val="AEABAB"/>
              </a:solidFill>
            </c:spPr>
            <c:extLst>
              <c:ext xmlns:c16="http://schemas.microsoft.com/office/drawing/2014/chart" uri="{C3380CC4-5D6E-409C-BE32-E72D297353CC}">
                <c16:uniqueId val="{000005B5-A7CE-4049-B88B-35FCDA646473}"/>
              </c:ext>
            </c:extLst>
          </c:dPt>
          <c:dPt>
            <c:idx val="730"/>
            <c:invertIfNegative val="1"/>
            <c:bubble3D val="0"/>
            <c:spPr>
              <a:solidFill>
                <a:srgbClr val="AEABAB"/>
              </a:solidFill>
            </c:spPr>
            <c:extLst>
              <c:ext xmlns:c16="http://schemas.microsoft.com/office/drawing/2014/chart" uri="{C3380CC4-5D6E-409C-BE32-E72D297353CC}">
                <c16:uniqueId val="{000005B7-A7CE-4049-B88B-35FCDA646473}"/>
              </c:ext>
            </c:extLst>
          </c:dPt>
          <c:dPt>
            <c:idx val="731"/>
            <c:invertIfNegative val="1"/>
            <c:bubble3D val="0"/>
            <c:spPr>
              <a:solidFill>
                <a:srgbClr val="AEABAB"/>
              </a:solidFill>
            </c:spPr>
            <c:extLst>
              <c:ext xmlns:c16="http://schemas.microsoft.com/office/drawing/2014/chart" uri="{C3380CC4-5D6E-409C-BE32-E72D297353CC}">
                <c16:uniqueId val="{000005B9-A7CE-4049-B88B-35FCDA646473}"/>
              </c:ext>
            </c:extLst>
          </c:dPt>
          <c:dPt>
            <c:idx val="732"/>
            <c:invertIfNegative val="1"/>
            <c:bubble3D val="0"/>
            <c:spPr>
              <a:solidFill>
                <a:srgbClr val="AEABAB"/>
              </a:solidFill>
            </c:spPr>
            <c:extLst>
              <c:ext xmlns:c16="http://schemas.microsoft.com/office/drawing/2014/chart" uri="{C3380CC4-5D6E-409C-BE32-E72D297353CC}">
                <c16:uniqueId val="{000005BB-A7CE-4049-B88B-35FCDA646473}"/>
              </c:ext>
            </c:extLst>
          </c:dPt>
          <c:dPt>
            <c:idx val="733"/>
            <c:invertIfNegative val="1"/>
            <c:bubble3D val="0"/>
            <c:spPr>
              <a:solidFill>
                <a:srgbClr val="AEABAB"/>
              </a:solidFill>
            </c:spPr>
            <c:extLst>
              <c:ext xmlns:c16="http://schemas.microsoft.com/office/drawing/2014/chart" uri="{C3380CC4-5D6E-409C-BE32-E72D297353CC}">
                <c16:uniqueId val="{000005BD-A7CE-4049-B88B-35FCDA646473}"/>
              </c:ext>
            </c:extLst>
          </c:dPt>
          <c:dPt>
            <c:idx val="734"/>
            <c:invertIfNegative val="1"/>
            <c:bubble3D val="0"/>
            <c:spPr>
              <a:solidFill>
                <a:srgbClr val="AEABAB"/>
              </a:solidFill>
            </c:spPr>
            <c:extLst>
              <c:ext xmlns:c16="http://schemas.microsoft.com/office/drawing/2014/chart" uri="{C3380CC4-5D6E-409C-BE32-E72D297353CC}">
                <c16:uniqueId val="{000005BF-A7CE-4049-B88B-35FCDA646473}"/>
              </c:ext>
            </c:extLst>
          </c:dPt>
          <c:dPt>
            <c:idx val="735"/>
            <c:invertIfNegative val="1"/>
            <c:bubble3D val="0"/>
            <c:spPr>
              <a:solidFill>
                <a:srgbClr val="AEABAB"/>
              </a:solidFill>
            </c:spPr>
            <c:extLst>
              <c:ext xmlns:c16="http://schemas.microsoft.com/office/drawing/2014/chart" uri="{C3380CC4-5D6E-409C-BE32-E72D297353CC}">
                <c16:uniqueId val="{000005C1-A7CE-4049-B88B-35FCDA646473}"/>
              </c:ext>
            </c:extLst>
          </c:dPt>
          <c:dPt>
            <c:idx val="736"/>
            <c:invertIfNegative val="1"/>
            <c:bubble3D val="0"/>
            <c:spPr>
              <a:solidFill>
                <a:srgbClr val="AEABAB"/>
              </a:solidFill>
            </c:spPr>
            <c:extLst>
              <c:ext xmlns:c16="http://schemas.microsoft.com/office/drawing/2014/chart" uri="{C3380CC4-5D6E-409C-BE32-E72D297353CC}">
                <c16:uniqueId val="{000005C3-A7CE-4049-B88B-35FCDA646473}"/>
              </c:ext>
            </c:extLst>
          </c:dPt>
          <c:dPt>
            <c:idx val="737"/>
            <c:invertIfNegative val="1"/>
            <c:bubble3D val="0"/>
            <c:spPr>
              <a:solidFill>
                <a:srgbClr val="AEABAB"/>
              </a:solidFill>
            </c:spPr>
            <c:extLst>
              <c:ext xmlns:c16="http://schemas.microsoft.com/office/drawing/2014/chart" uri="{C3380CC4-5D6E-409C-BE32-E72D297353CC}">
                <c16:uniqueId val="{000005C5-A7CE-4049-B88B-35FCDA646473}"/>
              </c:ext>
            </c:extLst>
          </c:dPt>
          <c:dPt>
            <c:idx val="738"/>
            <c:invertIfNegative val="1"/>
            <c:bubble3D val="0"/>
            <c:spPr>
              <a:solidFill>
                <a:srgbClr val="AEABAB"/>
              </a:solidFill>
            </c:spPr>
            <c:extLst>
              <c:ext xmlns:c16="http://schemas.microsoft.com/office/drawing/2014/chart" uri="{C3380CC4-5D6E-409C-BE32-E72D297353CC}">
                <c16:uniqueId val="{000005C7-A7CE-4049-B88B-35FCDA646473}"/>
              </c:ext>
            </c:extLst>
          </c:dPt>
          <c:dPt>
            <c:idx val="739"/>
            <c:invertIfNegative val="1"/>
            <c:bubble3D val="0"/>
            <c:spPr>
              <a:solidFill>
                <a:srgbClr val="AEABAB"/>
              </a:solidFill>
            </c:spPr>
            <c:extLst>
              <c:ext xmlns:c16="http://schemas.microsoft.com/office/drawing/2014/chart" uri="{C3380CC4-5D6E-409C-BE32-E72D297353CC}">
                <c16:uniqueId val="{000005C9-A7CE-4049-B88B-35FCDA646473}"/>
              </c:ext>
            </c:extLst>
          </c:dPt>
          <c:dPt>
            <c:idx val="740"/>
            <c:invertIfNegative val="1"/>
            <c:bubble3D val="0"/>
            <c:spPr>
              <a:solidFill>
                <a:srgbClr val="AEABAB"/>
              </a:solidFill>
            </c:spPr>
            <c:extLst>
              <c:ext xmlns:c16="http://schemas.microsoft.com/office/drawing/2014/chart" uri="{C3380CC4-5D6E-409C-BE32-E72D297353CC}">
                <c16:uniqueId val="{000005CB-A7CE-4049-B88B-35FCDA646473}"/>
              </c:ext>
            </c:extLst>
          </c:dPt>
          <c:dPt>
            <c:idx val="741"/>
            <c:invertIfNegative val="1"/>
            <c:bubble3D val="0"/>
            <c:spPr>
              <a:solidFill>
                <a:srgbClr val="AEABAB"/>
              </a:solidFill>
            </c:spPr>
            <c:extLst>
              <c:ext xmlns:c16="http://schemas.microsoft.com/office/drawing/2014/chart" uri="{C3380CC4-5D6E-409C-BE32-E72D297353CC}">
                <c16:uniqueId val="{000005CD-A7CE-4049-B88B-35FCDA646473}"/>
              </c:ext>
            </c:extLst>
          </c:dPt>
          <c:dPt>
            <c:idx val="742"/>
            <c:invertIfNegative val="1"/>
            <c:bubble3D val="0"/>
            <c:spPr>
              <a:solidFill>
                <a:srgbClr val="AEABAB"/>
              </a:solidFill>
            </c:spPr>
            <c:extLst>
              <c:ext xmlns:c16="http://schemas.microsoft.com/office/drawing/2014/chart" uri="{C3380CC4-5D6E-409C-BE32-E72D297353CC}">
                <c16:uniqueId val="{000005CF-A7CE-4049-B88B-35FCDA646473}"/>
              </c:ext>
            </c:extLst>
          </c:dPt>
          <c:dPt>
            <c:idx val="743"/>
            <c:invertIfNegative val="1"/>
            <c:bubble3D val="0"/>
            <c:spPr>
              <a:solidFill>
                <a:srgbClr val="AEABAB"/>
              </a:solidFill>
            </c:spPr>
            <c:extLst>
              <c:ext xmlns:c16="http://schemas.microsoft.com/office/drawing/2014/chart" uri="{C3380CC4-5D6E-409C-BE32-E72D297353CC}">
                <c16:uniqueId val="{000005D1-A7CE-4049-B88B-35FCDA646473}"/>
              </c:ext>
            </c:extLst>
          </c:dPt>
          <c:dPt>
            <c:idx val="744"/>
            <c:invertIfNegative val="1"/>
            <c:bubble3D val="0"/>
            <c:spPr>
              <a:solidFill>
                <a:srgbClr val="AEABAB"/>
              </a:solidFill>
            </c:spPr>
            <c:extLst>
              <c:ext xmlns:c16="http://schemas.microsoft.com/office/drawing/2014/chart" uri="{C3380CC4-5D6E-409C-BE32-E72D297353CC}">
                <c16:uniqueId val="{000005D3-A7CE-4049-B88B-35FCDA646473}"/>
              </c:ext>
            </c:extLst>
          </c:dPt>
          <c:dPt>
            <c:idx val="745"/>
            <c:invertIfNegative val="1"/>
            <c:bubble3D val="0"/>
            <c:spPr>
              <a:solidFill>
                <a:srgbClr val="AEABAB"/>
              </a:solidFill>
            </c:spPr>
            <c:extLst>
              <c:ext xmlns:c16="http://schemas.microsoft.com/office/drawing/2014/chart" uri="{C3380CC4-5D6E-409C-BE32-E72D297353CC}">
                <c16:uniqueId val="{000005D5-A7CE-4049-B88B-35FCDA646473}"/>
              </c:ext>
            </c:extLst>
          </c:dPt>
          <c:dPt>
            <c:idx val="746"/>
            <c:invertIfNegative val="1"/>
            <c:bubble3D val="0"/>
            <c:spPr>
              <a:solidFill>
                <a:srgbClr val="AEABAB"/>
              </a:solidFill>
            </c:spPr>
            <c:extLst>
              <c:ext xmlns:c16="http://schemas.microsoft.com/office/drawing/2014/chart" uri="{C3380CC4-5D6E-409C-BE32-E72D297353CC}">
                <c16:uniqueId val="{000005D7-A7CE-4049-B88B-35FCDA646473}"/>
              </c:ext>
            </c:extLst>
          </c:dPt>
          <c:dPt>
            <c:idx val="747"/>
            <c:invertIfNegative val="1"/>
            <c:bubble3D val="0"/>
            <c:spPr>
              <a:solidFill>
                <a:srgbClr val="AEABAB"/>
              </a:solidFill>
            </c:spPr>
            <c:extLst>
              <c:ext xmlns:c16="http://schemas.microsoft.com/office/drawing/2014/chart" uri="{C3380CC4-5D6E-409C-BE32-E72D297353CC}">
                <c16:uniqueId val="{000005D9-A7CE-4049-B88B-35FCDA646473}"/>
              </c:ext>
            </c:extLst>
          </c:dPt>
          <c:dPt>
            <c:idx val="748"/>
            <c:invertIfNegative val="1"/>
            <c:bubble3D val="0"/>
            <c:spPr>
              <a:solidFill>
                <a:srgbClr val="AEABAB"/>
              </a:solidFill>
            </c:spPr>
            <c:extLst>
              <c:ext xmlns:c16="http://schemas.microsoft.com/office/drawing/2014/chart" uri="{C3380CC4-5D6E-409C-BE32-E72D297353CC}">
                <c16:uniqueId val="{000005DB-A7CE-4049-B88B-35FCDA646473}"/>
              </c:ext>
            </c:extLst>
          </c:dPt>
          <c:dPt>
            <c:idx val="749"/>
            <c:invertIfNegative val="1"/>
            <c:bubble3D val="0"/>
            <c:spPr>
              <a:solidFill>
                <a:srgbClr val="AEABAB"/>
              </a:solidFill>
            </c:spPr>
            <c:extLst>
              <c:ext xmlns:c16="http://schemas.microsoft.com/office/drawing/2014/chart" uri="{C3380CC4-5D6E-409C-BE32-E72D297353CC}">
                <c16:uniqueId val="{000005DD-A7CE-4049-B88B-35FCDA646473}"/>
              </c:ext>
            </c:extLst>
          </c:dPt>
          <c:dPt>
            <c:idx val="750"/>
            <c:invertIfNegative val="1"/>
            <c:bubble3D val="0"/>
            <c:spPr>
              <a:solidFill>
                <a:srgbClr val="AEABAB"/>
              </a:solidFill>
            </c:spPr>
            <c:extLst>
              <c:ext xmlns:c16="http://schemas.microsoft.com/office/drawing/2014/chart" uri="{C3380CC4-5D6E-409C-BE32-E72D297353CC}">
                <c16:uniqueId val="{000005DF-A7CE-4049-B88B-35FCDA646473}"/>
              </c:ext>
            </c:extLst>
          </c:dPt>
          <c:dPt>
            <c:idx val="751"/>
            <c:invertIfNegative val="1"/>
            <c:bubble3D val="0"/>
            <c:spPr>
              <a:solidFill>
                <a:srgbClr val="AEABAB"/>
              </a:solidFill>
            </c:spPr>
            <c:extLst>
              <c:ext xmlns:c16="http://schemas.microsoft.com/office/drawing/2014/chart" uri="{C3380CC4-5D6E-409C-BE32-E72D297353CC}">
                <c16:uniqueId val="{000005E1-A7CE-4049-B88B-35FCDA646473}"/>
              </c:ext>
            </c:extLst>
          </c:dPt>
          <c:dPt>
            <c:idx val="752"/>
            <c:invertIfNegative val="1"/>
            <c:bubble3D val="0"/>
            <c:spPr>
              <a:solidFill>
                <a:srgbClr val="AEABAB"/>
              </a:solidFill>
            </c:spPr>
            <c:extLst>
              <c:ext xmlns:c16="http://schemas.microsoft.com/office/drawing/2014/chart" uri="{C3380CC4-5D6E-409C-BE32-E72D297353CC}">
                <c16:uniqueId val="{000005E3-A7CE-4049-B88B-35FCDA646473}"/>
              </c:ext>
            </c:extLst>
          </c:dPt>
          <c:dPt>
            <c:idx val="753"/>
            <c:invertIfNegative val="1"/>
            <c:bubble3D val="0"/>
            <c:spPr>
              <a:solidFill>
                <a:srgbClr val="AEABAB"/>
              </a:solidFill>
            </c:spPr>
            <c:extLst>
              <c:ext xmlns:c16="http://schemas.microsoft.com/office/drawing/2014/chart" uri="{C3380CC4-5D6E-409C-BE32-E72D297353CC}">
                <c16:uniqueId val="{000005E5-A7CE-4049-B88B-35FCDA646473}"/>
              </c:ext>
            </c:extLst>
          </c:dPt>
          <c:dPt>
            <c:idx val="754"/>
            <c:invertIfNegative val="1"/>
            <c:bubble3D val="0"/>
            <c:spPr>
              <a:solidFill>
                <a:srgbClr val="AEABAB"/>
              </a:solidFill>
            </c:spPr>
            <c:extLst>
              <c:ext xmlns:c16="http://schemas.microsoft.com/office/drawing/2014/chart" uri="{C3380CC4-5D6E-409C-BE32-E72D297353CC}">
                <c16:uniqueId val="{000005E7-A7CE-4049-B88B-35FCDA646473}"/>
              </c:ext>
            </c:extLst>
          </c:dPt>
          <c:dPt>
            <c:idx val="755"/>
            <c:invertIfNegative val="1"/>
            <c:bubble3D val="0"/>
            <c:spPr>
              <a:solidFill>
                <a:srgbClr val="AEABAB"/>
              </a:solidFill>
            </c:spPr>
            <c:extLst>
              <c:ext xmlns:c16="http://schemas.microsoft.com/office/drawing/2014/chart" uri="{C3380CC4-5D6E-409C-BE32-E72D297353CC}">
                <c16:uniqueId val="{000005E9-A7CE-4049-B88B-35FCDA646473}"/>
              </c:ext>
            </c:extLst>
          </c:dPt>
          <c:dPt>
            <c:idx val="756"/>
            <c:invertIfNegative val="1"/>
            <c:bubble3D val="0"/>
            <c:spPr>
              <a:solidFill>
                <a:srgbClr val="AEABAB"/>
              </a:solidFill>
            </c:spPr>
            <c:extLst>
              <c:ext xmlns:c16="http://schemas.microsoft.com/office/drawing/2014/chart" uri="{C3380CC4-5D6E-409C-BE32-E72D297353CC}">
                <c16:uniqueId val="{000005EB-A7CE-4049-B88B-35FCDA646473}"/>
              </c:ext>
            </c:extLst>
          </c:dPt>
          <c:dPt>
            <c:idx val="757"/>
            <c:invertIfNegative val="1"/>
            <c:bubble3D val="0"/>
            <c:spPr>
              <a:solidFill>
                <a:srgbClr val="AEABAB"/>
              </a:solidFill>
            </c:spPr>
            <c:extLst>
              <c:ext xmlns:c16="http://schemas.microsoft.com/office/drawing/2014/chart" uri="{C3380CC4-5D6E-409C-BE32-E72D297353CC}">
                <c16:uniqueId val="{000005ED-A7CE-4049-B88B-35FCDA646473}"/>
              </c:ext>
            </c:extLst>
          </c:dPt>
          <c:dPt>
            <c:idx val="758"/>
            <c:invertIfNegative val="1"/>
            <c:bubble3D val="0"/>
            <c:spPr>
              <a:solidFill>
                <a:srgbClr val="AEABAB"/>
              </a:solidFill>
            </c:spPr>
            <c:extLst>
              <c:ext xmlns:c16="http://schemas.microsoft.com/office/drawing/2014/chart" uri="{C3380CC4-5D6E-409C-BE32-E72D297353CC}">
                <c16:uniqueId val="{000005EF-A7CE-4049-B88B-35FCDA646473}"/>
              </c:ext>
            </c:extLst>
          </c:dPt>
          <c:dPt>
            <c:idx val="759"/>
            <c:invertIfNegative val="1"/>
            <c:bubble3D val="0"/>
            <c:spPr>
              <a:solidFill>
                <a:srgbClr val="AEABAB"/>
              </a:solidFill>
            </c:spPr>
            <c:extLst>
              <c:ext xmlns:c16="http://schemas.microsoft.com/office/drawing/2014/chart" uri="{C3380CC4-5D6E-409C-BE32-E72D297353CC}">
                <c16:uniqueId val="{000005F1-A7CE-4049-B88B-35FCDA646473}"/>
              </c:ext>
            </c:extLst>
          </c:dPt>
          <c:dPt>
            <c:idx val="760"/>
            <c:invertIfNegative val="1"/>
            <c:bubble3D val="0"/>
            <c:spPr>
              <a:solidFill>
                <a:srgbClr val="AEABAB"/>
              </a:solidFill>
            </c:spPr>
            <c:extLst>
              <c:ext xmlns:c16="http://schemas.microsoft.com/office/drawing/2014/chart" uri="{C3380CC4-5D6E-409C-BE32-E72D297353CC}">
                <c16:uniqueId val="{000005F3-A7CE-4049-B88B-35FCDA646473}"/>
              </c:ext>
            </c:extLst>
          </c:dPt>
          <c:dPt>
            <c:idx val="761"/>
            <c:invertIfNegative val="1"/>
            <c:bubble3D val="0"/>
            <c:spPr>
              <a:solidFill>
                <a:srgbClr val="AEABAB"/>
              </a:solidFill>
            </c:spPr>
            <c:extLst>
              <c:ext xmlns:c16="http://schemas.microsoft.com/office/drawing/2014/chart" uri="{C3380CC4-5D6E-409C-BE32-E72D297353CC}">
                <c16:uniqueId val="{000005F5-A7CE-4049-B88B-35FCDA646473}"/>
              </c:ext>
            </c:extLst>
          </c:dPt>
          <c:dPt>
            <c:idx val="762"/>
            <c:invertIfNegative val="1"/>
            <c:bubble3D val="0"/>
            <c:spPr>
              <a:solidFill>
                <a:srgbClr val="AEABAB"/>
              </a:solidFill>
            </c:spPr>
            <c:extLst>
              <c:ext xmlns:c16="http://schemas.microsoft.com/office/drawing/2014/chart" uri="{C3380CC4-5D6E-409C-BE32-E72D297353CC}">
                <c16:uniqueId val="{000005F7-A7CE-4049-B88B-35FCDA646473}"/>
              </c:ext>
            </c:extLst>
          </c:dPt>
          <c:dPt>
            <c:idx val="763"/>
            <c:invertIfNegative val="1"/>
            <c:bubble3D val="0"/>
            <c:spPr>
              <a:solidFill>
                <a:srgbClr val="AEABAB"/>
              </a:solidFill>
            </c:spPr>
            <c:extLst>
              <c:ext xmlns:c16="http://schemas.microsoft.com/office/drawing/2014/chart" uri="{C3380CC4-5D6E-409C-BE32-E72D297353CC}">
                <c16:uniqueId val="{000005F9-A7CE-4049-B88B-35FCDA646473}"/>
              </c:ext>
            </c:extLst>
          </c:dPt>
          <c:dPt>
            <c:idx val="764"/>
            <c:invertIfNegative val="1"/>
            <c:bubble3D val="0"/>
            <c:spPr>
              <a:solidFill>
                <a:srgbClr val="AEABAB"/>
              </a:solidFill>
            </c:spPr>
            <c:extLst>
              <c:ext xmlns:c16="http://schemas.microsoft.com/office/drawing/2014/chart" uri="{C3380CC4-5D6E-409C-BE32-E72D297353CC}">
                <c16:uniqueId val="{000005FB-A7CE-4049-B88B-35FCDA646473}"/>
              </c:ext>
            </c:extLst>
          </c:dPt>
          <c:dPt>
            <c:idx val="765"/>
            <c:invertIfNegative val="1"/>
            <c:bubble3D val="0"/>
            <c:spPr>
              <a:solidFill>
                <a:srgbClr val="AEABAB"/>
              </a:solidFill>
            </c:spPr>
            <c:extLst>
              <c:ext xmlns:c16="http://schemas.microsoft.com/office/drawing/2014/chart" uri="{C3380CC4-5D6E-409C-BE32-E72D297353CC}">
                <c16:uniqueId val="{000005FD-A7CE-4049-B88B-35FCDA646473}"/>
              </c:ext>
            </c:extLst>
          </c:dPt>
          <c:dPt>
            <c:idx val="766"/>
            <c:invertIfNegative val="1"/>
            <c:bubble3D val="0"/>
            <c:spPr>
              <a:solidFill>
                <a:srgbClr val="AEABAB"/>
              </a:solidFill>
            </c:spPr>
            <c:extLst>
              <c:ext xmlns:c16="http://schemas.microsoft.com/office/drawing/2014/chart" uri="{C3380CC4-5D6E-409C-BE32-E72D297353CC}">
                <c16:uniqueId val="{000005FF-A7CE-4049-B88B-35FCDA646473}"/>
              </c:ext>
            </c:extLst>
          </c:dPt>
          <c:dPt>
            <c:idx val="767"/>
            <c:invertIfNegative val="1"/>
            <c:bubble3D val="0"/>
            <c:spPr>
              <a:solidFill>
                <a:srgbClr val="AEABAB"/>
              </a:solidFill>
            </c:spPr>
            <c:extLst>
              <c:ext xmlns:c16="http://schemas.microsoft.com/office/drawing/2014/chart" uri="{C3380CC4-5D6E-409C-BE32-E72D297353CC}">
                <c16:uniqueId val="{00000601-A7CE-4049-B88B-35FCDA646473}"/>
              </c:ext>
            </c:extLst>
          </c:dPt>
          <c:dPt>
            <c:idx val="768"/>
            <c:invertIfNegative val="1"/>
            <c:bubble3D val="0"/>
            <c:spPr>
              <a:solidFill>
                <a:srgbClr val="AEABAB"/>
              </a:solidFill>
            </c:spPr>
            <c:extLst>
              <c:ext xmlns:c16="http://schemas.microsoft.com/office/drawing/2014/chart" uri="{C3380CC4-5D6E-409C-BE32-E72D297353CC}">
                <c16:uniqueId val="{00000603-A7CE-4049-B88B-35FCDA646473}"/>
              </c:ext>
            </c:extLst>
          </c:dPt>
          <c:dPt>
            <c:idx val="769"/>
            <c:invertIfNegative val="1"/>
            <c:bubble3D val="0"/>
            <c:spPr>
              <a:solidFill>
                <a:srgbClr val="AEABAB"/>
              </a:solidFill>
            </c:spPr>
            <c:extLst>
              <c:ext xmlns:c16="http://schemas.microsoft.com/office/drawing/2014/chart" uri="{C3380CC4-5D6E-409C-BE32-E72D297353CC}">
                <c16:uniqueId val="{00000605-A7CE-4049-B88B-35FCDA646473}"/>
              </c:ext>
            </c:extLst>
          </c:dPt>
          <c:dPt>
            <c:idx val="770"/>
            <c:invertIfNegative val="1"/>
            <c:bubble3D val="0"/>
            <c:spPr>
              <a:solidFill>
                <a:srgbClr val="AEABAB"/>
              </a:solidFill>
            </c:spPr>
            <c:extLst>
              <c:ext xmlns:c16="http://schemas.microsoft.com/office/drawing/2014/chart" uri="{C3380CC4-5D6E-409C-BE32-E72D297353CC}">
                <c16:uniqueId val="{00000607-A7CE-4049-B88B-35FCDA646473}"/>
              </c:ext>
            </c:extLst>
          </c:dPt>
          <c:dPt>
            <c:idx val="771"/>
            <c:invertIfNegative val="1"/>
            <c:bubble3D val="0"/>
            <c:spPr>
              <a:solidFill>
                <a:srgbClr val="AEABAB"/>
              </a:solidFill>
            </c:spPr>
            <c:extLst>
              <c:ext xmlns:c16="http://schemas.microsoft.com/office/drawing/2014/chart" uri="{C3380CC4-5D6E-409C-BE32-E72D297353CC}">
                <c16:uniqueId val="{00000609-A7CE-4049-B88B-35FCDA646473}"/>
              </c:ext>
            </c:extLst>
          </c:dPt>
          <c:dPt>
            <c:idx val="772"/>
            <c:invertIfNegative val="1"/>
            <c:bubble3D val="0"/>
            <c:spPr>
              <a:solidFill>
                <a:srgbClr val="AEABAB"/>
              </a:solidFill>
            </c:spPr>
            <c:extLst>
              <c:ext xmlns:c16="http://schemas.microsoft.com/office/drawing/2014/chart" uri="{C3380CC4-5D6E-409C-BE32-E72D297353CC}">
                <c16:uniqueId val="{0000060B-A7CE-4049-B88B-35FCDA646473}"/>
              </c:ext>
            </c:extLst>
          </c:dPt>
          <c:dPt>
            <c:idx val="773"/>
            <c:invertIfNegative val="1"/>
            <c:bubble3D val="0"/>
            <c:spPr>
              <a:solidFill>
                <a:srgbClr val="AEABAB"/>
              </a:solidFill>
            </c:spPr>
            <c:extLst>
              <c:ext xmlns:c16="http://schemas.microsoft.com/office/drawing/2014/chart" uri="{C3380CC4-5D6E-409C-BE32-E72D297353CC}">
                <c16:uniqueId val="{0000060D-A7CE-4049-B88B-35FCDA646473}"/>
              </c:ext>
            </c:extLst>
          </c:dPt>
          <c:dPt>
            <c:idx val="774"/>
            <c:invertIfNegative val="1"/>
            <c:bubble3D val="0"/>
            <c:spPr>
              <a:solidFill>
                <a:srgbClr val="AEABAB"/>
              </a:solidFill>
            </c:spPr>
            <c:extLst>
              <c:ext xmlns:c16="http://schemas.microsoft.com/office/drawing/2014/chart" uri="{C3380CC4-5D6E-409C-BE32-E72D297353CC}">
                <c16:uniqueId val="{0000060F-A7CE-4049-B88B-35FCDA646473}"/>
              </c:ext>
            </c:extLst>
          </c:dPt>
          <c:dPt>
            <c:idx val="775"/>
            <c:invertIfNegative val="1"/>
            <c:bubble3D val="0"/>
            <c:spPr>
              <a:solidFill>
                <a:srgbClr val="AEABAB"/>
              </a:solidFill>
            </c:spPr>
            <c:extLst>
              <c:ext xmlns:c16="http://schemas.microsoft.com/office/drawing/2014/chart" uri="{C3380CC4-5D6E-409C-BE32-E72D297353CC}">
                <c16:uniqueId val="{00000611-A7CE-4049-B88B-35FCDA646473}"/>
              </c:ext>
            </c:extLst>
          </c:dPt>
          <c:dPt>
            <c:idx val="776"/>
            <c:invertIfNegative val="1"/>
            <c:bubble3D val="0"/>
            <c:spPr>
              <a:solidFill>
                <a:srgbClr val="AEABAB"/>
              </a:solidFill>
            </c:spPr>
            <c:extLst>
              <c:ext xmlns:c16="http://schemas.microsoft.com/office/drawing/2014/chart" uri="{C3380CC4-5D6E-409C-BE32-E72D297353CC}">
                <c16:uniqueId val="{00000613-A7CE-4049-B88B-35FCDA646473}"/>
              </c:ext>
            </c:extLst>
          </c:dPt>
          <c:dPt>
            <c:idx val="777"/>
            <c:invertIfNegative val="1"/>
            <c:bubble3D val="0"/>
            <c:spPr>
              <a:solidFill>
                <a:srgbClr val="AEABAB"/>
              </a:solidFill>
            </c:spPr>
            <c:extLst>
              <c:ext xmlns:c16="http://schemas.microsoft.com/office/drawing/2014/chart" uri="{C3380CC4-5D6E-409C-BE32-E72D297353CC}">
                <c16:uniqueId val="{00000615-A7CE-4049-B88B-35FCDA646473}"/>
              </c:ext>
            </c:extLst>
          </c:dPt>
          <c:dPt>
            <c:idx val="778"/>
            <c:invertIfNegative val="1"/>
            <c:bubble3D val="0"/>
            <c:spPr>
              <a:solidFill>
                <a:srgbClr val="AEABAB"/>
              </a:solidFill>
            </c:spPr>
            <c:extLst>
              <c:ext xmlns:c16="http://schemas.microsoft.com/office/drawing/2014/chart" uri="{C3380CC4-5D6E-409C-BE32-E72D297353CC}">
                <c16:uniqueId val="{00000617-A7CE-4049-B88B-35FCDA646473}"/>
              </c:ext>
            </c:extLst>
          </c:dPt>
          <c:dPt>
            <c:idx val="779"/>
            <c:invertIfNegative val="1"/>
            <c:bubble3D val="0"/>
            <c:spPr>
              <a:solidFill>
                <a:srgbClr val="AEABAB"/>
              </a:solidFill>
            </c:spPr>
            <c:extLst>
              <c:ext xmlns:c16="http://schemas.microsoft.com/office/drawing/2014/chart" uri="{C3380CC4-5D6E-409C-BE32-E72D297353CC}">
                <c16:uniqueId val="{00000619-A7CE-4049-B88B-35FCDA646473}"/>
              </c:ext>
            </c:extLst>
          </c:dPt>
          <c:dPt>
            <c:idx val="780"/>
            <c:invertIfNegative val="1"/>
            <c:bubble3D val="0"/>
            <c:spPr>
              <a:solidFill>
                <a:srgbClr val="AEABAB"/>
              </a:solidFill>
            </c:spPr>
            <c:extLst>
              <c:ext xmlns:c16="http://schemas.microsoft.com/office/drawing/2014/chart" uri="{C3380CC4-5D6E-409C-BE32-E72D297353CC}">
                <c16:uniqueId val="{0000061B-A7CE-4049-B88B-35FCDA646473}"/>
              </c:ext>
            </c:extLst>
          </c:dPt>
          <c:dPt>
            <c:idx val="781"/>
            <c:invertIfNegative val="1"/>
            <c:bubble3D val="0"/>
            <c:spPr>
              <a:solidFill>
                <a:srgbClr val="AEABAB"/>
              </a:solidFill>
            </c:spPr>
            <c:extLst>
              <c:ext xmlns:c16="http://schemas.microsoft.com/office/drawing/2014/chart" uri="{C3380CC4-5D6E-409C-BE32-E72D297353CC}">
                <c16:uniqueId val="{0000061D-A7CE-4049-B88B-35FCDA646473}"/>
              </c:ext>
            </c:extLst>
          </c:dPt>
          <c:dPt>
            <c:idx val="782"/>
            <c:invertIfNegative val="1"/>
            <c:bubble3D val="0"/>
            <c:spPr>
              <a:solidFill>
                <a:srgbClr val="AEABAB"/>
              </a:solidFill>
            </c:spPr>
            <c:extLst>
              <c:ext xmlns:c16="http://schemas.microsoft.com/office/drawing/2014/chart" uri="{C3380CC4-5D6E-409C-BE32-E72D297353CC}">
                <c16:uniqueId val="{0000061F-A7CE-4049-B88B-35FCDA646473}"/>
              </c:ext>
            </c:extLst>
          </c:dPt>
          <c:dPt>
            <c:idx val="783"/>
            <c:invertIfNegative val="1"/>
            <c:bubble3D val="0"/>
            <c:spPr>
              <a:solidFill>
                <a:srgbClr val="AEABAB"/>
              </a:solidFill>
            </c:spPr>
            <c:extLst>
              <c:ext xmlns:c16="http://schemas.microsoft.com/office/drawing/2014/chart" uri="{C3380CC4-5D6E-409C-BE32-E72D297353CC}">
                <c16:uniqueId val="{00000621-A7CE-4049-B88B-35FCDA646473}"/>
              </c:ext>
            </c:extLst>
          </c:dPt>
          <c:dPt>
            <c:idx val="784"/>
            <c:invertIfNegative val="1"/>
            <c:bubble3D val="0"/>
            <c:spPr>
              <a:solidFill>
                <a:srgbClr val="AEABAB"/>
              </a:solidFill>
            </c:spPr>
            <c:extLst>
              <c:ext xmlns:c16="http://schemas.microsoft.com/office/drawing/2014/chart" uri="{C3380CC4-5D6E-409C-BE32-E72D297353CC}">
                <c16:uniqueId val="{00000623-A7CE-4049-B88B-35FCDA646473}"/>
              </c:ext>
            </c:extLst>
          </c:dPt>
          <c:dPt>
            <c:idx val="785"/>
            <c:invertIfNegative val="1"/>
            <c:bubble3D val="0"/>
            <c:spPr>
              <a:solidFill>
                <a:srgbClr val="AEABAB"/>
              </a:solidFill>
            </c:spPr>
            <c:extLst>
              <c:ext xmlns:c16="http://schemas.microsoft.com/office/drawing/2014/chart" uri="{C3380CC4-5D6E-409C-BE32-E72D297353CC}">
                <c16:uniqueId val="{00000625-A7CE-4049-B88B-35FCDA646473}"/>
              </c:ext>
            </c:extLst>
          </c:dPt>
          <c:dPt>
            <c:idx val="786"/>
            <c:invertIfNegative val="1"/>
            <c:bubble3D val="0"/>
            <c:spPr>
              <a:solidFill>
                <a:srgbClr val="AEABAB"/>
              </a:solidFill>
            </c:spPr>
            <c:extLst>
              <c:ext xmlns:c16="http://schemas.microsoft.com/office/drawing/2014/chart" uri="{C3380CC4-5D6E-409C-BE32-E72D297353CC}">
                <c16:uniqueId val="{00000627-A7CE-4049-B88B-35FCDA646473}"/>
              </c:ext>
            </c:extLst>
          </c:dPt>
          <c:dPt>
            <c:idx val="787"/>
            <c:invertIfNegative val="1"/>
            <c:bubble3D val="0"/>
            <c:spPr>
              <a:solidFill>
                <a:srgbClr val="AEABAB"/>
              </a:solidFill>
            </c:spPr>
            <c:extLst>
              <c:ext xmlns:c16="http://schemas.microsoft.com/office/drawing/2014/chart" uri="{C3380CC4-5D6E-409C-BE32-E72D297353CC}">
                <c16:uniqueId val="{00000629-A7CE-4049-B88B-35FCDA646473}"/>
              </c:ext>
            </c:extLst>
          </c:dPt>
          <c:dPt>
            <c:idx val="788"/>
            <c:invertIfNegative val="1"/>
            <c:bubble3D val="0"/>
            <c:spPr>
              <a:solidFill>
                <a:srgbClr val="AEABAB"/>
              </a:solidFill>
            </c:spPr>
            <c:extLst>
              <c:ext xmlns:c16="http://schemas.microsoft.com/office/drawing/2014/chart" uri="{C3380CC4-5D6E-409C-BE32-E72D297353CC}">
                <c16:uniqueId val="{0000062B-A7CE-4049-B88B-35FCDA646473}"/>
              </c:ext>
            </c:extLst>
          </c:dPt>
          <c:dPt>
            <c:idx val="789"/>
            <c:invertIfNegative val="1"/>
            <c:bubble3D val="0"/>
            <c:spPr>
              <a:solidFill>
                <a:srgbClr val="AEABAB"/>
              </a:solidFill>
            </c:spPr>
            <c:extLst>
              <c:ext xmlns:c16="http://schemas.microsoft.com/office/drawing/2014/chart" uri="{C3380CC4-5D6E-409C-BE32-E72D297353CC}">
                <c16:uniqueId val="{0000062D-A7CE-4049-B88B-35FCDA646473}"/>
              </c:ext>
            </c:extLst>
          </c:dPt>
          <c:dPt>
            <c:idx val="790"/>
            <c:invertIfNegative val="1"/>
            <c:bubble3D val="0"/>
            <c:spPr>
              <a:solidFill>
                <a:srgbClr val="AEABAB"/>
              </a:solidFill>
            </c:spPr>
            <c:extLst>
              <c:ext xmlns:c16="http://schemas.microsoft.com/office/drawing/2014/chart" uri="{C3380CC4-5D6E-409C-BE32-E72D297353CC}">
                <c16:uniqueId val="{0000062F-A7CE-4049-B88B-35FCDA646473}"/>
              </c:ext>
            </c:extLst>
          </c:dPt>
          <c:dPt>
            <c:idx val="791"/>
            <c:invertIfNegative val="1"/>
            <c:bubble3D val="0"/>
            <c:spPr>
              <a:solidFill>
                <a:srgbClr val="AEABAB"/>
              </a:solidFill>
            </c:spPr>
            <c:extLst>
              <c:ext xmlns:c16="http://schemas.microsoft.com/office/drawing/2014/chart" uri="{C3380CC4-5D6E-409C-BE32-E72D297353CC}">
                <c16:uniqueId val="{00000631-A7CE-4049-B88B-35FCDA646473}"/>
              </c:ext>
            </c:extLst>
          </c:dPt>
          <c:dPt>
            <c:idx val="792"/>
            <c:invertIfNegative val="1"/>
            <c:bubble3D val="0"/>
            <c:spPr>
              <a:solidFill>
                <a:srgbClr val="AEABAB"/>
              </a:solidFill>
            </c:spPr>
            <c:extLst>
              <c:ext xmlns:c16="http://schemas.microsoft.com/office/drawing/2014/chart" uri="{C3380CC4-5D6E-409C-BE32-E72D297353CC}">
                <c16:uniqueId val="{00000633-A7CE-4049-B88B-35FCDA646473}"/>
              </c:ext>
            </c:extLst>
          </c:dPt>
          <c:dPt>
            <c:idx val="793"/>
            <c:invertIfNegative val="1"/>
            <c:bubble3D val="0"/>
            <c:spPr>
              <a:solidFill>
                <a:srgbClr val="AEABAB"/>
              </a:solidFill>
            </c:spPr>
            <c:extLst>
              <c:ext xmlns:c16="http://schemas.microsoft.com/office/drawing/2014/chart" uri="{C3380CC4-5D6E-409C-BE32-E72D297353CC}">
                <c16:uniqueId val="{00000635-A7CE-4049-B88B-35FCDA646473}"/>
              </c:ext>
            </c:extLst>
          </c:dPt>
          <c:dPt>
            <c:idx val="794"/>
            <c:invertIfNegative val="1"/>
            <c:bubble3D val="0"/>
            <c:spPr>
              <a:solidFill>
                <a:srgbClr val="AEABAB"/>
              </a:solidFill>
            </c:spPr>
            <c:extLst>
              <c:ext xmlns:c16="http://schemas.microsoft.com/office/drawing/2014/chart" uri="{C3380CC4-5D6E-409C-BE32-E72D297353CC}">
                <c16:uniqueId val="{00000637-A7CE-4049-B88B-35FCDA646473}"/>
              </c:ext>
            </c:extLst>
          </c:dPt>
          <c:dPt>
            <c:idx val="795"/>
            <c:invertIfNegative val="1"/>
            <c:bubble3D val="0"/>
            <c:spPr>
              <a:solidFill>
                <a:srgbClr val="AEABAB"/>
              </a:solidFill>
            </c:spPr>
            <c:extLst>
              <c:ext xmlns:c16="http://schemas.microsoft.com/office/drawing/2014/chart" uri="{C3380CC4-5D6E-409C-BE32-E72D297353CC}">
                <c16:uniqueId val="{00000639-A7CE-4049-B88B-35FCDA646473}"/>
              </c:ext>
            </c:extLst>
          </c:dPt>
          <c:dPt>
            <c:idx val="796"/>
            <c:invertIfNegative val="1"/>
            <c:bubble3D val="0"/>
            <c:spPr>
              <a:solidFill>
                <a:srgbClr val="AEABAB"/>
              </a:solidFill>
            </c:spPr>
            <c:extLst>
              <c:ext xmlns:c16="http://schemas.microsoft.com/office/drawing/2014/chart" uri="{C3380CC4-5D6E-409C-BE32-E72D297353CC}">
                <c16:uniqueId val="{0000063B-A7CE-4049-B88B-35FCDA646473}"/>
              </c:ext>
            </c:extLst>
          </c:dPt>
          <c:dPt>
            <c:idx val="797"/>
            <c:invertIfNegative val="1"/>
            <c:bubble3D val="0"/>
            <c:spPr>
              <a:solidFill>
                <a:srgbClr val="AEABAB"/>
              </a:solidFill>
            </c:spPr>
            <c:extLst>
              <c:ext xmlns:c16="http://schemas.microsoft.com/office/drawing/2014/chart" uri="{C3380CC4-5D6E-409C-BE32-E72D297353CC}">
                <c16:uniqueId val="{0000063D-A7CE-4049-B88B-35FCDA646473}"/>
              </c:ext>
            </c:extLst>
          </c:dPt>
          <c:dPt>
            <c:idx val="798"/>
            <c:invertIfNegative val="1"/>
            <c:bubble3D val="0"/>
            <c:spPr>
              <a:solidFill>
                <a:srgbClr val="AEABAB"/>
              </a:solidFill>
            </c:spPr>
            <c:extLst>
              <c:ext xmlns:c16="http://schemas.microsoft.com/office/drawing/2014/chart" uri="{C3380CC4-5D6E-409C-BE32-E72D297353CC}">
                <c16:uniqueId val="{0000063F-A7CE-4049-B88B-35FCDA646473}"/>
              </c:ext>
            </c:extLst>
          </c:dPt>
          <c:dPt>
            <c:idx val="799"/>
            <c:invertIfNegative val="1"/>
            <c:bubble3D val="0"/>
            <c:spPr>
              <a:solidFill>
                <a:srgbClr val="AEABAB"/>
              </a:solidFill>
            </c:spPr>
            <c:extLst>
              <c:ext xmlns:c16="http://schemas.microsoft.com/office/drawing/2014/chart" uri="{C3380CC4-5D6E-409C-BE32-E72D297353CC}">
                <c16:uniqueId val="{00000641-A7CE-4049-B88B-35FCDA646473}"/>
              </c:ext>
            </c:extLst>
          </c:dPt>
          <c:dPt>
            <c:idx val="800"/>
            <c:invertIfNegative val="1"/>
            <c:bubble3D val="0"/>
            <c:spPr>
              <a:solidFill>
                <a:srgbClr val="AEABAB"/>
              </a:solidFill>
            </c:spPr>
            <c:extLst>
              <c:ext xmlns:c16="http://schemas.microsoft.com/office/drawing/2014/chart" uri="{C3380CC4-5D6E-409C-BE32-E72D297353CC}">
                <c16:uniqueId val="{00000643-A7CE-4049-B88B-35FCDA646473}"/>
              </c:ext>
            </c:extLst>
          </c:dPt>
          <c:dPt>
            <c:idx val="801"/>
            <c:invertIfNegative val="1"/>
            <c:bubble3D val="0"/>
            <c:spPr>
              <a:solidFill>
                <a:srgbClr val="AEABAB"/>
              </a:solidFill>
            </c:spPr>
            <c:extLst>
              <c:ext xmlns:c16="http://schemas.microsoft.com/office/drawing/2014/chart" uri="{C3380CC4-5D6E-409C-BE32-E72D297353CC}">
                <c16:uniqueId val="{00000645-A7CE-4049-B88B-35FCDA646473}"/>
              </c:ext>
            </c:extLst>
          </c:dPt>
          <c:dPt>
            <c:idx val="802"/>
            <c:invertIfNegative val="1"/>
            <c:bubble3D val="0"/>
            <c:spPr>
              <a:solidFill>
                <a:srgbClr val="AEABAB"/>
              </a:solidFill>
            </c:spPr>
            <c:extLst>
              <c:ext xmlns:c16="http://schemas.microsoft.com/office/drawing/2014/chart" uri="{C3380CC4-5D6E-409C-BE32-E72D297353CC}">
                <c16:uniqueId val="{00000647-A7CE-4049-B88B-35FCDA646473}"/>
              </c:ext>
            </c:extLst>
          </c:dPt>
          <c:dPt>
            <c:idx val="803"/>
            <c:invertIfNegative val="1"/>
            <c:bubble3D val="0"/>
            <c:spPr>
              <a:solidFill>
                <a:srgbClr val="AEABAB"/>
              </a:solidFill>
            </c:spPr>
            <c:extLst>
              <c:ext xmlns:c16="http://schemas.microsoft.com/office/drawing/2014/chart" uri="{C3380CC4-5D6E-409C-BE32-E72D297353CC}">
                <c16:uniqueId val="{00000649-A7CE-4049-B88B-35FCDA646473}"/>
              </c:ext>
            </c:extLst>
          </c:dPt>
          <c:dPt>
            <c:idx val="804"/>
            <c:invertIfNegative val="1"/>
            <c:bubble3D val="0"/>
            <c:spPr>
              <a:solidFill>
                <a:srgbClr val="AEABAB"/>
              </a:solidFill>
            </c:spPr>
            <c:extLst>
              <c:ext xmlns:c16="http://schemas.microsoft.com/office/drawing/2014/chart" uri="{C3380CC4-5D6E-409C-BE32-E72D297353CC}">
                <c16:uniqueId val="{0000064B-A7CE-4049-B88B-35FCDA646473}"/>
              </c:ext>
            </c:extLst>
          </c:dPt>
          <c:dPt>
            <c:idx val="805"/>
            <c:invertIfNegative val="1"/>
            <c:bubble3D val="0"/>
            <c:spPr>
              <a:solidFill>
                <a:srgbClr val="AEABAB"/>
              </a:solidFill>
            </c:spPr>
            <c:extLst>
              <c:ext xmlns:c16="http://schemas.microsoft.com/office/drawing/2014/chart" uri="{C3380CC4-5D6E-409C-BE32-E72D297353CC}">
                <c16:uniqueId val="{0000064D-A7CE-4049-B88B-35FCDA646473}"/>
              </c:ext>
            </c:extLst>
          </c:dPt>
          <c:dPt>
            <c:idx val="806"/>
            <c:invertIfNegative val="1"/>
            <c:bubble3D val="0"/>
            <c:spPr>
              <a:solidFill>
                <a:srgbClr val="AEABAB"/>
              </a:solidFill>
            </c:spPr>
            <c:extLst>
              <c:ext xmlns:c16="http://schemas.microsoft.com/office/drawing/2014/chart" uri="{C3380CC4-5D6E-409C-BE32-E72D297353CC}">
                <c16:uniqueId val="{0000064F-A7CE-4049-B88B-35FCDA646473}"/>
              </c:ext>
            </c:extLst>
          </c:dPt>
          <c:dPt>
            <c:idx val="807"/>
            <c:invertIfNegative val="1"/>
            <c:bubble3D val="0"/>
            <c:spPr>
              <a:solidFill>
                <a:srgbClr val="AEABAB"/>
              </a:solidFill>
            </c:spPr>
            <c:extLst>
              <c:ext xmlns:c16="http://schemas.microsoft.com/office/drawing/2014/chart" uri="{C3380CC4-5D6E-409C-BE32-E72D297353CC}">
                <c16:uniqueId val="{00000651-A7CE-4049-B88B-35FCDA646473}"/>
              </c:ext>
            </c:extLst>
          </c:dPt>
          <c:dPt>
            <c:idx val="808"/>
            <c:invertIfNegative val="1"/>
            <c:bubble3D val="0"/>
            <c:spPr>
              <a:solidFill>
                <a:srgbClr val="AEABAB"/>
              </a:solidFill>
            </c:spPr>
            <c:extLst>
              <c:ext xmlns:c16="http://schemas.microsoft.com/office/drawing/2014/chart" uri="{C3380CC4-5D6E-409C-BE32-E72D297353CC}">
                <c16:uniqueId val="{00000653-A7CE-4049-B88B-35FCDA646473}"/>
              </c:ext>
            </c:extLst>
          </c:dPt>
          <c:dPt>
            <c:idx val="809"/>
            <c:invertIfNegative val="1"/>
            <c:bubble3D val="0"/>
            <c:spPr>
              <a:solidFill>
                <a:srgbClr val="AEABAB"/>
              </a:solidFill>
            </c:spPr>
            <c:extLst>
              <c:ext xmlns:c16="http://schemas.microsoft.com/office/drawing/2014/chart" uri="{C3380CC4-5D6E-409C-BE32-E72D297353CC}">
                <c16:uniqueId val="{00000655-A7CE-4049-B88B-35FCDA646473}"/>
              </c:ext>
            </c:extLst>
          </c:dPt>
          <c:dPt>
            <c:idx val="810"/>
            <c:invertIfNegative val="1"/>
            <c:bubble3D val="0"/>
            <c:spPr>
              <a:solidFill>
                <a:srgbClr val="AEABAB"/>
              </a:solidFill>
            </c:spPr>
            <c:extLst>
              <c:ext xmlns:c16="http://schemas.microsoft.com/office/drawing/2014/chart" uri="{C3380CC4-5D6E-409C-BE32-E72D297353CC}">
                <c16:uniqueId val="{00000657-A7CE-4049-B88B-35FCDA646473}"/>
              </c:ext>
            </c:extLst>
          </c:dPt>
          <c:dPt>
            <c:idx val="811"/>
            <c:invertIfNegative val="1"/>
            <c:bubble3D val="0"/>
            <c:spPr>
              <a:solidFill>
                <a:srgbClr val="AEABAB"/>
              </a:solidFill>
            </c:spPr>
            <c:extLst>
              <c:ext xmlns:c16="http://schemas.microsoft.com/office/drawing/2014/chart" uri="{C3380CC4-5D6E-409C-BE32-E72D297353CC}">
                <c16:uniqueId val="{00000659-A7CE-4049-B88B-35FCDA646473}"/>
              </c:ext>
            </c:extLst>
          </c:dPt>
          <c:dPt>
            <c:idx val="812"/>
            <c:invertIfNegative val="1"/>
            <c:bubble3D val="0"/>
            <c:spPr>
              <a:solidFill>
                <a:srgbClr val="AEABAB"/>
              </a:solidFill>
            </c:spPr>
            <c:extLst>
              <c:ext xmlns:c16="http://schemas.microsoft.com/office/drawing/2014/chart" uri="{C3380CC4-5D6E-409C-BE32-E72D297353CC}">
                <c16:uniqueId val="{0000065B-A7CE-4049-B88B-35FCDA646473}"/>
              </c:ext>
            </c:extLst>
          </c:dPt>
          <c:dPt>
            <c:idx val="813"/>
            <c:invertIfNegative val="1"/>
            <c:bubble3D val="0"/>
            <c:spPr>
              <a:solidFill>
                <a:srgbClr val="AEABAB"/>
              </a:solidFill>
            </c:spPr>
            <c:extLst>
              <c:ext xmlns:c16="http://schemas.microsoft.com/office/drawing/2014/chart" uri="{C3380CC4-5D6E-409C-BE32-E72D297353CC}">
                <c16:uniqueId val="{0000065D-A7CE-4049-B88B-35FCDA646473}"/>
              </c:ext>
            </c:extLst>
          </c:dPt>
          <c:dPt>
            <c:idx val="814"/>
            <c:invertIfNegative val="1"/>
            <c:bubble3D val="0"/>
            <c:spPr>
              <a:solidFill>
                <a:srgbClr val="AEABAB"/>
              </a:solidFill>
            </c:spPr>
            <c:extLst>
              <c:ext xmlns:c16="http://schemas.microsoft.com/office/drawing/2014/chart" uri="{C3380CC4-5D6E-409C-BE32-E72D297353CC}">
                <c16:uniqueId val="{0000065F-A7CE-4049-B88B-35FCDA646473}"/>
              </c:ext>
            </c:extLst>
          </c:dPt>
          <c:dPt>
            <c:idx val="815"/>
            <c:invertIfNegative val="1"/>
            <c:bubble3D val="0"/>
            <c:spPr>
              <a:solidFill>
                <a:srgbClr val="AEABAB"/>
              </a:solidFill>
            </c:spPr>
            <c:extLst>
              <c:ext xmlns:c16="http://schemas.microsoft.com/office/drawing/2014/chart" uri="{C3380CC4-5D6E-409C-BE32-E72D297353CC}">
                <c16:uniqueId val="{00000661-A7CE-4049-B88B-35FCDA646473}"/>
              </c:ext>
            </c:extLst>
          </c:dPt>
          <c:dPt>
            <c:idx val="816"/>
            <c:invertIfNegative val="1"/>
            <c:bubble3D val="0"/>
            <c:spPr>
              <a:solidFill>
                <a:srgbClr val="AEABAB"/>
              </a:solidFill>
            </c:spPr>
            <c:extLst>
              <c:ext xmlns:c16="http://schemas.microsoft.com/office/drawing/2014/chart" uri="{C3380CC4-5D6E-409C-BE32-E72D297353CC}">
                <c16:uniqueId val="{00000663-A7CE-4049-B88B-35FCDA646473}"/>
              </c:ext>
            </c:extLst>
          </c:dPt>
          <c:dPt>
            <c:idx val="817"/>
            <c:invertIfNegative val="1"/>
            <c:bubble3D val="0"/>
            <c:spPr>
              <a:solidFill>
                <a:srgbClr val="AEABAB"/>
              </a:solidFill>
            </c:spPr>
            <c:extLst>
              <c:ext xmlns:c16="http://schemas.microsoft.com/office/drawing/2014/chart" uri="{C3380CC4-5D6E-409C-BE32-E72D297353CC}">
                <c16:uniqueId val="{00000665-A7CE-4049-B88B-35FCDA646473}"/>
              </c:ext>
            </c:extLst>
          </c:dPt>
          <c:dPt>
            <c:idx val="818"/>
            <c:invertIfNegative val="1"/>
            <c:bubble3D val="0"/>
            <c:spPr>
              <a:solidFill>
                <a:srgbClr val="AEABAB"/>
              </a:solidFill>
            </c:spPr>
            <c:extLst>
              <c:ext xmlns:c16="http://schemas.microsoft.com/office/drawing/2014/chart" uri="{C3380CC4-5D6E-409C-BE32-E72D297353CC}">
                <c16:uniqueId val="{00000667-A7CE-4049-B88B-35FCDA646473}"/>
              </c:ext>
            </c:extLst>
          </c:dPt>
          <c:dPt>
            <c:idx val="819"/>
            <c:invertIfNegative val="1"/>
            <c:bubble3D val="0"/>
            <c:spPr>
              <a:solidFill>
                <a:srgbClr val="AEABAB"/>
              </a:solidFill>
            </c:spPr>
            <c:extLst>
              <c:ext xmlns:c16="http://schemas.microsoft.com/office/drawing/2014/chart" uri="{C3380CC4-5D6E-409C-BE32-E72D297353CC}">
                <c16:uniqueId val="{00000669-A7CE-4049-B88B-35FCDA646473}"/>
              </c:ext>
            </c:extLst>
          </c:dPt>
          <c:dPt>
            <c:idx val="820"/>
            <c:invertIfNegative val="1"/>
            <c:bubble3D val="0"/>
            <c:spPr>
              <a:solidFill>
                <a:srgbClr val="AEABAB"/>
              </a:solidFill>
            </c:spPr>
            <c:extLst>
              <c:ext xmlns:c16="http://schemas.microsoft.com/office/drawing/2014/chart" uri="{C3380CC4-5D6E-409C-BE32-E72D297353CC}">
                <c16:uniqueId val="{0000066B-A7CE-4049-B88B-35FCDA646473}"/>
              </c:ext>
            </c:extLst>
          </c:dPt>
          <c:dPt>
            <c:idx val="821"/>
            <c:invertIfNegative val="1"/>
            <c:bubble3D val="0"/>
            <c:spPr>
              <a:solidFill>
                <a:srgbClr val="AEABAB"/>
              </a:solidFill>
            </c:spPr>
            <c:extLst>
              <c:ext xmlns:c16="http://schemas.microsoft.com/office/drawing/2014/chart" uri="{C3380CC4-5D6E-409C-BE32-E72D297353CC}">
                <c16:uniqueId val="{0000066D-A7CE-4049-B88B-35FCDA646473}"/>
              </c:ext>
            </c:extLst>
          </c:dPt>
          <c:dPt>
            <c:idx val="822"/>
            <c:invertIfNegative val="1"/>
            <c:bubble3D val="0"/>
            <c:spPr>
              <a:solidFill>
                <a:srgbClr val="AEABAB"/>
              </a:solidFill>
            </c:spPr>
            <c:extLst>
              <c:ext xmlns:c16="http://schemas.microsoft.com/office/drawing/2014/chart" uri="{C3380CC4-5D6E-409C-BE32-E72D297353CC}">
                <c16:uniqueId val="{0000066F-A7CE-4049-B88B-35FCDA646473}"/>
              </c:ext>
            </c:extLst>
          </c:dPt>
          <c:dPt>
            <c:idx val="823"/>
            <c:invertIfNegative val="1"/>
            <c:bubble3D val="0"/>
            <c:spPr>
              <a:solidFill>
                <a:srgbClr val="AEABAB"/>
              </a:solidFill>
            </c:spPr>
            <c:extLst>
              <c:ext xmlns:c16="http://schemas.microsoft.com/office/drawing/2014/chart" uri="{C3380CC4-5D6E-409C-BE32-E72D297353CC}">
                <c16:uniqueId val="{00000671-A7CE-4049-B88B-35FCDA646473}"/>
              </c:ext>
            </c:extLst>
          </c:dPt>
          <c:dPt>
            <c:idx val="824"/>
            <c:invertIfNegative val="1"/>
            <c:bubble3D val="0"/>
            <c:spPr>
              <a:solidFill>
                <a:srgbClr val="AEABAB"/>
              </a:solidFill>
            </c:spPr>
            <c:extLst>
              <c:ext xmlns:c16="http://schemas.microsoft.com/office/drawing/2014/chart" uri="{C3380CC4-5D6E-409C-BE32-E72D297353CC}">
                <c16:uniqueId val="{00000673-A7CE-4049-B88B-35FCDA646473}"/>
              </c:ext>
            </c:extLst>
          </c:dPt>
          <c:dPt>
            <c:idx val="825"/>
            <c:invertIfNegative val="1"/>
            <c:bubble3D val="0"/>
            <c:spPr>
              <a:solidFill>
                <a:srgbClr val="AEABAB"/>
              </a:solidFill>
            </c:spPr>
            <c:extLst>
              <c:ext xmlns:c16="http://schemas.microsoft.com/office/drawing/2014/chart" uri="{C3380CC4-5D6E-409C-BE32-E72D297353CC}">
                <c16:uniqueId val="{00000675-A7CE-4049-B88B-35FCDA646473}"/>
              </c:ext>
            </c:extLst>
          </c:dPt>
          <c:dPt>
            <c:idx val="826"/>
            <c:invertIfNegative val="1"/>
            <c:bubble3D val="0"/>
            <c:spPr>
              <a:solidFill>
                <a:srgbClr val="AEABAB"/>
              </a:solidFill>
            </c:spPr>
            <c:extLst>
              <c:ext xmlns:c16="http://schemas.microsoft.com/office/drawing/2014/chart" uri="{C3380CC4-5D6E-409C-BE32-E72D297353CC}">
                <c16:uniqueId val="{00000677-A7CE-4049-B88B-35FCDA646473}"/>
              </c:ext>
            </c:extLst>
          </c:dPt>
          <c:dPt>
            <c:idx val="827"/>
            <c:invertIfNegative val="1"/>
            <c:bubble3D val="0"/>
            <c:spPr>
              <a:solidFill>
                <a:srgbClr val="AEABAB"/>
              </a:solidFill>
            </c:spPr>
            <c:extLst>
              <c:ext xmlns:c16="http://schemas.microsoft.com/office/drawing/2014/chart" uri="{C3380CC4-5D6E-409C-BE32-E72D297353CC}">
                <c16:uniqueId val="{00000679-A7CE-4049-B88B-35FCDA646473}"/>
              </c:ext>
            </c:extLst>
          </c:dPt>
          <c:dPt>
            <c:idx val="828"/>
            <c:invertIfNegative val="1"/>
            <c:bubble3D val="0"/>
            <c:spPr>
              <a:solidFill>
                <a:srgbClr val="AEABAB"/>
              </a:solidFill>
            </c:spPr>
            <c:extLst>
              <c:ext xmlns:c16="http://schemas.microsoft.com/office/drawing/2014/chart" uri="{C3380CC4-5D6E-409C-BE32-E72D297353CC}">
                <c16:uniqueId val="{0000067B-A7CE-4049-B88B-35FCDA646473}"/>
              </c:ext>
            </c:extLst>
          </c:dPt>
          <c:dPt>
            <c:idx val="829"/>
            <c:invertIfNegative val="1"/>
            <c:bubble3D val="0"/>
            <c:spPr>
              <a:solidFill>
                <a:srgbClr val="AEABAB"/>
              </a:solidFill>
            </c:spPr>
            <c:extLst>
              <c:ext xmlns:c16="http://schemas.microsoft.com/office/drawing/2014/chart" uri="{C3380CC4-5D6E-409C-BE32-E72D297353CC}">
                <c16:uniqueId val="{0000067D-A7CE-4049-B88B-35FCDA646473}"/>
              </c:ext>
            </c:extLst>
          </c:dPt>
          <c:dPt>
            <c:idx val="830"/>
            <c:invertIfNegative val="1"/>
            <c:bubble3D val="0"/>
            <c:spPr>
              <a:solidFill>
                <a:srgbClr val="AEABAB"/>
              </a:solidFill>
            </c:spPr>
            <c:extLst>
              <c:ext xmlns:c16="http://schemas.microsoft.com/office/drawing/2014/chart" uri="{C3380CC4-5D6E-409C-BE32-E72D297353CC}">
                <c16:uniqueId val="{0000067F-A7CE-4049-B88B-35FCDA646473}"/>
              </c:ext>
            </c:extLst>
          </c:dPt>
          <c:dPt>
            <c:idx val="831"/>
            <c:invertIfNegative val="1"/>
            <c:bubble3D val="0"/>
            <c:spPr>
              <a:solidFill>
                <a:srgbClr val="AEABAB"/>
              </a:solidFill>
            </c:spPr>
            <c:extLst>
              <c:ext xmlns:c16="http://schemas.microsoft.com/office/drawing/2014/chart" uri="{C3380CC4-5D6E-409C-BE32-E72D297353CC}">
                <c16:uniqueId val="{00000681-A7CE-4049-B88B-35FCDA646473}"/>
              </c:ext>
            </c:extLst>
          </c:dPt>
          <c:dPt>
            <c:idx val="832"/>
            <c:invertIfNegative val="1"/>
            <c:bubble3D val="0"/>
            <c:spPr>
              <a:solidFill>
                <a:srgbClr val="AEABAB"/>
              </a:solidFill>
            </c:spPr>
            <c:extLst>
              <c:ext xmlns:c16="http://schemas.microsoft.com/office/drawing/2014/chart" uri="{C3380CC4-5D6E-409C-BE32-E72D297353CC}">
                <c16:uniqueId val="{00000683-A7CE-4049-B88B-35FCDA646473}"/>
              </c:ext>
            </c:extLst>
          </c:dPt>
          <c:dPt>
            <c:idx val="833"/>
            <c:invertIfNegative val="1"/>
            <c:bubble3D val="0"/>
            <c:spPr>
              <a:solidFill>
                <a:srgbClr val="AEABAB"/>
              </a:solidFill>
            </c:spPr>
            <c:extLst>
              <c:ext xmlns:c16="http://schemas.microsoft.com/office/drawing/2014/chart" uri="{C3380CC4-5D6E-409C-BE32-E72D297353CC}">
                <c16:uniqueId val="{00000685-A7CE-4049-B88B-35FCDA646473}"/>
              </c:ext>
            </c:extLst>
          </c:dPt>
          <c:dPt>
            <c:idx val="834"/>
            <c:invertIfNegative val="1"/>
            <c:bubble3D val="0"/>
            <c:spPr>
              <a:solidFill>
                <a:srgbClr val="AEABAB"/>
              </a:solidFill>
            </c:spPr>
            <c:extLst>
              <c:ext xmlns:c16="http://schemas.microsoft.com/office/drawing/2014/chart" uri="{C3380CC4-5D6E-409C-BE32-E72D297353CC}">
                <c16:uniqueId val="{00000687-A7CE-4049-B88B-35FCDA646473}"/>
              </c:ext>
            </c:extLst>
          </c:dPt>
          <c:dPt>
            <c:idx val="835"/>
            <c:invertIfNegative val="1"/>
            <c:bubble3D val="0"/>
            <c:spPr>
              <a:solidFill>
                <a:srgbClr val="AEABAB"/>
              </a:solidFill>
            </c:spPr>
            <c:extLst>
              <c:ext xmlns:c16="http://schemas.microsoft.com/office/drawing/2014/chart" uri="{C3380CC4-5D6E-409C-BE32-E72D297353CC}">
                <c16:uniqueId val="{00000689-A7CE-4049-B88B-35FCDA646473}"/>
              </c:ext>
            </c:extLst>
          </c:dPt>
          <c:dPt>
            <c:idx val="836"/>
            <c:invertIfNegative val="1"/>
            <c:bubble3D val="0"/>
            <c:spPr>
              <a:solidFill>
                <a:srgbClr val="AEABAB"/>
              </a:solidFill>
            </c:spPr>
            <c:extLst>
              <c:ext xmlns:c16="http://schemas.microsoft.com/office/drawing/2014/chart" uri="{C3380CC4-5D6E-409C-BE32-E72D297353CC}">
                <c16:uniqueId val="{0000068B-A7CE-4049-B88B-35FCDA646473}"/>
              </c:ext>
            </c:extLst>
          </c:dPt>
          <c:dPt>
            <c:idx val="837"/>
            <c:invertIfNegative val="1"/>
            <c:bubble3D val="0"/>
            <c:spPr>
              <a:solidFill>
                <a:srgbClr val="AEABAB"/>
              </a:solidFill>
            </c:spPr>
            <c:extLst>
              <c:ext xmlns:c16="http://schemas.microsoft.com/office/drawing/2014/chart" uri="{C3380CC4-5D6E-409C-BE32-E72D297353CC}">
                <c16:uniqueId val="{0000068D-A7CE-4049-B88B-35FCDA646473}"/>
              </c:ext>
            </c:extLst>
          </c:dPt>
          <c:dPt>
            <c:idx val="838"/>
            <c:invertIfNegative val="1"/>
            <c:bubble3D val="0"/>
            <c:spPr>
              <a:solidFill>
                <a:srgbClr val="AEABAB"/>
              </a:solidFill>
            </c:spPr>
            <c:extLst>
              <c:ext xmlns:c16="http://schemas.microsoft.com/office/drawing/2014/chart" uri="{C3380CC4-5D6E-409C-BE32-E72D297353CC}">
                <c16:uniqueId val="{0000068F-A7CE-4049-B88B-35FCDA646473}"/>
              </c:ext>
            </c:extLst>
          </c:dPt>
          <c:dPt>
            <c:idx val="839"/>
            <c:invertIfNegative val="1"/>
            <c:bubble3D val="0"/>
            <c:spPr>
              <a:solidFill>
                <a:srgbClr val="AEABAB"/>
              </a:solidFill>
            </c:spPr>
            <c:extLst>
              <c:ext xmlns:c16="http://schemas.microsoft.com/office/drawing/2014/chart" uri="{C3380CC4-5D6E-409C-BE32-E72D297353CC}">
                <c16:uniqueId val="{00000691-A7CE-4049-B88B-35FCDA646473}"/>
              </c:ext>
            </c:extLst>
          </c:dPt>
          <c:dPt>
            <c:idx val="840"/>
            <c:invertIfNegative val="1"/>
            <c:bubble3D val="0"/>
            <c:spPr>
              <a:solidFill>
                <a:srgbClr val="AEABAB"/>
              </a:solidFill>
            </c:spPr>
            <c:extLst>
              <c:ext xmlns:c16="http://schemas.microsoft.com/office/drawing/2014/chart" uri="{C3380CC4-5D6E-409C-BE32-E72D297353CC}">
                <c16:uniqueId val="{00000693-A7CE-4049-B88B-35FCDA646473}"/>
              </c:ext>
            </c:extLst>
          </c:dPt>
          <c:dPt>
            <c:idx val="841"/>
            <c:invertIfNegative val="1"/>
            <c:bubble3D val="0"/>
            <c:spPr>
              <a:solidFill>
                <a:srgbClr val="AEABAB"/>
              </a:solidFill>
            </c:spPr>
            <c:extLst>
              <c:ext xmlns:c16="http://schemas.microsoft.com/office/drawing/2014/chart" uri="{C3380CC4-5D6E-409C-BE32-E72D297353CC}">
                <c16:uniqueId val="{00000695-A7CE-4049-B88B-35FCDA646473}"/>
              </c:ext>
            </c:extLst>
          </c:dPt>
          <c:dPt>
            <c:idx val="842"/>
            <c:invertIfNegative val="1"/>
            <c:bubble3D val="0"/>
            <c:spPr>
              <a:solidFill>
                <a:srgbClr val="AEABAB"/>
              </a:solidFill>
            </c:spPr>
            <c:extLst>
              <c:ext xmlns:c16="http://schemas.microsoft.com/office/drawing/2014/chart" uri="{C3380CC4-5D6E-409C-BE32-E72D297353CC}">
                <c16:uniqueId val="{00000697-A7CE-4049-B88B-35FCDA646473}"/>
              </c:ext>
            </c:extLst>
          </c:dPt>
          <c:dPt>
            <c:idx val="843"/>
            <c:invertIfNegative val="1"/>
            <c:bubble3D val="0"/>
            <c:spPr>
              <a:solidFill>
                <a:srgbClr val="AEABAB"/>
              </a:solidFill>
            </c:spPr>
            <c:extLst>
              <c:ext xmlns:c16="http://schemas.microsoft.com/office/drawing/2014/chart" uri="{C3380CC4-5D6E-409C-BE32-E72D297353CC}">
                <c16:uniqueId val="{00000699-A7CE-4049-B88B-35FCDA646473}"/>
              </c:ext>
            </c:extLst>
          </c:dPt>
          <c:dPt>
            <c:idx val="844"/>
            <c:invertIfNegative val="1"/>
            <c:bubble3D val="0"/>
            <c:spPr>
              <a:solidFill>
                <a:srgbClr val="AEABAB"/>
              </a:solidFill>
            </c:spPr>
            <c:extLst>
              <c:ext xmlns:c16="http://schemas.microsoft.com/office/drawing/2014/chart" uri="{C3380CC4-5D6E-409C-BE32-E72D297353CC}">
                <c16:uniqueId val="{0000069B-A7CE-4049-B88B-35FCDA646473}"/>
              </c:ext>
            </c:extLst>
          </c:dPt>
          <c:dPt>
            <c:idx val="845"/>
            <c:invertIfNegative val="1"/>
            <c:bubble3D val="0"/>
            <c:spPr>
              <a:solidFill>
                <a:srgbClr val="AEABAB"/>
              </a:solidFill>
            </c:spPr>
            <c:extLst>
              <c:ext xmlns:c16="http://schemas.microsoft.com/office/drawing/2014/chart" uri="{C3380CC4-5D6E-409C-BE32-E72D297353CC}">
                <c16:uniqueId val="{0000069D-A7CE-4049-B88B-35FCDA646473}"/>
              </c:ext>
            </c:extLst>
          </c:dPt>
          <c:dPt>
            <c:idx val="846"/>
            <c:invertIfNegative val="1"/>
            <c:bubble3D val="0"/>
            <c:spPr>
              <a:solidFill>
                <a:srgbClr val="AEABAB"/>
              </a:solidFill>
            </c:spPr>
            <c:extLst>
              <c:ext xmlns:c16="http://schemas.microsoft.com/office/drawing/2014/chart" uri="{C3380CC4-5D6E-409C-BE32-E72D297353CC}">
                <c16:uniqueId val="{0000069F-A7CE-4049-B88B-35FCDA646473}"/>
              </c:ext>
            </c:extLst>
          </c:dPt>
          <c:dPt>
            <c:idx val="847"/>
            <c:invertIfNegative val="1"/>
            <c:bubble3D val="0"/>
            <c:spPr>
              <a:solidFill>
                <a:srgbClr val="AEABAB"/>
              </a:solidFill>
            </c:spPr>
            <c:extLst>
              <c:ext xmlns:c16="http://schemas.microsoft.com/office/drawing/2014/chart" uri="{C3380CC4-5D6E-409C-BE32-E72D297353CC}">
                <c16:uniqueId val="{000006A1-A7CE-4049-B88B-35FCDA646473}"/>
              </c:ext>
            </c:extLst>
          </c:dPt>
          <c:dPt>
            <c:idx val="848"/>
            <c:invertIfNegative val="1"/>
            <c:bubble3D val="0"/>
            <c:spPr>
              <a:solidFill>
                <a:srgbClr val="AEABAB"/>
              </a:solidFill>
            </c:spPr>
            <c:extLst>
              <c:ext xmlns:c16="http://schemas.microsoft.com/office/drawing/2014/chart" uri="{C3380CC4-5D6E-409C-BE32-E72D297353CC}">
                <c16:uniqueId val="{000006A3-A7CE-4049-B88B-35FCDA646473}"/>
              </c:ext>
            </c:extLst>
          </c:dPt>
          <c:dPt>
            <c:idx val="849"/>
            <c:invertIfNegative val="1"/>
            <c:bubble3D val="0"/>
            <c:spPr>
              <a:solidFill>
                <a:srgbClr val="AEABAB"/>
              </a:solidFill>
            </c:spPr>
            <c:extLst>
              <c:ext xmlns:c16="http://schemas.microsoft.com/office/drawing/2014/chart" uri="{C3380CC4-5D6E-409C-BE32-E72D297353CC}">
                <c16:uniqueId val="{000006A5-A7CE-4049-B88B-35FCDA646473}"/>
              </c:ext>
            </c:extLst>
          </c:dPt>
          <c:dPt>
            <c:idx val="850"/>
            <c:invertIfNegative val="1"/>
            <c:bubble3D val="0"/>
            <c:spPr>
              <a:solidFill>
                <a:srgbClr val="AEABAB"/>
              </a:solidFill>
            </c:spPr>
            <c:extLst>
              <c:ext xmlns:c16="http://schemas.microsoft.com/office/drawing/2014/chart" uri="{C3380CC4-5D6E-409C-BE32-E72D297353CC}">
                <c16:uniqueId val="{000006A7-A7CE-4049-B88B-35FCDA646473}"/>
              </c:ext>
            </c:extLst>
          </c:dPt>
          <c:dPt>
            <c:idx val="851"/>
            <c:invertIfNegative val="1"/>
            <c:bubble3D val="0"/>
            <c:spPr>
              <a:solidFill>
                <a:srgbClr val="AEABAB"/>
              </a:solidFill>
            </c:spPr>
            <c:extLst>
              <c:ext xmlns:c16="http://schemas.microsoft.com/office/drawing/2014/chart" uri="{C3380CC4-5D6E-409C-BE32-E72D297353CC}">
                <c16:uniqueId val="{000006A9-A7CE-4049-B88B-35FCDA646473}"/>
              </c:ext>
            </c:extLst>
          </c:dPt>
          <c:dPt>
            <c:idx val="852"/>
            <c:invertIfNegative val="1"/>
            <c:bubble3D val="0"/>
            <c:spPr>
              <a:solidFill>
                <a:srgbClr val="AEABAB"/>
              </a:solidFill>
            </c:spPr>
            <c:extLst>
              <c:ext xmlns:c16="http://schemas.microsoft.com/office/drawing/2014/chart" uri="{C3380CC4-5D6E-409C-BE32-E72D297353CC}">
                <c16:uniqueId val="{000006AB-A7CE-4049-B88B-35FCDA646473}"/>
              </c:ext>
            </c:extLst>
          </c:dPt>
          <c:dPt>
            <c:idx val="853"/>
            <c:invertIfNegative val="1"/>
            <c:bubble3D val="0"/>
            <c:spPr>
              <a:solidFill>
                <a:srgbClr val="AEABAB"/>
              </a:solidFill>
            </c:spPr>
            <c:extLst>
              <c:ext xmlns:c16="http://schemas.microsoft.com/office/drawing/2014/chart" uri="{C3380CC4-5D6E-409C-BE32-E72D297353CC}">
                <c16:uniqueId val="{000006AD-A7CE-4049-B88B-35FCDA646473}"/>
              </c:ext>
            </c:extLst>
          </c:dPt>
          <c:dPt>
            <c:idx val="854"/>
            <c:invertIfNegative val="1"/>
            <c:bubble3D val="0"/>
            <c:spPr>
              <a:solidFill>
                <a:srgbClr val="AEABAB"/>
              </a:solidFill>
            </c:spPr>
            <c:extLst>
              <c:ext xmlns:c16="http://schemas.microsoft.com/office/drawing/2014/chart" uri="{C3380CC4-5D6E-409C-BE32-E72D297353CC}">
                <c16:uniqueId val="{000006AF-A7CE-4049-B88B-35FCDA646473}"/>
              </c:ext>
            </c:extLst>
          </c:dPt>
          <c:dPt>
            <c:idx val="855"/>
            <c:invertIfNegative val="1"/>
            <c:bubble3D val="0"/>
            <c:spPr>
              <a:solidFill>
                <a:srgbClr val="AEABAB"/>
              </a:solidFill>
            </c:spPr>
            <c:extLst>
              <c:ext xmlns:c16="http://schemas.microsoft.com/office/drawing/2014/chart" uri="{C3380CC4-5D6E-409C-BE32-E72D297353CC}">
                <c16:uniqueId val="{000006B1-A7CE-4049-B88B-35FCDA646473}"/>
              </c:ext>
            </c:extLst>
          </c:dPt>
          <c:dPt>
            <c:idx val="856"/>
            <c:invertIfNegative val="1"/>
            <c:bubble3D val="0"/>
            <c:spPr>
              <a:solidFill>
                <a:srgbClr val="AEABAB"/>
              </a:solidFill>
            </c:spPr>
            <c:extLst>
              <c:ext xmlns:c16="http://schemas.microsoft.com/office/drawing/2014/chart" uri="{C3380CC4-5D6E-409C-BE32-E72D297353CC}">
                <c16:uniqueId val="{000006B3-A7CE-4049-B88B-35FCDA646473}"/>
              </c:ext>
            </c:extLst>
          </c:dPt>
          <c:dPt>
            <c:idx val="857"/>
            <c:invertIfNegative val="1"/>
            <c:bubble3D val="0"/>
            <c:spPr>
              <a:solidFill>
                <a:srgbClr val="AEABAB"/>
              </a:solidFill>
            </c:spPr>
            <c:extLst>
              <c:ext xmlns:c16="http://schemas.microsoft.com/office/drawing/2014/chart" uri="{C3380CC4-5D6E-409C-BE32-E72D297353CC}">
                <c16:uniqueId val="{000006B5-A7CE-4049-B88B-35FCDA646473}"/>
              </c:ext>
            </c:extLst>
          </c:dPt>
          <c:dPt>
            <c:idx val="858"/>
            <c:invertIfNegative val="1"/>
            <c:bubble3D val="0"/>
            <c:spPr>
              <a:solidFill>
                <a:srgbClr val="AEABAB"/>
              </a:solidFill>
            </c:spPr>
            <c:extLst>
              <c:ext xmlns:c16="http://schemas.microsoft.com/office/drawing/2014/chart" uri="{C3380CC4-5D6E-409C-BE32-E72D297353CC}">
                <c16:uniqueId val="{000006B7-A7CE-4049-B88B-35FCDA646473}"/>
              </c:ext>
            </c:extLst>
          </c:dPt>
          <c:dPt>
            <c:idx val="859"/>
            <c:invertIfNegative val="1"/>
            <c:bubble3D val="0"/>
            <c:spPr>
              <a:solidFill>
                <a:srgbClr val="AEABAB"/>
              </a:solidFill>
            </c:spPr>
            <c:extLst>
              <c:ext xmlns:c16="http://schemas.microsoft.com/office/drawing/2014/chart" uri="{C3380CC4-5D6E-409C-BE32-E72D297353CC}">
                <c16:uniqueId val="{000006B9-A7CE-4049-B88B-35FCDA646473}"/>
              </c:ext>
            </c:extLst>
          </c:dPt>
          <c:dPt>
            <c:idx val="860"/>
            <c:invertIfNegative val="1"/>
            <c:bubble3D val="0"/>
            <c:spPr>
              <a:solidFill>
                <a:srgbClr val="AEABAB"/>
              </a:solidFill>
            </c:spPr>
            <c:extLst>
              <c:ext xmlns:c16="http://schemas.microsoft.com/office/drawing/2014/chart" uri="{C3380CC4-5D6E-409C-BE32-E72D297353CC}">
                <c16:uniqueId val="{000006BB-A7CE-4049-B88B-35FCDA646473}"/>
              </c:ext>
            </c:extLst>
          </c:dPt>
          <c:dPt>
            <c:idx val="861"/>
            <c:invertIfNegative val="1"/>
            <c:bubble3D val="0"/>
            <c:spPr>
              <a:solidFill>
                <a:srgbClr val="AEABAB"/>
              </a:solidFill>
            </c:spPr>
            <c:extLst>
              <c:ext xmlns:c16="http://schemas.microsoft.com/office/drawing/2014/chart" uri="{C3380CC4-5D6E-409C-BE32-E72D297353CC}">
                <c16:uniqueId val="{000006BD-A7CE-4049-B88B-35FCDA646473}"/>
              </c:ext>
            </c:extLst>
          </c:dPt>
          <c:dPt>
            <c:idx val="862"/>
            <c:invertIfNegative val="1"/>
            <c:bubble3D val="0"/>
            <c:spPr>
              <a:solidFill>
                <a:srgbClr val="AEABAB"/>
              </a:solidFill>
            </c:spPr>
            <c:extLst>
              <c:ext xmlns:c16="http://schemas.microsoft.com/office/drawing/2014/chart" uri="{C3380CC4-5D6E-409C-BE32-E72D297353CC}">
                <c16:uniqueId val="{000006BF-A7CE-4049-B88B-35FCDA646473}"/>
              </c:ext>
            </c:extLst>
          </c:dPt>
          <c:dPt>
            <c:idx val="863"/>
            <c:invertIfNegative val="1"/>
            <c:bubble3D val="0"/>
            <c:spPr>
              <a:solidFill>
                <a:srgbClr val="AEABAB"/>
              </a:solidFill>
            </c:spPr>
            <c:extLst>
              <c:ext xmlns:c16="http://schemas.microsoft.com/office/drawing/2014/chart" uri="{C3380CC4-5D6E-409C-BE32-E72D297353CC}">
                <c16:uniqueId val="{000006C1-A7CE-4049-B88B-35FCDA646473}"/>
              </c:ext>
            </c:extLst>
          </c:dPt>
          <c:dPt>
            <c:idx val="864"/>
            <c:invertIfNegative val="1"/>
            <c:bubble3D val="0"/>
            <c:spPr>
              <a:solidFill>
                <a:srgbClr val="AEABAB"/>
              </a:solidFill>
            </c:spPr>
            <c:extLst>
              <c:ext xmlns:c16="http://schemas.microsoft.com/office/drawing/2014/chart" uri="{C3380CC4-5D6E-409C-BE32-E72D297353CC}">
                <c16:uniqueId val="{000006C3-A7CE-4049-B88B-35FCDA646473}"/>
              </c:ext>
            </c:extLst>
          </c:dPt>
          <c:dPt>
            <c:idx val="865"/>
            <c:invertIfNegative val="1"/>
            <c:bubble3D val="0"/>
            <c:spPr>
              <a:solidFill>
                <a:srgbClr val="AEABAB"/>
              </a:solidFill>
            </c:spPr>
            <c:extLst>
              <c:ext xmlns:c16="http://schemas.microsoft.com/office/drawing/2014/chart" uri="{C3380CC4-5D6E-409C-BE32-E72D297353CC}">
                <c16:uniqueId val="{000006C5-A7CE-4049-B88B-35FCDA646473}"/>
              </c:ext>
            </c:extLst>
          </c:dPt>
          <c:dPt>
            <c:idx val="866"/>
            <c:invertIfNegative val="1"/>
            <c:bubble3D val="0"/>
            <c:spPr>
              <a:solidFill>
                <a:srgbClr val="AEABAB"/>
              </a:solidFill>
            </c:spPr>
            <c:extLst>
              <c:ext xmlns:c16="http://schemas.microsoft.com/office/drawing/2014/chart" uri="{C3380CC4-5D6E-409C-BE32-E72D297353CC}">
                <c16:uniqueId val="{000006C7-A7CE-4049-B88B-35FCDA646473}"/>
              </c:ext>
            </c:extLst>
          </c:dPt>
          <c:dPt>
            <c:idx val="867"/>
            <c:invertIfNegative val="1"/>
            <c:bubble3D val="0"/>
            <c:spPr>
              <a:solidFill>
                <a:srgbClr val="AEABAB"/>
              </a:solidFill>
            </c:spPr>
            <c:extLst>
              <c:ext xmlns:c16="http://schemas.microsoft.com/office/drawing/2014/chart" uri="{C3380CC4-5D6E-409C-BE32-E72D297353CC}">
                <c16:uniqueId val="{000006C9-A7CE-4049-B88B-35FCDA646473}"/>
              </c:ext>
            </c:extLst>
          </c:dPt>
          <c:dPt>
            <c:idx val="868"/>
            <c:invertIfNegative val="1"/>
            <c:bubble3D val="0"/>
            <c:spPr>
              <a:solidFill>
                <a:srgbClr val="AEABAB"/>
              </a:solidFill>
            </c:spPr>
            <c:extLst>
              <c:ext xmlns:c16="http://schemas.microsoft.com/office/drawing/2014/chart" uri="{C3380CC4-5D6E-409C-BE32-E72D297353CC}">
                <c16:uniqueId val="{000006CB-A7CE-4049-B88B-35FCDA646473}"/>
              </c:ext>
            </c:extLst>
          </c:dPt>
          <c:dPt>
            <c:idx val="869"/>
            <c:invertIfNegative val="1"/>
            <c:bubble3D val="0"/>
            <c:spPr>
              <a:solidFill>
                <a:srgbClr val="AEABAB"/>
              </a:solidFill>
            </c:spPr>
            <c:extLst>
              <c:ext xmlns:c16="http://schemas.microsoft.com/office/drawing/2014/chart" uri="{C3380CC4-5D6E-409C-BE32-E72D297353CC}">
                <c16:uniqueId val="{000006CD-A7CE-4049-B88B-35FCDA646473}"/>
              </c:ext>
            </c:extLst>
          </c:dPt>
          <c:dPt>
            <c:idx val="870"/>
            <c:invertIfNegative val="1"/>
            <c:bubble3D val="0"/>
            <c:spPr>
              <a:solidFill>
                <a:srgbClr val="AEABAB"/>
              </a:solidFill>
            </c:spPr>
            <c:extLst>
              <c:ext xmlns:c16="http://schemas.microsoft.com/office/drawing/2014/chart" uri="{C3380CC4-5D6E-409C-BE32-E72D297353CC}">
                <c16:uniqueId val="{000006CF-A7CE-4049-B88B-35FCDA646473}"/>
              </c:ext>
            </c:extLst>
          </c:dPt>
          <c:dPt>
            <c:idx val="871"/>
            <c:invertIfNegative val="1"/>
            <c:bubble3D val="0"/>
            <c:spPr>
              <a:solidFill>
                <a:srgbClr val="AEABAB"/>
              </a:solidFill>
            </c:spPr>
            <c:extLst>
              <c:ext xmlns:c16="http://schemas.microsoft.com/office/drawing/2014/chart" uri="{C3380CC4-5D6E-409C-BE32-E72D297353CC}">
                <c16:uniqueId val="{000006D1-A7CE-4049-B88B-35FCDA646473}"/>
              </c:ext>
            </c:extLst>
          </c:dPt>
          <c:dPt>
            <c:idx val="872"/>
            <c:invertIfNegative val="1"/>
            <c:bubble3D val="0"/>
            <c:spPr>
              <a:solidFill>
                <a:srgbClr val="AEABAB"/>
              </a:solidFill>
            </c:spPr>
            <c:extLst>
              <c:ext xmlns:c16="http://schemas.microsoft.com/office/drawing/2014/chart" uri="{C3380CC4-5D6E-409C-BE32-E72D297353CC}">
                <c16:uniqueId val="{000006D3-A7CE-4049-B88B-35FCDA646473}"/>
              </c:ext>
            </c:extLst>
          </c:dPt>
          <c:dPt>
            <c:idx val="873"/>
            <c:invertIfNegative val="1"/>
            <c:bubble3D val="0"/>
            <c:spPr>
              <a:solidFill>
                <a:srgbClr val="AEABAB"/>
              </a:solidFill>
            </c:spPr>
            <c:extLst>
              <c:ext xmlns:c16="http://schemas.microsoft.com/office/drawing/2014/chart" uri="{C3380CC4-5D6E-409C-BE32-E72D297353CC}">
                <c16:uniqueId val="{000006D5-A7CE-4049-B88B-35FCDA646473}"/>
              </c:ext>
            </c:extLst>
          </c:dPt>
          <c:dPt>
            <c:idx val="874"/>
            <c:invertIfNegative val="1"/>
            <c:bubble3D val="0"/>
            <c:spPr>
              <a:solidFill>
                <a:srgbClr val="AEABAB"/>
              </a:solidFill>
            </c:spPr>
            <c:extLst>
              <c:ext xmlns:c16="http://schemas.microsoft.com/office/drawing/2014/chart" uri="{C3380CC4-5D6E-409C-BE32-E72D297353CC}">
                <c16:uniqueId val="{000006D7-A7CE-4049-B88B-35FCDA646473}"/>
              </c:ext>
            </c:extLst>
          </c:dPt>
          <c:dPt>
            <c:idx val="875"/>
            <c:invertIfNegative val="1"/>
            <c:bubble3D val="0"/>
            <c:spPr>
              <a:solidFill>
                <a:srgbClr val="AEABAB"/>
              </a:solidFill>
            </c:spPr>
            <c:extLst>
              <c:ext xmlns:c16="http://schemas.microsoft.com/office/drawing/2014/chart" uri="{C3380CC4-5D6E-409C-BE32-E72D297353CC}">
                <c16:uniqueId val="{000006D9-A7CE-4049-B88B-35FCDA646473}"/>
              </c:ext>
            </c:extLst>
          </c:dPt>
          <c:dPt>
            <c:idx val="876"/>
            <c:invertIfNegative val="1"/>
            <c:bubble3D val="0"/>
            <c:spPr>
              <a:solidFill>
                <a:srgbClr val="AEABAB"/>
              </a:solidFill>
            </c:spPr>
            <c:extLst>
              <c:ext xmlns:c16="http://schemas.microsoft.com/office/drawing/2014/chart" uri="{C3380CC4-5D6E-409C-BE32-E72D297353CC}">
                <c16:uniqueId val="{000006DB-A7CE-4049-B88B-35FCDA646473}"/>
              </c:ext>
            </c:extLst>
          </c:dPt>
          <c:dPt>
            <c:idx val="877"/>
            <c:invertIfNegative val="1"/>
            <c:bubble3D val="0"/>
            <c:spPr>
              <a:solidFill>
                <a:srgbClr val="AEABAB"/>
              </a:solidFill>
            </c:spPr>
            <c:extLst>
              <c:ext xmlns:c16="http://schemas.microsoft.com/office/drawing/2014/chart" uri="{C3380CC4-5D6E-409C-BE32-E72D297353CC}">
                <c16:uniqueId val="{000006DD-A7CE-4049-B88B-35FCDA646473}"/>
              </c:ext>
            </c:extLst>
          </c:dPt>
          <c:dPt>
            <c:idx val="878"/>
            <c:invertIfNegative val="1"/>
            <c:bubble3D val="0"/>
            <c:spPr>
              <a:solidFill>
                <a:srgbClr val="AEABAB"/>
              </a:solidFill>
            </c:spPr>
            <c:extLst>
              <c:ext xmlns:c16="http://schemas.microsoft.com/office/drawing/2014/chart" uri="{C3380CC4-5D6E-409C-BE32-E72D297353CC}">
                <c16:uniqueId val="{000006DF-A7CE-4049-B88B-35FCDA646473}"/>
              </c:ext>
            </c:extLst>
          </c:dPt>
          <c:dPt>
            <c:idx val="879"/>
            <c:invertIfNegative val="1"/>
            <c:bubble3D val="0"/>
            <c:spPr>
              <a:solidFill>
                <a:srgbClr val="AEABAB"/>
              </a:solidFill>
            </c:spPr>
            <c:extLst>
              <c:ext xmlns:c16="http://schemas.microsoft.com/office/drawing/2014/chart" uri="{C3380CC4-5D6E-409C-BE32-E72D297353CC}">
                <c16:uniqueId val="{000006E1-A7CE-4049-B88B-35FCDA646473}"/>
              </c:ext>
            </c:extLst>
          </c:dPt>
          <c:dPt>
            <c:idx val="880"/>
            <c:invertIfNegative val="1"/>
            <c:bubble3D val="0"/>
            <c:spPr>
              <a:solidFill>
                <a:srgbClr val="AEABAB"/>
              </a:solidFill>
            </c:spPr>
            <c:extLst>
              <c:ext xmlns:c16="http://schemas.microsoft.com/office/drawing/2014/chart" uri="{C3380CC4-5D6E-409C-BE32-E72D297353CC}">
                <c16:uniqueId val="{000006E3-A7CE-4049-B88B-35FCDA646473}"/>
              </c:ext>
            </c:extLst>
          </c:dPt>
          <c:dPt>
            <c:idx val="881"/>
            <c:invertIfNegative val="1"/>
            <c:bubble3D val="0"/>
            <c:spPr>
              <a:solidFill>
                <a:srgbClr val="AEABAB"/>
              </a:solidFill>
            </c:spPr>
            <c:extLst>
              <c:ext xmlns:c16="http://schemas.microsoft.com/office/drawing/2014/chart" uri="{C3380CC4-5D6E-409C-BE32-E72D297353CC}">
                <c16:uniqueId val="{000006E5-A7CE-4049-B88B-35FCDA646473}"/>
              </c:ext>
            </c:extLst>
          </c:dPt>
          <c:dPt>
            <c:idx val="882"/>
            <c:invertIfNegative val="1"/>
            <c:bubble3D val="0"/>
            <c:spPr>
              <a:solidFill>
                <a:srgbClr val="AEABAB"/>
              </a:solidFill>
            </c:spPr>
            <c:extLst>
              <c:ext xmlns:c16="http://schemas.microsoft.com/office/drawing/2014/chart" uri="{C3380CC4-5D6E-409C-BE32-E72D297353CC}">
                <c16:uniqueId val="{000006E7-A7CE-4049-B88B-35FCDA646473}"/>
              </c:ext>
            </c:extLst>
          </c:dPt>
          <c:dPt>
            <c:idx val="883"/>
            <c:invertIfNegative val="1"/>
            <c:bubble3D val="0"/>
            <c:spPr>
              <a:solidFill>
                <a:srgbClr val="AEABAB"/>
              </a:solidFill>
            </c:spPr>
            <c:extLst>
              <c:ext xmlns:c16="http://schemas.microsoft.com/office/drawing/2014/chart" uri="{C3380CC4-5D6E-409C-BE32-E72D297353CC}">
                <c16:uniqueId val="{000006E9-A7CE-4049-B88B-35FCDA646473}"/>
              </c:ext>
            </c:extLst>
          </c:dPt>
          <c:dPt>
            <c:idx val="884"/>
            <c:invertIfNegative val="1"/>
            <c:bubble3D val="0"/>
            <c:spPr>
              <a:solidFill>
                <a:srgbClr val="AEABAB"/>
              </a:solidFill>
            </c:spPr>
            <c:extLst>
              <c:ext xmlns:c16="http://schemas.microsoft.com/office/drawing/2014/chart" uri="{C3380CC4-5D6E-409C-BE32-E72D297353CC}">
                <c16:uniqueId val="{000006EB-A7CE-4049-B88B-35FCDA646473}"/>
              </c:ext>
            </c:extLst>
          </c:dPt>
          <c:dPt>
            <c:idx val="885"/>
            <c:invertIfNegative val="1"/>
            <c:bubble3D val="0"/>
            <c:spPr>
              <a:solidFill>
                <a:srgbClr val="AEABAB"/>
              </a:solidFill>
            </c:spPr>
            <c:extLst>
              <c:ext xmlns:c16="http://schemas.microsoft.com/office/drawing/2014/chart" uri="{C3380CC4-5D6E-409C-BE32-E72D297353CC}">
                <c16:uniqueId val="{000006ED-A7CE-4049-B88B-35FCDA646473}"/>
              </c:ext>
            </c:extLst>
          </c:dPt>
          <c:dPt>
            <c:idx val="886"/>
            <c:invertIfNegative val="1"/>
            <c:bubble3D val="0"/>
            <c:spPr>
              <a:solidFill>
                <a:srgbClr val="AEABAB"/>
              </a:solidFill>
            </c:spPr>
            <c:extLst>
              <c:ext xmlns:c16="http://schemas.microsoft.com/office/drawing/2014/chart" uri="{C3380CC4-5D6E-409C-BE32-E72D297353CC}">
                <c16:uniqueId val="{000006EF-A7CE-4049-B88B-35FCDA646473}"/>
              </c:ext>
            </c:extLst>
          </c:dPt>
          <c:dPt>
            <c:idx val="887"/>
            <c:invertIfNegative val="1"/>
            <c:bubble3D val="0"/>
            <c:spPr>
              <a:solidFill>
                <a:srgbClr val="AEABAB"/>
              </a:solidFill>
            </c:spPr>
            <c:extLst>
              <c:ext xmlns:c16="http://schemas.microsoft.com/office/drawing/2014/chart" uri="{C3380CC4-5D6E-409C-BE32-E72D297353CC}">
                <c16:uniqueId val="{000006F1-A7CE-4049-B88B-35FCDA646473}"/>
              </c:ext>
            </c:extLst>
          </c:dPt>
          <c:dPt>
            <c:idx val="888"/>
            <c:invertIfNegative val="1"/>
            <c:bubble3D val="0"/>
            <c:spPr>
              <a:solidFill>
                <a:srgbClr val="AEABAB"/>
              </a:solidFill>
            </c:spPr>
            <c:extLst>
              <c:ext xmlns:c16="http://schemas.microsoft.com/office/drawing/2014/chart" uri="{C3380CC4-5D6E-409C-BE32-E72D297353CC}">
                <c16:uniqueId val="{000006F3-A7CE-4049-B88B-35FCDA646473}"/>
              </c:ext>
            </c:extLst>
          </c:dPt>
          <c:dPt>
            <c:idx val="889"/>
            <c:invertIfNegative val="1"/>
            <c:bubble3D val="0"/>
            <c:spPr>
              <a:solidFill>
                <a:srgbClr val="AEABAB"/>
              </a:solidFill>
            </c:spPr>
            <c:extLst>
              <c:ext xmlns:c16="http://schemas.microsoft.com/office/drawing/2014/chart" uri="{C3380CC4-5D6E-409C-BE32-E72D297353CC}">
                <c16:uniqueId val="{000006F5-A7CE-4049-B88B-35FCDA646473}"/>
              </c:ext>
            </c:extLst>
          </c:dPt>
          <c:dPt>
            <c:idx val="890"/>
            <c:invertIfNegative val="1"/>
            <c:bubble3D val="0"/>
            <c:spPr>
              <a:solidFill>
                <a:srgbClr val="AEABAB"/>
              </a:solidFill>
            </c:spPr>
            <c:extLst>
              <c:ext xmlns:c16="http://schemas.microsoft.com/office/drawing/2014/chart" uri="{C3380CC4-5D6E-409C-BE32-E72D297353CC}">
                <c16:uniqueId val="{000006F7-A7CE-4049-B88B-35FCDA646473}"/>
              </c:ext>
            </c:extLst>
          </c:dPt>
          <c:dPt>
            <c:idx val="891"/>
            <c:invertIfNegative val="1"/>
            <c:bubble3D val="0"/>
            <c:spPr>
              <a:solidFill>
                <a:srgbClr val="AEABAB"/>
              </a:solidFill>
            </c:spPr>
            <c:extLst>
              <c:ext xmlns:c16="http://schemas.microsoft.com/office/drawing/2014/chart" uri="{C3380CC4-5D6E-409C-BE32-E72D297353CC}">
                <c16:uniqueId val="{000006F9-A7CE-4049-B88B-35FCDA646473}"/>
              </c:ext>
            </c:extLst>
          </c:dPt>
          <c:dPt>
            <c:idx val="892"/>
            <c:invertIfNegative val="1"/>
            <c:bubble3D val="0"/>
            <c:spPr>
              <a:solidFill>
                <a:srgbClr val="AEABAB"/>
              </a:solidFill>
            </c:spPr>
            <c:extLst>
              <c:ext xmlns:c16="http://schemas.microsoft.com/office/drawing/2014/chart" uri="{C3380CC4-5D6E-409C-BE32-E72D297353CC}">
                <c16:uniqueId val="{000006FB-A7CE-4049-B88B-35FCDA646473}"/>
              </c:ext>
            </c:extLst>
          </c:dPt>
          <c:dPt>
            <c:idx val="893"/>
            <c:invertIfNegative val="1"/>
            <c:bubble3D val="0"/>
            <c:spPr>
              <a:solidFill>
                <a:srgbClr val="AEABAB"/>
              </a:solidFill>
            </c:spPr>
            <c:extLst>
              <c:ext xmlns:c16="http://schemas.microsoft.com/office/drawing/2014/chart" uri="{C3380CC4-5D6E-409C-BE32-E72D297353CC}">
                <c16:uniqueId val="{000006FD-A7CE-4049-B88B-35FCDA646473}"/>
              </c:ext>
            </c:extLst>
          </c:dPt>
          <c:dPt>
            <c:idx val="894"/>
            <c:invertIfNegative val="1"/>
            <c:bubble3D val="0"/>
            <c:spPr>
              <a:solidFill>
                <a:srgbClr val="AEABAB"/>
              </a:solidFill>
            </c:spPr>
            <c:extLst>
              <c:ext xmlns:c16="http://schemas.microsoft.com/office/drawing/2014/chart" uri="{C3380CC4-5D6E-409C-BE32-E72D297353CC}">
                <c16:uniqueId val="{000006FF-A7CE-4049-B88B-35FCDA646473}"/>
              </c:ext>
            </c:extLst>
          </c:dPt>
          <c:dPt>
            <c:idx val="895"/>
            <c:invertIfNegative val="1"/>
            <c:bubble3D val="0"/>
            <c:spPr>
              <a:solidFill>
                <a:srgbClr val="AEABAB"/>
              </a:solidFill>
            </c:spPr>
            <c:extLst>
              <c:ext xmlns:c16="http://schemas.microsoft.com/office/drawing/2014/chart" uri="{C3380CC4-5D6E-409C-BE32-E72D297353CC}">
                <c16:uniqueId val="{00000701-A7CE-4049-B88B-35FCDA646473}"/>
              </c:ext>
            </c:extLst>
          </c:dPt>
          <c:dPt>
            <c:idx val="896"/>
            <c:invertIfNegative val="1"/>
            <c:bubble3D val="0"/>
            <c:spPr>
              <a:solidFill>
                <a:srgbClr val="AEABAB"/>
              </a:solidFill>
            </c:spPr>
            <c:extLst>
              <c:ext xmlns:c16="http://schemas.microsoft.com/office/drawing/2014/chart" uri="{C3380CC4-5D6E-409C-BE32-E72D297353CC}">
                <c16:uniqueId val="{00000703-A7CE-4049-B88B-35FCDA646473}"/>
              </c:ext>
            </c:extLst>
          </c:dPt>
          <c:dPt>
            <c:idx val="897"/>
            <c:invertIfNegative val="1"/>
            <c:bubble3D val="0"/>
            <c:spPr>
              <a:solidFill>
                <a:srgbClr val="AEABAB"/>
              </a:solidFill>
            </c:spPr>
            <c:extLst>
              <c:ext xmlns:c16="http://schemas.microsoft.com/office/drawing/2014/chart" uri="{C3380CC4-5D6E-409C-BE32-E72D297353CC}">
                <c16:uniqueId val="{00000705-A7CE-4049-B88B-35FCDA646473}"/>
              </c:ext>
            </c:extLst>
          </c:dPt>
          <c:dPt>
            <c:idx val="898"/>
            <c:invertIfNegative val="1"/>
            <c:bubble3D val="0"/>
            <c:spPr>
              <a:solidFill>
                <a:srgbClr val="AEABAB"/>
              </a:solidFill>
            </c:spPr>
            <c:extLst>
              <c:ext xmlns:c16="http://schemas.microsoft.com/office/drawing/2014/chart" uri="{C3380CC4-5D6E-409C-BE32-E72D297353CC}">
                <c16:uniqueId val="{00000707-A7CE-4049-B88B-35FCDA646473}"/>
              </c:ext>
            </c:extLst>
          </c:dPt>
          <c:dPt>
            <c:idx val="899"/>
            <c:invertIfNegative val="1"/>
            <c:bubble3D val="0"/>
            <c:spPr>
              <a:solidFill>
                <a:srgbClr val="AEABAB"/>
              </a:solidFill>
            </c:spPr>
            <c:extLst>
              <c:ext xmlns:c16="http://schemas.microsoft.com/office/drawing/2014/chart" uri="{C3380CC4-5D6E-409C-BE32-E72D297353CC}">
                <c16:uniqueId val="{00000709-A7CE-4049-B88B-35FCDA646473}"/>
              </c:ext>
            </c:extLst>
          </c:dPt>
          <c:dPt>
            <c:idx val="900"/>
            <c:invertIfNegative val="1"/>
            <c:bubble3D val="0"/>
            <c:spPr>
              <a:solidFill>
                <a:srgbClr val="AEABAB"/>
              </a:solidFill>
            </c:spPr>
            <c:extLst>
              <c:ext xmlns:c16="http://schemas.microsoft.com/office/drawing/2014/chart" uri="{C3380CC4-5D6E-409C-BE32-E72D297353CC}">
                <c16:uniqueId val="{0000070B-A7CE-4049-B88B-35FCDA646473}"/>
              </c:ext>
            </c:extLst>
          </c:dPt>
          <c:dPt>
            <c:idx val="901"/>
            <c:invertIfNegative val="1"/>
            <c:bubble3D val="0"/>
            <c:spPr>
              <a:solidFill>
                <a:srgbClr val="AEABAB"/>
              </a:solidFill>
            </c:spPr>
            <c:extLst>
              <c:ext xmlns:c16="http://schemas.microsoft.com/office/drawing/2014/chart" uri="{C3380CC4-5D6E-409C-BE32-E72D297353CC}">
                <c16:uniqueId val="{0000070D-A7CE-4049-B88B-35FCDA646473}"/>
              </c:ext>
            </c:extLst>
          </c:dPt>
          <c:dPt>
            <c:idx val="902"/>
            <c:invertIfNegative val="1"/>
            <c:bubble3D val="0"/>
            <c:spPr>
              <a:solidFill>
                <a:srgbClr val="AEABAB"/>
              </a:solidFill>
            </c:spPr>
            <c:extLst>
              <c:ext xmlns:c16="http://schemas.microsoft.com/office/drawing/2014/chart" uri="{C3380CC4-5D6E-409C-BE32-E72D297353CC}">
                <c16:uniqueId val="{0000070F-A7CE-4049-B88B-35FCDA646473}"/>
              </c:ext>
            </c:extLst>
          </c:dPt>
          <c:dPt>
            <c:idx val="903"/>
            <c:invertIfNegative val="1"/>
            <c:bubble3D val="0"/>
            <c:spPr>
              <a:solidFill>
                <a:srgbClr val="AEABAB"/>
              </a:solidFill>
            </c:spPr>
            <c:extLst>
              <c:ext xmlns:c16="http://schemas.microsoft.com/office/drawing/2014/chart" uri="{C3380CC4-5D6E-409C-BE32-E72D297353CC}">
                <c16:uniqueId val="{00000711-A7CE-4049-B88B-35FCDA646473}"/>
              </c:ext>
            </c:extLst>
          </c:dPt>
          <c:dPt>
            <c:idx val="904"/>
            <c:invertIfNegative val="1"/>
            <c:bubble3D val="0"/>
            <c:spPr>
              <a:solidFill>
                <a:srgbClr val="AEABAB"/>
              </a:solidFill>
            </c:spPr>
            <c:extLst>
              <c:ext xmlns:c16="http://schemas.microsoft.com/office/drawing/2014/chart" uri="{C3380CC4-5D6E-409C-BE32-E72D297353CC}">
                <c16:uniqueId val="{00000713-A7CE-4049-B88B-35FCDA646473}"/>
              </c:ext>
            </c:extLst>
          </c:dPt>
          <c:dPt>
            <c:idx val="905"/>
            <c:invertIfNegative val="1"/>
            <c:bubble3D val="0"/>
            <c:spPr>
              <a:solidFill>
                <a:srgbClr val="AEABAB"/>
              </a:solidFill>
            </c:spPr>
            <c:extLst>
              <c:ext xmlns:c16="http://schemas.microsoft.com/office/drawing/2014/chart" uri="{C3380CC4-5D6E-409C-BE32-E72D297353CC}">
                <c16:uniqueId val="{00000715-A7CE-4049-B88B-35FCDA646473}"/>
              </c:ext>
            </c:extLst>
          </c:dPt>
          <c:dPt>
            <c:idx val="906"/>
            <c:invertIfNegative val="1"/>
            <c:bubble3D val="0"/>
            <c:spPr>
              <a:solidFill>
                <a:srgbClr val="AEABAB"/>
              </a:solidFill>
            </c:spPr>
            <c:extLst>
              <c:ext xmlns:c16="http://schemas.microsoft.com/office/drawing/2014/chart" uri="{C3380CC4-5D6E-409C-BE32-E72D297353CC}">
                <c16:uniqueId val="{00000717-A7CE-4049-B88B-35FCDA646473}"/>
              </c:ext>
            </c:extLst>
          </c:dPt>
          <c:dPt>
            <c:idx val="907"/>
            <c:invertIfNegative val="1"/>
            <c:bubble3D val="0"/>
            <c:spPr>
              <a:solidFill>
                <a:srgbClr val="AEABAB"/>
              </a:solidFill>
            </c:spPr>
            <c:extLst>
              <c:ext xmlns:c16="http://schemas.microsoft.com/office/drawing/2014/chart" uri="{C3380CC4-5D6E-409C-BE32-E72D297353CC}">
                <c16:uniqueId val="{00000719-A7CE-4049-B88B-35FCDA646473}"/>
              </c:ext>
            </c:extLst>
          </c:dPt>
          <c:dPt>
            <c:idx val="908"/>
            <c:invertIfNegative val="1"/>
            <c:bubble3D val="0"/>
            <c:spPr>
              <a:solidFill>
                <a:srgbClr val="AEABAB"/>
              </a:solidFill>
            </c:spPr>
            <c:extLst>
              <c:ext xmlns:c16="http://schemas.microsoft.com/office/drawing/2014/chart" uri="{C3380CC4-5D6E-409C-BE32-E72D297353CC}">
                <c16:uniqueId val="{0000071B-A7CE-4049-B88B-35FCDA646473}"/>
              </c:ext>
            </c:extLst>
          </c:dPt>
          <c:dPt>
            <c:idx val="909"/>
            <c:invertIfNegative val="1"/>
            <c:bubble3D val="0"/>
            <c:spPr>
              <a:solidFill>
                <a:srgbClr val="AEABAB"/>
              </a:solidFill>
            </c:spPr>
            <c:extLst>
              <c:ext xmlns:c16="http://schemas.microsoft.com/office/drawing/2014/chart" uri="{C3380CC4-5D6E-409C-BE32-E72D297353CC}">
                <c16:uniqueId val="{0000071D-A7CE-4049-B88B-35FCDA646473}"/>
              </c:ext>
            </c:extLst>
          </c:dPt>
          <c:dPt>
            <c:idx val="910"/>
            <c:invertIfNegative val="1"/>
            <c:bubble3D val="0"/>
            <c:spPr>
              <a:solidFill>
                <a:srgbClr val="AEABAB"/>
              </a:solidFill>
            </c:spPr>
            <c:extLst>
              <c:ext xmlns:c16="http://schemas.microsoft.com/office/drawing/2014/chart" uri="{C3380CC4-5D6E-409C-BE32-E72D297353CC}">
                <c16:uniqueId val="{0000071F-A7CE-4049-B88B-35FCDA646473}"/>
              </c:ext>
            </c:extLst>
          </c:dPt>
          <c:dPt>
            <c:idx val="911"/>
            <c:invertIfNegative val="1"/>
            <c:bubble3D val="0"/>
            <c:spPr>
              <a:solidFill>
                <a:srgbClr val="AEABAB"/>
              </a:solidFill>
            </c:spPr>
            <c:extLst>
              <c:ext xmlns:c16="http://schemas.microsoft.com/office/drawing/2014/chart" uri="{C3380CC4-5D6E-409C-BE32-E72D297353CC}">
                <c16:uniqueId val="{00000721-A7CE-4049-B88B-35FCDA646473}"/>
              </c:ext>
            </c:extLst>
          </c:dPt>
          <c:dPt>
            <c:idx val="912"/>
            <c:invertIfNegative val="1"/>
            <c:bubble3D val="0"/>
            <c:spPr>
              <a:solidFill>
                <a:srgbClr val="AEABAB"/>
              </a:solidFill>
            </c:spPr>
            <c:extLst>
              <c:ext xmlns:c16="http://schemas.microsoft.com/office/drawing/2014/chart" uri="{C3380CC4-5D6E-409C-BE32-E72D297353CC}">
                <c16:uniqueId val="{00000723-A7CE-4049-B88B-35FCDA646473}"/>
              </c:ext>
            </c:extLst>
          </c:dPt>
          <c:dPt>
            <c:idx val="913"/>
            <c:invertIfNegative val="1"/>
            <c:bubble3D val="0"/>
            <c:spPr>
              <a:solidFill>
                <a:srgbClr val="AEABAB"/>
              </a:solidFill>
            </c:spPr>
            <c:extLst>
              <c:ext xmlns:c16="http://schemas.microsoft.com/office/drawing/2014/chart" uri="{C3380CC4-5D6E-409C-BE32-E72D297353CC}">
                <c16:uniqueId val="{00000725-A7CE-4049-B88B-35FCDA646473}"/>
              </c:ext>
            </c:extLst>
          </c:dPt>
          <c:dPt>
            <c:idx val="914"/>
            <c:invertIfNegative val="1"/>
            <c:bubble3D val="0"/>
            <c:spPr>
              <a:solidFill>
                <a:srgbClr val="AEABAB"/>
              </a:solidFill>
            </c:spPr>
            <c:extLst>
              <c:ext xmlns:c16="http://schemas.microsoft.com/office/drawing/2014/chart" uri="{C3380CC4-5D6E-409C-BE32-E72D297353CC}">
                <c16:uniqueId val="{00000727-A7CE-4049-B88B-35FCDA646473}"/>
              </c:ext>
            </c:extLst>
          </c:dPt>
          <c:dPt>
            <c:idx val="915"/>
            <c:invertIfNegative val="1"/>
            <c:bubble3D val="0"/>
            <c:spPr>
              <a:solidFill>
                <a:srgbClr val="AEABAB"/>
              </a:solidFill>
            </c:spPr>
            <c:extLst>
              <c:ext xmlns:c16="http://schemas.microsoft.com/office/drawing/2014/chart" uri="{C3380CC4-5D6E-409C-BE32-E72D297353CC}">
                <c16:uniqueId val="{00000729-A7CE-4049-B88B-35FCDA646473}"/>
              </c:ext>
            </c:extLst>
          </c:dPt>
          <c:dPt>
            <c:idx val="916"/>
            <c:invertIfNegative val="1"/>
            <c:bubble3D val="0"/>
            <c:spPr>
              <a:solidFill>
                <a:srgbClr val="AEABAB"/>
              </a:solidFill>
            </c:spPr>
            <c:extLst>
              <c:ext xmlns:c16="http://schemas.microsoft.com/office/drawing/2014/chart" uri="{C3380CC4-5D6E-409C-BE32-E72D297353CC}">
                <c16:uniqueId val="{0000072B-A7CE-4049-B88B-35FCDA646473}"/>
              </c:ext>
            </c:extLst>
          </c:dPt>
          <c:dPt>
            <c:idx val="917"/>
            <c:invertIfNegative val="1"/>
            <c:bubble3D val="0"/>
            <c:spPr>
              <a:solidFill>
                <a:srgbClr val="AEABAB"/>
              </a:solidFill>
            </c:spPr>
            <c:extLst>
              <c:ext xmlns:c16="http://schemas.microsoft.com/office/drawing/2014/chart" uri="{C3380CC4-5D6E-409C-BE32-E72D297353CC}">
                <c16:uniqueId val="{0000072D-A7CE-4049-B88B-35FCDA646473}"/>
              </c:ext>
            </c:extLst>
          </c:dPt>
          <c:dPt>
            <c:idx val="918"/>
            <c:invertIfNegative val="1"/>
            <c:bubble3D val="0"/>
            <c:spPr>
              <a:solidFill>
                <a:srgbClr val="AEABAB"/>
              </a:solidFill>
            </c:spPr>
            <c:extLst>
              <c:ext xmlns:c16="http://schemas.microsoft.com/office/drawing/2014/chart" uri="{C3380CC4-5D6E-409C-BE32-E72D297353CC}">
                <c16:uniqueId val="{0000072F-A7CE-4049-B88B-35FCDA646473}"/>
              </c:ext>
            </c:extLst>
          </c:dPt>
          <c:dPt>
            <c:idx val="919"/>
            <c:invertIfNegative val="1"/>
            <c:bubble3D val="0"/>
            <c:spPr>
              <a:solidFill>
                <a:srgbClr val="AEABAB"/>
              </a:solidFill>
            </c:spPr>
            <c:extLst>
              <c:ext xmlns:c16="http://schemas.microsoft.com/office/drawing/2014/chart" uri="{C3380CC4-5D6E-409C-BE32-E72D297353CC}">
                <c16:uniqueId val="{00000731-A7CE-4049-B88B-35FCDA646473}"/>
              </c:ext>
            </c:extLst>
          </c:dPt>
          <c:dPt>
            <c:idx val="920"/>
            <c:invertIfNegative val="1"/>
            <c:bubble3D val="0"/>
            <c:spPr>
              <a:solidFill>
                <a:srgbClr val="AEABAB"/>
              </a:solidFill>
            </c:spPr>
            <c:extLst>
              <c:ext xmlns:c16="http://schemas.microsoft.com/office/drawing/2014/chart" uri="{C3380CC4-5D6E-409C-BE32-E72D297353CC}">
                <c16:uniqueId val="{00000733-A7CE-4049-B88B-35FCDA646473}"/>
              </c:ext>
            </c:extLst>
          </c:dPt>
          <c:dPt>
            <c:idx val="921"/>
            <c:invertIfNegative val="1"/>
            <c:bubble3D val="0"/>
            <c:spPr>
              <a:solidFill>
                <a:srgbClr val="AEABAB"/>
              </a:solidFill>
            </c:spPr>
            <c:extLst>
              <c:ext xmlns:c16="http://schemas.microsoft.com/office/drawing/2014/chart" uri="{C3380CC4-5D6E-409C-BE32-E72D297353CC}">
                <c16:uniqueId val="{00000735-A7CE-4049-B88B-35FCDA646473}"/>
              </c:ext>
            </c:extLst>
          </c:dPt>
          <c:dPt>
            <c:idx val="922"/>
            <c:invertIfNegative val="1"/>
            <c:bubble3D val="0"/>
            <c:spPr>
              <a:solidFill>
                <a:srgbClr val="AEABAB"/>
              </a:solidFill>
            </c:spPr>
            <c:extLst>
              <c:ext xmlns:c16="http://schemas.microsoft.com/office/drawing/2014/chart" uri="{C3380CC4-5D6E-409C-BE32-E72D297353CC}">
                <c16:uniqueId val="{00000737-A7CE-4049-B88B-35FCDA646473}"/>
              </c:ext>
            </c:extLst>
          </c:dPt>
          <c:dPt>
            <c:idx val="923"/>
            <c:invertIfNegative val="1"/>
            <c:bubble3D val="0"/>
            <c:spPr>
              <a:solidFill>
                <a:srgbClr val="AEABAB"/>
              </a:solidFill>
            </c:spPr>
            <c:extLst>
              <c:ext xmlns:c16="http://schemas.microsoft.com/office/drawing/2014/chart" uri="{C3380CC4-5D6E-409C-BE32-E72D297353CC}">
                <c16:uniqueId val="{00000739-A7CE-4049-B88B-35FCDA646473}"/>
              </c:ext>
            </c:extLst>
          </c:dPt>
          <c:dPt>
            <c:idx val="924"/>
            <c:invertIfNegative val="1"/>
            <c:bubble3D val="0"/>
            <c:spPr>
              <a:solidFill>
                <a:srgbClr val="AEABAB"/>
              </a:solidFill>
            </c:spPr>
            <c:extLst>
              <c:ext xmlns:c16="http://schemas.microsoft.com/office/drawing/2014/chart" uri="{C3380CC4-5D6E-409C-BE32-E72D297353CC}">
                <c16:uniqueId val="{0000073B-A7CE-4049-B88B-35FCDA646473}"/>
              </c:ext>
            </c:extLst>
          </c:dPt>
          <c:dPt>
            <c:idx val="925"/>
            <c:invertIfNegative val="1"/>
            <c:bubble3D val="0"/>
            <c:spPr>
              <a:solidFill>
                <a:srgbClr val="AEABAB"/>
              </a:solidFill>
            </c:spPr>
            <c:extLst>
              <c:ext xmlns:c16="http://schemas.microsoft.com/office/drawing/2014/chart" uri="{C3380CC4-5D6E-409C-BE32-E72D297353CC}">
                <c16:uniqueId val="{0000073D-A7CE-4049-B88B-35FCDA646473}"/>
              </c:ext>
            </c:extLst>
          </c:dPt>
          <c:dPt>
            <c:idx val="926"/>
            <c:invertIfNegative val="1"/>
            <c:bubble3D val="0"/>
            <c:spPr>
              <a:solidFill>
                <a:srgbClr val="AEABAB"/>
              </a:solidFill>
            </c:spPr>
            <c:extLst>
              <c:ext xmlns:c16="http://schemas.microsoft.com/office/drawing/2014/chart" uri="{C3380CC4-5D6E-409C-BE32-E72D297353CC}">
                <c16:uniqueId val="{0000073F-A7CE-4049-B88B-35FCDA646473}"/>
              </c:ext>
            </c:extLst>
          </c:dPt>
          <c:dPt>
            <c:idx val="927"/>
            <c:invertIfNegative val="1"/>
            <c:bubble3D val="0"/>
            <c:spPr>
              <a:solidFill>
                <a:srgbClr val="AEABAB"/>
              </a:solidFill>
            </c:spPr>
            <c:extLst>
              <c:ext xmlns:c16="http://schemas.microsoft.com/office/drawing/2014/chart" uri="{C3380CC4-5D6E-409C-BE32-E72D297353CC}">
                <c16:uniqueId val="{00000741-A7CE-4049-B88B-35FCDA646473}"/>
              </c:ext>
            </c:extLst>
          </c:dPt>
          <c:dPt>
            <c:idx val="928"/>
            <c:invertIfNegative val="1"/>
            <c:bubble3D val="0"/>
            <c:spPr>
              <a:solidFill>
                <a:srgbClr val="AEABAB"/>
              </a:solidFill>
            </c:spPr>
            <c:extLst>
              <c:ext xmlns:c16="http://schemas.microsoft.com/office/drawing/2014/chart" uri="{C3380CC4-5D6E-409C-BE32-E72D297353CC}">
                <c16:uniqueId val="{00000743-A7CE-4049-B88B-35FCDA646473}"/>
              </c:ext>
            </c:extLst>
          </c:dPt>
          <c:dPt>
            <c:idx val="929"/>
            <c:invertIfNegative val="1"/>
            <c:bubble3D val="0"/>
            <c:spPr>
              <a:solidFill>
                <a:srgbClr val="AEABAB"/>
              </a:solidFill>
            </c:spPr>
            <c:extLst>
              <c:ext xmlns:c16="http://schemas.microsoft.com/office/drawing/2014/chart" uri="{C3380CC4-5D6E-409C-BE32-E72D297353CC}">
                <c16:uniqueId val="{00000745-A7CE-4049-B88B-35FCDA646473}"/>
              </c:ext>
            </c:extLst>
          </c:dPt>
          <c:dPt>
            <c:idx val="930"/>
            <c:invertIfNegative val="1"/>
            <c:bubble3D val="0"/>
            <c:spPr>
              <a:solidFill>
                <a:srgbClr val="AEABAB"/>
              </a:solidFill>
            </c:spPr>
            <c:extLst>
              <c:ext xmlns:c16="http://schemas.microsoft.com/office/drawing/2014/chart" uri="{C3380CC4-5D6E-409C-BE32-E72D297353CC}">
                <c16:uniqueId val="{00000747-A7CE-4049-B88B-35FCDA646473}"/>
              </c:ext>
            </c:extLst>
          </c:dPt>
          <c:dPt>
            <c:idx val="931"/>
            <c:invertIfNegative val="1"/>
            <c:bubble3D val="0"/>
            <c:spPr>
              <a:solidFill>
                <a:srgbClr val="AEABAB"/>
              </a:solidFill>
            </c:spPr>
            <c:extLst>
              <c:ext xmlns:c16="http://schemas.microsoft.com/office/drawing/2014/chart" uri="{C3380CC4-5D6E-409C-BE32-E72D297353CC}">
                <c16:uniqueId val="{00000749-A7CE-4049-B88B-35FCDA646473}"/>
              </c:ext>
            </c:extLst>
          </c:dPt>
          <c:dPt>
            <c:idx val="932"/>
            <c:invertIfNegative val="1"/>
            <c:bubble3D val="0"/>
            <c:spPr>
              <a:solidFill>
                <a:srgbClr val="AEABAB"/>
              </a:solidFill>
            </c:spPr>
            <c:extLst>
              <c:ext xmlns:c16="http://schemas.microsoft.com/office/drawing/2014/chart" uri="{C3380CC4-5D6E-409C-BE32-E72D297353CC}">
                <c16:uniqueId val="{0000074B-A7CE-4049-B88B-35FCDA646473}"/>
              </c:ext>
            </c:extLst>
          </c:dPt>
          <c:dPt>
            <c:idx val="933"/>
            <c:invertIfNegative val="1"/>
            <c:bubble3D val="0"/>
            <c:spPr>
              <a:solidFill>
                <a:srgbClr val="AEABAB"/>
              </a:solidFill>
            </c:spPr>
            <c:extLst>
              <c:ext xmlns:c16="http://schemas.microsoft.com/office/drawing/2014/chart" uri="{C3380CC4-5D6E-409C-BE32-E72D297353CC}">
                <c16:uniqueId val="{0000074D-A7CE-4049-B88B-35FCDA646473}"/>
              </c:ext>
            </c:extLst>
          </c:dPt>
          <c:dPt>
            <c:idx val="934"/>
            <c:invertIfNegative val="1"/>
            <c:bubble3D val="0"/>
            <c:spPr>
              <a:solidFill>
                <a:srgbClr val="AEABAB"/>
              </a:solidFill>
            </c:spPr>
            <c:extLst>
              <c:ext xmlns:c16="http://schemas.microsoft.com/office/drawing/2014/chart" uri="{C3380CC4-5D6E-409C-BE32-E72D297353CC}">
                <c16:uniqueId val="{0000074F-A7CE-4049-B88B-35FCDA646473}"/>
              </c:ext>
            </c:extLst>
          </c:dPt>
          <c:dPt>
            <c:idx val="935"/>
            <c:invertIfNegative val="1"/>
            <c:bubble3D val="0"/>
            <c:spPr>
              <a:solidFill>
                <a:srgbClr val="AEABAB"/>
              </a:solidFill>
            </c:spPr>
            <c:extLst>
              <c:ext xmlns:c16="http://schemas.microsoft.com/office/drawing/2014/chart" uri="{C3380CC4-5D6E-409C-BE32-E72D297353CC}">
                <c16:uniqueId val="{00000751-A7CE-4049-B88B-35FCDA646473}"/>
              </c:ext>
            </c:extLst>
          </c:dPt>
          <c:dPt>
            <c:idx val="936"/>
            <c:invertIfNegative val="1"/>
            <c:bubble3D val="0"/>
            <c:spPr>
              <a:solidFill>
                <a:srgbClr val="AEABAB"/>
              </a:solidFill>
            </c:spPr>
            <c:extLst>
              <c:ext xmlns:c16="http://schemas.microsoft.com/office/drawing/2014/chart" uri="{C3380CC4-5D6E-409C-BE32-E72D297353CC}">
                <c16:uniqueId val="{00000753-A7CE-4049-B88B-35FCDA646473}"/>
              </c:ext>
            </c:extLst>
          </c:dPt>
          <c:dPt>
            <c:idx val="937"/>
            <c:invertIfNegative val="1"/>
            <c:bubble3D val="0"/>
            <c:spPr>
              <a:solidFill>
                <a:srgbClr val="AEABAB"/>
              </a:solidFill>
            </c:spPr>
            <c:extLst>
              <c:ext xmlns:c16="http://schemas.microsoft.com/office/drawing/2014/chart" uri="{C3380CC4-5D6E-409C-BE32-E72D297353CC}">
                <c16:uniqueId val="{00000755-A7CE-4049-B88B-35FCDA646473}"/>
              </c:ext>
            </c:extLst>
          </c:dPt>
          <c:dPt>
            <c:idx val="938"/>
            <c:invertIfNegative val="1"/>
            <c:bubble3D val="0"/>
            <c:spPr>
              <a:solidFill>
                <a:srgbClr val="AEABAB"/>
              </a:solidFill>
            </c:spPr>
            <c:extLst>
              <c:ext xmlns:c16="http://schemas.microsoft.com/office/drawing/2014/chart" uri="{C3380CC4-5D6E-409C-BE32-E72D297353CC}">
                <c16:uniqueId val="{00000757-A7CE-4049-B88B-35FCDA646473}"/>
              </c:ext>
            </c:extLst>
          </c:dPt>
          <c:dPt>
            <c:idx val="939"/>
            <c:invertIfNegative val="1"/>
            <c:bubble3D val="0"/>
            <c:spPr>
              <a:solidFill>
                <a:srgbClr val="AEABAB"/>
              </a:solidFill>
            </c:spPr>
            <c:extLst>
              <c:ext xmlns:c16="http://schemas.microsoft.com/office/drawing/2014/chart" uri="{C3380CC4-5D6E-409C-BE32-E72D297353CC}">
                <c16:uniqueId val="{00000759-A7CE-4049-B88B-35FCDA646473}"/>
              </c:ext>
            </c:extLst>
          </c:dPt>
          <c:dPt>
            <c:idx val="940"/>
            <c:invertIfNegative val="1"/>
            <c:bubble3D val="0"/>
            <c:spPr>
              <a:solidFill>
                <a:srgbClr val="AEABAB"/>
              </a:solidFill>
            </c:spPr>
            <c:extLst>
              <c:ext xmlns:c16="http://schemas.microsoft.com/office/drawing/2014/chart" uri="{C3380CC4-5D6E-409C-BE32-E72D297353CC}">
                <c16:uniqueId val="{0000075B-A7CE-4049-B88B-35FCDA646473}"/>
              </c:ext>
            </c:extLst>
          </c:dPt>
          <c:dPt>
            <c:idx val="941"/>
            <c:invertIfNegative val="1"/>
            <c:bubble3D val="0"/>
            <c:spPr>
              <a:solidFill>
                <a:srgbClr val="AEABAB"/>
              </a:solidFill>
            </c:spPr>
            <c:extLst>
              <c:ext xmlns:c16="http://schemas.microsoft.com/office/drawing/2014/chart" uri="{C3380CC4-5D6E-409C-BE32-E72D297353CC}">
                <c16:uniqueId val="{0000075D-A7CE-4049-B88B-35FCDA646473}"/>
              </c:ext>
            </c:extLst>
          </c:dPt>
          <c:dPt>
            <c:idx val="942"/>
            <c:invertIfNegative val="1"/>
            <c:bubble3D val="0"/>
            <c:spPr>
              <a:solidFill>
                <a:srgbClr val="AEABAB"/>
              </a:solidFill>
            </c:spPr>
            <c:extLst>
              <c:ext xmlns:c16="http://schemas.microsoft.com/office/drawing/2014/chart" uri="{C3380CC4-5D6E-409C-BE32-E72D297353CC}">
                <c16:uniqueId val="{0000075F-A7CE-4049-B88B-35FCDA646473}"/>
              </c:ext>
            </c:extLst>
          </c:dPt>
          <c:dPt>
            <c:idx val="943"/>
            <c:invertIfNegative val="1"/>
            <c:bubble3D val="0"/>
            <c:spPr>
              <a:solidFill>
                <a:srgbClr val="AEABAB"/>
              </a:solidFill>
            </c:spPr>
            <c:extLst>
              <c:ext xmlns:c16="http://schemas.microsoft.com/office/drawing/2014/chart" uri="{C3380CC4-5D6E-409C-BE32-E72D297353CC}">
                <c16:uniqueId val="{00000761-A7CE-4049-B88B-35FCDA646473}"/>
              </c:ext>
            </c:extLst>
          </c:dPt>
          <c:dPt>
            <c:idx val="944"/>
            <c:invertIfNegative val="1"/>
            <c:bubble3D val="0"/>
            <c:spPr>
              <a:solidFill>
                <a:srgbClr val="AEABAB"/>
              </a:solidFill>
            </c:spPr>
            <c:extLst>
              <c:ext xmlns:c16="http://schemas.microsoft.com/office/drawing/2014/chart" uri="{C3380CC4-5D6E-409C-BE32-E72D297353CC}">
                <c16:uniqueId val="{00000763-A7CE-4049-B88B-35FCDA646473}"/>
              </c:ext>
            </c:extLst>
          </c:dPt>
          <c:dPt>
            <c:idx val="945"/>
            <c:invertIfNegative val="1"/>
            <c:bubble3D val="0"/>
            <c:spPr>
              <a:solidFill>
                <a:srgbClr val="AEABAB"/>
              </a:solidFill>
            </c:spPr>
            <c:extLst>
              <c:ext xmlns:c16="http://schemas.microsoft.com/office/drawing/2014/chart" uri="{C3380CC4-5D6E-409C-BE32-E72D297353CC}">
                <c16:uniqueId val="{00000765-A7CE-4049-B88B-35FCDA646473}"/>
              </c:ext>
            </c:extLst>
          </c:dPt>
          <c:dPt>
            <c:idx val="946"/>
            <c:invertIfNegative val="1"/>
            <c:bubble3D val="0"/>
            <c:spPr>
              <a:solidFill>
                <a:srgbClr val="AEABAB"/>
              </a:solidFill>
            </c:spPr>
            <c:extLst>
              <c:ext xmlns:c16="http://schemas.microsoft.com/office/drawing/2014/chart" uri="{C3380CC4-5D6E-409C-BE32-E72D297353CC}">
                <c16:uniqueId val="{00000767-A7CE-4049-B88B-35FCDA646473}"/>
              </c:ext>
            </c:extLst>
          </c:dPt>
          <c:dPt>
            <c:idx val="947"/>
            <c:invertIfNegative val="1"/>
            <c:bubble3D val="0"/>
            <c:spPr>
              <a:solidFill>
                <a:srgbClr val="AEABAB"/>
              </a:solidFill>
            </c:spPr>
            <c:extLst>
              <c:ext xmlns:c16="http://schemas.microsoft.com/office/drawing/2014/chart" uri="{C3380CC4-5D6E-409C-BE32-E72D297353CC}">
                <c16:uniqueId val="{00000769-A7CE-4049-B88B-35FCDA646473}"/>
              </c:ext>
            </c:extLst>
          </c:dPt>
          <c:dPt>
            <c:idx val="948"/>
            <c:invertIfNegative val="1"/>
            <c:bubble3D val="0"/>
            <c:spPr>
              <a:solidFill>
                <a:srgbClr val="AEABAB"/>
              </a:solidFill>
            </c:spPr>
            <c:extLst>
              <c:ext xmlns:c16="http://schemas.microsoft.com/office/drawing/2014/chart" uri="{C3380CC4-5D6E-409C-BE32-E72D297353CC}">
                <c16:uniqueId val="{0000076B-A7CE-4049-B88B-35FCDA646473}"/>
              </c:ext>
            </c:extLst>
          </c:dPt>
          <c:dPt>
            <c:idx val="949"/>
            <c:invertIfNegative val="1"/>
            <c:bubble3D val="0"/>
            <c:spPr>
              <a:solidFill>
                <a:srgbClr val="AEABAB"/>
              </a:solidFill>
            </c:spPr>
            <c:extLst>
              <c:ext xmlns:c16="http://schemas.microsoft.com/office/drawing/2014/chart" uri="{C3380CC4-5D6E-409C-BE32-E72D297353CC}">
                <c16:uniqueId val="{0000076D-A7CE-4049-B88B-35FCDA646473}"/>
              </c:ext>
            </c:extLst>
          </c:dPt>
          <c:dPt>
            <c:idx val="950"/>
            <c:invertIfNegative val="1"/>
            <c:bubble3D val="0"/>
            <c:spPr>
              <a:solidFill>
                <a:srgbClr val="AEABAB"/>
              </a:solidFill>
            </c:spPr>
            <c:extLst>
              <c:ext xmlns:c16="http://schemas.microsoft.com/office/drawing/2014/chart" uri="{C3380CC4-5D6E-409C-BE32-E72D297353CC}">
                <c16:uniqueId val="{0000076F-A7CE-4049-B88B-35FCDA646473}"/>
              </c:ext>
            </c:extLst>
          </c:dPt>
          <c:dPt>
            <c:idx val="951"/>
            <c:invertIfNegative val="1"/>
            <c:bubble3D val="0"/>
            <c:spPr>
              <a:solidFill>
                <a:srgbClr val="AEABAB"/>
              </a:solidFill>
            </c:spPr>
            <c:extLst>
              <c:ext xmlns:c16="http://schemas.microsoft.com/office/drawing/2014/chart" uri="{C3380CC4-5D6E-409C-BE32-E72D297353CC}">
                <c16:uniqueId val="{00000771-A7CE-4049-B88B-35FCDA646473}"/>
              </c:ext>
            </c:extLst>
          </c:dPt>
          <c:dPt>
            <c:idx val="952"/>
            <c:invertIfNegative val="1"/>
            <c:bubble3D val="0"/>
            <c:spPr>
              <a:solidFill>
                <a:srgbClr val="AEABAB"/>
              </a:solidFill>
            </c:spPr>
            <c:extLst>
              <c:ext xmlns:c16="http://schemas.microsoft.com/office/drawing/2014/chart" uri="{C3380CC4-5D6E-409C-BE32-E72D297353CC}">
                <c16:uniqueId val="{00000773-A7CE-4049-B88B-35FCDA646473}"/>
              </c:ext>
            </c:extLst>
          </c:dPt>
          <c:dPt>
            <c:idx val="953"/>
            <c:invertIfNegative val="1"/>
            <c:bubble3D val="0"/>
            <c:spPr>
              <a:solidFill>
                <a:srgbClr val="AEABAB"/>
              </a:solidFill>
            </c:spPr>
            <c:extLst>
              <c:ext xmlns:c16="http://schemas.microsoft.com/office/drawing/2014/chart" uri="{C3380CC4-5D6E-409C-BE32-E72D297353CC}">
                <c16:uniqueId val="{00000775-A7CE-4049-B88B-35FCDA646473}"/>
              </c:ext>
            </c:extLst>
          </c:dPt>
          <c:dPt>
            <c:idx val="954"/>
            <c:invertIfNegative val="1"/>
            <c:bubble3D val="0"/>
            <c:spPr>
              <a:solidFill>
                <a:srgbClr val="AEABAB"/>
              </a:solidFill>
            </c:spPr>
            <c:extLst>
              <c:ext xmlns:c16="http://schemas.microsoft.com/office/drawing/2014/chart" uri="{C3380CC4-5D6E-409C-BE32-E72D297353CC}">
                <c16:uniqueId val="{00000777-A7CE-4049-B88B-35FCDA646473}"/>
              </c:ext>
            </c:extLst>
          </c:dPt>
          <c:dPt>
            <c:idx val="955"/>
            <c:invertIfNegative val="1"/>
            <c:bubble3D val="0"/>
            <c:spPr>
              <a:solidFill>
                <a:srgbClr val="AEABAB"/>
              </a:solidFill>
            </c:spPr>
            <c:extLst>
              <c:ext xmlns:c16="http://schemas.microsoft.com/office/drawing/2014/chart" uri="{C3380CC4-5D6E-409C-BE32-E72D297353CC}">
                <c16:uniqueId val="{00000779-A7CE-4049-B88B-35FCDA646473}"/>
              </c:ext>
            </c:extLst>
          </c:dPt>
          <c:dPt>
            <c:idx val="956"/>
            <c:invertIfNegative val="1"/>
            <c:bubble3D val="0"/>
            <c:spPr>
              <a:solidFill>
                <a:srgbClr val="AEABAB"/>
              </a:solidFill>
            </c:spPr>
            <c:extLst>
              <c:ext xmlns:c16="http://schemas.microsoft.com/office/drawing/2014/chart" uri="{C3380CC4-5D6E-409C-BE32-E72D297353CC}">
                <c16:uniqueId val="{0000077B-A7CE-4049-B88B-35FCDA646473}"/>
              </c:ext>
            </c:extLst>
          </c:dPt>
          <c:dPt>
            <c:idx val="957"/>
            <c:invertIfNegative val="1"/>
            <c:bubble3D val="0"/>
            <c:spPr>
              <a:solidFill>
                <a:srgbClr val="AEABAB"/>
              </a:solidFill>
            </c:spPr>
            <c:extLst>
              <c:ext xmlns:c16="http://schemas.microsoft.com/office/drawing/2014/chart" uri="{C3380CC4-5D6E-409C-BE32-E72D297353CC}">
                <c16:uniqueId val="{0000077D-A7CE-4049-B88B-35FCDA646473}"/>
              </c:ext>
            </c:extLst>
          </c:dPt>
          <c:dPt>
            <c:idx val="958"/>
            <c:invertIfNegative val="1"/>
            <c:bubble3D val="0"/>
            <c:spPr>
              <a:solidFill>
                <a:srgbClr val="AEABAB"/>
              </a:solidFill>
            </c:spPr>
            <c:extLst>
              <c:ext xmlns:c16="http://schemas.microsoft.com/office/drawing/2014/chart" uri="{C3380CC4-5D6E-409C-BE32-E72D297353CC}">
                <c16:uniqueId val="{0000077F-A7CE-4049-B88B-35FCDA646473}"/>
              </c:ext>
            </c:extLst>
          </c:dPt>
          <c:dPt>
            <c:idx val="959"/>
            <c:invertIfNegative val="1"/>
            <c:bubble3D val="0"/>
            <c:spPr>
              <a:solidFill>
                <a:srgbClr val="AEABAB"/>
              </a:solidFill>
            </c:spPr>
            <c:extLst>
              <c:ext xmlns:c16="http://schemas.microsoft.com/office/drawing/2014/chart" uri="{C3380CC4-5D6E-409C-BE32-E72D297353CC}">
                <c16:uniqueId val="{00000781-A7CE-4049-B88B-35FCDA646473}"/>
              </c:ext>
            </c:extLst>
          </c:dPt>
          <c:dPt>
            <c:idx val="960"/>
            <c:invertIfNegative val="1"/>
            <c:bubble3D val="0"/>
            <c:spPr>
              <a:solidFill>
                <a:srgbClr val="AEABAB"/>
              </a:solidFill>
            </c:spPr>
            <c:extLst>
              <c:ext xmlns:c16="http://schemas.microsoft.com/office/drawing/2014/chart" uri="{C3380CC4-5D6E-409C-BE32-E72D297353CC}">
                <c16:uniqueId val="{00000783-A7CE-4049-B88B-35FCDA646473}"/>
              </c:ext>
            </c:extLst>
          </c:dPt>
          <c:dPt>
            <c:idx val="961"/>
            <c:invertIfNegative val="1"/>
            <c:bubble3D val="0"/>
            <c:spPr>
              <a:solidFill>
                <a:srgbClr val="AEABAB"/>
              </a:solidFill>
            </c:spPr>
            <c:extLst>
              <c:ext xmlns:c16="http://schemas.microsoft.com/office/drawing/2014/chart" uri="{C3380CC4-5D6E-409C-BE32-E72D297353CC}">
                <c16:uniqueId val="{00000785-A7CE-4049-B88B-35FCDA646473}"/>
              </c:ext>
            </c:extLst>
          </c:dPt>
          <c:dPt>
            <c:idx val="962"/>
            <c:invertIfNegative val="1"/>
            <c:bubble3D val="0"/>
            <c:spPr>
              <a:solidFill>
                <a:srgbClr val="AEABAB"/>
              </a:solidFill>
            </c:spPr>
            <c:extLst>
              <c:ext xmlns:c16="http://schemas.microsoft.com/office/drawing/2014/chart" uri="{C3380CC4-5D6E-409C-BE32-E72D297353CC}">
                <c16:uniqueId val="{00000787-A7CE-4049-B88B-35FCDA646473}"/>
              </c:ext>
            </c:extLst>
          </c:dPt>
          <c:dPt>
            <c:idx val="963"/>
            <c:invertIfNegative val="1"/>
            <c:bubble3D val="0"/>
            <c:spPr>
              <a:solidFill>
                <a:srgbClr val="AEABAB"/>
              </a:solidFill>
            </c:spPr>
            <c:extLst>
              <c:ext xmlns:c16="http://schemas.microsoft.com/office/drawing/2014/chart" uri="{C3380CC4-5D6E-409C-BE32-E72D297353CC}">
                <c16:uniqueId val="{00000789-A7CE-4049-B88B-35FCDA646473}"/>
              </c:ext>
            </c:extLst>
          </c:dPt>
          <c:dPt>
            <c:idx val="964"/>
            <c:invertIfNegative val="1"/>
            <c:bubble3D val="0"/>
            <c:spPr>
              <a:solidFill>
                <a:srgbClr val="AEABAB"/>
              </a:solidFill>
            </c:spPr>
            <c:extLst>
              <c:ext xmlns:c16="http://schemas.microsoft.com/office/drawing/2014/chart" uri="{C3380CC4-5D6E-409C-BE32-E72D297353CC}">
                <c16:uniqueId val="{0000078B-A7CE-4049-B88B-35FCDA646473}"/>
              </c:ext>
            </c:extLst>
          </c:dPt>
          <c:dPt>
            <c:idx val="965"/>
            <c:invertIfNegative val="1"/>
            <c:bubble3D val="0"/>
            <c:spPr>
              <a:solidFill>
                <a:srgbClr val="AEABAB"/>
              </a:solidFill>
            </c:spPr>
            <c:extLst>
              <c:ext xmlns:c16="http://schemas.microsoft.com/office/drawing/2014/chart" uri="{C3380CC4-5D6E-409C-BE32-E72D297353CC}">
                <c16:uniqueId val="{0000078D-A7CE-4049-B88B-35FCDA646473}"/>
              </c:ext>
            </c:extLst>
          </c:dPt>
          <c:dPt>
            <c:idx val="966"/>
            <c:invertIfNegative val="1"/>
            <c:bubble3D val="0"/>
            <c:spPr>
              <a:solidFill>
                <a:srgbClr val="AEABAB"/>
              </a:solidFill>
            </c:spPr>
            <c:extLst>
              <c:ext xmlns:c16="http://schemas.microsoft.com/office/drawing/2014/chart" uri="{C3380CC4-5D6E-409C-BE32-E72D297353CC}">
                <c16:uniqueId val="{0000078F-A7CE-4049-B88B-35FCDA646473}"/>
              </c:ext>
            </c:extLst>
          </c:dPt>
          <c:dPt>
            <c:idx val="967"/>
            <c:invertIfNegative val="1"/>
            <c:bubble3D val="0"/>
            <c:spPr>
              <a:solidFill>
                <a:srgbClr val="AEABAB"/>
              </a:solidFill>
            </c:spPr>
            <c:extLst>
              <c:ext xmlns:c16="http://schemas.microsoft.com/office/drawing/2014/chart" uri="{C3380CC4-5D6E-409C-BE32-E72D297353CC}">
                <c16:uniqueId val="{00000791-A7CE-4049-B88B-35FCDA646473}"/>
              </c:ext>
            </c:extLst>
          </c:dPt>
          <c:dPt>
            <c:idx val="968"/>
            <c:invertIfNegative val="1"/>
            <c:bubble3D val="0"/>
            <c:spPr>
              <a:solidFill>
                <a:srgbClr val="AEABAB"/>
              </a:solidFill>
            </c:spPr>
            <c:extLst>
              <c:ext xmlns:c16="http://schemas.microsoft.com/office/drawing/2014/chart" uri="{C3380CC4-5D6E-409C-BE32-E72D297353CC}">
                <c16:uniqueId val="{00000793-A7CE-4049-B88B-35FCDA646473}"/>
              </c:ext>
            </c:extLst>
          </c:dPt>
          <c:dPt>
            <c:idx val="969"/>
            <c:invertIfNegative val="1"/>
            <c:bubble3D val="0"/>
            <c:spPr>
              <a:solidFill>
                <a:srgbClr val="AEABAB"/>
              </a:solidFill>
            </c:spPr>
            <c:extLst>
              <c:ext xmlns:c16="http://schemas.microsoft.com/office/drawing/2014/chart" uri="{C3380CC4-5D6E-409C-BE32-E72D297353CC}">
                <c16:uniqueId val="{00000795-A7CE-4049-B88B-35FCDA646473}"/>
              </c:ext>
            </c:extLst>
          </c:dPt>
          <c:dPt>
            <c:idx val="970"/>
            <c:invertIfNegative val="1"/>
            <c:bubble3D val="0"/>
            <c:spPr>
              <a:solidFill>
                <a:srgbClr val="AEABAB"/>
              </a:solidFill>
            </c:spPr>
            <c:extLst>
              <c:ext xmlns:c16="http://schemas.microsoft.com/office/drawing/2014/chart" uri="{C3380CC4-5D6E-409C-BE32-E72D297353CC}">
                <c16:uniqueId val="{00000797-A7CE-4049-B88B-35FCDA646473}"/>
              </c:ext>
            </c:extLst>
          </c:dPt>
          <c:dPt>
            <c:idx val="971"/>
            <c:invertIfNegative val="1"/>
            <c:bubble3D val="0"/>
            <c:spPr>
              <a:solidFill>
                <a:srgbClr val="AEABAB"/>
              </a:solidFill>
            </c:spPr>
            <c:extLst>
              <c:ext xmlns:c16="http://schemas.microsoft.com/office/drawing/2014/chart" uri="{C3380CC4-5D6E-409C-BE32-E72D297353CC}">
                <c16:uniqueId val="{00000799-A7CE-4049-B88B-35FCDA646473}"/>
              </c:ext>
            </c:extLst>
          </c:dPt>
          <c:dPt>
            <c:idx val="972"/>
            <c:invertIfNegative val="1"/>
            <c:bubble3D val="0"/>
            <c:spPr>
              <a:solidFill>
                <a:srgbClr val="AEABAB"/>
              </a:solidFill>
            </c:spPr>
            <c:extLst>
              <c:ext xmlns:c16="http://schemas.microsoft.com/office/drawing/2014/chart" uri="{C3380CC4-5D6E-409C-BE32-E72D297353CC}">
                <c16:uniqueId val="{0000079B-A7CE-4049-B88B-35FCDA646473}"/>
              </c:ext>
            </c:extLst>
          </c:dPt>
          <c:dPt>
            <c:idx val="973"/>
            <c:invertIfNegative val="1"/>
            <c:bubble3D val="0"/>
            <c:spPr>
              <a:solidFill>
                <a:srgbClr val="AEABAB"/>
              </a:solidFill>
            </c:spPr>
            <c:extLst>
              <c:ext xmlns:c16="http://schemas.microsoft.com/office/drawing/2014/chart" uri="{C3380CC4-5D6E-409C-BE32-E72D297353CC}">
                <c16:uniqueId val="{0000079D-A7CE-4049-B88B-35FCDA646473}"/>
              </c:ext>
            </c:extLst>
          </c:dPt>
          <c:dPt>
            <c:idx val="974"/>
            <c:invertIfNegative val="1"/>
            <c:bubble3D val="0"/>
            <c:spPr>
              <a:solidFill>
                <a:srgbClr val="AEABAB"/>
              </a:solidFill>
            </c:spPr>
            <c:extLst>
              <c:ext xmlns:c16="http://schemas.microsoft.com/office/drawing/2014/chart" uri="{C3380CC4-5D6E-409C-BE32-E72D297353CC}">
                <c16:uniqueId val="{0000079F-A7CE-4049-B88B-35FCDA646473}"/>
              </c:ext>
            </c:extLst>
          </c:dPt>
          <c:dPt>
            <c:idx val="975"/>
            <c:invertIfNegative val="1"/>
            <c:bubble3D val="0"/>
            <c:spPr>
              <a:solidFill>
                <a:srgbClr val="AEABAB"/>
              </a:solidFill>
            </c:spPr>
            <c:extLst>
              <c:ext xmlns:c16="http://schemas.microsoft.com/office/drawing/2014/chart" uri="{C3380CC4-5D6E-409C-BE32-E72D297353CC}">
                <c16:uniqueId val="{000007A1-A7CE-4049-B88B-35FCDA646473}"/>
              </c:ext>
            </c:extLst>
          </c:dPt>
          <c:dPt>
            <c:idx val="976"/>
            <c:invertIfNegative val="1"/>
            <c:bubble3D val="0"/>
            <c:spPr>
              <a:solidFill>
                <a:srgbClr val="AEABAB"/>
              </a:solidFill>
            </c:spPr>
            <c:extLst>
              <c:ext xmlns:c16="http://schemas.microsoft.com/office/drawing/2014/chart" uri="{C3380CC4-5D6E-409C-BE32-E72D297353CC}">
                <c16:uniqueId val="{000007A3-A7CE-4049-B88B-35FCDA646473}"/>
              </c:ext>
            </c:extLst>
          </c:dPt>
          <c:dPt>
            <c:idx val="977"/>
            <c:invertIfNegative val="1"/>
            <c:bubble3D val="0"/>
            <c:spPr>
              <a:solidFill>
                <a:srgbClr val="AEABAB"/>
              </a:solidFill>
            </c:spPr>
            <c:extLst>
              <c:ext xmlns:c16="http://schemas.microsoft.com/office/drawing/2014/chart" uri="{C3380CC4-5D6E-409C-BE32-E72D297353CC}">
                <c16:uniqueId val="{000007A5-A7CE-4049-B88B-35FCDA646473}"/>
              </c:ext>
            </c:extLst>
          </c:dPt>
          <c:dPt>
            <c:idx val="978"/>
            <c:invertIfNegative val="1"/>
            <c:bubble3D val="0"/>
            <c:spPr>
              <a:solidFill>
                <a:srgbClr val="AEABAB"/>
              </a:solidFill>
            </c:spPr>
            <c:extLst>
              <c:ext xmlns:c16="http://schemas.microsoft.com/office/drawing/2014/chart" uri="{C3380CC4-5D6E-409C-BE32-E72D297353CC}">
                <c16:uniqueId val="{000007A7-A7CE-4049-B88B-35FCDA646473}"/>
              </c:ext>
            </c:extLst>
          </c:dPt>
          <c:dPt>
            <c:idx val="979"/>
            <c:invertIfNegative val="1"/>
            <c:bubble3D val="0"/>
            <c:spPr>
              <a:solidFill>
                <a:srgbClr val="AEABAB"/>
              </a:solidFill>
            </c:spPr>
            <c:extLst>
              <c:ext xmlns:c16="http://schemas.microsoft.com/office/drawing/2014/chart" uri="{C3380CC4-5D6E-409C-BE32-E72D297353CC}">
                <c16:uniqueId val="{000007A9-A7CE-4049-B88B-35FCDA646473}"/>
              </c:ext>
            </c:extLst>
          </c:dPt>
          <c:dPt>
            <c:idx val="980"/>
            <c:invertIfNegative val="1"/>
            <c:bubble3D val="0"/>
            <c:spPr>
              <a:solidFill>
                <a:srgbClr val="AEABAB"/>
              </a:solidFill>
            </c:spPr>
            <c:extLst>
              <c:ext xmlns:c16="http://schemas.microsoft.com/office/drawing/2014/chart" uri="{C3380CC4-5D6E-409C-BE32-E72D297353CC}">
                <c16:uniqueId val="{000007AB-A7CE-4049-B88B-35FCDA646473}"/>
              </c:ext>
            </c:extLst>
          </c:dPt>
          <c:dPt>
            <c:idx val="981"/>
            <c:invertIfNegative val="1"/>
            <c:bubble3D val="0"/>
            <c:spPr>
              <a:solidFill>
                <a:srgbClr val="AEABAB"/>
              </a:solidFill>
            </c:spPr>
            <c:extLst>
              <c:ext xmlns:c16="http://schemas.microsoft.com/office/drawing/2014/chart" uri="{C3380CC4-5D6E-409C-BE32-E72D297353CC}">
                <c16:uniqueId val="{000007AD-A7CE-4049-B88B-35FCDA646473}"/>
              </c:ext>
            </c:extLst>
          </c:dPt>
          <c:dPt>
            <c:idx val="982"/>
            <c:invertIfNegative val="1"/>
            <c:bubble3D val="0"/>
            <c:spPr>
              <a:solidFill>
                <a:srgbClr val="AEABAB"/>
              </a:solidFill>
            </c:spPr>
            <c:extLst>
              <c:ext xmlns:c16="http://schemas.microsoft.com/office/drawing/2014/chart" uri="{C3380CC4-5D6E-409C-BE32-E72D297353CC}">
                <c16:uniqueId val="{000007AF-A7CE-4049-B88B-35FCDA646473}"/>
              </c:ext>
            </c:extLst>
          </c:dPt>
          <c:dPt>
            <c:idx val="983"/>
            <c:invertIfNegative val="1"/>
            <c:bubble3D val="0"/>
            <c:spPr>
              <a:solidFill>
                <a:srgbClr val="AEABAB"/>
              </a:solidFill>
            </c:spPr>
            <c:extLst>
              <c:ext xmlns:c16="http://schemas.microsoft.com/office/drawing/2014/chart" uri="{C3380CC4-5D6E-409C-BE32-E72D297353CC}">
                <c16:uniqueId val="{000007B1-A7CE-4049-B88B-35FCDA646473}"/>
              </c:ext>
            </c:extLst>
          </c:dPt>
          <c:dPt>
            <c:idx val="984"/>
            <c:invertIfNegative val="1"/>
            <c:bubble3D val="0"/>
            <c:spPr>
              <a:solidFill>
                <a:srgbClr val="AEABAB"/>
              </a:solidFill>
            </c:spPr>
            <c:extLst>
              <c:ext xmlns:c16="http://schemas.microsoft.com/office/drawing/2014/chart" uri="{C3380CC4-5D6E-409C-BE32-E72D297353CC}">
                <c16:uniqueId val="{000007B3-A7CE-4049-B88B-35FCDA646473}"/>
              </c:ext>
            </c:extLst>
          </c:dPt>
          <c:dPt>
            <c:idx val="985"/>
            <c:invertIfNegative val="1"/>
            <c:bubble3D val="0"/>
            <c:spPr>
              <a:solidFill>
                <a:srgbClr val="AEABAB"/>
              </a:solidFill>
            </c:spPr>
            <c:extLst>
              <c:ext xmlns:c16="http://schemas.microsoft.com/office/drawing/2014/chart" uri="{C3380CC4-5D6E-409C-BE32-E72D297353CC}">
                <c16:uniqueId val="{000007B5-A7CE-4049-B88B-35FCDA646473}"/>
              </c:ext>
            </c:extLst>
          </c:dPt>
          <c:dPt>
            <c:idx val="986"/>
            <c:invertIfNegative val="1"/>
            <c:bubble3D val="0"/>
            <c:spPr>
              <a:solidFill>
                <a:srgbClr val="AEABAB"/>
              </a:solidFill>
            </c:spPr>
            <c:extLst>
              <c:ext xmlns:c16="http://schemas.microsoft.com/office/drawing/2014/chart" uri="{C3380CC4-5D6E-409C-BE32-E72D297353CC}">
                <c16:uniqueId val="{000007B7-A7CE-4049-B88B-35FCDA646473}"/>
              </c:ext>
            </c:extLst>
          </c:dPt>
          <c:dPt>
            <c:idx val="987"/>
            <c:invertIfNegative val="1"/>
            <c:bubble3D val="0"/>
            <c:spPr>
              <a:solidFill>
                <a:srgbClr val="AEABAB"/>
              </a:solidFill>
            </c:spPr>
            <c:extLst>
              <c:ext xmlns:c16="http://schemas.microsoft.com/office/drawing/2014/chart" uri="{C3380CC4-5D6E-409C-BE32-E72D297353CC}">
                <c16:uniqueId val="{000007B9-A7CE-4049-B88B-35FCDA646473}"/>
              </c:ext>
            </c:extLst>
          </c:dPt>
          <c:dPt>
            <c:idx val="988"/>
            <c:invertIfNegative val="1"/>
            <c:bubble3D val="0"/>
            <c:spPr>
              <a:solidFill>
                <a:srgbClr val="AEABAB"/>
              </a:solidFill>
            </c:spPr>
            <c:extLst>
              <c:ext xmlns:c16="http://schemas.microsoft.com/office/drawing/2014/chart" uri="{C3380CC4-5D6E-409C-BE32-E72D297353CC}">
                <c16:uniqueId val="{000007BB-A7CE-4049-B88B-35FCDA646473}"/>
              </c:ext>
            </c:extLst>
          </c:dPt>
          <c:dPt>
            <c:idx val="989"/>
            <c:invertIfNegative val="1"/>
            <c:bubble3D val="0"/>
            <c:spPr>
              <a:solidFill>
                <a:srgbClr val="AEABAB"/>
              </a:solidFill>
            </c:spPr>
            <c:extLst>
              <c:ext xmlns:c16="http://schemas.microsoft.com/office/drawing/2014/chart" uri="{C3380CC4-5D6E-409C-BE32-E72D297353CC}">
                <c16:uniqueId val="{000007BD-A7CE-4049-B88B-35FCDA646473}"/>
              </c:ext>
            </c:extLst>
          </c:dPt>
          <c:dPt>
            <c:idx val="990"/>
            <c:invertIfNegative val="1"/>
            <c:bubble3D val="0"/>
            <c:spPr>
              <a:solidFill>
                <a:srgbClr val="AEABAB"/>
              </a:solidFill>
            </c:spPr>
            <c:extLst>
              <c:ext xmlns:c16="http://schemas.microsoft.com/office/drawing/2014/chart" uri="{C3380CC4-5D6E-409C-BE32-E72D297353CC}">
                <c16:uniqueId val="{000007BF-A7CE-4049-B88B-35FCDA646473}"/>
              </c:ext>
            </c:extLst>
          </c:dPt>
          <c:dPt>
            <c:idx val="991"/>
            <c:invertIfNegative val="1"/>
            <c:bubble3D val="0"/>
            <c:spPr>
              <a:solidFill>
                <a:srgbClr val="AEABAB"/>
              </a:solidFill>
            </c:spPr>
            <c:extLst>
              <c:ext xmlns:c16="http://schemas.microsoft.com/office/drawing/2014/chart" uri="{C3380CC4-5D6E-409C-BE32-E72D297353CC}">
                <c16:uniqueId val="{000007C1-A7CE-4049-B88B-35FCDA646473}"/>
              </c:ext>
            </c:extLst>
          </c:dPt>
          <c:dPt>
            <c:idx val="992"/>
            <c:invertIfNegative val="1"/>
            <c:bubble3D val="0"/>
            <c:spPr>
              <a:solidFill>
                <a:srgbClr val="AEABAB"/>
              </a:solidFill>
            </c:spPr>
            <c:extLst>
              <c:ext xmlns:c16="http://schemas.microsoft.com/office/drawing/2014/chart" uri="{C3380CC4-5D6E-409C-BE32-E72D297353CC}">
                <c16:uniqueId val="{000007C3-A7CE-4049-B88B-35FCDA646473}"/>
              </c:ext>
            </c:extLst>
          </c:dPt>
          <c:dPt>
            <c:idx val="993"/>
            <c:invertIfNegative val="1"/>
            <c:bubble3D val="0"/>
            <c:spPr>
              <a:solidFill>
                <a:srgbClr val="AEABAB"/>
              </a:solidFill>
            </c:spPr>
            <c:extLst>
              <c:ext xmlns:c16="http://schemas.microsoft.com/office/drawing/2014/chart" uri="{C3380CC4-5D6E-409C-BE32-E72D297353CC}">
                <c16:uniqueId val="{000007C5-A7CE-4049-B88B-35FCDA646473}"/>
              </c:ext>
            </c:extLst>
          </c:dPt>
          <c:dPt>
            <c:idx val="994"/>
            <c:invertIfNegative val="1"/>
            <c:bubble3D val="0"/>
            <c:spPr>
              <a:solidFill>
                <a:srgbClr val="AEABAB"/>
              </a:solidFill>
            </c:spPr>
            <c:extLst>
              <c:ext xmlns:c16="http://schemas.microsoft.com/office/drawing/2014/chart" uri="{C3380CC4-5D6E-409C-BE32-E72D297353CC}">
                <c16:uniqueId val="{000007C7-A7CE-4049-B88B-35FCDA646473}"/>
              </c:ext>
            </c:extLst>
          </c:dPt>
          <c:dPt>
            <c:idx val="995"/>
            <c:invertIfNegative val="1"/>
            <c:bubble3D val="0"/>
            <c:spPr>
              <a:solidFill>
                <a:srgbClr val="AEABAB"/>
              </a:solidFill>
            </c:spPr>
            <c:extLst>
              <c:ext xmlns:c16="http://schemas.microsoft.com/office/drawing/2014/chart" uri="{C3380CC4-5D6E-409C-BE32-E72D297353CC}">
                <c16:uniqueId val="{000007C9-A7CE-4049-B88B-35FCDA646473}"/>
              </c:ext>
            </c:extLst>
          </c:dPt>
          <c:dPt>
            <c:idx val="996"/>
            <c:invertIfNegative val="1"/>
            <c:bubble3D val="0"/>
            <c:spPr>
              <a:solidFill>
                <a:srgbClr val="AEABAB"/>
              </a:solidFill>
            </c:spPr>
            <c:extLst>
              <c:ext xmlns:c16="http://schemas.microsoft.com/office/drawing/2014/chart" uri="{C3380CC4-5D6E-409C-BE32-E72D297353CC}">
                <c16:uniqueId val="{000007CB-A7CE-4049-B88B-35FCDA646473}"/>
              </c:ext>
            </c:extLst>
          </c:dPt>
          <c:dPt>
            <c:idx val="997"/>
            <c:invertIfNegative val="1"/>
            <c:bubble3D val="0"/>
            <c:spPr>
              <a:solidFill>
                <a:srgbClr val="AEABAB"/>
              </a:solidFill>
            </c:spPr>
            <c:extLst>
              <c:ext xmlns:c16="http://schemas.microsoft.com/office/drawing/2014/chart" uri="{C3380CC4-5D6E-409C-BE32-E72D297353CC}">
                <c16:uniqueId val="{000007CD-A7CE-4049-B88B-35FCDA646473}"/>
              </c:ext>
            </c:extLst>
          </c:dPt>
          <c:dPt>
            <c:idx val="998"/>
            <c:invertIfNegative val="1"/>
            <c:bubble3D val="0"/>
            <c:spPr>
              <a:solidFill>
                <a:srgbClr val="AEABAB"/>
              </a:solidFill>
            </c:spPr>
            <c:extLst>
              <c:ext xmlns:c16="http://schemas.microsoft.com/office/drawing/2014/chart" uri="{C3380CC4-5D6E-409C-BE32-E72D297353CC}">
                <c16:uniqueId val="{000007CF-A7CE-4049-B88B-35FCDA646473}"/>
              </c:ext>
            </c:extLst>
          </c:dPt>
          <c:dPt>
            <c:idx val="999"/>
            <c:invertIfNegative val="1"/>
            <c:bubble3D val="0"/>
            <c:spPr>
              <a:solidFill>
                <a:srgbClr val="AEABAB"/>
              </a:solidFill>
            </c:spPr>
            <c:extLst>
              <c:ext xmlns:c16="http://schemas.microsoft.com/office/drawing/2014/chart" uri="{C3380CC4-5D6E-409C-BE32-E72D297353CC}">
                <c16:uniqueId val="{000007D1-A7CE-4049-B88B-35FCDA646473}"/>
              </c:ext>
            </c:extLst>
          </c:dPt>
          <c:dPt>
            <c:idx val="1000"/>
            <c:invertIfNegative val="1"/>
            <c:bubble3D val="0"/>
            <c:spPr>
              <a:solidFill>
                <a:srgbClr val="AEABAB"/>
              </a:solidFill>
            </c:spPr>
            <c:extLst>
              <c:ext xmlns:c16="http://schemas.microsoft.com/office/drawing/2014/chart" uri="{C3380CC4-5D6E-409C-BE32-E72D297353CC}">
                <c16:uniqueId val="{000007D3-A7CE-4049-B88B-35FCDA646473}"/>
              </c:ext>
            </c:extLst>
          </c:dPt>
          <c:dPt>
            <c:idx val="1001"/>
            <c:invertIfNegative val="1"/>
            <c:bubble3D val="0"/>
            <c:spPr>
              <a:solidFill>
                <a:srgbClr val="AEABAB"/>
              </a:solidFill>
            </c:spPr>
            <c:extLst>
              <c:ext xmlns:c16="http://schemas.microsoft.com/office/drawing/2014/chart" uri="{C3380CC4-5D6E-409C-BE32-E72D297353CC}">
                <c16:uniqueId val="{000007D5-A7CE-4049-B88B-35FCDA646473}"/>
              </c:ext>
            </c:extLst>
          </c:dPt>
          <c:dPt>
            <c:idx val="1002"/>
            <c:invertIfNegative val="1"/>
            <c:bubble3D val="0"/>
            <c:spPr>
              <a:solidFill>
                <a:srgbClr val="AEABAB"/>
              </a:solidFill>
            </c:spPr>
            <c:extLst>
              <c:ext xmlns:c16="http://schemas.microsoft.com/office/drawing/2014/chart" uri="{C3380CC4-5D6E-409C-BE32-E72D297353CC}">
                <c16:uniqueId val="{000007D7-A7CE-4049-B88B-35FCDA646473}"/>
              </c:ext>
            </c:extLst>
          </c:dPt>
          <c:dPt>
            <c:idx val="1003"/>
            <c:invertIfNegative val="1"/>
            <c:bubble3D val="0"/>
            <c:spPr>
              <a:solidFill>
                <a:srgbClr val="AEABAB"/>
              </a:solidFill>
            </c:spPr>
            <c:extLst>
              <c:ext xmlns:c16="http://schemas.microsoft.com/office/drawing/2014/chart" uri="{C3380CC4-5D6E-409C-BE32-E72D297353CC}">
                <c16:uniqueId val="{000007D9-A7CE-4049-B88B-35FCDA646473}"/>
              </c:ext>
            </c:extLst>
          </c:dPt>
          <c:dPt>
            <c:idx val="1004"/>
            <c:invertIfNegative val="1"/>
            <c:bubble3D val="0"/>
            <c:spPr>
              <a:solidFill>
                <a:srgbClr val="AEABAB"/>
              </a:solidFill>
            </c:spPr>
            <c:extLst>
              <c:ext xmlns:c16="http://schemas.microsoft.com/office/drawing/2014/chart" uri="{C3380CC4-5D6E-409C-BE32-E72D297353CC}">
                <c16:uniqueId val="{000007DB-A7CE-4049-B88B-35FCDA646473}"/>
              </c:ext>
            </c:extLst>
          </c:dPt>
          <c:dPt>
            <c:idx val="1005"/>
            <c:invertIfNegative val="1"/>
            <c:bubble3D val="0"/>
            <c:spPr>
              <a:solidFill>
                <a:srgbClr val="AEABAB"/>
              </a:solidFill>
            </c:spPr>
            <c:extLst>
              <c:ext xmlns:c16="http://schemas.microsoft.com/office/drawing/2014/chart" uri="{C3380CC4-5D6E-409C-BE32-E72D297353CC}">
                <c16:uniqueId val="{000007DD-A7CE-4049-B88B-35FCDA646473}"/>
              </c:ext>
            </c:extLst>
          </c:dPt>
          <c:dPt>
            <c:idx val="1006"/>
            <c:invertIfNegative val="1"/>
            <c:bubble3D val="0"/>
            <c:spPr>
              <a:solidFill>
                <a:srgbClr val="AEABAB"/>
              </a:solidFill>
            </c:spPr>
            <c:extLst>
              <c:ext xmlns:c16="http://schemas.microsoft.com/office/drawing/2014/chart" uri="{C3380CC4-5D6E-409C-BE32-E72D297353CC}">
                <c16:uniqueId val="{000007DF-A7CE-4049-B88B-35FCDA646473}"/>
              </c:ext>
            </c:extLst>
          </c:dPt>
          <c:dPt>
            <c:idx val="1007"/>
            <c:invertIfNegative val="1"/>
            <c:bubble3D val="0"/>
            <c:spPr>
              <a:solidFill>
                <a:srgbClr val="AEABAB"/>
              </a:solidFill>
            </c:spPr>
            <c:extLst>
              <c:ext xmlns:c16="http://schemas.microsoft.com/office/drawing/2014/chart" uri="{C3380CC4-5D6E-409C-BE32-E72D297353CC}">
                <c16:uniqueId val="{000007E1-A7CE-4049-B88B-35FCDA646473}"/>
              </c:ext>
            </c:extLst>
          </c:dPt>
          <c:dPt>
            <c:idx val="1008"/>
            <c:invertIfNegative val="1"/>
            <c:bubble3D val="0"/>
            <c:spPr>
              <a:solidFill>
                <a:srgbClr val="AEABAB"/>
              </a:solidFill>
            </c:spPr>
            <c:extLst>
              <c:ext xmlns:c16="http://schemas.microsoft.com/office/drawing/2014/chart" uri="{C3380CC4-5D6E-409C-BE32-E72D297353CC}">
                <c16:uniqueId val="{000007E3-A7CE-4049-B88B-35FCDA646473}"/>
              </c:ext>
            </c:extLst>
          </c:dPt>
          <c:dPt>
            <c:idx val="1009"/>
            <c:invertIfNegative val="1"/>
            <c:bubble3D val="0"/>
            <c:spPr>
              <a:solidFill>
                <a:srgbClr val="AEABAB"/>
              </a:solidFill>
            </c:spPr>
            <c:extLst>
              <c:ext xmlns:c16="http://schemas.microsoft.com/office/drawing/2014/chart" uri="{C3380CC4-5D6E-409C-BE32-E72D297353CC}">
                <c16:uniqueId val="{000007E5-A7CE-4049-B88B-35FCDA646473}"/>
              </c:ext>
            </c:extLst>
          </c:dPt>
          <c:dPt>
            <c:idx val="1010"/>
            <c:invertIfNegative val="1"/>
            <c:bubble3D val="0"/>
            <c:spPr>
              <a:solidFill>
                <a:srgbClr val="AEABAB"/>
              </a:solidFill>
            </c:spPr>
            <c:extLst>
              <c:ext xmlns:c16="http://schemas.microsoft.com/office/drawing/2014/chart" uri="{C3380CC4-5D6E-409C-BE32-E72D297353CC}">
                <c16:uniqueId val="{000007E7-A7CE-4049-B88B-35FCDA646473}"/>
              </c:ext>
            </c:extLst>
          </c:dPt>
          <c:dPt>
            <c:idx val="1011"/>
            <c:invertIfNegative val="1"/>
            <c:bubble3D val="0"/>
            <c:spPr>
              <a:solidFill>
                <a:srgbClr val="AEABAB"/>
              </a:solidFill>
            </c:spPr>
            <c:extLst>
              <c:ext xmlns:c16="http://schemas.microsoft.com/office/drawing/2014/chart" uri="{C3380CC4-5D6E-409C-BE32-E72D297353CC}">
                <c16:uniqueId val="{000007E9-A7CE-4049-B88B-35FCDA646473}"/>
              </c:ext>
            </c:extLst>
          </c:dPt>
          <c:dPt>
            <c:idx val="1012"/>
            <c:invertIfNegative val="1"/>
            <c:bubble3D val="0"/>
            <c:spPr>
              <a:solidFill>
                <a:srgbClr val="AEABAB"/>
              </a:solidFill>
            </c:spPr>
            <c:extLst>
              <c:ext xmlns:c16="http://schemas.microsoft.com/office/drawing/2014/chart" uri="{C3380CC4-5D6E-409C-BE32-E72D297353CC}">
                <c16:uniqueId val="{000007EB-A7CE-4049-B88B-35FCDA646473}"/>
              </c:ext>
            </c:extLst>
          </c:dPt>
          <c:dPt>
            <c:idx val="1013"/>
            <c:invertIfNegative val="1"/>
            <c:bubble3D val="0"/>
            <c:spPr>
              <a:solidFill>
                <a:srgbClr val="AEABAB"/>
              </a:solidFill>
            </c:spPr>
            <c:extLst>
              <c:ext xmlns:c16="http://schemas.microsoft.com/office/drawing/2014/chart" uri="{C3380CC4-5D6E-409C-BE32-E72D297353CC}">
                <c16:uniqueId val="{000007ED-A7CE-4049-B88B-35FCDA646473}"/>
              </c:ext>
            </c:extLst>
          </c:dPt>
          <c:dPt>
            <c:idx val="1014"/>
            <c:invertIfNegative val="1"/>
            <c:bubble3D val="0"/>
            <c:spPr>
              <a:solidFill>
                <a:srgbClr val="AEABAB"/>
              </a:solidFill>
            </c:spPr>
            <c:extLst>
              <c:ext xmlns:c16="http://schemas.microsoft.com/office/drawing/2014/chart" uri="{C3380CC4-5D6E-409C-BE32-E72D297353CC}">
                <c16:uniqueId val="{000007EF-A7CE-4049-B88B-35FCDA646473}"/>
              </c:ext>
            </c:extLst>
          </c:dPt>
          <c:dPt>
            <c:idx val="1015"/>
            <c:invertIfNegative val="1"/>
            <c:bubble3D val="0"/>
            <c:spPr>
              <a:solidFill>
                <a:srgbClr val="AEABAB"/>
              </a:solidFill>
            </c:spPr>
            <c:extLst>
              <c:ext xmlns:c16="http://schemas.microsoft.com/office/drawing/2014/chart" uri="{C3380CC4-5D6E-409C-BE32-E72D297353CC}">
                <c16:uniqueId val="{000007F1-A7CE-4049-B88B-35FCDA646473}"/>
              </c:ext>
            </c:extLst>
          </c:dPt>
          <c:dPt>
            <c:idx val="1016"/>
            <c:invertIfNegative val="1"/>
            <c:bubble3D val="0"/>
            <c:spPr>
              <a:solidFill>
                <a:srgbClr val="AEABAB"/>
              </a:solidFill>
            </c:spPr>
            <c:extLst>
              <c:ext xmlns:c16="http://schemas.microsoft.com/office/drawing/2014/chart" uri="{C3380CC4-5D6E-409C-BE32-E72D297353CC}">
                <c16:uniqueId val="{000007F3-A7CE-4049-B88B-35FCDA646473}"/>
              </c:ext>
            </c:extLst>
          </c:dPt>
          <c:dPt>
            <c:idx val="1017"/>
            <c:invertIfNegative val="1"/>
            <c:bubble3D val="0"/>
            <c:spPr>
              <a:solidFill>
                <a:srgbClr val="AEABAB"/>
              </a:solidFill>
            </c:spPr>
            <c:extLst>
              <c:ext xmlns:c16="http://schemas.microsoft.com/office/drawing/2014/chart" uri="{C3380CC4-5D6E-409C-BE32-E72D297353CC}">
                <c16:uniqueId val="{000007F5-A7CE-4049-B88B-35FCDA646473}"/>
              </c:ext>
            </c:extLst>
          </c:dPt>
          <c:dPt>
            <c:idx val="1018"/>
            <c:invertIfNegative val="1"/>
            <c:bubble3D val="0"/>
            <c:spPr>
              <a:solidFill>
                <a:srgbClr val="AEABAB"/>
              </a:solidFill>
            </c:spPr>
            <c:extLst>
              <c:ext xmlns:c16="http://schemas.microsoft.com/office/drawing/2014/chart" uri="{C3380CC4-5D6E-409C-BE32-E72D297353CC}">
                <c16:uniqueId val="{000007F7-A7CE-4049-B88B-35FCDA646473}"/>
              </c:ext>
            </c:extLst>
          </c:dPt>
          <c:dPt>
            <c:idx val="1019"/>
            <c:invertIfNegative val="1"/>
            <c:bubble3D val="0"/>
            <c:spPr>
              <a:solidFill>
                <a:srgbClr val="AEABAB"/>
              </a:solidFill>
            </c:spPr>
            <c:extLst>
              <c:ext xmlns:c16="http://schemas.microsoft.com/office/drawing/2014/chart" uri="{C3380CC4-5D6E-409C-BE32-E72D297353CC}">
                <c16:uniqueId val="{000007F9-A7CE-4049-B88B-35FCDA646473}"/>
              </c:ext>
            </c:extLst>
          </c:dPt>
          <c:dPt>
            <c:idx val="1020"/>
            <c:invertIfNegative val="1"/>
            <c:bubble3D val="0"/>
            <c:spPr>
              <a:solidFill>
                <a:srgbClr val="AEABAB"/>
              </a:solidFill>
            </c:spPr>
            <c:extLst>
              <c:ext xmlns:c16="http://schemas.microsoft.com/office/drawing/2014/chart" uri="{C3380CC4-5D6E-409C-BE32-E72D297353CC}">
                <c16:uniqueId val="{000007FB-A7CE-4049-B88B-35FCDA646473}"/>
              </c:ext>
            </c:extLst>
          </c:dPt>
          <c:dPt>
            <c:idx val="1021"/>
            <c:invertIfNegative val="1"/>
            <c:bubble3D val="0"/>
            <c:spPr>
              <a:solidFill>
                <a:srgbClr val="AEABAB"/>
              </a:solidFill>
            </c:spPr>
            <c:extLst>
              <c:ext xmlns:c16="http://schemas.microsoft.com/office/drawing/2014/chart" uri="{C3380CC4-5D6E-409C-BE32-E72D297353CC}">
                <c16:uniqueId val="{000007FD-A7CE-4049-B88B-35FCDA646473}"/>
              </c:ext>
            </c:extLst>
          </c:dPt>
          <c:dPt>
            <c:idx val="1022"/>
            <c:invertIfNegative val="1"/>
            <c:bubble3D val="0"/>
            <c:spPr>
              <a:solidFill>
                <a:srgbClr val="AEABAB"/>
              </a:solidFill>
            </c:spPr>
            <c:extLst>
              <c:ext xmlns:c16="http://schemas.microsoft.com/office/drawing/2014/chart" uri="{C3380CC4-5D6E-409C-BE32-E72D297353CC}">
                <c16:uniqueId val="{000007FF-A7CE-4049-B88B-35FCDA646473}"/>
              </c:ext>
            </c:extLst>
          </c:dPt>
          <c:dPt>
            <c:idx val="1023"/>
            <c:invertIfNegative val="1"/>
            <c:bubble3D val="0"/>
            <c:spPr>
              <a:solidFill>
                <a:srgbClr val="AEABAB"/>
              </a:solidFill>
            </c:spPr>
            <c:extLst>
              <c:ext xmlns:c16="http://schemas.microsoft.com/office/drawing/2014/chart" uri="{C3380CC4-5D6E-409C-BE32-E72D297353CC}">
                <c16:uniqueId val="{00000801-A7CE-4049-B88B-35FCDA646473}"/>
              </c:ext>
            </c:extLst>
          </c:dPt>
          <c:dPt>
            <c:idx val="1024"/>
            <c:invertIfNegative val="1"/>
            <c:bubble3D val="0"/>
            <c:spPr>
              <a:solidFill>
                <a:srgbClr val="AEABAB"/>
              </a:solidFill>
            </c:spPr>
            <c:extLst>
              <c:ext xmlns:c16="http://schemas.microsoft.com/office/drawing/2014/chart" uri="{C3380CC4-5D6E-409C-BE32-E72D297353CC}">
                <c16:uniqueId val="{00000803-A7CE-4049-B88B-35FCDA646473}"/>
              </c:ext>
            </c:extLst>
          </c:dPt>
          <c:dPt>
            <c:idx val="1025"/>
            <c:invertIfNegative val="1"/>
            <c:bubble3D val="0"/>
            <c:spPr>
              <a:solidFill>
                <a:srgbClr val="AEABAB"/>
              </a:solidFill>
            </c:spPr>
            <c:extLst>
              <c:ext xmlns:c16="http://schemas.microsoft.com/office/drawing/2014/chart" uri="{C3380CC4-5D6E-409C-BE32-E72D297353CC}">
                <c16:uniqueId val="{00000805-A7CE-4049-B88B-35FCDA646473}"/>
              </c:ext>
            </c:extLst>
          </c:dPt>
          <c:dPt>
            <c:idx val="1026"/>
            <c:invertIfNegative val="1"/>
            <c:bubble3D val="0"/>
            <c:spPr>
              <a:solidFill>
                <a:srgbClr val="AEABAB"/>
              </a:solidFill>
            </c:spPr>
            <c:extLst>
              <c:ext xmlns:c16="http://schemas.microsoft.com/office/drawing/2014/chart" uri="{C3380CC4-5D6E-409C-BE32-E72D297353CC}">
                <c16:uniqueId val="{00000807-A7CE-4049-B88B-35FCDA646473}"/>
              </c:ext>
            </c:extLst>
          </c:dPt>
          <c:dPt>
            <c:idx val="1027"/>
            <c:invertIfNegative val="1"/>
            <c:bubble3D val="0"/>
            <c:spPr>
              <a:solidFill>
                <a:srgbClr val="AEABAB"/>
              </a:solidFill>
            </c:spPr>
            <c:extLst>
              <c:ext xmlns:c16="http://schemas.microsoft.com/office/drawing/2014/chart" uri="{C3380CC4-5D6E-409C-BE32-E72D297353CC}">
                <c16:uniqueId val="{00000809-A7CE-4049-B88B-35FCDA646473}"/>
              </c:ext>
            </c:extLst>
          </c:dPt>
          <c:dPt>
            <c:idx val="1028"/>
            <c:invertIfNegative val="1"/>
            <c:bubble3D val="0"/>
            <c:spPr>
              <a:solidFill>
                <a:srgbClr val="AEABAB"/>
              </a:solidFill>
            </c:spPr>
            <c:extLst>
              <c:ext xmlns:c16="http://schemas.microsoft.com/office/drawing/2014/chart" uri="{C3380CC4-5D6E-409C-BE32-E72D297353CC}">
                <c16:uniqueId val="{0000080B-A7CE-4049-B88B-35FCDA646473}"/>
              </c:ext>
            </c:extLst>
          </c:dPt>
          <c:dPt>
            <c:idx val="1029"/>
            <c:invertIfNegative val="1"/>
            <c:bubble3D val="0"/>
            <c:spPr>
              <a:solidFill>
                <a:srgbClr val="AEABAB"/>
              </a:solidFill>
            </c:spPr>
            <c:extLst>
              <c:ext xmlns:c16="http://schemas.microsoft.com/office/drawing/2014/chart" uri="{C3380CC4-5D6E-409C-BE32-E72D297353CC}">
                <c16:uniqueId val="{0000080D-A7CE-4049-B88B-35FCDA646473}"/>
              </c:ext>
            </c:extLst>
          </c:dPt>
          <c:dPt>
            <c:idx val="1030"/>
            <c:invertIfNegative val="1"/>
            <c:bubble3D val="0"/>
            <c:spPr>
              <a:solidFill>
                <a:srgbClr val="AEABAB"/>
              </a:solidFill>
            </c:spPr>
            <c:extLst>
              <c:ext xmlns:c16="http://schemas.microsoft.com/office/drawing/2014/chart" uri="{C3380CC4-5D6E-409C-BE32-E72D297353CC}">
                <c16:uniqueId val="{0000080F-A7CE-4049-B88B-35FCDA646473}"/>
              </c:ext>
            </c:extLst>
          </c:dPt>
          <c:dPt>
            <c:idx val="1031"/>
            <c:invertIfNegative val="1"/>
            <c:bubble3D val="0"/>
            <c:spPr>
              <a:solidFill>
                <a:srgbClr val="AEABAB"/>
              </a:solidFill>
            </c:spPr>
            <c:extLst>
              <c:ext xmlns:c16="http://schemas.microsoft.com/office/drawing/2014/chart" uri="{C3380CC4-5D6E-409C-BE32-E72D297353CC}">
                <c16:uniqueId val="{00000811-A7CE-4049-B88B-35FCDA646473}"/>
              </c:ext>
            </c:extLst>
          </c:dPt>
          <c:dPt>
            <c:idx val="1032"/>
            <c:invertIfNegative val="1"/>
            <c:bubble3D val="0"/>
            <c:spPr>
              <a:solidFill>
                <a:srgbClr val="AEABAB"/>
              </a:solidFill>
            </c:spPr>
            <c:extLst>
              <c:ext xmlns:c16="http://schemas.microsoft.com/office/drawing/2014/chart" uri="{C3380CC4-5D6E-409C-BE32-E72D297353CC}">
                <c16:uniqueId val="{00000813-A7CE-4049-B88B-35FCDA646473}"/>
              </c:ext>
            </c:extLst>
          </c:dPt>
          <c:dPt>
            <c:idx val="1033"/>
            <c:invertIfNegative val="1"/>
            <c:bubble3D val="0"/>
            <c:spPr>
              <a:solidFill>
                <a:srgbClr val="AEABAB"/>
              </a:solidFill>
            </c:spPr>
            <c:extLst>
              <c:ext xmlns:c16="http://schemas.microsoft.com/office/drawing/2014/chart" uri="{C3380CC4-5D6E-409C-BE32-E72D297353CC}">
                <c16:uniqueId val="{00000815-A7CE-4049-B88B-35FCDA646473}"/>
              </c:ext>
            </c:extLst>
          </c:dPt>
          <c:dPt>
            <c:idx val="1034"/>
            <c:invertIfNegative val="1"/>
            <c:bubble3D val="0"/>
            <c:spPr>
              <a:solidFill>
                <a:srgbClr val="AEABAB"/>
              </a:solidFill>
            </c:spPr>
            <c:extLst>
              <c:ext xmlns:c16="http://schemas.microsoft.com/office/drawing/2014/chart" uri="{C3380CC4-5D6E-409C-BE32-E72D297353CC}">
                <c16:uniqueId val="{00000817-A7CE-4049-B88B-35FCDA646473}"/>
              </c:ext>
            </c:extLst>
          </c:dPt>
          <c:dPt>
            <c:idx val="1035"/>
            <c:invertIfNegative val="1"/>
            <c:bubble3D val="0"/>
            <c:spPr>
              <a:solidFill>
                <a:srgbClr val="AEABAB"/>
              </a:solidFill>
            </c:spPr>
            <c:extLst>
              <c:ext xmlns:c16="http://schemas.microsoft.com/office/drawing/2014/chart" uri="{C3380CC4-5D6E-409C-BE32-E72D297353CC}">
                <c16:uniqueId val="{00000819-A7CE-4049-B88B-35FCDA646473}"/>
              </c:ext>
            </c:extLst>
          </c:dPt>
          <c:dPt>
            <c:idx val="1036"/>
            <c:invertIfNegative val="1"/>
            <c:bubble3D val="0"/>
            <c:spPr>
              <a:solidFill>
                <a:srgbClr val="AEABAB"/>
              </a:solidFill>
            </c:spPr>
            <c:extLst>
              <c:ext xmlns:c16="http://schemas.microsoft.com/office/drawing/2014/chart" uri="{C3380CC4-5D6E-409C-BE32-E72D297353CC}">
                <c16:uniqueId val="{0000081B-A7CE-4049-B88B-35FCDA646473}"/>
              </c:ext>
            </c:extLst>
          </c:dPt>
          <c:dPt>
            <c:idx val="1037"/>
            <c:invertIfNegative val="1"/>
            <c:bubble3D val="0"/>
            <c:spPr>
              <a:solidFill>
                <a:srgbClr val="AEABAB"/>
              </a:solidFill>
            </c:spPr>
            <c:extLst>
              <c:ext xmlns:c16="http://schemas.microsoft.com/office/drawing/2014/chart" uri="{C3380CC4-5D6E-409C-BE32-E72D297353CC}">
                <c16:uniqueId val="{0000081D-A7CE-4049-B88B-35FCDA646473}"/>
              </c:ext>
            </c:extLst>
          </c:dPt>
          <c:dPt>
            <c:idx val="1038"/>
            <c:invertIfNegative val="1"/>
            <c:bubble3D val="0"/>
            <c:spPr>
              <a:solidFill>
                <a:srgbClr val="AEABAB"/>
              </a:solidFill>
            </c:spPr>
            <c:extLst>
              <c:ext xmlns:c16="http://schemas.microsoft.com/office/drawing/2014/chart" uri="{C3380CC4-5D6E-409C-BE32-E72D297353CC}">
                <c16:uniqueId val="{0000081F-A7CE-4049-B88B-35FCDA646473}"/>
              </c:ext>
            </c:extLst>
          </c:dPt>
          <c:dPt>
            <c:idx val="1039"/>
            <c:invertIfNegative val="1"/>
            <c:bubble3D val="0"/>
            <c:spPr>
              <a:solidFill>
                <a:srgbClr val="AEABAB"/>
              </a:solidFill>
            </c:spPr>
            <c:extLst>
              <c:ext xmlns:c16="http://schemas.microsoft.com/office/drawing/2014/chart" uri="{C3380CC4-5D6E-409C-BE32-E72D297353CC}">
                <c16:uniqueId val="{00000821-A7CE-4049-B88B-35FCDA646473}"/>
              </c:ext>
            </c:extLst>
          </c:dPt>
          <c:dPt>
            <c:idx val="1040"/>
            <c:invertIfNegative val="1"/>
            <c:bubble3D val="0"/>
            <c:spPr>
              <a:solidFill>
                <a:srgbClr val="AEABAB"/>
              </a:solidFill>
            </c:spPr>
            <c:extLst>
              <c:ext xmlns:c16="http://schemas.microsoft.com/office/drawing/2014/chart" uri="{C3380CC4-5D6E-409C-BE32-E72D297353CC}">
                <c16:uniqueId val="{00000823-A7CE-4049-B88B-35FCDA646473}"/>
              </c:ext>
            </c:extLst>
          </c:dPt>
          <c:dPt>
            <c:idx val="1041"/>
            <c:invertIfNegative val="1"/>
            <c:bubble3D val="0"/>
            <c:spPr>
              <a:solidFill>
                <a:srgbClr val="AEABAB"/>
              </a:solidFill>
            </c:spPr>
            <c:extLst>
              <c:ext xmlns:c16="http://schemas.microsoft.com/office/drawing/2014/chart" uri="{C3380CC4-5D6E-409C-BE32-E72D297353CC}">
                <c16:uniqueId val="{00000825-A7CE-4049-B88B-35FCDA646473}"/>
              </c:ext>
            </c:extLst>
          </c:dPt>
          <c:dPt>
            <c:idx val="1042"/>
            <c:invertIfNegative val="1"/>
            <c:bubble3D val="0"/>
            <c:spPr>
              <a:solidFill>
                <a:srgbClr val="AEABAB"/>
              </a:solidFill>
            </c:spPr>
            <c:extLst>
              <c:ext xmlns:c16="http://schemas.microsoft.com/office/drawing/2014/chart" uri="{C3380CC4-5D6E-409C-BE32-E72D297353CC}">
                <c16:uniqueId val="{00000827-A7CE-4049-B88B-35FCDA646473}"/>
              </c:ext>
            </c:extLst>
          </c:dPt>
          <c:dPt>
            <c:idx val="1043"/>
            <c:invertIfNegative val="1"/>
            <c:bubble3D val="0"/>
            <c:spPr>
              <a:solidFill>
                <a:srgbClr val="AEABAB"/>
              </a:solidFill>
            </c:spPr>
            <c:extLst>
              <c:ext xmlns:c16="http://schemas.microsoft.com/office/drawing/2014/chart" uri="{C3380CC4-5D6E-409C-BE32-E72D297353CC}">
                <c16:uniqueId val="{00000829-A7CE-4049-B88B-35FCDA646473}"/>
              </c:ext>
            </c:extLst>
          </c:dPt>
          <c:dPt>
            <c:idx val="1044"/>
            <c:invertIfNegative val="1"/>
            <c:bubble3D val="0"/>
            <c:spPr>
              <a:solidFill>
                <a:srgbClr val="AEABAB"/>
              </a:solidFill>
            </c:spPr>
            <c:extLst>
              <c:ext xmlns:c16="http://schemas.microsoft.com/office/drawing/2014/chart" uri="{C3380CC4-5D6E-409C-BE32-E72D297353CC}">
                <c16:uniqueId val="{0000082B-A7CE-4049-B88B-35FCDA646473}"/>
              </c:ext>
            </c:extLst>
          </c:dPt>
          <c:dPt>
            <c:idx val="1045"/>
            <c:invertIfNegative val="1"/>
            <c:bubble3D val="0"/>
            <c:spPr>
              <a:solidFill>
                <a:srgbClr val="AEABAB"/>
              </a:solidFill>
            </c:spPr>
            <c:extLst>
              <c:ext xmlns:c16="http://schemas.microsoft.com/office/drawing/2014/chart" uri="{C3380CC4-5D6E-409C-BE32-E72D297353CC}">
                <c16:uniqueId val="{0000082D-A7CE-4049-B88B-35FCDA646473}"/>
              </c:ext>
            </c:extLst>
          </c:dPt>
          <c:dPt>
            <c:idx val="1046"/>
            <c:invertIfNegative val="1"/>
            <c:bubble3D val="0"/>
            <c:spPr>
              <a:solidFill>
                <a:srgbClr val="AEABAB"/>
              </a:solidFill>
            </c:spPr>
            <c:extLst>
              <c:ext xmlns:c16="http://schemas.microsoft.com/office/drawing/2014/chart" uri="{C3380CC4-5D6E-409C-BE32-E72D297353CC}">
                <c16:uniqueId val="{0000082F-A7CE-4049-B88B-35FCDA646473}"/>
              </c:ext>
            </c:extLst>
          </c:dPt>
          <c:dPt>
            <c:idx val="1047"/>
            <c:invertIfNegative val="1"/>
            <c:bubble3D val="0"/>
            <c:spPr>
              <a:solidFill>
                <a:srgbClr val="AEABAB"/>
              </a:solidFill>
            </c:spPr>
            <c:extLst>
              <c:ext xmlns:c16="http://schemas.microsoft.com/office/drawing/2014/chart" uri="{C3380CC4-5D6E-409C-BE32-E72D297353CC}">
                <c16:uniqueId val="{00000831-A7CE-4049-B88B-35FCDA646473}"/>
              </c:ext>
            </c:extLst>
          </c:dPt>
          <c:dPt>
            <c:idx val="1048"/>
            <c:invertIfNegative val="1"/>
            <c:bubble3D val="0"/>
            <c:spPr>
              <a:solidFill>
                <a:srgbClr val="AEABAB"/>
              </a:solidFill>
            </c:spPr>
            <c:extLst>
              <c:ext xmlns:c16="http://schemas.microsoft.com/office/drawing/2014/chart" uri="{C3380CC4-5D6E-409C-BE32-E72D297353CC}">
                <c16:uniqueId val="{00000833-A7CE-4049-B88B-35FCDA646473}"/>
              </c:ext>
            </c:extLst>
          </c:dPt>
          <c:dPt>
            <c:idx val="1049"/>
            <c:invertIfNegative val="1"/>
            <c:bubble3D val="0"/>
            <c:spPr>
              <a:solidFill>
                <a:srgbClr val="AEABAB"/>
              </a:solidFill>
            </c:spPr>
            <c:extLst>
              <c:ext xmlns:c16="http://schemas.microsoft.com/office/drawing/2014/chart" uri="{C3380CC4-5D6E-409C-BE32-E72D297353CC}">
                <c16:uniqueId val="{00000835-A7CE-4049-B88B-35FCDA646473}"/>
              </c:ext>
            </c:extLst>
          </c:dPt>
          <c:dPt>
            <c:idx val="1050"/>
            <c:invertIfNegative val="1"/>
            <c:bubble3D val="0"/>
            <c:spPr>
              <a:solidFill>
                <a:srgbClr val="AEABAB"/>
              </a:solidFill>
            </c:spPr>
            <c:extLst>
              <c:ext xmlns:c16="http://schemas.microsoft.com/office/drawing/2014/chart" uri="{C3380CC4-5D6E-409C-BE32-E72D297353CC}">
                <c16:uniqueId val="{00000837-A7CE-4049-B88B-35FCDA646473}"/>
              </c:ext>
            </c:extLst>
          </c:dPt>
          <c:dPt>
            <c:idx val="1051"/>
            <c:invertIfNegative val="1"/>
            <c:bubble3D val="0"/>
            <c:spPr>
              <a:solidFill>
                <a:srgbClr val="AEABAB"/>
              </a:solidFill>
            </c:spPr>
            <c:extLst>
              <c:ext xmlns:c16="http://schemas.microsoft.com/office/drawing/2014/chart" uri="{C3380CC4-5D6E-409C-BE32-E72D297353CC}">
                <c16:uniqueId val="{00000839-A7CE-4049-B88B-35FCDA646473}"/>
              </c:ext>
            </c:extLst>
          </c:dPt>
          <c:dPt>
            <c:idx val="1052"/>
            <c:invertIfNegative val="1"/>
            <c:bubble3D val="0"/>
            <c:spPr>
              <a:solidFill>
                <a:srgbClr val="AEABAB"/>
              </a:solidFill>
            </c:spPr>
            <c:extLst>
              <c:ext xmlns:c16="http://schemas.microsoft.com/office/drawing/2014/chart" uri="{C3380CC4-5D6E-409C-BE32-E72D297353CC}">
                <c16:uniqueId val="{0000083B-A7CE-4049-B88B-35FCDA646473}"/>
              </c:ext>
            </c:extLst>
          </c:dPt>
          <c:dPt>
            <c:idx val="1053"/>
            <c:invertIfNegative val="1"/>
            <c:bubble3D val="0"/>
            <c:spPr>
              <a:solidFill>
                <a:srgbClr val="AEABAB"/>
              </a:solidFill>
            </c:spPr>
            <c:extLst>
              <c:ext xmlns:c16="http://schemas.microsoft.com/office/drawing/2014/chart" uri="{C3380CC4-5D6E-409C-BE32-E72D297353CC}">
                <c16:uniqueId val="{0000083D-A7CE-4049-B88B-35FCDA646473}"/>
              </c:ext>
            </c:extLst>
          </c:dPt>
          <c:dPt>
            <c:idx val="1054"/>
            <c:invertIfNegative val="1"/>
            <c:bubble3D val="0"/>
            <c:spPr>
              <a:solidFill>
                <a:srgbClr val="AEABAB"/>
              </a:solidFill>
            </c:spPr>
            <c:extLst>
              <c:ext xmlns:c16="http://schemas.microsoft.com/office/drawing/2014/chart" uri="{C3380CC4-5D6E-409C-BE32-E72D297353CC}">
                <c16:uniqueId val="{0000083F-A7CE-4049-B88B-35FCDA646473}"/>
              </c:ext>
            </c:extLst>
          </c:dPt>
          <c:dPt>
            <c:idx val="1055"/>
            <c:invertIfNegative val="1"/>
            <c:bubble3D val="0"/>
            <c:spPr>
              <a:solidFill>
                <a:srgbClr val="AEABAB"/>
              </a:solidFill>
            </c:spPr>
            <c:extLst>
              <c:ext xmlns:c16="http://schemas.microsoft.com/office/drawing/2014/chart" uri="{C3380CC4-5D6E-409C-BE32-E72D297353CC}">
                <c16:uniqueId val="{00000841-A7CE-4049-B88B-35FCDA646473}"/>
              </c:ext>
            </c:extLst>
          </c:dPt>
          <c:dPt>
            <c:idx val="1056"/>
            <c:invertIfNegative val="1"/>
            <c:bubble3D val="0"/>
            <c:spPr>
              <a:solidFill>
                <a:srgbClr val="AEABAB"/>
              </a:solidFill>
            </c:spPr>
            <c:extLst>
              <c:ext xmlns:c16="http://schemas.microsoft.com/office/drawing/2014/chart" uri="{C3380CC4-5D6E-409C-BE32-E72D297353CC}">
                <c16:uniqueId val="{00000843-A7CE-4049-B88B-35FCDA646473}"/>
              </c:ext>
            </c:extLst>
          </c:dPt>
          <c:dPt>
            <c:idx val="1057"/>
            <c:invertIfNegative val="1"/>
            <c:bubble3D val="0"/>
            <c:spPr>
              <a:solidFill>
                <a:srgbClr val="AEABAB"/>
              </a:solidFill>
            </c:spPr>
            <c:extLst>
              <c:ext xmlns:c16="http://schemas.microsoft.com/office/drawing/2014/chart" uri="{C3380CC4-5D6E-409C-BE32-E72D297353CC}">
                <c16:uniqueId val="{00000845-A7CE-4049-B88B-35FCDA646473}"/>
              </c:ext>
            </c:extLst>
          </c:dPt>
          <c:dPt>
            <c:idx val="1058"/>
            <c:invertIfNegative val="1"/>
            <c:bubble3D val="0"/>
            <c:spPr>
              <a:solidFill>
                <a:srgbClr val="AEABAB"/>
              </a:solidFill>
            </c:spPr>
            <c:extLst>
              <c:ext xmlns:c16="http://schemas.microsoft.com/office/drawing/2014/chart" uri="{C3380CC4-5D6E-409C-BE32-E72D297353CC}">
                <c16:uniqueId val="{00000847-A7CE-4049-B88B-35FCDA646473}"/>
              </c:ext>
            </c:extLst>
          </c:dPt>
          <c:dPt>
            <c:idx val="1059"/>
            <c:invertIfNegative val="1"/>
            <c:bubble3D val="0"/>
            <c:spPr>
              <a:solidFill>
                <a:srgbClr val="AEABAB"/>
              </a:solidFill>
            </c:spPr>
            <c:extLst>
              <c:ext xmlns:c16="http://schemas.microsoft.com/office/drawing/2014/chart" uri="{C3380CC4-5D6E-409C-BE32-E72D297353CC}">
                <c16:uniqueId val="{00000849-A7CE-4049-B88B-35FCDA646473}"/>
              </c:ext>
            </c:extLst>
          </c:dPt>
          <c:dPt>
            <c:idx val="1060"/>
            <c:invertIfNegative val="1"/>
            <c:bubble3D val="0"/>
            <c:spPr>
              <a:solidFill>
                <a:srgbClr val="AEABAB"/>
              </a:solidFill>
            </c:spPr>
            <c:extLst>
              <c:ext xmlns:c16="http://schemas.microsoft.com/office/drawing/2014/chart" uri="{C3380CC4-5D6E-409C-BE32-E72D297353CC}">
                <c16:uniqueId val="{0000084B-A7CE-4049-B88B-35FCDA646473}"/>
              </c:ext>
            </c:extLst>
          </c:dPt>
          <c:dPt>
            <c:idx val="1061"/>
            <c:invertIfNegative val="1"/>
            <c:bubble3D val="0"/>
            <c:spPr>
              <a:solidFill>
                <a:srgbClr val="AEABAB"/>
              </a:solidFill>
            </c:spPr>
            <c:extLst>
              <c:ext xmlns:c16="http://schemas.microsoft.com/office/drawing/2014/chart" uri="{C3380CC4-5D6E-409C-BE32-E72D297353CC}">
                <c16:uniqueId val="{0000084D-A7CE-4049-B88B-35FCDA646473}"/>
              </c:ext>
            </c:extLst>
          </c:dPt>
          <c:dPt>
            <c:idx val="1062"/>
            <c:invertIfNegative val="1"/>
            <c:bubble3D val="0"/>
            <c:spPr>
              <a:solidFill>
                <a:srgbClr val="AEABAB"/>
              </a:solidFill>
            </c:spPr>
            <c:extLst>
              <c:ext xmlns:c16="http://schemas.microsoft.com/office/drawing/2014/chart" uri="{C3380CC4-5D6E-409C-BE32-E72D297353CC}">
                <c16:uniqueId val="{0000084F-A7CE-4049-B88B-35FCDA646473}"/>
              </c:ext>
            </c:extLst>
          </c:dPt>
          <c:dPt>
            <c:idx val="1063"/>
            <c:invertIfNegative val="1"/>
            <c:bubble3D val="0"/>
            <c:spPr>
              <a:solidFill>
                <a:srgbClr val="AEABAB"/>
              </a:solidFill>
            </c:spPr>
            <c:extLst>
              <c:ext xmlns:c16="http://schemas.microsoft.com/office/drawing/2014/chart" uri="{C3380CC4-5D6E-409C-BE32-E72D297353CC}">
                <c16:uniqueId val="{00000851-A7CE-4049-B88B-35FCDA646473}"/>
              </c:ext>
            </c:extLst>
          </c:dPt>
          <c:dPt>
            <c:idx val="1064"/>
            <c:invertIfNegative val="1"/>
            <c:bubble3D val="0"/>
            <c:spPr>
              <a:solidFill>
                <a:srgbClr val="AEABAB"/>
              </a:solidFill>
            </c:spPr>
            <c:extLst>
              <c:ext xmlns:c16="http://schemas.microsoft.com/office/drawing/2014/chart" uri="{C3380CC4-5D6E-409C-BE32-E72D297353CC}">
                <c16:uniqueId val="{00000853-A7CE-4049-B88B-35FCDA646473}"/>
              </c:ext>
            </c:extLst>
          </c:dPt>
          <c:dPt>
            <c:idx val="1065"/>
            <c:invertIfNegative val="1"/>
            <c:bubble3D val="0"/>
            <c:spPr>
              <a:solidFill>
                <a:srgbClr val="AEABAB"/>
              </a:solidFill>
            </c:spPr>
            <c:extLst>
              <c:ext xmlns:c16="http://schemas.microsoft.com/office/drawing/2014/chart" uri="{C3380CC4-5D6E-409C-BE32-E72D297353CC}">
                <c16:uniqueId val="{00000855-A7CE-4049-B88B-35FCDA646473}"/>
              </c:ext>
            </c:extLst>
          </c:dPt>
          <c:dPt>
            <c:idx val="1066"/>
            <c:invertIfNegative val="1"/>
            <c:bubble3D val="0"/>
            <c:spPr>
              <a:solidFill>
                <a:srgbClr val="AEABAB"/>
              </a:solidFill>
            </c:spPr>
            <c:extLst>
              <c:ext xmlns:c16="http://schemas.microsoft.com/office/drawing/2014/chart" uri="{C3380CC4-5D6E-409C-BE32-E72D297353CC}">
                <c16:uniqueId val="{00000857-A7CE-4049-B88B-35FCDA646473}"/>
              </c:ext>
            </c:extLst>
          </c:dPt>
          <c:dPt>
            <c:idx val="1067"/>
            <c:invertIfNegative val="1"/>
            <c:bubble3D val="0"/>
            <c:spPr>
              <a:solidFill>
                <a:srgbClr val="AEABAB"/>
              </a:solidFill>
            </c:spPr>
            <c:extLst>
              <c:ext xmlns:c16="http://schemas.microsoft.com/office/drawing/2014/chart" uri="{C3380CC4-5D6E-409C-BE32-E72D297353CC}">
                <c16:uniqueId val="{00000859-A7CE-4049-B88B-35FCDA646473}"/>
              </c:ext>
            </c:extLst>
          </c:dPt>
          <c:dPt>
            <c:idx val="1068"/>
            <c:invertIfNegative val="1"/>
            <c:bubble3D val="0"/>
            <c:spPr>
              <a:solidFill>
                <a:srgbClr val="AEABAB"/>
              </a:solidFill>
            </c:spPr>
            <c:extLst>
              <c:ext xmlns:c16="http://schemas.microsoft.com/office/drawing/2014/chart" uri="{C3380CC4-5D6E-409C-BE32-E72D297353CC}">
                <c16:uniqueId val="{0000085B-A7CE-4049-B88B-35FCDA646473}"/>
              </c:ext>
            </c:extLst>
          </c:dPt>
          <c:dPt>
            <c:idx val="1069"/>
            <c:invertIfNegative val="1"/>
            <c:bubble3D val="0"/>
            <c:spPr>
              <a:solidFill>
                <a:srgbClr val="AEABAB"/>
              </a:solidFill>
            </c:spPr>
            <c:extLst>
              <c:ext xmlns:c16="http://schemas.microsoft.com/office/drawing/2014/chart" uri="{C3380CC4-5D6E-409C-BE32-E72D297353CC}">
                <c16:uniqueId val="{0000085D-A7CE-4049-B88B-35FCDA646473}"/>
              </c:ext>
            </c:extLst>
          </c:dPt>
          <c:dPt>
            <c:idx val="1070"/>
            <c:invertIfNegative val="1"/>
            <c:bubble3D val="0"/>
            <c:spPr>
              <a:solidFill>
                <a:srgbClr val="AEABAB"/>
              </a:solidFill>
            </c:spPr>
            <c:extLst>
              <c:ext xmlns:c16="http://schemas.microsoft.com/office/drawing/2014/chart" uri="{C3380CC4-5D6E-409C-BE32-E72D297353CC}">
                <c16:uniqueId val="{0000085F-A7CE-4049-B88B-35FCDA646473}"/>
              </c:ext>
            </c:extLst>
          </c:dPt>
          <c:dPt>
            <c:idx val="1071"/>
            <c:invertIfNegative val="1"/>
            <c:bubble3D val="0"/>
            <c:spPr>
              <a:solidFill>
                <a:srgbClr val="AEABAB"/>
              </a:solidFill>
            </c:spPr>
            <c:extLst>
              <c:ext xmlns:c16="http://schemas.microsoft.com/office/drawing/2014/chart" uri="{C3380CC4-5D6E-409C-BE32-E72D297353CC}">
                <c16:uniqueId val="{00000861-A7CE-4049-B88B-35FCDA646473}"/>
              </c:ext>
            </c:extLst>
          </c:dPt>
          <c:dPt>
            <c:idx val="1072"/>
            <c:invertIfNegative val="1"/>
            <c:bubble3D val="0"/>
            <c:spPr>
              <a:solidFill>
                <a:srgbClr val="AEABAB"/>
              </a:solidFill>
            </c:spPr>
            <c:extLst>
              <c:ext xmlns:c16="http://schemas.microsoft.com/office/drawing/2014/chart" uri="{C3380CC4-5D6E-409C-BE32-E72D297353CC}">
                <c16:uniqueId val="{00000863-A7CE-4049-B88B-35FCDA646473}"/>
              </c:ext>
            </c:extLst>
          </c:dPt>
          <c:dPt>
            <c:idx val="1073"/>
            <c:invertIfNegative val="1"/>
            <c:bubble3D val="0"/>
            <c:spPr>
              <a:solidFill>
                <a:srgbClr val="AEABAB"/>
              </a:solidFill>
            </c:spPr>
            <c:extLst>
              <c:ext xmlns:c16="http://schemas.microsoft.com/office/drawing/2014/chart" uri="{C3380CC4-5D6E-409C-BE32-E72D297353CC}">
                <c16:uniqueId val="{00000865-A7CE-4049-B88B-35FCDA646473}"/>
              </c:ext>
            </c:extLst>
          </c:dPt>
          <c:dPt>
            <c:idx val="1074"/>
            <c:invertIfNegative val="1"/>
            <c:bubble3D val="0"/>
            <c:spPr>
              <a:solidFill>
                <a:srgbClr val="AEABAB"/>
              </a:solidFill>
            </c:spPr>
            <c:extLst>
              <c:ext xmlns:c16="http://schemas.microsoft.com/office/drawing/2014/chart" uri="{C3380CC4-5D6E-409C-BE32-E72D297353CC}">
                <c16:uniqueId val="{00000867-A7CE-4049-B88B-35FCDA646473}"/>
              </c:ext>
            </c:extLst>
          </c:dPt>
          <c:dPt>
            <c:idx val="1075"/>
            <c:invertIfNegative val="1"/>
            <c:bubble3D val="0"/>
            <c:spPr>
              <a:solidFill>
                <a:srgbClr val="AEABAB"/>
              </a:solidFill>
            </c:spPr>
            <c:extLst>
              <c:ext xmlns:c16="http://schemas.microsoft.com/office/drawing/2014/chart" uri="{C3380CC4-5D6E-409C-BE32-E72D297353CC}">
                <c16:uniqueId val="{00000869-A7CE-4049-B88B-35FCDA646473}"/>
              </c:ext>
            </c:extLst>
          </c:dPt>
          <c:dPt>
            <c:idx val="1076"/>
            <c:invertIfNegative val="1"/>
            <c:bubble3D val="0"/>
            <c:spPr>
              <a:solidFill>
                <a:srgbClr val="AEABAB"/>
              </a:solidFill>
            </c:spPr>
            <c:extLst>
              <c:ext xmlns:c16="http://schemas.microsoft.com/office/drawing/2014/chart" uri="{C3380CC4-5D6E-409C-BE32-E72D297353CC}">
                <c16:uniqueId val="{0000086B-A7CE-4049-B88B-35FCDA646473}"/>
              </c:ext>
            </c:extLst>
          </c:dPt>
          <c:dPt>
            <c:idx val="1077"/>
            <c:invertIfNegative val="1"/>
            <c:bubble3D val="0"/>
            <c:spPr>
              <a:solidFill>
                <a:srgbClr val="AEABAB"/>
              </a:solidFill>
            </c:spPr>
            <c:extLst>
              <c:ext xmlns:c16="http://schemas.microsoft.com/office/drawing/2014/chart" uri="{C3380CC4-5D6E-409C-BE32-E72D297353CC}">
                <c16:uniqueId val="{0000086D-A7CE-4049-B88B-35FCDA646473}"/>
              </c:ext>
            </c:extLst>
          </c:dPt>
          <c:dPt>
            <c:idx val="1078"/>
            <c:invertIfNegative val="1"/>
            <c:bubble3D val="0"/>
            <c:spPr>
              <a:solidFill>
                <a:srgbClr val="AEABAB"/>
              </a:solidFill>
            </c:spPr>
            <c:extLst>
              <c:ext xmlns:c16="http://schemas.microsoft.com/office/drawing/2014/chart" uri="{C3380CC4-5D6E-409C-BE32-E72D297353CC}">
                <c16:uniqueId val="{0000086F-A7CE-4049-B88B-35FCDA646473}"/>
              </c:ext>
            </c:extLst>
          </c:dPt>
          <c:dPt>
            <c:idx val="1079"/>
            <c:invertIfNegative val="1"/>
            <c:bubble3D val="0"/>
            <c:spPr>
              <a:solidFill>
                <a:srgbClr val="AEABAB"/>
              </a:solidFill>
            </c:spPr>
            <c:extLst>
              <c:ext xmlns:c16="http://schemas.microsoft.com/office/drawing/2014/chart" uri="{C3380CC4-5D6E-409C-BE32-E72D297353CC}">
                <c16:uniqueId val="{00000871-A7CE-4049-B88B-35FCDA646473}"/>
              </c:ext>
            </c:extLst>
          </c:dPt>
          <c:dPt>
            <c:idx val="1080"/>
            <c:invertIfNegative val="1"/>
            <c:bubble3D val="0"/>
            <c:spPr>
              <a:solidFill>
                <a:srgbClr val="AEABAB"/>
              </a:solidFill>
            </c:spPr>
            <c:extLst>
              <c:ext xmlns:c16="http://schemas.microsoft.com/office/drawing/2014/chart" uri="{C3380CC4-5D6E-409C-BE32-E72D297353CC}">
                <c16:uniqueId val="{00000873-A7CE-4049-B88B-35FCDA646473}"/>
              </c:ext>
            </c:extLst>
          </c:dPt>
          <c:dPt>
            <c:idx val="1081"/>
            <c:invertIfNegative val="1"/>
            <c:bubble3D val="0"/>
            <c:spPr>
              <a:solidFill>
                <a:srgbClr val="AEABAB"/>
              </a:solidFill>
            </c:spPr>
            <c:extLst>
              <c:ext xmlns:c16="http://schemas.microsoft.com/office/drawing/2014/chart" uri="{C3380CC4-5D6E-409C-BE32-E72D297353CC}">
                <c16:uniqueId val="{00000875-A7CE-4049-B88B-35FCDA646473}"/>
              </c:ext>
            </c:extLst>
          </c:dPt>
          <c:dPt>
            <c:idx val="1082"/>
            <c:invertIfNegative val="1"/>
            <c:bubble3D val="0"/>
            <c:spPr>
              <a:solidFill>
                <a:srgbClr val="AEABAB"/>
              </a:solidFill>
            </c:spPr>
            <c:extLst>
              <c:ext xmlns:c16="http://schemas.microsoft.com/office/drawing/2014/chart" uri="{C3380CC4-5D6E-409C-BE32-E72D297353CC}">
                <c16:uniqueId val="{00000877-A7CE-4049-B88B-35FCDA646473}"/>
              </c:ext>
            </c:extLst>
          </c:dPt>
          <c:dPt>
            <c:idx val="1083"/>
            <c:invertIfNegative val="1"/>
            <c:bubble3D val="0"/>
            <c:spPr>
              <a:solidFill>
                <a:srgbClr val="AEABAB"/>
              </a:solidFill>
            </c:spPr>
            <c:extLst>
              <c:ext xmlns:c16="http://schemas.microsoft.com/office/drawing/2014/chart" uri="{C3380CC4-5D6E-409C-BE32-E72D297353CC}">
                <c16:uniqueId val="{00000879-A7CE-4049-B88B-35FCDA646473}"/>
              </c:ext>
            </c:extLst>
          </c:dPt>
          <c:dPt>
            <c:idx val="1084"/>
            <c:invertIfNegative val="1"/>
            <c:bubble3D val="0"/>
            <c:spPr>
              <a:solidFill>
                <a:srgbClr val="AEABAB"/>
              </a:solidFill>
            </c:spPr>
            <c:extLst>
              <c:ext xmlns:c16="http://schemas.microsoft.com/office/drawing/2014/chart" uri="{C3380CC4-5D6E-409C-BE32-E72D297353CC}">
                <c16:uniqueId val="{0000087B-A7CE-4049-B88B-35FCDA646473}"/>
              </c:ext>
            </c:extLst>
          </c:dPt>
          <c:dPt>
            <c:idx val="1085"/>
            <c:invertIfNegative val="1"/>
            <c:bubble3D val="0"/>
            <c:spPr>
              <a:solidFill>
                <a:srgbClr val="AEABAB"/>
              </a:solidFill>
            </c:spPr>
            <c:extLst>
              <c:ext xmlns:c16="http://schemas.microsoft.com/office/drawing/2014/chart" uri="{C3380CC4-5D6E-409C-BE32-E72D297353CC}">
                <c16:uniqueId val="{0000087D-A7CE-4049-B88B-35FCDA646473}"/>
              </c:ext>
            </c:extLst>
          </c:dPt>
          <c:dPt>
            <c:idx val="1086"/>
            <c:invertIfNegative val="1"/>
            <c:bubble3D val="0"/>
            <c:spPr>
              <a:solidFill>
                <a:srgbClr val="AEABAB"/>
              </a:solidFill>
            </c:spPr>
            <c:extLst>
              <c:ext xmlns:c16="http://schemas.microsoft.com/office/drawing/2014/chart" uri="{C3380CC4-5D6E-409C-BE32-E72D297353CC}">
                <c16:uniqueId val="{0000087F-A7CE-4049-B88B-35FCDA646473}"/>
              </c:ext>
            </c:extLst>
          </c:dPt>
          <c:dPt>
            <c:idx val="1087"/>
            <c:invertIfNegative val="1"/>
            <c:bubble3D val="0"/>
            <c:spPr>
              <a:solidFill>
                <a:srgbClr val="AEABAB"/>
              </a:solidFill>
            </c:spPr>
            <c:extLst>
              <c:ext xmlns:c16="http://schemas.microsoft.com/office/drawing/2014/chart" uri="{C3380CC4-5D6E-409C-BE32-E72D297353CC}">
                <c16:uniqueId val="{00000881-A7CE-4049-B88B-35FCDA646473}"/>
              </c:ext>
            </c:extLst>
          </c:dPt>
          <c:dPt>
            <c:idx val="1088"/>
            <c:invertIfNegative val="1"/>
            <c:bubble3D val="0"/>
            <c:spPr>
              <a:solidFill>
                <a:srgbClr val="AEABAB"/>
              </a:solidFill>
            </c:spPr>
            <c:extLst>
              <c:ext xmlns:c16="http://schemas.microsoft.com/office/drawing/2014/chart" uri="{C3380CC4-5D6E-409C-BE32-E72D297353CC}">
                <c16:uniqueId val="{00000883-A7CE-4049-B88B-35FCDA646473}"/>
              </c:ext>
            </c:extLst>
          </c:dPt>
          <c:dPt>
            <c:idx val="1089"/>
            <c:invertIfNegative val="1"/>
            <c:bubble3D val="0"/>
            <c:spPr>
              <a:solidFill>
                <a:srgbClr val="AEABAB"/>
              </a:solidFill>
            </c:spPr>
            <c:extLst>
              <c:ext xmlns:c16="http://schemas.microsoft.com/office/drawing/2014/chart" uri="{C3380CC4-5D6E-409C-BE32-E72D297353CC}">
                <c16:uniqueId val="{00000885-A7CE-4049-B88B-35FCDA646473}"/>
              </c:ext>
            </c:extLst>
          </c:dPt>
          <c:dPt>
            <c:idx val="1090"/>
            <c:invertIfNegative val="1"/>
            <c:bubble3D val="0"/>
            <c:spPr>
              <a:solidFill>
                <a:srgbClr val="AEABAB"/>
              </a:solidFill>
            </c:spPr>
            <c:extLst>
              <c:ext xmlns:c16="http://schemas.microsoft.com/office/drawing/2014/chart" uri="{C3380CC4-5D6E-409C-BE32-E72D297353CC}">
                <c16:uniqueId val="{00000887-A7CE-4049-B88B-35FCDA646473}"/>
              </c:ext>
            </c:extLst>
          </c:dPt>
          <c:dPt>
            <c:idx val="1091"/>
            <c:invertIfNegative val="1"/>
            <c:bubble3D val="0"/>
            <c:spPr>
              <a:solidFill>
                <a:srgbClr val="AEABAB"/>
              </a:solidFill>
            </c:spPr>
            <c:extLst>
              <c:ext xmlns:c16="http://schemas.microsoft.com/office/drawing/2014/chart" uri="{C3380CC4-5D6E-409C-BE32-E72D297353CC}">
                <c16:uniqueId val="{00000889-A7CE-4049-B88B-35FCDA646473}"/>
              </c:ext>
            </c:extLst>
          </c:dPt>
          <c:dPt>
            <c:idx val="1092"/>
            <c:invertIfNegative val="1"/>
            <c:bubble3D val="0"/>
            <c:spPr>
              <a:solidFill>
                <a:srgbClr val="AEABAB"/>
              </a:solidFill>
            </c:spPr>
            <c:extLst>
              <c:ext xmlns:c16="http://schemas.microsoft.com/office/drawing/2014/chart" uri="{C3380CC4-5D6E-409C-BE32-E72D297353CC}">
                <c16:uniqueId val="{0000088B-A7CE-4049-B88B-35FCDA646473}"/>
              </c:ext>
            </c:extLst>
          </c:dPt>
          <c:dPt>
            <c:idx val="1093"/>
            <c:invertIfNegative val="1"/>
            <c:bubble3D val="0"/>
            <c:spPr>
              <a:solidFill>
                <a:srgbClr val="AEABAB"/>
              </a:solidFill>
            </c:spPr>
            <c:extLst>
              <c:ext xmlns:c16="http://schemas.microsoft.com/office/drawing/2014/chart" uri="{C3380CC4-5D6E-409C-BE32-E72D297353CC}">
                <c16:uniqueId val="{0000088D-A7CE-4049-B88B-35FCDA646473}"/>
              </c:ext>
            </c:extLst>
          </c:dPt>
          <c:dPt>
            <c:idx val="1094"/>
            <c:invertIfNegative val="1"/>
            <c:bubble3D val="0"/>
            <c:spPr>
              <a:solidFill>
                <a:srgbClr val="AEABAB"/>
              </a:solidFill>
            </c:spPr>
            <c:extLst>
              <c:ext xmlns:c16="http://schemas.microsoft.com/office/drawing/2014/chart" uri="{C3380CC4-5D6E-409C-BE32-E72D297353CC}">
                <c16:uniqueId val="{0000088F-A7CE-4049-B88B-35FCDA646473}"/>
              </c:ext>
            </c:extLst>
          </c:dPt>
          <c:dPt>
            <c:idx val="1095"/>
            <c:invertIfNegative val="1"/>
            <c:bubble3D val="0"/>
            <c:spPr>
              <a:solidFill>
                <a:srgbClr val="AEABAB"/>
              </a:solidFill>
            </c:spPr>
            <c:extLst>
              <c:ext xmlns:c16="http://schemas.microsoft.com/office/drawing/2014/chart" uri="{C3380CC4-5D6E-409C-BE32-E72D297353CC}">
                <c16:uniqueId val="{00000891-A7CE-4049-B88B-35FCDA646473}"/>
              </c:ext>
            </c:extLst>
          </c:dPt>
          <c:dPt>
            <c:idx val="1096"/>
            <c:invertIfNegative val="1"/>
            <c:bubble3D val="0"/>
            <c:spPr>
              <a:solidFill>
                <a:srgbClr val="AEABAB"/>
              </a:solidFill>
            </c:spPr>
            <c:extLst>
              <c:ext xmlns:c16="http://schemas.microsoft.com/office/drawing/2014/chart" uri="{C3380CC4-5D6E-409C-BE32-E72D297353CC}">
                <c16:uniqueId val="{00000893-A7CE-4049-B88B-35FCDA646473}"/>
              </c:ext>
            </c:extLst>
          </c:dPt>
          <c:dPt>
            <c:idx val="1097"/>
            <c:invertIfNegative val="1"/>
            <c:bubble3D val="0"/>
            <c:spPr>
              <a:solidFill>
                <a:srgbClr val="AEABAB"/>
              </a:solidFill>
            </c:spPr>
            <c:extLst>
              <c:ext xmlns:c16="http://schemas.microsoft.com/office/drawing/2014/chart" uri="{C3380CC4-5D6E-409C-BE32-E72D297353CC}">
                <c16:uniqueId val="{00000895-A7CE-4049-B88B-35FCDA646473}"/>
              </c:ext>
            </c:extLst>
          </c:dPt>
          <c:dPt>
            <c:idx val="1098"/>
            <c:invertIfNegative val="1"/>
            <c:bubble3D val="0"/>
            <c:spPr>
              <a:solidFill>
                <a:srgbClr val="AEABAB"/>
              </a:solidFill>
            </c:spPr>
            <c:extLst>
              <c:ext xmlns:c16="http://schemas.microsoft.com/office/drawing/2014/chart" uri="{C3380CC4-5D6E-409C-BE32-E72D297353CC}">
                <c16:uniqueId val="{00000897-A7CE-4049-B88B-35FCDA646473}"/>
              </c:ext>
            </c:extLst>
          </c:dPt>
          <c:dPt>
            <c:idx val="1099"/>
            <c:invertIfNegative val="1"/>
            <c:bubble3D val="0"/>
            <c:spPr>
              <a:solidFill>
                <a:srgbClr val="AEABAB"/>
              </a:solidFill>
            </c:spPr>
            <c:extLst>
              <c:ext xmlns:c16="http://schemas.microsoft.com/office/drawing/2014/chart" uri="{C3380CC4-5D6E-409C-BE32-E72D297353CC}">
                <c16:uniqueId val="{00000899-A7CE-4049-B88B-35FCDA646473}"/>
              </c:ext>
            </c:extLst>
          </c:dPt>
          <c:dPt>
            <c:idx val="1100"/>
            <c:invertIfNegative val="1"/>
            <c:bubble3D val="0"/>
            <c:spPr>
              <a:solidFill>
                <a:srgbClr val="AEABAB"/>
              </a:solidFill>
            </c:spPr>
            <c:extLst>
              <c:ext xmlns:c16="http://schemas.microsoft.com/office/drawing/2014/chart" uri="{C3380CC4-5D6E-409C-BE32-E72D297353CC}">
                <c16:uniqueId val="{0000089B-A7CE-4049-B88B-35FCDA646473}"/>
              </c:ext>
            </c:extLst>
          </c:dPt>
          <c:dPt>
            <c:idx val="1101"/>
            <c:invertIfNegative val="1"/>
            <c:bubble3D val="0"/>
            <c:spPr>
              <a:solidFill>
                <a:srgbClr val="AEABAB"/>
              </a:solidFill>
            </c:spPr>
            <c:extLst>
              <c:ext xmlns:c16="http://schemas.microsoft.com/office/drawing/2014/chart" uri="{C3380CC4-5D6E-409C-BE32-E72D297353CC}">
                <c16:uniqueId val="{0000089D-A7CE-4049-B88B-35FCDA646473}"/>
              </c:ext>
            </c:extLst>
          </c:dPt>
          <c:dPt>
            <c:idx val="1102"/>
            <c:invertIfNegative val="1"/>
            <c:bubble3D val="0"/>
            <c:spPr>
              <a:solidFill>
                <a:srgbClr val="AEABAB"/>
              </a:solidFill>
            </c:spPr>
            <c:extLst>
              <c:ext xmlns:c16="http://schemas.microsoft.com/office/drawing/2014/chart" uri="{C3380CC4-5D6E-409C-BE32-E72D297353CC}">
                <c16:uniqueId val="{0000089F-A7CE-4049-B88B-35FCDA646473}"/>
              </c:ext>
            </c:extLst>
          </c:dPt>
          <c:dPt>
            <c:idx val="1103"/>
            <c:invertIfNegative val="1"/>
            <c:bubble3D val="0"/>
            <c:spPr>
              <a:solidFill>
                <a:srgbClr val="AEABAB"/>
              </a:solidFill>
            </c:spPr>
            <c:extLst>
              <c:ext xmlns:c16="http://schemas.microsoft.com/office/drawing/2014/chart" uri="{C3380CC4-5D6E-409C-BE32-E72D297353CC}">
                <c16:uniqueId val="{000008A1-A7CE-4049-B88B-35FCDA646473}"/>
              </c:ext>
            </c:extLst>
          </c:dPt>
          <c:dPt>
            <c:idx val="1104"/>
            <c:invertIfNegative val="1"/>
            <c:bubble3D val="0"/>
            <c:spPr>
              <a:solidFill>
                <a:srgbClr val="AEABAB"/>
              </a:solidFill>
            </c:spPr>
            <c:extLst>
              <c:ext xmlns:c16="http://schemas.microsoft.com/office/drawing/2014/chart" uri="{C3380CC4-5D6E-409C-BE32-E72D297353CC}">
                <c16:uniqueId val="{000008A3-A7CE-4049-B88B-35FCDA646473}"/>
              </c:ext>
            </c:extLst>
          </c:dPt>
          <c:dPt>
            <c:idx val="1105"/>
            <c:invertIfNegative val="1"/>
            <c:bubble3D val="0"/>
            <c:spPr>
              <a:solidFill>
                <a:srgbClr val="AEABAB"/>
              </a:solidFill>
            </c:spPr>
            <c:extLst>
              <c:ext xmlns:c16="http://schemas.microsoft.com/office/drawing/2014/chart" uri="{C3380CC4-5D6E-409C-BE32-E72D297353CC}">
                <c16:uniqueId val="{000008A5-A7CE-4049-B88B-35FCDA646473}"/>
              </c:ext>
            </c:extLst>
          </c:dPt>
          <c:dPt>
            <c:idx val="1106"/>
            <c:invertIfNegative val="1"/>
            <c:bubble3D val="0"/>
            <c:spPr>
              <a:solidFill>
                <a:srgbClr val="AEABAB"/>
              </a:solidFill>
            </c:spPr>
            <c:extLst>
              <c:ext xmlns:c16="http://schemas.microsoft.com/office/drawing/2014/chart" uri="{C3380CC4-5D6E-409C-BE32-E72D297353CC}">
                <c16:uniqueId val="{000008A7-A7CE-4049-B88B-35FCDA646473}"/>
              </c:ext>
            </c:extLst>
          </c:dPt>
          <c:dPt>
            <c:idx val="1107"/>
            <c:invertIfNegative val="1"/>
            <c:bubble3D val="0"/>
            <c:spPr>
              <a:solidFill>
                <a:srgbClr val="AEABAB"/>
              </a:solidFill>
            </c:spPr>
            <c:extLst>
              <c:ext xmlns:c16="http://schemas.microsoft.com/office/drawing/2014/chart" uri="{C3380CC4-5D6E-409C-BE32-E72D297353CC}">
                <c16:uniqueId val="{000008A9-A7CE-4049-B88B-35FCDA646473}"/>
              </c:ext>
            </c:extLst>
          </c:dPt>
          <c:dPt>
            <c:idx val="1108"/>
            <c:invertIfNegative val="1"/>
            <c:bubble3D val="0"/>
            <c:spPr>
              <a:solidFill>
                <a:srgbClr val="AEABAB"/>
              </a:solidFill>
            </c:spPr>
            <c:extLst>
              <c:ext xmlns:c16="http://schemas.microsoft.com/office/drawing/2014/chart" uri="{C3380CC4-5D6E-409C-BE32-E72D297353CC}">
                <c16:uniqueId val="{000008AB-A7CE-4049-B88B-35FCDA646473}"/>
              </c:ext>
            </c:extLst>
          </c:dPt>
          <c:dPt>
            <c:idx val="1109"/>
            <c:invertIfNegative val="1"/>
            <c:bubble3D val="0"/>
            <c:spPr>
              <a:solidFill>
                <a:srgbClr val="AEABAB"/>
              </a:solidFill>
            </c:spPr>
            <c:extLst>
              <c:ext xmlns:c16="http://schemas.microsoft.com/office/drawing/2014/chart" uri="{C3380CC4-5D6E-409C-BE32-E72D297353CC}">
                <c16:uniqueId val="{000008AD-A7CE-4049-B88B-35FCDA646473}"/>
              </c:ext>
            </c:extLst>
          </c:dPt>
          <c:dPt>
            <c:idx val="1110"/>
            <c:invertIfNegative val="1"/>
            <c:bubble3D val="0"/>
            <c:spPr>
              <a:solidFill>
                <a:srgbClr val="AEABAB"/>
              </a:solidFill>
            </c:spPr>
            <c:extLst>
              <c:ext xmlns:c16="http://schemas.microsoft.com/office/drawing/2014/chart" uri="{C3380CC4-5D6E-409C-BE32-E72D297353CC}">
                <c16:uniqueId val="{000008AF-A7CE-4049-B88B-35FCDA646473}"/>
              </c:ext>
            </c:extLst>
          </c:dPt>
          <c:dPt>
            <c:idx val="1111"/>
            <c:invertIfNegative val="1"/>
            <c:bubble3D val="0"/>
            <c:spPr>
              <a:solidFill>
                <a:srgbClr val="AEABAB"/>
              </a:solidFill>
            </c:spPr>
            <c:extLst>
              <c:ext xmlns:c16="http://schemas.microsoft.com/office/drawing/2014/chart" uri="{C3380CC4-5D6E-409C-BE32-E72D297353CC}">
                <c16:uniqueId val="{000008B1-A7CE-4049-B88B-35FCDA646473}"/>
              </c:ext>
            </c:extLst>
          </c:dPt>
          <c:dPt>
            <c:idx val="1112"/>
            <c:invertIfNegative val="1"/>
            <c:bubble3D val="0"/>
            <c:spPr>
              <a:solidFill>
                <a:srgbClr val="AEABAB"/>
              </a:solidFill>
            </c:spPr>
            <c:extLst>
              <c:ext xmlns:c16="http://schemas.microsoft.com/office/drawing/2014/chart" uri="{C3380CC4-5D6E-409C-BE32-E72D297353CC}">
                <c16:uniqueId val="{000008B3-A7CE-4049-B88B-35FCDA646473}"/>
              </c:ext>
            </c:extLst>
          </c:dPt>
          <c:dPt>
            <c:idx val="1113"/>
            <c:invertIfNegative val="1"/>
            <c:bubble3D val="0"/>
            <c:spPr>
              <a:solidFill>
                <a:srgbClr val="AEABAB"/>
              </a:solidFill>
            </c:spPr>
            <c:extLst>
              <c:ext xmlns:c16="http://schemas.microsoft.com/office/drawing/2014/chart" uri="{C3380CC4-5D6E-409C-BE32-E72D297353CC}">
                <c16:uniqueId val="{000008B5-A7CE-4049-B88B-35FCDA646473}"/>
              </c:ext>
            </c:extLst>
          </c:dPt>
          <c:dPt>
            <c:idx val="1114"/>
            <c:invertIfNegative val="1"/>
            <c:bubble3D val="0"/>
            <c:spPr>
              <a:solidFill>
                <a:srgbClr val="AEABAB"/>
              </a:solidFill>
            </c:spPr>
            <c:extLst>
              <c:ext xmlns:c16="http://schemas.microsoft.com/office/drawing/2014/chart" uri="{C3380CC4-5D6E-409C-BE32-E72D297353CC}">
                <c16:uniqueId val="{000008B7-A7CE-4049-B88B-35FCDA646473}"/>
              </c:ext>
            </c:extLst>
          </c:dPt>
          <c:dPt>
            <c:idx val="1115"/>
            <c:invertIfNegative val="1"/>
            <c:bubble3D val="0"/>
            <c:spPr>
              <a:solidFill>
                <a:srgbClr val="AEABAB"/>
              </a:solidFill>
            </c:spPr>
            <c:extLst>
              <c:ext xmlns:c16="http://schemas.microsoft.com/office/drawing/2014/chart" uri="{C3380CC4-5D6E-409C-BE32-E72D297353CC}">
                <c16:uniqueId val="{000008B9-A7CE-4049-B88B-35FCDA646473}"/>
              </c:ext>
            </c:extLst>
          </c:dPt>
          <c:dPt>
            <c:idx val="1116"/>
            <c:invertIfNegative val="1"/>
            <c:bubble3D val="0"/>
            <c:spPr>
              <a:solidFill>
                <a:srgbClr val="AEABAB"/>
              </a:solidFill>
            </c:spPr>
            <c:extLst>
              <c:ext xmlns:c16="http://schemas.microsoft.com/office/drawing/2014/chart" uri="{C3380CC4-5D6E-409C-BE32-E72D297353CC}">
                <c16:uniqueId val="{000008BB-A7CE-4049-B88B-35FCDA646473}"/>
              </c:ext>
            </c:extLst>
          </c:dPt>
          <c:dPt>
            <c:idx val="1117"/>
            <c:invertIfNegative val="1"/>
            <c:bubble3D val="0"/>
            <c:spPr>
              <a:solidFill>
                <a:srgbClr val="AEABAB"/>
              </a:solidFill>
            </c:spPr>
            <c:extLst>
              <c:ext xmlns:c16="http://schemas.microsoft.com/office/drawing/2014/chart" uri="{C3380CC4-5D6E-409C-BE32-E72D297353CC}">
                <c16:uniqueId val="{000008BD-A7CE-4049-B88B-35FCDA646473}"/>
              </c:ext>
            </c:extLst>
          </c:dPt>
          <c:dPt>
            <c:idx val="1118"/>
            <c:invertIfNegative val="1"/>
            <c:bubble3D val="0"/>
            <c:spPr>
              <a:solidFill>
                <a:srgbClr val="AEABAB"/>
              </a:solidFill>
            </c:spPr>
            <c:extLst>
              <c:ext xmlns:c16="http://schemas.microsoft.com/office/drawing/2014/chart" uri="{C3380CC4-5D6E-409C-BE32-E72D297353CC}">
                <c16:uniqueId val="{000008BF-A7CE-4049-B88B-35FCDA646473}"/>
              </c:ext>
            </c:extLst>
          </c:dPt>
          <c:dPt>
            <c:idx val="1119"/>
            <c:invertIfNegative val="1"/>
            <c:bubble3D val="0"/>
            <c:spPr>
              <a:solidFill>
                <a:srgbClr val="AEABAB"/>
              </a:solidFill>
            </c:spPr>
            <c:extLst>
              <c:ext xmlns:c16="http://schemas.microsoft.com/office/drawing/2014/chart" uri="{C3380CC4-5D6E-409C-BE32-E72D297353CC}">
                <c16:uniqueId val="{000008C1-A7CE-4049-B88B-35FCDA646473}"/>
              </c:ext>
            </c:extLst>
          </c:dPt>
          <c:dPt>
            <c:idx val="1120"/>
            <c:invertIfNegative val="1"/>
            <c:bubble3D val="0"/>
            <c:spPr>
              <a:solidFill>
                <a:srgbClr val="AEABAB"/>
              </a:solidFill>
            </c:spPr>
            <c:extLst>
              <c:ext xmlns:c16="http://schemas.microsoft.com/office/drawing/2014/chart" uri="{C3380CC4-5D6E-409C-BE32-E72D297353CC}">
                <c16:uniqueId val="{000008C3-A7CE-4049-B88B-35FCDA646473}"/>
              </c:ext>
            </c:extLst>
          </c:dPt>
          <c:dPt>
            <c:idx val="1121"/>
            <c:invertIfNegative val="1"/>
            <c:bubble3D val="0"/>
            <c:spPr>
              <a:solidFill>
                <a:srgbClr val="AEABAB"/>
              </a:solidFill>
            </c:spPr>
            <c:extLst>
              <c:ext xmlns:c16="http://schemas.microsoft.com/office/drawing/2014/chart" uri="{C3380CC4-5D6E-409C-BE32-E72D297353CC}">
                <c16:uniqueId val="{000008C5-A7CE-4049-B88B-35FCDA646473}"/>
              </c:ext>
            </c:extLst>
          </c:dPt>
          <c:dPt>
            <c:idx val="1122"/>
            <c:invertIfNegative val="1"/>
            <c:bubble3D val="0"/>
            <c:spPr>
              <a:solidFill>
                <a:srgbClr val="AEABAB"/>
              </a:solidFill>
            </c:spPr>
            <c:extLst>
              <c:ext xmlns:c16="http://schemas.microsoft.com/office/drawing/2014/chart" uri="{C3380CC4-5D6E-409C-BE32-E72D297353CC}">
                <c16:uniqueId val="{000008C7-A7CE-4049-B88B-35FCDA646473}"/>
              </c:ext>
            </c:extLst>
          </c:dPt>
          <c:dPt>
            <c:idx val="1123"/>
            <c:invertIfNegative val="1"/>
            <c:bubble3D val="0"/>
            <c:spPr>
              <a:solidFill>
                <a:srgbClr val="AEABAB"/>
              </a:solidFill>
            </c:spPr>
            <c:extLst>
              <c:ext xmlns:c16="http://schemas.microsoft.com/office/drawing/2014/chart" uri="{C3380CC4-5D6E-409C-BE32-E72D297353CC}">
                <c16:uniqueId val="{000008C9-A7CE-4049-B88B-35FCDA646473}"/>
              </c:ext>
            </c:extLst>
          </c:dPt>
          <c:dPt>
            <c:idx val="1124"/>
            <c:invertIfNegative val="1"/>
            <c:bubble3D val="0"/>
            <c:spPr>
              <a:solidFill>
                <a:srgbClr val="AEABAB"/>
              </a:solidFill>
            </c:spPr>
            <c:extLst>
              <c:ext xmlns:c16="http://schemas.microsoft.com/office/drawing/2014/chart" uri="{C3380CC4-5D6E-409C-BE32-E72D297353CC}">
                <c16:uniqueId val="{000008CB-A7CE-4049-B88B-35FCDA646473}"/>
              </c:ext>
            </c:extLst>
          </c:dPt>
          <c:dPt>
            <c:idx val="1125"/>
            <c:invertIfNegative val="1"/>
            <c:bubble3D val="0"/>
            <c:spPr>
              <a:solidFill>
                <a:srgbClr val="AEABAB"/>
              </a:solidFill>
            </c:spPr>
            <c:extLst>
              <c:ext xmlns:c16="http://schemas.microsoft.com/office/drawing/2014/chart" uri="{C3380CC4-5D6E-409C-BE32-E72D297353CC}">
                <c16:uniqueId val="{000008CD-A7CE-4049-B88B-35FCDA646473}"/>
              </c:ext>
            </c:extLst>
          </c:dPt>
          <c:dPt>
            <c:idx val="1126"/>
            <c:invertIfNegative val="1"/>
            <c:bubble3D val="0"/>
            <c:spPr>
              <a:solidFill>
                <a:srgbClr val="AEABAB"/>
              </a:solidFill>
            </c:spPr>
            <c:extLst>
              <c:ext xmlns:c16="http://schemas.microsoft.com/office/drawing/2014/chart" uri="{C3380CC4-5D6E-409C-BE32-E72D297353CC}">
                <c16:uniqueId val="{000008CF-A7CE-4049-B88B-35FCDA646473}"/>
              </c:ext>
            </c:extLst>
          </c:dPt>
          <c:dPt>
            <c:idx val="1127"/>
            <c:invertIfNegative val="1"/>
            <c:bubble3D val="0"/>
            <c:spPr>
              <a:solidFill>
                <a:srgbClr val="AEABAB"/>
              </a:solidFill>
            </c:spPr>
            <c:extLst>
              <c:ext xmlns:c16="http://schemas.microsoft.com/office/drawing/2014/chart" uri="{C3380CC4-5D6E-409C-BE32-E72D297353CC}">
                <c16:uniqueId val="{000008D1-A7CE-4049-B88B-35FCDA646473}"/>
              </c:ext>
            </c:extLst>
          </c:dPt>
          <c:dPt>
            <c:idx val="1128"/>
            <c:invertIfNegative val="1"/>
            <c:bubble3D val="0"/>
            <c:spPr>
              <a:solidFill>
                <a:srgbClr val="AEABAB"/>
              </a:solidFill>
            </c:spPr>
            <c:extLst>
              <c:ext xmlns:c16="http://schemas.microsoft.com/office/drawing/2014/chart" uri="{C3380CC4-5D6E-409C-BE32-E72D297353CC}">
                <c16:uniqueId val="{000008D3-A7CE-4049-B88B-35FCDA646473}"/>
              </c:ext>
            </c:extLst>
          </c:dPt>
          <c:dPt>
            <c:idx val="1129"/>
            <c:invertIfNegative val="1"/>
            <c:bubble3D val="0"/>
            <c:spPr>
              <a:solidFill>
                <a:srgbClr val="AEABAB"/>
              </a:solidFill>
            </c:spPr>
            <c:extLst>
              <c:ext xmlns:c16="http://schemas.microsoft.com/office/drawing/2014/chart" uri="{C3380CC4-5D6E-409C-BE32-E72D297353CC}">
                <c16:uniqueId val="{000008D5-A7CE-4049-B88B-35FCDA646473}"/>
              </c:ext>
            </c:extLst>
          </c:dPt>
          <c:dPt>
            <c:idx val="1130"/>
            <c:invertIfNegative val="1"/>
            <c:bubble3D val="0"/>
            <c:spPr>
              <a:solidFill>
                <a:srgbClr val="AEABAB"/>
              </a:solidFill>
            </c:spPr>
            <c:extLst>
              <c:ext xmlns:c16="http://schemas.microsoft.com/office/drawing/2014/chart" uri="{C3380CC4-5D6E-409C-BE32-E72D297353CC}">
                <c16:uniqueId val="{000008D7-A7CE-4049-B88B-35FCDA646473}"/>
              </c:ext>
            </c:extLst>
          </c:dPt>
          <c:dPt>
            <c:idx val="1131"/>
            <c:invertIfNegative val="1"/>
            <c:bubble3D val="0"/>
            <c:spPr>
              <a:solidFill>
                <a:srgbClr val="AEABAB"/>
              </a:solidFill>
            </c:spPr>
            <c:extLst>
              <c:ext xmlns:c16="http://schemas.microsoft.com/office/drawing/2014/chart" uri="{C3380CC4-5D6E-409C-BE32-E72D297353CC}">
                <c16:uniqueId val="{000008D9-A7CE-4049-B88B-35FCDA646473}"/>
              </c:ext>
            </c:extLst>
          </c:dPt>
          <c:dPt>
            <c:idx val="1132"/>
            <c:invertIfNegative val="1"/>
            <c:bubble3D val="0"/>
            <c:spPr>
              <a:solidFill>
                <a:srgbClr val="AEABAB"/>
              </a:solidFill>
            </c:spPr>
            <c:extLst>
              <c:ext xmlns:c16="http://schemas.microsoft.com/office/drawing/2014/chart" uri="{C3380CC4-5D6E-409C-BE32-E72D297353CC}">
                <c16:uniqueId val="{000008DB-A7CE-4049-B88B-35FCDA646473}"/>
              </c:ext>
            </c:extLst>
          </c:dPt>
          <c:dPt>
            <c:idx val="1133"/>
            <c:invertIfNegative val="1"/>
            <c:bubble3D val="0"/>
            <c:spPr>
              <a:solidFill>
                <a:srgbClr val="AEABAB"/>
              </a:solidFill>
            </c:spPr>
            <c:extLst>
              <c:ext xmlns:c16="http://schemas.microsoft.com/office/drawing/2014/chart" uri="{C3380CC4-5D6E-409C-BE32-E72D297353CC}">
                <c16:uniqueId val="{000008DD-A7CE-4049-B88B-35FCDA646473}"/>
              </c:ext>
            </c:extLst>
          </c:dPt>
          <c:dPt>
            <c:idx val="1134"/>
            <c:invertIfNegative val="1"/>
            <c:bubble3D val="0"/>
            <c:spPr>
              <a:solidFill>
                <a:srgbClr val="AEABAB"/>
              </a:solidFill>
            </c:spPr>
            <c:extLst>
              <c:ext xmlns:c16="http://schemas.microsoft.com/office/drawing/2014/chart" uri="{C3380CC4-5D6E-409C-BE32-E72D297353CC}">
                <c16:uniqueId val="{000008DF-A7CE-4049-B88B-35FCDA646473}"/>
              </c:ext>
            </c:extLst>
          </c:dPt>
          <c:dPt>
            <c:idx val="1135"/>
            <c:invertIfNegative val="1"/>
            <c:bubble3D val="0"/>
            <c:spPr>
              <a:solidFill>
                <a:srgbClr val="AEABAB"/>
              </a:solidFill>
            </c:spPr>
            <c:extLst>
              <c:ext xmlns:c16="http://schemas.microsoft.com/office/drawing/2014/chart" uri="{C3380CC4-5D6E-409C-BE32-E72D297353CC}">
                <c16:uniqueId val="{000008E1-A7CE-4049-B88B-35FCDA646473}"/>
              </c:ext>
            </c:extLst>
          </c:dPt>
          <c:dPt>
            <c:idx val="1136"/>
            <c:invertIfNegative val="1"/>
            <c:bubble3D val="0"/>
            <c:spPr>
              <a:solidFill>
                <a:srgbClr val="AEABAB"/>
              </a:solidFill>
            </c:spPr>
            <c:extLst>
              <c:ext xmlns:c16="http://schemas.microsoft.com/office/drawing/2014/chart" uri="{C3380CC4-5D6E-409C-BE32-E72D297353CC}">
                <c16:uniqueId val="{000008E3-A7CE-4049-B88B-35FCDA646473}"/>
              </c:ext>
            </c:extLst>
          </c:dPt>
          <c:dPt>
            <c:idx val="1137"/>
            <c:invertIfNegative val="1"/>
            <c:bubble3D val="0"/>
            <c:spPr>
              <a:solidFill>
                <a:srgbClr val="AEABAB"/>
              </a:solidFill>
            </c:spPr>
            <c:extLst>
              <c:ext xmlns:c16="http://schemas.microsoft.com/office/drawing/2014/chart" uri="{C3380CC4-5D6E-409C-BE32-E72D297353CC}">
                <c16:uniqueId val="{000008E5-A7CE-4049-B88B-35FCDA646473}"/>
              </c:ext>
            </c:extLst>
          </c:dPt>
          <c:dPt>
            <c:idx val="1138"/>
            <c:invertIfNegative val="1"/>
            <c:bubble3D val="0"/>
            <c:spPr>
              <a:solidFill>
                <a:srgbClr val="AEABAB"/>
              </a:solidFill>
            </c:spPr>
            <c:extLst>
              <c:ext xmlns:c16="http://schemas.microsoft.com/office/drawing/2014/chart" uri="{C3380CC4-5D6E-409C-BE32-E72D297353CC}">
                <c16:uniqueId val="{000008E7-A7CE-4049-B88B-35FCDA646473}"/>
              </c:ext>
            </c:extLst>
          </c:dPt>
          <c:dPt>
            <c:idx val="1139"/>
            <c:invertIfNegative val="1"/>
            <c:bubble3D val="0"/>
            <c:spPr>
              <a:solidFill>
                <a:srgbClr val="AEABAB"/>
              </a:solidFill>
            </c:spPr>
            <c:extLst>
              <c:ext xmlns:c16="http://schemas.microsoft.com/office/drawing/2014/chart" uri="{C3380CC4-5D6E-409C-BE32-E72D297353CC}">
                <c16:uniqueId val="{000008E9-A7CE-4049-B88B-35FCDA646473}"/>
              </c:ext>
            </c:extLst>
          </c:dPt>
          <c:dPt>
            <c:idx val="1140"/>
            <c:invertIfNegative val="1"/>
            <c:bubble3D val="0"/>
            <c:spPr>
              <a:solidFill>
                <a:srgbClr val="AEABAB"/>
              </a:solidFill>
            </c:spPr>
            <c:extLst>
              <c:ext xmlns:c16="http://schemas.microsoft.com/office/drawing/2014/chart" uri="{C3380CC4-5D6E-409C-BE32-E72D297353CC}">
                <c16:uniqueId val="{000008EB-A7CE-4049-B88B-35FCDA646473}"/>
              </c:ext>
            </c:extLst>
          </c:dPt>
          <c:dPt>
            <c:idx val="1141"/>
            <c:invertIfNegative val="1"/>
            <c:bubble3D val="0"/>
            <c:spPr>
              <a:solidFill>
                <a:srgbClr val="AEABAB"/>
              </a:solidFill>
            </c:spPr>
            <c:extLst>
              <c:ext xmlns:c16="http://schemas.microsoft.com/office/drawing/2014/chart" uri="{C3380CC4-5D6E-409C-BE32-E72D297353CC}">
                <c16:uniqueId val="{000008ED-A7CE-4049-B88B-35FCDA646473}"/>
              </c:ext>
            </c:extLst>
          </c:dPt>
          <c:dPt>
            <c:idx val="1142"/>
            <c:invertIfNegative val="1"/>
            <c:bubble3D val="0"/>
            <c:spPr>
              <a:solidFill>
                <a:srgbClr val="AEABAB"/>
              </a:solidFill>
            </c:spPr>
            <c:extLst>
              <c:ext xmlns:c16="http://schemas.microsoft.com/office/drawing/2014/chart" uri="{C3380CC4-5D6E-409C-BE32-E72D297353CC}">
                <c16:uniqueId val="{000008EF-A7CE-4049-B88B-35FCDA646473}"/>
              </c:ext>
            </c:extLst>
          </c:dPt>
          <c:dPt>
            <c:idx val="1143"/>
            <c:invertIfNegative val="1"/>
            <c:bubble3D val="0"/>
            <c:spPr>
              <a:solidFill>
                <a:srgbClr val="AEABAB"/>
              </a:solidFill>
            </c:spPr>
            <c:extLst>
              <c:ext xmlns:c16="http://schemas.microsoft.com/office/drawing/2014/chart" uri="{C3380CC4-5D6E-409C-BE32-E72D297353CC}">
                <c16:uniqueId val="{000008F1-A7CE-4049-B88B-35FCDA646473}"/>
              </c:ext>
            </c:extLst>
          </c:dPt>
          <c:dPt>
            <c:idx val="1144"/>
            <c:invertIfNegative val="1"/>
            <c:bubble3D val="0"/>
            <c:spPr>
              <a:solidFill>
                <a:srgbClr val="AEABAB"/>
              </a:solidFill>
            </c:spPr>
            <c:extLst>
              <c:ext xmlns:c16="http://schemas.microsoft.com/office/drawing/2014/chart" uri="{C3380CC4-5D6E-409C-BE32-E72D297353CC}">
                <c16:uniqueId val="{000008F3-A7CE-4049-B88B-35FCDA646473}"/>
              </c:ext>
            </c:extLst>
          </c:dPt>
          <c:dPt>
            <c:idx val="1145"/>
            <c:invertIfNegative val="1"/>
            <c:bubble3D val="0"/>
            <c:spPr>
              <a:solidFill>
                <a:srgbClr val="AEABAB"/>
              </a:solidFill>
            </c:spPr>
            <c:extLst>
              <c:ext xmlns:c16="http://schemas.microsoft.com/office/drawing/2014/chart" uri="{C3380CC4-5D6E-409C-BE32-E72D297353CC}">
                <c16:uniqueId val="{000008F5-A7CE-4049-B88B-35FCDA646473}"/>
              </c:ext>
            </c:extLst>
          </c:dPt>
          <c:dPt>
            <c:idx val="1146"/>
            <c:invertIfNegative val="1"/>
            <c:bubble3D val="0"/>
            <c:spPr>
              <a:solidFill>
                <a:srgbClr val="AEABAB"/>
              </a:solidFill>
            </c:spPr>
            <c:extLst>
              <c:ext xmlns:c16="http://schemas.microsoft.com/office/drawing/2014/chart" uri="{C3380CC4-5D6E-409C-BE32-E72D297353CC}">
                <c16:uniqueId val="{000008F7-A7CE-4049-B88B-35FCDA646473}"/>
              </c:ext>
            </c:extLst>
          </c:dPt>
          <c:dPt>
            <c:idx val="1147"/>
            <c:invertIfNegative val="1"/>
            <c:bubble3D val="0"/>
            <c:spPr>
              <a:solidFill>
                <a:srgbClr val="AEABAB"/>
              </a:solidFill>
            </c:spPr>
            <c:extLst>
              <c:ext xmlns:c16="http://schemas.microsoft.com/office/drawing/2014/chart" uri="{C3380CC4-5D6E-409C-BE32-E72D297353CC}">
                <c16:uniqueId val="{000008F9-A7CE-4049-B88B-35FCDA646473}"/>
              </c:ext>
            </c:extLst>
          </c:dPt>
          <c:dPt>
            <c:idx val="1148"/>
            <c:invertIfNegative val="1"/>
            <c:bubble3D val="0"/>
            <c:spPr>
              <a:solidFill>
                <a:srgbClr val="AEABAB"/>
              </a:solidFill>
            </c:spPr>
            <c:extLst>
              <c:ext xmlns:c16="http://schemas.microsoft.com/office/drawing/2014/chart" uri="{C3380CC4-5D6E-409C-BE32-E72D297353CC}">
                <c16:uniqueId val="{000008FB-A7CE-4049-B88B-35FCDA646473}"/>
              </c:ext>
            </c:extLst>
          </c:dPt>
          <c:dPt>
            <c:idx val="1149"/>
            <c:invertIfNegative val="1"/>
            <c:bubble3D val="0"/>
            <c:spPr>
              <a:solidFill>
                <a:srgbClr val="AEABAB"/>
              </a:solidFill>
            </c:spPr>
            <c:extLst>
              <c:ext xmlns:c16="http://schemas.microsoft.com/office/drawing/2014/chart" uri="{C3380CC4-5D6E-409C-BE32-E72D297353CC}">
                <c16:uniqueId val="{000008FD-A7CE-4049-B88B-35FCDA646473}"/>
              </c:ext>
            </c:extLst>
          </c:dPt>
          <c:dPt>
            <c:idx val="1150"/>
            <c:invertIfNegative val="1"/>
            <c:bubble3D val="0"/>
            <c:spPr>
              <a:solidFill>
                <a:srgbClr val="AEABAB"/>
              </a:solidFill>
            </c:spPr>
            <c:extLst>
              <c:ext xmlns:c16="http://schemas.microsoft.com/office/drawing/2014/chart" uri="{C3380CC4-5D6E-409C-BE32-E72D297353CC}">
                <c16:uniqueId val="{000008FF-A7CE-4049-B88B-35FCDA646473}"/>
              </c:ext>
            </c:extLst>
          </c:dPt>
          <c:dPt>
            <c:idx val="1151"/>
            <c:invertIfNegative val="1"/>
            <c:bubble3D val="0"/>
            <c:spPr>
              <a:solidFill>
                <a:srgbClr val="AEABAB"/>
              </a:solidFill>
            </c:spPr>
            <c:extLst>
              <c:ext xmlns:c16="http://schemas.microsoft.com/office/drawing/2014/chart" uri="{C3380CC4-5D6E-409C-BE32-E72D297353CC}">
                <c16:uniqueId val="{00000901-A7CE-4049-B88B-35FCDA646473}"/>
              </c:ext>
            </c:extLst>
          </c:dPt>
          <c:dPt>
            <c:idx val="1152"/>
            <c:invertIfNegative val="1"/>
            <c:bubble3D val="0"/>
            <c:spPr>
              <a:solidFill>
                <a:srgbClr val="AEABAB"/>
              </a:solidFill>
            </c:spPr>
            <c:extLst>
              <c:ext xmlns:c16="http://schemas.microsoft.com/office/drawing/2014/chart" uri="{C3380CC4-5D6E-409C-BE32-E72D297353CC}">
                <c16:uniqueId val="{00000903-A7CE-4049-B88B-35FCDA646473}"/>
              </c:ext>
            </c:extLst>
          </c:dPt>
          <c:dPt>
            <c:idx val="1153"/>
            <c:invertIfNegative val="1"/>
            <c:bubble3D val="0"/>
            <c:spPr>
              <a:solidFill>
                <a:srgbClr val="AEABAB"/>
              </a:solidFill>
            </c:spPr>
            <c:extLst>
              <c:ext xmlns:c16="http://schemas.microsoft.com/office/drawing/2014/chart" uri="{C3380CC4-5D6E-409C-BE32-E72D297353CC}">
                <c16:uniqueId val="{00000905-A7CE-4049-B88B-35FCDA646473}"/>
              </c:ext>
            </c:extLst>
          </c:dPt>
          <c:dPt>
            <c:idx val="1154"/>
            <c:invertIfNegative val="1"/>
            <c:bubble3D val="0"/>
            <c:spPr>
              <a:solidFill>
                <a:srgbClr val="AEABAB"/>
              </a:solidFill>
            </c:spPr>
            <c:extLst>
              <c:ext xmlns:c16="http://schemas.microsoft.com/office/drawing/2014/chart" uri="{C3380CC4-5D6E-409C-BE32-E72D297353CC}">
                <c16:uniqueId val="{00000907-A7CE-4049-B88B-35FCDA646473}"/>
              </c:ext>
            </c:extLst>
          </c:dPt>
          <c:dPt>
            <c:idx val="1155"/>
            <c:invertIfNegative val="1"/>
            <c:bubble3D val="0"/>
            <c:spPr>
              <a:solidFill>
                <a:srgbClr val="AEABAB"/>
              </a:solidFill>
            </c:spPr>
            <c:extLst>
              <c:ext xmlns:c16="http://schemas.microsoft.com/office/drawing/2014/chart" uri="{C3380CC4-5D6E-409C-BE32-E72D297353CC}">
                <c16:uniqueId val="{00000909-A7CE-4049-B88B-35FCDA646473}"/>
              </c:ext>
            </c:extLst>
          </c:dPt>
          <c:dPt>
            <c:idx val="1156"/>
            <c:invertIfNegative val="1"/>
            <c:bubble3D val="0"/>
            <c:spPr>
              <a:solidFill>
                <a:srgbClr val="AEABAB"/>
              </a:solidFill>
            </c:spPr>
            <c:extLst>
              <c:ext xmlns:c16="http://schemas.microsoft.com/office/drawing/2014/chart" uri="{C3380CC4-5D6E-409C-BE32-E72D297353CC}">
                <c16:uniqueId val="{0000090B-A7CE-4049-B88B-35FCDA646473}"/>
              </c:ext>
            </c:extLst>
          </c:dPt>
          <c:dPt>
            <c:idx val="1157"/>
            <c:invertIfNegative val="1"/>
            <c:bubble3D val="0"/>
            <c:spPr>
              <a:solidFill>
                <a:srgbClr val="AEABAB"/>
              </a:solidFill>
            </c:spPr>
            <c:extLst>
              <c:ext xmlns:c16="http://schemas.microsoft.com/office/drawing/2014/chart" uri="{C3380CC4-5D6E-409C-BE32-E72D297353CC}">
                <c16:uniqueId val="{0000090D-A7CE-4049-B88B-35FCDA646473}"/>
              </c:ext>
            </c:extLst>
          </c:dPt>
          <c:dPt>
            <c:idx val="1158"/>
            <c:invertIfNegative val="1"/>
            <c:bubble3D val="0"/>
            <c:spPr>
              <a:solidFill>
                <a:srgbClr val="AEABAB"/>
              </a:solidFill>
            </c:spPr>
            <c:extLst>
              <c:ext xmlns:c16="http://schemas.microsoft.com/office/drawing/2014/chart" uri="{C3380CC4-5D6E-409C-BE32-E72D297353CC}">
                <c16:uniqueId val="{0000090F-A7CE-4049-B88B-35FCDA646473}"/>
              </c:ext>
            </c:extLst>
          </c:dPt>
          <c:dPt>
            <c:idx val="1159"/>
            <c:invertIfNegative val="1"/>
            <c:bubble3D val="0"/>
            <c:spPr>
              <a:solidFill>
                <a:srgbClr val="AEABAB"/>
              </a:solidFill>
            </c:spPr>
            <c:extLst>
              <c:ext xmlns:c16="http://schemas.microsoft.com/office/drawing/2014/chart" uri="{C3380CC4-5D6E-409C-BE32-E72D297353CC}">
                <c16:uniqueId val="{00000911-A7CE-4049-B88B-35FCDA646473}"/>
              </c:ext>
            </c:extLst>
          </c:dPt>
          <c:dPt>
            <c:idx val="1160"/>
            <c:invertIfNegative val="1"/>
            <c:bubble3D val="0"/>
            <c:spPr>
              <a:solidFill>
                <a:srgbClr val="AEABAB"/>
              </a:solidFill>
            </c:spPr>
            <c:extLst>
              <c:ext xmlns:c16="http://schemas.microsoft.com/office/drawing/2014/chart" uri="{C3380CC4-5D6E-409C-BE32-E72D297353CC}">
                <c16:uniqueId val="{00000913-A7CE-4049-B88B-35FCDA646473}"/>
              </c:ext>
            </c:extLst>
          </c:dPt>
          <c:dPt>
            <c:idx val="1161"/>
            <c:invertIfNegative val="1"/>
            <c:bubble3D val="0"/>
            <c:spPr>
              <a:solidFill>
                <a:srgbClr val="AEABAB"/>
              </a:solidFill>
            </c:spPr>
            <c:extLst>
              <c:ext xmlns:c16="http://schemas.microsoft.com/office/drawing/2014/chart" uri="{C3380CC4-5D6E-409C-BE32-E72D297353CC}">
                <c16:uniqueId val="{00000915-A7CE-4049-B88B-35FCDA646473}"/>
              </c:ext>
            </c:extLst>
          </c:dPt>
          <c:dPt>
            <c:idx val="1162"/>
            <c:invertIfNegative val="1"/>
            <c:bubble3D val="0"/>
            <c:spPr>
              <a:solidFill>
                <a:srgbClr val="AEABAB"/>
              </a:solidFill>
            </c:spPr>
            <c:extLst>
              <c:ext xmlns:c16="http://schemas.microsoft.com/office/drawing/2014/chart" uri="{C3380CC4-5D6E-409C-BE32-E72D297353CC}">
                <c16:uniqueId val="{00000917-A7CE-4049-B88B-35FCDA646473}"/>
              </c:ext>
            </c:extLst>
          </c:dPt>
          <c:dPt>
            <c:idx val="1163"/>
            <c:invertIfNegative val="1"/>
            <c:bubble3D val="0"/>
            <c:spPr>
              <a:solidFill>
                <a:srgbClr val="AEABAB"/>
              </a:solidFill>
            </c:spPr>
            <c:extLst>
              <c:ext xmlns:c16="http://schemas.microsoft.com/office/drawing/2014/chart" uri="{C3380CC4-5D6E-409C-BE32-E72D297353CC}">
                <c16:uniqueId val="{00000919-A7CE-4049-B88B-35FCDA646473}"/>
              </c:ext>
            </c:extLst>
          </c:dPt>
          <c:dPt>
            <c:idx val="1164"/>
            <c:invertIfNegative val="1"/>
            <c:bubble3D val="0"/>
            <c:spPr>
              <a:solidFill>
                <a:srgbClr val="AEABAB"/>
              </a:solidFill>
            </c:spPr>
            <c:extLst>
              <c:ext xmlns:c16="http://schemas.microsoft.com/office/drawing/2014/chart" uri="{C3380CC4-5D6E-409C-BE32-E72D297353CC}">
                <c16:uniqueId val="{0000091B-A7CE-4049-B88B-35FCDA646473}"/>
              </c:ext>
            </c:extLst>
          </c:dPt>
          <c:dPt>
            <c:idx val="1165"/>
            <c:invertIfNegative val="1"/>
            <c:bubble3D val="0"/>
            <c:spPr>
              <a:solidFill>
                <a:srgbClr val="AEABAB"/>
              </a:solidFill>
            </c:spPr>
            <c:extLst>
              <c:ext xmlns:c16="http://schemas.microsoft.com/office/drawing/2014/chart" uri="{C3380CC4-5D6E-409C-BE32-E72D297353CC}">
                <c16:uniqueId val="{0000091D-A7CE-4049-B88B-35FCDA646473}"/>
              </c:ext>
            </c:extLst>
          </c:dPt>
          <c:dPt>
            <c:idx val="1166"/>
            <c:invertIfNegative val="1"/>
            <c:bubble3D val="0"/>
            <c:spPr>
              <a:solidFill>
                <a:srgbClr val="AEABAB"/>
              </a:solidFill>
            </c:spPr>
            <c:extLst>
              <c:ext xmlns:c16="http://schemas.microsoft.com/office/drawing/2014/chart" uri="{C3380CC4-5D6E-409C-BE32-E72D297353CC}">
                <c16:uniqueId val="{0000091F-A7CE-4049-B88B-35FCDA646473}"/>
              </c:ext>
            </c:extLst>
          </c:dPt>
          <c:dPt>
            <c:idx val="1167"/>
            <c:invertIfNegative val="1"/>
            <c:bubble3D val="0"/>
            <c:spPr>
              <a:solidFill>
                <a:srgbClr val="AEABAB"/>
              </a:solidFill>
            </c:spPr>
            <c:extLst>
              <c:ext xmlns:c16="http://schemas.microsoft.com/office/drawing/2014/chart" uri="{C3380CC4-5D6E-409C-BE32-E72D297353CC}">
                <c16:uniqueId val="{00000921-A7CE-4049-B88B-35FCDA646473}"/>
              </c:ext>
            </c:extLst>
          </c:dPt>
          <c:dPt>
            <c:idx val="1168"/>
            <c:invertIfNegative val="1"/>
            <c:bubble3D val="0"/>
            <c:spPr>
              <a:solidFill>
                <a:srgbClr val="AEABAB"/>
              </a:solidFill>
            </c:spPr>
            <c:extLst>
              <c:ext xmlns:c16="http://schemas.microsoft.com/office/drawing/2014/chart" uri="{C3380CC4-5D6E-409C-BE32-E72D297353CC}">
                <c16:uniqueId val="{00000923-A7CE-4049-B88B-35FCDA646473}"/>
              </c:ext>
            </c:extLst>
          </c:dPt>
          <c:dPt>
            <c:idx val="1169"/>
            <c:invertIfNegative val="1"/>
            <c:bubble3D val="0"/>
            <c:spPr>
              <a:solidFill>
                <a:srgbClr val="AEABAB"/>
              </a:solidFill>
            </c:spPr>
            <c:extLst>
              <c:ext xmlns:c16="http://schemas.microsoft.com/office/drawing/2014/chart" uri="{C3380CC4-5D6E-409C-BE32-E72D297353CC}">
                <c16:uniqueId val="{00000925-A7CE-4049-B88B-35FCDA646473}"/>
              </c:ext>
            </c:extLst>
          </c:dPt>
          <c:dPt>
            <c:idx val="1170"/>
            <c:invertIfNegative val="1"/>
            <c:bubble3D val="0"/>
            <c:spPr>
              <a:solidFill>
                <a:srgbClr val="AEABAB"/>
              </a:solidFill>
            </c:spPr>
            <c:extLst>
              <c:ext xmlns:c16="http://schemas.microsoft.com/office/drawing/2014/chart" uri="{C3380CC4-5D6E-409C-BE32-E72D297353CC}">
                <c16:uniqueId val="{00000927-A7CE-4049-B88B-35FCDA646473}"/>
              </c:ext>
            </c:extLst>
          </c:dPt>
          <c:dPt>
            <c:idx val="1171"/>
            <c:invertIfNegative val="1"/>
            <c:bubble3D val="0"/>
            <c:spPr>
              <a:solidFill>
                <a:srgbClr val="AEABAB"/>
              </a:solidFill>
            </c:spPr>
            <c:extLst>
              <c:ext xmlns:c16="http://schemas.microsoft.com/office/drawing/2014/chart" uri="{C3380CC4-5D6E-409C-BE32-E72D297353CC}">
                <c16:uniqueId val="{00000929-A7CE-4049-B88B-35FCDA646473}"/>
              </c:ext>
            </c:extLst>
          </c:dPt>
          <c:dPt>
            <c:idx val="1172"/>
            <c:invertIfNegative val="1"/>
            <c:bubble3D val="0"/>
            <c:spPr>
              <a:solidFill>
                <a:srgbClr val="AEABAB"/>
              </a:solidFill>
            </c:spPr>
            <c:extLst>
              <c:ext xmlns:c16="http://schemas.microsoft.com/office/drawing/2014/chart" uri="{C3380CC4-5D6E-409C-BE32-E72D297353CC}">
                <c16:uniqueId val="{0000092B-A7CE-4049-B88B-35FCDA646473}"/>
              </c:ext>
            </c:extLst>
          </c:dPt>
          <c:dPt>
            <c:idx val="1173"/>
            <c:invertIfNegative val="1"/>
            <c:bubble3D val="0"/>
            <c:spPr>
              <a:solidFill>
                <a:srgbClr val="AEABAB"/>
              </a:solidFill>
            </c:spPr>
            <c:extLst>
              <c:ext xmlns:c16="http://schemas.microsoft.com/office/drawing/2014/chart" uri="{C3380CC4-5D6E-409C-BE32-E72D297353CC}">
                <c16:uniqueId val="{0000092D-A7CE-4049-B88B-35FCDA646473}"/>
              </c:ext>
            </c:extLst>
          </c:dPt>
          <c:dPt>
            <c:idx val="1174"/>
            <c:invertIfNegative val="1"/>
            <c:bubble3D val="0"/>
            <c:spPr>
              <a:solidFill>
                <a:srgbClr val="AEABAB"/>
              </a:solidFill>
            </c:spPr>
            <c:extLst>
              <c:ext xmlns:c16="http://schemas.microsoft.com/office/drawing/2014/chart" uri="{C3380CC4-5D6E-409C-BE32-E72D297353CC}">
                <c16:uniqueId val="{0000092F-A7CE-4049-B88B-35FCDA646473}"/>
              </c:ext>
            </c:extLst>
          </c:dPt>
          <c:dPt>
            <c:idx val="1175"/>
            <c:invertIfNegative val="1"/>
            <c:bubble3D val="0"/>
            <c:spPr>
              <a:solidFill>
                <a:srgbClr val="AEABAB"/>
              </a:solidFill>
            </c:spPr>
            <c:extLst>
              <c:ext xmlns:c16="http://schemas.microsoft.com/office/drawing/2014/chart" uri="{C3380CC4-5D6E-409C-BE32-E72D297353CC}">
                <c16:uniqueId val="{00000931-A7CE-4049-B88B-35FCDA646473}"/>
              </c:ext>
            </c:extLst>
          </c:dPt>
          <c:dPt>
            <c:idx val="1176"/>
            <c:invertIfNegative val="1"/>
            <c:bubble3D val="0"/>
            <c:spPr>
              <a:solidFill>
                <a:srgbClr val="AEABAB"/>
              </a:solidFill>
            </c:spPr>
            <c:extLst>
              <c:ext xmlns:c16="http://schemas.microsoft.com/office/drawing/2014/chart" uri="{C3380CC4-5D6E-409C-BE32-E72D297353CC}">
                <c16:uniqueId val="{00000933-A7CE-4049-B88B-35FCDA646473}"/>
              </c:ext>
            </c:extLst>
          </c:dPt>
          <c:dPt>
            <c:idx val="1177"/>
            <c:invertIfNegative val="1"/>
            <c:bubble3D val="0"/>
            <c:spPr>
              <a:solidFill>
                <a:srgbClr val="AEABAB"/>
              </a:solidFill>
            </c:spPr>
            <c:extLst>
              <c:ext xmlns:c16="http://schemas.microsoft.com/office/drawing/2014/chart" uri="{C3380CC4-5D6E-409C-BE32-E72D297353CC}">
                <c16:uniqueId val="{00000935-A7CE-4049-B88B-35FCDA646473}"/>
              </c:ext>
            </c:extLst>
          </c:dPt>
          <c:dPt>
            <c:idx val="1178"/>
            <c:invertIfNegative val="1"/>
            <c:bubble3D val="0"/>
            <c:spPr>
              <a:solidFill>
                <a:srgbClr val="AEABAB"/>
              </a:solidFill>
            </c:spPr>
            <c:extLst>
              <c:ext xmlns:c16="http://schemas.microsoft.com/office/drawing/2014/chart" uri="{C3380CC4-5D6E-409C-BE32-E72D297353CC}">
                <c16:uniqueId val="{00000937-A7CE-4049-B88B-35FCDA646473}"/>
              </c:ext>
            </c:extLst>
          </c:dPt>
          <c:dPt>
            <c:idx val="1179"/>
            <c:invertIfNegative val="1"/>
            <c:bubble3D val="0"/>
            <c:spPr>
              <a:solidFill>
                <a:srgbClr val="AEABAB"/>
              </a:solidFill>
            </c:spPr>
            <c:extLst>
              <c:ext xmlns:c16="http://schemas.microsoft.com/office/drawing/2014/chart" uri="{C3380CC4-5D6E-409C-BE32-E72D297353CC}">
                <c16:uniqueId val="{00000939-A7CE-4049-B88B-35FCDA646473}"/>
              </c:ext>
            </c:extLst>
          </c:dPt>
          <c:dPt>
            <c:idx val="1180"/>
            <c:invertIfNegative val="1"/>
            <c:bubble3D val="0"/>
            <c:spPr>
              <a:solidFill>
                <a:srgbClr val="AEABAB"/>
              </a:solidFill>
            </c:spPr>
            <c:extLst>
              <c:ext xmlns:c16="http://schemas.microsoft.com/office/drawing/2014/chart" uri="{C3380CC4-5D6E-409C-BE32-E72D297353CC}">
                <c16:uniqueId val="{0000093B-A7CE-4049-B88B-35FCDA646473}"/>
              </c:ext>
            </c:extLst>
          </c:dPt>
          <c:dPt>
            <c:idx val="1181"/>
            <c:invertIfNegative val="1"/>
            <c:bubble3D val="0"/>
            <c:spPr>
              <a:solidFill>
                <a:srgbClr val="AEABAB"/>
              </a:solidFill>
            </c:spPr>
            <c:extLst>
              <c:ext xmlns:c16="http://schemas.microsoft.com/office/drawing/2014/chart" uri="{C3380CC4-5D6E-409C-BE32-E72D297353CC}">
                <c16:uniqueId val="{0000093D-A7CE-4049-B88B-35FCDA646473}"/>
              </c:ext>
            </c:extLst>
          </c:dPt>
          <c:dPt>
            <c:idx val="1182"/>
            <c:invertIfNegative val="1"/>
            <c:bubble3D val="0"/>
            <c:spPr>
              <a:solidFill>
                <a:srgbClr val="AEABAB"/>
              </a:solidFill>
            </c:spPr>
            <c:extLst>
              <c:ext xmlns:c16="http://schemas.microsoft.com/office/drawing/2014/chart" uri="{C3380CC4-5D6E-409C-BE32-E72D297353CC}">
                <c16:uniqueId val="{0000093F-A7CE-4049-B88B-35FCDA646473}"/>
              </c:ext>
            </c:extLst>
          </c:dPt>
          <c:dPt>
            <c:idx val="1183"/>
            <c:invertIfNegative val="1"/>
            <c:bubble3D val="0"/>
            <c:spPr>
              <a:solidFill>
                <a:srgbClr val="AEABAB"/>
              </a:solidFill>
            </c:spPr>
            <c:extLst>
              <c:ext xmlns:c16="http://schemas.microsoft.com/office/drawing/2014/chart" uri="{C3380CC4-5D6E-409C-BE32-E72D297353CC}">
                <c16:uniqueId val="{00000941-A7CE-4049-B88B-35FCDA646473}"/>
              </c:ext>
            </c:extLst>
          </c:dPt>
          <c:dPt>
            <c:idx val="1184"/>
            <c:invertIfNegative val="1"/>
            <c:bubble3D val="0"/>
            <c:spPr>
              <a:solidFill>
                <a:srgbClr val="AEABAB"/>
              </a:solidFill>
            </c:spPr>
            <c:extLst>
              <c:ext xmlns:c16="http://schemas.microsoft.com/office/drawing/2014/chart" uri="{C3380CC4-5D6E-409C-BE32-E72D297353CC}">
                <c16:uniqueId val="{00000943-A7CE-4049-B88B-35FCDA646473}"/>
              </c:ext>
            </c:extLst>
          </c:dPt>
          <c:dPt>
            <c:idx val="1185"/>
            <c:invertIfNegative val="1"/>
            <c:bubble3D val="0"/>
            <c:spPr>
              <a:solidFill>
                <a:srgbClr val="AEABAB"/>
              </a:solidFill>
            </c:spPr>
            <c:extLst>
              <c:ext xmlns:c16="http://schemas.microsoft.com/office/drawing/2014/chart" uri="{C3380CC4-5D6E-409C-BE32-E72D297353CC}">
                <c16:uniqueId val="{00000945-A7CE-4049-B88B-35FCDA646473}"/>
              </c:ext>
            </c:extLst>
          </c:dPt>
          <c:dPt>
            <c:idx val="1186"/>
            <c:invertIfNegative val="1"/>
            <c:bubble3D val="0"/>
            <c:spPr>
              <a:solidFill>
                <a:srgbClr val="AEABAB"/>
              </a:solidFill>
            </c:spPr>
            <c:extLst>
              <c:ext xmlns:c16="http://schemas.microsoft.com/office/drawing/2014/chart" uri="{C3380CC4-5D6E-409C-BE32-E72D297353CC}">
                <c16:uniqueId val="{00000947-A7CE-4049-B88B-35FCDA646473}"/>
              </c:ext>
            </c:extLst>
          </c:dPt>
          <c:dPt>
            <c:idx val="1187"/>
            <c:invertIfNegative val="1"/>
            <c:bubble3D val="0"/>
            <c:spPr>
              <a:solidFill>
                <a:srgbClr val="AEABAB"/>
              </a:solidFill>
            </c:spPr>
            <c:extLst>
              <c:ext xmlns:c16="http://schemas.microsoft.com/office/drawing/2014/chart" uri="{C3380CC4-5D6E-409C-BE32-E72D297353CC}">
                <c16:uniqueId val="{00000949-A7CE-4049-B88B-35FCDA646473}"/>
              </c:ext>
            </c:extLst>
          </c:dPt>
          <c:dPt>
            <c:idx val="1188"/>
            <c:invertIfNegative val="1"/>
            <c:bubble3D val="0"/>
            <c:spPr>
              <a:solidFill>
                <a:srgbClr val="AEABAB"/>
              </a:solidFill>
            </c:spPr>
            <c:extLst>
              <c:ext xmlns:c16="http://schemas.microsoft.com/office/drawing/2014/chart" uri="{C3380CC4-5D6E-409C-BE32-E72D297353CC}">
                <c16:uniqueId val="{0000094B-A7CE-4049-B88B-35FCDA646473}"/>
              </c:ext>
            </c:extLst>
          </c:dPt>
          <c:dPt>
            <c:idx val="1189"/>
            <c:invertIfNegative val="1"/>
            <c:bubble3D val="0"/>
            <c:spPr>
              <a:solidFill>
                <a:srgbClr val="AEABAB"/>
              </a:solidFill>
            </c:spPr>
            <c:extLst>
              <c:ext xmlns:c16="http://schemas.microsoft.com/office/drawing/2014/chart" uri="{C3380CC4-5D6E-409C-BE32-E72D297353CC}">
                <c16:uniqueId val="{0000094D-A7CE-4049-B88B-35FCDA646473}"/>
              </c:ext>
            </c:extLst>
          </c:dPt>
          <c:dPt>
            <c:idx val="1190"/>
            <c:invertIfNegative val="1"/>
            <c:bubble3D val="0"/>
            <c:spPr>
              <a:solidFill>
                <a:srgbClr val="AEABAB"/>
              </a:solidFill>
            </c:spPr>
            <c:extLst>
              <c:ext xmlns:c16="http://schemas.microsoft.com/office/drawing/2014/chart" uri="{C3380CC4-5D6E-409C-BE32-E72D297353CC}">
                <c16:uniqueId val="{0000094F-A7CE-4049-B88B-35FCDA646473}"/>
              </c:ext>
            </c:extLst>
          </c:dPt>
          <c:dPt>
            <c:idx val="1191"/>
            <c:invertIfNegative val="1"/>
            <c:bubble3D val="0"/>
            <c:spPr>
              <a:solidFill>
                <a:srgbClr val="AEABAB"/>
              </a:solidFill>
            </c:spPr>
            <c:extLst>
              <c:ext xmlns:c16="http://schemas.microsoft.com/office/drawing/2014/chart" uri="{C3380CC4-5D6E-409C-BE32-E72D297353CC}">
                <c16:uniqueId val="{00000951-A7CE-4049-B88B-35FCDA646473}"/>
              </c:ext>
            </c:extLst>
          </c:dPt>
          <c:dPt>
            <c:idx val="1192"/>
            <c:invertIfNegative val="1"/>
            <c:bubble3D val="0"/>
            <c:spPr>
              <a:solidFill>
                <a:srgbClr val="AEABAB"/>
              </a:solidFill>
            </c:spPr>
            <c:extLst>
              <c:ext xmlns:c16="http://schemas.microsoft.com/office/drawing/2014/chart" uri="{C3380CC4-5D6E-409C-BE32-E72D297353CC}">
                <c16:uniqueId val="{00000953-A7CE-4049-B88B-35FCDA646473}"/>
              </c:ext>
            </c:extLst>
          </c:dPt>
          <c:dPt>
            <c:idx val="1193"/>
            <c:invertIfNegative val="1"/>
            <c:bubble3D val="0"/>
            <c:spPr>
              <a:solidFill>
                <a:srgbClr val="AEABAB"/>
              </a:solidFill>
            </c:spPr>
            <c:extLst>
              <c:ext xmlns:c16="http://schemas.microsoft.com/office/drawing/2014/chart" uri="{C3380CC4-5D6E-409C-BE32-E72D297353CC}">
                <c16:uniqueId val="{00000955-A7CE-4049-B88B-35FCDA646473}"/>
              </c:ext>
            </c:extLst>
          </c:dPt>
          <c:dPt>
            <c:idx val="1194"/>
            <c:invertIfNegative val="1"/>
            <c:bubble3D val="0"/>
            <c:spPr>
              <a:solidFill>
                <a:srgbClr val="AEABAB"/>
              </a:solidFill>
            </c:spPr>
            <c:extLst>
              <c:ext xmlns:c16="http://schemas.microsoft.com/office/drawing/2014/chart" uri="{C3380CC4-5D6E-409C-BE32-E72D297353CC}">
                <c16:uniqueId val="{00000957-A7CE-4049-B88B-35FCDA646473}"/>
              </c:ext>
            </c:extLst>
          </c:dPt>
          <c:dPt>
            <c:idx val="1195"/>
            <c:invertIfNegative val="1"/>
            <c:bubble3D val="0"/>
            <c:spPr>
              <a:solidFill>
                <a:srgbClr val="AEABAB"/>
              </a:solidFill>
            </c:spPr>
            <c:extLst>
              <c:ext xmlns:c16="http://schemas.microsoft.com/office/drawing/2014/chart" uri="{C3380CC4-5D6E-409C-BE32-E72D297353CC}">
                <c16:uniqueId val="{00000959-A7CE-4049-B88B-35FCDA646473}"/>
              </c:ext>
            </c:extLst>
          </c:dPt>
          <c:dPt>
            <c:idx val="1196"/>
            <c:invertIfNegative val="1"/>
            <c:bubble3D val="0"/>
            <c:spPr>
              <a:solidFill>
                <a:srgbClr val="AEABAB"/>
              </a:solidFill>
            </c:spPr>
            <c:extLst>
              <c:ext xmlns:c16="http://schemas.microsoft.com/office/drawing/2014/chart" uri="{C3380CC4-5D6E-409C-BE32-E72D297353CC}">
                <c16:uniqueId val="{0000095B-A7CE-4049-B88B-35FCDA646473}"/>
              </c:ext>
            </c:extLst>
          </c:dPt>
          <c:dPt>
            <c:idx val="1197"/>
            <c:invertIfNegative val="1"/>
            <c:bubble3D val="0"/>
            <c:spPr>
              <a:solidFill>
                <a:srgbClr val="AEABAB"/>
              </a:solidFill>
            </c:spPr>
            <c:extLst>
              <c:ext xmlns:c16="http://schemas.microsoft.com/office/drawing/2014/chart" uri="{C3380CC4-5D6E-409C-BE32-E72D297353CC}">
                <c16:uniqueId val="{0000095D-A7CE-4049-B88B-35FCDA646473}"/>
              </c:ext>
            </c:extLst>
          </c:dPt>
          <c:dPt>
            <c:idx val="1198"/>
            <c:invertIfNegative val="1"/>
            <c:bubble3D val="0"/>
            <c:spPr>
              <a:solidFill>
                <a:srgbClr val="AEABAB"/>
              </a:solidFill>
            </c:spPr>
            <c:extLst>
              <c:ext xmlns:c16="http://schemas.microsoft.com/office/drawing/2014/chart" uri="{C3380CC4-5D6E-409C-BE32-E72D297353CC}">
                <c16:uniqueId val="{0000095F-A7CE-4049-B88B-35FCDA646473}"/>
              </c:ext>
            </c:extLst>
          </c:dPt>
          <c:dPt>
            <c:idx val="1199"/>
            <c:invertIfNegative val="1"/>
            <c:bubble3D val="0"/>
            <c:spPr>
              <a:solidFill>
                <a:srgbClr val="AEABAB"/>
              </a:solidFill>
            </c:spPr>
            <c:extLst>
              <c:ext xmlns:c16="http://schemas.microsoft.com/office/drawing/2014/chart" uri="{C3380CC4-5D6E-409C-BE32-E72D297353CC}">
                <c16:uniqueId val="{00000961-A7CE-4049-B88B-35FCDA646473}"/>
              </c:ext>
            </c:extLst>
          </c:dPt>
          <c:dPt>
            <c:idx val="1200"/>
            <c:invertIfNegative val="1"/>
            <c:bubble3D val="0"/>
            <c:spPr>
              <a:solidFill>
                <a:srgbClr val="AEABAB"/>
              </a:solidFill>
            </c:spPr>
            <c:extLst>
              <c:ext xmlns:c16="http://schemas.microsoft.com/office/drawing/2014/chart" uri="{C3380CC4-5D6E-409C-BE32-E72D297353CC}">
                <c16:uniqueId val="{00000963-A7CE-4049-B88B-35FCDA646473}"/>
              </c:ext>
            </c:extLst>
          </c:dPt>
          <c:dPt>
            <c:idx val="1201"/>
            <c:invertIfNegative val="1"/>
            <c:bubble3D val="0"/>
            <c:spPr>
              <a:solidFill>
                <a:srgbClr val="AEABAB"/>
              </a:solidFill>
            </c:spPr>
            <c:extLst>
              <c:ext xmlns:c16="http://schemas.microsoft.com/office/drawing/2014/chart" uri="{C3380CC4-5D6E-409C-BE32-E72D297353CC}">
                <c16:uniqueId val="{00000965-A7CE-4049-B88B-35FCDA646473}"/>
              </c:ext>
            </c:extLst>
          </c:dPt>
          <c:dPt>
            <c:idx val="1202"/>
            <c:invertIfNegative val="1"/>
            <c:bubble3D val="0"/>
            <c:spPr>
              <a:solidFill>
                <a:srgbClr val="AEABAB"/>
              </a:solidFill>
            </c:spPr>
            <c:extLst>
              <c:ext xmlns:c16="http://schemas.microsoft.com/office/drawing/2014/chart" uri="{C3380CC4-5D6E-409C-BE32-E72D297353CC}">
                <c16:uniqueId val="{00000967-A7CE-4049-B88B-35FCDA646473}"/>
              </c:ext>
            </c:extLst>
          </c:dPt>
          <c:dPt>
            <c:idx val="1203"/>
            <c:invertIfNegative val="1"/>
            <c:bubble3D val="0"/>
            <c:spPr>
              <a:solidFill>
                <a:srgbClr val="AEABAB"/>
              </a:solidFill>
            </c:spPr>
            <c:extLst>
              <c:ext xmlns:c16="http://schemas.microsoft.com/office/drawing/2014/chart" uri="{C3380CC4-5D6E-409C-BE32-E72D297353CC}">
                <c16:uniqueId val="{00000969-A7CE-4049-B88B-35FCDA646473}"/>
              </c:ext>
            </c:extLst>
          </c:dPt>
          <c:dPt>
            <c:idx val="1204"/>
            <c:invertIfNegative val="1"/>
            <c:bubble3D val="0"/>
            <c:spPr>
              <a:solidFill>
                <a:srgbClr val="AEABAB"/>
              </a:solidFill>
            </c:spPr>
            <c:extLst>
              <c:ext xmlns:c16="http://schemas.microsoft.com/office/drawing/2014/chart" uri="{C3380CC4-5D6E-409C-BE32-E72D297353CC}">
                <c16:uniqueId val="{0000096B-A7CE-4049-B88B-35FCDA646473}"/>
              </c:ext>
            </c:extLst>
          </c:dPt>
          <c:dPt>
            <c:idx val="1205"/>
            <c:invertIfNegative val="1"/>
            <c:bubble3D val="0"/>
            <c:spPr>
              <a:solidFill>
                <a:srgbClr val="AEABAB"/>
              </a:solidFill>
            </c:spPr>
            <c:extLst>
              <c:ext xmlns:c16="http://schemas.microsoft.com/office/drawing/2014/chart" uri="{C3380CC4-5D6E-409C-BE32-E72D297353CC}">
                <c16:uniqueId val="{0000096D-A7CE-4049-B88B-35FCDA646473}"/>
              </c:ext>
            </c:extLst>
          </c:dPt>
          <c:dPt>
            <c:idx val="1206"/>
            <c:invertIfNegative val="1"/>
            <c:bubble3D val="0"/>
            <c:spPr>
              <a:solidFill>
                <a:srgbClr val="AEABAB"/>
              </a:solidFill>
            </c:spPr>
            <c:extLst>
              <c:ext xmlns:c16="http://schemas.microsoft.com/office/drawing/2014/chart" uri="{C3380CC4-5D6E-409C-BE32-E72D297353CC}">
                <c16:uniqueId val="{0000096F-A7CE-4049-B88B-35FCDA646473}"/>
              </c:ext>
            </c:extLst>
          </c:dPt>
          <c:dPt>
            <c:idx val="1207"/>
            <c:invertIfNegative val="1"/>
            <c:bubble3D val="0"/>
            <c:spPr>
              <a:solidFill>
                <a:srgbClr val="AEABAB"/>
              </a:solidFill>
            </c:spPr>
            <c:extLst>
              <c:ext xmlns:c16="http://schemas.microsoft.com/office/drawing/2014/chart" uri="{C3380CC4-5D6E-409C-BE32-E72D297353CC}">
                <c16:uniqueId val="{00000971-A7CE-4049-B88B-35FCDA646473}"/>
              </c:ext>
            </c:extLst>
          </c:dPt>
          <c:dPt>
            <c:idx val="1208"/>
            <c:invertIfNegative val="1"/>
            <c:bubble3D val="0"/>
            <c:spPr>
              <a:solidFill>
                <a:srgbClr val="AEABAB"/>
              </a:solidFill>
            </c:spPr>
            <c:extLst>
              <c:ext xmlns:c16="http://schemas.microsoft.com/office/drawing/2014/chart" uri="{C3380CC4-5D6E-409C-BE32-E72D297353CC}">
                <c16:uniqueId val="{00000973-A7CE-4049-B88B-35FCDA646473}"/>
              </c:ext>
            </c:extLst>
          </c:dPt>
          <c:dPt>
            <c:idx val="1209"/>
            <c:invertIfNegative val="1"/>
            <c:bubble3D val="0"/>
            <c:spPr>
              <a:solidFill>
                <a:srgbClr val="AEABAB"/>
              </a:solidFill>
            </c:spPr>
            <c:extLst>
              <c:ext xmlns:c16="http://schemas.microsoft.com/office/drawing/2014/chart" uri="{C3380CC4-5D6E-409C-BE32-E72D297353CC}">
                <c16:uniqueId val="{00000975-A7CE-4049-B88B-35FCDA646473}"/>
              </c:ext>
            </c:extLst>
          </c:dPt>
          <c:dPt>
            <c:idx val="1210"/>
            <c:invertIfNegative val="1"/>
            <c:bubble3D val="0"/>
            <c:spPr>
              <a:solidFill>
                <a:srgbClr val="AEABAB"/>
              </a:solidFill>
            </c:spPr>
            <c:extLst>
              <c:ext xmlns:c16="http://schemas.microsoft.com/office/drawing/2014/chart" uri="{C3380CC4-5D6E-409C-BE32-E72D297353CC}">
                <c16:uniqueId val="{00000977-A7CE-4049-B88B-35FCDA646473}"/>
              </c:ext>
            </c:extLst>
          </c:dPt>
          <c:dPt>
            <c:idx val="1211"/>
            <c:invertIfNegative val="1"/>
            <c:bubble3D val="0"/>
            <c:spPr>
              <a:solidFill>
                <a:srgbClr val="AEABAB"/>
              </a:solidFill>
            </c:spPr>
            <c:extLst>
              <c:ext xmlns:c16="http://schemas.microsoft.com/office/drawing/2014/chart" uri="{C3380CC4-5D6E-409C-BE32-E72D297353CC}">
                <c16:uniqueId val="{00000979-A7CE-4049-B88B-35FCDA646473}"/>
              </c:ext>
            </c:extLst>
          </c:dPt>
          <c:dPt>
            <c:idx val="1212"/>
            <c:invertIfNegative val="1"/>
            <c:bubble3D val="0"/>
            <c:spPr>
              <a:solidFill>
                <a:srgbClr val="AEABAB"/>
              </a:solidFill>
            </c:spPr>
            <c:extLst>
              <c:ext xmlns:c16="http://schemas.microsoft.com/office/drawing/2014/chart" uri="{C3380CC4-5D6E-409C-BE32-E72D297353CC}">
                <c16:uniqueId val="{0000097B-A7CE-4049-B88B-35FCDA646473}"/>
              </c:ext>
            </c:extLst>
          </c:dPt>
          <c:dPt>
            <c:idx val="1213"/>
            <c:invertIfNegative val="1"/>
            <c:bubble3D val="0"/>
            <c:spPr>
              <a:solidFill>
                <a:srgbClr val="AEABAB"/>
              </a:solidFill>
            </c:spPr>
            <c:extLst>
              <c:ext xmlns:c16="http://schemas.microsoft.com/office/drawing/2014/chart" uri="{C3380CC4-5D6E-409C-BE32-E72D297353CC}">
                <c16:uniqueId val="{0000097D-A7CE-4049-B88B-35FCDA646473}"/>
              </c:ext>
            </c:extLst>
          </c:dPt>
          <c:dPt>
            <c:idx val="1214"/>
            <c:invertIfNegative val="1"/>
            <c:bubble3D val="0"/>
            <c:spPr>
              <a:solidFill>
                <a:srgbClr val="AEABAB"/>
              </a:solidFill>
            </c:spPr>
            <c:extLst>
              <c:ext xmlns:c16="http://schemas.microsoft.com/office/drawing/2014/chart" uri="{C3380CC4-5D6E-409C-BE32-E72D297353CC}">
                <c16:uniqueId val="{0000097F-A7CE-4049-B88B-35FCDA646473}"/>
              </c:ext>
            </c:extLst>
          </c:dPt>
          <c:dPt>
            <c:idx val="1215"/>
            <c:invertIfNegative val="1"/>
            <c:bubble3D val="0"/>
            <c:spPr>
              <a:solidFill>
                <a:srgbClr val="AEABAB"/>
              </a:solidFill>
            </c:spPr>
            <c:extLst>
              <c:ext xmlns:c16="http://schemas.microsoft.com/office/drawing/2014/chart" uri="{C3380CC4-5D6E-409C-BE32-E72D297353CC}">
                <c16:uniqueId val="{00000981-A7CE-4049-B88B-35FCDA646473}"/>
              </c:ext>
            </c:extLst>
          </c:dPt>
          <c:dPt>
            <c:idx val="1216"/>
            <c:invertIfNegative val="1"/>
            <c:bubble3D val="0"/>
            <c:spPr>
              <a:solidFill>
                <a:srgbClr val="AEABAB"/>
              </a:solidFill>
            </c:spPr>
            <c:extLst>
              <c:ext xmlns:c16="http://schemas.microsoft.com/office/drawing/2014/chart" uri="{C3380CC4-5D6E-409C-BE32-E72D297353CC}">
                <c16:uniqueId val="{00000983-A7CE-4049-B88B-35FCDA646473}"/>
              </c:ext>
            </c:extLst>
          </c:dPt>
          <c:dPt>
            <c:idx val="1217"/>
            <c:invertIfNegative val="1"/>
            <c:bubble3D val="0"/>
            <c:spPr>
              <a:solidFill>
                <a:srgbClr val="AEABAB"/>
              </a:solidFill>
            </c:spPr>
            <c:extLst>
              <c:ext xmlns:c16="http://schemas.microsoft.com/office/drawing/2014/chart" uri="{C3380CC4-5D6E-409C-BE32-E72D297353CC}">
                <c16:uniqueId val="{00000985-A7CE-4049-B88B-35FCDA646473}"/>
              </c:ext>
            </c:extLst>
          </c:dPt>
          <c:dPt>
            <c:idx val="1218"/>
            <c:invertIfNegative val="1"/>
            <c:bubble3D val="0"/>
            <c:spPr>
              <a:solidFill>
                <a:srgbClr val="AEABAB"/>
              </a:solidFill>
            </c:spPr>
            <c:extLst>
              <c:ext xmlns:c16="http://schemas.microsoft.com/office/drawing/2014/chart" uri="{C3380CC4-5D6E-409C-BE32-E72D297353CC}">
                <c16:uniqueId val="{00000987-A7CE-4049-B88B-35FCDA646473}"/>
              </c:ext>
            </c:extLst>
          </c:dPt>
          <c:dPt>
            <c:idx val="1219"/>
            <c:invertIfNegative val="1"/>
            <c:bubble3D val="0"/>
            <c:spPr>
              <a:solidFill>
                <a:srgbClr val="AEABAB"/>
              </a:solidFill>
            </c:spPr>
            <c:extLst>
              <c:ext xmlns:c16="http://schemas.microsoft.com/office/drawing/2014/chart" uri="{C3380CC4-5D6E-409C-BE32-E72D297353CC}">
                <c16:uniqueId val="{00000989-A7CE-4049-B88B-35FCDA646473}"/>
              </c:ext>
            </c:extLst>
          </c:dPt>
          <c:dPt>
            <c:idx val="1220"/>
            <c:invertIfNegative val="1"/>
            <c:bubble3D val="0"/>
            <c:spPr>
              <a:solidFill>
                <a:srgbClr val="AEABAB"/>
              </a:solidFill>
            </c:spPr>
            <c:extLst>
              <c:ext xmlns:c16="http://schemas.microsoft.com/office/drawing/2014/chart" uri="{C3380CC4-5D6E-409C-BE32-E72D297353CC}">
                <c16:uniqueId val="{0000098B-A7CE-4049-B88B-35FCDA646473}"/>
              </c:ext>
            </c:extLst>
          </c:dPt>
          <c:dPt>
            <c:idx val="1221"/>
            <c:invertIfNegative val="1"/>
            <c:bubble3D val="0"/>
            <c:spPr>
              <a:solidFill>
                <a:srgbClr val="AEABAB"/>
              </a:solidFill>
            </c:spPr>
            <c:extLst>
              <c:ext xmlns:c16="http://schemas.microsoft.com/office/drawing/2014/chart" uri="{C3380CC4-5D6E-409C-BE32-E72D297353CC}">
                <c16:uniqueId val="{0000098D-A7CE-4049-B88B-35FCDA646473}"/>
              </c:ext>
            </c:extLst>
          </c:dPt>
          <c:dPt>
            <c:idx val="1222"/>
            <c:invertIfNegative val="1"/>
            <c:bubble3D val="0"/>
            <c:spPr>
              <a:solidFill>
                <a:srgbClr val="AEABAB"/>
              </a:solidFill>
            </c:spPr>
            <c:extLst>
              <c:ext xmlns:c16="http://schemas.microsoft.com/office/drawing/2014/chart" uri="{C3380CC4-5D6E-409C-BE32-E72D297353CC}">
                <c16:uniqueId val="{0000098F-A7CE-4049-B88B-35FCDA646473}"/>
              </c:ext>
            </c:extLst>
          </c:dPt>
          <c:dPt>
            <c:idx val="1223"/>
            <c:invertIfNegative val="1"/>
            <c:bubble3D val="0"/>
            <c:spPr>
              <a:solidFill>
                <a:srgbClr val="AEABAB"/>
              </a:solidFill>
            </c:spPr>
            <c:extLst>
              <c:ext xmlns:c16="http://schemas.microsoft.com/office/drawing/2014/chart" uri="{C3380CC4-5D6E-409C-BE32-E72D297353CC}">
                <c16:uniqueId val="{00000991-A7CE-4049-B88B-35FCDA646473}"/>
              </c:ext>
            </c:extLst>
          </c:dPt>
          <c:dPt>
            <c:idx val="1224"/>
            <c:invertIfNegative val="1"/>
            <c:bubble3D val="0"/>
            <c:spPr>
              <a:solidFill>
                <a:srgbClr val="AEABAB"/>
              </a:solidFill>
            </c:spPr>
            <c:extLst>
              <c:ext xmlns:c16="http://schemas.microsoft.com/office/drawing/2014/chart" uri="{C3380CC4-5D6E-409C-BE32-E72D297353CC}">
                <c16:uniqueId val="{00000993-A7CE-4049-B88B-35FCDA646473}"/>
              </c:ext>
            </c:extLst>
          </c:dPt>
          <c:dPt>
            <c:idx val="1225"/>
            <c:invertIfNegative val="1"/>
            <c:bubble3D val="0"/>
            <c:spPr>
              <a:solidFill>
                <a:srgbClr val="AEABAB"/>
              </a:solidFill>
            </c:spPr>
            <c:extLst>
              <c:ext xmlns:c16="http://schemas.microsoft.com/office/drawing/2014/chart" uri="{C3380CC4-5D6E-409C-BE32-E72D297353CC}">
                <c16:uniqueId val="{00000995-A7CE-4049-B88B-35FCDA646473}"/>
              </c:ext>
            </c:extLst>
          </c:dPt>
          <c:dPt>
            <c:idx val="1226"/>
            <c:invertIfNegative val="1"/>
            <c:bubble3D val="0"/>
            <c:spPr>
              <a:solidFill>
                <a:srgbClr val="AEABAB"/>
              </a:solidFill>
            </c:spPr>
            <c:extLst>
              <c:ext xmlns:c16="http://schemas.microsoft.com/office/drawing/2014/chart" uri="{C3380CC4-5D6E-409C-BE32-E72D297353CC}">
                <c16:uniqueId val="{00000997-A7CE-4049-B88B-35FCDA646473}"/>
              </c:ext>
            </c:extLst>
          </c:dPt>
          <c:dPt>
            <c:idx val="1227"/>
            <c:invertIfNegative val="1"/>
            <c:bubble3D val="0"/>
            <c:spPr>
              <a:solidFill>
                <a:srgbClr val="AEABAB"/>
              </a:solidFill>
            </c:spPr>
            <c:extLst>
              <c:ext xmlns:c16="http://schemas.microsoft.com/office/drawing/2014/chart" uri="{C3380CC4-5D6E-409C-BE32-E72D297353CC}">
                <c16:uniqueId val="{00000999-A7CE-4049-B88B-35FCDA646473}"/>
              </c:ext>
            </c:extLst>
          </c:dPt>
          <c:dPt>
            <c:idx val="1228"/>
            <c:invertIfNegative val="1"/>
            <c:bubble3D val="0"/>
            <c:spPr>
              <a:solidFill>
                <a:srgbClr val="AEABAB"/>
              </a:solidFill>
            </c:spPr>
            <c:extLst>
              <c:ext xmlns:c16="http://schemas.microsoft.com/office/drawing/2014/chart" uri="{C3380CC4-5D6E-409C-BE32-E72D297353CC}">
                <c16:uniqueId val="{0000099B-A7CE-4049-B88B-35FCDA646473}"/>
              </c:ext>
            </c:extLst>
          </c:dPt>
          <c:dPt>
            <c:idx val="1229"/>
            <c:invertIfNegative val="1"/>
            <c:bubble3D val="0"/>
            <c:spPr>
              <a:solidFill>
                <a:srgbClr val="AEABAB"/>
              </a:solidFill>
            </c:spPr>
            <c:extLst>
              <c:ext xmlns:c16="http://schemas.microsoft.com/office/drawing/2014/chart" uri="{C3380CC4-5D6E-409C-BE32-E72D297353CC}">
                <c16:uniqueId val="{0000099D-A7CE-4049-B88B-35FCDA646473}"/>
              </c:ext>
            </c:extLst>
          </c:dPt>
          <c:dPt>
            <c:idx val="1230"/>
            <c:invertIfNegative val="1"/>
            <c:bubble3D val="0"/>
            <c:spPr>
              <a:solidFill>
                <a:srgbClr val="AEABAB"/>
              </a:solidFill>
            </c:spPr>
            <c:extLst>
              <c:ext xmlns:c16="http://schemas.microsoft.com/office/drawing/2014/chart" uri="{C3380CC4-5D6E-409C-BE32-E72D297353CC}">
                <c16:uniqueId val="{0000099F-A7CE-4049-B88B-35FCDA646473}"/>
              </c:ext>
            </c:extLst>
          </c:dPt>
          <c:dPt>
            <c:idx val="1231"/>
            <c:invertIfNegative val="1"/>
            <c:bubble3D val="0"/>
            <c:spPr>
              <a:solidFill>
                <a:srgbClr val="AEABAB"/>
              </a:solidFill>
            </c:spPr>
            <c:extLst>
              <c:ext xmlns:c16="http://schemas.microsoft.com/office/drawing/2014/chart" uri="{C3380CC4-5D6E-409C-BE32-E72D297353CC}">
                <c16:uniqueId val="{000009A1-A7CE-4049-B88B-35FCDA646473}"/>
              </c:ext>
            </c:extLst>
          </c:dPt>
          <c:dPt>
            <c:idx val="1232"/>
            <c:invertIfNegative val="1"/>
            <c:bubble3D val="0"/>
            <c:spPr>
              <a:solidFill>
                <a:srgbClr val="AEABAB"/>
              </a:solidFill>
            </c:spPr>
            <c:extLst>
              <c:ext xmlns:c16="http://schemas.microsoft.com/office/drawing/2014/chart" uri="{C3380CC4-5D6E-409C-BE32-E72D297353CC}">
                <c16:uniqueId val="{000009A3-A7CE-4049-B88B-35FCDA646473}"/>
              </c:ext>
            </c:extLst>
          </c:dPt>
          <c:dPt>
            <c:idx val="1233"/>
            <c:invertIfNegative val="1"/>
            <c:bubble3D val="0"/>
            <c:spPr>
              <a:solidFill>
                <a:srgbClr val="AEABAB"/>
              </a:solidFill>
            </c:spPr>
            <c:extLst>
              <c:ext xmlns:c16="http://schemas.microsoft.com/office/drawing/2014/chart" uri="{C3380CC4-5D6E-409C-BE32-E72D297353CC}">
                <c16:uniqueId val="{000009A5-A7CE-4049-B88B-35FCDA646473}"/>
              </c:ext>
            </c:extLst>
          </c:dPt>
          <c:dPt>
            <c:idx val="1234"/>
            <c:invertIfNegative val="1"/>
            <c:bubble3D val="0"/>
            <c:spPr>
              <a:solidFill>
                <a:srgbClr val="AEABAB"/>
              </a:solidFill>
            </c:spPr>
            <c:extLst>
              <c:ext xmlns:c16="http://schemas.microsoft.com/office/drawing/2014/chart" uri="{C3380CC4-5D6E-409C-BE32-E72D297353CC}">
                <c16:uniqueId val="{000009A7-A7CE-4049-B88B-35FCDA646473}"/>
              </c:ext>
            </c:extLst>
          </c:dPt>
          <c:dPt>
            <c:idx val="1235"/>
            <c:invertIfNegative val="1"/>
            <c:bubble3D val="0"/>
            <c:spPr>
              <a:solidFill>
                <a:srgbClr val="AEABAB"/>
              </a:solidFill>
            </c:spPr>
            <c:extLst>
              <c:ext xmlns:c16="http://schemas.microsoft.com/office/drawing/2014/chart" uri="{C3380CC4-5D6E-409C-BE32-E72D297353CC}">
                <c16:uniqueId val="{000009A9-A7CE-4049-B88B-35FCDA646473}"/>
              </c:ext>
            </c:extLst>
          </c:dPt>
          <c:dPt>
            <c:idx val="1236"/>
            <c:invertIfNegative val="1"/>
            <c:bubble3D val="0"/>
            <c:spPr>
              <a:solidFill>
                <a:srgbClr val="AEABAB"/>
              </a:solidFill>
            </c:spPr>
            <c:extLst>
              <c:ext xmlns:c16="http://schemas.microsoft.com/office/drawing/2014/chart" uri="{C3380CC4-5D6E-409C-BE32-E72D297353CC}">
                <c16:uniqueId val="{000009AB-A7CE-4049-B88B-35FCDA646473}"/>
              </c:ext>
            </c:extLst>
          </c:dPt>
          <c:dPt>
            <c:idx val="1237"/>
            <c:invertIfNegative val="1"/>
            <c:bubble3D val="0"/>
            <c:spPr>
              <a:solidFill>
                <a:srgbClr val="AEABAB"/>
              </a:solidFill>
            </c:spPr>
            <c:extLst>
              <c:ext xmlns:c16="http://schemas.microsoft.com/office/drawing/2014/chart" uri="{C3380CC4-5D6E-409C-BE32-E72D297353CC}">
                <c16:uniqueId val="{000009AD-A7CE-4049-B88B-35FCDA646473}"/>
              </c:ext>
            </c:extLst>
          </c:dPt>
          <c:dPt>
            <c:idx val="1238"/>
            <c:invertIfNegative val="1"/>
            <c:bubble3D val="0"/>
            <c:spPr>
              <a:solidFill>
                <a:srgbClr val="AEABAB"/>
              </a:solidFill>
            </c:spPr>
            <c:extLst>
              <c:ext xmlns:c16="http://schemas.microsoft.com/office/drawing/2014/chart" uri="{C3380CC4-5D6E-409C-BE32-E72D297353CC}">
                <c16:uniqueId val="{000009AF-A7CE-4049-B88B-35FCDA646473}"/>
              </c:ext>
            </c:extLst>
          </c:dPt>
          <c:dPt>
            <c:idx val="1239"/>
            <c:invertIfNegative val="1"/>
            <c:bubble3D val="0"/>
            <c:spPr>
              <a:solidFill>
                <a:srgbClr val="AEABAB"/>
              </a:solidFill>
            </c:spPr>
            <c:extLst>
              <c:ext xmlns:c16="http://schemas.microsoft.com/office/drawing/2014/chart" uri="{C3380CC4-5D6E-409C-BE32-E72D297353CC}">
                <c16:uniqueId val="{000009B1-A7CE-4049-B88B-35FCDA646473}"/>
              </c:ext>
            </c:extLst>
          </c:dPt>
          <c:dPt>
            <c:idx val="1240"/>
            <c:invertIfNegative val="1"/>
            <c:bubble3D val="0"/>
            <c:spPr>
              <a:solidFill>
                <a:srgbClr val="AEABAB"/>
              </a:solidFill>
            </c:spPr>
            <c:extLst>
              <c:ext xmlns:c16="http://schemas.microsoft.com/office/drawing/2014/chart" uri="{C3380CC4-5D6E-409C-BE32-E72D297353CC}">
                <c16:uniqueId val="{000009B3-A7CE-4049-B88B-35FCDA646473}"/>
              </c:ext>
            </c:extLst>
          </c:dPt>
          <c:dPt>
            <c:idx val="1241"/>
            <c:invertIfNegative val="1"/>
            <c:bubble3D val="0"/>
            <c:spPr>
              <a:solidFill>
                <a:srgbClr val="AEABAB"/>
              </a:solidFill>
            </c:spPr>
            <c:extLst>
              <c:ext xmlns:c16="http://schemas.microsoft.com/office/drawing/2014/chart" uri="{C3380CC4-5D6E-409C-BE32-E72D297353CC}">
                <c16:uniqueId val="{000009B5-A7CE-4049-B88B-35FCDA646473}"/>
              </c:ext>
            </c:extLst>
          </c:dPt>
          <c:dPt>
            <c:idx val="1242"/>
            <c:invertIfNegative val="1"/>
            <c:bubble3D val="0"/>
            <c:spPr>
              <a:solidFill>
                <a:srgbClr val="AEABAB"/>
              </a:solidFill>
            </c:spPr>
            <c:extLst>
              <c:ext xmlns:c16="http://schemas.microsoft.com/office/drawing/2014/chart" uri="{C3380CC4-5D6E-409C-BE32-E72D297353CC}">
                <c16:uniqueId val="{000009B7-A7CE-4049-B88B-35FCDA646473}"/>
              </c:ext>
            </c:extLst>
          </c:dPt>
          <c:dPt>
            <c:idx val="1243"/>
            <c:invertIfNegative val="1"/>
            <c:bubble3D val="0"/>
            <c:spPr>
              <a:solidFill>
                <a:srgbClr val="AEABAB"/>
              </a:solidFill>
            </c:spPr>
            <c:extLst>
              <c:ext xmlns:c16="http://schemas.microsoft.com/office/drawing/2014/chart" uri="{C3380CC4-5D6E-409C-BE32-E72D297353CC}">
                <c16:uniqueId val="{000009B9-A7CE-4049-B88B-35FCDA646473}"/>
              </c:ext>
            </c:extLst>
          </c:dPt>
          <c:dPt>
            <c:idx val="1244"/>
            <c:invertIfNegative val="1"/>
            <c:bubble3D val="0"/>
            <c:spPr>
              <a:solidFill>
                <a:srgbClr val="AEABAB"/>
              </a:solidFill>
            </c:spPr>
            <c:extLst>
              <c:ext xmlns:c16="http://schemas.microsoft.com/office/drawing/2014/chart" uri="{C3380CC4-5D6E-409C-BE32-E72D297353CC}">
                <c16:uniqueId val="{000009BB-A7CE-4049-B88B-35FCDA646473}"/>
              </c:ext>
            </c:extLst>
          </c:dPt>
          <c:dPt>
            <c:idx val="1245"/>
            <c:invertIfNegative val="1"/>
            <c:bubble3D val="0"/>
            <c:spPr>
              <a:solidFill>
                <a:srgbClr val="AEABAB"/>
              </a:solidFill>
            </c:spPr>
            <c:extLst>
              <c:ext xmlns:c16="http://schemas.microsoft.com/office/drawing/2014/chart" uri="{C3380CC4-5D6E-409C-BE32-E72D297353CC}">
                <c16:uniqueId val="{000009BD-A7CE-4049-B88B-35FCDA646473}"/>
              </c:ext>
            </c:extLst>
          </c:dPt>
          <c:dPt>
            <c:idx val="1246"/>
            <c:invertIfNegative val="1"/>
            <c:bubble3D val="0"/>
            <c:spPr>
              <a:solidFill>
                <a:srgbClr val="AEABAB"/>
              </a:solidFill>
            </c:spPr>
            <c:extLst>
              <c:ext xmlns:c16="http://schemas.microsoft.com/office/drawing/2014/chart" uri="{C3380CC4-5D6E-409C-BE32-E72D297353CC}">
                <c16:uniqueId val="{000009BF-A7CE-4049-B88B-35FCDA646473}"/>
              </c:ext>
            </c:extLst>
          </c:dPt>
          <c:dPt>
            <c:idx val="1247"/>
            <c:invertIfNegative val="1"/>
            <c:bubble3D val="0"/>
            <c:spPr>
              <a:solidFill>
                <a:srgbClr val="AEABAB"/>
              </a:solidFill>
            </c:spPr>
            <c:extLst>
              <c:ext xmlns:c16="http://schemas.microsoft.com/office/drawing/2014/chart" uri="{C3380CC4-5D6E-409C-BE32-E72D297353CC}">
                <c16:uniqueId val="{000009C1-A7CE-4049-B88B-35FCDA646473}"/>
              </c:ext>
            </c:extLst>
          </c:dPt>
          <c:dPt>
            <c:idx val="1248"/>
            <c:invertIfNegative val="1"/>
            <c:bubble3D val="0"/>
            <c:spPr>
              <a:solidFill>
                <a:srgbClr val="AEABAB"/>
              </a:solidFill>
            </c:spPr>
            <c:extLst>
              <c:ext xmlns:c16="http://schemas.microsoft.com/office/drawing/2014/chart" uri="{C3380CC4-5D6E-409C-BE32-E72D297353CC}">
                <c16:uniqueId val="{000009C3-A7CE-4049-B88B-35FCDA646473}"/>
              </c:ext>
            </c:extLst>
          </c:dPt>
          <c:dPt>
            <c:idx val="1249"/>
            <c:invertIfNegative val="1"/>
            <c:bubble3D val="0"/>
            <c:spPr>
              <a:solidFill>
                <a:srgbClr val="AEABAB"/>
              </a:solidFill>
            </c:spPr>
            <c:extLst>
              <c:ext xmlns:c16="http://schemas.microsoft.com/office/drawing/2014/chart" uri="{C3380CC4-5D6E-409C-BE32-E72D297353CC}">
                <c16:uniqueId val="{000009C5-A7CE-4049-B88B-35FCDA646473}"/>
              </c:ext>
            </c:extLst>
          </c:dPt>
          <c:dPt>
            <c:idx val="1250"/>
            <c:invertIfNegative val="1"/>
            <c:bubble3D val="0"/>
            <c:spPr>
              <a:solidFill>
                <a:srgbClr val="AEABAB"/>
              </a:solidFill>
            </c:spPr>
            <c:extLst>
              <c:ext xmlns:c16="http://schemas.microsoft.com/office/drawing/2014/chart" uri="{C3380CC4-5D6E-409C-BE32-E72D297353CC}">
                <c16:uniqueId val="{000009C7-A7CE-4049-B88B-35FCDA646473}"/>
              </c:ext>
            </c:extLst>
          </c:dPt>
          <c:dPt>
            <c:idx val="1251"/>
            <c:invertIfNegative val="1"/>
            <c:bubble3D val="0"/>
            <c:spPr>
              <a:solidFill>
                <a:srgbClr val="AEABAB"/>
              </a:solidFill>
            </c:spPr>
            <c:extLst>
              <c:ext xmlns:c16="http://schemas.microsoft.com/office/drawing/2014/chart" uri="{C3380CC4-5D6E-409C-BE32-E72D297353CC}">
                <c16:uniqueId val="{000009C9-A7CE-4049-B88B-35FCDA646473}"/>
              </c:ext>
            </c:extLst>
          </c:dPt>
          <c:dPt>
            <c:idx val="1252"/>
            <c:invertIfNegative val="1"/>
            <c:bubble3D val="0"/>
            <c:spPr>
              <a:solidFill>
                <a:srgbClr val="AEABAB"/>
              </a:solidFill>
            </c:spPr>
            <c:extLst>
              <c:ext xmlns:c16="http://schemas.microsoft.com/office/drawing/2014/chart" uri="{C3380CC4-5D6E-409C-BE32-E72D297353CC}">
                <c16:uniqueId val="{000009CB-A7CE-4049-B88B-35FCDA646473}"/>
              </c:ext>
            </c:extLst>
          </c:dPt>
          <c:dPt>
            <c:idx val="1253"/>
            <c:invertIfNegative val="1"/>
            <c:bubble3D val="0"/>
            <c:spPr>
              <a:solidFill>
                <a:srgbClr val="AEABAB"/>
              </a:solidFill>
            </c:spPr>
            <c:extLst>
              <c:ext xmlns:c16="http://schemas.microsoft.com/office/drawing/2014/chart" uri="{C3380CC4-5D6E-409C-BE32-E72D297353CC}">
                <c16:uniqueId val="{000009CD-A7CE-4049-B88B-35FCDA646473}"/>
              </c:ext>
            </c:extLst>
          </c:dPt>
          <c:dPt>
            <c:idx val="1254"/>
            <c:invertIfNegative val="1"/>
            <c:bubble3D val="0"/>
            <c:spPr>
              <a:solidFill>
                <a:srgbClr val="AEABAB"/>
              </a:solidFill>
            </c:spPr>
            <c:extLst>
              <c:ext xmlns:c16="http://schemas.microsoft.com/office/drawing/2014/chart" uri="{C3380CC4-5D6E-409C-BE32-E72D297353CC}">
                <c16:uniqueId val="{000009CF-A7CE-4049-B88B-35FCDA646473}"/>
              </c:ext>
            </c:extLst>
          </c:dPt>
          <c:dPt>
            <c:idx val="1255"/>
            <c:invertIfNegative val="1"/>
            <c:bubble3D val="0"/>
            <c:spPr>
              <a:solidFill>
                <a:srgbClr val="AEABAB"/>
              </a:solidFill>
            </c:spPr>
            <c:extLst>
              <c:ext xmlns:c16="http://schemas.microsoft.com/office/drawing/2014/chart" uri="{C3380CC4-5D6E-409C-BE32-E72D297353CC}">
                <c16:uniqueId val="{000009D1-A7CE-4049-B88B-35FCDA646473}"/>
              </c:ext>
            </c:extLst>
          </c:dPt>
          <c:dPt>
            <c:idx val="1256"/>
            <c:invertIfNegative val="1"/>
            <c:bubble3D val="0"/>
            <c:spPr>
              <a:solidFill>
                <a:srgbClr val="AEABAB"/>
              </a:solidFill>
            </c:spPr>
            <c:extLst>
              <c:ext xmlns:c16="http://schemas.microsoft.com/office/drawing/2014/chart" uri="{C3380CC4-5D6E-409C-BE32-E72D297353CC}">
                <c16:uniqueId val="{000009D3-A7CE-4049-B88B-35FCDA646473}"/>
              </c:ext>
            </c:extLst>
          </c:dPt>
          <c:dPt>
            <c:idx val="1257"/>
            <c:invertIfNegative val="1"/>
            <c:bubble3D val="0"/>
            <c:spPr>
              <a:solidFill>
                <a:srgbClr val="AEABAB"/>
              </a:solidFill>
            </c:spPr>
            <c:extLst>
              <c:ext xmlns:c16="http://schemas.microsoft.com/office/drawing/2014/chart" uri="{C3380CC4-5D6E-409C-BE32-E72D297353CC}">
                <c16:uniqueId val="{000009D5-A7CE-4049-B88B-35FCDA646473}"/>
              </c:ext>
            </c:extLst>
          </c:dPt>
          <c:dPt>
            <c:idx val="1258"/>
            <c:invertIfNegative val="1"/>
            <c:bubble3D val="0"/>
            <c:spPr>
              <a:solidFill>
                <a:srgbClr val="AEABAB"/>
              </a:solidFill>
            </c:spPr>
            <c:extLst>
              <c:ext xmlns:c16="http://schemas.microsoft.com/office/drawing/2014/chart" uri="{C3380CC4-5D6E-409C-BE32-E72D297353CC}">
                <c16:uniqueId val="{000009D7-A7CE-4049-B88B-35FCDA646473}"/>
              </c:ext>
            </c:extLst>
          </c:dPt>
          <c:dPt>
            <c:idx val="1259"/>
            <c:invertIfNegative val="1"/>
            <c:bubble3D val="0"/>
            <c:spPr>
              <a:solidFill>
                <a:srgbClr val="AEABAB"/>
              </a:solidFill>
            </c:spPr>
            <c:extLst>
              <c:ext xmlns:c16="http://schemas.microsoft.com/office/drawing/2014/chart" uri="{C3380CC4-5D6E-409C-BE32-E72D297353CC}">
                <c16:uniqueId val="{000009D9-A7CE-4049-B88B-35FCDA646473}"/>
              </c:ext>
            </c:extLst>
          </c:dPt>
          <c:dPt>
            <c:idx val="1260"/>
            <c:invertIfNegative val="1"/>
            <c:bubble3D val="0"/>
            <c:spPr>
              <a:solidFill>
                <a:srgbClr val="AEABAB"/>
              </a:solidFill>
            </c:spPr>
            <c:extLst>
              <c:ext xmlns:c16="http://schemas.microsoft.com/office/drawing/2014/chart" uri="{C3380CC4-5D6E-409C-BE32-E72D297353CC}">
                <c16:uniqueId val="{000009DB-A7CE-4049-B88B-35FCDA646473}"/>
              </c:ext>
            </c:extLst>
          </c:dPt>
          <c:dPt>
            <c:idx val="1261"/>
            <c:invertIfNegative val="1"/>
            <c:bubble3D val="0"/>
            <c:spPr>
              <a:solidFill>
                <a:srgbClr val="AEABAB"/>
              </a:solidFill>
            </c:spPr>
            <c:extLst>
              <c:ext xmlns:c16="http://schemas.microsoft.com/office/drawing/2014/chart" uri="{C3380CC4-5D6E-409C-BE32-E72D297353CC}">
                <c16:uniqueId val="{000009DD-A7CE-4049-B88B-35FCDA646473}"/>
              </c:ext>
            </c:extLst>
          </c:dPt>
          <c:dPt>
            <c:idx val="1262"/>
            <c:invertIfNegative val="1"/>
            <c:bubble3D val="0"/>
            <c:spPr>
              <a:solidFill>
                <a:srgbClr val="AEABAB"/>
              </a:solidFill>
            </c:spPr>
            <c:extLst>
              <c:ext xmlns:c16="http://schemas.microsoft.com/office/drawing/2014/chart" uri="{C3380CC4-5D6E-409C-BE32-E72D297353CC}">
                <c16:uniqueId val="{000009DF-A7CE-4049-B88B-35FCDA646473}"/>
              </c:ext>
            </c:extLst>
          </c:dPt>
          <c:dPt>
            <c:idx val="1263"/>
            <c:invertIfNegative val="1"/>
            <c:bubble3D val="0"/>
            <c:spPr>
              <a:solidFill>
                <a:srgbClr val="AEABAB"/>
              </a:solidFill>
            </c:spPr>
            <c:extLst>
              <c:ext xmlns:c16="http://schemas.microsoft.com/office/drawing/2014/chart" uri="{C3380CC4-5D6E-409C-BE32-E72D297353CC}">
                <c16:uniqueId val="{000009E1-A7CE-4049-B88B-35FCDA646473}"/>
              </c:ext>
            </c:extLst>
          </c:dPt>
          <c:dPt>
            <c:idx val="1264"/>
            <c:invertIfNegative val="1"/>
            <c:bubble3D val="0"/>
            <c:spPr>
              <a:solidFill>
                <a:srgbClr val="AEABAB"/>
              </a:solidFill>
            </c:spPr>
            <c:extLst>
              <c:ext xmlns:c16="http://schemas.microsoft.com/office/drawing/2014/chart" uri="{C3380CC4-5D6E-409C-BE32-E72D297353CC}">
                <c16:uniqueId val="{000009E3-A7CE-4049-B88B-35FCDA646473}"/>
              </c:ext>
            </c:extLst>
          </c:dPt>
          <c:dPt>
            <c:idx val="1265"/>
            <c:invertIfNegative val="1"/>
            <c:bubble3D val="0"/>
            <c:spPr>
              <a:solidFill>
                <a:srgbClr val="AEABAB"/>
              </a:solidFill>
            </c:spPr>
            <c:extLst>
              <c:ext xmlns:c16="http://schemas.microsoft.com/office/drawing/2014/chart" uri="{C3380CC4-5D6E-409C-BE32-E72D297353CC}">
                <c16:uniqueId val="{000009E5-A7CE-4049-B88B-35FCDA646473}"/>
              </c:ext>
            </c:extLst>
          </c:dPt>
          <c:dPt>
            <c:idx val="1266"/>
            <c:invertIfNegative val="1"/>
            <c:bubble3D val="0"/>
            <c:spPr>
              <a:solidFill>
                <a:srgbClr val="AEABAB"/>
              </a:solidFill>
            </c:spPr>
            <c:extLst>
              <c:ext xmlns:c16="http://schemas.microsoft.com/office/drawing/2014/chart" uri="{C3380CC4-5D6E-409C-BE32-E72D297353CC}">
                <c16:uniqueId val="{000009E7-A7CE-4049-B88B-35FCDA646473}"/>
              </c:ext>
            </c:extLst>
          </c:dPt>
          <c:dPt>
            <c:idx val="1267"/>
            <c:invertIfNegative val="1"/>
            <c:bubble3D val="0"/>
            <c:spPr>
              <a:solidFill>
                <a:srgbClr val="AEABAB"/>
              </a:solidFill>
            </c:spPr>
            <c:extLst>
              <c:ext xmlns:c16="http://schemas.microsoft.com/office/drawing/2014/chart" uri="{C3380CC4-5D6E-409C-BE32-E72D297353CC}">
                <c16:uniqueId val="{000009E9-A7CE-4049-B88B-35FCDA646473}"/>
              </c:ext>
            </c:extLst>
          </c:dPt>
          <c:dPt>
            <c:idx val="1268"/>
            <c:invertIfNegative val="1"/>
            <c:bubble3D val="0"/>
            <c:spPr>
              <a:solidFill>
                <a:srgbClr val="AEABAB"/>
              </a:solidFill>
            </c:spPr>
            <c:extLst>
              <c:ext xmlns:c16="http://schemas.microsoft.com/office/drawing/2014/chart" uri="{C3380CC4-5D6E-409C-BE32-E72D297353CC}">
                <c16:uniqueId val="{000009EB-A7CE-4049-B88B-35FCDA646473}"/>
              </c:ext>
            </c:extLst>
          </c:dPt>
          <c:dPt>
            <c:idx val="1269"/>
            <c:invertIfNegative val="1"/>
            <c:bubble3D val="0"/>
            <c:spPr>
              <a:solidFill>
                <a:srgbClr val="AEABAB"/>
              </a:solidFill>
            </c:spPr>
            <c:extLst>
              <c:ext xmlns:c16="http://schemas.microsoft.com/office/drawing/2014/chart" uri="{C3380CC4-5D6E-409C-BE32-E72D297353CC}">
                <c16:uniqueId val="{000009ED-A7CE-4049-B88B-35FCDA646473}"/>
              </c:ext>
            </c:extLst>
          </c:dPt>
          <c:dPt>
            <c:idx val="1270"/>
            <c:invertIfNegative val="1"/>
            <c:bubble3D val="0"/>
            <c:spPr>
              <a:solidFill>
                <a:srgbClr val="AEABAB"/>
              </a:solidFill>
            </c:spPr>
            <c:extLst>
              <c:ext xmlns:c16="http://schemas.microsoft.com/office/drawing/2014/chart" uri="{C3380CC4-5D6E-409C-BE32-E72D297353CC}">
                <c16:uniqueId val="{000009EF-A7CE-4049-B88B-35FCDA646473}"/>
              </c:ext>
            </c:extLst>
          </c:dPt>
          <c:dPt>
            <c:idx val="1271"/>
            <c:invertIfNegative val="1"/>
            <c:bubble3D val="0"/>
            <c:spPr>
              <a:solidFill>
                <a:srgbClr val="AEABAB"/>
              </a:solidFill>
            </c:spPr>
            <c:extLst>
              <c:ext xmlns:c16="http://schemas.microsoft.com/office/drawing/2014/chart" uri="{C3380CC4-5D6E-409C-BE32-E72D297353CC}">
                <c16:uniqueId val="{000009F1-A7CE-4049-B88B-35FCDA646473}"/>
              </c:ext>
            </c:extLst>
          </c:dPt>
          <c:dPt>
            <c:idx val="1272"/>
            <c:invertIfNegative val="1"/>
            <c:bubble3D val="0"/>
            <c:spPr>
              <a:solidFill>
                <a:srgbClr val="AEABAB"/>
              </a:solidFill>
            </c:spPr>
            <c:extLst>
              <c:ext xmlns:c16="http://schemas.microsoft.com/office/drawing/2014/chart" uri="{C3380CC4-5D6E-409C-BE32-E72D297353CC}">
                <c16:uniqueId val="{000009F3-A7CE-4049-B88B-35FCDA646473}"/>
              </c:ext>
            </c:extLst>
          </c:dPt>
          <c:dPt>
            <c:idx val="1273"/>
            <c:invertIfNegative val="1"/>
            <c:bubble3D val="0"/>
            <c:spPr>
              <a:solidFill>
                <a:srgbClr val="AEABAB"/>
              </a:solidFill>
            </c:spPr>
            <c:extLst>
              <c:ext xmlns:c16="http://schemas.microsoft.com/office/drawing/2014/chart" uri="{C3380CC4-5D6E-409C-BE32-E72D297353CC}">
                <c16:uniqueId val="{000009F5-A7CE-4049-B88B-35FCDA646473}"/>
              </c:ext>
            </c:extLst>
          </c:dPt>
          <c:dPt>
            <c:idx val="1274"/>
            <c:invertIfNegative val="1"/>
            <c:bubble3D val="0"/>
            <c:spPr>
              <a:solidFill>
                <a:srgbClr val="AEABAB"/>
              </a:solidFill>
            </c:spPr>
            <c:extLst>
              <c:ext xmlns:c16="http://schemas.microsoft.com/office/drawing/2014/chart" uri="{C3380CC4-5D6E-409C-BE32-E72D297353CC}">
                <c16:uniqueId val="{000009F7-A7CE-4049-B88B-35FCDA646473}"/>
              </c:ext>
            </c:extLst>
          </c:dPt>
          <c:dPt>
            <c:idx val="1275"/>
            <c:invertIfNegative val="1"/>
            <c:bubble3D val="0"/>
            <c:spPr>
              <a:solidFill>
                <a:srgbClr val="AEABAB"/>
              </a:solidFill>
            </c:spPr>
            <c:extLst>
              <c:ext xmlns:c16="http://schemas.microsoft.com/office/drawing/2014/chart" uri="{C3380CC4-5D6E-409C-BE32-E72D297353CC}">
                <c16:uniqueId val="{000009F9-A7CE-4049-B88B-35FCDA646473}"/>
              </c:ext>
            </c:extLst>
          </c:dPt>
          <c:dPt>
            <c:idx val="1276"/>
            <c:invertIfNegative val="1"/>
            <c:bubble3D val="0"/>
            <c:spPr>
              <a:solidFill>
                <a:srgbClr val="AEABAB"/>
              </a:solidFill>
            </c:spPr>
            <c:extLst>
              <c:ext xmlns:c16="http://schemas.microsoft.com/office/drawing/2014/chart" uri="{C3380CC4-5D6E-409C-BE32-E72D297353CC}">
                <c16:uniqueId val="{000009FB-A7CE-4049-B88B-35FCDA646473}"/>
              </c:ext>
            </c:extLst>
          </c:dPt>
          <c:dPt>
            <c:idx val="1277"/>
            <c:invertIfNegative val="1"/>
            <c:bubble3D val="0"/>
            <c:spPr>
              <a:solidFill>
                <a:srgbClr val="AEABAB"/>
              </a:solidFill>
            </c:spPr>
            <c:extLst>
              <c:ext xmlns:c16="http://schemas.microsoft.com/office/drawing/2014/chart" uri="{C3380CC4-5D6E-409C-BE32-E72D297353CC}">
                <c16:uniqueId val="{000009FD-A7CE-4049-B88B-35FCDA646473}"/>
              </c:ext>
            </c:extLst>
          </c:dPt>
          <c:dPt>
            <c:idx val="1278"/>
            <c:invertIfNegative val="1"/>
            <c:bubble3D val="0"/>
            <c:spPr>
              <a:solidFill>
                <a:srgbClr val="AEABAB"/>
              </a:solidFill>
            </c:spPr>
            <c:extLst>
              <c:ext xmlns:c16="http://schemas.microsoft.com/office/drawing/2014/chart" uri="{C3380CC4-5D6E-409C-BE32-E72D297353CC}">
                <c16:uniqueId val="{000009FF-A7CE-4049-B88B-35FCDA646473}"/>
              </c:ext>
            </c:extLst>
          </c:dPt>
          <c:dPt>
            <c:idx val="1279"/>
            <c:invertIfNegative val="1"/>
            <c:bubble3D val="0"/>
            <c:spPr>
              <a:solidFill>
                <a:srgbClr val="AEABAB"/>
              </a:solidFill>
            </c:spPr>
            <c:extLst>
              <c:ext xmlns:c16="http://schemas.microsoft.com/office/drawing/2014/chart" uri="{C3380CC4-5D6E-409C-BE32-E72D297353CC}">
                <c16:uniqueId val="{00000A01-A7CE-4049-B88B-35FCDA646473}"/>
              </c:ext>
            </c:extLst>
          </c:dPt>
          <c:dPt>
            <c:idx val="1280"/>
            <c:invertIfNegative val="1"/>
            <c:bubble3D val="0"/>
            <c:spPr>
              <a:solidFill>
                <a:srgbClr val="AEABAB"/>
              </a:solidFill>
            </c:spPr>
            <c:extLst>
              <c:ext xmlns:c16="http://schemas.microsoft.com/office/drawing/2014/chart" uri="{C3380CC4-5D6E-409C-BE32-E72D297353CC}">
                <c16:uniqueId val="{00000A03-A7CE-4049-B88B-35FCDA646473}"/>
              </c:ext>
            </c:extLst>
          </c:dPt>
          <c:dPt>
            <c:idx val="1281"/>
            <c:invertIfNegative val="1"/>
            <c:bubble3D val="0"/>
            <c:spPr>
              <a:solidFill>
                <a:srgbClr val="AEABAB"/>
              </a:solidFill>
            </c:spPr>
            <c:extLst>
              <c:ext xmlns:c16="http://schemas.microsoft.com/office/drawing/2014/chart" uri="{C3380CC4-5D6E-409C-BE32-E72D297353CC}">
                <c16:uniqueId val="{00000A05-A7CE-4049-B88B-35FCDA646473}"/>
              </c:ext>
            </c:extLst>
          </c:dPt>
          <c:dPt>
            <c:idx val="1282"/>
            <c:invertIfNegative val="1"/>
            <c:bubble3D val="0"/>
            <c:spPr>
              <a:solidFill>
                <a:srgbClr val="AEABAB"/>
              </a:solidFill>
            </c:spPr>
            <c:extLst>
              <c:ext xmlns:c16="http://schemas.microsoft.com/office/drawing/2014/chart" uri="{C3380CC4-5D6E-409C-BE32-E72D297353CC}">
                <c16:uniqueId val="{00000A07-A7CE-4049-B88B-35FCDA646473}"/>
              </c:ext>
            </c:extLst>
          </c:dPt>
          <c:dPt>
            <c:idx val="1283"/>
            <c:invertIfNegative val="1"/>
            <c:bubble3D val="0"/>
            <c:spPr>
              <a:solidFill>
                <a:srgbClr val="AEABAB"/>
              </a:solidFill>
            </c:spPr>
            <c:extLst>
              <c:ext xmlns:c16="http://schemas.microsoft.com/office/drawing/2014/chart" uri="{C3380CC4-5D6E-409C-BE32-E72D297353CC}">
                <c16:uniqueId val="{00000A09-A7CE-4049-B88B-35FCDA646473}"/>
              </c:ext>
            </c:extLst>
          </c:dPt>
          <c:dPt>
            <c:idx val="1284"/>
            <c:invertIfNegative val="1"/>
            <c:bubble3D val="0"/>
            <c:spPr>
              <a:solidFill>
                <a:srgbClr val="AEABAB"/>
              </a:solidFill>
            </c:spPr>
            <c:extLst>
              <c:ext xmlns:c16="http://schemas.microsoft.com/office/drawing/2014/chart" uri="{C3380CC4-5D6E-409C-BE32-E72D297353CC}">
                <c16:uniqueId val="{00000A0B-A7CE-4049-B88B-35FCDA646473}"/>
              </c:ext>
            </c:extLst>
          </c:dPt>
          <c:dPt>
            <c:idx val="1285"/>
            <c:invertIfNegative val="1"/>
            <c:bubble3D val="0"/>
            <c:spPr>
              <a:solidFill>
                <a:srgbClr val="AEABAB"/>
              </a:solidFill>
            </c:spPr>
            <c:extLst>
              <c:ext xmlns:c16="http://schemas.microsoft.com/office/drawing/2014/chart" uri="{C3380CC4-5D6E-409C-BE32-E72D297353CC}">
                <c16:uniqueId val="{00000A0D-A7CE-4049-B88B-35FCDA646473}"/>
              </c:ext>
            </c:extLst>
          </c:dPt>
          <c:dPt>
            <c:idx val="1286"/>
            <c:invertIfNegative val="1"/>
            <c:bubble3D val="0"/>
            <c:spPr>
              <a:solidFill>
                <a:srgbClr val="AEABAB"/>
              </a:solidFill>
            </c:spPr>
            <c:extLst>
              <c:ext xmlns:c16="http://schemas.microsoft.com/office/drawing/2014/chart" uri="{C3380CC4-5D6E-409C-BE32-E72D297353CC}">
                <c16:uniqueId val="{00000A0F-A7CE-4049-B88B-35FCDA646473}"/>
              </c:ext>
            </c:extLst>
          </c:dPt>
          <c:dPt>
            <c:idx val="1287"/>
            <c:invertIfNegative val="1"/>
            <c:bubble3D val="0"/>
            <c:spPr>
              <a:solidFill>
                <a:srgbClr val="AEABAB"/>
              </a:solidFill>
            </c:spPr>
            <c:extLst>
              <c:ext xmlns:c16="http://schemas.microsoft.com/office/drawing/2014/chart" uri="{C3380CC4-5D6E-409C-BE32-E72D297353CC}">
                <c16:uniqueId val="{00000A11-A7CE-4049-B88B-35FCDA646473}"/>
              </c:ext>
            </c:extLst>
          </c:dPt>
          <c:dPt>
            <c:idx val="1288"/>
            <c:invertIfNegative val="1"/>
            <c:bubble3D val="0"/>
            <c:spPr>
              <a:solidFill>
                <a:srgbClr val="AEABAB"/>
              </a:solidFill>
            </c:spPr>
            <c:extLst>
              <c:ext xmlns:c16="http://schemas.microsoft.com/office/drawing/2014/chart" uri="{C3380CC4-5D6E-409C-BE32-E72D297353CC}">
                <c16:uniqueId val="{00000A13-A7CE-4049-B88B-35FCDA646473}"/>
              </c:ext>
            </c:extLst>
          </c:dPt>
          <c:dPt>
            <c:idx val="1289"/>
            <c:invertIfNegative val="1"/>
            <c:bubble3D val="0"/>
            <c:spPr>
              <a:solidFill>
                <a:srgbClr val="AEABAB"/>
              </a:solidFill>
            </c:spPr>
            <c:extLst>
              <c:ext xmlns:c16="http://schemas.microsoft.com/office/drawing/2014/chart" uri="{C3380CC4-5D6E-409C-BE32-E72D297353CC}">
                <c16:uniqueId val="{00000A15-A7CE-4049-B88B-35FCDA646473}"/>
              </c:ext>
            </c:extLst>
          </c:dPt>
          <c:dPt>
            <c:idx val="1290"/>
            <c:invertIfNegative val="1"/>
            <c:bubble3D val="0"/>
            <c:spPr>
              <a:solidFill>
                <a:srgbClr val="AEABAB"/>
              </a:solidFill>
            </c:spPr>
            <c:extLst>
              <c:ext xmlns:c16="http://schemas.microsoft.com/office/drawing/2014/chart" uri="{C3380CC4-5D6E-409C-BE32-E72D297353CC}">
                <c16:uniqueId val="{00000A17-A7CE-4049-B88B-35FCDA646473}"/>
              </c:ext>
            </c:extLst>
          </c:dPt>
          <c:dPt>
            <c:idx val="1291"/>
            <c:invertIfNegative val="1"/>
            <c:bubble3D val="0"/>
            <c:spPr>
              <a:solidFill>
                <a:srgbClr val="AEABAB"/>
              </a:solidFill>
            </c:spPr>
            <c:extLst>
              <c:ext xmlns:c16="http://schemas.microsoft.com/office/drawing/2014/chart" uri="{C3380CC4-5D6E-409C-BE32-E72D297353CC}">
                <c16:uniqueId val="{00000A19-A7CE-4049-B88B-35FCDA646473}"/>
              </c:ext>
            </c:extLst>
          </c:dPt>
          <c:dPt>
            <c:idx val="1292"/>
            <c:invertIfNegative val="1"/>
            <c:bubble3D val="0"/>
            <c:spPr>
              <a:solidFill>
                <a:srgbClr val="AEABAB"/>
              </a:solidFill>
            </c:spPr>
            <c:extLst>
              <c:ext xmlns:c16="http://schemas.microsoft.com/office/drawing/2014/chart" uri="{C3380CC4-5D6E-409C-BE32-E72D297353CC}">
                <c16:uniqueId val="{00000A1B-A7CE-4049-B88B-35FCDA646473}"/>
              </c:ext>
            </c:extLst>
          </c:dPt>
          <c:dPt>
            <c:idx val="1293"/>
            <c:invertIfNegative val="1"/>
            <c:bubble3D val="0"/>
            <c:spPr>
              <a:solidFill>
                <a:srgbClr val="AEABAB"/>
              </a:solidFill>
            </c:spPr>
            <c:extLst>
              <c:ext xmlns:c16="http://schemas.microsoft.com/office/drawing/2014/chart" uri="{C3380CC4-5D6E-409C-BE32-E72D297353CC}">
                <c16:uniqueId val="{00000A1D-A7CE-4049-B88B-35FCDA646473}"/>
              </c:ext>
            </c:extLst>
          </c:dPt>
          <c:dPt>
            <c:idx val="1294"/>
            <c:invertIfNegative val="1"/>
            <c:bubble3D val="0"/>
            <c:spPr>
              <a:solidFill>
                <a:srgbClr val="AEABAB"/>
              </a:solidFill>
            </c:spPr>
            <c:extLst>
              <c:ext xmlns:c16="http://schemas.microsoft.com/office/drawing/2014/chart" uri="{C3380CC4-5D6E-409C-BE32-E72D297353CC}">
                <c16:uniqueId val="{00000A1F-A7CE-4049-B88B-35FCDA646473}"/>
              </c:ext>
            </c:extLst>
          </c:dPt>
          <c:dPt>
            <c:idx val="1295"/>
            <c:invertIfNegative val="1"/>
            <c:bubble3D val="0"/>
            <c:spPr>
              <a:solidFill>
                <a:srgbClr val="AEABAB"/>
              </a:solidFill>
            </c:spPr>
            <c:extLst>
              <c:ext xmlns:c16="http://schemas.microsoft.com/office/drawing/2014/chart" uri="{C3380CC4-5D6E-409C-BE32-E72D297353CC}">
                <c16:uniqueId val="{00000A21-A7CE-4049-B88B-35FCDA646473}"/>
              </c:ext>
            </c:extLst>
          </c:dPt>
          <c:dPt>
            <c:idx val="1296"/>
            <c:invertIfNegative val="1"/>
            <c:bubble3D val="0"/>
            <c:spPr>
              <a:solidFill>
                <a:srgbClr val="AEABAB"/>
              </a:solidFill>
            </c:spPr>
            <c:extLst>
              <c:ext xmlns:c16="http://schemas.microsoft.com/office/drawing/2014/chart" uri="{C3380CC4-5D6E-409C-BE32-E72D297353CC}">
                <c16:uniqueId val="{00000A23-A7CE-4049-B88B-35FCDA646473}"/>
              </c:ext>
            </c:extLst>
          </c:dPt>
          <c:dPt>
            <c:idx val="1297"/>
            <c:invertIfNegative val="1"/>
            <c:bubble3D val="0"/>
            <c:spPr>
              <a:solidFill>
                <a:srgbClr val="AEABAB"/>
              </a:solidFill>
            </c:spPr>
            <c:extLst>
              <c:ext xmlns:c16="http://schemas.microsoft.com/office/drawing/2014/chart" uri="{C3380CC4-5D6E-409C-BE32-E72D297353CC}">
                <c16:uniqueId val="{00000A25-A7CE-4049-B88B-35FCDA646473}"/>
              </c:ext>
            </c:extLst>
          </c:dPt>
          <c:dPt>
            <c:idx val="1298"/>
            <c:invertIfNegative val="1"/>
            <c:bubble3D val="0"/>
            <c:spPr>
              <a:solidFill>
                <a:srgbClr val="AEABAB"/>
              </a:solidFill>
            </c:spPr>
            <c:extLst>
              <c:ext xmlns:c16="http://schemas.microsoft.com/office/drawing/2014/chart" uri="{C3380CC4-5D6E-409C-BE32-E72D297353CC}">
                <c16:uniqueId val="{00000A27-A7CE-4049-B88B-35FCDA646473}"/>
              </c:ext>
            </c:extLst>
          </c:dPt>
          <c:dPt>
            <c:idx val="1299"/>
            <c:invertIfNegative val="1"/>
            <c:bubble3D val="0"/>
            <c:spPr>
              <a:solidFill>
                <a:srgbClr val="AEABAB"/>
              </a:solidFill>
            </c:spPr>
            <c:extLst>
              <c:ext xmlns:c16="http://schemas.microsoft.com/office/drawing/2014/chart" uri="{C3380CC4-5D6E-409C-BE32-E72D297353CC}">
                <c16:uniqueId val="{00000A29-A7CE-4049-B88B-35FCDA646473}"/>
              </c:ext>
            </c:extLst>
          </c:dPt>
          <c:dPt>
            <c:idx val="1300"/>
            <c:invertIfNegative val="1"/>
            <c:bubble3D val="0"/>
            <c:spPr>
              <a:solidFill>
                <a:srgbClr val="AEABAB"/>
              </a:solidFill>
            </c:spPr>
            <c:extLst>
              <c:ext xmlns:c16="http://schemas.microsoft.com/office/drawing/2014/chart" uri="{C3380CC4-5D6E-409C-BE32-E72D297353CC}">
                <c16:uniqueId val="{00000A2B-A7CE-4049-B88B-35FCDA646473}"/>
              </c:ext>
            </c:extLst>
          </c:dPt>
          <c:dPt>
            <c:idx val="1301"/>
            <c:invertIfNegative val="1"/>
            <c:bubble3D val="0"/>
            <c:spPr>
              <a:solidFill>
                <a:srgbClr val="AEABAB"/>
              </a:solidFill>
            </c:spPr>
            <c:extLst>
              <c:ext xmlns:c16="http://schemas.microsoft.com/office/drawing/2014/chart" uri="{C3380CC4-5D6E-409C-BE32-E72D297353CC}">
                <c16:uniqueId val="{00000A2D-A7CE-4049-B88B-35FCDA646473}"/>
              </c:ext>
            </c:extLst>
          </c:dPt>
          <c:dPt>
            <c:idx val="1302"/>
            <c:invertIfNegative val="1"/>
            <c:bubble3D val="0"/>
            <c:spPr>
              <a:solidFill>
                <a:srgbClr val="AEABAB"/>
              </a:solidFill>
            </c:spPr>
            <c:extLst>
              <c:ext xmlns:c16="http://schemas.microsoft.com/office/drawing/2014/chart" uri="{C3380CC4-5D6E-409C-BE32-E72D297353CC}">
                <c16:uniqueId val="{00000A2F-A7CE-4049-B88B-35FCDA646473}"/>
              </c:ext>
            </c:extLst>
          </c:dPt>
          <c:dPt>
            <c:idx val="1303"/>
            <c:invertIfNegative val="1"/>
            <c:bubble3D val="0"/>
            <c:spPr>
              <a:solidFill>
                <a:srgbClr val="AEABAB"/>
              </a:solidFill>
            </c:spPr>
            <c:extLst>
              <c:ext xmlns:c16="http://schemas.microsoft.com/office/drawing/2014/chart" uri="{C3380CC4-5D6E-409C-BE32-E72D297353CC}">
                <c16:uniqueId val="{00000A31-A7CE-4049-B88B-35FCDA646473}"/>
              </c:ext>
            </c:extLst>
          </c:dPt>
          <c:dPt>
            <c:idx val="1304"/>
            <c:invertIfNegative val="1"/>
            <c:bubble3D val="0"/>
            <c:spPr>
              <a:solidFill>
                <a:srgbClr val="AEABAB"/>
              </a:solidFill>
            </c:spPr>
            <c:extLst>
              <c:ext xmlns:c16="http://schemas.microsoft.com/office/drawing/2014/chart" uri="{C3380CC4-5D6E-409C-BE32-E72D297353CC}">
                <c16:uniqueId val="{00000A33-A7CE-4049-B88B-35FCDA646473}"/>
              </c:ext>
            </c:extLst>
          </c:dPt>
          <c:dPt>
            <c:idx val="1305"/>
            <c:invertIfNegative val="1"/>
            <c:bubble3D val="0"/>
            <c:spPr>
              <a:solidFill>
                <a:srgbClr val="AEABAB"/>
              </a:solidFill>
            </c:spPr>
            <c:extLst>
              <c:ext xmlns:c16="http://schemas.microsoft.com/office/drawing/2014/chart" uri="{C3380CC4-5D6E-409C-BE32-E72D297353CC}">
                <c16:uniqueId val="{00000A35-A7CE-4049-B88B-35FCDA646473}"/>
              </c:ext>
            </c:extLst>
          </c:dPt>
          <c:dPt>
            <c:idx val="1306"/>
            <c:invertIfNegative val="1"/>
            <c:bubble3D val="0"/>
            <c:spPr>
              <a:solidFill>
                <a:srgbClr val="AEABAB"/>
              </a:solidFill>
            </c:spPr>
            <c:extLst>
              <c:ext xmlns:c16="http://schemas.microsoft.com/office/drawing/2014/chart" uri="{C3380CC4-5D6E-409C-BE32-E72D297353CC}">
                <c16:uniqueId val="{00000A37-A7CE-4049-B88B-35FCDA646473}"/>
              </c:ext>
            </c:extLst>
          </c:dPt>
          <c:dPt>
            <c:idx val="1307"/>
            <c:invertIfNegative val="1"/>
            <c:bubble3D val="0"/>
            <c:spPr>
              <a:solidFill>
                <a:srgbClr val="AEABAB"/>
              </a:solidFill>
            </c:spPr>
            <c:extLst>
              <c:ext xmlns:c16="http://schemas.microsoft.com/office/drawing/2014/chart" uri="{C3380CC4-5D6E-409C-BE32-E72D297353CC}">
                <c16:uniqueId val="{00000A39-A7CE-4049-B88B-35FCDA646473}"/>
              </c:ext>
            </c:extLst>
          </c:dPt>
          <c:dPt>
            <c:idx val="1308"/>
            <c:invertIfNegative val="1"/>
            <c:bubble3D val="0"/>
            <c:spPr>
              <a:solidFill>
                <a:srgbClr val="AEABAB"/>
              </a:solidFill>
            </c:spPr>
            <c:extLst>
              <c:ext xmlns:c16="http://schemas.microsoft.com/office/drawing/2014/chart" uri="{C3380CC4-5D6E-409C-BE32-E72D297353CC}">
                <c16:uniqueId val="{00000A3B-A7CE-4049-B88B-35FCDA646473}"/>
              </c:ext>
            </c:extLst>
          </c:dPt>
          <c:dPt>
            <c:idx val="1309"/>
            <c:invertIfNegative val="1"/>
            <c:bubble3D val="0"/>
            <c:spPr>
              <a:solidFill>
                <a:srgbClr val="AEABAB"/>
              </a:solidFill>
            </c:spPr>
            <c:extLst>
              <c:ext xmlns:c16="http://schemas.microsoft.com/office/drawing/2014/chart" uri="{C3380CC4-5D6E-409C-BE32-E72D297353CC}">
                <c16:uniqueId val="{00000A3D-A7CE-4049-B88B-35FCDA646473}"/>
              </c:ext>
            </c:extLst>
          </c:dPt>
          <c:dPt>
            <c:idx val="1310"/>
            <c:invertIfNegative val="1"/>
            <c:bubble3D val="0"/>
            <c:spPr>
              <a:solidFill>
                <a:srgbClr val="AEABAB"/>
              </a:solidFill>
            </c:spPr>
            <c:extLst>
              <c:ext xmlns:c16="http://schemas.microsoft.com/office/drawing/2014/chart" uri="{C3380CC4-5D6E-409C-BE32-E72D297353CC}">
                <c16:uniqueId val="{00000A3F-A7CE-4049-B88B-35FCDA646473}"/>
              </c:ext>
            </c:extLst>
          </c:dPt>
          <c:dPt>
            <c:idx val="1311"/>
            <c:invertIfNegative val="1"/>
            <c:bubble3D val="0"/>
            <c:spPr>
              <a:solidFill>
                <a:srgbClr val="AEABAB"/>
              </a:solidFill>
            </c:spPr>
            <c:extLst>
              <c:ext xmlns:c16="http://schemas.microsoft.com/office/drawing/2014/chart" uri="{C3380CC4-5D6E-409C-BE32-E72D297353CC}">
                <c16:uniqueId val="{00000A41-A7CE-4049-B88B-35FCDA646473}"/>
              </c:ext>
            </c:extLst>
          </c:dPt>
          <c:dPt>
            <c:idx val="1312"/>
            <c:invertIfNegative val="1"/>
            <c:bubble3D val="0"/>
            <c:spPr>
              <a:solidFill>
                <a:srgbClr val="AEABAB"/>
              </a:solidFill>
            </c:spPr>
            <c:extLst>
              <c:ext xmlns:c16="http://schemas.microsoft.com/office/drawing/2014/chart" uri="{C3380CC4-5D6E-409C-BE32-E72D297353CC}">
                <c16:uniqueId val="{00000A43-A7CE-4049-B88B-35FCDA646473}"/>
              </c:ext>
            </c:extLst>
          </c:dPt>
          <c:dPt>
            <c:idx val="1313"/>
            <c:invertIfNegative val="1"/>
            <c:bubble3D val="0"/>
            <c:spPr>
              <a:solidFill>
                <a:srgbClr val="AEABAB"/>
              </a:solidFill>
            </c:spPr>
            <c:extLst>
              <c:ext xmlns:c16="http://schemas.microsoft.com/office/drawing/2014/chart" uri="{C3380CC4-5D6E-409C-BE32-E72D297353CC}">
                <c16:uniqueId val="{00000A45-A7CE-4049-B88B-35FCDA646473}"/>
              </c:ext>
            </c:extLst>
          </c:dPt>
          <c:dPt>
            <c:idx val="1314"/>
            <c:invertIfNegative val="1"/>
            <c:bubble3D val="0"/>
            <c:spPr>
              <a:solidFill>
                <a:srgbClr val="AEABAB"/>
              </a:solidFill>
            </c:spPr>
            <c:extLst>
              <c:ext xmlns:c16="http://schemas.microsoft.com/office/drawing/2014/chart" uri="{C3380CC4-5D6E-409C-BE32-E72D297353CC}">
                <c16:uniqueId val="{00000A47-A7CE-4049-B88B-35FCDA646473}"/>
              </c:ext>
            </c:extLst>
          </c:dPt>
          <c:dPt>
            <c:idx val="1315"/>
            <c:invertIfNegative val="1"/>
            <c:bubble3D val="0"/>
            <c:spPr>
              <a:solidFill>
                <a:srgbClr val="AEABAB"/>
              </a:solidFill>
            </c:spPr>
            <c:extLst>
              <c:ext xmlns:c16="http://schemas.microsoft.com/office/drawing/2014/chart" uri="{C3380CC4-5D6E-409C-BE32-E72D297353CC}">
                <c16:uniqueId val="{00000A49-A7CE-4049-B88B-35FCDA646473}"/>
              </c:ext>
            </c:extLst>
          </c:dPt>
          <c:dPt>
            <c:idx val="1316"/>
            <c:invertIfNegative val="1"/>
            <c:bubble3D val="0"/>
            <c:spPr>
              <a:solidFill>
                <a:srgbClr val="AEABAB"/>
              </a:solidFill>
            </c:spPr>
            <c:extLst>
              <c:ext xmlns:c16="http://schemas.microsoft.com/office/drawing/2014/chart" uri="{C3380CC4-5D6E-409C-BE32-E72D297353CC}">
                <c16:uniqueId val="{00000A4B-A7CE-4049-B88B-35FCDA646473}"/>
              </c:ext>
            </c:extLst>
          </c:dPt>
          <c:dPt>
            <c:idx val="1317"/>
            <c:invertIfNegative val="1"/>
            <c:bubble3D val="0"/>
            <c:spPr>
              <a:solidFill>
                <a:srgbClr val="AEABAB"/>
              </a:solidFill>
            </c:spPr>
            <c:extLst>
              <c:ext xmlns:c16="http://schemas.microsoft.com/office/drawing/2014/chart" uri="{C3380CC4-5D6E-409C-BE32-E72D297353CC}">
                <c16:uniqueId val="{00000A4D-A7CE-4049-B88B-35FCDA646473}"/>
              </c:ext>
            </c:extLst>
          </c:dPt>
          <c:dPt>
            <c:idx val="1318"/>
            <c:invertIfNegative val="1"/>
            <c:bubble3D val="0"/>
            <c:spPr>
              <a:solidFill>
                <a:srgbClr val="AEABAB"/>
              </a:solidFill>
            </c:spPr>
            <c:extLst>
              <c:ext xmlns:c16="http://schemas.microsoft.com/office/drawing/2014/chart" uri="{C3380CC4-5D6E-409C-BE32-E72D297353CC}">
                <c16:uniqueId val="{00000A4F-A7CE-4049-B88B-35FCDA646473}"/>
              </c:ext>
            </c:extLst>
          </c:dPt>
          <c:dPt>
            <c:idx val="1319"/>
            <c:invertIfNegative val="1"/>
            <c:bubble3D val="0"/>
            <c:spPr>
              <a:solidFill>
                <a:srgbClr val="AEABAB"/>
              </a:solidFill>
            </c:spPr>
            <c:extLst>
              <c:ext xmlns:c16="http://schemas.microsoft.com/office/drawing/2014/chart" uri="{C3380CC4-5D6E-409C-BE32-E72D297353CC}">
                <c16:uniqueId val="{00000A51-A7CE-4049-B88B-35FCDA646473}"/>
              </c:ext>
            </c:extLst>
          </c:dPt>
          <c:dPt>
            <c:idx val="1320"/>
            <c:invertIfNegative val="1"/>
            <c:bubble3D val="0"/>
            <c:spPr>
              <a:solidFill>
                <a:srgbClr val="AEABAB"/>
              </a:solidFill>
            </c:spPr>
            <c:extLst>
              <c:ext xmlns:c16="http://schemas.microsoft.com/office/drawing/2014/chart" uri="{C3380CC4-5D6E-409C-BE32-E72D297353CC}">
                <c16:uniqueId val="{00000A53-A7CE-4049-B88B-35FCDA646473}"/>
              </c:ext>
            </c:extLst>
          </c:dPt>
          <c:dPt>
            <c:idx val="1321"/>
            <c:invertIfNegative val="1"/>
            <c:bubble3D val="0"/>
            <c:spPr>
              <a:solidFill>
                <a:srgbClr val="AEABAB"/>
              </a:solidFill>
            </c:spPr>
            <c:extLst>
              <c:ext xmlns:c16="http://schemas.microsoft.com/office/drawing/2014/chart" uri="{C3380CC4-5D6E-409C-BE32-E72D297353CC}">
                <c16:uniqueId val="{00000A55-A7CE-4049-B88B-35FCDA646473}"/>
              </c:ext>
            </c:extLst>
          </c:dPt>
          <c:dPt>
            <c:idx val="1322"/>
            <c:invertIfNegative val="1"/>
            <c:bubble3D val="0"/>
            <c:spPr>
              <a:solidFill>
                <a:srgbClr val="AEABAB"/>
              </a:solidFill>
            </c:spPr>
            <c:extLst>
              <c:ext xmlns:c16="http://schemas.microsoft.com/office/drawing/2014/chart" uri="{C3380CC4-5D6E-409C-BE32-E72D297353CC}">
                <c16:uniqueId val="{00000A57-A7CE-4049-B88B-35FCDA646473}"/>
              </c:ext>
            </c:extLst>
          </c:dPt>
          <c:dPt>
            <c:idx val="1323"/>
            <c:invertIfNegative val="1"/>
            <c:bubble3D val="0"/>
            <c:spPr>
              <a:solidFill>
                <a:srgbClr val="AEABAB"/>
              </a:solidFill>
            </c:spPr>
            <c:extLst>
              <c:ext xmlns:c16="http://schemas.microsoft.com/office/drawing/2014/chart" uri="{C3380CC4-5D6E-409C-BE32-E72D297353CC}">
                <c16:uniqueId val="{00000A59-A7CE-4049-B88B-35FCDA646473}"/>
              </c:ext>
            </c:extLst>
          </c:dPt>
          <c:dPt>
            <c:idx val="1324"/>
            <c:invertIfNegative val="1"/>
            <c:bubble3D val="0"/>
            <c:spPr>
              <a:solidFill>
                <a:srgbClr val="AEABAB"/>
              </a:solidFill>
            </c:spPr>
            <c:extLst>
              <c:ext xmlns:c16="http://schemas.microsoft.com/office/drawing/2014/chart" uri="{C3380CC4-5D6E-409C-BE32-E72D297353CC}">
                <c16:uniqueId val="{00000A5B-A7CE-4049-B88B-35FCDA646473}"/>
              </c:ext>
            </c:extLst>
          </c:dPt>
          <c:dPt>
            <c:idx val="1325"/>
            <c:invertIfNegative val="1"/>
            <c:bubble3D val="0"/>
            <c:spPr>
              <a:solidFill>
                <a:srgbClr val="AEABAB"/>
              </a:solidFill>
            </c:spPr>
            <c:extLst>
              <c:ext xmlns:c16="http://schemas.microsoft.com/office/drawing/2014/chart" uri="{C3380CC4-5D6E-409C-BE32-E72D297353CC}">
                <c16:uniqueId val="{00000A5D-A7CE-4049-B88B-35FCDA646473}"/>
              </c:ext>
            </c:extLst>
          </c:dPt>
          <c:dPt>
            <c:idx val="1326"/>
            <c:invertIfNegative val="1"/>
            <c:bubble3D val="0"/>
            <c:spPr>
              <a:solidFill>
                <a:srgbClr val="AEABAB"/>
              </a:solidFill>
            </c:spPr>
            <c:extLst>
              <c:ext xmlns:c16="http://schemas.microsoft.com/office/drawing/2014/chart" uri="{C3380CC4-5D6E-409C-BE32-E72D297353CC}">
                <c16:uniqueId val="{00000A5F-A7CE-4049-B88B-35FCDA646473}"/>
              </c:ext>
            </c:extLst>
          </c:dPt>
          <c:dPt>
            <c:idx val="1327"/>
            <c:invertIfNegative val="1"/>
            <c:bubble3D val="0"/>
            <c:spPr>
              <a:solidFill>
                <a:srgbClr val="AEABAB"/>
              </a:solidFill>
            </c:spPr>
            <c:extLst>
              <c:ext xmlns:c16="http://schemas.microsoft.com/office/drawing/2014/chart" uri="{C3380CC4-5D6E-409C-BE32-E72D297353CC}">
                <c16:uniqueId val="{00000A61-A7CE-4049-B88B-35FCDA646473}"/>
              </c:ext>
            </c:extLst>
          </c:dPt>
          <c:dPt>
            <c:idx val="1328"/>
            <c:invertIfNegative val="1"/>
            <c:bubble3D val="0"/>
            <c:spPr>
              <a:solidFill>
                <a:srgbClr val="AEABAB"/>
              </a:solidFill>
            </c:spPr>
            <c:extLst>
              <c:ext xmlns:c16="http://schemas.microsoft.com/office/drawing/2014/chart" uri="{C3380CC4-5D6E-409C-BE32-E72D297353CC}">
                <c16:uniqueId val="{00000A63-A7CE-4049-B88B-35FCDA646473}"/>
              </c:ext>
            </c:extLst>
          </c:dPt>
          <c:dPt>
            <c:idx val="1329"/>
            <c:invertIfNegative val="1"/>
            <c:bubble3D val="0"/>
            <c:spPr>
              <a:solidFill>
                <a:srgbClr val="AEABAB"/>
              </a:solidFill>
            </c:spPr>
            <c:extLst>
              <c:ext xmlns:c16="http://schemas.microsoft.com/office/drawing/2014/chart" uri="{C3380CC4-5D6E-409C-BE32-E72D297353CC}">
                <c16:uniqueId val="{00000A65-A7CE-4049-B88B-35FCDA646473}"/>
              </c:ext>
            </c:extLst>
          </c:dPt>
          <c:dPt>
            <c:idx val="1330"/>
            <c:invertIfNegative val="1"/>
            <c:bubble3D val="0"/>
            <c:spPr>
              <a:solidFill>
                <a:srgbClr val="AEABAB"/>
              </a:solidFill>
            </c:spPr>
            <c:extLst>
              <c:ext xmlns:c16="http://schemas.microsoft.com/office/drawing/2014/chart" uri="{C3380CC4-5D6E-409C-BE32-E72D297353CC}">
                <c16:uniqueId val="{00000A67-A7CE-4049-B88B-35FCDA646473}"/>
              </c:ext>
            </c:extLst>
          </c:dPt>
          <c:dPt>
            <c:idx val="1331"/>
            <c:invertIfNegative val="1"/>
            <c:bubble3D val="0"/>
            <c:spPr>
              <a:solidFill>
                <a:srgbClr val="AEABAB"/>
              </a:solidFill>
            </c:spPr>
            <c:extLst>
              <c:ext xmlns:c16="http://schemas.microsoft.com/office/drawing/2014/chart" uri="{C3380CC4-5D6E-409C-BE32-E72D297353CC}">
                <c16:uniqueId val="{00000A69-A7CE-4049-B88B-35FCDA646473}"/>
              </c:ext>
            </c:extLst>
          </c:dPt>
          <c:dPt>
            <c:idx val="1332"/>
            <c:invertIfNegative val="1"/>
            <c:bubble3D val="0"/>
            <c:spPr>
              <a:solidFill>
                <a:srgbClr val="AEABAB"/>
              </a:solidFill>
            </c:spPr>
            <c:extLst>
              <c:ext xmlns:c16="http://schemas.microsoft.com/office/drawing/2014/chart" uri="{C3380CC4-5D6E-409C-BE32-E72D297353CC}">
                <c16:uniqueId val="{00000A6B-A7CE-4049-B88B-35FCDA646473}"/>
              </c:ext>
            </c:extLst>
          </c:dPt>
          <c:dPt>
            <c:idx val="1333"/>
            <c:invertIfNegative val="1"/>
            <c:bubble3D val="0"/>
            <c:spPr>
              <a:solidFill>
                <a:srgbClr val="AEABAB"/>
              </a:solidFill>
            </c:spPr>
            <c:extLst>
              <c:ext xmlns:c16="http://schemas.microsoft.com/office/drawing/2014/chart" uri="{C3380CC4-5D6E-409C-BE32-E72D297353CC}">
                <c16:uniqueId val="{00000A6D-A7CE-4049-B88B-35FCDA646473}"/>
              </c:ext>
            </c:extLst>
          </c:dPt>
          <c:dPt>
            <c:idx val="1334"/>
            <c:invertIfNegative val="1"/>
            <c:bubble3D val="0"/>
            <c:spPr>
              <a:solidFill>
                <a:srgbClr val="AEABAB"/>
              </a:solidFill>
            </c:spPr>
            <c:extLst>
              <c:ext xmlns:c16="http://schemas.microsoft.com/office/drawing/2014/chart" uri="{C3380CC4-5D6E-409C-BE32-E72D297353CC}">
                <c16:uniqueId val="{00000A6F-A7CE-4049-B88B-35FCDA646473}"/>
              </c:ext>
            </c:extLst>
          </c:dPt>
          <c:dPt>
            <c:idx val="1335"/>
            <c:invertIfNegative val="1"/>
            <c:bubble3D val="0"/>
            <c:spPr>
              <a:solidFill>
                <a:srgbClr val="AEABAB"/>
              </a:solidFill>
            </c:spPr>
            <c:extLst>
              <c:ext xmlns:c16="http://schemas.microsoft.com/office/drawing/2014/chart" uri="{C3380CC4-5D6E-409C-BE32-E72D297353CC}">
                <c16:uniqueId val="{00000A71-A7CE-4049-B88B-35FCDA646473}"/>
              </c:ext>
            </c:extLst>
          </c:dPt>
          <c:dPt>
            <c:idx val="1336"/>
            <c:invertIfNegative val="1"/>
            <c:bubble3D val="0"/>
            <c:spPr>
              <a:solidFill>
                <a:srgbClr val="AEABAB"/>
              </a:solidFill>
            </c:spPr>
            <c:extLst>
              <c:ext xmlns:c16="http://schemas.microsoft.com/office/drawing/2014/chart" uri="{C3380CC4-5D6E-409C-BE32-E72D297353CC}">
                <c16:uniqueId val="{00000A73-A7CE-4049-B88B-35FCDA646473}"/>
              </c:ext>
            </c:extLst>
          </c:dPt>
          <c:dPt>
            <c:idx val="1337"/>
            <c:invertIfNegative val="1"/>
            <c:bubble3D val="0"/>
            <c:spPr>
              <a:solidFill>
                <a:srgbClr val="AEABAB"/>
              </a:solidFill>
            </c:spPr>
            <c:extLst>
              <c:ext xmlns:c16="http://schemas.microsoft.com/office/drawing/2014/chart" uri="{C3380CC4-5D6E-409C-BE32-E72D297353CC}">
                <c16:uniqueId val="{00000A75-A7CE-4049-B88B-35FCDA646473}"/>
              </c:ext>
            </c:extLst>
          </c:dPt>
          <c:dPt>
            <c:idx val="1338"/>
            <c:invertIfNegative val="1"/>
            <c:bubble3D val="0"/>
            <c:spPr>
              <a:solidFill>
                <a:srgbClr val="AEABAB"/>
              </a:solidFill>
            </c:spPr>
            <c:extLst>
              <c:ext xmlns:c16="http://schemas.microsoft.com/office/drawing/2014/chart" uri="{C3380CC4-5D6E-409C-BE32-E72D297353CC}">
                <c16:uniqueId val="{00000A77-A7CE-4049-B88B-35FCDA646473}"/>
              </c:ext>
            </c:extLst>
          </c:dPt>
          <c:dPt>
            <c:idx val="1339"/>
            <c:invertIfNegative val="1"/>
            <c:bubble3D val="0"/>
            <c:spPr>
              <a:solidFill>
                <a:srgbClr val="AEABAB"/>
              </a:solidFill>
            </c:spPr>
            <c:extLst>
              <c:ext xmlns:c16="http://schemas.microsoft.com/office/drawing/2014/chart" uri="{C3380CC4-5D6E-409C-BE32-E72D297353CC}">
                <c16:uniqueId val="{00000A79-A7CE-4049-B88B-35FCDA646473}"/>
              </c:ext>
            </c:extLst>
          </c:dPt>
          <c:dPt>
            <c:idx val="1340"/>
            <c:invertIfNegative val="1"/>
            <c:bubble3D val="0"/>
            <c:spPr>
              <a:solidFill>
                <a:srgbClr val="AEABAB"/>
              </a:solidFill>
            </c:spPr>
            <c:extLst>
              <c:ext xmlns:c16="http://schemas.microsoft.com/office/drawing/2014/chart" uri="{C3380CC4-5D6E-409C-BE32-E72D297353CC}">
                <c16:uniqueId val="{00000A7B-A7CE-4049-B88B-35FCDA646473}"/>
              </c:ext>
            </c:extLst>
          </c:dPt>
          <c:dPt>
            <c:idx val="1341"/>
            <c:invertIfNegative val="1"/>
            <c:bubble3D val="0"/>
            <c:spPr>
              <a:solidFill>
                <a:srgbClr val="AEABAB"/>
              </a:solidFill>
            </c:spPr>
            <c:extLst>
              <c:ext xmlns:c16="http://schemas.microsoft.com/office/drawing/2014/chart" uri="{C3380CC4-5D6E-409C-BE32-E72D297353CC}">
                <c16:uniqueId val="{00000A7D-A7CE-4049-B88B-35FCDA646473}"/>
              </c:ext>
            </c:extLst>
          </c:dPt>
          <c:dPt>
            <c:idx val="1342"/>
            <c:invertIfNegative val="1"/>
            <c:bubble3D val="0"/>
            <c:spPr>
              <a:solidFill>
                <a:srgbClr val="AEABAB"/>
              </a:solidFill>
            </c:spPr>
            <c:extLst>
              <c:ext xmlns:c16="http://schemas.microsoft.com/office/drawing/2014/chart" uri="{C3380CC4-5D6E-409C-BE32-E72D297353CC}">
                <c16:uniqueId val="{00000A7F-A7CE-4049-B88B-35FCDA646473}"/>
              </c:ext>
            </c:extLst>
          </c:dPt>
          <c:dPt>
            <c:idx val="1343"/>
            <c:invertIfNegative val="1"/>
            <c:bubble3D val="0"/>
            <c:spPr>
              <a:solidFill>
                <a:srgbClr val="AEABAB"/>
              </a:solidFill>
            </c:spPr>
            <c:extLst>
              <c:ext xmlns:c16="http://schemas.microsoft.com/office/drawing/2014/chart" uri="{C3380CC4-5D6E-409C-BE32-E72D297353CC}">
                <c16:uniqueId val="{00000A81-A7CE-4049-B88B-35FCDA646473}"/>
              </c:ext>
            </c:extLst>
          </c:dPt>
          <c:dPt>
            <c:idx val="1344"/>
            <c:invertIfNegative val="1"/>
            <c:bubble3D val="0"/>
            <c:spPr>
              <a:solidFill>
                <a:srgbClr val="AEABAB"/>
              </a:solidFill>
            </c:spPr>
            <c:extLst>
              <c:ext xmlns:c16="http://schemas.microsoft.com/office/drawing/2014/chart" uri="{C3380CC4-5D6E-409C-BE32-E72D297353CC}">
                <c16:uniqueId val="{00000A83-A7CE-4049-B88B-35FCDA646473}"/>
              </c:ext>
            </c:extLst>
          </c:dPt>
          <c:dPt>
            <c:idx val="1345"/>
            <c:invertIfNegative val="1"/>
            <c:bubble3D val="0"/>
            <c:spPr>
              <a:solidFill>
                <a:srgbClr val="AEABAB"/>
              </a:solidFill>
            </c:spPr>
            <c:extLst>
              <c:ext xmlns:c16="http://schemas.microsoft.com/office/drawing/2014/chart" uri="{C3380CC4-5D6E-409C-BE32-E72D297353CC}">
                <c16:uniqueId val="{00000A85-A7CE-4049-B88B-35FCDA646473}"/>
              </c:ext>
            </c:extLst>
          </c:dPt>
          <c:dPt>
            <c:idx val="1346"/>
            <c:invertIfNegative val="1"/>
            <c:bubble3D val="0"/>
            <c:spPr>
              <a:solidFill>
                <a:srgbClr val="AEABAB"/>
              </a:solidFill>
            </c:spPr>
            <c:extLst>
              <c:ext xmlns:c16="http://schemas.microsoft.com/office/drawing/2014/chart" uri="{C3380CC4-5D6E-409C-BE32-E72D297353CC}">
                <c16:uniqueId val="{00000A87-A7CE-4049-B88B-35FCDA646473}"/>
              </c:ext>
            </c:extLst>
          </c:dPt>
          <c:dPt>
            <c:idx val="1347"/>
            <c:invertIfNegative val="1"/>
            <c:bubble3D val="0"/>
            <c:spPr>
              <a:solidFill>
                <a:srgbClr val="AEABAB"/>
              </a:solidFill>
            </c:spPr>
            <c:extLst>
              <c:ext xmlns:c16="http://schemas.microsoft.com/office/drawing/2014/chart" uri="{C3380CC4-5D6E-409C-BE32-E72D297353CC}">
                <c16:uniqueId val="{00000A89-A7CE-4049-B88B-35FCDA646473}"/>
              </c:ext>
            </c:extLst>
          </c:dPt>
          <c:dPt>
            <c:idx val="1348"/>
            <c:invertIfNegative val="1"/>
            <c:bubble3D val="0"/>
            <c:spPr>
              <a:solidFill>
                <a:srgbClr val="AEABAB"/>
              </a:solidFill>
            </c:spPr>
            <c:extLst>
              <c:ext xmlns:c16="http://schemas.microsoft.com/office/drawing/2014/chart" uri="{C3380CC4-5D6E-409C-BE32-E72D297353CC}">
                <c16:uniqueId val="{00000A8B-A7CE-4049-B88B-35FCDA646473}"/>
              </c:ext>
            </c:extLst>
          </c:dPt>
          <c:dPt>
            <c:idx val="1349"/>
            <c:invertIfNegative val="1"/>
            <c:bubble3D val="0"/>
            <c:spPr>
              <a:solidFill>
                <a:srgbClr val="AEABAB"/>
              </a:solidFill>
            </c:spPr>
            <c:extLst>
              <c:ext xmlns:c16="http://schemas.microsoft.com/office/drawing/2014/chart" uri="{C3380CC4-5D6E-409C-BE32-E72D297353CC}">
                <c16:uniqueId val="{00000A8D-A7CE-4049-B88B-35FCDA646473}"/>
              </c:ext>
            </c:extLst>
          </c:dPt>
          <c:dPt>
            <c:idx val="1350"/>
            <c:invertIfNegative val="1"/>
            <c:bubble3D val="0"/>
            <c:spPr>
              <a:solidFill>
                <a:srgbClr val="AEABAB"/>
              </a:solidFill>
            </c:spPr>
            <c:extLst>
              <c:ext xmlns:c16="http://schemas.microsoft.com/office/drawing/2014/chart" uri="{C3380CC4-5D6E-409C-BE32-E72D297353CC}">
                <c16:uniqueId val="{00000A8F-A7CE-4049-B88B-35FCDA646473}"/>
              </c:ext>
            </c:extLst>
          </c:dPt>
          <c:dPt>
            <c:idx val="1351"/>
            <c:invertIfNegative val="1"/>
            <c:bubble3D val="0"/>
            <c:spPr>
              <a:solidFill>
                <a:srgbClr val="AEABAB"/>
              </a:solidFill>
            </c:spPr>
            <c:extLst>
              <c:ext xmlns:c16="http://schemas.microsoft.com/office/drawing/2014/chart" uri="{C3380CC4-5D6E-409C-BE32-E72D297353CC}">
                <c16:uniqueId val="{00000A91-A7CE-4049-B88B-35FCDA646473}"/>
              </c:ext>
            </c:extLst>
          </c:dPt>
          <c:dPt>
            <c:idx val="1352"/>
            <c:invertIfNegative val="1"/>
            <c:bubble3D val="0"/>
            <c:spPr>
              <a:solidFill>
                <a:srgbClr val="AEABAB"/>
              </a:solidFill>
            </c:spPr>
            <c:extLst>
              <c:ext xmlns:c16="http://schemas.microsoft.com/office/drawing/2014/chart" uri="{C3380CC4-5D6E-409C-BE32-E72D297353CC}">
                <c16:uniqueId val="{00000A93-A7CE-4049-B88B-35FCDA646473}"/>
              </c:ext>
            </c:extLst>
          </c:dPt>
          <c:dPt>
            <c:idx val="1353"/>
            <c:invertIfNegative val="1"/>
            <c:bubble3D val="0"/>
            <c:spPr>
              <a:solidFill>
                <a:srgbClr val="AEABAB"/>
              </a:solidFill>
            </c:spPr>
            <c:extLst>
              <c:ext xmlns:c16="http://schemas.microsoft.com/office/drawing/2014/chart" uri="{C3380CC4-5D6E-409C-BE32-E72D297353CC}">
                <c16:uniqueId val="{00000A95-A7CE-4049-B88B-35FCDA646473}"/>
              </c:ext>
            </c:extLst>
          </c:dPt>
          <c:dPt>
            <c:idx val="1354"/>
            <c:invertIfNegative val="1"/>
            <c:bubble3D val="0"/>
            <c:spPr>
              <a:solidFill>
                <a:srgbClr val="AEABAB"/>
              </a:solidFill>
            </c:spPr>
            <c:extLst>
              <c:ext xmlns:c16="http://schemas.microsoft.com/office/drawing/2014/chart" uri="{C3380CC4-5D6E-409C-BE32-E72D297353CC}">
                <c16:uniqueId val="{00000A97-A7CE-4049-B88B-35FCDA646473}"/>
              </c:ext>
            </c:extLst>
          </c:dPt>
          <c:dPt>
            <c:idx val="1355"/>
            <c:invertIfNegative val="1"/>
            <c:bubble3D val="0"/>
            <c:spPr>
              <a:solidFill>
                <a:srgbClr val="AEABAB"/>
              </a:solidFill>
            </c:spPr>
            <c:extLst>
              <c:ext xmlns:c16="http://schemas.microsoft.com/office/drawing/2014/chart" uri="{C3380CC4-5D6E-409C-BE32-E72D297353CC}">
                <c16:uniqueId val="{00000A99-A7CE-4049-B88B-35FCDA646473}"/>
              </c:ext>
            </c:extLst>
          </c:dPt>
          <c:dPt>
            <c:idx val="1356"/>
            <c:invertIfNegative val="1"/>
            <c:bubble3D val="0"/>
            <c:spPr>
              <a:solidFill>
                <a:srgbClr val="AEABAB"/>
              </a:solidFill>
            </c:spPr>
            <c:extLst>
              <c:ext xmlns:c16="http://schemas.microsoft.com/office/drawing/2014/chart" uri="{C3380CC4-5D6E-409C-BE32-E72D297353CC}">
                <c16:uniqueId val="{00000A9B-A7CE-4049-B88B-35FCDA646473}"/>
              </c:ext>
            </c:extLst>
          </c:dPt>
          <c:dPt>
            <c:idx val="1357"/>
            <c:invertIfNegative val="1"/>
            <c:bubble3D val="0"/>
            <c:spPr>
              <a:solidFill>
                <a:srgbClr val="AEABAB"/>
              </a:solidFill>
            </c:spPr>
            <c:extLst>
              <c:ext xmlns:c16="http://schemas.microsoft.com/office/drawing/2014/chart" uri="{C3380CC4-5D6E-409C-BE32-E72D297353CC}">
                <c16:uniqueId val="{00000A9D-A7CE-4049-B88B-35FCDA646473}"/>
              </c:ext>
            </c:extLst>
          </c:dPt>
          <c:dPt>
            <c:idx val="1358"/>
            <c:invertIfNegative val="1"/>
            <c:bubble3D val="0"/>
            <c:spPr>
              <a:solidFill>
                <a:srgbClr val="AEABAB"/>
              </a:solidFill>
            </c:spPr>
            <c:extLst>
              <c:ext xmlns:c16="http://schemas.microsoft.com/office/drawing/2014/chart" uri="{C3380CC4-5D6E-409C-BE32-E72D297353CC}">
                <c16:uniqueId val="{00000A9F-A7CE-4049-B88B-35FCDA646473}"/>
              </c:ext>
            </c:extLst>
          </c:dPt>
          <c:dPt>
            <c:idx val="1359"/>
            <c:invertIfNegative val="1"/>
            <c:bubble3D val="0"/>
            <c:spPr>
              <a:solidFill>
                <a:srgbClr val="AEABAB"/>
              </a:solidFill>
            </c:spPr>
            <c:extLst>
              <c:ext xmlns:c16="http://schemas.microsoft.com/office/drawing/2014/chart" uri="{C3380CC4-5D6E-409C-BE32-E72D297353CC}">
                <c16:uniqueId val="{00000AA1-A7CE-4049-B88B-35FCDA646473}"/>
              </c:ext>
            </c:extLst>
          </c:dPt>
          <c:dPt>
            <c:idx val="1360"/>
            <c:invertIfNegative val="1"/>
            <c:bubble3D val="0"/>
            <c:spPr>
              <a:solidFill>
                <a:srgbClr val="AEABAB"/>
              </a:solidFill>
            </c:spPr>
            <c:extLst>
              <c:ext xmlns:c16="http://schemas.microsoft.com/office/drawing/2014/chart" uri="{C3380CC4-5D6E-409C-BE32-E72D297353CC}">
                <c16:uniqueId val="{00000AA3-A7CE-4049-B88B-35FCDA646473}"/>
              </c:ext>
            </c:extLst>
          </c:dPt>
          <c:dPt>
            <c:idx val="1361"/>
            <c:invertIfNegative val="1"/>
            <c:bubble3D val="0"/>
            <c:spPr>
              <a:solidFill>
                <a:srgbClr val="AEABAB"/>
              </a:solidFill>
            </c:spPr>
            <c:extLst>
              <c:ext xmlns:c16="http://schemas.microsoft.com/office/drawing/2014/chart" uri="{C3380CC4-5D6E-409C-BE32-E72D297353CC}">
                <c16:uniqueId val="{00000AA5-A7CE-4049-B88B-35FCDA646473}"/>
              </c:ext>
            </c:extLst>
          </c:dPt>
          <c:dPt>
            <c:idx val="1362"/>
            <c:invertIfNegative val="1"/>
            <c:bubble3D val="0"/>
            <c:spPr>
              <a:solidFill>
                <a:srgbClr val="AEABAB"/>
              </a:solidFill>
            </c:spPr>
            <c:extLst>
              <c:ext xmlns:c16="http://schemas.microsoft.com/office/drawing/2014/chart" uri="{C3380CC4-5D6E-409C-BE32-E72D297353CC}">
                <c16:uniqueId val="{00000AA7-A7CE-4049-B88B-35FCDA646473}"/>
              </c:ext>
            </c:extLst>
          </c:dPt>
          <c:dPt>
            <c:idx val="1363"/>
            <c:invertIfNegative val="1"/>
            <c:bubble3D val="0"/>
            <c:spPr>
              <a:solidFill>
                <a:srgbClr val="AEABAB"/>
              </a:solidFill>
            </c:spPr>
            <c:extLst>
              <c:ext xmlns:c16="http://schemas.microsoft.com/office/drawing/2014/chart" uri="{C3380CC4-5D6E-409C-BE32-E72D297353CC}">
                <c16:uniqueId val="{00000AA9-A7CE-4049-B88B-35FCDA646473}"/>
              </c:ext>
            </c:extLst>
          </c:dPt>
          <c:dPt>
            <c:idx val="1364"/>
            <c:invertIfNegative val="1"/>
            <c:bubble3D val="0"/>
            <c:spPr>
              <a:solidFill>
                <a:srgbClr val="AEABAB"/>
              </a:solidFill>
            </c:spPr>
            <c:extLst>
              <c:ext xmlns:c16="http://schemas.microsoft.com/office/drawing/2014/chart" uri="{C3380CC4-5D6E-409C-BE32-E72D297353CC}">
                <c16:uniqueId val="{00000AAB-A7CE-4049-B88B-35FCDA646473}"/>
              </c:ext>
            </c:extLst>
          </c:dPt>
          <c:dPt>
            <c:idx val="1365"/>
            <c:invertIfNegative val="1"/>
            <c:bubble3D val="0"/>
            <c:spPr>
              <a:solidFill>
                <a:srgbClr val="AEABAB"/>
              </a:solidFill>
            </c:spPr>
            <c:extLst>
              <c:ext xmlns:c16="http://schemas.microsoft.com/office/drawing/2014/chart" uri="{C3380CC4-5D6E-409C-BE32-E72D297353CC}">
                <c16:uniqueId val="{00000AAD-A7CE-4049-B88B-35FCDA646473}"/>
              </c:ext>
            </c:extLst>
          </c:dPt>
          <c:dPt>
            <c:idx val="1366"/>
            <c:invertIfNegative val="1"/>
            <c:bubble3D val="0"/>
            <c:spPr>
              <a:solidFill>
                <a:srgbClr val="AEABAB"/>
              </a:solidFill>
            </c:spPr>
            <c:extLst>
              <c:ext xmlns:c16="http://schemas.microsoft.com/office/drawing/2014/chart" uri="{C3380CC4-5D6E-409C-BE32-E72D297353CC}">
                <c16:uniqueId val="{00000AAF-A7CE-4049-B88B-35FCDA646473}"/>
              </c:ext>
            </c:extLst>
          </c:dPt>
          <c:dPt>
            <c:idx val="1367"/>
            <c:invertIfNegative val="1"/>
            <c:bubble3D val="0"/>
            <c:spPr>
              <a:solidFill>
                <a:srgbClr val="AEABAB"/>
              </a:solidFill>
            </c:spPr>
            <c:extLst>
              <c:ext xmlns:c16="http://schemas.microsoft.com/office/drawing/2014/chart" uri="{C3380CC4-5D6E-409C-BE32-E72D297353CC}">
                <c16:uniqueId val="{00000AB1-A7CE-4049-B88B-35FCDA646473}"/>
              </c:ext>
            </c:extLst>
          </c:dPt>
          <c:dPt>
            <c:idx val="1368"/>
            <c:invertIfNegative val="1"/>
            <c:bubble3D val="0"/>
            <c:spPr>
              <a:solidFill>
                <a:srgbClr val="AEABAB"/>
              </a:solidFill>
            </c:spPr>
            <c:extLst>
              <c:ext xmlns:c16="http://schemas.microsoft.com/office/drawing/2014/chart" uri="{C3380CC4-5D6E-409C-BE32-E72D297353CC}">
                <c16:uniqueId val="{00000AB3-A7CE-4049-B88B-35FCDA646473}"/>
              </c:ext>
            </c:extLst>
          </c:dPt>
          <c:dPt>
            <c:idx val="1369"/>
            <c:invertIfNegative val="1"/>
            <c:bubble3D val="0"/>
            <c:spPr>
              <a:solidFill>
                <a:srgbClr val="AEABAB"/>
              </a:solidFill>
            </c:spPr>
            <c:extLst>
              <c:ext xmlns:c16="http://schemas.microsoft.com/office/drawing/2014/chart" uri="{C3380CC4-5D6E-409C-BE32-E72D297353CC}">
                <c16:uniqueId val="{00000AB5-A7CE-4049-B88B-35FCDA646473}"/>
              </c:ext>
            </c:extLst>
          </c:dPt>
          <c:dPt>
            <c:idx val="1370"/>
            <c:invertIfNegative val="1"/>
            <c:bubble3D val="0"/>
            <c:spPr>
              <a:solidFill>
                <a:srgbClr val="AEABAB"/>
              </a:solidFill>
            </c:spPr>
            <c:extLst>
              <c:ext xmlns:c16="http://schemas.microsoft.com/office/drawing/2014/chart" uri="{C3380CC4-5D6E-409C-BE32-E72D297353CC}">
                <c16:uniqueId val="{00000AB7-A7CE-4049-B88B-35FCDA646473}"/>
              </c:ext>
            </c:extLst>
          </c:dPt>
          <c:dPt>
            <c:idx val="1371"/>
            <c:invertIfNegative val="1"/>
            <c:bubble3D val="0"/>
            <c:spPr>
              <a:solidFill>
                <a:srgbClr val="AEABAB"/>
              </a:solidFill>
            </c:spPr>
            <c:extLst>
              <c:ext xmlns:c16="http://schemas.microsoft.com/office/drawing/2014/chart" uri="{C3380CC4-5D6E-409C-BE32-E72D297353CC}">
                <c16:uniqueId val="{00000AB9-A7CE-4049-B88B-35FCDA646473}"/>
              </c:ext>
            </c:extLst>
          </c:dPt>
          <c:dPt>
            <c:idx val="1372"/>
            <c:invertIfNegative val="1"/>
            <c:bubble3D val="0"/>
            <c:spPr>
              <a:solidFill>
                <a:srgbClr val="AEABAB"/>
              </a:solidFill>
            </c:spPr>
            <c:extLst>
              <c:ext xmlns:c16="http://schemas.microsoft.com/office/drawing/2014/chart" uri="{C3380CC4-5D6E-409C-BE32-E72D297353CC}">
                <c16:uniqueId val="{00000ABB-A7CE-4049-B88B-35FCDA646473}"/>
              </c:ext>
            </c:extLst>
          </c:dPt>
          <c:dPt>
            <c:idx val="1373"/>
            <c:invertIfNegative val="1"/>
            <c:bubble3D val="0"/>
            <c:spPr>
              <a:solidFill>
                <a:srgbClr val="AEABAB"/>
              </a:solidFill>
            </c:spPr>
            <c:extLst>
              <c:ext xmlns:c16="http://schemas.microsoft.com/office/drawing/2014/chart" uri="{C3380CC4-5D6E-409C-BE32-E72D297353CC}">
                <c16:uniqueId val="{00000ABD-A7CE-4049-B88B-35FCDA646473}"/>
              </c:ext>
            </c:extLst>
          </c:dPt>
          <c:dPt>
            <c:idx val="1374"/>
            <c:invertIfNegative val="1"/>
            <c:bubble3D val="0"/>
            <c:spPr>
              <a:solidFill>
                <a:srgbClr val="AEABAB"/>
              </a:solidFill>
            </c:spPr>
            <c:extLst>
              <c:ext xmlns:c16="http://schemas.microsoft.com/office/drawing/2014/chart" uri="{C3380CC4-5D6E-409C-BE32-E72D297353CC}">
                <c16:uniqueId val="{00000ABF-A7CE-4049-B88B-35FCDA646473}"/>
              </c:ext>
            </c:extLst>
          </c:dPt>
          <c:dPt>
            <c:idx val="1375"/>
            <c:invertIfNegative val="1"/>
            <c:bubble3D val="0"/>
            <c:spPr>
              <a:solidFill>
                <a:srgbClr val="AEABAB"/>
              </a:solidFill>
            </c:spPr>
            <c:extLst>
              <c:ext xmlns:c16="http://schemas.microsoft.com/office/drawing/2014/chart" uri="{C3380CC4-5D6E-409C-BE32-E72D297353CC}">
                <c16:uniqueId val="{00000AC1-A7CE-4049-B88B-35FCDA646473}"/>
              </c:ext>
            </c:extLst>
          </c:dPt>
          <c:dPt>
            <c:idx val="1376"/>
            <c:invertIfNegative val="1"/>
            <c:bubble3D val="0"/>
            <c:spPr>
              <a:solidFill>
                <a:srgbClr val="AEABAB"/>
              </a:solidFill>
            </c:spPr>
            <c:extLst>
              <c:ext xmlns:c16="http://schemas.microsoft.com/office/drawing/2014/chart" uri="{C3380CC4-5D6E-409C-BE32-E72D297353CC}">
                <c16:uniqueId val="{00000AC3-A7CE-4049-B88B-35FCDA646473}"/>
              </c:ext>
            </c:extLst>
          </c:dPt>
          <c:dPt>
            <c:idx val="1377"/>
            <c:invertIfNegative val="1"/>
            <c:bubble3D val="0"/>
            <c:spPr>
              <a:solidFill>
                <a:srgbClr val="AEABAB"/>
              </a:solidFill>
            </c:spPr>
            <c:extLst>
              <c:ext xmlns:c16="http://schemas.microsoft.com/office/drawing/2014/chart" uri="{C3380CC4-5D6E-409C-BE32-E72D297353CC}">
                <c16:uniqueId val="{00000AC5-A7CE-4049-B88B-35FCDA646473}"/>
              </c:ext>
            </c:extLst>
          </c:dPt>
          <c:dPt>
            <c:idx val="1378"/>
            <c:invertIfNegative val="1"/>
            <c:bubble3D val="0"/>
            <c:spPr>
              <a:solidFill>
                <a:srgbClr val="AEABAB"/>
              </a:solidFill>
            </c:spPr>
            <c:extLst>
              <c:ext xmlns:c16="http://schemas.microsoft.com/office/drawing/2014/chart" uri="{C3380CC4-5D6E-409C-BE32-E72D297353CC}">
                <c16:uniqueId val="{00000AC7-A7CE-4049-B88B-35FCDA646473}"/>
              </c:ext>
            </c:extLst>
          </c:dPt>
          <c:dPt>
            <c:idx val="1379"/>
            <c:invertIfNegative val="1"/>
            <c:bubble3D val="0"/>
            <c:spPr>
              <a:solidFill>
                <a:srgbClr val="AEABAB"/>
              </a:solidFill>
            </c:spPr>
            <c:extLst>
              <c:ext xmlns:c16="http://schemas.microsoft.com/office/drawing/2014/chart" uri="{C3380CC4-5D6E-409C-BE32-E72D297353CC}">
                <c16:uniqueId val="{00000AC9-A7CE-4049-B88B-35FCDA646473}"/>
              </c:ext>
            </c:extLst>
          </c:dPt>
          <c:dPt>
            <c:idx val="1380"/>
            <c:invertIfNegative val="1"/>
            <c:bubble3D val="0"/>
            <c:spPr>
              <a:solidFill>
                <a:srgbClr val="AEABAB"/>
              </a:solidFill>
            </c:spPr>
            <c:extLst>
              <c:ext xmlns:c16="http://schemas.microsoft.com/office/drawing/2014/chart" uri="{C3380CC4-5D6E-409C-BE32-E72D297353CC}">
                <c16:uniqueId val="{00000ACB-A7CE-4049-B88B-35FCDA646473}"/>
              </c:ext>
            </c:extLst>
          </c:dPt>
          <c:dPt>
            <c:idx val="1381"/>
            <c:invertIfNegative val="1"/>
            <c:bubble3D val="0"/>
            <c:spPr>
              <a:solidFill>
                <a:srgbClr val="AEABAB"/>
              </a:solidFill>
            </c:spPr>
            <c:extLst>
              <c:ext xmlns:c16="http://schemas.microsoft.com/office/drawing/2014/chart" uri="{C3380CC4-5D6E-409C-BE32-E72D297353CC}">
                <c16:uniqueId val="{00000ACD-A7CE-4049-B88B-35FCDA646473}"/>
              </c:ext>
            </c:extLst>
          </c:dPt>
          <c:dPt>
            <c:idx val="1382"/>
            <c:invertIfNegative val="1"/>
            <c:bubble3D val="0"/>
            <c:spPr>
              <a:solidFill>
                <a:srgbClr val="AEABAB"/>
              </a:solidFill>
            </c:spPr>
            <c:extLst>
              <c:ext xmlns:c16="http://schemas.microsoft.com/office/drawing/2014/chart" uri="{C3380CC4-5D6E-409C-BE32-E72D297353CC}">
                <c16:uniqueId val="{00000ACF-A7CE-4049-B88B-35FCDA646473}"/>
              </c:ext>
            </c:extLst>
          </c:dPt>
          <c:dPt>
            <c:idx val="1383"/>
            <c:invertIfNegative val="1"/>
            <c:bubble3D val="0"/>
            <c:spPr>
              <a:solidFill>
                <a:srgbClr val="AEABAB"/>
              </a:solidFill>
            </c:spPr>
            <c:extLst>
              <c:ext xmlns:c16="http://schemas.microsoft.com/office/drawing/2014/chart" uri="{C3380CC4-5D6E-409C-BE32-E72D297353CC}">
                <c16:uniqueId val="{00000AD1-A7CE-4049-B88B-35FCDA646473}"/>
              </c:ext>
            </c:extLst>
          </c:dPt>
          <c:dPt>
            <c:idx val="1384"/>
            <c:invertIfNegative val="1"/>
            <c:bubble3D val="0"/>
            <c:spPr>
              <a:solidFill>
                <a:srgbClr val="AEABAB"/>
              </a:solidFill>
            </c:spPr>
            <c:extLst>
              <c:ext xmlns:c16="http://schemas.microsoft.com/office/drawing/2014/chart" uri="{C3380CC4-5D6E-409C-BE32-E72D297353CC}">
                <c16:uniqueId val="{00000AD3-A7CE-4049-B88B-35FCDA646473}"/>
              </c:ext>
            </c:extLst>
          </c:dPt>
          <c:dPt>
            <c:idx val="1385"/>
            <c:invertIfNegative val="1"/>
            <c:bubble3D val="0"/>
            <c:spPr>
              <a:solidFill>
                <a:srgbClr val="AEABAB"/>
              </a:solidFill>
            </c:spPr>
            <c:extLst>
              <c:ext xmlns:c16="http://schemas.microsoft.com/office/drawing/2014/chart" uri="{C3380CC4-5D6E-409C-BE32-E72D297353CC}">
                <c16:uniqueId val="{00000AD5-A7CE-4049-B88B-35FCDA646473}"/>
              </c:ext>
            </c:extLst>
          </c:dPt>
          <c:dPt>
            <c:idx val="1386"/>
            <c:invertIfNegative val="1"/>
            <c:bubble3D val="0"/>
            <c:spPr>
              <a:solidFill>
                <a:srgbClr val="AEABAB"/>
              </a:solidFill>
            </c:spPr>
            <c:extLst>
              <c:ext xmlns:c16="http://schemas.microsoft.com/office/drawing/2014/chart" uri="{C3380CC4-5D6E-409C-BE32-E72D297353CC}">
                <c16:uniqueId val="{00000AD7-A7CE-4049-B88B-35FCDA646473}"/>
              </c:ext>
            </c:extLst>
          </c:dPt>
          <c:dPt>
            <c:idx val="1387"/>
            <c:invertIfNegative val="1"/>
            <c:bubble3D val="0"/>
            <c:spPr>
              <a:solidFill>
                <a:srgbClr val="AEABAB"/>
              </a:solidFill>
            </c:spPr>
            <c:extLst>
              <c:ext xmlns:c16="http://schemas.microsoft.com/office/drawing/2014/chart" uri="{C3380CC4-5D6E-409C-BE32-E72D297353CC}">
                <c16:uniqueId val="{00000AD9-A7CE-4049-B88B-35FCDA646473}"/>
              </c:ext>
            </c:extLst>
          </c:dPt>
          <c:dPt>
            <c:idx val="1388"/>
            <c:invertIfNegative val="1"/>
            <c:bubble3D val="0"/>
            <c:spPr>
              <a:solidFill>
                <a:srgbClr val="AEABAB"/>
              </a:solidFill>
            </c:spPr>
            <c:extLst>
              <c:ext xmlns:c16="http://schemas.microsoft.com/office/drawing/2014/chart" uri="{C3380CC4-5D6E-409C-BE32-E72D297353CC}">
                <c16:uniqueId val="{00000ADB-A7CE-4049-B88B-35FCDA646473}"/>
              </c:ext>
            </c:extLst>
          </c:dPt>
          <c:dPt>
            <c:idx val="1389"/>
            <c:invertIfNegative val="1"/>
            <c:bubble3D val="0"/>
            <c:spPr>
              <a:solidFill>
                <a:srgbClr val="AEABAB"/>
              </a:solidFill>
            </c:spPr>
            <c:extLst>
              <c:ext xmlns:c16="http://schemas.microsoft.com/office/drawing/2014/chart" uri="{C3380CC4-5D6E-409C-BE32-E72D297353CC}">
                <c16:uniqueId val="{00000ADD-A7CE-4049-B88B-35FCDA646473}"/>
              </c:ext>
            </c:extLst>
          </c:dPt>
          <c:dPt>
            <c:idx val="1390"/>
            <c:invertIfNegative val="1"/>
            <c:bubble3D val="0"/>
            <c:spPr>
              <a:solidFill>
                <a:srgbClr val="AEABAB"/>
              </a:solidFill>
            </c:spPr>
            <c:extLst>
              <c:ext xmlns:c16="http://schemas.microsoft.com/office/drawing/2014/chart" uri="{C3380CC4-5D6E-409C-BE32-E72D297353CC}">
                <c16:uniqueId val="{00000ADF-A7CE-4049-B88B-35FCDA646473}"/>
              </c:ext>
            </c:extLst>
          </c:dPt>
          <c:dPt>
            <c:idx val="1391"/>
            <c:invertIfNegative val="1"/>
            <c:bubble3D val="0"/>
            <c:spPr>
              <a:solidFill>
                <a:srgbClr val="AEABAB"/>
              </a:solidFill>
            </c:spPr>
            <c:extLst>
              <c:ext xmlns:c16="http://schemas.microsoft.com/office/drawing/2014/chart" uri="{C3380CC4-5D6E-409C-BE32-E72D297353CC}">
                <c16:uniqueId val="{00000AE1-A7CE-4049-B88B-35FCDA646473}"/>
              </c:ext>
            </c:extLst>
          </c:dPt>
          <c:dPt>
            <c:idx val="1392"/>
            <c:invertIfNegative val="1"/>
            <c:bubble3D val="0"/>
            <c:spPr>
              <a:solidFill>
                <a:srgbClr val="AEABAB"/>
              </a:solidFill>
            </c:spPr>
            <c:extLst>
              <c:ext xmlns:c16="http://schemas.microsoft.com/office/drawing/2014/chart" uri="{C3380CC4-5D6E-409C-BE32-E72D297353CC}">
                <c16:uniqueId val="{00000AE3-A7CE-4049-B88B-35FCDA646473}"/>
              </c:ext>
            </c:extLst>
          </c:dPt>
          <c:dPt>
            <c:idx val="1393"/>
            <c:invertIfNegative val="1"/>
            <c:bubble3D val="0"/>
            <c:spPr>
              <a:solidFill>
                <a:srgbClr val="AEABAB"/>
              </a:solidFill>
            </c:spPr>
            <c:extLst>
              <c:ext xmlns:c16="http://schemas.microsoft.com/office/drawing/2014/chart" uri="{C3380CC4-5D6E-409C-BE32-E72D297353CC}">
                <c16:uniqueId val="{00000AE5-A7CE-4049-B88B-35FCDA646473}"/>
              </c:ext>
            </c:extLst>
          </c:dPt>
          <c:dPt>
            <c:idx val="1394"/>
            <c:invertIfNegative val="1"/>
            <c:bubble3D val="0"/>
            <c:spPr>
              <a:solidFill>
                <a:srgbClr val="AEABAB"/>
              </a:solidFill>
            </c:spPr>
            <c:extLst>
              <c:ext xmlns:c16="http://schemas.microsoft.com/office/drawing/2014/chart" uri="{C3380CC4-5D6E-409C-BE32-E72D297353CC}">
                <c16:uniqueId val="{00000AE7-A7CE-4049-B88B-35FCDA646473}"/>
              </c:ext>
            </c:extLst>
          </c:dPt>
          <c:dPt>
            <c:idx val="1395"/>
            <c:invertIfNegative val="1"/>
            <c:bubble3D val="0"/>
            <c:spPr>
              <a:solidFill>
                <a:srgbClr val="AEABAB"/>
              </a:solidFill>
            </c:spPr>
            <c:extLst>
              <c:ext xmlns:c16="http://schemas.microsoft.com/office/drawing/2014/chart" uri="{C3380CC4-5D6E-409C-BE32-E72D297353CC}">
                <c16:uniqueId val="{00000AE9-A7CE-4049-B88B-35FCDA646473}"/>
              </c:ext>
            </c:extLst>
          </c:dPt>
          <c:dPt>
            <c:idx val="1396"/>
            <c:invertIfNegative val="1"/>
            <c:bubble3D val="0"/>
            <c:spPr>
              <a:solidFill>
                <a:srgbClr val="AEABAB"/>
              </a:solidFill>
            </c:spPr>
            <c:extLst>
              <c:ext xmlns:c16="http://schemas.microsoft.com/office/drawing/2014/chart" uri="{C3380CC4-5D6E-409C-BE32-E72D297353CC}">
                <c16:uniqueId val="{00000AEB-A7CE-4049-B88B-35FCDA646473}"/>
              </c:ext>
            </c:extLst>
          </c:dPt>
          <c:dPt>
            <c:idx val="1397"/>
            <c:invertIfNegative val="1"/>
            <c:bubble3D val="0"/>
            <c:spPr>
              <a:solidFill>
                <a:srgbClr val="AEABAB"/>
              </a:solidFill>
            </c:spPr>
            <c:extLst>
              <c:ext xmlns:c16="http://schemas.microsoft.com/office/drawing/2014/chart" uri="{C3380CC4-5D6E-409C-BE32-E72D297353CC}">
                <c16:uniqueId val="{00000AED-A7CE-4049-B88B-35FCDA646473}"/>
              </c:ext>
            </c:extLst>
          </c:dPt>
          <c:dPt>
            <c:idx val="1398"/>
            <c:invertIfNegative val="1"/>
            <c:bubble3D val="0"/>
            <c:spPr>
              <a:solidFill>
                <a:srgbClr val="AEABAB"/>
              </a:solidFill>
            </c:spPr>
            <c:extLst>
              <c:ext xmlns:c16="http://schemas.microsoft.com/office/drawing/2014/chart" uri="{C3380CC4-5D6E-409C-BE32-E72D297353CC}">
                <c16:uniqueId val="{00000AEF-A7CE-4049-B88B-35FCDA646473}"/>
              </c:ext>
            </c:extLst>
          </c:dPt>
          <c:dPt>
            <c:idx val="1399"/>
            <c:invertIfNegative val="1"/>
            <c:bubble3D val="0"/>
            <c:spPr>
              <a:solidFill>
                <a:srgbClr val="AEABAB"/>
              </a:solidFill>
            </c:spPr>
            <c:extLst>
              <c:ext xmlns:c16="http://schemas.microsoft.com/office/drawing/2014/chart" uri="{C3380CC4-5D6E-409C-BE32-E72D297353CC}">
                <c16:uniqueId val="{00000AF1-A7CE-4049-B88B-35FCDA646473}"/>
              </c:ext>
            </c:extLst>
          </c:dPt>
          <c:dPt>
            <c:idx val="1400"/>
            <c:invertIfNegative val="1"/>
            <c:bubble3D val="0"/>
            <c:spPr>
              <a:solidFill>
                <a:srgbClr val="AEABAB"/>
              </a:solidFill>
            </c:spPr>
            <c:extLst>
              <c:ext xmlns:c16="http://schemas.microsoft.com/office/drawing/2014/chart" uri="{C3380CC4-5D6E-409C-BE32-E72D297353CC}">
                <c16:uniqueId val="{00000AF3-A7CE-4049-B88B-35FCDA646473}"/>
              </c:ext>
            </c:extLst>
          </c:dPt>
          <c:dPt>
            <c:idx val="1401"/>
            <c:invertIfNegative val="1"/>
            <c:bubble3D val="0"/>
            <c:spPr>
              <a:solidFill>
                <a:srgbClr val="AEABAB"/>
              </a:solidFill>
            </c:spPr>
            <c:extLst>
              <c:ext xmlns:c16="http://schemas.microsoft.com/office/drawing/2014/chart" uri="{C3380CC4-5D6E-409C-BE32-E72D297353CC}">
                <c16:uniqueId val="{00000AF5-A7CE-4049-B88B-35FCDA646473}"/>
              </c:ext>
            </c:extLst>
          </c:dPt>
          <c:dPt>
            <c:idx val="1402"/>
            <c:invertIfNegative val="1"/>
            <c:bubble3D val="0"/>
            <c:spPr>
              <a:solidFill>
                <a:srgbClr val="AEABAB"/>
              </a:solidFill>
            </c:spPr>
            <c:extLst>
              <c:ext xmlns:c16="http://schemas.microsoft.com/office/drawing/2014/chart" uri="{C3380CC4-5D6E-409C-BE32-E72D297353CC}">
                <c16:uniqueId val="{00000AF7-A7CE-4049-B88B-35FCDA646473}"/>
              </c:ext>
            </c:extLst>
          </c:dPt>
          <c:dPt>
            <c:idx val="1403"/>
            <c:invertIfNegative val="1"/>
            <c:bubble3D val="0"/>
            <c:spPr>
              <a:solidFill>
                <a:srgbClr val="AEABAB"/>
              </a:solidFill>
            </c:spPr>
            <c:extLst>
              <c:ext xmlns:c16="http://schemas.microsoft.com/office/drawing/2014/chart" uri="{C3380CC4-5D6E-409C-BE32-E72D297353CC}">
                <c16:uniqueId val="{00000AF9-A7CE-4049-B88B-35FCDA646473}"/>
              </c:ext>
            </c:extLst>
          </c:dPt>
          <c:dPt>
            <c:idx val="1404"/>
            <c:invertIfNegative val="1"/>
            <c:bubble3D val="0"/>
            <c:spPr>
              <a:solidFill>
                <a:srgbClr val="AEABAB"/>
              </a:solidFill>
            </c:spPr>
            <c:extLst>
              <c:ext xmlns:c16="http://schemas.microsoft.com/office/drawing/2014/chart" uri="{C3380CC4-5D6E-409C-BE32-E72D297353CC}">
                <c16:uniqueId val="{00000AFB-A7CE-4049-B88B-35FCDA646473}"/>
              </c:ext>
            </c:extLst>
          </c:dPt>
          <c:dPt>
            <c:idx val="1405"/>
            <c:invertIfNegative val="1"/>
            <c:bubble3D val="0"/>
            <c:spPr>
              <a:solidFill>
                <a:srgbClr val="AEABAB"/>
              </a:solidFill>
            </c:spPr>
            <c:extLst>
              <c:ext xmlns:c16="http://schemas.microsoft.com/office/drawing/2014/chart" uri="{C3380CC4-5D6E-409C-BE32-E72D297353CC}">
                <c16:uniqueId val="{00000AFD-A7CE-4049-B88B-35FCDA646473}"/>
              </c:ext>
            </c:extLst>
          </c:dPt>
          <c:dPt>
            <c:idx val="1406"/>
            <c:invertIfNegative val="1"/>
            <c:bubble3D val="0"/>
            <c:spPr>
              <a:solidFill>
                <a:srgbClr val="AEABAB"/>
              </a:solidFill>
            </c:spPr>
            <c:extLst>
              <c:ext xmlns:c16="http://schemas.microsoft.com/office/drawing/2014/chart" uri="{C3380CC4-5D6E-409C-BE32-E72D297353CC}">
                <c16:uniqueId val="{00000AFF-A7CE-4049-B88B-35FCDA646473}"/>
              </c:ext>
            </c:extLst>
          </c:dPt>
          <c:dPt>
            <c:idx val="1407"/>
            <c:invertIfNegative val="1"/>
            <c:bubble3D val="0"/>
            <c:spPr>
              <a:solidFill>
                <a:srgbClr val="AEABAB"/>
              </a:solidFill>
            </c:spPr>
            <c:extLst>
              <c:ext xmlns:c16="http://schemas.microsoft.com/office/drawing/2014/chart" uri="{C3380CC4-5D6E-409C-BE32-E72D297353CC}">
                <c16:uniqueId val="{00000B01-A7CE-4049-B88B-35FCDA646473}"/>
              </c:ext>
            </c:extLst>
          </c:dPt>
          <c:dPt>
            <c:idx val="1408"/>
            <c:invertIfNegative val="1"/>
            <c:bubble3D val="0"/>
            <c:spPr>
              <a:solidFill>
                <a:srgbClr val="AEABAB"/>
              </a:solidFill>
            </c:spPr>
            <c:extLst>
              <c:ext xmlns:c16="http://schemas.microsoft.com/office/drawing/2014/chart" uri="{C3380CC4-5D6E-409C-BE32-E72D297353CC}">
                <c16:uniqueId val="{00000B03-A7CE-4049-B88B-35FCDA646473}"/>
              </c:ext>
            </c:extLst>
          </c:dPt>
          <c:dPt>
            <c:idx val="1409"/>
            <c:invertIfNegative val="1"/>
            <c:bubble3D val="0"/>
            <c:spPr>
              <a:solidFill>
                <a:srgbClr val="AEABAB"/>
              </a:solidFill>
            </c:spPr>
            <c:extLst>
              <c:ext xmlns:c16="http://schemas.microsoft.com/office/drawing/2014/chart" uri="{C3380CC4-5D6E-409C-BE32-E72D297353CC}">
                <c16:uniqueId val="{00000B05-A7CE-4049-B88B-35FCDA646473}"/>
              </c:ext>
            </c:extLst>
          </c:dPt>
          <c:dPt>
            <c:idx val="1410"/>
            <c:invertIfNegative val="1"/>
            <c:bubble3D val="0"/>
            <c:spPr>
              <a:solidFill>
                <a:srgbClr val="AEABAB"/>
              </a:solidFill>
            </c:spPr>
            <c:extLst>
              <c:ext xmlns:c16="http://schemas.microsoft.com/office/drawing/2014/chart" uri="{C3380CC4-5D6E-409C-BE32-E72D297353CC}">
                <c16:uniqueId val="{00000B07-A7CE-4049-B88B-35FCDA646473}"/>
              </c:ext>
            </c:extLst>
          </c:dPt>
          <c:dPt>
            <c:idx val="1411"/>
            <c:invertIfNegative val="1"/>
            <c:bubble3D val="0"/>
            <c:spPr>
              <a:solidFill>
                <a:srgbClr val="AEABAB"/>
              </a:solidFill>
            </c:spPr>
            <c:extLst>
              <c:ext xmlns:c16="http://schemas.microsoft.com/office/drawing/2014/chart" uri="{C3380CC4-5D6E-409C-BE32-E72D297353CC}">
                <c16:uniqueId val="{00000B09-A7CE-4049-B88B-35FCDA646473}"/>
              </c:ext>
            </c:extLst>
          </c:dPt>
          <c:dPt>
            <c:idx val="1412"/>
            <c:invertIfNegative val="1"/>
            <c:bubble3D val="0"/>
            <c:spPr>
              <a:solidFill>
                <a:srgbClr val="AEABAB"/>
              </a:solidFill>
            </c:spPr>
            <c:extLst>
              <c:ext xmlns:c16="http://schemas.microsoft.com/office/drawing/2014/chart" uri="{C3380CC4-5D6E-409C-BE32-E72D297353CC}">
                <c16:uniqueId val="{00000B0B-A7CE-4049-B88B-35FCDA646473}"/>
              </c:ext>
            </c:extLst>
          </c:dPt>
          <c:dPt>
            <c:idx val="1413"/>
            <c:invertIfNegative val="1"/>
            <c:bubble3D val="0"/>
            <c:spPr>
              <a:solidFill>
                <a:srgbClr val="AEABAB"/>
              </a:solidFill>
            </c:spPr>
            <c:extLst>
              <c:ext xmlns:c16="http://schemas.microsoft.com/office/drawing/2014/chart" uri="{C3380CC4-5D6E-409C-BE32-E72D297353CC}">
                <c16:uniqueId val="{00000B0D-A7CE-4049-B88B-35FCDA646473}"/>
              </c:ext>
            </c:extLst>
          </c:dPt>
          <c:dPt>
            <c:idx val="1414"/>
            <c:invertIfNegative val="1"/>
            <c:bubble3D val="0"/>
            <c:spPr>
              <a:solidFill>
                <a:srgbClr val="AEABAB"/>
              </a:solidFill>
            </c:spPr>
            <c:extLst>
              <c:ext xmlns:c16="http://schemas.microsoft.com/office/drawing/2014/chart" uri="{C3380CC4-5D6E-409C-BE32-E72D297353CC}">
                <c16:uniqueId val="{00000B0F-A7CE-4049-B88B-35FCDA646473}"/>
              </c:ext>
            </c:extLst>
          </c:dPt>
          <c:dPt>
            <c:idx val="1415"/>
            <c:invertIfNegative val="1"/>
            <c:bubble3D val="0"/>
            <c:spPr>
              <a:solidFill>
                <a:srgbClr val="AEABAB"/>
              </a:solidFill>
            </c:spPr>
            <c:extLst>
              <c:ext xmlns:c16="http://schemas.microsoft.com/office/drawing/2014/chart" uri="{C3380CC4-5D6E-409C-BE32-E72D297353CC}">
                <c16:uniqueId val="{00000B11-A7CE-4049-B88B-35FCDA646473}"/>
              </c:ext>
            </c:extLst>
          </c:dPt>
          <c:dPt>
            <c:idx val="1416"/>
            <c:invertIfNegative val="1"/>
            <c:bubble3D val="0"/>
            <c:spPr>
              <a:solidFill>
                <a:srgbClr val="AEABAB"/>
              </a:solidFill>
            </c:spPr>
            <c:extLst>
              <c:ext xmlns:c16="http://schemas.microsoft.com/office/drawing/2014/chart" uri="{C3380CC4-5D6E-409C-BE32-E72D297353CC}">
                <c16:uniqueId val="{00000B13-A7CE-4049-B88B-35FCDA646473}"/>
              </c:ext>
            </c:extLst>
          </c:dPt>
          <c:dPt>
            <c:idx val="1417"/>
            <c:invertIfNegative val="1"/>
            <c:bubble3D val="0"/>
            <c:spPr>
              <a:solidFill>
                <a:srgbClr val="AEABAB"/>
              </a:solidFill>
            </c:spPr>
            <c:extLst>
              <c:ext xmlns:c16="http://schemas.microsoft.com/office/drawing/2014/chart" uri="{C3380CC4-5D6E-409C-BE32-E72D297353CC}">
                <c16:uniqueId val="{00000B15-A7CE-4049-B88B-35FCDA646473}"/>
              </c:ext>
            </c:extLst>
          </c:dPt>
          <c:dPt>
            <c:idx val="1418"/>
            <c:invertIfNegative val="1"/>
            <c:bubble3D val="0"/>
            <c:spPr>
              <a:solidFill>
                <a:srgbClr val="AEABAB"/>
              </a:solidFill>
            </c:spPr>
            <c:extLst>
              <c:ext xmlns:c16="http://schemas.microsoft.com/office/drawing/2014/chart" uri="{C3380CC4-5D6E-409C-BE32-E72D297353CC}">
                <c16:uniqueId val="{00000B17-A7CE-4049-B88B-35FCDA646473}"/>
              </c:ext>
            </c:extLst>
          </c:dPt>
          <c:dPt>
            <c:idx val="1419"/>
            <c:invertIfNegative val="1"/>
            <c:bubble3D val="0"/>
            <c:spPr>
              <a:solidFill>
                <a:srgbClr val="AEABAB"/>
              </a:solidFill>
            </c:spPr>
            <c:extLst>
              <c:ext xmlns:c16="http://schemas.microsoft.com/office/drawing/2014/chart" uri="{C3380CC4-5D6E-409C-BE32-E72D297353CC}">
                <c16:uniqueId val="{00000B19-A7CE-4049-B88B-35FCDA646473}"/>
              </c:ext>
            </c:extLst>
          </c:dPt>
          <c:dPt>
            <c:idx val="1420"/>
            <c:invertIfNegative val="1"/>
            <c:bubble3D val="0"/>
            <c:spPr>
              <a:solidFill>
                <a:srgbClr val="AEABAB"/>
              </a:solidFill>
            </c:spPr>
            <c:extLst>
              <c:ext xmlns:c16="http://schemas.microsoft.com/office/drawing/2014/chart" uri="{C3380CC4-5D6E-409C-BE32-E72D297353CC}">
                <c16:uniqueId val="{00000B1B-A7CE-4049-B88B-35FCDA646473}"/>
              </c:ext>
            </c:extLst>
          </c:dPt>
          <c:dPt>
            <c:idx val="1421"/>
            <c:invertIfNegative val="1"/>
            <c:bubble3D val="0"/>
            <c:spPr>
              <a:solidFill>
                <a:srgbClr val="AEABAB"/>
              </a:solidFill>
            </c:spPr>
            <c:extLst>
              <c:ext xmlns:c16="http://schemas.microsoft.com/office/drawing/2014/chart" uri="{C3380CC4-5D6E-409C-BE32-E72D297353CC}">
                <c16:uniqueId val="{00000B1D-A7CE-4049-B88B-35FCDA646473}"/>
              </c:ext>
            </c:extLst>
          </c:dPt>
          <c:dPt>
            <c:idx val="1422"/>
            <c:invertIfNegative val="1"/>
            <c:bubble3D val="0"/>
            <c:spPr>
              <a:solidFill>
                <a:srgbClr val="AEABAB"/>
              </a:solidFill>
            </c:spPr>
            <c:extLst>
              <c:ext xmlns:c16="http://schemas.microsoft.com/office/drawing/2014/chart" uri="{C3380CC4-5D6E-409C-BE32-E72D297353CC}">
                <c16:uniqueId val="{00000B1F-A7CE-4049-B88B-35FCDA646473}"/>
              </c:ext>
            </c:extLst>
          </c:dPt>
          <c:dPt>
            <c:idx val="1423"/>
            <c:invertIfNegative val="1"/>
            <c:bubble3D val="0"/>
            <c:spPr>
              <a:solidFill>
                <a:srgbClr val="AEABAB"/>
              </a:solidFill>
            </c:spPr>
            <c:extLst>
              <c:ext xmlns:c16="http://schemas.microsoft.com/office/drawing/2014/chart" uri="{C3380CC4-5D6E-409C-BE32-E72D297353CC}">
                <c16:uniqueId val="{00000B21-A7CE-4049-B88B-35FCDA646473}"/>
              </c:ext>
            </c:extLst>
          </c:dPt>
          <c:dPt>
            <c:idx val="1424"/>
            <c:invertIfNegative val="1"/>
            <c:bubble3D val="0"/>
            <c:spPr>
              <a:solidFill>
                <a:srgbClr val="AEABAB"/>
              </a:solidFill>
            </c:spPr>
            <c:extLst>
              <c:ext xmlns:c16="http://schemas.microsoft.com/office/drawing/2014/chart" uri="{C3380CC4-5D6E-409C-BE32-E72D297353CC}">
                <c16:uniqueId val="{00000B23-A7CE-4049-B88B-35FCDA646473}"/>
              </c:ext>
            </c:extLst>
          </c:dPt>
          <c:dPt>
            <c:idx val="1425"/>
            <c:invertIfNegative val="1"/>
            <c:bubble3D val="0"/>
            <c:spPr>
              <a:solidFill>
                <a:srgbClr val="AEABAB"/>
              </a:solidFill>
            </c:spPr>
            <c:extLst>
              <c:ext xmlns:c16="http://schemas.microsoft.com/office/drawing/2014/chart" uri="{C3380CC4-5D6E-409C-BE32-E72D297353CC}">
                <c16:uniqueId val="{00000B25-A7CE-4049-B88B-35FCDA646473}"/>
              </c:ext>
            </c:extLst>
          </c:dPt>
          <c:dPt>
            <c:idx val="1426"/>
            <c:invertIfNegative val="1"/>
            <c:bubble3D val="0"/>
            <c:spPr>
              <a:solidFill>
                <a:srgbClr val="AEABAB"/>
              </a:solidFill>
            </c:spPr>
            <c:extLst>
              <c:ext xmlns:c16="http://schemas.microsoft.com/office/drawing/2014/chart" uri="{C3380CC4-5D6E-409C-BE32-E72D297353CC}">
                <c16:uniqueId val="{00000B27-A7CE-4049-B88B-35FCDA646473}"/>
              </c:ext>
            </c:extLst>
          </c:dPt>
          <c:dPt>
            <c:idx val="1427"/>
            <c:invertIfNegative val="1"/>
            <c:bubble3D val="0"/>
            <c:spPr>
              <a:solidFill>
                <a:srgbClr val="AEABAB"/>
              </a:solidFill>
            </c:spPr>
            <c:extLst>
              <c:ext xmlns:c16="http://schemas.microsoft.com/office/drawing/2014/chart" uri="{C3380CC4-5D6E-409C-BE32-E72D297353CC}">
                <c16:uniqueId val="{00000B29-A7CE-4049-B88B-35FCDA646473}"/>
              </c:ext>
            </c:extLst>
          </c:dPt>
          <c:dPt>
            <c:idx val="1428"/>
            <c:invertIfNegative val="1"/>
            <c:bubble3D val="0"/>
            <c:spPr>
              <a:solidFill>
                <a:srgbClr val="AEABAB"/>
              </a:solidFill>
            </c:spPr>
            <c:extLst>
              <c:ext xmlns:c16="http://schemas.microsoft.com/office/drawing/2014/chart" uri="{C3380CC4-5D6E-409C-BE32-E72D297353CC}">
                <c16:uniqueId val="{00000B2B-A7CE-4049-B88B-35FCDA646473}"/>
              </c:ext>
            </c:extLst>
          </c:dPt>
          <c:dPt>
            <c:idx val="1429"/>
            <c:invertIfNegative val="1"/>
            <c:bubble3D val="0"/>
            <c:spPr>
              <a:solidFill>
                <a:srgbClr val="AEABAB"/>
              </a:solidFill>
            </c:spPr>
            <c:extLst>
              <c:ext xmlns:c16="http://schemas.microsoft.com/office/drawing/2014/chart" uri="{C3380CC4-5D6E-409C-BE32-E72D297353CC}">
                <c16:uniqueId val="{00000B2D-A7CE-4049-B88B-35FCDA646473}"/>
              </c:ext>
            </c:extLst>
          </c:dPt>
          <c:dPt>
            <c:idx val="1430"/>
            <c:invertIfNegative val="1"/>
            <c:bubble3D val="0"/>
            <c:spPr>
              <a:solidFill>
                <a:srgbClr val="AEABAB"/>
              </a:solidFill>
            </c:spPr>
            <c:extLst>
              <c:ext xmlns:c16="http://schemas.microsoft.com/office/drawing/2014/chart" uri="{C3380CC4-5D6E-409C-BE32-E72D297353CC}">
                <c16:uniqueId val="{00000B2F-A7CE-4049-B88B-35FCDA646473}"/>
              </c:ext>
            </c:extLst>
          </c:dPt>
          <c:dPt>
            <c:idx val="1431"/>
            <c:invertIfNegative val="1"/>
            <c:bubble3D val="0"/>
            <c:spPr>
              <a:solidFill>
                <a:srgbClr val="AEABAB"/>
              </a:solidFill>
            </c:spPr>
            <c:extLst>
              <c:ext xmlns:c16="http://schemas.microsoft.com/office/drawing/2014/chart" uri="{C3380CC4-5D6E-409C-BE32-E72D297353CC}">
                <c16:uniqueId val="{00000B31-A7CE-4049-B88B-35FCDA646473}"/>
              </c:ext>
            </c:extLst>
          </c:dPt>
          <c:dPt>
            <c:idx val="1432"/>
            <c:invertIfNegative val="1"/>
            <c:bubble3D val="0"/>
            <c:spPr>
              <a:solidFill>
                <a:srgbClr val="AEABAB"/>
              </a:solidFill>
            </c:spPr>
            <c:extLst>
              <c:ext xmlns:c16="http://schemas.microsoft.com/office/drawing/2014/chart" uri="{C3380CC4-5D6E-409C-BE32-E72D297353CC}">
                <c16:uniqueId val="{00000B33-A7CE-4049-B88B-35FCDA646473}"/>
              </c:ext>
            </c:extLst>
          </c:dPt>
          <c:dPt>
            <c:idx val="1433"/>
            <c:invertIfNegative val="1"/>
            <c:bubble3D val="0"/>
            <c:spPr>
              <a:solidFill>
                <a:srgbClr val="AEABAB"/>
              </a:solidFill>
            </c:spPr>
            <c:extLst>
              <c:ext xmlns:c16="http://schemas.microsoft.com/office/drawing/2014/chart" uri="{C3380CC4-5D6E-409C-BE32-E72D297353CC}">
                <c16:uniqueId val="{00000B35-A7CE-4049-B88B-35FCDA646473}"/>
              </c:ext>
            </c:extLst>
          </c:dPt>
          <c:dPt>
            <c:idx val="1434"/>
            <c:invertIfNegative val="1"/>
            <c:bubble3D val="0"/>
            <c:spPr>
              <a:solidFill>
                <a:srgbClr val="AEABAB"/>
              </a:solidFill>
            </c:spPr>
            <c:extLst>
              <c:ext xmlns:c16="http://schemas.microsoft.com/office/drawing/2014/chart" uri="{C3380CC4-5D6E-409C-BE32-E72D297353CC}">
                <c16:uniqueId val="{00000B37-A7CE-4049-B88B-35FCDA646473}"/>
              </c:ext>
            </c:extLst>
          </c:dPt>
          <c:dPt>
            <c:idx val="1435"/>
            <c:invertIfNegative val="1"/>
            <c:bubble3D val="0"/>
            <c:spPr>
              <a:solidFill>
                <a:srgbClr val="AEABAB"/>
              </a:solidFill>
            </c:spPr>
            <c:extLst>
              <c:ext xmlns:c16="http://schemas.microsoft.com/office/drawing/2014/chart" uri="{C3380CC4-5D6E-409C-BE32-E72D297353CC}">
                <c16:uniqueId val="{00000B39-A7CE-4049-B88B-35FCDA646473}"/>
              </c:ext>
            </c:extLst>
          </c:dPt>
          <c:dPt>
            <c:idx val="1436"/>
            <c:invertIfNegative val="1"/>
            <c:bubble3D val="0"/>
            <c:spPr>
              <a:solidFill>
                <a:srgbClr val="AEABAB"/>
              </a:solidFill>
            </c:spPr>
            <c:extLst>
              <c:ext xmlns:c16="http://schemas.microsoft.com/office/drawing/2014/chart" uri="{C3380CC4-5D6E-409C-BE32-E72D297353CC}">
                <c16:uniqueId val="{00000B3B-A7CE-4049-B88B-35FCDA646473}"/>
              </c:ext>
            </c:extLst>
          </c:dPt>
          <c:dPt>
            <c:idx val="1437"/>
            <c:invertIfNegative val="1"/>
            <c:bubble3D val="0"/>
            <c:spPr>
              <a:solidFill>
                <a:srgbClr val="AEABAB"/>
              </a:solidFill>
            </c:spPr>
            <c:extLst>
              <c:ext xmlns:c16="http://schemas.microsoft.com/office/drawing/2014/chart" uri="{C3380CC4-5D6E-409C-BE32-E72D297353CC}">
                <c16:uniqueId val="{00000B3D-A7CE-4049-B88B-35FCDA646473}"/>
              </c:ext>
            </c:extLst>
          </c:dPt>
          <c:dPt>
            <c:idx val="1438"/>
            <c:invertIfNegative val="1"/>
            <c:bubble3D val="0"/>
            <c:spPr>
              <a:solidFill>
                <a:srgbClr val="AEABAB"/>
              </a:solidFill>
            </c:spPr>
            <c:extLst>
              <c:ext xmlns:c16="http://schemas.microsoft.com/office/drawing/2014/chart" uri="{C3380CC4-5D6E-409C-BE32-E72D297353CC}">
                <c16:uniqueId val="{00000B3F-A7CE-4049-B88B-35FCDA646473}"/>
              </c:ext>
            </c:extLst>
          </c:dPt>
          <c:dPt>
            <c:idx val="1439"/>
            <c:invertIfNegative val="1"/>
            <c:bubble3D val="0"/>
            <c:spPr>
              <a:solidFill>
                <a:srgbClr val="AEABAB"/>
              </a:solidFill>
            </c:spPr>
            <c:extLst>
              <c:ext xmlns:c16="http://schemas.microsoft.com/office/drawing/2014/chart" uri="{C3380CC4-5D6E-409C-BE32-E72D297353CC}">
                <c16:uniqueId val="{00000B41-A7CE-4049-B88B-35FCDA646473}"/>
              </c:ext>
            </c:extLst>
          </c:dPt>
          <c:dPt>
            <c:idx val="1440"/>
            <c:invertIfNegative val="1"/>
            <c:bubble3D val="0"/>
            <c:spPr>
              <a:solidFill>
                <a:srgbClr val="AEABAB"/>
              </a:solidFill>
            </c:spPr>
            <c:extLst>
              <c:ext xmlns:c16="http://schemas.microsoft.com/office/drawing/2014/chart" uri="{C3380CC4-5D6E-409C-BE32-E72D297353CC}">
                <c16:uniqueId val="{00000B43-A7CE-4049-B88B-35FCDA646473}"/>
              </c:ext>
            </c:extLst>
          </c:dPt>
          <c:dPt>
            <c:idx val="1441"/>
            <c:invertIfNegative val="1"/>
            <c:bubble3D val="0"/>
            <c:spPr>
              <a:solidFill>
                <a:srgbClr val="AEABAB"/>
              </a:solidFill>
            </c:spPr>
            <c:extLst>
              <c:ext xmlns:c16="http://schemas.microsoft.com/office/drawing/2014/chart" uri="{C3380CC4-5D6E-409C-BE32-E72D297353CC}">
                <c16:uniqueId val="{00000B45-A7CE-4049-B88B-35FCDA646473}"/>
              </c:ext>
            </c:extLst>
          </c:dPt>
          <c:dPt>
            <c:idx val="1442"/>
            <c:invertIfNegative val="1"/>
            <c:bubble3D val="0"/>
            <c:spPr>
              <a:solidFill>
                <a:srgbClr val="AEABAB"/>
              </a:solidFill>
            </c:spPr>
            <c:extLst>
              <c:ext xmlns:c16="http://schemas.microsoft.com/office/drawing/2014/chart" uri="{C3380CC4-5D6E-409C-BE32-E72D297353CC}">
                <c16:uniqueId val="{00000B47-A7CE-4049-B88B-35FCDA646473}"/>
              </c:ext>
            </c:extLst>
          </c:dPt>
          <c:dPt>
            <c:idx val="1443"/>
            <c:invertIfNegative val="1"/>
            <c:bubble3D val="0"/>
            <c:spPr>
              <a:solidFill>
                <a:srgbClr val="AEABAB"/>
              </a:solidFill>
            </c:spPr>
            <c:extLst>
              <c:ext xmlns:c16="http://schemas.microsoft.com/office/drawing/2014/chart" uri="{C3380CC4-5D6E-409C-BE32-E72D297353CC}">
                <c16:uniqueId val="{00000B49-A7CE-4049-B88B-35FCDA646473}"/>
              </c:ext>
            </c:extLst>
          </c:dPt>
          <c:dPt>
            <c:idx val="1444"/>
            <c:invertIfNegative val="1"/>
            <c:bubble3D val="0"/>
            <c:spPr>
              <a:solidFill>
                <a:srgbClr val="AEABAB"/>
              </a:solidFill>
            </c:spPr>
            <c:extLst>
              <c:ext xmlns:c16="http://schemas.microsoft.com/office/drawing/2014/chart" uri="{C3380CC4-5D6E-409C-BE32-E72D297353CC}">
                <c16:uniqueId val="{00000B4B-A7CE-4049-B88B-35FCDA646473}"/>
              </c:ext>
            </c:extLst>
          </c:dPt>
          <c:dPt>
            <c:idx val="1445"/>
            <c:invertIfNegative val="1"/>
            <c:bubble3D val="0"/>
            <c:spPr>
              <a:solidFill>
                <a:srgbClr val="AEABAB"/>
              </a:solidFill>
            </c:spPr>
            <c:extLst>
              <c:ext xmlns:c16="http://schemas.microsoft.com/office/drawing/2014/chart" uri="{C3380CC4-5D6E-409C-BE32-E72D297353CC}">
                <c16:uniqueId val="{00000B4D-A7CE-4049-B88B-35FCDA646473}"/>
              </c:ext>
            </c:extLst>
          </c:dPt>
          <c:dPt>
            <c:idx val="1446"/>
            <c:invertIfNegative val="1"/>
            <c:bubble3D val="0"/>
            <c:spPr>
              <a:solidFill>
                <a:srgbClr val="AEABAB"/>
              </a:solidFill>
            </c:spPr>
            <c:extLst>
              <c:ext xmlns:c16="http://schemas.microsoft.com/office/drawing/2014/chart" uri="{C3380CC4-5D6E-409C-BE32-E72D297353CC}">
                <c16:uniqueId val="{00000B4F-A7CE-4049-B88B-35FCDA646473}"/>
              </c:ext>
            </c:extLst>
          </c:dPt>
          <c:dPt>
            <c:idx val="1447"/>
            <c:invertIfNegative val="1"/>
            <c:bubble3D val="0"/>
            <c:spPr>
              <a:solidFill>
                <a:srgbClr val="AEABAB"/>
              </a:solidFill>
            </c:spPr>
            <c:extLst>
              <c:ext xmlns:c16="http://schemas.microsoft.com/office/drawing/2014/chart" uri="{C3380CC4-5D6E-409C-BE32-E72D297353CC}">
                <c16:uniqueId val="{00000B51-A7CE-4049-B88B-35FCDA646473}"/>
              </c:ext>
            </c:extLst>
          </c:dPt>
          <c:dPt>
            <c:idx val="1448"/>
            <c:invertIfNegative val="1"/>
            <c:bubble3D val="0"/>
            <c:spPr>
              <a:solidFill>
                <a:srgbClr val="AEABAB"/>
              </a:solidFill>
            </c:spPr>
            <c:extLst>
              <c:ext xmlns:c16="http://schemas.microsoft.com/office/drawing/2014/chart" uri="{C3380CC4-5D6E-409C-BE32-E72D297353CC}">
                <c16:uniqueId val="{00000B53-A7CE-4049-B88B-35FCDA646473}"/>
              </c:ext>
            </c:extLst>
          </c:dPt>
          <c:dPt>
            <c:idx val="1449"/>
            <c:invertIfNegative val="1"/>
            <c:bubble3D val="0"/>
            <c:spPr>
              <a:solidFill>
                <a:srgbClr val="AEABAB"/>
              </a:solidFill>
            </c:spPr>
            <c:extLst>
              <c:ext xmlns:c16="http://schemas.microsoft.com/office/drawing/2014/chart" uri="{C3380CC4-5D6E-409C-BE32-E72D297353CC}">
                <c16:uniqueId val="{00000B55-A7CE-4049-B88B-35FCDA646473}"/>
              </c:ext>
            </c:extLst>
          </c:dPt>
          <c:dPt>
            <c:idx val="1450"/>
            <c:invertIfNegative val="1"/>
            <c:bubble3D val="0"/>
            <c:spPr>
              <a:solidFill>
                <a:srgbClr val="AEABAB"/>
              </a:solidFill>
            </c:spPr>
            <c:extLst>
              <c:ext xmlns:c16="http://schemas.microsoft.com/office/drawing/2014/chart" uri="{C3380CC4-5D6E-409C-BE32-E72D297353CC}">
                <c16:uniqueId val="{00000B57-A7CE-4049-B88B-35FCDA646473}"/>
              </c:ext>
            </c:extLst>
          </c:dPt>
          <c:dPt>
            <c:idx val="1451"/>
            <c:invertIfNegative val="1"/>
            <c:bubble3D val="0"/>
            <c:spPr>
              <a:solidFill>
                <a:srgbClr val="AEABAB"/>
              </a:solidFill>
            </c:spPr>
            <c:extLst>
              <c:ext xmlns:c16="http://schemas.microsoft.com/office/drawing/2014/chart" uri="{C3380CC4-5D6E-409C-BE32-E72D297353CC}">
                <c16:uniqueId val="{00000B59-A7CE-4049-B88B-35FCDA646473}"/>
              </c:ext>
            </c:extLst>
          </c:dPt>
          <c:dPt>
            <c:idx val="1452"/>
            <c:invertIfNegative val="1"/>
            <c:bubble3D val="0"/>
            <c:spPr>
              <a:solidFill>
                <a:srgbClr val="AEABAB"/>
              </a:solidFill>
            </c:spPr>
            <c:extLst>
              <c:ext xmlns:c16="http://schemas.microsoft.com/office/drawing/2014/chart" uri="{C3380CC4-5D6E-409C-BE32-E72D297353CC}">
                <c16:uniqueId val="{00000B5B-A7CE-4049-B88B-35FCDA646473}"/>
              </c:ext>
            </c:extLst>
          </c:dPt>
          <c:dPt>
            <c:idx val="1453"/>
            <c:invertIfNegative val="1"/>
            <c:bubble3D val="0"/>
            <c:spPr>
              <a:solidFill>
                <a:srgbClr val="AEABAB"/>
              </a:solidFill>
            </c:spPr>
            <c:extLst>
              <c:ext xmlns:c16="http://schemas.microsoft.com/office/drawing/2014/chart" uri="{C3380CC4-5D6E-409C-BE32-E72D297353CC}">
                <c16:uniqueId val="{00000B5D-A7CE-4049-B88B-35FCDA646473}"/>
              </c:ext>
            </c:extLst>
          </c:dPt>
          <c:dPt>
            <c:idx val="1454"/>
            <c:invertIfNegative val="1"/>
            <c:bubble3D val="0"/>
            <c:spPr>
              <a:solidFill>
                <a:srgbClr val="AEABAB"/>
              </a:solidFill>
            </c:spPr>
            <c:extLst>
              <c:ext xmlns:c16="http://schemas.microsoft.com/office/drawing/2014/chart" uri="{C3380CC4-5D6E-409C-BE32-E72D297353CC}">
                <c16:uniqueId val="{00000B5F-A7CE-4049-B88B-35FCDA646473}"/>
              </c:ext>
            </c:extLst>
          </c:dPt>
          <c:dPt>
            <c:idx val="1455"/>
            <c:invertIfNegative val="1"/>
            <c:bubble3D val="0"/>
            <c:spPr>
              <a:solidFill>
                <a:srgbClr val="AEABAB"/>
              </a:solidFill>
            </c:spPr>
            <c:extLst>
              <c:ext xmlns:c16="http://schemas.microsoft.com/office/drawing/2014/chart" uri="{C3380CC4-5D6E-409C-BE32-E72D297353CC}">
                <c16:uniqueId val="{00000B61-A7CE-4049-B88B-35FCDA646473}"/>
              </c:ext>
            </c:extLst>
          </c:dPt>
          <c:dPt>
            <c:idx val="1456"/>
            <c:invertIfNegative val="1"/>
            <c:bubble3D val="0"/>
            <c:spPr>
              <a:solidFill>
                <a:srgbClr val="AEABAB"/>
              </a:solidFill>
            </c:spPr>
            <c:extLst>
              <c:ext xmlns:c16="http://schemas.microsoft.com/office/drawing/2014/chart" uri="{C3380CC4-5D6E-409C-BE32-E72D297353CC}">
                <c16:uniqueId val="{00000B63-A7CE-4049-B88B-35FCDA646473}"/>
              </c:ext>
            </c:extLst>
          </c:dPt>
          <c:dPt>
            <c:idx val="1457"/>
            <c:invertIfNegative val="1"/>
            <c:bubble3D val="0"/>
            <c:spPr>
              <a:solidFill>
                <a:srgbClr val="AEABAB"/>
              </a:solidFill>
            </c:spPr>
            <c:extLst>
              <c:ext xmlns:c16="http://schemas.microsoft.com/office/drawing/2014/chart" uri="{C3380CC4-5D6E-409C-BE32-E72D297353CC}">
                <c16:uniqueId val="{00000B65-A7CE-4049-B88B-35FCDA646473}"/>
              </c:ext>
            </c:extLst>
          </c:dPt>
          <c:dPt>
            <c:idx val="1458"/>
            <c:invertIfNegative val="1"/>
            <c:bubble3D val="0"/>
            <c:spPr>
              <a:solidFill>
                <a:srgbClr val="AEABAB"/>
              </a:solidFill>
            </c:spPr>
            <c:extLst>
              <c:ext xmlns:c16="http://schemas.microsoft.com/office/drawing/2014/chart" uri="{C3380CC4-5D6E-409C-BE32-E72D297353CC}">
                <c16:uniqueId val="{00000B67-A7CE-4049-B88B-35FCDA646473}"/>
              </c:ext>
            </c:extLst>
          </c:dPt>
          <c:dPt>
            <c:idx val="1459"/>
            <c:invertIfNegative val="1"/>
            <c:bubble3D val="0"/>
            <c:spPr>
              <a:solidFill>
                <a:srgbClr val="AEABAB"/>
              </a:solidFill>
            </c:spPr>
            <c:extLst>
              <c:ext xmlns:c16="http://schemas.microsoft.com/office/drawing/2014/chart" uri="{C3380CC4-5D6E-409C-BE32-E72D297353CC}">
                <c16:uniqueId val="{00000B69-A7CE-4049-B88B-35FCDA646473}"/>
              </c:ext>
            </c:extLst>
          </c:dPt>
          <c:dPt>
            <c:idx val="1460"/>
            <c:invertIfNegative val="1"/>
            <c:bubble3D val="0"/>
            <c:spPr>
              <a:solidFill>
                <a:srgbClr val="AEABAB"/>
              </a:solidFill>
            </c:spPr>
            <c:extLst>
              <c:ext xmlns:c16="http://schemas.microsoft.com/office/drawing/2014/chart" uri="{C3380CC4-5D6E-409C-BE32-E72D297353CC}">
                <c16:uniqueId val="{00000B6B-A7CE-4049-B88B-35FCDA646473}"/>
              </c:ext>
            </c:extLst>
          </c:dPt>
          <c:dPt>
            <c:idx val="1461"/>
            <c:invertIfNegative val="1"/>
            <c:bubble3D val="0"/>
            <c:spPr>
              <a:solidFill>
                <a:srgbClr val="AEABAB"/>
              </a:solidFill>
            </c:spPr>
            <c:extLst>
              <c:ext xmlns:c16="http://schemas.microsoft.com/office/drawing/2014/chart" uri="{C3380CC4-5D6E-409C-BE32-E72D297353CC}">
                <c16:uniqueId val="{00000B6D-A7CE-4049-B88B-35FCDA646473}"/>
              </c:ext>
            </c:extLst>
          </c:dPt>
          <c:dPt>
            <c:idx val="1462"/>
            <c:invertIfNegative val="1"/>
            <c:bubble3D val="0"/>
            <c:spPr>
              <a:solidFill>
                <a:srgbClr val="AEABAB"/>
              </a:solidFill>
            </c:spPr>
            <c:extLst>
              <c:ext xmlns:c16="http://schemas.microsoft.com/office/drawing/2014/chart" uri="{C3380CC4-5D6E-409C-BE32-E72D297353CC}">
                <c16:uniqueId val="{00000B6F-A7CE-4049-B88B-35FCDA646473}"/>
              </c:ext>
            </c:extLst>
          </c:dPt>
          <c:dPt>
            <c:idx val="1463"/>
            <c:invertIfNegative val="1"/>
            <c:bubble3D val="0"/>
            <c:spPr>
              <a:solidFill>
                <a:srgbClr val="AEABAB"/>
              </a:solidFill>
            </c:spPr>
            <c:extLst>
              <c:ext xmlns:c16="http://schemas.microsoft.com/office/drawing/2014/chart" uri="{C3380CC4-5D6E-409C-BE32-E72D297353CC}">
                <c16:uniqueId val="{00000B71-A7CE-4049-B88B-35FCDA646473}"/>
              </c:ext>
            </c:extLst>
          </c:dPt>
          <c:dPt>
            <c:idx val="1464"/>
            <c:invertIfNegative val="1"/>
            <c:bubble3D val="0"/>
            <c:spPr>
              <a:solidFill>
                <a:srgbClr val="AEABAB"/>
              </a:solidFill>
            </c:spPr>
            <c:extLst>
              <c:ext xmlns:c16="http://schemas.microsoft.com/office/drawing/2014/chart" uri="{C3380CC4-5D6E-409C-BE32-E72D297353CC}">
                <c16:uniqueId val="{00000B73-A7CE-4049-B88B-35FCDA646473}"/>
              </c:ext>
            </c:extLst>
          </c:dPt>
          <c:dPt>
            <c:idx val="1465"/>
            <c:invertIfNegative val="1"/>
            <c:bubble3D val="0"/>
            <c:spPr>
              <a:solidFill>
                <a:srgbClr val="AEABAB"/>
              </a:solidFill>
            </c:spPr>
            <c:extLst>
              <c:ext xmlns:c16="http://schemas.microsoft.com/office/drawing/2014/chart" uri="{C3380CC4-5D6E-409C-BE32-E72D297353CC}">
                <c16:uniqueId val="{00000B75-A7CE-4049-B88B-35FCDA646473}"/>
              </c:ext>
            </c:extLst>
          </c:dPt>
          <c:dPt>
            <c:idx val="1466"/>
            <c:invertIfNegative val="1"/>
            <c:bubble3D val="0"/>
            <c:spPr>
              <a:solidFill>
                <a:srgbClr val="AEABAB"/>
              </a:solidFill>
            </c:spPr>
            <c:extLst>
              <c:ext xmlns:c16="http://schemas.microsoft.com/office/drawing/2014/chart" uri="{C3380CC4-5D6E-409C-BE32-E72D297353CC}">
                <c16:uniqueId val="{00000B77-A7CE-4049-B88B-35FCDA646473}"/>
              </c:ext>
            </c:extLst>
          </c:dPt>
          <c:dPt>
            <c:idx val="1467"/>
            <c:invertIfNegative val="1"/>
            <c:bubble3D val="0"/>
            <c:spPr>
              <a:solidFill>
                <a:srgbClr val="AEABAB"/>
              </a:solidFill>
            </c:spPr>
            <c:extLst>
              <c:ext xmlns:c16="http://schemas.microsoft.com/office/drawing/2014/chart" uri="{C3380CC4-5D6E-409C-BE32-E72D297353CC}">
                <c16:uniqueId val="{00000B79-A7CE-4049-B88B-35FCDA646473}"/>
              </c:ext>
            </c:extLst>
          </c:dPt>
          <c:dPt>
            <c:idx val="1468"/>
            <c:invertIfNegative val="1"/>
            <c:bubble3D val="0"/>
            <c:spPr>
              <a:solidFill>
                <a:srgbClr val="AEABAB"/>
              </a:solidFill>
            </c:spPr>
            <c:extLst>
              <c:ext xmlns:c16="http://schemas.microsoft.com/office/drawing/2014/chart" uri="{C3380CC4-5D6E-409C-BE32-E72D297353CC}">
                <c16:uniqueId val="{00000B7B-A7CE-4049-B88B-35FCDA646473}"/>
              </c:ext>
            </c:extLst>
          </c:dPt>
          <c:dPt>
            <c:idx val="1469"/>
            <c:invertIfNegative val="1"/>
            <c:bubble3D val="0"/>
            <c:spPr>
              <a:solidFill>
                <a:srgbClr val="AEABAB"/>
              </a:solidFill>
            </c:spPr>
            <c:extLst>
              <c:ext xmlns:c16="http://schemas.microsoft.com/office/drawing/2014/chart" uri="{C3380CC4-5D6E-409C-BE32-E72D297353CC}">
                <c16:uniqueId val="{00000B7D-A7CE-4049-B88B-35FCDA646473}"/>
              </c:ext>
            </c:extLst>
          </c:dPt>
          <c:dPt>
            <c:idx val="1470"/>
            <c:invertIfNegative val="1"/>
            <c:bubble3D val="0"/>
            <c:spPr>
              <a:solidFill>
                <a:srgbClr val="AEABAB"/>
              </a:solidFill>
            </c:spPr>
            <c:extLst>
              <c:ext xmlns:c16="http://schemas.microsoft.com/office/drawing/2014/chart" uri="{C3380CC4-5D6E-409C-BE32-E72D297353CC}">
                <c16:uniqueId val="{00000B7F-A7CE-4049-B88B-35FCDA646473}"/>
              </c:ext>
            </c:extLst>
          </c:dPt>
          <c:dPt>
            <c:idx val="1471"/>
            <c:invertIfNegative val="1"/>
            <c:bubble3D val="0"/>
            <c:spPr>
              <a:solidFill>
                <a:srgbClr val="AEABAB"/>
              </a:solidFill>
            </c:spPr>
            <c:extLst>
              <c:ext xmlns:c16="http://schemas.microsoft.com/office/drawing/2014/chart" uri="{C3380CC4-5D6E-409C-BE32-E72D297353CC}">
                <c16:uniqueId val="{00000B81-A7CE-4049-B88B-35FCDA646473}"/>
              </c:ext>
            </c:extLst>
          </c:dPt>
          <c:dPt>
            <c:idx val="1472"/>
            <c:invertIfNegative val="1"/>
            <c:bubble3D val="0"/>
            <c:spPr>
              <a:solidFill>
                <a:srgbClr val="AEABAB"/>
              </a:solidFill>
            </c:spPr>
            <c:extLst>
              <c:ext xmlns:c16="http://schemas.microsoft.com/office/drawing/2014/chart" uri="{C3380CC4-5D6E-409C-BE32-E72D297353CC}">
                <c16:uniqueId val="{00000B83-A7CE-4049-B88B-35FCDA646473}"/>
              </c:ext>
            </c:extLst>
          </c:dPt>
          <c:dPt>
            <c:idx val="1473"/>
            <c:invertIfNegative val="1"/>
            <c:bubble3D val="0"/>
            <c:spPr>
              <a:solidFill>
                <a:srgbClr val="AEABAB"/>
              </a:solidFill>
            </c:spPr>
            <c:extLst>
              <c:ext xmlns:c16="http://schemas.microsoft.com/office/drawing/2014/chart" uri="{C3380CC4-5D6E-409C-BE32-E72D297353CC}">
                <c16:uniqueId val="{00000B85-A7CE-4049-B88B-35FCDA646473}"/>
              </c:ext>
            </c:extLst>
          </c:dPt>
          <c:cat>
            <c:strRef>
              <c:f>Sheet1!$A$2:$A$1475</c:f>
              <c:strCache>
                <c:ptCount val="1474"/>
                <c:pt idx="0">
                  <c:v>Caprice Des</c:v>
                </c:pt>
                <c:pt idx="1">
                  <c:v>La Vache Qu</c:v>
                </c:pt>
                <c:pt idx="2">
                  <c:v>Private Lab</c:v>
                </c:pt>
                <c:pt idx="3">
                  <c:v>Mini Babybe</c:v>
                </c:pt>
                <c:pt idx="4">
                  <c:v>Kiri</c:v>
                </c:pt>
                <c:pt idx="5">
                  <c:v>Coeur De Li</c:v>
                </c:pt>
                <c:pt idx="6">
                  <c:v>Caprice Des</c:v>
                </c:pt>
                <c:pt idx="7">
                  <c:v>President</c:v>
                </c:pt>
                <c:pt idx="8">
                  <c:v>Soignon</c:v>
                </c:pt>
                <c:pt idx="9">
                  <c:v>Soignon</c:v>
                </c:pt>
                <c:pt idx="10">
                  <c:v>Private Lab</c:v>
                </c:pt>
                <c:pt idx="11">
                  <c:v>La Vache Qu</c:v>
                </c:pt>
                <c:pt idx="12">
                  <c:v>Tartare</c:v>
                </c:pt>
                <c:pt idx="13">
                  <c:v>Coeur De Li</c:v>
                </c:pt>
                <c:pt idx="14">
                  <c:v>President</c:v>
                </c:pt>
                <c:pt idx="15">
                  <c:v>President</c:v>
                </c:pt>
                <c:pt idx="16">
                  <c:v>Le Rustique</c:v>
                </c:pt>
                <c:pt idx="17">
                  <c:v>Galbani</c:v>
                </c:pt>
                <c:pt idx="18">
                  <c:v>Ficello</c:v>
                </c:pt>
                <c:pt idx="19">
                  <c:v>Soignon</c:v>
                </c:pt>
                <c:pt idx="20">
                  <c:v>St Moret</c:v>
                </c:pt>
                <c:pt idx="21">
                  <c:v>Private Lab</c:v>
                </c:pt>
                <c:pt idx="22">
                  <c:v>St Moret</c:v>
                </c:pt>
                <c:pt idx="23">
                  <c:v>President</c:v>
                </c:pt>
                <c:pt idx="24">
                  <c:v>Mini Babybe</c:v>
                </c:pt>
                <c:pt idx="25">
                  <c:v>Kiri</c:v>
                </c:pt>
                <c:pt idx="26">
                  <c:v>St Moret</c:v>
                </c:pt>
                <c:pt idx="27">
                  <c:v>Private Lab</c:v>
                </c:pt>
                <c:pt idx="28">
                  <c:v>La Vache Qu</c:v>
                </c:pt>
                <c:pt idx="29">
                  <c:v>Private Lab</c:v>
                </c:pt>
                <c:pt idx="30">
                  <c:v>All Others</c:v>
                </c:pt>
                <c:pt idx="31">
                  <c:v>St Moret</c:v>
                </c:pt>
                <c:pt idx="32">
                  <c:v>Salakis</c:v>
                </c:pt>
                <c:pt idx="33">
                  <c:v>Carre Frais</c:v>
                </c:pt>
                <c:pt idx="34">
                  <c:v>Coeur De Li</c:v>
                </c:pt>
                <c:pt idx="35">
                  <c:v>St Moret</c:v>
                </c:pt>
                <c:pt idx="36">
                  <c:v>Paysan Bret</c:v>
                </c:pt>
                <c:pt idx="37">
                  <c:v>President</c:v>
                </c:pt>
                <c:pt idx="38">
                  <c:v>Galbani</c:v>
                </c:pt>
                <c:pt idx="39">
                  <c:v>Philadelphi</c:v>
                </c:pt>
                <c:pt idx="40">
                  <c:v>Kiri</c:v>
                </c:pt>
                <c:pt idx="41">
                  <c:v>Boursin</c:v>
                </c:pt>
                <c:pt idx="42">
                  <c:v>Carre Frais</c:v>
                </c:pt>
                <c:pt idx="43">
                  <c:v>Private Lab</c:v>
                </c:pt>
                <c:pt idx="44">
                  <c:v>Private Lab</c:v>
                </c:pt>
                <c:pt idx="45">
                  <c:v>Paysan Bret</c:v>
                </c:pt>
                <c:pt idx="46">
                  <c:v>Islos</c:v>
                </c:pt>
                <c:pt idx="47">
                  <c:v>St Moret</c:v>
                </c:pt>
                <c:pt idx="48">
                  <c:v>Private Lab</c:v>
                </c:pt>
                <c:pt idx="49">
                  <c:v>Paysan Bret</c:v>
                </c:pt>
                <c:pt idx="50">
                  <c:v>Galbani</c:v>
                </c:pt>
                <c:pt idx="51">
                  <c:v>Salakis</c:v>
                </c:pt>
                <c:pt idx="52">
                  <c:v>Tartare</c:v>
                </c:pt>
                <c:pt idx="53">
                  <c:v>Kiri</c:v>
                </c:pt>
                <c:pt idx="54">
                  <c:v>Lepetit</c:v>
                </c:pt>
                <c:pt idx="55">
                  <c:v>Istara</c:v>
                </c:pt>
                <c:pt idx="56">
                  <c:v>Coeur De Li</c:v>
                </c:pt>
                <c:pt idx="57">
                  <c:v>Casa Azzurr</c:v>
                </c:pt>
                <c:pt idx="58">
                  <c:v>Boursin</c:v>
                </c:pt>
                <c:pt idx="59">
                  <c:v>Private Lab</c:v>
                </c:pt>
                <c:pt idx="60">
                  <c:v>Private Lab</c:v>
                </c:pt>
                <c:pt idx="61">
                  <c:v>All Others</c:v>
                </c:pt>
                <c:pt idx="62">
                  <c:v>Kiri</c:v>
                </c:pt>
                <c:pt idx="63">
                  <c:v>All Others</c:v>
                </c:pt>
                <c:pt idx="64">
                  <c:v>Petit Billy</c:v>
                </c:pt>
                <c:pt idx="65">
                  <c:v>Lou Perac</c:v>
                </c:pt>
                <c:pt idx="66">
                  <c:v>Mini Babybe</c:v>
                </c:pt>
                <c:pt idx="67">
                  <c:v>Carre Frais</c:v>
                </c:pt>
                <c:pt idx="68">
                  <c:v>Mini Babybe</c:v>
                </c:pt>
                <c:pt idx="69">
                  <c:v>Boursin</c:v>
                </c:pt>
                <c:pt idx="70">
                  <c:v>All Others</c:v>
                </c:pt>
                <c:pt idx="71">
                  <c:v>Private Lab</c:v>
                </c:pt>
                <c:pt idx="72">
                  <c:v>Galbani</c:v>
                </c:pt>
                <c:pt idx="73">
                  <c:v>La Vache Qu</c:v>
                </c:pt>
                <c:pt idx="74">
                  <c:v>All Others</c:v>
                </c:pt>
                <c:pt idx="75">
                  <c:v>Private Lab</c:v>
                </c:pt>
                <c:pt idx="76">
                  <c:v>Private Lab</c:v>
                </c:pt>
                <c:pt idx="77">
                  <c:v>St Moret</c:v>
                </c:pt>
                <c:pt idx="78">
                  <c:v>President</c:v>
                </c:pt>
                <c:pt idx="79">
                  <c:v>St Moret</c:v>
                </c:pt>
                <c:pt idx="80">
                  <c:v>Private Lab</c:v>
                </c:pt>
                <c:pt idx="81">
                  <c:v>Caprice Des</c:v>
                </c:pt>
                <c:pt idx="82">
                  <c:v>Philadelphi</c:v>
                </c:pt>
                <c:pt idx="83">
                  <c:v>President</c:v>
                </c:pt>
                <c:pt idx="84">
                  <c:v>Private Lab</c:v>
                </c:pt>
                <c:pt idx="85">
                  <c:v>Philadelphi</c:v>
                </c:pt>
                <c:pt idx="86">
                  <c:v>Private Lab</c:v>
                </c:pt>
                <c:pt idx="87">
                  <c:v>Casa Azzurr</c:v>
                </c:pt>
                <c:pt idx="88">
                  <c:v>Salakis</c:v>
                </c:pt>
                <c:pt idx="89">
                  <c:v>Kiri</c:v>
                </c:pt>
                <c:pt idx="90">
                  <c:v>Istara</c:v>
                </c:pt>
                <c:pt idx="91">
                  <c:v>La Vache Qu</c:v>
                </c:pt>
                <c:pt idx="92">
                  <c:v>Ficello</c:v>
                </c:pt>
                <c:pt idx="93">
                  <c:v>Private Lab</c:v>
                </c:pt>
                <c:pt idx="94">
                  <c:v>Mini Babybe</c:v>
                </c:pt>
                <c:pt idx="95">
                  <c:v>Laita: All </c:v>
                </c:pt>
                <c:pt idx="96">
                  <c:v>La Vache Qu</c:v>
                </c:pt>
                <c:pt idx="97">
                  <c:v>Le Rustique</c:v>
                </c:pt>
                <c:pt idx="98">
                  <c:v>Private Lab</c:v>
                </c:pt>
                <c:pt idx="99">
                  <c:v>All Others</c:v>
                </c:pt>
                <c:pt idx="100">
                  <c:v>Etorki</c:v>
                </c:pt>
                <c:pt idx="101">
                  <c:v>Private Lab</c:v>
                </c:pt>
                <c:pt idx="102">
                  <c:v>Lactalis: A</c:v>
                </c:pt>
                <c:pt idx="103">
                  <c:v>Soignon</c:v>
                </c:pt>
                <c:pt idx="104">
                  <c:v>Private Lab</c:v>
                </c:pt>
                <c:pt idx="105">
                  <c:v>All Others</c:v>
                </c:pt>
                <c:pt idx="106">
                  <c:v>Coeur De Li</c:v>
                </c:pt>
                <c:pt idx="107">
                  <c:v>Caprice Des</c:v>
                </c:pt>
                <c:pt idx="108">
                  <c:v>Tartare</c:v>
                </c:pt>
                <c:pt idx="109">
                  <c:v>All Others</c:v>
                </c:pt>
                <c:pt idx="110">
                  <c:v>Salakis</c:v>
                </c:pt>
                <c:pt idx="111">
                  <c:v>Boursin</c:v>
                </c:pt>
                <c:pt idx="112">
                  <c:v>St Moret</c:v>
                </c:pt>
                <c:pt idx="113">
                  <c:v>Soignon</c:v>
                </c:pt>
                <c:pt idx="114">
                  <c:v>President</c:v>
                </c:pt>
                <c:pt idx="115">
                  <c:v>All Others</c:v>
                </c:pt>
                <c:pt idx="116">
                  <c:v>Private Lab</c:v>
                </c:pt>
                <c:pt idx="117">
                  <c:v>Private Lab</c:v>
                </c:pt>
                <c:pt idx="118">
                  <c:v>Private Lab</c:v>
                </c:pt>
                <c:pt idx="119">
                  <c:v>President</c:v>
                </c:pt>
                <c:pt idx="120">
                  <c:v>Private Lab</c:v>
                </c:pt>
                <c:pt idx="121">
                  <c:v>Soignon</c:v>
                </c:pt>
                <c:pt idx="122">
                  <c:v>Mini Babybe</c:v>
                </c:pt>
                <c:pt idx="123">
                  <c:v>Le Rustique</c:v>
                </c:pt>
                <c:pt idx="124">
                  <c:v>Soignon</c:v>
                </c:pt>
                <c:pt idx="125">
                  <c:v>Galbani</c:v>
                </c:pt>
                <c:pt idx="126">
                  <c:v>President</c:v>
                </c:pt>
                <c:pt idx="127">
                  <c:v>Lactalis: A</c:v>
                </c:pt>
                <c:pt idx="128">
                  <c:v>Caprice Des</c:v>
                </c:pt>
                <c:pt idx="129">
                  <c:v>Casa Azzurr</c:v>
                </c:pt>
                <c:pt idx="130">
                  <c:v>All Others</c:v>
                </c:pt>
                <c:pt idx="131">
                  <c:v>Casa Azzurr</c:v>
                </c:pt>
                <c:pt idx="132">
                  <c:v>Paysan Bret</c:v>
                </c:pt>
                <c:pt idx="133">
                  <c:v>Casa Azzurr</c:v>
                </c:pt>
                <c:pt idx="134">
                  <c:v>All Others</c:v>
                </c:pt>
                <c:pt idx="135">
                  <c:v>Paysan Bret</c:v>
                </c:pt>
                <c:pt idx="136">
                  <c:v>Salakis</c:v>
                </c:pt>
                <c:pt idx="137">
                  <c:v>Le Brebiou</c:v>
                </c:pt>
                <c:pt idx="138">
                  <c:v>Lactalis: A</c:v>
                </c:pt>
                <c:pt idx="139">
                  <c:v>Private Lab</c:v>
                </c:pt>
                <c:pt idx="140">
                  <c:v>Coeur De Li</c:v>
                </c:pt>
                <c:pt idx="141">
                  <c:v>Galbani</c:v>
                </c:pt>
                <c:pt idx="142">
                  <c:v>Savencia: A</c:v>
                </c:pt>
                <c:pt idx="143">
                  <c:v>Private Lab</c:v>
                </c:pt>
                <c:pt idx="144">
                  <c:v>Chavroux</c:v>
                </c:pt>
                <c:pt idx="145">
                  <c:v>Chavroux</c:v>
                </c:pt>
                <c:pt idx="146">
                  <c:v>Paysan Bret</c:v>
                </c:pt>
                <c:pt idx="147">
                  <c:v>All Others</c:v>
                </c:pt>
                <c:pt idx="148">
                  <c:v>Casa Azzurr</c:v>
                </c:pt>
                <c:pt idx="149">
                  <c:v>All Others</c:v>
                </c:pt>
                <c:pt idx="150">
                  <c:v>All Others</c:v>
                </c:pt>
                <c:pt idx="151">
                  <c:v>Private Lab</c:v>
                </c:pt>
                <c:pt idx="152">
                  <c:v>All Others</c:v>
                </c:pt>
                <c:pt idx="153">
                  <c:v>President</c:v>
                </c:pt>
                <c:pt idx="154">
                  <c:v>Casa Azzurr</c:v>
                </c:pt>
                <c:pt idx="155">
                  <c:v>Paysan Bret</c:v>
                </c:pt>
                <c:pt idx="156">
                  <c:v>Salakis</c:v>
                </c:pt>
                <c:pt idx="157">
                  <c:v>All Others</c:v>
                </c:pt>
                <c:pt idx="158">
                  <c:v>Lactalis: A</c:v>
                </c:pt>
                <c:pt idx="159">
                  <c:v>La Vache Qu</c:v>
                </c:pt>
                <c:pt idx="160">
                  <c:v>President</c:v>
                </c:pt>
                <c:pt idx="161">
                  <c:v>Le Rustique</c:v>
                </c:pt>
                <c:pt idx="162">
                  <c:v>Private Lab</c:v>
                </c:pt>
                <c:pt idx="163">
                  <c:v>Boursin</c:v>
                </c:pt>
                <c:pt idx="164">
                  <c:v>Private Lab</c:v>
                </c:pt>
                <c:pt idx="165">
                  <c:v>Lou Perac</c:v>
                </c:pt>
                <c:pt idx="166">
                  <c:v>Casa Azzurr</c:v>
                </c:pt>
                <c:pt idx="167">
                  <c:v>Soignon</c:v>
                </c:pt>
                <c:pt idx="168">
                  <c:v>Chavroux</c:v>
                </c:pt>
                <c:pt idx="169">
                  <c:v>All Others</c:v>
                </c:pt>
                <c:pt idx="170">
                  <c:v>Soignon</c:v>
                </c:pt>
                <c:pt idx="171">
                  <c:v>Etorki</c:v>
                </c:pt>
                <c:pt idx="172">
                  <c:v>All Others</c:v>
                </c:pt>
                <c:pt idx="173">
                  <c:v>President</c:v>
                </c:pt>
                <c:pt idx="174">
                  <c:v>Private Lab</c:v>
                </c:pt>
                <c:pt idx="175">
                  <c:v>Rondele</c:v>
                </c:pt>
                <c:pt idx="176">
                  <c:v>Soignon</c:v>
                </c:pt>
                <c:pt idx="177">
                  <c:v>P'Tit Louis</c:v>
                </c:pt>
                <c:pt idx="178">
                  <c:v>Galbani</c:v>
                </c:pt>
                <c:pt idx="179">
                  <c:v>Private Lab</c:v>
                </c:pt>
                <c:pt idx="180">
                  <c:v>All Others</c:v>
                </c:pt>
                <c:pt idx="181">
                  <c:v>Boursin</c:v>
                </c:pt>
                <c:pt idx="182">
                  <c:v>Caprice Des</c:v>
                </c:pt>
                <c:pt idx="183">
                  <c:v>Private Lab</c:v>
                </c:pt>
                <c:pt idx="184">
                  <c:v>Private Lab</c:v>
                </c:pt>
                <c:pt idx="185">
                  <c:v>All Others</c:v>
                </c:pt>
                <c:pt idx="186">
                  <c:v>Private Lab</c:v>
                </c:pt>
                <c:pt idx="187">
                  <c:v>Ficello</c:v>
                </c:pt>
                <c:pt idx="188">
                  <c:v>Casa Azzurr</c:v>
                </c:pt>
                <c:pt idx="189">
                  <c:v>All Others</c:v>
                </c:pt>
                <c:pt idx="190">
                  <c:v>Soignon</c:v>
                </c:pt>
                <c:pt idx="191">
                  <c:v>Private Lab</c:v>
                </c:pt>
                <c:pt idx="192">
                  <c:v>Private Lab</c:v>
                </c:pt>
                <c:pt idx="193">
                  <c:v>Soignon</c:v>
                </c:pt>
                <c:pt idx="194">
                  <c:v>P'Tit Louis</c:v>
                </c:pt>
                <c:pt idx="195">
                  <c:v>Tartare</c:v>
                </c:pt>
                <c:pt idx="196">
                  <c:v>Lactalis: A</c:v>
                </c:pt>
                <c:pt idx="197">
                  <c:v>All Others</c:v>
                </c:pt>
                <c:pt idx="198">
                  <c:v>Soignon</c:v>
                </c:pt>
                <c:pt idx="199">
                  <c:v>Galbani</c:v>
                </c:pt>
                <c:pt idx="200">
                  <c:v>Caprice Des</c:v>
                </c:pt>
                <c:pt idx="201">
                  <c:v>Private Lab</c:v>
                </c:pt>
                <c:pt idx="202">
                  <c:v>Kiri</c:v>
                </c:pt>
                <c:pt idx="203">
                  <c:v>Galbani</c:v>
                </c:pt>
                <c:pt idx="204">
                  <c:v>Boursin</c:v>
                </c:pt>
                <c:pt idx="205">
                  <c:v>All Others</c:v>
                </c:pt>
                <c:pt idx="206">
                  <c:v>All Others</c:v>
                </c:pt>
                <c:pt idx="207">
                  <c:v>Salakis</c:v>
                </c:pt>
                <c:pt idx="208">
                  <c:v>All Others</c:v>
                </c:pt>
                <c:pt idx="209">
                  <c:v>All Others</c:v>
                </c:pt>
                <c:pt idx="210">
                  <c:v>All Others</c:v>
                </c:pt>
                <c:pt idx="211">
                  <c:v>All Others</c:v>
                </c:pt>
                <c:pt idx="212">
                  <c:v>Caprice Des</c:v>
                </c:pt>
                <c:pt idx="213">
                  <c:v>Mini Babybe</c:v>
                </c:pt>
                <c:pt idx="214">
                  <c:v>Casa Azzurr</c:v>
                </c:pt>
                <c:pt idx="215">
                  <c:v>Private Lab</c:v>
                </c:pt>
                <c:pt idx="216">
                  <c:v>Paysan Bret</c:v>
                </c:pt>
                <c:pt idx="217">
                  <c:v>Tartare</c:v>
                </c:pt>
                <c:pt idx="218">
                  <c:v>Private Lab</c:v>
                </c:pt>
                <c:pt idx="219">
                  <c:v>Pave D'Affi</c:v>
                </c:pt>
                <c:pt idx="220">
                  <c:v>P'Tit Louis</c:v>
                </c:pt>
                <c:pt idx="221">
                  <c:v>Private Lab</c:v>
                </c:pt>
                <c:pt idx="222">
                  <c:v>All Others</c:v>
                </c:pt>
                <c:pt idx="223">
                  <c:v>Casa Azzurr</c:v>
                </c:pt>
                <c:pt idx="224">
                  <c:v>Boursin</c:v>
                </c:pt>
                <c:pt idx="225">
                  <c:v>Mini Babybe</c:v>
                </c:pt>
                <c:pt idx="226">
                  <c:v>La Vache Qu</c:v>
                </c:pt>
                <c:pt idx="227">
                  <c:v>Private Lab</c:v>
                </c:pt>
                <c:pt idx="228">
                  <c:v>Boursin</c:v>
                </c:pt>
                <c:pt idx="229">
                  <c:v>Tartare</c:v>
                </c:pt>
                <c:pt idx="230">
                  <c:v>All Others</c:v>
                </c:pt>
                <c:pt idx="231">
                  <c:v>All Others</c:v>
                </c:pt>
                <c:pt idx="232">
                  <c:v>All Others</c:v>
                </c:pt>
                <c:pt idx="233">
                  <c:v>Private Lab</c:v>
                </c:pt>
                <c:pt idx="234">
                  <c:v>Lactalis: A</c:v>
                </c:pt>
                <c:pt idx="235">
                  <c:v>Lou Perac</c:v>
                </c:pt>
                <c:pt idx="236">
                  <c:v>All Others</c:v>
                </c:pt>
                <c:pt idx="237">
                  <c:v>All Others</c:v>
                </c:pt>
                <c:pt idx="238">
                  <c:v>All Others</c:v>
                </c:pt>
                <c:pt idx="239">
                  <c:v>Lactalis: A</c:v>
                </c:pt>
                <c:pt idx="240">
                  <c:v>St Moret</c:v>
                </c:pt>
                <c:pt idx="241">
                  <c:v>All Others</c:v>
                </c:pt>
                <c:pt idx="242">
                  <c:v>Philadelphi</c:v>
                </c:pt>
                <c:pt idx="243">
                  <c:v>Casa Azzurr</c:v>
                </c:pt>
                <c:pt idx="244">
                  <c:v>Private Lab</c:v>
                </c:pt>
                <c:pt idx="245">
                  <c:v>All Others</c:v>
                </c:pt>
                <c:pt idx="246">
                  <c:v>Private Lab</c:v>
                </c:pt>
                <c:pt idx="247">
                  <c:v>Tartare</c:v>
                </c:pt>
                <c:pt idx="248">
                  <c:v>Private Lab</c:v>
                </c:pt>
                <c:pt idx="249">
                  <c:v>President</c:v>
                </c:pt>
                <c:pt idx="250">
                  <c:v>Private Lab</c:v>
                </c:pt>
                <c:pt idx="251">
                  <c:v>All Others</c:v>
                </c:pt>
                <c:pt idx="252">
                  <c:v>Corsica</c:v>
                </c:pt>
                <c:pt idx="253">
                  <c:v>Kiri</c:v>
                </c:pt>
                <c:pt idx="254">
                  <c:v>Ficello</c:v>
                </c:pt>
                <c:pt idx="255">
                  <c:v>Lou Perac</c:v>
                </c:pt>
                <c:pt idx="256">
                  <c:v>Private Lab</c:v>
                </c:pt>
                <c:pt idx="257">
                  <c:v>Private Lab</c:v>
                </c:pt>
                <c:pt idx="258">
                  <c:v>Istara</c:v>
                </c:pt>
                <c:pt idx="259">
                  <c:v>All Others</c:v>
                </c:pt>
                <c:pt idx="260">
                  <c:v>All Others</c:v>
                </c:pt>
                <c:pt idx="261">
                  <c:v>All Others</c:v>
                </c:pt>
                <c:pt idx="262">
                  <c:v>Paysan Bret</c:v>
                </c:pt>
                <c:pt idx="263">
                  <c:v>All Others</c:v>
                </c:pt>
                <c:pt idx="264">
                  <c:v>All Others</c:v>
                </c:pt>
                <c:pt idx="265">
                  <c:v>All Others</c:v>
                </c:pt>
                <c:pt idx="266">
                  <c:v>Savencia: A</c:v>
                </c:pt>
                <c:pt idx="267">
                  <c:v>All Others</c:v>
                </c:pt>
                <c:pt idx="268">
                  <c:v>Galbani</c:v>
                </c:pt>
                <c:pt idx="269">
                  <c:v>All Others</c:v>
                </c:pt>
                <c:pt idx="270">
                  <c:v>All Others</c:v>
                </c:pt>
                <c:pt idx="271">
                  <c:v>Galbani</c:v>
                </c:pt>
                <c:pt idx="272">
                  <c:v>All Others</c:v>
                </c:pt>
                <c:pt idx="273">
                  <c:v>President</c:v>
                </c:pt>
                <c:pt idx="274">
                  <c:v>Private Lab</c:v>
                </c:pt>
                <c:pt idx="275">
                  <c:v>Corsica</c:v>
                </c:pt>
                <c:pt idx="276">
                  <c:v>All Others</c:v>
                </c:pt>
                <c:pt idx="277">
                  <c:v>Triballat N</c:v>
                </c:pt>
                <c:pt idx="278">
                  <c:v>Private Lab</c:v>
                </c:pt>
                <c:pt idx="279">
                  <c:v>Private Lab</c:v>
                </c:pt>
                <c:pt idx="280">
                  <c:v>Private Lab</c:v>
                </c:pt>
                <c:pt idx="281">
                  <c:v>All Others</c:v>
                </c:pt>
                <c:pt idx="282">
                  <c:v>Savencia: A</c:v>
                </c:pt>
                <c:pt idx="283">
                  <c:v>All Others</c:v>
                </c:pt>
                <c:pt idx="284">
                  <c:v>Private Lab</c:v>
                </c:pt>
                <c:pt idx="285">
                  <c:v>Private Lab</c:v>
                </c:pt>
                <c:pt idx="286">
                  <c:v>Private Lab</c:v>
                </c:pt>
                <c:pt idx="287">
                  <c:v>Private Lab</c:v>
                </c:pt>
                <c:pt idx="288">
                  <c:v>All Others</c:v>
                </c:pt>
                <c:pt idx="289">
                  <c:v>Private Lab</c:v>
                </c:pt>
                <c:pt idx="290">
                  <c:v>All Others</c:v>
                </c:pt>
                <c:pt idx="291">
                  <c:v>Private Lab</c:v>
                </c:pt>
                <c:pt idx="292">
                  <c:v>Private Lab</c:v>
                </c:pt>
                <c:pt idx="293">
                  <c:v>All Others</c:v>
                </c:pt>
                <c:pt idx="294">
                  <c:v>Private Lab</c:v>
                </c:pt>
                <c:pt idx="295">
                  <c:v>All Others</c:v>
                </c:pt>
                <c:pt idx="296">
                  <c:v>Boursin</c:v>
                </c:pt>
                <c:pt idx="297">
                  <c:v>All Others</c:v>
                </c:pt>
                <c:pt idx="298">
                  <c:v>Islos</c:v>
                </c:pt>
                <c:pt idx="299">
                  <c:v>All Others</c:v>
                </c:pt>
                <c:pt idx="300">
                  <c:v>Mini Babybe</c:v>
                </c:pt>
                <c:pt idx="301">
                  <c:v>All Others</c:v>
                </c:pt>
                <c:pt idx="302">
                  <c:v>Private Lab</c:v>
                </c:pt>
                <c:pt idx="303">
                  <c:v>Casa Azzurr</c:v>
                </c:pt>
                <c:pt idx="304">
                  <c:v>Galbani</c:v>
                </c:pt>
                <c:pt idx="305">
                  <c:v>Casa Azzurr</c:v>
                </c:pt>
                <c:pt idx="306">
                  <c:v>Private Lab</c:v>
                </c:pt>
                <c:pt idx="307">
                  <c:v>All Others</c:v>
                </c:pt>
                <c:pt idx="308">
                  <c:v>All Others</c:v>
                </c:pt>
                <c:pt idx="309">
                  <c:v>All Others</c:v>
                </c:pt>
                <c:pt idx="310">
                  <c:v>Kiri</c:v>
                </c:pt>
                <c:pt idx="311">
                  <c:v>Rondele</c:v>
                </c:pt>
                <c:pt idx="312">
                  <c:v>Ficello</c:v>
                </c:pt>
                <c:pt idx="313">
                  <c:v>All Others</c:v>
                </c:pt>
                <c:pt idx="314">
                  <c:v>Private Lab</c:v>
                </c:pt>
                <c:pt idx="315">
                  <c:v>Casa Azzurr</c:v>
                </c:pt>
                <c:pt idx="316">
                  <c:v>Private Lab</c:v>
                </c:pt>
                <c:pt idx="317">
                  <c:v>All Others</c:v>
                </c:pt>
                <c:pt idx="318">
                  <c:v>All Others</c:v>
                </c:pt>
                <c:pt idx="319">
                  <c:v>All Others</c:v>
                </c:pt>
                <c:pt idx="320">
                  <c:v>All Others</c:v>
                </c:pt>
                <c:pt idx="321">
                  <c:v>President</c:v>
                </c:pt>
                <c:pt idx="322">
                  <c:v>All Others</c:v>
                </c:pt>
                <c:pt idx="323">
                  <c:v>All Others</c:v>
                </c:pt>
                <c:pt idx="324">
                  <c:v>All Others</c:v>
                </c:pt>
                <c:pt idx="325">
                  <c:v>Private Lab</c:v>
                </c:pt>
                <c:pt idx="326">
                  <c:v>Private Lab</c:v>
                </c:pt>
                <c:pt idx="327">
                  <c:v>Galbani</c:v>
                </c:pt>
                <c:pt idx="328">
                  <c:v>Etoile Du Q</c:v>
                </c:pt>
                <c:pt idx="329">
                  <c:v>Eurial Autr</c:v>
                </c:pt>
                <c:pt idx="330">
                  <c:v>All Others</c:v>
                </c:pt>
                <c:pt idx="331">
                  <c:v>Private Lab</c:v>
                </c:pt>
                <c:pt idx="332">
                  <c:v>All Others</c:v>
                </c:pt>
                <c:pt idx="333">
                  <c:v>All Others</c:v>
                </c:pt>
                <c:pt idx="334">
                  <c:v>Boursin</c:v>
                </c:pt>
                <c:pt idx="335">
                  <c:v>Kiri</c:v>
                </c:pt>
                <c:pt idx="336">
                  <c:v>Lou Perac</c:v>
                </c:pt>
                <c:pt idx="337">
                  <c:v>Saint Agur</c:v>
                </c:pt>
                <c:pt idx="338">
                  <c:v>All Others</c:v>
                </c:pt>
                <c:pt idx="339">
                  <c:v>All Others</c:v>
                </c:pt>
                <c:pt idx="340">
                  <c:v>All Others</c:v>
                </c:pt>
                <c:pt idx="341">
                  <c:v>All Others</c:v>
                </c:pt>
                <c:pt idx="342">
                  <c:v>Boursin</c:v>
                </c:pt>
                <c:pt idx="343">
                  <c:v>Salakis</c:v>
                </c:pt>
                <c:pt idx="344">
                  <c:v>All Others</c:v>
                </c:pt>
                <c:pt idx="345">
                  <c:v>All Others</c:v>
                </c:pt>
                <c:pt idx="346">
                  <c:v>All Others</c:v>
                </c:pt>
                <c:pt idx="347">
                  <c:v>All Others</c:v>
                </c:pt>
                <c:pt idx="348">
                  <c:v>Mini Babybe</c:v>
                </c:pt>
                <c:pt idx="349">
                  <c:v>Private Lab</c:v>
                </c:pt>
                <c:pt idx="350">
                  <c:v>Etoile Du V</c:v>
                </c:pt>
                <c:pt idx="351">
                  <c:v>All Others</c:v>
                </c:pt>
                <c:pt idx="352">
                  <c:v>All Others</c:v>
                </c:pt>
                <c:pt idx="353">
                  <c:v>All Others</c:v>
                </c:pt>
                <c:pt idx="354">
                  <c:v>All Others</c:v>
                </c:pt>
                <c:pt idx="355">
                  <c:v>Rondele</c:v>
                </c:pt>
                <c:pt idx="356">
                  <c:v>All Others</c:v>
                </c:pt>
                <c:pt idx="357">
                  <c:v>Savencia: A</c:v>
                </c:pt>
                <c:pt idx="358">
                  <c:v>All Others</c:v>
                </c:pt>
                <c:pt idx="359">
                  <c:v>Private Lab</c:v>
                </c:pt>
                <c:pt idx="360">
                  <c:v>Private Lab</c:v>
                </c:pt>
                <c:pt idx="361">
                  <c:v>All Others</c:v>
                </c:pt>
                <c:pt idx="362">
                  <c:v>All Others</c:v>
                </c:pt>
                <c:pt idx="363">
                  <c:v>All Others</c:v>
                </c:pt>
                <c:pt idx="364">
                  <c:v>Private Lab</c:v>
                </c:pt>
                <c:pt idx="365">
                  <c:v>Soignon</c:v>
                </c:pt>
                <c:pt idx="366">
                  <c:v>All Others</c:v>
                </c:pt>
                <c:pt idx="367">
                  <c:v>Milleret: A</c:v>
                </c:pt>
                <c:pt idx="368">
                  <c:v>Triballat R</c:v>
                </c:pt>
                <c:pt idx="369">
                  <c:v>All Others</c:v>
                </c:pt>
                <c:pt idx="370">
                  <c:v>Mini Babybe</c:v>
                </c:pt>
                <c:pt idx="371">
                  <c:v>All Others</c:v>
                </c:pt>
                <c:pt idx="372">
                  <c:v>Salakis</c:v>
                </c:pt>
                <c:pt idx="373">
                  <c:v>Private Lab</c:v>
                </c:pt>
                <c:pt idx="374">
                  <c:v>All Others</c:v>
                </c:pt>
                <c:pt idx="375">
                  <c:v>All Others</c:v>
                </c:pt>
                <c:pt idx="376">
                  <c:v>Boursin</c:v>
                </c:pt>
                <c:pt idx="377">
                  <c:v>Private Lab</c:v>
                </c:pt>
                <c:pt idx="378">
                  <c:v>Savencia: A</c:v>
                </c:pt>
                <c:pt idx="379">
                  <c:v>All Others</c:v>
                </c:pt>
                <c:pt idx="380">
                  <c:v>All Others</c:v>
                </c:pt>
                <c:pt idx="381">
                  <c:v>Mini Babybe</c:v>
                </c:pt>
                <c:pt idx="382">
                  <c:v>St Moret</c:v>
                </c:pt>
                <c:pt idx="383">
                  <c:v>President</c:v>
                </c:pt>
                <c:pt idx="384">
                  <c:v>Saint Agur</c:v>
                </c:pt>
                <c:pt idx="385">
                  <c:v>Etoile Du V</c:v>
                </c:pt>
                <c:pt idx="386">
                  <c:v>All Others</c:v>
                </c:pt>
                <c:pt idx="387">
                  <c:v>All Others</c:v>
                </c:pt>
                <c:pt idx="388">
                  <c:v>Private Lab</c:v>
                </c:pt>
                <c:pt idx="389">
                  <c:v>La Vache Qu</c:v>
                </c:pt>
                <c:pt idx="390">
                  <c:v>All Others</c:v>
                </c:pt>
                <c:pt idx="391">
                  <c:v>Private Lab</c:v>
                </c:pt>
                <c:pt idx="392">
                  <c:v>All Others</c:v>
                </c:pt>
                <c:pt idx="393">
                  <c:v>All Others</c:v>
                </c:pt>
                <c:pt idx="394">
                  <c:v>Boursin</c:v>
                </c:pt>
                <c:pt idx="395">
                  <c:v>Triballat R</c:v>
                </c:pt>
                <c:pt idx="396">
                  <c:v>All Others</c:v>
                </c:pt>
                <c:pt idx="397">
                  <c:v>All Others</c:v>
                </c:pt>
                <c:pt idx="398">
                  <c:v>All Others</c:v>
                </c:pt>
                <c:pt idx="399">
                  <c:v>All Others</c:v>
                </c:pt>
                <c:pt idx="400">
                  <c:v>All Others</c:v>
                </c:pt>
                <c:pt idx="401">
                  <c:v>Savencia: A</c:v>
                </c:pt>
                <c:pt idx="402">
                  <c:v>Private Lab</c:v>
                </c:pt>
                <c:pt idx="403">
                  <c:v>All Others</c:v>
                </c:pt>
                <c:pt idx="404">
                  <c:v>St Moret</c:v>
                </c:pt>
                <c:pt idx="405">
                  <c:v>Islos</c:v>
                </c:pt>
                <c:pt idx="406">
                  <c:v>Triballat N</c:v>
                </c:pt>
                <c:pt idx="407">
                  <c:v>Private Lab</c:v>
                </c:pt>
                <c:pt idx="408">
                  <c:v>President</c:v>
                </c:pt>
                <c:pt idx="409">
                  <c:v>All Others</c:v>
                </c:pt>
                <c:pt idx="410">
                  <c:v>All Others</c:v>
                </c:pt>
                <c:pt idx="411">
                  <c:v>All Others</c:v>
                </c:pt>
                <c:pt idx="412">
                  <c:v>Etorki</c:v>
                </c:pt>
                <c:pt idx="413">
                  <c:v>Private Lab</c:v>
                </c:pt>
                <c:pt idx="414">
                  <c:v>Boursin</c:v>
                </c:pt>
                <c:pt idx="415">
                  <c:v>Etoile Du Q</c:v>
                </c:pt>
                <c:pt idx="416">
                  <c:v>Tartare</c:v>
                </c:pt>
                <c:pt idx="417">
                  <c:v>All Others</c:v>
                </c:pt>
                <c:pt idx="418">
                  <c:v>All Others</c:v>
                </c:pt>
                <c:pt idx="419">
                  <c:v>All Others</c:v>
                </c:pt>
                <c:pt idx="420">
                  <c:v>Eurial Autr</c:v>
                </c:pt>
                <c:pt idx="421">
                  <c:v>All Others</c:v>
                </c:pt>
                <c:pt idx="422">
                  <c:v>Lactalis: A</c:v>
                </c:pt>
                <c:pt idx="423">
                  <c:v>Private Lab</c:v>
                </c:pt>
                <c:pt idx="424">
                  <c:v>All Others</c:v>
                </c:pt>
                <c:pt idx="425">
                  <c:v>All Others</c:v>
                </c:pt>
                <c:pt idx="426">
                  <c:v>All Others</c:v>
                </c:pt>
                <c:pt idx="427">
                  <c:v>Private Lab</c:v>
                </c:pt>
                <c:pt idx="428">
                  <c:v>All Others</c:v>
                </c:pt>
                <c:pt idx="429">
                  <c:v>All Others</c:v>
                </c:pt>
                <c:pt idx="430">
                  <c:v>All Others</c:v>
                </c:pt>
                <c:pt idx="431">
                  <c:v>All Others</c:v>
                </c:pt>
                <c:pt idx="432">
                  <c:v>Casa Azzurr</c:v>
                </c:pt>
                <c:pt idx="433">
                  <c:v>Boursin</c:v>
                </c:pt>
                <c:pt idx="434">
                  <c:v>All Others</c:v>
                </c:pt>
                <c:pt idx="435">
                  <c:v>All Others</c:v>
                </c:pt>
                <c:pt idx="436">
                  <c:v>Private Lab</c:v>
                </c:pt>
                <c:pt idx="437">
                  <c:v>All Others</c:v>
                </c:pt>
                <c:pt idx="438">
                  <c:v>All Others</c:v>
                </c:pt>
                <c:pt idx="439">
                  <c:v>Etoile Du Q</c:v>
                </c:pt>
                <c:pt idx="440">
                  <c:v>Boursin</c:v>
                </c:pt>
                <c:pt idx="441">
                  <c:v>All Others</c:v>
                </c:pt>
                <c:pt idx="442">
                  <c:v>All Others</c:v>
                </c:pt>
                <c:pt idx="443">
                  <c:v>Private Lab</c:v>
                </c:pt>
                <c:pt idx="444">
                  <c:v>Soignon</c:v>
                </c:pt>
                <c:pt idx="445">
                  <c:v>All Others</c:v>
                </c:pt>
                <c:pt idx="446">
                  <c:v>All Others</c:v>
                </c:pt>
                <c:pt idx="447">
                  <c:v>Lactalis: A</c:v>
                </c:pt>
                <c:pt idx="448">
                  <c:v>All Others</c:v>
                </c:pt>
                <c:pt idx="449">
                  <c:v>Soignon</c:v>
                </c:pt>
                <c:pt idx="450">
                  <c:v>All Others</c:v>
                </c:pt>
                <c:pt idx="451">
                  <c:v>Triballat N</c:v>
                </c:pt>
                <c:pt idx="452">
                  <c:v>Boursin</c:v>
                </c:pt>
                <c:pt idx="453">
                  <c:v>All Others</c:v>
                </c:pt>
                <c:pt idx="454">
                  <c:v>Le Brebiou</c:v>
                </c:pt>
                <c:pt idx="455">
                  <c:v>Savencia: A</c:v>
                </c:pt>
                <c:pt idx="456">
                  <c:v>All Others</c:v>
                </c:pt>
                <c:pt idx="457">
                  <c:v>All Others</c:v>
                </c:pt>
                <c:pt idx="458">
                  <c:v>Private Lab</c:v>
                </c:pt>
                <c:pt idx="459">
                  <c:v>All Others</c:v>
                </c:pt>
                <c:pt idx="460">
                  <c:v>All Others</c:v>
                </c:pt>
                <c:pt idx="461">
                  <c:v>Lactalis: A</c:v>
                </c:pt>
                <c:pt idx="462">
                  <c:v>All Others</c:v>
                </c:pt>
                <c:pt idx="463">
                  <c:v>Private Lab</c:v>
                </c:pt>
                <c:pt idx="464">
                  <c:v>All Others</c:v>
                </c:pt>
                <c:pt idx="465">
                  <c:v>All Others</c:v>
                </c:pt>
                <c:pt idx="466">
                  <c:v>Chavroux</c:v>
                </c:pt>
                <c:pt idx="467">
                  <c:v>Coeur De Li</c:v>
                </c:pt>
                <c:pt idx="468">
                  <c:v>Salakis</c:v>
                </c:pt>
                <c:pt idx="469">
                  <c:v>Private Lab</c:v>
                </c:pt>
                <c:pt idx="470">
                  <c:v>All Others</c:v>
                </c:pt>
                <c:pt idx="471">
                  <c:v>All Others</c:v>
                </c:pt>
                <c:pt idx="472">
                  <c:v>Etoile Du V</c:v>
                </c:pt>
                <c:pt idx="473">
                  <c:v>Milleret: A</c:v>
                </c:pt>
                <c:pt idx="474">
                  <c:v>Paysan Bret</c:v>
                </c:pt>
                <c:pt idx="475">
                  <c:v>Etoile Du V</c:v>
                </c:pt>
                <c:pt idx="476">
                  <c:v>All Others</c:v>
                </c:pt>
                <c:pt idx="477">
                  <c:v>Lactalis: A</c:v>
                </c:pt>
                <c:pt idx="478">
                  <c:v>Casa Azzurr</c:v>
                </c:pt>
                <c:pt idx="479">
                  <c:v>All Others</c:v>
                </c:pt>
                <c:pt idx="480">
                  <c:v>All Others</c:v>
                </c:pt>
                <c:pt idx="481">
                  <c:v>All Others</c:v>
                </c:pt>
                <c:pt idx="482">
                  <c:v>All Others</c:v>
                </c:pt>
                <c:pt idx="483">
                  <c:v>All Others</c:v>
                </c:pt>
                <c:pt idx="484">
                  <c:v>Carre Frais</c:v>
                </c:pt>
                <c:pt idx="485">
                  <c:v>All Others</c:v>
                </c:pt>
                <c:pt idx="486">
                  <c:v>Triballat R</c:v>
                </c:pt>
                <c:pt idx="487">
                  <c:v>All Others</c:v>
                </c:pt>
                <c:pt idx="488">
                  <c:v>Tartare</c:v>
                </c:pt>
                <c:pt idx="489">
                  <c:v>All Others</c:v>
                </c:pt>
                <c:pt idx="490">
                  <c:v>Casa Azzurr</c:v>
                </c:pt>
                <c:pt idx="491">
                  <c:v>Paysan Bret</c:v>
                </c:pt>
                <c:pt idx="492">
                  <c:v>All Others</c:v>
                </c:pt>
                <c:pt idx="493">
                  <c:v>All Others</c:v>
                </c:pt>
                <c:pt idx="494">
                  <c:v>Private Lab</c:v>
                </c:pt>
                <c:pt idx="495">
                  <c:v>Etoile Du V</c:v>
                </c:pt>
                <c:pt idx="496">
                  <c:v>Etoile Du Q</c:v>
                </c:pt>
                <c:pt idx="497">
                  <c:v>All Others</c:v>
                </c:pt>
                <c:pt idx="498">
                  <c:v>All Others</c:v>
                </c:pt>
                <c:pt idx="499">
                  <c:v>All Others</c:v>
                </c:pt>
                <c:pt idx="500">
                  <c:v>Private Lab</c:v>
                </c:pt>
                <c:pt idx="501">
                  <c:v>All Others</c:v>
                </c:pt>
                <c:pt idx="502">
                  <c:v>All Others</c:v>
                </c:pt>
                <c:pt idx="503">
                  <c:v>Private Lab</c:v>
                </c:pt>
                <c:pt idx="504">
                  <c:v>All Others</c:v>
                </c:pt>
                <c:pt idx="505">
                  <c:v>All Others</c:v>
                </c:pt>
                <c:pt idx="506">
                  <c:v>All Others</c:v>
                </c:pt>
                <c:pt idx="507">
                  <c:v>Milleret: A</c:v>
                </c:pt>
                <c:pt idx="508">
                  <c:v>Etoile Du V</c:v>
                </c:pt>
                <c:pt idx="509">
                  <c:v>All Others</c:v>
                </c:pt>
                <c:pt idx="510">
                  <c:v>Corsica</c:v>
                </c:pt>
                <c:pt idx="511">
                  <c:v>All Others</c:v>
                </c:pt>
                <c:pt idx="512">
                  <c:v>All Others</c:v>
                </c:pt>
                <c:pt idx="513">
                  <c:v>All Others</c:v>
                </c:pt>
                <c:pt idx="514">
                  <c:v>All Others</c:v>
                </c:pt>
                <c:pt idx="515">
                  <c:v>All Others</c:v>
                </c:pt>
                <c:pt idx="516">
                  <c:v>All Others</c:v>
                </c:pt>
                <c:pt idx="517">
                  <c:v>All Others</c:v>
                </c:pt>
                <c:pt idx="518">
                  <c:v>All Others</c:v>
                </c:pt>
                <c:pt idx="519">
                  <c:v>All Others</c:v>
                </c:pt>
                <c:pt idx="520">
                  <c:v>Lactalis: A</c:v>
                </c:pt>
                <c:pt idx="521">
                  <c:v>All Others</c:v>
                </c:pt>
                <c:pt idx="522">
                  <c:v>All Others</c:v>
                </c:pt>
                <c:pt idx="523">
                  <c:v>All Others</c:v>
                </c:pt>
                <c:pt idx="524">
                  <c:v>Private Lab</c:v>
                </c:pt>
                <c:pt idx="525">
                  <c:v>Private Lab</c:v>
                </c:pt>
                <c:pt idx="526">
                  <c:v>Mini Babybe</c:v>
                </c:pt>
                <c:pt idx="527">
                  <c:v>All Others</c:v>
                </c:pt>
                <c:pt idx="528">
                  <c:v>All Others</c:v>
                </c:pt>
                <c:pt idx="529">
                  <c:v>All Others</c:v>
                </c:pt>
                <c:pt idx="530">
                  <c:v>All Others</c:v>
                </c:pt>
                <c:pt idx="531">
                  <c:v>All Others</c:v>
                </c:pt>
                <c:pt idx="532">
                  <c:v>All Others</c:v>
                </c:pt>
                <c:pt idx="533">
                  <c:v>P'Tit Louis</c:v>
                </c:pt>
                <c:pt idx="534">
                  <c:v>All Others</c:v>
                </c:pt>
                <c:pt idx="535">
                  <c:v>All Others</c:v>
                </c:pt>
                <c:pt idx="536">
                  <c:v>All Others</c:v>
                </c:pt>
                <c:pt idx="537">
                  <c:v>All Others</c:v>
                </c:pt>
                <c:pt idx="538">
                  <c:v>Boursin</c:v>
                </c:pt>
                <c:pt idx="539">
                  <c:v>Private Lab</c:v>
                </c:pt>
                <c:pt idx="540">
                  <c:v>All Others</c:v>
                </c:pt>
                <c:pt idx="541">
                  <c:v>All Others</c:v>
                </c:pt>
                <c:pt idx="542">
                  <c:v>All Others</c:v>
                </c:pt>
                <c:pt idx="543">
                  <c:v>All Others</c:v>
                </c:pt>
                <c:pt idx="544">
                  <c:v>All Others</c:v>
                </c:pt>
                <c:pt idx="545">
                  <c:v>All Others</c:v>
                </c:pt>
                <c:pt idx="546">
                  <c:v>Triballat N</c:v>
                </c:pt>
                <c:pt idx="547">
                  <c:v>All Others</c:v>
                </c:pt>
                <c:pt idx="548">
                  <c:v>Petit Billy</c:v>
                </c:pt>
                <c:pt idx="549">
                  <c:v>La Vache Qu</c:v>
                </c:pt>
                <c:pt idx="550">
                  <c:v>Private Lab</c:v>
                </c:pt>
                <c:pt idx="551">
                  <c:v>All Others</c:v>
                </c:pt>
                <c:pt idx="552">
                  <c:v>Galbani</c:v>
                </c:pt>
                <c:pt idx="553">
                  <c:v>All Others</c:v>
                </c:pt>
                <c:pt idx="554">
                  <c:v>Lactalis: A</c:v>
                </c:pt>
                <c:pt idx="555">
                  <c:v>All Others</c:v>
                </c:pt>
                <c:pt idx="556">
                  <c:v>St Moret</c:v>
                </c:pt>
                <c:pt idx="557">
                  <c:v>All Others</c:v>
                </c:pt>
                <c:pt idx="558">
                  <c:v>All Others</c:v>
                </c:pt>
                <c:pt idx="559">
                  <c:v>Boursin</c:v>
                </c:pt>
                <c:pt idx="560">
                  <c:v>All Others</c:v>
                </c:pt>
                <c:pt idx="561">
                  <c:v>All Others</c:v>
                </c:pt>
                <c:pt idx="562">
                  <c:v>All Others</c:v>
                </c:pt>
                <c:pt idx="563">
                  <c:v>All Others</c:v>
                </c:pt>
                <c:pt idx="564">
                  <c:v>All Others</c:v>
                </c:pt>
                <c:pt idx="565">
                  <c:v>All Others</c:v>
                </c:pt>
                <c:pt idx="566">
                  <c:v>Savencia: A</c:v>
                </c:pt>
                <c:pt idx="567">
                  <c:v>All Others</c:v>
                </c:pt>
                <c:pt idx="568">
                  <c:v>All Others</c:v>
                </c:pt>
                <c:pt idx="569">
                  <c:v>All Others</c:v>
                </c:pt>
                <c:pt idx="570">
                  <c:v>Triballat N</c:v>
                </c:pt>
                <c:pt idx="571">
                  <c:v>All Others</c:v>
                </c:pt>
                <c:pt idx="572">
                  <c:v>All Others</c:v>
                </c:pt>
                <c:pt idx="573">
                  <c:v>Boursin</c:v>
                </c:pt>
                <c:pt idx="574">
                  <c:v>All Others</c:v>
                </c:pt>
                <c:pt idx="575">
                  <c:v>Savencia: A</c:v>
                </c:pt>
                <c:pt idx="576">
                  <c:v>Lactalis: A</c:v>
                </c:pt>
                <c:pt idx="577">
                  <c:v>All Others</c:v>
                </c:pt>
                <c:pt idx="578">
                  <c:v>All Others</c:v>
                </c:pt>
                <c:pt idx="579">
                  <c:v>All Others</c:v>
                </c:pt>
                <c:pt idx="580">
                  <c:v>Private Lab</c:v>
                </c:pt>
                <c:pt idx="581">
                  <c:v>Private Lab</c:v>
                </c:pt>
                <c:pt idx="582">
                  <c:v>All Others</c:v>
                </c:pt>
                <c:pt idx="583">
                  <c:v>Private Lab</c:v>
                </c:pt>
                <c:pt idx="584">
                  <c:v>All Others</c:v>
                </c:pt>
                <c:pt idx="585">
                  <c:v>All Others</c:v>
                </c:pt>
                <c:pt idx="586">
                  <c:v>Salakis</c:v>
                </c:pt>
                <c:pt idx="587">
                  <c:v>All Others</c:v>
                </c:pt>
                <c:pt idx="588">
                  <c:v>All Others</c:v>
                </c:pt>
                <c:pt idx="589">
                  <c:v>Triballat N</c:v>
                </c:pt>
                <c:pt idx="590">
                  <c:v>All Others</c:v>
                </c:pt>
                <c:pt idx="591">
                  <c:v>All Others</c:v>
                </c:pt>
                <c:pt idx="592">
                  <c:v>Private Lab</c:v>
                </c:pt>
                <c:pt idx="593">
                  <c:v>All Others</c:v>
                </c:pt>
                <c:pt idx="594">
                  <c:v>Savencia: A</c:v>
                </c:pt>
                <c:pt idx="595">
                  <c:v>Petit Billy</c:v>
                </c:pt>
                <c:pt idx="596">
                  <c:v>Salakis</c:v>
                </c:pt>
                <c:pt idx="597">
                  <c:v>All Others</c:v>
                </c:pt>
                <c:pt idx="598">
                  <c:v>All Others</c:v>
                </c:pt>
                <c:pt idx="599">
                  <c:v>All Others</c:v>
                </c:pt>
                <c:pt idx="600">
                  <c:v>Private Lab</c:v>
                </c:pt>
                <c:pt idx="601">
                  <c:v>All Others</c:v>
                </c:pt>
                <c:pt idx="602">
                  <c:v>Tartare</c:v>
                </c:pt>
                <c:pt idx="603">
                  <c:v>All Others</c:v>
                </c:pt>
                <c:pt idx="604">
                  <c:v>All Others</c:v>
                </c:pt>
                <c:pt idx="605">
                  <c:v>All Others</c:v>
                </c:pt>
                <c:pt idx="606">
                  <c:v>All Others</c:v>
                </c:pt>
                <c:pt idx="607">
                  <c:v>All Others</c:v>
                </c:pt>
                <c:pt idx="608">
                  <c:v>All Others</c:v>
                </c:pt>
                <c:pt idx="609">
                  <c:v>Islos</c:v>
                </c:pt>
                <c:pt idx="610">
                  <c:v>All Others</c:v>
                </c:pt>
                <c:pt idx="611">
                  <c:v>All Others</c:v>
                </c:pt>
                <c:pt idx="612">
                  <c:v>All Others</c:v>
                </c:pt>
                <c:pt idx="613">
                  <c:v>Philadelphi</c:v>
                </c:pt>
                <c:pt idx="614">
                  <c:v>All Others</c:v>
                </c:pt>
                <c:pt idx="615">
                  <c:v>All Others</c:v>
                </c:pt>
                <c:pt idx="616">
                  <c:v>All Others</c:v>
                </c:pt>
                <c:pt idx="617">
                  <c:v>All Others</c:v>
                </c:pt>
                <c:pt idx="618">
                  <c:v>All Others</c:v>
                </c:pt>
                <c:pt idx="619">
                  <c:v>All Others</c:v>
                </c:pt>
                <c:pt idx="620">
                  <c:v>All Others</c:v>
                </c:pt>
                <c:pt idx="621">
                  <c:v>All Others</c:v>
                </c:pt>
                <c:pt idx="622">
                  <c:v>All Others</c:v>
                </c:pt>
                <c:pt idx="623">
                  <c:v>All Others</c:v>
                </c:pt>
                <c:pt idx="624">
                  <c:v>All Others</c:v>
                </c:pt>
                <c:pt idx="625">
                  <c:v>All Others</c:v>
                </c:pt>
                <c:pt idx="626">
                  <c:v>All Others</c:v>
                </c:pt>
                <c:pt idx="627">
                  <c:v>Private Lab</c:v>
                </c:pt>
                <c:pt idx="628">
                  <c:v>All Others</c:v>
                </c:pt>
                <c:pt idx="629">
                  <c:v>Private Lab</c:v>
                </c:pt>
                <c:pt idx="630">
                  <c:v>Private Lab</c:v>
                </c:pt>
                <c:pt idx="631">
                  <c:v>All Others</c:v>
                </c:pt>
                <c:pt idx="632">
                  <c:v>All Others</c:v>
                </c:pt>
                <c:pt idx="633">
                  <c:v>All Others</c:v>
                </c:pt>
                <c:pt idx="634">
                  <c:v>Private Lab</c:v>
                </c:pt>
                <c:pt idx="635">
                  <c:v>All Others</c:v>
                </c:pt>
                <c:pt idx="636">
                  <c:v>Private Lab</c:v>
                </c:pt>
                <c:pt idx="637">
                  <c:v>All Others</c:v>
                </c:pt>
                <c:pt idx="638">
                  <c:v>All Others</c:v>
                </c:pt>
                <c:pt idx="639">
                  <c:v>All Others</c:v>
                </c:pt>
                <c:pt idx="640">
                  <c:v>All Others</c:v>
                </c:pt>
                <c:pt idx="641">
                  <c:v>All Others</c:v>
                </c:pt>
                <c:pt idx="642">
                  <c:v>All Others</c:v>
                </c:pt>
                <c:pt idx="643">
                  <c:v>All Others</c:v>
                </c:pt>
                <c:pt idx="644">
                  <c:v>Private Lab</c:v>
                </c:pt>
                <c:pt idx="645">
                  <c:v>All Others</c:v>
                </c:pt>
                <c:pt idx="646">
                  <c:v>All Others</c:v>
                </c:pt>
                <c:pt idx="647">
                  <c:v>All Others</c:v>
                </c:pt>
                <c:pt idx="648">
                  <c:v>All Others</c:v>
                </c:pt>
                <c:pt idx="649">
                  <c:v>All Others</c:v>
                </c:pt>
                <c:pt idx="650">
                  <c:v>All Others</c:v>
                </c:pt>
                <c:pt idx="651">
                  <c:v>All Others</c:v>
                </c:pt>
                <c:pt idx="652">
                  <c:v>All Others</c:v>
                </c:pt>
                <c:pt idx="653">
                  <c:v>All Others</c:v>
                </c:pt>
                <c:pt idx="654">
                  <c:v>All Others</c:v>
                </c:pt>
                <c:pt idx="655">
                  <c:v>All Others</c:v>
                </c:pt>
                <c:pt idx="656">
                  <c:v>All Others</c:v>
                </c:pt>
                <c:pt idx="657">
                  <c:v>Private Lab</c:v>
                </c:pt>
                <c:pt idx="658">
                  <c:v>Boursin</c:v>
                </c:pt>
                <c:pt idx="659">
                  <c:v>All Others</c:v>
                </c:pt>
                <c:pt idx="660">
                  <c:v>Private Lab</c:v>
                </c:pt>
                <c:pt idx="661">
                  <c:v>All Others</c:v>
                </c:pt>
                <c:pt idx="662">
                  <c:v>All Others</c:v>
                </c:pt>
                <c:pt idx="663">
                  <c:v>All Others</c:v>
                </c:pt>
                <c:pt idx="664">
                  <c:v>All Others</c:v>
                </c:pt>
                <c:pt idx="665">
                  <c:v>All Others</c:v>
                </c:pt>
                <c:pt idx="666">
                  <c:v>Triballat R</c:v>
                </c:pt>
                <c:pt idx="667">
                  <c:v>Eurial Autr</c:v>
                </c:pt>
                <c:pt idx="668">
                  <c:v>All Others</c:v>
                </c:pt>
                <c:pt idx="669">
                  <c:v>Kiri</c:v>
                </c:pt>
                <c:pt idx="670">
                  <c:v>Triballat R</c:v>
                </c:pt>
                <c:pt idx="671">
                  <c:v>All Others</c:v>
                </c:pt>
                <c:pt idx="672">
                  <c:v>All Others</c:v>
                </c:pt>
                <c:pt idx="673">
                  <c:v>All Others</c:v>
                </c:pt>
                <c:pt idx="674">
                  <c:v>All Others</c:v>
                </c:pt>
                <c:pt idx="675">
                  <c:v>All Others</c:v>
                </c:pt>
                <c:pt idx="676">
                  <c:v>All Others</c:v>
                </c:pt>
                <c:pt idx="677">
                  <c:v>All Others</c:v>
                </c:pt>
                <c:pt idx="678">
                  <c:v>All Others</c:v>
                </c:pt>
                <c:pt idx="679">
                  <c:v>All Others</c:v>
                </c:pt>
                <c:pt idx="680">
                  <c:v>Private Lab</c:v>
                </c:pt>
                <c:pt idx="681">
                  <c:v>All Others</c:v>
                </c:pt>
                <c:pt idx="682">
                  <c:v>All Others</c:v>
                </c:pt>
                <c:pt idx="683">
                  <c:v>All Others</c:v>
                </c:pt>
                <c:pt idx="684">
                  <c:v>All Others</c:v>
                </c:pt>
                <c:pt idx="685">
                  <c:v>All Others</c:v>
                </c:pt>
                <c:pt idx="686">
                  <c:v>Eurial Autr</c:v>
                </c:pt>
                <c:pt idx="687">
                  <c:v>All Others</c:v>
                </c:pt>
                <c:pt idx="688">
                  <c:v>All Others</c:v>
                </c:pt>
                <c:pt idx="689">
                  <c:v>All Others</c:v>
                </c:pt>
                <c:pt idx="690">
                  <c:v>Boursin</c:v>
                </c:pt>
                <c:pt idx="691">
                  <c:v>All Others</c:v>
                </c:pt>
                <c:pt idx="692">
                  <c:v>All Others</c:v>
                </c:pt>
                <c:pt idx="693">
                  <c:v>Lactalis: A</c:v>
                </c:pt>
                <c:pt idx="694">
                  <c:v>All Others</c:v>
                </c:pt>
                <c:pt idx="695">
                  <c:v>All Others</c:v>
                </c:pt>
                <c:pt idx="696">
                  <c:v>All Others</c:v>
                </c:pt>
                <c:pt idx="697">
                  <c:v>All Others</c:v>
                </c:pt>
                <c:pt idx="698">
                  <c:v>All Others</c:v>
                </c:pt>
                <c:pt idx="699">
                  <c:v>All Others</c:v>
                </c:pt>
                <c:pt idx="700">
                  <c:v>All Others</c:v>
                </c:pt>
                <c:pt idx="701">
                  <c:v>All Others</c:v>
                </c:pt>
                <c:pt idx="702">
                  <c:v>All Others</c:v>
                </c:pt>
                <c:pt idx="703">
                  <c:v>All Others</c:v>
                </c:pt>
                <c:pt idx="704">
                  <c:v>All Others</c:v>
                </c:pt>
                <c:pt idx="705">
                  <c:v>President</c:v>
                </c:pt>
                <c:pt idx="706">
                  <c:v>All Others</c:v>
                </c:pt>
                <c:pt idx="707">
                  <c:v>All Others</c:v>
                </c:pt>
                <c:pt idx="708">
                  <c:v>All Others</c:v>
                </c:pt>
                <c:pt idx="709">
                  <c:v>All Others</c:v>
                </c:pt>
                <c:pt idx="710">
                  <c:v>All Others</c:v>
                </c:pt>
                <c:pt idx="711">
                  <c:v>All Others</c:v>
                </c:pt>
                <c:pt idx="712">
                  <c:v>All Others</c:v>
                </c:pt>
                <c:pt idx="713">
                  <c:v>Tartare</c:v>
                </c:pt>
                <c:pt idx="714">
                  <c:v>All Others</c:v>
                </c:pt>
                <c:pt idx="715">
                  <c:v>All Others</c:v>
                </c:pt>
                <c:pt idx="716">
                  <c:v>All Others</c:v>
                </c:pt>
                <c:pt idx="717">
                  <c:v>All Others</c:v>
                </c:pt>
                <c:pt idx="718">
                  <c:v>All Others</c:v>
                </c:pt>
                <c:pt idx="719">
                  <c:v>All Others</c:v>
                </c:pt>
                <c:pt idx="720">
                  <c:v>All Others</c:v>
                </c:pt>
                <c:pt idx="721">
                  <c:v>Private Lab</c:v>
                </c:pt>
                <c:pt idx="722">
                  <c:v>Private Lab</c:v>
                </c:pt>
                <c:pt idx="723">
                  <c:v>All Others</c:v>
                </c:pt>
                <c:pt idx="724">
                  <c:v>All Others</c:v>
                </c:pt>
                <c:pt idx="725">
                  <c:v>All Others</c:v>
                </c:pt>
                <c:pt idx="726">
                  <c:v>All Others</c:v>
                </c:pt>
                <c:pt idx="727">
                  <c:v>Mini Babybe</c:v>
                </c:pt>
                <c:pt idx="728">
                  <c:v>All Others</c:v>
                </c:pt>
                <c:pt idx="729">
                  <c:v>President</c:v>
                </c:pt>
                <c:pt idx="730">
                  <c:v>Soignon</c:v>
                </c:pt>
                <c:pt idx="731">
                  <c:v>Lactalis: A</c:v>
                </c:pt>
                <c:pt idx="732">
                  <c:v>All Others</c:v>
                </c:pt>
                <c:pt idx="733">
                  <c:v>All Others</c:v>
                </c:pt>
                <c:pt idx="734">
                  <c:v>All Others</c:v>
                </c:pt>
                <c:pt idx="735">
                  <c:v>All Others</c:v>
                </c:pt>
                <c:pt idx="736">
                  <c:v>Private Lab</c:v>
                </c:pt>
                <c:pt idx="737">
                  <c:v>All Others</c:v>
                </c:pt>
                <c:pt idx="738">
                  <c:v>Mini Babybe</c:v>
                </c:pt>
                <c:pt idx="739">
                  <c:v>All Others</c:v>
                </c:pt>
                <c:pt idx="740">
                  <c:v>All Others</c:v>
                </c:pt>
                <c:pt idx="741">
                  <c:v>All Others</c:v>
                </c:pt>
                <c:pt idx="742">
                  <c:v>All Others</c:v>
                </c:pt>
                <c:pt idx="743">
                  <c:v>Eurial Autr</c:v>
                </c:pt>
                <c:pt idx="744">
                  <c:v>All Others</c:v>
                </c:pt>
                <c:pt idx="745">
                  <c:v>All Others</c:v>
                </c:pt>
                <c:pt idx="746">
                  <c:v>All Others</c:v>
                </c:pt>
                <c:pt idx="747">
                  <c:v>All Others</c:v>
                </c:pt>
                <c:pt idx="748">
                  <c:v>All Others</c:v>
                </c:pt>
                <c:pt idx="749">
                  <c:v>St Moret</c:v>
                </c:pt>
                <c:pt idx="750">
                  <c:v>Carre Frais</c:v>
                </c:pt>
                <c:pt idx="751">
                  <c:v>Private Lab</c:v>
                </c:pt>
                <c:pt idx="752">
                  <c:v>Private Lab</c:v>
                </c:pt>
                <c:pt idx="753">
                  <c:v>All Others</c:v>
                </c:pt>
                <c:pt idx="754">
                  <c:v>All Others</c:v>
                </c:pt>
                <c:pt idx="755">
                  <c:v>All Others</c:v>
                </c:pt>
                <c:pt idx="756">
                  <c:v>All Others</c:v>
                </c:pt>
                <c:pt idx="757">
                  <c:v>All Others</c:v>
                </c:pt>
                <c:pt idx="758">
                  <c:v>All Others</c:v>
                </c:pt>
                <c:pt idx="759">
                  <c:v>All Others</c:v>
                </c:pt>
                <c:pt idx="760">
                  <c:v>All Others</c:v>
                </c:pt>
                <c:pt idx="761">
                  <c:v>All Others</c:v>
                </c:pt>
                <c:pt idx="762">
                  <c:v>All Others</c:v>
                </c:pt>
                <c:pt idx="763">
                  <c:v>All Others</c:v>
                </c:pt>
                <c:pt idx="764">
                  <c:v>All Others</c:v>
                </c:pt>
                <c:pt idx="765">
                  <c:v>All Others</c:v>
                </c:pt>
                <c:pt idx="766">
                  <c:v>All Others</c:v>
                </c:pt>
                <c:pt idx="767">
                  <c:v>All Others</c:v>
                </c:pt>
                <c:pt idx="768">
                  <c:v>Lactalis: A</c:v>
                </c:pt>
                <c:pt idx="769">
                  <c:v>All Others</c:v>
                </c:pt>
                <c:pt idx="770">
                  <c:v>All Others</c:v>
                </c:pt>
                <c:pt idx="771">
                  <c:v>Savencia: A</c:v>
                </c:pt>
                <c:pt idx="772">
                  <c:v>All Others</c:v>
                </c:pt>
                <c:pt idx="773">
                  <c:v>All Others</c:v>
                </c:pt>
                <c:pt idx="774">
                  <c:v>Eurial Autr</c:v>
                </c:pt>
                <c:pt idx="775">
                  <c:v>Etoile Du Q</c:v>
                </c:pt>
                <c:pt idx="776">
                  <c:v>Private Lab</c:v>
                </c:pt>
                <c:pt idx="777">
                  <c:v>All Others</c:v>
                </c:pt>
                <c:pt idx="778">
                  <c:v>All Others</c:v>
                </c:pt>
                <c:pt idx="779">
                  <c:v>All Others</c:v>
                </c:pt>
                <c:pt idx="780">
                  <c:v>All Others</c:v>
                </c:pt>
                <c:pt idx="781">
                  <c:v>Eurial Autr</c:v>
                </c:pt>
                <c:pt idx="782">
                  <c:v>All Others</c:v>
                </c:pt>
                <c:pt idx="783">
                  <c:v>Lou Perac</c:v>
                </c:pt>
                <c:pt idx="784">
                  <c:v>All Others</c:v>
                </c:pt>
                <c:pt idx="785">
                  <c:v>All Others</c:v>
                </c:pt>
                <c:pt idx="786">
                  <c:v>All Others</c:v>
                </c:pt>
                <c:pt idx="787">
                  <c:v>All Others</c:v>
                </c:pt>
                <c:pt idx="788">
                  <c:v>All Others</c:v>
                </c:pt>
                <c:pt idx="789">
                  <c:v>All Others</c:v>
                </c:pt>
                <c:pt idx="790">
                  <c:v>All Others</c:v>
                </c:pt>
                <c:pt idx="791">
                  <c:v>All Others</c:v>
                </c:pt>
                <c:pt idx="792">
                  <c:v>All Others</c:v>
                </c:pt>
                <c:pt idx="793">
                  <c:v>All Others</c:v>
                </c:pt>
                <c:pt idx="794">
                  <c:v>All Others</c:v>
                </c:pt>
                <c:pt idx="795">
                  <c:v>All Others</c:v>
                </c:pt>
                <c:pt idx="796">
                  <c:v>All Others</c:v>
                </c:pt>
                <c:pt idx="797">
                  <c:v>All Others</c:v>
                </c:pt>
                <c:pt idx="798">
                  <c:v>All Others</c:v>
                </c:pt>
                <c:pt idx="799">
                  <c:v>All Others</c:v>
                </c:pt>
                <c:pt idx="800">
                  <c:v>All Others</c:v>
                </c:pt>
                <c:pt idx="801">
                  <c:v>All Others</c:v>
                </c:pt>
                <c:pt idx="802">
                  <c:v>All Others</c:v>
                </c:pt>
                <c:pt idx="803">
                  <c:v>All Others</c:v>
                </c:pt>
                <c:pt idx="804">
                  <c:v>All Others</c:v>
                </c:pt>
                <c:pt idx="805">
                  <c:v>All Others</c:v>
                </c:pt>
                <c:pt idx="806">
                  <c:v>All Others</c:v>
                </c:pt>
                <c:pt idx="807">
                  <c:v>All Others</c:v>
                </c:pt>
                <c:pt idx="808">
                  <c:v>All Others</c:v>
                </c:pt>
                <c:pt idx="809">
                  <c:v>Lactalis: A</c:v>
                </c:pt>
                <c:pt idx="810">
                  <c:v>Lactalis: A</c:v>
                </c:pt>
                <c:pt idx="811">
                  <c:v>All Others</c:v>
                </c:pt>
                <c:pt idx="812">
                  <c:v>All Others</c:v>
                </c:pt>
                <c:pt idx="813">
                  <c:v>All Others</c:v>
                </c:pt>
                <c:pt idx="814">
                  <c:v>All Others</c:v>
                </c:pt>
                <c:pt idx="815">
                  <c:v>All Others</c:v>
                </c:pt>
                <c:pt idx="816">
                  <c:v>All Others</c:v>
                </c:pt>
                <c:pt idx="817">
                  <c:v>All Others</c:v>
                </c:pt>
                <c:pt idx="818">
                  <c:v>All Others</c:v>
                </c:pt>
                <c:pt idx="819">
                  <c:v>All Others</c:v>
                </c:pt>
                <c:pt idx="820">
                  <c:v>All Others</c:v>
                </c:pt>
                <c:pt idx="821">
                  <c:v>All Others</c:v>
                </c:pt>
                <c:pt idx="822">
                  <c:v>All Others</c:v>
                </c:pt>
                <c:pt idx="823">
                  <c:v>All Others</c:v>
                </c:pt>
                <c:pt idx="824">
                  <c:v>All Others</c:v>
                </c:pt>
                <c:pt idx="825">
                  <c:v>All Others</c:v>
                </c:pt>
                <c:pt idx="826">
                  <c:v>All Others</c:v>
                </c:pt>
                <c:pt idx="827">
                  <c:v>Triballat R</c:v>
                </c:pt>
                <c:pt idx="828">
                  <c:v>Savencia: A</c:v>
                </c:pt>
                <c:pt idx="829">
                  <c:v>Savencia: A</c:v>
                </c:pt>
                <c:pt idx="830">
                  <c:v>All Others</c:v>
                </c:pt>
                <c:pt idx="831">
                  <c:v>All Others</c:v>
                </c:pt>
                <c:pt idx="832">
                  <c:v>All Others</c:v>
                </c:pt>
                <c:pt idx="833">
                  <c:v>All Others</c:v>
                </c:pt>
                <c:pt idx="834">
                  <c:v>All Others</c:v>
                </c:pt>
                <c:pt idx="835">
                  <c:v>All Others</c:v>
                </c:pt>
                <c:pt idx="836">
                  <c:v>All Others</c:v>
                </c:pt>
                <c:pt idx="837">
                  <c:v>All Others</c:v>
                </c:pt>
                <c:pt idx="838">
                  <c:v>All Others</c:v>
                </c:pt>
                <c:pt idx="839">
                  <c:v>All Others</c:v>
                </c:pt>
                <c:pt idx="840">
                  <c:v>All Others</c:v>
                </c:pt>
                <c:pt idx="841">
                  <c:v>All Others</c:v>
                </c:pt>
                <c:pt idx="842">
                  <c:v>All Others</c:v>
                </c:pt>
                <c:pt idx="843">
                  <c:v>All Others</c:v>
                </c:pt>
                <c:pt idx="844">
                  <c:v>All Others</c:v>
                </c:pt>
                <c:pt idx="845">
                  <c:v>All Others</c:v>
                </c:pt>
                <c:pt idx="846">
                  <c:v>All Others</c:v>
                </c:pt>
                <c:pt idx="847">
                  <c:v>All Others</c:v>
                </c:pt>
                <c:pt idx="848">
                  <c:v>All Others</c:v>
                </c:pt>
                <c:pt idx="849">
                  <c:v>All Others</c:v>
                </c:pt>
                <c:pt idx="850">
                  <c:v>Lou Perac</c:v>
                </c:pt>
                <c:pt idx="851">
                  <c:v>All Others</c:v>
                </c:pt>
                <c:pt idx="852">
                  <c:v>All Others</c:v>
                </c:pt>
                <c:pt idx="853">
                  <c:v>All Others</c:v>
                </c:pt>
                <c:pt idx="854">
                  <c:v>All Others</c:v>
                </c:pt>
                <c:pt idx="855">
                  <c:v>All Others</c:v>
                </c:pt>
                <c:pt idx="856">
                  <c:v>All Others</c:v>
                </c:pt>
                <c:pt idx="857">
                  <c:v>All Others</c:v>
                </c:pt>
                <c:pt idx="858">
                  <c:v>All Others</c:v>
                </c:pt>
                <c:pt idx="859">
                  <c:v>All Others</c:v>
                </c:pt>
                <c:pt idx="860">
                  <c:v>All Others</c:v>
                </c:pt>
                <c:pt idx="861">
                  <c:v>All Others</c:v>
                </c:pt>
                <c:pt idx="862">
                  <c:v>All Others</c:v>
                </c:pt>
                <c:pt idx="863">
                  <c:v>All Others</c:v>
                </c:pt>
                <c:pt idx="864">
                  <c:v>All Others</c:v>
                </c:pt>
                <c:pt idx="865">
                  <c:v>All Others</c:v>
                </c:pt>
                <c:pt idx="866">
                  <c:v>All Others</c:v>
                </c:pt>
                <c:pt idx="867">
                  <c:v>Soignon</c:v>
                </c:pt>
                <c:pt idx="868">
                  <c:v>All Others</c:v>
                </c:pt>
                <c:pt idx="869">
                  <c:v>All Others</c:v>
                </c:pt>
                <c:pt idx="870">
                  <c:v>All Others</c:v>
                </c:pt>
                <c:pt idx="871">
                  <c:v>All Others</c:v>
                </c:pt>
                <c:pt idx="872">
                  <c:v>All Others</c:v>
                </c:pt>
                <c:pt idx="873">
                  <c:v>All Others</c:v>
                </c:pt>
                <c:pt idx="874">
                  <c:v>All Others</c:v>
                </c:pt>
                <c:pt idx="875">
                  <c:v>All Others</c:v>
                </c:pt>
                <c:pt idx="876">
                  <c:v>All Others</c:v>
                </c:pt>
                <c:pt idx="877">
                  <c:v>All Others</c:v>
                </c:pt>
                <c:pt idx="878">
                  <c:v>All Others</c:v>
                </c:pt>
                <c:pt idx="879">
                  <c:v>All Others</c:v>
                </c:pt>
                <c:pt idx="880">
                  <c:v>All Others</c:v>
                </c:pt>
                <c:pt idx="881">
                  <c:v>All Others</c:v>
                </c:pt>
                <c:pt idx="882">
                  <c:v>All Others</c:v>
                </c:pt>
                <c:pt idx="883">
                  <c:v>All Others</c:v>
                </c:pt>
                <c:pt idx="884">
                  <c:v>All Others</c:v>
                </c:pt>
                <c:pt idx="885">
                  <c:v>All Others</c:v>
                </c:pt>
                <c:pt idx="886">
                  <c:v>All Others</c:v>
                </c:pt>
                <c:pt idx="887">
                  <c:v>All Others</c:v>
                </c:pt>
                <c:pt idx="888">
                  <c:v>All Others</c:v>
                </c:pt>
                <c:pt idx="889">
                  <c:v>Triballat R</c:v>
                </c:pt>
                <c:pt idx="890">
                  <c:v>All Others</c:v>
                </c:pt>
                <c:pt idx="891">
                  <c:v>All Others</c:v>
                </c:pt>
                <c:pt idx="892">
                  <c:v>All Others</c:v>
                </c:pt>
                <c:pt idx="893">
                  <c:v>Triballat R</c:v>
                </c:pt>
                <c:pt idx="894">
                  <c:v>All Others</c:v>
                </c:pt>
                <c:pt idx="895">
                  <c:v>All Others</c:v>
                </c:pt>
                <c:pt idx="896">
                  <c:v>All Others</c:v>
                </c:pt>
                <c:pt idx="897">
                  <c:v>All Others</c:v>
                </c:pt>
                <c:pt idx="898">
                  <c:v>All Others</c:v>
                </c:pt>
                <c:pt idx="899">
                  <c:v>Private Lab</c:v>
                </c:pt>
                <c:pt idx="900">
                  <c:v>All Others</c:v>
                </c:pt>
                <c:pt idx="901">
                  <c:v>All Others</c:v>
                </c:pt>
                <c:pt idx="902">
                  <c:v>All Others</c:v>
                </c:pt>
                <c:pt idx="903">
                  <c:v>All Others</c:v>
                </c:pt>
                <c:pt idx="904">
                  <c:v>All Others</c:v>
                </c:pt>
                <c:pt idx="905">
                  <c:v>All Others</c:v>
                </c:pt>
                <c:pt idx="906">
                  <c:v>All Others</c:v>
                </c:pt>
                <c:pt idx="907">
                  <c:v>All Others</c:v>
                </c:pt>
                <c:pt idx="908">
                  <c:v>All Others</c:v>
                </c:pt>
                <c:pt idx="909">
                  <c:v>All Others</c:v>
                </c:pt>
                <c:pt idx="910">
                  <c:v>All Others</c:v>
                </c:pt>
                <c:pt idx="911">
                  <c:v>All Others</c:v>
                </c:pt>
                <c:pt idx="912">
                  <c:v>All Others</c:v>
                </c:pt>
                <c:pt idx="913">
                  <c:v>All Others</c:v>
                </c:pt>
                <c:pt idx="914">
                  <c:v>All Others</c:v>
                </c:pt>
                <c:pt idx="915">
                  <c:v>All Others</c:v>
                </c:pt>
                <c:pt idx="916">
                  <c:v>All Others</c:v>
                </c:pt>
                <c:pt idx="917">
                  <c:v>All Others</c:v>
                </c:pt>
                <c:pt idx="918">
                  <c:v>Caprice Des</c:v>
                </c:pt>
                <c:pt idx="919">
                  <c:v>All Others</c:v>
                </c:pt>
                <c:pt idx="920">
                  <c:v>All Others</c:v>
                </c:pt>
                <c:pt idx="921">
                  <c:v>Private Lab</c:v>
                </c:pt>
                <c:pt idx="922">
                  <c:v>All Others</c:v>
                </c:pt>
                <c:pt idx="923">
                  <c:v>All Others</c:v>
                </c:pt>
                <c:pt idx="924">
                  <c:v>All Others</c:v>
                </c:pt>
                <c:pt idx="925">
                  <c:v>All Others</c:v>
                </c:pt>
                <c:pt idx="926">
                  <c:v>All Others</c:v>
                </c:pt>
                <c:pt idx="927">
                  <c:v>All Others</c:v>
                </c:pt>
                <c:pt idx="928">
                  <c:v>All Others</c:v>
                </c:pt>
                <c:pt idx="929">
                  <c:v>All Others</c:v>
                </c:pt>
                <c:pt idx="930">
                  <c:v>All Others</c:v>
                </c:pt>
                <c:pt idx="931">
                  <c:v>All Others</c:v>
                </c:pt>
                <c:pt idx="932">
                  <c:v>All Others</c:v>
                </c:pt>
                <c:pt idx="933">
                  <c:v>All Others</c:v>
                </c:pt>
                <c:pt idx="934">
                  <c:v>All Others</c:v>
                </c:pt>
                <c:pt idx="935">
                  <c:v>Mini Babybe</c:v>
                </c:pt>
                <c:pt idx="936">
                  <c:v>All Others</c:v>
                </c:pt>
                <c:pt idx="937">
                  <c:v>All Others</c:v>
                </c:pt>
                <c:pt idx="938">
                  <c:v>All Others</c:v>
                </c:pt>
                <c:pt idx="939">
                  <c:v>Lactalis: A</c:v>
                </c:pt>
                <c:pt idx="940">
                  <c:v>All Others</c:v>
                </c:pt>
                <c:pt idx="941">
                  <c:v>All Others</c:v>
                </c:pt>
                <c:pt idx="942">
                  <c:v>All Others</c:v>
                </c:pt>
                <c:pt idx="943">
                  <c:v>All Others</c:v>
                </c:pt>
                <c:pt idx="944">
                  <c:v>All Others</c:v>
                </c:pt>
                <c:pt idx="945">
                  <c:v>All Others</c:v>
                </c:pt>
                <c:pt idx="946">
                  <c:v>All Others</c:v>
                </c:pt>
                <c:pt idx="947">
                  <c:v>All Others</c:v>
                </c:pt>
                <c:pt idx="948">
                  <c:v>All Others</c:v>
                </c:pt>
                <c:pt idx="949">
                  <c:v>All Others</c:v>
                </c:pt>
                <c:pt idx="950">
                  <c:v>Private Lab</c:v>
                </c:pt>
                <c:pt idx="951">
                  <c:v>All Others</c:v>
                </c:pt>
                <c:pt idx="952">
                  <c:v>All Others</c:v>
                </c:pt>
                <c:pt idx="953">
                  <c:v>All Others</c:v>
                </c:pt>
                <c:pt idx="954">
                  <c:v>All Others</c:v>
                </c:pt>
                <c:pt idx="955">
                  <c:v>All Others</c:v>
                </c:pt>
                <c:pt idx="956">
                  <c:v>All Others</c:v>
                </c:pt>
                <c:pt idx="957">
                  <c:v>All Others</c:v>
                </c:pt>
                <c:pt idx="958">
                  <c:v>All Others</c:v>
                </c:pt>
                <c:pt idx="959">
                  <c:v>All Others</c:v>
                </c:pt>
                <c:pt idx="960">
                  <c:v>Eurial Autr</c:v>
                </c:pt>
                <c:pt idx="961">
                  <c:v>All Others</c:v>
                </c:pt>
                <c:pt idx="962">
                  <c:v>All Others</c:v>
                </c:pt>
                <c:pt idx="963">
                  <c:v>All Others</c:v>
                </c:pt>
                <c:pt idx="964">
                  <c:v>All Others</c:v>
                </c:pt>
                <c:pt idx="965">
                  <c:v>All Others</c:v>
                </c:pt>
                <c:pt idx="966">
                  <c:v>All Others</c:v>
                </c:pt>
                <c:pt idx="967">
                  <c:v>All Others</c:v>
                </c:pt>
                <c:pt idx="968">
                  <c:v>All Others</c:v>
                </c:pt>
                <c:pt idx="969">
                  <c:v>All Others</c:v>
                </c:pt>
                <c:pt idx="970">
                  <c:v>All Others</c:v>
                </c:pt>
                <c:pt idx="971">
                  <c:v>All Others</c:v>
                </c:pt>
                <c:pt idx="972">
                  <c:v>All Others</c:v>
                </c:pt>
                <c:pt idx="973">
                  <c:v>All Others</c:v>
                </c:pt>
                <c:pt idx="974">
                  <c:v>All Others</c:v>
                </c:pt>
                <c:pt idx="975">
                  <c:v>All Others</c:v>
                </c:pt>
                <c:pt idx="976">
                  <c:v>All Others</c:v>
                </c:pt>
                <c:pt idx="977">
                  <c:v>All Others</c:v>
                </c:pt>
                <c:pt idx="978">
                  <c:v>All Others</c:v>
                </c:pt>
                <c:pt idx="979">
                  <c:v>All Others</c:v>
                </c:pt>
                <c:pt idx="980">
                  <c:v>All Others</c:v>
                </c:pt>
                <c:pt idx="981">
                  <c:v>All Others</c:v>
                </c:pt>
                <c:pt idx="982">
                  <c:v>Eurial Autr</c:v>
                </c:pt>
                <c:pt idx="983">
                  <c:v>All Others</c:v>
                </c:pt>
                <c:pt idx="984">
                  <c:v>All Others</c:v>
                </c:pt>
                <c:pt idx="985">
                  <c:v>All Others</c:v>
                </c:pt>
                <c:pt idx="986">
                  <c:v>All Others</c:v>
                </c:pt>
                <c:pt idx="987">
                  <c:v>All Others</c:v>
                </c:pt>
                <c:pt idx="988">
                  <c:v>All Others</c:v>
                </c:pt>
                <c:pt idx="989">
                  <c:v>All Others</c:v>
                </c:pt>
                <c:pt idx="990">
                  <c:v>All Others</c:v>
                </c:pt>
                <c:pt idx="991">
                  <c:v>All Others</c:v>
                </c:pt>
                <c:pt idx="992">
                  <c:v>All Others</c:v>
                </c:pt>
                <c:pt idx="993">
                  <c:v>All Others</c:v>
                </c:pt>
                <c:pt idx="994">
                  <c:v>All Others</c:v>
                </c:pt>
                <c:pt idx="995">
                  <c:v>All Others</c:v>
                </c:pt>
                <c:pt idx="996">
                  <c:v>All Others</c:v>
                </c:pt>
                <c:pt idx="997">
                  <c:v>All Others</c:v>
                </c:pt>
                <c:pt idx="998">
                  <c:v>All Others</c:v>
                </c:pt>
                <c:pt idx="999">
                  <c:v>All Others</c:v>
                </c:pt>
                <c:pt idx="1000">
                  <c:v>All Others</c:v>
                </c:pt>
                <c:pt idx="1001">
                  <c:v>All Others</c:v>
                </c:pt>
                <c:pt idx="1002">
                  <c:v>All Others</c:v>
                </c:pt>
                <c:pt idx="1003">
                  <c:v>All Others</c:v>
                </c:pt>
                <c:pt idx="1004">
                  <c:v>All Others</c:v>
                </c:pt>
                <c:pt idx="1005">
                  <c:v>Private Lab</c:v>
                </c:pt>
                <c:pt idx="1006">
                  <c:v>All Others</c:v>
                </c:pt>
                <c:pt idx="1007">
                  <c:v>All Others</c:v>
                </c:pt>
                <c:pt idx="1008">
                  <c:v>All Others</c:v>
                </c:pt>
                <c:pt idx="1009">
                  <c:v>All Others</c:v>
                </c:pt>
                <c:pt idx="1010">
                  <c:v>All Others</c:v>
                </c:pt>
                <c:pt idx="1011">
                  <c:v>All Others</c:v>
                </c:pt>
                <c:pt idx="1012">
                  <c:v>All Others</c:v>
                </c:pt>
                <c:pt idx="1013">
                  <c:v>All Others</c:v>
                </c:pt>
                <c:pt idx="1014">
                  <c:v>All Others</c:v>
                </c:pt>
                <c:pt idx="1015">
                  <c:v>All Others</c:v>
                </c:pt>
                <c:pt idx="1016">
                  <c:v>All Others</c:v>
                </c:pt>
                <c:pt idx="1017">
                  <c:v>All Others</c:v>
                </c:pt>
                <c:pt idx="1018">
                  <c:v>Lactalis: A</c:v>
                </c:pt>
                <c:pt idx="1019">
                  <c:v>Private Lab</c:v>
                </c:pt>
                <c:pt idx="1020">
                  <c:v>All Others</c:v>
                </c:pt>
                <c:pt idx="1021">
                  <c:v>All Others</c:v>
                </c:pt>
                <c:pt idx="1022">
                  <c:v>All Others</c:v>
                </c:pt>
                <c:pt idx="1023">
                  <c:v>All Others</c:v>
                </c:pt>
                <c:pt idx="1024">
                  <c:v>All Others</c:v>
                </c:pt>
                <c:pt idx="1025">
                  <c:v>All Others</c:v>
                </c:pt>
                <c:pt idx="1026">
                  <c:v>All Others</c:v>
                </c:pt>
                <c:pt idx="1027">
                  <c:v>All Others</c:v>
                </c:pt>
                <c:pt idx="1028">
                  <c:v>All Others</c:v>
                </c:pt>
                <c:pt idx="1029">
                  <c:v>All Others</c:v>
                </c:pt>
                <c:pt idx="1030">
                  <c:v>All Others</c:v>
                </c:pt>
                <c:pt idx="1031">
                  <c:v>All Others</c:v>
                </c:pt>
                <c:pt idx="1032">
                  <c:v>All Others</c:v>
                </c:pt>
                <c:pt idx="1033">
                  <c:v>All Others</c:v>
                </c:pt>
                <c:pt idx="1034">
                  <c:v>All Others</c:v>
                </c:pt>
                <c:pt idx="1035">
                  <c:v>All Others</c:v>
                </c:pt>
                <c:pt idx="1036">
                  <c:v>All Others</c:v>
                </c:pt>
                <c:pt idx="1037">
                  <c:v>All Others</c:v>
                </c:pt>
                <c:pt idx="1038">
                  <c:v>All Others</c:v>
                </c:pt>
                <c:pt idx="1039">
                  <c:v>All Others</c:v>
                </c:pt>
                <c:pt idx="1040">
                  <c:v>All Others</c:v>
                </c:pt>
                <c:pt idx="1041">
                  <c:v>All Others</c:v>
                </c:pt>
                <c:pt idx="1042">
                  <c:v>President</c:v>
                </c:pt>
                <c:pt idx="1043">
                  <c:v>All Others</c:v>
                </c:pt>
                <c:pt idx="1044">
                  <c:v>All Others</c:v>
                </c:pt>
                <c:pt idx="1045">
                  <c:v>All Others</c:v>
                </c:pt>
                <c:pt idx="1046">
                  <c:v>All Others</c:v>
                </c:pt>
                <c:pt idx="1047">
                  <c:v>All Others</c:v>
                </c:pt>
                <c:pt idx="1048">
                  <c:v>All Others</c:v>
                </c:pt>
                <c:pt idx="1049">
                  <c:v>All Others</c:v>
                </c:pt>
                <c:pt idx="1050">
                  <c:v>Rondele</c:v>
                </c:pt>
                <c:pt idx="1051">
                  <c:v>All Others</c:v>
                </c:pt>
                <c:pt idx="1052">
                  <c:v>Lactalis: A</c:v>
                </c:pt>
                <c:pt idx="1053">
                  <c:v>All Others</c:v>
                </c:pt>
                <c:pt idx="1054">
                  <c:v>All Others</c:v>
                </c:pt>
                <c:pt idx="1055">
                  <c:v>All Others</c:v>
                </c:pt>
                <c:pt idx="1056">
                  <c:v>All Others</c:v>
                </c:pt>
                <c:pt idx="1057">
                  <c:v>All Others</c:v>
                </c:pt>
                <c:pt idx="1058">
                  <c:v>All Others</c:v>
                </c:pt>
                <c:pt idx="1059">
                  <c:v>All Others</c:v>
                </c:pt>
                <c:pt idx="1060">
                  <c:v>All Others</c:v>
                </c:pt>
                <c:pt idx="1061">
                  <c:v>All Others</c:v>
                </c:pt>
                <c:pt idx="1062">
                  <c:v>All Others</c:v>
                </c:pt>
                <c:pt idx="1063">
                  <c:v>All Others</c:v>
                </c:pt>
                <c:pt idx="1064">
                  <c:v>All Others</c:v>
                </c:pt>
                <c:pt idx="1065">
                  <c:v>All Others</c:v>
                </c:pt>
                <c:pt idx="1066">
                  <c:v>All Others</c:v>
                </c:pt>
                <c:pt idx="1067">
                  <c:v>All Others</c:v>
                </c:pt>
                <c:pt idx="1068">
                  <c:v>Rondele</c:v>
                </c:pt>
                <c:pt idx="1069">
                  <c:v>All Others</c:v>
                </c:pt>
                <c:pt idx="1070">
                  <c:v>All Others</c:v>
                </c:pt>
                <c:pt idx="1071">
                  <c:v>All Others</c:v>
                </c:pt>
                <c:pt idx="1072">
                  <c:v>All Others</c:v>
                </c:pt>
                <c:pt idx="1073">
                  <c:v>Private Lab</c:v>
                </c:pt>
                <c:pt idx="1074">
                  <c:v>All Others</c:v>
                </c:pt>
                <c:pt idx="1075">
                  <c:v>All Others</c:v>
                </c:pt>
                <c:pt idx="1076">
                  <c:v>All Others</c:v>
                </c:pt>
                <c:pt idx="1077">
                  <c:v>All Others</c:v>
                </c:pt>
                <c:pt idx="1078">
                  <c:v>All Others</c:v>
                </c:pt>
                <c:pt idx="1079">
                  <c:v>All Others</c:v>
                </c:pt>
                <c:pt idx="1080">
                  <c:v>All Others</c:v>
                </c:pt>
                <c:pt idx="1081">
                  <c:v>All Others</c:v>
                </c:pt>
                <c:pt idx="1082">
                  <c:v>All Others</c:v>
                </c:pt>
                <c:pt idx="1083">
                  <c:v>All Others</c:v>
                </c:pt>
                <c:pt idx="1084">
                  <c:v>Soignon</c:v>
                </c:pt>
                <c:pt idx="1085">
                  <c:v>All Others</c:v>
                </c:pt>
                <c:pt idx="1086">
                  <c:v>All Others</c:v>
                </c:pt>
                <c:pt idx="1087">
                  <c:v>All Others</c:v>
                </c:pt>
                <c:pt idx="1088">
                  <c:v>All Others</c:v>
                </c:pt>
                <c:pt idx="1089">
                  <c:v>All Others</c:v>
                </c:pt>
                <c:pt idx="1090">
                  <c:v>All Others</c:v>
                </c:pt>
                <c:pt idx="1091">
                  <c:v>Lactalis: A</c:v>
                </c:pt>
                <c:pt idx="1092">
                  <c:v>All Others</c:v>
                </c:pt>
                <c:pt idx="1093">
                  <c:v>All Others</c:v>
                </c:pt>
                <c:pt idx="1094">
                  <c:v>All Others</c:v>
                </c:pt>
                <c:pt idx="1095">
                  <c:v>Rondele</c:v>
                </c:pt>
                <c:pt idx="1096">
                  <c:v>All Others</c:v>
                </c:pt>
                <c:pt idx="1097">
                  <c:v>All Others</c:v>
                </c:pt>
                <c:pt idx="1098">
                  <c:v>All Others</c:v>
                </c:pt>
                <c:pt idx="1099">
                  <c:v>All Others</c:v>
                </c:pt>
                <c:pt idx="1100">
                  <c:v>All Others</c:v>
                </c:pt>
                <c:pt idx="1101">
                  <c:v>All Others</c:v>
                </c:pt>
                <c:pt idx="1102">
                  <c:v>All Others</c:v>
                </c:pt>
                <c:pt idx="1103">
                  <c:v>All Others</c:v>
                </c:pt>
                <c:pt idx="1104">
                  <c:v>All Others</c:v>
                </c:pt>
                <c:pt idx="1105">
                  <c:v>Petit Billy</c:v>
                </c:pt>
                <c:pt idx="1106">
                  <c:v>All Others</c:v>
                </c:pt>
                <c:pt idx="1107">
                  <c:v>All Others</c:v>
                </c:pt>
                <c:pt idx="1108">
                  <c:v>All Others</c:v>
                </c:pt>
                <c:pt idx="1109">
                  <c:v>All Others</c:v>
                </c:pt>
                <c:pt idx="1110">
                  <c:v>All Others</c:v>
                </c:pt>
                <c:pt idx="1111">
                  <c:v>All Others</c:v>
                </c:pt>
                <c:pt idx="1112">
                  <c:v>Lactalis: A</c:v>
                </c:pt>
                <c:pt idx="1113">
                  <c:v>All Others</c:v>
                </c:pt>
                <c:pt idx="1114">
                  <c:v>All Others</c:v>
                </c:pt>
                <c:pt idx="1115">
                  <c:v>All Others</c:v>
                </c:pt>
                <c:pt idx="1116">
                  <c:v>All Others</c:v>
                </c:pt>
                <c:pt idx="1117">
                  <c:v>All Others</c:v>
                </c:pt>
                <c:pt idx="1118">
                  <c:v>All Others</c:v>
                </c:pt>
                <c:pt idx="1119">
                  <c:v>All Others</c:v>
                </c:pt>
                <c:pt idx="1120">
                  <c:v>All Others</c:v>
                </c:pt>
                <c:pt idx="1121">
                  <c:v>Savencia: A</c:v>
                </c:pt>
                <c:pt idx="1122">
                  <c:v>All Others</c:v>
                </c:pt>
                <c:pt idx="1123">
                  <c:v>All Others</c:v>
                </c:pt>
                <c:pt idx="1124">
                  <c:v>All Others</c:v>
                </c:pt>
                <c:pt idx="1125">
                  <c:v>All Others</c:v>
                </c:pt>
                <c:pt idx="1126">
                  <c:v>All Others</c:v>
                </c:pt>
                <c:pt idx="1127">
                  <c:v>All Others</c:v>
                </c:pt>
                <c:pt idx="1128">
                  <c:v>All Others</c:v>
                </c:pt>
                <c:pt idx="1129">
                  <c:v>All Others</c:v>
                </c:pt>
                <c:pt idx="1130">
                  <c:v>All Others</c:v>
                </c:pt>
                <c:pt idx="1131">
                  <c:v>Savencia: A</c:v>
                </c:pt>
                <c:pt idx="1132">
                  <c:v>All Others</c:v>
                </c:pt>
                <c:pt idx="1133">
                  <c:v>All Others</c:v>
                </c:pt>
                <c:pt idx="1134">
                  <c:v>All Others</c:v>
                </c:pt>
                <c:pt idx="1135">
                  <c:v>All Others</c:v>
                </c:pt>
                <c:pt idx="1136">
                  <c:v>All Others</c:v>
                </c:pt>
                <c:pt idx="1137">
                  <c:v>All Others</c:v>
                </c:pt>
                <c:pt idx="1138">
                  <c:v>All Others</c:v>
                </c:pt>
                <c:pt idx="1139">
                  <c:v>All Others</c:v>
                </c:pt>
                <c:pt idx="1140">
                  <c:v>All Others</c:v>
                </c:pt>
                <c:pt idx="1141">
                  <c:v>All Others</c:v>
                </c:pt>
                <c:pt idx="1142">
                  <c:v>All Others</c:v>
                </c:pt>
                <c:pt idx="1143">
                  <c:v>All Others</c:v>
                </c:pt>
                <c:pt idx="1144">
                  <c:v>All Others</c:v>
                </c:pt>
                <c:pt idx="1145">
                  <c:v>All Others</c:v>
                </c:pt>
                <c:pt idx="1146">
                  <c:v>All Others</c:v>
                </c:pt>
                <c:pt idx="1147">
                  <c:v>All Others</c:v>
                </c:pt>
                <c:pt idx="1148">
                  <c:v>All Others</c:v>
                </c:pt>
                <c:pt idx="1149">
                  <c:v>All Others</c:v>
                </c:pt>
                <c:pt idx="1150">
                  <c:v>All Others</c:v>
                </c:pt>
                <c:pt idx="1151">
                  <c:v>Private Lab</c:v>
                </c:pt>
                <c:pt idx="1152">
                  <c:v>All Others</c:v>
                </c:pt>
                <c:pt idx="1153">
                  <c:v>All Others</c:v>
                </c:pt>
                <c:pt idx="1154">
                  <c:v>All Others</c:v>
                </c:pt>
                <c:pt idx="1155">
                  <c:v>All Others</c:v>
                </c:pt>
                <c:pt idx="1156">
                  <c:v>All Others</c:v>
                </c:pt>
                <c:pt idx="1157">
                  <c:v>All Others</c:v>
                </c:pt>
                <c:pt idx="1158">
                  <c:v>Private Lab</c:v>
                </c:pt>
                <c:pt idx="1159">
                  <c:v>All Others</c:v>
                </c:pt>
                <c:pt idx="1160">
                  <c:v>All Others</c:v>
                </c:pt>
                <c:pt idx="1161">
                  <c:v>All Others</c:v>
                </c:pt>
                <c:pt idx="1162">
                  <c:v>All Others</c:v>
                </c:pt>
                <c:pt idx="1163">
                  <c:v>All Others</c:v>
                </c:pt>
                <c:pt idx="1164">
                  <c:v>All Others</c:v>
                </c:pt>
                <c:pt idx="1165">
                  <c:v>All Others</c:v>
                </c:pt>
                <c:pt idx="1166">
                  <c:v>All Others</c:v>
                </c:pt>
                <c:pt idx="1167">
                  <c:v>All Others</c:v>
                </c:pt>
                <c:pt idx="1168">
                  <c:v>All Others</c:v>
                </c:pt>
                <c:pt idx="1169">
                  <c:v>All Others</c:v>
                </c:pt>
                <c:pt idx="1170">
                  <c:v>All Others</c:v>
                </c:pt>
                <c:pt idx="1171">
                  <c:v>All Others</c:v>
                </c:pt>
                <c:pt idx="1172">
                  <c:v>All Others</c:v>
                </c:pt>
                <c:pt idx="1173">
                  <c:v>All Others</c:v>
                </c:pt>
                <c:pt idx="1174">
                  <c:v>All Others</c:v>
                </c:pt>
                <c:pt idx="1175">
                  <c:v>All Others</c:v>
                </c:pt>
                <c:pt idx="1176">
                  <c:v>All Others</c:v>
                </c:pt>
                <c:pt idx="1177">
                  <c:v>All Others</c:v>
                </c:pt>
                <c:pt idx="1178">
                  <c:v>All Others</c:v>
                </c:pt>
                <c:pt idx="1179">
                  <c:v>All Others</c:v>
                </c:pt>
                <c:pt idx="1180">
                  <c:v>All Others</c:v>
                </c:pt>
                <c:pt idx="1181">
                  <c:v>All Others</c:v>
                </c:pt>
                <c:pt idx="1182">
                  <c:v>All Others</c:v>
                </c:pt>
                <c:pt idx="1183">
                  <c:v>All Others</c:v>
                </c:pt>
                <c:pt idx="1184">
                  <c:v>All Others</c:v>
                </c:pt>
                <c:pt idx="1185">
                  <c:v>All Others</c:v>
                </c:pt>
                <c:pt idx="1186">
                  <c:v>All Others</c:v>
                </c:pt>
                <c:pt idx="1187">
                  <c:v>All Others</c:v>
                </c:pt>
                <c:pt idx="1188">
                  <c:v>All Others</c:v>
                </c:pt>
                <c:pt idx="1189">
                  <c:v>All Others</c:v>
                </c:pt>
                <c:pt idx="1190">
                  <c:v>All Others</c:v>
                </c:pt>
                <c:pt idx="1191">
                  <c:v>All Others</c:v>
                </c:pt>
                <c:pt idx="1192">
                  <c:v>All Others</c:v>
                </c:pt>
                <c:pt idx="1193">
                  <c:v>All Others</c:v>
                </c:pt>
                <c:pt idx="1194">
                  <c:v>All Others</c:v>
                </c:pt>
                <c:pt idx="1195">
                  <c:v>All Others</c:v>
                </c:pt>
                <c:pt idx="1196">
                  <c:v>All Others</c:v>
                </c:pt>
                <c:pt idx="1197">
                  <c:v>All Others</c:v>
                </c:pt>
                <c:pt idx="1198">
                  <c:v>All Others</c:v>
                </c:pt>
                <c:pt idx="1199">
                  <c:v>All Others</c:v>
                </c:pt>
                <c:pt idx="1200">
                  <c:v>All Others</c:v>
                </c:pt>
                <c:pt idx="1201">
                  <c:v>All Others</c:v>
                </c:pt>
                <c:pt idx="1202">
                  <c:v>All Others</c:v>
                </c:pt>
                <c:pt idx="1203">
                  <c:v>All Others</c:v>
                </c:pt>
                <c:pt idx="1204">
                  <c:v>All Others</c:v>
                </c:pt>
                <c:pt idx="1205">
                  <c:v>All Others</c:v>
                </c:pt>
                <c:pt idx="1206">
                  <c:v>Private Lab</c:v>
                </c:pt>
                <c:pt idx="1207">
                  <c:v>Private Lab</c:v>
                </c:pt>
                <c:pt idx="1208">
                  <c:v>All Others</c:v>
                </c:pt>
                <c:pt idx="1209">
                  <c:v>All Others</c:v>
                </c:pt>
                <c:pt idx="1210">
                  <c:v>All Others</c:v>
                </c:pt>
                <c:pt idx="1211">
                  <c:v>All Others</c:v>
                </c:pt>
                <c:pt idx="1212">
                  <c:v>All Others</c:v>
                </c:pt>
                <c:pt idx="1213">
                  <c:v>All Others</c:v>
                </c:pt>
                <c:pt idx="1214">
                  <c:v>All Others</c:v>
                </c:pt>
                <c:pt idx="1215">
                  <c:v>All Others</c:v>
                </c:pt>
                <c:pt idx="1216">
                  <c:v>All Others</c:v>
                </c:pt>
                <c:pt idx="1217">
                  <c:v>All Others</c:v>
                </c:pt>
                <c:pt idx="1218">
                  <c:v>All Others</c:v>
                </c:pt>
                <c:pt idx="1219">
                  <c:v>All Others</c:v>
                </c:pt>
                <c:pt idx="1220">
                  <c:v>All Others</c:v>
                </c:pt>
                <c:pt idx="1221">
                  <c:v>All Others</c:v>
                </c:pt>
                <c:pt idx="1222">
                  <c:v>All Others</c:v>
                </c:pt>
                <c:pt idx="1223">
                  <c:v>All Others</c:v>
                </c:pt>
                <c:pt idx="1224">
                  <c:v>All Others</c:v>
                </c:pt>
                <c:pt idx="1225">
                  <c:v>All Others</c:v>
                </c:pt>
                <c:pt idx="1226">
                  <c:v>All Others</c:v>
                </c:pt>
                <c:pt idx="1227">
                  <c:v>All Others</c:v>
                </c:pt>
                <c:pt idx="1228">
                  <c:v>Private Lab</c:v>
                </c:pt>
                <c:pt idx="1229">
                  <c:v>All Others</c:v>
                </c:pt>
                <c:pt idx="1230">
                  <c:v>All Others</c:v>
                </c:pt>
                <c:pt idx="1231">
                  <c:v>All Others</c:v>
                </c:pt>
                <c:pt idx="1232">
                  <c:v>All Others</c:v>
                </c:pt>
                <c:pt idx="1233">
                  <c:v>All Others</c:v>
                </c:pt>
                <c:pt idx="1234">
                  <c:v>All Others</c:v>
                </c:pt>
                <c:pt idx="1235">
                  <c:v>All Others</c:v>
                </c:pt>
                <c:pt idx="1236">
                  <c:v>Savencia: A</c:v>
                </c:pt>
                <c:pt idx="1237">
                  <c:v>All Others</c:v>
                </c:pt>
                <c:pt idx="1238">
                  <c:v>All Others</c:v>
                </c:pt>
                <c:pt idx="1239">
                  <c:v>Istara</c:v>
                </c:pt>
                <c:pt idx="1240">
                  <c:v>All Others</c:v>
                </c:pt>
                <c:pt idx="1241">
                  <c:v>All Others</c:v>
                </c:pt>
                <c:pt idx="1242">
                  <c:v>All Others</c:v>
                </c:pt>
                <c:pt idx="1243">
                  <c:v>All Others</c:v>
                </c:pt>
                <c:pt idx="1244">
                  <c:v>All Others</c:v>
                </c:pt>
                <c:pt idx="1245">
                  <c:v>All Others</c:v>
                </c:pt>
                <c:pt idx="1246">
                  <c:v>All Others</c:v>
                </c:pt>
                <c:pt idx="1247">
                  <c:v>All Others</c:v>
                </c:pt>
                <c:pt idx="1248">
                  <c:v>Private Lab</c:v>
                </c:pt>
                <c:pt idx="1249">
                  <c:v>All Others</c:v>
                </c:pt>
                <c:pt idx="1250">
                  <c:v>All Others</c:v>
                </c:pt>
                <c:pt idx="1251">
                  <c:v>All Others</c:v>
                </c:pt>
                <c:pt idx="1252">
                  <c:v>All Others</c:v>
                </c:pt>
                <c:pt idx="1253">
                  <c:v>All Others</c:v>
                </c:pt>
                <c:pt idx="1254">
                  <c:v>All Others</c:v>
                </c:pt>
                <c:pt idx="1255">
                  <c:v>All Others</c:v>
                </c:pt>
                <c:pt idx="1256">
                  <c:v>All Others</c:v>
                </c:pt>
                <c:pt idx="1257">
                  <c:v>All Others</c:v>
                </c:pt>
                <c:pt idx="1258">
                  <c:v>All Others</c:v>
                </c:pt>
                <c:pt idx="1259">
                  <c:v>Salakis</c:v>
                </c:pt>
                <c:pt idx="1260">
                  <c:v>Societe</c:v>
                </c:pt>
                <c:pt idx="1261">
                  <c:v>All Others</c:v>
                </c:pt>
                <c:pt idx="1262">
                  <c:v>All Others</c:v>
                </c:pt>
                <c:pt idx="1263">
                  <c:v>All Others</c:v>
                </c:pt>
                <c:pt idx="1264">
                  <c:v>Lactalis: A</c:v>
                </c:pt>
                <c:pt idx="1265">
                  <c:v>All Others</c:v>
                </c:pt>
                <c:pt idx="1266">
                  <c:v>All Others</c:v>
                </c:pt>
                <c:pt idx="1267">
                  <c:v>All Others</c:v>
                </c:pt>
                <c:pt idx="1268">
                  <c:v>All Others</c:v>
                </c:pt>
                <c:pt idx="1269">
                  <c:v>All Others</c:v>
                </c:pt>
                <c:pt idx="1270">
                  <c:v>All Others</c:v>
                </c:pt>
                <c:pt idx="1271">
                  <c:v>All Others</c:v>
                </c:pt>
                <c:pt idx="1272">
                  <c:v>All Others</c:v>
                </c:pt>
                <c:pt idx="1273">
                  <c:v>All Others</c:v>
                </c:pt>
                <c:pt idx="1274">
                  <c:v>Limiano</c:v>
                </c:pt>
                <c:pt idx="1275">
                  <c:v>All Others</c:v>
                </c:pt>
                <c:pt idx="1276">
                  <c:v>All Others</c:v>
                </c:pt>
                <c:pt idx="1277">
                  <c:v>All Others</c:v>
                </c:pt>
                <c:pt idx="1278">
                  <c:v>All Others</c:v>
                </c:pt>
                <c:pt idx="1279">
                  <c:v>All Others</c:v>
                </c:pt>
                <c:pt idx="1280">
                  <c:v>All Others</c:v>
                </c:pt>
                <c:pt idx="1281">
                  <c:v>All Others</c:v>
                </c:pt>
                <c:pt idx="1282">
                  <c:v>All Others</c:v>
                </c:pt>
                <c:pt idx="1283">
                  <c:v>All Others</c:v>
                </c:pt>
                <c:pt idx="1284">
                  <c:v>All Others</c:v>
                </c:pt>
                <c:pt idx="1285">
                  <c:v>Private Lab</c:v>
                </c:pt>
                <c:pt idx="1286">
                  <c:v>All Others</c:v>
                </c:pt>
                <c:pt idx="1287">
                  <c:v>All Others</c:v>
                </c:pt>
                <c:pt idx="1288">
                  <c:v>All Others</c:v>
                </c:pt>
                <c:pt idx="1289">
                  <c:v>All Others</c:v>
                </c:pt>
                <c:pt idx="1290">
                  <c:v>All Others</c:v>
                </c:pt>
                <c:pt idx="1291">
                  <c:v>All Others</c:v>
                </c:pt>
                <c:pt idx="1292">
                  <c:v>All Others</c:v>
                </c:pt>
                <c:pt idx="1293">
                  <c:v>All Others</c:v>
                </c:pt>
                <c:pt idx="1294">
                  <c:v>All Others</c:v>
                </c:pt>
                <c:pt idx="1295">
                  <c:v>All Others</c:v>
                </c:pt>
                <c:pt idx="1296">
                  <c:v>All Others</c:v>
                </c:pt>
                <c:pt idx="1297">
                  <c:v>All Others</c:v>
                </c:pt>
                <c:pt idx="1298">
                  <c:v>All Others</c:v>
                </c:pt>
                <c:pt idx="1299">
                  <c:v>Private Lab</c:v>
                </c:pt>
                <c:pt idx="1300">
                  <c:v>All Others</c:v>
                </c:pt>
                <c:pt idx="1301">
                  <c:v>All Others</c:v>
                </c:pt>
                <c:pt idx="1302">
                  <c:v>All Others</c:v>
                </c:pt>
                <c:pt idx="1303">
                  <c:v>All Others</c:v>
                </c:pt>
                <c:pt idx="1304">
                  <c:v>All Others</c:v>
                </c:pt>
                <c:pt idx="1305">
                  <c:v>All Others</c:v>
                </c:pt>
                <c:pt idx="1306">
                  <c:v>All Others</c:v>
                </c:pt>
                <c:pt idx="1307">
                  <c:v>All Others</c:v>
                </c:pt>
                <c:pt idx="1308">
                  <c:v>All Others</c:v>
                </c:pt>
                <c:pt idx="1309">
                  <c:v>All Others</c:v>
                </c:pt>
                <c:pt idx="1310">
                  <c:v>All Others</c:v>
                </c:pt>
                <c:pt idx="1311">
                  <c:v>All Others</c:v>
                </c:pt>
                <c:pt idx="1312">
                  <c:v>All Others</c:v>
                </c:pt>
                <c:pt idx="1313">
                  <c:v>All Others</c:v>
                </c:pt>
                <c:pt idx="1314">
                  <c:v>All Others</c:v>
                </c:pt>
                <c:pt idx="1315">
                  <c:v>All Others</c:v>
                </c:pt>
                <c:pt idx="1316">
                  <c:v>All Others</c:v>
                </c:pt>
                <c:pt idx="1317">
                  <c:v>All Others</c:v>
                </c:pt>
                <c:pt idx="1318">
                  <c:v>All Others</c:v>
                </c:pt>
                <c:pt idx="1319">
                  <c:v>All Others</c:v>
                </c:pt>
                <c:pt idx="1320">
                  <c:v>All Others</c:v>
                </c:pt>
                <c:pt idx="1321">
                  <c:v>All Others</c:v>
                </c:pt>
                <c:pt idx="1322">
                  <c:v>All Others</c:v>
                </c:pt>
                <c:pt idx="1323">
                  <c:v>All Others</c:v>
                </c:pt>
                <c:pt idx="1324">
                  <c:v>All Others</c:v>
                </c:pt>
                <c:pt idx="1325">
                  <c:v>All Others</c:v>
                </c:pt>
                <c:pt idx="1326">
                  <c:v>All Others</c:v>
                </c:pt>
                <c:pt idx="1327">
                  <c:v>All Others</c:v>
                </c:pt>
                <c:pt idx="1328">
                  <c:v>All Others</c:v>
                </c:pt>
                <c:pt idx="1329">
                  <c:v>All Others</c:v>
                </c:pt>
                <c:pt idx="1330">
                  <c:v>All Others</c:v>
                </c:pt>
                <c:pt idx="1331">
                  <c:v>All Others</c:v>
                </c:pt>
                <c:pt idx="1332">
                  <c:v>All Others</c:v>
                </c:pt>
                <c:pt idx="1333">
                  <c:v>All Others</c:v>
                </c:pt>
                <c:pt idx="1334">
                  <c:v>All Others</c:v>
                </c:pt>
                <c:pt idx="1335">
                  <c:v>All Others</c:v>
                </c:pt>
                <c:pt idx="1336">
                  <c:v>All Others</c:v>
                </c:pt>
                <c:pt idx="1337">
                  <c:v>All Others</c:v>
                </c:pt>
                <c:pt idx="1338">
                  <c:v>All Others</c:v>
                </c:pt>
                <c:pt idx="1339">
                  <c:v>All Others</c:v>
                </c:pt>
                <c:pt idx="1340">
                  <c:v>All Others</c:v>
                </c:pt>
                <c:pt idx="1341">
                  <c:v>All Others</c:v>
                </c:pt>
                <c:pt idx="1342">
                  <c:v>All Others</c:v>
                </c:pt>
                <c:pt idx="1343">
                  <c:v>All Others</c:v>
                </c:pt>
                <c:pt idx="1344">
                  <c:v>All Others</c:v>
                </c:pt>
                <c:pt idx="1345">
                  <c:v>All Others</c:v>
                </c:pt>
                <c:pt idx="1346">
                  <c:v>All Others</c:v>
                </c:pt>
                <c:pt idx="1347">
                  <c:v>All Others</c:v>
                </c:pt>
                <c:pt idx="1348">
                  <c:v>All Others</c:v>
                </c:pt>
                <c:pt idx="1349">
                  <c:v>All Others</c:v>
                </c:pt>
                <c:pt idx="1350">
                  <c:v>All Others</c:v>
                </c:pt>
                <c:pt idx="1351">
                  <c:v>All Others</c:v>
                </c:pt>
                <c:pt idx="1352">
                  <c:v>All Others</c:v>
                </c:pt>
                <c:pt idx="1353">
                  <c:v>All Others</c:v>
                </c:pt>
                <c:pt idx="1354">
                  <c:v>All Others</c:v>
                </c:pt>
                <c:pt idx="1355">
                  <c:v>All Others</c:v>
                </c:pt>
                <c:pt idx="1356">
                  <c:v>All Others</c:v>
                </c:pt>
                <c:pt idx="1357">
                  <c:v>All Others</c:v>
                </c:pt>
                <c:pt idx="1358">
                  <c:v>All Others</c:v>
                </c:pt>
                <c:pt idx="1359">
                  <c:v>All Others</c:v>
                </c:pt>
                <c:pt idx="1360">
                  <c:v>Private Lab</c:v>
                </c:pt>
                <c:pt idx="1361">
                  <c:v>All Others</c:v>
                </c:pt>
                <c:pt idx="1362">
                  <c:v>All Others</c:v>
                </c:pt>
                <c:pt idx="1363">
                  <c:v>All Others</c:v>
                </c:pt>
                <c:pt idx="1364">
                  <c:v>All Others</c:v>
                </c:pt>
                <c:pt idx="1365">
                  <c:v>All Others</c:v>
                </c:pt>
                <c:pt idx="1366">
                  <c:v>All Others</c:v>
                </c:pt>
                <c:pt idx="1367">
                  <c:v>All Others</c:v>
                </c:pt>
                <c:pt idx="1368">
                  <c:v>All Others</c:v>
                </c:pt>
                <c:pt idx="1369">
                  <c:v>All Others</c:v>
                </c:pt>
                <c:pt idx="1370">
                  <c:v>All Others</c:v>
                </c:pt>
                <c:pt idx="1371">
                  <c:v>All Others</c:v>
                </c:pt>
                <c:pt idx="1372">
                  <c:v>All Others</c:v>
                </c:pt>
                <c:pt idx="1373">
                  <c:v>All Others</c:v>
                </c:pt>
                <c:pt idx="1374">
                  <c:v>All Others</c:v>
                </c:pt>
                <c:pt idx="1375">
                  <c:v>All Others</c:v>
                </c:pt>
                <c:pt idx="1376">
                  <c:v>Private Lab</c:v>
                </c:pt>
                <c:pt idx="1377">
                  <c:v>All Others</c:v>
                </c:pt>
                <c:pt idx="1378">
                  <c:v>All Others</c:v>
                </c:pt>
                <c:pt idx="1379">
                  <c:v>Private Lab</c:v>
                </c:pt>
                <c:pt idx="1380">
                  <c:v>All Others</c:v>
                </c:pt>
                <c:pt idx="1381">
                  <c:v>All Others</c:v>
                </c:pt>
                <c:pt idx="1382">
                  <c:v>All Others</c:v>
                </c:pt>
                <c:pt idx="1383">
                  <c:v>All Others</c:v>
                </c:pt>
                <c:pt idx="1384">
                  <c:v>All Others</c:v>
                </c:pt>
                <c:pt idx="1385">
                  <c:v>All Others</c:v>
                </c:pt>
                <c:pt idx="1386">
                  <c:v>All Others</c:v>
                </c:pt>
                <c:pt idx="1387">
                  <c:v>Lactalis: A</c:v>
                </c:pt>
                <c:pt idx="1388">
                  <c:v>All Others</c:v>
                </c:pt>
                <c:pt idx="1389">
                  <c:v>All Others</c:v>
                </c:pt>
                <c:pt idx="1390">
                  <c:v>All Others</c:v>
                </c:pt>
                <c:pt idx="1391">
                  <c:v>All Others</c:v>
                </c:pt>
                <c:pt idx="1392">
                  <c:v>All Others</c:v>
                </c:pt>
                <c:pt idx="1393">
                  <c:v>Private Lab</c:v>
                </c:pt>
                <c:pt idx="1394">
                  <c:v>All Others</c:v>
                </c:pt>
                <c:pt idx="1395">
                  <c:v>All Others</c:v>
                </c:pt>
                <c:pt idx="1396">
                  <c:v>All Others</c:v>
                </c:pt>
                <c:pt idx="1397">
                  <c:v>Milleret: A</c:v>
                </c:pt>
                <c:pt idx="1398">
                  <c:v>All Others</c:v>
                </c:pt>
                <c:pt idx="1399">
                  <c:v>All Others</c:v>
                </c:pt>
                <c:pt idx="1400">
                  <c:v>All Others</c:v>
                </c:pt>
                <c:pt idx="1401">
                  <c:v>All Others</c:v>
                </c:pt>
                <c:pt idx="1402">
                  <c:v>All Others</c:v>
                </c:pt>
                <c:pt idx="1403">
                  <c:v>All Others</c:v>
                </c:pt>
                <c:pt idx="1404">
                  <c:v>All Others</c:v>
                </c:pt>
                <c:pt idx="1405">
                  <c:v>All Others</c:v>
                </c:pt>
                <c:pt idx="1406">
                  <c:v>All Others</c:v>
                </c:pt>
                <c:pt idx="1407">
                  <c:v>All Others</c:v>
                </c:pt>
                <c:pt idx="1408">
                  <c:v>All Others</c:v>
                </c:pt>
                <c:pt idx="1409">
                  <c:v>All Others</c:v>
                </c:pt>
                <c:pt idx="1410">
                  <c:v>All Others</c:v>
                </c:pt>
                <c:pt idx="1411">
                  <c:v>All Others</c:v>
                </c:pt>
                <c:pt idx="1412">
                  <c:v>All Others</c:v>
                </c:pt>
                <c:pt idx="1413">
                  <c:v>Private Lab</c:v>
                </c:pt>
                <c:pt idx="1414">
                  <c:v>All Others</c:v>
                </c:pt>
                <c:pt idx="1415">
                  <c:v>All Others</c:v>
                </c:pt>
                <c:pt idx="1416">
                  <c:v>All Others</c:v>
                </c:pt>
                <c:pt idx="1417">
                  <c:v>All Others</c:v>
                </c:pt>
                <c:pt idx="1418">
                  <c:v>All Others</c:v>
                </c:pt>
                <c:pt idx="1419">
                  <c:v>All Others</c:v>
                </c:pt>
                <c:pt idx="1420">
                  <c:v>All Others</c:v>
                </c:pt>
                <c:pt idx="1421">
                  <c:v>All Others</c:v>
                </c:pt>
                <c:pt idx="1422">
                  <c:v>Private Lab</c:v>
                </c:pt>
                <c:pt idx="1423">
                  <c:v>All Others</c:v>
                </c:pt>
                <c:pt idx="1424">
                  <c:v>All Others</c:v>
                </c:pt>
                <c:pt idx="1425">
                  <c:v>All Others</c:v>
                </c:pt>
                <c:pt idx="1426">
                  <c:v>All Others</c:v>
                </c:pt>
                <c:pt idx="1427">
                  <c:v>All Others</c:v>
                </c:pt>
                <c:pt idx="1428">
                  <c:v>All Others</c:v>
                </c:pt>
                <c:pt idx="1429">
                  <c:v>All Others</c:v>
                </c:pt>
                <c:pt idx="1430">
                  <c:v>All Others</c:v>
                </c:pt>
                <c:pt idx="1431">
                  <c:v>All Others</c:v>
                </c:pt>
                <c:pt idx="1432">
                  <c:v>All Others</c:v>
                </c:pt>
                <c:pt idx="1433">
                  <c:v>Lactalis: A</c:v>
                </c:pt>
                <c:pt idx="1434">
                  <c:v>All Others</c:v>
                </c:pt>
                <c:pt idx="1435">
                  <c:v>Private Lab</c:v>
                </c:pt>
                <c:pt idx="1436">
                  <c:v>All Others</c:v>
                </c:pt>
                <c:pt idx="1437">
                  <c:v>All Others</c:v>
                </c:pt>
                <c:pt idx="1438">
                  <c:v>All Others</c:v>
                </c:pt>
                <c:pt idx="1439">
                  <c:v>All Others</c:v>
                </c:pt>
                <c:pt idx="1440">
                  <c:v>All Others</c:v>
                </c:pt>
                <c:pt idx="1441">
                  <c:v>All Others</c:v>
                </c:pt>
                <c:pt idx="1442">
                  <c:v>All Others</c:v>
                </c:pt>
                <c:pt idx="1443">
                  <c:v>All Others</c:v>
                </c:pt>
                <c:pt idx="1444">
                  <c:v>All Others</c:v>
                </c:pt>
                <c:pt idx="1445">
                  <c:v>All Others</c:v>
                </c:pt>
                <c:pt idx="1446">
                  <c:v>All Others</c:v>
                </c:pt>
                <c:pt idx="1447">
                  <c:v>All Others</c:v>
                </c:pt>
                <c:pt idx="1448">
                  <c:v>All Others</c:v>
                </c:pt>
                <c:pt idx="1449">
                  <c:v>All Others</c:v>
                </c:pt>
                <c:pt idx="1450">
                  <c:v>All Others</c:v>
                </c:pt>
                <c:pt idx="1451">
                  <c:v>All Others</c:v>
                </c:pt>
                <c:pt idx="1452">
                  <c:v>All Others</c:v>
                </c:pt>
                <c:pt idx="1453">
                  <c:v>Ficello</c:v>
                </c:pt>
                <c:pt idx="1454">
                  <c:v>Private Lab</c:v>
                </c:pt>
                <c:pt idx="1455">
                  <c:v>Private Lab</c:v>
                </c:pt>
                <c:pt idx="1456">
                  <c:v>Mini Babybe</c:v>
                </c:pt>
                <c:pt idx="1457">
                  <c:v>All Others</c:v>
                </c:pt>
                <c:pt idx="1458">
                  <c:v>All Others</c:v>
                </c:pt>
                <c:pt idx="1459">
                  <c:v>All Others</c:v>
                </c:pt>
                <c:pt idx="1460">
                  <c:v>All Others</c:v>
                </c:pt>
                <c:pt idx="1461">
                  <c:v>All Others</c:v>
                </c:pt>
                <c:pt idx="1462">
                  <c:v>All Others</c:v>
                </c:pt>
                <c:pt idx="1463">
                  <c:v>All Others</c:v>
                </c:pt>
                <c:pt idx="1464">
                  <c:v>All Others</c:v>
                </c:pt>
                <c:pt idx="1465">
                  <c:v>All Others</c:v>
                </c:pt>
                <c:pt idx="1466">
                  <c:v>All Others</c:v>
                </c:pt>
                <c:pt idx="1467">
                  <c:v>All Others</c:v>
                </c:pt>
                <c:pt idx="1468">
                  <c:v>All Others</c:v>
                </c:pt>
                <c:pt idx="1469">
                  <c:v>All Others</c:v>
                </c:pt>
                <c:pt idx="1470">
                  <c:v>Private Lab</c:v>
                </c:pt>
                <c:pt idx="1471">
                  <c:v>All Others</c:v>
                </c:pt>
                <c:pt idx="1472">
                  <c:v>All Others</c:v>
                </c:pt>
                <c:pt idx="1473">
                  <c:v>All Others</c:v>
                </c:pt>
              </c:strCache>
            </c:strRef>
          </c:cat>
          <c:val>
            <c:numRef>
              <c:f>Sheet1!$C$2:$C$1475</c:f>
              <c:numCache>
                <c:formatCode>General</c:formatCode>
                <c:ptCount val="1474"/>
                <c:pt idx="0">
                  <c:v>2.6312377716913544E-2</c:v>
                </c:pt>
                <c:pt idx="1">
                  <c:v>5.1308403332745958E-2</c:v>
                </c:pt>
                <c:pt idx="2">
                  <c:v>0.10716453519510302</c:v>
                </c:pt>
                <c:pt idx="3">
                  <c:v>0.1214543377681139</c:v>
                </c:pt>
                <c:pt idx="4">
                  <c:v>0.13524866227569868</c:v>
                </c:pt>
                <c:pt idx="5">
                  <c:v>0.14873009428753661</c:v>
                </c:pt>
                <c:pt idx="6">
                  <c:v>0.16152776870852237</c:v>
                </c:pt>
                <c:pt idx="7">
                  <c:v>0.1733314979011141</c:v>
                </c:pt>
                <c:pt idx="8">
                  <c:v>0.18428813579965261</c:v>
                </c:pt>
                <c:pt idx="9">
                  <c:v>0.21349758780898098</c:v>
                </c:pt>
                <c:pt idx="10">
                  <c:v>0.22269674943741627</c:v>
                </c:pt>
                <c:pt idx="11">
                  <c:v>0.23162541607634157</c:v>
                </c:pt>
                <c:pt idx="12">
                  <c:v>0.24873940847440634</c:v>
                </c:pt>
                <c:pt idx="13">
                  <c:v>0.25675516254662001</c:v>
                </c:pt>
                <c:pt idx="14">
                  <c:v>0.26418661528882742</c:v>
                </c:pt>
                <c:pt idx="15">
                  <c:v>0.27154301967710992</c:v>
                </c:pt>
                <c:pt idx="16">
                  <c:v>0.2784990072482712</c:v>
                </c:pt>
                <c:pt idx="17">
                  <c:v>0.28538909102567628</c:v>
                </c:pt>
                <c:pt idx="18">
                  <c:v>0.29216106266146341</c:v>
                </c:pt>
                <c:pt idx="19">
                  <c:v>0.29887690466907579</c:v>
                </c:pt>
                <c:pt idx="20">
                  <c:v>0.31219716380793971</c:v>
                </c:pt>
                <c:pt idx="21">
                  <c:v>0.31876892092249232</c:v>
                </c:pt>
                <c:pt idx="22">
                  <c:v>0.32513767002383376</c:v>
                </c:pt>
                <c:pt idx="23">
                  <c:v>0.33147066609547804</c:v>
                </c:pt>
                <c:pt idx="24">
                  <c:v>0.33777152784037962</c:v>
                </c:pt>
                <c:pt idx="25">
                  <c:v>0.34996041050334031</c:v>
                </c:pt>
                <c:pt idx="26">
                  <c:v>0.36144813890550215</c:v>
                </c:pt>
                <c:pt idx="27">
                  <c:v>0.37230360899450005</c:v>
                </c:pt>
                <c:pt idx="28">
                  <c:v>0.37740819906093731</c:v>
                </c:pt>
                <c:pt idx="29">
                  <c:v>0.38752156608661609</c:v>
                </c:pt>
                <c:pt idx="30">
                  <c:v>0.39255280712247531</c:v>
                </c:pt>
                <c:pt idx="31">
                  <c:v>0.3975344682602539</c:v>
                </c:pt>
                <c:pt idx="32">
                  <c:v>0.40250486679635405</c:v>
                </c:pt>
                <c:pt idx="33">
                  <c:v>0.41237355265444303</c:v>
                </c:pt>
                <c:pt idx="34">
                  <c:v>0.4172066513655231</c:v>
                </c:pt>
                <c:pt idx="35">
                  <c:v>0.42198355015267841</c:v>
                </c:pt>
                <c:pt idx="36">
                  <c:v>0.43146140080999945</c:v>
                </c:pt>
                <c:pt idx="37">
                  <c:v>0.44088215603666797</c:v>
                </c:pt>
                <c:pt idx="38">
                  <c:v>0.4455190012392069</c:v>
                </c:pt>
                <c:pt idx="39">
                  <c:v>0.45013385915369308</c:v>
                </c:pt>
                <c:pt idx="40">
                  <c:v>0.45469116624332051</c:v>
                </c:pt>
                <c:pt idx="41">
                  <c:v>0.45905222593708073</c:v>
                </c:pt>
                <c:pt idx="42">
                  <c:v>0.46338099237457664</c:v>
                </c:pt>
                <c:pt idx="43">
                  <c:v>0.46762923655866157</c:v>
                </c:pt>
                <c:pt idx="44">
                  <c:v>0.4717715817235999</c:v>
                </c:pt>
                <c:pt idx="45">
                  <c:v>0.47573081257256578</c:v>
                </c:pt>
                <c:pt idx="46">
                  <c:v>0.47965927527740776</c:v>
                </c:pt>
                <c:pt idx="47">
                  <c:v>0.48355404492366016</c:v>
                </c:pt>
                <c:pt idx="48">
                  <c:v>0.49122130323094065</c:v>
                </c:pt>
                <c:pt idx="49">
                  <c:v>0.49502503376832063</c:v>
                </c:pt>
                <c:pt idx="50">
                  <c:v>0.50248600766917439</c:v>
                </c:pt>
                <c:pt idx="51">
                  <c:v>0.50619429185979314</c:v>
                </c:pt>
                <c:pt idx="52">
                  <c:v>0.50985328344800507</c:v>
                </c:pt>
                <c:pt idx="53">
                  <c:v>0.51345806478764977</c:v>
                </c:pt>
                <c:pt idx="54">
                  <c:v>0.52065664910459775</c:v>
                </c:pt>
                <c:pt idx="55">
                  <c:v>0.52425170518005237</c:v>
                </c:pt>
                <c:pt idx="56">
                  <c:v>0.52781484392868805</c:v>
                </c:pt>
                <c:pt idx="57">
                  <c:v>0.53135517629096707</c:v>
                </c:pt>
                <c:pt idx="58">
                  <c:v>0.53487364667500847</c:v>
                </c:pt>
                <c:pt idx="59">
                  <c:v>0.54179433661067877</c:v>
                </c:pt>
                <c:pt idx="60">
                  <c:v>0.54519889731641513</c:v>
                </c:pt>
                <c:pt idx="61">
                  <c:v>0.548582736057598</c:v>
                </c:pt>
                <c:pt idx="62">
                  <c:v>0.55194893973455172</c:v>
                </c:pt>
                <c:pt idx="63">
                  <c:v>0.5616395206129372</c:v>
                </c:pt>
                <c:pt idx="64">
                  <c:v>0.5647030827482904</c:v>
                </c:pt>
                <c:pt idx="65">
                  <c:v>0.56776133602635315</c:v>
                </c:pt>
                <c:pt idx="66">
                  <c:v>0.57386105106724894</c:v>
                </c:pt>
                <c:pt idx="67">
                  <c:v>0.57690283985813617</c:v>
                </c:pt>
                <c:pt idx="68">
                  <c:v>0.5798878082886969</c:v>
                </c:pt>
                <c:pt idx="69">
                  <c:v>0.58285946637181951</c:v>
                </c:pt>
                <c:pt idx="70">
                  <c:v>0.58872402990375061</c:v>
                </c:pt>
                <c:pt idx="71">
                  <c:v>0.59159749399318962</c:v>
                </c:pt>
                <c:pt idx="72">
                  <c:v>0.6001587002963773</c:v>
                </c:pt>
                <c:pt idx="73">
                  <c:v>0.6029882601054608</c:v>
                </c:pt>
                <c:pt idx="74">
                  <c:v>0.60577393397221047</c:v>
                </c:pt>
                <c:pt idx="75">
                  <c:v>0.60854395328107758</c:v>
                </c:pt>
                <c:pt idx="76">
                  <c:v>0.61129793904627994</c:v>
                </c:pt>
                <c:pt idx="77">
                  <c:v>0.61404767344677813</c:v>
                </c:pt>
                <c:pt idx="78">
                  <c:v>0.62222852778495275</c:v>
                </c:pt>
                <c:pt idx="79">
                  <c:v>0.62493060472331485</c:v>
                </c:pt>
                <c:pt idx="80">
                  <c:v>0.62760723154385445</c:v>
                </c:pt>
                <c:pt idx="81">
                  <c:v>0.6302737724524432</c:v>
                </c:pt>
                <c:pt idx="82">
                  <c:v>0.63548231465138683</c:v>
                </c:pt>
                <c:pt idx="83">
                  <c:v>0.63806258128041571</c:v>
                </c:pt>
                <c:pt idx="84">
                  <c:v>0.64063560439086176</c:v>
                </c:pt>
                <c:pt idx="85">
                  <c:v>0.64319127362007844</c:v>
                </c:pt>
                <c:pt idx="86">
                  <c:v>0.64574053982337487</c:v>
                </c:pt>
                <c:pt idx="87">
                  <c:v>0.64823234383558426</c:v>
                </c:pt>
                <c:pt idx="88">
                  <c:v>0.65070928793751948</c:v>
                </c:pt>
                <c:pt idx="89">
                  <c:v>0.65317684602866655</c:v>
                </c:pt>
                <c:pt idx="90">
                  <c:v>0.65558427680290199</c:v>
                </c:pt>
                <c:pt idx="91">
                  <c:v>0.65794383922775146</c:v>
                </c:pt>
                <c:pt idx="92">
                  <c:v>0.66025864159789793</c:v>
                </c:pt>
                <c:pt idx="93">
                  <c:v>0.6625542226649358</c:v>
                </c:pt>
                <c:pt idx="94">
                  <c:v>0.66704102311735314</c:v>
                </c:pt>
                <c:pt idx="95">
                  <c:v>0.66926467940683387</c:v>
                </c:pt>
                <c:pt idx="96">
                  <c:v>0.67147799305205957</c:v>
                </c:pt>
                <c:pt idx="97">
                  <c:v>0.67365007976810209</c:v>
                </c:pt>
                <c:pt idx="98">
                  <c:v>0.67581827271086414</c:v>
                </c:pt>
                <c:pt idx="99">
                  <c:v>0.6801484175563266</c:v>
                </c:pt>
                <c:pt idx="100">
                  <c:v>0.68231047643082043</c:v>
                </c:pt>
                <c:pt idx="101">
                  <c:v>0.68444589627241625</c:v>
                </c:pt>
                <c:pt idx="102">
                  <c:v>0.68657575969342832</c:v>
                </c:pt>
                <c:pt idx="103">
                  <c:v>0.68869343138632766</c:v>
                </c:pt>
                <c:pt idx="104">
                  <c:v>0.6907870649890776</c:v>
                </c:pt>
                <c:pt idx="105">
                  <c:v>0.69286881555374735</c:v>
                </c:pt>
                <c:pt idx="106">
                  <c:v>0.69491760046802264</c:v>
                </c:pt>
                <c:pt idx="107">
                  <c:v>0.69696568853747232</c:v>
                </c:pt>
                <c:pt idx="108">
                  <c:v>0.6990004479214621</c:v>
                </c:pt>
                <c:pt idx="109">
                  <c:v>0.70102901211044455</c:v>
                </c:pt>
                <c:pt idx="110">
                  <c:v>0.7030288467320519</c:v>
                </c:pt>
                <c:pt idx="111">
                  <c:v>0.70502858049453976</c:v>
                </c:pt>
                <c:pt idx="112">
                  <c:v>0.70699964276005467</c:v>
                </c:pt>
                <c:pt idx="113">
                  <c:v>0.70895348562316629</c:v>
                </c:pt>
                <c:pt idx="114">
                  <c:v>0.71086960106290797</c:v>
                </c:pt>
                <c:pt idx="115">
                  <c:v>0.71278095778601103</c:v>
                </c:pt>
                <c:pt idx="116">
                  <c:v>0.71468921538344199</c:v>
                </c:pt>
                <c:pt idx="117">
                  <c:v>0.71659032115239873</c:v>
                </c:pt>
                <c:pt idx="118">
                  <c:v>0.71847209253377942</c:v>
                </c:pt>
                <c:pt idx="119">
                  <c:v>0.7203441325382961</c:v>
                </c:pt>
                <c:pt idx="120">
                  <c:v>0.72220612330690537</c:v>
                </c:pt>
                <c:pt idx="121">
                  <c:v>0.72405004501143788</c:v>
                </c:pt>
                <c:pt idx="122">
                  <c:v>0.72589237130808004</c:v>
                </c:pt>
                <c:pt idx="123">
                  <c:v>0.72772777500151964</c:v>
                </c:pt>
                <c:pt idx="124">
                  <c:v>0.72954814457347861</c:v>
                </c:pt>
                <c:pt idx="125">
                  <c:v>0.7313668728924928</c:v>
                </c:pt>
                <c:pt idx="126">
                  <c:v>0.73317641691895785</c:v>
                </c:pt>
                <c:pt idx="127">
                  <c:v>0.7349747380761249</c:v>
                </c:pt>
                <c:pt idx="128">
                  <c:v>0.73675403659208538</c:v>
                </c:pt>
                <c:pt idx="129">
                  <c:v>0.73852590209657176</c:v>
                </c:pt>
                <c:pt idx="130">
                  <c:v>0.74029078692745343</c:v>
                </c:pt>
                <c:pt idx="131">
                  <c:v>0.74381563588671951</c:v>
                </c:pt>
                <c:pt idx="132">
                  <c:v>0.74556199625931818</c:v>
                </c:pt>
                <c:pt idx="133">
                  <c:v>0.74729317274992546</c:v>
                </c:pt>
                <c:pt idx="134">
                  <c:v>0.74902188583294715</c:v>
                </c:pt>
                <c:pt idx="135">
                  <c:v>0.75074164079235439</c:v>
                </c:pt>
                <c:pt idx="136">
                  <c:v>0.75416775478629594</c:v>
                </c:pt>
                <c:pt idx="137">
                  <c:v>0.7558739548913086</c:v>
                </c:pt>
                <c:pt idx="138">
                  <c:v>0.75757906694036536</c:v>
                </c:pt>
                <c:pt idx="139">
                  <c:v>0.76091540409259684</c:v>
                </c:pt>
                <c:pt idx="140">
                  <c:v>0.76256483273867426</c:v>
                </c:pt>
                <c:pt idx="141">
                  <c:v>0.76581823007496352</c:v>
                </c:pt>
                <c:pt idx="142">
                  <c:v>0.76740267182837119</c:v>
                </c:pt>
                <c:pt idx="143">
                  <c:v>0.76898426813207399</c:v>
                </c:pt>
                <c:pt idx="144">
                  <c:v>0.77054438449965845</c:v>
                </c:pt>
                <c:pt idx="145">
                  <c:v>0.77210333640286311</c:v>
                </c:pt>
                <c:pt idx="146">
                  <c:v>0.7736622699680461</c:v>
                </c:pt>
                <c:pt idx="147">
                  <c:v>0.77520012397725191</c:v>
                </c:pt>
                <c:pt idx="148">
                  <c:v>0.77669055891860406</c:v>
                </c:pt>
                <c:pt idx="149">
                  <c:v>0.77965469230014395</c:v>
                </c:pt>
                <c:pt idx="150">
                  <c:v>0.78112566448776799</c:v>
                </c:pt>
                <c:pt idx="151">
                  <c:v>0.78259280097251382</c:v>
                </c:pt>
                <c:pt idx="152">
                  <c:v>0.78405484865622987</c:v>
                </c:pt>
                <c:pt idx="153">
                  <c:v>0.78551548736860977</c:v>
                </c:pt>
                <c:pt idx="154">
                  <c:v>0.78696784952051613</c:v>
                </c:pt>
                <c:pt idx="155">
                  <c:v>0.78841835341955391</c:v>
                </c:pt>
                <c:pt idx="156">
                  <c:v>0.79129179611463429</c:v>
                </c:pt>
                <c:pt idx="157">
                  <c:v>0.79272434709039963</c:v>
                </c:pt>
                <c:pt idx="158">
                  <c:v>0.79551904632017667</c:v>
                </c:pt>
                <c:pt idx="159">
                  <c:v>0.79824650613694836</c:v>
                </c:pt>
                <c:pt idx="160">
                  <c:v>0.79957785568346662</c:v>
                </c:pt>
                <c:pt idx="161">
                  <c:v>0.80089928130389265</c:v>
                </c:pt>
                <c:pt idx="162">
                  <c:v>0.80220904699883622</c:v>
                </c:pt>
                <c:pt idx="163">
                  <c:v>0.80351620869469431</c:v>
                </c:pt>
                <c:pt idx="164">
                  <c:v>0.80480584535445365</c:v>
                </c:pt>
                <c:pt idx="165">
                  <c:v>0.80608498960944719</c:v>
                </c:pt>
                <c:pt idx="166">
                  <c:v>0.80733903522536798</c:v>
                </c:pt>
                <c:pt idx="167">
                  <c:v>0.80856815030074847</c:v>
                </c:pt>
                <c:pt idx="168">
                  <c:v>0.80979552020772783</c:v>
                </c:pt>
                <c:pt idx="169">
                  <c:v>0.81100417005085901</c:v>
                </c:pt>
                <c:pt idx="170">
                  <c:v>0.81220715038893909</c:v>
                </c:pt>
                <c:pt idx="171">
                  <c:v>0.81340806464323767</c:v>
                </c:pt>
                <c:pt idx="172">
                  <c:v>0.81460828205271063</c:v>
                </c:pt>
                <c:pt idx="173">
                  <c:v>0.81580155852095926</c:v>
                </c:pt>
                <c:pt idx="174">
                  <c:v>0.81699016796267787</c:v>
                </c:pt>
                <c:pt idx="175">
                  <c:v>0.81817477054664878</c:v>
                </c:pt>
                <c:pt idx="176">
                  <c:v>0.81933811325076211</c:v>
                </c:pt>
                <c:pt idx="177">
                  <c:v>0.82049527604155292</c:v>
                </c:pt>
                <c:pt idx="178">
                  <c:v>0.821640992850448</c:v>
                </c:pt>
                <c:pt idx="179">
                  <c:v>0.82278115323875933</c:v>
                </c:pt>
                <c:pt idx="180">
                  <c:v>0.82391193372895632</c:v>
                </c:pt>
                <c:pt idx="181">
                  <c:v>0.82504202654333847</c:v>
                </c:pt>
                <c:pt idx="182">
                  <c:v>0.8261625285723565</c:v>
                </c:pt>
                <c:pt idx="183">
                  <c:v>0.82726678311412283</c:v>
                </c:pt>
                <c:pt idx="184">
                  <c:v>0.82836502889743613</c:v>
                </c:pt>
                <c:pt idx="185">
                  <c:v>0.82944507725052052</c:v>
                </c:pt>
                <c:pt idx="186">
                  <c:v>0.83052093842197694</c:v>
                </c:pt>
                <c:pt idx="187">
                  <c:v>0.83159540896011885</c:v>
                </c:pt>
                <c:pt idx="188">
                  <c:v>0.83373683756016781</c:v>
                </c:pt>
                <c:pt idx="189">
                  <c:v>0.8348058036354542</c:v>
                </c:pt>
                <c:pt idx="190">
                  <c:v>0.83587181423290524</c:v>
                </c:pt>
                <c:pt idx="191">
                  <c:v>0.836935749577564</c:v>
                </c:pt>
                <c:pt idx="192">
                  <c:v>0.8379988352605493</c:v>
                </c:pt>
                <c:pt idx="193">
                  <c:v>0.83905310035508307</c:v>
                </c:pt>
                <c:pt idx="194">
                  <c:v>0.84010734099892126</c:v>
                </c:pt>
                <c:pt idx="195">
                  <c:v>0.8411548821521545</c:v>
                </c:pt>
                <c:pt idx="196">
                  <c:v>0.84324194768678851</c:v>
                </c:pt>
                <c:pt idx="197">
                  <c:v>0.8442642434967752</c:v>
                </c:pt>
                <c:pt idx="198">
                  <c:v>0.84528597082808832</c:v>
                </c:pt>
                <c:pt idx="199">
                  <c:v>0.84630647256828251</c:v>
                </c:pt>
                <c:pt idx="200">
                  <c:v>0.84732257929593569</c:v>
                </c:pt>
                <c:pt idx="201">
                  <c:v>0.84833076705453903</c:v>
                </c:pt>
                <c:pt idx="202">
                  <c:v>0.84933749694041494</c:v>
                </c:pt>
                <c:pt idx="203">
                  <c:v>0.85034359110820423</c:v>
                </c:pt>
                <c:pt idx="204">
                  <c:v>0.85133545191479509</c:v>
                </c:pt>
                <c:pt idx="205">
                  <c:v>0.85330799650373323</c:v>
                </c:pt>
                <c:pt idx="206">
                  <c:v>0.85429146460904626</c:v>
                </c:pt>
                <c:pt idx="207">
                  <c:v>0.85622142525519318</c:v>
                </c:pt>
                <c:pt idx="208">
                  <c:v>0.85717619741283768</c:v>
                </c:pt>
                <c:pt idx="209">
                  <c:v>0.85812416922075774</c:v>
                </c:pt>
                <c:pt idx="210">
                  <c:v>0.8590699343533964</c:v>
                </c:pt>
                <c:pt idx="211">
                  <c:v>0.86000506648976938</c:v>
                </c:pt>
                <c:pt idx="212">
                  <c:v>0.86092716640536715</c:v>
                </c:pt>
                <c:pt idx="213">
                  <c:v>0.86183736494486296</c:v>
                </c:pt>
                <c:pt idx="214">
                  <c:v>0.86274686969587</c:v>
                </c:pt>
                <c:pt idx="215">
                  <c:v>0.86365465678550846</c:v>
                </c:pt>
                <c:pt idx="216">
                  <c:v>0.86455877932713809</c:v>
                </c:pt>
                <c:pt idx="217">
                  <c:v>0.86546261151675707</c:v>
                </c:pt>
                <c:pt idx="218">
                  <c:v>0.86635890677944549</c:v>
                </c:pt>
                <c:pt idx="219">
                  <c:v>0.86724385691935768</c:v>
                </c:pt>
                <c:pt idx="220">
                  <c:v>0.86810544441958748</c:v>
                </c:pt>
                <c:pt idx="221">
                  <c:v>0.8689487550248276</c:v>
                </c:pt>
                <c:pt idx="222">
                  <c:v>0.86978888398329779</c:v>
                </c:pt>
                <c:pt idx="223">
                  <c:v>0.87062880816719201</c:v>
                </c:pt>
                <c:pt idx="224">
                  <c:v>0.87146682214048954</c:v>
                </c:pt>
                <c:pt idx="225">
                  <c:v>0.87312765092340827</c:v>
                </c:pt>
                <c:pt idx="226">
                  <c:v>0.87394716794545535</c:v>
                </c:pt>
                <c:pt idx="227">
                  <c:v>0.87475401645082485</c:v>
                </c:pt>
                <c:pt idx="228">
                  <c:v>0.87555829152047837</c:v>
                </c:pt>
                <c:pt idx="229">
                  <c:v>0.87636230680149074</c:v>
                </c:pt>
                <c:pt idx="230">
                  <c:v>0.8771622296473206</c:v>
                </c:pt>
                <c:pt idx="231">
                  <c:v>0.87796089328232518</c:v>
                </c:pt>
                <c:pt idx="232">
                  <c:v>0.87875151263846474</c:v>
                </c:pt>
                <c:pt idx="233">
                  <c:v>0.87953298437809857</c:v>
                </c:pt>
                <c:pt idx="234">
                  <c:v>0.8802984103487197</c:v>
                </c:pt>
                <c:pt idx="235">
                  <c:v>0.8810610183766685</c:v>
                </c:pt>
                <c:pt idx="236">
                  <c:v>0.88181597333688255</c:v>
                </c:pt>
                <c:pt idx="237">
                  <c:v>0.88256804311501125</c:v>
                </c:pt>
                <c:pt idx="238">
                  <c:v>0.88331080940344964</c:v>
                </c:pt>
                <c:pt idx="239">
                  <c:v>0.8840522492416496</c:v>
                </c:pt>
                <c:pt idx="240">
                  <c:v>0.88479365240380614</c:v>
                </c:pt>
                <c:pt idx="241">
                  <c:v>0.88552901930047689</c:v>
                </c:pt>
                <c:pt idx="242">
                  <c:v>0.88626320645108314</c:v>
                </c:pt>
                <c:pt idx="243">
                  <c:v>0.88699481099696253</c:v>
                </c:pt>
                <c:pt idx="244">
                  <c:v>0.88770905249260179</c:v>
                </c:pt>
                <c:pt idx="245">
                  <c:v>0.88842009705978631</c:v>
                </c:pt>
                <c:pt idx="246">
                  <c:v>0.88982381455272019</c:v>
                </c:pt>
                <c:pt idx="247">
                  <c:v>0.8905184954918488</c:v>
                </c:pt>
                <c:pt idx="248">
                  <c:v>0.89120975027725113</c:v>
                </c:pt>
                <c:pt idx="249">
                  <c:v>0.89258035541561687</c:v>
                </c:pt>
                <c:pt idx="250">
                  <c:v>0.89326256649996993</c:v>
                </c:pt>
                <c:pt idx="251">
                  <c:v>0.89394454530271439</c:v>
                </c:pt>
                <c:pt idx="252">
                  <c:v>0.89461651460193192</c:v>
                </c:pt>
                <c:pt idx="253">
                  <c:v>0.8952833859311089</c:v>
                </c:pt>
                <c:pt idx="254">
                  <c:v>0.89593471578687078</c:v>
                </c:pt>
                <c:pt idx="255">
                  <c:v>0.89658476809378551</c:v>
                </c:pt>
                <c:pt idx="256">
                  <c:v>0.89787501296459882</c:v>
                </c:pt>
                <c:pt idx="257">
                  <c:v>0.89851939882279941</c:v>
                </c:pt>
                <c:pt idx="258">
                  <c:v>0.89916090561158857</c:v>
                </c:pt>
                <c:pt idx="259">
                  <c:v>0.89979875090870587</c:v>
                </c:pt>
                <c:pt idx="260">
                  <c:v>0.900433160883086</c:v>
                </c:pt>
                <c:pt idx="261">
                  <c:v>0.90105723432588503</c:v>
                </c:pt>
                <c:pt idx="262">
                  <c:v>0.90167703806595823</c:v>
                </c:pt>
                <c:pt idx="263">
                  <c:v>0.90229180496272987</c:v>
                </c:pt>
                <c:pt idx="264">
                  <c:v>0.90289998239702696</c:v>
                </c:pt>
                <c:pt idx="265">
                  <c:v>0.90350708705705296</c:v>
                </c:pt>
                <c:pt idx="266">
                  <c:v>0.9041127369006885</c:v>
                </c:pt>
                <c:pt idx="267">
                  <c:v>0.90470649453723295</c:v>
                </c:pt>
                <c:pt idx="268">
                  <c:v>0.90529990986403841</c:v>
                </c:pt>
                <c:pt idx="269">
                  <c:v>0.90588462685587057</c:v>
                </c:pt>
                <c:pt idx="270">
                  <c:v>0.90761199820696903</c:v>
                </c:pt>
                <c:pt idx="271">
                  <c:v>0.90817273517905384</c:v>
                </c:pt>
                <c:pt idx="272">
                  <c:v>0.9087233556758183</c:v>
                </c:pt>
                <c:pt idx="273">
                  <c:v>0.90927219432813811</c:v>
                </c:pt>
                <c:pt idx="274">
                  <c:v>0.90981520454588516</c:v>
                </c:pt>
                <c:pt idx="275">
                  <c:v>0.91035697083449163</c:v>
                </c:pt>
                <c:pt idx="276">
                  <c:v>0.91089546378621944</c:v>
                </c:pt>
                <c:pt idx="277">
                  <c:v>0.91142292030520355</c:v>
                </c:pt>
                <c:pt idx="278">
                  <c:v>0.91194816709256932</c:v>
                </c:pt>
                <c:pt idx="279">
                  <c:v>0.91247298293642454</c:v>
                </c:pt>
                <c:pt idx="280">
                  <c:v>0.91298706798123141</c:v>
                </c:pt>
                <c:pt idx="281">
                  <c:v>0.91349757099912732</c:v>
                </c:pt>
                <c:pt idx="282">
                  <c:v>0.91400561672211156</c:v>
                </c:pt>
                <c:pt idx="283">
                  <c:v>0.91450808463015332</c:v>
                </c:pt>
                <c:pt idx="284">
                  <c:v>0.91500616058199102</c:v>
                </c:pt>
                <c:pt idx="285">
                  <c:v>0.91550240884432976</c:v>
                </c:pt>
                <c:pt idx="286">
                  <c:v>0.91599548462890945</c:v>
                </c:pt>
                <c:pt idx="287">
                  <c:v>0.91648795525877202</c:v>
                </c:pt>
                <c:pt idx="288">
                  <c:v>0.91697786773460344</c:v>
                </c:pt>
                <c:pt idx="289">
                  <c:v>0.91746758766120673</c:v>
                </c:pt>
                <c:pt idx="290">
                  <c:v>0.91795444991275732</c:v>
                </c:pt>
                <c:pt idx="291">
                  <c:v>0.91843923996785248</c:v>
                </c:pt>
                <c:pt idx="292">
                  <c:v>0.91892287472757883</c:v>
                </c:pt>
                <c:pt idx="293">
                  <c:v>0.91940591044526199</c:v>
                </c:pt>
                <c:pt idx="294">
                  <c:v>0.91988815457167383</c:v>
                </c:pt>
                <c:pt idx="295">
                  <c:v>0.92036907530418433</c:v>
                </c:pt>
                <c:pt idx="296">
                  <c:v>0.92132455041932837</c:v>
                </c:pt>
                <c:pt idx="297">
                  <c:v>0.92179597816925718</c:v>
                </c:pt>
                <c:pt idx="298">
                  <c:v>0.92226712779252318</c:v>
                </c:pt>
                <c:pt idx="299">
                  <c:v>0.92273229922070554</c:v>
                </c:pt>
                <c:pt idx="300">
                  <c:v>0.92319495222723724</c:v>
                </c:pt>
                <c:pt idx="301">
                  <c:v>0.92364456690031971</c:v>
                </c:pt>
                <c:pt idx="302">
                  <c:v>0.92409392484109798</c:v>
                </c:pt>
                <c:pt idx="303">
                  <c:v>0.92454280599331129</c:v>
                </c:pt>
                <c:pt idx="304">
                  <c:v>0.9249884565973634</c:v>
                </c:pt>
                <c:pt idx="305">
                  <c:v>0.9254308766532543</c:v>
                </c:pt>
                <c:pt idx="306">
                  <c:v>0.92587241648410223</c:v>
                </c:pt>
                <c:pt idx="307">
                  <c:v>0.92630861995062708</c:v>
                </c:pt>
                <c:pt idx="308">
                  <c:v>0.9267444291496848</c:v>
                </c:pt>
                <c:pt idx="309">
                  <c:v>0.92717960874332983</c:v>
                </c:pt>
                <c:pt idx="310">
                  <c:v>0.92761315930937793</c:v>
                </c:pt>
                <c:pt idx="311">
                  <c:v>0.92847813628729059</c:v>
                </c:pt>
                <c:pt idx="312">
                  <c:v>0.9289047275740927</c:v>
                </c:pt>
                <c:pt idx="313">
                  <c:v>0.92932852536891808</c:v>
                </c:pt>
                <c:pt idx="314">
                  <c:v>0.92975215812154788</c:v>
                </c:pt>
                <c:pt idx="315">
                  <c:v>0.93017373090307021</c:v>
                </c:pt>
                <c:pt idx="316">
                  <c:v>0.93059516003675558</c:v>
                </c:pt>
                <c:pt idx="317">
                  <c:v>0.93101437026981182</c:v>
                </c:pt>
                <c:pt idx="318">
                  <c:v>0.9314334613057268</c:v>
                </c:pt>
                <c:pt idx="319">
                  <c:v>0.93185181270809869</c:v>
                </c:pt>
                <c:pt idx="320">
                  <c:v>0.9322682691815587</c:v>
                </c:pt>
                <c:pt idx="321">
                  <c:v>0.93268470120432301</c:v>
                </c:pt>
                <c:pt idx="322">
                  <c:v>0.93309228818794021</c:v>
                </c:pt>
                <c:pt idx="323">
                  <c:v>0.93349895521413395</c:v>
                </c:pt>
                <c:pt idx="324">
                  <c:v>0.93390364479031795</c:v>
                </c:pt>
                <c:pt idx="325">
                  <c:v>0.93430260679104871</c:v>
                </c:pt>
                <c:pt idx="326">
                  <c:v>0.93469909315884603</c:v>
                </c:pt>
                <c:pt idx="327">
                  <c:v>0.93509324754154688</c:v>
                </c:pt>
                <c:pt idx="328">
                  <c:v>0.93548706572718265</c:v>
                </c:pt>
                <c:pt idx="329">
                  <c:v>0.93587952078653669</c:v>
                </c:pt>
                <c:pt idx="330">
                  <c:v>0.93627071663506534</c:v>
                </c:pt>
                <c:pt idx="331">
                  <c:v>0.93665899979447598</c:v>
                </c:pt>
                <c:pt idx="332">
                  <c:v>0.93704638744715896</c:v>
                </c:pt>
                <c:pt idx="333">
                  <c:v>0.93743239974821224</c:v>
                </c:pt>
                <c:pt idx="334">
                  <c:v>0.93781804223249399</c:v>
                </c:pt>
                <c:pt idx="335">
                  <c:v>0.93819958005624549</c:v>
                </c:pt>
                <c:pt idx="336">
                  <c:v>0.93857867281043317</c:v>
                </c:pt>
                <c:pt idx="337">
                  <c:v>0.93895746298726224</c:v>
                </c:pt>
                <c:pt idx="338">
                  <c:v>0.93933427265774461</c:v>
                </c:pt>
                <c:pt idx="339">
                  <c:v>0.9397087350614457</c:v>
                </c:pt>
                <c:pt idx="340">
                  <c:v>0.94008165401498467</c:v>
                </c:pt>
                <c:pt idx="341">
                  <c:v>0.94081873551668715</c:v>
                </c:pt>
                <c:pt idx="342">
                  <c:v>0.94118676738743545</c:v>
                </c:pt>
                <c:pt idx="343">
                  <c:v>0.94155410241335802</c:v>
                </c:pt>
                <c:pt idx="344">
                  <c:v>0.94192069780573751</c:v>
                </c:pt>
                <c:pt idx="345">
                  <c:v>0.94228628155058491</c:v>
                </c:pt>
                <c:pt idx="346">
                  <c:v>0.94264957915539016</c:v>
                </c:pt>
                <c:pt idx="347">
                  <c:v>0.94300675186093808</c:v>
                </c:pt>
                <c:pt idx="348">
                  <c:v>0.94335958151167321</c:v>
                </c:pt>
                <c:pt idx="349">
                  <c:v>0.94371036036031164</c:v>
                </c:pt>
                <c:pt idx="350">
                  <c:v>0.94406067770206992</c:v>
                </c:pt>
                <c:pt idx="351">
                  <c:v>0.94440998645263308</c:v>
                </c:pt>
                <c:pt idx="352">
                  <c:v>0.94475715271099092</c:v>
                </c:pt>
                <c:pt idx="353">
                  <c:v>0.94510309032189299</c:v>
                </c:pt>
                <c:pt idx="354">
                  <c:v>0.94544255155478785</c:v>
                </c:pt>
                <c:pt idx="355">
                  <c:v>0.94577954632376016</c:v>
                </c:pt>
                <c:pt idx="356">
                  <c:v>0.94611159593953964</c:v>
                </c:pt>
                <c:pt idx="357">
                  <c:v>0.94644134718992912</c:v>
                </c:pt>
                <c:pt idx="358">
                  <c:v>0.94742216850743921</c:v>
                </c:pt>
                <c:pt idx="359">
                  <c:v>0.94774721605525525</c:v>
                </c:pt>
                <c:pt idx="360">
                  <c:v>0.94806172229691421</c:v>
                </c:pt>
                <c:pt idx="361">
                  <c:v>0.94868417282479023</c:v>
                </c:pt>
                <c:pt idx="362">
                  <c:v>0.94899026497081262</c:v>
                </c:pt>
                <c:pt idx="363">
                  <c:v>0.94929426352602098</c:v>
                </c:pt>
                <c:pt idx="364">
                  <c:v>0.94959482675849216</c:v>
                </c:pt>
                <c:pt idx="365">
                  <c:v>0.94989166737255248</c:v>
                </c:pt>
                <c:pt idx="366">
                  <c:v>0.95018605680437507</c:v>
                </c:pt>
                <c:pt idx="367">
                  <c:v>0.95047838320875311</c:v>
                </c:pt>
                <c:pt idx="368">
                  <c:v>0.95077021143020757</c:v>
                </c:pt>
                <c:pt idx="369">
                  <c:v>0.95106203965166203</c:v>
                </c:pt>
                <c:pt idx="370">
                  <c:v>0.95135040809968363</c:v>
                </c:pt>
                <c:pt idx="371">
                  <c:v>0.95163758457629288</c:v>
                </c:pt>
                <c:pt idx="372">
                  <c:v>0.95191964474483981</c:v>
                </c:pt>
                <c:pt idx="373">
                  <c:v>0.95220035095611577</c:v>
                </c:pt>
                <c:pt idx="374">
                  <c:v>0.95247568107068825</c:v>
                </c:pt>
                <c:pt idx="375">
                  <c:v>0.95274609659543741</c:v>
                </c:pt>
                <c:pt idx="376">
                  <c:v>0.95301216600903682</c:v>
                </c:pt>
                <c:pt idx="377">
                  <c:v>0.95327805509875596</c:v>
                </c:pt>
                <c:pt idx="378">
                  <c:v>0.95354313120284506</c:v>
                </c:pt>
                <c:pt idx="379">
                  <c:v>0.95380741877199982</c:v>
                </c:pt>
                <c:pt idx="380">
                  <c:v>0.95406947215884064</c:v>
                </c:pt>
                <c:pt idx="381">
                  <c:v>0.95432845698337887</c:v>
                </c:pt>
                <c:pt idx="382">
                  <c:v>0.95458657380822187</c:v>
                </c:pt>
                <c:pt idx="383">
                  <c:v>0.95484374316860898</c:v>
                </c:pt>
                <c:pt idx="384">
                  <c:v>0.95510008731801821</c:v>
                </c:pt>
                <c:pt idx="385">
                  <c:v>0.95535388553874412</c:v>
                </c:pt>
                <c:pt idx="386">
                  <c:v>0.95560726809764418</c:v>
                </c:pt>
                <c:pt idx="387">
                  <c:v>0.95586062926218562</c:v>
                </c:pt>
                <c:pt idx="388">
                  <c:v>0.95611125194881552</c:v>
                </c:pt>
                <c:pt idx="389">
                  <c:v>0.95636180433969542</c:v>
                </c:pt>
                <c:pt idx="390">
                  <c:v>0.95661224058977112</c:v>
                </c:pt>
                <c:pt idx="391">
                  <c:v>0.95686040598148936</c:v>
                </c:pt>
                <c:pt idx="392">
                  <c:v>0.9571065358527957</c:v>
                </c:pt>
                <c:pt idx="393">
                  <c:v>0.95735200555531985</c:v>
                </c:pt>
                <c:pt idx="394">
                  <c:v>0.95759724603257235</c:v>
                </c:pt>
                <c:pt idx="395">
                  <c:v>0.95784133427079288</c:v>
                </c:pt>
                <c:pt idx="396">
                  <c:v>0.95808526052315479</c:v>
                </c:pt>
                <c:pt idx="397">
                  <c:v>0.95857205553529234</c:v>
                </c:pt>
                <c:pt idx="398">
                  <c:v>0.95881318829567763</c:v>
                </c:pt>
                <c:pt idx="399">
                  <c:v>0.95904990464916329</c:v>
                </c:pt>
                <c:pt idx="400">
                  <c:v>0.95928269972233593</c:v>
                </c:pt>
                <c:pt idx="401">
                  <c:v>0.95951303750059691</c:v>
                </c:pt>
                <c:pt idx="402">
                  <c:v>0.95974136115280462</c:v>
                </c:pt>
                <c:pt idx="403">
                  <c:v>0.95996709608761166</c:v>
                </c:pt>
                <c:pt idx="404">
                  <c:v>0.96018999779806158</c:v>
                </c:pt>
                <c:pt idx="405">
                  <c:v>0.96041171670611003</c:v>
                </c:pt>
                <c:pt idx="406">
                  <c:v>0.96062992999567132</c:v>
                </c:pt>
                <c:pt idx="407">
                  <c:v>0.96084656927170087</c:v>
                </c:pt>
                <c:pt idx="408">
                  <c:v>0.96106266757608949</c:v>
                </c:pt>
                <c:pt idx="409">
                  <c:v>0.96127763197946781</c:v>
                </c:pt>
                <c:pt idx="410">
                  <c:v>0.96149139218608592</c:v>
                </c:pt>
                <c:pt idx="411">
                  <c:v>0.96170451667461754</c:v>
                </c:pt>
                <c:pt idx="412">
                  <c:v>0.9619142272347706</c:v>
                </c:pt>
                <c:pt idx="413">
                  <c:v>0.96212393473858671</c:v>
                </c:pt>
                <c:pt idx="414">
                  <c:v>0.9623317473134908</c:v>
                </c:pt>
                <c:pt idx="415">
                  <c:v>0.96253773831156986</c:v>
                </c:pt>
                <c:pt idx="416">
                  <c:v>0.96274225615523668</c:v>
                </c:pt>
                <c:pt idx="417">
                  <c:v>0.9629422231131779</c:v>
                </c:pt>
                <c:pt idx="418">
                  <c:v>0.96314210143734735</c:v>
                </c:pt>
                <c:pt idx="419">
                  <c:v>0.9633407694520828</c:v>
                </c:pt>
                <c:pt idx="420">
                  <c:v>0.96353890260785113</c:v>
                </c:pt>
                <c:pt idx="421">
                  <c:v>0.96373586824290269</c:v>
                </c:pt>
                <c:pt idx="422">
                  <c:v>0.96393173665298748</c:v>
                </c:pt>
                <c:pt idx="423">
                  <c:v>0.96412744613355061</c:v>
                </c:pt>
                <c:pt idx="424">
                  <c:v>0.96432187500892974</c:v>
                </c:pt>
                <c:pt idx="425">
                  <c:v>0.96451496826505956</c:v>
                </c:pt>
                <c:pt idx="426">
                  <c:v>0.96470618493029914</c:v>
                </c:pt>
                <c:pt idx="427">
                  <c:v>0.96489716320125629</c:v>
                </c:pt>
                <c:pt idx="428">
                  <c:v>0.96508731626123567</c:v>
                </c:pt>
                <c:pt idx="429">
                  <c:v>0.96527580973024851</c:v>
                </c:pt>
                <c:pt idx="430">
                  <c:v>0.96546343519956623</c:v>
                </c:pt>
                <c:pt idx="431">
                  <c:v>0.96564975561300426</c:v>
                </c:pt>
                <c:pt idx="432">
                  <c:v>0.96583516523802981</c:v>
                </c:pt>
                <c:pt idx="433">
                  <c:v>0.96602004917309914</c:v>
                </c:pt>
                <c:pt idx="434">
                  <c:v>0.96620413540422323</c:v>
                </c:pt>
                <c:pt idx="435">
                  <c:v>0.96638794045234744</c:v>
                </c:pt>
                <c:pt idx="436">
                  <c:v>0.96657173938779772</c:v>
                </c:pt>
                <c:pt idx="437">
                  <c:v>0.96675504625299835</c:v>
                </c:pt>
                <c:pt idx="438">
                  <c:v>0.96693657127375432</c:v>
                </c:pt>
                <c:pt idx="439">
                  <c:v>0.96711678818229363</c:v>
                </c:pt>
                <c:pt idx="440">
                  <c:v>0.96729528742946436</c:v>
                </c:pt>
                <c:pt idx="441">
                  <c:v>0.96747352994433089</c:v>
                </c:pt>
                <c:pt idx="442">
                  <c:v>0.96764967886838338</c:v>
                </c:pt>
                <c:pt idx="443">
                  <c:v>0.96782444632813225</c:v>
                </c:pt>
                <c:pt idx="444">
                  <c:v>0.96799918628084858</c:v>
                </c:pt>
                <c:pt idx="445">
                  <c:v>0.96817389872653237</c:v>
                </c:pt>
                <c:pt idx="446">
                  <c:v>0.96852107721023806</c:v>
                </c:pt>
                <c:pt idx="447">
                  <c:v>0.96869326817793411</c:v>
                </c:pt>
                <c:pt idx="448">
                  <c:v>0.96886513823024989</c:v>
                </c:pt>
                <c:pt idx="449">
                  <c:v>0.96903690131077225</c:v>
                </c:pt>
                <c:pt idx="450">
                  <c:v>0.96920835264492522</c:v>
                </c:pt>
                <c:pt idx="451">
                  <c:v>0.96937917131732854</c:v>
                </c:pt>
                <c:pt idx="452">
                  <c:v>0.96954978215881893</c:v>
                </c:pt>
                <c:pt idx="453">
                  <c:v>0.96972006597225513</c:v>
                </c:pt>
                <c:pt idx="454">
                  <c:v>0.96988910585655075</c:v>
                </c:pt>
                <c:pt idx="455">
                  <c:v>0.97005727162847732</c:v>
                </c:pt>
                <c:pt idx="456">
                  <c:v>0.970220972092113</c:v>
                </c:pt>
                <c:pt idx="457">
                  <c:v>0.97038403378132509</c:v>
                </c:pt>
                <c:pt idx="458">
                  <c:v>0.97054701906211327</c:v>
                </c:pt>
                <c:pt idx="459">
                  <c:v>0.97070946642759748</c:v>
                </c:pt>
                <c:pt idx="460">
                  <c:v>0.97087050176540857</c:v>
                </c:pt>
                <c:pt idx="461">
                  <c:v>0.97103150653985004</c:v>
                </c:pt>
                <c:pt idx="462">
                  <c:v>0.97119188476521578</c:v>
                </c:pt>
                <c:pt idx="463">
                  <c:v>0.97135225076523368</c:v>
                </c:pt>
                <c:pt idx="464">
                  <c:v>0.97151133616006757</c:v>
                </c:pt>
                <c:pt idx="465">
                  <c:v>0.9716679948233593</c:v>
                </c:pt>
                <c:pt idx="466">
                  <c:v>0.97182229705085899</c:v>
                </c:pt>
                <c:pt idx="467">
                  <c:v>0.97197476853252274</c:v>
                </c:pt>
                <c:pt idx="468">
                  <c:v>0.97212688547909964</c:v>
                </c:pt>
                <c:pt idx="469">
                  <c:v>0.9722781527640032</c:v>
                </c:pt>
                <c:pt idx="470">
                  <c:v>0.97242892797865699</c:v>
                </c:pt>
                <c:pt idx="471">
                  <c:v>0.97257876489786566</c:v>
                </c:pt>
                <c:pt idx="472">
                  <c:v>0.9728712930204827</c:v>
                </c:pt>
                <c:pt idx="473">
                  <c:v>0.97301731563117178</c:v>
                </c:pt>
                <c:pt idx="474">
                  <c:v>0.97316331379116527</c:v>
                </c:pt>
                <c:pt idx="475">
                  <c:v>0.97330760345880096</c:v>
                </c:pt>
                <c:pt idx="476">
                  <c:v>0.97345047804242668</c:v>
                </c:pt>
                <c:pt idx="477">
                  <c:v>0.97359023516235843</c:v>
                </c:pt>
                <c:pt idx="478">
                  <c:v>0.97400668246680755</c:v>
                </c:pt>
                <c:pt idx="479">
                  <c:v>0.97414334351740417</c:v>
                </c:pt>
                <c:pt idx="480">
                  <c:v>0.97427994649759864</c:v>
                </c:pt>
                <c:pt idx="481">
                  <c:v>0.9744158893090108</c:v>
                </c:pt>
                <c:pt idx="482">
                  <c:v>0.97455159066980357</c:v>
                </c:pt>
                <c:pt idx="483">
                  <c:v>0.97468707197433557</c:v>
                </c:pt>
                <c:pt idx="484">
                  <c:v>0.97482230571557427</c:v>
                </c:pt>
                <c:pt idx="485">
                  <c:v>0.97495675703455253</c:v>
                </c:pt>
                <c:pt idx="486">
                  <c:v>0.97508864103048876</c:v>
                </c:pt>
                <c:pt idx="487">
                  <c:v>0.97522021328005559</c:v>
                </c:pt>
                <c:pt idx="488">
                  <c:v>0.97535135458611177</c:v>
                </c:pt>
                <c:pt idx="489">
                  <c:v>0.97548191213180968</c:v>
                </c:pt>
                <c:pt idx="490">
                  <c:v>0.97561147942433413</c:v>
                </c:pt>
                <c:pt idx="491">
                  <c:v>0.97574056075928284</c:v>
                </c:pt>
                <c:pt idx="492">
                  <c:v>0.97586641460240731</c:v>
                </c:pt>
                <c:pt idx="493">
                  <c:v>0.97599185889637974</c:v>
                </c:pt>
                <c:pt idx="494">
                  <c:v>0.97611696088061328</c:v>
                </c:pt>
                <c:pt idx="495">
                  <c:v>0.97636606151143968</c:v>
                </c:pt>
                <c:pt idx="496">
                  <c:v>0.97649004487634772</c:v>
                </c:pt>
                <c:pt idx="497">
                  <c:v>0.97661381735400599</c:v>
                </c:pt>
                <c:pt idx="498">
                  <c:v>0.97673580493088263</c:v>
                </c:pt>
                <c:pt idx="499">
                  <c:v>0.97685667083209682</c:v>
                </c:pt>
                <c:pt idx="500">
                  <c:v>0.97697704771939831</c:v>
                </c:pt>
                <c:pt idx="501">
                  <c:v>0.97709729318421068</c:v>
                </c:pt>
                <c:pt idx="502">
                  <c:v>0.97721507218510051</c:v>
                </c:pt>
                <c:pt idx="503">
                  <c:v>0.9773309440317306</c:v>
                </c:pt>
                <c:pt idx="504">
                  <c:v>0.97744649190664346</c:v>
                </c:pt>
                <c:pt idx="505">
                  <c:v>0.97756158744368704</c:v>
                </c:pt>
                <c:pt idx="506">
                  <c:v>0.97767642013575251</c:v>
                </c:pt>
                <c:pt idx="507">
                  <c:v>0.97779106944760064</c:v>
                </c:pt>
                <c:pt idx="508">
                  <c:v>0.97790488132312314</c:v>
                </c:pt>
                <c:pt idx="509">
                  <c:v>0.97801835088890676</c:v>
                </c:pt>
                <c:pt idx="510">
                  <c:v>0.97813127337037542</c:v>
                </c:pt>
                <c:pt idx="511">
                  <c:v>0.9783530442361521</c:v>
                </c:pt>
                <c:pt idx="512">
                  <c:v>0.97846185900075355</c:v>
                </c:pt>
                <c:pt idx="513">
                  <c:v>0.97857043537107258</c:v>
                </c:pt>
                <c:pt idx="514">
                  <c:v>0.97867814068535941</c:v>
                </c:pt>
                <c:pt idx="515">
                  <c:v>0.97878578181657028</c:v>
                </c:pt>
                <c:pt idx="516">
                  <c:v>0.97889329152529203</c:v>
                </c:pt>
                <c:pt idx="517">
                  <c:v>0.97900030610742717</c:v>
                </c:pt>
                <c:pt idx="518">
                  <c:v>0.9791067766615843</c:v>
                </c:pt>
                <c:pt idx="519">
                  <c:v>0.97921321359603497</c:v>
                </c:pt>
                <c:pt idx="520">
                  <c:v>0.97931951605165957</c:v>
                </c:pt>
                <c:pt idx="521">
                  <c:v>0.97942474573301308</c:v>
                </c:pt>
                <c:pt idx="522">
                  <c:v>0.97952899127386717</c:v>
                </c:pt>
                <c:pt idx="523">
                  <c:v>0.97963286088527579</c:v>
                </c:pt>
                <c:pt idx="524">
                  <c:v>0.97973650432774972</c:v>
                </c:pt>
                <c:pt idx="525">
                  <c:v>0.97984001023506073</c:v>
                </c:pt>
                <c:pt idx="526">
                  <c:v>0.97994340611424136</c:v>
                </c:pt>
                <c:pt idx="527">
                  <c:v>0.98004611431760713</c:v>
                </c:pt>
                <c:pt idx="528">
                  <c:v>0.98014696121176748</c:v>
                </c:pt>
                <c:pt idx="529">
                  <c:v>0.98024768890878655</c:v>
                </c:pt>
                <c:pt idx="530">
                  <c:v>0.98034807429606674</c:v>
                </c:pt>
                <c:pt idx="531">
                  <c:v>0.98044804707785804</c:v>
                </c:pt>
                <c:pt idx="532">
                  <c:v>0.98054782119774719</c:v>
                </c:pt>
                <c:pt idx="533">
                  <c:v>0.98064673648695211</c:v>
                </c:pt>
                <c:pt idx="534">
                  <c:v>0.98074544700158106</c:v>
                </c:pt>
                <c:pt idx="535">
                  <c:v>0.98084398636134051</c:v>
                </c:pt>
                <c:pt idx="536">
                  <c:v>0.98094142238345927</c:v>
                </c:pt>
                <c:pt idx="537">
                  <c:v>0.98103871170140422</c:v>
                </c:pt>
                <c:pt idx="538">
                  <c:v>0.98113555479415371</c:v>
                </c:pt>
                <c:pt idx="539">
                  <c:v>0.98123175911247973</c:v>
                </c:pt>
                <c:pt idx="540">
                  <c:v>0.98132717795220836</c:v>
                </c:pt>
                <c:pt idx="541">
                  <c:v>0.98142251427083915</c:v>
                </c:pt>
                <c:pt idx="542">
                  <c:v>0.98151759691350271</c:v>
                </c:pt>
                <c:pt idx="543">
                  <c:v>0.98161173820438419</c:v>
                </c:pt>
                <c:pt idx="544">
                  <c:v>0.98170574807277666</c:v>
                </c:pt>
                <c:pt idx="545">
                  <c:v>0.98179963263135395</c:v>
                </c:pt>
                <c:pt idx="546">
                  <c:v>0.98189286619015992</c:v>
                </c:pt>
                <c:pt idx="547">
                  <c:v>0.98198515839718381</c:v>
                </c:pt>
                <c:pt idx="548">
                  <c:v>0.98207701660436009</c:v>
                </c:pt>
                <c:pt idx="549">
                  <c:v>0.98216884730450382</c:v>
                </c:pt>
                <c:pt idx="550">
                  <c:v>0.98226066577929971</c:v>
                </c:pt>
                <c:pt idx="551">
                  <c:v>0.98235247814142168</c:v>
                </c:pt>
                <c:pt idx="552">
                  <c:v>0.9824434011094898</c:v>
                </c:pt>
                <c:pt idx="553">
                  <c:v>0.98253378310591688</c:v>
                </c:pt>
                <c:pt idx="554">
                  <c:v>0.98262400006014838</c:v>
                </c:pt>
                <c:pt idx="555">
                  <c:v>0.98271203784613115</c:v>
                </c:pt>
                <c:pt idx="556">
                  <c:v>0.98279950715344033</c:v>
                </c:pt>
                <c:pt idx="557">
                  <c:v>0.98288683892558659</c:v>
                </c:pt>
                <c:pt idx="558">
                  <c:v>0.98297376726125474</c:v>
                </c:pt>
                <c:pt idx="559">
                  <c:v>0.98314726634116745</c:v>
                </c:pt>
                <c:pt idx="560">
                  <c:v>0.98323359563479251</c:v>
                </c:pt>
                <c:pt idx="561">
                  <c:v>0.983319014140005</c:v>
                </c:pt>
                <c:pt idx="562">
                  <c:v>0.98340382443416352</c:v>
                </c:pt>
                <c:pt idx="563">
                  <c:v>0.98348826185521354</c:v>
                </c:pt>
                <c:pt idx="564">
                  <c:v>0.98357226833275291</c:v>
                </c:pt>
                <c:pt idx="565">
                  <c:v>0.9836561250497815</c:v>
                </c:pt>
                <c:pt idx="566">
                  <c:v>0.98373943468249525</c:v>
                </c:pt>
                <c:pt idx="567">
                  <c:v>0.98382225530129619</c:v>
                </c:pt>
                <c:pt idx="568">
                  <c:v>0.98390497200464067</c:v>
                </c:pt>
                <c:pt idx="569">
                  <c:v>0.98398677791957267</c:v>
                </c:pt>
                <c:pt idx="570">
                  <c:v>0.9840679297783963</c:v>
                </c:pt>
                <c:pt idx="571">
                  <c:v>0.98414881573590485</c:v>
                </c:pt>
                <c:pt idx="572">
                  <c:v>0.98422833856713154</c:v>
                </c:pt>
                <c:pt idx="573">
                  <c:v>0.98430695060994577</c:v>
                </c:pt>
                <c:pt idx="574">
                  <c:v>0.98438517755430366</c:v>
                </c:pt>
                <c:pt idx="575">
                  <c:v>0.98446245703420554</c:v>
                </c:pt>
                <c:pt idx="576">
                  <c:v>0.9845393972607055</c:v>
                </c:pt>
                <c:pt idx="577">
                  <c:v>0.98461573844516226</c:v>
                </c:pt>
                <c:pt idx="578">
                  <c:v>0.98469182289731483</c:v>
                </c:pt>
                <c:pt idx="579">
                  <c:v>0.98476786761708701</c:v>
                </c:pt>
                <c:pt idx="580">
                  <c:v>0.98484381453407666</c:v>
                </c:pt>
                <c:pt idx="581">
                  <c:v>0.98491912573297968</c:v>
                </c:pt>
                <c:pt idx="582">
                  <c:v>0.98499402127005686</c:v>
                </c:pt>
                <c:pt idx="583">
                  <c:v>0.98506873953959062</c:v>
                </c:pt>
                <c:pt idx="584">
                  <c:v>0.98514307576700511</c:v>
                </c:pt>
                <c:pt idx="585">
                  <c:v>0.9852170544029959</c:v>
                </c:pt>
                <c:pt idx="586">
                  <c:v>0.98529051040536741</c:v>
                </c:pt>
                <c:pt idx="587">
                  <c:v>0.9853639450133802</c:v>
                </c:pt>
                <c:pt idx="588">
                  <c:v>0.98543737350871907</c:v>
                </c:pt>
                <c:pt idx="589">
                  <c:v>0.98551080200405794</c:v>
                </c:pt>
                <c:pt idx="590">
                  <c:v>0.98558361311933196</c:v>
                </c:pt>
                <c:pt idx="591">
                  <c:v>0.98565630198112775</c:v>
                </c:pt>
                <c:pt idx="592">
                  <c:v>0.98572756658990268</c:v>
                </c:pt>
                <c:pt idx="593">
                  <c:v>0.98579873645223193</c:v>
                </c:pt>
                <c:pt idx="594">
                  <c:v>0.98586969542731129</c:v>
                </c:pt>
                <c:pt idx="595">
                  <c:v>0.98593921486768499</c:v>
                </c:pt>
                <c:pt idx="596">
                  <c:v>0.98600867623765653</c:v>
                </c:pt>
                <c:pt idx="597">
                  <c:v>0.986077266551596</c:v>
                </c:pt>
                <c:pt idx="598">
                  <c:v>0.98614510195030758</c:v>
                </c:pt>
                <c:pt idx="599">
                  <c:v>0.9862123749830195</c:v>
                </c:pt>
                <c:pt idx="600">
                  <c:v>0.98627920790320989</c:v>
                </c:pt>
                <c:pt idx="601">
                  <c:v>0.9863459613586395</c:v>
                </c:pt>
                <c:pt idx="602">
                  <c:v>0.98641244891275404</c:v>
                </c:pt>
                <c:pt idx="603">
                  <c:v>0.98647886005844476</c:v>
                </c:pt>
                <c:pt idx="604">
                  <c:v>0.98654516423234206</c:v>
                </c:pt>
                <c:pt idx="605">
                  <c:v>0.98661056678683767</c:v>
                </c:pt>
                <c:pt idx="606">
                  <c:v>0.98667596628499632</c:v>
                </c:pt>
                <c:pt idx="607">
                  <c:v>0.98674029606522073</c:v>
                </c:pt>
                <c:pt idx="608">
                  <c:v>0.98680441495819526</c:v>
                </c:pt>
                <c:pt idx="609">
                  <c:v>0.98686839937234383</c:v>
                </c:pt>
                <c:pt idx="610">
                  <c:v>0.98693212399785124</c:v>
                </c:pt>
                <c:pt idx="611">
                  <c:v>0.98699576304592396</c:v>
                </c:pt>
                <c:pt idx="612">
                  <c:v>0.98705925538982275</c:v>
                </c:pt>
                <c:pt idx="613">
                  <c:v>0.98712256435350432</c:v>
                </c:pt>
                <c:pt idx="614">
                  <c:v>0.98718565937359903</c:v>
                </c:pt>
                <c:pt idx="615">
                  <c:v>0.98724851294307436</c:v>
                </c:pt>
                <c:pt idx="616">
                  <c:v>0.98731108227321285</c:v>
                </c:pt>
                <c:pt idx="617">
                  <c:v>0.98737335819500371</c:v>
                </c:pt>
                <c:pt idx="618">
                  <c:v>0.98749735072892275</c:v>
                </c:pt>
                <c:pt idx="619">
                  <c:v>0.98755922321423562</c:v>
                </c:pt>
                <c:pt idx="620">
                  <c:v>0.98762070143208125</c:v>
                </c:pt>
                <c:pt idx="621">
                  <c:v>0.98768191374861181</c:v>
                </c:pt>
                <c:pt idx="622">
                  <c:v>0.9877428907271969</c:v>
                </c:pt>
                <c:pt idx="623">
                  <c:v>0.98780382186072768</c:v>
                </c:pt>
                <c:pt idx="624">
                  <c:v>0.98786416617756312</c:v>
                </c:pt>
                <c:pt idx="625">
                  <c:v>0.98792445853667032</c:v>
                </c:pt>
                <c:pt idx="626">
                  <c:v>0.98798459502259284</c:v>
                </c:pt>
                <c:pt idx="627">
                  <c:v>0.98804470705781966</c:v>
                </c:pt>
                <c:pt idx="628">
                  <c:v>0.98810378605115579</c:v>
                </c:pt>
                <c:pt idx="629">
                  <c:v>0.98816261442486164</c:v>
                </c:pt>
                <c:pt idx="630">
                  <c:v>0.98822133582677407</c:v>
                </c:pt>
                <c:pt idx="631">
                  <c:v>0.98827991969352358</c:v>
                </c:pt>
                <c:pt idx="632">
                  <c:v>0.9883381520815232</c:v>
                </c:pt>
                <c:pt idx="633">
                  <c:v>0.98839611856820775</c:v>
                </c:pt>
                <c:pt idx="634">
                  <c:v>0.98845348295651225</c:v>
                </c:pt>
                <c:pt idx="635">
                  <c:v>0.98851060895053422</c:v>
                </c:pt>
                <c:pt idx="636">
                  <c:v>0.98856767687415414</c:v>
                </c:pt>
                <c:pt idx="637">
                  <c:v>0.9886239654318506</c:v>
                </c:pt>
                <c:pt idx="638">
                  <c:v>0.98868024482053618</c:v>
                </c:pt>
                <c:pt idx="639">
                  <c:v>0.9887917736123536</c:v>
                </c:pt>
                <c:pt idx="640">
                  <c:v>0.98884679073387682</c:v>
                </c:pt>
                <c:pt idx="641">
                  <c:v>0.98890178340470436</c:v>
                </c:pt>
                <c:pt idx="642">
                  <c:v>0.98895641237143428</c:v>
                </c:pt>
                <c:pt idx="643">
                  <c:v>0.98901097715508823</c:v>
                </c:pt>
                <c:pt idx="644">
                  <c:v>0.98906542885427484</c:v>
                </c:pt>
                <c:pt idx="645">
                  <c:v>0.9891198530464288</c:v>
                </c:pt>
                <c:pt idx="646">
                  <c:v>0.98917366597119183</c:v>
                </c:pt>
                <c:pt idx="647">
                  <c:v>0.9892273749804984</c:v>
                </c:pt>
                <c:pt idx="648">
                  <c:v>0.98928086698988116</c:v>
                </c:pt>
                <c:pt idx="649">
                  <c:v>0.98933431009787265</c:v>
                </c:pt>
                <c:pt idx="650">
                  <c:v>0.98938712971312537</c:v>
                </c:pt>
                <c:pt idx="651">
                  <c:v>0.9894396375820087</c:v>
                </c:pt>
                <c:pt idx="652">
                  <c:v>0.98949205070444646</c:v>
                </c:pt>
                <c:pt idx="653">
                  <c:v>0.98954438436212333</c:v>
                </c:pt>
                <c:pt idx="654">
                  <c:v>0.98959645211848513</c:v>
                </c:pt>
                <c:pt idx="655">
                  <c:v>0.9896480553116298</c:v>
                </c:pt>
                <c:pt idx="656">
                  <c:v>0.98969935592741598</c:v>
                </c:pt>
                <c:pt idx="657">
                  <c:v>0.98974958682526804</c:v>
                </c:pt>
                <c:pt idx="658">
                  <c:v>0.98979930731484855</c:v>
                </c:pt>
                <c:pt idx="659">
                  <c:v>0.98984857241022284</c:v>
                </c:pt>
                <c:pt idx="660">
                  <c:v>0.98989767551973851</c:v>
                </c:pt>
                <c:pt idx="661">
                  <c:v>0.98994672055885202</c:v>
                </c:pt>
                <c:pt idx="662">
                  <c:v>0.98999523073899853</c:v>
                </c:pt>
                <c:pt idx="663">
                  <c:v>0.99004330997563439</c:v>
                </c:pt>
                <c:pt idx="664">
                  <c:v>0.99013831315353718</c:v>
                </c:pt>
                <c:pt idx="665">
                  <c:v>0.99018544186938007</c:v>
                </c:pt>
                <c:pt idx="666">
                  <c:v>0.99023226800786446</c:v>
                </c:pt>
                <c:pt idx="667">
                  <c:v>0.99032424235584504</c:v>
                </c:pt>
                <c:pt idx="668">
                  <c:v>0.99036976955112366</c:v>
                </c:pt>
                <c:pt idx="669">
                  <c:v>0.99041515921123924</c:v>
                </c:pt>
                <c:pt idx="670">
                  <c:v>0.99046041133619189</c:v>
                </c:pt>
                <c:pt idx="671">
                  <c:v>0.99050545257389466</c:v>
                </c:pt>
                <c:pt idx="672">
                  <c:v>0.99054973889636955</c:v>
                </c:pt>
                <c:pt idx="673">
                  <c:v>0.9905937562611925</c:v>
                </c:pt>
                <c:pt idx="674">
                  <c:v>0.99063775223165673</c:v>
                </c:pt>
                <c:pt idx="675">
                  <c:v>0.99068133559663207</c:v>
                </c:pt>
                <c:pt idx="676">
                  <c:v>0.99072478448278145</c:v>
                </c:pt>
                <c:pt idx="677">
                  <c:v>0.99076797052395271</c:v>
                </c:pt>
                <c:pt idx="678">
                  <c:v>0.99081110766373259</c:v>
                </c:pt>
                <c:pt idx="679">
                  <c:v>0.9908542356345017</c:v>
                </c:pt>
                <c:pt idx="680">
                  <c:v>0.99089726274615131</c:v>
                </c:pt>
                <c:pt idx="681">
                  <c:v>0.99094010953392053</c:v>
                </c:pt>
                <c:pt idx="682">
                  <c:v>0.99098288908227672</c:v>
                </c:pt>
                <c:pt idx="683">
                  <c:v>0.9910252346307854</c:v>
                </c:pt>
                <c:pt idx="684">
                  <c:v>0.99106734178501155</c:v>
                </c:pt>
                <c:pt idx="685">
                  <c:v>0.99110919526327046</c:v>
                </c:pt>
                <c:pt idx="686">
                  <c:v>0.99110919526327046</c:v>
                </c:pt>
                <c:pt idx="687">
                  <c:v>0.99115103957251849</c:v>
                </c:pt>
                <c:pt idx="688">
                  <c:v>0.99119262714946232</c:v>
                </c:pt>
                <c:pt idx="689">
                  <c:v>0.99123409858560185</c:v>
                </c:pt>
                <c:pt idx="690">
                  <c:v>0.99127536219082846</c:v>
                </c:pt>
                <c:pt idx="691">
                  <c:v>0.99131651882426164</c:v>
                </c:pt>
                <c:pt idx="692">
                  <c:v>0.99135766934502101</c:v>
                </c:pt>
                <c:pt idx="693">
                  <c:v>0.99139867316160646</c:v>
                </c:pt>
                <c:pt idx="694">
                  <c:v>0.99143966169650721</c:v>
                </c:pt>
                <c:pt idx="695">
                  <c:v>0.99152046818925499</c:v>
                </c:pt>
                <c:pt idx="696">
                  <c:v>0.99156055204841709</c:v>
                </c:pt>
                <c:pt idx="697">
                  <c:v>0.99160042807666626</c:v>
                </c:pt>
                <c:pt idx="698">
                  <c:v>0.9916401054430134</c:v>
                </c:pt>
                <c:pt idx="699">
                  <c:v>0.99167963916152368</c:v>
                </c:pt>
                <c:pt idx="700">
                  <c:v>0.99171878778157763</c:v>
                </c:pt>
                <c:pt idx="701">
                  <c:v>0.99175763993694699</c:v>
                </c:pt>
                <c:pt idx="702">
                  <c:v>0.99179626592338166</c:v>
                </c:pt>
                <c:pt idx="703">
                  <c:v>0.99183480327604467</c:v>
                </c:pt>
                <c:pt idx="704">
                  <c:v>0.99187333757237073</c:v>
                </c:pt>
                <c:pt idx="705">
                  <c:v>0.99191187186869678</c:v>
                </c:pt>
                <c:pt idx="706">
                  <c:v>0.9919500363482513</c:v>
                </c:pt>
                <c:pt idx="707">
                  <c:v>0.99198790130678427</c:v>
                </c:pt>
                <c:pt idx="708">
                  <c:v>0.9920255125893499</c:v>
                </c:pt>
                <c:pt idx="709">
                  <c:v>0.99206309025220907</c:v>
                </c:pt>
                <c:pt idx="710">
                  <c:v>0.99210063429536177</c:v>
                </c:pt>
                <c:pt idx="711">
                  <c:v>0.99213813249346017</c:v>
                </c:pt>
                <c:pt idx="712">
                  <c:v>0.99217540146628691</c:v>
                </c:pt>
                <c:pt idx="713">
                  <c:v>0.99221266432643973</c:v>
                </c:pt>
                <c:pt idx="714">
                  <c:v>0.99224981104578824</c:v>
                </c:pt>
                <c:pt idx="715">
                  <c:v>0.99228675604689776</c:v>
                </c:pt>
                <c:pt idx="716">
                  <c:v>0.99232366131562688</c:v>
                </c:pt>
                <c:pt idx="717">
                  <c:v>0.99236053602098639</c:v>
                </c:pt>
                <c:pt idx="718">
                  <c:v>0.99239625543097709</c:v>
                </c:pt>
                <c:pt idx="719">
                  <c:v>0.99243182508045691</c:v>
                </c:pt>
                <c:pt idx="720">
                  <c:v>0.99246726636378468</c:v>
                </c:pt>
                <c:pt idx="721">
                  <c:v>0.9925025028725365</c:v>
                </c:pt>
                <c:pt idx="722">
                  <c:v>0.99253755600107096</c:v>
                </c:pt>
                <c:pt idx="723">
                  <c:v>0.99257252355217074</c:v>
                </c:pt>
                <c:pt idx="724">
                  <c:v>0.99260716101887936</c:v>
                </c:pt>
                <c:pt idx="725">
                  <c:v>0.99264132780969694</c:v>
                </c:pt>
                <c:pt idx="726">
                  <c:v>0.99267542124842767</c:v>
                </c:pt>
                <c:pt idx="727">
                  <c:v>0.99270950857448448</c:v>
                </c:pt>
                <c:pt idx="728">
                  <c:v>0.99274357450618256</c:v>
                </c:pt>
                <c:pt idx="729">
                  <c:v>0.99277694359305502</c:v>
                </c:pt>
                <c:pt idx="730">
                  <c:v>0.99281017208842748</c:v>
                </c:pt>
                <c:pt idx="731">
                  <c:v>0.99284338530211524</c:v>
                </c:pt>
                <c:pt idx="732">
                  <c:v>0.99287609727654236</c:v>
                </c:pt>
                <c:pt idx="733">
                  <c:v>0.99290828050467628</c:v>
                </c:pt>
                <c:pt idx="734">
                  <c:v>0.99294038732438639</c:v>
                </c:pt>
                <c:pt idx="735">
                  <c:v>0.99297234132724876</c:v>
                </c:pt>
                <c:pt idx="736">
                  <c:v>0.99300413640058949</c:v>
                </c:pt>
                <c:pt idx="737">
                  <c:v>0.99303592841759325</c:v>
                </c:pt>
                <c:pt idx="738">
                  <c:v>0.99306756150507536</c:v>
                </c:pt>
                <c:pt idx="739">
                  <c:v>0.99309896536728581</c:v>
                </c:pt>
                <c:pt idx="740">
                  <c:v>0.99316150107771783</c:v>
                </c:pt>
                <c:pt idx="741">
                  <c:v>0.99319271239070017</c:v>
                </c:pt>
                <c:pt idx="742">
                  <c:v>0.99322345302779147</c:v>
                </c:pt>
                <c:pt idx="743">
                  <c:v>0.99325419366488277</c:v>
                </c:pt>
                <c:pt idx="744">
                  <c:v>0.99328484566820241</c:v>
                </c:pt>
                <c:pt idx="745">
                  <c:v>0.99331548544617421</c:v>
                </c:pt>
                <c:pt idx="746">
                  <c:v>0.99334601825235258</c:v>
                </c:pt>
                <c:pt idx="747">
                  <c:v>0.99337625765018334</c:v>
                </c:pt>
                <c:pt idx="748">
                  <c:v>0.99340648787900321</c:v>
                </c:pt>
                <c:pt idx="749">
                  <c:v>0.99343670588247524</c:v>
                </c:pt>
                <c:pt idx="750">
                  <c:v>0.99346689332257776</c:v>
                </c:pt>
                <c:pt idx="751">
                  <c:v>0.99349669260788698</c:v>
                </c:pt>
                <c:pt idx="752">
                  <c:v>0.99352618931583769</c:v>
                </c:pt>
                <c:pt idx="753">
                  <c:v>0.99355545374217979</c:v>
                </c:pt>
                <c:pt idx="754">
                  <c:v>0.99361375948226638</c:v>
                </c:pt>
                <c:pt idx="755">
                  <c:v>0.99364275189461959</c:v>
                </c:pt>
                <c:pt idx="756">
                  <c:v>0.99367167095488584</c:v>
                </c:pt>
                <c:pt idx="757">
                  <c:v>0.99370058695881514</c:v>
                </c:pt>
                <c:pt idx="758">
                  <c:v>0.99372944183600531</c:v>
                </c:pt>
                <c:pt idx="759">
                  <c:v>0.9937579696851413</c:v>
                </c:pt>
                <c:pt idx="760">
                  <c:v>0.99381437438364195</c:v>
                </c:pt>
                <c:pt idx="761">
                  <c:v>0.99384207090912624</c:v>
                </c:pt>
                <c:pt idx="762">
                  <c:v>0.99386950764596937</c:v>
                </c:pt>
                <c:pt idx="763">
                  <c:v>0.9938967671152692</c:v>
                </c:pt>
                <c:pt idx="764">
                  <c:v>0.99392372706354737</c:v>
                </c:pt>
                <c:pt idx="765">
                  <c:v>0.99395065033578212</c:v>
                </c:pt>
                <c:pt idx="766">
                  <c:v>0.99397753387563648</c:v>
                </c:pt>
                <c:pt idx="767">
                  <c:v>0.99400440519014299</c:v>
                </c:pt>
                <c:pt idx="768">
                  <c:v>0.99403123371593216</c:v>
                </c:pt>
                <c:pt idx="769">
                  <c:v>0.99405805307271045</c:v>
                </c:pt>
                <c:pt idx="770">
                  <c:v>0.99411145644832155</c:v>
                </c:pt>
                <c:pt idx="771">
                  <c:v>0.99413800073477387</c:v>
                </c:pt>
                <c:pt idx="772">
                  <c:v>0.99416445638745454</c:v>
                </c:pt>
                <c:pt idx="773">
                  <c:v>0.99419090287112433</c:v>
                </c:pt>
                <c:pt idx="774">
                  <c:v>0.99421731879142461</c:v>
                </c:pt>
                <c:pt idx="775">
                  <c:v>0.99424369497934451</c:v>
                </c:pt>
                <c:pt idx="776">
                  <c:v>0.99426957604067767</c:v>
                </c:pt>
                <c:pt idx="777">
                  <c:v>0.9942953898625978</c:v>
                </c:pt>
                <c:pt idx="778">
                  <c:v>0.99432068105089866</c:v>
                </c:pt>
                <c:pt idx="779">
                  <c:v>0.99434595695751482</c:v>
                </c:pt>
                <c:pt idx="780">
                  <c:v>0.99437103420222894</c:v>
                </c:pt>
                <c:pt idx="781">
                  <c:v>0.9943960931089213</c:v>
                </c:pt>
                <c:pt idx="782">
                  <c:v>0.99442099614242896</c:v>
                </c:pt>
                <c:pt idx="783">
                  <c:v>0.99444584416187143</c:v>
                </c:pt>
                <c:pt idx="784">
                  <c:v>0.99447037432227059</c:v>
                </c:pt>
                <c:pt idx="785">
                  <c:v>0.99449471804611556</c:v>
                </c:pt>
                <c:pt idx="786">
                  <c:v>0.99456729076710704</c:v>
                </c:pt>
                <c:pt idx="787">
                  <c:v>0.99459117909674566</c:v>
                </c:pt>
                <c:pt idx="788">
                  <c:v>0.99461481375041705</c:v>
                </c:pt>
                <c:pt idx="789">
                  <c:v>0.99463832309427336</c:v>
                </c:pt>
                <c:pt idx="790">
                  <c:v>0.99466167045227105</c:v>
                </c:pt>
                <c:pt idx="791">
                  <c:v>0.99468492612016002</c:v>
                </c:pt>
                <c:pt idx="792">
                  <c:v>0.99470817261903821</c:v>
                </c:pt>
                <c:pt idx="793">
                  <c:v>0.99473137632919895</c:v>
                </c:pt>
                <c:pt idx="794">
                  <c:v>0.99475441499716422</c:v>
                </c:pt>
                <c:pt idx="795">
                  <c:v>0.99477745366512949</c:v>
                </c:pt>
                <c:pt idx="796">
                  <c:v>0.99480042509368172</c:v>
                </c:pt>
                <c:pt idx="797">
                  <c:v>0.99482319480399495</c:v>
                </c:pt>
                <c:pt idx="798">
                  <c:v>0.99484594311994945</c:v>
                </c:pt>
                <c:pt idx="799">
                  <c:v>0.99486852333737141</c:v>
                </c:pt>
                <c:pt idx="800">
                  <c:v>0.99489088655486968</c:v>
                </c:pt>
                <c:pt idx="801">
                  <c:v>0.99491324365969402</c:v>
                </c:pt>
                <c:pt idx="802">
                  <c:v>0.99493539904627937</c:v>
                </c:pt>
                <c:pt idx="803">
                  <c:v>0.99495751470048421</c:v>
                </c:pt>
                <c:pt idx="804">
                  <c:v>0.99497955700260221</c:v>
                </c:pt>
                <c:pt idx="805">
                  <c:v>0.99500159930472021</c:v>
                </c:pt>
                <c:pt idx="806">
                  <c:v>0.99502360187445771</c:v>
                </c:pt>
                <c:pt idx="807">
                  <c:v>0.99504542106397798</c:v>
                </c:pt>
                <c:pt idx="808">
                  <c:v>0.99508899220360547</c:v>
                </c:pt>
                <c:pt idx="809">
                  <c:v>0.99511071664668016</c:v>
                </c:pt>
                <c:pt idx="810">
                  <c:v>0.99513237690667877</c:v>
                </c:pt>
                <c:pt idx="811">
                  <c:v>0.99515376515268839</c:v>
                </c:pt>
                <c:pt idx="812">
                  <c:v>0.99517510449730673</c:v>
                </c:pt>
                <c:pt idx="813">
                  <c:v>0.99519641022221861</c:v>
                </c:pt>
                <c:pt idx="814">
                  <c:v>0.99521759369365226</c:v>
                </c:pt>
                <c:pt idx="815">
                  <c:v>0.99523869770032514</c:v>
                </c:pt>
                <c:pt idx="816">
                  <c:v>0.99525960915776979</c:v>
                </c:pt>
                <c:pt idx="817">
                  <c:v>0.99528043503777974</c:v>
                </c:pt>
                <c:pt idx="818">
                  <c:v>0.99530122729808324</c:v>
                </c:pt>
                <c:pt idx="819">
                  <c:v>0.99532190036124546</c:v>
                </c:pt>
                <c:pt idx="820">
                  <c:v>0.99534250924133161</c:v>
                </c:pt>
                <c:pt idx="821">
                  <c:v>0.99536310895240687</c:v>
                </c:pt>
                <c:pt idx="822">
                  <c:v>0.99538322881858032</c:v>
                </c:pt>
                <c:pt idx="823">
                  <c:v>0.99540322337493858</c:v>
                </c:pt>
                <c:pt idx="824">
                  <c:v>0.99542320876228596</c:v>
                </c:pt>
                <c:pt idx="825">
                  <c:v>0.99544311774120953</c:v>
                </c:pt>
                <c:pt idx="826">
                  <c:v>0.99546300838211133</c:v>
                </c:pt>
                <c:pt idx="827">
                  <c:v>0.99548288374132832</c:v>
                </c:pt>
                <c:pt idx="828">
                  <c:v>0.99552245107954507</c:v>
                </c:pt>
                <c:pt idx="829">
                  <c:v>0.99554216750924041</c:v>
                </c:pt>
                <c:pt idx="830">
                  <c:v>0.99556180447417497</c:v>
                </c:pt>
                <c:pt idx="831">
                  <c:v>0.99558142004475081</c:v>
                </c:pt>
                <c:pt idx="832">
                  <c:v>0.99560103255898968</c:v>
                </c:pt>
                <c:pt idx="833">
                  <c:v>0.99562057477747867</c:v>
                </c:pt>
                <c:pt idx="834">
                  <c:v>0.99564007726358716</c:v>
                </c:pt>
                <c:pt idx="835">
                  <c:v>0.99565950334127185</c:v>
                </c:pt>
                <c:pt idx="836">
                  <c:v>0.9956789080245978</c:v>
                </c:pt>
                <c:pt idx="837">
                  <c:v>0.99569829131356513</c:v>
                </c:pt>
                <c:pt idx="838">
                  <c:v>0.99571760736311943</c:v>
                </c:pt>
                <c:pt idx="839">
                  <c:v>0.99573683172256511</c:v>
                </c:pt>
                <c:pt idx="840">
                  <c:v>0.9957558604764456</c:v>
                </c:pt>
                <c:pt idx="841">
                  <c:v>0.99577479142754355</c:v>
                </c:pt>
                <c:pt idx="842">
                  <c:v>0.99579370404061984</c:v>
                </c:pt>
                <c:pt idx="843">
                  <c:v>0.99581251273823967</c:v>
                </c:pt>
                <c:pt idx="844">
                  <c:v>0.99583119306970735</c:v>
                </c:pt>
                <c:pt idx="845">
                  <c:v>0.99584983061245769</c:v>
                </c:pt>
                <c:pt idx="846">
                  <c:v>0.99586842231015371</c:v>
                </c:pt>
                <c:pt idx="847">
                  <c:v>0.99588698650081708</c:v>
                </c:pt>
                <c:pt idx="848">
                  <c:v>0.9959236044738724</c:v>
                </c:pt>
                <c:pt idx="849">
                  <c:v>0.99594163686190562</c:v>
                </c:pt>
                <c:pt idx="850">
                  <c:v>0.99595956227814553</c:v>
                </c:pt>
                <c:pt idx="851">
                  <c:v>0.99597747852537455</c:v>
                </c:pt>
                <c:pt idx="852">
                  <c:v>0.9959953061388318</c:v>
                </c:pt>
                <c:pt idx="853">
                  <c:v>0.99601301149881094</c:v>
                </c:pt>
                <c:pt idx="854">
                  <c:v>0.99603070463344223</c:v>
                </c:pt>
                <c:pt idx="855">
                  <c:v>0.99604838859906264</c:v>
                </c:pt>
                <c:pt idx="856">
                  <c:v>0.99606595642387874</c:v>
                </c:pt>
                <c:pt idx="857">
                  <c:v>0.99610104011578282</c:v>
                </c:pt>
                <c:pt idx="858">
                  <c:v>0.99611836343364257</c:v>
                </c:pt>
                <c:pt idx="859">
                  <c:v>0.99613546058256763</c:v>
                </c:pt>
                <c:pt idx="860">
                  <c:v>0.99618657170546254</c:v>
                </c:pt>
                <c:pt idx="861">
                  <c:v>0.99620355576992037</c:v>
                </c:pt>
                <c:pt idx="862">
                  <c:v>0.99622052760903035</c:v>
                </c:pt>
                <c:pt idx="863">
                  <c:v>0.99623744137773818</c:v>
                </c:pt>
                <c:pt idx="864">
                  <c:v>0.99625418704791346</c:v>
                </c:pt>
                <c:pt idx="865">
                  <c:v>0.9962708440843171</c:v>
                </c:pt>
                <c:pt idx="866">
                  <c:v>0.99630409397404829</c:v>
                </c:pt>
                <c:pt idx="867">
                  <c:v>0.99632067154569104</c:v>
                </c:pt>
                <c:pt idx="868">
                  <c:v>0.99633721549762733</c:v>
                </c:pt>
                <c:pt idx="869">
                  <c:v>0.99635374111154185</c:v>
                </c:pt>
                <c:pt idx="870">
                  <c:v>0.99637023004941294</c:v>
                </c:pt>
                <c:pt idx="871">
                  <c:v>0.99638647753666465</c:v>
                </c:pt>
                <c:pt idx="872">
                  <c:v>0.9964027219675794</c:v>
                </c:pt>
                <c:pt idx="873">
                  <c:v>0.99641876468025514</c:v>
                </c:pt>
                <c:pt idx="874">
                  <c:v>0.9964347126464852</c:v>
                </c:pt>
                <c:pt idx="875">
                  <c:v>0.99646644353674985</c:v>
                </c:pt>
                <c:pt idx="876">
                  <c:v>0.99648219895375179</c:v>
                </c:pt>
                <c:pt idx="877">
                  <c:v>0.99649789935668853</c:v>
                </c:pt>
                <c:pt idx="878">
                  <c:v>0.99651352946387539</c:v>
                </c:pt>
                <c:pt idx="879">
                  <c:v>0.99652913512036656</c:v>
                </c:pt>
                <c:pt idx="880">
                  <c:v>0.99654473466418381</c:v>
                </c:pt>
                <c:pt idx="881">
                  <c:v>0.99656031892631625</c:v>
                </c:pt>
                <c:pt idx="882">
                  <c:v>0.99657576565328576</c:v>
                </c:pt>
                <c:pt idx="883">
                  <c:v>0.9965911879295597</c:v>
                </c:pt>
                <c:pt idx="884">
                  <c:v>0.99662166572167288</c:v>
                </c:pt>
                <c:pt idx="885">
                  <c:v>0.99663678847692516</c:v>
                </c:pt>
                <c:pt idx="886">
                  <c:v>0.99665191123217745</c:v>
                </c:pt>
                <c:pt idx="887">
                  <c:v>0.99666698508603846</c:v>
                </c:pt>
                <c:pt idx="888">
                  <c:v>0.99668204365821467</c:v>
                </c:pt>
                <c:pt idx="889">
                  <c:v>0.99671201409839327</c:v>
                </c:pt>
                <c:pt idx="890">
                  <c:v>0.99674180727102857</c:v>
                </c:pt>
                <c:pt idx="891">
                  <c:v>0.99675666412496577</c:v>
                </c:pt>
                <c:pt idx="892">
                  <c:v>0.99680035140539758</c:v>
                </c:pt>
                <c:pt idx="893">
                  <c:v>0.99681471618908513</c:v>
                </c:pt>
                <c:pt idx="894">
                  <c:v>0.99682901984603356</c:v>
                </c:pt>
                <c:pt idx="895">
                  <c:v>0.99684325320723199</c:v>
                </c:pt>
                <c:pt idx="896">
                  <c:v>0.9968573337515827</c:v>
                </c:pt>
                <c:pt idx="897">
                  <c:v>0.99687135928186821</c:v>
                </c:pt>
                <c:pt idx="898">
                  <c:v>0.99688536647413206</c:v>
                </c:pt>
                <c:pt idx="899">
                  <c:v>0.99689935532837415</c:v>
                </c:pt>
                <c:pt idx="900">
                  <c:v>0.99692724134674959</c:v>
                </c:pt>
                <c:pt idx="901">
                  <c:v>0.99694109266582875</c:v>
                </c:pt>
                <c:pt idx="902">
                  <c:v>0.99695493481589703</c:v>
                </c:pt>
                <c:pt idx="903">
                  <c:v>0.99696870667021531</c:v>
                </c:pt>
                <c:pt idx="904">
                  <c:v>0.99698245713017497</c:v>
                </c:pt>
                <c:pt idx="905">
                  <c:v>0.99699616785775413</c:v>
                </c:pt>
                <c:pt idx="906">
                  <c:v>0.99700982357126811</c:v>
                </c:pt>
                <c:pt idx="907">
                  <c:v>0.99702346400309738</c:v>
                </c:pt>
                <c:pt idx="908">
                  <c:v>0.99703709220957881</c:v>
                </c:pt>
                <c:pt idx="909">
                  <c:v>0.99705069596536455</c:v>
                </c:pt>
                <c:pt idx="910">
                  <c:v>0.99706420497470472</c:v>
                </c:pt>
                <c:pt idx="911">
                  <c:v>0.99707771092770792</c:v>
                </c:pt>
                <c:pt idx="912">
                  <c:v>0.99709119854268946</c:v>
                </c:pt>
                <c:pt idx="913">
                  <c:v>0.99710463725627974</c:v>
                </c:pt>
                <c:pt idx="914">
                  <c:v>0.99711799650510913</c:v>
                </c:pt>
                <c:pt idx="915">
                  <c:v>0.99713125795115598</c:v>
                </c:pt>
                <c:pt idx="916">
                  <c:v>0.99715751188559765</c:v>
                </c:pt>
                <c:pt idx="917">
                  <c:v>0.99718361911586539</c:v>
                </c:pt>
                <c:pt idx="918">
                  <c:v>0.99722237652478918</c:v>
                </c:pt>
                <c:pt idx="919">
                  <c:v>0.99723520702732538</c:v>
                </c:pt>
                <c:pt idx="920">
                  <c:v>0.99724782969894865</c:v>
                </c:pt>
                <c:pt idx="921">
                  <c:v>0.99726043708888712</c:v>
                </c:pt>
                <c:pt idx="922">
                  <c:v>0.99727303530981481</c:v>
                </c:pt>
                <c:pt idx="923">
                  <c:v>0.99728558768568809</c:v>
                </c:pt>
                <c:pt idx="924">
                  <c:v>0.99729813089255059</c:v>
                </c:pt>
                <c:pt idx="925">
                  <c:v>0.99731067104307614</c:v>
                </c:pt>
                <c:pt idx="926">
                  <c:v>0.99732319591191687</c:v>
                </c:pt>
                <c:pt idx="927">
                  <c:v>0.9973354182033991</c:v>
                </c:pt>
                <c:pt idx="928">
                  <c:v>0.99734763132587045</c:v>
                </c:pt>
                <c:pt idx="929">
                  <c:v>0.99737181917653073</c:v>
                </c:pt>
                <c:pt idx="930">
                  <c:v>0.99738360135549142</c:v>
                </c:pt>
                <c:pt idx="931">
                  <c:v>0.99739533157672389</c:v>
                </c:pt>
                <c:pt idx="932">
                  <c:v>0.99740701289656508</c:v>
                </c:pt>
                <c:pt idx="933">
                  <c:v>0.99741861169530854</c:v>
                </c:pt>
                <c:pt idx="934">
                  <c:v>0.99744158618019774</c:v>
                </c:pt>
                <c:pt idx="935">
                  <c:v>0.99746423058069578</c:v>
                </c:pt>
                <c:pt idx="936">
                  <c:v>0.99747548706970024</c:v>
                </c:pt>
                <c:pt idx="937">
                  <c:v>0.99748670382632432</c:v>
                </c:pt>
                <c:pt idx="938">
                  <c:v>0.99749785945620928</c:v>
                </c:pt>
                <c:pt idx="939">
                  <c:v>0.99750893867767043</c:v>
                </c:pt>
                <c:pt idx="940">
                  <c:v>0.99751995371605551</c:v>
                </c:pt>
                <c:pt idx="941">
                  <c:v>0.9975309595854297</c:v>
                </c:pt>
                <c:pt idx="942">
                  <c:v>0.99754195322945605</c:v>
                </c:pt>
                <c:pt idx="943">
                  <c:v>0.99755292853546074</c:v>
                </c:pt>
                <c:pt idx="944">
                  <c:v>0.9975748485841005</c:v>
                </c:pt>
                <c:pt idx="945">
                  <c:v>0.99758578721406166</c:v>
                </c:pt>
                <c:pt idx="946">
                  <c:v>0.99759668305530547</c:v>
                </c:pt>
                <c:pt idx="947">
                  <c:v>0.99760756667120143</c:v>
                </c:pt>
                <c:pt idx="948">
                  <c:v>0.99761843194907573</c:v>
                </c:pt>
                <c:pt idx="949">
                  <c:v>0.99762926055090662</c:v>
                </c:pt>
                <c:pt idx="950">
                  <c:v>0.99764004636402004</c:v>
                </c:pt>
                <c:pt idx="951">
                  <c:v>0.99765081689544877</c:v>
                </c:pt>
                <c:pt idx="952">
                  <c:v>0.99766156908885573</c:v>
                </c:pt>
                <c:pt idx="953">
                  <c:v>0.99767228766255622</c:v>
                </c:pt>
                <c:pt idx="954">
                  <c:v>0.99768296650387622</c:v>
                </c:pt>
                <c:pt idx="955">
                  <c:v>0.99769358727479418</c:v>
                </c:pt>
                <c:pt idx="956">
                  <c:v>0.99770402772183175</c:v>
                </c:pt>
                <c:pt idx="957">
                  <c:v>0.99771446511253237</c:v>
                </c:pt>
                <c:pt idx="958">
                  <c:v>0.99773529404887928</c:v>
                </c:pt>
                <c:pt idx="959">
                  <c:v>0.9977456611438299</c:v>
                </c:pt>
                <c:pt idx="960">
                  <c:v>0.99775599461907405</c:v>
                </c:pt>
                <c:pt idx="961">
                  <c:v>0.99776627613658997</c:v>
                </c:pt>
                <c:pt idx="962">
                  <c:v>0.99777643845696462</c:v>
                </c:pt>
                <c:pt idx="963">
                  <c:v>0.99778657632664369</c:v>
                </c:pt>
                <c:pt idx="964">
                  <c:v>0.9977967111399858</c:v>
                </c:pt>
                <c:pt idx="965">
                  <c:v>0.99780680316461057</c:v>
                </c:pt>
                <c:pt idx="966">
                  <c:v>0.99781682489348533</c:v>
                </c:pt>
                <c:pt idx="967">
                  <c:v>0.99782683439701225</c:v>
                </c:pt>
                <c:pt idx="968">
                  <c:v>0.99783683473152829</c:v>
                </c:pt>
                <c:pt idx="969">
                  <c:v>0.99784681978435963</c:v>
                </c:pt>
                <c:pt idx="970">
                  <c:v>0.99785680483719097</c:v>
                </c:pt>
                <c:pt idx="971">
                  <c:v>0.99786675015764181</c:v>
                </c:pt>
                <c:pt idx="972">
                  <c:v>0.99787664352036443</c:v>
                </c:pt>
                <c:pt idx="973">
                  <c:v>0.99788644824931538</c:v>
                </c:pt>
                <c:pt idx="974">
                  <c:v>0.99789624992192938</c:v>
                </c:pt>
                <c:pt idx="975">
                  <c:v>0.99790597518611956</c:v>
                </c:pt>
                <c:pt idx="976">
                  <c:v>0.99791568516862494</c:v>
                </c:pt>
                <c:pt idx="977">
                  <c:v>0.99792535541874994</c:v>
                </c:pt>
                <c:pt idx="978">
                  <c:v>0.99793490647173366</c:v>
                </c:pt>
                <c:pt idx="979">
                  <c:v>0.99794444224303258</c:v>
                </c:pt>
                <c:pt idx="980">
                  <c:v>0.99795394133828808</c:v>
                </c:pt>
                <c:pt idx="981">
                  <c:v>0.99796340987017407</c:v>
                </c:pt>
                <c:pt idx="982">
                  <c:v>0.99798226441284821</c:v>
                </c:pt>
                <c:pt idx="983">
                  <c:v>0.99799164125462547</c:v>
                </c:pt>
                <c:pt idx="984">
                  <c:v>0.99801019016360404</c:v>
                </c:pt>
                <c:pt idx="985">
                  <c:v>0.99801940501952269</c:v>
                </c:pt>
                <c:pt idx="986">
                  <c:v>0.99802859848108272</c:v>
                </c:pt>
                <c:pt idx="987">
                  <c:v>0.99803773998491452</c:v>
                </c:pt>
                <c:pt idx="988">
                  <c:v>0.99804686620706151</c:v>
                </c:pt>
                <c:pt idx="989">
                  <c:v>0.99805594352781724</c:v>
                </c:pt>
                <c:pt idx="990">
                  <c:v>0.99806499945421423</c:v>
                </c:pt>
                <c:pt idx="991">
                  <c:v>0.99807404621160045</c:v>
                </c:pt>
                <c:pt idx="992">
                  <c:v>0.99808305018026922</c:v>
                </c:pt>
                <c:pt idx="993">
                  <c:v>0.99810990926942789</c:v>
                </c:pt>
                <c:pt idx="994">
                  <c:v>0.99811881543531411</c:v>
                </c:pt>
                <c:pt idx="995">
                  <c:v>0.99812768186881995</c:v>
                </c:pt>
                <c:pt idx="996">
                  <c:v>0.9981365391333149</c:v>
                </c:pt>
                <c:pt idx="997">
                  <c:v>0.9981453933414729</c:v>
                </c:pt>
                <c:pt idx="998">
                  <c:v>0.99815422921160923</c:v>
                </c:pt>
                <c:pt idx="999">
                  <c:v>0.99816304980006076</c:v>
                </c:pt>
                <c:pt idx="1000">
                  <c:v>0.99817183676880583</c:v>
                </c:pt>
                <c:pt idx="1001">
                  <c:v>0.99818052593476836</c:v>
                </c:pt>
                <c:pt idx="1002">
                  <c:v>0.99818920287538304</c:v>
                </c:pt>
                <c:pt idx="1003">
                  <c:v>0.9981978737033238</c:v>
                </c:pt>
                <c:pt idx="1004">
                  <c:v>0.99820649257353633</c:v>
                </c:pt>
                <c:pt idx="1005">
                  <c:v>0.99821510533107494</c:v>
                </c:pt>
                <c:pt idx="1006">
                  <c:v>0.998223690581581</c:v>
                </c:pt>
                <c:pt idx="1007">
                  <c:v>0.99823223915604353</c:v>
                </c:pt>
                <c:pt idx="1008">
                  <c:v>0.99824077550515822</c:v>
                </c:pt>
                <c:pt idx="1009">
                  <c:v>0.99824929045991428</c:v>
                </c:pt>
                <c:pt idx="1010">
                  <c:v>0.99825758841474654</c:v>
                </c:pt>
                <c:pt idx="1011">
                  <c:v>0.9982741109723241</c:v>
                </c:pt>
                <c:pt idx="1012">
                  <c:v>0.99828231112437382</c:v>
                </c:pt>
                <c:pt idx="1013">
                  <c:v>0.99829049599473874</c:v>
                </c:pt>
                <c:pt idx="1014">
                  <c:v>0.99829864113272326</c:v>
                </c:pt>
                <c:pt idx="1015">
                  <c:v>0.99830667318624045</c:v>
                </c:pt>
                <c:pt idx="1016">
                  <c:v>0.9983146991270837</c:v>
                </c:pt>
                <c:pt idx="1017">
                  <c:v>0.99832270978624227</c:v>
                </c:pt>
                <c:pt idx="1018">
                  <c:v>0.99833065320598779</c:v>
                </c:pt>
                <c:pt idx="1019">
                  <c:v>0.99833853855533117</c:v>
                </c:pt>
                <c:pt idx="1020">
                  <c:v>0.99834640556665277</c:v>
                </c:pt>
                <c:pt idx="1021">
                  <c:v>0.99836190730768748</c:v>
                </c:pt>
                <c:pt idx="1022">
                  <c:v>0.99836963067117224</c:v>
                </c:pt>
                <c:pt idx="1023">
                  <c:v>0.99838492458129402</c:v>
                </c:pt>
                <c:pt idx="1024">
                  <c:v>0.99840012374497022</c:v>
                </c:pt>
                <c:pt idx="1025">
                  <c:v>0.99840768817893333</c:v>
                </c:pt>
                <c:pt idx="1026">
                  <c:v>0.99841523733121162</c:v>
                </c:pt>
                <c:pt idx="1027">
                  <c:v>0.99842278342715296</c:v>
                </c:pt>
                <c:pt idx="1028">
                  <c:v>0.99844532696853161</c:v>
                </c:pt>
                <c:pt idx="1029">
                  <c:v>0.99845276303634267</c:v>
                </c:pt>
                <c:pt idx="1030">
                  <c:v>0.99846013797741462</c:v>
                </c:pt>
                <c:pt idx="1031">
                  <c:v>0.9984674945804648</c:v>
                </c:pt>
                <c:pt idx="1032">
                  <c:v>0.99847485118351498</c:v>
                </c:pt>
                <c:pt idx="1033">
                  <c:v>0.99848220167389123</c:v>
                </c:pt>
                <c:pt idx="1034">
                  <c:v>0.99848954299525661</c:v>
                </c:pt>
                <c:pt idx="1035">
                  <c:v>0.99849684458424159</c:v>
                </c:pt>
                <c:pt idx="1036">
                  <c:v>0.9985113132833856</c:v>
                </c:pt>
                <c:pt idx="1037">
                  <c:v>0.9985184742808707</c:v>
                </c:pt>
                <c:pt idx="1038">
                  <c:v>0.99852559860231227</c:v>
                </c:pt>
                <c:pt idx="1039">
                  <c:v>0.99853267707869953</c:v>
                </c:pt>
                <c:pt idx="1040">
                  <c:v>0.99853974332973905</c:v>
                </c:pt>
                <c:pt idx="1041">
                  <c:v>0.99854680346810465</c:v>
                </c:pt>
                <c:pt idx="1042">
                  <c:v>0.9985538513811224</c:v>
                </c:pt>
                <c:pt idx="1043">
                  <c:v>0.99856087789978143</c:v>
                </c:pt>
                <c:pt idx="1044">
                  <c:v>0.99856785551704919</c:v>
                </c:pt>
                <c:pt idx="1045">
                  <c:v>0.99857477812025175</c:v>
                </c:pt>
                <c:pt idx="1046">
                  <c:v>0.99858167932909569</c:v>
                </c:pt>
                <c:pt idx="1047">
                  <c:v>0.9985885683125918</c:v>
                </c:pt>
                <c:pt idx="1048">
                  <c:v>0.99859543895806613</c:v>
                </c:pt>
                <c:pt idx="1049">
                  <c:v>0.9986022912655188</c:v>
                </c:pt>
                <c:pt idx="1050">
                  <c:v>0.99860911300960187</c:v>
                </c:pt>
                <c:pt idx="1051">
                  <c:v>0.99861593169734797</c:v>
                </c:pt>
                <c:pt idx="1052">
                  <c:v>0.99862274732875711</c:v>
                </c:pt>
                <c:pt idx="1053">
                  <c:v>0.99863633885919512</c:v>
                </c:pt>
                <c:pt idx="1054">
                  <c:v>0.99864986620655694</c:v>
                </c:pt>
                <c:pt idx="1055">
                  <c:v>0.99866335687787544</c:v>
                </c:pt>
                <c:pt idx="1056">
                  <c:v>0.99867009610086077</c:v>
                </c:pt>
                <c:pt idx="1057">
                  <c:v>0.99867682309849826</c:v>
                </c:pt>
                <c:pt idx="1058">
                  <c:v>0.99868353481445094</c:v>
                </c:pt>
                <c:pt idx="1059">
                  <c:v>0.99869691851397602</c:v>
                </c:pt>
                <c:pt idx="1060">
                  <c:v>0.99871683054923654</c:v>
                </c:pt>
                <c:pt idx="1061">
                  <c:v>0.99872343223705895</c:v>
                </c:pt>
                <c:pt idx="1062">
                  <c:v>0.99874307225833048</c:v>
                </c:pt>
                <c:pt idx="1063">
                  <c:v>0.99874956086168554</c:v>
                </c:pt>
                <c:pt idx="1064">
                  <c:v>0.99875603418335579</c:v>
                </c:pt>
                <c:pt idx="1065">
                  <c:v>0.99876248611066731</c:v>
                </c:pt>
                <c:pt idx="1066">
                  <c:v>0.99876893498164188</c:v>
                </c:pt>
                <c:pt idx="1067">
                  <c:v>0.9987753716272687</c:v>
                </c:pt>
                <c:pt idx="1068">
                  <c:v>0.99878178076586288</c:v>
                </c:pt>
                <c:pt idx="1069">
                  <c:v>0.99879456847968173</c:v>
                </c:pt>
                <c:pt idx="1070">
                  <c:v>0.99880093482955856</c:v>
                </c:pt>
                <c:pt idx="1071">
                  <c:v>0.99880729506676147</c:v>
                </c:pt>
                <c:pt idx="1072">
                  <c:v>0.99881362168425791</c:v>
                </c:pt>
                <c:pt idx="1073">
                  <c:v>0.99881993302006955</c:v>
                </c:pt>
                <c:pt idx="1074">
                  <c:v>0.99883242732554067</c:v>
                </c:pt>
                <c:pt idx="1075">
                  <c:v>0.99883867142193927</c:v>
                </c:pt>
                <c:pt idx="1076">
                  <c:v>0.99884483299724014</c:v>
                </c:pt>
                <c:pt idx="1077">
                  <c:v>0.99885098540353012</c:v>
                </c:pt>
                <c:pt idx="1078">
                  <c:v>0.99885710419011364</c:v>
                </c:pt>
                <c:pt idx="1079">
                  <c:v>0.99886317713164285</c:v>
                </c:pt>
                <c:pt idx="1080">
                  <c:v>0.99886923479148726</c:v>
                </c:pt>
                <c:pt idx="1081">
                  <c:v>0.9988752893949947</c:v>
                </c:pt>
                <c:pt idx="1082">
                  <c:v>0.99888132566048038</c:v>
                </c:pt>
                <c:pt idx="1083">
                  <c:v>0.99888735581329213</c:v>
                </c:pt>
                <c:pt idx="1084">
                  <c:v>0.99889929997811155</c:v>
                </c:pt>
                <c:pt idx="1085">
                  <c:v>0.99890522315913</c:v>
                </c:pt>
                <c:pt idx="1086">
                  <c:v>0.99891112800212667</c:v>
                </c:pt>
                <c:pt idx="1087">
                  <c:v>0.998916990056406</c:v>
                </c:pt>
                <c:pt idx="1088">
                  <c:v>0.99892283377266355</c:v>
                </c:pt>
                <c:pt idx="1089">
                  <c:v>0.9989344723037874</c:v>
                </c:pt>
                <c:pt idx="1090">
                  <c:v>0.99894027017499065</c:v>
                </c:pt>
                <c:pt idx="1091">
                  <c:v>0.99894603442648744</c:v>
                </c:pt>
                <c:pt idx="1092">
                  <c:v>0.99896887443255067</c:v>
                </c:pt>
                <c:pt idx="1093">
                  <c:v>0.99897995671034878</c:v>
                </c:pt>
                <c:pt idx="1094">
                  <c:v>0.99899094424170132</c:v>
                </c:pt>
                <c:pt idx="1095">
                  <c:v>0.9989963356200896</c:v>
                </c:pt>
                <c:pt idx="1096">
                  <c:v>0.99901237527642839</c:v>
                </c:pt>
                <c:pt idx="1097">
                  <c:v>0.99901765662668629</c:v>
                </c:pt>
                <c:pt idx="1098">
                  <c:v>0.99902293186427027</c:v>
                </c:pt>
                <c:pt idx="1099">
                  <c:v>0.9990281490314521</c:v>
                </c:pt>
                <c:pt idx="1100">
                  <c:v>0.99903336619863392</c:v>
                </c:pt>
                <c:pt idx="1101">
                  <c:v>0.99903857725314182</c:v>
                </c:pt>
                <c:pt idx="1102">
                  <c:v>0.99904378830764973</c:v>
                </c:pt>
                <c:pt idx="1103">
                  <c:v>0.99904899019314675</c:v>
                </c:pt>
                <c:pt idx="1104">
                  <c:v>0.99905415234626338</c:v>
                </c:pt>
                <c:pt idx="1105">
                  <c:v>0.99905931144304305</c:v>
                </c:pt>
                <c:pt idx="1106">
                  <c:v>0.99906440024407273</c:v>
                </c:pt>
                <c:pt idx="1107">
                  <c:v>0.9990745381137518</c:v>
                </c:pt>
                <c:pt idx="1108">
                  <c:v>0.99907953828100982</c:v>
                </c:pt>
                <c:pt idx="1109">
                  <c:v>0.99908452011024618</c:v>
                </c:pt>
                <c:pt idx="1110">
                  <c:v>0.99908949277047165</c:v>
                </c:pt>
                <c:pt idx="1111">
                  <c:v>0.99909446237436017</c:v>
                </c:pt>
                <c:pt idx="1112">
                  <c:v>0.99909942586557476</c:v>
                </c:pt>
                <c:pt idx="1113">
                  <c:v>0.99910437713144151</c:v>
                </c:pt>
                <c:pt idx="1114">
                  <c:v>0.99911417574771855</c:v>
                </c:pt>
                <c:pt idx="1115">
                  <c:v>0.99911902921080276</c:v>
                </c:pt>
                <c:pt idx="1116">
                  <c:v>0.99912387044853912</c:v>
                </c:pt>
                <c:pt idx="1117">
                  <c:v>0.99912869946092764</c:v>
                </c:pt>
                <c:pt idx="1118">
                  <c:v>0.99913350707895754</c:v>
                </c:pt>
                <c:pt idx="1119">
                  <c:v>0.99913831164065048</c:v>
                </c:pt>
                <c:pt idx="1120">
                  <c:v>0.99914307341362607</c:v>
                </c:pt>
                <c:pt idx="1121">
                  <c:v>0.99915257556521853</c:v>
                </c:pt>
                <c:pt idx="1122">
                  <c:v>0.99915729149313981</c:v>
                </c:pt>
                <c:pt idx="1123">
                  <c:v>0.99916200130838717</c:v>
                </c:pt>
                <c:pt idx="1124">
                  <c:v>0.99916668361660188</c:v>
                </c:pt>
                <c:pt idx="1125">
                  <c:v>0.9991759320922271</c:v>
                </c:pt>
                <c:pt idx="1126">
                  <c:v>0.9991850430326894</c:v>
                </c:pt>
                <c:pt idx="1127">
                  <c:v>0.99918958474940422</c:v>
                </c:pt>
                <c:pt idx="1128">
                  <c:v>0.99919412035344513</c:v>
                </c:pt>
                <c:pt idx="1129">
                  <c:v>0.99919863761946426</c:v>
                </c:pt>
                <c:pt idx="1130">
                  <c:v>0.99920315182914654</c:v>
                </c:pt>
                <c:pt idx="1131">
                  <c:v>0.99920765381348098</c:v>
                </c:pt>
                <c:pt idx="1132">
                  <c:v>0.99921211912177188</c:v>
                </c:pt>
                <c:pt idx="1133">
                  <c:v>0.99921658137372593</c:v>
                </c:pt>
                <c:pt idx="1134">
                  <c:v>0.99922103140033214</c:v>
                </c:pt>
                <c:pt idx="1135">
                  <c:v>0.99922544169455785</c:v>
                </c:pt>
                <c:pt idx="1136">
                  <c:v>0.99922981225640317</c:v>
                </c:pt>
                <c:pt idx="1137">
                  <c:v>0.99923416448022684</c:v>
                </c:pt>
                <c:pt idx="1138">
                  <c:v>0.99924279863212417</c:v>
                </c:pt>
                <c:pt idx="1139">
                  <c:v>0.99924709278554569</c:v>
                </c:pt>
                <c:pt idx="1140">
                  <c:v>0.99925136248827151</c:v>
                </c:pt>
                <c:pt idx="1141">
                  <c:v>0.99925560468396479</c:v>
                </c:pt>
                <c:pt idx="1142">
                  <c:v>0.99926394848385136</c:v>
                </c:pt>
                <c:pt idx="1143">
                  <c:v>0.99926810510210984</c:v>
                </c:pt>
                <c:pt idx="1144">
                  <c:v>0.99927225560769439</c:v>
                </c:pt>
                <c:pt idx="1145">
                  <c:v>0.99927638166258337</c:v>
                </c:pt>
                <c:pt idx="1146">
                  <c:v>0.99928048937945058</c:v>
                </c:pt>
                <c:pt idx="1147">
                  <c:v>0.99928456042027436</c:v>
                </c:pt>
                <c:pt idx="1148">
                  <c:v>0.99928859172871776</c:v>
                </c:pt>
                <c:pt idx="1149">
                  <c:v>0.99929261081181331</c:v>
                </c:pt>
                <c:pt idx="1150">
                  <c:v>0.99929660850055013</c:v>
                </c:pt>
                <c:pt idx="1151">
                  <c:v>0.99930058479492834</c:v>
                </c:pt>
                <c:pt idx="1152">
                  <c:v>0.99930443883582831</c:v>
                </c:pt>
                <c:pt idx="1153">
                  <c:v>0.99931204911484572</c:v>
                </c:pt>
                <c:pt idx="1154">
                  <c:v>0.99931584202900658</c:v>
                </c:pt>
                <c:pt idx="1155">
                  <c:v>0.99931961966148275</c:v>
                </c:pt>
                <c:pt idx="1156">
                  <c:v>0.99932337589960019</c:v>
                </c:pt>
                <c:pt idx="1157">
                  <c:v>0.99933083947444379</c:v>
                </c:pt>
                <c:pt idx="1158">
                  <c:v>0.99933454986750692</c:v>
                </c:pt>
                <c:pt idx="1159">
                  <c:v>0.99933823275353739</c:v>
                </c:pt>
                <c:pt idx="1160">
                  <c:v>0.99934190952689406</c:v>
                </c:pt>
                <c:pt idx="1161">
                  <c:v>0.99934554351153326</c:v>
                </c:pt>
                <c:pt idx="1162">
                  <c:v>0.99934916221448777</c:v>
                </c:pt>
                <c:pt idx="1163">
                  <c:v>0.99935276257942052</c:v>
                </c:pt>
                <c:pt idx="1164">
                  <c:v>0.9993563598880163</c:v>
                </c:pt>
                <c:pt idx="1165">
                  <c:v>0.99935994497126424</c:v>
                </c:pt>
                <c:pt idx="1166">
                  <c:v>0.99936352699817521</c:v>
                </c:pt>
                <c:pt idx="1167">
                  <c:v>0.99937067271397562</c:v>
                </c:pt>
                <c:pt idx="1168">
                  <c:v>0.99937423029019101</c:v>
                </c:pt>
                <c:pt idx="1169">
                  <c:v>0.9993777725847216</c:v>
                </c:pt>
                <c:pt idx="1170">
                  <c:v>0.99938482966675013</c:v>
                </c:pt>
                <c:pt idx="1171">
                  <c:v>0.99938832917256337</c:v>
                </c:pt>
                <c:pt idx="1172">
                  <c:v>0.99939528845180936</c:v>
                </c:pt>
                <c:pt idx="1173">
                  <c:v>0.99939876350692691</c:v>
                </c:pt>
                <c:pt idx="1174">
                  <c:v>0.99940223244937065</c:v>
                </c:pt>
                <c:pt idx="1175">
                  <c:v>0.99940912143286675</c:v>
                </c:pt>
                <c:pt idx="1176">
                  <c:v>0.99941254758659304</c:v>
                </c:pt>
                <c:pt idx="1177">
                  <c:v>0.99941595845863462</c:v>
                </c:pt>
                <c:pt idx="1178">
                  <c:v>0.99941936933067621</c:v>
                </c:pt>
                <c:pt idx="1179">
                  <c:v>0.99942276492103299</c:v>
                </c:pt>
                <c:pt idx="1180">
                  <c:v>0.99942953470738782</c:v>
                </c:pt>
                <c:pt idx="1181">
                  <c:v>0.99943614250788404</c:v>
                </c:pt>
                <c:pt idx="1182">
                  <c:v>0.99943942501377347</c:v>
                </c:pt>
                <c:pt idx="1183">
                  <c:v>0.99944270140698899</c:v>
                </c:pt>
                <c:pt idx="1184">
                  <c:v>0.9994492083483657</c:v>
                </c:pt>
                <c:pt idx="1185">
                  <c:v>0.99945244806553779</c:v>
                </c:pt>
                <c:pt idx="1186">
                  <c:v>0.99945568472637292</c:v>
                </c:pt>
                <c:pt idx="1187">
                  <c:v>0.99946531524411741</c:v>
                </c:pt>
                <c:pt idx="1188">
                  <c:v>0.99946845410217</c:v>
                </c:pt>
                <c:pt idx="1189">
                  <c:v>0.99947470431124252</c:v>
                </c:pt>
                <c:pt idx="1190">
                  <c:v>0.99948089950624996</c:v>
                </c:pt>
                <c:pt idx="1191">
                  <c:v>0.99948397723756344</c:v>
                </c:pt>
                <c:pt idx="1192">
                  <c:v>0.99948703051818122</c:v>
                </c:pt>
                <c:pt idx="1193">
                  <c:v>0.99949007768612519</c:v>
                </c:pt>
                <c:pt idx="1194">
                  <c:v>0.99949911221816345</c:v>
                </c:pt>
                <c:pt idx="1195">
                  <c:v>0.99950211048471616</c:v>
                </c:pt>
                <c:pt idx="1196">
                  <c:v>0.99950508735691013</c:v>
                </c:pt>
                <c:pt idx="1197">
                  <c:v>0.99951097080554807</c:v>
                </c:pt>
                <c:pt idx="1198">
                  <c:v>0.99951388960733989</c:v>
                </c:pt>
                <c:pt idx="1199">
                  <c:v>0.99952251459022623</c:v>
                </c:pt>
                <c:pt idx="1200">
                  <c:v>0.99952536003993109</c:v>
                </c:pt>
                <c:pt idx="1201">
                  <c:v>0.99953098675626484</c:v>
                </c:pt>
                <c:pt idx="1202">
                  <c:v>0.99953652178248997</c:v>
                </c:pt>
                <c:pt idx="1203">
                  <c:v>0.9995392541477276</c:v>
                </c:pt>
                <c:pt idx="1204">
                  <c:v>0.99954198651296522</c:v>
                </c:pt>
                <c:pt idx="1205">
                  <c:v>0.99954470359651804</c:v>
                </c:pt>
                <c:pt idx="1206">
                  <c:v>0.99955005829886279</c:v>
                </c:pt>
                <c:pt idx="1207">
                  <c:v>0.99955271731201345</c:v>
                </c:pt>
                <c:pt idx="1208">
                  <c:v>0.99955537632516411</c:v>
                </c:pt>
                <c:pt idx="1209">
                  <c:v>0.99955800477494527</c:v>
                </c:pt>
                <c:pt idx="1210">
                  <c:v>0.99956062405571555</c:v>
                </c:pt>
                <c:pt idx="1211">
                  <c:v>0.99956578315249522</c:v>
                </c:pt>
                <c:pt idx="1212">
                  <c:v>0.99956830463048296</c:v>
                </c:pt>
                <c:pt idx="1213">
                  <c:v>0.99957328951605617</c:v>
                </c:pt>
                <c:pt idx="1214">
                  <c:v>0.99957822855657519</c:v>
                </c:pt>
                <c:pt idx="1215">
                  <c:v>0.99958542928644067</c:v>
                </c:pt>
                <c:pt idx="1216">
                  <c:v>0.99958776738421107</c:v>
                </c:pt>
                <c:pt idx="1217">
                  <c:v>0.9995901024256445</c:v>
                </c:pt>
                <c:pt idx="1218">
                  <c:v>0.99959701891617325</c:v>
                </c:pt>
                <c:pt idx="1219">
                  <c:v>0.9995993142252263</c:v>
                </c:pt>
                <c:pt idx="1220">
                  <c:v>0.99960615125099406</c:v>
                </c:pt>
                <c:pt idx="1221">
                  <c:v>0.99960841905301456</c:v>
                </c:pt>
                <c:pt idx="1222">
                  <c:v>0.99961294243170773</c:v>
                </c:pt>
                <c:pt idx="1223">
                  <c:v>0.99961743830336824</c:v>
                </c:pt>
                <c:pt idx="1224">
                  <c:v>0.99962408583624496</c:v>
                </c:pt>
                <c:pt idx="1225">
                  <c:v>0.99962627417350458</c:v>
                </c:pt>
                <c:pt idx="1226">
                  <c:v>0.9996284625107642</c:v>
                </c:pt>
                <c:pt idx="1227">
                  <c:v>0.99963276277685964</c:v>
                </c:pt>
                <c:pt idx="1228">
                  <c:v>0.99963700497255281</c:v>
                </c:pt>
                <c:pt idx="1229">
                  <c:v>0.99964330102667975</c:v>
                </c:pt>
                <c:pt idx="1230">
                  <c:v>0.99964744236325354</c:v>
                </c:pt>
                <c:pt idx="1231">
                  <c:v>0.99965148589704467</c:v>
                </c:pt>
                <c:pt idx="1232">
                  <c:v>0.99965350307943479</c:v>
                </c:pt>
                <c:pt idx="1233">
                  <c:v>0.99965549275479237</c:v>
                </c:pt>
                <c:pt idx="1234">
                  <c:v>0.99965946293649666</c:v>
                </c:pt>
                <c:pt idx="1235">
                  <c:v>0.99966340255483133</c:v>
                </c:pt>
                <c:pt idx="1236">
                  <c:v>0.9996653616668193</c:v>
                </c:pt>
                <c:pt idx="1237">
                  <c:v>0.99966927072178458</c:v>
                </c:pt>
                <c:pt idx="1238">
                  <c:v>0.99967122066476177</c:v>
                </c:pt>
                <c:pt idx="1239">
                  <c:v>0.99967316143872809</c:v>
                </c:pt>
                <c:pt idx="1240">
                  <c:v>0.99968085423884334</c:v>
                </c:pt>
                <c:pt idx="1241">
                  <c:v>0.99968461047696078</c:v>
                </c:pt>
                <c:pt idx="1242">
                  <c:v>0.99968647789884013</c:v>
                </c:pt>
                <c:pt idx="1243">
                  <c:v>0.99968834226438252</c:v>
                </c:pt>
                <c:pt idx="1244">
                  <c:v>0.99969389868496628</c:v>
                </c:pt>
                <c:pt idx="1245">
                  <c:v>0.99969572026179132</c:v>
                </c:pt>
                <c:pt idx="1246">
                  <c:v>0.9996975235005946</c:v>
                </c:pt>
                <c:pt idx="1247">
                  <c:v>0.99970111469651657</c:v>
                </c:pt>
                <c:pt idx="1248">
                  <c:v>0.99970290876630907</c:v>
                </c:pt>
                <c:pt idx="1249">
                  <c:v>0.9997064877368832</c:v>
                </c:pt>
                <c:pt idx="1250">
                  <c:v>0.99971181187585845</c:v>
                </c:pt>
                <c:pt idx="1251">
                  <c:v>0.99971356621327045</c:v>
                </c:pt>
                <c:pt idx="1252">
                  <c:v>0.99971532055068246</c:v>
                </c:pt>
                <c:pt idx="1253">
                  <c:v>0.99971874364807178</c:v>
                </c:pt>
                <c:pt idx="1254">
                  <c:v>0.99972044908409252</c:v>
                </c:pt>
                <c:pt idx="1255">
                  <c:v>0.99972214229476553</c:v>
                </c:pt>
                <c:pt idx="1256">
                  <c:v>0.99972552260343761</c:v>
                </c:pt>
                <c:pt idx="1257">
                  <c:v>0.99972887234874008</c:v>
                </c:pt>
                <c:pt idx="1258">
                  <c:v>0.99973053499604347</c:v>
                </c:pt>
                <c:pt idx="1259">
                  <c:v>0.99973219153067294</c:v>
                </c:pt>
                <c:pt idx="1260">
                  <c:v>0.99973384500896545</c:v>
                </c:pt>
                <c:pt idx="1261">
                  <c:v>0.99973549237458403</c:v>
                </c:pt>
                <c:pt idx="1262">
                  <c:v>0.99974039779539658</c:v>
                </c:pt>
                <c:pt idx="1263">
                  <c:v>0.9997436589069274</c:v>
                </c:pt>
                <c:pt idx="1264">
                  <c:v>0.99974528182185041</c:v>
                </c:pt>
                <c:pt idx="1265">
                  <c:v>0.99974690168043645</c:v>
                </c:pt>
                <c:pt idx="1266">
                  <c:v>0.99974851848268553</c:v>
                </c:pt>
                <c:pt idx="1267">
                  <c:v>0.99975010472156511</c:v>
                </c:pt>
                <c:pt idx="1268">
                  <c:v>0.99975168484777077</c:v>
                </c:pt>
                <c:pt idx="1269">
                  <c:v>0.99975324052328074</c:v>
                </c:pt>
                <c:pt idx="1270">
                  <c:v>0.99975635187430067</c:v>
                </c:pt>
                <c:pt idx="1271">
                  <c:v>0.99975790449347368</c:v>
                </c:pt>
                <c:pt idx="1272">
                  <c:v>0.99975944488729884</c:v>
                </c:pt>
                <c:pt idx="1273">
                  <c:v>0.99976097611211323</c:v>
                </c:pt>
                <c:pt idx="1274">
                  <c:v>0.9997670368282946</c:v>
                </c:pt>
                <c:pt idx="1275">
                  <c:v>0.99977149602391169</c:v>
                </c:pt>
                <c:pt idx="1276">
                  <c:v>0.99977294472762823</c:v>
                </c:pt>
                <c:pt idx="1277">
                  <c:v>0.99977437814966008</c:v>
                </c:pt>
                <c:pt idx="1278">
                  <c:v>0.99977581157169193</c:v>
                </c:pt>
                <c:pt idx="1279">
                  <c:v>0.99977864785238602</c:v>
                </c:pt>
                <c:pt idx="1280">
                  <c:v>0.9997800629363961</c:v>
                </c:pt>
                <c:pt idx="1281">
                  <c:v>0.99978424706168711</c:v>
                </c:pt>
                <c:pt idx="1282">
                  <c:v>0.9997870130466312</c:v>
                </c:pt>
                <c:pt idx="1283">
                  <c:v>0.99978838534192394</c:v>
                </c:pt>
                <c:pt idx="1284">
                  <c:v>0.99979112381983548</c:v>
                </c:pt>
                <c:pt idx="1285">
                  <c:v>0.99979247166443252</c:v>
                </c:pt>
                <c:pt idx="1286">
                  <c:v>0.99979511539589838</c:v>
                </c:pt>
                <c:pt idx="1287">
                  <c:v>0.99979771328230993</c:v>
                </c:pt>
                <c:pt idx="1288">
                  <c:v>0.99980156732320991</c:v>
                </c:pt>
                <c:pt idx="1289">
                  <c:v>0.99980283875938314</c:v>
                </c:pt>
                <c:pt idx="1290">
                  <c:v>0.99980410713921941</c:v>
                </c:pt>
                <c:pt idx="1291">
                  <c:v>0.99980536940638176</c:v>
                </c:pt>
                <c:pt idx="1292">
                  <c:v>0.99980914703885793</c:v>
                </c:pt>
                <c:pt idx="1293">
                  <c:v>0.99981412581175721</c:v>
                </c:pt>
                <c:pt idx="1294">
                  <c:v>0.99981536057188691</c:v>
                </c:pt>
                <c:pt idx="1295">
                  <c:v>0.99981779952877692</c:v>
                </c:pt>
                <c:pt idx="1296">
                  <c:v>0.99981900372553711</c:v>
                </c:pt>
                <c:pt idx="1297">
                  <c:v>0.9998201926406125</c:v>
                </c:pt>
                <c:pt idx="1298">
                  <c:v>0.99982254907640467</c:v>
                </c:pt>
                <c:pt idx="1299">
                  <c:v>0.99982488106150125</c:v>
                </c:pt>
                <c:pt idx="1300">
                  <c:v>0.99982601801884841</c:v>
                </c:pt>
                <c:pt idx="1301">
                  <c:v>0.99983052000318284</c:v>
                </c:pt>
                <c:pt idx="1302">
                  <c:v>0.99983162945349746</c:v>
                </c:pt>
                <c:pt idx="1303">
                  <c:v>0.99983383918511581</c:v>
                </c:pt>
                <c:pt idx="1304">
                  <c:v>0.99983603974772328</c:v>
                </c:pt>
                <c:pt idx="1305">
                  <c:v>0.99983712780367917</c:v>
                </c:pt>
                <c:pt idx="1306">
                  <c:v>0.99983820974696114</c:v>
                </c:pt>
                <c:pt idx="1307">
                  <c:v>0.99984032778847087</c:v>
                </c:pt>
                <c:pt idx="1308">
                  <c:v>0.99984137305570941</c:v>
                </c:pt>
                <c:pt idx="1309">
                  <c:v>0.99984241221027403</c:v>
                </c:pt>
                <c:pt idx="1310">
                  <c:v>0.99984343913949081</c:v>
                </c:pt>
                <c:pt idx="1311">
                  <c:v>0.99984445995603366</c:v>
                </c:pt>
                <c:pt idx="1312">
                  <c:v>0.99984647408208693</c:v>
                </c:pt>
                <c:pt idx="1313">
                  <c:v>0.99984747961694509</c:v>
                </c:pt>
                <c:pt idx="1314">
                  <c:v>0.99984848209546628</c:v>
                </c:pt>
                <c:pt idx="1315">
                  <c:v>0.99984948151765052</c:v>
                </c:pt>
                <c:pt idx="1316">
                  <c:v>0.99985047788349779</c:v>
                </c:pt>
                <c:pt idx="1317">
                  <c:v>0.99985146508033418</c:v>
                </c:pt>
                <c:pt idx="1318">
                  <c:v>0.99985244005182272</c:v>
                </c:pt>
                <c:pt idx="1319">
                  <c:v>0.99985625741667938</c:v>
                </c:pt>
                <c:pt idx="1320">
                  <c:v>0.99985811261321089</c:v>
                </c:pt>
                <c:pt idx="1321">
                  <c:v>0.99985902951429728</c:v>
                </c:pt>
                <c:pt idx="1322">
                  <c:v>0.99986085414745929</c:v>
                </c:pt>
                <c:pt idx="1323">
                  <c:v>0.99986356206200133</c:v>
                </c:pt>
                <c:pt idx="1324">
                  <c:v>0.99986623941317376</c:v>
                </c:pt>
                <c:pt idx="1325">
                  <c:v>0.99986712575089065</c:v>
                </c:pt>
                <c:pt idx="1326">
                  <c:v>0.9998688770319657</c:v>
                </c:pt>
                <c:pt idx="1327">
                  <c:v>0.99987060386234505</c:v>
                </c:pt>
                <c:pt idx="1328">
                  <c:v>0.99987145658035548</c:v>
                </c:pt>
                <c:pt idx="1329">
                  <c:v>0.99987397805834322</c:v>
                </c:pt>
                <c:pt idx="1330">
                  <c:v>0.99987480938199491</c:v>
                </c:pt>
                <c:pt idx="1331">
                  <c:v>0.99987645980395046</c:v>
                </c:pt>
                <c:pt idx="1332">
                  <c:v>0.99987728195859127</c:v>
                </c:pt>
                <c:pt idx="1333">
                  <c:v>0.99987972091548105</c:v>
                </c:pt>
                <c:pt idx="1334">
                  <c:v>0.99988052473210021</c:v>
                </c:pt>
                <c:pt idx="1335">
                  <c:v>0.99988212930900155</c:v>
                </c:pt>
                <c:pt idx="1336">
                  <c:v>0.99988292395660983</c:v>
                </c:pt>
                <c:pt idx="1337">
                  <c:v>0.99988371554788114</c:v>
                </c:pt>
                <c:pt idx="1338">
                  <c:v>0.99988450408281548</c:v>
                </c:pt>
                <c:pt idx="1339">
                  <c:v>0.99988607504001026</c:v>
                </c:pt>
                <c:pt idx="1340">
                  <c:v>0.9998868482932598</c:v>
                </c:pt>
                <c:pt idx="1341">
                  <c:v>0.99988762154650934</c:v>
                </c:pt>
                <c:pt idx="1342">
                  <c:v>0.99988915582766058</c:v>
                </c:pt>
                <c:pt idx="1343">
                  <c:v>0.99988991991189924</c:v>
                </c:pt>
                <c:pt idx="1344">
                  <c:v>0.99989066565811624</c:v>
                </c:pt>
                <c:pt idx="1345">
                  <c:v>0.99989576974083072</c:v>
                </c:pt>
                <c:pt idx="1346">
                  <c:v>0.99989648492367811</c:v>
                </c:pt>
                <c:pt idx="1347">
                  <c:v>0.99989861213419862</c:v>
                </c:pt>
                <c:pt idx="1348">
                  <c:v>0.99989931509169827</c:v>
                </c:pt>
                <c:pt idx="1349">
                  <c:v>0.99990001804919793</c:v>
                </c:pt>
                <c:pt idx="1350">
                  <c:v>0.99990071795036062</c:v>
                </c:pt>
                <c:pt idx="1351">
                  <c:v>0.99990280237216389</c:v>
                </c:pt>
                <c:pt idx="1352">
                  <c:v>0.99990349004797874</c:v>
                </c:pt>
                <c:pt idx="1353">
                  <c:v>0.99990551334304278</c:v>
                </c:pt>
                <c:pt idx="1354">
                  <c:v>0.9999061796244989</c:v>
                </c:pt>
                <c:pt idx="1355">
                  <c:v>0.99990684284961806</c:v>
                </c:pt>
                <c:pt idx="1356">
                  <c:v>0.99990816013084549</c:v>
                </c:pt>
                <c:pt idx="1357">
                  <c:v>0.99990946213038823</c:v>
                </c:pt>
                <c:pt idx="1358">
                  <c:v>0.99991010396114877</c:v>
                </c:pt>
                <c:pt idx="1359">
                  <c:v>0.99991074579190931</c:v>
                </c:pt>
                <c:pt idx="1360">
                  <c:v>0.99991518053683082</c:v>
                </c:pt>
                <c:pt idx="1361">
                  <c:v>0.99991580402956959</c:v>
                </c:pt>
                <c:pt idx="1362">
                  <c:v>0.99991642752230836</c:v>
                </c:pt>
                <c:pt idx="1363">
                  <c:v>0.99991828271883987</c:v>
                </c:pt>
                <c:pt idx="1364">
                  <c:v>0.99991890009890472</c:v>
                </c:pt>
                <c:pt idx="1365">
                  <c:v>0.9999195144226326</c:v>
                </c:pt>
                <c:pt idx="1366">
                  <c:v>0.99992073695741446</c:v>
                </c:pt>
                <c:pt idx="1367">
                  <c:v>0.99992193504150084</c:v>
                </c:pt>
                <c:pt idx="1368">
                  <c:v>0.99992428842095615</c:v>
                </c:pt>
                <c:pt idx="1369">
                  <c:v>0.99992544677266204</c:v>
                </c:pt>
                <c:pt idx="1370">
                  <c:v>0.99992602136400954</c:v>
                </c:pt>
                <c:pt idx="1371">
                  <c:v>0.99992716443403062</c:v>
                </c:pt>
                <c:pt idx="1372">
                  <c:v>0.99992772985636724</c:v>
                </c:pt>
                <c:pt idx="1373">
                  <c:v>0.9999282922223669</c:v>
                </c:pt>
                <c:pt idx="1374">
                  <c:v>0.9999310490383001</c:v>
                </c:pt>
                <c:pt idx="1375">
                  <c:v>0.9999315930662781</c:v>
                </c:pt>
                <c:pt idx="1376">
                  <c:v>0.99993267500956018</c:v>
                </c:pt>
                <c:pt idx="1377">
                  <c:v>0.99993585971266719</c:v>
                </c:pt>
                <c:pt idx="1378">
                  <c:v>0.99993995214784948</c:v>
                </c:pt>
                <c:pt idx="1379">
                  <c:v>0.99994142530226182</c:v>
                </c:pt>
                <c:pt idx="1380">
                  <c:v>0.99994240027375048</c:v>
                </c:pt>
                <c:pt idx="1381">
                  <c:v>0.99994335996355432</c:v>
                </c:pt>
                <c:pt idx="1382">
                  <c:v>0.99994383369578232</c:v>
                </c:pt>
                <c:pt idx="1383">
                  <c:v>0.9999447597658796</c:v>
                </c:pt>
                <c:pt idx="1384">
                  <c:v>0.99994521821642279</c:v>
                </c:pt>
                <c:pt idx="1385">
                  <c:v>0.99994567666696599</c:v>
                </c:pt>
                <c:pt idx="1386">
                  <c:v>0.99994658439904149</c:v>
                </c:pt>
                <c:pt idx="1387">
                  <c:v>0.99994748601844308</c:v>
                </c:pt>
                <c:pt idx="1388">
                  <c:v>0.9999483845815077</c:v>
                </c:pt>
                <c:pt idx="1389">
                  <c:v>0.99995014808793081</c:v>
                </c:pt>
                <c:pt idx="1390">
                  <c:v>0.99995186880563647</c:v>
                </c:pt>
                <c:pt idx="1391">
                  <c:v>0.99995477538208044</c:v>
                </c:pt>
                <c:pt idx="1392">
                  <c:v>0.99995678033912261</c:v>
                </c:pt>
                <c:pt idx="1393">
                  <c:v>0.99995831767661103</c:v>
                </c:pt>
                <c:pt idx="1394">
                  <c:v>0.99995906953550195</c:v>
                </c:pt>
                <c:pt idx="1395">
                  <c:v>0.99995943629593653</c:v>
                </c:pt>
                <c:pt idx="1396">
                  <c:v>0.99995980000003415</c:v>
                </c:pt>
                <c:pt idx="1397">
                  <c:v>0.99996158795715262</c:v>
                </c:pt>
                <c:pt idx="1398">
                  <c:v>0.99996298775947778</c:v>
                </c:pt>
                <c:pt idx="1399">
                  <c:v>0.99996401163235749</c:v>
                </c:pt>
                <c:pt idx="1400">
                  <c:v>0.99996602575841076</c:v>
                </c:pt>
                <c:pt idx="1401">
                  <c:v>0.99996668592719307</c:v>
                </c:pt>
                <c:pt idx="1402">
                  <c:v>0.99996700684257334</c:v>
                </c:pt>
                <c:pt idx="1403">
                  <c:v>0.99996764561699691</c:v>
                </c:pt>
                <c:pt idx="1404">
                  <c:v>0.99996796347604022</c:v>
                </c:pt>
                <c:pt idx="1405">
                  <c:v>0.99996859002511596</c:v>
                </c:pt>
                <c:pt idx="1406">
                  <c:v>0.99996889871514838</c:v>
                </c:pt>
                <c:pt idx="1407">
                  <c:v>0.99996920434884384</c:v>
                </c:pt>
                <c:pt idx="1408">
                  <c:v>0.99997011819359327</c:v>
                </c:pt>
                <c:pt idx="1409">
                  <c:v>0.99997305227706945</c:v>
                </c:pt>
                <c:pt idx="1410">
                  <c:v>0.99997583048736172</c:v>
                </c:pt>
                <c:pt idx="1411">
                  <c:v>0.99997609944501376</c:v>
                </c:pt>
                <c:pt idx="1412">
                  <c:v>0.99997663736031783</c:v>
                </c:pt>
                <c:pt idx="1413">
                  <c:v>0.99997716916294799</c:v>
                </c:pt>
                <c:pt idx="1414">
                  <c:v>0.99997820526117565</c:v>
                </c:pt>
                <c:pt idx="1415">
                  <c:v>0.99997894795105557</c:v>
                </c:pt>
                <c:pt idx="1416">
                  <c:v>0.99997919245801192</c:v>
                </c:pt>
                <c:pt idx="1417">
                  <c:v>0.99998063504905443</c:v>
                </c:pt>
                <c:pt idx="1418">
                  <c:v>0.99998155500647801</c:v>
                </c:pt>
                <c:pt idx="1419">
                  <c:v>0.99998177811907574</c:v>
                </c:pt>
                <c:pt idx="1420">
                  <c:v>0.99998222128793424</c:v>
                </c:pt>
                <c:pt idx="1421">
                  <c:v>0.99998309234396643</c:v>
                </c:pt>
                <c:pt idx="1422">
                  <c:v>0.99998352023114012</c:v>
                </c:pt>
                <c:pt idx="1423">
                  <c:v>0.99998393589296597</c:v>
                </c:pt>
                <c:pt idx="1424">
                  <c:v>0.99998414066754193</c:v>
                </c:pt>
                <c:pt idx="1425">
                  <c:v>0.99998514620239998</c:v>
                </c:pt>
                <c:pt idx="1426">
                  <c:v>0.99998534486430202</c:v>
                </c:pt>
                <c:pt idx="1427">
                  <c:v>0.99998592556832333</c:v>
                </c:pt>
                <c:pt idx="1428">
                  <c:v>0.99998629844143172</c:v>
                </c:pt>
                <c:pt idx="1429">
                  <c:v>0.99998702584962695</c:v>
                </c:pt>
                <c:pt idx="1430">
                  <c:v>0.99998720617350734</c:v>
                </c:pt>
                <c:pt idx="1431">
                  <c:v>0.99998738649738772</c:v>
                </c:pt>
                <c:pt idx="1432">
                  <c:v>0.99998809862389837</c:v>
                </c:pt>
                <c:pt idx="1433">
                  <c:v>0.99998827283510483</c:v>
                </c:pt>
                <c:pt idx="1434">
                  <c:v>0.99998844704631129</c:v>
                </c:pt>
                <c:pt idx="1435">
                  <c:v>0.99998913472212625</c:v>
                </c:pt>
                <c:pt idx="1436">
                  <c:v>0.99998947091919133</c:v>
                </c:pt>
                <c:pt idx="1437">
                  <c:v>0.99999071179199495</c:v>
                </c:pt>
                <c:pt idx="1438">
                  <c:v>0.99999130777770107</c:v>
                </c:pt>
                <c:pt idx="1439">
                  <c:v>0.99999145142553791</c:v>
                </c:pt>
                <c:pt idx="1440">
                  <c:v>0.99999201379153746</c:v>
                </c:pt>
                <c:pt idx="1441">
                  <c:v>0.99999215438303735</c:v>
                </c:pt>
                <c:pt idx="1442">
                  <c:v>0.99999243556603712</c:v>
                </c:pt>
                <c:pt idx="1443">
                  <c:v>0.99999257310120004</c:v>
                </c:pt>
                <c:pt idx="1444">
                  <c:v>0.99999391177678587</c:v>
                </c:pt>
                <c:pt idx="1445">
                  <c:v>0.99999452610051398</c:v>
                </c:pt>
                <c:pt idx="1446">
                  <c:v>0.9999948745229269</c:v>
                </c:pt>
                <c:pt idx="1447">
                  <c:v>0.99999510680453552</c:v>
                </c:pt>
                <c:pt idx="1448">
                  <c:v>0.99999521988900286</c:v>
                </c:pt>
                <c:pt idx="1449">
                  <c:v>0.99999656162092598</c:v>
                </c:pt>
                <c:pt idx="1450">
                  <c:v>0.99999665942370852</c:v>
                </c:pt>
                <c:pt idx="1451">
                  <c:v>0.99999675722649106</c:v>
                </c:pt>
                <c:pt idx="1452">
                  <c:v>0.9999970414658278</c:v>
                </c:pt>
                <c:pt idx="1453">
                  <c:v>0.99999731042347972</c:v>
                </c:pt>
                <c:pt idx="1454">
                  <c:v>0.99999739905725138</c:v>
                </c:pt>
                <c:pt idx="1455">
                  <c:v>0.99999748463468607</c:v>
                </c:pt>
                <c:pt idx="1456">
                  <c:v>0.99999757021212077</c:v>
                </c:pt>
                <c:pt idx="1457">
                  <c:v>0.99999774136699016</c:v>
                </c:pt>
                <c:pt idx="1458">
                  <c:v>0.99999782388808789</c:v>
                </c:pt>
                <c:pt idx="1459">
                  <c:v>0.99999790640918562</c:v>
                </c:pt>
                <c:pt idx="1460">
                  <c:v>0.99999822121189197</c:v>
                </c:pt>
                <c:pt idx="1461">
                  <c:v>0.99999829762031589</c:v>
                </c:pt>
                <c:pt idx="1462">
                  <c:v>0.99999851767657677</c:v>
                </c:pt>
                <c:pt idx="1463">
                  <c:v>0.99999859102866373</c:v>
                </c:pt>
                <c:pt idx="1464">
                  <c:v>0.99999866132441373</c:v>
                </c:pt>
                <c:pt idx="1465">
                  <c:v>0.99999886304265284</c:v>
                </c:pt>
                <c:pt idx="1466">
                  <c:v>0.99999899140880499</c:v>
                </c:pt>
                <c:pt idx="1467">
                  <c:v>0.99999905559188107</c:v>
                </c:pt>
                <c:pt idx="1468">
                  <c:v>0.99999911977495715</c:v>
                </c:pt>
                <c:pt idx="1469">
                  <c:v>0.99999935511290272</c:v>
                </c:pt>
                <c:pt idx="1470">
                  <c:v>0.99999941318330487</c:v>
                </c:pt>
                <c:pt idx="1471">
                  <c:v>0.99999962712689172</c:v>
                </c:pt>
                <c:pt idx="1472">
                  <c:v>0.99999984718315238</c:v>
                </c:pt>
                <c:pt idx="1473">
                  <c:v>0.9999999877746521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46</c:f>
              <c:strCache>
                <c:ptCount val="945"/>
                <c:pt idx="0">
                  <c:v>Caprice Des</c:v>
                </c:pt>
                <c:pt idx="1">
                  <c:v>Private Lab</c:v>
                </c:pt>
                <c:pt idx="2">
                  <c:v>Coeur De Li</c:v>
                </c:pt>
                <c:pt idx="3">
                  <c:v>President</c:v>
                </c:pt>
                <c:pt idx="4">
                  <c:v>La Vache Qu</c:v>
                </c:pt>
                <c:pt idx="5">
                  <c:v>Mini Babybe</c:v>
                </c:pt>
                <c:pt idx="6">
                  <c:v>Caprice Des</c:v>
                </c:pt>
                <c:pt idx="7">
                  <c:v>Soignon</c:v>
                </c:pt>
                <c:pt idx="8">
                  <c:v>Private Lab</c:v>
                </c:pt>
                <c:pt idx="9">
                  <c:v>Coeur De Li</c:v>
                </c:pt>
                <c:pt idx="10">
                  <c:v>Galbani</c:v>
                </c:pt>
                <c:pt idx="11">
                  <c:v>Soignon</c:v>
                </c:pt>
                <c:pt idx="12">
                  <c:v>Le Rustique</c:v>
                </c:pt>
                <c:pt idx="13">
                  <c:v>St Moret</c:v>
                </c:pt>
                <c:pt idx="14">
                  <c:v>Private Lab</c:v>
                </c:pt>
                <c:pt idx="15">
                  <c:v>La Vache Qu</c:v>
                </c:pt>
                <c:pt idx="16">
                  <c:v>Soignon</c:v>
                </c:pt>
                <c:pt idx="17">
                  <c:v>President</c:v>
                </c:pt>
                <c:pt idx="18">
                  <c:v>Tartare</c:v>
                </c:pt>
                <c:pt idx="19">
                  <c:v>All Others</c:v>
                </c:pt>
                <c:pt idx="20">
                  <c:v>Salakis</c:v>
                </c:pt>
                <c:pt idx="21">
                  <c:v>President</c:v>
                </c:pt>
                <c:pt idx="22">
                  <c:v>Ficello</c:v>
                </c:pt>
                <c:pt idx="23">
                  <c:v>Private Lab</c:v>
                </c:pt>
                <c:pt idx="24">
                  <c:v>La Vache Qu</c:v>
                </c:pt>
                <c:pt idx="25">
                  <c:v>Mini Babybe</c:v>
                </c:pt>
                <c:pt idx="26">
                  <c:v>St Moret</c:v>
                </c:pt>
                <c:pt idx="27">
                  <c:v>All Others</c:v>
                </c:pt>
                <c:pt idx="28">
                  <c:v>Kiri</c:v>
                </c:pt>
                <c:pt idx="29">
                  <c:v>Paysan Bret</c:v>
                </c:pt>
                <c:pt idx="30">
                  <c:v>St Moret</c:v>
                </c:pt>
                <c:pt idx="31">
                  <c:v>Islos</c:v>
                </c:pt>
                <c:pt idx="32">
                  <c:v>Carre Frais</c:v>
                </c:pt>
                <c:pt idx="33">
                  <c:v>Kiri</c:v>
                </c:pt>
                <c:pt idx="34">
                  <c:v>Private Lab</c:v>
                </c:pt>
                <c:pt idx="35">
                  <c:v>Philadelphi</c:v>
                </c:pt>
                <c:pt idx="36">
                  <c:v>Paysan Bret</c:v>
                </c:pt>
                <c:pt idx="37">
                  <c:v>Private Lab</c:v>
                </c:pt>
                <c:pt idx="38">
                  <c:v>Lepetit</c:v>
                </c:pt>
                <c:pt idx="39">
                  <c:v>St Moret</c:v>
                </c:pt>
                <c:pt idx="40">
                  <c:v>Coeur De Li</c:v>
                </c:pt>
                <c:pt idx="41">
                  <c:v>Carre Frais</c:v>
                </c:pt>
                <c:pt idx="42">
                  <c:v>Caprice Des</c:v>
                </c:pt>
                <c:pt idx="43">
                  <c:v>Tartare</c:v>
                </c:pt>
                <c:pt idx="44">
                  <c:v>Private Lab</c:v>
                </c:pt>
                <c:pt idx="45">
                  <c:v>Boursin</c:v>
                </c:pt>
                <c:pt idx="46">
                  <c:v>Kiri</c:v>
                </c:pt>
                <c:pt idx="47">
                  <c:v>Casa Azzurr</c:v>
                </c:pt>
                <c:pt idx="48">
                  <c:v>Istara</c:v>
                </c:pt>
                <c:pt idx="49">
                  <c:v>Casa Azzurr</c:v>
                </c:pt>
                <c:pt idx="50">
                  <c:v>Private Lab</c:v>
                </c:pt>
                <c:pt idx="51">
                  <c:v>St Moret</c:v>
                </c:pt>
                <c:pt idx="52">
                  <c:v>Galbani</c:v>
                </c:pt>
                <c:pt idx="53">
                  <c:v>Private Lab</c:v>
                </c:pt>
                <c:pt idx="54">
                  <c:v>Boursin</c:v>
                </c:pt>
                <c:pt idx="55">
                  <c:v>Private Lab</c:v>
                </c:pt>
                <c:pt idx="56">
                  <c:v>All Others</c:v>
                </c:pt>
                <c:pt idx="57">
                  <c:v>President</c:v>
                </c:pt>
                <c:pt idx="58">
                  <c:v>President</c:v>
                </c:pt>
                <c:pt idx="59">
                  <c:v>Petit Billy</c:v>
                </c:pt>
                <c:pt idx="60">
                  <c:v>Lou Perac</c:v>
                </c:pt>
                <c:pt idx="61">
                  <c:v>Private Lab</c:v>
                </c:pt>
                <c:pt idx="62">
                  <c:v>Private Lab</c:v>
                </c:pt>
                <c:pt idx="63">
                  <c:v>Philadelphi</c:v>
                </c:pt>
                <c:pt idx="64">
                  <c:v>Private Lab</c:v>
                </c:pt>
                <c:pt idx="65">
                  <c:v>Private Lab</c:v>
                </c:pt>
                <c:pt idx="66">
                  <c:v>Boursin</c:v>
                </c:pt>
                <c:pt idx="67">
                  <c:v>President</c:v>
                </c:pt>
                <c:pt idx="68">
                  <c:v>St Moret</c:v>
                </c:pt>
                <c:pt idx="69">
                  <c:v>President</c:v>
                </c:pt>
                <c:pt idx="70">
                  <c:v>Private Lab</c:v>
                </c:pt>
                <c:pt idx="71">
                  <c:v>Kiri</c:v>
                </c:pt>
                <c:pt idx="72">
                  <c:v>St Moret</c:v>
                </c:pt>
                <c:pt idx="73">
                  <c:v>Coeur De Li</c:v>
                </c:pt>
                <c:pt idx="74">
                  <c:v>Salakis</c:v>
                </c:pt>
                <c:pt idx="75">
                  <c:v>Private Lab</c:v>
                </c:pt>
                <c:pt idx="76">
                  <c:v>Galbani</c:v>
                </c:pt>
                <c:pt idx="77">
                  <c:v>Private Lab</c:v>
                </c:pt>
                <c:pt idx="78">
                  <c:v>Casa Azzurr</c:v>
                </c:pt>
                <c:pt idx="79">
                  <c:v>Galbani</c:v>
                </c:pt>
                <c:pt idx="80">
                  <c:v>Le Rustique</c:v>
                </c:pt>
                <c:pt idx="81">
                  <c:v>All Others</c:v>
                </c:pt>
                <c:pt idx="82">
                  <c:v>President</c:v>
                </c:pt>
                <c:pt idx="83">
                  <c:v>Casa Azzurr</c:v>
                </c:pt>
                <c:pt idx="84">
                  <c:v>Private Lab</c:v>
                </c:pt>
                <c:pt idx="85">
                  <c:v>All Others</c:v>
                </c:pt>
                <c:pt idx="86">
                  <c:v>Mini Babybe</c:v>
                </c:pt>
                <c:pt idx="87">
                  <c:v>Ficello</c:v>
                </c:pt>
                <c:pt idx="88">
                  <c:v>Boursin</c:v>
                </c:pt>
                <c:pt idx="89">
                  <c:v>Mini Babybe</c:v>
                </c:pt>
                <c:pt idx="90">
                  <c:v>Le Brebiou</c:v>
                </c:pt>
                <c:pt idx="91">
                  <c:v>St Moret</c:v>
                </c:pt>
                <c:pt idx="92">
                  <c:v>Soignon</c:v>
                </c:pt>
                <c:pt idx="93">
                  <c:v>Salakis</c:v>
                </c:pt>
                <c:pt idx="94">
                  <c:v>Paysan Bret</c:v>
                </c:pt>
                <c:pt idx="95">
                  <c:v>Le Rustique</c:v>
                </c:pt>
                <c:pt idx="96">
                  <c:v>Coeur De Li</c:v>
                </c:pt>
                <c:pt idx="97">
                  <c:v>Kiri</c:v>
                </c:pt>
                <c:pt idx="98">
                  <c:v>President</c:v>
                </c:pt>
                <c:pt idx="99">
                  <c:v>Lactalis: A</c:v>
                </c:pt>
                <c:pt idx="100">
                  <c:v>Private Lab</c:v>
                </c:pt>
                <c:pt idx="101">
                  <c:v>Private Lab</c:v>
                </c:pt>
                <c:pt idx="102">
                  <c:v>Private Lab</c:v>
                </c:pt>
                <c:pt idx="103">
                  <c:v>Private Lab</c:v>
                </c:pt>
                <c:pt idx="104">
                  <c:v>Soignon</c:v>
                </c:pt>
                <c:pt idx="105">
                  <c:v>Casa Azzurr</c:v>
                </c:pt>
                <c:pt idx="106">
                  <c:v>Etorki</c:v>
                </c:pt>
                <c:pt idx="107">
                  <c:v>All Others</c:v>
                </c:pt>
                <c:pt idx="108">
                  <c:v>Lou Perac</c:v>
                </c:pt>
                <c:pt idx="109">
                  <c:v>Casa Azzurr</c:v>
                </c:pt>
                <c:pt idx="110">
                  <c:v>La Vache Qu</c:v>
                </c:pt>
                <c:pt idx="111">
                  <c:v>Chavroux</c:v>
                </c:pt>
                <c:pt idx="112">
                  <c:v>Soignon</c:v>
                </c:pt>
                <c:pt idx="113">
                  <c:v>Caprice Des</c:v>
                </c:pt>
                <c:pt idx="114">
                  <c:v>La Vache Qu</c:v>
                </c:pt>
                <c:pt idx="115">
                  <c:v>Private Lab</c:v>
                </c:pt>
                <c:pt idx="116">
                  <c:v>Galbani</c:v>
                </c:pt>
                <c:pt idx="117">
                  <c:v>Rondele</c:v>
                </c:pt>
                <c:pt idx="118">
                  <c:v>Private Lab</c:v>
                </c:pt>
                <c:pt idx="119">
                  <c:v>All Others</c:v>
                </c:pt>
                <c:pt idx="120">
                  <c:v>Private Lab</c:v>
                </c:pt>
                <c:pt idx="121">
                  <c:v>Private Lab</c:v>
                </c:pt>
                <c:pt idx="122">
                  <c:v>Lactalis: A</c:v>
                </c:pt>
                <c:pt idx="123">
                  <c:v>All Others</c:v>
                </c:pt>
                <c:pt idx="124">
                  <c:v>Paysan Bret</c:v>
                </c:pt>
                <c:pt idx="125">
                  <c:v>President</c:v>
                </c:pt>
                <c:pt idx="126">
                  <c:v>Private Lab</c:v>
                </c:pt>
                <c:pt idx="127">
                  <c:v>Private Lab</c:v>
                </c:pt>
                <c:pt idx="128">
                  <c:v>Tartare</c:v>
                </c:pt>
                <c:pt idx="129">
                  <c:v>Istara</c:v>
                </c:pt>
                <c:pt idx="130">
                  <c:v>Private Lab</c:v>
                </c:pt>
                <c:pt idx="131">
                  <c:v>Casa Azzurr</c:v>
                </c:pt>
                <c:pt idx="132">
                  <c:v>Boursin</c:v>
                </c:pt>
                <c:pt idx="133">
                  <c:v>All Others</c:v>
                </c:pt>
                <c:pt idx="134">
                  <c:v>Lactalis: A</c:v>
                </c:pt>
                <c:pt idx="135">
                  <c:v>P'Tit Louis</c:v>
                </c:pt>
                <c:pt idx="136">
                  <c:v>Private Lab</c:v>
                </c:pt>
                <c:pt idx="137">
                  <c:v>Soignon</c:v>
                </c:pt>
                <c:pt idx="138">
                  <c:v>La Vache Qu</c:v>
                </c:pt>
                <c:pt idx="139">
                  <c:v>All Others</c:v>
                </c:pt>
                <c:pt idx="140">
                  <c:v>Soignon</c:v>
                </c:pt>
                <c:pt idx="141">
                  <c:v>Private Lab</c:v>
                </c:pt>
                <c:pt idx="142">
                  <c:v>Soignon</c:v>
                </c:pt>
                <c:pt idx="143">
                  <c:v>Chavroux</c:v>
                </c:pt>
                <c:pt idx="144">
                  <c:v>Private Lab</c:v>
                </c:pt>
                <c:pt idx="145">
                  <c:v>Paysan Bret</c:v>
                </c:pt>
                <c:pt idx="146">
                  <c:v>Private Lab</c:v>
                </c:pt>
                <c:pt idx="147">
                  <c:v>Galbani</c:v>
                </c:pt>
                <c:pt idx="148">
                  <c:v>President</c:v>
                </c:pt>
                <c:pt idx="149">
                  <c:v>President</c:v>
                </c:pt>
                <c:pt idx="150">
                  <c:v>All Others</c:v>
                </c:pt>
                <c:pt idx="151">
                  <c:v>Caprice Des</c:v>
                </c:pt>
                <c:pt idx="152">
                  <c:v>All Others</c:v>
                </c:pt>
                <c:pt idx="153">
                  <c:v>All Others</c:v>
                </c:pt>
                <c:pt idx="154">
                  <c:v>Paysan Bret</c:v>
                </c:pt>
                <c:pt idx="155">
                  <c:v>All Others</c:v>
                </c:pt>
                <c:pt idx="156">
                  <c:v>Le Rustique</c:v>
                </c:pt>
                <c:pt idx="157">
                  <c:v>All Others</c:v>
                </c:pt>
                <c:pt idx="158">
                  <c:v>All Others</c:v>
                </c:pt>
                <c:pt idx="159">
                  <c:v>Lactalis: A</c:v>
                </c:pt>
                <c:pt idx="160">
                  <c:v>Private Lab</c:v>
                </c:pt>
                <c:pt idx="161">
                  <c:v>All Others</c:v>
                </c:pt>
                <c:pt idx="162">
                  <c:v>All Others</c:v>
                </c:pt>
                <c:pt idx="163">
                  <c:v>Casa Azzurr</c:v>
                </c:pt>
                <c:pt idx="164">
                  <c:v>Kiri</c:v>
                </c:pt>
                <c:pt idx="165">
                  <c:v>Soignon</c:v>
                </c:pt>
                <c:pt idx="166">
                  <c:v>Soignon</c:v>
                </c:pt>
                <c:pt idx="167">
                  <c:v>Salakis</c:v>
                </c:pt>
                <c:pt idx="168">
                  <c:v>All Others</c:v>
                </c:pt>
                <c:pt idx="169">
                  <c:v>Casa Azzurr</c:v>
                </c:pt>
                <c:pt idx="170">
                  <c:v>Private Lab</c:v>
                </c:pt>
                <c:pt idx="171">
                  <c:v>Private Lab</c:v>
                </c:pt>
                <c:pt idx="172">
                  <c:v>All Others</c:v>
                </c:pt>
                <c:pt idx="173">
                  <c:v>Salakis</c:v>
                </c:pt>
                <c:pt idx="174">
                  <c:v>Tartare</c:v>
                </c:pt>
                <c:pt idx="175">
                  <c:v>Paysan Bret</c:v>
                </c:pt>
                <c:pt idx="176">
                  <c:v>Boursin</c:v>
                </c:pt>
                <c:pt idx="177">
                  <c:v>All Others</c:v>
                </c:pt>
                <c:pt idx="178">
                  <c:v>Salakis</c:v>
                </c:pt>
                <c:pt idx="179">
                  <c:v>All Others</c:v>
                </c:pt>
                <c:pt idx="180">
                  <c:v>Private Lab</c:v>
                </c:pt>
                <c:pt idx="181">
                  <c:v>Galbani</c:v>
                </c:pt>
                <c:pt idx="182">
                  <c:v>All Others</c:v>
                </c:pt>
                <c:pt idx="183">
                  <c:v>Boursin</c:v>
                </c:pt>
                <c:pt idx="184">
                  <c:v>Private Lab</c:v>
                </c:pt>
                <c:pt idx="185">
                  <c:v>Private Lab</c:v>
                </c:pt>
                <c:pt idx="186">
                  <c:v>Private Lab</c:v>
                </c:pt>
                <c:pt idx="187">
                  <c:v>Savencia: A</c:v>
                </c:pt>
                <c:pt idx="188">
                  <c:v>All Others</c:v>
                </c:pt>
                <c:pt idx="189">
                  <c:v>Private Lab</c:v>
                </c:pt>
                <c:pt idx="190">
                  <c:v>Private Lab</c:v>
                </c:pt>
                <c:pt idx="191">
                  <c:v>Lou Perac</c:v>
                </c:pt>
                <c:pt idx="192">
                  <c:v>Chavroux</c:v>
                </c:pt>
                <c:pt idx="193">
                  <c:v>Etoile Du Q</c:v>
                </c:pt>
                <c:pt idx="194">
                  <c:v>All Others</c:v>
                </c:pt>
                <c:pt idx="195">
                  <c:v>All Others</c:v>
                </c:pt>
                <c:pt idx="196">
                  <c:v>Galbani</c:v>
                </c:pt>
                <c:pt idx="197">
                  <c:v>Casa Azzurr</c:v>
                </c:pt>
                <c:pt idx="198">
                  <c:v>All Others</c:v>
                </c:pt>
                <c:pt idx="199">
                  <c:v>Private Lab</c:v>
                </c:pt>
                <c:pt idx="200">
                  <c:v>All Others</c:v>
                </c:pt>
                <c:pt idx="201">
                  <c:v>President</c:v>
                </c:pt>
                <c:pt idx="202">
                  <c:v>Mini Babybe</c:v>
                </c:pt>
                <c:pt idx="203">
                  <c:v>Mini Babybe</c:v>
                </c:pt>
                <c:pt idx="204">
                  <c:v>Soignon</c:v>
                </c:pt>
                <c:pt idx="205">
                  <c:v>All Others</c:v>
                </c:pt>
                <c:pt idx="206">
                  <c:v>Triballat N</c:v>
                </c:pt>
                <c:pt idx="207">
                  <c:v>All Others</c:v>
                </c:pt>
                <c:pt idx="208">
                  <c:v>Private Lab</c:v>
                </c:pt>
                <c:pt idx="209">
                  <c:v>All Others</c:v>
                </c:pt>
                <c:pt idx="210">
                  <c:v>Private Lab</c:v>
                </c:pt>
                <c:pt idx="211">
                  <c:v>All Others</c:v>
                </c:pt>
                <c:pt idx="212">
                  <c:v>All Others</c:v>
                </c:pt>
                <c:pt idx="213">
                  <c:v>Pave D'Affi</c:v>
                </c:pt>
                <c:pt idx="214">
                  <c:v>All Others</c:v>
                </c:pt>
                <c:pt idx="215">
                  <c:v>Private Lab</c:v>
                </c:pt>
                <c:pt idx="216">
                  <c:v>Casa Azzurr</c:v>
                </c:pt>
                <c:pt idx="217">
                  <c:v>Private Lab</c:v>
                </c:pt>
                <c:pt idx="218">
                  <c:v>All Others</c:v>
                </c:pt>
                <c:pt idx="219">
                  <c:v>All Others</c:v>
                </c:pt>
                <c:pt idx="220">
                  <c:v>Savencia: A</c:v>
                </c:pt>
                <c:pt idx="221">
                  <c:v>All Others</c:v>
                </c:pt>
                <c:pt idx="222">
                  <c:v>Private Lab</c:v>
                </c:pt>
                <c:pt idx="223">
                  <c:v>Ficello</c:v>
                </c:pt>
                <c:pt idx="224">
                  <c:v>Savencia: A</c:v>
                </c:pt>
                <c:pt idx="225">
                  <c:v>All Others</c:v>
                </c:pt>
                <c:pt idx="226">
                  <c:v>St Moret</c:v>
                </c:pt>
                <c:pt idx="227">
                  <c:v>Galbani</c:v>
                </c:pt>
                <c:pt idx="228">
                  <c:v>Private Lab</c:v>
                </c:pt>
                <c:pt idx="229">
                  <c:v>Private Lab</c:v>
                </c:pt>
                <c:pt idx="230">
                  <c:v>Private Lab</c:v>
                </c:pt>
                <c:pt idx="231">
                  <c:v>Boursin</c:v>
                </c:pt>
                <c:pt idx="232">
                  <c:v>Private Lab</c:v>
                </c:pt>
                <c:pt idx="233">
                  <c:v>Galbani</c:v>
                </c:pt>
                <c:pt idx="234">
                  <c:v>All Others</c:v>
                </c:pt>
                <c:pt idx="235">
                  <c:v>Lou Perac</c:v>
                </c:pt>
                <c:pt idx="236">
                  <c:v>All Others</c:v>
                </c:pt>
                <c:pt idx="237">
                  <c:v>Boursin</c:v>
                </c:pt>
                <c:pt idx="238">
                  <c:v>All Others</c:v>
                </c:pt>
                <c:pt idx="239">
                  <c:v>All Others</c:v>
                </c:pt>
                <c:pt idx="240">
                  <c:v>St Moret</c:v>
                </c:pt>
                <c:pt idx="241">
                  <c:v>All Others</c:v>
                </c:pt>
                <c:pt idx="242">
                  <c:v>Private Lab</c:v>
                </c:pt>
                <c:pt idx="243">
                  <c:v>Mini Babybe</c:v>
                </c:pt>
                <c:pt idx="244">
                  <c:v>All Others</c:v>
                </c:pt>
                <c:pt idx="245">
                  <c:v>All Others</c:v>
                </c:pt>
                <c:pt idx="246">
                  <c:v>Tartare</c:v>
                </c:pt>
                <c:pt idx="247">
                  <c:v>All Others</c:v>
                </c:pt>
                <c:pt idx="248">
                  <c:v>All Others</c:v>
                </c:pt>
                <c:pt idx="249">
                  <c:v>All Others</c:v>
                </c:pt>
                <c:pt idx="250">
                  <c:v>Kiri</c:v>
                </c:pt>
                <c:pt idx="251">
                  <c:v>All Others</c:v>
                </c:pt>
                <c:pt idx="252">
                  <c:v>Soignon</c:v>
                </c:pt>
                <c:pt idx="253">
                  <c:v>President</c:v>
                </c:pt>
                <c:pt idx="254">
                  <c:v>Philadelphi</c:v>
                </c:pt>
                <c:pt idx="255">
                  <c:v>All Others</c:v>
                </c:pt>
                <c:pt idx="256">
                  <c:v>Etoile Du V</c:v>
                </c:pt>
                <c:pt idx="257">
                  <c:v>Kiri</c:v>
                </c:pt>
                <c:pt idx="258">
                  <c:v>Kiri</c:v>
                </c:pt>
                <c:pt idx="259">
                  <c:v>Islos</c:v>
                </c:pt>
                <c:pt idx="260">
                  <c:v>Casa Azzurr</c:v>
                </c:pt>
                <c:pt idx="261">
                  <c:v>Kiri</c:v>
                </c:pt>
                <c:pt idx="262">
                  <c:v>All Others</c:v>
                </c:pt>
                <c:pt idx="263">
                  <c:v>Rondele</c:v>
                </c:pt>
                <c:pt idx="264">
                  <c:v>Rondele</c:v>
                </c:pt>
                <c:pt idx="265">
                  <c:v>All Others</c:v>
                </c:pt>
                <c:pt idx="266">
                  <c:v>Casa Azzurr</c:v>
                </c:pt>
                <c:pt idx="267">
                  <c:v>All Others</c:v>
                </c:pt>
                <c:pt idx="268">
                  <c:v>Private Lab</c:v>
                </c:pt>
                <c:pt idx="269">
                  <c:v>All Others</c:v>
                </c:pt>
                <c:pt idx="270">
                  <c:v>All Others</c:v>
                </c:pt>
                <c:pt idx="271">
                  <c:v>All Others</c:v>
                </c:pt>
                <c:pt idx="272">
                  <c:v>All Others</c:v>
                </c:pt>
                <c:pt idx="273">
                  <c:v>Triballat R</c:v>
                </c:pt>
                <c:pt idx="274">
                  <c:v>Corsica</c:v>
                </c:pt>
                <c:pt idx="275">
                  <c:v>All Others</c:v>
                </c:pt>
                <c:pt idx="276">
                  <c:v>Le Brebiou</c:v>
                </c:pt>
                <c:pt idx="277">
                  <c:v>Saint Agur</c:v>
                </c:pt>
                <c:pt idx="278">
                  <c:v>All Others</c:v>
                </c:pt>
                <c:pt idx="279">
                  <c:v>All Others</c:v>
                </c:pt>
                <c:pt idx="280">
                  <c:v>All Others</c:v>
                </c:pt>
                <c:pt idx="281">
                  <c:v>All Others</c:v>
                </c:pt>
                <c:pt idx="282">
                  <c:v>All Others</c:v>
                </c:pt>
                <c:pt idx="283">
                  <c:v>All Others</c:v>
                </c:pt>
                <c:pt idx="284">
                  <c:v>All Others</c:v>
                </c:pt>
                <c:pt idx="285">
                  <c:v>All Others</c:v>
                </c:pt>
                <c:pt idx="286">
                  <c:v>All Others</c:v>
                </c:pt>
                <c:pt idx="287">
                  <c:v>Ficello</c:v>
                </c:pt>
                <c:pt idx="288">
                  <c:v>Savencia: A</c:v>
                </c:pt>
                <c:pt idx="289">
                  <c:v>P'Tit Louis</c:v>
                </c:pt>
                <c:pt idx="290">
                  <c:v>All Others</c:v>
                </c:pt>
                <c:pt idx="291">
                  <c:v>All Others</c:v>
                </c:pt>
                <c:pt idx="292">
                  <c:v>All Others</c:v>
                </c:pt>
                <c:pt idx="293">
                  <c:v>Lou Perac</c:v>
                </c:pt>
                <c:pt idx="294">
                  <c:v>All Others</c:v>
                </c:pt>
                <c:pt idx="295">
                  <c:v>Lactalis: A</c:v>
                </c:pt>
                <c:pt idx="296">
                  <c:v>President</c:v>
                </c:pt>
                <c:pt idx="297">
                  <c:v>Eurial Autr</c:v>
                </c:pt>
                <c:pt idx="298">
                  <c:v>Mini Babybe</c:v>
                </c:pt>
                <c:pt idx="299">
                  <c:v>All Others</c:v>
                </c:pt>
                <c:pt idx="300">
                  <c:v>Private Lab</c:v>
                </c:pt>
                <c:pt idx="301">
                  <c:v>Soignon</c:v>
                </c:pt>
                <c:pt idx="302">
                  <c:v>Galbani</c:v>
                </c:pt>
                <c:pt idx="303">
                  <c:v>All Others</c:v>
                </c:pt>
                <c:pt idx="304">
                  <c:v>All Others</c:v>
                </c:pt>
                <c:pt idx="305">
                  <c:v>All Others</c:v>
                </c:pt>
                <c:pt idx="306">
                  <c:v>La Vache Qu</c:v>
                </c:pt>
                <c:pt idx="307">
                  <c:v>Private Lab</c:v>
                </c:pt>
                <c:pt idx="308">
                  <c:v>All Others</c:v>
                </c:pt>
                <c:pt idx="309">
                  <c:v>Private Lab</c:v>
                </c:pt>
                <c:pt idx="310">
                  <c:v>All Others</c:v>
                </c:pt>
                <c:pt idx="311">
                  <c:v>Boursin</c:v>
                </c:pt>
                <c:pt idx="312">
                  <c:v>All Others</c:v>
                </c:pt>
                <c:pt idx="313">
                  <c:v>Triballat R</c:v>
                </c:pt>
                <c:pt idx="314">
                  <c:v>Private Lab</c:v>
                </c:pt>
                <c:pt idx="315">
                  <c:v>All Others</c:v>
                </c:pt>
                <c:pt idx="316">
                  <c:v>All Others</c:v>
                </c:pt>
                <c:pt idx="317">
                  <c:v>All Others</c:v>
                </c:pt>
                <c:pt idx="318">
                  <c:v>All Others</c:v>
                </c:pt>
                <c:pt idx="319">
                  <c:v>P'Tit Louis</c:v>
                </c:pt>
                <c:pt idx="320">
                  <c:v>All Others</c:v>
                </c:pt>
                <c:pt idx="321">
                  <c:v>Casa Azzurr</c:v>
                </c:pt>
                <c:pt idx="322">
                  <c:v>All Others</c:v>
                </c:pt>
                <c:pt idx="323">
                  <c:v>All Others</c:v>
                </c:pt>
                <c:pt idx="324">
                  <c:v>All Others</c:v>
                </c:pt>
                <c:pt idx="325">
                  <c:v>Salakis</c:v>
                </c:pt>
                <c:pt idx="326">
                  <c:v>All Others</c:v>
                </c:pt>
                <c:pt idx="327">
                  <c:v>All Others</c:v>
                </c:pt>
                <c:pt idx="328">
                  <c:v>Galbani</c:v>
                </c:pt>
                <c:pt idx="329">
                  <c:v>All Others</c:v>
                </c:pt>
                <c:pt idx="330">
                  <c:v>All Others</c:v>
                </c:pt>
                <c:pt idx="331">
                  <c:v>Lactalis: A</c:v>
                </c:pt>
                <c:pt idx="332">
                  <c:v>Boursin</c:v>
                </c:pt>
                <c:pt idx="333">
                  <c:v>Philadelphi</c:v>
                </c:pt>
                <c:pt idx="334">
                  <c:v>All Others</c:v>
                </c:pt>
                <c:pt idx="335">
                  <c:v>All Others</c:v>
                </c:pt>
                <c:pt idx="336">
                  <c:v>Paysan Bret</c:v>
                </c:pt>
                <c:pt idx="337">
                  <c:v>All Others</c:v>
                </c:pt>
                <c:pt idx="338">
                  <c:v>Triballat R</c:v>
                </c:pt>
                <c:pt idx="339">
                  <c:v>All Others</c:v>
                </c:pt>
                <c:pt idx="340">
                  <c:v>All Others</c:v>
                </c:pt>
                <c:pt idx="341">
                  <c:v>Savencia: A</c:v>
                </c:pt>
                <c:pt idx="342">
                  <c:v>All Others</c:v>
                </c:pt>
                <c:pt idx="343">
                  <c:v>Private Lab</c:v>
                </c:pt>
                <c:pt idx="344">
                  <c:v>All Others</c:v>
                </c:pt>
                <c:pt idx="345">
                  <c:v>Private Lab</c:v>
                </c:pt>
                <c:pt idx="346">
                  <c:v>Tartare</c:v>
                </c:pt>
                <c:pt idx="347">
                  <c:v>All Others</c:v>
                </c:pt>
                <c:pt idx="348">
                  <c:v>All Others</c:v>
                </c:pt>
                <c:pt idx="349">
                  <c:v>All Others</c:v>
                </c:pt>
                <c:pt idx="350">
                  <c:v>Etoile Du Q</c:v>
                </c:pt>
                <c:pt idx="351">
                  <c:v>All Others</c:v>
                </c:pt>
                <c:pt idx="352">
                  <c:v>Boursin</c:v>
                </c:pt>
                <c:pt idx="353">
                  <c:v>All Others</c:v>
                </c:pt>
                <c:pt idx="354">
                  <c:v>St Moret</c:v>
                </c:pt>
                <c:pt idx="355">
                  <c:v>All Others</c:v>
                </c:pt>
                <c:pt idx="356">
                  <c:v>All Others</c:v>
                </c:pt>
                <c:pt idx="357">
                  <c:v>All Others</c:v>
                </c:pt>
                <c:pt idx="358">
                  <c:v>Boursin</c:v>
                </c:pt>
                <c:pt idx="359">
                  <c:v>All Others</c:v>
                </c:pt>
                <c:pt idx="360">
                  <c:v>All Others</c:v>
                </c:pt>
                <c:pt idx="361">
                  <c:v>Lactalis: A</c:v>
                </c:pt>
                <c:pt idx="362">
                  <c:v>Caprice Des</c:v>
                </c:pt>
                <c:pt idx="363">
                  <c:v>All Others</c:v>
                </c:pt>
                <c:pt idx="364">
                  <c:v>Mini Babybe</c:v>
                </c:pt>
                <c:pt idx="365">
                  <c:v>Petit Billy</c:v>
                </c:pt>
                <c:pt idx="366">
                  <c:v>All Others</c:v>
                </c:pt>
                <c:pt idx="367">
                  <c:v>All Others</c:v>
                </c:pt>
                <c:pt idx="368">
                  <c:v>All Others</c:v>
                </c:pt>
                <c:pt idx="369">
                  <c:v>Corsica</c:v>
                </c:pt>
                <c:pt idx="370">
                  <c:v>Istara</c:v>
                </c:pt>
                <c:pt idx="371">
                  <c:v>All Others</c:v>
                </c:pt>
                <c:pt idx="372">
                  <c:v>All Others</c:v>
                </c:pt>
                <c:pt idx="373">
                  <c:v>All Others</c:v>
                </c:pt>
                <c:pt idx="374">
                  <c:v>Paysan Bret</c:v>
                </c:pt>
                <c:pt idx="375">
                  <c:v>All Others</c:v>
                </c:pt>
                <c:pt idx="376">
                  <c:v>All Others</c:v>
                </c:pt>
                <c:pt idx="377">
                  <c:v>All Others</c:v>
                </c:pt>
                <c:pt idx="378">
                  <c:v>All Others</c:v>
                </c:pt>
                <c:pt idx="379">
                  <c:v>Galbani</c:v>
                </c:pt>
                <c:pt idx="380">
                  <c:v>All Others</c:v>
                </c:pt>
                <c:pt idx="381">
                  <c:v>All Others</c:v>
                </c:pt>
                <c:pt idx="382">
                  <c:v>All Others</c:v>
                </c:pt>
                <c:pt idx="383">
                  <c:v>Private Lab</c:v>
                </c:pt>
                <c:pt idx="384">
                  <c:v>Lactalis: A</c:v>
                </c:pt>
                <c:pt idx="385">
                  <c:v>All Others</c:v>
                </c:pt>
                <c:pt idx="386">
                  <c:v>All Others</c:v>
                </c:pt>
                <c:pt idx="387">
                  <c:v>Paysan Bret</c:v>
                </c:pt>
                <c:pt idx="388">
                  <c:v>La Vache Qu</c:v>
                </c:pt>
                <c:pt idx="389">
                  <c:v>All Others</c:v>
                </c:pt>
                <c:pt idx="390">
                  <c:v>St Moret</c:v>
                </c:pt>
                <c:pt idx="391">
                  <c:v>All Others</c:v>
                </c:pt>
                <c:pt idx="392">
                  <c:v>All Others</c:v>
                </c:pt>
                <c:pt idx="393">
                  <c:v>All Others</c:v>
                </c:pt>
                <c:pt idx="394">
                  <c:v>All Others</c:v>
                </c:pt>
                <c:pt idx="395">
                  <c:v>All Others</c:v>
                </c:pt>
                <c:pt idx="396">
                  <c:v>All Others</c:v>
                </c:pt>
                <c:pt idx="397">
                  <c:v>Salakis</c:v>
                </c:pt>
                <c:pt idx="398">
                  <c:v>All Others</c:v>
                </c:pt>
                <c:pt idx="399">
                  <c:v>All Others</c:v>
                </c:pt>
                <c:pt idx="400">
                  <c:v>Caprice Des</c:v>
                </c:pt>
                <c:pt idx="401">
                  <c:v>All Others</c:v>
                </c:pt>
                <c:pt idx="402">
                  <c:v>All Others</c:v>
                </c:pt>
                <c:pt idx="403">
                  <c:v>Milleret: A</c:v>
                </c:pt>
                <c:pt idx="404">
                  <c:v>Saint Agur</c:v>
                </c:pt>
                <c:pt idx="405">
                  <c:v>All Others</c:v>
                </c:pt>
                <c:pt idx="406">
                  <c:v>Private Lab</c:v>
                </c:pt>
                <c:pt idx="407">
                  <c:v>Tartare</c:v>
                </c:pt>
                <c:pt idx="408">
                  <c:v>All Others</c:v>
                </c:pt>
                <c:pt idx="409">
                  <c:v>All Others</c:v>
                </c:pt>
                <c:pt idx="410">
                  <c:v>Private Lab</c:v>
                </c:pt>
                <c:pt idx="411">
                  <c:v>Savencia: A</c:v>
                </c:pt>
                <c:pt idx="412">
                  <c:v>All Others</c:v>
                </c:pt>
                <c:pt idx="413">
                  <c:v>Etoile Du V</c:v>
                </c:pt>
                <c:pt idx="414">
                  <c:v>Lactalis: A</c:v>
                </c:pt>
                <c:pt idx="415">
                  <c:v>Savencia: A</c:v>
                </c:pt>
                <c:pt idx="416">
                  <c:v>All Others</c:v>
                </c:pt>
                <c:pt idx="417">
                  <c:v>Boursin</c:v>
                </c:pt>
                <c:pt idx="418">
                  <c:v>Paysan Bret</c:v>
                </c:pt>
                <c:pt idx="419">
                  <c:v>All Others</c:v>
                </c:pt>
                <c:pt idx="420">
                  <c:v>All Others</c:v>
                </c:pt>
                <c:pt idx="421">
                  <c:v>All Others</c:v>
                </c:pt>
                <c:pt idx="422">
                  <c:v>All Others</c:v>
                </c:pt>
                <c:pt idx="423">
                  <c:v>All Others</c:v>
                </c:pt>
                <c:pt idx="424">
                  <c:v>All Others</c:v>
                </c:pt>
                <c:pt idx="425">
                  <c:v>Chavroux</c:v>
                </c:pt>
                <c:pt idx="426">
                  <c:v>All Others</c:v>
                </c:pt>
                <c:pt idx="427">
                  <c:v>Etorki</c:v>
                </c:pt>
                <c:pt idx="428">
                  <c:v>All Others</c:v>
                </c:pt>
                <c:pt idx="429">
                  <c:v>All Others</c:v>
                </c:pt>
                <c:pt idx="430">
                  <c:v>All Others</c:v>
                </c:pt>
                <c:pt idx="431">
                  <c:v>Salakis</c:v>
                </c:pt>
                <c:pt idx="432">
                  <c:v>All Others</c:v>
                </c:pt>
                <c:pt idx="433">
                  <c:v>All Others</c:v>
                </c:pt>
                <c:pt idx="434">
                  <c:v>All Others</c:v>
                </c:pt>
                <c:pt idx="435">
                  <c:v>All Others</c:v>
                </c:pt>
                <c:pt idx="436">
                  <c:v>All Others</c:v>
                </c:pt>
                <c:pt idx="437">
                  <c:v>All Others</c:v>
                </c:pt>
                <c:pt idx="438">
                  <c:v>Private Lab</c:v>
                </c:pt>
                <c:pt idx="439">
                  <c:v>Private Lab</c:v>
                </c:pt>
                <c:pt idx="440">
                  <c:v>All Others</c:v>
                </c:pt>
                <c:pt idx="441">
                  <c:v>Tartare</c:v>
                </c:pt>
                <c:pt idx="442">
                  <c:v>Private Lab</c:v>
                </c:pt>
                <c:pt idx="443">
                  <c:v>Private Lab</c:v>
                </c:pt>
                <c:pt idx="444">
                  <c:v>All Others</c:v>
                </c:pt>
                <c:pt idx="445">
                  <c:v>Private Lab</c:v>
                </c:pt>
                <c:pt idx="446">
                  <c:v>All Others</c:v>
                </c:pt>
                <c:pt idx="447">
                  <c:v>Tartare</c:v>
                </c:pt>
                <c:pt idx="448">
                  <c:v>All Others</c:v>
                </c:pt>
                <c:pt idx="449">
                  <c:v>All Others</c:v>
                </c:pt>
                <c:pt idx="450">
                  <c:v>All Others</c:v>
                </c:pt>
                <c:pt idx="451">
                  <c:v>All Others</c:v>
                </c:pt>
                <c:pt idx="452">
                  <c:v>All Others</c:v>
                </c:pt>
                <c:pt idx="453">
                  <c:v>All Others</c:v>
                </c:pt>
                <c:pt idx="454">
                  <c:v>P'Tit Louis</c:v>
                </c:pt>
                <c:pt idx="455">
                  <c:v>All Others</c:v>
                </c:pt>
                <c:pt idx="456">
                  <c:v>Private Lab</c:v>
                </c:pt>
                <c:pt idx="457">
                  <c:v>All Others</c:v>
                </c:pt>
                <c:pt idx="458">
                  <c:v>All Others</c:v>
                </c:pt>
                <c:pt idx="459">
                  <c:v>All Others</c:v>
                </c:pt>
                <c:pt idx="460">
                  <c:v>Private Lab</c:v>
                </c:pt>
                <c:pt idx="461">
                  <c:v>All Others</c:v>
                </c:pt>
                <c:pt idx="462">
                  <c:v>All Others</c:v>
                </c:pt>
                <c:pt idx="463">
                  <c:v>Private Lab</c:v>
                </c:pt>
                <c:pt idx="464">
                  <c:v>Private Lab</c:v>
                </c:pt>
                <c:pt idx="465">
                  <c:v>All Others</c:v>
                </c:pt>
                <c:pt idx="466">
                  <c:v>All Others</c:v>
                </c:pt>
                <c:pt idx="467">
                  <c:v>All Others</c:v>
                </c:pt>
                <c:pt idx="468">
                  <c:v>All Others</c:v>
                </c:pt>
                <c:pt idx="469">
                  <c:v>All Others</c:v>
                </c:pt>
                <c:pt idx="470">
                  <c:v>All Others</c:v>
                </c:pt>
                <c:pt idx="471">
                  <c:v>Islos</c:v>
                </c:pt>
                <c:pt idx="472">
                  <c:v>Tartare</c:v>
                </c:pt>
                <c:pt idx="473">
                  <c:v>Private Lab</c:v>
                </c:pt>
                <c:pt idx="474">
                  <c:v>All Others</c:v>
                </c:pt>
                <c:pt idx="475">
                  <c:v>All Others</c:v>
                </c:pt>
                <c:pt idx="476">
                  <c:v>All Others</c:v>
                </c:pt>
                <c:pt idx="477">
                  <c:v>All Others</c:v>
                </c:pt>
                <c:pt idx="478">
                  <c:v>Lactalis: A</c:v>
                </c:pt>
                <c:pt idx="479">
                  <c:v>All Others</c:v>
                </c:pt>
                <c:pt idx="480">
                  <c:v>All Others</c:v>
                </c:pt>
                <c:pt idx="481">
                  <c:v>Philadelphi</c:v>
                </c:pt>
                <c:pt idx="482">
                  <c:v>Triballat R</c:v>
                </c:pt>
                <c:pt idx="483">
                  <c:v>All Others</c:v>
                </c:pt>
                <c:pt idx="484">
                  <c:v>All Others</c:v>
                </c:pt>
                <c:pt idx="485">
                  <c:v>All Others</c:v>
                </c:pt>
                <c:pt idx="486">
                  <c:v>All Others</c:v>
                </c:pt>
                <c:pt idx="487">
                  <c:v>All Others</c:v>
                </c:pt>
                <c:pt idx="488">
                  <c:v>All Others</c:v>
                </c:pt>
                <c:pt idx="489">
                  <c:v>Private Lab</c:v>
                </c:pt>
                <c:pt idx="490">
                  <c:v>Boursin</c:v>
                </c:pt>
                <c:pt idx="491">
                  <c:v>Boursin</c:v>
                </c:pt>
                <c:pt idx="492">
                  <c:v>All Others</c:v>
                </c:pt>
                <c:pt idx="493">
                  <c:v>All Others</c:v>
                </c:pt>
                <c:pt idx="494">
                  <c:v>All Others</c:v>
                </c:pt>
                <c:pt idx="495">
                  <c:v>All Others</c:v>
                </c:pt>
                <c:pt idx="496">
                  <c:v>All Others</c:v>
                </c:pt>
                <c:pt idx="497">
                  <c:v>All Others</c:v>
                </c:pt>
                <c:pt idx="498">
                  <c:v>All Others</c:v>
                </c:pt>
                <c:pt idx="499">
                  <c:v>All Others</c:v>
                </c:pt>
                <c:pt idx="500">
                  <c:v>Private Lab</c:v>
                </c:pt>
                <c:pt idx="501">
                  <c:v>Private Lab</c:v>
                </c:pt>
                <c:pt idx="502">
                  <c:v>All Others</c:v>
                </c:pt>
                <c:pt idx="503">
                  <c:v>Triballat N</c:v>
                </c:pt>
                <c:pt idx="504">
                  <c:v>All Others</c:v>
                </c:pt>
                <c:pt idx="505">
                  <c:v>All Others</c:v>
                </c:pt>
                <c:pt idx="506">
                  <c:v>All Others</c:v>
                </c:pt>
                <c:pt idx="507">
                  <c:v>All Others</c:v>
                </c:pt>
                <c:pt idx="508">
                  <c:v>All Others</c:v>
                </c:pt>
                <c:pt idx="509">
                  <c:v>All Others</c:v>
                </c:pt>
                <c:pt idx="510">
                  <c:v>All Others</c:v>
                </c:pt>
                <c:pt idx="511">
                  <c:v>All Others</c:v>
                </c:pt>
                <c:pt idx="512">
                  <c:v>All Others</c:v>
                </c:pt>
                <c:pt idx="513">
                  <c:v>All Others</c:v>
                </c:pt>
                <c:pt idx="514">
                  <c:v>Lactalis: A</c:v>
                </c:pt>
                <c:pt idx="515">
                  <c:v>Laita: All </c:v>
                </c:pt>
                <c:pt idx="516">
                  <c:v>All Others</c:v>
                </c:pt>
                <c:pt idx="517">
                  <c:v>All Others</c:v>
                </c:pt>
                <c:pt idx="518">
                  <c:v>All Others</c:v>
                </c:pt>
                <c:pt idx="519">
                  <c:v>All Others</c:v>
                </c:pt>
                <c:pt idx="520">
                  <c:v>All Others</c:v>
                </c:pt>
                <c:pt idx="521">
                  <c:v>All Others</c:v>
                </c:pt>
                <c:pt idx="522">
                  <c:v>All Others</c:v>
                </c:pt>
                <c:pt idx="523">
                  <c:v>All Others</c:v>
                </c:pt>
                <c:pt idx="524">
                  <c:v>All Others</c:v>
                </c:pt>
                <c:pt idx="525">
                  <c:v>All Others</c:v>
                </c:pt>
                <c:pt idx="526">
                  <c:v>All Others</c:v>
                </c:pt>
                <c:pt idx="527">
                  <c:v>All Others</c:v>
                </c:pt>
                <c:pt idx="528">
                  <c:v>Private Lab</c:v>
                </c:pt>
                <c:pt idx="529">
                  <c:v>All Others</c:v>
                </c:pt>
                <c:pt idx="530">
                  <c:v>All Others</c:v>
                </c:pt>
                <c:pt idx="531">
                  <c:v>All Others</c:v>
                </c:pt>
                <c:pt idx="532">
                  <c:v>All Others</c:v>
                </c:pt>
                <c:pt idx="533">
                  <c:v>All Others</c:v>
                </c:pt>
                <c:pt idx="534">
                  <c:v>All Others</c:v>
                </c:pt>
                <c:pt idx="535">
                  <c:v>All Others</c:v>
                </c:pt>
                <c:pt idx="536">
                  <c:v>All Others</c:v>
                </c:pt>
                <c:pt idx="537">
                  <c:v>All Others</c:v>
                </c:pt>
                <c:pt idx="538">
                  <c:v>All Others</c:v>
                </c:pt>
                <c:pt idx="539">
                  <c:v>Savencia: A</c:v>
                </c:pt>
                <c:pt idx="540">
                  <c:v>All Others</c:v>
                </c:pt>
                <c:pt idx="541">
                  <c:v>All Others</c:v>
                </c:pt>
                <c:pt idx="542">
                  <c:v>All Others</c:v>
                </c:pt>
                <c:pt idx="543">
                  <c:v>All Others</c:v>
                </c:pt>
                <c:pt idx="544">
                  <c:v>All Others</c:v>
                </c:pt>
                <c:pt idx="545">
                  <c:v>All Others</c:v>
                </c:pt>
                <c:pt idx="546">
                  <c:v>All Others</c:v>
                </c:pt>
                <c:pt idx="547">
                  <c:v>Boursin</c:v>
                </c:pt>
                <c:pt idx="548">
                  <c:v>All Others</c:v>
                </c:pt>
                <c:pt idx="549">
                  <c:v>All Others</c:v>
                </c:pt>
                <c:pt idx="550">
                  <c:v>Private Lab</c:v>
                </c:pt>
                <c:pt idx="551">
                  <c:v>All Others</c:v>
                </c:pt>
                <c:pt idx="552">
                  <c:v>All Others</c:v>
                </c:pt>
                <c:pt idx="553">
                  <c:v>All Others</c:v>
                </c:pt>
                <c:pt idx="554">
                  <c:v>All Others</c:v>
                </c:pt>
                <c:pt idx="555">
                  <c:v>All Others</c:v>
                </c:pt>
                <c:pt idx="556">
                  <c:v>All Others</c:v>
                </c:pt>
                <c:pt idx="557">
                  <c:v>All Others</c:v>
                </c:pt>
                <c:pt idx="558">
                  <c:v>All Others</c:v>
                </c:pt>
                <c:pt idx="559">
                  <c:v>All Others</c:v>
                </c:pt>
                <c:pt idx="560">
                  <c:v>All Others</c:v>
                </c:pt>
                <c:pt idx="561">
                  <c:v>All Others</c:v>
                </c:pt>
                <c:pt idx="562">
                  <c:v>All Others</c:v>
                </c:pt>
                <c:pt idx="563">
                  <c:v>All Others</c:v>
                </c:pt>
                <c:pt idx="564">
                  <c:v>Milleret: A</c:v>
                </c:pt>
                <c:pt idx="565">
                  <c:v>Triballat R</c:v>
                </c:pt>
                <c:pt idx="566">
                  <c:v>All Others</c:v>
                </c:pt>
                <c:pt idx="567">
                  <c:v>All Others</c:v>
                </c:pt>
                <c:pt idx="568">
                  <c:v>All Others</c:v>
                </c:pt>
                <c:pt idx="569">
                  <c:v>All Others</c:v>
                </c:pt>
                <c:pt idx="570">
                  <c:v>All Others</c:v>
                </c:pt>
                <c:pt idx="571">
                  <c:v>All Others</c:v>
                </c:pt>
                <c:pt idx="572">
                  <c:v>All Others</c:v>
                </c:pt>
                <c:pt idx="573">
                  <c:v>All Others</c:v>
                </c:pt>
                <c:pt idx="574">
                  <c:v>All Others</c:v>
                </c:pt>
                <c:pt idx="575">
                  <c:v>All Others</c:v>
                </c:pt>
                <c:pt idx="576">
                  <c:v>All Others</c:v>
                </c:pt>
                <c:pt idx="577">
                  <c:v>Istara</c:v>
                </c:pt>
                <c:pt idx="578">
                  <c:v>All Others</c:v>
                </c:pt>
                <c:pt idx="579">
                  <c:v>Private Lab</c:v>
                </c:pt>
                <c:pt idx="580">
                  <c:v>All Others</c:v>
                </c:pt>
                <c:pt idx="581">
                  <c:v>All Others</c:v>
                </c:pt>
                <c:pt idx="582">
                  <c:v>All Others</c:v>
                </c:pt>
                <c:pt idx="583">
                  <c:v>Eurial Autr</c:v>
                </c:pt>
                <c:pt idx="584">
                  <c:v>All Others</c:v>
                </c:pt>
                <c:pt idx="585">
                  <c:v>All Others</c:v>
                </c:pt>
                <c:pt idx="586">
                  <c:v>All Others</c:v>
                </c:pt>
                <c:pt idx="587">
                  <c:v>All Others</c:v>
                </c:pt>
                <c:pt idx="588">
                  <c:v>All Others</c:v>
                </c:pt>
                <c:pt idx="589">
                  <c:v>All Others</c:v>
                </c:pt>
                <c:pt idx="590">
                  <c:v>All Others</c:v>
                </c:pt>
                <c:pt idx="591">
                  <c:v>All Others</c:v>
                </c:pt>
                <c:pt idx="592">
                  <c:v>All Others</c:v>
                </c:pt>
                <c:pt idx="593">
                  <c:v>All Others</c:v>
                </c:pt>
                <c:pt idx="594">
                  <c:v>All Others</c:v>
                </c:pt>
                <c:pt idx="595">
                  <c:v>All Others</c:v>
                </c:pt>
                <c:pt idx="596">
                  <c:v>All Others</c:v>
                </c:pt>
                <c:pt idx="597">
                  <c:v>All Others</c:v>
                </c:pt>
                <c:pt idx="598">
                  <c:v>All Others</c:v>
                </c:pt>
                <c:pt idx="599">
                  <c:v>All Others</c:v>
                </c:pt>
                <c:pt idx="600">
                  <c:v>All Others</c:v>
                </c:pt>
                <c:pt idx="601">
                  <c:v>All Others</c:v>
                </c:pt>
                <c:pt idx="602">
                  <c:v>All Others</c:v>
                </c:pt>
                <c:pt idx="603">
                  <c:v>All Others</c:v>
                </c:pt>
                <c:pt idx="604">
                  <c:v>All Others</c:v>
                </c:pt>
                <c:pt idx="605">
                  <c:v>All Others</c:v>
                </c:pt>
                <c:pt idx="606">
                  <c:v>All Others</c:v>
                </c:pt>
                <c:pt idx="607">
                  <c:v>All Others</c:v>
                </c:pt>
                <c:pt idx="608">
                  <c:v>All Others</c:v>
                </c:pt>
                <c:pt idx="609">
                  <c:v>All Others</c:v>
                </c:pt>
                <c:pt idx="610">
                  <c:v>All Others</c:v>
                </c:pt>
                <c:pt idx="611">
                  <c:v>All Others</c:v>
                </c:pt>
                <c:pt idx="612">
                  <c:v>All Others</c:v>
                </c:pt>
                <c:pt idx="613">
                  <c:v>All Others</c:v>
                </c:pt>
                <c:pt idx="614">
                  <c:v>Eurial Autr</c:v>
                </c:pt>
                <c:pt idx="615">
                  <c:v>Carre Frais</c:v>
                </c:pt>
                <c:pt idx="616">
                  <c:v>All Others</c:v>
                </c:pt>
                <c:pt idx="617">
                  <c:v>Private Lab</c:v>
                </c:pt>
                <c:pt idx="618">
                  <c:v>All Others</c:v>
                </c:pt>
                <c:pt idx="619">
                  <c:v>All Others</c:v>
                </c:pt>
                <c:pt idx="620">
                  <c:v>All Others</c:v>
                </c:pt>
                <c:pt idx="621">
                  <c:v>All Others</c:v>
                </c:pt>
                <c:pt idx="622">
                  <c:v>All Others</c:v>
                </c:pt>
                <c:pt idx="623">
                  <c:v>All Others</c:v>
                </c:pt>
                <c:pt idx="624">
                  <c:v>All Others</c:v>
                </c:pt>
                <c:pt idx="625">
                  <c:v>All Others</c:v>
                </c:pt>
                <c:pt idx="626">
                  <c:v>All Others</c:v>
                </c:pt>
                <c:pt idx="627">
                  <c:v>All Others</c:v>
                </c:pt>
                <c:pt idx="628">
                  <c:v>All Others</c:v>
                </c:pt>
                <c:pt idx="629">
                  <c:v>All Others</c:v>
                </c:pt>
                <c:pt idx="630">
                  <c:v>All Others</c:v>
                </c:pt>
                <c:pt idx="631">
                  <c:v>Lactalis: A</c:v>
                </c:pt>
                <c:pt idx="632">
                  <c:v>All Others</c:v>
                </c:pt>
                <c:pt idx="633">
                  <c:v>All Others</c:v>
                </c:pt>
                <c:pt idx="634">
                  <c:v>All Others</c:v>
                </c:pt>
                <c:pt idx="635">
                  <c:v>All Others</c:v>
                </c:pt>
                <c:pt idx="636">
                  <c:v>All Others</c:v>
                </c:pt>
                <c:pt idx="637">
                  <c:v>All Others</c:v>
                </c:pt>
                <c:pt idx="638">
                  <c:v>All Others</c:v>
                </c:pt>
                <c:pt idx="639">
                  <c:v>All Others</c:v>
                </c:pt>
                <c:pt idx="640">
                  <c:v>All Others</c:v>
                </c:pt>
                <c:pt idx="641">
                  <c:v>All Others</c:v>
                </c:pt>
                <c:pt idx="642">
                  <c:v>All Others</c:v>
                </c:pt>
                <c:pt idx="643">
                  <c:v>All Others</c:v>
                </c:pt>
                <c:pt idx="644">
                  <c:v>All Others</c:v>
                </c:pt>
                <c:pt idx="645">
                  <c:v>All Others</c:v>
                </c:pt>
                <c:pt idx="646">
                  <c:v>All Others</c:v>
                </c:pt>
                <c:pt idx="647">
                  <c:v>Mini Babybe</c:v>
                </c:pt>
                <c:pt idx="648">
                  <c:v>All Others</c:v>
                </c:pt>
                <c:pt idx="649">
                  <c:v>All Others</c:v>
                </c:pt>
                <c:pt idx="650">
                  <c:v>All Others</c:v>
                </c:pt>
                <c:pt idx="651">
                  <c:v>All Others</c:v>
                </c:pt>
                <c:pt idx="652">
                  <c:v>All Others</c:v>
                </c:pt>
                <c:pt idx="653">
                  <c:v>All Others</c:v>
                </c:pt>
                <c:pt idx="654">
                  <c:v>All Others</c:v>
                </c:pt>
                <c:pt idx="655">
                  <c:v>All Others</c:v>
                </c:pt>
                <c:pt idx="656">
                  <c:v>All Others</c:v>
                </c:pt>
                <c:pt idx="657">
                  <c:v>All Others</c:v>
                </c:pt>
                <c:pt idx="658">
                  <c:v>All Others</c:v>
                </c:pt>
                <c:pt idx="659">
                  <c:v>Triballat N</c:v>
                </c:pt>
                <c:pt idx="660">
                  <c:v>All Others</c:v>
                </c:pt>
                <c:pt idx="661">
                  <c:v>All Others</c:v>
                </c:pt>
                <c:pt idx="662">
                  <c:v>All Others</c:v>
                </c:pt>
                <c:pt idx="663">
                  <c:v>All Others</c:v>
                </c:pt>
                <c:pt idx="664">
                  <c:v>All Others</c:v>
                </c:pt>
                <c:pt idx="665">
                  <c:v>All Others</c:v>
                </c:pt>
                <c:pt idx="666">
                  <c:v>All Others</c:v>
                </c:pt>
                <c:pt idx="667">
                  <c:v>All Others</c:v>
                </c:pt>
                <c:pt idx="668">
                  <c:v>All Others</c:v>
                </c:pt>
                <c:pt idx="669">
                  <c:v>All Others</c:v>
                </c:pt>
                <c:pt idx="670">
                  <c:v>All Others</c:v>
                </c:pt>
                <c:pt idx="671">
                  <c:v>Private Lab</c:v>
                </c:pt>
                <c:pt idx="672">
                  <c:v>All Others</c:v>
                </c:pt>
                <c:pt idx="673">
                  <c:v>All Others</c:v>
                </c:pt>
                <c:pt idx="674">
                  <c:v>Triballat R</c:v>
                </c:pt>
                <c:pt idx="675">
                  <c:v>All Others</c:v>
                </c:pt>
                <c:pt idx="676">
                  <c:v>All Others</c:v>
                </c:pt>
                <c:pt idx="677">
                  <c:v>All Others</c:v>
                </c:pt>
                <c:pt idx="678">
                  <c:v>All Others</c:v>
                </c:pt>
                <c:pt idx="679">
                  <c:v>All Others</c:v>
                </c:pt>
                <c:pt idx="680">
                  <c:v>All Others</c:v>
                </c:pt>
                <c:pt idx="681">
                  <c:v>All Others</c:v>
                </c:pt>
                <c:pt idx="682">
                  <c:v>Private Lab</c:v>
                </c:pt>
                <c:pt idx="683">
                  <c:v>All Others</c:v>
                </c:pt>
                <c:pt idx="684">
                  <c:v>All Others</c:v>
                </c:pt>
                <c:pt idx="685">
                  <c:v>All Others</c:v>
                </c:pt>
                <c:pt idx="686">
                  <c:v>All Others</c:v>
                </c:pt>
                <c:pt idx="687">
                  <c:v>All Others</c:v>
                </c:pt>
                <c:pt idx="688">
                  <c:v>All Others</c:v>
                </c:pt>
                <c:pt idx="689">
                  <c:v>All Others</c:v>
                </c:pt>
                <c:pt idx="690">
                  <c:v>All Others</c:v>
                </c:pt>
                <c:pt idx="691">
                  <c:v>All Others</c:v>
                </c:pt>
                <c:pt idx="692">
                  <c:v>All Others</c:v>
                </c:pt>
                <c:pt idx="693">
                  <c:v>Etoile Du Q</c:v>
                </c:pt>
                <c:pt idx="694">
                  <c:v>All Others</c:v>
                </c:pt>
                <c:pt idx="695">
                  <c:v>All Others</c:v>
                </c:pt>
                <c:pt idx="696">
                  <c:v>All Others</c:v>
                </c:pt>
                <c:pt idx="697">
                  <c:v>Eurial Autr</c:v>
                </c:pt>
                <c:pt idx="698">
                  <c:v>All Others</c:v>
                </c:pt>
                <c:pt idx="699">
                  <c:v>All Others</c:v>
                </c:pt>
                <c:pt idx="700">
                  <c:v>All Others</c:v>
                </c:pt>
                <c:pt idx="701">
                  <c:v>All Others</c:v>
                </c:pt>
                <c:pt idx="702">
                  <c:v>All Others</c:v>
                </c:pt>
                <c:pt idx="703">
                  <c:v>Private Lab</c:v>
                </c:pt>
                <c:pt idx="704">
                  <c:v>Soignon</c:v>
                </c:pt>
                <c:pt idx="705">
                  <c:v>All Others</c:v>
                </c:pt>
                <c:pt idx="706">
                  <c:v>All Others</c:v>
                </c:pt>
                <c:pt idx="707">
                  <c:v>All Others</c:v>
                </c:pt>
                <c:pt idx="708">
                  <c:v>All Others</c:v>
                </c:pt>
                <c:pt idx="709">
                  <c:v>All Others</c:v>
                </c:pt>
                <c:pt idx="710">
                  <c:v>All Others</c:v>
                </c:pt>
                <c:pt idx="711">
                  <c:v>All Others</c:v>
                </c:pt>
                <c:pt idx="712">
                  <c:v>All Others</c:v>
                </c:pt>
                <c:pt idx="713">
                  <c:v>All Others</c:v>
                </c:pt>
                <c:pt idx="714">
                  <c:v>All Others</c:v>
                </c:pt>
                <c:pt idx="715">
                  <c:v>All Others</c:v>
                </c:pt>
                <c:pt idx="716">
                  <c:v>All Others</c:v>
                </c:pt>
                <c:pt idx="717">
                  <c:v>All Others</c:v>
                </c:pt>
                <c:pt idx="718">
                  <c:v>All Others</c:v>
                </c:pt>
                <c:pt idx="719">
                  <c:v>All Others</c:v>
                </c:pt>
                <c:pt idx="720">
                  <c:v>All Others</c:v>
                </c:pt>
                <c:pt idx="721">
                  <c:v>Lactalis: A</c:v>
                </c:pt>
                <c:pt idx="722">
                  <c:v>All Others</c:v>
                </c:pt>
                <c:pt idx="723">
                  <c:v>All Others</c:v>
                </c:pt>
                <c:pt idx="724">
                  <c:v>All Others</c:v>
                </c:pt>
                <c:pt idx="725">
                  <c:v>All Others</c:v>
                </c:pt>
                <c:pt idx="726">
                  <c:v>All Others</c:v>
                </c:pt>
                <c:pt idx="727">
                  <c:v>Private Lab</c:v>
                </c:pt>
                <c:pt idx="728">
                  <c:v>All Others</c:v>
                </c:pt>
                <c:pt idx="729">
                  <c:v>Private Lab</c:v>
                </c:pt>
                <c:pt idx="730">
                  <c:v>All Others</c:v>
                </c:pt>
                <c:pt idx="731">
                  <c:v>All Others</c:v>
                </c:pt>
                <c:pt idx="732">
                  <c:v>Private Lab</c:v>
                </c:pt>
                <c:pt idx="733">
                  <c:v>All Others</c:v>
                </c:pt>
                <c:pt idx="734">
                  <c:v>All Others</c:v>
                </c:pt>
                <c:pt idx="735">
                  <c:v>All Others</c:v>
                </c:pt>
                <c:pt idx="736">
                  <c:v>All Others</c:v>
                </c:pt>
                <c:pt idx="737">
                  <c:v>All Others</c:v>
                </c:pt>
                <c:pt idx="738">
                  <c:v>All Others</c:v>
                </c:pt>
                <c:pt idx="739">
                  <c:v>All Others</c:v>
                </c:pt>
                <c:pt idx="740">
                  <c:v>All Others</c:v>
                </c:pt>
                <c:pt idx="741">
                  <c:v>All Others</c:v>
                </c:pt>
                <c:pt idx="742">
                  <c:v>Private Lab</c:v>
                </c:pt>
                <c:pt idx="743">
                  <c:v>All Others</c:v>
                </c:pt>
                <c:pt idx="744">
                  <c:v>All Others</c:v>
                </c:pt>
                <c:pt idx="745">
                  <c:v>All Others</c:v>
                </c:pt>
                <c:pt idx="746">
                  <c:v>All Others</c:v>
                </c:pt>
                <c:pt idx="747">
                  <c:v>All Others</c:v>
                </c:pt>
                <c:pt idx="748">
                  <c:v>All Others</c:v>
                </c:pt>
                <c:pt idx="749">
                  <c:v>All Others</c:v>
                </c:pt>
                <c:pt idx="750">
                  <c:v>All Others</c:v>
                </c:pt>
                <c:pt idx="751">
                  <c:v>All Others</c:v>
                </c:pt>
                <c:pt idx="752">
                  <c:v>All Others</c:v>
                </c:pt>
                <c:pt idx="753">
                  <c:v>All Others</c:v>
                </c:pt>
                <c:pt idx="754">
                  <c:v>All Others</c:v>
                </c:pt>
                <c:pt idx="755">
                  <c:v>All Others</c:v>
                </c:pt>
                <c:pt idx="756">
                  <c:v>All Others</c:v>
                </c:pt>
                <c:pt idx="757">
                  <c:v>All Others</c:v>
                </c:pt>
                <c:pt idx="758">
                  <c:v>Lactalis: A</c:v>
                </c:pt>
                <c:pt idx="759">
                  <c:v>All Others</c:v>
                </c:pt>
                <c:pt idx="760">
                  <c:v>All Others</c:v>
                </c:pt>
                <c:pt idx="761">
                  <c:v>All Others</c:v>
                </c:pt>
                <c:pt idx="762">
                  <c:v>All Others</c:v>
                </c:pt>
                <c:pt idx="763">
                  <c:v>All Others</c:v>
                </c:pt>
                <c:pt idx="764">
                  <c:v>Boursin</c:v>
                </c:pt>
                <c:pt idx="765">
                  <c:v>All Others</c:v>
                </c:pt>
                <c:pt idx="766">
                  <c:v>All Others</c:v>
                </c:pt>
                <c:pt idx="767">
                  <c:v>All Others</c:v>
                </c:pt>
                <c:pt idx="768">
                  <c:v>All Others</c:v>
                </c:pt>
                <c:pt idx="769">
                  <c:v>Private Lab</c:v>
                </c:pt>
                <c:pt idx="770">
                  <c:v>All Others</c:v>
                </c:pt>
                <c:pt idx="771">
                  <c:v>Lactalis: A</c:v>
                </c:pt>
                <c:pt idx="772">
                  <c:v>Private Lab</c:v>
                </c:pt>
                <c:pt idx="773">
                  <c:v>All Others</c:v>
                </c:pt>
                <c:pt idx="774">
                  <c:v>All Others</c:v>
                </c:pt>
                <c:pt idx="775">
                  <c:v>All Others</c:v>
                </c:pt>
                <c:pt idx="776">
                  <c:v>All Others</c:v>
                </c:pt>
                <c:pt idx="777">
                  <c:v>All Others</c:v>
                </c:pt>
                <c:pt idx="778">
                  <c:v>All Others</c:v>
                </c:pt>
                <c:pt idx="779">
                  <c:v>All Others</c:v>
                </c:pt>
                <c:pt idx="780">
                  <c:v>All Others</c:v>
                </c:pt>
                <c:pt idx="781">
                  <c:v>All Others</c:v>
                </c:pt>
                <c:pt idx="782">
                  <c:v>All Others</c:v>
                </c:pt>
                <c:pt idx="783">
                  <c:v>All Others</c:v>
                </c:pt>
                <c:pt idx="784">
                  <c:v>All Others</c:v>
                </c:pt>
                <c:pt idx="785">
                  <c:v>All Others</c:v>
                </c:pt>
                <c:pt idx="786">
                  <c:v>All Others</c:v>
                </c:pt>
                <c:pt idx="787">
                  <c:v>All Others</c:v>
                </c:pt>
                <c:pt idx="788">
                  <c:v>All Others</c:v>
                </c:pt>
                <c:pt idx="789">
                  <c:v>Lactalis: A</c:v>
                </c:pt>
                <c:pt idx="790">
                  <c:v>All Others</c:v>
                </c:pt>
                <c:pt idx="791">
                  <c:v>All Others</c:v>
                </c:pt>
                <c:pt idx="792">
                  <c:v>All Others</c:v>
                </c:pt>
                <c:pt idx="793">
                  <c:v>All Others</c:v>
                </c:pt>
                <c:pt idx="794">
                  <c:v>All Others</c:v>
                </c:pt>
                <c:pt idx="795">
                  <c:v>All Others</c:v>
                </c:pt>
                <c:pt idx="796">
                  <c:v>All Others</c:v>
                </c:pt>
                <c:pt idx="797">
                  <c:v>All Others</c:v>
                </c:pt>
                <c:pt idx="798">
                  <c:v>All Others</c:v>
                </c:pt>
                <c:pt idx="799">
                  <c:v>All Others</c:v>
                </c:pt>
                <c:pt idx="800">
                  <c:v>All Others</c:v>
                </c:pt>
                <c:pt idx="801">
                  <c:v>All Others</c:v>
                </c:pt>
                <c:pt idx="802">
                  <c:v>All Others</c:v>
                </c:pt>
                <c:pt idx="803">
                  <c:v>All Others</c:v>
                </c:pt>
                <c:pt idx="804">
                  <c:v>All Others</c:v>
                </c:pt>
                <c:pt idx="805">
                  <c:v>All Others</c:v>
                </c:pt>
                <c:pt idx="806">
                  <c:v>All Others</c:v>
                </c:pt>
                <c:pt idx="807">
                  <c:v>All Others</c:v>
                </c:pt>
                <c:pt idx="808">
                  <c:v>All Others</c:v>
                </c:pt>
                <c:pt idx="809">
                  <c:v>All Others</c:v>
                </c:pt>
                <c:pt idx="810">
                  <c:v>All Others</c:v>
                </c:pt>
                <c:pt idx="811">
                  <c:v>All Others</c:v>
                </c:pt>
                <c:pt idx="812">
                  <c:v>Kiri</c:v>
                </c:pt>
                <c:pt idx="813">
                  <c:v>All Others</c:v>
                </c:pt>
                <c:pt idx="814">
                  <c:v>All Others</c:v>
                </c:pt>
                <c:pt idx="815">
                  <c:v>All Others</c:v>
                </c:pt>
                <c:pt idx="816">
                  <c:v>All Others</c:v>
                </c:pt>
                <c:pt idx="817">
                  <c:v>All Others</c:v>
                </c:pt>
                <c:pt idx="818">
                  <c:v>All Others</c:v>
                </c:pt>
                <c:pt idx="819">
                  <c:v>All Others</c:v>
                </c:pt>
                <c:pt idx="820">
                  <c:v>All Others</c:v>
                </c:pt>
                <c:pt idx="821">
                  <c:v>All Others</c:v>
                </c:pt>
                <c:pt idx="822">
                  <c:v>All Others</c:v>
                </c:pt>
                <c:pt idx="823">
                  <c:v>All Others</c:v>
                </c:pt>
                <c:pt idx="824">
                  <c:v>All Others</c:v>
                </c:pt>
                <c:pt idx="825">
                  <c:v>All Others</c:v>
                </c:pt>
                <c:pt idx="826">
                  <c:v>All Others</c:v>
                </c:pt>
                <c:pt idx="827">
                  <c:v>All Others</c:v>
                </c:pt>
                <c:pt idx="828">
                  <c:v>All Others</c:v>
                </c:pt>
                <c:pt idx="829">
                  <c:v>Lactalis: A</c:v>
                </c:pt>
                <c:pt idx="830">
                  <c:v>All Others</c:v>
                </c:pt>
                <c:pt idx="831">
                  <c:v>All Others</c:v>
                </c:pt>
                <c:pt idx="832">
                  <c:v>Soignon</c:v>
                </c:pt>
                <c:pt idx="833">
                  <c:v>All Others</c:v>
                </c:pt>
                <c:pt idx="834">
                  <c:v>Private Lab</c:v>
                </c:pt>
                <c:pt idx="835">
                  <c:v>Eurial Autr</c:v>
                </c:pt>
                <c:pt idx="836">
                  <c:v>All Others</c:v>
                </c:pt>
                <c:pt idx="837">
                  <c:v>Private Lab</c:v>
                </c:pt>
                <c:pt idx="838">
                  <c:v>All Others</c:v>
                </c:pt>
                <c:pt idx="839">
                  <c:v>All Others</c:v>
                </c:pt>
                <c:pt idx="840">
                  <c:v>All Others</c:v>
                </c:pt>
                <c:pt idx="841">
                  <c:v>All Others</c:v>
                </c:pt>
                <c:pt idx="842">
                  <c:v>Lactalis: A</c:v>
                </c:pt>
                <c:pt idx="843">
                  <c:v>All Others</c:v>
                </c:pt>
                <c:pt idx="844">
                  <c:v>All Others</c:v>
                </c:pt>
                <c:pt idx="845">
                  <c:v>All Others</c:v>
                </c:pt>
                <c:pt idx="846">
                  <c:v>All Others</c:v>
                </c:pt>
                <c:pt idx="847">
                  <c:v>All Others</c:v>
                </c:pt>
                <c:pt idx="848">
                  <c:v>All Others</c:v>
                </c:pt>
                <c:pt idx="849">
                  <c:v>All Others</c:v>
                </c:pt>
                <c:pt idx="850">
                  <c:v>All Others</c:v>
                </c:pt>
                <c:pt idx="851">
                  <c:v>All Others</c:v>
                </c:pt>
                <c:pt idx="852">
                  <c:v>All Others</c:v>
                </c:pt>
                <c:pt idx="853">
                  <c:v>All Others</c:v>
                </c:pt>
                <c:pt idx="854">
                  <c:v>All Others</c:v>
                </c:pt>
                <c:pt idx="855">
                  <c:v>All Others</c:v>
                </c:pt>
                <c:pt idx="856">
                  <c:v>All Others</c:v>
                </c:pt>
                <c:pt idx="857">
                  <c:v>All Others</c:v>
                </c:pt>
                <c:pt idx="858">
                  <c:v>All Others</c:v>
                </c:pt>
                <c:pt idx="859">
                  <c:v>All Others</c:v>
                </c:pt>
                <c:pt idx="860">
                  <c:v>All Others</c:v>
                </c:pt>
                <c:pt idx="861">
                  <c:v>All Others</c:v>
                </c:pt>
                <c:pt idx="862">
                  <c:v>Eurial Autr</c:v>
                </c:pt>
                <c:pt idx="863">
                  <c:v>All Others</c:v>
                </c:pt>
                <c:pt idx="864">
                  <c:v>All Others</c:v>
                </c:pt>
                <c:pt idx="865">
                  <c:v>All Others</c:v>
                </c:pt>
                <c:pt idx="866">
                  <c:v>All Others</c:v>
                </c:pt>
                <c:pt idx="867">
                  <c:v>All Others</c:v>
                </c:pt>
                <c:pt idx="868">
                  <c:v>All Others</c:v>
                </c:pt>
                <c:pt idx="869">
                  <c:v>All Others</c:v>
                </c:pt>
                <c:pt idx="870">
                  <c:v>Soignon</c:v>
                </c:pt>
                <c:pt idx="871">
                  <c:v>All Others</c:v>
                </c:pt>
                <c:pt idx="872">
                  <c:v>Private Lab</c:v>
                </c:pt>
                <c:pt idx="873">
                  <c:v>All Others</c:v>
                </c:pt>
                <c:pt idx="874">
                  <c:v>All Others</c:v>
                </c:pt>
                <c:pt idx="875">
                  <c:v>All Others</c:v>
                </c:pt>
                <c:pt idx="876">
                  <c:v>All Others</c:v>
                </c:pt>
                <c:pt idx="877">
                  <c:v>All Others</c:v>
                </c:pt>
                <c:pt idx="878">
                  <c:v>All Others</c:v>
                </c:pt>
                <c:pt idx="879">
                  <c:v>Galbani</c:v>
                </c:pt>
                <c:pt idx="880">
                  <c:v>All Others</c:v>
                </c:pt>
                <c:pt idx="881">
                  <c:v>All Others</c:v>
                </c:pt>
                <c:pt idx="882">
                  <c:v>All Others</c:v>
                </c:pt>
                <c:pt idx="883">
                  <c:v>Eurial Autr</c:v>
                </c:pt>
                <c:pt idx="884">
                  <c:v>Private Lab</c:v>
                </c:pt>
                <c:pt idx="885">
                  <c:v>All Others</c:v>
                </c:pt>
                <c:pt idx="886">
                  <c:v>All Others</c:v>
                </c:pt>
                <c:pt idx="887">
                  <c:v>All Others</c:v>
                </c:pt>
                <c:pt idx="888">
                  <c:v>All Others</c:v>
                </c:pt>
                <c:pt idx="889">
                  <c:v>All Others</c:v>
                </c:pt>
                <c:pt idx="890">
                  <c:v>All Others</c:v>
                </c:pt>
                <c:pt idx="891">
                  <c:v>All Others</c:v>
                </c:pt>
                <c:pt idx="892">
                  <c:v>All Others</c:v>
                </c:pt>
                <c:pt idx="893">
                  <c:v>All Others</c:v>
                </c:pt>
                <c:pt idx="894">
                  <c:v>All Others</c:v>
                </c:pt>
                <c:pt idx="895">
                  <c:v>All Others</c:v>
                </c:pt>
                <c:pt idx="896">
                  <c:v>All Others</c:v>
                </c:pt>
                <c:pt idx="897">
                  <c:v>All Others</c:v>
                </c:pt>
                <c:pt idx="898">
                  <c:v>All Others</c:v>
                </c:pt>
                <c:pt idx="899">
                  <c:v>Triballat R</c:v>
                </c:pt>
                <c:pt idx="900">
                  <c:v>Private Lab</c:v>
                </c:pt>
                <c:pt idx="901">
                  <c:v>All Others</c:v>
                </c:pt>
                <c:pt idx="902">
                  <c:v>All Others</c:v>
                </c:pt>
                <c:pt idx="903">
                  <c:v>All Others</c:v>
                </c:pt>
                <c:pt idx="904">
                  <c:v>All Others</c:v>
                </c:pt>
                <c:pt idx="905">
                  <c:v>All Others</c:v>
                </c:pt>
                <c:pt idx="906">
                  <c:v>All Others</c:v>
                </c:pt>
                <c:pt idx="907">
                  <c:v>All Others</c:v>
                </c:pt>
                <c:pt idx="908">
                  <c:v>Islos</c:v>
                </c:pt>
                <c:pt idx="909">
                  <c:v>All Others</c:v>
                </c:pt>
                <c:pt idx="910">
                  <c:v>President</c:v>
                </c:pt>
                <c:pt idx="911">
                  <c:v>All Others</c:v>
                </c:pt>
                <c:pt idx="912">
                  <c:v>All Others</c:v>
                </c:pt>
                <c:pt idx="913">
                  <c:v>All Others</c:v>
                </c:pt>
                <c:pt idx="914">
                  <c:v>All Others</c:v>
                </c:pt>
                <c:pt idx="915">
                  <c:v>All Others</c:v>
                </c:pt>
                <c:pt idx="916">
                  <c:v>All Others</c:v>
                </c:pt>
                <c:pt idx="917">
                  <c:v>All Others</c:v>
                </c:pt>
                <c:pt idx="918">
                  <c:v>All Others</c:v>
                </c:pt>
                <c:pt idx="919">
                  <c:v>All Others</c:v>
                </c:pt>
                <c:pt idx="920">
                  <c:v>All Others</c:v>
                </c:pt>
                <c:pt idx="921">
                  <c:v>All Others</c:v>
                </c:pt>
                <c:pt idx="922">
                  <c:v>All Others</c:v>
                </c:pt>
                <c:pt idx="923">
                  <c:v>All Others</c:v>
                </c:pt>
                <c:pt idx="924">
                  <c:v>All Others</c:v>
                </c:pt>
                <c:pt idx="925">
                  <c:v>All Others</c:v>
                </c:pt>
                <c:pt idx="926">
                  <c:v>All Others</c:v>
                </c:pt>
                <c:pt idx="927">
                  <c:v>All Others</c:v>
                </c:pt>
                <c:pt idx="928">
                  <c:v>All Others</c:v>
                </c:pt>
                <c:pt idx="929">
                  <c:v>Boursin</c:v>
                </c:pt>
                <c:pt idx="930">
                  <c:v>All Others</c:v>
                </c:pt>
                <c:pt idx="931">
                  <c:v>All Others</c:v>
                </c:pt>
                <c:pt idx="932">
                  <c:v>All Others</c:v>
                </c:pt>
                <c:pt idx="933">
                  <c:v>All Others</c:v>
                </c:pt>
                <c:pt idx="934">
                  <c:v>All Others</c:v>
                </c:pt>
                <c:pt idx="935">
                  <c:v>All Others</c:v>
                </c:pt>
                <c:pt idx="936">
                  <c:v>Caprice Des</c:v>
                </c:pt>
                <c:pt idx="937">
                  <c:v>Private Lab</c:v>
                </c:pt>
                <c:pt idx="938">
                  <c:v>All Others</c:v>
                </c:pt>
                <c:pt idx="939">
                  <c:v>Private Lab</c:v>
                </c:pt>
                <c:pt idx="940">
                  <c:v>All Others</c:v>
                </c:pt>
                <c:pt idx="941">
                  <c:v>All Others</c:v>
                </c:pt>
                <c:pt idx="942">
                  <c:v>All Others</c:v>
                </c:pt>
                <c:pt idx="943">
                  <c:v>Private Lab</c:v>
                </c:pt>
                <c:pt idx="944">
                  <c:v>Savencia: A</c:v>
                </c:pt>
              </c:strCache>
            </c:strRef>
          </c:cat>
          <c:val>
            <c:numRef>
              <c:f>Sheet1!$B$2:$B$946</c:f>
              <c:numCache>
                <c:formatCode>General</c:formatCode>
                <c:ptCount val="945"/>
                <c:pt idx="0">
                  <c:v>0.99</c:v>
                </c:pt>
                <c:pt idx="1">
                  <c:v>0.35</c:v>
                </c:pt>
                <c:pt idx="2">
                  <c:v>1</c:v>
                </c:pt>
                <c:pt idx="3">
                  <c:v>1</c:v>
                </c:pt>
                <c:pt idx="4">
                  <c:v>0.99</c:v>
                </c:pt>
                <c:pt idx="5">
                  <c:v>1</c:v>
                </c:pt>
                <c:pt idx="6">
                  <c:v>0.99</c:v>
                </c:pt>
                <c:pt idx="7">
                  <c:v>1</c:v>
                </c:pt>
                <c:pt idx="8">
                  <c:v>1</c:v>
                </c:pt>
                <c:pt idx="9">
                  <c:v>1</c:v>
                </c:pt>
                <c:pt idx="10">
                  <c:v>0.99</c:v>
                </c:pt>
                <c:pt idx="11">
                  <c:v>1</c:v>
                </c:pt>
                <c:pt idx="12">
                  <c:v>1</c:v>
                </c:pt>
                <c:pt idx="13">
                  <c:v>0.96</c:v>
                </c:pt>
                <c:pt idx="14">
                  <c:v>1</c:v>
                </c:pt>
                <c:pt idx="15">
                  <c:v>0.96</c:v>
                </c:pt>
                <c:pt idx="16">
                  <c:v>0.98</c:v>
                </c:pt>
                <c:pt idx="17">
                  <c:v>1</c:v>
                </c:pt>
                <c:pt idx="18">
                  <c:v>1</c:v>
                </c:pt>
                <c:pt idx="19">
                  <c:v>0.89</c:v>
                </c:pt>
                <c:pt idx="20">
                  <c:v>0.99</c:v>
                </c:pt>
                <c:pt idx="21">
                  <c:v>0.99</c:v>
                </c:pt>
                <c:pt idx="22">
                  <c:v>0.99</c:v>
                </c:pt>
                <c:pt idx="23">
                  <c:v>1</c:v>
                </c:pt>
                <c:pt idx="24">
                  <c:v>0.99</c:v>
                </c:pt>
                <c:pt idx="25">
                  <c:v>0.99</c:v>
                </c:pt>
                <c:pt idx="26">
                  <c:v>0.99</c:v>
                </c:pt>
                <c:pt idx="27">
                  <c:v>0.95</c:v>
                </c:pt>
                <c:pt idx="28">
                  <c:v>0.86</c:v>
                </c:pt>
                <c:pt idx="29">
                  <c:v>0.95</c:v>
                </c:pt>
                <c:pt idx="30">
                  <c:v>1</c:v>
                </c:pt>
                <c:pt idx="31">
                  <c:v>0.95</c:v>
                </c:pt>
                <c:pt idx="32">
                  <c:v>0.98</c:v>
                </c:pt>
                <c:pt idx="33">
                  <c:v>0.97</c:v>
                </c:pt>
                <c:pt idx="34">
                  <c:v>1</c:v>
                </c:pt>
                <c:pt idx="35">
                  <c:v>0.97</c:v>
                </c:pt>
                <c:pt idx="36">
                  <c:v>1</c:v>
                </c:pt>
                <c:pt idx="37">
                  <c:v>1</c:v>
                </c:pt>
                <c:pt idx="38">
                  <c:v>0.99</c:v>
                </c:pt>
                <c:pt idx="39">
                  <c:v>0.88</c:v>
                </c:pt>
                <c:pt idx="40">
                  <c:v>0.95</c:v>
                </c:pt>
                <c:pt idx="41">
                  <c:v>0.99</c:v>
                </c:pt>
                <c:pt idx="42">
                  <c:v>0.95</c:v>
                </c:pt>
                <c:pt idx="43">
                  <c:v>0.99</c:v>
                </c:pt>
                <c:pt idx="44">
                  <c:v>1</c:v>
                </c:pt>
                <c:pt idx="45">
                  <c:v>0.98</c:v>
                </c:pt>
                <c:pt idx="46">
                  <c:v>0.99</c:v>
                </c:pt>
                <c:pt idx="47">
                  <c:v>0.93</c:v>
                </c:pt>
                <c:pt idx="48">
                  <c:v>0.97</c:v>
                </c:pt>
                <c:pt idx="49">
                  <c:v>0.95</c:v>
                </c:pt>
                <c:pt idx="50">
                  <c:v>0.98</c:v>
                </c:pt>
                <c:pt idx="51">
                  <c:v>0.98</c:v>
                </c:pt>
                <c:pt idx="52">
                  <c:v>0.95</c:v>
                </c:pt>
                <c:pt idx="53">
                  <c:v>0.98</c:v>
                </c:pt>
                <c:pt idx="54">
                  <c:v>0.99</c:v>
                </c:pt>
                <c:pt idx="55">
                  <c:v>1</c:v>
                </c:pt>
                <c:pt idx="56">
                  <c:v>0.97</c:v>
                </c:pt>
                <c:pt idx="57">
                  <c:v>0.98</c:v>
                </c:pt>
                <c:pt idx="58">
                  <c:v>0.89</c:v>
                </c:pt>
                <c:pt idx="59">
                  <c:v>0.98</c:v>
                </c:pt>
                <c:pt idx="60">
                  <c:v>0.98</c:v>
                </c:pt>
                <c:pt idx="61">
                  <c:v>0.99</c:v>
                </c:pt>
                <c:pt idx="62">
                  <c:v>1</c:v>
                </c:pt>
                <c:pt idx="63">
                  <c:v>0.99</c:v>
                </c:pt>
                <c:pt idx="64">
                  <c:v>0.99</c:v>
                </c:pt>
                <c:pt idx="65">
                  <c:v>0.98</c:v>
                </c:pt>
                <c:pt idx="66">
                  <c:v>0.95</c:v>
                </c:pt>
                <c:pt idx="67">
                  <c:v>0.91</c:v>
                </c:pt>
                <c:pt idx="68">
                  <c:v>0.98</c:v>
                </c:pt>
                <c:pt idx="69">
                  <c:v>0.91</c:v>
                </c:pt>
                <c:pt idx="70">
                  <c:v>1</c:v>
                </c:pt>
                <c:pt idx="71">
                  <c:v>0.99</c:v>
                </c:pt>
                <c:pt idx="72">
                  <c:v>0.93</c:v>
                </c:pt>
                <c:pt idx="73">
                  <c:v>0.97</c:v>
                </c:pt>
                <c:pt idx="74">
                  <c:v>0.96</c:v>
                </c:pt>
                <c:pt idx="75">
                  <c:v>0.99</c:v>
                </c:pt>
                <c:pt idx="76">
                  <c:v>0.94</c:v>
                </c:pt>
                <c:pt idx="77">
                  <c:v>1</c:v>
                </c:pt>
                <c:pt idx="78">
                  <c:v>0.94</c:v>
                </c:pt>
                <c:pt idx="79">
                  <c:v>0.98</c:v>
                </c:pt>
                <c:pt idx="80">
                  <c:v>0.93</c:v>
                </c:pt>
                <c:pt idx="81">
                  <c:v>0.85</c:v>
                </c:pt>
                <c:pt idx="82">
                  <c:v>0.91</c:v>
                </c:pt>
                <c:pt idx="83">
                  <c:v>0.92</c:v>
                </c:pt>
                <c:pt idx="84">
                  <c:v>1</c:v>
                </c:pt>
                <c:pt idx="85">
                  <c:v>0.89</c:v>
                </c:pt>
                <c:pt idx="86">
                  <c:v>0.94</c:v>
                </c:pt>
                <c:pt idx="87">
                  <c:v>0.93</c:v>
                </c:pt>
                <c:pt idx="88">
                  <c:v>0.99</c:v>
                </c:pt>
                <c:pt idx="89">
                  <c:v>0.96</c:v>
                </c:pt>
                <c:pt idx="90">
                  <c:v>0.97</c:v>
                </c:pt>
                <c:pt idx="91">
                  <c:v>0.83</c:v>
                </c:pt>
                <c:pt idx="92">
                  <c:v>0.97</c:v>
                </c:pt>
                <c:pt idx="93">
                  <c:v>0.91</c:v>
                </c:pt>
                <c:pt idx="94">
                  <c:v>0.95</c:v>
                </c:pt>
                <c:pt idx="95">
                  <c:v>0.93</c:v>
                </c:pt>
                <c:pt idx="96">
                  <c:v>0.92</c:v>
                </c:pt>
                <c:pt idx="97">
                  <c:v>0.73</c:v>
                </c:pt>
                <c:pt idx="98">
                  <c:v>0.99</c:v>
                </c:pt>
                <c:pt idx="99">
                  <c:v>0.88</c:v>
                </c:pt>
                <c:pt idx="100">
                  <c:v>0.95</c:v>
                </c:pt>
                <c:pt idx="101">
                  <c:v>1</c:v>
                </c:pt>
                <c:pt idx="102">
                  <c:v>0.96</c:v>
                </c:pt>
                <c:pt idx="103">
                  <c:v>0.99</c:v>
                </c:pt>
                <c:pt idx="104">
                  <c:v>0.92</c:v>
                </c:pt>
                <c:pt idx="105">
                  <c:v>0.86</c:v>
                </c:pt>
                <c:pt idx="106">
                  <c:v>0.91</c:v>
                </c:pt>
                <c:pt idx="107">
                  <c:v>0.82</c:v>
                </c:pt>
                <c:pt idx="108">
                  <c:v>0.67</c:v>
                </c:pt>
                <c:pt idx="109">
                  <c:v>0.83</c:v>
                </c:pt>
                <c:pt idx="110">
                  <c:v>0.66</c:v>
                </c:pt>
                <c:pt idx="111">
                  <c:v>0.98</c:v>
                </c:pt>
                <c:pt idx="112">
                  <c:v>0.94</c:v>
                </c:pt>
                <c:pt idx="113">
                  <c:v>0.75</c:v>
                </c:pt>
                <c:pt idx="114">
                  <c:v>0.97</c:v>
                </c:pt>
                <c:pt idx="115">
                  <c:v>1</c:v>
                </c:pt>
                <c:pt idx="116">
                  <c:v>0.92</c:v>
                </c:pt>
                <c:pt idx="117">
                  <c:v>0.96</c:v>
                </c:pt>
                <c:pt idx="118">
                  <c:v>0.99</c:v>
                </c:pt>
                <c:pt idx="119">
                  <c:v>0.72</c:v>
                </c:pt>
                <c:pt idx="120">
                  <c:v>0.96</c:v>
                </c:pt>
                <c:pt idx="121">
                  <c:v>0.98</c:v>
                </c:pt>
                <c:pt idx="122">
                  <c:v>0.84</c:v>
                </c:pt>
                <c:pt idx="123">
                  <c:v>0.61</c:v>
                </c:pt>
                <c:pt idx="124">
                  <c:v>0.46</c:v>
                </c:pt>
                <c:pt idx="125">
                  <c:v>0.91</c:v>
                </c:pt>
                <c:pt idx="126">
                  <c:v>0.99</c:v>
                </c:pt>
                <c:pt idx="127">
                  <c:v>0.94</c:v>
                </c:pt>
                <c:pt idx="128">
                  <c:v>0.79</c:v>
                </c:pt>
                <c:pt idx="129">
                  <c:v>0.68</c:v>
                </c:pt>
                <c:pt idx="130">
                  <c:v>0.89</c:v>
                </c:pt>
                <c:pt idx="131">
                  <c:v>0.69</c:v>
                </c:pt>
                <c:pt idx="132">
                  <c:v>0.91</c:v>
                </c:pt>
                <c:pt idx="133">
                  <c:v>0.77</c:v>
                </c:pt>
                <c:pt idx="134">
                  <c:v>0.87</c:v>
                </c:pt>
                <c:pt idx="135">
                  <c:v>0.94</c:v>
                </c:pt>
                <c:pt idx="136">
                  <c:v>0.95</c:v>
                </c:pt>
                <c:pt idx="137">
                  <c:v>0.86</c:v>
                </c:pt>
                <c:pt idx="138">
                  <c:v>0.78</c:v>
                </c:pt>
                <c:pt idx="139">
                  <c:v>0.67</c:v>
                </c:pt>
                <c:pt idx="140">
                  <c:v>0.73</c:v>
                </c:pt>
                <c:pt idx="141">
                  <c:v>1</c:v>
                </c:pt>
                <c:pt idx="142">
                  <c:v>0.71</c:v>
                </c:pt>
                <c:pt idx="143">
                  <c:v>0.81</c:v>
                </c:pt>
                <c:pt idx="144">
                  <c:v>0.94</c:v>
                </c:pt>
                <c:pt idx="145">
                  <c:v>0.79</c:v>
                </c:pt>
                <c:pt idx="146">
                  <c:v>0.99</c:v>
                </c:pt>
                <c:pt idx="147">
                  <c:v>0.84</c:v>
                </c:pt>
                <c:pt idx="148">
                  <c:v>0.89</c:v>
                </c:pt>
                <c:pt idx="149">
                  <c:v>0.75</c:v>
                </c:pt>
                <c:pt idx="150">
                  <c:v>0.71</c:v>
                </c:pt>
                <c:pt idx="151">
                  <c:v>0.96</c:v>
                </c:pt>
                <c:pt idx="152">
                  <c:v>0.71</c:v>
                </c:pt>
                <c:pt idx="153">
                  <c:v>0.87</c:v>
                </c:pt>
                <c:pt idx="154">
                  <c:v>0.81</c:v>
                </c:pt>
                <c:pt idx="155">
                  <c:v>0.75</c:v>
                </c:pt>
                <c:pt idx="156">
                  <c:v>0.65</c:v>
                </c:pt>
                <c:pt idx="157">
                  <c:v>0.75</c:v>
                </c:pt>
                <c:pt idx="158">
                  <c:v>0.52</c:v>
                </c:pt>
                <c:pt idx="159">
                  <c:v>0.6</c:v>
                </c:pt>
                <c:pt idx="160">
                  <c:v>0.74</c:v>
                </c:pt>
                <c:pt idx="161">
                  <c:v>0.6</c:v>
                </c:pt>
                <c:pt idx="162">
                  <c:v>0.27</c:v>
                </c:pt>
                <c:pt idx="163">
                  <c:v>0.57999999999999996</c:v>
                </c:pt>
                <c:pt idx="164">
                  <c:v>0.71</c:v>
                </c:pt>
                <c:pt idx="165">
                  <c:v>0.76</c:v>
                </c:pt>
                <c:pt idx="166">
                  <c:v>0.92</c:v>
                </c:pt>
                <c:pt idx="167">
                  <c:v>0.55000000000000004</c:v>
                </c:pt>
                <c:pt idx="168">
                  <c:v>0.68</c:v>
                </c:pt>
                <c:pt idx="169">
                  <c:v>0.6</c:v>
                </c:pt>
                <c:pt idx="170">
                  <c:v>1</c:v>
                </c:pt>
                <c:pt idx="171">
                  <c:v>0.99</c:v>
                </c:pt>
                <c:pt idx="172">
                  <c:v>0.8</c:v>
                </c:pt>
                <c:pt idx="173">
                  <c:v>0.8</c:v>
                </c:pt>
                <c:pt idx="174">
                  <c:v>0.75</c:v>
                </c:pt>
                <c:pt idx="175">
                  <c:v>0.87</c:v>
                </c:pt>
                <c:pt idx="176">
                  <c:v>0.85</c:v>
                </c:pt>
                <c:pt idx="177">
                  <c:v>0.64</c:v>
                </c:pt>
                <c:pt idx="178">
                  <c:v>0.59</c:v>
                </c:pt>
                <c:pt idx="179">
                  <c:v>0.64</c:v>
                </c:pt>
                <c:pt idx="180">
                  <c:v>0.97</c:v>
                </c:pt>
                <c:pt idx="181">
                  <c:v>0.67</c:v>
                </c:pt>
                <c:pt idx="182">
                  <c:v>0.56000000000000005</c:v>
                </c:pt>
                <c:pt idx="183">
                  <c:v>0.89</c:v>
                </c:pt>
                <c:pt idx="184">
                  <c:v>0.92</c:v>
                </c:pt>
                <c:pt idx="185">
                  <c:v>0.98</c:v>
                </c:pt>
                <c:pt idx="186">
                  <c:v>0.79</c:v>
                </c:pt>
                <c:pt idx="187">
                  <c:v>0.77</c:v>
                </c:pt>
                <c:pt idx="188">
                  <c:v>0.8</c:v>
                </c:pt>
                <c:pt idx="189">
                  <c:v>0.92</c:v>
                </c:pt>
                <c:pt idx="190">
                  <c:v>0.99</c:v>
                </c:pt>
                <c:pt idx="191">
                  <c:v>0.69</c:v>
                </c:pt>
                <c:pt idx="192">
                  <c:v>0.56000000000000005</c:v>
                </c:pt>
                <c:pt idx="193">
                  <c:v>0.4</c:v>
                </c:pt>
                <c:pt idx="194">
                  <c:v>0.41</c:v>
                </c:pt>
                <c:pt idx="195">
                  <c:v>0.61</c:v>
                </c:pt>
                <c:pt idx="196">
                  <c:v>0.79</c:v>
                </c:pt>
                <c:pt idx="197">
                  <c:v>0.81</c:v>
                </c:pt>
                <c:pt idx="198">
                  <c:v>0.73</c:v>
                </c:pt>
                <c:pt idx="199">
                  <c:v>0.9</c:v>
                </c:pt>
                <c:pt idx="200">
                  <c:v>0.67</c:v>
                </c:pt>
                <c:pt idx="201">
                  <c:v>0.6</c:v>
                </c:pt>
                <c:pt idx="202">
                  <c:v>0.67</c:v>
                </c:pt>
                <c:pt idx="203">
                  <c:v>0.81</c:v>
                </c:pt>
                <c:pt idx="204">
                  <c:v>0.61</c:v>
                </c:pt>
                <c:pt idx="205">
                  <c:v>0.31</c:v>
                </c:pt>
                <c:pt idx="206">
                  <c:v>0.32</c:v>
                </c:pt>
                <c:pt idx="207">
                  <c:v>0.39</c:v>
                </c:pt>
                <c:pt idx="208">
                  <c:v>0.85</c:v>
                </c:pt>
                <c:pt idx="209">
                  <c:v>0.42</c:v>
                </c:pt>
                <c:pt idx="210">
                  <c:v>0.9</c:v>
                </c:pt>
                <c:pt idx="211">
                  <c:v>0.62</c:v>
                </c:pt>
                <c:pt idx="212">
                  <c:v>0.55000000000000004</c:v>
                </c:pt>
                <c:pt idx="213">
                  <c:v>0.57999999999999996</c:v>
                </c:pt>
                <c:pt idx="214">
                  <c:v>0.5</c:v>
                </c:pt>
                <c:pt idx="215">
                  <c:v>0.84</c:v>
                </c:pt>
                <c:pt idx="216">
                  <c:v>0.82</c:v>
                </c:pt>
                <c:pt idx="217">
                  <c:v>0.02</c:v>
                </c:pt>
                <c:pt idx="218">
                  <c:v>0.74</c:v>
                </c:pt>
                <c:pt idx="219">
                  <c:v>0.78</c:v>
                </c:pt>
                <c:pt idx="220">
                  <c:v>0.64</c:v>
                </c:pt>
                <c:pt idx="221">
                  <c:v>0.62</c:v>
                </c:pt>
                <c:pt idx="222">
                  <c:v>0.64</c:v>
                </c:pt>
                <c:pt idx="223">
                  <c:v>0.5</c:v>
                </c:pt>
                <c:pt idx="224">
                  <c:v>0.36</c:v>
                </c:pt>
                <c:pt idx="225">
                  <c:v>0.67</c:v>
                </c:pt>
                <c:pt idx="226">
                  <c:v>0.57999999999999996</c:v>
                </c:pt>
                <c:pt idx="227">
                  <c:v>0.45</c:v>
                </c:pt>
                <c:pt idx="228">
                  <c:v>0.72</c:v>
                </c:pt>
                <c:pt idx="229">
                  <c:v>0.75</c:v>
                </c:pt>
                <c:pt idx="230">
                  <c:v>0.94</c:v>
                </c:pt>
                <c:pt idx="231">
                  <c:v>0.91</c:v>
                </c:pt>
                <c:pt idx="232">
                  <c:v>0.97</c:v>
                </c:pt>
                <c:pt idx="233">
                  <c:v>0.93</c:v>
                </c:pt>
                <c:pt idx="234">
                  <c:v>0.56000000000000005</c:v>
                </c:pt>
                <c:pt idx="235">
                  <c:v>0.51</c:v>
                </c:pt>
                <c:pt idx="236">
                  <c:v>0.4</c:v>
                </c:pt>
                <c:pt idx="237">
                  <c:v>0.95</c:v>
                </c:pt>
                <c:pt idx="238">
                  <c:v>0.11</c:v>
                </c:pt>
                <c:pt idx="239">
                  <c:v>0.61</c:v>
                </c:pt>
                <c:pt idx="240">
                  <c:v>0.39</c:v>
                </c:pt>
                <c:pt idx="241">
                  <c:v>0.52</c:v>
                </c:pt>
                <c:pt idx="242">
                  <c:v>0.81</c:v>
                </c:pt>
                <c:pt idx="243">
                  <c:v>0.45</c:v>
                </c:pt>
                <c:pt idx="244">
                  <c:v>0.63</c:v>
                </c:pt>
                <c:pt idx="245">
                  <c:v>0.5</c:v>
                </c:pt>
                <c:pt idx="246">
                  <c:v>0.65</c:v>
                </c:pt>
                <c:pt idx="247">
                  <c:v>0.72</c:v>
                </c:pt>
                <c:pt idx="248">
                  <c:v>0.74</c:v>
                </c:pt>
                <c:pt idx="249">
                  <c:v>0.57999999999999996</c:v>
                </c:pt>
                <c:pt idx="250">
                  <c:v>0.42</c:v>
                </c:pt>
                <c:pt idx="251">
                  <c:v>0.14000000000000001</c:v>
                </c:pt>
                <c:pt idx="252">
                  <c:v>0.48</c:v>
                </c:pt>
                <c:pt idx="253">
                  <c:v>0.81</c:v>
                </c:pt>
                <c:pt idx="254">
                  <c:v>0.67</c:v>
                </c:pt>
                <c:pt idx="255">
                  <c:v>0.35</c:v>
                </c:pt>
                <c:pt idx="256">
                  <c:v>0.52</c:v>
                </c:pt>
                <c:pt idx="257">
                  <c:v>0.63</c:v>
                </c:pt>
                <c:pt idx="258">
                  <c:v>0.54</c:v>
                </c:pt>
                <c:pt idx="259">
                  <c:v>0.86</c:v>
                </c:pt>
                <c:pt idx="260">
                  <c:v>0.51</c:v>
                </c:pt>
                <c:pt idx="261">
                  <c:v>0.62</c:v>
                </c:pt>
                <c:pt idx="262">
                  <c:v>0.46</c:v>
                </c:pt>
                <c:pt idx="263">
                  <c:v>0.83</c:v>
                </c:pt>
                <c:pt idx="264">
                  <c:v>0.85</c:v>
                </c:pt>
                <c:pt idx="265">
                  <c:v>0.35</c:v>
                </c:pt>
                <c:pt idx="266">
                  <c:v>0.49</c:v>
                </c:pt>
                <c:pt idx="267">
                  <c:v>0.56000000000000005</c:v>
                </c:pt>
                <c:pt idx="268">
                  <c:v>0.55000000000000004</c:v>
                </c:pt>
                <c:pt idx="269">
                  <c:v>0.56000000000000005</c:v>
                </c:pt>
                <c:pt idx="270">
                  <c:v>0.79</c:v>
                </c:pt>
                <c:pt idx="271">
                  <c:v>0.08</c:v>
                </c:pt>
                <c:pt idx="272">
                  <c:v>0.15</c:v>
                </c:pt>
                <c:pt idx="273">
                  <c:v>0.45</c:v>
                </c:pt>
                <c:pt idx="274">
                  <c:v>0.25</c:v>
                </c:pt>
                <c:pt idx="275">
                  <c:v>0.56000000000000005</c:v>
                </c:pt>
                <c:pt idx="276">
                  <c:v>0.69</c:v>
                </c:pt>
                <c:pt idx="277">
                  <c:v>0.39</c:v>
                </c:pt>
                <c:pt idx="278">
                  <c:v>0.66</c:v>
                </c:pt>
                <c:pt idx="279">
                  <c:v>7.0000000000000007E-2</c:v>
                </c:pt>
                <c:pt idx="280">
                  <c:v>0.6</c:v>
                </c:pt>
                <c:pt idx="281">
                  <c:v>0.56000000000000005</c:v>
                </c:pt>
                <c:pt idx="282">
                  <c:v>0.71</c:v>
                </c:pt>
                <c:pt idx="283">
                  <c:v>0.48</c:v>
                </c:pt>
                <c:pt idx="284">
                  <c:v>0.61</c:v>
                </c:pt>
                <c:pt idx="285">
                  <c:v>0.03</c:v>
                </c:pt>
                <c:pt idx="286">
                  <c:v>0.44</c:v>
                </c:pt>
                <c:pt idx="287">
                  <c:v>0.57999999999999996</c:v>
                </c:pt>
                <c:pt idx="288">
                  <c:v>0.5</c:v>
                </c:pt>
                <c:pt idx="289">
                  <c:v>0.39</c:v>
                </c:pt>
                <c:pt idx="290">
                  <c:v>0.21</c:v>
                </c:pt>
                <c:pt idx="291">
                  <c:v>0.48</c:v>
                </c:pt>
                <c:pt idx="292">
                  <c:v>0.44</c:v>
                </c:pt>
                <c:pt idx="293">
                  <c:v>0.28999999999999998</c:v>
                </c:pt>
                <c:pt idx="294">
                  <c:v>0.68</c:v>
                </c:pt>
                <c:pt idx="295">
                  <c:v>0.24</c:v>
                </c:pt>
                <c:pt idx="296">
                  <c:v>0.6</c:v>
                </c:pt>
                <c:pt idx="297">
                  <c:v>0.17</c:v>
                </c:pt>
                <c:pt idx="298">
                  <c:v>0.66</c:v>
                </c:pt>
                <c:pt idx="299">
                  <c:v>0.19</c:v>
                </c:pt>
                <c:pt idx="300">
                  <c:v>0.63</c:v>
                </c:pt>
                <c:pt idx="301">
                  <c:v>0.59</c:v>
                </c:pt>
                <c:pt idx="302">
                  <c:v>0.64</c:v>
                </c:pt>
                <c:pt idx="303">
                  <c:v>0.49</c:v>
                </c:pt>
                <c:pt idx="304">
                  <c:v>0.64</c:v>
                </c:pt>
                <c:pt idx="305">
                  <c:v>0.11</c:v>
                </c:pt>
                <c:pt idx="306">
                  <c:v>0.27</c:v>
                </c:pt>
                <c:pt idx="307">
                  <c:v>0.49</c:v>
                </c:pt>
                <c:pt idx="308">
                  <c:v>0.55000000000000004</c:v>
                </c:pt>
                <c:pt idx="309">
                  <c:v>0.5</c:v>
                </c:pt>
                <c:pt idx="310">
                  <c:v>0.42</c:v>
                </c:pt>
                <c:pt idx="311">
                  <c:v>0.72</c:v>
                </c:pt>
                <c:pt idx="312">
                  <c:v>0.02</c:v>
                </c:pt>
                <c:pt idx="313">
                  <c:v>0.17</c:v>
                </c:pt>
                <c:pt idx="314">
                  <c:v>0.51</c:v>
                </c:pt>
                <c:pt idx="315">
                  <c:v>0.4</c:v>
                </c:pt>
                <c:pt idx="316">
                  <c:v>0.43</c:v>
                </c:pt>
                <c:pt idx="317">
                  <c:v>0.49</c:v>
                </c:pt>
                <c:pt idx="318">
                  <c:v>0.23</c:v>
                </c:pt>
                <c:pt idx="319">
                  <c:v>0.71</c:v>
                </c:pt>
                <c:pt idx="320">
                  <c:v>0.72</c:v>
                </c:pt>
                <c:pt idx="321">
                  <c:v>0.53</c:v>
                </c:pt>
                <c:pt idx="322">
                  <c:v>0.04</c:v>
                </c:pt>
                <c:pt idx="323">
                  <c:v>0.19</c:v>
                </c:pt>
                <c:pt idx="324">
                  <c:v>0.5</c:v>
                </c:pt>
                <c:pt idx="325">
                  <c:v>0.76</c:v>
                </c:pt>
                <c:pt idx="326">
                  <c:v>0.3</c:v>
                </c:pt>
                <c:pt idx="327">
                  <c:v>0.35</c:v>
                </c:pt>
                <c:pt idx="328">
                  <c:v>0.5</c:v>
                </c:pt>
                <c:pt idx="329">
                  <c:v>0.02</c:v>
                </c:pt>
                <c:pt idx="330">
                  <c:v>0.45</c:v>
                </c:pt>
                <c:pt idx="331">
                  <c:v>0.66</c:v>
                </c:pt>
                <c:pt idx="332">
                  <c:v>0.65</c:v>
                </c:pt>
                <c:pt idx="333">
                  <c:v>0.59</c:v>
                </c:pt>
                <c:pt idx="334">
                  <c:v>0.36</c:v>
                </c:pt>
                <c:pt idx="335">
                  <c:v>0.18</c:v>
                </c:pt>
                <c:pt idx="336">
                  <c:v>0.78</c:v>
                </c:pt>
                <c:pt idx="337">
                  <c:v>7.0000000000000007E-2</c:v>
                </c:pt>
                <c:pt idx="338">
                  <c:v>0.21</c:v>
                </c:pt>
                <c:pt idx="339">
                  <c:v>0.01</c:v>
                </c:pt>
                <c:pt idx="340">
                  <c:v>0.01</c:v>
                </c:pt>
                <c:pt idx="341">
                  <c:v>0.14000000000000001</c:v>
                </c:pt>
                <c:pt idx="342">
                  <c:v>0.19</c:v>
                </c:pt>
                <c:pt idx="343">
                  <c:v>0.84</c:v>
                </c:pt>
                <c:pt idx="344">
                  <c:v>0.01</c:v>
                </c:pt>
                <c:pt idx="345">
                  <c:v>0.72</c:v>
                </c:pt>
                <c:pt idx="346">
                  <c:v>0.28000000000000003</c:v>
                </c:pt>
                <c:pt idx="347">
                  <c:v>0.02</c:v>
                </c:pt>
                <c:pt idx="348">
                  <c:v>0.43</c:v>
                </c:pt>
                <c:pt idx="349">
                  <c:v>0.05</c:v>
                </c:pt>
                <c:pt idx="350">
                  <c:v>0.15</c:v>
                </c:pt>
                <c:pt idx="351">
                  <c:v>0.03</c:v>
                </c:pt>
                <c:pt idx="352">
                  <c:v>0.71</c:v>
                </c:pt>
                <c:pt idx="353">
                  <c:v>0.01</c:v>
                </c:pt>
                <c:pt idx="354">
                  <c:v>0.67</c:v>
                </c:pt>
                <c:pt idx="355">
                  <c:v>0.3</c:v>
                </c:pt>
                <c:pt idx="356">
                  <c:v>0.12</c:v>
                </c:pt>
                <c:pt idx="357">
                  <c:v>0.48</c:v>
                </c:pt>
                <c:pt idx="358">
                  <c:v>0.79</c:v>
                </c:pt>
                <c:pt idx="359">
                  <c:v>0.15</c:v>
                </c:pt>
                <c:pt idx="360">
                  <c:v>0.02</c:v>
                </c:pt>
                <c:pt idx="361">
                  <c:v>0.71</c:v>
                </c:pt>
                <c:pt idx="362">
                  <c:v>0.63</c:v>
                </c:pt>
                <c:pt idx="363">
                  <c:v>0.06</c:v>
                </c:pt>
                <c:pt idx="364">
                  <c:v>0.56999999999999995</c:v>
                </c:pt>
                <c:pt idx="365">
                  <c:v>0.69</c:v>
                </c:pt>
                <c:pt idx="366">
                  <c:v>0.38</c:v>
                </c:pt>
                <c:pt idx="367">
                  <c:v>0.17</c:v>
                </c:pt>
                <c:pt idx="368">
                  <c:v>0.28999999999999998</c:v>
                </c:pt>
                <c:pt idx="369">
                  <c:v>0.14000000000000001</c:v>
                </c:pt>
                <c:pt idx="370">
                  <c:v>0.22</c:v>
                </c:pt>
                <c:pt idx="371">
                  <c:v>0.5</c:v>
                </c:pt>
                <c:pt idx="372">
                  <c:v>0.14000000000000001</c:v>
                </c:pt>
                <c:pt idx="373">
                  <c:v>7.0000000000000007E-2</c:v>
                </c:pt>
                <c:pt idx="374">
                  <c:v>0.04</c:v>
                </c:pt>
                <c:pt idx="375">
                  <c:v>0.05</c:v>
                </c:pt>
                <c:pt idx="376">
                  <c:v>0.02</c:v>
                </c:pt>
                <c:pt idx="377">
                  <c:v>0.03</c:v>
                </c:pt>
                <c:pt idx="378">
                  <c:v>0.16</c:v>
                </c:pt>
                <c:pt idx="379">
                  <c:v>0.42</c:v>
                </c:pt>
                <c:pt idx="380">
                  <c:v>0.42</c:v>
                </c:pt>
                <c:pt idx="381">
                  <c:v>7.0000000000000007E-2</c:v>
                </c:pt>
                <c:pt idx="382">
                  <c:v>0.09</c:v>
                </c:pt>
                <c:pt idx="383">
                  <c:v>0.27</c:v>
                </c:pt>
                <c:pt idx="384">
                  <c:v>0.15</c:v>
                </c:pt>
                <c:pt idx="385">
                  <c:v>0.56999999999999995</c:v>
                </c:pt>
                <c:pt idx="386">
                  <c:v>0.64</c:v>
                </c:pt>
                <c:pt idx="387">
                  <c:v>0.09</c:v>
                </c:pt>
                <c:pt idx="388">
                  <c:v>0.25</c:v>
                </c:pt>
                <c:pt idx="389">
                  <c:v>0.51</c:v>
                </c:pt>
                <c:pt idx="390">
                  <c:v>0.6</c:v>
                </c:pt>
                <c:pt idx="391">
                  <c:v>0.02</c:v>
                </c:pt>
                <c:pt idx="392">
                  <c:v>0.09</c:v>
                </c:pt>
                <c:pt idx="393">
                  <c:v>0.31</c:v>
                </c:pt>
                <c:pt idx="394">
                  <c:v>0.41</c:v>
                </c:pt>
                <c:pt idx="395">
                  <c:v>0.06</c:v>
                </c:pt>
                <c:pt idx="396">
                  <c:v>0.13</c:v>
                </c:pt>
                <c:pt idx="397">
                  <c:v>0.37</c:v>
                </c:pt>
                <c:pt idx="398">
                  <c:v>0.04</c:v>
                </c:pt>
                <c:pt idx="399">
                  <c:v>0.16</c:v>
                </c:pt>
                <c:pt idx="400">
                  <c:v>0.36</c:v>
                </c:pt>
                <c:pt idx="401">
                  <c:v>0.52</c:v>
                </c:pt>
                <c:pt idx="402">
                  <c:v>0.1</c:v>
                </c:pt>
                <c:pt idx="403">
                  <c:v>0.11</c:v>
                </c:pt>
                <c:pt idx="404">
                  <c:v>0.35</c:v>
                </c:pt>
                <c:pt idx="405">
                  <c:v>0.06</c:v>
                </c:pt>
                <c:pt idx="406">
                  <c:v>0.16</c:v>
                </c:pt>
                <c:pt idx="407">
                  <c:v>0.31</c:v>
                </c:pt>
                <c:pt idx="408">
                  <c:v>7.0000000000000007E-2</c:v>
                </c:pt>
                <c:pt idx="409">
                  <c:v>0.09</c:v>
                </c:pt>
                <c:pt idx="410">
                  <c:v>0.64</c:v>
                </c:pt>
                <c:pt idx="411">
                  <c:v>0.01</c:v>
                </c:pt>
                <c:pt idx="412">
                  <c:v>0.04</c:v>
                </c:pt>
                <c:pt idx="413">
                  <c:v>0.12</c:v>
                </c:pt>
                <c:pt idx="414">
                  <c:v>0.25</c:v>
                </c:pt>
                <c:pt idx="415">
                  <c:v>0.39</c:v>
                </c:pt>
                <c:pt idx="416">
                  <c:v>0.56000000000000005</c:v>
                </c:pt>
                <c:pt idx="417">
                  <c:v>0.61</c:v>
                </c:pt>
                <c:pt idx="418">
                  <c:v>0.03</c:v>
                </c:pt>
                <c:pt idx="419">
                  <c:v>0.22</c:v>
                </c:pt>
                <c:pt idx="420">
                  <c:v>0.34</c:v>
                </c:pt>
                <c:pt idx="421">
                  <c:v>0.03</c:v>
                </c:pt>
                <c:pt idx="422">
                  <c:v>0.02</c:v>
                </c:pt>
                <c:pt idx="423">
                  <c:v>0.09</c:v>
                </c:pt>
                <c:pt idx="424">
                  <c:v>0.72</c:v>
                </c:pt>
                <c:pt idx="425">
                  <c:v>0.5</c:v>
                </c:pt>
                <c:pt idx="426">
                  <c:v>0.1</c:v>
                </c:pt>
                <c:pt idx="427">
                  <c:v>0.24</c:v>
                </c:pt>
                <c:pt idx="428">
                  <c:v>0.34</c:v>
                </c:pt>
                <c:pt idx="429">
                  <c:v>0.05</c:v>
                </c:pt>
                <c:pt idx="430">
                  <c:v>0.01</c:v>
                </c:pt>
                <c:pt idx="431">
                  <c:v>0.53</c:v>
                </c:pt>
                <c:pt idx="432">
                  <c:v>0.08</c:v>
                </c:pt>
                <c:pt idx="433">
                  <c:v>0.47</c:v>
                </c:pt>
                <c:pt idx="434">
                  <c:v>0.09</c:v>
                </c:pt>
                <c:pt idx="435">
                  <c:v>0.05</c:v>
                </c:pt>
                <c:pt idx="436">
                  <c:v>0.5</c:v>
                </c:pt>
                <c:pt idx="437">
                  <c:v>0.02</c:v>
                </c:pt>
                <c:pt idx="438">
                  <c:v>0.81</c:v>
                </c:pt>
                <c:pt idx="439">
                  <c:v>0.32</c:v>
                </c:pt>
                <c:pt idx="440">
                  <c:v>0.01</c:v>
                </c:pt>
                <c:pt idx="441">
                  <c:v>0.36</c:v>
                </c:pt>
                <c:pt idx="442">
                  <c:v>0.28000000000000003</c:v>
                </c:pt>
                <c:pt idx="443">
                  <c:v>0.24</c:v>
                </c:pt>
                <c:pt idx="444">
                  <c:v>0.09</c:v>
                </c:pt>
                <c:pt idx="445">
                  <c:v>0.74</c:v>
                </c:pt>
                <c:pt idx="446">
                  <c:v>0.24</c:v>
                </c:pt>
                <c:pt idx="447">
                  <c:v>0.34</c:v>
                </c:pt>
                <c:pt idx="448">
                  <c:v>0.17</c:v>
                </c:pt>
                <c:pt idx="449">
                  <c:v>0.01</c:v>
                </c:pt>
                <c:pt idx="450">
                  <c:v>0.01</c:v>
                </c:pt>
                <c:pt idx="451">
                  <c:v>0.3</c:v>
                </c:pt>
                <c:pt idx="452">
                  <c:v>0.08</c:v>
                </c:pt>
                <c:pt idx="453">
                  <c:v>0.39</c:v>
                </c:pt>
                <c:pt idx="454">
                  <c:v>0.64</c:v>
                </c:pt>
                <c:pt idx="455">
                  <c:v>0.01</c:v>
                </c:pt>
                <c:pt idx="456">
                  <c:v>0.48</c:v>
                </c:pt>
                <c:pt idx="457">
                  <c:v>0.05</c:v>
                </c:pt>
                <c:pt idx="458">
                  <c:v>0.02</c:v>
                </c:pt>
                <c:pt idx="459">
                  <c:v>0.02</c:v>
                </c:pt>
                <c:pt idx="460">
                  <c:v>0.23</c:v>
                </c:pt>
                <c:pt idx="461">
                  <c:v>0.38</c:v>
                </c:pt>
                <c:pt idx="462">
                  <c:v>0.09</c:v>
                </c:pt>
                <c:pt idx="463">
                  <c:v>0.54</c:v>
                </c:pt>
                <c:pt idx="464">
                  <c:v>0.48</c:v>
                </c:pt>
                <c:pt idx="465">
                  <c:v>0.03</c:v>
                </c:pt>
                <c:pt idx="466">
                  <c:v>0.05</c:v>
                </c:pt>
                <c:pt idx="467">
                  <c:v>0.22</c:v>
                </c:pt>
                <c:pt idx="468">
                  <c:v>0.04</c:v>
                </c:pt>
                <c:pt idx="469">
                  <c:v>0.02</c:v>
                </c:pt>
                <c:pt idx="470">
                  <c:v>0.08</c:v>
                </c:pt>
                <c:pt idx="471">
                  <c:v>0.32</c:v>
                </c:pt>
                <c:pt idx="472">
                  <c:v>0.3</c:v>
                </c:pt>
                <c:pt idx="473">
                  <c:v>0.53</c:v>
                </c:pt>
                <c:pt idx="474">
                  <c:v>0.09</c:v>
                </c:pt>
                <c:pt idx="475">
                  <c:v>0.13</c:v>
                </c:pt>
                <c:pt idx="476">
                  <c:v>0.56000000000000005</c:v>
                </c:pt>
                <c:pt idx="477">
                  <c:v>0.04</c:v>
                </c:pt>
                <c:pt idx="478">
                  <c:v>0.42</c:v>
                </c:pt>
                <c:pt idx="479">
                  <c:v>0.02</c:v>
                </c:pt>
                <c:pt idx="480">
                  <c:v>0.03</c:v>
                </c:pt>
                <c:pt idx="481">
                  <c:v>0.36</c:v>
                </c:pt>
                <c:pt idx="482">
                  <c:v>0.05</c:v>
                </c:pt>
                <c:pt idx="483">
                  <c:v>0.05</c:v>
                </c:pt>
                <c:pt idx="484">
                  <c:v>0.04</c:v>
                </c:pt>
                <c:pt idx="485">
                  <c:v>0.01</c:v>
                </c:pt>
                <c:pt idx="486">
                  <c:v>0.22</c:v>
                </c:pt>
                <c:pt idx="487">
                  <c:v>7.0000000000000007E-2</c:v>
                </c:pt>
                <c:pt idx="488">
                  <c:v>0.08</c:v>
                </c:pt>
                <c:pt idx="489">
                  <c:v>0.28999999999999998</c:v>
                </c:pt>
                <c:pt idx="490">
                  <c:v>0.41</c:v>
                </c:pt>
                <c:pt idx="491">
                  <c:v>0.37</c:v>
                </c:pt>
                <c:pt idx="492">
                  <c:v>0.01</c:v>
                </c:pt>
                <c:pt idx="493">
                  <c:v>0.06</c:v>
                </c:pt>
                <c:pt idx="494">
                  <c:v>0.42</c:v>
                </c:pt>
                <c:pt idx="495">
                  <c:v>0.06</c:v>
                </c:pt>
                <c:pt idx="496">
                  <c:v>0.01</c:v>
                </c:pt>
                <c:pt idx="497">
                  <c:v>0.02</c:v>
                </c:pt>
                <c:pt idx="498">
                  <c:v>0.23</c:v>
                </c:pt>
                <c:pt idx="499">
                  <c:v>0.03</c:v>
                </c:pt>
                <c:pt idx="500">
                  <c:v>7.0000000000000007E-2</c:v>
                </c:pt>
                <c:pt idx="501">
                  <c:v>0.14000000000000001</c:v>
                </c:pt>
                <c:pt idx="502">
                  <c:v>0.02</c:v>
                </c:pt>
                <c:pt idx="503">
                  <c:v>0.19</c:v>
                </c:pt>
                <c:pt idx="504">
                  <c:v>0.08</c:v>
                </c:pt>
                <c:pt idx="505">
                  <c:v>0.01</c:v>
                </c:pt>
                <c:pt idx="506">
                  <c:v>0.6</c:v>
                </c:pt>
                <c:pt idx="507">
                  <c:v>0.05</c:v>
                </c:pt>
                <c:pt idx="508">
                  <c:v>0.14000000000000001</c:v>
                </c:pt>
                <c:pt idx="509">
                  <c:v>0.03</c:v>
                </c:pt>
                <c:pt idx="510">
                  <c:v>0.01</c:v>
                </c:pt>
                <c:pt idx="511">
                  <c:v>0.03</c:v>
                </c:pt>
                <c:pt idx="512">
                  <c:v>0.01</c:v>
                </c:pt>
                <c:pt idx="513">
                  <c:v>0.02</c:v>
                </c:pt>
                <c:pt idx="514">
                  <c:v>0.04</c:v>
                </c:pt>
                <c:pt idx="515">
                  <c:v>0.02</c:v>
                </c:pt>
                <c:pt idx="516">
                  <c:v>0.13</c:v>
                </c:pt>
                <c:pt idx="517">
                  <c:v>0.02</c:v>
                </c:pt>
                <c:pt idx="518">
                  <c:v>0.03</c:v>
                </c:pt>
                <c:pt idx="519">
                  <c:v>7.0000000000000007E-2</c:v>
                </c:pt>
                <c:pt idx="520">
                  <c:v>0.03</c:v>
                </c:pt>
                <c:pt idx="521">
                  <c:v>0.01</c:v>
                </c:pt>
                <c:pt idx="522">
                  <c:v>0.01</c:v>
                </c:pt>
                <c:pt idx="523">
                  <c:v>0.03</c:v>
                </c:pt>
                <c:pt idx="524">
                  <c:v>0.04</c:v>
                </c:pt>
                <c:pt idx="525">
                  <c:v>0.02</c:v>
                </c:pt>
                <c:pt idx="526">
                  <c:v>0.01</c:v>
                </c:pt>
                <c:pt idx="527">
                  <c:v>0.01</c:v>
                </c:pt>
                <c:pt idx="528">
                  <c:v>0.52</c:v>
                </c:pt>
                <c:pt idx="529">
                  <c:v>0.02</c:v>
                </c:pt>
                <c:pt idx="530">
                  <c:v>0.01</c:v>
                </c:pt>
                <c:pt idx="531">
                  <c:v>0.2</c:v>
                </c:pt>
                <c:pt idx="532">
                  <c:v>0.02</c:v>
                </c:pt>
                <c:pt idx="533">
                  <c:v>0.02</c:v>
                </c:pt>
                <c:pt idx="534">
                  <c:v>0.01</c:v>
                </c:pt>
                <c:pt idx="535">
                  <c:v>0.01</c:v>
                </c:pt>
                <c:pt idx="536">
                  <c:v>0.02</c:v>
                </c:pt>
                <c:pt idx="537">
                  <c:v>0.02</c:v>
                </c:pt>
                <c:pt idx="538">
                  <c:v>0.39</c:v>
                </c:pt>
                <c:pt idx="539">
                  <c:v>0.01</c:v>
                </c:pt>
                <c:pt idx="540">
                  <c:v>0.02</c:v>
                </c:pt>
                <c:pt idx="541">
                  <c:v>0.01</c:v>
                </c:pt>
                <c:pt idx="542">
                  <c:v>0.03</c:v>
                </c:pt>
                <c:pt idx="543">
                  <c:v>0.01</c:v>
                </c:pt>
                <c:pt idx="544">
                  <c:v>0.01</c:v>
                </c:pt>
                <c:pt idx="545">
                  <c:v>0.03</c:v>
                </c:pt>
                <c:pt idx="546">
                  <c:v>0.01</c:v>
                </c:pt>
                <c:pt idx="547">
                  <c:v>0.51</c:v>
                </c:pt>
                <c:pt idx="548">
                  <c:v>0.02</c:v>
                </c:pt>
                <c:pt idx="549">
                  <c:v>0.01</c:v>
                </c:pt>
                <c:pt idx="550">
                  <c:v>0.04</c:v>
                </c:pt>
                <c:pt idx="551">
                  <c:v>0.02</c:v>
                </c:pt>
                <c:pt idx="552">
                  <c:v>0.01</c:v>
                </c:pt>
                <c:pt idx="553">
                  <c:v>0.52</c:v>
                </c:pt>
                <c:pt idx="554">
                  <c:v>0.02</c:v>
                </c:pt>
                <c:pt idx="555">
                  <c:v>0.02</c:v>
                </c:pt>
                <c:pt idx="556">
                  <c:v>0.01</c:v>
                </c:pt>
                <c:pt idx="557">
                  <c:v>0.03</c:v>
                </c:pt>
                <c:pt idx="558">
                  <c:v>0.01</c:v>
                </c:pt>
                <c:pt idx="559">
                  <c:v>0.33</c:v>
                </c:pt>
                <c:pt idx="560">
                  <c:v>0.01</c:v>
                </c:pt>
                <c:pt idx="561">
                  <c:v>0.04</c:v>
                </c:pt>
                <c:pt idx="562">
                  <c:v>0.02</c:v>
                </c:pt>
                <c:pt idx="563">
                  <c:v>0.01</c:v>
                </c:pt>
                <c:pt idx="564">
                  <c:v>0.02</c:v>
                </c:pt>
                <c:pt idx="565">
                  <c:v>0.02</c:v>
                </c:pt>
                <c:pt idx="566">
                  <c:v>0.04</c:v>
                </c:pt>
                <c:pt idx="567">
                  <c:v>0.03</c:v>
                </c:pt>
                <c:pt idx="568">
                  <c:v>0.01</c:v>
                </c:pt>
                <c:pt idx="569">
                  <c:v>0.01</c:v>
                </c:pt>
                <c:pt idx="570">
                  <c:v>0.01</c:v>
                </c:pt>
                <c:pt idx="571">
                  <c:v>0.01</c:v>
                </c:pt>
                <c:pt idx="572">
                  <c:v>0.22</c:v>
                </c:pt>
                <c:pt idx="573">
                  <c:v>0.01</c:v>
                </c:pt>
                <c:pt idx="574">
                  <c:v>0.01</c:v>
                </c:pt>
                <c:pt idx="575">
                  <c:v>0.01</c:v>
                </c:pt>
                <c:pt idx="576">
                  <c:v>0.01</c:v>
                </c:pt>
                <c:pt idx="577">
                  <c:v>0.03</c:v>
                </c:pt>
                <c:pt idx="578">
                  <c:v>0.01</c:v>
                </c:pt>
                <c:pt idx="579">
                  <c:v>0.51</c:v>
                </c:pt>
                <c:pt idx="580">
                  <c:v>0.01</c:v>
                </c:pt>
                <c:pt idx="581">
                  <c:v>0.01</c:v>
                </c:pt>
                <c:pt idx="582">
                  <c:v>0.01</c:v>
                </c:pt>
                <c:pt idx="583">
                  <c:v>0.02</c:v>
                </c:pt>
                <c:pt idx="584">
                  <c:v>0.01</c:v>
                </c:pt>
                <c:pt idx="585">
                  <c:v>0.02</c:v>
                </c:pt>
                <c:pt idx="586">
                  <c:v>0.01</c:v>
                </c:pt>
                <c:pt idx="587">
                  <c:v>0.02</c:v>
                </c:pt>
                <c:pt idx="588">
                  <c:v>0.02</c:v>
                </c:pt>
                <c:pt idx="589">
                  <c:v>0.04</c:v>
                </c:pt>
                <c:pt idx="590">
                  <c:v>0.03</c:v>
                </c:pt>
                <c:pt idx="591">
                  <c:v>0.02</c:v>
                </c:pt>
                <c:pt idx="592">
                  <c:v>0.01</c:v>
                </c:pt>
                <c:pt idx="593">
                  <c:v>0.02</c:v>
                </c:pt>
                <c:pt idx="594">
                  <c:v>0.01</c:v>
                </c:pt>
                <c:pt idx="595">
                  <c:v>0.02</c:v>
                </c:pt>
                <c:pt idx="596">
                  <c:v>0.01</c:v>
                </c:pt>
                <c:pt idx="597">
                  <c:v>0.01</c:v>
                </c:pt>
                <c:pt idx="598">
                  <c:v>0.01</c:v>
                </c:pt>
                <c:pt idx="599">
                  <c:v>0.02</c:v>
                </c:pt>
                <c:pt idx="600">
                  <c:v>0.01</c:v>
                </c:pt>
                <c:pt idx="601">
                  <c:v>0.01</c:v>
                </c:pt>
                <c:pt idx="602">
                  <c:v>0.02</c:v>
                </c:pt>
                <c:pt idx="603">
                  <c:v>0.01</c:v>
                </c:pt>
                <c:pt idx="604">
                  <c:v>0.04</c:v>
                </c:pt>
                <c:pt idx="605">
                  <c:v>0.02</c:v>
                </c:pt>
                <c:pt idx="606">
                  <c:v>0.04</c:v>
                </c:pt>
                <c:pt idx="607">
                  <c:v>0.04</c:v>
                </c:pt>
                <c:pt idx="608">
                  <c:v>0.05</c:v>
                </c:pt>
                <c:pt idx="609">
                  <c:v>0.04</c:v>
                </c:pt>
                <c:pt idx="610">
                  <c:v>0.01</c:v>
                </c:pt>
                <c:pt idx="611">
                  <c:v>0.04</c:v>
                </c:pt>
                <c:pt idx="612">
                  <c:v>0.01</c:v>
                </c:pt>
                <c:pt idx="613">
                  <c:v>0.04</c:v>
                </c:pt>
                <c:pt idx="614">
                  <c:v>0.02</c:v>
                </c:pt>
                <c:pt idx="615">
                  <c:v>0.25</c:v>
                </c:pt>
                <c:pt idx="616">
                  <c:v>0.01</c:v>
                </c:pt>
                <c:pt idx="617">
                  <c:v>0.48</c:v>
                </c:pt>
                <c:pt idx="618">
                  <c:v>0.01</c:v>
                </c:pt>
                <c:pt idx="619">
                  <c:v>0.03</c:v>
                </c:pt>
                <c:pt idx="620">
                  <c:v>0.23</c:v>
                </c:pt>
                <c:pt idx="621">
                  <c:v>0.01</c:v>
                </c:pt>
                <c:pt idx="622">
                  <c:v>0.01</c:v>
                </c:pt>
                <c:pt idx="623">
                  <c:v>0.02</c:v>
                </c:pt>
                <c:pt idx="624">
                  <c:v>0.02</c:v>
                </c:pt>
                <c:pt idx="625">
                  <c:v>0.37</c:v>
                </c:pt>
                <c:pt idx="626">
                  <c:v>0.03</c:v>
                </c:pt>
                <c:pt idx="627">
                  <c:v>0.01</c:v>
                </c:pt>
                <c:pt idx="628">
                  <c:v>0.01</c:v>
                </c:pt>
                <c:pt idx="629">
                  <c:v>0.02</c:v>
                </c:pt>
                <c:pt idx="630">
                  <c:v>0.01</c:v>
                </c:pt>
                <c:pt idx="631">
                  <c:v>0.41</c:v>
                </c:pt>
                <c:pt idx="632">
                  <c:v>0.01</c:v>
                </c:pt>
                <c:pt idx="633">
                  <c:v>0.01</c:v>
                </c:pt>
                <c:pt idx="634">
                  <c:v>0.06</c:v>
                </c:pt>
                <c:pt idx="635">
                  <c:v>0.02</c:v>
                </c:pt>
                <c:pt idx="636">
                  <c:v>0.02</c:v>
                </c:pt>
                <c:pt idx="637">
                  <c:v>0.02</c:v>
                </c:pt>
                <c:pt idx="638">
                  <c:v>0.35</c:v>
                </c:pt>
                <c:pt idx="639">
                  <c:v>0.02</c:v>
                </c:pt>
                <c:pt idx="640">
                  <c:v>0.02</c:v>
                </c:pt>
                <c:pt idx="641">
                  <c:v>0.02</c:v>
                </c:pt>
                <c:pt idx="642">
                  <c:v>0.11</c:v>
                </c:pt>
                <c:pt idx="643">
                  <c:v>0.02</c:v>
                </c:pt>
                <c:pt idx="644">
                  <c:v>0.03</c:v>
                </c:pt>
                <c:pt idx="645">
                  <c:v>0.05</c:v>
                </c:pt>
                <c:pt idx="646">
                  <c:v>0.01</c:v>
                </c:pt>
                <c:pt idx="647">
                  <c:v>0.06</c:v>
                </c:pt>
                <c:pt idx="648">
                  <c:v>0.01</c:v>
                </c:pt>
                <c:pt idx="649">
                  <c:v>0.02</c:v>
                </c:pt>
                <c:pt idx="650">
                  <c:v>0.02</c:v>
                </c:pt>
                <c:pt idx="651">
                  <c:v>0.01</c:v>
                </c:pt>
                <c:pt idx="652">
                  <c:v>0.05</c:v>
                </c:pt>
                <c:pt idx="653">
                  <c:v>0.01</c:v>
                </c:pt>
                <c:pt idx="654">
                  <c:v>0.01</c:v>
                </c:pt>
                <c:pt idx="655">
                  <c:v>0.01</c:v>
                </c:pt>
                <c:pt idx="656">
                  <c:v>0.02</c:v>
                </c:pt>
                <c:pt idx="657">
                  <c:v>0.01</c:v>
                </c:pt>
                <c:pt idx="658">
                  <c:v>0.01</c:v>
                </c:pt>
                <c:pt idx="659">
                  <c:v>0.12</c:v>
                </c:pt>
                <c:pt idx="660">
                  <c:v>0.03</c:v>
                </c:pt>
                <c:pt idx="661">
                  <c:v>0.01</c:v>
                </c:pt>
                <c:pt idx="662">
                  <c:v>0.02</c:v>
                </c:pt>
                <c:pt idx="663">
                  <c:v>0.01</c:v>
                </c:pt>
                <c:pt idx="664">
                  <c:v>0.02</c:v>
                </c:pt>
                <c:pt idx="665">
                  <c:v>0.01</c:v>
                </c:pt>
                <c:pt idx="666">
                  <c:v>0.01</c:v>
                </c:pt>
                <c:pt idx="667">
                  <c:v>0.01</c:v>
                </c:pt>
                <c:pt idx="668">
                  <c:v>0.01</c:v>
                </c:pt>
                <c:pt idx="669">
                  <c:v>0.02</c:v>
                </c:pt>
                <c:pt idx="670">
                  <c:v>0.08</c:v>
                </c:pt>
                <c:pt idx="671">
                  <c:v>0.19</c:v>
                </c:pt>
                <c:pt idx="672">
                  <c:v>0.06</c:v>
                </c:pt>
                <c:pt idx="673">
                  <c:v>0.34</c:v>
                </c:pt>
                <c:pt idx="674">
                  <c:v>0.11</c:v>
                </c:pt>
                <c:pt idx="675">
                  <c:v>0.01</c:v>
                </c:pt>
                <c:pt idx="676">
                  <c:v>0.01</c:v>
                </c:pt>
                <c:pt idx="677">
                  <c:v>0.01</c:v>
                </c:pt>
                <c:pt idx="678">
                  <c:v>0.01</c:v>
                </c:pt>
                <c:pt idx="679">
                  <c:v>0.01</c:v>
                </c:pt>
                <c:pt idx="680">
                  <c:v>0.01</c:v>
                </c:pt>
                <c:pt idx="681">
                  <c:v>0.02</c:v>
                </c:pt>
                <c:pt idx="682">
                  <c:v>0.02</c:v>
                </c:pt>
                <c:pt idx="683">
                  <c:v>0.02</c:v>
                </c:pt>
                <c:pt idx="684">
                  <c:v>0.01</c:v>
                </c:pt>
                <c:pt idx="685">
                  <c:v>0.01</c:v>
                </c:pt>
                <c:pt idx="686">
                  <c:v>0.02</c:v>
                </c:pt>
                <c:pt idx="687">
                  <c:v>0.01</c:v>
                </c:pt>
                <c:pt idx="688">
                  <c:v>0.09</c:v>
                </c:pt>
                <c:pt idx="689">
                  <c:v>0.01</c:v>
                </c:pt>
                <c:pt idx="690">
                  <c:v>0.01</c:v>
                </c:pt>
                <c:pt idx="691">
                  <c:v>0.01</c:v>
                </c:pt>
                <c:pt idx="692">
                  <c:v>0.03</c:v>
                </c:pt>
                <c:pt idx="693">
                  <c:v>0.04</c:v>
                </c:pt>
                <c:pt idx="694">
                  <c:v>0.01</c:v>
                </c:pt>
                <c:pt idx="695">
                  <c:v>0.01</c:v>
                </c:pt>
                <c:pt idx="696">
                  <c:v>0.01</c:v>
                </c:pt>
                <c:pt idx="697">
                  <c:v>0.01</c:v>
                </c:pt>
                <c:pt idx="698">
                  <c:v>0.02</c:v>
                </c:pt>
                <c:pt idx="699">
                  <c:v>0.01</c:v>
                </c:pt>
                <c:pt idx="700">
                  <c:v>0.02</c:v>
                </c:pt>
                <c:pt idx="701">
                  <c:v>0.01</c:v>
                </c:pt>
                <c:pt idx="702">
                  <c:v>0.01</c:v>
                </c:pt>
                <c:pt idx="703">
                  <c:v>0.02</c:v>
                </c:pt>
                <c:pt idx="704">
                  <c:v>0.01</c:v>
                </c:pt>
                <c:pt idx="705">
                  <c:v>0.02</c:v>
                </c:pt>
                <c:pt idx="706">
                  <c:v>0.01</c:v>
                </c:pt>
                <c:pt idx="707">
                  <c:v>0.02</c:v>
                </c:pt>
                <c:pt idx="708">
                  <c:v>0.01</c:v>
                </c:pt>
                <c:pt idx="709">
                  <c:v>0.02</c:v>
                </c:pt>
                <c:pt idx="710">
                  <c:v>0.01</c:v>
                </c:pt>
                <c:pt idx="711">
                  <c:v>0.04</c:v>
                </c:pt>
                <c:pt idx="712">
                  <c:v>0.01</c:v>
                </c:pt>
                <c:pt idx="713">
                  <c:v>0.02</c:v>
                </c:pt>
                <c:pt idx="714">
                  <c:v>0.01</c:v>
                </c:pt>
                <c:pt idx="715">
                  <c:v>0.04</c:v>
                </c:pt>
                <c:pt idx="716">
                  <c:v>0.01</c:v>
                </c:pt>
                <c:pt idx="717">
                  <c:v>0.01</c:v>
                </c:pt>
                <c:pt idx="718">
                  <c:v>0.01</c:v>
                </c:pt>
                <c:pt idx="719">
                  <c:v>0.06</c:v>
                </c:pt>
                <c:pt idx="720">
                  <c:v>0.01</c:v>
                </c:pt>
                <c:pt idx="721">
                  <c:v>0.03</c:v>
                </c:pt>
                <c:pt idx="722">
                  <c:v>7.0000000000000007E-2</c:v>
                </c:pt>
                <c:pt idx="723">
                  <c:v>0.02</c:v>
                </c:pt>
                <c:pt idx="724">
                  <c:v>0.01</c:v>
                </c:pt>
                <c:pt idx="725">
                  <c:v>0.01</c:v>
                </c:pt>
                <c:pt idx="726">
                  <c:v>0.05</c:v>
                </c:pt>
                <c:pt idx="727">
                  <c:v>0.01</c:v>
                </c:pt>
                <c:pt idx="728">
                  <c:v>0.01</c:v>
                </c:pt>
                <c:pt idx="729">
                  <c:v>0.02</c:v>
                </c:pt>
                <c:pt idx="730">
                  <c:v>0.01</c:v>
                </c:pt>
                <c:pt idx="731">
                  <c:v>0.01</c:v>
                </c:pt>
                <c:pt idx="732">
                  <c:v>0.01</c:v>
                </c:pt>
                <c:pt idx="733">
                  <c:v>0.01</c:v>
                </c:pt>
                <c:pt idx="734">
                  <c:v>0.01</c:v>
                </c:pt>
                <c:pt idx="735">
                  <c:v>0.01</c:v>
                </c:pt>
                <c:pt idx="736">
                  <c:v>0.02</c:v>
                </c:pt>
                <c:pt idx="737">
                  <c:v>0.04</c:v>
                </c:pt>
                <c:pt idx="738">
                  <c:v>0.06</c:v>
                </c:pt>
                <c:pt idx="739">
                  <c:v>0.01</c:v>
                </c:pt>
                <c:pt idx="740">
                  <c:v>0.01</c:v>
                </c:pt>
                <c:pt idx="741">
                  <c:v>0.01</c:v>
                </c:pt>
                <c:pt idx="742">
                  <c:v>0.02</c:v>
                </c:pt>
                <c:pt idx="743">
                  <c:v>0.01</c:v>
                </c:pt>
                <c:pt idx="744">
                  <c:v>0.01</c:v>
                </c:pt>
                <c:pt idx="745">
                  <c:v>0.01</c:v>
                </c:pt>
                <c:pt idx="746">
                  <c:v>0.01</c:v>
                </c:pt>
                <c:pt idx="747">
                  <c:v>0.01</c:v>
                </c:pt>
                <c:pt idx="748">
                  <c:v>0.01</c:v>
                </c:pt>
                <c:pt idx="749">
                  <c:v>0.02</c:v>
                </c:pt>
                <c:pt idx="750">
                  <c:v>0.01</c:v>
                </c:pt>
                <c:pt idx="751">
                  <c:v>0.06</c:v>
                </c:pt>
                <c:pt idx="752">
                  <c:v>0.01</c:v>
                </c:pt>
                <c:pt idx="753">
                  <c:v>0.01</c:v>
                </c:pt>
                <c:pt idx="754">
                  <c:v>0.02</c:v>
                </c:pt>
                <c:pt idx="755">
                  <c:v>0.01</c:v>
                </c:pt>
                <c:pt idx="756">
                  <c:v>0.01</c:v>
                </c:pt>
                <c:pt idx="757">
                  <c:v>0.01</c:v>
                </c:pt>
                <c:pt idx="758">
                  <c:v>0.02</c:v>
                </c:pt>
                <c:pt idx="759">
                  <c:v>0.02</c:v>
                </c:pt>
                <c:pt idx="760">
                  <c:v>0.01</c:v>
                </c:pt>
                <c:pt idx="761">
                  <c:v>0.01</c:v>
                </c:pt>
                <c:pt idx="762">
                  <c:v>0.03</c:v>
                </c:pt>
                <c:pt idx="763">
                  <c:v>0.01</c:v>
                </c:pt>
                <c:pt idx="764">
                  <c:v>0.03</c:v>
                </c:pt>
                <c:pt idx="765">
                  <c:v>0.01</c:v>
                </c:pt>
                <c:pt idx="766">
                  <c:v>0.02</c:v>
                </c:pt>
                <c:pt idx="767">
                  <c:v>0.01</c:v>
                </c:pt>
                <c:pt idx="768">
                  <c:v>0.02</c:v>
                </c:pt>
                <c:pt idx="769">
                  <c:v>0.01</c:v>
                </c:pt>
                <c:pt idx="770">
                  <c:v>0.01</c:v>
                </c:pt>
                <c:pt idx="771">
                  <c:v>0.01</c:v>
                </c:pt>
                <c:pt idx="772">
                  <c:v>0.01</c:v>
                </c:pt>
                <c:pt idx="773">
                  <c:v>0.01</c:v>
                </c:pt>
                <c:pt idx="774">
                  <c:v>0.01</c:v>
                </c:pt>
                <c:pt idx="775">
                  <c:v>0.01</c:v>
                </c:pt>
                <c:pt idx="776">
                  <c:v>0.01</c:v>
                </c:pt>
                <c:pt idx="777">
                  <c:v>0.01</c:v>
                </c:pt>
                <c:pt idx="778">
                  <c:v>0.01</c:v>
                </c:pt>
                <c:pt idx="779">
                  <c:v>0.01</c:v>
                </c:pt>
                <c:pt idx="780">
                  <c:v>0.02</c:v>
                </c:pt>
                <c:pt idx="781">
                  <c:v>0.01</c:v>
                </c:pt>
                <c:pt idx="782">
                  <c:v>0.03</c:v>
                </c:pt>
                <c:pt idx="783">
                  <c:v>0.01</c:v>
                </c:pt>
                <c:pt idx="784">
                  <c:v>0.01</c:v>
                </c:pt>
                <c:pt idx="785">
                  <c:v>0.01</c:v>
                </c:pt>
                <c:pt idx="786">
                  <c:v>0.01</c:v>
                </c:pt>
                <c:pt idx="787">
                  <c:v>0.01</c:v>
                </c:pt>
                <c:pt idx="788">
                  <c:v>0.01</c:v>
                </c:pt>
                <c:pt idx="789">
                  <c:v>0.03</c:v>
                </c:pt>
                <c:pt idx="790">
                  <c:v>0.01</c:v>
                </c:pt>
                <c:pt idx="791">
                  <c:v>0.02</c:v>
                </c:pt>
                <c:pt idx="792">
                  <c:v>0.01</c:v>
                </c:pt>
                <c:pt idx="793">
                  <c:v>0.01</c:v>
                </c:pt>
                <c:pt idx="794">
                  <c:v>0.01</c:v>
                </c:pt>
                <c:pt idx="795">
                  <c:v>0.02</c:v>
                </c:pt>
                <c:pt idx="796">
                  <c:v>0.01</c:v>
                </c:pt>
                <c:pt idx="797">
                  <c:v>0.04</c:v>
                </c:pt>
                <c:pt idx="798">
                  <c:v>0.01</c:v>
                </c:pt>
                <c:pt idx="799">
                  <c:v>7.0000000000000007E-2</c:v>
                </c:pt>
                <c:pt idx="800">
                  <c:v>0.01</c:v>
                </c:pt>
                <c:pt idx="801">
                  <c:v>0.01</c:v>
                </c:pt>
                <c:pt idx="802">
                  <c:v>0.02</c:v>
                </c:pt>
                <c:pt idx="803">
                  <c:v>0.05</c:v>
                </c:pt>
                <c:pt idx="804">
                  <c:v>0.08</c:v>
                </c:pt>
                <c:pt idx="805">
                  <c:v>0.01</c:v>
                </c:pt>
                <c:pt idx="806">
                  <c:v>0.02</c:v>
                </c:pt>
                <c:pt idx="807">
                  <c:v>0.01</c:v>
                </c:pt>
                <c:pt idx="808">
                  <c:v>0.01</c:v>
                </c:pt>
                <c:pt idx="809">
                  <c:v>0.03</c:v>
                </c:pt>
                <c:pt idx="810">
                  <c:v>0.01</c:v>
                </c:pt>
                <c:pt idx="811">
                  <c:v>0.01</c:v>
                </c:pt>
                <c:pt idx="812">
                  <c:v>0.03</c:v>
                </c:pt>
                <c:pt idx="813">
                  <c:v>0.01</c:v>
                </c:pt>
                <c:pt idx="814">
                  <c:v>0.01</c:v>
                </c:pt>
                <c:pt idx="815">
                  <c:v>0.01</c:v>
                </c:pt>
                <c:pt idx="816">
                  <c:v>0.03</c:v>
                </c:pt>
                <c:pt idx="817">
                  <c:v>0.03</c:v>
                </c:pt>
                <c:pt idx="818">
                  <c:v>0.01</c:v>
                </c:pt>
                <c:pt idx="819">
                  <c:v>0.01</c:v>
                </c:pt>
                <c:pt idx="820">
                  <c:v>0.01</c:v>
                </c:pt>
                <c:pt idx="821">
                  <c:v>0.01</c:v>
                </c:pt>
                <c:pt idx="822">
                  <c:v>0.01</c:v>
                </c:pt>
                <c:pt idx="823">
                  <c:v>0.03</c:v>
                </c:pt>
                <c:pt idx="824">
                  <c:v>0.03</c:v>
                </c:pt>
                <c:pt idx="825">
                  <c:v>0.03</c:v>
                </c:pt>
                <c:pt idx="826">
                  <c:v>0.01</c:v>
                </c:pt>
                <c:pt idx="827">
                  <c:v>0.01</c:v>
                </c:pt>
                <c:pt idx="828">
                  <c:v>0.01</c:v>
                </c:pt>
                <c:pt idx="829">
                  <c:v>0.01</c:v>
                </c:pt>
                <c:pt idx="830">
                  <c:v>0.01</c:v>
                </c:pt>
                <c:pt idx="831">
                  <c:v>0.01</c:v>
                </c:pt>
                <c:pt idx="832">
                  <c:v>0.01</c:v>
                </c:pt>
                <c:pt idx="833">
                  <c:v>0.01</c:v>
                </c:pt>
                <c:pt idx="834">
                  <c:v>0.01</c:v>
                </c:pt>
                <c:pt idx="835">
                  <c:v>0.02</c:v>
                </c:pt>
                <c:pt idx="836">
                  <c:v>0.01</c:v>
                </c:pt>
                <c:pt idx="837">
                  <c:v>0.04</c:v>
                </c:pt>
                <c:pt idx="838">
                  <c:v>0.01</c:v>
                </c:pt>
                <c:pt idx="839">
                  <c:v>0.01</c:v>
                </c:pt>
                <c:pt idx="840">
                  <c:v>0.01</c:v>
                </c:pt>
                <c:pt idx="841">
                  <c:v>0.02</c:v>
                </c:pt>
                <c:pt idx="842">
                  <c:v>0.01</c:v>
                </c:pt>
                <c:pt idx="843">
                  <c:v>0.01</c:v>
                </c:pt>
                <c:pt idx="844">
                  <c:v>0.04</c:v>
                </c:pt>
                <c:pt idx="845">
                  <c:v>0.01</c:v>
                </c:pt>
                <c:pt idx="846">
                  <c:v>0.01</c:v>
                </c:pt>
                <c:pt idx="847">
                  <c:v>0.01</c:v>
                </c:pt>
                <c:pt idx="848">
                  <c:v>0.02</c:v>
                </c:pt>
                <c:pt idx="849">
                  <c:v>0.01</c:v>
                </c:pt>
                <c:pt idx="850">
                  <c:v>0.02</c:v>
                </c:pt>
                <c:pt idx="851">
                  <c:v>0.01</c:v>
                </c:pt>
                <c:pt idx="852">
                  <c:v>0.03</c:v>
                </c:pt>
                <c:pt idx="853">
                  <c:v>0.03</c:v>
                </c:pt>
                <c:pt idx="854">
                  <c:v>0.01</c:v>
                </c:pt>
                <c:pt idx="855">
                  <c:v>0.01</c:v>
                </c:pt>
                <c:pt idx="856">
                  <c:v>0.01</c:v>
                </c:pt>
                <c:pt idx="857">
                  <c:v>0.01</c:v>
                </c:pt>
                <c:pt idx="858">
                  <c:v>0.03</c:v>
                </c:pt>
                <c:pt idx="859">
                  <c:v>0.01</c:v>
                </c:pt>
                <c:pt idx="860">
                  <c:v>0.01</c:v>
                </c:pt>
                <c:pt idx="861">
                  <c:v>0.01</c:v>
                </c:pt>
                <c:pt idx="862">
                  <c:v>0.01</c:v>
                </c:pt>
                <c:pt idx="863">
                  <c:v>0.01</c:v>
                </c:pt>
                <c:pt idx="864">
                  <c:v>0.01</c:v>
                </c:pt>
                <c:pt idx="865">
                  <c:v>0.01</c:v>
                </c:pt>
                <c:pt idx="866">
                  <c:v>0.01</c:v>
                </c:pt>
                <c:pt idx="867">
                  <c:v>0.01</c:v>
                </c:pt>
                <c:pt idx="868">
                  <c:v>0.03</c:v>
                </c:pt>
                <c:pt idx="869">
                  <c:v>0.05</c:v>
                </c:pt>
                <c:pt idx="870">
                  <c:v>0.01</c:v>
                </c:pt>
                <c:pt idx="871">
                  <c:v>0.01</c:v>
                </c:pt>
                <c:pt idx="872">
                  <c:v>0.01</c:v>
                </c:pt>
                <c:pt idx="873">
                  <c:v>0.01</c:v>
                </c:pt>
                <c:pt idx="874">
                  <c:v>0.02</c:v>
                </c:pt>
                <c:pt idx="875">
                  <c:v>0.01</c:v>
                </c:pt>
                <c:pt idx="876">
                  <c:v>0.01</c:v>
                </c:pt>
                <c:pt idx="877">
                  <c:v>0.01</c:v>
                </c:pt>
                <c:pt idx="878">
                  <c:v>0.01</c:v>
                </c:pt>
                <c:pt idx="879">
                  <c:v>0.01</c:v>
                </c:pt>
                <c:pt idx="880">
                  <c:v>0.01</c:v>
                </c:pt>
                <c:pt idx="881">
                  <c:v>0.01</c:v>
                </c:pt>
                <c:pt idx="882">
                  <c:v>0.01</c:v>
                </c:pt>
                <c:pt idx="883">
                  <c:v>0.02</c:v>
                </c:pt>
                <c:pt idx="884">
                  <c:v>0.01</c:v>
                </c:pt>
                <c:pt idx="885">
                  <c:v>0.01</c:v>
                </c:pt>
                <c:pt idx="886">
                  <c:v>0.01</c:v>
                </c:pt>
                <c:pt idx="887">
                  <c:v>0.01</c:v>
                </c:pt>
                <c:pt idx="888">
                  <c:v>0.01</c:v>
                </c:pt>
                <c:pt idx="889">
                  <c:v>0.03</c:v>
                </c:pt>
                <c:pt idx="890">
                  <c:v>0.01</c:v>
                </c:pt>
                <c:pt idx="891">
                  <c:v>0.01</c:v>
                </c:pt>
                <c:pt idx="892">
                  <c:v>0.01</c:v>
                </c:pt>
                <c:pt idx="893">
                  <c:v>0.01</c:v>
                </c:pt>
                <c:pt idx="894">
                  <c:v>0.01</c:v>
                </c:pt>
                <c:pt idx="895">
                  <c:v>0.05</c:v>
                </c:pt>
                <c:pt idx="896">
                  <c:v>0.01</c:v>
                </c:pt>
                <c:pt idx="897">
                  <c:v>0.01</c:v>
                </c:pt>
                <c:pt idx="898">
                  <c:v>0.01</c:v>
                </c:pt>
                <c:pt idx="899">
                  <c:v>0.02</c:v>
                </c:pt>
                <c:pt idx="900">
                  <c:v>0.01</c:v>
                </c:pt>
                <c:pt idx="901">
                  <c:v>0.01</c:v>
                </c:pt>
                <c:pt idx="902">
                  <c:v>0.01</c:v>
                </c:pt>
                <c:pt idx="903">
                  <c:v>0.01</c:v>
                </c:pt>
                <c:pt idx="904">
                  <c:v>0.01</c:v>
                </c:pt>
                <c:pt idx="905">
                  <c:v>0.01</c:v>
                </c:pt>
                <c:pt idx="906">
                  <c:v>0.01</c:v>
                </c:pt>
                <c:pt idx="907">
                  <c:v>0.01</c:v>
                </c:pt>
                <c:pt idx="908">
                  <c:v>0.02</c:v>
                </c:pt>
                <c:pt idx="909">
                  <c:v>0.01</c:v>
                </c:pt>
                <c:pt idx="910">
                  <c:v>0.02</c:v>
                </c:pt>
                <c:pt idx="911">
                  <c:v>0.01</c:v>
                </c:pt>
                <c:pt idx="912">
                  <c:v>0.01</c:v>
                </c:pt>
                <c:pt idx="913">
                  <c:v>0.01</c:v>
                </c:pt>
                <c:pt idx="914">
                  <c:v>0.01</c:v>
                </c:pt>
                <c:pt idx="915">
                  <c:v>0.01</c:v>
                </c:pt>
                <c:pt idx="916">
                  <c:v>0.02</c:v>
                </c:pt>
                <c:pt idx="917">
                  <c:v>0.02</c:v>
                </c:pt>
                <c:pt idx="918">
                  <c:v>0.01</c:v>
                </c:pt>
                <c:pt idx="919">
                  <c:v>0.01</c:v>
                </c:pt>
                <c:pt idx="920">
                  <c:v>0.01</c:v>
                </c:pt>
                <c:pt idx="921">
                  <c:v>0.01</c:v>
                </c:pt>
                <c:pt idx="922">
                  <c:v>0.01</c:v>
                </c:pt>
                <c:pt idx="923">
                  <c:v>0.02</c:v>
                </c:pt>
                <c:pt idx="924">
                  <c:v>0.01</c:v>
                </c:pt>
                <c:pt idx="925">
                  <c:v>0.01</c:v>
                </c:pt>
                <c:pt idx="926">
                  <c:v>0.01</c:v>
                </c:pt>
                <c:pt idx="927">
                  <c:v>0.01</c:v>
                </c:pt>
                <c:pt idx="928">
                  <c:v>0.01</c:v>
                </c:pt>
                <c:pt idx="929">
                  <c:v>0.03</c:v>
                </c:pt>
                <c:pt idx="930">
                  <c:v>0.01</c:v>
                </c:pt>
                <c:pt idx="931">
                  <c:v>0.01</c:v>
                </c:pt>
                <c:pt idx="932">
                  <c:v>0.01</c:v>
                </c:pt>
                <c:pt idx="933">
                  <c:v>0.02</c:v>
                </c:pt>
                <c:pt idx="934">
                  <c:v>0.01</c:v>
                </c:pt>
                <c:pt idx="935">
                  <c:v>0.01</c:v>
                </c:pt>
                <c:pt idx="936">
                  <c:v>0.04</c:v>
                </c:pt>
                <c:pt idx="937">
                  <c:v>0.04</c:v>
                </c:pt>
                <c:pt idx="938">
                  <c:v>0.01</c:v>
                </c:pt>
                <c:pt idx="939">
                  <c:v>0.01</c:v>
                </c:pt>
                <c:pt idx="940">
                  <c:v>0.01</c:v>
                </c:pt>
                <c:pt idx="941">
                  <c:v>0.01</c:v>
                </c:pt>
                <c:pt idx="942">
                  <c:v>0.01</c:v>
                </c:pt>
                <c:pt idx="943">
                  <c:v>0.01</c:v>
                </c:pt>
                <c:pt idx="944">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00A097"/>
              </a:solidFill>
            </c:spPr>
            <c:extLst>
              <c:ext xmlns:c16="http://schemas.microsoft.com/office/drawing/2014/chart" uri="{C3380CC4-5D6E-409C-BE32-E72D297353CC}">
                <c16:uniqueId val="{000000F9-2993-41DE-A2CB-63102DE87051}"/>
              </c:ext>
            </c:extLst>
          </c:dPt>
          <c:dPt>
            <c:idx val="124"/>
            <c:invertIfNegative val="1"/>
            <c:bubble3D val="0"/>
            <c:spPr>
              <a:solidFill>
                <a:srgbClr val="00A097"/>
              </a:solidFill>
            </c:spPr>
            <c:extLst>
              <c:ext xmlns:c16="http://schemas.microsoft.com/office/drawing/2014/chart" uri="{C3380CC4-5D6E-409C-BE32-E72D297353CC}">
                <c16:uniqueId val="{000000FB-2993-41DE-A2CB-63102DE87051}"/>
              </c:ext>
            </c:extLst>
          </c:dPt>
          <c:dPt>
            <c:idx val="125"/>
            <c:invertIfNegative val="1"/>
            <c:bubble3D val="0"/>
            <c:spPr>
              <a:solidFill>
                <a:srgbClr val="00A097"/>
              </a:solidFill>
            </c:spPr>
            <c:extLst>
              <c:ext xmlns:c16="http://schemas.microsoft.com/office/drawing/2014/chart" uri="{C3380CC4-5D6E-409C-BE32-E72D297353CC}">
                <c16:uniqueId val="{000000FD-2993-41DE-A2CB-63102DE87051}"/>
              </c:ext>
            </c:extLst>
          </c:dPt>
          <c:dPt>
            <c:idx val="126"/>
            <c:invertIfNegative val="1"/>
            <c:bubble3D val="0"/>
            <c:spPr>
              <a:solidFill>
                <a:srgbClr val="00A097"/>
              </a:solidFill>
            </c:spPr>
            <c:extLst>
              <c:ext xmlns:c16="http://schemas.microsoft.com/office/drawing/2014/chart" uri="{C3380CC4-5D6E-409C-BE32-E72D297353CC}">
                <c16:uniqueId val="{000000FF-2993-41DE-A2CB-63102DE87051}"/>
              </c:ext>
            </c:extLst>
          </c:dPt>
          <c:dPt>
            <c:idx val="127"/>
            <c:invertIfNegative val="1"/>
            <c:bubble3D val="0"/>
            <c:spPr>
              <a:solidFill>
                <a:srgbClr val="00A097"/>
              </a:solidFill>
            </c:spPr>
            <c:extLst>
              <c:ext xmlns:c16="http://schemas.microsoft.com/office/drawing/2014/chart" uri="{C3380CC4-5D6E-409C-BE32-E72D297353CC}">
                <c16:uniqueId val="{00000101-2993-41DE-A2CB-63102DE87051}"/>
              </c:ext>
            </c:extLst>
          </c:dPt>
          <c:dPt>
            <c:idx val="128"/>
            <c:invertIfNegative val="1"/>
            <c:bubble3D val="0"/>
            <c:spPr>
              <a:solidFill>
                <a:srgbClr val="00A097"/>
              </a:solidFill>
            </c:spPr>
            <c:extLst>
              <c:ext xmlns:c16="http://schemas.microsoft.com/office/drawing/2014/chart" uri="{C3380CC4-5D6E-409C-BE32-E72D297353CC}">
                <c16:uniqueId val="{00000103-2993-41DE-A2CB-63102DE87051}"/>
              </c:ext>
            </c:extLst>
          </c:dPt>
          <c:dPt>
            <c:idx val="129"/>
            <c:invertIfNegative val="1"/>
            <c:bubble3D val="0"/>
            <c:spPr>
              <a:solidFill>
                <a:srgbClr val="00A097"/>
              </a:solidFill>
            </c:spPr>
            <c:extLst>
              <c:ext xmlns:c16="http://schemas.microsoft.com/office/drawing/2014/chart" uri="{C3380CC4-5D6E-409C-BE32-E72D297353CC}">
                <c16:uniqueId val="{00000105-2993-41DE-A2CB-63102DE87051}"/>
              </c:ext>
            </c:extLst>
          </c:dPt>
          <c:dPt>
            <c:idx val="130"/>
            <c:invertIfNegative val="1"/>
            <c:bubble3D val="0"/>
            <c:spPr>
              <a:solidFill>
                <a:srgbClr val="00A097"/>
              </a:solidFill>
            </c:spPr>
            <c:extLst>
              <c:ext xmlns:c16="http://schemas.microsoft.com/office/drawing/2014/chart" uri="{C3380CC4-5D6E-409C-BE32-E72D297353CC}">
                <c16:uniqueId val="{00000107-2993-41DE-A2CB-63102DE87051}"/>
              </c:ext>
            </c:extLst>
          </c:dPt>
          <c:dPt>
            <c:idx val="131"/>
            <c:invertIfNegative val="1"/>
            <c:bubble3D val="0"/>
            <c:spPr>
              <a:solidFill>
                <a:srgbClr val="00A097"/>
              </a:solidFill>
            </c:spPr>
            <c:extLst>
              <c:ext xmlns:c16="http://schemas.microsoft.com/office/drawing/2014/chart" uri="{C3380CC4-5D6E-409C-BE32-E72D297353CC}">
                <c16:uniqueId val="{00000109-2993-41DE-A2CB-63102DE87051}"/>
              </c:ext>
            </c:extLst>
          </c:dPt>
          <c:dPt>
            <c:idx val="132"/>
            <c:invertIfNegative val="1"/>
            <c:bubble3D val="0"/>
            <c:spPr>
              <a:solidFill>
                <a:srgbClr val="00A097"/>
              </a:solidFill>
            </c:spPr>
            <c:extLst>
              <c:ext xmlns:c16="http://schemas.microsoft.com/office/drawing/2014/chart" uri="{C3380CC4-5D6E-409C-BE32-E72D297353CC}">
                <c16:uniqueId val="{0000010B-2993-41DE-A2CB-63102DE87051}"/>
              </c:ext>
            </c:extLst>
          </c:dPt>
          <c:dPt>
            <c:idx val="133"/>
            <c:invertIfNegative val="1"/>
            <c:bubble3D val="0"/>
            <c:spPr>
              <a:solidFill>
                <a:srgbClr val="00A097"/>
              </a:solidFill>
            </c:spPr>
            <c:extLst>
              <c:ext xmlns:c16="http://schemas.microsoft.com/office/drawing/2014/chart" uri="{C3380CC4-5D6E-409C-BE32-E72D297353CC}">
                <c16:uniqueId val="{0000010D-2993-41DE-A2CB-63102DE87051}"/>
              </c:ext>
            </c:extLst>
          </c:dPt>
          <c:dPt>
            <c:idx val="134"/>
            <c:invertIfNegative val="1"/>
            <c:bubble3D val="0"/>
            <c:spPr>
              <a:solidFill>
                <a:srgbClr val="00A097"/>
              </a:solidFill>
            </c:spPr>
            <c:extLst>
              <c:ext xmlns:c16="http://schemas.microsoft.com/office/drawing/2014/chart" uri="{C3380CC4-5D6E-409C-BE32-E72D297353CC}">
                <c16:uniqueId val="{0000010F-2993-41DE-A2CB-63102DE87051}"/>
              </c:ext>
            </c:extLst>
          </c:dPt>
          <c:dPt>
            <c:idx val="135"/>
            <c:invertIfNegative val="1"/>
            <c:bubble3D val="0"/>
            <c:spPr>
              <a:solidFill>
                <a:srgbClr val="00A097"/>
              </a:solidFill>
            </c:spPr>
            <c:extLst>
              <c:ext xmlns:c16="http://schemas.microsoft.com/office/drawing/2014/chart" uri="{C3380CC4-5D6E-409C-BE32-E72D297353CC}">
                <c16:uniqueId val="{00000111-2993-41DE-A2CB-63102DE87051}"/>
              </c:ext>
            </c:extLst>
          </c:dPt>
          <c:dPt>
            <c:idx val="136"/>
            <c:invertIfNegative val="1"/>
            <c:bubble3D val="0"/>
            <c:spPr>
              <a:solidFill>
                <a:srgbClr val="00A097"/>
              </a:solidFill>
            </c:spPr>
            <c:extLst>
              <c:ext xmlns:c16="http://schemas.microsoft.com/office/drawing/2014/chart" uri="{C3380CC4-5D6E-409C-BE32-E72D297353CC}">
                <c16:uniqueId val="{00000113-2993-41DE-A2CB-63102DE87051}"/>
              </c:ext>
            </c:extLst>
          </c:dPt>
          <c:dPt>
            <c:idx val="137"/>
            <c:invertIfNegative val="1"/>
            <c:bubble3D val="0"/>
            <c:spPr>
              <a:solidFill>
                <a:srgbClr val="00A097"/>
              </a:solidFill>
            </c:spPr>
            <c:extLst>
              <c:ext xmlns:c16="http://schemas.microsoft.com/office/drawing/2014/chart" uri="{C3380CC4-5D6E-409C-BE32-E72D297353CC}">
                <c16:uniqueId val="{00000115-2993-41DE-A2CB-63102DE87051}"/>
              </c:ext>
            </c:extLst>
          </c:dPt>
          <c:dPt>
            <c:idx val="138"/>
            <c:invertIfNegative val="1"/>
            <c:bubble3D val="0"/>
            <c:spPr>
              <a:solidFill>
                <a:srgbClr val="00A097"/>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7ECAC4"/>
              </a:solidFill>
            </c:spPr>
            <c:extLst>
              <c:ext xmlns:c16="http://schemas.microsoft.com/office/drawing/2014/chart" uri="{C3380CC4-5D6E-409C-BE32-E72D297353CC}">
                <c16:uniqueId val="{00000185-2993-41DE-A2CB-63102DE87051}"/>
              </c:ext>
            </c:extLst>
          </c:dPt>
          <c:dPt>
            <c:idx val="194"/>
            <c:invertIfNegative val="1"/>
            <c:bubble3D val="0"/>
            <c:spPr>
              <a:solidFill>
                <a:srgbClr val="7ECAC4"/>
              </a:solidFill>
            </c:spPr>
            <c:extLst>
              <c:ext xmlns:c16="http://schemas.microsoft.com/office/drawing/2014/chart" uri="{C3380CC4-5D6E-409C-BE32-E72D297353CC}">
                <c16:uniqueId val="{00000187-2993-41DE-A2CB-63102DE87051}"/>
              </c:ext>
            </c:extLst>
          </c:dPt>
          <c:dPt>
            <c:idx val="195"/>
            <c:invertIfNegative val="1"/>
            <c:bubble3D val="0"/>
            <c:spPr>
              <a:solidFill>
                <a:srgbClr val="7ECAC4"/>
              </a:solidFill>
            </c:spPr>
            <c:extLst>
              <c:ext xmlns:c16="http://schemas.microsoft.com/office/drawing/2014/chart" uri="{C3380CC4-5D6E-409C-BE32-E72D297353CC}">
                <c16:uniqueId val="{00000189-2993-41DE-A2CB-63102DE87051}"/>
              </c:ext>
            </c:extLst>
          </c:dPt>
          <c:dPt>
            <c:idx val="196"/>
            <c:invertIfNegative val="1"/>
            <c:bubble3D val="0"/>
            <c:spPr>
              <a:solidFill>
                <a:srgbClr val="7ECAC4"/>
              </a:solidFill>
            </c:spPr>
            <c:extLst>
              <c:ext xmlns:c16="http://schemas.microsoft.com/office/drawing/2014/chart" uri="{C3380CC4-5D6E-409C-BE32-E72D297353CC}">
                <c16:uniqueId val="{0000018B-2993-41DE-A2CB-63102DE87051}"/>
              </c:ext>
            </c:extLst>
          </c:dPt>
          <c:dPt>
            <c:idx val="197"/>
            <c:invertIfNegative val="1"/>
            <c:bubble3D val="0"/>
            <c:spPr>
              <a:solidFill>
                <a:srgbClr val="7ECAC4"/>
              </a:solidFill>
            </c:spPr>
            <c:extLst>
              <c:ext xmlns:c16="http://schemas.microsoft.com/office/drawing/2014/chart" uri="{C3380CC4-5D6E-409C-BE32-E72D297353CC}">
                <c16:uniqueId val="{0000018D-2993-41DE-A2CB-63102DE87051}"/>
              </c:ext>
            </c:extLst>
          </c:dPt>
          <c:dPt>
            <c:idx val="198"/>
            <c:invertIfNegative val="1"/>
            <c:bubble3D val="0"/>
            <c:spPr>
              <a:solidFill>
                <a:srgbClr val="7ECAC4"/>
              </a:solidFill>
            </c:spPr>
            <c:extLst>
              <c:ext xmlns:c16="http://schemas.microsoft.com/office/drawing/2014/chart" uri="{C3380CC4-5D6E-409C-BE32-E72D297353CC}">
                <c16:uniqueId val="{0000018F-2993-41DE-A2CB-63102DE87051}"/>
              </c:ext>
            </c:extLst>
          </c:dPt>
          <c:dPt>
            <c:idx val="199"/>
            <c:invertIfNegative val="1"/>
            <c:bubble3D val="0"/>
            <c:spPr>
              <a:solidFill>
                <a:srgbClr val="7ECAC4"/>
              </a:solidFill>
            </c:spPr>
            <c:extLst>
              <c:ext xmlns:c16="http://schemas.microsoft.com/office/drawing/2014/chart" uri="{C3380CC4-5D6E-409C-BE32-E72D297353CC}">
                <c16:uniqueId val="{00000191-2993-41DE-A2CB-63102DE87051}"/>
              </c:ext>
            </c:extLst>
          </c:dPt>
          <c:dPt>
            <c:idx val="200"/>
            <c:invertIfNegative val="1"/>
            <c:bubble3D val="0"/>
            <c:spPr>
              <a:solidFill>
                <a:srgbClr val="7ECAC4"/>
              </a:solidFill>
            </c:spPr>
            <c:extLst>
              <c:ext xmlns:c16="http://schemas.microsoft.com/office/drawing/2014/chart" uri="{C3380CC4-5D6E-409C-BE32-E72D297353CC}">
                <c16:uniqueId val="{00000193-2993-41DE-A2CB-63102DE87051}"/>
              </c:ext>
            </c:extLst>
          </c:dPt>
          <c:dPt>
            <c:idx val="201"/>
            <c:invertIfNegative val="1"/>
            <c:bubble3D val="0"/>
            <c:spPr>
              <a:solidFill>
                <a:srgbClr val="7ECAC4"/>
              </a:solidFill>
            </c:spPr>
            <c:extLst>
              <c:ext xmlns:c16="http://schemas.microsoft.com/office/drawing/2014/chart" uri="{C3380CC4-5D6E-409C-BE32-E72D297353CC}">
                <c16:uniqueId val="{00000195-2993-41DE-A2CB-63102DE87051}"/>
              </c:ext>
            </c:extLst>
          </c:dPt>
          <c:dPt>
            <c:idx val="202"/>
            <c:invertIfNegative val="1"/>
            <c:bubble3D val="0"/>
            <c:spPr>
              <a:solidFill>
                <a:srgbClr val="7ECAC4"/>
              </a:solidFill>
            </c:spPr>
            <c:extLst>
              <c:ext xmlns:c16="http://schemas.microsoft.com/office/drawing/2014/chart" uri="{C3380CC4-5D6E-409C-BE32-E72D297353CC}">
                <c16:uniqueId val="{00000197-2993-41DE-A2CB-63102DE87051}"/>
              </c:ext>
            </c:extLst>
          </c:dPt>
          <c:dPt>
            <c:idx val="203"/>
            <c:invertIfNegative val="1"/>
            <c:bubble3D val="0"/>
            <c:spPr>
              <a:solidFill>
                <a:srgbClr val="7ECAC4"/>
              </a:solidFill>
            </c:spPr>
            <c:extLst>
              <c:ext xmlns:c16="http://schemas.microsoft.com/office/drawing/2014/chart" uri="{C3380CC4-5D6E-409C-BE32-E72D297353CC}">
                <c16:uniqueId val="{00000199-2993-41DE-A2CB-63102DE87051}"/>
              </c:ext>
            </c:extLst>
          </c:dPt>
          <c:dPt>
            <c:idx val="204"/>
            <c:invertIfNegative val="1"/>
            <c:bubble3D val="0"/>
            <c:spPr>
              <a:solidFill>
                <a:srgbClr val="7ECAC4"/>
              </a:solidFill>
            </c:spPr>
            <c:extLst>
              <c:ext xmlns:c16="http://schemas.microsoft.com/office/drawing/2014/chart" uri="{C3380CC4-5D6E-409C-BE32-E72D297353CC}">
                <c16:uniqueId val="{0000019B-2993-41DE-A2CB-63102DE87051}"/>
              </c:ext>
            </c:extLst>
          </c:dPt>
          <c:dPt>
            <c:idx val="205"/>
            <c:invertIfNegative val="1"/>
            <c:bubble3D val="0"/>
            <c:spPr>
              <a:solidFill>
                <a:srgbClr val="7ECAC4"/>
              </a:solidFill>
            </c:spPr>
            <c:extLst>
              <c:ext xmlns:c16="http://schemas.microsoft.com/office/drawing/2014/chart" uri="{C3380CC4-5D6E-409C-BE32-E72D297353CC}">
                <c16:uniqueId val="{0000019D-2993-41DE-A2CB-63102DE87051}"/>
              </c:ext>
            </c:extLst>
          </c:dPt>
          <c:dPt>
            <c:idx val="206"/>
            <c:invertIfNegative val="1"/>
            <c:bubble3D val="0"/>
            <c:spPr>
              <a:solidFill>
                <a:srgbClr val="7ECAC4"/>
              </a:solidFill>
            </c:spPr>
            <c:extLst>
              <c:ext xmlns:c16="http://schemas.microsoft.com/office/drawing/2014/chart" uri="{C3380CC4-5D6E-409C-BE32-E72D297353CC}">
                <c16:uniqueId val="{0000019F-2993-41DE-A2CB-63102DE87051}"/>
              </c:ext>
            </c:extLst>
          </c:dPt>
          <c:dPt>
            <c:idx val="207"/>
            <c:invertIfNegative val="1"/>
            <c:bubble3D val="0"/>
            <c:spPr>
              <a:solidFill>
                <a:srgbClr val="7ECAC4"/>
              </a:solidFill>
            </c:spPr>
            <c:extLst>
              <c:ext xmlns:c16="http://schemas.microsoft.com/office/drawing/2014/chart" uri="{C3380CC4-5D6E-409C-BE32-E72D297353CC}">
                <c16:uniqueId val="{000001A1-2993-41DE-A2CB-63102DE87051}"/>
              </c:ext>
            </c:extLst>
          </c:dPt>
          <c:dPt>
            <c:idx val="208"/>
            <c:invertIfNegative val="1"/>
            <c:bubble3D val="0"/>
            <c:spPr>
              <a:solidFill>
                <a:srgbClr val="7ECAC4"/>
              </a:solidFill>
            </c:spPr>
            <c:extLst>
              <c:ext xmlns:c16="http://schemas.microsoft.com/office/drawing/2014/chart" uri="{C3380CC4-5D6E-409C-BE32-E72D297353CC}">
                <c16:uniqueId val="{000001A3-2993-41DE-A2CB-63102DE87051}"/>
              </c:ext>
            </c:extLst>
          </c:dPt>
          <c:dPt>
            <c:idx val="209"/>
            <c:invertIfNegative val="1"/>
            <c:bubble3D val="0"/>
            <c:spPr>
              <a:solidFill>
                <a:srgbClr val="7ECAC4"/>
              </a:solidFill>
            </c:spPr>
            <c:extLst>
              <c:ext xmlns:c16="http://schemas.microsoft.com/office/drawing/2014/chart" uri="{C3380CC4-5D6E-409C-BE32-E72D297353CC}">
                <c16:uniqueId val="{000001A5-2993-41DE-A2CB-63102DE87051}"/>
              </c:ext>
            </c:extLst>
          </c:dPt>
          <c:dPt>
            <c:idx val="210"/>
            <c:invertIfNegative val="1"/>
            <c:bubble3D val="0"/>
            <c:spPr>
              <a:solidFill>
                <a:srgbClr val="7ECAC4"/>
              </a:solidFill>
            </c:spPr>
            <c:extLst>
              <c:ext xmlns:c16="http://schemas.microsoft.com/office/drawing/2014/chart" uri="{C3380CC4-5D6E-409C-BE32-E72D297353CC}">
                <c16:uniqueId val="{000001A7-F218-4DDE-952B-C0F0729EE755}"/>
              </c:ext>
            </c:extLst>
          </c:dPt>
          <c:dPt>
            <c:idx val="211"/>
            <c:invertIfNegative val="1"/>
            <c:bubble3D val="0"/>
            <c:spPr>
              <a:solidFill>
                <a:srgbClr val="7ECAC4"/>
              </a:solidFill>
            </c:spPr>
            <c:extLst>
              <c:ext xmlns:c16="http://schemas.microsoft.com/office/drawing/2014/chart" uri="{C3380CC4-5D6E-409C-BE32-E72D297353CC}">
                <c16:uniqueId val="{000001A9-F218-4DDE-952B-C0F0729EE755}"/>
              </c:ext>
            </c:extLst>
          </c:dPt>
          <c:dPt>
            <c:idx val="212"/>
            <c:invertIfNegative val="1"/>
            <c:bubble3D val="0"/>
            <c:spPr>
              <a:solidFill>
                <a:srgbClr val="7ECAC4"/>
              </a:solidFill>
            </c:spPr>
            <c:extLst>
              <c:ext xmlns:c16="http://schemas.microsoft.com/office/drawing/2014/chart" uri="{C3380CC4-5D6E-409C-BE32-E72D297353CC}">
                <c16:uniqueId val="{000001AB-F218-4DDE-952B-C0F0729EE755}"/>
              </c:ext>
            </c:extLst>
          </c:dPt>
          <c:dPt>
            <c:idx val="213"/>
            <c:invertIfNegative val="1"/>
            <c:bubble3D val="0"/>
            <c:spPr>
              <a:solidFill>
                <a:srgbClr val="7ECAC4"/>
              </a:solidFill>
            </c:spPr>
            <c:extLst>
              <c:ext xmlns:c16="http://schemas.microsoft.com/office/drawing/2014/chart" uri="{C3380CC4-5D6E-409C-BE32-E72D297353CC}">
                <c16:uniqueId val="{000001AD-F218-4DDE-952B-C0F0729EE755}"/>
              </c:ext>
            </c:extLst>
          </c:dPt>
          <c:dPt>
            <c:idx val="214"/>
            <c:invertIfNegative val="1"/>
            <c:bubble3D val="0"/>
            <c:spPr>
              <a:solidFill>
                <a:srgbClr val="7ECAC4"/>
              </a:solidFill>
            </c:spPr>
            <c:extLst>
              <c:ext xmlns:c16="http://schemas.microsoft.com/office/drawing/2014/chart" uri="{C3380CC4-5D6E-409C-BE32-E72D297353CC}">
                <c16:uniqueId val="{000001AF-F218-4DDE-952B-C0F0729EE755}"/>
              </c:ext>
            </c:extLst>
          </c:dPt>
          <c:dPt>
            <c:idx val="215"/>
            <c:invertIfNegative val="1"/>
            <c:bubble3D val="0"/>
            <c:spPr>
              <a:solidFill>
                <a:srgbClr val="7ECAC4"/>
              </a:solidFill>
            </c:spPr>
            <c:extLst>
              <c:ext xmlns:c16="http://schemas.microsoft.com/office/drawing/2014/chart" uri="{C3380CC4-5D6E-409C-BE32-E72D297353CC}">
                <c16:uniqueId val="{000001B1-F218-4DDE-952B-C0F0729EE755}"/>
              </c:ext>
            </c:extLst>
          </c:dPt>
          <c:dPt>
            <c:idx val="216"/>
            <c:invertIfNegative val="1"/>
            <c:bubble3D val="0"/>
            <c:spPr>
              <a:solidFill>
                <a:srgbClr val="7ECAC4"/>
              </a:solidFill>
            </c:spPr>
            <c:extLst>
              <c:ext xmlns:c16="http://schemas.microsoft.com/office/drawing/2014/chart" uri="{C3380CC4-5D6E-409C-BE32-E72D297353CC}">
                <c16:uniqueId val="{000001B3-F218-4DDE-952B-C0F0729EE755}"/>
              </c:ext>
            </c:extLst>
          </c:dPt>
          <c:dPt>
            <c:idx val="217"/>
            <c:invertIfNegative val="1"/>
            <c:bubble3D val="0"/>
            <c:spPr>
              <a:solidFill>
                <a:srgbClr val="7ECAC4"/>
              </a:solidFill>
            </c:spPr>
            <c:extLst>
              <c:ext xmlns:c16="http://schemas.microsoft.com/office/drawing/2014/chart" uri="{C3380CC4-5D6E-409C-BE32-E72D297353CC}">
                <c16:uniqueId val="{000001B5-F218-4DDE-952B-C0F0729EE755}"/>
              </c:ext>
            </c:extLst>
          </c:dPt>
          <c:dPt>
            <c:idx val="218"/>
            <c:invertIfNegative val="1"/>
            <c:bubble3D val="0"/>
            <c:spPr>
              <a:solidFill>
                <a:srgbClr val="7ECAC4"/>
              </a:solidFill>
            </c:spPr>
            <c:extLst>
              <c:ext xmlns:c16="http://schemas.microsoft.com/office/drawing/2014/chart" uri="{C3380CC4-5D6E-409C-BE32-E72D297353CC}">
                <c16:uniqueId val="{000001B7-F218-4DDE-952B-C0F0729EE755}"/>
              </c:ext>
            </c:extLst>
          </c:dPt>
          <c:dPt>
            <c:idx val="219"/>
            <c:invertIfNegative val="1"/>
            <c:bubble3D val="0"/>
            <c:spPr>
              <a:solidFill>
                <a:srgbClr val="7ECAC4"/>
              </a:solidFill>
            </c:spPr>
            <c:extLst>
              <c:ext xmlns:c16="http://schemas.microsoft.com/office/drawing/2014/chart" uri="{C3380CC4-5D6E-409C-BE32-E72D297353CC}">
                <c16:uniqueId val="{000001B9-F218-4DDE-952B-C0F0729EE755}"/>
              </c:ext>
            </c:extLst>
          </c:dPt>
          <c:dPt>
            <c:idx val="220"/>
            <c:invertIfNegative val="1"/>
            <c:bubble3D val="0"/>
            <c:spPr>
              <a:solidFill>
                <a:srgbClr val="7ECAC4"/>
              </a:solidFill>
            </c:spPr>
            <c:extLst>
              <c:ext xmlns:c16="http://schemas.microsoft.com/office/drawing/2014/chart" uri="{C3380CC4-5D6E-409C-BE32-E72D297353CC}">
                <c16:uniqueId val="{000001BB-F218-4DDE-952B-C0F0729EE755}"/>
              </c:ext>
            </c:extLst>
          </c:dPt>
          <c:dPt>
            <c:idx val="221"/>
            <c:invertIfNegative val="1"/>
            <c:bubble3D val="0"/>
            <c:spPr>
              <a:solidFill>
                <a:srgbClr val="7ECAC4"/>
              </a:solidFill>
            </c:spPr>
            <c:extLst>
              <c:ext xmlns:c16="http://schemas.microsoft.com/office/drawing/2014/chart" uri="{C3380CC4-5D6E-409C-BE32-E72D297353CC}">
                <c16:uniqueId val="{000001BD-F218-4DDE-952B-C0F0729EE755}"/>
              </c:ext>
            </c:extLst>
          </c:dPt>
          <c:dPt>
            <c:idx val="222"/>
            <c:invertIfNegative val="1"/>
            <c:bubble3D val="0"/>
            <c:spPr>
              <a:solidFill>
                <a:srgbClr val="7ECAC4"/>
              </a:solidFill>
            </c:spPr>
            <c:extLst>
              <c:ext xmlns:c16="http://schemas.microsoft.com/office/drawing/2014/chart" uri="{C3380CC4-5D6E-409C-BE32-E72D297353CC}">
                <c16:uniqueId val="{000001BF-F218-4DDE-952B-C0F0729EE755}"/>
              </c:ext>
            </c:extLst>
          </c:dPt>
          <c:dPt>
            <c:idx val="223"/>
            <c:invertIfNegative val="1"/>
            <c:bubble3D val="0"/>
            <c:spPr>
              <a:solidFill>
                <a:srgbClr val="7ECAC4"/>
              </a:solidFill>
            </c:spPr>
            <c:extLst>
              <c:ext xmlns:c16="http://schemas.microsoft.com/office/drawing/2014/chart" uri="{C3380CC4-5D6E-409C-BE32-E72D297353CC}">
                <c16:uniqueId val="{000001C1-F218-4DDE-952B-C0F0729EE755}"/>
              </c:ext>
            </c:extLst>
          </c:dPt>
          <c:dPt>
            <c:idx val="224"/>
            <c:invertIfNegative val="1"/>
            <c:bubble3D val="0"/>
            <c:spPr>
              <a:solidFill>
                <a:srgbClr val="7ECAC4"/>
              </a:solidFill>
            </c:spPr>
            <c:extLst>
              <c:ext xmlns:c16="http://schemas.microsoft.com/office/drawing/2014/chart" uri="{C3380CC4-5D6E-409C-BE32-E72D297353CC}">
                <c16:uniqueId val="{000001C3-F218-4DDE-952B-C0F0729EE755}"/>
              </c:ext>
            </c:extLst>
          </c:dPt>
          <c:dPt>
            <c:idx val="225"/>
            <c:invertIfNegative val="1"/>
            <c:bubble3D val="0"/>
            <c:spPr>
              <a:solidFill>
                <a:srgbClr val="7ECAC4"/>
              </a:solidFill>
            </c:spPr>
            <c:extLst>
              <c:ext xmlns:c16="http://schemas.microsoft.com/office/drawing/2014/chart" uri="{C3380CC4-5D6E-409C-BE32-E72D297353CC}">
                <c16:uniqueId val="{000001C5-F218-4DDE-952B-C0F0729EE755}"/>
              </c:ext>
            </c:extLst>
          </c:dPt>
          <c:dPt>
            <c:idx val="226"/>
            <c:invertIfNegative val="1"/>
            <c:bubble3D val="0"/>
            <c:spPr>
              <a:solidFill>
                <a:srgbClr val="7ECAC4"/>
              </a:solidFill>
            </c:spPr>
            <c:extLst>
              <c:ext xmlns:c16="http://schemas.microsoft.com/office/drawing/2014/chart" uri="{C3380CC4-5D6E-409C-BE32-E72D297353CC}">
                <c16:uniqueId val="{000001C7-F218-4DDE-952B-C0F0729EE755}"/>
              </c:ext>
            </c:extLst>
          </c:dPt>
          <c:dPt>
            <c:idx val="227"/>
            <c:invertIfNegative val="1"/>
            <c:bubble3D val="0"/>
            <c:spPr>
              <a:solidFill>
                <a:srgbClr val="7ECAC4"/>
              </a:solidFill>
            </c:spPr>
            <c:extLst>
              <c:ext xmlns:c16="http://schemas.microsoft.com/office/drawing/2014/chart" uri="{C3380CC4-5D6E-409C-BE32-E72D297353CC}">
                <c16:uniqueId val="{000001C9-F218-4DDE-952B-C0F0729EE755}"/>
              </c:ext>
            </c:extLst>
          </c:dPt>
          <c:dPt>
            <c:idx val="228"/>
            <c:invertIfNegative val="1"/>
            <c:bubble3D val="0"/>
            <c:spPr>
              <a:solidFill>
                <a:srgbClr val="7ECAC4"/>
              </a:solidFill>
            </c:spPr>
            <c:extLst>
              <c:ext xmlns:c16="http://schemas.microsoft.com/office/drawing/2014/chart" uri="{C3380CC4-5D6E-409C-BE32-E72D297353CC}">
                <c16:uniqueId val="{000001CB-F218-4DDE-952B-C0F0729EE755}"/>
              </c:ext>
            </c:extLst>
          </c:dPt>
          <c:dPt>
            <c:idx val="229"/>
            <c:invertIfNegative val="1"/>
            <c:bubble3D val="0"/>
            <c:spPr>
              <a:solidFill>
                <a:srgbClr val="7ECAC4"/>
              </a:solidFill>
            </c:spPr>
            <c:extLst>
              <c:ext xmlns:c16="http://schemas.microsoft.com/office/drawing/2014/chart" uri="{C3380CC4-5D6E-409C-BE32-E72D297353CC}">
                <c16:uniqueId val="{000001CD-F218-4DDE-952B-C0F0729EE755}"/>
              </c:ext>
            </c:extLst>
          </c:dPt>
          <c:dPt>
            <c:idx val="230"/>
            <c:invertIfNegative val="1"/>
            <c:bubble3D val="0"/>
            <c:spPr>
              <a:solidFill>
                <a:srgbClr val="7ECAC4"/>
              </a:solidFill>
            </c:spPr>
            <c:extLst>
              <c:ext xmlns:c16="http://schemas.microsoft.com/office/drawing/2014/chart" uri="{C3380CC4-5D6E-409C-BE32-E72D297353CC}">
                <c16:uniqueId val="{000001CF-F218-4DDE-952B-C0F0729EE755}"/>
              </c:ext>
            </c:extLst>
          </c:dPt>
          <c:dPt>
            <c:idx val="231"/>
            <c:invertIfNegative val="1"/>
            <c:bubble3D val="0"/>
            <c:spPr>
              <a:solidFill>
                <a:srgbClr val="7ECAC4"/>
              </a:solidFill>
            </c:spPr>
            <c:extLst>
              <c:ext xmlns:c16="http://schemas.microsoft.com/office/drawing/2014/chart" uri="{C3380CC4-5D6E-409C-BE32-E72D297353CC}">
                <c16:uniqueId val="{000001D1-F218-4DDE-952B-C0F0729EE755}"/>
              </c:ext>
            </c:extLst>
          </c:dPt>
          <c:dPt>
            <c:idx val="232"/>
            <c:invertIfNegative val="1"/>
            <c:bubble3D val="0"/>
            <c:spPr>
              <a:solidFill>
                <a:srgbClr val="7ECAC4"/>
              </a:solidFill>
            </c:spPr>
            <c:extLst>
              <c:ext xmlns:c16="http://schemas.microsoft.com/office/drawing/2014/chart" uri="{C3380CC4-5D6E-409C-BE32-E72D297353CC}">
                <c16:uniqueId val="{000001D3-F218-4DDE-952B-C0F0729EE755}"/>
              </c:ext>
            </c:extLst>
          </c:dPt>
          <c:dPt>
            <c:idx val="233"/>
            <c:invertIfNegative val="1"/>
            <c:bubble3D val="0"/>
            <c:spPr>
              <a:solidFill>
                <a:srgbClr val="7ECAC4"/>
              </a:solidFill>
            </c:spPr>
            <c:extLst>
              <c:ext xmlns:c16="http://schemas.microsoft.com/office/drawing/2014/chart" uri="{C3380CC4-5D6E-409C-BE32-E72D297353CC}">
                <c16:uniqueId val="{000001D5-F218-4DDE-952B-C0F0729EE755}"/>
              </c:ext>
            </c:extLst>
          </c:dPt>
          <c:dPt>
            <c:idx val="234"/>
            <c:invertIfNegative val="1"/>
            <c:bubble3D val="0"/>
            <c:spPr>
              <a:solidFill>
                <a:srgbClr val="7ECAC4"/>
              </a:solidFill>
            </c:spPr>
            <c:extLst>
              <c:ext xmlns:c16="http://schemas.microsoft.com/office/drawing/2014/chart" uri="{C3380CC4-5D6E-409C-BE32-E72D297353CC}">
                <c16:uniqueId val="{000001D7-F218-4DDE-952B-C0F0729EE755}"/>
              </c:ext>
            </c:extLst>
          </c:dPt>
          <c:dPt>
            <c:idx val="235"/>
            <c:invertIfNegative val="1"/>
            <c:bubble3D val="0"/>
            <c:spPr>
              <a:solidFill>
                <a:srgbClr val="7ECAC4"/>
              </a:solidFill>
            </c:spPr>
            <c:extLst>
              <c:ext xmlns:c16="http://schemas.microsoft.com/office/drawing/2014/chart" uri="{C3380CC4-5D6E-409C-BE32-E72D297353CC}">
                <c16:uniqueId val="{000001D9-F218-4DDE-952B-C0F0729EE755}"/>
              </c:ext>
            </c:extLst>
          </c:dPt>
          <c:dPt>
            <c:idx val="236"/>
            <c:invertIfNegative val="1"/>
            <c:bubble3D val="0"/>
            <c:spPr>
              <a:solidFill>
                <a:srgbClr val="7ECAC4"/>
              </a:solidFill>
            </c:spPr>
            <c:extLst>
              <c:ext xmlns:c16="http://schemas.microsoft.com/office/drawing/2014/chart" uri="{C3380CC4-5D6E-409C-BE32-E72D297353CC}">
                <c16:uniqueId val="{000001DB-F218-4DDE-952B-C0F0729EE755}"/>
              </c:ext>
            </c:extLst>
          </c:dPt>
          <c:dPt>
            <c:idx val="237"/>
            <c:invertIfNegative val="1"/>
            <c:bubble3D val="0"/>
            <c:spPr>
              <a:solidFill>
                <a:srgbClr val="7ECAC4"/>
              </a:solidFill>
            </c:spPr>
            <c:extLst>
              <c:ext xmlns:c16="http://schemas.microsoft.com/office/drawing/2014/chart" uri="{C3380CC4-5D6E-409C-BE32-E72D297353CC}">
                <c16:uniqueId val="{000001DD-F218-4DDE-952B-C0F0729EE755}"/>
              </c:ext>
            </c:extLst>
          </c:dPt>
          <c:dPt>
            <c:idx val="238"/>
            <c:invertIfNegative val="1"/>
            <c:bubble3D val="0"/>
            <c:spPr>
              <a:solidFill>
                <a:srgbClr val="7ECAC4"/>
              </a:solidFill>
            </c:spPr>
            <c:extLst>
              <c:ext xmlns:c16="http://schemas.microsoft.com/office/drawing/2014/chart" uri="{C3380CC4-5D6E-409C-BE32-E72D297353CC}">
                <c16:uniqueId val="{000001DF-F218-4DDE-952B-C0F0729EE755}"/>
              </c:ext>
            </c:extLst>
          </c:dPt>
          <c:dPt>
            <c:idx val="239"/>
            <c:invertIfNegative val="1"/>
            <c:bubble3D val="0"/>
            <c:spPr>
              <a:solidFill>
                <a:srgbClr val="7ECAC4"/>
              </a:solidFill>
            </c:spPr>
            <c:extLst>
              <c:ext xmlns:c16="http://schemas.microsoft.com/office/drawing/2014/chart" uri="{C3380CC4-5D6E-409C-BE32-E72D297353CC}">
                <c16:uniqueId val="{000001E1-F218-4DDE-952B-C0F0729EE755}"/>
              </c:ext>
            </c:extLst>
          </c:dPt>
          <c:dPt>
            <c:idx val="240"/>
            <c:invertIfNegative val="1"/>
            <c:bubble3D val="0"/>
            <c:spPr>
              <a:solidFill>
                <a:srgbClr val="7ECAC4"/>
              </a:solidFill>
            </c:spPr>
            <c:extLst>
              <c:ext xmlns:c16="http://schemas.microsoft.com/office/drawing/2014/chart" uri="{C3380CC4-5D6E-409C-BE32-E72D297353CC}">
                <c16:uniqueId val="{000001E3-F218-4DDE-952B-C0F0729EE755}"/>
              </c:ext>
            </c:extLst>
          </c:dPt>
          <c:dPt>
            <c:idx val="241"/>
            <c:invertIfNegative val="1"/>
            <c:bubble3D val="0"/>
            <c:spPr>
              <a:solidFill>
                <a:srgbClr val="7ECAC4"/>
              </a:solidFill>
            </c:spPr>
            <c:extLst>
              <c:ext xmlns:c16="http://schemas.microsoft.com/office/drawing/2014/chart" uri="{C3380CC4-5D6E-409C-BE32-E72D297353CC}">
                <c16:uniqueId val="{000001E5-F218-4DDE-952B-C0F0729EE755}"/>
              </c:ext>
            </c:extLst>
          </c:dPt>
          <c:dPt>
            <c:idx val="242"/>
            <c:invertIfNegative val="1"/>
            <c:bubble3D val="0"/>
            <c:spPr>
              <a:solidFill>
                <a:srgbClr val="7ECAC4"/>
              </a:solidFill>
            </c:spPr>
            <c:extLst>
              <c:ext xmlns:c16="http://schemas.microsoft.com/office/drawing/2014/chart" uri="{C3380CC4-5D6E-409C-BE32-E72D297353CC}">
                <c16:uniqueId val="{000001E7-F218-4DDE-952B-C0F0729EE755}"/>
              </c:ext>
            </c:extLst>
          </c:dPt>
          <c:dPt>
            <c:idx val="243"/>
            <c:invertIfNegative val="1"/>
            <c:bubble3D val="0"/>
            <c:spPr>
              <a:solidFill>
                <a:srgbClr val="7ECAC4"/>
              </a:solidFill>
            </c:spPr>
            <c:extLst>
              <c:ext xmlns:c16="http://schemas.microsoft.com/office/drawing/2014/chart" uri="{C3380CC4-5D6E-409C-BE32-E72D297353CC}">
                <c16:uniqueId val="{000001E9-F218-4DDE-952B-C0F0729EE755}"/>
              </c:ext>
            </c:extLst>
          </c:dPt>
          <c:dPt>
            <c:idx val="244"/>
            <c:invertIfNegative val="1"/>
            <c:bubble3D val="0"/>
            <c:spPr>
              <a:solidFill>
                <a:srgbClr val="7ECAC4"/>
              </a:solidFill>
            </c:spPr>
            <c:extLst>
              <c:ext xmlns:c16="http://schemas.microsoft.com/office/drawing/2014/chart" uri="{C3380CC4-5D6E-409C-BE32-E72D297353CC}">
                <c16:uniqueId val="{000001EB-F218-4DDE-952B-C0F0729EE755}"/>
              </c:ext>
            </c:extLst>
          </c:dPt>
          <c:dPt>
            <c:idx val="245"/>
            <c:invertIfNegative val="1"/>
            <c:bubble3D val="0"/>
            <c:spPr>
              <a:solidFill>
                <a:srgbClr val="7ECAC4"/>
              </a:solidFill>
            </c:spPr>
            <c:extLst>
              <c:ext xmlns:c16="http://schemas.microsoft.com/office/drawing/2014/chart" uri="{C3380CC4-5D6E-409C-BE32-E72D297353CC}">
                <c16:uniqueId val="{000001ED-F218-4DDE-952B-C0F0729EE755}"/>
              </c:ext>
            </c:extLst>
          </c:dPt>
          <c:dPt>
            <c:idx val="246"/>
            <c:invertIfNegative val="1"/>
            <c:bubble3D val="0"/>
            <c:spPr>
              <a:solidFill>
                <a:srgbClr val="7ECAC4"/>
              </a:solidFill>
            </c:spPr>
            <c:extLst>
              <c:ext xmlns:c16="http://schemas.microsoft.com/office/drawing/2014/chart" uri="{C3380CC4-5D6E-409C-BE32-E72D297353CC}">
                <c16:uniqueId val="{000001EF-F218-4DDE-952B-C0F0729EE755}"/>
              </c:ext>
            </c:extLst>
          </c:dPt>
          <c:dPt>
            <c:idx val="247"/>
            <c:invertIfNegative val="1"/>
            <c:bubble3D val="0"/>
            <c:spPr>
              <a:solidFill>
                <a:srgbClr val="7ECAC4"/>
              </a:solidFill>
            </c:spPr>
            <c:extLst>
              <c:ext xmlns:c16="http://schemas.microsoft.com/office/drawing/2014/chart" uri="{C3380CC4-5D6E-409C-BE32-E72D297353CC}">
                <c16:uniqueId val="{000001F1-F218-4DDE-952B-C0F0729EE755}"/>
              </c:ext>
            </c:extLst>
          </c:dPt>
          <c:dPt>
            <c:idx val="248"/>
            <c:invertIfNegative val="1"/>
            <c:bubble3D val="0"/>
            <c:spPr>
              <a:solidFill>
                <a:srgbClr val="7ECAC4"/>
              </a:solidFill>
            </c:spPr>
            <c:extLst>
              <c:ext xmlns:c16="http://schemas.microsoft.com/office/drawing/2014/chart" uri="{C3380CC4-5D6E-409C-BE32-E72D297353CC}">
                <c16:uniqueId val="{000001F3-F218-4DDE-952B-C0F0729EE755}"/>
              </c:ext>
            </c:extLst>
          </c:dPt>
          <c:dPt>
            <c:idx val="249"/>
            <c:invertIfNegative val="1"/>
            <c:bubble3D val="0"/>
            <c:spPr>
              <a:solidFill>
                <a:srgbClr val="7ECAC4"/>
              </a:solidFill>
            </c:spPr>
            <c:extLst>
              <c:ext xmlns:c16="http://schemas.microsoft.com/office/drawing/2014/chart" uri="{C3380CC4-5D6E-409C-BE32-E72D297353CC}">
                <c16:uniqueId val="{000001F5-F218-4DDE-952B-C0F0729EE755}"/>
              </c:ext>
            </c:extLst>
          </c:dPt>
          <c:dPt>
            <c:idx val="250"/>
            <c:invertIfNegative val="1"/>
            <c:bubble3D val="0"/>
            <c:spPr>
              <a:solidFill>
                <a:srgbClr val="7ECAC4"/>
              </a:solidFill>
            </c:spPr>
            <c:extLst>
              <c:ext xmlns:c16="http://schemas.microsoft.com/office/drawing/2014/chart" uri="{C3380CC4-5D6E-409C-BE32-E72D297353CC}">
                <c16:uniqueId val="{000001F7-F218-4DDE-952B-C0F0729EE755}"/>
              </c:ext>
            </c:extLst>
          </c:dPt>
          <c:dPt>
            <c:idx val="251"/>
            <c:invertIfNegative val="1"/>
            <c:bubble3D val="0"/>
            <c:spPr>
              <a:solidFill>
                <a:srgbClr val="7ECAC4"/>
              </a:solidFill>
            </c:spPr>
            <c:extLst>
              <c:ext xmlns:c16="http://schemas.microsoft.com/office/drawing/2014/chart" uri="{C3380CC4-5D6E-409C-BE32-E72D297353CC}">
                <c16:uniqueId val="{000001F9-F218-4DDE-952B-C0F0729EE755}"/>
              </c:ext>
            </c:extLst>
          </c:dPt>
          <c:dPt>
            <c:idx val="252"/>
            <c:invertIfNegative val="1"/>
            <c:bubble3D val="0"/>
            <c:spPr>
              <a:solidFill>
                <a:srgbClr val="7ECAC4"/>
              </a:solidFill>
            </c:spPr>
            <c:extLst>
              <c:ext xmlns:c16="http://schemas.microsoft.com/office/drawing/2014/chart" uri="{C3380CC4-5D6E-409C-BE32-E72D297353CC}">
                <c16:uniqueId val="{000001FB-F218-4DDE-952B-C0F0729EE755}"/>
              </c:ext>
            </c:extLst>
          </c:dPt>
          <c:dPt>
            <c:idx val="253"/>
            <c:invertIfNegative val="1"/>
            <c:bubble3D val="0"/>
            <c:spPr>
              <a:solidFill>
                <a:srgbClr val="7ECAC4"/>
              </a:solidFill>
            </c:spPr>
            <c:extLst>
              <c:ext xmlns:c16="http://schemas.microsoft.com/office/drawing/2014/chart" uri="{C3380CC4-5D6E-409C-BE32-E72D297353CC}">
                <c16:uniqueId val="{000001FD-F218-4DDE-952B-C0F0729EE755}"/>
              </c:ext>
            </c:extLst>
          </c:dPt>
          <c:dPt>
            <c:idx val="254"/>
            <c:invertIfNegative val="1"/>
            <c:bubble3D val="0"/>
            <c:spPr>
              <a:solidFill>
                <a:srgbClr val="7ECAC4"/>
              </a:solidFill>
            </c:spPr>
            <c:extLst>
              <c:ext xmlns:c16="http://schemas.microsoft.com/office/drawing/2014/chart" uri="{C3380CC4-5D6E-409C-BE32-E72D297353CC}">
                <c16:uniqueId val="{000001FF-F218-4DDE-952B-C0F0729EE755}"/>
              </c:ext>
            </c:extLst>
          </c:dPt>
          <c:dPt>
            <c:idx val="255"/>
            <c:invertIfNegative val="1"/>
            <c:bubble3D val="0"/>
            <c:spPr>
              <a:solidFill>
                <a:srgbClr val="7ECAC4"/>
              </a:solidFill>
            </c:spPr>
            <c:extLst>
              <c:ext xmlns:c16="http://schemas.microsoft.com/office/drawing/2014/chart" uri="{C3380CC4-5D6E-409C-BE32-E72D297353CC}">
                <c16:uniqueId val="{00000201-F218-4DDE-952B-C0F0729EE755}"/>
              </c:ext>
            </c:extLst>
          </c:dPt>
          <c:dPt>
            <c:idx val="256"/>
            <c:invertIfNegative val="1"/>
            <c:bubble3D val="0"/>
            <c:spPr>
              <a:solidFill>
                <a:srgbClr val="7ECAC4"/>
              </a:solidFill>
            </c:spPr>
            <c:extLst>
              <c:ext xmlns:c16="http://schemas.microsoft.com/office/drawing/2014/chart" uri="{C3380CC4-5D6E-409C-BE32-E72D297353CC}">
                <c16:uniqueId val="{00000203-F218-4DDE-952B-C0F0729EE755}"/>
              </c:ext>
            </c:extLst>
          </c:dPt>
          <c:dPt>
            <c:idx val="257"/>
            <c:invertIfNegative val="1"/>
            <c:bubble3D val="0"/>
            <c:spPr>
              <a:solidFill>
                <a:srgbClr val="7ECAC4"/>
              </a:solidFill>
            </c:spPr>
            <c:extLst>
              <c:ext xmlns:c16="http://schemas.microsoft.com/office/drawing/2014/chart" uri="{C3380CC4-5D6E-409C-BE32-E72D297353CC}">
                <c16:uniqueId val="{00000205-F218-4DDE-952B-C0F0729EE755}"/>
              </c:ext>
            </c:extLst>
          </c:dPt>
          <c:dPt>
            <c:idx val="258"/>
            <c:invertIfNegative val="1"/>
            <c:bubble3D val="0"/>
            <c:spPr>
              <a:solidFill>
                <a:srgbClr val="7ECAC4"/>
              </a:solidFill>
            </c:spPr>
            <c:extLst>
              <c:ext xmlns:c16="http://schemas.microsoft.com/office/drawing/2014/chart" uri="{C3380CC4-5D6E-409C-BE32-E72D297353CC}">
                <c16:uniqueId val="{00000207-F218-4DDE-952B-C0F0729EE755}"/>
              </c:ext>
            </c:extLst>
          </c:dPt>
          <c:dPt>
            <c:idx val="259"/>
            <c:invertIfNegative val="1"/>
            <c:bubble3D val="0"/>
            <c:spPr>
              <a:solidFill>
                <a:srgbClr val="7ECAC4"/>
              </a:solidFill>
            </c:spPr>
            <c:extLst>
              <c:ext xmlns:c16="http://schemas.microsoft.com/office/drawing/2014/chart" uri="{C3380CC4-5D6E-409C-BE32-E72D297353CC}">
                <c16:uniqueId val="{00000209-F218-4DDE-952B-C0F0729EE755}"/>
              </c:ext>
            </c:extLst>
          </c:dPt>
          <c:dPt>
            <c:idx val="260"/>
            <c:invertIfNegative val="1"/>
            <c:bubble3D val="0"/>
            <c:spPr>
              <a:solidFill>
                <a:srgbClr val="7ECAC4"/>
              </a:solidFill>
            </c:spPr>
            <c:extLst>
              <c:ext xmlns:c16="http://schemas.microsoft.com/office/drawing/2014/chart" uri="{C3380CC4-5D6E-409C-BE32-E72D297353CC}">
                <c16:uniqueId val="{0000020B-F218-4DDE-952B-C0F0729EE755}"/>
              </c:ext>
            </c:extLst>
          </c:dPt>
          <c:dPt>
            <c:idx val="261"/>
            <c:invertIfNegative val="1"/>
            <c:bubble3D val="0"/>
            <c:spPr>
              <a:solidFill>
                <a:srgbClr val="7ECAC4"/>
              </a:solidFill>
            </c:spPr>
            <c:extLst>
              <c:ext xmlns:c16="http://schemas.microsoft.com/office/drawing/2014/chart" uri="{C3380CC4-5D6E-409C-BE32-E72D297353CC}">
                <c16:uniqueId val="{0000020D-F218-4DDE-952B-C0F0729EE755}"/>
              </c:ext>
            </c:extLst>
          </c:dPt>
          <c:dPt>
            <c:idx val="262"/>
            <c:invertIfNegative val="1"/>
            <c:bubble3D val="0"/>
            <c:spPr>
              <a:solidFill>
                <a:srgbClr val="7ECAC4"/>
              </a:solidFill>
            </c:spPr>
            <c:extLst>
              <c:ext xmlns:c16="http://schemas.microsoft.com/office/drawing/2014/chart" uri="{C3380CC4-5D6E-409C-BE32-E72D297353CC}">
                <c16:uniqueId val="{0000020F-F218-4DDE-952B-C0F0729EE755}"/>
              </c:ext>
            </c:extLst>
          </c:dPt>
          <c:dPt>
            <c:idx val="263"/>
            <c:invertIfNegative val="1"/>
            <c:bubble3D val="0"/>
            <c:spPr>
              <a:solidFill>
                <a:srgbClr val="7ECAC4"/>
              </a:solidFill>
            </c:spPr>
            <c:extLst>
              <c:ext xmlns:c16="http://schemas.microsoft.com/office/drawing/2014/chart" uri="{C3380CC4-5D6E-409C-BE32-E72D297353CC}">
                <c16:uniqueId val="{00000211-F218-4DDE-952B-C0F0729EE755}"/>
              </c:ext>
            </c:extLst>
          </c:dPt>
          <c:dPt>
            <c:idx val="264"/>
            <c:invertIfNegative val="1"/>
            <c:bubble3D val="0"/>
            <c:spPr>
              <a:solidFill>
                <a:srgbClr val="7ECAC4"/>
              </a:solidFill>
            </c:spPr>
            <c:extLst>
              <c:ext xmlns:c16="http://schemas.microsoft.com/office/drawing/2014/chart" uri="{C3380CC4-5D6E-409C-BE32-E72D297353CC}">
                <c16:uniqueId val="{00000213-F218-4DDE-952B-C0F0729EE755}"/>
              </c:ext>
            </c:extLst>
          </c:dPt>
          <c:dPt>
            <c:idx val="265"/>
            <c:invertIfNegative val="1"/>
            <c:bubble3D val="0"/>
            <c:spPr>
              <a:solidFill>
                <a:srgbClr val="7ECAC4"/>
              </a:solidFill>
            </c:spPr>
            <c:extLst>
              <c:ext xmlns:c16="http://schemas.microsoft.com/office/drawing/2014/chart" uri="{C3380CC4-5D6E-409C-BE32-E72D297353CC}">
                <c16:uniqueId val="{00000215-F218-4DDE-952B-C0F0729EE755}"/>
              </c:ext>
            </c:extLst>
          </c:dPt>
          <c:dPt>
            <c:idx val="266"/>
            <c:invertIfNegative val="1"/>
            <c:bubble3D val="0"/>
            <c:spPr>
              <a:solidFill>
                <a:srgbClr val="7ECAC4"/>
              </a:solidFill>
            </c:spPr>
            <c:extLst>
              <c:ext xmlns:c16="http://schemas.microsoft.com/office/drawing/2014/chart" uri="{C3380CC4-5D6E-409C-BE32-E72D297353CC}">
                <c16:uniqueId val="{00000217-F218-4DDE-952B-C0F0729EE755}"/>
              </c:ext>
            </c:extLst>
          </c:dPt>
          <c:dPt>
            <c:idx val="267"/>
            <c:invertIfNegative val="1"/>
            <c:bubble3D val="0"/>
            <c:spPr>
              <a:solidFill>
                <a:srgbClr val="7ECAC4"/>
              </a:solidFill>
            </c:spPr>
            <c:extLst>
              <c:ext xmlns:c16="http://schemas.microsoft.com/office/drawing/2014/chart" uri="{C3380CC4-5D6E-409C-BE32-E72D297353CC}">
                <c16:uniqueId val="{00000219-F218-4DDE-952B-C0F0729EE755}"/>
              </c:ext>
            </c:extLst>
          </c:dPt>
          <c:dPt>
            <c:idx val="268"/>
            <c:invertIfNegative val="1"/>
            <c:bubble3D val="0"/>
            <c:spPr>
              <a:solidFill>
                <a:srgbClr val="7ECAC4"/>
              </a:solidFill>
            </c:spPr>
            <c:extLst>
              <c:ext xmlns:c16="http://schemas.microsoft.com/office/drawing/2014/chart" uri="{C3380CC4-5D6E-409C-BE32-E72D297353CC}">
                <c16:uniqueId val="{0000021B-F218-4DDE-952B-C0F0729EE755}"/>
              </c:ext>
            </c:extLst>
          </c:dPt>
          <c:dPt>
            <c:idx val="269"/>
            <c:invertIfNegative val="1"/>
            <c:bubble3D val="0"/>
            <c:spPr>
              <a:solidFill>
                <a:srgbClr val="7ECAC4"/>
              </a:solidFill>
            </c:spPr>
            <c:extLst>
              <c:ext xmlns:c16="http://schemas.microsoft.com/office/drawing/2014/chart" uri="{C3380CC4-5D6E-409C-BE32-E72D297353CC}">
                <c16:uniqueId val="{0000021D-F218-4DDE-952B-C0F0729EE755}"/>
              </c:ext>
            </c:extLst>
          </c:dPt>
          <c:dPt>
            <c:idx val="270"/>
            <c:invertIfNegative val="1"/>
            <c:bubble3D val="0"/>
            <c:spPr>
              <a:solidFill>
                <a:srgbClr val="7ECAC4"/>
              </a:solidFill>
            </c:spPr>
            <c:extLst>
              <c:ext xmlns:c16="http://schemas.microsoft.com/office/drawing/2014/chart" uri="{C3380CC4-5D6E-409C-BE32-E72D297353CC}">
                <c16:uniqueId val="{0000021F-F218-4DDE-952B-C0F0729EE755}"/>
              </c:ext>
            </c:extLst>
          </c:dPt>
          <c:dPt>
            <c:idx val="271"/>
            <c:invertIfNegative val="1"/>
            <c:bubble3D val="0"/>
            <c:spPr>
              <a:solidFill>
                <a:srgbClr val="7ECAC4"/>
              </a:solidFill>
            </c:spPr>
            <c:extLst>
              <c:ext xmlns:c16="http://schemas.microsoft.com/office/drawing/2014/chart" uri="{C3380CC4-5D6E-409C-BE32-E72D297353CC}">
                <c16:uniqueId val="{00000221-F218-4DDE-952B-C0F0729EE755}"/>
              </c:ext>
            </c:extLst>
          </c:dPt>
          <c:dPt>
            <c:idx val="272"/>
            <c:invertIfNegative val="1"/>
            <c:bubble3D val="0"/>
            <c:spPr>
              <a:solidFill>
                <a:srgbClr val="7ECAC4"/>
              </a:solidFill>
            </c:spPr>
            <c:extLst>
              <c:ext xmlns:c16="http://schemas.microsoft.com/office/drawing/2014/chart" uri="{C3380CC4-5D6E-409C-BE32-E72D297353CC}">
                <c16:uniqueId val="{00000223-F218-4DDE-952B-C0F0729EE755}"/>
              </c:ext>
            </c:extLst>
          </c:dPt>
          <c:dPt>
            <c:idx val="273"/>
            <c:invertIfNegative val="1"/>
            <c:bubble3D val="0"/>
            <c:spPr>
              <a:solidFill>
                <a:srgbClr val="7ECAC4"/>
              </a:solidFill>
            </c:spPr>
            <c:extLst>
              <c:ext xmlns:c16="http://schemas.microsoft.com/office/drawing/2014/chart" uri="{C3380CC4-5D6E-409C-BE32-E72D297353CC}">
                <c16:uniqueId val="{00000225-F218-4DDE-952B-C0F0729EE755}"/>
              </c:ext>
            </c:extLst>
          </c:dPt>
          <c:dPt>
            <c:idx val="274"/>
            <c:invertIfNegative val="1"/>
            <c:bubble3D val="0"/>
            <c:spPr>
              <a:solidFill>
                <a:srgbClr val="7ECAC4"/>
              </a:solidFill>
            </c:spPr>
            <c:extLst>
              <c:ext xmlns:c16="http://schemas.microsoft.com/office/drawing/2014/chart" uri="{C3380CC4-5D6E-409C-BE32-E72D297353CC}">
                <c16:uniqueId val="{00000227-F218-4DDE-952B-C0F0729EE755}"/>
              </c:ext>
            </c:extLst>
          </c:dPt>
          <c:dPt>
            <c:idx val="275"/>
            <c:invertIfNegative val="1"/>
            <c:bubble3D val="0"/>
            <c:spPr>
              <a:solidFill>
                <a:srgbClr val="7ECAC4"/>
              </a:solidFill>
            </c:spPr>
            <c:extLst>
              <c:ext xmlns:c16="http://schemas.microsoft.com/office/drawing/2014/chart" uri="{C3380CC4-5D6E-409C-BE32-E72D297353CC}">
                <c16:uniqueId val="{00000229-F218-4DDE-952B-C0F0729EE755}"/>
              </c:ext>
            </c:extLst>
          </c:dPt>
          <c:dPt>
            <c:idx val="276"/>
            <c:invertIfNegative val="1"/>
            <c:bubble3D val="0"/>
            <c:spPr>
              <a:solidFill>
                <a:srgbClr val="7ECAC4"/>
              </a:solidFill>
            </c:spPr>
            <c:extLst>
              <c:ext xmlns:c16="http://schemas.microsoft.com/office/drawing/2014/chart" uri="{C3380CC4-5D6E-409C-BE32-E72D297353CC}">
                <c16:uniqueId val="{0000022B-F218-4DDE-952B-C0F0729EE755}"/>
              </c:ext>
            </c:extLst>
          </c:dPt>
          <c:dPt>
            <c:idx val="277"/>
            <c:invertIfNegative val="1"/>
            <c:bubble3D val="0"/>
            <c:spPr>
              <a:solidFill>
                <a:srgbClr val="7ECAC4"/>
              </a:solidFill>
            </c:spPr>
            <c:extLst>
              <c:ext xmlns:c16="http://schemas.microsoft.com/office/drawing/2014/chart" uri="{C3380CC4-5D6E-409C-BE32-E72D297353CC}">
                <c16:uniqueId val="{0000022D-F218-4DDE-952B-C0F0729EE755}"/>
              </c:ext>
            </c:extLst>
          </c:dPt>
          <c:dPt>
            <c:idx val="278"/>
            <c:invertIfNegative val="1"/>
            <c:bubble3D val="0"/>
            <c:spPr>
              <a:solidFill>
                <a:srgbClr val="7ECAC4"/>
              </a:solidFill>
            </c:spPr>
            <c:extLst>
              <c:ext xmlns:c16="http://schemas.microsoft.com/office/drawing/2014/chart" uri="{C3380CC4-5D6E-409C-BE32-E72D297353CC}">
                <c16:uniqueId val="{0000022F-F218-4DDE-952B-C0F0729EE755}"/>
              </c:ext>
            </c:extLst>
          </c:dPt>
          <c:dPt>
            <c:idx val="279"/>
            <c:invertIfNegative val="1"/>
            <c:bubble3D val="0"/>
            <c:spPr>
              <a:solidFill>
                <a:srgbClr val="7ECAC4"/>
              </a:solidFill>
            </c:spPr>
            <c:extLst>
              <c:ext xmlns:c16="http://schemas.microsoft.com/office/drawing/2014/chart" uri="{C3380CC4-5D6E-409C-BE32-E72D297353CC}">
                <c16:uniqueId val="{00000231-F218-4DDE-952B-C0F0729EE755}"/>
              </c:ext>
            </c:extLst>
          </c:dPt>
          <c:dPt>
            <c:idx val="280"/>
            <c:invertIfNegative val="1"/>
            <c:bubble3D val="0"/>
            <c:spPr>
              <a:solidFill>
                <a:srgbClr val="7ECAC4"/>
              </a:solidFill>
            </c:spPr>
            <c:extLst>
              <c:ext xmlns:c16="http://schemas.microsoft.com/office/drawing/2014/chart" uri="{C3380CC4-5D6E-409C-BE32-E72D297353CC}">
                <c16:uniqueId val="{00000233-F218-4DDE-952B-C0F0729EE755}"/>
              </c:ext>
            </c:extLst>
          </c:dPt>
          <c:dPt>
            <c:idx val="281"/>
            <c:invertIfNegative val="1"/>
            <c:bubble3D val="0"/>
            <c:spPr>
              <a:solidFill>
                <a:srgbClr val="7ECAC4"/>
              </a:solidFill>
            </c:spPr>
            <c:extLst>
              <c:ext xmlns:c16="http://schemas.microsoft.com/office/drawing/2014/chart" uri="{C3380CC4-5D6E-409C-BE32-E72D297353CC}">
                <c16:uniqueId val="{00000235-F218-4DDE-952B-C0F0729EE755}"/>
              </c:ext>
            </c:extLst>
          </c:dPt>
          <c:dPt>
            <c:idx val="282"/>
            <c:invertIfNegative val="1"/>
            <c:bubble3D val="0"/>
            <c:spPr>
              <a:solidFill>
                <a:srgbClr val="7ECAC4"/>
              </a:solidFill>
            </c:spPr>
            <c:extLst>
              <c:ext xmlns:c16="http://schemas.microsoft.com/office/drawing/2014/chart" uri="{C3380CC4-5D6E-409C-BE32-E72D297353CC}">
                <c16:uniqueId val="{00000237-F218-4DDE-952B-C0F0729EE755}"/>
              </c:ext>
            </c:extLst>
          </c:dPt>
          <c:dPt>
            <c:idx val="283"/>
            <c:invertIfNegative val="1"/>
            <c:bubble3D val="0"/>
            <c:spPr>
              <a:solidFill>
                <a:srgbClr val="7ECAC4"/>
              </a:solidFill>
            </c:spPr>
            <c:extLst>
              <c:ext xmlns:c16="http://schemas.microsoft.com/office/drawing/2014/chart" uri="{C3380CC4-5D6E-409C-BE32-E72D297353CC}">
                <c16:uniqueId val="{00000239-F218-4DDE-952B-C0F0729EE755}"/>
              </c:ext>
            </c:extLst>
          </c:dPt>
          <c:dPt>
            <c:idx val="284"/>
            <c:invertIfNegative val="1"/>
            <c:bubble3D val="0"/>
            <c:spPr>
              <a:solidFill>
                <a:srgbClr val="7ECAC4"/>
              </a:solidFill>
            </c:spPr>
            <c:extLst>
              <c:ext xmlns:c16="http://schemas.microsoft.com/office/drawing/2014/chart" uri="{C3380CC4-5D6E-409C-BE32-E72D297353CC}">
                <c16:uniqueId val="{0000023B-F218-4DDE-952B-C0F0729EE755}"/>
              </c:ext>
            </c:extLst>
          </c:dPt>
          <c:dPt>
            <c:idx val="285"/>
            <c:invertIfNegative val="1"/>
            <c:bubble3D val="0"/>
            <c:spPr>
              <a:solidFill>
                <a:srgbClr val="7ECAC4"/>
              </a:solidFill>
            </c:spPr>
            <c:extLst>
              <c:ext xmlns:c16="http://schemas.microsoft.com/office/drawing/2014/chart" uri="{C3380CC4-5D6E-409C-BE32-E72D297353CC}">
                <c16:uniqueId val="{0000023D-F218-4DDE-952B-C0F0729EE755}"/>
              </c:ext>
            </c:extLst>
          </c:dPt>
          <c:dPt>
            <c:idx val="286"/>
            <c:invertIfNegative val="1"/>
            <c:bubble3D val="0"/>
            <c:spPr>
              <a:solidFill>
                <a:srgbClr val="7ECAC4"/>
              </a:solidFill>
            </c:spPr>
            <c:extLst>
              <c:ext xmlns:c16="http://schemas.microsoft.com/office/drawing/2014/chart" uri="{C3380CC4-5D6E-409C-BE32-E72D297353CC}">
                <c16:uniqueId val="{0000023F-F218-4DDE-952B-C0F0729EE755}"/>
              </c:ext>
            </c:extLst>
          </c:dPt>
          <c:dPt>
            <c:idx val="287"/>
            <c:invertIfNegative val="1"/>
            <c:bubble3D val="0"/>
            <c:spPr>
              <a:solidFill>
                <a:srgbClr val="7ECAC4"/>
              </a:solidFill>
            </c:spPr>
            <c:extLst>
              <c:ext xmlns:c16="http://schemas.microsoft.com/office/drawing/2014/chart" uri="{C3380CC4-5D6E-409C-BE32-E72D297353CC}">
                <c16:uniqueId val="{00000241-F218-4DDE-952B-C0F0729EE755}"/>
              </c:ext>
            </c:extLst>
          </c:dPt>
          <c:dPt>
            <c:idx val="288"/>
            <c:invertIfNegative val="1"/>
            <c:bubble3D val="0"/>
            <c:spPr>
              <a:solidFill>
                <a:srgbClr val="7ECAC4"/>
              </a:solidFill>
            </c:spPr>
            <c:extLst>
              <c:ext xmlns:c16="http://schemas.microsoft.com/office/drawing/2014/chart" uri="{C3380CC4-5D6E-409C-BE32-E72D297353CC}">
                <c16:uniqueId val="{00000243-F218-4DDE-952B-C0F0729EE755}"/>
              </c:ext>
            </c:extLst>
          </c:dPt>
          <c:dPt>
            <c:idx val="289"/>
            <c:invertIfNegative val="1"/>
            <c:bubble3D val="0"/>
            <c:spPr>
              <a:solidFill>
                <a:srgbClr val="7ECAC4"/>
              </a:solidFill>
            </c:spPr>
            <c:extLst>
              <c:ext xmlns:c16="http://schemas.microsoft.com/office/drawing/2014/chart" uri="{C3380CC4-5D6E-409C-BE32-E72D297353CC}">
                <c16:uniqueId val="{00000245-F218-4DDE-952B-C0F0729EE755}"/>
              </c:ext>
            </c:extLst>
          </c:dPt>
          <c:dPt>
            <c:idx val="290"/>
            <c:invertIfNegative val="1"/>
            <c:bubble3D val="0"/>
            <c:spPr>
              <a:solidFill>
                <a:srgbClr val="7ECAC4"/>
              </a:solidFill>
            </c:spPr>
            <c:extLst>
              <c:ext xmlns:c16="http://schemas.microsoft.com/office/drawing/2014/chart" uri="{C3380CC4-5D6E-409C-BE32-E72D297353CC}">
                <c16:uniqueId val="{00000247-F218-4DDE-952B-C0F0729EE755}"/>
              </c:ext>
            </c:extLst>
          </c:dPt>
          <c:dPt>
            <c:idx val="291"/>
            <c:invertIfNegative val="1"/>
            <c:bubble3D val="0"/>
            <c:spPr>
              <a:solidFill>
                <a:srgbClr val="7ECAC4"/>
              </a:solidFill>
            </c:spPr>
            <c:extLst>
              <c:ext xmlns:c16="http://schemas.microsoft.com/office/drawing/2014/chart" uri="{C3380CC4-5D6E-409C-BE32-E72D297353CC}">
                <c16:uniqueId val="{00000249-F218-4DDE-952B-C0F0729EE755}"/>
              </c:ext>
            </c:extLst>
          </c:dPt>
          <c:dPt>
            <c:idx val="292"/>
            <c:invertIfNegative val="1"/>
            <c:bubble3D val="0"/>
            <c:spPr>
              <a:solidFill>
                <a:srgbClr val="7ECAC4"/>
              </a:solidFill>
            </c:spPr>
            <c:extLst>
              <c:ext xmlns:c16="http://schemas.microsoft.com/office/drawing/2014/chart" uri="{C3380CC4-5D6E-409C-BE32-E72D297353CC}">
                <c16:uniqueId val="{0000024B-F218-4DDE-952B-C0F0729EE755}"/>
              </c:ext>
            </c:extLst>
          </c:dPt>
          <c:dPt>
            <c:idx val="293"/>
            <c:invertIfNegative val="1"/>
            <c:bubble3D val="0"/>
            <c:spPr>
              <a:solidFill>
                <a:srgbClr val="7ECAC4"/>
              </a:solidFill>
            </c:spPr>
            <c:extLst>
              <c:ext xmlns:c16="http://schemas.microsoft.com/office/drawing/2014/chart" uri="{C3380CC4-5D6E-409C-BE32-E72D297353CC}">
                <c16:uniqueId val="{0000024D-F218-4DDE-952B-C0F0729EE755}"/>
              </c:ext>
            </c:extLst>
          </c:dPt>
          <c:dPt>
            <c:idx val="294"/>
            <c:invertIfNegative val="1"/>
            <c:bubble3D val="0"/>
            <c:spPr>
              <a:solidFill>
                <a:srgbClr val="7ECAC4"/>
              </a:solidFill>
            </c:spPr>
            <c:extLst>
              <c:ext xmlns:c16="http://schemas.microsoft.com/office/drawing/2014/chart" uri="{C3380CC4-5D6E-409C-BE32-E72D297353CC}">
                <c16:uniqueId val="{0000024F-F218-4DDE-952B-C0F0729EE755}"/>
              </c:ext>
            </c:extLst>
          </c:dPt>
          <c:dPt>
            <c:idx val="295"/>
            <c:invertIfNegative val="1"/>
            <c:bubble3D val="0"/>
            <c:spPr>
              <a:solidFill>
                <a:srgbClr val="7ECAC4"/>
              </a:solidFill>
            </c:spPr>
            <c:extLst>
              <c:ext xmlns:c16="http://schemas.microsoft.com/office/drawing/2014/chart" uri="{C3380CC4-5D6E-409C-BE32-E72D297353CC}">
                <c16:uniqueId val="{00000251-F218-4DDE-952B-C0F0729EE755}"/>
              </c:ext>
            </c:extLst>
          </c:dPt>
          <c:dPt>
            <c:idx val="296"/>
            <c:invertIfNegative val="1"/>
            <c:bubble3D val="0"/>
            <c:spPr>
              <a:solidFill>
                <a:srgbClr val="7ECAC4"/>
              </a:solidFill>
            </c:spPr>
            <c:extLst>
              <c:ext xmlns:c16="http://schemas.microsoft.com/office/drawing/2014/chart" uri="{C3380CC4-5D6E-409C-BE32-E72D297353CC}">
                <c16:uniqueId val="{00000253-F218-4DDE-952B-C0F0729EE755}"/>
              </c:ext>
            </c:extLst>
          </c:dPt>
          <c:dPt>
            <c:idx val="297"/>
            <c:invertIfNegative val="1"/>
            <c:bubble3D val="0"/>
            <c:spPr>
              <a:solidFill>
                <a:srgbClr val="AEABAB"/>
              </a:solidFill>
            </c:spPr>
            <c:extLst>
              <c:ext xmlns:c16="http://schemas.microsoft.com/office/drawing/2014/chart" uri="{C3380CC4-5D6E-409C-BE32-E72D297353CC}">
                <c16:uniqueId val="{00000255-F218-4DDE-952B-C0F0729EE755}"/>
              </c:ext>
            </c:extLst>
          </c:dPt>
          <c:dPt>
            <c:idx val="298"/>
            <c:invertIfNegative val="1"/>
            <c:bubble3D val="0"/>
            <c:spPr>
              <a:solidFill>
                <a:srgbClr val="AEABAB"/>
              </a:solidFill>
            </c:spPr>
            <c:extLst>
              <c:ext xmlns:c16="http://schemas.microsoft.com/office/drawing/2014/chart" uri="{C3380CC4-5D6E-409C-BE32-E72D297353CC}">
                <c16:uniqueId val="{00000257-F218-4DDE-952B-C0F0729EE755}"/>
              </c:ext>
            </c:extLst>
          </c:dPt>
          <c:dPt>
            <c:idx val="299"/>
            <c:invertIfNegative val="1"/>
            <c:bubble3D val="0"/>
            <c:spPr>
              <a:solidFill>
                <a:srgbClr val="AEABAB"/>
              </a:solidFill>
            </c:spPr>
            <c:extLst>
              <c:ext xmlns:c16="http://schemas.microsoft.com/office/drawing/2014/chart" uri="{C3380CC4-5D6E-409C-BE32-E72D297353CC}">
                <c16:uniqueId val="{00000259-F218-4DDE-952B-C0F0729EE755}"/>
              </c:ext>
            </c:extLst>
          </c:dPt>
          <c:dPt>
            <c:idx val="300"/>
            <c:invertIfNegative val="1"/>
            <c:bubble3D val="0"/>
            <c:spPr>
              <a:solidFill>
                <a:srgbClr val="AEABAB"/>
              </a:solidFill>
            </c:spPr>
            <c:extLst>
              <c:ext xmlns:c16="http://schemas.microsoft.com/office/drawing/2014/chart" uri="{C3380CC4-5D6E-409C-BE32-E72D297353CC}">
                <c16:uniqueId val="{0000025B-F218-4DDE-952B-C0F0729EE755}"/>
              </c:ext>
            </c:extLst>
          </c:dPt>
          <c:dPt>
            <c:idx val="301"/>
            <c:invertIfNegative val="1"/>
            <c:bubble3D val="0"/>
            <c:spPr>
              <a:solidFill>
                <a:srgbClr val="AEABAB"/>
              </a:solidFill>
            </c:spPr>
            <c:extLst>
              <c:ext xmlns:c16="http://schemas.microsoft.com/office/drawing/2014/chart" uri="{C3380CC4-5D6E-409C-BE32-E72D297353CC}">
                <c16:uniqueId val="{0000025D-F218-4DDE-952B-C0F0729EE755}"/>
              </c:ext>
            </c:extLst>
          </c:dPt>
          <c:dPt>
            <c:idx val="302"/>
            <c:invertIfNegative val="1"/>
            <c:bubble3D val="0"/>
            <c:spPr>
              <a:solidFill>
                <a:srgbClr val="AEABAB"/>
              </a:solidFill>
            </c:spPr>
            <c:extLst>
              <c:ext xmlns:c16="http://schemas.microsoft.com/office/drawing/2014/chart" uri="{C3380CC4-5D6E-409C-BE32-E72D297353CC}">
                <c16:uniqueId val="{0000025F-F218-4DDE-952B-C0F0729EE755}"/>
              </c:ext>
            </c:extLst>
          </c:dPt>
          <c:dPt>
            <c:idx val="303"/>
            <c:invertIfNegative val="1"/>
            <c:bubble3D val="0"/>
            <c:spPr>
              <a:solidFill>
                <a:srgbClr val="AEABAB"/>
              </a:solidFill>
            </c:spPr>
            <c:extLst>
              <c:ext xmlns:c16="http://schemas.microsoft.com/office/drawing/2014/chart" uri="{C3380CC4-5D6E-409C-BE32-E72D297353CC}">
                <c16:uniqueId val="{00000261-F218-4DDE-952B-C0F0729EE755}"/>
              </c:ext>
            </c:extLst>
          </c:dPt>
          <c:dPt>
            <c:idx val="304"/>
            <c:invertIfNegative val="1"/>
            <c:bubble3D val="0"/>
            <c:spPr>
              <a:solidFill>
                <a:srgbClr val="AEABAB"/>
              </a:solidFill>
            </c:spPr>
            <c:extLst>
              <c:ext xmlns:c16="http://schemas.microsoft.com/office/drawing/2014/chart" uri="{C3380CC4-5D6E-409C-BE32-E72D297353CC}">
                <c16:uniqueId val="{00000263-F218-4DDE-952B-C0F0729EE755}"/>
              </c:ext>
            </c:extLst>
          </c:dPt>
          <c:dPt>
            <c:idx val="305"/>
            <c:invertIfNegative val="1"/>
            <c:bubble3D val="0"/>
            <c:spPr>
              <a:solidFill>
                <a:srgbClr val="AEABAB"/>
              </a:solidFill>
            </c:spPr>
            <c:extLst>
              <c:ext xmlns:c16="http://schemas.microsoft.com/office/drawing/2014/chart" uri="{C3380CC4-5D6E-409C-BE32-E72D297353CC}">
                <c16:uniqueId val="{00000265-F218-4DDE-952B-C0F0729EE755}"/>
              </c:ext>
            </c:extLst>
          </c:dPt>
          <c:dPt>
            <c:idx val="306"/>
            <c:invertIfNegative val="1"/>
            <c:bubble3D val="0"/>
            <c:spPr>
              <a:solidFill>
                <a:srgbClr val="AEABAB"/>
              </a:solidFill>
            </c:spPr>
            <c:extLst>
              <c:ext xmlns:c16="http://schemas.microsoft.com/office/drawing/2014/chart" uri="{C3380CC4-5D6E-409C-BE32-E72D297353CC}">
                <c16:uniqueId val="{00000267-F218-4DDE-952B-C0F0729EE755}"/>
              </c:ext>
            </c:extLst>
          </c:dPt>
          <c:dPt>
            <c:idx val="307"/>
            <c:invertIfNegative val="1"/>
            <c:bubble3D val="0"/>
            <c:spPr>
              <a:solidFill>
                <a:srgbClr val="AEABAB"/>
              </a:solidFill>
            </c:spPr>
            <c:extLst>
              <c:ext xmlns:c16="http://schemas.microsoft.com/office/drawing/2014/chart" uri="{C3380CC4-5D6E-409C-BE32-E72D297353CC}">
                <c16:uniqueId val="{00000269-F218-4DDE-952B-C0F0729EE755}"/>
              </c:ext>
            </c:extLst>
          </c:dPt>
          <c:dPt>
            <c:idx val="308"/>
            <c:invertIfNegative val="1"/>
            <c:bubble3D val="0"/>
            <c:spPr>
              <a:solidFill>
                <a:srgbClr val="AEABAB"/>
              </a:solidFill>
            </c:spPr>
            <c:extLst>
              <c:ext xmlns:c16="http://schemas.microsoft.com/office/drawing/2014/chart" uri="{C3380CC4-5D6E-409C-BE32-E72D297353CC}">
                <c16:uniqueId val="{0000026B-F218-4DDE-952B-C0F0729EE755}"/>
              </c:ext>
            </c:extLst>
          </c:dPt>
          <c:dPt>
            <c:idx val="309"/>
            <c:invertIfNegative val="1"/>
            <c:bubble3D val="0"/>
            <c:spPr>
              <a:solidFill>
                <a:srgbClr val="AEABAB"/>
              </a:solidFill>
            </c:spPr>
            <c:extLst>
              <c:ext xmlns:c16="http://schemas.microsoft.com/office/drawing/2014/chart" uri="{C3380CC4-5D6E-409C-BE32-E72D297353CC}">
                <c16:uniqueId val="{0000026D-F218-4DDE-952B-C0F0729EE755}"/>
              </c:ext>
            </c:extLst>
          </c:dPt>
          <c:dPt>
            <c:idx val="310"/>
            <c:invertIfNegative val="1"/>
            <c:bubble3D val="0"/>
            <c:spPr>
              <a:solidFill>
                <a:srgbClr val="AEABAB"/>
              </a:solidFill>
            </c:spPr>
            <c:extLst>
              <c:ext xmlns:c16="http://schemas.microsoft.com/office/drawing/2014/chart" uri="{C3380CC4-5D6E-409C-BE32-E72D297353CC}">
                <c16:uniqueId val="{0000026F-F218-4DDE-952B-C0F0729EE755}"/>
              </c:ext>
            </c:extLst>
          </c:dPt>
          <c:dPt>
            <c:idx val="311"/>
            <c:invertIfNegative val="1"/>
            <c:bubble3D val="0"/>
            <c:spPr>
              <a:solidFill>
                <a:srgbClr val="AEABAB"/>
              </a:solidFill>
            </c:spPr>
            <c:extLst>
              <c:ext xmlns:c16="http://schemas.microsoft.com/office/drawing/2014/chart" uri="{C3380CC4-5D6E-409C-BE32-E72D297353CC}">
                <c16:uniqueId val="{00000271-F218-4DDE-952B-C0F0729EE755}"/>
              </c:ext>
            </c:extLst>
          </c:dPt>
          <c:dPt>
            <c:idx val="312"/>
            <c:invertIfNegative val="1"/>
            <c:bubble3D val="0"/>
            <c:spPr>
              <a:solidFill>
                <a:srgbClr val="AEABAB"/>
              </a:solidFill>
            </c:spPr>
            <c:extLst>
              <c:ext xmlns:c16="http://schemas.microsoft.com/office/drawing/2014/chart" uri="{C3380CC4-5D6E-409C-BE32-E72D297353CC}">
                <c16:uniqueId val="{00000273-F218-4DDE-952B-C0F0729EE755}"/>
              </c:ext>
            </c:extLst>
          </c:dPt>
          <c:dPt>
            <c:idx val="313"/>
            <c:invertIfNegative val="1"/>
            <c:bubble3D val="0"/>
            <c:spPr>
              <a:solidFill>
                <a:srgbClr val="AEABAB"/>
              </a:solidFill>
            </c:spPr>
            <c:extLst>
              <c:ext xmlns:c16="http://schemas.microsoft.com/office/drawing/2014/chart" uri="{C3380CC4-5D6E-409C-BE32-E72D297353CC}">
                <c16:uniqueId val="{00000275-F218-4DDE-952B-C0F0729EE755}"/>
              </c:ext>
            </c:extLst>
          </c:dPt>
          <c:dPt>
            <c:idx val="314"/>
            <c:invertIfNegative val="1"/>
            <c:bubble3D val="0"/>
            <c:spPr>
              <a:solidFill>
                <a:srgbClr val="AEABAB"/>
              </a:solidFill>
            </c:spPr>
            <c:extLst>
              <c:ext xmlns:c16="http://schemas.microsoft.com/office/drawing/2014/chart" uri="{C3380CC4-5D6E-409C-BE32-E72D297353CC}">
                <c16:uniqueId val="{00000277-F218-4DDE-952B-C0F0729EE755}"/>
              </c:ext>
            </c:extLst>
          </c:dPt>
          <c:dPt>
            <c:idx val="315"/>
            <c:invertIfNegative val="1"/>
            <c:bubble3D val="0"/>
            <c:spPr>
              <a:solidFill>
                <a:srgbClr val="AEABAB"/>
              </a:solidFill>
            </c:spPr>
            <c:extLst>
              <c:ext xmlns:c16="http://schemas.microsoft.com/office/drawing/2014/chart" uri="{C3380CC4-5D6E-409C-BE32-E72D297353CC}">
                <c16:uniqueId val="{00000279-F218-4DDE-952B-C0F0729EE755}"/>
              </c:ext>
            </c:extLst>
          </c:dPt>
          <c:dPt>
            <c:idx val="316"/>
            <c:invertIfNegative val="1"/>
            <c:bubble3D val="0"/>
            <c:spPr>
              <a:solidFill>
                <a:srgbClr val="AEABAB"/>
              </a:solidFill>
            </c:spPr>
            <c:extLst>
              <c:ext xmlns:c16="http://schemas.microsoft.com/office/drawing/2014/chart" uri="{C3380CC4-5D6E-409C-BE32-E72D297353CC}">
                <c16:uniqueId val="{0000027B-F218-4DDE-952B-C0F0729EE755}"/>
              </c:ext>
            </c:extLst>
          </c:dPt>
          <c:dPt>
            <c:idx val="317"/>
            <c:invertIfNegative val="1"/>
            <c:bubble3D val="0"/>
            <c:spPr>
              <a:solidFill>
                <a:srgbClr val="AEABAB"/>
              </a:solidFill>
            </c:spPr>
            <c:extLst>
              <c:ext xmlns:c16="http://schemas.microsoft.com/office/drawing/2014/chart" uri="{C3380CC4-5D6E-409C-BE32-E72D297353CC}">
                <c16:uniqueId val="{0000027D-F218-4DDE-952B-C0F0729EE755}"/>
              </c:ext>
            </c:extLst>
          </c:dPt>
          <c:dPt>
            <c:idx val="318"/>
            <c:invertIfNegative val="1"/>
            <c:bubble3D val="0"/>
            <c:spPr>
              <a:solidFill>
                <a:srgbClr val="AEABAB"/>
              </a:solidFill>
            </c:spPr>
            <c:extLst>
              <c:ext xmlns:c16="http://schemas.microsoft.com/office/drawing/2014/chart" uri="{C3380CC4-5D6E-409C-BE32-E72D297353CC}">
                <c16:uniqueId val="{0000027F-F218-4DDE-952B-C0F0729EE755}"/>
              </c:ext>
            </c:extLst>
          </c:dPt>
          <c:dPt>
            <c:idx val="319"/>
            <c:invertIfNegative val="1"/>
            <c:bubble3D val="0"/>
            <c:spPr>
              <a:solidFill>
                <a:srgbClr val="AEABAB"/>
              </a:solidFill>
            </c:spPr>
            <c:extLst>
              <c:ext xmlns:c16="http://schemas.microsoft.com/office/drawing/2014/chart" uri="{C3380CC4-5D6E-409C-BE32-E72D297353CC}">
                <c16:uniqueId val="{00000281-F218-4DDE-952B-C0F0729EE755}"/>
              </c:ext>
            </c:extLst>
          </c:dPt>
          <c:dPt>
            <c:idx val="320"/>
            <c:invertIfNegative val="1"/>
            <c:bubble3D val="0"/>
            <c:spPr>
              <a:solidFill>
                <a:srgbClr val="AEABAB"/>
              </a:solidFill>
            </c:spPr>
            <c:extLst>
              <c:ext xmlns:c16="http://schemas.microsoft.com/office/drawing/2014/chart" uri="{C3380CC4-5D6E-409C-BE32-E72D297353CC}">
                <c16:uniqueId val="{00000283-F218-4DDE-952B-C0F0729EE755}"/>
              </c:ext>
            </c:extLst>
          </c:dPt>
          <c:dPt>
            <c:idx val="321"/>
            <c:invertIfNegative val="1"/>
            <c:bubble3D val="0"/>
            <c:spPr>
              <a:solidFill>
                <a:srgbClr val="AEABAB"/>
              </a:solidFill>
            </c:spPr>
            <c:extLst>
              <c:ext xmlns:c16="http://schemas.microsoft.com/office/drawing/2014/chart" uri="{C3380CC4-5D6E-409C-BE32-E72D297353CC}">
                <c16:uniqueId val="{00000285-F218-4DDE-952B-C0F0729EE755}"/>
              </c:ext>
            </c:extLst>
          </c:dPt>
          <c:dPt>
            <c:idx val="322"/>
            <c:invertIfNegative val="1"/>
            <c:bubble3D val="0"/>
            <c:spPr>
              <a:solidFill>
                <a:srgbClr val="AEABAB"/>
              </a:solidFill>
            </c:spPr>
            <c:extLst>
              <c:ext xmlns:c16="http://schemas.microsoft.com/office/drawing/2014/chart" uri="{C3380CC4-5D6E-409C-BE32-E72D297353CC}">
                <c16:uniqueId val="{00000287-F218-4DDE-952B-C0F0729EE755}"/>
              </c:ext>
            </c:extLst>
          </c:dPt>
          <c:dPt>
            <c:idx val="323"/>
            <c:invertIfNegative val="1"/>
            <c:bubble3D val="0"/>
            <c:spPr>
              <a:solidFill>
                <a:srgbClr val="AEABAB"/>
              </a:solidFill>
            </c:spPr>
            <c:extLst>
              <c:ext xmlns:c16="http://schemas.microsoft.com/office/drawing/2014/chart" uri="{C3380CC4-5D6E-409C-BE32-E72D297353CC}">
                <c16:uniqueId val="{00000289-F218-4DDE-952B-C0F0729EE755}"/>
              </c:ext>
            </c:extLst>
          </c:dPt>
          <c:dPt>
            <c:idx val="324"/>
            <c:invertIfNegative val="1"/>
            <c:bubble3D val="0"/>
            <c:spPr>
              <a:solidFill>
                <a:srgbClr val="AEABAB"/>
              </a:solidFill>
            </c:spPr>
            <c:extLst>
              <c:ext xmlns:c16="http://schemas.microsoft.com/office/drawing/2014/chart" uri="{C3380CC4-5D6E-409C-BE32-E72D297353CC}">
                <c16:uniqueId val="{0000028B-F218-4DDE-952B-C0F0729EE755}"/>
              </c:ext>
            </c:extLst>
          </c:dPt>
          <c:dPt>
            <c:idx val="325"/>
            <c:invertIfNegative val="1"/>
            <c:bubble3D val="0"/>
            <c:spPr>
              <a:solidFill>
                <a:srgbClr val="AEABAB"/>
              </a:solidFill>
            </c:spPr>
            <c:extLst>
              <c:ext xmlns:c16="http://schemas.microsoft.com/office/drawing/2014/chart" uri="{C3380CC4-5D6E-409C-BE32-E72D297353CC}">
                <c16:uniqueId val="{0000028D-F218-4DDE-952B-C0F0729EE755}"/>
              </c:ext>
            </c:extLst>
          </c:dPt>
          <c:dPt>
            <c:idx val="326"/>
            <c:invertIfNegative val="1"/>
            <c:bubble3D val="0"/>
            <c:spPr>
              <a:solidFill>
                <a:srgbClr val="AEABAB"/>
              </a:solidFill>
            </c:spPr>
            <c:extLst>
              <c:ext xmlns:c16="http://schemas.microsoft.com/office/drawing/2014/chart" uri="{C3380CC4-5D6E-409C-BE32-E72D297353CC}">
                <c16:uniqueId val="{0000028F-F218-4DDE-952B-C0F0729EE755}"/>
              </c:ext>
            </c:extLst>
          </c:dPt>
          <c:dPt>
            <c:idx val="327"/>
            <c:invertIfNegative val="1"/>
            <c:bubble3D val="0"/>
            <c:spPr>
              <a:solidFill>
                <a:srgbClr val="AEABAB"/>
              </a:solidFill>
            </c:spPr>
            <c:extLst>
              <c:ext xmlns:c16="http://schemas.microsoft.com/office/drawing/2014/chart" uri="{C3380CC4-5D6E-409C-BE32-E72D297353CC}">
                <c16:uniqueId val="{00000291-F218-4DDE-952B-C0F0729EE755}"/>
              </c:ext>
            </c:extLst>
          </c:dPt>
          <c:dPt>
            <c:idx val="328"/>
            <c:invertIfNegative val="1"/>
            <c:bubble3D val="0"/>
            <c:spPr>
              <a:solidFill>
                <a:srgbClr val="AEABAB"/>
              </a:solidFill>
            </c:spPr>
            <c:extLst>
              <c:ext xmlns:c16="http://schemas.microsoft.com/office/drawing/2014/chart" uri="{C3380CC4-5D6E-409C-BE32-E72D297353CC}">
                <c16:uniqueId val="{00000293-F218-4DDE-952B-C0F0729EE755}"/>
              </c:ext>
            </c:extLst>
          </c:dPt>
          <c:dPt>
            <c:idx val="329"/>
            <c:invertIfNegative val="1"/>
            <c:bubble3D val="0"/>
            <c:spPr>
              <a:solidFill>
                <a:srgbClr val="AEABAB"/>
              </a:solidFill>
            </c:spPr>
            <c:extLst>
              <c:ext xmlns:c16="http://schemas.microsoft.com/office/drawing/2014/chart" uri="{C3380CC4-5D6E-409C-BE32-E72D297353CC}">
                <c16:uniqueId val="{00000295-F218-4DDE-952B-C0F0729EE755}"/>
              </c:ext>
            </c:extLst>
          </c:dPt>
          <c:dPt>
            <c:idx val="330"/>
            <c:invertIfNegative val="1"/>
            <c:bubble3D val="0"/>
            <c:spPr>
              <a:solidFill>
                <a:srgbClr val="AEABAB"/>
              </a:solidFill>
            </c:spPr>
            <c:extLst>
              <c:ext xmlns:c16="http://schemas.microsoft.com/office/drawing/2014/chart" uri="{C3380CC4-5D6E-409C-BE32-E72D297353CC}">
                <c16:uniqueId val="{00000297-F218-4DDE-952B-C0F0729EE755}"/>
              </c:ext>
            </c:extLst>
          </c:dPt>
          <c:dPt>
            <c:idx val="331"/>
            <c:invertIfNegative val="1"/>
            <c:bubble3D val="0"/>
            <c:spPr>
              <a:solidFill>
                <a:srgbClr val="AEABAB"/>
              </a:solidFill>
            </c:spPr>
            <c:extLst>
              <c:ext xmlns:c16="http://schemas.microsoft.com/office/drawing/2014/chart" uri="{C3380CC4-5D6E-409C-BE32-E72D297353CC}">
                <c16:uniqueId val="{00000299-F218-4DDE-952B-C0F0729EE755}"/>
              </c:ext>
            </c:extLst>
          </c:dPt>
          <c:dPt>
            <c:idx val="332"/>
            <c:invertIfNegative val="1"/>
            <c:bubble3D val="0"/>
            <c:spPr>
              <a:solidFill>
                <a:srgbClr val="AEABAB"/>
              </a:solidFill>
            </c:spPr>
            <c:extLst>
              <c:ext xmlns:c16="http://schemas.microsoft.com/office/drawing/2014/chart" uri="{C3380CC4-5D6E-409C-BE32-E72D297353CC}">
                <c16:uniqueId val="{0000029B-F218-4DDE-952B-C0F0729EE755}"/>
              </c:ext>
            </c:extLst>
          </c:dPt>
          <c:dPt>
            <c:idx val="333"/>
            <c:invertIfNegative val="1"/>
            <c:bubble3D val="0"/>
            <c:spPr>
              <a:solidFill>
                <a:srgbClr val="AEABAB"/>
              </a:solidFill>
            </c:spPr>
            <c:extLst>
              <c:ext xmlns:c16="http://schemas.microsoft.com/office/drawing/2014/chart" uri="{C3380CC4-5D6E-409C-BE32-E72D297353CC}">
                <c16:uniqueId val="{0000029D-F218-4DDE-952B-C0F0729EE755}"/>
              </c:ext>
            </c:extLst>
          </c:dPt>
          <c:dPt>
            <c:idx val="334"/>
            <c:invertIfNegative val="1"/>
            <c:bubble3D val="0"/>
            <c:spPr>
              <a:solidFill>
                <a:srgbClr val="AEABAB"/>
              </a:solidFill>
            </c:spPr>
            <c:extLst>
              <c:ext xmlns:c16="http://schemas.microsoft.com/office/drawing/2014/chart" uri="{C3380CC4-5D6E-409C-BE32-E72D297353CC}">
                <c16:uniqueId val="{0000029F-F218-4DDE-952B-C0F0729EE755}"/>
              </c:ext>
            </c:extLst>
          </c:dPt>
          <c:dPt>
            <c:idx val="335"/>
            <c:invertIfNegative val="1"/>
            <c:bubble3D val="0"/>
            <c:spPr>
              <a:solidFill>
                <a:srgbClr val="AEABAB"/>
              </a:solidFill>
            </c:spPr>
            <c:extLst>
              <c:ext xmlns:c16="http://schemas.microsoft.com/office/drawing/2014/chart" uri="{C3380CC4-5D6E-409C-BE32-E72D297353CC}">
                <c16:uniqueId val="{000002A1-F218-4DDE-952B-C0F0729EE755}"/>
              </c:ext>
            </c:extLst>
          </c:dPt>
          <c:dPt>
            <c:idx val="336"/>
            <c:invertIfNegative val="1"/>
            <c:bubble3D val="0"/>
            <c:spPr>
              <a:solidFill>
                <a:srgbClr val="AEABAB"/>
              </a:solidFill>
            </c:spPr>
            <c:extLst>
              <c:ext xmlns:c16="http://schemas.microsoft.com/office/drawing/2014/chart" uri="{C3380CC4-5D6E-409C-BE32-E72D297353CC}">
                <c16:uniqueId val="{000002A3-F218-4DDE-952B-C0F0729EE755}"/>
              </c:ext>
            </c:extLst>
          </c:dPt>
          <c:dPt>
            <c:idx val="337"/>
            <c:invertIfNegative val="1"/>
            <c:bubble3D val="0"/>
            <c:spPr>
              <a:solidFill>
                <a:srgbClr val="AEABAB"/>
              </a:solidFill>
            </c:spPr>
            <c:extLst>
              <c:ext xmlns:c16="http://schemas.microsoft.com/office/drawing/2014/chart" uri="{C3380CC4-5D6E-409C-BE32-E72D297353CC}">
                <c16:uniqueId val="{000002A5-F218-4DDE-952B-C0F0729EE755}"/>
              </c:ext>
            </c:extLst>
          </c:dPt>
          <c:dPt>
            <c:idx val="338"/>
            <c:invertIfNegative val="1"/>
            <c:bubble3D val="0"/>
            <c:spPr>
              <a:solidFill>
                <a:srgbClr val="AEABAB"/>
              </a:solidFill>
            </c:spPr>
            <c:extLst>
              <c:ext xmlns:c16="http://schemas.microsoft.com/office/drawing/2014/chart" uri="{C3380CC4-5D6E-409C-BE32-E72D297353CC}">
                <c16:uniqueId val="{000002A7-F218-4DDE-952B-C0F0729EE755}"/>
              </c:ext>
            </c:extLst>
          </c:dPt>
          <c:dPt>
            <c:idx val="339"/>
            <c:invertIfNegative val="1"/>
            <c:bubble3D val="0"/>
            <c:spPr>
              <a:solidFill>
                <a:srgbClr val="AEABAB"/>
              </a:solidFill>
            </c:spPr>
            <c:extLst>
              <c:ext xmlns:c16="http://schemas.microsoft.com/office/drawing/2014/chart" uri="{C3380CC4-5D6E-409C-BE32-E72D297353CC}">
                <c16:uniqueId val="{000002A9-F218-4DDE-952B-C0F0729EE755}"/>
              </c:ext>
            </c:extLst>
          </c:dPt>
          <c:dPt>
            <c:idx val="340"/>
            <c:invertIfNegative val="1"/>
            <c:bubble3D val="0"/>
            <c:spPr>
              <a:solidFill>
                <a:srgbClr val="AEABAB"/>
              </a:solidFill>
            </c:spPr>
            <c:extLst>
              <c:ext xmlns:c16="http://schemas.microsoft.com/office/drawing/2014/chart" uri="{C3380CC4-5D6E-409C-BE32-E72D297353CC}">
                <c16:uniqueId val="{000002AB-F218-4DDE-952B-C0F0729EE755}"/>
              </c:ext>
            </c:extLst>
          </c:dPt>
          <c:dPt>
            <c:idx val="341"/>
            <c:invertIfNegative val="1"/>
            <c:bubble3D val="0"/>
            <c:spPr>
              <a:solidFill>
                <a:srgbClr val="AEABAB"/>
              </a:solidFill>
            </c:spPr>
            <c:extLst>
              <c:ext xmlns:c16="http://schemas.microsoft.com/office/drawing/2014/chart" uri="{C3380CC4-5D6E-409C-BE32-E72D297353CC}">
                <c16:uniqueId val="{000002AD-F218-4DDE-952B-C0F0729EE755}"/>
              </c:ext>
            </c:extLst>
          </c:dPt>
          <c:dPt>
            <c:idx val="342"/>
            <c:invertIfNegative val="1"/>
            <c:bubble3D val="0"/>
            <c:spPr>
              <a:solidFill>
                <a:srgbClr val="AEABAB"/>
              </a:solidFill>
            </c:spPr>
            <c:extLst>
              <c:ext xmlns:c16="http://schemas.microsoft.com/office/drawing/2014/chart" uri="{C3380CC4-5D6E-409C-BE32-E72D297353CC}">
                <c16:uniqueId val="{000002AF-F218-4DDE-952B-C0F0729EE755}"/>
              </c:ext>
            </c:extLst>
          </c:dPt>
          <c:dPt>
            <c:idx val="343"/>
            <c:invertIfNegative val="1"/>
            <c:bubble3D val="0"/>
            <c:spPr>
              <a:solidFill>
                <a:srgbClr val="AEABAB"/>
              </a:solidFill>
            </c:spPr>
            <c:extLst>
              <c:ext xmlns:c16="http://schemas.microsoft.com/office/drawing/2014/chart" uri="{C3380CC4-5D6E-409C-BE32-E72D297353CC}">
                <c16:uniqueId val="{000002B1-F218-4DDE-952B-C0F0729EE755}"/>
              </c:ext>
            </c:extLst>
          </c:dPt>
          <c:dPt>
            <c:idx val="344"/>
            <c:invertIfNegative val="1"/>
            <c:bubble3D val="0"/>
            <c:spPr>
              <a:solidFill>
                <a:srgbClr val="AEABAB"/>
              </a:solidFill>
            </c:spPr>
            <c:extLst>
              <c:ext xmlns:c16="http://schemas.microsoft.com/office/drawing/2014/chart" uri="{C3380CC4-5D6E-409C-BE32-E72D297353CC}">
                <c16:uniqueId val="{000002B3-F218-4DDE-952B-C0F0729EE755}"/>
              </c:ext>
            </c:extLst>
          </c:dPt>
          <c:dPt>
            <c:idx val="345"/>
            <c:invertIfNegative val="1"/>
            <c:bubble3D val="0"/>
            <c:spPr>
              <a:solidFill>
                <a:srgbClr val="AEABAB"/>
              </a:solidFill>
            </c:spPr>
            <c:extLst>
              <c:ext xmlns:c16="http://schemas.microsoft.com/office/drawing/2014/chart" uri="{C3380CC4-5D6E-409C-BE32-E72D297353CC}">
                <c16:uniqueId val="{000002B5-F218-4DDE-952B-C0F0729EE755}"/>
              </c:ext>
            </c:extLst>
          </c:dPt>
          <c:dPt>
            <c:idx val="346"/>
            <c:invertIfNegative val="1"/>
            <c:bubble3D val="0"/>
            <c:spPr>
              <a:solidFill>
                <a:srgbClr val="AEABAB"/>
              </a:solidFill>
            </c:spPr>
            <c:extLst>
              <c:ext xmlns:c16="http://schemas.microsoft.com/office/drawing/2014/chart" uri="{C3380CC4-5D6E-409C-BE32-E72D297353CC}">
                <c16:uniqueId val="{000002B7-F218-4DDE-952B-C0F0729EE755}"/>
              </c:ext>
            </c:extLst>
          </c:dPt>
          <c:dPt>
            <c:idx val="347"/>
            <c:invertIfNegative val="1"/>
            <c:bubble3D val="0"/>
            <c:spPr>
              <a:solidFill>
                <a:srgbClr val="AEABAB"/>
              </a:solidFill>
            </c:spPr>
            <c:extLst>
              <c:ext xmlns:c16="http://schemas.microsoft.com/office/drawing/2014/chart" uri="{C3380CC4-5D6E-409C-BE32-E72D297353CC}">
                <c16:uniqueId val="{000002B9-F218-4DDE-952B-C0F0729EE755}"/>
              </c:ext>
            </c:extLst>
          </c:dPt>
          <c:dPt>
            <c:idx val="348"/>
            <c:invertIfNegative val="1"/>
            <c:bubble3D val="0"/>
            <c:spPr>
              <a:solidFill>
                <a:srgbClr val="AEABAB"/>
              </a:solidFill>
            </c:spPr>
            <c:extLst>
              <c:ext xmlns:c16="http://schemas.microsoft.com/office/drawing/2014/chart" uri="{C3380CC4-5D6E-409C-BE32-E72D297353CC}">
                <c16:uniqueId val="{000002BB-F218-4DDE-952B-C0F0729EE755}"/>
              </c:ext>
            </c:extLst>
          </c:dPt>
          <c:dPt>
            <c:idx val="349"/>
            <c:invertIfNegative val="1"/>
            <c:bubble3D val="0"/>
            <c:spPr>
              <a:solidFill>
                <a:srgbClr val="AEABAB"/>
              </a:solidFill>
            </c:spPr>
            <c:extLst>
              <c:ext xmlns:c16="http://schemas.microsoft.com/office/drawing/2014/chart" uri="{C3380CC4-5D6E-409C-BE32-E72D297353CC}">
                <c16:uniqueId val="{000002BD-F218-4DDE-952B-C0F0729EE755}"/>
              </c:ext>
            </c:extLst>
          </c:dPt>
          <c:dPt>
            <c:idx val="350"/>
            <c:invertIfNegative val="1"/>
            <c:bubble3D val="0"/>
            <c:spPr>
              <a:solidFill>
                <a:srgbClr val="AEABAB"/>
              </a:solidFill>
            </c:spPr>
            <c:extLst>
              <c:ext xmlns:c16="http://schemas.microsoft.com/office/drawing/2014/chart" uri="{C3380CC4-5D6E-409C-BE32-E72D297353CC}">
                <c16:uniqueId val="{000002BF-F218-4DDE-952B-C0F0729EE755}"/>
              </c:ext>
            </c:extLst>
          </c:dPt>
          <c:dPt>
            <c:idx val="351"/>
            <c:invertIfNegative val="1"/>
            <c:bubble3D val="0"/>
            <c:spPr>
              <a:solidFill>
                <a:srgbClr val="AEABAB"/>
              </a:solidFill>
            </c:spPr>
            <c:extLst>
              <c:ext xmlns:c16="http://schemas.microsoft.com/office/drawing/2014/chart" uri="{C3380CC4-5D6E-409C-BE32-E72D297353CC}">
                <c16:uniqueId val="{000002C1-F218-4DDE-952B-C0F0729EE755}"/>
              </c:ext>
            </c:extLst>
          </c:dPt>
          <c:dPt>
            <c:idx val="352"/>
            <c:invertIfNegative val="1"/>
            <c:bubble3D val="0"/>
            <c:spPr>
              <a:solidFill>
                <a:srgbClr val="AEABAB"/>
              </a:solidFill>
            </c:spPr>
            <c:extLst>
              <c:ext xmlns:c16="http://schemas.microsoft.com/office/drawing/2014/chart" uri="{C3380CC4-5D6E-409C-BE32-E72D297353CC}">
                <c16:uniqueId val="{000002C3-F218-4DDE-952B-C0F0729EE755}"/>
              </c:ext>
            </c:extLst>
          </c:dPt>
          <c:dPt>
            <c:idx val="353"/>
            <c:invertIfNegative val="1"/>
            <c:bubble3D val="0"/>
            <c:spPr>
              <a:solidFill>
                <a:srgbClr val="AEABAB"/>
              </a:solidFill>
            </c:spPr>
            <c:extLst>
              <c:ext xmlns:c16="http://schemas.microsoft.com/office/drawing/2014/chart" uri="{C3380CC4-5D6E-409C-BE32-E72D297353CC}">
                <c16:uniqueId val="{000002C5-F218-4DDE-952B-C0F0729EE755}"/>
              </c:ext>
            </c:extLst>
          </c:dPt>
          <c:dPt>
            <c:idx val="354"/>
            <c:invertIfNegative val="1"/>
            <c:bubble3D val="0"/>
            <c:spPr>
              <a:solidFill>
                <a:srgbClr val="AEABAB"/>
              </a:solidFill>
            </c:spPr>
            <c:extLst>
              <c:ext xmlns:c16="http://schemas.microsoft.com/office/drawing/2014/chart" uri="{C3380CC4-5D6E-409C-BE32-E72D297353CC}">
                <c16:uniqueId val="{000002C7-F218-4DDE-952B-C0F0729EE755}"/>
              </c:ext>
            </c:extLst>
          </c:dPt>
          <c:dPt>
            <c:idx val="355"/>
            <c:invertIfNegative val="1"/>
            <c:bubble3D val="0"/>
            <c:spPr>
              <a:solidFill>
                <a:srgbClr val="AEABAB"/>
              </a:solidFill>
            </c:spPr>
            <c:extLst>
              <c:ext xmlns:c16="http://schemas.microsoft.com/office/drawing/2014/chart" uri="{C3380CC4-5D6E-409C-BE32-E72D297353CC}">
                <c16:uniqueId val="{000002C9-F218-4DDE-952B-C0F0729EE755}"/>
              </c:ext>
            </c:extLst>
          </c:dPt>
          <c:dPt>
            <c:idx val="356"/>
            <c:invertIfNegative val="1"/>
            <c:bubble3D val="0"/>
            <c:spPr>
              <a:solidFill>
                <a:srgbClr val="AEABAB"/>
              </a:solidFill>
            </c:spPr>
            <c:extLst>
              <c:ext xmlns:c16="http://schemas.microsoft.com/office/drawing/2014/chart" uri="{C3380CC4-5D6E-409C-BE32-E72D297353CC}">
                <c16:uniqueId val="{000002CB-F218-4DDE-952B-C0F0729EE755}"/>
              </c:ext>
            </c:extLst>
          </c:dPt>
          <c:dPt>
            <c:idx val="357"/>
            <c:invertIfNegative val="1"/>
            <c:bubble3D val="0"/>
            <c:spPr>
              <a:solidFill>
                <a:srgbClr val="AEABAB"/>
              </a:solidFill>
            </c:spPr>
            <c:extLst>
              <c:ext xmlns:c16="http://schemas.microsoft.com/office/drawing/2014/chart" uri="{C3380CC4-5D6E-409C-BE32-E72D297353CC}">
                <c16:uniqueId val="{000002CD-F218-4DDE-952B-C0F0729EE755}"/>
              </c:ext>
            </c:extLst>
          </c:dPt>
          <c:dPt>
            <c:idx val="358"/>
            <c:invertIfNegative val="1"/>
            <c:bubble3D val="0"/>
            <c:spPr>
              <a:solidFill>
                <a:srgbClr val="AEABAB"/>
              </a:solidFill>
            </c:spPr>
            <c:extLst>
              <c:ext xmlns:c16="http://schemas.microsoft.com/office/drawing/2014/chart" uri="{C3380CC4-5D6E-409C-BE32-E72D297353CC}">
                <c16:uniqueId val="{000002CF-F218-4DDE-952B-C0F0729EE755}"/>
              </c:ext>
            </c:extLst>
          </c:dPt>
          <c:dPt>
            <c:idx val="359"/>
            <c:invertIfNegative val="1"/>
            <c:bubble3D val="0"/>
            <c:spPr>
              <a:solidFill>
                <a:srgbClr val="AEABAB"/>
              </a:solidFill>
            </c:spPr>
            <c:extLst>
              <c:ext xmlns:c16="http://schemas.microsoft.com/office/drawing/2014/chart" uri="{C3380CC4-5D6E-409C-BE32-E72D297353CC}">
                <c16:uniqueId val="{000002D1-F218-4DDE-952B-C0F0729EE755}"/>
              </c:ext>
            </c:extLst>
          </c:dPt>
          <c:dPt>
            <c:idx val="360"/>
            <c:invertIfNegative val="1"/>
            <c:bubble3D val="0"/>
            <c:spPr>
              <a:solidFill>
                <a:srgbClr val="AEABAB"/>
              </a:solidFill>
            </c:spPr>
            <c:extLst>
              <c:ext xmlns:c16="http://schemas.microsoft.com/office/drawing/2014/chart" uri="{C3380CC4-5D6E-409C-BE32-E72D297353CC}">
                <c16:uniqueId val="{000002D3-F218-4DDE-952B-C0F0729EE755}"/>
              </c:ext>
            </c:extLst>
          </c:dPt>
          <c:dPt>
            <c:idx val="361"/>
            <c:invertIfNegative val="1"/>
            <c:bubble3D val="0"/>
            <c:spPr>
              <a:solidFill>
                <a:srgbClr val="AEABAB"/>
              </a:solidFill>
            </c:spPr>
            <c:extLst>
              <c:ext xmlns:c16="http://schemas.microsoft.com/office/drawing/2014/chart" uri="{C3380CC4-5D6E-409C-BE32-E72D297353CC}">
                <c16:uniqueId val="{000002D5-F218-4DDE-952B-C0F0729EE755}"/>
              </c:ext>
            </c:extLst>
          </c:dPt>
          <c:dPt>
            <c:idx val="362"/>
            <c:invertIfNegative val="1"/>
            <c:bubble3D val="0"/>
            <c:spPr>
              <a:solidFill>
                <a:srgbClr val="AEABAB"/>
              </a:solidFill>
            </c:spPr>
            <c:extLst>
              <c:ext xmlns:c16="http://schemas.microsoft.com/office/drawing/2014/chart" uri="{C3380CC4-5D6E-409C-BE32-E72D297353CC}">
                <c16:uniqueId val="{000002D7-F218-4DDE-952B-C0F0729EE755}"/>
              </c:ext>
            </c:extLst>
          </c:dPt>
          <c:dPt>
            <c:idx val="363"/>
            <c:invertIfNegative val="1"/>
            <c:bubble3D val="0"/>
            <c:spPr>
              <a:solidFill>
                <a:srgbClr val="AEABAB"/>
              </a:solidFill>
            </c:spPr>
            <c:extLst>
              <c:ext xmlns:c16="http://schemas.microsoft.com/office/drawing/2014/chart" uri="{C3380CC4-5D6E-409C-BE32-E72D297353CC}">
                <c16:uniqueId val="{000002D9-F218-4DDE-952B-C0F0729EE755}"/>
              </c:ext>
            </c:extLst>
          </c:dPt>
          <c:dPt>
            <c:idx val="364"/>
            <c:invertIfNegative val="1"/>
            <c:bubble3D val="0"/>
            <c:spPr>
              <a:solidFill>
                <a:srgbClr val="AEABAB"/>
              </a:solidFill>
            </c:spPr>
            <c:extLst>
              <c:ext xmlns:c16="http://schemas.microsoft.com/office/drawing/2014/chart" uri="{C3380CC4-5D6E-409C-BE32-E72D297353CC}">
                <c16:uniqueId val="{000002DB-F218-4DDE-952B-C0F0729EE755}"/>
              </c:ext>
            </c:extLst>
          </c:dPt>
          <c:dPt>
            <c:idx val="365"/>
            <c:invertIfNegative val="1"/>
            <c:bubble3D val="0"/>
            <c:spPr>
              <a:solidFill>
                <a:srgbClr val="AEABAB"/>
              </a:solidFill>
            </c:spPr>
            <c:extLst>
              <c:ext xmlns:c16="http://schemas.microsoft.com/office/drawing/2014/chart" uri="{C3380CC4-5D6E-409C-BE32-E72D297353CC}">
                <c16:uniqueId val="{000002DD-F218-4DDE-952B-C0F0729EE755}"/>
              </c:ext>
            </c:extLst>
          </c:dPt>
          <c:dPt>
            <c:idx val="366"/>
            <c:invertIfNegative val="1"/>
            <c:bubble3D val="0"/>
            <c:spPr>
              <a:solidFill>
                <a:srgbClr val="AEABAB"/>
              </a:solidFill>
            </c:spPr>
            <c:extLst>
              <c:ext xmlns:c16="http://schemas.microsoft.com/office/drawing/2014/chart" uri="{C3380CC4-5D6E-409C-BE32-E72D297353CC}">
                <c16:uniqueId val="{000002DF-F218-4DDE-952B-C0F0729EE755}"/>
              </c:ext>
            </c:extLst>
          </c:dPt>
          <c:dPt>
            <c:idx val="367"/>
            <c:invertIfNegative val="1"/>
            <c:bubble3D val="0"/>
            <c:spPr>
              <a:solidFill>
                <a:srgbClr val="AEABAB"/>
              </a:solidFill>
            </c:spPr>
            <c:extLst>
              <c:ext xmlns:c16="http://schemas.microsoft.com/office/drawing/2014/chart" uri="{C3380CC4-5D6E-409C-BE32-E72D297353CC}">
                <c16:uniqueId val="{000002E1-F218-4DDE-952B-C0F0729EE755}"/>
              </c:ext>
            </c:extLst>
          </c:dPt>
          <c:dPt>
            <c:idx val="368"/>
            <c:invertIfNegative val="1"/>
            <c:bubble3D val="0"/>
            <c:spPr>
              <a:solidFill>
                <a:srgbClr val="AEABAB"/>
              </a:solidFill>
            </c:spPr>
            <c:extLst>
              <c:ext xmlns:c16="http://schemas.microsoft.com/office/drawing/2014/chart" uri="{C3380CC4-5D6E-409C-BE32-E72D297353CC}">
                <c16:uniqueId val="{000002E3-F218-4DDE-952B-C0F0729EE755}"/>
              </c:ext>
            </c:extLst>
          </c:dPt>
          <c:dPt>
            <c:idx val="369"/>
            <c:invertIfNegative val="1"/>
            <c:bubble3D val="0"/>
            <c:spPr>
              <a:solidFill>
                <a:srgbClr val="AEABAB"/>
              </a:solidFill>
            </c:spPr>
            <c:extLst>
              <c:ext xmlns:c16="http://schemas.microsoft.com/office/drawing/2014/chart" uri="{C3380CC4-5D6E-409C-BE32-E72D297353CC}">
                <c16:uniqueId val="{000002E5-F218-4DDE-952B-C0F0729EE755}"/>
              </c:ext>
            </c:extLst>
          </c:dPt>
          <c:dPt>
            <c:idx val="370"/>
            <c:invertIfNegative val="1"/>
            <c:bubble3D val="0"/>
            <c:spPr>
              <a:solidFill>
                <a:srgbClr val="AEABAB"/>
              </a:solidFill>
            </c:spPr>
            <c:extLst>
              <c:ext xmlns:c16="http://schemas.microsoft.com/office/drawing/2014/chart" uri="{C3380CC4-5D6E-409C-BE32-E72D297353CC}">
                <c16:uniqueId val="{000002E7-F218-4DDE-952B-C0F0729EE755}"/>
              </c:ext>
            </c:extLst>
          </c:dPt>
          <c:dPt>
            <c:idx val="371"/>
            <c:invertIfNegative val="1"/>
            <c:bubble3D val="0"/>
            <c:spPr>
              <a:solidFill>
                <a:srgbClr val="AEABAB"/>
              </a:solidFill>
            </c:spPr>
            <c:extLst>
              <c:ext xmlns:c16="http://schemas.microsoft.com/office/drawing/2014/chart" uri="{C3380CC4-5D6E-409C-BE32-E72D297353CC}">
                <c16:uniqueId val="{000002E9-F218-4DDE-952B-C0F0729EE755}"/>
              </c:ext>
            </c:extLst>
          </c:dPt>
          <c:dPt>
            <c:idx val="372"/>
            <c:invertIfNegative val="1"/>
            <c:bubble3D val="0"/>
            <c:spPr>
              <a:solidFill>
                <a:srgbClr val="AEABAB"/>
              </a:solidFill>
            </c:spPr>
            <c:extLst>
              <c:ext xmlns:c16="http://schemas.microsoft.com/office/drawing/2014/chart" uri="{C3380CC4-5D6E-409C-BE32-E72D297353CC}">
                <c16:uniqueId val="{000002EB-F218-4DDE-952B-C0F0729EE755}"/>
              </c:ext>
            </c:extLst>
          </c:dPt>
          <c:dPt>
            <c:idx val="373"/>
            <c:invertIfNegative val="1"/>
            <c:bubble3D val="0"/>
            <c:spPr>
              <a:solidFill>
                <a:srgbClr val="AEABAB"/>
              </a:solidFill>
            </c:spPr>
            <c:extLst>
              <c:ext xmlns:c16="http://schemas.microsoft.com/office/drawing/2014/chart" uri="{C3380CC4-5D6E-409C-BE32-E72D297353CC}">
                <c16:uniqueId val="{000002ED-F218-4DDE-952B-C0F0729EE755}"/>
              </c:ext>
            </c:extLst>
          </c:dPt>
          <c:dPt>
            <c:idx val="374"/>
            <c:invertIfNegative val="1"/>
            <c:bubble3D val="0"/>
            <c:spPr>
              <a:solidFill>
                <a:srgbClr val="AEABAB"/>
              </a:solidFill>
            </c:spPr>
            <c:extLst>
              <c:ext xmlns:c16="http://schemas.microsoft.com/office/drawing/2014/chart" uri="{C3380CC4-5D6E-409C-BE32-E72D297353CC}">
                <c16:uniqueId val="{000002EF-F218-4DDE-952B-C0F0729EE755}"/>
              </c:ext>
            </c:extLst>
          </c:dPt>
          <c:dPt>
            <c:idx val="375"/>
            <c:invertIfNegative val="1"/>
            <c:bubble3D val="0"/>
            <c:spPr>
              <a:solidFill>
                <a:srgbClr val="AEABAB"/>
              </a:solidFill>
            </c:spPr>
            <c:extLst>
              <c:ext xmlns:c16="http://schemas.microsoft.com/office/drawing/2014/chart" uri="{C3380CC4-5D6E-409C-BE32-E72D297353CC}">
                <c16:uniqueId val="{000002F1-F218-4DDE-952B-C0F0729EE755}"/>
              </c:ext>
            </c:extLst>
          </c:dPt>
          <c:dPt>
            <c:idx val="376"/>
            <c:invertIfNegative val="1"/>
            <c:bubble3D val="0"/>
            <c:spPr>
              <a:solidFill>
                <a:srgbClr val="AEABAB"/>
              </a:solidFill>
            </c:spPr>
            <c:extLst>
              <c:ext xmlns:c16="http://schemas.microsoft.com/office/drawing/2014/chart" uri="{C3380CC4-5D6E-409C-BE32-E72D297353CC}">
                <c16:uniqueId val="{000002F3-F218-4DDE-952B-C0F0729EE755}"/>
              </c:ext>
            </c:extLst>
          </c:dPt>
          <c:dPt>
            <c:idx val="377"/>
            <c:invertIfNegative val="1"/>
            <c:bubble3D val="0"/>
            <c:spPr>
              <a:solidFill>
                <a:srgbClr val="AEABAB"/>
              </a:solidFill>
            </c:spPr>
            <c:extLst>
              <c:ext xmlns:c16="http://schemas.microsoft.com/office/drawing/2014/chart" uri="{C3380CC4-5D6E-409C-BE32-E72D297353CC}">
                <c16:uniqueId val="{000002F5-F218-4DDE-952B-C0F0729EE755}"/>
              </c:ext>
            </c:extLst>
          </c:dPt>
          <c:dPt>
            <c:idx val="378"/>
            <c:invertIfNegative val="1"/>
            <c:bubble3D val="0"/>
            <c:spPr>
              <a:solidFill>
                <a:srgbClr val="AEABAB"/>
              </a:solidFill>
            </c:spPr>
            <c:extLst>
              <c:ext xmlns:c16="http://schemas.microsoft.com/office/drawing/2014/chart" uri="{C3380CC4-5D6E-409C-BE32-E72D297353CC}">
                <c16:uniqueId val="{000002F7-F218-4DDE-952B-C0F0729EE755}"/>
              </c:ext>
            </c:extLst>
          </c:dPt>
          <c:dPt>
            <c:idx val="379"/>
            <c:invertIfNegative val="1"/>
            <c:bubble3D val="0"/>
            <c:spPr>
              <a:solidFill>
                <a:srgbClr val="AEABAB"/>
              </a:solidFill>
            </c:spPr>
            <c:extLst>
              <c:ext xmlns:c16="http://schemas.microsoft.com/office/drawing/2014/chart" uri="{C3380CC4-5D6E-409C-BE32-E72D297353CC}">
                <c16:uniqueId val="{000002F9-F218-4DDE-952B-C0F0729EE755}"/>
              </c:ext>
            </c:extLst>
          </c:dPt>
          <c:dPt>
            <c:idx val="380"/>
            <c:invertIfNegative val="1"/>
            <c:bubble3D val="0"/>
            <c:spPr>
              <a:solidFill>
                <a:srgbClr val="AEABAB"/>
              </a:solidFill>
            </c:spPr>
            <c:extLst>
              <c:ext xmlns:c16="http://schemas.microsoft.com/office/drawing/2014/chart" uri="{C3380CC4-5D6E-409C-BE32-E72D297353CC}">
                <c16:uniqueId val="{000002FB-F218-4DDE-952B-C0F0729EE755}"/>
              </c:ext>
            </c:extLst>
          </c:dPt>
          <c:dPt>
            <c:idx val="381"/>
            <c:invertIfNegative val="1"/>
            <c:bubble3D val="0"/>
            <c:spPr>
              <a:solidFill>
                <a:srgbClr val="AEABAB"/>
              </a:solidFill>
            </c:spPr>
            <c:extLst>
              <c:ext xmlns:c16="http://schemas.microsoft.com/office/drawing/2014/chart" uri="{C3380CC4-5D6E-409C-BE32-E72D297353CC}">
                <c16:uniqueId val="{000002FD-F218-4DDE-952B-C0F0729EE755}"/>
              </c:ext>
            </c:extLst>
          </c:dPt>
          <c:dPt>
            <c:idx val="382"/>
            <c:invertIfNegative val="1"/>
            <c:bubble3D val="0"/>
            <c:spPr>
              <a:solidFill>
                <a:srgbClr val="AEABAB"/>
              </a:solidFill>
            </c:spPr>
            <c:extLst>
              <c:ext xmlns:c16="http://schemas.microsoft.com/office/drawing/2014/chart" uri="{C3380CC4-5D6E-409C-BE32-E72D297353CC}">
                <c16:uniqueId val="{000002FF-F218-4DDE-952B-C0F0729EE755}"/>
              </c:ext>
            </c:extLst>
          </c:dPt>
          <c:dPt>
            <c:idx val="383"/>
            <c:invertIfNegative val="1"/>
            <c:bubble3D val="0"/>
            <c:spPr>
              <a:solidFill>
                <a:srgbClr val="AEABAB"/>
              </a:solidFill>
            </c:spPr>
            <c:extLst>
              <c:ext xmlns:c16="http://schemas.microsoft.com/office/drawing/2014/chart" uri="{C3380CC4-5D6E-409C-BE32-E72D297353CC}">
                <c16:uniqueId val="{00000301-F218-4DDE-952B-C0F0729EE755}"/>
              </c:ext>
            </c:extLst>
          </c:dPt>
          <c:dPt>
            <c:idx val="384"/>
            <c:invertIfNegative val="1"/>
            <c:bubble3D val="0"/>
            <c:spPr>
              <a:solidFill>
                <a:srgbClr val="AEABAB"/>
              </a:solidFill>
            </c:spPr>
            <c:extLst>
              <c:ext xmlns:c16="http://schemas.microsoft.com/office/drawing/2014/chart" uri="{C3380CC4-5D6E-409C-BE32-E72D297353CC}">
                <c16:uniqueId val="{00000303-F218-4DDE-952B-C0F0729EE755}"/>
              </c:ext>
            </c:extLst>
          </c:dPt>
          <c:dPt>
            <c:idx val="385"/>
            <c:invertIfNegative val="1"/>
            <c:bubble3D val="0"/>
            <c:spPr>
              <a:solidFill>
                <a:srgbClr val="AEABAB"/>
              </a:solidFill>
            </c:spPr>
            <c:extLst>
              <c:ext xmlns:c16="http://schemas.microsoft.com/office/drawing/2014/chart" uri="{C3380CC4-5D6E-409C-BE32-E72D297353CC}">
                <c16:uniqueId val="{00000305-F218-4DDE-952B-C0F0729EE755}"/>
              </c:ext>
            </c:extLst>
          </c:dPt>
          <c:dPt>
            <c:idx val="386"/>
            <c:invertIfNegative val="1"/>
            <c:bubble3D val="0"/>
            <c:spPr>
              <a:solidFill>
                <a:srgbClr val="AEABAB"/>
              </a:solidFill>
            </c:spPr>
            <c:extLst>
              <c:ext xmlns:c16="http://schemas.microsoft.com/office/drawing/2014/chart" uri="{C3380CC4-5D6E-409C-BE32-E72D297353CC}">
                <c16:uniqueId val="{00000307-F218-4DDE-952B-C0F0729EE755}"/>
              </c:ext>
            </c:extLst>
          </c:dPt>
          <c:dPt>
            <c:idx val="387"/>
            <c:invertIfNegative val="1"/>
            <c:bubble3D val="0"/>
            <c:spPr>
              <a:solidFill>
                <a:srgbClr val="AEABAB"/>
              </a:solidFill>
            </c:spPr>
            <c:extLst>
              <c:ext xmlns:c16="http://schemas.microsoft.com/office/drawing/2014/chart" uri="{C3380CC4-5D6E-409C-BE32-E72D297353CC}">
                <c16:uniqueId val="{00000309-F218-4DDE-952B-C0F0729EE755}"/>
              </c:ext>
            </c:extLst>
          </c:dPt>
          <c:dPt>
            <c:idx val="388"/>
            <c:invertIfNegative val="1"/>
            <c:bubble3D val="0"/>
            <c:spPr>
              <a:solidFill>
                <a:srgbClr val="AEABAB"/>
              </a:solidFill>
            </c:spPr>
            <c:extLst>
              <c:ext xmlns:c16="http://schemas.microsoft.com/office/drawing/2014/chart" uri="{C3380CC4-5D6E-409C-BE32-E72D297353CC}">
                <c16:uniqueId val="{0000030B-F218-4DDE-952B-C0F0729EE755}"/>
              </c:ext>
            </c:extLst>
          </c:dPt>
          <c:dPt>
            <c:idx val="389"/>
            <c:invertIfNegative val="1"/>
            <c:bubble3D val="0"/>
            <c:spPr>
              <a:solidFill>
                <a:srgbClr val="AEABAB"/>
              </a:solidFill>
            </c:spPr>
            <c:extLst>
              <c:ext xmlns:c16="http://schemas.microsoft.com/office/drawing/2014/chart" uri="{C3380CC4-5D6E-409C-BE32-E72D297353CC}">
                <c16:uniqueId val="{0000030D-F218-4DDE-952B-C0F0729EE755}"/>
              </c:ext>
            </c:extLst>
          </c:dPt>
          <c:dPt>
            <c:idx val="390"/>
            <c:invertIfNegative val="1"/>
            <c:bubble3D val="0"/>
            <c:spPr>
              <a:solidFill>
                <a:srgbClr val="AEABAB"/>
              </a:solidFill>
            </c:spPr>
            <c:extLst>
              <c:ext xmlns:c16="http://schemas.microsoft.com/office/drawing/2014/chart" uri="{C3380CC4-5D6E-409C-BE32-E72D297353CC}">
                <c16:uniqueId val="{0000030F-F218-4DDE-952B-C0F0729EE755}"/>
              </c:ext>
            </c:extLst>
          </c:dPt>
          <c:dPt>
            <c:idx val="391"/>
            <c:invertIfNegative val="1"/>
            <c:bubble3D val="0"/>
            <c:spPr>
              <a:solidFill>
                <a:srgbClr val="AEABAB"/>
              </a:solidFill>
            </c:spPr>
            <c:extLst>
              <c:ext xmlns:c16="http://schemas.microsoft.com/office/drawing/2014/chart" uri="{C3380CC4-5D6E-409C-BE32-E72D297353CC}">
                <c16:uniqueId val="{00000311-F218-4DDE-952B-C0F0729EE755}"/>
              </c:ext>
            </c:extLst>
          </c:dPt>
          <c:dPt>
            <c:idx val="392"/>
            <c:invertIfNegative val="1"/>
            <c:bubble3D val="0"/>
            <c:spPr>
              <a:solidFill>
                <a:srgbClr val="AEABAB"/>
              </a:solidFill>
            </c:spPr>
            <c:extLst>
              <c:ext xmlns:c16="http://schemas.microsoft.com/office/drawing/2014/chart" uri="{C3380CC4-5D6E-409C-BE32-E72D297353CC}">
                <c16:uniqueId val="{00000313-F218-4DDE-952B-C0F0729EE755}"/>
              </c:ext>
            </c:extLst>
          </c:dPt>
          <c:dPt>
            <c:idx val="393"/>
            <c:invertIfNegative val="1"/>
            <c:bubble3D val="0"/>
            <c:spPr>
              <a:solidFill>
                <a:srgbClr val="AEABAB"/>
              </a:solidFill>
            </c:spPr>
            <c:extLst>
              <c:ext xmlns:c16="http://schemas.microsoft.com/office/drawing/2014/chart" uri="{C3380CC4-5D6E-409C-BE32-E72D297353CC}">
                <c16:uniqueId val="{00000315-F218-4DDE-952B-C0F0729EE755}"/>
              </c:ext>
            </c:extLst>
          </c:dPt>
          <c:dPt>
            <c:idx val="394"/>
            <c:invertIfNegative val="1"/>
            <c:bubble3D val="0"/>
            <c:spPr>
              <a:solidFill>
                <a:srgbClr val="AEABAB"/>
              </a:solidFill>
            </c:spPr>
            <c:extLst>
              <c:ext xmlns:c16="http://schemas.microsoft.com/office/drawing/2014/chart" uri="{C3380CC4-5D6E-409C-BE32-E72D297353CC}">
                <c16:uniqueId val="{00000317-F218-4DDE-952B-C0F0729EE755}"/>
              </c:ext>
            </c:extLst>
          </c:dPt>
          <c:dPt>
            <c:idx val="395"/>
            <c:invertIfNegative val="1"/>
            <c:bubble3D val="0"/>
            <c:spPr>
              <a:solidFill>
                <a:srgbClr val="AEABAB"/>
              </a:solidFill>
            </c:spPr>
            <c:extLst>
              <c:ext xmlns:c16="http://schemas.microsoft.com/office/drawing/2014/chart" uri="{C3380CC4-5D6E-409C-BE32-E72D297353CC}">
                <c16:uniqueId val="{00000319-F218-4DDE-952B-C0F0729EE755}"/>
              </c:ext>
            </c:extLst>
          </c:dPt>
          <c:dPt>
            <c:idx val="396"/>
            <c:invertIfNegative val="1"/>
            <c:bubble3D val="0"/>
            <c:spPr>
              <a:solidFill>
                <a:srgbClr val="AEABAB"/>
              </a:solidFill>
            </c:spPr>
            <c:extLst>
              <c:ext xmlns:c16="http://schemas.microsoft.com/office/drawing/2014/chart" uri="{C3380CC4-5D6E-409C-BE32-E72D297353CC}">
                <c16:uniqueId val="{0000031B-F218-4DDE-952B-C0F0729EE755}"/>
              </c:ext>
            </c:extLst>
          </c:dPt>
          <c:dPt>
            <c:idx val="397"/>
            <c:invertIfNegative val="1"/>
            <c:bubble3D val="0"/>
            <c:spPr>
              <a:solidFill>
                <a:srgbClr val="AEABAB"/>
              </a:solidFill>
            </c:spPr>
            <c:extLst>
              <c:ext xmlns:c16="http://schemas.microsoft.com/office/drawing/2014/chart" uri="{C3380CC4-5D6E-409C-BE32-E72D297353CC}">
                <c16:uniqueId val="{0000031D-F218-4DDE-952B-C0F0729EE755}"/>
              </c:ext>
            </c:extLst>
          </c:dPt>
          <c:dPt>
            <c:idx val="398"/>
            <c:invertIfNegative val="1"/>
            <c:bubble3D val="0"/>
            <c:spPr>
              <a:solidFill>
                <a:srgbClr val="AEABAB"/>
              </a:solidFill>
            </c:spPr>
            <c:extLst>
              <c:ext xmlns:c16="http://schemas.microsoft.com/office/drawing/2014/chart" uri="{C3380CC4-5D6E-409C-BE32-E72D297353CC}">
                <c16:uniqueId val="{0000031F-F218-4DDE-952B-C0F0729EE755}"/>
              </c:ext>
            </c:extLst>
          </c:dPt>
          <c:dPt>
            <c:idx val="399"/>
            <c:invertIfNegative val="1"/>
            <c:bubble3D val="0"/>
            <c:spPr>
              <a:solidFill>
                <a:srgbClr val="AEABAB"/>
              </a:solidFill>
            </c:spPr>
            <c:extLst>
              <c:ext xmlns:c16="http://schemas.microsoft.com/office/drawing/2014/chart" uri="{C3380CC4-5D6E-409C-BE32-E72D297353CC}">
                <c16:uniqueId val="{00000321-F218-4DDE-952B-C0F0729EE755}"/>
              </c:ext>
            </c:extLst>
          </c:dPt>
          <c:dPt>
            <c:idx val="400"/>
            <c:invertIfNegative val="1"/>
            <c:bubble3D val="0"/>
            <c:spPr>
              <a:solidFill>
                <a:srgbClr val="AEABAB"/>
              </a:solidFill>
            </c:spPr>
            <c:extLst>
              <c:ext xmlns:c16="http://schemas.microsoft.com/office/drawing/2014/chart" uri="{C3380CC4-5D6E-409C-BE32-E72D297353CC}">
                <c16:uniqueId val="{00000323-F218-4DDE-952B-C0F0729EE755}"/>
              </c:ext>
            </c:extLst>
          </c:dPt>
          <c:dPt>
            <c:idx val="401"/>
            <c:invertIfNegative val="1"/>
            <c:bubble3D val="0"/>
            <c:spPr>
              <a:solidFill>
                <a:srgbClr val="AEABAB"/>
              </a:solidFill>
            </c:spPr>
            <c:extLst>
              <c:ext xmlns:c16="http://schemas.microsoft.com/office/drawing/2014/chart" uri="{C3380CC4-5D6E-409C-BE32-E72D297353CC}">
                <c16:uniqueId val="{00000325-F218-4DDE-952B-C0F0729EE755}"/>
              </c:ext>
            </c:extLst>
          </c:dPt>
          <c:dPt>
            <c:idx val="402"/>
            <c:invertIfNegative val="1"/>
            <c:bubble3D val="0"/>
            <c:spPr>
              <a:solidFill>
                <a:srgbClr val="AEABAB"/>
              </a:solidFill>
            </c:spPr>
            <c:extLst>
              <c:ext xmlns:c16="http://schemas.microsoft.com/office/drawing/2014/chart" uri="{C3380CC4-5D6E-409C-BE32-E72D297353CC}">
                <c16:uniqueId val="{00000327-F218-4DDE-952B-C0F0729EE755}"/>
              </c:ext>
            </c:extLst>
          </c:dPt>
          <c:dPt>
            <c:idx val="403"/>
            <c:invertIfNegative val="1"/>
            <c:bubble3D val="0"/>
            <c:spPr>
              <a:solidFill>
                <a:srgbClr val="AEABAB"/>
              </a:solidFill>
            </c:spPr>
            <c:extLst>
              <c:ext xmlns:c16="http://schemas.microsoft.com/office/drawing/2014/chart" uri="{C3380CC4-5D6E-409C-BE32-E72D297353CC}">
                <c16:uniqueId val="{00000329-F218-4DDE-952B-C0F0729EE755}"/>
              </c:ext>
            </c:extLst>
          </c:dPt>
          <c:dPt>
            <c:idx val="404"/>
            <c:invertIfNegative val="1"/>
            <c:bubble3D val="0"/>
            <c:spPr>
              <a:solidFill>
                <a:srgbClr val="AEABAB"/>
              </a:solidFill>
            </c:spPr>
            <c:extLst>
              <c:ext xmlns:c16="http://schemas.microsoft.com/office/drawing/2014/chart" uri="{C3380CC4-5D6E-409C-BE32-E72D297353CC}">
                <c16:uniqueId val="{0000032B-F218-4DDE-952B-C0F0729EE755}"/>
              </c:ext>
            </c:extLst>
          </c:dPt>
          <c:dPt>
            <c:idx val="405"/>
            <c:invertIfNegative val="1"/>
            <c:bubble3D val="0"/>
            <c:spPr>
              <a:solidFill>
                <a:srgbClr val="AEABAB"/>
              </a:solidFill>
            </c:spPr>
            <c:extLst>
              <c:ext xmlns:c16="http://schemas.microsoft.com/office/drawing/2014/chart" uri="{C3380CC4-5D6E-409C-BE32-E72D297353CC}">
                <c16:uniqueId val="{0000032D-F218-4DDE-952B-C0F0729EE755}"/>
              </c:ext>
            </c:extLst>
          </c:dPt>
          <c:dPt>
            <c:idx val="406"/>
            <c:invertIfNegative val="1"/>
            <c:bubble3D val="0"/>
            <c:spPr>
              <a:solidFill>
                <a:srgbClr val="AEABAB"/>
              </a:solidFill>
            </c:spPr>
            <c:extLst>
              <c:ext xmlns:c16="http://schemas.microsoft.com/office/drawing/2014/chart" uri="{C3380CC4-5D6E-409C-BE32-E72D297353CC}">
                <c16:uniqueId val="{0000032F-F218-4DDE-952B-C0F0729EE755}"/>
              </c:ext>
            </c:extLst>
          </c:dPt>
          <c:dPt>
            <c:idx val="407"/>
            <c:invertIfNegative val="1"/>
            <c:bubble3D val="0"/>
            <c:spPr>
              <a:solidFill>
                <a:srgbClr val="AEABAB"/>
              </a:solidFill>
            </c:spPr>
            <c:extLst>
              <c:ext xmlns:c16="http://schemas.microsoft.com/office/drawing/2014/chart" uri="{C3380CC4-5D6E-409C-BE32-E72D297353CC}">
                <c16:uniqueId val="{00000331-F218-4DDE-952B-C0F0729EE755}"/>
              </c:ext>
            </c:extLst>
          </c:dPt>
          <c:dPt>
            <c:idx val="408"/>
            <c:invertIfNegative val="1"/>
            <c:bubble3D val="0"/>
            <c:spPr>
              <a:solidFill>
                <a:srgbClr val="AEABAB"/>
              </a:solidFill>
            </c:spPr>
            <c:extLst>
              <c:ext xmlns:c16="http://schemas.microsoft.com/office/drawing/2014/chart" uri="{C3380CC4-5D6E-409C-BE32-E72D297353CC}">
                <c16:uniqueId val="{00000333-F218-4DDE-952B-C0F0729EE755}"/>
              </c:ext>
            </c:extLst>
          </c:dPt>
          <c:dPt>
            <c:idx val="409"/>
            <c:invertIfNegative val="1"/>
            <c:bubble3D val="0"/>
            <c:spPr>
              <a:solidFill>
                <a:srgbClr val="AEABAB"/>
              </a:solidFill>
            </c:spPr>
            <c:extLst>
              <c:ext xmlns:c16="http://schemas.microsoft.com/office/drawing/2014/chart" uri="{C3380CC4-5D6E-409C-BE32-E72D297353CC}">
                <c16:uniqueId val="{00000335-F218-4DDE-952B-C0F0729EE755}"/>
              </c:ext>
            </c:extLst>
          </c:dPt>
          <c:dPt>
            <c:idx val="410"/>
            <c:invertIfNegative val="1"/>
            <c:bubble3D val="0"/>
            <c:spPr>
              <a:solidFill>
                <a:srgbClr val="AEABAB"/>
              </a:solidFill>
            </c:spPr>
            <c:extLst>
              <c:ext xmlns:c16="http://schemas.microsoft.com/office/drawing/2014/chart" uri="{C3380CC4-5D6E-409C-BE32-E72D297353CC}">
                <c16:uniqueId val="{00000337-F218-4DDE-952B-C0F0729EE755}"/>
              </c:ext>
            </c:extLst>
          </c:dPt>
          <c:dPt>
            <c:idx val="411"/>
            <c:invertIfNegative val="1"/>
            <c:bubble3D val="0"/>
            <c:spPr>
              <a:solidFill>
                <a:srgbClr val="AEABAB"/>
              </a:solidFill>
            </c:spPr>
            <c:extLst>
              <c:ext xmlns:c16="http://schemas.microsoft.com/office/drawing/2014/chart" uri="{C3380CC4-5D6E-409C-BE32-E72D297353CC}">
                <c16:uniqueId val="{00000339-F218-4DDE-952B-C0F0729EE755}"/>
              </c:ext>
            </c:extLst>
          </c:dPt>
          <c:dPt>
            <c:idx val="412"/>
            <c:invertIfNegative val="1"/>
            <c:bubble3D val="0"/>
            <c:spPr>
              <a:solidFill>
                <a:srgbClr val="AEABAB"/>
              </a:solidFill>
            </c:spPr>
            <c:extLst>
              <c:ext xmlns:c16="http://schemas.microsoft.com/office/drawing/2014/chart" uri="{C3380CC4-5D6E-409C-BE32-E72D297353CC}">
                <c16:uniqueId val="{0000033B-F218-4DDE-952B-C0F0729EE755}"/>
              </c:ext>
            </c:extLst>
          </c:dPt>
          <c:dPt>
            <c:idx val="413"/>
            <c:invertIfNegative val="1"/>
            <c:bubble3D val="0"/>
            <c:spPr>
              <a:solidFill>
                <a:srgbClr val="AEABAB"/>
              </a:solidFill>
            </c:spPr>
            <c:extLst>
              <c:ext xmlns:c16="http://schemas.microsoft.com/office/drawing/2014/chart" uri="{C3380CC4-5D6E-409C-BE32-E72D297353CC}">
                <c16:uniqueId val="{0000033D-F218-4DDE-952B-C0F0729EE755}"/>
              </c:ext>
            </c:extLst>
          </c:dPt>
          <c:dPt>
            <c:idx val="414"/>
            <c:invertIfNegative val="1"/>
            <c:bubble3D val="0"/>
            <c:spPr>
              <a:solidFill>
                <a:srgbClr val="AEABAB"/>
              </a:solidFill>
            </c:spPr>
            <c:extLst>
              <c:ext xmlns:c16="http://schemas.microsoft.com/office/drawing/2014/chart" uri="{C3380CC4-5D6E-409C-BE32-E72D297353CC}">
                <c16:uniqueId val="{0000033F-F218-4DDE-952B-C0F0729EE755}"/>
              </c:ext>
            </c:extLst>
          </c:dPt>
          <c:dPt>
            <c:idx val="415"/>
            <c:invertIfNegative val="1"/>
            <c:bubble3D val="0"/>
            <c:spPr>
              <a:solidFill>
                <a:srgbClr val="AEABAB"/>
              </a:solidFill>
            </c:spPr>
            <c:extLst>
              <c:ext xmlns:c16="http://schemas.microsoft.com/office/drawing/2014/chart" uri="{C3380CC4-5D6E-409C-BE32-E72D297353CC}">
                <c16:uniqueId val="{00000341-F218-4DDE-952B-C0F0729EE755}"/>
              </c:ext>
            </c:extLst>
          </c:dPt>
          <c:dPt>
            <c:idx val="416"/>
            <c:invertIfNegative val="1"/>
            <c:bubble3D val="0"/>
            <c:spPr>
              <a:solidFill>
                <a:srgbClr val="AEABAB"/>
              </a:solidFill>
            </c:spPr>
            <c:extLst>
              <c:ext xmlns:c16="http://schemas.microsoft.com/office/drawing/2014/chart" uri="{C3380CC4-5D6E-409C-BE32-E72D297353CC}">
                <c16:uniqueId val="{00000343-F218-4DDE-952B-C0F0729EE755}"/>
              </c:ext>
            </c:extLst>
          </c:dPt>
          <c:dPt>
            <c:idx val="417"/>
            <c:invertIfNegative val="1"/>
            <c:bubble3D val="0"/>
            <c:spPr>
              <a:solidFill>
                <a:srgbClr val="AEABAB"/>
              </a:solidFill>
            </c:spPr>
            <c:extLst>
              <c:ext xmlns:c16="http://schemas.microsoft.com/office/drawing/2014/chart" uri="{C3380CC4-5D6E-409C-BE32-E72D297353CC}">
                <c16:uniqueId val="{00000345-F218-4DDE-952B-C0F0729EE755}"/>
              </c:ext>
            </c:extLst>
          </c:dPt>
          <c:dPt>
            <c:idx val="418"/>
            <c:invertIfNegative val="1"/>
            <c:bubble3D val="0"/>
            <c:spPr>
              <a:solidFill>
                <a:srgbClr val="AEABAB"/>
              </a:solidFill>
            </c:spPr>
            <c:extLst>
              <c:ext xmlns:c16="http://schemas.microsoft.com/office/drawing/2014/chart" uri="{C3380CC4-5D6E-409C-BE32-E72D297353CC}">
                <c16:uniqueId val="{00000347-F218-4DDE-952B-C0F0729EE755}"/>
              </c:ext>
            </c:extLst>
          </c:dPt>
          <c:dPt>
            <c:idx val="419"/>
            <c:invertIfNegative val="1"/>
            <c:bubble3D val="0"/>
            <c:spPr>
              <a:solidFill>
                <a:srgbClr val="AEABAB"/>
              </a:solidFill>
            </c:spPr>
            <c:extLst>
              <c:ext xmlns:c16="http://schemas.microsoft.com/office/drawing/2014/chart" uri="{C3380CC4-5D6E-409C-BE32-E72D297353CC}">
                <c16:uniqueId val="{00000349-F218-4DDE-952B-C0F0729EE755}"/>
              </c:ext>
            </c:extLst>
          </c:dPt>
          <c:dPt>
            <c:idx val="420"/>
            <c:invertIfNegative val="1"/>
            <c:bubble3D val="0"/>
            <c:spPr>
              <a:solidFill>
                <a:srgbClr val="AEABAB"/>
              </a:solidFill>
            </c:spPr>
            <c:extLst>
              <c:ext xmlns:c16="http://schemas.microsoft.com/office/drawing/2014/chart" uri="{C3380CC4-5D6E-409C-BE32-E72D297353CC}">
                <c16:uniqueId val="{0000034B-F218-4DDE-952B-C0F0729EE755}"/>
              </c:ext>
            </c:extLst>
          </c:dPt>
          <c:dPt>
            <c:idx val="421"/>
            <c:invertIfNegative val="1"/>
            <c:bubble3D val="0"/>
            <c:spPr>
              <a:solidFill>
                <a:srgbClr val="AEABAB"/>
              </a:solidFill>
            </c:spPr>
            <c:extLst>
              <c:ext xmlns:c16="http://schemas.microsoft.com/office/drawing/2014/chart" uri="{C3380CC4-5D6E-409C-BE32-E72D297353CC}">
                <c16:uniqueId val="{0000034D-F218-4DDE-952B-C0F0729EE755}"/>
              </c:ext>
            </c:extLst>
          </c:dPt>
          <c:dPt>
            <c:idx val="422"/>
            <c:invertIfNegative val="1"/>
            <c:bubble3D val="0"/>
            <c:spPr>
              <a:solidFill>
                <a:srgbClr val="AEABAB"/>
              </a:solidFill>
            </c:spPr>
            <c:extLst>
              <c:ext xmlns:c16="http://schemas.microsoft.com/office/drawing/2014/chart" uri="{C3380CC4-5D6E-409C-BE32-E72D297353CC}">
                <c16:uniqueId val="{0000034F-F218-4DDE-952B-C0F0729EE755}"/>
              </c:ext>
            </c:extLst>
          </c:dPt>
          <c:dPt>
            <c:idx val="423"/>
            <c:invertIfNegative val="1"/>
            <c:bubble3D val="0"/>
            <c:spPr>
              <a:solidFill>
                <a:srgbClr val="AEABAB"/>
              </a:solidFill>
            </c:spPr>
            <c:extLst>
              <c:ext xmlns:c16="http://schemas.microsoft.com/office/drawing/2014/chart" uri="{C3380CC4-5D6E-409C-BE32-E72D297353CC}">
                <c16:uniqueId val="{00000351-F218-4DDE-952B-C0F0729EE755}"/>
              </c:ext>
            </c:extLst>
          </c:dPt>
          <c:dPt>
            <c:idx val="424"/>
            <c:invertIfNegative val="1"/>
            <c:bubble3D val="0"/>
            <c:spPr>
              <a:solidFill>
                <a:srgbClr val="AEABAB"/>
              </a:solidFill>
            </c:spPr>
            <c:extLst>
              <c:ext xmlns:c16="http://schemas.microsoft.com/office/drawing/2014/chart" uri="{C3380CC4-5D6E-409C-BE32-E72D297353CC}">
                <c16:uniqueId val="{00000353-F218-4DDE-952B-C0F0729EE755}"/>
              </c:ext>
            </c:extLst>
          </c:dPt>
          <c:dPt>
            <c:idx val="425"/>
            <c:invertIfNegative val="1"/>
            <c:bubble3D val="0"/>
            <c:spPr>
              <a:solidFill>
                <a:srgbClr val="AEABAB"/>
              </a:solidFill>
            </c:spPr>
            <c:extLst>
              <c:ext xmlns:c16="http://schemas.microsoft.com/office/drawing/2014/chart" uri="{C3380CC4-5D6E-409C-BE32-E72D297353CC}">
                <c16:uniqueId val="{00000355-F218-4DDE-952B-C0F0729EE755}"/>
              </c:ext>
            </c:extLst>
          </c:dPt>
          <c:dPt>
            <c:idx val="426"/>
            <c:invertIfNegative val="1"/>
            <c:bubble3D val="0"/>
            <c:spPr>
              <a:solidFill>
                <a:srgbClr val="AEABAB"/>
              </a:solidFill>
            </c:spPr>
            <c:extLst>
              <c:ext xmlns:c16="http://schemas.microsoft.com/office/drawing/2014/chart" uri="{C3380CC4-5D6E-409C-BE32-E72D297353CC}">
                <c16:uniqueId val="{00000357-F218-4DDE-952B-C0F0729EE755}"/>
              </c:ext>
            </c:extLst>
          </c:dPt>
          <c:dPt>
            <c:idx val="427"/>
            <c:invertIfNegative val="1"/>
            <c:bubble3D val="0"/>
            <c:spPr>
              <a:solidFill>
                <a:srgbClr val="AEABAB"/>
              </a:solidFill>
            </c:spPr>
            <c:extLst>
              <c:ext xmlns:c16="http://schemas.microsoft.com/office/drawing/2014/chart" uri="{C3380CC4-5D6E-409C-BE32-E72D297353CC}">
                <c16:uniqueId val="{00000359-F218-4DDE-952B-C0F0729EE755}"/>
              </c:ext>
            </c:extLst>
          </c:dPt>
          <c:dPt>
            <c:idx val="428"/>
            <c:invertIfNegative val="1"/>
            <c:bubble3D val="0"/>
            <c:spPr>
              <a:solidFill>
                <a:srgbClr val="AEABAB"/>
              </a:solidFill>
            </c:spPr>
            <c:extLst>
              <c:ext xmlns:c16="http://schemas.microsoft.com/office/drawing/2014/chart" uri="{C3380CC4-5D6E-409C-BE32-E72D297353CC}">
                <c16:uniqueId val="{0000035B-F218-4DDE-952B-C0F0729EE755}"/>
              </c:ext>
            </c:extLst>
          </c:dPt>
          <c:dPt>
            <c:idx val="429"/>
            <c:invertIfNegative val="1"/>
            <c:bubble3D val="0"/>
            <c:spPr>
              <a:solidFill>
                <a:srgbClr val="AEABAB"/>
              </a:solidFill>
            </c:spPr>
            <c:extLst>
              <c:ext xmlns:c16="http://schemas.microsoft.com/office/drawing/2014/chart" uri="{C3380CC4-5D6E-409C-BE32-E72D297353CC}">
                <c16:uniqueId val="{0000035D-F218-4DDE-952B-C0F0729EE755}"/>
              </c:ext>
            </c:extLst>
          </c:dPt>
          <c:dPt>
            <c:idx val="430"/>
            <c:invertIfNegative val="1"/>
            <c:bubble3D val="0"/>
            <c:spPr>
              <a:solidFill>
                <a:srgbClr val="AEABAB"/>
              </a:solidFill>
            </c:spPr>
            <c:extLst>
              <c:ext xmlns:c16="http://schemas.microsoft.com/office/drawing/2014/chart" uri="{C3380CC4-5D6E-409C-BE32-E72D297353CC}">
                <c16:uniqueId val="{0000035F-F218-4DDE-952B-C0F0729EE755}"/>
              </c:ext>
            </c:extLst>
          </c:dPt>
          <c:dPt>
            <c:idx val="431"/>
            <c:invertIfNegative val="1"/>
            <c:bubble3D val="0"/>
            <c:spPr>
              <a:solidFill>
                <a:srgbClr val="AEABAB"/>
              </a:solidFill>
            </c:spPr>
            <c:extLst>
              <c:ext xmlns:c16="http://schemas.microsoft.com/office/drawing/2014/chart" uri="{C3380CC4-5D6E-409C-BE32-E72D297353CC}">
                <c16:uniqueId val="{00000361-F218-4DDE-952B-C0F0729EE755}"/>
              </c:ext>
            </c:extLst>
          </c:dPt>
          <c:dPt>
            <c:idx val="432"/>
            <c:invertIfNegative val="1"/>
            <c:bubble3D val="0"/>
            <c:spPr>
              <a:solidFill>
                <a:srgbClr val="AEABAB"/>
              </a:solidFill>
            </c:spPr>
            <c:extLst>
              <c:ext xmlns:c16="http://schemas.microsoft.com/office/drawing/2014/chart" uri="{C3380CC4-5D6E-409C-BE32-E72D297353CC}">
                <c16:uniqueId val="{00000363-F218-4DDE-952B-C0F0729EE755}"/>
              </c:ext>
            </c:extLst>
          </c:dPt>
          <c:dPt>
            <c:idx val="433"/>
            <c:invertIfNegative val="1"/>
            <c:bubble3D val="0"/>
            <c:spPr>
              <a:solidFill>
                <a:srgbClr val="AEABAB"/>
              </a:solidFill>
            </c:spPr>
            <c:extLst>
              <c:ext xmlns:c16="http://schemas.microsoft.com/office/drawing/2014/chart" uri="{C3380CC4-5D6E-409C-BE32-E72D297353CC}">
                <c16:uniqueId val="{00000365-F218-4DDE-952B-C0F0729EE755}"/>
              </c:ext>
            </c:extLst>
          </c:dPt>
          <c:dPt>
            <c:idx val="434"/>
            <c:invertIfNegative val="1"/>
            <c:bubble3D val="0"/>
            <c:spPr>
              <a:solidFill>
                <a:srgbClr val="AEABAB"/>
              </a:solidFill>
            </c:spPr>
            <c:extLst>
              <c:ext xmlns:c16="http://schemas.microsoft.com/office/drawing/2014/chart" uri="{C3380CC4-5D6E-409C-BE32-E72D297353CC}">
                <c16:uniqueId val="{00000367-F218-4DDE-952B-C0F0729EE755}"/>
              </c:ext>
            </c:extLst>
          </c:dPt>
          <c:dPt>
            <c:idx val="435"/>
            <c:invertIfNegative val="1"/>
            <c:bubble3D val="0"/>
            <c:spPr>
              <a:solidFill>
                <a:srgbClr val="AEABAB"/>
              </a:solidFill>
            </c:spPr>
            <c:extLst>
              <c:ext xmlns:c16="http://schemas.microsoft.com/office/drawing/2014/chart" uri="{C3380CC4-5D6E-409C-BE32-E72D297353CC}">
                <c16:uniqueId val="{00000369-F218-4DDE-952B-C0F0729EE755}"/>
              </c:ext>
            </c:extLst>
          </c:dPt>
          <c:dPt>
            <c:idx val="436"/>
            <c:invertIfNegative val="1"/>
            <c:bubble3D val="0"/>
            <c:spPr>
              <a:solidFill>
                <a:srgbClr val="AEABAB"/>
              </a:solidFill>
            </c:spPr>
            <c:extLst>
              <c:ext xmlns:c16="http://schemas.microsoft.com/office/drawing/2014/chart" uri="{C3380CC4-5D6E-409C-BE32-E72D297353CC}">
                <c16:uniqueId val="{0000036B-F218-4DDE-952B-C0F0729EE755}"/>
              </c:ext>
            </c:extLst>
          </c:dPt>
          <c:dPt>
            <c:idx val="437"/>
            <c:invertIfNegative val="1"/>
            <c:bubble3D val="0"/>
            <c:spPr>
              <a:solidFill>
                <a:srgbClr val="AEABAB"/>
              </a:solidFill>
            </c:spPr>
            <c:extLst>
              <c:ext xmlns:c16="http://schemas.microsoft.com/office/drawing/2014/chart" uri="{C3380CC4-5D6E-409C-BE32-E72D297353CC}">
                <c16:uniqueId val="{0000036D-F218-4DDE-952B-C0F0729EE755}"/>
              </c:ext>
            </c:extLst>
          </c:dPt>
          <c:dPt>
            <c:idx val="438"/>
            <c:invertIfNegative val="1"/>
            <c:bubble3D val="0"/>
            <c:spPr>
              <a:solidFill>
                <a:srgbClr val="AEABAB"/>
              </a:solidFill>
            </c:spPr>
            <c:extLst>
              <c:ext xmlns:c16="http://schemas.microsoft.com/office/drawing/2014/chart" uri="{C3380CC4-5D6E-409C-BE32-E72D297353CC}">
                <c16:uniqueId val="{0000036F-F218-4DDE-952B-C0F0729EE755}"/>
              </c:ext>
            </c:extLst>
          </c:dPt>
          <c:dPt>
            <c:idx val="439"/>
            <c:invertIfNegative val="1"/>
            <c:bubble3D val="0"/>
            <c:spPr>
              <a:solidFill>
                <a:srgbClr val="AEABAB"/>
              </a:solidFill>
            </c:spPr>
            <c:extLst>
              <c:ext xmlns:c16="http://schemas.microsoft.com/office/drawing/2014/chart" uri="{C3380CC4-5D6E-409C-BE32-E72D297353CC}">
                <c16:uniqueId val="{00000371-F218-4DDE-952B-C0F0729EE755}"/>
              </c:ext>
            </c:extLst>
          </c:dPt>
          <c:dPt>
            <c:idx val="440"/>
            <c:invertIfNegative val="1"/>
            <c:bubble3D val="0"/>
            <c:spPr>
              <a:solidFill>
                <a:srgbClr val="AEABAB"/>
              </a:solidFill>
            </c:spPr>
            <c:extLst>
              <c:ext xmlns:c16="http://schemas.microsoft.com/office/drawing/2014/chart" uri="{C3380CC4-5D6E-409C-BE32-E72D297353CC}">
                <c16:uniqueId val="{00000373-F218-4DDE-952B-C0F0729EE755}"/>
              </c:ext>
            </c:extLst>
          </c:dPt>
          <c:dPt>
            <c:idx val="441"/>
            <c:invertIfNegative val="1"/>
            <c:bubble3D val="0"/>
            <c:spPr>
              <a:solidFill>
                <a:srgbClr val="AEABAB"/>
              </a:solidFill>
            </c:spPr>
            <c:extLst>
              <c:ext xmlns:c16="http://schemas.microsoft.com/office/drawing/2014/chart" uri="{C3380CC4-5D6E-409C-BE32-E72D297353CC}">
                <c16:uniqueId val="{00000375-F218-4DDE-952B-C0F0729EE755}"/>
              </c:ext>
            </c:extLst>
          </c:dPt>
          <c:dPt>
            <c:idx val="442"/>
            <c:invertIfNegative val="1"/>
            <c:bubble3D val="0"/>
            <c:spPr>
              <a:solidFill>
                <a:srgbClr val="AEABAB"/>
              </a:solidFill>
            </c:spPr>
            <c:extLst>
              <c:ext xmlns:c16="http://schemas.microsoft.com/office/drawing/2014/chart" uri="{C3380CC4-5D6E-409C-BE32-E72D297353CC}">
                <c16:uniqueId val="{00000377-F218-4DDE-952B-C0F0729EE755}"/>
              </c:ext>
            </c:extLst>
          </c:dPt>
          <c:dPt>
            <c:idx val="443"/>
            <c:invertIfNegative val="1"/>
            <c:bubble3D val="0"/>
            <c:spPr>
              <a:solidFill>
                <a:srgbClr val="AEABAB"/>
              </a:solidFill>
            </c:spPr>
            <c:extLst>
              <c:ext xmlns:c16="http://schemas.microsoft.com/office/drawing/2014/chart" uri="{C3380CC4-5D6E-409C-BE32-E72D297353CC}">
                <c16:uniqueId val="{00000379-F218-4DDE-952B-C0F0729EE755}"/>
              </c:ext>
            </c:extLst>
          </c:dPt>
          <c:dPt>
            <c:idx val="444"/>
            <c:invertIfNegative val="1"/>
            <c:bubble3D val="0"/>
            <c:spPr>
              <a:solidFill>
                <a:srgbClr val="AEABAB"/>
              </a:solidFill>
            </c:spPr>
            <c:extLst>
              <c:ext xmlns:c16="http://schemas.microsoft.com/office/drawing/2014/chart" uri="{C3380CC4-5D6E-409C-BE32-E72D297353CC}">
                <c16:uniqueId val="{0000037B-F218-4DDE-952B-C0F0729EE755}"/>
              </c:ext>
            </c:extLst>
          </c:dPt>
          <c:dPt>
            <c:idx val="445"/>
            <c:invertIfNegative val="1"/>
            <c:bubble3D val="0"/>
            <c:spPr>
              <a:solidFill>
                <a:srgbClr val="AEABAB"/>
              </a:solidFill>
            </c:spPr>
            <c:extLst>
              <c:ext xmlns:c16="http://schemas.microsoft.com/office/drawing/2014/chart" uri="{C3380CC4-5D6E-409C-BE32-E72D297353CC}">
                <c16:uniqueId val="{0000037D-F218-4DDE-952B-C0F0729EE755}"/>
              </c:ext>
            </c:extLst>
          </c:dPt>
          <c:dPt>
            <c:idx val="446"/>
            <c:invertIfNegative val="1"/>
            <c:bubble3D val="0"/>
            <c:spPr>
              <a:solidFill>
                <a:srgbClr val="AEABAB"/>
              </a:solidFill>
            </c:spPr>
            <c:extLst>
              <c:ext xmlns:c16="http://schemas.microsoft.com/office/drawing/2014/chart" uri="{C3380CC4-5D6E-409C-BE32-E72D297353CC}">
                <c16:uniqueId val="{0000037F-F218-4DDE-952B-C0F0729EE755}"/>
              </c:ext>
            </c:extLst>
          </c:dPt>
          <c:dPt>
            <c:idx val="447"/>
            <c:invertIfNegative val="1"/>
            <c:bubble3D val="0"/>
            <c:spPr>
              <a:solidFill>
                <a:srgbClr val="AEABAB"/>
              </a:solidFill>
            </c:spPr>
            <c:extLst>
              <c:ext xmlns:c16="http://schemas.microsoft.com/office/drawing/2014/chart" uri="{C3380CC4-5D6E-409C-BE32-E72D297353CC}">
                <c16:uniqueId val="{00000381-F218-4DDE-952B-C0F0729EE755}"/>
              </c:ext>
            </c:extLst>
          </c:dPt>
          <c:dPt>
            <c:idx val="448"/>
            <c:invertIfNegative val="1"/>
            <c:bubble3D val="0"/>
            <c:spPr>
              <a:solidFill>
                <a:srgbClr val="AEABAB"/>
              </a:solidFill>
            </c:spPr>
            <c:extLst>
              <c:ext xmlns:c16="http://schemas.microsoft.com/office/drawing/2014/chart" uri="{C3380CC4-5D6E-409C-BE32-E72D297353CC}">
                <c16:uniqueId val="{00000383-F218-4DDE-952B-C0F0729EE755}"/>
              </c:ext>
            </c:extLst>
          </c:dPt>
          <c:dPt>
            <c:idx val="449"/>
            <c:invertIfNegative val="1"/>
            <c:bubble3D val="0"/>
            <c:spPr>
              <a:solidFill>
                <a:srgbClr val="AEABAB"/>
              </a:solidFill>
            </c:spPr>
            <c:extLst>
              <c:ext xmlns:c16="http://schemas.microsoft.com/office/drawing/2014/chart" uri="{C3380CC4-5D6E-409C-BE32-E72D297353CC}">
                <c16:uniqueId val="{00000385-F218-4DDE-952B-C0F0729EE755}"/>
              </c:ext>
            </c:extLst>
          </c:dPt>
          <c:dPt>
            <c:idx val="450"/>
            <c:invertIfNegative val="1"/>
            <c:bubble3D val="0"/>
            <c:spPr>
              <a:solidFill>
                <a:srgbClr val="AEABAB"/>
              </a:solidFill>
            </c:spPr>
            <c:extLst>
              <c:ext xmlns:c16="http://schemas.microsoft.com/office/drawing/2014/chart" uri="{C3380CC4-5D6E-409C-BE32-E72D297353CC}">
                <c16:uniqueId val="{00000387-F218-4DDE-952B-C0F0729EE755}"/>
              </c:ext>
            </c:extLst>
          </c:dPt>
          <c:dPt>
            <c:idx val="451"/>
            <c:invertIfNegative val="1"/>
            <c:bubble3D val="0"/>
            <c:spPr>
              <a:solidFill>
                <a:srgbClr val="AEABAB"/>
              </a:solidFill>
            </c:spPr>
            <c:extLst>
              <c:ext xmlns:c16="http://schemas.microsoft.com/office/drawing/2014/chart" uri="{C3380CC4-5D6E-409C-BE32-E72D297353CC}">
                <c16:uniqueId val="{00000389-F218-4DDE-952B-C0F0729EE755}"/>
              </c:ext>
            </c:extLst>
          </c:dPt>
          <c:dPt>
            <c:idx val="452"/>
            <c:invertIfNegative val="1"/>
            <c:bubble3D val="0"/>
            <c:spPr>
              <a:solidFill>
                <a:srgbClr val="AEABAB"/>
              </a:solidFill>
            </c:spPr>
            <c:extLst>
              <c:ext xmlns:c16="http://schemas.microsoft.com/office/drawing/2014/chart" uri="{C3380CC4-5D6E-409C-BE32-E72D297353CC}">
                <c16:uniqueId val="{0000038B-F218-4DDE-952B-C0F0729EE755}"/>
              </c:ext>
            </c:extLst>
          </c:dPt>
          <c:dPt>
            <c:idx val="453"/>
            <c:invertIfNegative val="1"/>
            <c:bubble3D val="0"/>
            <c:spPr>
              <a:solidFill>
                <a:srgbClr val="AEABAB"/>
              </a:solidFill>
            </c:spPr>
            <c:extLst>
              <c:ext xmlns:c16="http://schemas.microsoft.com/office/drawing/2014/chart" uri="{C3380CC4-5D6E-409C-BE32-E72D297353CC}">
                <c16:uniqueId val="{0000038D-F218-4DDE-952B-C0F0729EE755}"/>
              </c:ext>
            </c:extLst>
          </c:dPt>
          <c:dPt>
            <c:idx val="454"/>
            <c:invertIfNegative val="1"/>
            <c:bubble3D val="0"/>
            <c:spPr>
              <a:solidFill>
                <a:srgbClr val="AEABAB"/>
              </a:solidFill>
            </c:spPr>
            <c:extLst>
              <c:ext xmlns:c16="http://schemas.microsoft.com/office/drawing/2014/chart" uri="{C3380CC4-5D6E-409C-BE32-E72D297353CC}">
                <c16:uniqueId val="{0000038F-F218-4DDE-952B-C0F0729EE755}"/>
              </c:ext>
            </c:extLst>
          </c:dPt>
          <c:dPt>
            <c:idx val="455"/>
            <c:invertIfNegative val="1"/>
            <c:bubble3D val="0"/>
            <c:spPr>
              <a:solidFill>
                <a:srgbClr val="AEABAB"/>
              </a:solidFill>
            </c:spPr>
            <c:extLst>
              <c:ext xmlns:c16="http://schemas.microsoft.com/office/drawing/2014/chart" uri="{C3380CC4-5D6E-409C-BE32-E72D297353CC}">
                <c16:uniqueId val="{00000391-F218-4DDE-952B-C0F0729EE755}"/>
              </c:ext>
            </c:extLst>
          </c:dPt>
          <c:dPt>
            <c:idx val="456"/>
            <c:invertIfNegative val="1"/>
            <c:bubble3D val="0"/>
            <c:spPr>
              <a:solidFill>
                <a:srgbClr val="AEABAB"/>
              </a:solidFill>
            </c:spPr>
            <c:extLst>
              <c:ext xmlns:c16="http://schemas.microsoft.com/office/drawing/2014/chart" uri="{C3380CC4-5D6E-409C-BE32-E72D297353CC}">
                <c16:uniqueId val="{00000393-F218-4DDE-952B-C0F0729EE755}"/>
              </c:ext>
            </c:extLst>
          </c:dPt>
          <c:dPt>
            <c:idx val="457"/>
            <c:invertIfNegative val="1"/>
            <c:bubble3D val="0"/>
            <c:spPr>
              <a:solidFill>
                <a:srgbClr val="AEABAB"/>
              </a:solidFill>
            </c:spPr>
            <c:extLst>
              <c:ext xmlns:c16="http://schemas.microsoft.com/office/drawing/2014/chart" uri="{C3380CC4-5D6E-409C-BE32-E72D297353CC}">
                <c16:uniqueId val="{00000395-F218-4DDE-952B-C0F0729EE755}"/>
              </c:ext>
            </c:extLst>
          </c:dPt>
          <c:dPt>
            <c:idx val="458"/>
            <c:invertIfNegative val="1"/>
            <c:bubble3D val="0"/>
            <c:spPr>
              <a:solidFill>
                <a:srgbClr val="AEABAB"/>
              </a:solidFill>
            </c:spPr>
            <c:extLst>
              <c:ext xmlns:c16="http://schemas.microsoft.com/office/drawing/2014/chart" uri="{C3380CC4-5D6E-409C-BE32-E72D297353CC}">
                <c16:uniqueId val="{00000397-F218-4DDE-952B-C0F0729EE755}"/>
              </c:ext>
            </c:extLst>
          </c:dPt>
          <c:dPt>
            <c:idx val="459"/>
            <c:invertIfNegative val="1"/>
            <c:bubble3D val="0"/>
            <c:spPr>
              <a:solidFill>
                <a:srgbClr val="AEABAB"/>
              </a:solidFill>
            </c:spPr>
            <c:extLst>
              <c:ext xmlns:c16="http://schemas.microsoft.com/office/drawing/2014/chart" uri="{C3380CC4-5D6E-409C-BE32-E72D297353CC}">
                <c16:uniqueId val="{00000399-F218-4DDE-952B-C0F0729EE755}"/>
              </c:ext>
            </c:extLst>
          </c:dPt>
          <c:dPt>
            <c:idx val="460"/>
            <c:invertIfNegative val="1"/>
            <c:bubble3D val="0"/>
            <c:spPr>
              <a:solidFill>
                <a:srgbClr val="AEABAB"/>
              </a:solidFill>
            </c:spPr>
            <c:extLst>
              <c:ext xmlns:c16="http://schemas.microsoft.com/office/drawing/2014/chart" uri="{C3380CC4-5D6E-409C-BE32-E72D297353CC}">
                <c16:uniqueId val="{0000039B-F218-4DDE-952B-C0F0729EE755}"/>
              </c:ext>
            </c:extLst>
          </c:dPt>
          <c:dPt>
            <c:idx val="461"/>
            <c:invertIfNegative val="1"/>
            <c:bubble3D val="0"/>
            <c:spPr>
              <a:solidFill>
                <a:srgbClr val="AEABAB"/>
              </a:solidFill>
            </c:spPr>
            <c:extLst>
              <c:ext xmlns:c16="http://schemas.microsoft.com/office/drawing/2014/chart" uri="{C3380CC4-5D6E-409C-BE32-E72D297353CC}">
                <c16:uniqueId val="{0000039D-F218-4DDE-952B-C0F0729EE755}"/>
              </c:ext>
            </c:extLst>
          </c:dPt>
          <c:dPt>
            <c:idx val="462"/>
            <c:invertIfNegative val="1"/>
            <c:bubble3D val="0"/>
            <c:spPr>
              <a:solidFill>
                <a:srgbClr val="AEABAB"/>
              </a:solidFill>
            </c:spPr>
            <c:extLst>
              <c:ext xmlns:c16="http://schemas.microsoft.com/office/drawing/2014/chart" uri="{C3380CC4-5D6E-409C-BE32-E72D297353CC}">
                <c16:uniqueId val="{0000039F-F218-4DDE-952B-C0F0729EE755}"/>
              </c:ext>
            </c:extLst>
          </c:dPt>
          <c:dPt>
            <c:idx val="463"/>
            <c:invertIfNegative val="1"/>
            <c:bubble3D val="0"/>
            <c:spPr>
              <a:solidFill>
                <a:srgbClr val="AEABAB"/>
              </a:solidFill>
            </c:spPr>
            <c:extLst>
              <c:ext xmlns:c16="http://schemas.microsoft.com/office/drawing/2014/chart" uri="{C3380CC4-5D6E-409C-BE32-E72D297353CC}">
                <c16:uniqueId val="{000003A1-F218-4DDE-952B-C0F0729EE755}"/>
              </c:ext>
            </c:extLst>
          </c:dPt>
          <c:dPt>
            <c:idx val="464"/>
            <c:invertIfNegative val="1"/>
            <c:bubble3D val="0"/>
            <c:spPr>
              <a:solidFill>
                <a:srgbClr val="AEABAB"/>
              </a:solidFill>
            </c:spPr>
            <c:extLst>
              <c:ext xmlns:c16="http://schemas.microsoft.com/office/drawing/2014/chart" uri="{C3380CC4-5D6E-409C-BE32-E72D297353CC}">
                <c16:uniqueId val="{000003A3-F218-4DDE-952B-C0F0729EE755}"/>
              </c:ext>
            </c:extLst>
          </c:dPt>
          <c:dPt>
            <c:idx val="465"/>
            <c:invertIfNegative val="1"/>
            <c:bubble3D val="0"/>
            <c:spPr>
              <a:solidFill>
                <a:srgbClr val="AEABAB"/>
              </a:solidFill>
            </c:spPr>
            <c:extLst>
              <c:ext xmlns:c16="http://schemas.microsoft.com/office/drawing/2014/chart" uri="{C3380CC4-5D6E-409C-BE32-E72D297353CC}">
                <c16:uniqueId val="{000003A5-F218-4DDE-952B-C0F0729EE755}"/>
              </c:ext>
            </c:extLst>
          </c:dPt>
          <c:dPt>
            <c:idx val="466"/>
            <c:invertIfNegative val="1"/>
            <c:bubble3D val="0"/>
            <c:spPr>
              <a:solidFill>
                <a:srgbClr val="AEABAB"/>
              </a:solidFill>
            </c:spPr>
            <c:extLst>
              <c:ext xmlns:c16="http://schemas.microsoft.com/office/drawing/2014/chart" uri="{C3380CC4-5D6E-409C-BE32-E72D297353CC}">
                <c16:uniqueId val="{000003A7-F218-4DDE-952B-C0F0729EE755}"/>
              </c:ext>
            </c:extLst>
          </c:dPt>
          <c:dPt>
            <c:idx val="467"/>
            <c:invertIfNegative val="1"/>
            <c:bubble3D val="0"/>
            <c:spPr>
              <a:solidFill>
                <a:srgbClr val="AEABAB"/>
              </a:solidFill>
            </c:spPr>
            <c:extLst>
              <c:ext xmlns:c16="http://schemas.microsoft.com/office/drawing/2014/chart" uri="{C3380CC4-5D6E-409C-BE32-E72D297353CC}">
                <c16:uniqueId val="{000003A9-F218-4DDE-952B-C0F0729EE755}"/>
              </c:ext>
            </c:extLst>
          </c:dPt>
          <c:dPt>
            <c:idx val="468"/>
            <c:invertIfNegative val="1"/>
            <c:bubble3D val="0"/>
            <c:spPr>
              <a:solidFill>
                <a:srgbClr val="AEABAB"/>
              </a:solidFill>
            </c:spPr>
            <c:extLst>
              <c:ext xmlns:c16="http://schemas.microsoft.com/office/drawing/2014/chart" uri="{C3380CC4-5D6E-409C-BE32-E72D297353CC}">
                <c16:uniqueId val="{000003AB-F218-4DDE-952B-C0F0729EE755}"/>
              </c:ext>
            </c:extLst>
          </c:dPt>
          <c:dPt>
            <c:idx val="469"/>
            <c:invertIfNegative val="1"/>
            <c:bubble3D val="0"/>
            <c:spPr>
              <a:solidFill>
                <a:srgbClr val="AEABAB"/>
              </a:solidFill>
            </c:spPr>
            <c:extLst>
              <c:ext xmlns:c16="http://schemas.microsoft.com/office/drawing/2014/chart" uri="{C3380CC4-5D6E-409C-BE32-E72D297353CC}">
                <c16:uniqueId val="{000003AD-F218-4DDE-952B-C0F0729EE755}"/>
              </c:ext>
            </c:extLst>
          </c:dPt>
          <c:dPt>
            <c:idx val="470"/>
            <c:invertIfNegative val="1"/>
            <c:bubble3D val="0"/>
            <c:spPr>
              <a:solidFill>
                <a:srgbClr val="AEABAB"/>
              </a:solidFill>
            </c:spPr>
            <c:extLst>
              <c:ext xmlns:c16="http://schemas.microsoft.com/office/drawing/2014/chart" uri="{C3380CC4-5D6E-409C-BE32-E72D297353CC}">
                <c16:uniqueId val="{000003AF-F218-4DDE-952B-C0F0729EE755}"/>
              </c:ext>
            </c:extLst>
          </c:dPt>
          <c:dPt>
            <c:idx val="471"/>
            <c:invertIfNegative val="1"/>
            <c:bubble3D val="0"/>
            <c:spPr>
              <a:solidFill>
                <a:srgbClr val="AEABAB"/>
              </a:solidFill>
            </c:spPr>
            <c:extLst>
              <c:ext xmlns:c16="http://schemas.microsoft.com/office/drawing/2014/chart" uri="{C3380CC4-5D6E-409C-BE32-E72D297353CC}">
                <c16:uniqueId val="{000003B1-F218-4DDE-952B-C0F0729EE755}"/>
              </c:ext>
            </c:extLst>
          </c:dPt>
          <c:dPt>
            <c:idx val="472"/>
            <c:invertIfNegative val="1"/>
            <c:bubble3D val="0"/>
            <c:spPr>
              <a:solidFill>
                <a:srgbClr val="AEABAB"/>
              </a:solidFill>
            </c:spPr>
            <c:extLst>
              <c:ext xmlns:c16="http://schemas.microsoft.com/office/drawing/2014/chart" uri="{C3380CC4-5D6E-409C-BE32-E72D297353CC}">
                <c16:uniqueId val="{000003B3-F218-4DDE-952B-C0F0729EE755}"/>
              </c:ext>
            </c:extLst>
          </c:dPt>
          <c:dPt>
            <c:idx val="473"/>
            <c:invertIfNegative val="1"/>
            <c:bubble3D val="0"/>
            <c:spPr>
              <a:solidFill>
                <a:srgbClr val="AEABAB"/>
              </a:solidFill>
            </c:spPr>
            <c:extLst>
              <c:ext xmlns:c16="http://schemas.microsoft.com/office/drawing/2014/chart" uri="{C3380CC4-5D6E-409C-BE32-E72D297353CC}">
                <c16:uniqueId val="{000003B5-F218-4DDE-952B-C0F0729EE755}"/>
              </c:ext>
            </c:extLst>
          </c:dPt>
          <c:dPt>
            <c:idx val="474"/>
            <c:invertIfNegative val="1"/>
            <c:bubble3D val="0"/>
            <c:spPr>
              <a:solidFill>
                <a:srgbClr val="AEABAB"/>
              </a:solidFill>
            </c:spPr>
            <c:extLst>
              <c:ext xmlns:c16="http://schemas.microsoft.com/office/drawing/2014/chart" uri="{C3380CC4-5D6E-409C-BE32-E72D297353CC}">
                <c16:uniqueId val="{000003B7-F218-4DDE-952B-C0F0729EE755}"/>
              </c:ext>
            </c:extLst>
          </c:dPt>
          <c:dPt>
            <c:idx val="475"/>
            <c:invertIfNegative val="1"/>
            <c:bubble3D val="0"/>
            <c:spPr>
              <a:solidFill>
                <a:srgbClr val="AEABAB"/>
              </a:solidFill>
            </c:spPr>
            <c:extLst>
              <c:ext xmlns:c16="http://schemas.microsoft.com/office/drawing/2014/chart" uri="{C3380CC4-5D6E-409C-BE32-E72D297353CC}">
                <c16:uniqueId val="{000003B9-F218-4DDE-952B-C0F0729EE755}"/>
              </c:ext>
            </c:extLst>
          </c:dPt>
          <c:dPt>
            <c:idx val="476"/>
            <c:invertIfNegative val="1"/>
            <c:bubble3D val="0"/>
            <c:spPr>
              <a:solidFill>
                <a:srgbClr val="AEABAB"/>
              </a:solidFill>
            </c:spPr>
            <c:extLst>
              <c:ext xmlns:c16="http://schemas.microsoft.com/office/drawing/2014/chart" uri="{C3380CC4-5D6E-409C-BE32-E72D297353CC}">
                <c16:uniqueId val="{000003BB-F218-4DDE-952B-C0F0729EE755}"/>
              </c:ext>
            </c:extLst>
          </c:dPt>
          <c:dPt>
            <c:idx val="477"/>
            <c:invertIfNegative val="1"/>
            <c:bubble3D val="0"/>
            <c:spPr>
              <a:solidFill>
                <a:srgbClr val="AEABAB"/>
              </a:solidFill>
            </c:spPr>
            <c:extLst>
              <c:ext xmlns:c16="http://schemas.microsoft.com/office/drawing/2014/chart" uri="{C3380CC4-5D6E-409C-BE32-E72D297353CC}">
                <c16:uniqueId val="{000003BD-F218-4DDE-952B-C0F0729EE755}"/>
              </c:ext>
            </c:extLst>
          </c:dPt>
          <c:dPt>
            <c:idx val="478"/>
            <c:invertIfNegative val="1"/>
            <c:bubble3D val="0"/>
            <c:spPr>
              <a:solidFill>
                <a:srgbClr val="AEABAB"/>
              </a:solidFill>
            </c:spPr>
            <c:extLst>
              <c:ext xmlns:c16="http://schemas.microsoft.com/office/drawing/2014/chart" uri="{C3380CC4-5D6E-409C-BE32-E72D297353CC}">
                <c16:uniqueId val="{000003BF-F218-4DDE-952B-C0F0729EE755}"/>
              </c:ext>
            </c:extLst>
          </c:dPt>
          <c:dPt>
            <c:idx val="479"/>
            <c:invertIfNegative val="1"/>
            <c:bubble3D val="0"/>
            <c:spPr>
              <a:solidFill>
                <a:srgbClr val="AEABAB"/>
              </a:solidFill>
            </c:spPr>
            <c:extLst>
              <c:ext xmlns:c16="http://schemas.microsoft.com/office/drawing/2014/chart" uri="{C3380CC4-5D6E-409C-BE32-E72D297353CC}">
                <c16:uniqueId val="{000003C1-F218-4DDE-952B-C0F0729EE755}"/>
              </c:ext>
            </c:extLst>
          </c:dPt>
          <c:dPt>
            <c:idx val="480"/>
            <c:invertIfNegative val="1"/>
            <c:bubble3D val="0"/>
            <c:spPr>
              <a:solidFill>
                <a:srgbClr val="AEABAB"/>
              </a:solidFill>
            </c:spPr>
            <c:extLst>
              <c:ext xmlns:c16="http://schemas.microsoft.com/office/drawing/2014/chart" uri="{C3380CC4-5D6E-409C-BE32-E72D297353CC}">
                <c16:uniqueId val="{000003C3-F218-4DDE-952B-C0F0729EE755}"/>
              </c:ext>
            </c:extLst>
          </c:dPt>
          <c:dPt>
            <c:idx val="481"/>
            <c:invertIfNegative val="1"/>
            <c:bubble3D val="0"/>
            <c:spPr>
              <a:solidFill>
                <a:srgbClr val="AEABAB"/>
              </a:solidFill>
            </c:spPr>
            <c:extLst>
              <c:ext xmlns:c16="http://schemas.microsoft.com/office/drawing/2014/chart" uri="{C3380CC4-5D6E-409C-BE32-E72D297353CC}">
                <c16:uniqueId val="{000003C5-F218-4DDE-952B-C0F0729EE755}"/>
              </c:ext>
            </c:extLst>
          </c:dPt>
          <c:dPt>
            <c:idx val="482"/>
            <c:invertIfNegative val="1"/>
            <c:bubble3D val="0"/>
            <c:spPr>
              <a:solidFill>
                <a:srgbClr val="AEABAB"/>
              </a:solidFill>
            </c:spPr>
            <c:extLst>
              <c:ext xmlns:c16="http://schemas.microsoft.com/office/drawing/2014/chart" uri="{C3380CC4-5D6E-409C-BE32-E72D297353CC}">
                <c16:uniqueId val="{000003C7-F218-4DDE-952B-C0F0729EE755}"/>
              </c:ext>
            </c:extLst>
          </c:dPt>
          <c:dPt>
            <c:idx val="483"/>
            <c:invertIfNegative val="1"/>
            <c:bubble3D val="0"/>
            <c:spPr>
              <a:solidFill>
                <a:srgbClr val="AEABAB"/>
              </a:solidFill>
            </c:spPr>
            <c:extLst>
              <c:ext xmlns:c16="http://schemas.microsoft.com/office/drawing/2014/chart" uri="{C3380CC4-5D6E-409C-BE32-E72D297353CC}">
                <c16:uniqueId val="{000003C9-F218-4DDE-952B-C0F0729EE755}"/>
              </c:ext>
            </c:extLst>
          </c:dPt>
          <c:dPt>
            <c:idx val="484"/>
            <c:invertIfNegative val="1"/>
            <c:bubble3D val="0"/>
            <c:spPr>
              <a:solidFill>
                <a:srgbClr val="AEABAB"/>
              </a:solidFill>
            </c:spPr>
            <c:extLst>
              <c:ext xmlns:c16="http://schemas.microsoft.com/office/drawing/2014/chart" uri="{C3380CC4-5D6E-409C-BE32-E72D297353CC}">
                <c16:uniqueId val="{000003CB-F218-4DDE-952B-C0F0729EE755}"/>
              </c:ext>
            </c:extLst>
          </c:dPt>
          <c:dPt>
            <c:idx val="485"/>
            <c:invertIfNegative val="1"/>
            <c:bubble3D val="0"/>
            <c:spPr>
              <a:solidFill>
                <a:srgbClr val="AEABAB"/>
              </a:solidFill>
            </c:spPr>
            <c:extLst>
              <c:ext xmlns:c16="http://schemas.microsoft.com/office/drawing/2014/chart" uri="{C3380CC4-5D6E-409C-BE32-E72D297353CC}">
                <c16:uniqueId val="{000003CD-F218-4DDE-952B-C0F0729EE755}"/>
              </c:ext>
            </c:extLst>
          </c:dPt>
          <c:dPt>
            <c:idx val="486"/>
            <c:invertIfNegative val="1"/>
            <c:bubble3D val="0"/>
            <c:spPr>
              <a:solidFill>
                <a:srgbClr val="AEABAB"/>
              </a:solidFill>
            </c:spPr>
            <c:extLst>
              <c:ext xmlns:c16="http://schemas.microsoft.com/office/drawing/2014/chart" uri="{C3380CC4-5D6E-409C-BE32-E72D297353CC}">
                <c16:uniqueId val="{000003CF-F218-4DDE-952B-C0F0729EE755}"/>
              </c:ext>
            </c:extLst>
          </c:dPt>
          <c:dPt>
            <c:idx val="487"/>
            <c:invertIfNegative val="1"/>
            <c:bubble3D val="0"/>
            <c:spPr>
              <a:solidFill>
                <a:srgbClr val="AEABAB"/>
              </a:solidFill>
            </c:spPr>
            <c:extLst>
              <c:ext xmlns:c16="http://schemas.microsoft.com/office/drawing/2014/chart" uri="{C3380CC4-5D6E-409C-BE32-E72D297353CC}">
                <c16:uniqueId val="{000003D1-F218-4DDE-952B-C0F0729EE755}"/>
              </c:ext>
            </c:extLst>
          </c:dPt>
          <c:dPt>
            <c:idx val="488"/>
            <c:invertIfNegative val="1"/>
            <c:bubble3D val="0"/>
            <c:spPr>
              <a:solidFill>
                <a:srgbClr val="AEABAB"/>
              </a:solidFill>
            </c:spPr>
            <c:extLst>
              <c:ext xmlns:c16="http://schemas.microsoft.com/office/drawing/2014/chart" uri="{C3380CC4-5D6E-409C-BE32-E72D297353CC}">
                <c16:uniqueId val="{000003D3-F218-4DDE-952B-C0F0729EE755}"/>
              </c:ext>
            </c:extLst>
          </c:dPt>
          <c:dPt>
            <c:idx val="489"/>
            <c:invertIfNegative val="1"/>
            <c:bubble3D val="0"/>
            <c:spPr>
              <a:solidFill>
                <a:srgbClr val="AEABAB"/>
              </a:solidFill>
            </c:spPr>
            <c:extLst>
              <c:ext xmlns:c16="http://schemas.microsoft.com/office/drawing/2014/chart" uri="{C3380CC4-5D6E-409C-BE32-E72D297353CC}">
                <c16:uniqueId val="{000003D5-F218-4DDE-952B-C0F0729EE755}"/>
              </c:ext>
            </c:extLst>
          </c:dPt>
          <c:dPt>
            <c:idx val="490"/>
            <c:invertIfNegative val="1"/>
            <c:bubble3D val="0"/>
            <c:spPr>
              <a:solidFill>
                <a:srgbClr val="AEABAB"/>
              </a:solidFill>
            </c:spPr>
            <c:extLst>
              <c:ext xmlns:c16="http://schemas.microsoft.com/office/drawing/2014/chart" uri="{C3380CC4-5D6E-409C-BE32-E72D297353CC}">
                <c16:uniqueId val="{000003D7-F218-4DDE-952B-C0F0729EE755}"/>
              </c:ext>
            </c:extLst>
          </c:dPt>
          <c:dPt>
            <c:idx val="491"/>
            <c:invertIfNegative val="1"/>
            <c:bubble3D val="0"/>
            <c:spPr>
              <a:solidFill>
                <a:srgbClr val="AEABAB"/>
              </a:solidFill>
            </c:spPr>
            <c:extLst>
              <c:ext xmlns:c16="http://schemas.microsoft.com/office/drawing/2014/chart" uri="{C3380CC4-5D6E-409C-BE32-E72D297353CC}">
                <c16:uniqueId val="{000003D9-F218-4DDE-952B-C0F0729EE755}"/>
              </c:ext>
            </c:extLst>
          </c:dPt>
          <c:dPt>
            <c:idx val="492"/>
            <c:invertIfNegative val="1"/>
            <c:bubble3D val="0"/>
            <c:spPr>
              <a:solidFill>
                <a:srgbClr val="AEABAB"/>
              </a:solidFill>
            </c:spPr>
            <c:extLst>
              <c:ext xmlns:c16="http://schemas.microsoft.com/office/drawing/2014/chart" uri="{C3380CC4-5D6E-409C-BE32-E72D297353CC}">
                <c16:uniqueId val="{000003DB-F218-4DDE-952B-C0F0729EE755}"/>
              </c:ext>
            </c:extLst>
          </c:dPt>
          <c:dPt>
            <c:idx val="493"/>
            <c:invertIfNegative val="1"/>
            <c:bubble3D val="0"/>
            <c:spPr>
              <a:solidFill>
                <a:srgbClr val="AEABAB"/>
              </a:solidFill>
            </c:spPr>
            <c:extLst>
              <c:ext xmlns:c16="http://schemas.microsoft.com/office/drawing/2014/chart" uri="{C3380CC4-5D6E-409C-BE32-E72D297353CC}">
                <c16:uniqueId val="{000003DD-F218-4DDE-952B-C0F0729EE755}"/>
              </c:ext>
            </c:extLst>
          </c:dPt>
          <c:dPt>
            <c:idx val="494"/>
            <c:invertIfNegative val="1"/>
            <c:bubble3D val="0"/>
            <c:spPr>
              <a:solidFill>
                <a:srgbClr val="AEABAB"/>
              </a:solidFill>
            </c:spPr>
            <c:extLst>
              <c:ext xmlns:c16="http://schemas.microsoft.com/office/drawing/2014/chart" uri="{C3380CC4-5D6E-409C-BE32-E72D297353CC}">
                <c16:uniqueId val="{000003DF-F218-4DDE-952B-C0F0729EE755}"/>
              </c:ext>
            </c:extLst>
          </c:dPt>
          <c:dPt>
            <c:idx val="495"/>
            <c:invertIfNegative val="1"/>
            <c:bubble3D val="0"/>
            <c:spPr>
              <a:solidFill>
                <a:srgbClr val="AEABAB"/>
              </a:solidFill>
            </c:spPr>
            <c:extLst>
              <c:ext xmlns:c16="http://schemas.microsoft.com/office/drawing/2014/chart" uri="{C3380CC4-5D6E-409C-BE32-E72D297353CC}">
                <c16:uniqueId val="{000003E1-F218-4DDE-952B-C0F0729EE755}"/>
              </c:ext>
            </c:extLst>
          </c:dPt>
          <c:dPt>
            <c:idx val="496"/>
            <c:invertIfNegative val="1"/>
            <c:bubble3D val="0"/>
            <c:spPr>
              <a:solidFill>
                <a:srgbClr val="AEABAB"/>
              </a:solidFill>
            </c:spPr>
            <c:extLst>
              <c:ext xmlns:c16="http://schemas.microsoft.com/office/drawing/2014/chart" uri="{C3380CC4-5D6E-409C-BE32-E72D297353CC}">
                <c16:uniqueId val="{000003E3-F218-4DDE-952B-C0F0729EE755}"/>
              </c:ext>
            </c:extLst>
          </c:dPt>
          <c:dPt>
            <c:idx val="497"/>
            <c:invertIfNegative val="1"/>
            <c:bubble3D val="0"/>
            <c:spPr>
              <a:solidFill>
                <a:srgbClr val="AEABAB"/>
              </a:solidFill>
            </c:spPr>
            <c:extLst>
              <c:ext xmlns:c16="http://schemas.microsoft.com/office/drawing/2014/chart" uri="{C3380CC4-5D6E-409C-BE32-E72D297353CC}">
                <c16:uniqueId val="{000003E5-F218-4DDE-952B-C0F0729EE755}"/>
              </c:ext>
            </c:extLst>
          </c:dPt>
          <c:dPt>
            <c:idx val="498"/>
            <c:invertIfNegative val="1"/>
            <c:bubble3D val="0"/>
            <c:spPr>
              <a:solidFill>
                <a:srgbClr val="AEABAB"/>
              </a:solidFill>
            </c:spPr>
            <c:extLst>
              <c:ext xmlns:c16="http://schemas.microsoft.com/office/drawing/2014/chart" uri="{C3380CC4-5D6E-409C-BE32-E72D297353CC}">
                <c16:uniqueId val="{000003E7-F218-4DDE-952B-C0F0729EE755}"/>
              </c:ext>
            </c:extLst>
          </c:dPt>
          <c:dPt>
            <c:idx val="499"/>
            <c:invertIfNegative val="1"/>
            <c:bubble3D val="0"/>
            <c:spPr>
              <a:solidFill>
                <a:srgbClr val="AEABAB"/>
              </a:solidFill>
            </c:spPr>
            <c:extLst>
              <c:ext xmlns:c16="http://schemas.microsoft.com/office/drawing/2014/chart" uri="{C3380CC4-5D6E-409C-BE32-E72D297353CC}">
                <c16:uniqueId val="{000003E9-F218-4DDE-952B-C0F0729EE755}"/>
              </c:ext>
            </c:extLst>
          </c:dPt>
          <c:dPt>
            <c:idx val="500"/>
            <c:invertIfNegative val="1"/>
            <c:bubble3D val="0"/>
            <c:spPr>
              <a:solidFill>
                <a:srgbClr val="AEABAB"/>
              </a:solidFill>
            </c:spPr>
            <c:extLst>
              <c:ext xmlns:c16="http://schemas.microsoft.com/office/drawing/2014/chart" uri="{C3380CC4-5D6E-409C-BE32-E72D297353CC}">
                <c16:uniqueId val="{000003EB-F218-4DDE-952B-C0F0729EE755}"/>
              </c:ext>
            </c:extLst>
          </c:dPt>
          <c:dPt>
            <c:idx val="501"/>
            <c:invertIfNegative val="1"/>
            <c:bubble3D val="0"/>
            <c:spPr>
              <a:solidFill>
                <a:srgbClr val="AEABAB"/>
              </a:solidFill>
            </c:spPr>
            <c:extLst>
              <c:ext xmlns:c16="http://schemas.microsoft.com/office/drawing/2014/chart" uri="{C3380CC4-5D6E-409C-BE32-E72D297353CC}">
                <c16:uniqueId val="{000003ED-F218-4DDE-952B-C0F0729EE755}"/>
              </c:ext>
            </c:extLst>
          </c:dPt>
          <c:dPt>
            <c:idx val="502"/>
            <c:invertIfNegative val="1"/>
            <c:bubble3D val="0"/>
            <c:spPr>
              <a:solidFill>
                <a:srgbClr val="AEABAB"/>
              </a:solidFill>
            </c:spPr>
            <c:extLst>
              <c:ext xmlns:c16="http://schemas.microsoft.com/office/drawing/2014/chart" uri="{C3380CC4-5D6E-409C-BE32-E72D297353CC}">
                <c16:uniqueId val="{000003EF-F218-4DDE-952B-C0F0729EE755}"/>
              </c:ext>
            </c:extLst>
          </c:dPt>
          <c:dPt>
            <c:idx val="503"/>
            <c:invertIfNegative val="1"/>
            <c:bubble3D val="0"/>
            <c:spPr>
              <a:solidFill>
                <a:srgbClr val="AEABAB"/>
              </a:solidFill>
            </c:spPr>
            <c:extLst>
              <c:ext xmlns:c16="http://schemas.microsoft.com/office/drawing/2014/chart" uri="{C3380CC4-5D6E-409C-BE32-E72D297353CC}">
                <c16:uniqueId val="{000003F1-F218-4DDE-952B-C0F0729EE755}"/>
              </c:ext>
            </c:extLst>
          </c:dPt>
          <c:dPt>
            <c:idx val="504"/>
            <c:invertIfNegative val="1"/>
            <c:bubble3D val="0"/>
            <c:spPr>
              <a:solidFill>
                <a:srgbClr val="AEABAB"/>
              </a:solidFill>
            </c:spPr>
            <c:extLst>
              <c:ext xmlns:c16="http://schemas.microsoft.com/office/drawing/2014/chart" uri="{C3380CC4-5D6E-409C-BE32-E72D297353CC}">
                <c16:uniqueId val="{000003F3-F218-4DDE-952B-C0F0729EE755}"/>
              </c:ext>
            </c:extLst>
          </c:dPt>
          <c:dPt>
            <c:idx val="505"/>
            <c:invertIfNegative val="1"/>
            <c:bubble3D val="0"/>
            <c:spPr>
              <a:solidFill>
                <a:srgbClr val="AEABAB"/>
              </a:solidFill>
            </c:spPr>
            <c:extLst>
              <c:ext xmlns:c16="http://schemas.microsoft.com/office/drawing/2014/chart" uri="{C3380CC4-5D6E-409C-BE32-E72D297353CC}">
                <c16:uniqueId val="{000003F5-F218-4DDE-952B-C0F0729EE755}"/>
              </c:ext>
            </c:extLst>
          </c:dPt>
          <c:dPt>
            <c:idx val="506"/>
            <c:invertIfNegative val="1"/>
            <c:bubble3D val="0"/>
            <c:spPr>
              <a:solidFill>
                <a:srgbClr val="AEABAB"/>
              </a:solidFill>
            </c:spPr>
            <c:extLst>
              <c:ext xmlns:c16="http://schemas.microsoft.com/office/drawing/2014/chart" uri="{C3380CC4-5D6E-409C-BE32-E72D297353CC}">
                <c16:uniqueId val="{000003F7-F218-4DDE-952B-C0F0729EE755}"/>
              </c:ext>
            </c:extLst>
          </c:dPt>
          <c:dPt>
            <c:idx val="507"/>
            <c:invertIfNegative val="1"/>
            <c:bubble3D val="0"/>
            <c:spPr>
              <a:solidFill>
                <a:srgbClr val="AEABAB"/>
              </a:solidFill>
            </c:spPr>
            <c:extLst>
              <c:ext xmlns:c16="http://schemas.microsoft.com/office/drawing/2014/chart" uri="{C3380CC4-5D6E-409C-BE32-E72D297353CC}">
                <c16:uniqueId val="{000003F9-F218-4DDE-952B-C0F0729EE755}"/>
              </c:ext>
            </c:extLst>
          </c:dPt>
          <c:dPt>
            <c:idx val="508"/>
            <c:invertIfNegative val="1"/>
            <c:bubble3D val="0"/>
            <c:spPr>
              <a:solidFill>
                <a:srgbClr val="AEABAB"/>
              </a:solidFill>
            </c:spPr>
            <c:extLst>
              <c:ext xmlns:c16="http://schemas.microsoft.com/office/drawing/2014/chart" uri="{C3380CC4-5D6E-409C-BE32-E72D297353CC}">
                <c16:uniqueId val="{000003FB-F218-4DDE-952B-C0F0729EE755}"/>
              </c:ext>
            </c:extLst>
          </c:dPt>
          <c:dPt>
            <c:idx val="509"/>
            <c:invertIfNegative val="1"/>
            <c:bubble3D val="0"/>
            <c:spPr>
              <a:solidFill>
                <a:srgbClr val="AEABAB"/>
              </a:solidFill>
            </c:spPr>
            <c:extLst>
              <c:ext xmlns:c16="http://schemas.microsoft.com/office/drawing/2014/chart" uri="{C3380CC4-5D6E-409C-BE32-E72D297353CC}">
                <c16:uniqueId val="{000003FD-F218-4DDE-952B-C0F0729EE755}"/>
              </c:ext>
            </c:extLst>
          </c:dPt>
          <c:dPt>
            <c:idx val="510"/>
            <c:invertIfNegative val="1"/>
            <c:bubble3D val="0"/>
            <c:spPr>
              <a:solidFill>
                <a:srgbClr val="AEABAB"/>
              </a:solidFill>
            </c:spPr>
            <c:extLst>
              <c:ext xmlns:c16="http://schemas.microsoft.com/office/drawing/2014/chart" uri="{C3380CC4-5D6E-409C-BE32-E72D297353CC}">
                <c16:uniqueId val="{000003FF-F218-4DDE-952B-C0F0729EE755}"/>
              </c:ext>
            </c:extLst>
          </c:dPt>
          <c:dPt>
            <c:idx val="511"/>
            <c:invertIfNegative val="1"/>
            <c:bubble3D val="0"/>
            <c:spPr>
              <a:solidFill>
                <a:srgbClr val="AEABAB"/>
              </a:solidFill>
            </c:spPr>
            <c:extLst>
              <c:ext xmlns:c16="http://schemas.microsoft.com/office/drawing/2014/chart" uri="{C3380CC4-5D6E-409C-BE32-E72D297353CC}">
                <c16:uniqueId val="{00000401-F218-4DDE-952B-C0F0729EE755}"/>
              </c:ext>
            </c:extLst>
          </c:dPt>
          <c:dPt>
            <c:idx val="512"/>
            <c:invertIfNegative val="1"/>
            <c:bubble3D val="0"/>
            <c:spPr>
              <a:solidFill>
                <a:srgbClr val="AEABAB"/>
              </a:solidFill>
            </c:spPr>
            <c:extLst>
              <c:ext xmlns:c16="http://schemas.microsoft.com/office/drawing/2014/chart" uri="{C3380CC4-5D6E-409C-BE32-E72D297353CC}">
                <c16:uniqueId val="{00000403-F218-4DDE-952B-C0F0729EE755}"/>
              </c:ext>
            </c:extLst>
          </c:dPt>
          <c:dPt>
            <c:idx val="513"/>
            <c:invertIfNegative val="1"/>
            <c:bubble3D val="0"/>
            <c:spPr>
              <a:solidFill>
                <a:srgbClr val="AEABAB"/>
              </a:solidFill>
            </c:spPr>
            <c:extLst>
              <c:ext xmlns:c16="http://schemas.microsoft.com/office/drawing/2014/chart" uri="{C3380CC4-5D6E-409C-BE32-E72D297353CC}">
                <c16:uniqueId val="{00000405-F218-4DDE-952B-C0F0729EE755}"/>
              </c:ext>
            </c:extLst>
          </c:dPt>
          <c:dPt>
            <c:idx val="514"/>
            <c:invertIfNegative val="1"/>
            <c:bubble3D val="0"/>
            <c:spPr>
              <a:solidFill>
                <a:srgbClr val="AEABAB"/>
              </a:solidFill>
            </c:spPr>
            <c:extLst>
              <c:ext xmlns:c16="http://schemas.microsoft.com/office/drawing/2014/chart" uri="{C3380CC4-5D6E-409C-BE32-E72D297353CC}">
                <c16:uniqueId val="{00000407-F218-4DDE-952B-C0F0729EE755}"/>
              </c:ext>
            </c:extLst>
          </c:dPt>
          <c:dPt>
            <c:idx val="515"/>
            <c:invertIfNegative val="1"/>
            <c:bubble3D val="0"/>
            <c:spPr>
              <a:solidFill>
                <a:srgbClr val="AEABAB"/>
              </a:solidFill>
            </c:spPr>
            <c:extLst>
              <c:ext xmlns:c16="http://schemas.microsoft.com/office/drawing/2014/chart" uri="{C3380CC4-5D6E-409C-BE32-E72D297353CC}">
                <c16:uniqueId val="{00000409-F218-4DDE-952B-C0F0729EE755}"/>
              </c:ext>
            </c:extLst>
          </c:dPt>
          <c:dPt>
            <c:idx val="516"/>
            <c:invertIfNegative val="1"/>
            <c:bubble3D val="0"/>
            <c:spPr>
              <a:solidFill>
                <a:srgbClr val="AEABAB"/>
              </a:solidFill>
            </c:spPr>
            <c:extLst>
              <c:ext xmlns:c16="http://schemas.microsoft.com/office/drawing/2014/chart" uri="{C3380CC4-5D6E-409C-BE32-E72D297353CC}">
                <c16:uniqueId val="{0000040B-F218-4DDE-952B-C0F0729EE755}"/>
              </c:ext>
            </c:extLst>
          </c:dPt>
          <c:dPt>
            <c:idx val="517"/>
            <c:invertIfNegative val="1"/>
            <c:bubble3D val="0"/>
            <c:spPr>
              <a:solidFill>
                <a:srgbClr val="AEABAB"/>
              </a:solidFill>
            </c:spPr>
            <c:extLst>
              <c:ext xmlns:c16="http://schemas.microsoft.com/office/drawing/2014/chart" uri="{C3380CC4-5D6E-409C-BE32-E72D297353CC}">
                <c16:uniqueId val="{0000040D-F218-4DDE-952B-C0F0729EE755}"/>
              </c:ext>
            </c:extLst>
          </c:dPt>
          <c:dPt>
            <c:idx val="518"/>
            <c:invertIfNegative val="1"/>
            <c:bubble3D val="0"/>
            <c:spPr>
              <a:solidFill>
                <a:srgbClr val="AEABAB"/>
              </a:solidFill>
            </c:spPr>
            <c:extLst>
              <c:ext xmlns:c16="http://schemas.microsoft.com/office/drawing/2014/chart" uri="{C3380CC4-5D6E-409C-BE32-E72D297353CC}">
                <c16:uniqueId val="{0000040F-F218-4DDE-952B-C0F0729EE755}"/>
              </c:ext>
            </c:extLst>
          </c:dPt>
          <c:dPt>
            <c:idx val="519"/>
            <c:invertIfNegative val="1"/>
            <c:bubble3D val="0"/>
            <c:spPr>
              <a:solidFill>
                <a:srgbClr val="AEABAB"/>
              </a:solidFill>
            </c:spPr>
            <c:extLst>
              <c:ext xmlns:c16="http://schemas.microsoft.com/office/drawing/2014/chart" uri="{C3380CC4-5D6E-409C-BE32-E72D297353CC}">
                <c16:uniqueId val="{00000411-F218-4DDE-952B-C0F0729EE755}"/>
              </c:ext>
            </c:extLst>
          </c:dPt>
          <c:dPt>
            <c:idx val="520"/>
            <c:invertIfNegative val="1"/>
            <c:bubble3D val="0"/>
            <c:spPr>
              <a:solidFill>
                <a:srgbClr val="AEABAB"/>
              </a:solidFill>
            </c:spPr>
            <c:extLst>
              <c:ext xmlns:c16="http://schemas.microsoft.com/office/drawing/2014/chart" uri="{C3380CC4-5D6E-409C-BE32-E72D297353CC}">
                <c16:uniqueId val="{00000413-F218-4DDE-952B-C0F0729EE755}"/>
              </c:ext>
            </c:extLst>
          </c:dPt>
          <c:dPt>
            <c:idx val="521"/>
            <c:invertIfNegative val="1"/>
            <c:bubble3D val="0"/>
            <c:spPr>
              <a:solidFill>
                <a:srgbClr val="AEABAB"/>
              </a:solidFill>
            </c:spPr>
            <c:extLst>
              <c:ext xmlns:c16="http://schemas.microsoft.com/office/drawing/2014/chart" uri="{C3380CC4-5D6E-409C-BE32-E72D297353CC}">
                <c16:uniqueId val="{00000415-F218-4DDE-952B-C0F0729EE755}"/>
              </c:ext>
            </c:extLst>
          </c:dPt>
          <c:dPt>
            <c:idx val="522"/>
            <c:invertIfNegative val="1"/>
            <c:bubble3D val="0"/>
            <c:spPr>
              <a:solidFill>
                <a:srgbClr val="AEABAB"/>
              </a:solidFill>
            </c:spPr>
            <c:extLst>
              <c:ext xmlns:c16="http://schemas.microsoft.com/office/drawing/2014/chart" uri="{C3380CC4-5D6E-409C-BE32-E72D297353CC}">
                <c16:uniqueId val="{00000417-F218-4DDE-952B-C0F0729EE755}"/>
              </c:ext>
            </c:extLst>
          </c:dPt>
          <c:dPt>
            <c:idx val="523"/>
            <c:invertIfNegative val="1"/>
            <c:bubble3D val="0"/>
            <c:spPr>
              <a:solidFill>
                <a:srgbClr val="AEABAB"/>
              </a:solidFill>
            </c:spPr>
            <c:extLst>
              <c:ext xmlns:c16="http://schemas.microsoft.com/office/drawing/2014/chart" uri="{C3380CC4-5D6E-409C-BE32-E72D297353CC}">
                <c16:uniqueId val="{00000419-F218-4DDE-952B-C0F0729EE755}"/>
              </c:ext>
            </c:extLst>
          </c:dPt>
          <c:dPt>
            <c:idx val="524"/>
            <c:invertIfNegative val="1"/>
            <c:bubble3D val="0"/>
            <c:spPr>
              <a:solidFill>
                <a:srgbClr val="AEABAB"/>
              </a:solidFill>
            </c:spPr>
            <c:extLst>
              <c:ext xmlns:c16="http://schemas.microsoft.com/office/drawing/2014/chart" uri="{C3380CC4-5D6E-409C-BE32-E72D297353CC}">
                <c16:uniqueId val="{0000041B-F218-4DDE-952B-C0F0729EE755}"/>
              </c:ext>
            </c:extLst>
          </c:dPt>
          <c:dPt>
            <c:idx val="525"/>
            <c:invertIfNegative val="1"/>
            <c:bubble3D val="0"/>
            <c:spPr>
              <a:solidFill>
                <a:srgbClr val="AEABAB"/>
              </a:solidFill>
            </c:spPr>
            <c:extLst>
              <c:ext xmlns:c16="http://schemas.microsoft.com/office/drawing/2014/chart" uri="{C3380CC4-5D6E-409C-BE32-E72D297353CC}">
                <c16:uniqueId val="{0000041D-F218-4DDE-952B-C0F0729EE755}"/>
              </c:ext>
            </c:extLst>
          </c:dPt>
          <c:dPt>
            <c:idx val="526"/>
            <c:invertIfNegative val="1"/>
            <c:bubble3D val="0"/>
            <c:spPr>
              <a:solidFill>
                <a:srgbClr val="AEABAB"/>
              </a:solidFill>
            </c:spPr>
            <c:extLst>
              <c:ext xmlns:c16="http://schemas.microsoft.com/office/drawing/2014/chart" uri="{C3380CC4-5D6E-409C-BE32-E72D297353CC}">
                <c16:uniqueId val="{0000041F-F218-4DDE-952B-C0F0729EE755}"/>
              </c:ext>
            </c:extLst>
          </c:dPt>
          <c:dPt>
            <c:idx val="527"/>
            <c:invertIfNegative val="1"/>
            <c:bubble3D val="0"/>
            <c:spPr>
              <a:solidFill>
                <a:srgbClr val="AEABAB"/>
              </a:solidFill>
            </c:spPr>
            <c:extLst>
              <c:ext xmlns:c16="http://schemas.microsoft.com/office/drawing/2014/chart" uri="{C3380CC4-5D6E-409C-BE32-E72D297353CC}">
                <c16:uniqueId val="{00000421-F218-4DDE-952B-C0F0729EE755}"/>
              </c:ext>
            </c:extLst>
          </c:dPt>
          <c:dPt>
            <c:idx val="528"/>
            <c:invertIfNegative val="1"/>
            <c:bubble3D val="0"/>
            <c:spPr>
              <a:solidFill>
                <a:srgbClr val="AEABAB"/>
              </a:solidFill>
            </c:spPr>
            <c:extLst>
              <c:ext xmlns:c16="http://schemas.microsoft.com/office/drawing/2014/chart" uri="{C3380CC4-5D6E-409C-BE32-E72D297353CC}">
                <c16:uniqueId val="{00000423-F218-4DDE-952B-C0F0729EE755}"/>
              </c:ext>
            </c:extLst>
          </c:dPt>
          <c:dPt>
            <c:idx val="529"/>
            <c:invertIfNegative val="1"/>
            <c:bubble3D val="0"/>
            <c:spPr>
              <a:solidFill>
                <a:srgbClr val="AEABAB"/>
              </a:solidFill>
            </c:spPr>
            <c:extLst>
              <c:ext xmlns:c16="http://schemas.microsoft.com/office/drawing/2014/chart" uri="{C3380CC4-5D6E-409C-BE32-E72D297353CC}">
                <c16:uniqueId val="{00000425-F218-4DDE-952B-C0F0729EE755}"/>
              </c:ext>
            </c:extLst>
          </c:dPt>
          <c:dPt>
            <c:idx val="530"/>
            <c:invertIfNegative val="1"/>
            <c:bubble3D val="0"/>
            <c:spPr>
              <a:solidFill>
                <a:srgbClr val="AEABAB"/>
              </a:solidFill>
            </c:spPr>
            <c:extLst>
              <c:ext xmlns:c16="http://schemas.microsoft.com/office/drawing/2014/chart" uri="{C3380CC4-5D6E-409C-BE32-E72D297353CC}">
                <c16:uniqueId val="{00000427-F218-4DDE-952B-C0F0729EE755}"/>
              </c:ext>
            </c:extLst>
          </c:dPt>
          <c:dPt>
            <c:idx val="531"/>
            <c:invertIfNegative val="1"/>
            <c:bubble3D val="0"/>
            <c:spPr>
              <a:solidFill>
                <a:srgbClr val="AEABAB"/>
              </a:solidFill>
            </c:spPr>
            <c:extLst>
              <c:ext xmlns:c16="http://schemas.microsoft.com/office/drawing/2014/chart" uri="{C3380CC4-5D6E-409C-BE32-E72D297353CC}">
                <c16:uniqueId val="{00000429-F218-4DDE-952B-C0F0729EE755}"/>
              </c:ext>
            </c:extLst>
          </c:dPt>
          <c:dPt>
            <c:idx val="532"/>
            <c:invertIfNegative val="1"/>
            <c:bubble3D val="0"/>
            <c:spPr>
              <a:solidFill>
                <a:srgbClr val="AEABAB"/>
              </a:solidFill>
            </c:spPr>
            <c:extLst>
              <c:ext xmlns:c16="http://schemas.microsoft.com/office/drawing/2014/chart" uri="{C3380CC4-5D6E-409C-BE32-E72D297353CC}">
                <c16:uniqueId val="{0000042B-F218-4DDE-952B-C0F0729EE755}"/>
              </c:ext>
            </c:extLst>
          </c:dPt>
          <c:dPt>
            <c:idx val="533"/>
            <c:invertIfNegative val="1"/>
            <c:bubble3D val="0"/>
            <c:spPr>
              <a:solidFill>
                <a:srgbClr val="AEABAB"/>
              </a:solidFill>
            </c:spPr>
            <c:extLst>
              <c:ext xmlns:c16="http://schemas.microsoft.com/office/drawing/2014/chart" uri="{C3380CC4-5D6E-409C-BE32-E72D297353CC}">
                <c16:uniqueId val="{0000042D-F218-4DDE-952B-C0F0729EE755}"/>
              </c:ext>
            </c:extLst>
          </c:dPt>
          <c:dPt>
            <c:idx val="534"/>
            <c:invertIfNegative val="1"/>
            <c:bubble3D val="0"/>
            <c:spPr>
              <a:solidFill>
                <a:srgbClr val="AEABAB"/>
              </a:solidFill>
            </c:spPr>
            <c:extLst>
              <c:ext xmlns:c16="http://schemas.microsoft.com/office/drawing/2014/chart" uri="{C3380CC4-5D6E-409C-BE32-E72D297353CC}">
                <c16:uniqueId val="{0000042F-F218-4DDE-952B-C0F0729EE755}"/>
              </c:ext>
            </c:extLst>
          </c:dPt>
          <c:dPt>
            <c:idx val="535"/>
            <c:invertIfNegative val="1"/>
            <c:bubble3D val="0"/>
            <c:spPr>
              <a:solidFill>
                <a:srgbClr val="AEABAB"/>
              </a:solidFill>
            </c:spPr>
            <c:extLst>
              <c:ext xmlns:c16="http://schemas.microsoft.com/office/drawing/2014/chart" uri="{C3380CC4-5D6E-409C-BE32-E72D297353CC}">
                <c16:uniqueId val="{00000431-F218-4DDE-952B-C0F0729EE755}"/>
              </c:ext>
            </c:extLst>
          </c:dPt>
          <c:dPt>
            <c:idx val="536"/>
            <c:invertIfNegative val="1"/>
            <c:bubble3D val="0"/>
            <c:spPr>
              <a:solidFill>
                <a:srgbClr val="AEABAB"/>
              </a:solidFill>
            </c:spPr>
            <c:extLst>
              <c:ext xmlns:c16="http://schemas.microsoft.com/office/drawing/2014/chart" uri="{C3380CC4-5D6E-409C-BE32-E72D297353CC}">
                <c16:uniqueId val="{00000433-F218-4DDE-952B-C0F0729EE755}"/>
              </c:ext>
            </c:extLst>
          </c:dPt>
          <c:dPt>
            <c:idx val="537"/>
            <c:invertIfNegative val="1"/>
            <c:bubble3D val="0"/>
            <c:spPr>
              <a:solidFill>
                <a:srgbClr val="AEABAB"/>
              </a:solidFill>
            </c:spPr>
            <c:extLst>
              <c:ext xmlns:c16="http://schemas.microsoft.com/office/drawing/2014/chart" uri="{C3380CC4-5D6E-409C-BE32-E72D297353CC}">
                <c16:uniqueId val="{00000435-F218-4DDE-952B-C0F0729EE755}"/>
              </c:ext>
            </c:extLst>
          </c:dPt>
          <c:dPt>
            <c:idx val="538"/>
            <c:invertIfNegative val="1"/>
            <c:bubble3D val="0"/>
            <c:spPr>
              <a:solidFill>
                <a:srgbClr val="AEABAB"/>
              </a:solidFill>
            </c:spPr>
            <c:extLst>
              <c:ext xmlns:c16="http://schemas.microsoft.com/office/drawing/2014/chart" uri="{C3380CC4-5D6E-409C-BE32-E72D297353CC}">
                <c16:uniqueId val="{00000437-F218-4DDE-952B-C0F0729EE755}"/>
              </c:ext>
            </c:extLst>
          </c:dPt>
          <c:dPt>
            <c:idx val="539"/>
            <c:invertIfNegative val="1"/>
            <c:bubble3D val="0"/>
            <c:spPr>
              <a:solidFill>
                <a:srgbClr val="AEABAB"/>
              </a:solidFill>
            </c:spPr>
            <c:extLst>
              <c:ext xmlns:c16="http://schemas.microsoft.com/office/drawing/2014/chart" uri="{C3380CC4-5D6E-409C-BE32-E72D297353CC}">
                <c16:uniqueId val="{00000439-F218-4DDE-952B-C0F0729EE755}"/>
              </c:ext>
            </c:extLst>
          </c:dPt>
          <c:dPt>
            <c:idx val="540"/>
            <c:invertIfNegative val="1"/>
            <c:bubble3D val="0"/>
            <c:spPr>
              <a:solidFill>
                <a:srgbClr val="AEABAB"/>
              </a:solidFill>
            </c:spPr>
            <c:extLst>
              <c:ext xmlns:c16="http://schemas.microsoft.com/office/drawing/2014/chart" uri="{C3380CC4-5D6E-409C-BE32-E72D297353CC}">
                <c16:uniqueId val="{0000043B-F218-4DDE-952B-C0F0729EE755}"/>
              </c:ext>
            </c:extLst>
          </c:dPt>
          <c:dPt>
            <c:idx val="541"/>
            <c:invertIfNegative val="1"/>
            <c:bubble3D val="0"/>
            <c:spPr>
              <a:solidFill>
                <a:srgbClr val="AEABAB"/>
              </a:solidFill>
            </c:spPr>
            <c:extLst>
              <c:ext xmlns:c16="http://schemas.microsoft.com/office/drawing/2014/chart" uri="{C3380CC4-5D6E-409C-BE32-E72D297353CC}">
                <c16:uniqueId val="{0000043D-F218-4DDE-952B-C0F0729EE755}"/>
              </c:ext>
            </c:extLst>
          </c:dPt>
          <c:dPt>
            <c:idx val="542"/>
            <c:invertIfNegative val="1"/>
            <c:bubble3D val="0"/>
            <c:spPr>
              <a:solidFill>
                <a:srgbClr val="AEABAB"/>
              </a:solidFill>
            </c:spPr>
            <c:extLst>
              <c:ext xmlns:c16="http://schemas.microsoft.com/office/drawing/2014/chart" uri="{C3380CC4-5D6E-409C-BE32-E72D297353CC}">
                <c16:uniqueId val="{0000043F-F218-4DDE-952B-C0F0729EE755}"/>
              </c:ext>
            </c:extLst>
          </c:dPt>
          <c:dPt>
            <c:idx val="543"/>
            <c:invertIfNegative val="1"/>
            <c:bubble3D val="0"/>
            <c:spPr>
              <a:solidFill>
                <a:srgbClr val="AEABAB"/>
              </a:solidFill>
            </c:spPr>
            <c:extLst>
              <c:ext xmlns:c16="http://schemas.microsoft.com/office/drawing/2014/chart" uri="{C3380CC4-5D6E-409C-BE32-E72D297353CC}">
                <c16:uniqueId val="{00000441-F218-4DDE-952B-C0F0729EE755}"/>
              </c:ext>
            </c:extLst>
          </c:dPt>
          <c:dPt>
            <c:idx val="544"/>
            <c:invertIfNegative val="1"/>
            <c:bubble3D val="0"/>
            <c:spPr>
              <a:solidFill>
                <a:srgbClr val="AEABAB"/>
              </a:solidFill>
            </c:spPr>
            <c:extLst>
              <c:ext xmlns:c16="http://schemas.microsoft.com/office/drawing/2014/chart" uri="{C3380CC4-5D6E-409C-BE32-E72D297353CC}">
                <c16:uniqueId val="{00000443-F218-4DDE-952B-C0F0729EE755}"/>
              </c:ext>
            </c:extLst>
          </c:dPt>
          <c:dPt>
            <c:idx val="545"/>
            <c:invertIfNegative val="1"/>
            <c:bubble3D val="0"/>
            <c:spPr>
              <a:solidFill>
                <a:srgbClr val="AEABAB"/>
              </a:solidFill>
            </c:spPr>
            <c:extLst>
              <c:ext xmlns:c16="http://schemas.microsoft.com/office/drawing/2014/chart" uri="{C3380CC4-5D6E-409C-BE32-E72D297353CC}">
                <c16:uniqueId val="{00000445-F218-4DDE-952B-C0F0729EE755}"/>
              </c:ext>
            </c:extLst>
          </c:dPt>
          <c:dPt>
            <c:idx val="546"/>
            <c:invertIfNegative val="1"/>
            <c:bubble3D val="0"/>
            <c:spPr>
              <a:solidFill>
                <a:srgbClr val="AEABAB"/>
              </a:solidFill>
            </c:spPr>
            <c:extLst>
              <c:ext xmlns:c16="http://schemas.microsoft.com/office/drawing/2014/chart" uri="{C3380CC4-5D6E-409C-BE32-E72D297353CC}">
                <c16:uniqueId val="{00000447-F218-4DDE-952B-C0F0729EE755}"/>
              </c:ext>
            </c:extLst>
          </c:dPt>
          <c:dPt>
            <c:idx val="547"/>
            <c:invertIfNegative val="1"/>
            <c:bubble3D val="0"/>
            <c:spPr>
              <a:solidFill>
                <a:srgbClr val="AEABAB"/>
              </a:solidFill>
            </c:spPr>
            <c:extLst>
              <c:ext xmlns:c16="http://schemas.microsoft.com/office/drawing/2014/chart" uri="{C3380CC4-5D6E-409C-BE32-E72D297353CC}">
                <c16:uniqueId val="{00000449-F218-4DDE-952B-C0F0729EE755}"/>
              </c:ext>
            </c:extLst>
          </c:dPt>
          <c:dPt>
            <c:idx val="548"/>
            <c:invertIfNegative val="1"/>
            <c:bubble3D val="0"/>
            <c:spPr>
              <a:solidFill>
                <a:srgbClr val="AEABAB"/>
              </a:solidFill>
            </c:spPr>
            <c:extLst>
              <c:ext xmlns:c16="http://schemas.microsoft.com/office/drawing/2014/chart" uri="{C3380CC4-5D6E-409C-BE32-E72D297353CC}">
                <c16:uniqueId val="{0000044B-F218-4DDE-952B-C0F0729EE755}"/>
              </c:ext>
            </c:extLst>
          </c:dPt>
          <c:dPt>
            <c:idx val="549"/>
            <c:invertIfNegative val="1"/>
            <c:bubble3D val="0"/>
            <c:spPr>
              <a:solidFill>
                <a:srgbClr val="AEABAB"/>
              </a:solidFill>
            </c:spPr>
            <c:extLst>
              <c:ext xmlns:c16="http://schemas.microsoft.com/office/drawing/2014/chart" uri="{C3380CC4-5D6E-409C-BE32-E72D297353CC}">
                <c16:uniqueId val="{0000044D-F218-4DDE-952B-C0F0729EE755}"/>
              </c:ext>
            </c:extLst>
          </c:dPt>
          <c:dPt>
            <c:idx val="550"/>
            <c:invertIfNegative val="1"/>
            <c:bubble3D val="0"/>
            <c:spPr>
              <a:solidFill>
                <a:srgbClr val="AEABAB"/>
              </a:solidFill>
            </c:spPr>
            <c:extLst>
              <c:ext xmlns:c16="http://schemas.microsoft.com/office/drawing/2014/chart" uri="{C3380CC4-5D6E-409C-BE32-E72D297353CC}">
                <c16:uniqueId val="{0000044F-F218-4DDE-952B-C0F0729EE755}"/>
              </c:ext>
            </c:extLst>
          </c:dPt>
          <c:dPt>
            <c:idx val="551"/>
            <c:invertIfNegative val="1"/>
            <c:bubble3D val="0"/>
            <c:spPr>
              <a:solidFill>
                <a:srgbClr val="AEABAB"/>
              </a:solidFill>
            </c:spPr>
            <c:extLst>
              <c:ext xmlns:c16="http://schemas.microsoft.com/office/drawing/2014/chart" uri="{C3380CC4-5D6E-409C-BE32-E72D297353CC}">
                <c16:uniqueId val="{00000451-F218-4DDE-952B-C0F0729EE755}"/>
              </c:ext>
            </c:extLst>
          </c:dPt>
          <c:dPt>
            <c:idx val="552"/>
            <c:invertIfNegative val="1"/>
            <c:bubble3D val="0"/>
            <c:spPr>
              <a:solidFill>
                <a:srgbClr val="AEABAB"/>
              </a:solidFill>
            </c:spPr>
            <c:extLst>
              <c:ext xmlns:c16="http://schemas.microsoft.com/office/drawing/2014/chart" uri="{C3380CC4-5D6E-409C-BE32-E72D297353CC}">
                <c16:uniqueId val="{00000453-F218-4DDE-952B-C0F0729EE755}"/>
              </c:ext>
            </c:extLst>
          </c:dPt>
          <c:dPt>
            <c:idx val="553"/>
            <c:invertIfNegative val="1"/>
            <c:bubble3D val="0"/>
            <c:spPr>
              <a:solidFill>
                <a:srgbClr val="AEABAB"/>
              </a:solidFill>
            </c:spPr>
            <c:extLst>
              <c:ext xmlns:c16="http://schemas.microsoft.com/office/drawing/2014/chart" uri="{C3380CC4-5D6E-409C-BE32-E72D297353CC}">
                <c16:uniqueId val="{00000455-F218-4DDE-952B-C0F0729EE755}"/>
              </c:ext>
            </c:extLst>
          </c:dPt>
          <c:dPt>
            <c:idx val="554"/>
            <c:invertIfNegative val="1"/>
            <c:bubble3D val="0"/>
            <c:spPr>
              <a:solidFill>
                <a:srgbClr val="AEABAB"/>
              </a:solidFill>
            </c:spPr>
            <c:extLst>
              <c:ext xmlns:c16="http://schemas.microsoft.com/office/drawing/2014/chart" uri="{C3380CC4-5D6E-409C-BE32-E72D297353CC}">
                <c16:uniqueId val="{00000457-F218-4DDE-952B-C0F0729EE755}"/>
              </c:ext>
            </c:extLst>
          </c:dPt>
          <c:dPt>
            <c:idx val="555"/>
            <c:invertIfNegative val="1"/>
            <c:bubble3D val="0"/>
            <c:spPr>
              <a:solidFill>
                <a:srgbClr val="AEABAB"/>
              </a:solidFill>
            </c:spPr>
            <c:extLst>
              <c:ext xmlns:c16="http://schemas.microsoft.com/office/drawing/2014/chart" uri="{C3380CC4-5D6E-409C-BE32-E72D297353CC}">
                <c16:uniqueId val="{00000459-F218-4DDE-952B-C0F0729EE755}"/>
              </c:ext>
            </c:extLst>
          </c:dPt>
          <c:dPt>
            <c:idx val="556"/>
            <c:invertIfNegative val="1"/>
            <c:bubble3D val="0"/>
            <c:spPr>
              <a:solidFill>
                <a:srgbClr val="AEABAB"/>
              </a:solidFill>
            </c:spPr>
            <c:extLst>
              <c:ext xmlns:c16="http://schemas.microsoft.com/office/drawing/2014/chart" uri="{C3380CC4-5D6E-409C-BE32-E72D297353CC}">
                <c16:uniqueId val="{0000045B-F218-4DDE-952B-C0F0729EE755}"/>
              </c:ext>
            </c:extLst>
          </c:dPt>
          <c:dPt>
            <c:idx val="557"/>
            <c:invertIfNegative val="1"/>
            <c:bubble3D val="0"/>
            <c:spPr>
              <a:solidFill>
                <a:srgbClr val="AEABAB"/>
              </a:solidFill>
            </c:spPr>
            <c:extLst>
              <c:ext xmlns:c16="http://schemas.microsoft.com/office/drawing/2014/chart" uri="{C3380CC4-5D6E-409C-BE32-E72D297353CC}">
                <c16:uniqueId val="{0000045D-F218-4DDE-952B-C0F0729EE755}"/>
              </c:ext>
            </c:extLst>
          </c:dPt>
          <c:dPt>
            <c:idx val="558"/>
            <c:invertIfNegative val="1"/>
            <c:bubble3D val="0"/>
            <c:spPr>
              <a:solidFill>
                <a:srgbClr val="AEABAB"/>
              </a:solidFill>
            </c:spPr>
            <c:extLst>
              <c:ext xmlns:c16="http://schemas.microsoft.com/office/drawing/2014/chart" uri="{C3380CC4-5D6E-409C-BE32-E72D297353CC}">
                <c16:uniqueId val="{0000045F-F218-4DDE-952B-C0F0729EE755}"/>
              </c:ext>
            </c:extLst>
          </c:dPt>
          <c:dPt>
            <c:idx val="559"/>
            <c:invertIfNegative val="1"/>
            <c:bubble3D val="0"/>
            <c:spPr>
              <a:solidFill>
                <a:srgbClr val="AEABAB"/>
              </a:solidFill>
            </c:spPr>
            <c:extLst>
              <c:ext xmlns:c16="http://schemas.microsoft.com/office/drawing/2014/chart" uri="{C3380CC4-5D6E-409C-BE32-E72D297353CC}">
                <c16:uniqueId val="{00000461-F218-4DDE-952B-C0F0729EE755}"/>
              </c:ext>
            </c:extLst>
          </c:dPt>
          <c:dPt>
            <c:idx val="560"/>
            <c:invertIfNegative val="1"/>
            <c:bubble3D val="0"/>
            <c:spPr>
              <a:solidFill>
                <a:srgbClr val="AEABAB"/>
              </a:solidFill>
            </c:spPr>
            <c:extLst>
              <c:ext xmlns:c16="http://schemas.microsoft.com/office/drawing/2014/chart" uri="{C3380CC4-5D6E-409C-BE32-E72D297353CC}">
                <c16:uniqueId val="{00000463-F218-4DDE-952B-C0F0729EE755}"/>
              </c:ext>
            </c:extLst>
          </c:dPt>
          <c:dPt>
            <c:idx val="561"/>
            <c:invertIfNegative val="1"/>
            <c:bubble3D val="0"/>
            <c:spPr>
              <a:solidFill>
                <a:srgbClr val="AEABAB"/>
              </a:solidFill>
            </c:spPr>
            <c:extLst>
              <c:ext xmlns:c16="http://schemas.microsoft.com/office/drawing/2014/chart" uri="{C3380CC4-5D6E-409C-BE32-E72D297353CC}">
                <c16:uniqueId val="{00000465-F218-4DDE-952B-C0F0729EE755}"/>
              </c:ext>
            </c:extLst>
          </c:dPt>
          <c:dPt>
            <c:idx val="562"/>
            <c:invertIfNegative val="1"/>
            <c:bubble3D val="0"/>
            <c:spPr>
              <a:solidFill>
                <a:srgbClr val="AEABAB"/>
              </a:solidFill>
            </c:spPr>
            <c:extLst>
              <c:ext xmlns:c16="http://schemas.microsoft.com/office/drawing/2014/chart" uri="{C3380CC4-5D6E-409C-BE32-E72D297353CC}">
                <c16:uniqueId val="{00000467-F218-4DDE-952B-C0F0729EE755}"/>
              </c:ext>
            </c:extLst>
          </c:dPt>
          <c:dPt>
            <c:idx val="563"/>
            <c:invertIfNegative val="1"/>
            <c:bubble3D val="0"/>
            <c:spPr>
              <a:solidFill>
                <a:srgbClr val="AEABAB"/>
              </a:solidFill>
            </c:spPr>
            <c:extLst>
              <c:ext xmlns:c16="http://schemas.microsoft.com/office/drawing/2014/chart" uri="{C3380CC4-5D6E-409C-BE32-E72D297353CC}">
                <c16:uniqueId val="{00000469-F218-4DDE-952B-C0F0729EE755}"/>
              </c:ext>
            </c:extLst>
          </c:dPt>
          <c:dPt>
            <c:idx val="564"/>
            <c:invertIfNegative val="1"/>
            <c:bubble3D val="0"/>
            <c:spPr>
              <a:solidFill>
                <a:srgbClr val="AEABAB"/>
              </a:solidFill>
            </c:spPr>
            <c:extLst>
              <c:ext xmlns:c16="http://schemas.microsoft.com/office/drawing/2014/chart" uri="{C3380CC4-5D6E-409C-BE32-E72D297353CC}">
                <c16:uniqueId val="{0000046B-F218-4DDE-952B-C0F0729EE755}"/>
              </c:ext>
            </c:extLst>
          </c:dPt>
          <c:dPt>
            <c:idx val="565"/>
            <c:invertIfNegative val="1"/>
            <c:bubble3D val="0"/>
            <c:spPr>
              <a:solidFill>
                <a:srgbClr val="AEABAB"/>
              </a:solidFill>
            </c:spPr>
            <c:extLst>
              <c:ext xmlns:c16="http://schemas.microsoft.com/office/drawing/2014/chart" uri="{C3380CC4-5D6E-409C-BE32-E72D297353CC}">
                <c16:uniqueId val="{0000046D-F218-4DDE-952B-C0F0729EE755}"/>
              </c:ext>
            </c:extLst>
          </c:dPt>
          <c:dPt>
            <c:idx val="566"/>
            <c:invertIfNegative val="1"/>
            <c:bubble3D val="0"/>
            <c:spPr>
              <a:solidFill>
                <a:srgbClr val="AEABAB"/>
              </a:solidFill>
            </c:spPr>
            <c:extLst>
              <c:ext xmlns:c16="http://schemas.microsoft.com/office/drawing/2014/chart" uri="{C3380CC4-5D6E-409C-BE32-E72D297353CC}">
                <c16:uniqueId val="{0000046F-F218-4DDE-952B-C0F0729EE755}"/>
              </c:ext>
            </c:extLst>
          </c:dPt>
          <c:dPt>
            <c:idx val="567"/>
            <c:invertIfNegative val="1"/>
            <c:bubble3D val="0"/>
            <c:spPr>
              <a:solidFill>
                <a:srgbClr val="AEABAB"/>
              </a:solidFill>
            </c:spPr>
            <c:extLst>
              <c:ext xmlns:c16="http://schemas.microsoft.com/office/drawing/2014/chart" uri="{C3380CC4-5D6E-409C-BE32-E72D297353CC}">
                <c16:uniqueId val="{00000471-F218-4DDE-952B-C0F0729EE755}"/>
              </c:ext>
            </c:extLst>
          </c:dPt>
          <c:dPt>
            <c:idx val="568"/>
            <c:invertIfNegative val="1"/>
            <c:bubble3D val="0"/>
            <c:spPr>
              <a:solidFill>
                <a:srgbClr val="AEABAB"/>
              </a:solidFill>
            </c:spPr>
            <c:extLst>
              <c:ext xmlns:c16="http://schemas.microsoft.com/office/drawing/2014/chart" uri="{C3380CC4-5D6E-409C-BE32-E72D297353CC}">
                <c16:uniqueId val="{00000473-F218-4DDE-952B-C0F0729EE755}"/>
              </c:ext>
            </c:extLst>
          </c:dPt>
          <c:dPt>
            <c:idx val="569"/>
            <c:invertIfNegative val="1"/>
            <c:bubble3D val="0"/>
            <c:spPr>
              <a:solidFill>
                <a:srgbClr val="AEABAB"/>
              </a:solidFill>
            </c:spPr>
            <c:extLst>
              <c:ext xmlns:c16="http://schemas.microsoft.com/office/drawing/2014/chart" uri="{C3380CC4-5D6E-409C-BE32-E72D297353CC}">
                <c16:uniqueId val="{00000475-F218-4DDE-952B-C0F0729EE755}"/>
              </c:ext>
            </c:extLst>
          </c:dPt>
          <c:dPt>
            <c:idx val="570"/>
            <c:invertIfNegative val="1"/>
            <c:bubble3D val="0"/>
            <c:spPr>
              <a:solidFill>
                <a:srgbClr val="AEABAB"/>
              </a:solidFill>
            </c:spPr>
            <c:extLst>
              <c:ext xmlns:c16="http://schemas.microsoft.com/office/drawing/2014/chart" uri="{C3380CC4-5D6E-409C-BE32-E72D297353CC}">
                <c16:uniqueId val="{00000477-F218-4DDE-952B-C0F0729EE755}"/>
              </c:ext>
            </c:extLst>
          </c:dPt>
          <c:dPt>
            <c:idx val="571"/>
            <c:invertIfNegative val="1"/>
            <c:bubble3D val="0"/>
            <c:spPr>
              <a:solidFill>
                <a:srgbClr val="AEABAB"/>
              </a:solidFill>
            </c:spPr>
            <c:extLst>
              <c:ext xmlns:c16="http://schemas.microsoft.com/office/drawing/2014/chart" uri="{C3380CC4-5D6E-409C-BE32-E72D297353CC}">
                <c16:uniqueId val="{00000479-F218-4DDE-952B-C0F0729EE755}"/>
              </c:ext>
            </c:extLst>
          </c:dPt>
          <c:dPt>
            <c:idx val="572"/>
            <c:invertIfNegative val="1"/>
            <c:bubble3D val="0"/>
            <c:spPr>
              <a:solidFill>
                <a:srgbClr val="AEABAB"/>
              </a:solidFill>
            </c:spPr>
            <c:extLst>
              <c:ext xmlns:c16="http://schemas.microsoft.com/office/drawing/2014/chart" uri="{C3380CC4-5D6E-409C-BE32-E72D297353CC}">
                <c16:uniqueId val="{0000047B-F218-4DDE-952B-C0F0729EE755}"/>
              </c:ext>
            </c:extLst>
          </c:dPt>
          <c:dPt>
            <c:idx val="573"/>
            <c:invertIfNegative val="1"/>
            <c:bubble3D val="0"/>
            <c:spPr>
              <a:solidFill>
                <a:srgbClr val="AEABAB"/>
              </a:solidFill>
            </c:spPr>
            <c:extLst>
              <c:ext xmlns:c16="http://schemas.microsoft.com/office/drawing/2014/chart" uri="{C3380CC4-5D6E-409C-BE32-E72D297353CC}">
                <c16:uniqueId val="{0000047D-F218-4DDE-952B-C0F0729EE755}"/>
              </c:ext>
            </c:extLst>
          </c:dPt>
          <c:dPt>
            <c:idx val="574"/>
            <c:invertIfNegative val="1"/>
            <c:bubble3D val="0"/>
            <c:spPr>
              <a:solidFill>
                <a:srgbClr val="AEABAB"/>
              </a:solidFill>
            </c:spPr>
            <c:extLst>
              <c:ext xmlns:c16="http://schemas.microsoft.com/office/drawing/2014/chart" uri="{C3380CC4-5D6E-409C-BE32-E72D297353CC}">
                <c16:uniqueId val="{0000047F-F218-4DDE-952B-C0F0729EE755}"/>
              </c:ext>
            </c:extLst>
          </c:dPt>
          <c:dPt>
            <c:idx val="575"/>
            <c:invertIfNegative val="1"/>
            <c:bubble3D val="0"/>
            <c:spPr>
              <a:solidFill>
                <a:srgbClr val="AEABAB"/>
              </a:solidFill>
            </c:spPr>
            <c:extLst>
              <c:ext xmlns:c16="http://schemas.microsoft.com/office/drawing/2014/chart" uri="{C3380CC4-5D6E-409C-BE32-E72D297353CC}">
                <c16:uniqueId val="{00000481-F218-4DDE-952B-C0F0729EE755}"/>
              </c:ext>
            </c:extLst>
          </c:dPt>
          <c:dPt>
            <c:idx val="576"/>
            <c:invertIfNegative val="1"/>
            <c:bubble3D val="0"/>
            <c:spPr>
              <a:solidFill>
                <a:srgbClr val="AEABAB"/>
              </a:solidFill>
            </c:spPr>
            <c:extLst>
              <c:ext xmlns:c16="http://schemas.microsoft.com/office/drawing/2014/chart" uri="{C3380CC4-5D6E-409C-BE32-E72D297353CC}">
                <c16:uniqueId val="{00000483-F218-4DDE-952B-C0F0729EE755}"/>
              </c:ext>
            </c:extLst>
          </c:dPt>
          <c:dPt>
            <c:idx val="577"/>
            <c:invertIfNegative val="1"/>
            <c:bubble3D val="0"/>
            <c:spPr>
              <a:solidFill>
                <a:srgbClr val="AEABAB"/>
              </a:solidFill>
            </c:spPr>
            <c:extLst>
              <c:ext xmlns:c16="http://schemas.microsoft.com/office/drawing/2014/chart" uri="{C3380CC4-5D6E-409C-BE32-E72D297353CC}">
                <c16:uniqueId val="{00000485-F218-4DDE-952B-C0F0729EE755}"/>
              </c:ext>
            </c:extLst>
          </c:dPt>
          <c:dPt>
            <c:idx val="578"/>
            <c:invertIfNegative val="1"/>
            <c:bubble3D val="0"/>
            <c:spPr>
              <a:solidFill>
                <a:srgbClr val="AEABAB"/>
              </a:solidFill>
            </c:spPr>
            <c:extLst>
              <c:ext xmlns:c16="http://schemas.microsoft.com/office/drawing/2014/chart" uri="{C3380CC4-5D6E-409C-BE32-E72D297353CC}">
                <c16:uniqueId val="{00000487-F218-4DDE-952B-C0F0729EE755}"/>
              </c:ext>
            </c:extLst>
          </c:dPt>
          <c:dPt>
            <c:idx val="579"/>
            <c:invertIfNegative val="1"/>
            <c:bubble3D val="0"/>
            <c:spPr>
              <a:solidFill>
                <a:srgbClr val="AEABAB"/>
              </a:solidFill>
            </c:spPr>
            <c:extLst>
              <c:ext xmlns:c16="http://schemas.microsoft.com/office/drawing/2014/chart" uri="{C3380CC4-5D6E-409C-BE32-E72D297353CC}">
                <c16:uniqueId val="{00000489-F218-4DDE-952B-C0F0729EE755}"/>
              </c:ext>
            </c:extLst>
          </c:dPt>
          <c:dPt>
            <c:idx val="580"/>
            <c:invertIfNegative val="1"/>
            <c:bubble3D val="0"/>
            <c:spPr>
              <a:solidFill>
                <a:srgbClr val="AEABAB"/>
              </a:solidFill>
            </c:spPr>
            <c:extLst>
              <c:ext xmlns:c16="http://schemas.microsoft.com/office/drawing/2014/chart" uri="{C3380CC4-5D6E-409C-BE32-E72D297353CC}">
                <c16:uniqueId val="{0000048B-F218-4DDE-952B-C0F0729EE755}"/>
              </c:ext>
            </c:extLst>
          </c:dPt>
          <c:dPt>
            <c:idx val="581"/>
            <c:invertIfNegative val="1"/>
            <c:bubble3D val="0"/>
            <c:spPr>
              <a:solidFill>
                <a:srgbClr val="AEABAB"/>
              </a:solidFill>
            </c:spPr>
            <c:extLst>
              <c:ext xmlns:c16="http://schemas.microsoft.com/office/drawing/2014/chart" uri="{C3380CC4-5D6E-409C-BE32-E72D297353CC}">
                <c16:uniqueId val="{0000048D-F218-4DDE-952B-C0F0729EE755}"/>
              </c:ext>
            </c:extLst>
          </c:dPt>
          <c:dPt>
            <c:idx val="582"/>
            <c:invertIfNegative val="1"/>
            <c:bubble3D val="0"/>
            <c:spPr>
              <a:solidFill>
                <a:srgbClr val="AEABAB"/>
              </a:solidFill>
            </c:spPr>
            <c:extLst>
              <c:ext xmlns:c16="http://schemas.microsoft.com/office/drawing/2014/chart" uri="{C3380CC4-5D6E-409C-BE32-E72D297353CC}">
                <c16:uniqueId val="{0000048F-F218-4DDE-952B-C0F0729EE755}"/>
              </c:ext>
            </c:extLst>
          </c:dPt>
          <c:dPt>
            <c:idx val="583"/>
            <c:invertIfNegative val="1"/>
            <c:bubble3D val="0"/>
            <c:spPr>
              <a:solidFill>
                <a:srgbClr val="AEABAB"/>
              </a:solidFill>
            </c:spPr>
            <c:extLst>
              <c:ext xmlns:c16="http://schemas.microsoft.com/office/drawing/2014/chart" uri="{C3380CC4-5D6E-409C-BE32-E72D297353CC}">
                <c16:uniqueId val="{00000491-F218-4DDE-952B-C0F0729EE755}"/>
              </c:ext>
            </c:extLst>
          </c:dPt>
          <c:dPt>
            <c:idx val="584"/>
            <c:invertIfNegative val="1"/>
            <c:bubble3D val="0"/>
            <c:spPr>
              <a:solidFill>
                <a:srgbClr val="AEABAB"/>
              </a:solidFill>
            </c:spPr>
            <c:extLst>
              <c:ext xmlns:c16="http://schemas.microsoft.com/office/drawing/2014/chart" uri="{C3380CC4-5D6E-409C-BE32-E72D297353CC}">
                <c16:uniqueId val="{00000493-F218-4DDE-952B-C0F0729EE755}"/>
              </c:ext>
            </c:extLst>
          </c:dPt>
          <c:dPt>
            <c:idx val="585"/>
            <c:invertIfNegative val="1"/>
            <c:bubble3D val="0"/>
            <c:spPr>
              <a:solidFill>
                <a:srgbClr val="AEABAB"/>
              </a:solidFill>
            </c:spPr>
            <c:extLst>
              <c:ext xmlns:c16="http://schemas.microsoft.com/office/drawing/2014/chart" uri="{C3380CC4-5D6E-409C-BE32-E72D297353CC}">
                <c16:uniqueId val="{00000495-F218-4DDE-952B-C0F0729EE755}"/>
              </c:ext>
            </c:extLst>
          </c:dPt>
          <c:dPt>
            <c:idx val="586"/>
            <c:invertIfNegative val="1"/>
            <c:bubble3D val="0"/>
            <c:spPr>
              <a:solidFill>
                <a:srgbClr val="AEABAB"/>
              </a:solidFill>
            </c:spPr>
            <c:extLst>
              <c:ext xmlns:c16="http://schemas.microsoft.com/office/drawing/2014/chart" uri="{C3380CC4-5D6E-409C-BE32-E72D297353CC}">
                <c16:uniqueId val="{00000497-F218-4DDE-952B-C0F0729EE755}"/>
              </c:ext>
            </c:extLst>
          </c:dPt>
          <c:dPt>
            <c:idx val="587"/>
            <c:invertIfNegative val="1"/>
            <c:bubble3D val="0"/>
            <c:spPr>
              <a:solidFill>
                <a:srgbClr val="AEABAB"/>
              </a:solidFill>
            </c:spPr>
            <c:extLst>
              <c:ext xmlns:c16="http://schemas.microsoft.com/office/drawing/2014/chart" uri="{C3380CC4-5D6E-409C-BE32-E72D297353CC}">
                <c16:uniqueId val="{00000499-F218-4DDE-952B-C0F0729EE755}"/>
              </c:ext>
            </c:extLst>
          </c:dPt>
          <c:dPt>
            <c:idx val="588"/>
            <c:invertIfNegative val="1"/>
            <c:bubble3D val="0"/>
            <c:spPr>
              <a:solidFill>
                <a:srgbClr val="AEABAB"/>
              </a:solidFill>
            </c:spPr>
            <c:extLst>
              <c:ext xmlns:c16="http://schemas.microsoft.com/office/drawing/2014/chart" uri="{C3380CC4-5D6E-409C-BE32-E72D297353CC}">
                <c16:uniqueId val="{0000049B-F218-4DDE-952B-C0F0729EE755}"/>
              </c:ext>
            </c:extLst>
          </c:dPt>
          <c:dPt>
            <c:idx val="589"/>
            <c:invertIfNegative val="1"/>
            <c:bubble3D val="0"/>
            <c:spPr>
              <a:solidFill>
                <a:srgbClr val="AEABAB"/>
              </a:solidFill>
            </c:spPr>
            <c:extLst>
              <c:ext xmlns:c16="http://schemas.microsoft.com/office/drawing/2014/chart" uri="{C3380CC4-5D6E-409C-BE32-E72D297353CC}">
                <c16:uniqueId val="{0000049D-F218-4DDE-952B-C0F0729EE755}"/>
              </c:ext>
            </c:extLst>
          </c:dPt>
          <c:dPt>
            <c:idx val="590"/>
            <c:invertIfNegative val="1"/>
            <c:bubble3D val="0"/>
            <c:spPr>
              <a:solidFill>
                <a:srgbClr val="AEABAB"/>
              </a:solidFill>
            </c:spPr>
            <c:extLst>
              <c:ext xmlns:c16="http://schemas.microsoft.com/office/drawing/2014/chart" uri="{C3380CC4-5D6E-409C-BE32-E72D297353CC}">
                <c16:uniqueId val="{0000049F-F218-4DDE-952B-C0F0729EE755}"/>
              </c:ext>
            </c:extLst>
          </c:dPt>
          <c:dPt>
            <c:idx val="591"/>
            <c:invertIfNegative val="1"/>
            <c:bubble3D val="0"/>
            <c:spPr>
              <a:solidFill>
                <a:srgbClr val="AEABAB"/>
              </a:solidFill>
            </c:spPr>
            <c:extLst>
              <c:ext xmlns:c16="http://schemas.microsoft.com/office/drawing/2014/chart" uri="{C3380CC4-5D6E-409C-BE32-E72D297353CC}">
                <c16:uniqueId val="{000004A1-F218-4DDE-952B-C0F0729EE755}"/>
              </c:ext>
            </c:extLst>
          </c:dPt>
          <c:dPt>
            <c:idx val="592"/>
            <c:invertIfNegative val="1"/>
            <c:bubble3D val="0"/>
            <c:spPr>
              <a:solidFill>
                <a:srgbClr val="AEABAB"/>
              </a:solidFill>
            </c:spPr>
            <c:extLst>
              <c:ext xmlns:c16="http://schemas.microsoft.com/office/drawing/2014/chart" uri="{C3380CC4-5D6E-409C-BE32-E72D297353CC}">
                <c16:uniqueId val="{000004A3-F218-4DDE-952B-C0F0729EE755}"/>
              </c:ext>
            </c:extLst>
          </c:dPt>
          <c:dPt>
            <c:idx val="593"/>
            <c:invertIfNegative val="1"/>
            <c:bubble3D val="0"/>
            <c:spPr>
              <a:solidFill>
                <a:srgbClr val="AEABAB"/>
              </a:solidFill>
            </c:spPr>
            <c:extLst>
              <c:ext xmlns:c16="http://schemas.microsoft.com/office/drawing/2014/chart" uri="{C3380CC4-5D6E-409C-BE32-E72D297353CC}">
                <c16:uniqueId val="{000004A5-F218-4DDE-952B-C0F0729EE755}"/>
              </c:ext>
            </c:extLst>
          </c:dPt>
          <c:dPt>
            <c:idx val="594"/>
            <c:invertIfNegative val="1"/>
            <c:bubble3D val="0"/>
            <c:spPr>
              <a:solidFill>
                <a:srgbClr val="AEABAB"/>
              </a:solidFill>
            </c:spPr>
            <c:extLst>
              <c:ext xmlns:c16="http://schemas.microsoft.com/office/drawing/2014/chart" uri="{C3380CC4-5D6E-409C-BE32-E72D297353CC}">
                <c16:uniqueId val="{000004A7-F218-4DDE-952B-C0F0729EE755}"/>
              </c:ext>
            </c:extLst>
          </c:dPt>
          <c:dPt>
            <c:idx val="595"/>
            <c:invertIfNegative val="1"/>
            <c:bubble3D val="0"/>
            <c:spPr>
              <a:solidFill>
                <a:srgbClr val="AEABAB"/>
              </a:solidFill>
            </c:spPr>
            <c:extLst>
              <c:ext xmlns:c16="http://schemas.microsoft.com/office/drawing/2014/chart" uri="{C3380CC4-5D6E-409C-BE32-E72D297353CC}">
                <c16:uniqueId val="{000004A9-F218-4DDE-952B-C0F0729EE755}"/>
              </c:ext>
            </c:extLst>
          </c:dPt>
          <c:dPt>
            <c:idx val="596"/>
            <c:invertIfNegative val="1"/>
            <c:bubble3D val="0"/>
            <c:spPr>
              <a:solidFill>
                <a:srgbClr val="AEABAB"/>
              </a:solidFill>
            </c:spPr>
            <c:extLst>
              <c:ext xmlns:c16="http://schemas.microsoft.com/office/drawing/2014/chart" uri="{C3380CC4-5D6E-409C-BE32-E72D297353CC}">
                <c16:uniqueId val="{000004AB-F218-4DDE-952B-C0F0729EE755}"/>
              </c:ext>
            </c:extLst>
          </c:dPt>
          <c:dPt>
            <c:idx val="597"/>
            <c:invertIfNegative val="1"/>
            <c:bubble3D val="0"/>
            <c:spPr>
              <a:solidFill>
                <a:srgbClr val="AEABAB"/>
              </a:solidFill>
            </c:spPr>
            <c:extLst>
              <c:ext xmlns:c16="http://schemas.microsoft.com/office/drawing/2014/chart" uri="{C3380CC4-5D6E-409C-BE32-E72D297353CC}">
                <c16:uniqueId val="{000004AD-F218-4DDE-952B-C0F0729EE755}"/>
              </c:ext>
            </c:extLst>
          </c:dPt>
          <c:dPt>
            <c:idx val="598"/>
            <c:invertIfNegative val="1"/>
            <c:bubble3D val="0"/>
            <c:spPr>
              <a:solidFill>
                <a:srgbClr val="AEABAB"/>
              </a:solidFill>
            </c:spPr>
            <c:extLst>
              <c:ext xmlns:c16="http://schemas.microsoft.com/office/drawing/2014/chart" uri="{C3380CC4-5D6E-409C-BE32-E72D297353CC}">
                <c16:uniqueId val="{000004AF-F218-4DDE-952B-C0F0729EE755}"/>
              </c:ext>
            </c:extLst>
          </c:dPt>
          <c:dPt>
            <c:idx val="599"/>
            <c:invertIfNegative val="1"/>
            <c:bubble3D val="0"/>
            <c:spPr>
              <a:solidFill>
                <a:srgbClr val="AEABAB"/>
              </a:solidFill>
            </c:spPr>
            <c:extLst>
              <c:ext xmlns:c16="http://schemas.microsoft.com/office/drawing/2014/chart" uri="{C3380CC4-5D6E-409C-BE32-E72D297353CC}">
                <c16:uniqueId val="{000004B1-F218-4DDE-952B-C0F0729EE755}"/>
              </c:ext>
            </c:extLst>
          </c:dPt>
          <c:dPt>
            <c:idx val="600"/>
            <c:invertIfNegative val="1"/>
            <c:bubble3D val="0"/>
            <c:spPr>
              <a:solidFill>
                <a:srgbClr val="AEABAB"/>
              </a:solidFill>
            </c:spPr>
            <c:extLst>
              <c:ext xmlns:c16="http://schemas.microsoft.com/office/drawing/2014/chart" uri="{C3380CC4-5D6E-409C-BE32-E72D297353CC}">
                <c16:uniqueId val="{000004B3-F218-4DDE-952B-C0F0729EE755}"/>
              </c:ext>
            </c:extLst>
          </c:dPt>
          <c:dPt>
            <c:idx val="601"/>
            <c:invertIfNegative val="1"/>
            <c:bubble3D val="0"/>
            <c:spPr>
              <a:solidFill>
                <a:srgbClr val="AEABAB"/>
              </a:solidFill>
            </c:spPr>
            <c:extLst>
              <c:ext xmlns:c16="http://schemas.microsoft.com/office/drawing/2014/chart" uri="{C3380CC4-5D6E-409C-BE32-E72D297353CC}">
                <c16:uniqueId val="{000004B5-F218-4DDE-952B-C0F0729EE755}"/>
              </c:ext>
            </c:extLst>
          </c:dPt>
          <c:dPt>
            <c:idx val="602"/>
            <c:invertIfNegative val="1"/>
            <c:bubble3D val="0"/>
            <c:spPr>
              <a:solidFill>
                <a:srgbClr val="AEABAB"/>
              </a:solidFill>
            </c:spPr>
            <c:extLst>
              <c:ext xmlns:c16="http://schemas.microsoft.com/office/drawing/2014/chart" uri="{C3380CC4-5D6E-409C-BE32-E72D297353CC}">
                <c16:uniqueId val="{000004B7-F218-4DDE-952B-C0F0729EE755}"/>
              </c:ext>
            </c:extLst>
          </c:dPt>
          <c:dPt>
            <c:idx val="603"/>
            <c:invertIfNegative val="1"/>
            <c:bubble3D val="0"/>
            <c:spPr>
              <a:solidFill>
                <a:srgbClr val="AEABAB"/>
              </a:solidFill>
            </c:spPr>
            <c:extLst>
              <c:ext xmlns:c16="http://schemas.microsoft.com/office/drawing/2014/chart" uri="{C3380CC4-5D6E-409C-BE32-E72D297353CC}">
                <c16:uniqueId val="{000004B9-F218-4DDE-952B-C0F0729EE755}"/>
              </c:ext>
            </c:extLst>
          </c:dPt>
          <c:dPt>
            <c:idx val="604"/>
            <c:invertIfNegative val="1"/>
            <c:bubble3D val="0"/>
            <c:spPr>
              <a:solidFill>
                <a:srgbClr val="AEABAB"/>
              </a:solidFill>
            </c:spPr>
            <c:extLst>
              <c:ext xmlns:c16="http://schemas.microsoft.com/office/drawing/2014/chart" uri="{C3380CC4-5D6E-409C-BE32-E72D297353CC}">
                <c16:uniqueId val="{000004BB-F218-4DDE-952B-C0F0729EE755}"/>
              </c:ext>
            </c:extLst>
          </c:dPt>
          <c:dPt>
            <c:idx val="605"/>
            <c:invertIfNegative val="1"/>
            <c:bubble3D val="0"/>
            <c:spPr>
              <a:solidFill>
                <a:srgbClr val="AEABAB"/>
              </a:solidFill>
            </c:spPr>
            <c:extLst>
              <c:ext xmlns:c16="http://schemas.microsoft.com/office/drawing/2014/chart" uri="{C3380CC4-5D6E-409C-BE32-E72D297353CC}">
                <c16:uniqueId val="{000004BD-F218-4DDE-952B-C0F0729EE755}"/>
              </c:ext>
            </c:extLst>
          </c:dPt>
          <c:dPt>
            <c:idx val="606"/>
            <c:invertIfNegative val="1"/>
            <c:bubble3D val="0"/>
            <c:spPr>
              <a:solidFill>
                <a:srgbClr val="AEABAB"/>
              </a:solidFill>
            </c:spPr>
            <c:extLst>
              <c:ext xmlns:c16="http://schemas.microsoft.com/office/drawing/2014/chart" uri="{C3380CC4-5D6E-409C-BE32-E72D297353CC}">
                <c16:uniqueId val="{000004BF-F218-4DDE-952B-C0F0729EE755}"/>
              </c:ext>
            </c:extLst>
          </c:dPt>
          <c:dPt>
            <c:idx val="607"/>
            <c:invertIfNegative val="1"/>
            <c:bubble3D val="0"/>
            <c:spPr>
              <a:solidFill>
                <a:srgbClr val="AEABAB"/>
              </a:solidFill>
            </c:spPr>
            <c:extLst>
              <c:ext xmlns:c16="http://schemas.microsoft.com/office/drawing/2014/chart" uri="{C3380CC4-5D6E-409C-BE32-E72D297353CC}">
                <c16:uniqueId val="{000004C1-F218-4DDE-952B-C0F0729EE755}"/>
              </c:ext>
            </c:extLst>
          </c:dPt>
          <c:dPt>
            <c:idx val="608"/>
            <c:invertIfNegative val="1"/>
            <c:bubble3D val="0"/>
            <c:spPr>
              <a:solidFill>
                <a:srgbClr val="AEABAB"/>
              </a:solidFill>
            </c:spPr>
            <c:extLst>
              <c:ext xmlns:c16="http://schemas.microsoft.com/office/drawing/2014/chart" uri="{C3380CC4-5D6E-409C-BE32-E72D297353CC}">
                <c16:uniqueId val="{000004C3-F218-4DDE-952B-C0F0729EE755}"/>
              </c:ext>
            </c:extLst>
          </c:dPt>
          <c:dPt>
            <c:idx val="609"/>
            <c:invertIfNegative val="1"/>
            <c:bubble3D val="0"/>
            <c:spPr>
              <a:solidFill>
                <a:srgbClr val="AEABAB"/>
              </a:solidFill>
            </c:spPr>
            <c:extLst>
              <c:ext xmlns:c16="http://schemas.microsoft.com/office/drawing/2014/chart" uri="{C3380CC4-5D6E-409C-BE32-E72D297353CC}">
                <c16:uniqueId val="{000004C5-F218-4DDE-952B-C0F0729EE755}"/>
              </c:ext>
            </c:extLst>
          </c:dPt>
          <c:dPt>
            <c:idx val="610"/>
            <c:invertIfNegative val="1"/>
            <c:bubble3D val="0"/>
            <c:spPr>
              <a:solidFill>
                <a:srgbClr val="AEABAB"/>
              </a:solidFill>
            </c:spPr>
            <c:extLst>
              <c:ext xmlns:c16="http://schemas.microsoft.com/office/drawing/2014/chart" uri="{C3380CC4-5D6E-409C-BE32-E72D297353CC}">
                <c16:uniqueId val="{000004C7-F218-4DDE-952B-C0F0729EE755}"/>
              </c:ext>
            </c:extLst>
          </c:dPt>
          <c:dPt>
            <c:idx val="611"/>
            <c:invertIfNegative val="1"/>
            <c:bubble3D val="0"/>
            <c:spPr>
              <a:solidFill>
                <a:srgbClr val="AEABAB"/>
              </a:solidFill>
            </c:spPr>
            <c:extLst>
              <c:ext xmlns:c16="http://schemas.microsoft.com/office/drawing/2014/chart" uri="{C3380CC4-5D6E-409C-BE32-E72D297353CC}">
                <c16:uniqueId val="{000004C9-F218-4DDE-952B-C0F0729EE755}"/>
              </c:ext>
            </c:extLst>
          </c:dPt>
          <c:dPt>
            <c:idx val="612"/>
            <c:invertIfNegative val="1"/>
            <c:bubble3D val="0"/>
            <c:spPr>
              <a:solidFill>
                <a:srgbClr val="AEABAB"/>
              </a:solidFill>
            </c:spPr>
            <c:extLst>
              <c:ext xmlns:c16="http://schemas.microsoft.com/office/drawing/2014/chart" uri="{C3380CC4-5D6E-409C-BE32-E72D297353CC}">
                <c16:uniqueId val="{000004CB-F218-4DDE-952B-C0F0729EE755}"/>
              </c:ext>
            </c:extLst>
          </c:dPt>
          <c:dPt>
            <c:idx val="613"/>
            <c:invertIfNegative val="1"/>
            <c:bubble3D val="0"/>
            <c:spPr>
              <a:solidFill>
                <a:srgbClr val="AEABAB"/>
              </a:solidFill>
            </c:spPr>
            <c:extLst>
              <c:ext xmlns:c16="http://schemas.microsoft.com/office/drawing/2014/chart" uri="{C3380CC4-5D6E-409C-BE32-E72D297353CC}">
                <c16:uniqueId val="{000004CD-F218-4DDE-952B-C0F0729EE755}"/>
              </c:ext>
            </c:extLst>
          </c:dPt>
          <c:dPt>
            <c:idx val="614"/>
            <c:invertIfNegative val="1"/>
            <c:bubble3D val="0"/>
            <c:spPr>
              <a:solidFill>
                <a:srgbClr val="AEABAB"/>
              </a:solidFill>
            </c:spPr>
            <c:extLst>
              <c:ext xmlns:c16="http://schemas.microsoft.com/office/drawing/2014/chart" uri="{C3380CC4-5D6E-409C-BE32-E72D297353CC}">
                <c16:uniqueId val="{000004CF-F218-4DDE-952B-C0F0729EE755}"/>
              </c:ext>
            </c:extLst>
          </c:dPt>
          <c:dPt>
            <c:idx val="615"/>
            <c:invertIfNegative val="1"/>
            <c:bubble3D val="0"/>
            <c:spPr>
              <a:solidFill>
                <a:srgbClr val="AEABAB"/>
              </a:solidFill>
            </c:spPr>
            <c:extLst>
              <c:ext xmlns:c16="http://schemas.microsoft.com/office/drawing/2014/chart" uri="{C3380CC4-5D6E-409C-BE32-E72D297353CC}">
                <c16:uniqueId val="{000004D1-F218-4DDE-952B-C0F0729EE755}"/>
              </c:ext>
            </c:extLst>
          </c:dPt>
          <c:dPt>
            <c:idx val="616"/>
            <c:invertIfNegative val="1"/>
            <c:bubble3D val="0"/>
            <c:spPr>
              <a:solidFill>
                <a:srgbClr val="AEABAB"/>
              </a:solidFill>
            </c:spPr>
            <c:extLst>
              <c:ext xmlns:c16="http://schemas.microsoft.com/office/drawing/2014/chart" uri="{C3380CC4-5D6E-409C-BE32-E72D297353CC}">
                <c16:uniqueId val="{000004D3-F218-4DDE-952B-C0F0729EE755}"/>
              </c:ext>
            </c:extLst>
          </c:dPt>
          <c:dPt>
            <c:idx val="617"/>
            <c:invertIfNegative val="1"/>
            <c:bubble3D val="0"/>
            <c:spPr>
              <a:solidFill>
                <a:srgbClr val="AEABAB"/>
              </a:solidFill>
            </c:spPr>
            <c:extLst>
              <c:ext xmlns:c16="http://schemas.microsoft.com/office/drawing/2014/chart" uri="{C3380CC4-5D6E-409C-BE32-E72D297353CC}">
                <c16:uniqueId val="{000004D5-F218-4DDE-952B-C0F0729EE755}"/>
              </c:ext>
            </c:extLst>
          </c:dPt>
          <c:dPt>
            <c:idx val="618"/>
            <c:invertIfNegative val="1"/>
            <c:bubble3D val="0"/>
            <c:spPr>
              <a:solidFill>
                <a:srgbClr val="AEABAB"/>
              </a:solidFill>
            </c:spPr>
            <c:extLst>
              <c:ext xmlns:c16="http://schemas.microsoft.com/office/drawing/2014/chart" uri="{C3380CC4-5D6E-409C-BE32-E72D297353CC}">
                <c16:uniqueId val="{000004D7-F218-4DDE-952B-C0F0729EE755}"/>
              </c:ext>
            </c:extLst>
          </c:dPt>
          <c:dPt>
            <c:idx val="619"/>
            <c:invertIfNegative val="1"/>
            <c:bubble3D val="0"/>
            <c:spPr>
              <a:solidFill>
                <a:srgbClr val="AEABAB"/>
              </a:solidFill>
            </c:spPr>
            <c:extLst>
              <c:ext xmlns:c16="http://schemas.microsoft.com/office/drawing/2014/chart" uri="{C3380CC4-5D6E-409C-BE32-E72D297353CC}">
                <c16:uniqueId val="{000004D9-F218-4DDE-952B-C0F0729EE755}"/>
              </c:ext>
            </c:extLst>
          </c:dPt>
          <c:dPt>
            <c:idx val="620"/>
            <c:invertIfNegative val="1"/>
            <c:bubble3D val="0"/>
            <c:spPr>
              <a:solidFill>
                <a:srgbClr val="AEABAB"/>
              </a:solidFill>
            </c:spPr>
            <c:extLst>
              <c:ext xmlns:c16="http://schemas.microsoft.com/office/drawing/2014/chart" uri="{C3380CC4-5D6E-409C-BE32-E72D297353CC}">
                <c16:uniqueId val="{000004DB-F218-4DDE-952B-C0F0729EE755}"/>
              </c:ext>
            </c:extLst>
          </c:dPt>
          <c:dPt>
            <c:idx val="621"/>
            <c:invertIfNegative val="1"/>
            <c:bubble3D val="0"/>
            <c:spPr>
              <a:solidFill>
                <a:srgbClr val="AEABAB"/>
              </a:solidFill>
            </c:spPr>
            <c:extLst>
              <c:ext xmlns:c16="http://schemas.microsoft.com/office/drawing/2014/chart" uri="{C3380CC4-5D6E-409C-BE32-E72D297353CC}">
                <c16:uniqueId val="{000004DD-F218-4DDE-952B-C0F0729EE755}"/>
              </c:ext>
            </c:extLst>
          </c:dPt>
          <c:dPt>
            <c:idx val="622"/>
            <c:invertIfNegative val="1"/>
            <c:bubble3D val="0"/>
            <c:spPr>
              <a:solidFill>
                <a:srgbClr val="AEABAB"/>
              </a:solidFill>
            </c:spPr>
            <c:extLst>
              <c:ext xmlns:c16="http://schemas.microsoft.com/office/drawing/2014/chart" uri="{C3380CC4-5D6E-409C-BE32-E72D297353CC}">
                <c16:uniqueId val="{000004DF-F218-4DDE-952B-C0F0729EE755}"/>
              </c:ext>
            </c:extLst>
          </c:dPt>
          <c:dPt>
            <c:idx val="623"/>
            <c:invertIfNegative val="1"/>
            <c:bubble3D val="0"/>
            <c:spPr>
              <a:solidFill>
                <a:srgbClr val="AEABAB"/>
              </a:solidFill>
            </c:spPr>
            <c:extLst>
              <c:ext xmlns:c16="http://schemas.microsoft.com/office/drawing/2014/chart" uri="{C3380CC4-5D6E-409C-BE32-E72D297353CC}">
                <c16:uniqueId val="{000004E1-F218-4DDE-952B-C0F0729EE755}"/>
              </c:ext>
            </c:extLst>
          </c:dPt>
          <c:dPt>
            <c:idx val="624"/>
            <c:invertIfNegative val="1"/>
            <c:bubble3D val="0"/>
            <c:spPr>
              <a:solidFill>
                <a:srgbClr val="AEABAB"/>
              </a:solidFill>
            </c:spPr>
            <c:extLst>
              <c:ext xmlns:c16="http://schemas.microsoft.com/office/drawing/2014/chart" uri="{C3380CC4-5D6E-409C-BE32-E72D297353CC}">
                <c16:uniqueId val="{000004E3-F218-4DDE-952B-C0F0729EE755}"/>
              </c:ext>
            </c:extLst>
          </c:dPt>
          <c:dPt>
            <c:idx val="625"/>
            <c:invertIfNegative val="1"/>
            <c:bubble3D val="0"/>
            <c:spPr>
              <a:solidFill>
                <a:srgbClr val="AEABAB"/>
              </a:solidFill>
            </c:spPr>
            <c:extLst>
              <c:ext xmlns:c16="http://schemas.microsoft.com/office/drawing/2014/chart" uri="{C3380CC4-5D6E-409C-BE32-E72D297353CC}">
                <c16:uniqueId val="{000004E5-F218-4DDE-952B-C0F0729EE755}"/>
              </c:ext>
            </c:extLst>
          </c:dPt>
          <c:dPt>
            <c:idx val="626"/>
            <c:invertIfNegative val="1"/>
            <c:bubble3D val="0"/>
            <c:spPr>
              <a:solidFill>
                <a:srgbClr val="AEABAB"/>
              </a:solidFill>
            </c:spPr>
            <c:extLst>
              <c:ext xmlns:c16="http://schemas.microsoft.com/office/drawing/2014/chart" uri="{C3380CC4-5D6E-409C-BE32-E72D297353CC}">
                <c16:uniqueId val="{000004E7-F218-4DDE-952B-C0F0729EE755}"/>
              </c:ext>
            </c:extLst>
          </c:dPt>
          <c:dPt>
            <c:idx val="627"/>
            <c:invertIfNegative val="1"/>
            <c:bubble3D val="0"/>
            <c:spPr>
              <a:solidFill>
                <a:srgbClr val="AEABAB"/>
              </a:solidFill>
            </c:spPr>
            <c:extLst>
              <c:ext xmlns:c16="http://schemas.microsoft.com/office/drawing/2014/chart" uri="{C3380CC4-5D6E-409C-BE32-E72D297353CC}">
                <c16:uniqueId val="{000004E9-F218-4DDE-952B-C0F0729EE755}"/>
              </c:ext>
            </c:extLst>
          </c:dPt>
          <c:dPt>
            <c:idx val="628"/>
            <c:invertIfNegative val="1"/>
            <c:bubble3D val="0"/>
            <c:spPr>
              <a:solidFill>
                <a:srgbClr val="AEABAB"/>
              </a:solidFill>
            </c:spPr>
            <c:extLst>
              <c:ext xmlns:c16="http://schemas.microsoft.com/office/drawing/2014/chart" uri="{C3380CC4-5D6E-409C-BE32-E72D297353CC}">
                <c16:uniqueId val="{000004EB-F218-4DDE-952B-C0F0729EE755}"/>
              </c:ext>
            </c:extLst>
          </c:dPt>
          <c:dPt>
            <c:idx val="629"/>
            <c:invertIfNegative val="1"/>
            <c:bubble3D val="0"/>
            <c:spPr>
              <a:solidFill>
                <a:srgbClr val="AEABAB"/>
              </a:solidFill>
            </c:spPr>
            <c:extLst>
              <c:ext xmlns:c16="http://schemas.microsoft.com/office/drawing/2014/chart" uri="{C3380CC4-5D6E-409C-BE32-E72D297353CC}">
                <c16:uniqueId val="{000004ED-F218-4DDE-952B-C0F0729EE755}"/>
              </c:ext>
            </c:extLst>
          </c:dPt>
          <c:dPt>
            <c:idx val="630"/>
            <c:invertIfNegative val="1"/>
            <c:bubble3D val="0"/>
            <c:spPr>
              <a:solidFill>
                <a:srgbClr val="AEABAB"/>
              </a:solidFill>
            </c:spPr>
            <c:extLst>
              <c:ext xmlns:c16="http://schemas.microsoft.com/office/drawing/2014/chart" uri="{C3380CC4-5D6E-409C-BE32-E72D297353CC}">
                <c16:uniqueId val="{000004EF-F218-4DDE-952B-C0F0729EE755}"/>
              </c:ext>
            </c:extLst>
          </c:dPt>
          <c:dPt>
            <c:idx val="631"/>
            <c:invertIfNegative val="1"/>
            <c:bubble3D val="0"/>
            <c:spPr>
              <a:solidFill>
                <a:srgbClr val="AEABAB"/>
              </a:solidFill>
            </c:spPr>
            <c:extLst>
              <c:ext xmlns:c16="http://schemas.microsoft.com/office/drawing/2014/chart" uri="{C3380CC4-5D6E-409C-BE32-E72D297353CC}">
                <c16:uniqueId val="{000004F1-F218-4DDE-952B-C0F0729EE755}"/>
              </c:ext>
            </c:extLst>
          </c:dPt>
          <c:dPt>
            <c:idx val="632"/>
            <c:invertIfNegative val="1"/>
            <c:bubble3D val="0"/>
            <c:spPr>
              <a:solidFill>
                <a:srgbClr val="AEABAB"/>
              </a:solidFill>
            </c:spPr>
            <c:extLst>
              <c:ext xmlns:c16="http://schemas.microsoft.com/office/drawing/2014/chart" uri="{C3380CC4-5D6E-409C-BE32-E72D297353CC}">
                <c16:uniqueId val="{000004F3-F218-4DDE-952B-C0F0729EE755}"/>
              </c:ext>
            </c:extLst>
          </c:dPt>
          <c:dPt>
            <c:idx val="633"/>
            <c:invertIfNegative val="1"/>
            <c:bubble3D val="0"/>
            <c:spPr>
              <a:solidFill>
                <a:srgbClr val="AEABAB"/>
              </a:solidFill>
            </c:spPr>
            <c:extLst>
              <c:ext xmlns:c16="http://schemas.microsoft.com/office/drawing/2014/chart" uri="{C3380CC4-5D6E-409C-BE32-E72D297353CC}">
                <c16:uniqueId val="{000004F5-F218-4DDE-952B-C0F0729EE755}"/>
              </c:ext>
            </c:extLst>
          </c:dPt>
          <c:dPt>
            <c:idx val="634"/>
            <c:invertIfNegative val="1"/>
            <c:bubble3D val="0"/>
            <c:spPr>
              <a:solidFill>
                <a:srgbClr val="AEABAB"/>
              </a:solidFill>
            </c:spPr>
            <c:extLst>
              <c:ext xmlns:c16="http://schemas.microsoft.com/office/drawing/2014/chart" uri="{C3380CC4-5D6E-409C-BE32-E72D297353CC}">
                <c16:uniqueId val="{000004F7-F218-4DDE-952B-C0F0729EE755}"/>
              </c:ext>
            </c:extLst>
          </c:dPt>
          <c:dPt>
            <c:idx val="635"/>
            <c:invertIfNegative val="1"/>
            <c:bubble3D val="0"/>
            <c:spPr>
              <a:solidFill>
                <a:srgbClr val="AEABAB"/>
              </a:solidFill>
            </c:spPr>
            <c:extLst>
              <c:ext xmlns:c16="http://schemas.microsoft.com/office/drawing/2014/chart" uri="{C3380CC4-5D6E-409C-BE32-E72D297353CC}">
                <c16:uniqueId val="{000004F9-F218-4DDE-952B-C0F0729EE755}"/>
              </c:ext>
            </c:extLst>
          </c:dPt>
          <c:dPt>
            <c:idx val="636"/>
            <c:invertIfNegative val="1"/>
            <c:bubble3D val="0"/>
            <c:spPr>
              <a:solidFill>
                <a:srgbClr val="AEABAB"/>
              </a:solidFill>
            </c:spPr>
            <c:extLst>
              <c:ext xmlns:c16="http://schemas.microsoft.com/office/drawing/2014/chart" uri="{C3380CC4-5D6E-409C-BE32-E72D297353CC}">
                <c16:uniqueId val="{000004FB-F218-4DDE-952B-C0F0729EE755}"/>
              </c:ext>
            </c:extLst>
          </c:dPt>
          <c:dPt>
            <c:idx val="637"/>
            <c:invertIfNegative val="1"/>
            <c:bubble3D val="0"/>
            <c:spPr>
              <a:solidFill>
                <a:srgbClr val="AEABAB"/>
              </a:solidFill>
            </c:spPr>
            <c:extLst>
              <c:ext xmlns:c16="http://schemas.microsoft.com/office/drawing/2014/chart" uri="{C3380CC4-5D6E-409C-BE32-E72D297353CC}">
                <c16:uniqueId val="{000004FD-F218-4DDE-952B-C0F0729EE755}"/>
              </c:ext>
            </c:extLst>
          </c:dPt>
          <c:dPt>
            <c:idx val="638"/>
            <c:invertIfNegative val="1"/>
            <c:bubble3D val="0"/>
            <c:spPr>
              <a:solidFill>
                <a:srgbClr val="AEABAB"/>
              </a:solidFill>
            </c:spPr>
            <c:extLst>
              <c:ext xmlns:c16="http://schemas.microsoft.com/office/drawing/2014/chart" uri="{C3380CC4-5D6E-409C-BE32-E72D297353CC}">
                <c16:uniqueId val="{000004FF-F218-4DDE-952B-C0F0729EE755}"/>
              </c:ext>
            </c:extLst>
          </c:dPt>
          <c:dPt>
            <c:idx val="639"/>
            <c:invertIfNegative val="1"/>
            <c:bubble3D val="0"/>
            <c:spPr>
              <a:solidFill>
                <a:srgbClr val="AEABAB"/>
              </a:solidFill>
            </c:spPr>
            <c:extLst>
              <c:ext xmlns:c16="http://schemas.microsoft.com/office/drawing/2014/chart" uri="{C3380CC4-5D6E-409C-BE32-E72D297353CC}">
                <c16:uniqueId val="{00000501-F218-4DDE-952B-C0F0729EE755}"/>
              </c:ext>
            </c:extLst>
          </c:dPt>
          <c:dPt>
            <c:idx val="640"/>
            <c:invertIfNegative val="1"/>
            <c:bubble3D val="0"/>
            <c:spPr>
              <a:solidFill>
                <a:srgbClr val="AEABAB"/>
              </a:solidFill>
            </c:spPr>
            <c:extLst>
              <c:ext xmlns:c16="http://schemas.microsoft.com/office/drawing/2014/chart" uri="{C3380CC4-5D6E-409C-BE32-E72D297353CC}">
                <c16:uniqueId val="{00000503-F218-4DDE-952B-C0F0729EE755}"/>
              </c:ext>
            </c:extLst>
          </c:dPt>
          <c:dPt>
            <c:idx val="641"/>
            <c:invertIfNegative val="1"/>
            <c:bubble3D val="0"/>
            <c:spPr>
              <a:solidFill>
                <a:srgbClr val="AEABAB"/>
              </a:solidFill>
            </c:spPr>
            <c:extLst>
              <c:ext xmlns:c16="http://schemas.microsoft.com/office/drawing/2014/chart" uri="{C3380CC4-5D6E-409C-BE32-E72D297353CC}">
                <c16:uniqueId val="{00000505-F218-4DDE-952B-C0F0729EE755}"/>
              </c:ext>
            </c:extLst>
          </c:dPt>
          <c:dPt>
            <c:idx val="642"/>
            <c:invertIfNegative val="1"/>
            <c:bubble3D val="0"/>
            <c:spPr>
              <a:solidFill>
                <a:srgbClr val="AEABAB"/>
              </a:solidFill>
            </c:spPr>
            <c:extLst>
              <c:ext xmlns:c16="http://schemas.microsoft.com/office/drawing/2014/chart" uri="{C3380CC4-5D6E-409C-BE32-E72D297353CC}">
                <c16:uniqueId val="{00000507-F218-4DDE-952B-C0F0729EE755}"/>
              </c:ext>
            </c:extLst>
          </c:dPt>
          <c:dPt>
            <c:idx val="643"/>
            <c:invertIfNegative val="1"/>
            <c:bubble3D val="0"/>
            <c:spPr>
              <a:solidFill>
                <a:srgbClr val="AEABAB"/>
              </a:solidFill>
            </c:spPr>
            <c:extLst>
              <c:ext xmlns:c16="http://schemas.microsoft.com/office/drawing/2014/chart" uri="{C3380CC4-5D6E-409C-BE32-E72D297353CC}">
                <c16:uniqueId val="{00000509-F218-4DDE-952B-C0F0729EE755}"/>
              </c:ext>
            </c:extLst>
          </c:dPt>
          <c:dPt>
            <c:idx val="644"/>
            <c:invertIfNegative val="1"/>
            <c:bubble3D val="0"/>
            <c:spPr>
              <a:solidFill>
                <a:srgbClr val="AEABAB"/>
              </a:solidFill>
            </c:spPr>
            <c:extLst>
              <c:ext xmlns:c16="http://schemas.microsoft.com/office/drawing/2014/chart" uri="{C3380CC4-5D6E-409C-BE32-E72D297353CC}">
                <c16:uniqueId val="{0000050B-F218-4DDE-952B-C0F0729EE755}"/>
              </c:ext>
            </c:extLst>
          </c:dPt>
          <c:dPt>
            <c:idx val="645"/>
            <c:invertIfNegative val="1"/>
            <c:bubble3D val="0"/>
            <c:spPr>
              <a:solidFill>
                <a:srgbClr val="AEABAB"/>
              </a:solidFill>
            </c:spPr>
            <c:extLst>
              <c:ext xmlns:c16="http://schemas.microsoft.com/office/drawing/2014/chart" uri="{C3380CC4-5D6E-409C-BE32-E72D297353CC}">
                <c16:uniqueId val="{0000050D-F218-4DDE-952B-C0F0729EE755}"/>
              </c:ext>
            </c:extLst>
          </c:dPt>
          <c:dPt>
            <c:idx val="646"/>
            <c:invertIfNegative val="1"/>
            <c:bubble3D val="0"/>
            <c:spPr>
              <a:solidFill>
                <a:srgbClr val="AEABAB"/>
              </a:solidFill>
            </c:spPr>
            <c:extLst>
              <c:ext xmlns:c16="http://schemas.microsoft.com/office/drawing/2014/chart" uri="{C3380CC4-5D6E-409C-BE32-E72D297353CC}">
                <c16:uniqueId val="{0000050F-F218-4DDE-952B-C0F0729EE755}"/>
              </c:ext>
            </c:extLst>
          </c:dPt>
          <c:dPt>
            <c:idx val="647"/>
            <c:invertIfNegative val="1"/>
            <c:bubble3D val="0"/>
            <c:spPr>
              <a:solidFill>
                <a:srgbClr val="AEABAB"/>
              </a:solidFill>
            </c:spPr>
            <c:extLst>
              <c:ext xmlns:c16="http://schemas.microsoft.com/office/drawing/2014/chart" uri="{C3380CC4-5D6E-409C-BE32-E72D297353CC}">
                <c16:uniqueId val="{00000511-F218-4DDE-952B-C0F0729EE755}"/>
              </c:ext>
            </c:extLst>
          </c:dPt>
          <c:dPt>
            <c:idx val="648"/>
            <c:invertIfNegative val="1"/>
            <c:bubble3D val="0"/>
            <c:spPr>
              <a:solidFill>
                <a:srgbClr val="AEABAB"/>
              </a:solidFill>
            </c:spPr>
            <c:extLst>
              <c:ext xmlns:c16="http://schemas.microsoft.com/office/drawing/2014/chart" uri="{C3380CC4-5D6E-409C-BE32-E72D297353CC}">
                <c16:uniqueId val="{00000513-F218-4DDE-952B-C0F0729EE755}"/>
              </c:ext>
            </c:extLst>
          </c:dPt>
          <c:dPt>
            <c:idx val="649"/>
            <c:invertIfNegative val="1"/>
            <c:bubble3D val="0"/>
            <c:spPr>
              <a:solidFill>
                <a:srgbClr val="AEABAB"/>
              </a:solidFill>
            </c:spPr>
            <c:extLst>
              <c:ext xmlns:c16="http://schemas.microsoft.com/office/drawing/2014/chart" uri="{C3380CC4-5D6E-409C-BE32-E72D297353CC}">
                <c16:uniqueId val="{00000515-F218-4DDE-952B-C0F0729EE755}"/>
              </c:ext>
            </c:extLst>
          </c:dPt>
          <c:dPt>
            <c:idx val="650"/>
            <c:invertIfNegative val="1"/>
            <c:bubble3D val="0"/>
            <c:spPr>
              <a:solidFill>
                <a:srgbClr val="AEABAB"/>
              </a:solidFill>
            </c:spPr>
            <c:extLst>
              <c:ext xmlns:c16="http://schemas.microsoft.com/office/drawing/2014/chart" uri="{C3380CC4-5D6E-409C-BE32-E72D297353CC}">
                <c16:uniqueId val="{00000517-F218-4DDE-952B-C0F0729EE755}"/>
              </c:ext>
            </c:extLst>
          </c:dPt>
          <c:dPt>
            <c:idx val="651"/>
            <c:invertIfNegative val="1"/>
            <c:bubble3D val="0"/>
            <c:spPr>
              <a:solidFill>
                <a:srgbClr val="AEABAB"/>
              </a:solidFill>
            </c:spPr>
            <c:extLst>
              <c:ext xmlns:c16="http://schemas.microsoft.com/office/drawing/2014/chart" uri="{C3380CC4-5D6E-409C-BE32-E72D297353CC}">
                <c16:uniqueId val="{00000519-F218-4DDE-952B-C0F0729EE755}"/>
              </c:ext>
            </c:extLst>
          </c:dPt>
          <c:dPt>
            <c:idx val="652"/>
            <c:invertIfNegative val="1"/>
            <c:bubble3D val="0"/>
            <c:spPr>
              <a:solidFill>
                <a:srgbClr val="AEABAB"/>
              </a:solidFill>
            </c:spPr>
            <c:extLst>
              <c:ext xmlns:c16="http://schemas.microsoft.com/office/drawing/2014/chart" uri="{C3380CC4-5D6E-409C-BE32-E72D297353CC}">
                <c16:uniqueId val="{0000051B-F218-4DDE-952B-C0F0729EE755}"/>
              </c:ext>
            </c:extLst>
          </c:dPt>
          <c:dPt>
            <c:idx val="653"/>
            <c:invertIfNegative val="1"/>
            <c:bubble3D val="0"/>
            <c:spPr>
              <a:solidFill>
                <a:srgbClr val="AEABAB"/>
              </a:solidFill>
            </c:spPr>
            <c:extLst>
              <c:ext xmlns:c16="http://schemas.microsoft.com/office/drawing/2014/chart" uri="{C3380CC4-5D6E-409C-BE32-E72D297353CC}">
                <c16:uniqueId val="{0000051D-F218-4DDE-952B-C0F0729EE755}"/>
              </c:ext>
            </c:extLst>
          </c:dPt>
          <c:dPt>
            <c:idx val="654"/>
            <c:invertIfNegative val="1"/>
            <c:bubble3D val="0"/>
            <c:spPr>
              <a:solidFill>
                <a:srgbClr val="AEABAB"/>
              </a:solidFill>
            </c:spPr>
            <c:extLst>
              <c:ext xmlns:c16="http://schemas.microsoft.com/office/drawing/2014/chart" uri="{C3380CC4-5D6E-409C-BE32-E72D297353CC}">
                <c16:uniqueId val="{0000051F-F218-4DDE-952B-C0F0729EE755}"/>
              </c:ext>
            </c:extLst>
          </c:dPt>
          <c:dPt>
            <c:idx val="655"/>
            <c:invertIfNegative val="1"/>
            <c:bubble3D val="0"/>
            <c:spPr>
              <a:solidFill>
                <a:srgbClr val="AEABAB"/>
              </a:solidFill>
            </c:spPr>
            <c:extLst>
              <c:ext xmlns:c16="http://schemas.microsoft.com/office/drawing/2014/chart" uri="{C3380CC4-5D6E-409C-BE32-E72D297353CC}">
                <c16:uniqueId val="{00000521-F218-4DDE-952B-C0F0729EE755}"/>
              </c:ext>
            </c:extLst>
          </c:dPt>
          <c:dPt>
            <c:idx val="656"/>
            <c:invertIfNegative val="1"/>
            <c:bubble3D val="0"/>
            <c:spPr>
              <a:solidFill>
                <a:srgbClr val="AEABAB"/>
              </a:solidFill>
            </c:spPr>
            <c:extLst>
              <c:ext xmlns:c16="http://schemas.microsoft.com/office/drawing/2014/chart" uri="{C3380CC4-5D6E-409C-BE32-E72D297353CC}">
                <c16:uniqueId val="{00000523-F218-4DDE-952B-C0F0729EE755}"/>
              </c:ext>
            </c:extLst>
          </c:dPt>
          <c:dPt>
            <c:idx val="657"/>
            <c:invertIfNegative val="1"/>
            <c:bubble3D val="0"/>
            <c:spPr>
              <a:solidFill>
                <a:srgbClr val="AEABAB"/>
              </a:solidFill>
            </c:spPr>
            <c:extLst>
              <c:ext xmlns:c16="http://schemas.microsoft.com/office/drawing/2014/chart" uri="{C3380CC4-5D6E-409C-BE32-E72D297353CC}">
                <c16:uniqueId val="{00000525-F218-4DDE-952B-C0F0729EE755}"/>
              </c:ext>
            </c:extLst>
          </c:dPt>
          <c:dPt>
            <c:idx val="658"/>
            <c:invertIfNegative val="1"/>
            <c:bubble3D val="0"/>
            <c:spPr>
              <a:solidFill>
                <a:srgbClr val="AEABAB"/>
              </a:solidFill>
            </c:spPr>
            <c:extLst>
              <c:ext xmlns:c16="http://schemas.microsoft.com/office/drawing/2014/chart" uri="{C3380CC4-5D6E-409C-BE32-E72D297353CC}">
                <c16:uniqueId val="{00000527-F218-4DDE-952B-C0F0729EE755}"/>
              </c:ext>
            </c:extLst>
          </c:dPt>
          <c:dPt>
            <c:idx val="659"/>
            <c:invertIfNegative val="1"/>
            <c:bubble3D val="0"/>
            <c:spPr>
              <a:solidFill>
                <a:srgbClr val="AEABAB"/>
              </a:solidFill>
            </c:spPr>
            <c:extLst>
              <c:ext xmlns:c16="http://schemas.microsoft.com/office/drawing/2014/chart" uri="{C3380CC4-5D6E-409C-BE32-E72D297353CC}">
                <c16:uniqueId val="{00000529-F218-4DDE-952B-C0F0729EE755}"/>
              </c:ext>
            </c:extLst>
          </c:dPt>
          <c:dPt>
            <c:idx val="660"/>
            <c:invertIfNegative val="1"/>
            <c:bubble3D val="0"/>
            <c:spPr>
              <a:solidFill>
                <a:srgbClr val="AEABAB"/>
              </a:solidFill>
            </c:spPr>
            <c:extLst>
              <c:ext xmlns:c16="http://schemas.microsoft.com/office/drawing/2014/chart" uri="{C3380CC4-5D6E-409C-BE32-E72D297353CC}">
                <c16:uniqueId val="{0000052B-F218-4DDE-952B-C0F0729EE755}"/>
              </c:ext>
            </c:extLst>
          </c:dPt>
          <c:dPt>
            <c:idx val="661"/>
            <c:invertIfNegative val="1"/>
            <c:bubble3D val="0"/>
            <c:spPr>
              <a:solidFill>
                <a:srgbClr val="AEABAB"/>
              </a:solidFill>
            </c:spPr>
            <c:extLst>
              <c:ext xmlns:c16="http://schemas.microsoft.com/office/drawing/2014/chart" uri="{C3380CC4-5D6E-409C-BE32-E72D297353CC}">
                <c16:uniqueId val="{0000052D-F218-4DDE-952B-C0F0729EE755}"/>
              </c:ext>
            </c:extLst>
          </c:dPt>
          <c:dPt>
            <c:idx val="662"/>
            <c:invertIfNegative val="1"/>
            <c:bubble3D val="0"/>
            <c:spPr>
              <a:solidFill>
                <a:srgbClr val="AEABAB"/>
              </a:solidFill>
            </c:spPr>
            <c:extLst>
              <c:ext xmlns:c16="http://schemas.microsoft.com/office/drawing/2014/chart" uri="{C3380CC4-5D6E-409C-BE32-E72D297353CC}">
                <c16:uniqueId val="{0000052F-F218-4DDE-952B-C0F0729EE755}"/>
              </c:ext>
            </c:extLst>
          </c:dPt>
          <c:dPt>
            <c:idx val="663"/>
            <c:invertIfNegative val="1"/>
            <c:bubble3D val="0"/>
            <c:spPr>
              <a:solidFill>
                <a:srgbClr val="AEABAB"/>
              </a:solidFill>
            </c:spPr>
            <c:extLst>
              <c:ext xmlns:c16="http://schemas.microsoft.com/office/drawing/2014/chart" uri="{C3380CC4-5D6E-409C-BE32-E72D297353CC}">
                <c16:uniqueId val="{00000531-F218-4DDE-952B-C0F0729EE755}"/>
              </c:ext>
            </c:extLst>
          </c:dPt>
          <c:dPt>
            <c:idx val="664"/>
            <c:invertIfNegative val="1"/>
            <c:bubble3D val="0"/>
            <c:spPr>
              <a:solidFill>
                <a:srgbClr val="AEABAB"/>
              </a:solidFill>
            </c:spPr>
            <c:extLst>
              <c:ext xmlns:c16="http://schemas.microsoft.com/office/drawing/2014/chart" uri="{C3380CC4-5D6E-409C-BE32-E72D297353CC}">
                <c16:uniqueId val="{00000533-F218-4DDE-952B-C0F0729EE755}"/>
              </c:ext>
            </c:extLst>
          </c:dPt>
          <c:dPt>
            <c:idx val="665"/>
            <c:invertIfNegative val="1"/>
            <c:bubble3D val="0"/>
            <c:spPr>
              <a:solidFill>
                <a:srgbClr val="AEABAB"/>
              </a:solidFill>
            </c:spPr>
            <c:extLst>
              <c:ext xmlns:c16="http://schemas.microsoft.com/office/drawing/2014/chart" uri="{C3380CC4-5D6E-409C-BE32-E72D297353CC}">
                <c16:uniqueId val="{00000535-F218-4DDE-952B-C0F0729EE755}"/>
              </c:ext>
            </c:extLst>
          </c:dPt>
          <c:dPt>
            <c:idx val="666"/>
            <c:invertIfNegative val="1"/>
            <c:bubble3D val="0"/>
            <c:spPr>
              <a:solidFill>
                <a:srgbClr val="AEABAB"/>
              </a:solidFill>
            </c:spPr>
            <c:extLst>
              <c:ext xmlns:c16="http://schemas.microsoft.com/office/drawing/2014/chart" uri="{C3380CC4-5D6E-409C-BE32-E72D297353CC}">
                <c16:uniqueId val="{00000537-F218-4DDE-952B-C0F0729EE755}"/>
              </c:ext>
            </c:extLst>
          </c:dPt>
          <c:dPt>
            <c:idx val="667"/>
            <c:invertIfNegative val="1"/>
            <c:bubble3D val="0"/>
            <c:spPr>
              <a:solidFill>
                <a:srgbClr val="AEABAB"/>
              </a:solidFill>
            </c:spPr>
            <c:extLst>
              <c:ext xmlns:c16="http://schemas.microsoft.com/office/drawing/2014/chart" uri="{C3380CC4-5D6E-409C-BE32-E72D297353CC}">
                <c16:uniqueId val="{00000539-F218-4DDE-952B-C0F0729EE755}"/>
              </c:ext>
            </c:extLst>
          </c:dPt>
          <c:dPt>
            <c:idx val="668"/>
            <c:invertIfNegative val="1"/>
            <c:bubble3D val="0"/>
            <c:spPr>
              <a:solidFill>
                <a:srgbClr val="AEABAB"/>
              </a:solidFill>
            </c:spPr>
            <c:extLst>
              <c:ext xmlns:c16="http://schemas.microsoft.com/office/drawing/2014/chart" uri="{C3380CC4-5D6E-409C-BE32-E72D297353CC}">
                <c16:uniqueId val="{0000053B-F218-4DDE-952B-C0F0729EE755}"/>
              </c:ext>
            </c:extLst>
          </c:dPt>
          <c:dPt>
            <c:idx val="669"/>
            <c:invertIfNegative val="1"/>
            <c:bubble3D val="0"/>
            <c:spPr>
              <a:solidFill>
                <a:srgbClr val="AEABAB"/>
              </a:solidFill>
            </c:spPr>
            <c:extLst>
              <c:ext xmlns:c16="http://schemas.microsoft.com/office/drawing/2014/chart" uri="{C3380CC4-5D6E-409C-BE32-E72D297353CC}">
                <c16:uniqueId val="{0000053D-F218-4DDE-952B-C0F0729EE755}"/>
              </c:ext>
            </c:extLst>
          </c:dPt>
          <c:dPt>
            <c:idx val="670"/>
            <c:invertIfNegative val="1"/>
            <c:bubble3D val="0"/>
            <c:spPr>
              <a:solidFill>
                <a:srgbClr val="AEABAB"/>
              </a:solidFill>
            </c:spPr>
            <c:extLst>
              <c:ext xmlns:c16="http://schemas.microsoft.com/office/drawing/2014/chart" uri="{C3380CC4-5D6E-409C-BE32-E72D297353CC}">
                <c16:uniqueId val="{0000053F-F218-4DDE-952B-C0F0729EE755}"/>
              </c:ext>
            </c:extLst>
          </c:dPt>
          <c:dPt>
            <c:idx val="671"/>
            <c:invertIfNegative val="1"/>
            <c:bubble3D val="0"/>
            <c:spPr>
              <a:solidFill>
                <a:srgbClr val="AEABAB"/>
              </a:solidFill>
            </c:spPr>
            <c:extLst>
              <c:ext xmlns:c16="http://schemas.microsoft.com/office/drawing/2014/chart" uri="{C3380CC4-5D6E-409C-BE32-E72D297353CC}">
                <c16:uniqueId val="{00000541-F218-4DDE-952B-C0F0729EE755}"/>
              </c:ext>
            </c:extLst>
          </c:dPt>
          <c:dPt>
            <c:idx val="672"/>
            <c:invertIfNegative val="1"/>
            <c:bubble3D val="0"/>
            <c:spPr>
              <a:solidFill>
                <a:srgbClr val="AEABAB"/>
              </a:solidFill>
            </c:spPr>
            <c:extLst>
              <c:ext xmlns:c16="http://schemas.microsoft.com/office/drawing/2014/chart" uri="{C3380CC4-5D6E-409C-BE32-E72D297353CC}">
                <c16:uniqueId val="{00000543-F218-4DDE-952B-C0F0729EE755}"/>
              </c:ext>
            </c:extLst>
          </c:dPt>
          <c:dPt>
            <c:idx val="673"/>
            <c:invertIfNegative val="1"/>
            <c:bubble3D val="0"/>
            <c:spPr>
              <a:solidFill>
                <a:srgbClr val="AEABAB"/>
              </a:solidFill>
            </c:spPr>
            <c:extLst>
              <c:ext xmlns:c16="http://schemas.microsoft.com/office/drawing/2014/chart" uri="{C3380CC4-5D6E-409C-BE32-E72D297353CC}">
                <c16:uniqueId val="{00000545-F218-4DDE-952B-C0F0729EE755}"/>
              </c:ext>
            </c:extLst>
          </c:dPt>
          <c:dPt>
            <c:idx val="674"/>
            <c:invertIfNegative val="1"/>
            <c:bubble3D val="0"/>
            <c:spPr>
              <a:solidFill>
                <a:srgbClr val="AEABAB"/>
              </a:solidFill>
            </c:spPr>
            <c:extLst>
              <c:ext xmlns:c16="http://schemas.microsoft.com/office/drawing/2014/chart" uri="{C3380CC4-5D6E-409C-BE32-E72D297353CC}">
                <c16:uniqueId val="{00000547-F218-4DDE-952B-C0F0729EE755}"/>
              </c:ext>
            </c:extLst>
          </c:dPt>
          <c:dPt>
            <c:idx val="675"/>
            <c:invertIfNegative val="1"/>
            <c:bubble3D val="0"/>
            <c:spPr>
              <a:solidFill>
                <a:srgbClr val="AEABAB"/>
              </a:solidFill>
            </c:spPr>
            <c:extLst>
              <c:ext xmlns:c16="http://schemas.microsoft.com/office/drawing/2014/chart" uri="{C3380CC4-5D6E-409C-BE32-E72D297353CC}">
                <c16:uniqueId val="{00000549-F218-4DDE-952B-C0F0729EE755}"/>
              </c:ext>
            </c:extLst>
          </c:dPt>
          <c:dPt>
            <c:idx val="676"/>
            <c:invertIfNegative val="1"/>
            <c:bubble3D val="0"/>
            <c:spPr>
              <a:solidFill>
                <a:srgbClr val="AEABAB"/>
              </a:solidFill>
            </c:spPr>
            <c:extLst>
              <c:ext xmlns:c16="http://schemas.microsoft.com/office/drawing/2014/chart" uri="{C3380CC4-5D6E-409C-BE32-E72D297353CC}">
                <c16:uniqueId val="{0000054B-F218-4DDE-952B-C0F0729EE755}"/>
              </c:ext>
            </c:extLst>
          </c:dPt>
          <c:dPt>
            <c:idx val="677"/>
            <c:invertIfNegative val="1"/>
            <c:bubble3D val="0"/>
            <c:spPr>
              <a:solidFill>
                <a:srgbClr val="AEABAB"/>
              </a:solidFill>
            </c:spPr>
            <c:extLst>
              <c:ext xmlns:c16="http://schemas.microsoft.com/office/drawing/2014/chart" uri="{C3380CC4-5D6E-409C-BE32-E72D297353CC}">
                <c16:uniqueId val="{0000054D-F218-4DDE-952B-C0F0729EE755}"/>
              </c:ext>
            </c:extLst>
          </c:dPt>
          <c:dPt>
            <c:idx val="678"/>
            <c:invertIfNegative val="1"/>
            <c:bubble3D val="0"/>
            <c:spPr>
              <a:solidFill>
                <a:srgbClr val="AEABAB"/>
              </a:solidFill>
            </c:spPr>
            <c:extLst>
              <c:ext xmlns:c16="http://schemas.microsoft.com/office/drawing/2014/chart" uri="{C3380CC4-5D6E-409C-BE32-E72D297353CC}">
                <c16:uniqueId val="{0000054F-F218-4DDE-952B-C0F0729EE755}"/>
              </c:ext>
            </c:extLst>
          </c:dPt>
          <c:dPt>
            <c:idx val="679"/>
            <c:invertIfNegative val="1"/>
            <c:bubble3D val="0"/>
            <c:spPr>
              <a:solidFill>
                <a:srgbClr val="AEABAB"/>
              </a:solidFill>
            </c:spPr>
            <c:extLst>
              <c:ext xmlns:c16="http://schemas.microsoft.com/office/drawing/2014/chart" uri="{C3380CC4-5D6E-409C-BE32-E72D297353CC}">
                <c16:uniqueId val="{00000551-F218-4DDE-952B-C0F0729EE755}"/>
              </c:ext>
            </c:extLst>
          </c:dPt>
          <c:dPt>
            <c:idx val="680"/>
            <c:invertIfNegative val="1"/>
            <c:bubble3D val="0"/>
            <c:spPr>
              <a:solidFill>
                <a:srgbClr val="AEABAB"/>
              </a:solidFill>
            </c:spPr>
            <c:extLst>
              <c:ext xmlns:c16="http://schemas.microsoft.com/office/drawing/2014/chart" uri="{C3380CC4-5D6E-409C-BE32-E72D297353CC}">
                <c16:uniqueId val="{00000553-F218-4DDE-952B-C0F0729EE755}"/>
              </c:ext>
            </c:extLst>
          </c:dPt>
          <c:dPt>
            <c:idx val="681"/>
            <c:invertIfNegative val="1"/>
            <c:bubble3D val="0"/>
            <c:spPr>
              <a:solidFill>
                <a:srgbClr val="AEABAB"/>
              </a:solidFill>
            </c:spPr>
            <c:extLst>
              <c:ext xmlns:c16="http://schemas.microsoft.com/office/drawing/2014/chart" uri="{C3380CC4-5D6E-409C-BE32-E72D297353CC}">
                <c16:uniqueId val="{00000555-F218-4DDE-952B-C0F0729EE755}"/>
              </c:ext>
            </c:extLst>
          </c:dPt>
          <c:dPt>
            <c:idx val="682"/>
            <c:invertIfNegative val="1"/>
            <c:bubble3D val="0"/>
            <c:spPr>
              <a:solidFill>
                <a:srgbClr val="AEABAB"/>
              </a:solidFill>
            </c:spPr>
            <c:extLst>
              <c:ext xmlns:c16="http://schemas.microsoft.com/office/drawing/2014/chart" uri="{C3380CC4-5D6E-409C-BE32-E72D297353CC}">
                <c16:uniqueId val="{00000557-F218-4DDE-952B-C0F0729EE755}"/>
              </c:ext>
            </c:extLst>
          </c:dPt>
          <c:dPt>
            <c:idx val="683"/>
            <c:invertIfNegative val="1"/>
            <c:bubble3D val="0"/>
            <c:spPr>
              <a:solidFill>
                <a:srgbClr val="AEABAB"/>
              </a:solidFill>
            </c:spPr>
            <c:extLst>
              <c:ext xmlns:c16="http://schemas.microsoft.com/office/drawing/2014/chart" uri="{C3380CC4-5D6E-409C-BE32-E72D297353CC}">
                <c16:uniqueId val="{00000559-F218-4DDE-952B-C0F0729EE755}"/>
              </c:ext>
            </c:extLst>
          </c:dPt>
          <c:dPt>
            <c:idx val="684"/>
            <c:invertIfNegative val="1"/>
            <c:bubble3D val="0"/>
            <c:spPr>
              <a:solidFill>
                <a:srgbClr val="AEABAB"/>
              </a:solidFill>
            </c:spPr>
            <c:extLst>
              <c:ext xmlns:c16="http://schemas.microsoft.com/office/drawing/2014/chart" uri="{C3380CC4-5D6E-409C-BE32-E72D297353CC}">
                <c16:uniqueId val="{0000055B-F218-4DDE-952B-C0F0729EE755}"/>
              </c:ext>
            </c:extLst>
          </c:dPt>
          <c:dPt>
            <c:idx val="685"/>
            <c:invertIfNegative val="1"/>
            <c:bubble3D val="0"/>
            <c:spPr>
              <a:solidFill>
                <a:srgbClr val="AEABAB"/>
              </a:solidFill>
            </c:spPr>
            <c:extLst>
              <c:ext xmlns:c16="http://schemas.microsoft.com/office/drawing/2014/chart" uri="{C3380CC4-5D6E-409C-BE32-E72D297353CC}">
                <c16:uniqueId val="{0000055D-F218-4DDE-952B-C0F0729EE755}"/>
              </c:ext>
            </c:extLst>
          </c:dPt>
          <c:dPt>
            <c:idx val="686"/>
            <c:invertIfNegative val="1"/>
            <c:bubble3D val="0"/>
            <c:spPr>
              <a:solidFill>
                <a:srgbClr val="AEABAB"/>
              </a:solidFill>
            </c:spPr>
            <c:extLst>
              <c:ext xmlns:c16="http://schemas.microsoft.com/office/drawing/2014/chart" uri="{C3380CC4-5D6E-409C-BE32-E72D297353CC}">
                <c16:uniqueId val="{0000055F-F218-4DDE-952B-C0F0729EE755}"/>
              </c:ext>
            </c:extLst>
          </c:dPt>
          <c:dPt>
            <c:idx val="687"/>
            <c:invertIfNegative val="1"/>
            <c:bubble3D val="0"/>
            <c:spPr>
              <a:solidFill>
                <a:srgbClr val="AEABAB"/>
              </a:solidFill>
            </c:spPr>
            <c:extLst>
              <c:ext xmlns:c16="http://schemas.microsoft.com/office/drawing/2014/chart" uri="{C3380CC4-5D6E-409C-BE32-E72D297353CC}">
                <c16:uniqueId val="{00000561-F218-4DDE-952B-C0F0729EE755}"/>
              </c:ext>
            </c:extLst>
          </c:dPt>
          <c:dPt>
            <c:idx val="688"/>
            <c:invertIfNegative val="1"/>
            <c:bubble3D val="0"/>
            <c:spPr>
              <a:solidFill>
                <a:srgbClr val="AEABAB"/>
              </a:solidFill>
            </c:spPr>
            <c:extLst>
              <c:ext xmlns:c16="http://schemas.microsoft.com/office/drawing/2014/chart" uri="{C3380CC4-5D6E-409C-BE32-E72D297353CC}">
                <c16:uniqueId val="{00000563-F218-4DDE-952B-C0F0729EE755}"/>
              </c:ext>
            </c:extLst>
          </c:dPt>
          <c:dPt>
            <c:idx val="689"/>
            <c:invertIfNegative val="1"/>
            <c:bubble3D val="0"/>
            <c:spPr>
              <a:solidFill>
                <a:srgbClr val="AEABAB"/>
              </a:solidFill>
            </c:spPr>
            <c:extLst>
              <c:ext xmlns:c16="http://schemas.microsoft.com/office/drawing/2014/chart" uri="{C3380CC4-5D6E-409C-BE32-E72D297353CC}">
                <c16:uniqueId val="{00000565-F218-4DDE-952B-C0F0729EE755}"/>
              </c:ext>
            </c:extLst>
          </c:dPt>
          <c:dPt>
            <c:idx val="690"/>
            <c:invertIfNegative val="1"/>
            <c:bubble3D val="0"/>
            <c:spPr>
              <a:solidFill>
                <a:srgbClr val="AEABAB"/>
              </a:solidFill>
            </c:spPr>
            <c:extLst>
              <c:ext xmlns:c16="http://schemas.microsoft.com/office/drawing/2014/chart" uri="{C3380CC4-5D6E-409C-BE32-E72D297353CC}">
                <c16:uniqueId val="{00000567-F218-4DDE-952B-C0F0729EE755}"/>
              </c:ext>
            </c:extLst>
          </c:dPt>
          <c:dPt>
            <c:idx val="691"/>
            <c:invertIfNegative val="1"/>
            <c:bubble3D val="0"/>
            <c:spPr>
              <a:solidFill>
                <a:srgbClr val="AEABAB"/>
              </a:solidFill>
            </c:spPr>
            <c:extLst>
              <c:ext xmlns:c16="http://schemas.microsoft.com/office/drawing/2014/chart" uri="{C3380CC4-5D6E-409C-BE32-E72D297353CC}">
                <c16:uniqueId val="{00000569-F218-4DDE-952B-C0F0729EE755}"/>
              </c:ext>
            </c:extLst>
          </c:dPt>
          <c:dPt>
            <c:idx val="692"/>
            <c:invertIfNegative val="1"/>
            <c:bubble3D val="0"/>
            <c:spPr>
              <a:solidFill>
                <a:srgbClr val="AEABAB"/>
              </a:solidFill>
            </c:spPr>
            <c:extLst>
              <c:ext xmlns:c16="http://schemas.microsoft.com/office/drawing/2014/chart" uri="{C3380CC4-5D6E-409C-BE32-E72D297353CC}">
                <c16:uniqueId val="{0000056B-F218-4DDE-952B-C0F0729EE755}"/>
              </c:ext>
            </c:extLst>
          </c:dPt>
          <c:dPt>
            <c:idx val="693"/>
            <c:invertIfNegative val="1"/>
            <c:bubble3D val="0"/>
            <c:spPr>
              <a:solidFill>
                <a:srgbClr val="AEABAB"/>
              </a:solidFill>
            </c:spPr>
            <c:extLst>
              <c:ext xmlns:c16="http://schemas.microsoft.com/office/drawing/2014/chart" uri="{C3380CC4-5D6E-409C-BE32-E72D297353CC}">
                <c16:uniqueId val="{0000056D-F218-4DDE-952B-C0F0729EE755}"/>
              </c:ext>
            </c:extLst>
          </c:dPt>
          <c:dPt>
            <c:idx val="694"/>
            <c:invertIfNegative val="1"/>
            <c:bubble3D val="0"/>
            <c:spPr>
              <a:solidFill>
                <a:srgbClr val="AEABAB"/>
              </a:solidFill>
            </c:spPr>
            <c:extLst>
              <c:ext xmlns:c16="http://schemas.microsoft.com/office/drawing/2014/chart" uri="{C3380CC4-5D6E-409C-BE32-E72D297353CC}">
                <c16:uniqueId val="{0000056F-F218-4DDE-952B-C0F0729EE755}"/>
              </c:ext>
            </c:extLst>
          </c:dPt>
          <c:dPt>
            <c:idx val="695"/>
            <c:invertIfNegative val="1"/>
            <c:bubble3D val="0"/>
            <c:spPr>
              <a:solidFill>
                <a:srgbClr val="AEABAB"/>
              </a:solidFill>
            </c:spPr>
            <c:extLst>
              <c:ext xmlns:c16="http://schemas.microsoft.com/office/drawing/2014/chart" uri="{C3380CC4-5D6E-409C-BE32-E72D297353CC}">
                <c16:uniqueId val="{00000571-F218-4DDE-952B-C0F0729EE755}"/>
              </c:ext>
            </c:extLst>
          </c:dPt>
          <c:dPt>
            <c:idx val="696"/>
            <c:invertIfNegative val="1"/>
            <c:bubble3D val="0"/>
            <c:spPr>
              <a:solidFill>
                <a:srgbClr val="AEABAB"/>
              </a:solidFill>
            </c:spPr>
            <c:extLst>
              <c:ext xmlns:c16="http://schemas.microsoft.com/office/drawing/2014/chart" uri="{C3380CC4-5D6E-409C-BE32-E72D297353CC}">
                <c16:uniqueId val="{00000573-F218-4DDE-952B-C0F0729EE755}"/>
              </c:ext>
            </c:extLst>
          </c:dPt>
          <c:dPt>
            <c:idx val="697"/>
            <c:invertIfNegative val="1"/>
            <c:bubble3D val="0"/>
            <c:spPr>
              <a:solidFill>
                <a:srgbClr val="AEABAB"/>
              </a:solidFill>
            </c:spPr>
            <c:extLst>
              <c:ext xmlns:c16="http://schemas.microsoft.com/office/drawing/2014/chart" uri="{C3380CC4-5D6E-409C-BE32-E72D297353CC}">
                <c16:uniqueId val="{00000575-F218-4DDE-952B-C0F0729EE755}"/>
              </c:ext>
            </c:extLst>
          </c:dPt>
          <c:dPt>
            <c:idx val="698"/>
            <c:invertIfNegative val="1"/>
            <c:bubble3D val="0"/>
            <c:spPr>
              <a:solidFill>
                <a:srgbClr val="AEABAB"/>
              </a:solidFill>
            </c:spPr>
            <c:extLst>
              <c:ext xmlns:c16="http://schemas.microsoft.com/office/drawing/2014/chart" uri="{C3380CC4-5D6E-409C-BE32-E72D297353CC}">
                <c16:uniqueId val="{00000577-F218-4DDE-952B-C0F0729EE755}"/>
              </c:ext>
            </c:extLst>
          </c:dPt>
          <c:dPt>
            <c:idx val="699"/>
            <c:invertIfNegative val="1"/>
            <c:bubble3D val="0"/>
            <c:spPr>
              <a:solidFill>
                <a:srgbClr val="AEABAB"/>
              </a:solidFill>
            </c:spPr>
            <c:extLst>
              <c:ext xmlns:c16="http://schemas.microsoft.com/office/drawing/2014/chart" uri="{C3380CC4-5D6E-409C-BE32-E72D297353CC}">
                <c16:uniqueId val="{00000579-F218-4DDE-952B-C0F0729EE755}"/>
              </c:ext>
            </c:extLst>
          </c:dPt>
          <c:dPt>
            <c:idx val="700"/>
            <c:invertIfNegative val="1"/>
            <c:bubble3D val="0"/>
            <c:spPr>
              <a:solidFill>
                <a:srgbClr val="AEABAB"/>
              </a:solidFill>
            </c:spPr>
            <c:extLst>
              <c:ext xmlns:c16="http://schemas.microsoft.com/office/drawing/2014/chart" uri="{C3380CC4-5D6E-409C-BE32-E72D297353CC}">
                <c16:uniqueId val="{0000057B-F218-4DDE-952B-C0F0729EE755}"/>
              </c:ext>
            </c:extLst>
          </c:dPt>
          <c:dPt>
            <c:idx val="701"/>
            <c:invertIfNegative val="1"/>
            <c:bubble3D val="0"/>
            <c:spPr>
              <a:solidFill>
                <a:srgbClr val="AEABAB"/>
              </a:solidFill>
            </c:spPr>
            <c:extLst>
              <c:ext xmlns:c16="http://schemas.microsoft.com/office/drawing/2014/chart" uri="{C3380CC4-5D6E-409C-BE32-E72D297353CC}">
                <c16:uniqueId val="{0000057D-F218-4DDE-952B-C0F0729EE755}"/>
              </c:ext>
            </c:extLst>
          </c:dPt>
          <c:dPt>
            <c:idx val="702"/>
            <c:invertIfNegative val="1"/>
            <c:bubble3D val="0"/>
            <c:spPr>
              <a:solidFill>
                <a:srgbClr val="AEABAB"/>
              </a:solidFill>
            </c:spPr>
            <c:extLst>
              <c:ext xmlns:c16="http://schemas.microsoft.com/office/drawing/2014/chart" uri="{C3380CC4-5D6E-409C-BE32-E72D297353CC}">
                <c16:uniqueId val="{0000057F-F218-4DDE-952B-C0F0729EE755}"/>
              </c:ext>
            </c:extLst>
          </c:dPt>
          <c:dPt>
            <c:idx val="703"/>
            <c:invertIfNegative val="1"/>
            <c:bubble3D val="0"/>
            <c:spPr>
              <a:solidFill>
                <a:srgbClr val="AEABAB"/>
              </a:solidFill>
            </c:spPr>
            <c:extLst>
              <c:ext xmlns:c16="http://schemas.microsoft.com/office/drawing/2014/chart" uri="{C3380CC4-5D6E-409C-BE32-E72D297353CC}">
                <c16:uniqueId val="{00000581-F218-4DDE-952B-C0F0729EE755}"/>
              </c:ext>
            </c:extLst>
          </c:dPt>
          <c:dPt>
            <c:idx val="704"/>
            <c:invertIfNegative val="1"/>
            <c:bubble3D val="0"/>
            <c:spPr>
              <a:solidFill>
                <a:srgbClr val="AEABAB"/>
              </a:solidFill>
            </c:spPr>
            <c:extLst>
              <c:ext xmlns:c16="http://schemas.microsoft.com/office/drawing/2014/chart" uri="{C3380CC4-5D6E-409C-BE32-E72D297353CC}">
                <c16:uniqueId val="{00000583-F218-4DDE-952B-C0F0729EE755}"/>
              </c:ext>
            </c:extLst>
          </c:dPt>
          <c:dPt>
            <c:idx val="705"/>
            <c:invertIfNegative val="1"/>
            <c:bubble3D val="0"/>
            <c:spPr>
              <a:solidFill>
                <a:srgbClr val="AEABAB"/>
              </a:solidFill>
            </c:spPr>
            <c:extLst>
              <c:ext xmlns:c16="http://schemas.microsoft.com/office/drawing/2014/chart" uri="{C3380CC4-5D6E-409C-BE32-E72D297353CC}">
                <c16:uniqueId val="{00000585-F218-4DDE-952B-C0F0729EE755}"/>
              </c:ext>
            </c:extLst>
          </c:dPt>
          <c:dPt>
            <c:idx val="706"/>
            <c:invertIfNegative val="1"/>
            <c:bubble3D val="0"/>
            <c:spPr>
              <a:solidFill>
                <a:srgbClr val="AEABAB"/>
              </a:solidFill>
            </c:spPr>
            <c:extLst>
              <c:ext xmlns:c16="http://schemas.microsoft.com/office/drawing/2014/chart" uri="{C3380CC4-5D6E-409C-BE32-E72D297353CC}">
                <c16:uniqueId val="{00000587-F218-4DDE-952B-C0F0729EE755}"/>
              </c:ext>
            </c:extLst>
          </c:dPt>
          <c:dPt>
            <c:idx val="707"/>
            <c:invertIfNegative val="1"/>
            <c:bubble3D val="0"/>
            <c:spPr>
              <a:solidFill>
                <a:srgbClr val="AEABAB"/>
              </a:solidFill>
            </c:spPr>
            <c:extLst>
              <c:ext xmlns:c16="http://schemas.microsoft.com/office/drawing/2014/chart" uri="{C3380CC4-5D6E-409C-BE32-E72D297353CC}">
                <c16:uniqueId val="{00000589-F218-4DDE-952B-C0F0729EE755}"/>
              </c:ext>
            </c:extLst>
          </c:dPt>
          <c:dPt>
            <c:idx val="708"/>
            <c:invertIfNegative val="1"/>
            <c:bubble3D val="0"/>
            <c:spPr>
              <a:solidFill>
                <a:srgbClr val="AEABAB"/>
              </a:solidFill>
            </c:spPr>
            <c:extLst>
              <c:ext xmlns:c16="http://schemas.microsoft.com/office/drawing/2014/chart" uri="{C3380CC4-5D6E-409C-BE32-E72D297353CC}">
                <c16:uniqueId val="{0000058B-F218-4DDE-952B-C0F0729EE755}"/>
              </c:ext>
            </c:extLst>
          </c:dPt>
          <c:dPt>
            <c:idx val="709"/>
            <c:invertIfNegative val="1"/>
            <c:bubble3D val="0"/>
            <c:spPr>
              <a:solidFill>
                <a:srgbClr val="AEABAB"/>
              </a:solidFill>
            </c:spPr>
            <c:extLst>
              <c:ext xmlns:c16="http://schemas.microsoft.com/office/drawing/2014/chart" uri="{C3380CC4-5D6E-409C-BE32-E72D297353CC}">
                <c16:uniqueId val="{0000058D-F218-4DDE-952B-C0F0729EE755}"/>
              </c:ext>
            </c:extLst>
          </c:dPt>
          <c:dPt>
            <c:idx val="710"/>
            <c:invertIfNegative val="1"/>
            <c:bubble3D val="0"/>
            <c:spPr>
              <a:solidFill>
                <a:srgbClr val="AEABAB"/>
              </a:solidFill>
            </c:spPr>
            <c:extLst>
              <c:ext xmlns:c16="http://schemas.microsoft.com/office/drawing/2014/chart" uri="{C3380CC4-5D6E-409C-BE32-E72D297353CC}">
                <c16:uniqueId val="{0000058F-F218-4DDE-952B-C0F0729EE755}"/>
              </c:ext>
            </c:extLst>
          </c:dPt>
          <c:dPt>
            <c:idx val="711"/>
            <c:invertIfNegative val="1"/>
            <c:bubble3D val="0"/>
            <c:spPr>
              <a:solidFill>
                <a:srgbClr val="AEABAB"/>
              </a:solidFill>
            </c:spPr>
            <c:extLst>
              <c:ext xmlns:c16="http://schemas.microsoft.com/office/drawing/2014/chart" uri="{C3380CC4-5D6E-409C-BE32-E72D297353CC}">
                <c16:uniqueId val="{00000591-F218-4DDE-952B-C0F0729EE755}"/>
              </c:ext>
            </c:extLst>
          </c:dPt>
          <c:dPt>
            <c:idx val="712"/>
            <c:invertIfNegative val="1"/>
            <c:bubble3D val="0"/>
            <c:spPr>
              <a:solidFill>
                <a:srgbClr val="AEABAB"/>
              </a:solidFill>
            </c:spPr>
            <c:extLst>
              <c:ext xmlns:c16="http://schemas.microsoft.com/office/drawing/2014/chart" uri="{C3380CC4-5D6E-409C-BE32-E72D297353CC}">
                <c16:uniqueId val="{00000593-F218-4DDE-952B-C0F0729EE755}"/>
              </c:ext>
            </c:extLst>
          </c:dPt>
          <c:dPt>
            <c:idx val="713"/>
            <c:invertIfNegative val="1"/>
            <c:bubble3D val="0"/>
            <c:spPr>
              <a:solidFill>
                <a:srgbClr val="AEABAB"/>
              </a:solidFill>
            </c:spPr>
            <c:extLst>
              <c:ext xmlns:c16="http://schemas.microsoft.com/office/drawing/2014/chart" uri="{C3380CC4-5D6E-409C-BE32-E72D297353CC}">
                <c16:uniqueId val="{00000595-F218-4DDE-952B-C0F0729EE755}"/>
              </c:ext>
            </c:extLst>
          </c:dPt>
          <c:dPt>
            <c:idx val="714"/>
            <c:invertIfNegative val="1"/>
            <c:bubble3D val="0"/>
            <c:spPr>
              <a:solidFill>
                <a:srgbClr val="AEABAB"/>
              </a:solidFill>
            </c:spPr>
            <c:extLst>
              <c:ext xmlns:c16="http://schemas.microsoft.com/office/drawing/2014/chart" uri="{C3380CC4-5D6E-409C-BE32-E72D297353CC}">
                <c16:uniqueId val="{00000597-F218-4DDE-952B-C0F0729EE755}"/>
              </c:ext>
            </c:extLst>
          </c:dPt>
          <c:dPt>
            <c:idx val="715"/>
            <c:invertIfNegative val="1"/>
            <c:bubble3D val="0"/>
            <c:spPr>
              <a:solidFill>
                <a:srgbClr val="AEABAB"/>
              </a:solidFill>
            </c:spPr>
            <c:extLst>
              <c:ext xmlns:c16="http://schemas.microsoft.com/office/drawing/2014/chart" uri="{C3380CC4-5D6E-409C-BE32-E72D297353CC}">
                <c16:uniqueId val="{00000599-F218-4DDE-952B-C0F0729EE755}"/>
              </c:ext>
            </c:extLst>
          </c:dPt>
          <c:dPt>
            <c:idx val="716"/>
            <c:invertIfNegative val="1"/>
            <c:bubble3D val="0"/>
            <c:spPr>
              <a:solidFill>
                <a:srgbClr val="AEABAB"/>
              </a:solidFill>
            </c:spPr>
            <c:extLst>
              <c:ext xmlns:c16="http://schemas.microsoft.com/office/drawing/2014/chart" uri="{C3380CC4-5D6E-409C-BE32-E72D297353CC}">
                <c16:uniqueId val="{0000059B-F218-4DDE-952B-C0F0729EE755}"/>
              </c:ext>
            </c:extLst>
          </c:dPt>
          <c:dPt>
            <c:idx val="717"/>
            <c:invertIfNegative val="1"/>
            <c:bubble3D val="0"/>
            <c:spPr>
              <a:solidFill>
                <a:srgbClr val="AEABAB"/>
              </a:solidFill>
            </c:spPr>
            <c:extLst>
              <c:ext xmlns:c16="http://schemas.microsoft.com/office/drawing/2014/chart" uri="{C3380CC4-5D6E-409C-BE32-E72D297353CC}">
                <c16:uniqueId val="{0000059D-F218-4DDE-952B-C0F0729EE755}"/>
              </c:ext>
            </c:extLst>
          </c:dPt>
          <c:dPt>
            <c:idx val="718"/>
            <c:invertIfNegative val="1"/>
            <c:bubble3D val="0"/>
            <c:spPr>
              <a:solidFill>
                <a:srgbClr val="AEABAB"/>
              </a:solidFill>
            </c:spPr>
            <c:extLst>
              <c:ext xmlns:c16="http://schemas.microsoft.com/office/drawing/2014/chart" uri="{C3380CC4-5D6E-409C-BE32-E72D297353CC}">
                <c16:uniqueId val="{0000059F-F218-4DDE-952B-C0F0729EE755}"/>
              </c:ext>
            </c:extLst>
          </c:dPt>
          <c:dPt>
            <c:idx val="719"/>
            <c:invertIfNegative val="1"/>
            <c:bubble3D val="0"/>
            <c:spPr>
              <a:solidFill>
                <a:srgbClr val="AEABAB"/>
              </a:solidFill>
            </c:spPr>
            <c:extLst>
              <c:ext xmlns:c16="http://schemas.microsoft.com/office/drawing/2014/chart" uri="{C3380CC4-5D6E-409C-BE32-E72D297353CC}">
                <c16:uniqueId val="{000005A1-F218-4DDE-952B-C0F0729EE755}"/>
              </c:ext>
            </c:extLst>
          </c:dPt>
          <c:dPt>
            <c:idx val="720"/>
            <c:invertIfNegative val="1"/>
            <c:bubble3D val="0"/>
            <c:spPr>
              <a:solidFill>
                <a:srgbClr val="AEABAB"/>
              </a:solidFill>
            </c:spPr>
            <c:extLst>
              <c:ext xmlns:c16="http://schemas.microsoft.com/office/drawing/2014/chart" uri="{C3380CC4-5D6E-409C-BE32-E72D297353CC}">
                <c16:uniqueId val="{000005A3-F218-4DDE-952B-C0F0729EE755}"/>
              </c:ext>
            </c:extLst>
          </c:dPt>
          <c:dPt>
            <c:idx val="721"/>
            <c:invertIfNegative val="1"/>
            <c:bubble3D val="0"/>
            <c:spPr>
              <a:solidFill>
                <a:srgbClr val="AEABAB"/>
              </a:solidFill>
            </c:spPr>
            <c:extLst>
              <c:ext xmlns:c16="http://schemas.microsoft.com/office/drawing/2014/chart" uri="{C3380CC4-5D6E-409C-BE32-E72D297353CC}">
                <c16:uniqueId val="{000005A5-F218-4DDE-952B-C0F0729EE755}"/>
              </c:ext>
            </c:extLst>
          </c:dPt>
          <c:dPt>
            <c:idx val="722"/>
            <c:invertIfNegative val="1"/>
            <c:bubble3D val="0"/>
            <c:spPr>
              <a:solidFill>
                <a:srgbClr val="AEABAB"/>
              </a:solidFill>
            </c:spPr>
            <c:extLst>
              <c:ext xmlns:c16="http://schemas.microsoft.com/office/drawing/2014/chart" uri="{C3380CC4-5D6E-409C-BE32-E72D297353CC}">
                <c16:uniqueId val="{000005A7-F218-4DDE-952B-C0F0729EE755}"/>
              </c:ext>
            </c:extLst>
          </c:dPt>
          <c:dPt>
            <c:idx val="723"/>
            <c:invertIfNegative val="1"/>
            <c:bubble3D val="0"/>
            <c:spPr>
              <a:solidFill>
                <a:srgbClr val="AEABAB"/>
              </a:solidFill>
            </c:spPr>
            <c:extLst>
              <c:ext xmlns:c16="http://schemas.microsoft.com/office/drawing/2014/chart" uri="{C3380CC4-5D6E-409C-BE32-E72D297353CC}">
                <c16:uniqueId val="{000005A9-F218-4DDE-952B-C0F0729EE755}"/>
              </c:ext>
            </c:extLst>
          </c:dPt>
          <c:dPt>
            <c:idx val="724"/>
            <c:invertIfNegative val="1"/>
            <c:bubble3D val="0"/>
            <c:spPr>
              <a:solidFill>
                <a:srgbClr val="AEABAB"/>
              </a:solidFill>
            </c:spPr>
            <c:extLst>
              <c:ext xmlns:c16="http://schemas.microsoft.com/office/drawing/2014/chart" uri="{C3380CC4-5D6E-409C-BE32-E72D297353CC}">
                <c16:uniqueId val="{000005AB-F218-4DDE-952B-C0F0729EE755}"/>
              </c:ext>
            </c:extLst>
          </c:dPt>
          <c:dPt>
            <c:idx val="725"/>
            <c:invertIfNegative val="1"/>
            <c:bubble3D val="0"/>
            <c:spPr>
              <a:solidFill>
                <a:srgbClr val="AEABAB"/>
              </a:solidFill>
            </c:spPr>
            <c:extLst>
              <c:ext xmlns:c16="http://schemas.microsoft.com/office/drawing/2014/chart" uri="{C3380CC4-5D6E-409C-BE32-E72D297353CC}">
                <c16:uniqueId val="{000005AD-F218-4DDE-952B-C0F0729EE755}"/>
              </c:ext>
            </c:extLst>
          </c:dPt>
          <c:dPt>
            <c:idx val="726"/>
            <c:invertIfNegative val="1"/>
            <c:bubble3D val="0"/>
            <c:spPr>
              <a:solidFill>
                <a:srgbClr val="AEABAB"/>
              </a:solidFill>
            </c:spPr>
            <c:extLst>
              <c:ext xmlns:c16="http://schemas.microsoft.com/office/drawing/2014/chart" uri="{C3380CC4-5D6E-409C-BE32-E72D297353CC}">
                <c16:uniqueId val="{000005AF-F218-4DDE-952B-C0F0729EE755}"/>
              </c:ext>
            </c:extLst>
          </c:dPt>
          <c:dPt>
            <c:idx val="727"/>
            <c:invertIfNegative val="1"/>
            <c:bubble3D val="0"/>
            <c:spPr>
              <a:solidFill>
                <a:srgbClr val="AEABAB"/>
              </a:solidFill>
            </c:spPr>
            <c:extLst>
              <c:ext xmlns:c16="http://schemas.microsoft.com/office/drawing/2014/chart" uri="{C3380CC4-5D6E-409C-BE32-E72D297353CC}">
                <c16:uniqueId val="{000005B1-F218-4DDE-952B-C0F0729EE755}"/>
              </c:ext>
            </c:extLst>
          </c:dPt>
          <c:dPt>
            <c:idx val="728"/>
            <c:invertIfNegative val="1"/>
            <c:bubble3D val="0"/>
            <c:spPr>
              <a:solidFill>
                <a:srgbClr val="AEABAB"/>
              </a:solidFill>
            </c:spPr>
            <c:extLst>
              <c:ext xmlns:c16="http://schemas.microsoft.com/office/drawing/2014/chart" uri="{C3380CC4-5D6E-409C-BE32-E72D297353CC}">
                <c16:uniqueId val="{000005B3-F218-4DDE-952B-C0F0729EE755}"/>
              </c:ext>
            </c:extLst>
          </c:dPt>
          <c:dPt>
            <c:idx val="729"/>
            <c:invertIfNegative val="1"/>
            <c:bubble3D val="0"/>
            <c:spPr>
              <a:solidFill>
                <a:srgbClr val="AEABAB"/>
              </a:solidFill>
            </c:spPr>
            <c:extLst>
              <c:ext xmlns:c16="http://schemas.microsoft.com/office/drawing/2014/chart" uri="{C3380CC4-5D6E-409C-BE32-E72D297353CC}">
                <c16:uniqueId val="{000005B5-F218-4DDE-952B-C0F0729EE755}"/>
              </c:ext>
            </c:extLst>
          </c:dPt>
          <c:dPt>
            <c:idx val="730"/>
            <c:invertIfNegative val="1"/>
            <c:bubble3D val="0"/>
            <c:spPr>
              <a:solidFill>
                <a:srgbClr val="AEABAB"/>
              </a:solidFill>
            </c:spPr>
            <c:extLst>
              <c:ext xmlns:c16="http://schemas.microsoft.com/office/drawing/2014/chart" uri="{C3380CC4-5D6E-409C-BE32-E72D297353CC}">
                <c16:uniqueId val="{000005B7-F218-4DDE-952B-C0F0729EE755}"/>
              </c:ext>
            </c:extLst>
          </c:dPt>
          <c:dPt>
            <c:idx val="731"/>
            <c:invertIfNegative val="1"/>
            <c:bubble3D val="0"/>
            <c:spPr>
              <a:solidFill>
                <a:srgbClr val="AEABAB"/>
              </a:solidFill>
            </c:spPr>
            <c:extLst>
              <c:ext xmlns:c16="http://schemas.microsoft.com/office/drawing/2014/chart" uri="{C3380CC4-5D6E-409C-BE32-E72D297353CC}">
                <c16:uniqueId val="{000005B9-F218-4DDE-952B-C0F0729EE755}"/>
              </c:ext>
            </c:extLst>
          </c:dPt>
          <c:dPt>
            <c:idx val="732"/>
            <c:invertIfNegative val="1"/>
            <c:bubble3D val="0"/>
            <c:spPr>
              <a:solidFill>
                <a:srgbClr val="AEABAB"/>
              </a:solidFill>
            </c:spPr>
            <c:extLst>
              <c:ext xmlns:c16="http://schemas.microsoft.com/office/drawing/2014/chart" uri="{C3380CC4-5D6E-409C-BE32-E72D297353CC}">
                <c16:uniqueId val="{000005BB-F218-4DDE-952B-C0F0729EE755}"/>
              </c:ext>
            </c:extLst>
          </c:dPt>
          <c:dPt>
            <c:idx val="733"/>
            <c:invertIfNegative val="1"/>
            <c:bubble3D val="0"/>
            <c:spPr>
              <a:solidFill>
                <a:srgbClr val="AEABAB"/>
              </a:solidFill>
            </c:spPr>
            <c:extLst>
              <c:ext xmlns:c16="http://schemas.microsoft.com/office/drawing/2014/chart" uri="{C3380CC4-5D6E-409C-BE32-E72D297353CC}">
                <c16:uniqueId val="{000005BD-F218-4DDE-952B-C0F0729EE755}"/>
              </c:ext>
            </c:extLst>
          </c:dPt>
          <c:dPt>
            <c:idx val="734"/>
            <c:invertIfNegative val="1"/>
            <c:bubble3D val="0"/>
            <c:spPr>
              <a:solidFill>
                <a:srgbClr val="AEABAB"/>
              </a:solidFill>
            </c:spPr>
            <c:extLst>
              <c:ext xmlns:c16="http://schemas.microsoft.com/office/drawing/2014/chart" uri="{C3380CC4-5D6E-409C-BE32-E72D297353CC}">
                <c16:uniqueId val="{000005BF-F218-4DDE-952B-C0F0729EE755}"/>
              </c:ext>
            </c:extLst>
          </c:dPt>
          <c:dPt>
            <c:idx val="735"/>
            <c:invertIfNegative val="1"/>
            <c:bubble3D val="0"/>
            <c:spPr>
              <a:solidFill>
                <a:srgbClr val="AEABAB"/>
              </a:solidFill>
            </c:spPr>
            <c:extLst>
              <c:ext xmlns:c16="http://schemas.microsoft.com/office/drawing/2014/chart" uri="{C3380CC4-5D6E-409C-BE32-E72D297353CC}">
                <c16:uniqueId val="{000005C1-F218-4DDE-952B-C0F0729EE755}"/>
              </c:ext>
            </c:extLst>
          </c:dPt>
          <c:dPt>
            <c:idx val="736"/>
            <c:invertIfNegative val="1"/>
            <c:bubble3D val="0"/>
            <c:spPr>
              <a:solidFill>
                <a:srgbClr val="AEABAB"/>
              </a:solidFill>
            </c:spPr>
            <c:extLst>
              <c:ext xmlns:c16="http://schemas.microsoft.com/office/drawing/2014/chart" uri="{C3380CC4-5D6E-409C-BE32-E72D297353CC}">
                <c16:uniqueId val="{000005C3-F218-4DDE-952B-C0F0729EE755}"/>
              </c:ext>
            </c:extLst>
          </c:dPt>
          <c:dPt>
            <c:idx val="737"/>
            <c:invertIfNegative val="1"/>
            <c:bubble3D val="0"/>
            <c:spPr>
              <a:solidFill>
                <a:srgbClr val="AEABAB"/>
              </a:solidFill>
            </c:spPr>
            <c:extLst>
              <c:ext xmlns:c16="http://schemas.microsoft.com/office/drawing/2014/chart" uri="{C3380CC4-5D6E-409C-BE32-E72D297353CC}">
                <c16:uniqueId val="{000005C5-F218-4DDE-952B-C0F0729EE755}"/>
              </c:ext>
            </c:extLst>
          </c:dPt>
          <c:dPt>
            <c:idx val="738"/>
            <c:invertIfNegative val="1"/>
            <c:bubble3D val="0"/>
            <c:spPr>
              <a:solidFill>
                <a:srgbClr val="AEABAB"/>
              </a:solidFill>
            </c:spPr>
            <c:extLst>
              <c:ext xmlns:c16="http://schemas.microsoft.com/office/drawing/2014/chart" uri="{C3380CC4-5D6E-409C-BE32-E72D297353CC}">
                <c16:uniqueId val="{000005C7-F218-4DDE-952B-C0F0729EE755}"/>
              </c:ext>
            </c:extLst>
          </c:dPt>
          <c:dPt>
            <c:idx val="739"/>
            <c:invertIfNegative val="1"/>
            <c:bubble3D val="0"/>
            <c:spPr>
              <a:solidFill>
                <a:srgbClr val="AEABAB"/>
              </a:solidFill>
            </c:spPr>
            <c:extLst>
              <c:ext xmlns:c16="http://schemas.microsoft.com/office/drawing/2014/chart" uri="{C3380CC4-5D6E-409C-BE32-E72D297353CC}">
                <c16:uniqueId val="{000005C9-F218-4DDE-952B-C0F0729EE755}"/>
              </c:ext>
            </c:extLst>
          </c:dPt>
          <c:dPt>
            <c:idx val="740"/>
            <c:invertIfNegative val="1"/>
            <c:bubble3D val="0"/>
            <c:spPr>
              <a:solidFill>
                <a:srgbClr val="AEABAB"/>
              </a:solidFill>
            </c:spPr>
            <c:extLst>
              <c:ext xmlns:c16="http://schemas.microsoft.com/office/drawing/2014/chart" uri="{C3380CC4-5D6E-409C-BE32-E72D297353CC}">
                <c16:uniqueId val="{000005CB-F218-4DDE-952B-C0F0729EE755}"/>
              </c:ext>
            </c:extLst>
          </c:dPt>
          <c:dPt>
            <c:idx val="741"/>
            <c:invertIfNegative val="1"/>
            <c:bubble3D val="0"/>
            <c:spPr>
              <a:solidFill>
                <a:srgbClr val="AEABAB"/>
              </a:solidFill>
            </c:spPr>
            <c:extLst>
              <c:ext xmlns:c16="http://schemas.microsoft.com/office/drawing/2014/chart" uri="{C3380CC4-5D6E-409C-BE32-E72D297353CC}">
                <c16:uniqueId val="{000005CD-F218-4DDE-952B-C0F0729EE755}"/>
              </c:ext>
            </c:extLst>
          </c:dPt>
          <c:dPt>
            <c:idx val="742"/>
            <c:invertIfNegative val="1"/>
            <c:bubble3D val="0"/>
            <c:spPr>
              <a:solidFill>
                <a:srgbClr val="AEABAB"/>
              </a:solidFill>
            </c:spPr>
            <c:extLst>
              <c:ext xmlns:c16="http://schemas.microsoft.com/office/drawing/2014/chart" uri="{C3380CC4-5D6E-409C-BE32-E72D297353CC}">
                <c16:uniqueId val="{000005CF-F218-4DDE-952B-C0F0729EE755}"/>
              </c:ext>
            </c:extLst>
          </c:dPt>
          <c:dPt>
            <c:idx val="743"/>
            <c:invertIfNegative val="1"/>
            <c:bubble3D val="0"/>
            <c:spPr>
              <a:solidFill>
                <a:srgbClr val="AEABAB"/>
              </a:solidFill>
            </c:spPr>
            <c:extLst>
              <c:ext xmlns:c16="http://schemas.microsoft.com/office/drawing/2014/chart" uri="{C3380CC4-5D6E-409C-BE32-E72D297353CC}">
                <c16:uniqueId val="{000005D1-F218-4DDE-952B-C0F0729EE755}"/>
              </c:ext>
            </c:extLst>
          </c:dPt>
          <c:dPt>
            <c:idx val="744"/>
            <c:invertIfNegative val="1"/>
            <c:bubble3D val="0"/>
            <c:spPr>
              <a:solidFill>
                <a:srgbClr val="AEABAB"/>
              </a:solidFill>
            </c:spPr>
            <c:extLst>
              <c:ext xmlns:c16="http://schemas.microsoft.com/office/drawing/2014/chart" uri="{C3380CC4-5D6E-409C-BE32-E72D297353CC}">
                <c16:uniqueId val="{000005D3-F218-4DDE-952B-C0F0729EE755}"/>
              </c:ext>
            </c:extLst>
          </c:dPt>
          <c:dPt>
            <c:idx val="745"/>
            <c:invertIfNegative val="1"/>
            <c:bubble3D val="0"/>
            <c:spPr>
              <a:solidFill>
                <a:srgbClr val="AEABAB"/>
              </a:solidFill>
            </c:spPr>
            <c:extLst>
              <c:ext xmlns:c16="http://schemas.microsoft.com/office/drawing/2014/chart" uri="{C3380CC4-5D6E-409C-BE32-E72D297353CC}">
                <c16:uniqueId val="{000005D5-F218-4DDE-952B-C0F0729EE755}"/>
              </c:ext>
            </c:extLst>
          </c:dPt>
          <c:dPt>
            <c:idx val="746"/>
            <c:invertIfNegative val="1"/>
            <c:bubble3D val="0"/>
            <c:spPr>
              <a:solidFill>
                <a:srgbClr val="AEABAB"/>
              </a:solidFill>
            </c:spPr>
            <c:extLst>
              <c:ext xmlns:c16="http://schemas.microsoft.com/office/drawing/2014/chart" uri="{C3380CC4-5D6E-409C-BE32-E72D297353CC}">
                <c16:uniqueId val="{000005D7-F218-4DDE-952B-C0F0729EE755}"/>
              </c:ext>
            </c:extLst>
          </c:dPt>
          <c:dPt>
            <c:idx val="747"/>
            <c:invertIfNegative val="1"/>
            <c:bubble3D val="0"/>
            <c:spPr>
              <a:solidFill>
                <a:srgbClr val="AEABAB"/>
              </a:solidFill>
            </c:spPr>
            <c:extLst>
              <c:ext xmlns:c16="http://schemas.microsoft.com/office/drawing/2014/chart" uri="{C3380CC4-5D6E-409C-BE32-E72D297353CC}">
                <c16:uniqueId val="{000005D9-F218-4DDE-952B-C0F0729EE755}"/>
              </c:ext>
            </c:extLst>
          </c:dPt>
          <c:dPt>
            <c:idx val="748"/>
            <c:invertIfNegative val="1"/>
            <c:bubble3D val="0"/>
            <c:spPr>
              <a:solidFill>
                <a:srgbClr val="AEABAB"/>
              </a:solidFill>
            </c:spPr>
            <c:extLst>
              <c:ext xmlns:c16="http://schemas.microsoft.com/office/drawing/2014/chart" uri="{C3380CC4-5D6E-409C-BE32-E72D297353CC}">
                <c16:uniqueId val="{000005DB-F218-4DDE-952B-C0F0729EE755}"/>
              </c:ext>
            </c:extLst>
          </c:dPt>
          <c:dPt>
            <c:idx val="749"/>
            <c:invertIfNegative val="1"/>
            <c:bubble3D val="0"/>
            <c:spPr>
              <a:solidFill>
                <a:srgbClr val="AEABAB"/>
              </a:solidFill>
            </c:spPr>
            <c:extLst>
              <c:ext xmlns:c16="http://schemas.microsoft.com/office/drawing/2014/chart" uri="{C3380CC4-5D6E-409C-BE32-E72D297353CC}">
                <c16:uniqueId val="{000005DD-F218-4DDE-952B-C0F0729EE755}"/>
              </c:ext>
            </c:extLst>
          </c:dPt>
          <c:dPt>
            <c:idx val="750"/>
            <c:invertIfNegative val="1"/>
            <c:bubble3D val="0"/>
            <c:spPr>
              <a:solidFill>
                <a:srgbClr val="AEABAB"/>
              </a:solidFill>
            </c:spPr>
            <c:extLst>
              <c:ext xmlns:c16="http://schemas.microsoft.com/office/drawing/2014/chart" uri="{C3380CC4-5D6E-409C-BE32-E72D297353CC}">
                <c16:uniqueId val="{000005DF-F218-4DDE-952B-C0F0729EE755}"/>
              </c:ext>
            </c:extLst>
          </c:dPt>
          <c:dPt>
            <c:idx val="751"/>
            <c:invertIfNegative val="1"/>
            <c:bubble3D val="0"/>
            <c:spPr>
              <a:solidFill>
                <a:srgbClr val="AEABAB"/>
              </a:solidFill>
            </c:spPr>
            <c:extLst>
              <c:ext xmlns:c16="http://schemas.microsoft.com/office/drawing/2014/chart" uri="{C3380CC4-5D6E-409C-BE32-E72D297353CC}">
                <c16:uniqueId val="{000005E1-F218-4DDE-952B-C0F0729EE755}"/>
              </c:ext>
            </c:extLst>
          </c:dPt>
          <c:dPt>
            <c:idx val="752"/>
            <c:invertIfNegative val="1"/>
            <c:bubble3D val="0"/>
            <c:spPr>
              <a:solidFill>
                <a:srgbClr val="AEABAB"/>
              </a:solidFill>
            </c:spPr>
            <c:extLst>
              <c:ext xmlns:c16="http://schemas.microsoft.com/office/drawing/2014/chart" uri="{C3380CC4-5D6E-409C-BE32-E72D297353CC}">
                <c16:uniqueId val="{000005E3-F218-4DDE-952B-C0F0729EE755}"/>
              </c:ext>
            </c:extLst>
          </c:dPt>
          <c:dPt>
            <c:idx val="753"/>
            <c:invertIfNegative val="1"/>
            <c:bubble3D val="0"/>
            <c:spPr>
              <a:solidFill>
                <a:srgbClr val="AEABAB"/>
              </a:solidFill>
            </c:spPr>
            <c:extLst>
              <c:ext xmlns:c16="http://schemas.microsoft.com/office/drawing/2014/chart" uri="{C3380CC4-5D6E-409C-BE32-E72D297353CC}">
                <c16:uniqueId val="{000005E5-F218-4DDE-952B-C0F0729EE755}"/>
              </c:ext>
            </c:extLst>
          </c:dPt>
          <c:dPt>
            <c:idx val="754"/>
            <c:invertIfNegative val="1"/>
            <c:bubble3D val="0"/>
            <c:spPr>
              <a:solidFill>
                <a:srgbClr val="AEABAB"/>
              </a:solidFill>
            </c:spPr>
            <c:extLst>
              <c:ext xmlns:c16="http://schemas.microsoft.com/office/drawing/2014/chart" uri="{C3380CC4-5D6E-409C-BE32-E72D297353CC}">
                <c16:uniqueId val="{000005E7-F218-4DDE-952B-C0F0729EE755}"/>
              </c:ext>
            </c:extLst>
          </c:dPt>
          <c:dPt>
            <c:idx val="755"/>
            <c:invertIfNegative val="1"/>
            <c:bubble3D val="0"/>
            <c:spPr>
              <a:solidFill>
                <a:srgbClr val="AEABAB"/>
              </a:solidFill>
            </c:spPr>
            <c:extLst>
              <c:ext xmlns:c16="http://schemas.microsoft.com/office/drawing/2014/chart" uri="{C3380CC4-5D6E-409C-BE32-E72D297353CC}">
                <c16:uniqueId val="{000005E9-F218-4DDE-952B-C0F0729EE755}"/>
              </c:ext>
            </c:extLst>
          </c:dPt>
          <c:dPt>
            <c:idx val="756"/>
            <c:invertIfNegative val="1"/>
            <c:bubble3D val="0"/>
            <c:spPr>
              <a:solidFill>
                <a:srgbClr val="AEABAB"/>
              </a:solidFill>
            </c:spPr>
            <c:extLst>
              <c:ext xmlns:c16="http://schemas.microsoft.com/office/drawing/2014/chart" uri="{C3380CC4-5D6E-409C-BE32-E72D297353CC}">
                <c16:uniqueId val="{000005EB-F218-4DDE-952B-C0F0729EE755}"/>
              </c:ext>
            </c:extLst>
          </c:dPt>
          <c:dPt>
            <c:idx val="757"/>
            <c:invertIfNegative val="1"/>
            <c:bubble3D val="0"/>
            <c:spPr>
              <a:solidFill>
                <a:srgbClr val="AEABAB"/>
              </a:solidFill>
            </c:spPr>
            <c:extLst>
              <c:ext xmlns:c16="http://schemas.microsoft.com/office/drawing/2014/chart" uri="{C3380CC4-5D6E-409C-BE32-E72D297353CC}">
                <c16:uniqueId val="{000005ED-F218-4DDE-952B-C0F0729EE755}"/>
              </c:ext>
            </c:extLst>
          </c:dPt>
          <c:dPt>
            <c:idx val="758"/>
            <c:invertIfNegative val="1"/>
            <c:bubble3D val="0"/>
            <c:spPr>
              <a:solidFill>
                <a:srgbClr val="AEABAB"/>
              </a:solidFill>
            </c:spPr>
            <c:extLst>
              <c:ext xmlns:c16="http://schemas.microsoft.com/office/drawing/2014/chart" uri="{C3380CC4-5D6E-409C-BE32-E72D297353CC}">
                <c16:uniqueId val="{000005EF-F218-4DDE-952B-C0F0729EE755}"/>
              </c:ext>
            </c:extLst>
          </c:dPt>
          <c:dPt>
            <c:idx val="759"/>
            <c:invertIfNegative val="1"/>
            <c:bubble3D val="0"/>
            <c:spPr>
              <a:solidFill>
                <a:srgbClr val="AEABAB"/>
              </a:solidFill>
            </c:spPr>
            <c:extLst>
              <c:ext xmlns:c16="http://schemas.microsoft.com/office/drawing/2014/chart" uri="{C3380CC4-5D6E-409C-BE32-E72D297353CC}">
                <c16:uniqueId val="{000005F1-F218-4DDE-952B-C0F0729EE755}"/>
              </c:ext>
            </c:extLst>
          </c:dPt>
          <c:dPt>
            <c:idx val="760"/>
            <c:invertIfNegative val="1"/>
            <c:bubble3D val="0"/>
            <c:spPr>
              <a:solidFill>
                <a:srgbClr val="AEABAB"/>
              </a:solidFill>
            </c:spPr>
            <c:extLst>
              <c:ext xmlns:c16="http://schemas.microsoft.com/office/drawing/2014/chart" uri="{C3380CC4-5D6E-409C-BE32-E72D297353CC}">
                <c16:uniqueId val="{000005F3-F218-4DDE-952B-C0F0729EE755}"/>
              </c:ext>
            </c:extLst>
          </c:dPt>
          <c:dPt>
            <c:idx val="761"/>
            <c:invertIfNegative val="1"/>
            <c:bubble3D val="0"/>
            <c:spPr>
              <a:solidFill>
                <a:srgbClr val="AEABAB"/>
              </a:solidFill>
            </c:spPr>
            <c:extLst>
              <c:ext xmlns:c16="http://schemas.microsoft.com/office/drawing/2014/chart" uri="{C3380CC4-5D6E-409C-BE32-E72D297353CC}">
                <c16:uniqueId val="{000005F5-F218-4DDE-952B-C0F0729EE755}"/>
              </c:ext>
            </c:extLst>
          </c:dPt>
          <c:dPt>
            <c:idx val="762"/>
            <c:invertIfNegative val="1"/>
            <c:bubble3D val="0"/>
            <c:spPr>
              <a:solidFill>
                <a:srgbClr val="AEABAB"/>
              </a:solidFill>
            </c:spPr>
            <c:extLst>
              <c:ext xmlns:c16="http://schemas.microsoft.com/office/drawing/2014/chart" uri="{C3380CC4-5D6E-409C-BE32-E72D297353CC}">
                <c16:uniqueId val="{000005F7-F218-4DDE-952B-C0F0729EE755}"/>
              </c:ext>
            </c:extLst>
          </c:dPt>
          <c:dPt>
            <c:idx val="763"/>
            <c:invertIfNegative val="1"/>
            <c:bubble3D val="0"/>
            <c:spPr>
              <a:solidFill>
                <a:srgbClr val="AEABAB"/>
              </a:solidFill>
            </c:spPr>
            <c:extLst>
              <c:ext xmlns:c16="http://schemas.microsoft.com/office/drawing/2014/chart" uri="{C3380CC4-5D6E-409C-BE32-E72D297353CC}">
                <c16:uniqueId val="{000005F9-F218-4DDE-952B-C0F0729EE755}"/>
              </c:ext>
            </c:extLst>
          </c:dPt>
          <c:dPt>
            <c:idx val="764"/>
            <c:invertIfNegative val="1"/>
            <c:bubble3D val="0"/>
            <c:spPr>
              <a:solidFill>
                <a:srgbClr val="AEABAB"/>
              </a:solidFill>
            </c:spPr>
            <c:extLst>
              <c:ext xmlns:c16="http://schemas.microsoft.com/office/drawing/2014/chart" uri="{C3380CC4-5D6E-409C-BE32-E72D297353CC}">
                <c16:uniqueId val="{000005FB-F218-4DDE-952B-C0F0729EE755}"/>
              </c:ext>
            </c:extLst>
          </c:dPt>
          <c:dPt>
            <c:idx val="765"/>
            <c:invertIfNegative val="1"/>
            <c:bubble3D val="0"/>
            <c:spPr>
              <a:solidFill>
                <a:srgbClr val="AEABAB"/>
              </a:solidFill>
            </c:spPr>
            <c:extLst>
              <c:ext xmlns:c16="http://schemas.microsoft.com/office/drawing/2014/chart" uri="{C3380CC4-5D6E-409C-BE32-E72D297353CC}">
                <c16:uniqueId val="{000005FD-F218-4DDE-952B-C0F0729EE755}"/>
              </c:ext>
            </c:extLst>
          </c:dPt>
          <c:dPt>
            <c:idx val="766"/>
            <c:invertIfNegative val="1"/>
            <c:bubble3D val="0"/>
            <c:spPr>
              <a:solidFill>
                <a:srgbClr val="AEABAB"/>
              </a:solidFill>
            </c:spPr>
            <c:extLst>
              <c:ext xmlns:c16="http://schemas.microsoft.com/office/drawing/2014/chart" uri="{C3380CC4-5D6E-409C-BE32-E72D297353CC}">
                <c16:uniqueId val="{000005FF-F218-4DDE-952B-C0F0729EE755}"/>
              </c:ext>
            </c:extLst>
          </c:dPt>
          <c:dPt>
            <c:idx val="767"/>
            <c:invertIfNegative val="1"/>
            <c:bubble3D val="0"/>
            <c:spPr>
              <a:solidFill>
                <a:srgbClr val="AEABAB"/>
              </a:solidFill>
            </c:spPr>
            <c:extLst>
              <c:ext xmlns:c16="http://schemas.microsoft.com/office/drawing/2014/chart" uri="{C3380CC4-5D6E-409C-BE32-E72D297353CC}">
                <c16:uniqueId val="{00000601-F218-4DDE-952B-C0F0729EE755}"/>
              </c:ext>
            </c:extLst>
          </c:dPt>
          <c:dPt>
            <c:idx val="768"/>
            <c:invertIfNegative val="1"/>
            <c:bubble3D val="0"/>
            <c:spPr>
              <a:solidFill>
                <a:srgbClr val="AEABAB"/>
              </a:solidFill>
            </c:spPr>
            <c:extLst>
              <c:ext xmlns:c16="http://schemas.microsoft.com/office/drawing/2014/chart" uri="{C3380CC4-5D6E-409C-BE32-E72D297353CC}">
                <c16:uniqueId val="{00000603-F218-4DDE-952B-C0F0729EE755}"/>
              </c:ext>
            </c:extLst>
          </c:dPt>
          <c:dPt>
            <c:idx val="769"/>
            <c:invertIfNegative val="1"/>
            <c:bubble3D val="0"/>
            <c:spPr>
              <a:solidFill>
                <a:srgbClr val="AEABAB"/>
              </a:solidFill>
            </c:spPr>
            <c:extLst>
              <c:ext xmlns:c16="http://schemas.microsoft.com/office/drawing/2014/chart" uri="{C3380CC4-5D6E-409C-BE32-E72D297353CC}">
                <c16:uniqueId val="{00000605-F218-4DDE-952B-C0F0729EE755}"/>
              </c:ext>
            </c:extLst>
          </c:dPt>
          <c:dPt>
            <c:idx val="770"/>
            <c:invertIfNegative val="1"/>
            <c:bubble3D val="0"/>
            <c:spPr>
              <a:solidFill>
                <a:srgbClr val="AEABAB"/>
              </a:solidFill>
            </c:spPr>
            <c:extLst>
              <c:ext xmlns:c16="http://schemas.microsoft.com/office/drawing/2014/chart" uri="{C3380CC4-5D6E-409C-BE32-E72D297353CC}">
                <c16:uniqueId val="{00000607-F218-4DDE-952B-C0F0729EE755}"/>
              </c:ext>
            </c:extLst>
          </c:dPt>
          <c:dPt>
            <c:idx val="771"/>
            <c:invertIfNegative val="1"/>
            <c:bubble3D val="0"/>
            <c:spPr>
              <a:solidFill>
                <a:srgbClr val="AEABAB"/>
              </a:solidFill>
            </c:spPr>
            <c:extLst>
              <c:ext xmlns:c16="http://schemas.microsoft.com/office/drawing/2014/chart" uri="{C3380CC4-5D6E-409C-BE32-E72D297353CC}">
                <c16:uniqueId val="{00000609-F218-4DDE-952B-C0F0729EE755}"/>
              </c:ext>
            </c:extLst>
          </c:dPt>
          <c:dPt>
            <c:idx val="772"/>
            <c:invertIfNegative val="1"/>
            <c:bubble3D val="0"/>
            <c:spPr>
              <a:solidFill>
                <a:srgbClr val="AEABAB"/>
              </a:solidFill>
            </c:spPr>
            <c:extLst>
              <c:ext xmlns:c16="http://schemas.microsoft.com/office/drawing/2014/chart" uri="{C3380CC4-5D6E-409C-BE32-E72D297353CC}">
                <c16:uniqueId val="{0000060B-F218-4DDE-952B-C0F0729EE755}"/>
              </c:ext>
            </c:extLst>
          </c:dPt>
          <c:dPt>
            <c:idx val="773"/>
            <c:invertIfNegative val="1"/>
            <c:bubble3D val="0"/>
            <c:spPr>
              <a:solidFill>
                <a:srgbClr val="AEABAB"/>
              </a:solidFill>
            </c:spPr>
            <c:extLst>
              <c:ext xmlns:c16="http://schemas.microsoft.com/office/drawing/2014/chart" uri="{C3380CC4-5D6E-409C-BE32-E72D297353CC}">
                <c16:uniqueId val="{0000060D-F218-4DDE-952B-C0F0729EE755}"/>
              </c:ext>
            </c:extLst>
          </c:dPt>
          <c:dPt>
            <c:idx val="774"/>
            <c:invertIfNegative val="1"/>
            <c:bubble3D val="0"/>
            <c:spPr>
              <a:solidFill>
                <a:srgbClr val="AEABAB"/>
              </a:solidFill>
            </c:spPr>
            <c:extLst>
              <c:ext xmlns:c16="http://schemas.microsoft.com/office/drawing/2014/chart" uri="{C3380CC4-5D6E-409C-BE32-E72D297353CC}">
                <c16:uniqueId val="{0000060F-F218-4DDE-952B-C0F0729EE755}"/>
              </c:ext>
            </c:extLst>
          </c:dPt>
          <c:dPt>
            <c:idx val="775"/>
            <c:invertIfNegative val="1"/>
            <c:bubble3D val="0"/>
            <c:spPr>
              <a:solidFill>
                <a:srgbClr val="AEABAB"/>
              </a:solidFill>
            </c:spPr>
            <c:extLst>
              <c:ext xmlns:c16="http://schemas.microsoft.com/office/drawing/2014/chart" uri="{C3380CC4-5D6E-409C-BE32-E72D297353CC}">
                <c16:uniqueId val="{00000611-F218-4DDE-952B-C0F0729EE755}"/>
              </c:ext>
            </c:extLst>
          </c:dPt>
          <c:dPt>
            <c:idx val="776"/>
            <c:invertIfNegative val="1"/>
            <c:bubble3D val="0"/>
            <c:spPr>
              <a:solidFill>
                <a:srgbClr val="AEABAB"/>
              </a:solidFill>
            </c:spPr>
            <c:extLst>
              <c:ext xmlns:c16="http://schemas.microsoft.com/office/drawing/2014/chart" uri="{C3380CC4-5D6E-409C-BE32-E72D297353CC}">
                <c16:uniqueId val="{00000613-F218-4DDE-952B-C0F0729EE755}"/>
              </c:ext>
            </c:extLst>
          </c:dPt>
          <c:dPt>
            <c:idx val="777"/>
            <c:invertIfNegative val="1"/>
            <c:bubble3D val="0"/>
            <c:spPr>
              <a:solidFill>
                <a:srgbClr val="AEABAB"/>
              </a:solidFill>
            </c:spPr>
            <c:extLst>
              <c:ext xmlns:c16="http://schemas.microsoft.com/office/drawing/2014/chart" uri="{C3380CC4-5D6E-409C-BE32-E72D297353CC}">
                <c16:uniqueId val="{00000615-F218-4DDE-952B-C0F0729EE755}"/>
              </c:ext>
            </c:extLst>
          </c:dPt>
          <c:dPt>
            <c:idx val="778"/>
            <c:invertIfNegative val="1"/>
            <c:bubble3D val="0"/>
            <c:spPr>
              <a:solidFill>
                <a:srgbClr val="AEABAB"/>
              </a:solidFill>
            </c:spPr>
            <c:extLst>
              <c:ext xmlns:c16="http://schemas.microsoft.com/office/drawing/2014/chart" uri="{C3380CC4-5D6E-409C-BE32-E72D297353CC}">
                <c16:uniqueId val="{00000617-F218-4DDE-952B-C0F0729EE755}"/>
              </c:ext>
            </c:extLst>
          </c:dPt>
          <c:dPt>
            <c:idx val="779"/>
            <c:invertIfNegative val="1"/>
            <c:bubble3D val="0"/>
            <c:spPr>
              <a:solidFill>
                <a:srgbClr val="AEABAB"/>
              </a:solidFill>
            </c:spPr>
            <c:extLst>
              <c:ext xmlns:c16="http://schemas.microsoft.com/office/drawing/2014/chart" uri="{C3380CC4-5D6E-409C-BE32-E72D297353CC}">
                <c16:uniqueId val="{00000619-F218-4DDE-952B-C0F0729EE755}"/>
              </c:ext>
            </c:extLst>
          </c:dPt>
          <c:dPt>
            <c:idx val="780"/>
            <c:invertIfNegative val="1"/>
            <c:bubble3D val="0"/>
            <c:spPr>
              <a:solidFill>
                <a:srgbClr val="AEABAB"/>
              </a:solidFill>
            </c:spPr>
            <c:extLst>
              <c:ext xmlns:c16="http://schemas.microsoft.com/office/drawing/2014/chart" uri="{C3380CC4-5D6E-409C-BE32-E72D297353CC}">
                <c16:uniqueId val="{0000061B-F218-4DDE-952B-C0F0729EE755}"/>
              </c:ext>
            </c:extLst>
          </c:dPt>
          <c:dPt>
            <c:idx val="781"/>
            <c:invertIfNegative val="1"/>
            <c:bubble3D val="0"/>
            <c:spPr>
              <a:solidFill>
                <a:srgbClr val="AEABAB"/>
              </a:solidFill>
            </c:spPr>
            <c:extLst>
              <c:ext xmlns:c16="http://schemas.microsoft.com/office/drawing/2014/chart" uri="{C3380CC4-5D6E-409C-BE32-E72D297353CC}">
                <c16:uniqueId val="{0000061D-F218-4DDE-952B-C0F0729EE755}"/>
              </c:ext>
            </c:extLst>
          </c:dPt>
          <c:dPt>
            <c:idx val="782"/>
            <c:invertIfNegative val="1"/>
            <c:bubble3D val="0"/>
            <c:spPr>
              <a:solidFill>
                <a:srgbClr val="AEABAB"/>
              </a:solidFill>
            </c:spPr>
            <c:extLst>
              <c:ext xmlns:c16="http://schemas.microsoft.com/office/drawing/2014/chart" uri="{C3380CC4-5D6E-409C-BE32-E72D297353CC}">
                <c16:uniqueId val="{0000061F-F218-4DDE-952B-C0F0729EE755}"/>
              </c:ext>
            </c:extLst>
          </c:dPt>
          <c:dPt>
            <c:idx val="783"/>
            <c:invertIfNegative val="1"/>
            <c:bubble3D val="0"/>
            <c:spPr>
              <a:solidFill>
                <a:srgbClr val="AEABAB"/>
              </a:solidFill>
            </c:spPr>
            <c:extLst>
              <c:ext xmlns:c16="http://schemas.microsoft.com/office/drawing/2014/chart" uri="{C3380CC4-5D6E-409C-BE32-E72D297353CC}">
                <c16:uniqueId val="{00000621-F218-4DDE-952B-C0F0729EE755}"/>
              </c:ext>
            </c:extLst>
          </c:dPt>
          <c:dPt>
            <c:idx val="784"/>
            <c:invertIfNegative val="1"/>
            <c:bubble3D val="0"/>
            <c:spPr>
              <a:solidFill>
                <a:srgbClr val="AEABAB"/>
              </a:solidFill>
            </c:spPr>
            <c:extLst>
              <c:ext xmlns:c16="http://schemas.microsoft.com/office/drawing/2014/chart" uri="{C3380CC4-5D6E-409C-BE32-E72D297353CC}">
                <c16:uniqueId val="{00000623-F218-4DDE-952B-C0F0729EE755}"/>
              </c:ext>
            </c:extLst>
          </c:dPt>
          <c:dPt>
            <c:idx val="785"/>
            <c:invertIfNegative val="1"/>
            <c:bubble3D val="0"/>
            <c:spPr>
              <a:solidFill>
                <a:srgbClr val="AEABAB"/>
              </a:solidFill>
            </c:spPr>
            <c:extLst>
              <c:ext xmlns:c16="http://schemas.microsoft.com/office/drawing/2014/chart" uri="{C3380CC4-5D6E-409C-BE32-E72D297353CC}">
                <c16:uniqueId val="{00000625-F218-4DDE-952B-C0F0729EE755}"/>
              </c:ext>
            </c:extLst>
          </c:dPt>
          <c:dPt>
            <c:idx val="786"/>
            <c:invertIfNegative val="1"/>
            <c:bubble3D val="0"/>
            <c:spPr>
              <a:solidFill>
                <a:srgbClr val="AEABAB"/>
              </a:solidFill>
            </c:spPr>
            <c:extLst>
              <c:ext xmlns:c16="http://schemas.microsoft.com/office/drawing/2014/chart" uri="{C3380CC4-5D6E-409C-BE32-E72D297353CC}">
                <c16:uniqueId val="{00000627-F218-4DDE-952B-C0F0729EE755}"/>
              </c:ext>
            </c:extLst>
          </c:dPt>
          <c:dPt>
            <c:idx val="787"/>
            <c:invertIfNegative val="1"/>
            <c:bubble3D val="0"/>
            <c:spPr>
              <a:solidFill>
                <a:srgbClr val="AEABAB"/>
              </a:solidFill>
            </c:spPr>
            <c:extLst>
              <c:ext xmlns:c16="http://schemas.microsoft.com/office/drawing/2014/chart" uri="{C3380CC4-5D6E-409C-BE32-E72D297353CC}">
                <c16:uniqueId val="{00000629-F218-4DDE-952B-C0F0729EE755}"/>
              </c:ext>
            </c:extLst>
          </c:dPt>
          <c:dPt>
            <c:idx val="788"/>
            <c:invertIfNegative val="1"/>
            <c:bubble3D val="0"/>
            <c:spPr>
              <a:solidFill>
                <a:srgbClr val="AEABAB"/>
              </a:solidFill>
            </c:spPr>
            <c:extLst>
              <c:ext xmlns:c16="http://schemas.microsoft.com/office/drawing/2014/chart" uri="{C3380CC4-5D6E-409C-BE32-E72D297353CC}">
                <c16:uniqueId val="{0000062B-F218-4DDE-952B-C0F0729EE755}"/>
              </c:ext>
            </c:extLst>
          </c:dPt>
          <c:dPt>
            <c:idx val="789"/>
            <c:invertIfNegative val="1"/>
            <c:bubble3D val="0"/>
            <c:spPr>
              <a:solidFill>
                <a:srgbClr val="AEABAB"/>
              </a:solidFill>
            </c:spPr>
            <c:extLst>
              <c:ext xmlns:c16="http://schemas.microsoft.com/office/drawing/2014/chart" uri="{C3380CC4-5D6E-409C-BE32-E72D297353CC}">
                <c16:uniqueId val="{0000062D-F218-4DDE-952B-C0F0729EE755}"/>
              </c:ext>
            </c:extLst>
          </c:dPt>
          <c:dPt>
            <c:idx val="790"/>
            <c:invertIfNegative val="1"/>
            <c:bubble3D val="0"/>
            <c:spPr>
              <a:solidFill>
                <a:srgbClr val="AEABAB"/>
              </a:solidFill>
            </c:spPr>
            <c:extLst>
              <c:ext xmlns:c16="http://schemas.microsoft.com/office/drawing/2014/chart" uri="{C3380CC4-5D6E-409C-BE32-E72D297353CC}">
                <c16:uniqueId val="{0000062F-F218-4DDE-952B-C0F0729EE755}"/>
              </c:ext>
            </c:extLst>
          </c:dPt>
          <c:dPt>
            <c:idx val="791"/>
            <c:invertIfNegative val="1"/>
            <c:bubble3D val="0"/>
            <c:spPr>
              <a:solidFill>
                <a:srgbClr val="AEABAB"/>
              </a:solidFill>
            </c:spPr>
            <c:extLst>
              <c:ext xmlns:c16="http://schemas.microsoft.com/office/drawing/2014/chart" uri="{C3380CC4-5D6E-409C-BE32-E72D297353CC}">
                <c16:uniqueId val="{00000631-F218-4DDE-952B-C0F0729EE755}"/>
              </c:ext>
            </c:extLst>
          </c:dPt>
          <c:dPt>
            <c:idx val="792"/>
            <c:invertIfNegative val="1"/>
            <c:bubble3D val="0"/>
            <c:spPr>
              <a:solidFill>
                <a:srgbClr val="AEABAB"/>
              </a:solidFill>
            </c:spPr>
            <c:extLst>
              <c:ext xmlns:c16="http://schemas.microsoft.com/office/drawing/2014/chart" uri="{C3380CC4-5D6E-409C-BE32-E72D297353CC}">
                <c16:uniqueId val="{00000633-F218-4DDE-952B-C0F0729EE755}"/>
              </c:ext>
            </c:extLst>
          </c:dPt>
          <c:dPt>
            <c:idx val="793"/>
            <c:invertIfNegative val="1"/>
            <c:bubble3D val="0"/>
            <c:spPr>
              <a:solidFill>
                <a:srgbClr val="AEABAB"/>
              </a:solidFill>
            </c:spPr>
            <c:extLst>
              <c:ext xmlns:c16="http://schemas.microsoft.com/office/drawing/2014/chart" uri="{C3380CC4-5D6E-409C-BE32-E72D297353CC}">
                <c16:uniqueId val="{00000635-F218-4DDE-952B-C0F0729EE755}"/>
              </c:ext>
            </c:extLst>
          </c:dPt>
          <c:dPt>
            <c:idx val="794"/>
            <c:invertIfNegative val="1"/>
            <c:bubble3D val="0"/>
            <c:spPr>
              <a:solidFill>
                <a:srgbClr val="AEABAB"/>
              </a:solidFill>
            </c:spPr>
            <c:extLst>
              <c:ext xmlns:c16="http://schemas.microsoft.com/office/drawing/2014/chart" uri="{C3380CC4-5D6E-409C-BE32-E72D297353CC}">
                <c16:uniqueId val="{00000637-F218-4DDE-952B-C0F0729EE755}"/>
              </c:ext>
            </c:extLst>
          </c:dPt>
          <c:dPt>
            <c:idx val="795"/>
            <c:invertIfNegative val="1"/>
            <c:bubble3D val="0"/>
            <c:spPr>
              <a:solidFill>
                <a:srgbClr val="AEABAB"/>
              </a:solidFill>
            </c:spPr>
            <c:extLst>
              <c:ext xmlns:c16="http://schemas.microsoft.com/office/drawing/2014/chart" uri="{C3380CC4-5D6E-409C-BE32-E72D297353CC}">
                <c16:uniqueId val="{00000639-F218-4DDE-952B-C0F0729EE755}"/>
              </c:ext>
            </c:extLst>
          </c:dPt>
          <c:dPt>
            <c:idx val="796"/>
            <c:invertIfNegative val="1"/>
            <c:bubble3D val="0"/>
            <c:spPr>
              <a:solidFill>
                <a:srgbClr val="AEABAB"/>
              </a:solidFill>
            </c:spPr>
            <c:extLst>
              <c:ext xmlns:c16="http://schemas.microsoft.com/office/drawing/2014/chart" uri="{C3380CC4-5D6E-409C-BE32-E72D297353CC}">
                <c16:uniqueId val="{0000063B-F218-4DDE-952B-C0F0729EE755}"/>
              </c:ext>
            </c:extLst>
          </c:dPt>
          <c:dPt>
            <c:idx val="797"/>
            <c:invertIfNegative val="1"/>
            <c:bubble3D val="0"/>
            <c:spPr>
              <a:solidFill>
                <a:srgbClr val="AEABAB"/>
              </a:solidFill>
            </c:spPr>
            <c:extLst>
              <c:ext xmlns:c16="http://schemas.microsoft.com/office/drawing/2014/chart" uri="{C3380CC4-5D6E-409C-BE32-E72D297353CC}">
                <c16:uniqueId val="{0000063D-F218-4DDE-952B-C0F0729EE755}"/>
              </c:ext>
            </c:extLst>
          </c:dPt>
          <c:dPt>
            <c:idx val="798"/>
            <c:invertIfNegative val="1"/>
            <c:bubble3D val="0"/>
            <c:spPr>
              <a:solidFill>
                <a:srgbClr val="AEABAB"/>
              </a:solidFill>
            </c:spPr>
            <c:extLst>
              <c:ext xmlns:c16="http://schemas.microsoft.com/office/drawing/2014/chart" uri="{C3380CC4-5D6E-409C-BE32-E72D297353CC}">
                <c16:uniqueId val="{0000063F-F218-4DDE-952B-C0F0729EE755}"/>
              </c:ext>
            </c:extLst>
          </c:dPt>
          <c:dPt>
            <c:idx val="799"/>
            <c:invertIfNegative val="1"/>
            <c:bubble3D val="0"/>
            <c:spPr>
              <a:solidFill>
                <a:srgbClr val="AEABAB"/>
              </a:solidFill>
            </c:spPr>
            <c:extLst>
              <c:ext xmlns:c16="http://schemas.microsoft.com/office/drawing/2014/chart" uri="{C3380CC4-5D6E-409C-BE32-E72D297353CC}">
                <c16:uniqueId val="{00000641-F218-4DDE-952B-C0F0729EE755}"/>
              </c:ext>
            </c:extLst>
          </c:dPt>
          <c:dPt>
            <c:idx val="800"/>
            <c:invertIfNegative val="1"/>
            <c:bubble3D val="0"/>
            <c:spPr>
              <a:solidFill>
                <a:srgbClr val="AEABAB"/>
              </a:solidFill>
            </c:spPr>
            <c:extLst>
              <c:ext xmlns:c16="http://schemas.microsoft.com/office/drawing/2014/chart" uri="{C3380CC4-5D6E-409C-BE32-E72D297353CC}">
                <c16:uniqueId val="{00000643-F218-4DDE-952B-C0F0729EE755}"/>
              </c:ext>
            </c:extLst>
          </c:dPt>
          <c:dPt>
            <c:idx val="801"/>
            <c:invertIfNegative val="1"/>
            <c:bubble3D val="0"/>
            <c:spPr>
              <a:solidFill>
                <a:srgbClr val="AEABAB"/>
              </a:solidFill>
            </c:spPr>
            <c:extLst>
              <c:ext xmlns:c16="http://schemas.microsoft.com/office/drawing/2014/chart" uri="{C3380CC4-5D6E-409C-BE32-E72D297353CC}">
                <c16:uniqueId val="{00000645-F218-4DDE-952B-C0F0729EE755}"/>
              </c:ext>
            </c:extLst>
          </c:dPt>
          <c:dPt>
            <c:idx val="802"/>
            <c:invertIfNegative val="1"/>
            <c:bubble3D val="0"/>
            <c:spPr>
              <a:solidFill>
                <a:srgbClr val="AEABAB"/>
              </a:solidFill>
            </c:spPr>
            <c:extLst>
              <c:ext xmlns:c16="http://schemas.microsoft.com/office/drawing/2014/chart" uri="{C3380CC4-5D6E-409C-BE32-E72D297353CC}">
                <c16:uniqueId val="{00000647-F218-4DDE-952B-C0F0729EE755}"/>
              </c:ext>
            </c:extLst>
          </c:dPt>
          <c:dPt>
            <c:idx val="803"/>
            <c:invertIfNegative val="1"/>
            <c:bubble3D val="0"/>
            <c:spPr>
              <a:solidFill>
                <a:srgbClr val="AEABAB"/>
              </a:solidFill>
            </c:spPr>
            <c:extLst>
              <c:ext xmlns:c16="http://schemas.microsoft.com/office/drawing/2014/chart" uri="{C3380CC4-5D6E-409C-BE32-E72D297353CC}">
                <c16:uniqueId val="{00000649-F218-4DDE-952B-C0F0729EE755}"/>
              </c:ext>
            </c:extLst>
          </c:dPt>
          <c:dPt>
            <c:idx val="804"/>
            <c:invertIfNegative val="1"/>
            <c:bubble3D val="0"/>
            <c:spPr>
              <a:solidFill>
                <a:srgbClr val="AEABAB"/>
              </a:solidFill>
            </c:spPr>
            <c:extLst>
              <c:ext xmlns:c16="http://schemas.microsoft.com/office/drawing/2014/chart" uri="{C3380CC4-5D6E-409C-BE32-E72D297353CC}">
                <c16:uniqueId val="{0000064B-F218-4DDE-952B-C0F0729EE755}"/>
              </c:ext>
            </c:extLst>
          </c:dPt>
          <c:dPt>
            <c:idx val="805"/>
            <c:invertIfNegative val="1"/>
            <c:bubble3D val="0"/>
            <c:spPr>
              <a:solidFill>
                <a:srgbClr val="AEABAB"/>
              </a:solidFill>
            </c:spPr>
            <c:extLst>
              <c:ext xmlns:c16="http://schemas.microsoft.com/office/drawing/2014/chart" uri="{C3380CC4-5D6E-409C-BE32-E72D297353CC}">
                <c16:uniqueId val="{0000064D-F218-4DDE-952B-C0F0729EE755}"/>
              </c:ext>
            </c:extLst>
          </c:dPt>
          <c:dPt>
            <c:idx val="806"/>
            <c:invertIfNegative val="1"/>
            <c:bubble3D val="0"/>
            <c:spPr>
              <a:solidFill>
                <a:srgbClr val="AEABAB"/>
              </a:solidFill>
            </c:spPr>
            <c:extLst>
              <c:ext xmlns:c16="http://schemas.microsoft.com/office/drawing/2014/chart" uri="{C3380CC4-5D6E-409C-BE32-E72D297353CC}">
                <c16:uniqueId val="{0000064F-F218-4DDE-952B-C0F0729EE755}"/>
              </c:ext>
            </c:extLst>
          </c:dPt>
          <c:dPt>
            <c:idx val="807"/>
            <c:invertIfNegative val="1"/>
            <c:bubble3D val="0"/>
            <c:spPr>
              <a:solidFill>
                <a:srgbClr val="AEABAB"/>
              </a:solidFill>
            </c:spPr>
            <c:extLst>
              <c:ext xmlns:c16="http://schemas.microsoft.com/office/drawing/2014/chart" uri="{C3380CC4-5D6E-409C-BE32-E72D297353CC}">
                <c16:uniqueId val="{00000651-F218-4DDE-952B-C0F0729EE755}"/>
              </c:ext>
            </c:extLst>
          </c:dPt>
          <c:dPt>
            <c:idx val="808"/>
            <c:invertIfNegative val="1"/>
            <c:bubble3D val="0"/>
            <c:spPr>
              <a:solidFill>
                <a:srgbClr val="AEABAB"/>
              </a:solidFill>
            </c:spPr>
            <c:extLst>
              <c:ext xmlns:c16="http://schemas.microsoft.com/office/drawing/2014/chart" uri="{C3380CC4-5D6E-409C-BE32-E72D297353CC}">
                <c16:uniqueId val="{00000653-F218-4DDE-952B-C0F0729EE755}"/>
              </c:ext>
            </c:extLst>
          </c:dPt>
          <c:dPt>
            <c:idx val="809"/>
            <c:invertIfNegative val="1"/>
            <c:bubble3D val="0"/>
            <c:spPr>
              <a:solidFill>
                <a:srgbClr val="AEABAB"/>
              </a:solidFill>
            </c:spPr>
            <c:extLst>
              <c:ext xmlns:c16="http://schemas.microsoft.com/office/drawing/2014/chart" uri="{C3380CC4-5D6E-409C-BE32-E72D297353CC}">
                <c16:uniqueId val="{00000655-F218-4DDE-952B-C0F0729EE755}"/>
              </c:ext>
            </c:extLst>
          </c:dPt>
          <c:dPt>
            <c:idx val="810"/>
            <c:invertIfNegative val="1"/>
            <c:bubble3D val="0"/>
            <c:spPr>
              <a:solidFill>
                <a:srgbClr val="AEABAB"/>
              </a:solidFill>
            </c:spPr>
            <c:extLst>
              <c:ext xmlns:c16="http://schemas.microsoft.com/office/drawing/2014/chart" uri="{C3380CC4-5D6E-409C-BE32-E72D297353CC}">
                <c16:uniqueId val="{00000657-F218-4DDE-952B-C0F0729EE755}"/>
              </c:ext>
            </c:extLst>
          </c:dPt>
          <c:dPt>
            <c:idx val="811"/>
            <c:invertIfNegative val="1"/>
            <c:bubble3D val="0"/>
            <c:spPr>
              <a:solidFill>
                <a:srgbClr val="AEABAB"/>
              </a:solidFill>
            </c:spPr>
            <c:extLst>
              <c:ext xmlns:c16="http://schemas.microsoft.com/office/drawing/2014/chart" uri="{C3380CC4-5D6E-409C-BE32-E72D297353CC}">
                <c16:uniqueId val="{00000659-F218-4DDE-952B-C0F0729EE755}"/>
              </c:ext>
            </c:extLst>
          </c:dPt>
          <c:dPt>
            <c:idx val="812"/>
            <c:invertIfNegative val="1"/>
            <c:bubble3D val="0"/>
            <c:spPr>
              <a:solidFill>
                <a:srgbClr val="AEABAB"/>
              </a:solidFill>
            </c:spPr>
            <c:extLst>
              <c:ext xmlns:c16="http://schemas.microsoft.com/office/drawing/2014/chart" uri="{C3380CC4-5D6E-409C-BE32-E72D297353CC}">
                <c16:uniqueId val="{0000065B-F218-4DDE-952B-C0F0729EE755}"/>
              </c:ext>
            </c:extLst>
          </c:dPt>
          <c:dPt>
            <c:idx val="813"/>
            <c:invertIfNegative val="1"/>
            <c:bubble3D val="0"/>
            <c:spPr>
              <a:solidFill>
                <a:srgbClr val="AEABAB"/>
              </a:solidFill>
            </c:spPr>
            <c:extLst>
              <c:ext xmlns:c16="http://schemas.microsoft.com/office/drawing/2014/chart" uri="{C3380CC4-5D6E-409C-BE32-E72D297353CC}">
                <c16:uniqueId val="{0000065D-F218-4DDE-952B-C0F0729EE755}"/>
              </c:ext>
            </c:extLst>
          </c:dPt>
          <c:dPt>
            <c:idx val="814"/>
            <c:invertIfNegative val="1"/>
            <c:bubble3D val="0"/>
            <c:spPr>
              <a:solidFill>
                <a:srgbClr val="AEABAB"/>
              </a:solidFill>
            </c:spPr>
            <c:extLst>
              <c:ext xmlns:c16="http://schemas.microsoft.com/office/drawing/2014/chart" uri="{C3380CC4-5D6E-409C-BE32-E72D297353CC}">
                <c16:uniqueId val="{0000065F-F218-4DDE-952B-C0F0729EE755}"/>
              </c:ext>
            </c:extLst>
          </c:dPt>
          <c:dPt>
            <c:idx val="815"/>
            <c:invertIfNegative val="1"/>
            <c:bubble3D val="0"/>
            <c:spPr>
              <a:solidFill>
                <a:srgbClr val="AEABAB"/>
              </a:solidFill>
            </c:spPr>
            <c:extLst>
              <c:ext xmlns:c16="http://schemas.microsoft.com/office/drawing/2014/chart" uri="{C3380CC4-5D6E-409C-BE32-E72D297353CC}">
                <c16:uniqueId val="{00000661-F218-4DDE-952B-C0F0729EE755}"/>
              </c:ext>
            </c:extLst>
          </c:dPt>
          <c:dPt>
            <c:idx val="816"/>
            <c:invertIfNegative val="1"/>
            <c:bubble3D val="0"/>
            <c:spPr>
              <a:solidFill>
                <a:srgbClr val="AEABAB"/>
              </a:solidFill>
            </c:spPr>
            <c:extLst>
              <c:ext xmlns:c16="http://schemas.microsoft.com/office/drawing/2014/chart" uri="{C3380CC4-5D6E-409C-BE32-E72D297353CC}">
                <c16:uniqueId val="{00000663-F218-4DDE-952B-C0F0729EE755}"/>
              </c:ext>
            </c:extLst>
          </c:dPt>
          <c:dPt>
            <c:idx val="817"/>
            <c:invertIfNegative val="1"/>
            <c:bubble3D val="0"/>
            <c:spPr>
              <a:solidFill>
                <a:srgbClr val="AEABAB"/>
              </a:solidFill>
            </c:spPr>
            <c:extLst>
              <c:ext xmlns:c16="http://schemas.microsoft.com/office/drawing/2014/chart" uri="{C3380CC4-5D6E-409C-BE32-E72D297353CC}">
                <c16:uniqueId val="{00000665-F218-4DDE-952B-C0F0729EE755}"/>
              </c:ext>
            </c:extLst>
          </c:dPt>
          <c:dPt>
            <c:idx val="818"/>
            <c:invertIfNegative val="1"/>
            <c:bubble3D val="0"/>
            <c:spPr>
              <a:solidFill>
                <a:srgbClr val="AEABAB"/>
              </a:solidFill>
            </c:spPr>
            <c:extLst>
              <c:ext xmlns:c16="http://schemas.microsoft.com/office/drawing/2014/chart" uri="{C3380CC4-5D6E-409C-BE32-E72D297353CC}">
                <c16:uniqueId val="{00000667-F218-4DDE-952B-C0F0729EE755}"/>
              </c:ext>
            </c:extLst>
          </c:dPt>
          <c:dPt>
            <c:idx val="819"/>
            <c:invertIfNegative val="1"/>
            <c:bubble3D val="0"/>
            <c:spPr>
              <a:solidFill>
                <a:srgbClr val="AEABAB"/>
              </a:solidFill>
            </c:spPr>
            <c:extLst>
              <c:ext xmlns:c16="http://schemas.microsoft.com/office/drawing/2014/chart" uri="{C3380CC4-5D6E-409C-BE32-E72D297353CC}">
                <c16:uniqueId val="{00000669-F218-4DDE-952B-C0F0729EE755}"/>
              </c:ext>
            </c:extLst>
          </c:dPt>
          <c:dPt>
            <c:idx val="820"/>
            <c:invertIfNegative val="1"/>
            <c:bubble3D val="0"/>
            <c:spPr>
              <a:solidFill>
                <a:srgbClr val="AEABAB"/>
              </a:solidFill>
            </c:spPr>
            <c:extLst>
              <c:ext xmlns:c16="http://schemas.microsoft.com/office/drawing/2014/chart" uri="{C3380CC4-5D6E-409C-BE32-E72D297353CC}">
                <c16:uniqueId val="{0000066B-F218-4DDE-952B-C0F0729EE755}"/>
              </c:ext>
            </c:extLst>
          </c:dPt>
          <c:dPt>
            <c:idx val="821"/>
            <c:invertIfNegative val="1"/>
            <c:bubble3D val="0"/>
            <c:spPr>
              <a:solidFill>
                <a:srgbClr val="AEABAB"/>
              </a:solidFill>
            </c:spPr>
            <c:extLst>
              <c:ext xmlns:c16="http://schemas.microsoft.com/office/drawing/2014/chart" uri="{C3380CC4-5D6E-409C-BE32-E72D297353CC}">
                <c16:uniqueId val="{0000066D-F218-4DDE-952B-C0F0729EE755}"/>
              </c:ext>
            </c:extLst>
          </c:dPt>
          <c:dPt>
            <c:idx val="822"/>
            <c:invertIfNegative val="1"/>
            <c:bubble3D val="0"/>
            <c:spPr>
              <a:solidFill>
                <a:srgbClr val="AEABAB"/>
              </a:solidFill>
            </c:spPr>
            <c:extLst>
              <c:ext xmlns:c16="http://schemas.microsoft.com/office/drawing/2014/chart" uri="{C3380CC4-5D6E-409C-BE32-E72D297353CC}">
                <c16:uniqueId val="{0000066F-F218-4DDE-952B-C0F0729EE755}"/>
              </c:ext>
            </c:extLst>
          </c:dPt>
          <c:dPt>
            <c:idx val="823"/>
            <c:invertIfNegative val="1"/>
            <c:bubble3D val="0"/>
            <c:spPr>
              <a:solidFill>
                <a:srgbClr val="AEABAB"/>
              </a:solidFill>
            </c:spPr>
            <c:extLst>
              <c:ext xmlns:c16="http://schemas.microsoft.com/office/drawing/2014/chart" uri="{C3380CC4-5D6E-409C-BE32-E72D297353CC}">
                <c16:uniqueId val="{00000671-F218-4DDE-952B-C0F0729EE755}"/>
              </c:ext>
            </c:extLst>
          </c:dPt>
          <c:dPt>
            <c:idx val="824"/>
            <c:invertIfNegative val="1"/>
            <c:bubble3D val="0"/>
            <c:spPr>
              <a:solidFill>
                <a:srgbClr val="AEABAB"/>
              </a:solidFill>
            </c:spPr>
            <c:extLst>
              <c:ext xmlns:c16="http://schemas.microsoft.com/office/drawing/2014/chart" uri="{C3380CC4-5D6E-409C-BE32-E72D297353CC}">
                <c16:uniqueId val="{00000673-F218-4DDE-952B-C0F0729EE755}"/>
              </c:ext>
            </c:extLst>
          </c:dPt>
          <c:dPt>
            <c:idx val="825"/>
            <c:invertIfNegative val="1"/>
            <c:bubble3D val="0"/>
            <c:spPr>
              <a:solidFill>
                <a:srgbClr val="AEABAB"/>
              </a:solidFill>
            </c:spPr>
            <c:extLst>
              <c:ext xmlns:c16="http://schemas.microsoft.com/office/drawing/2014/chart" uri="{C3380CC4-5D6E-409C-BE32-E72D297353CC}">
                <c16:uniqueId val="{00000675-F218-4DDE-952B-C0F0729EE755}"/>
              </c:ext>
            </c:extLst>
          </c:dPt>
          <c:dPt>
            <c:idx val="826"/>
            <c:invertIfNegative val="1"/>
            <c:bubble3D val="0"/>
            <c:spPr>
              <a:solidFill>
                <a:srgbClr val="AEABAB"/>
              </a:solidFill>
            </c:spPr>
            <c:extLst>
              <c:ext xmlns:c16="http://schemas.microsoft.com/office/drawing/2014/chart" uri="{C3380CC4-5D6E-409C-BE32-E72D297353CC}">
                <c16:uniqueId val="{00000677-F218-4DDE-952B-C0F0729EE755}"/>
              </c:ext>
            </c:extLst>
          </c:dPt>
          <c:dPt>
            <c:idx val="827"/>
            <c:invertIfNegative val="1"/>
            <c:bubble3D val="0"/>
            <c:spPr>
              <a:solidFill>
                <a:srgbClr val="AEABAB"/>
              </a:solidFill>
            </c:spPr>
            <c:extLst>
              <c:ext xmlns:c16="http://schemas.microsoft.com/office/drawing/2014/chart" uri="{C3380CC4-5D6E-409C-BE32-E72D297353CC}">
                <c16:uniqueId val="{00000679-F218-4DDE-952B-C0F0729EE755}"/>
              </c:ext>
            </c:extLst>
          </c:dPt>
          <c:dPt>
            <c:idx val="828"/>
            <c:invertIfNegative val="1"/>
            <c:bubble3D val="0"/>
            <c:spPr>
              <a:solidFill>
                <a:srgbClr val="AEABAB"/>
              </a:solidFill>
            </c:spPr>
            <c:extLst>
              <c:ext xmlns:c16="http://schemas.microsoft.com/office/drawing/2014/chart" uri="{C3380CC4-5D6E-409C-BE32-E72D297353CC}">
                <c16:uniqueId val="{0000067B-F218-4DDE-952B-C0F0729EE755}"/>
              </c:ext>
            </c:extLst>
          </c:dPt>
          <c:dPt>
            <c:idx val="829"/>
            <c:invertIfNegative val="1"/>
            <c:bubble3D val="0"/>
            <c:spPr>
              <a:solidFill>
                <a:srgbClr val="AEABAB"/>
              </a:solidFill>
            </c:spPr>
            <c:extLst>
              <c:ext xmlns:c16="http://schemas.microsoft.com/office/drawing/2014/chart" uri="{C3380CC4-5D6E-409C-BE32-E72D297353CC}">
                <c16:uniqueId val="{0000067D-F218-4DDE-952B-C0F0729EE755}"/>
              </c:ext>
            </c:extLst>
          </c:dPt>
          <c:dPt>
            <c:idx val="830"/>
            <c:invertIfNegative val="1"/>
            <c:bubble3D val="0"/>
            <c:spPr>
              <a:solidFill>
                <a:srgbClr val="AEABAB"/>
              </a:solidFill>
            </c:spPr>
            <c:extLst>
              <c:ext xmlns:c16="http://schemas.microsoft.com/office/drawing/2014/chart" uri="{C3380CC4-5D6E-409C-BE32-E72D297353CC}">
                <c16:uniqueId val="{0000067F-F218-4DDE-952B-C0F0729EE755}"/>
              </c:ext>
            </c:extLst>
          </c:dPt>
          <c:dPt>
            <c:idx val="831"/>
            <c:invertIfNegative val="1"/>
            <c:bubble3D val="0"/>
            <c:spPr>
              <a:solidFill>
                <a:srgbClr val="AEABAB"/>
              </a:solidFill>
            </c:spPr>
            <c:extLst>
              <c:ext xmlns:c16="http://schemas.microsoft.com/office/drawing/2014/chart" uri="{C3380CC4-5D6E-409C-BE32-E72D297353CC}">
                <c16:uniqueId val="{00000681-F218-4DDE-952B-C0F0729EE755}"/>
              </c:ext>
            </c:extLst>
          </c:dPt>
          <c:dPt>
            <c:idx val="832"/>
            <c:invertIfNegative val="1"/>
            <c:bubble3D val="0"/>
            <c:spPr>
              <a:solidFill>
                <a:srgbClr val="AEABAB"/>
              </a:solidFill>
            </c:spPr>
            <c:extLst>
              <c:ext xmlns:c16="http://schemas.microsoft.com/office/drawing/2014/chart" uri="{C3380CC4-5D6E-409C-BE32-E72D297353CC}">
                <c16:uniqueId val="{00000683-F218-4DDE-952B-C0F0729EE755}"/>
              </c:ext>
            </c:extLst>
          </c:dPt>
          <c:dPt>
            <c:idx val="833"/>
            <c:invertIfNegative val="1"/>
            <c:bubble3D val="0"/>
            <c:spPr>
              <a:solidFill>
                <a:srgbClr val="AEABAB"/>
              </a:solidFill>
            </c:spPr>
            <c:extLst>
              <c:ext xmlns:c16="http://schemas.microsoft.com/office/drawing/2014/chart" uri="{C3380CC4-5D6E-409C-BE32-E72D297353CC}">
                <c16:uniqueId val="{00000685-F218-4DDE-952B-C0F0729EE755}"/>
              </c:ext>
            </c:extLst>
          </c:dPt>
          <c:dPt>
            <c:idx val="834"/>
            <c:invertIfNegative val="1"/>
            <c:bubble3D val="0"/>
            <c:spPr>
              <a:solidFill>
                <a:srgbClr val="AEABAB"/>
              </a:solidFill>
            </c:spPr>
            <c:extLst>
              <c:ext xmlns:c16="http://schemas.microsoft.com/office/drawing/2014/chart" uri="{C3380CC4-5D6E-409C-BE32-E72D297353CC}">
                <c16:uniqueId val="{00000687-F218-4DDE-952B-C0F0729EE755}"/>
              </c:ext>
            </c:extLst>
          </c:dPt>
          <c:dPt>
            <c:idx val="835"/>
            <c:invertIfNegative val="1"/>
            <c:bubble3D val="0"/>
            <c:spPr>
              <a:solidFill>
                <a:srgbClr val="AEABAB"/>
              </a:solidFill>
            </c:spPr>
            <c:extLst>
              <c:ext xmlns:c16="http://schemas.microsoft.com/office/drawing/2014/chart" uri="{C3380CC4-5D6E-409C-BE32-E72D297353CC}">
                <c16:uniqueId val="{00000689-F218-4DDE-952B-C0F0729EE755}"/>
              </c:ext>
            </c:extLst>
          </c:dPt>
          <c:dPt>
            <c:idx val="836"/>
            <c:invertIfNegative val="1"/>
            <c:bubble3D val="0"/>
            <c:spPr>
              <a:solidFill>
                <a:srgbClr val="AEABAB"/>
              </a:solidFill>
            </c:spPr>
            <c:extLst>
              <c:ext xmlns:c16="http://schemas.microsoft.com/office/drawing/2014/chart" uri="{C3380CC4-5D6E-409C-BE32-E72D297353CC}">
                <c16:uniqueId val="{0000068B-F218-4DDE-952B-C0F0729EE755}"/>
              </c:ext>
            </c:extLst>
          </c:dPt>
          <c:dPt>
            <c:idx val="837"/>
            <c:invertIfNegative val="1"/>
            <c:bubble3D val="0"/>
            <c:spPr>
              <a:solidFill>
                <a:srgbClr val="AEABAB"/>
              </a:solidFill>
            </c:spPr>
            <c:extLst>
              <c:ext xmlns:c16="http://schemas.microsoft.com/office/drawing/2014/chart" uri="{C3380CC4-5D6E-409C-BE32-E72D297353CC}">
                <c16:uniqueId val="{0000068D-F218-4DDE-952B-C0F0729EE755}"/>
              </c:ext>
            </c:extLst>
          </c:dPt>
          <c:dPt>
            <c:idx val="838"/>
            <c:invertIfNegative val="1"/>
            <c:bubble3D val="0"/>
            <c:spPr>
              <a:solidFill>
                <a:srgbClr val="AEABAB"/>
              </a:solidFill>
            </c:spPr>
            <c:extLst>
              <c:ext xmlns:c16="http://schemas.microsoft.com/office/drawing/2014/chart" uri="{C3380CC4-5D6E-409C-BE32-E72D297353CC}">
                <c16:uniqueId val="{0000068F-F218-4DDE-952B-C0F0729EE755}"/>
              </c:ext>
            </c:extLst>
          </c:dPt>
          <c:dPt>
            <c:idx val="839"/>
            <c:invertIfNegative val="1"/>
            <c:bubble3D val="0"/>
            <c:spPr>
              <a:solidFill>
                <a:srgbClr val="AEABAB"/>
              </a:solidFill>
            </c:spPr>
            <c:extLst>
              <c:ext xmlns:c16="http://schemas.microsoft.com/office/drawing/2014/chart" uri="{C3380CC4-5D6E-409C-BE32-E72D297353CC}">
                <c16:uniqueId val="{00000691-F218-4DDE-952B-C0F0729EE755}"/>
              </c:ext>
            </c:extLst>
          </c:dPt>
          <c:dPt>
            <c:idx val="840"/>
            <c:invertIfNegative val="1"/>
            <c:bubble3D val="0"/>
            <c:spPr>
              <a:solidFill>
                <a:srgbClr val="AEABAB"/>
              </a:solidFill>
            </c:spPr>
            <c:extLst>
              <c:ext xmlns:c16="http://schemas.microsoft.com/office/drawing/2014/chart" uri="{C3380CC4-5D6E-409C-BE32-E72D297353CC}">
                <c16:uniqueId val="{00000693-F218-4DDE-952B-C0F0729EE755}"/>
              </c:ext>
            </c:extLst>
          </c:dPt>
          <c:dPt>
            <c:idx val="841"/>
            <c:invertIfNegative val="1"/>
            <c:bubble3D val="0"/>
            <c:spPr>
              <a:solidFill>
                <a:srgbClr val="AEABAB"/>
              </a:solidFill>
            </c:spPr>
            <c:extLst>
              <c:ext xmlns:c16="http://schemas.microsoft.com/office/drawing/2014/chart" uri="{C3380CC4-5D6E-409C-BE32-E72D297353CC}">
                <c16:uniqueId val="{00000695-F218-4DDE-952B-C0F0729EE755}"/>
              </c:ext>
            </c:extLst>
          </c:dPt>
          <c:dPt>
            <c:idx val="842"/>
            <c:invertIfNegative val="1"/>
            <c:bubble3D val="0"/>
            <c:spPr>
              <a:solidFill>
                <a:srgbClr val="AEABAB"/>
              </a:solidFill>
            </c:spPr>
            <c:extLst>
              <c:ext xmlns:c16="http://schemas.microsoft.com/office/drawing/2014/chart" uri="{C3380CC4-5D6E-409C-BE32-E72D297353CC}">
                <c16:uniqueId val="{00000697-F218-4DDE-952B-C0F0729EE755}"/>
              </c:ext>
            </c:extLst>
          </c:dPt>
          <c:dPt>
            <c:idx val="843"/>
            <c:invertIfNegative val="1"/>
            <c:bubble3D val="0"/>
            <c:spPr>
              <a:solidFill>
                <a:srgbClr val="AEABAB"/>
              </a:solidFill>
            </c:spPr>
            <c:extLst>
              <c:ext xmlns:c16="http://schemas.microsoft.com/office/drawing/2014/chart" uri="{C3380CC4-5D6E-409C-BE32-E72D297353CC}">
                <c16:uniqueId val="{00000699-F218-4DDE-952B-C0F0729EE755}"/>
              </c:ext>
            </c:extLst>
          </c:dPt>
          <c:dPt>
            <c:idx val="844"/>
            <c:invertIfNegative val="1"/>
            <c:bubble3D val="0"/>
            <c:spPr>
              <a:solidFill>
                <a:srgbClr val="AEABAB"/>
              </a:solidFill>
            </c:spPr>
            <c:extLst>
              <c:ext xmlns:c16="http://schemas.microsoft.com/office/drawing/2014/chart" uri="{C3380CC4-5D6E-409C-BE32-E72D297353CC}">
                <c16:uniqueId val="{0000069B-F218-4DDE-952B-C0F0729EE755}"/>
              </c:ext>
            </c:extLst>
          </c:dPt>
          <c:dPt>
            <c:idx val="845"/>
            <c:invertIfNegative val="1"/>
            <c:bubble3D val="0"/>
            <c:spPr>
              <a:solidFill>
                <a:srgbClr val="AEABAB"/>
              </a:solidFill>
            </c:spPr>
            <c:extLst>
              <c:ext xmlns:c16="http://schemas.microsoft.com/office/drawing/2014/chart" uri="{C3380CC4-5D6E-409C-BE32-E72D297353CC}">
                <c16:uniqueId val="{0000069D-F218-4DDE-952B-C0F0729EE755}"/>
              </c:ext>
            </c:extLst>
          </c:dPt>
          <c:dPt>
            <c:idx val="846"/>
            <c:invertIfNegative val="1"/>
            <c:bubble3D val="0"/>
            <c:spPr>
              <a:solidFill>
                <a:srgbClr val="AEABAB"/>
              </a:solidFill>
            </c:spPr>
            <c:extLst>
              <c:ext xmlns:c16="http://schemas.microsoft.com/office/drawing/2014/chart" uri="{C3380CC4-5D6E-409C-BE32-E72D297353CC}">
                <c16:uniqueId val="{0000069F-F218-4DDE-952B-C0F0729EE755}"/>
              </c:ext>
            </c:extLst>
          </c:dPt>
          <c:dPt>
            <c:idx val="847"/>
            <c:invertIfNegative val="1"/>
            <c:bubble3D val="0"/>
            <c:spPr>
              <a:solidFill>
                <a:srgbClr val="AEABAB"/>
              </a:solidFill>
            </c:spPr>
            <c:extLst>
              <c:ext xmlns:c16="http://schemas.microsoft.com/office/drawing/2014/chart" uri="{C3380CC4-5D6E-409C-BE32-E72D297353CC}">
                <c16:uniqueId val="{000006A1-F218-4DDE-952B-C0F0729EE755}"/>
              </c:ext>
            </c:extLst>
          </c:dPt>
          <c:dPt>
            <c:idx val="848"/>
            <c:invertIfNegative val="1"/>
            <c:bubble3D val="0"/>
            <c:spPr>
              <a:solidFill>
                <a:srgbClr val="AEABAB"/>
              </a:solidFill>
            </c:spPr>
            <c:extLst>
              <c:ext xmlns:c16="http://schemas.microsoft.com/office/drawing/2014/chart" uri="{C3380CC4-5D6E-409C-BE32-E72D297353CC}">
                <c16:uniqueId val="{000006A3-F218-4DDE-952B-C0F0729EE755}"/>
              </c:ext>
            </c:extLst>
          </c:dPt>
          <c:dPt>
            <c:idx val="849"/>
            <c:invertIfNegative val="1"/>
            <c:bubble3D val="0"/>
            <c:spPr>
              <a:solidFill>
                <a:srgbClr val="AEABAB"/>
              </a:solidFill>
            </c:spPr>
            <c:extLst>
              <c:ext xmlns:c16="http://schemas.microsoft.com/office/drawing/2014/chart" uri="{C3380CC4-5D6E-409C-BE32-E72D297353CC}">
                <c16:uniqueId val="{000006A5-F218-4DDE-952B-C0F0729EE755}"/>
              </c:ext>
            </c:extLst>
          </c:dPt>
          <c:dPt>
            <c:idx val="850"/>
            <c:invertIfNegative val="1"/>
            <c:bubble3D val="0"/>
            <c:spPr>
              <a:solidFill>
                <a:srgbClr val="AEABAB"/>
              </a:solidFill>
            </c:spPr>
            <c:extLst>
              <c:ext xmlns:c16="http://schemas.microsoft.com/office/drawing/2014/chart" uri="{C3380CC4-5D6E-409C-BE32-E72D297353CC}">
                <c16:uniqueId val="{000006A7-F218-4DDE-952B-C0F0729EE755}"/>
              </c:ext>
            </c:extLst>
          </c:dPt>
          <c:dPt>
            <c:idx val="851"/>
            <c:invertIfNegative val="1"/>
            <c:bubble3D val="0"/>
            <c:spPr>
              <a:solidFill>
                <a:srgbClr val="AEABAB"/>
              </a:solidFill>
            </c:spPr>
            <c:extLst>
              <c:ext xmlns:c16="http://schemas.microsoft.com/office/drawing/2014/chart" uri="{C3380CC4-5D6E-409C-BE32-E72D297353CC}">
                <c16:uniqueId val="{000006A9-F218-4DDE-952B-C0F0729EE755}"/>
              </c:ext>
            </c:extLst>
          </c:dPt>
          <c:dPt>
            <c:idx val="852"/>
            <c:invertIfNegative val="1"/>
            <c:bubble3D val="0"/>
            <c:spPr>
              <a:solidFill>
                <a:srgbClr val="AEABAB"/>
              </a:solidFill>
            </c:spPr>
            <c:extLst>
              <c:ext xmlns:c16="http://schemas.microsoft.com/office/drawing/2014/chart" uri="{C3380CC4-5D6E-409C-BE32-E72D297353CC}">
                <c16:uniqueId val="{000006AB-F218-4DDE-952B-C0F0729EE755}"/>
              </c:ext>
            </c:extLst>
          </c:dPt>
          <c:dPt>
            <c:idx val="853"/>
            <c:invertIfNegative val="1"/>
            <c:bubble3D val="0"/>
            <c:spPr>
              <a:solidFill>
                <a:srgbClr val="AEABAB"/>
              </a:solidFill>
            </c:spPr>
            <c:extLst>
              <c:ext xmlns:c16="http://schemas.microsoft.com/office/drawing/2014/chart" uri="{C3380CC4-5D6E-409C-BE32-E72D297353CC}">
                <c16:uniqueId val="{000006AD-F218-4DDE-952B-C0F0729EE755}"/>
              </c:ext>
            </c:extLst>
          </c:dPt>
          <c:dPt>
            <c:idx val="854"/>
            <c:invertIfNegative val="1"/>
            <c:bubble3D val="0"/>
            <c:spPr>
              <a:solidFill>
                <a:srgbClr val="AEABAB"/>
              </a:solidFill>
            </c:spPr>
            <c:extLst>
              <c:ext xmlns:c16="http://schemas.microsoft.com/office/drawing/2014/chart" uri="{C3380CC4-5D6E-409C-BE32-E72D297353CC}">
                <c16:uniqueId val="{000006AF-F218-4DDE-952B-C0F0729EE755}"/>
              </c:ext>
            </c:extLst>
          </c:dPt>
          <c:dPt>
            <c:idx val="855"/>
            <c:invertIfNegative val="1"/>
            <c:bubble3D val="0"/>
            <c:spPr>
              <a:solidFill>
                <a:srgbClr val="AEABAB"/>
              </a:solidFill>
            </c:spPr>
            <c:extLst>
              <c:ext xmlns:c16="http://schemas.microsoft.com/office/drawing/2014/chart" uri="{C3380CC4-5D6E-409C-BE32-E72D297353CC}">
                <c16:uniqueId val="{000006B1-F218-4DDE-952B-C0F0729EE755}"/>
              </c:ext>
            </c:extLst>
          </c:dPt>
          <c:dPt>
            <c:idx val="856"/>
            <c:invertIfNegative val="1"/>
            <c:bubble3D val="0"/>
            <c:spPr>
              <a:solidFill>
                <a:srgbClr val="AEABAB"/>
              </a:solidFill>
            </c:spPr>
            <c:extLst>
              <c:ext xmlns:c16="http://schemas.microsoft.com/office/drawing/2014/chart" uri="{C3380CC4-5D6E-409C-BE32-E72D297353CC}">
                <c16:uniqueId val="{000006B3-F218-4DDE-952B-C0F0729EE755}"/>
              </c:ext>
            </c:extLst>
          </c:dPt>
          <c:dPt>
            <c:idx val="857"/>
            <c:invertIfNegative val="1"/>
            <c:bubble3D val="0"/>
            <c:spPr>
              <a:solidFill>
                <a:srgbClr val="AEABAB"/>
              </a:solidFill>
            </c:spPr>
            <c:extLst>
              <c:ext xmlns:c16="http://schemas.microsoft.com/office/drawing/2014/chart" uri="{C3380CC4-5D6E-409C-BE32-E72D297353CC}">
                <c16:uniqueId val="{000006B5-F218-4DDE-952B-C0F0729EE755}"/>
              </c:ext>
            </c:extLst>
          </c:dPt>
          <c:dPt>
            <c:idx val="858"/>
            <c:invertIfNegative val="1"/>
            <c:bubble3D val="0"/>
            <c:spPr>
              <a:solidFill>
                <a:srgbClr val="AEABAB"/>
              </a:solidFill>
            </c:spPr>
            <c:extLst>
              <c:ext xmlns:c16="http://schemas.microsoft.com/office/drawing/2014/chart" uri="{C3380CC4-5D6E-409C-BE32-E72D297353CC}">
                <c16:uniqueId val="{000006B7-F218-4DDE-952B-C0F0729EE755}"/>
              </c:ext>
            </c:extLst>
          </c:dPt>
          <c:dPt>
            <c:idx val="859"/>
            <c:invertIfNegative val="1"/>
            <c:bubble3D val="0"/>
            <c:spPr>
              <a:solidFill>
                <a:srgbClr val="AEABAB"/>
              </a:solidFill>
            </c:spPr>
            <c:extLst>
              <c:ext xmlns:c16="http://schemas.microsoft.com/office/drawing/2014/chart" uri="{C3380CC4-5D6E-409C-BE32-E72D297353CC}">
                <c16:uniqueId val="{000006B9-F218-4DDE-952B-C0F0729EE755}"/>
              </c:ext>
            </c:extLst>
          </c:dPt>
          <c:dPt>
            <c:idx val="860"/>
            <c:invertIfNegative val="1"/>
            <c:bubble3D val="0"/>
            <c:spPr>
              <a:solidFill>
                <a:srgbClr val="AEABAB"/>
              </a:solidFill>
            </c:spPr>
            <c:extLst>
              <c:ext xmlns:c16="http://schemas.microsoft.com/office/drawing/2014/chart" uri="{C3380CC4-5D6E-409C-BE32-E72D297353CC}">
                <c16:uniqueId val="{000006BB-F218-4DDE-952B-C0F0729EE755}"/>
              </c:ext>
            </c:extLst>
          </c:dPt>
          <c:dPt>
            <c:idx val="861"/>
            <c:invertIfNegative val="1"/>
            <c:bubble3D val="0"/>
            <c:spPr>
              <a:solidFill>
                <a:srgbClr val="AEABAB"/>
              </a:solidFill>
            </c:spPr>
            <c:extLst>
              <c:ext xmlns:c16="http://schemas.microsoft.com/office/drawing/2014/chart" uri="{C3380CC4-5D6E-409C-BE32-E72D297353CC}">
                <c16:uniqueId val="{000006BD-F218-4DDE-952B-C0F0729EE755}"/>
              </c:ext>
            </c:extLst>
          </c:dPt>
          <c:dPt>
            <c:idx val="862"/>
            <c:invertIfNegative val="1"/>
            <c:bubble3D val="0"/>
            <c:spPr>
              <a:solidFill>
                <a:srgbClr val="AEABAB"/>
              </a:solidFill>
            </c:spPr>
            <c:extLst>
              <c:ext xmlns:c16="http://schemas.microsoft.com/office/drawing/2014/chart" uri="{C3380CC4-5D6E-409C-BE32-E72D297353CC}">
                <c16:uniqueId val="{000006BF-F218-4DDE-952B-C0F0729EE755}"/>
              </c:ext>
            </c:extLst>
          </c:dPt>
          <c:dPt>
            <c:idx val="863"/>
            <c:invertIfNegative val="1"/>
            <c:bubble3D val="0"/>
            <c:spPr>
              <a:solidFill>
                <a:srgbClr val="AEABAB"/>
              </a:solidFill>
            </c:spPr>
            <c:extLst>
              <c:ext xmlns:c16="http://schemas.microsoft.com/office/drawing/2014/chart" uri="{C3380CC4-5D6E-409C-BE32-E72D297353CC}">
                <c16:uniqueId val="{000006C1-F218-4DDE-952B-C0F0729EE755}"/>
              </c:ext>
            </c:extLst>
          </c:dPt>
          <c:dPt>
            <c:idx val="864"/>
            <c:invertIfNegative val="1"/>
            <c:bubble3D val="0"/>
            <c:spPr>
              <a:solidFill>
                <a:srgbClr val="AEABAB"/>
              </a:solidFill>
            </c:spPr>
            <c:extLst>
              <c:ext xmlns:c16="http://schemas.microsoft.com/office/drawing/2014/chart" uri="{C3380CC4-5D6E-409C-BE32-E72D297353CC}">
                <c16:uniqueId val="{000006C3-F218-4DDE-952B-C0F0729EE755}"/>
              </c:ext>
            </c:extLst>
          </c:dPt>
          <c:dPt>
            <c:idx val="865"/>
            <c:invertIfNegative val="1"/>
            <c:bubble3D val="0"/>
            <c:spPr>
              <a:solidFill>
                <a:srgbClr val="AEABAB"/>
              </a:solidFill>
            </c:spPr>
            <c:extLst>
              <c:ext xmlns:c16="http://schemas.microsoft.com/office/drawing/2014/chart" uri="{C3380CC4-5D6E-409C-BE32-E72D297353CC}">
                <c16:uniqueId val="{000006C5-F218-4DDE-952B-C0F0729EE755}"/>
              </c:ext>
            </c:extLst>
          </c:dPt>
          <c:dPt>
            <c:idx val="866"/>
            <c:invertIfNegative val="1"/>
            <c:bubble3D val="0"/>
            <c:spPr>
              <a:solidFill>
                <a:srgbClr val="AEABAB"/>
              </a:solidFill>
            </c:spPr>
            <c:extLst>
              <c:ext xmlns:c16="http://schemas.microsoft.com/office/drawing/2014/chart" uri="{C3380CC4-5D6E-409C-BE32-E72D297353CC}">
                <c16:uniqueId val="{000006C7-F218-4DDE-952B-C0F0729EE755}"/>
              </c:ext>
            </c:extLst>
          </c:dPt>
          <c:dPt>
            <c:idx val="867"/>
            <c:invertIfNegative val="1"/>
            <c:bubble3D val="0"/>
            <c:spPr>
              <a:solidFill>
                <a:srgbClr val="AEABAB"/>
              </a:solidFill>
            </c:spPr>
            <c:extLst>
              <c:ext xmlns:c16="http://schemas.microsoft.com/office/drawing/2014/chart" uri="{C3380CC4-5D6E-409C-BE32-E72D297353CC}">
                <c16:uniqueId val="{000006C9-F218-4DDE-952B-C0F0729EE755}"/>
              </c:ext>
            </c:extLst>
          </c:dPt>
          <c:dPt>
            <c:idx val="868"/>
            <c:invertIfNegative val="1"/>
            <c:bubble3D val="0"/>
            <c:spPr>
              <a:solidFill>
                <a:srgbClr val="AEABAB"/>
              </a:solidFill>
            </c:spPr>
            <c:extLst>
              <c:ext xmlns:c16="http://schemas.microsoft.com/office/drawing/2014/chart" uri="{C3380CC4-5D6E-409C-BE32-E72D297353CC}">
                <c16:uniqueId val="{000006CB-F218-4DDE-952B-C0F0729EE755}"/>
              </c:ext>
            </c:extLst>
          </c:dPt>
          <c:dPt>
            <c:idx val="869"/>
            <c:invertIfNegative val="1"/>
            <c:bubble3D val="0"/>
            <c:spPr>
              <a:solidFill>
                <a:srgbClr val="AEABAB"/>
              </a:solidFill>
            </c:spPr>
            <c:extLst>
              <c:ext xmlns:c16="http://schemas.microsoft.com/office/drawing/2014/chart" uri="{C3380CC4-5D6E-409C-BE32-E72D297353CC}">
                <c16:uniqueId val="{000006CD-F218-4DDE-952B-C0F0729EE755}"/>
              </c:ext>
            </c:extLst>
          </c:dPt>
          <c:dPt>
            <c:idx val="870"/>
            <c:invertIfNegative val="1"/>
            <c:bubble3D val="0"/>
            <c:spPr>
              <a:solidFill>
                <a:srgbClr val="AEABAB"/>
              </a:solidFill>
            </c:spPr>
            <c:extLst>
              <c:ext xmlns:c16="http://schemas.microsoft.com/office/drawing/2014/chart" uri="{C3380CC4-5D6E-409C-BE32-E72D297353CC}">
                <c16:uniqueId val="{000006CF-F218-4DDE-952B-C0F0729EE755}"/>
              </c:ext>
            </c:extLst>
          </c:dPt>
          <c:dPt>
            <c:idx val="871"/>
            <c:invertIfNegative val="1"/>
            <c:bubble3D val="0"/>
            <c:spPr>
              <a:solidFill>
                <a:srgbClr val="AEABAB"/>
              </a:solidFill>
            </c:spPr>
            <c:extLst>
              <c:ext xmlns:c16="http://schemas.microsoft.com/office/drawing/2014/chart" uri="{C3380CC4-5D6E-409C-BE32-E72D297353CC}">
                <c16:uniqueId val="{000006D1-F218-4DDE-952B-C0F0729EE755}"/>
              </c:ext>
            </c:extLst>
          </c:dPt>
          <c:dPt>
            <c:idx val="872"/>
            <c:invertIfNegative val="1"/>
            <c:bubble3D val="0"/>
            <c:spPr>
              <a:solidFill>
                <a:srgbClr val="AEABAB"/>
              </a:solidFill>
            </c:spPr>
            <c:extLst>
              <c:ext xmlns:c16="http://schemas.microsoft.com/office/drawing/2014/chart" uri="{C3380CC4-5D6E-409C-BE32-E72D297353CC}">
                <c16:uniqueId val="{000006D3-F218-4DDE-952B-C0F0729EE755}"/>
              </c:ext>
            </c:extLst>
          </c:dPt>
          <c:dPt>
            <c:idx val="873"/>
            <c:invertIfNegative val="1"/>
            <c:bubble3D val="0"/>
            <c:spPr>
              <a:solidFill>
                <a:srgbClr val="AEABAB"/>
              </a:solidFill>
            </c:spPr>
            <c:extLst>
              <c:ext xmlns:c16="http://schemas.microsoft.com/office/drawing/2014/chart" uri="{C3380CC4-5D6E-409C-BE32-E72D297353CC}">
                <c16:uniqueId val="{000006D5-F218-4DDE-952B-C0F0729EE755}"/>
              </c:ext>
            </c:extLst>
          </c:dPt>
          <c:dPt>
            <c:idx val="874"/>
            <c:invertIfNegative val="1"/>
            <c:bubble3D val="0"/>
            <c:spPr>
              <a:solidFill>
                <a:srgbClr val="AEABAB"/>
              </a:solidFill>
            </c:spPr>
            <c:extLst>
              <c:ext xmlns:c16="http://schemas.microsoft.com/office/drawing/2014/chart" uri="{C3380CC4-5D6E-409C-BE32-E72D297353CC}">
                <c16:uniqueId val="{000006D7-F218-4DDE-952B-C0F0729EE755}"/>
              </c:ext>
            </c:extLst>
          </c:dPt>
          <c:dPt>
            <c:idx val="875"/>
            <c:invertIfNegative val="1"/>
            <c:bubble3D val="0"/>
            <c:spPr>
              <a:solidFill>
                <a:srgbClr val="AEABAB"/>
              </a:solidFill>
            </c:spPr>
            <c:extLst>
              <c:ext xmlns:c16="http://schemas.microsoft.com/office/drawing/2014/chart" uri="{C3380CC4-5D6E-409C-BE32-E72D297353CC}">
                <c16:uniqueId val="{000006D9-F218-4DDE-952B-C0F0729EE755}"/>
              </c:ext>
            </c:extLst>
          </c:dPt>
          <c:dPt>
            <c:idx val="876"/>
            <c:invertIfNegative val="1"/>
            <c:bubble3D val="0"/>
            <c:spPr>
              <a:solidFill>
                <a:srgbClr val="AEABAB"/>
              </a:solidFill>
            </c:spPr>
            <c:extLst>
              <c:ext xmlns:c16="http://schemas.microsoft.com/office/drawing/2014/chart" uri="{C3380CC4-5D6E-409C-BE32-E72D297353CC}">
                <c16:uniqueId val="{000006DB-F218-4DDE-952B-C0F0729EE755}"/>
              </c:ext>
            </c:extLst>
          </c:dPt>
          <c:dPt>
            <c:idx val="877"/>
            <c:invertIfNegative val="1"/>
            <c:bubble3D val="0"/>
            <c:spPr>
              <a:solidFill>
                <a:srgbClr val="AEABAB"/>
              </a:solidFill>
            </c:spPr>
            <c:extLst>
              <c:ext xmlns:c16="http://schemas.microsoft.com/office/drawing/2014/chart" uri="{C3380CC4-5D6E-409C-BE32-E72D297353CC}">
                <c16:uniqueId val="{000006DD-F218-4DDE-952B-C0F0729EE755}"/>
              </c:ext>
            </c:extLst>
          </c:dPt>
          <c:dPt>
            <c:idx val="878"/>
            <c:invertIfNegative val="1"/>
            <c:bubble3D val="0"/>
            <c:spPr>
              <a:solidFill>
                <a:srgbClr val="AEABAB"/>
              </a:solidFill>
            </c:spPr>
            <c:extLst>
              <c:ext xmlns:c16="http://schemas.microsoft.com/office/drawing/2014/chart" uri="{C3380CC4-5D6E-409C-BE32-E72D297353CC}">
                <c16:uniqueId val="{000006DF-F218-4DDE-952B-C0F0729EE755}"/>
              </c:ext>
            </c:extLst>
          </c:dPt>
          <c:dPt>
            <c:idx val="879"/>
            <c:invertIfNegative val="1"/>
            <c:bubble3D val="0"/>
            <c:spPr>
              <a:solidFill>
                <a:srgbClr val="AEABAB"/>
              </a:solidFill>
            </c:spPr>
            <c:extLst>
              <c:ext xmlns:c16="http://schemas.microsoft.com/office/drawing/2014/chart" uri="{C3380CC4-5D6E-409C-BE32-E72D297353CC}">
                <c16:uniqueId val="{000006E1-F218-4DDE-952B-C0F0729EE755}"/>
              </c:ext>
            </c:extLst>
          </c:dPt>
          <c:dPt>
            <c:idx val="880"/>
            <c:invertIfNegative val="1"/>
            <c:bubble3D val="0"/>
            <c:spPr>
              <a:solidFill>
                <a:srgbClr val="AEABAB"/>
              </a:solidFill>
            </c:spPr>
            <c:extLst>
              <c:ext xmlns:c16="http://schemas.microsoft.com/office/drawing/2014/chart" uri="{C3380CC4-5D6E-409C-BE32-E72D297353CC}">
                <c16:uniqueId val="{000006E3-F218-4DDE-952B-C0F0729EE755}"/>
              </c:ext>
            </c:extLst>
          </c:dPt>
          <c:dPt>
            <c:idx val="881"/>
            <c:invertIfNegative val="1"/>
            <c:bubble3D val="0"/>
            <c:spPr>
              <a:solidFill>
                <a:srgbClr val="AEABAB"/>
              </a:solidFill>
            </c:spPr>
            <c:extLst>
              <c:ext xmlns:c16="http://schemas.microsoft.com/office/drawing/2014/chart" uri="{C3380CC4-5D6E-409C-BE32-E72D297353CC}">
                <c16:uniqueId val="{000006E5-F218-4DDE-952B-C0F0729EE755}"/>
              </c:ext>
            </c:extLst>
          </c:dPt>
          <c:dPt>
            <c:idx val="882"/>
            <c:invertIfNegative val="1"/>
            <c:bubble3D val="0"/>
            <c:spPr>
              <a:solidFill>
                <a:srgbClr val="AEABAB"/>
              </a:solidFill>
            </c:spPr>
            <c:extLst>
              <c:ext xmlns:c16="http://schemas.microsoft.com/office/drawing/2014/chart" uri="{C3380CC4-5D6E-409C-BE32-E72D297353CC}">
                <c16:uniqueId val="{000006E7-F218-4DDE-952B-C0F0729EE755}"/>
              </c:ext>
            </c:extLst>
          </c:dPt>
          <c:dPt>
            <c:idx val="883"/>
            <c:invertIfNegative val="1"/>
            <c:bubble3D val="0"/>
            <c:spPr>
              <a:solidFill>
                <a:srgbClr val="AEABAB"/>
              </a:solidFill>
            </c:spPr>
            <c:extLst>
              <c:ext xmlns:c16="http://schemas.microsoft.com/office/drawing/2014/chart" uri="{C3380CC4-5D6E-409C-BE32-E72D297353CC}">
                <c16:uniqueId val="{000006E9-F218-4DDE-952B-C0F0729EE755}"/>
              </c:ext>
            </c:extLst>
          </c:dPt>
          <c:dPt>
            <c:idx val="884"/>
            <c:invertIfNegative val="1"/>
            <c:bubble3D val="0"/>
            <c:spPr>
              <a:solidFill>
                <a:srgbClr val="AEABAB"/>
              </a:solidFill>
            </c:spPr>
            <c:extLst>
              <c:ext xmlns:c16="http://schemas.microsoft.com/office/drawing/2014/chart" uri="{C3380CC4-5D6E-409C-BE32-E72D297353CC}">
                <c16:uniqueId val="{000006EB-F218-4DDE-952B-C0F0729EE755}"/>
              </c:ext>
            </c:extLst>
          </c:dPt>
          <c:dPt>
            <c:idx val="885"/>
            <c:invertIfNegative val="1"/>
            <c:bubble3D val="0"/>
            <c:spPr>
              <a:solidFill>
                <a:srgbClr val="AEABAB"/>
              </a:solidFill>
            </c:spPr>
            <c:extLst>
              <c:ext xmlns:c16="http://schemas.microsoft.com/office/drawing/2014/chart" uri="{C3380CC4-5D6E-409C-BE32-E72D297353CC}">
                <c16:uniqueId val="{000006ED-F218-4DDE-952B-C0F0729EE755}"/>
              </c:ext>
            </c:extLst>
          </c:dPt>
          <c:dPt>
            <c:idx val="886"/>
            <c:invertIfNegative val="1"/>
            <c:bubble3D val="0"/>
            <c:spPr>
              <a:solidFill>
                <a:srgbClr val="AEABAB"/>
              </a:solidFill>
            </c:spPr>
            <c:extLst>
              <c:ext xmlns:c16="http://schemas.microsoft.com/office/drawing/2014/chart" uri="{C3380CC4-5D6E-409C-BE32-E72D297353CC}">
                <c16:uniqueId val="{000006EF-F218-4DDE-952B-C0F0729EE755}"/>
              </c:ext>
            </c:extLst>
          </c:dPt>
          <c:dPt>
            <c:idx val="887"/>
            <c:invertIfNegative val="1"/>
            <c:bubble3D val="0"/>
            <c:spPr>
              <a:solidFill>
                <a:srgbClr val="AEABAB"/>
              </a:solidFill>
            </c:spPr>
            <c:extLst>
              <c:ext xmlns:c16="http://schemas.microsoft.com/office/drawing/2014/chart" uri="{C3380CC4-5D6E-409C-BE32-E72D297353CC}">
                <c16:uniqueId val="{000006F1-F218-4DDE-952B-C0F0729EE755}"/>
              </c:ext>
            </c:extLst>
          </c:dPt>
          <c:dPt>
            <c:idx val="888"/>
            <c:invertIfNegative val="1"/>
            <c:bubble3D val="0"/>
            <c:spPr>
              <a:solidFill>
                <a:srgbClr val="AEABAB"/>
              </a:solidFill>
            </c:spPr>
            <c:extLst>
              <c:ext xmlns:c16="http://schemas.microsoft.com/office/drawing/2014/chart" uri="{C3380CC4-5D6E-409C-BE32-E72D297353CC}">
                <c16:uniqueId val="{000006F3-F218-4DDE-952B-C0F0729EE755}"/>
              </c:ext>
            </c:extLst>
          </c:dPt>
          <c:dPt>
            <c:idx val="889"/>
            <c:invertIfNegative val="1"/>
            <c:bubble3D val="0"/>
            <c:spPr>
              <a:solidFill>
                <a:srgbClr val="AEABAB"/>
              </a:solidFill>
            </c:spPr>
            <c:extLst>
              <c:ext xmlns:c16="http://schemas.microsoft.com/office/drawing/2014/chart" uri="{C3380CC4-5D6E-409C-BE32-E72D297353CC}">
                <c16:uniqueId val="{000006F5-F218-4DDE-952B-C0F0729EE755}"/>
              </c:ext>
            </c:extLst>
          </c:dPt>
          <c:dPt>
            <c:idx val="890"/>
            <c:invertIfNegative val="1"/>
            <c:bubble3D val="0"/>
            <c:spPr>
              <a:solidFill>
                <a:srgbClr val="AEABAB"/>
              </a:solidFill>
            </c:spPr>
            <c:extLst>
              <c:ext xmlns:c16="http://schemas.microsoft.com/office/drawing/2014/chart" uri="{C3380CC4-5D6E-409C-BE32-E72D297353CC}">
                <c16:uniqueId val="{000006F7-F218-4DDE-952B-C0F0729EE755}"/>
              </c:ext>
            </c:extLst>
          </c:dPt>
          <c:dPt>
            <c:idx val="891"/>
            <c:invertIfNegative val="1"/>
            <c:bubble3D val="0"/>
            <c:spPr>
              <a:solidFill>
                <a:srgbClr val="AEABAB"/>
              </a:solidFill>
            </c:spPr>
            <c:extLst>
              <c:ext xmlns:c16="http://schemas.microsoft.com/office/drawing/2014/chart" uri="{C3380CC4-5D6E-409C-BE32-E72D297353CC}">
                <c16:uniqueId val="{000006F9-F218-4DDE-952B-C0F0729EE755}"/>
              </c:ext>
            </c:extLst>
          </c:dPt>
          <c:dPt>
            <c:idx val="892"/>
            <c:invertIfNegative val="1"/>
            <c:bubble3D val="0"/>
            <c:spPr>
              <a:solidFill>
                <a:srgbClr val="AEABAB"/>
              </a:solidFill>
            </c:spPr>
            <c:extLst>
              <c:ext xmlns:c16="http://schemas.microsoft.com/office/drawing/2014/chart" uri="{C3380CC4-5D6E-409C-BE32-E72D297353CC}">
                <c16:uniqueId val="{000006FB-F218-4DDE-952B-C0F0729EE755}"/>
              </c:ext>
            </c:extLst>
          </c:dPt>
          <c:dPt>
            <c:idx val="893"/>
            <c:invertIfNegative val="1"/>
            <c:bubble3D val="0"/>
            <c:spPr>
              <a:solidFill>
                <a:srgbClr val="AEABAB"/>
              </a:solidFill>
            </c:spPr>
            <c:extLst>
              <c:ext xmlns:c16="http://schemas.microsoft.com/office/drawing/2014/chart" uri="{C3380CC4-5D6E-409C-BE32-E72D297353CC}">
                <c16:uniqueId val="{000006FD-F218-4DDE-952B-C0F0729EE755}"/>
              </c:ext>
            </c:extLst>
          </c:dPt>
          <c:dPt>
            <c:idx val="894"/>
            <c:invertIfNegative val="1"/>
            <c:bubble3D val="0"/>
            <c:spPr>
              <a:solidFill>
                <a:srgbClr val="AEABAB"/>
              </a:solidFill>
            </c:spPr>
            <c:extLst>
              <c:ext xmlns:c16="http://schemas.microsoft.com/office/drawing/2014/chart" uri="{C3380CC4-5D6E-409C-BE32-E72D297353CC}">
                <c16:uniqueId val="{000006FF-F218-4DDE-952B-C0F0729EE755}"/>
              </c:ext>
            </c:extLst>
          </c:dPt>
          <c:dPt>
            <c:idx val="895"/>
            <c:invertIfNegative val="1"/>
            <c:bubble3D val="0"/>
            <c:spPr>
              <a:solidFill>
                <a:srgbClr val="AEABAB"/>
              </a:solidFill>
            </c:spPr>
            <c:extLst>
              <c:ext xmlns:c16="http://schemas.microsoft.com/office/drawing/2014/chart" uri="{C3380CC4-5D6E-409C-BE32-E72D297353CC}">
                <c16:uniqueId val="{00000701-F218-4DDE-952B-C0F0729EE755}"/>
              </c:ext>
            </c:extLst>
          </c:dPt>
          <c:dPt>
            <c:idx val="896"/>
            <c:invertIfNegative val="1"/>
            <c:bubble3D val="0"/>
            <c:spPr>
              <a:solidFill>
                <a:srgbClr val="AEABAB"/>
              </a:solidFill>
            </c:spPr>
            <c:extLst>
              <c:ext xmlns:c16="http://schemas.microsoft.com/office/drawing/2014/chart" uri="{C3380CC4-5D6E-409C-BE32-E72D297353CC}">
                <c16:uniqueId val="{00000703-F218-4DDE-952B-C0F0729EE755}"/>
              </c:ext>
            </c:extLst>
          </c:dPt>
          <c:dPt>
            <c:idx val="897"/>
            <c:invertIfNegative val="1"/>
            <c:bubble3D val="0"/>
            <c:spPr>
              <a:solidFill>
                <a:srgbClr val="AEABAB"/>
              </a:solidFill>
            </c:spPr>
            <c:extLst>
              <c:ext xmlns:c16="http://schemas.microsoft.com/office/drawing/2014/chart" uri="{C3380CC4-5D6E-409C-BE32-E72D297353CC}">
                <c16:uniqueId val="{00000705-F218-4DDE-952B-C0F0729EE755}"/>
              </c:ext>
            </c:extLst>
          </c:dPt>
          <c:dPt>
            <c:idx val="898"/>
            <c:invertIfNegative val="1"/>
            <c:bubble3D val="0"/>
            <c:spPr>
              <a:solidFill>
                <a:srgbClr val="AEABAB"/>
              </a:solidFill>
            </c:spPr>
            <c:extLst>
              <c:ext xmlns:c16="http://schemas.microsoft.com/office/drawing/2014/chart" uri="{C3380CC4-5D6E-409C-BE32-E72D297353CC}">
                <c16:uniqueId val="{00000707-F218-4DDE-952B-C0F0729EE755}"/>
              </c:ext>
            </c:extLst>
          </c:dPt>
          <c:dPt>
            <c:idx val="899"/>
            <c:invertIfNegative val="1"/>
            <c:bubble3D val="0"/>
            <c:spPr>
              <a:solidFill>
                <a:srgbClr val="AEABAB"/>
              </a:solidFill>
            </c:spPr>
            <c:extLst>
              <c:ext xmlns:c16="http://schemas.microsoft.com/office/drawing/2014/chart" uri="{C3380CC4-5D6E-409C-BE32-E72D297353CC}">
                <c16:uniqueId val="{00000709-F218-4DDE-952B-C0F0729EE755}"/>
              </c:ext>
            </c:extLst>
          </c:dPt>
          <c:dPt>
            <c:idx val="900"/>
            <c:invertIfNegative val="1"/>
            <c:bubble3D val="0"/>
            <c:spPr>
              <a:solidFill>
                <a:srgbClr val="AEABAB"/>
              </a:solidFill>
            </c:spPr>
            <c:extLst>
              <c:ext xmlns:c16="http://schemas.microsoft.com/office/drawing/2014/chart" uri="{C3380CC4-5D6E-409C-BE32-E72D297353CC}">
                <c16:uniqueId val="{0000070B-F218-4DDE-952B-C0F0729EE755}"/>
              </c:ext>
            </c:extLst>
          </c:dPt>
          <c:dPt>
            <c:idx val="901"/>
            <c:invertIfNegative val="1"/>
            <c:bubble3D val="0"/>
            <c:spPr>
              <a:solidFill>
                <a:srgbClr val="AEABAB"/>
              </a:solidFill>
            </c:spPr>
            <c:extLst>
              <c:ext xmlns:c16="http://schemas.microsoft.com/office/drawing/2014/chart" uri="{C3380CC4-5D6E-409C-BE32-E72D297353CC}">
                <c16:uniqueId val="{0000070D-F218-4DDE-952B-C0F0729EE755}"/>
              </c:ext>
            </c:extLst>
          </c:dPt>
          <c:dPt>
            <c:idx val="902"/>
            <c:invertIfNegative val="1"/>
            <c:bubble3D val="0"/>
            <c:spPr>
              <a:solidFill>
                <a:srgbClr val="AEABAB"/>
              </a:solidFill>
            </c:spPr>
            <c:extLst>
              <c:ext xmlns:c16="http://schemas.microsoft.com/office/drawing/2014/chart" uri="{C3380CC4-5D6E-409C-BE32-E72D297353CC}">
                <c16:uniqueId val="{0000070F-F218-4DDE-952B-C0F0729EE755}"/>
              </c:ext>
            </c:extLst>
          </c:dPt>
          <c:dPt>
            <c:idx val="903"/>
            <c:invertIfNegative val="1"/>
            <c:bubble3D val="0"/>
            <c:spPr>
              <a:solidFill>
                <a:srgbClr val="AEABAB"/>
              </a:solidFill>
            </c:spPr>
            <c:extLst>
              <c:ext xmlns:c16="http://schemas.microsoft.com/office/drawing/2014/chart" uri="{C3380CC4-5D6E-409C-BE32-E72D297353CC}">
                <c16:uniqueId val="{00000711-F218-4DDE-952B-C0F0729EE755}"/>
              </c:ext>
            </c:extLst>
          </c:dPt>
          <c:dPt>
            <c:idx val="904"/>
            <c:invertIfNegative val="1"/>
            <c:bubble3D val="0"/>
            <c:spPr>
              <a:solidFill>
                <a:srgbClr val="AEABAB"/>
              </a:solidFill>
            </c:spPr>
            <c:extLst>
              <c:ext xmlns:c16="http://schemas.microsoft.com/office/drawing/2014/chart" uri="{C3380CC4-5D6E-409C-BE32-E72D297353CC}">
                <c16:uniqueId val="{00000713-F218-4DDE-952B-C0F0729EE755}"/>
              </c:ext>
            </c:extLst>
          </c:dPt>
          <c:dPt>
            <c:idx val="905"/>
            <c:invertIfNegative val="1"/>
            <c:bubble3D val="0"/>
            <c:spPr>
              <a:solidFill>
                <a:srgbClr val="AEABAB"/>
              </a:solidFill>
            </c:spPr>
            <c:extLst>
              <c:ext xmlns:c16="http://schemas.microsoft.com/office/drawing/2014/chart" uri="{C3380CC4-5D6E-409C-BE32-E72D297353CC}">
                <c16:uniqueId val="{00000715-F218-4DDE-952B-C0F0729EE755}"/>
              </c:ext>
            </c:extLst>
          </c:dPt>
          <c:dPt>
            <c:idx val="906"/>
            <c:invertIfNegative val="1"/>
            <c:bubble3D val="0"/>
            <c:spPr>
              <a:solidFill>
                <a:srgbClr val="AEABAB"/>
              </a:solidFill>
            </c:spPr>
            <c:extLst>
              <c:ext xmlns:c16="http://schemas.microsoft.com/office/drawing/2014/chart" uri="{C3380CC4-5D6E-409C-BE32-E72D297353CC}">
                <c16:uniqueId val="{00000717-F218-4DDE-952B-C0F0729EE755}"/>
              </c:ext>
            </c:extLst>
          </c:dPt>
          <c:dPt>
            <c:idx val="907"/>
            <c:invertIfNegative val="1"/>
            <c:bubble3D val="0"/>
            <c:spPr>
              <a:solidFill>
                <a:srgbClr val="AEABAB"/>
              </a:solidFill>
            </c:spPr>
            <c:extLst>
              <c:ext xmlns:c16="http://schemas.microsoft.com/office/drawing/2014/chart" uri="{C3380CC4-5D6E-409C-BE32-E72D297353CC}">
                <c16:uniqueId val="{00000719-F218-4DDE-952B-C0F0729EE755}"/>
              </c:ext>
            </c:extLst>
          </c:dPt>
          <c:dPt>
            <c:idx val="908"/>
            <c:invertIfNegative val="1"/>
            <c:bubble3D val="0"/>
            <c:spPr>
              <a:solidFill>
                <a:srgbClr val="AEABAB"/>
              </a:solidFill>
            </c:spPr>
            <c:extLst>
              <c:ext xmlns:c16="http://schemas.microsoft.com/office/drawing/2014/chart" uri="{C3380CC4-5D6E-409C-BE32-E72D297353CC}">
                <c16:uniqueId val="{0000071B-F218-4DDE-952B-C0F0729EE755}"/>
              </c:ext>
            </c:extLst>
          </c:dPt>
          <c:dPt>
            <c:idx val="909"/>
            <c:invertIfNegative val="1"/>
            <c:bubble3D val="0"/>
            <c:spPr>
              <a:solidFill>
                <a:srgbClr val="AEABAB"/>
              </a:solidFill>
            </c:spPr>
            <c:extLst>
              <c:ext xmlns:c16="http://schemas.microsoft.com/office/drawing/2014/chart" uri="{C3380CC4-5D6E-409C-BE32-E72D297353CC}">
                <c16:uniqueId val="{0000071D-F218-4DDE-952B-C0F0729EE755}"/>
              </c:ext>
            </c:extLst>
          </c:dPt>
          <c:dPt>
            <c:idx val="910"/>
            <c:invertIfNegative val="1"/>
            <c:bubble3D val="0"/>
            <c:spPr>
              <a:solidFill>
                <a:srgbClr val="AEABAB"/>
              </a:solidFill>
            </c:spPr>
            <c:extLst>
              <c:ext xmlns:c16="http://schemas.microsoft.com/office/drawing/2014/chart" uri="{C3380CC4-5D6E-409C-BE32-E72D297353CC}">
                <c16:uniqueId val="{0000071F-F218-4DDE-952B-C0F0729EE755}"/>
              </c:ext>
            </c:extLst>
          </c:dPt>
          <c:dPt>
            <c:idx val="911"/>
            <c:invertIfNegative val="1"/>
            <c:bubble3D val="0"/>
            <c:spPr>
              <a:solidFill>
                <a:srgbClr val="AEABAB"/>
              </a:solidFill>
            </c:spPr>
            <c:extLst>
              <c:ext xmlns:c16="http://schemas.microsoft.com/office/drawing/2014/chart" uri="{C3380CC4-5D6E-409C-BE32-E72D297353CC}">
                <c16:uniqueId val="{00000721-F218-4DDE-952B-C0F0729EE755}"/>
              </c:ext>
            </c:extLst>
          </c:dPt>
          <c:dPt>
            <c:idx val="912"/>
            <c:invertIfNegative val="1"/>
            <c:bubble3D val="0"/>
            <c:spPr>
              <a:solidFill>
                <a:srgbClr val="AEABAB"/>
              </a:solidFill>
            </c:spPr>
            <c:extLst>
              <c:ext xmlns:c16="http://schemas.microsoft.com/office/drawing/2014/chart" uri="{C3380CC4-5D6E-409C-BE32-E72D297353CC}">
                <c16:uniqueId val="{00000723-F218-4DDE-952B-C0F0729EE755}"/>
              </c:ext>
            </c:extLst>
          </c:dPt>
          <c:dPt>
            <c:idx val="913"/>
            <c:invertIfNegative val="1"/>
            <c:bubble3D val="0"/>
            <c:spPr>
              <a:solidFill>
                <a:srgbClr val="AEABAB"/>
              </a:solidFill>
            </c:spPr>
            <c:extLst>
              <c:ext xmlns:c16="http://schemas.microsoft.com/office/drawing/2014/chart" uri="{C3380CC4-5D6E-409C-BE32-E72D297353CC}">
                <c16:uniqueId val="{00000725-F218-4DDE-952B-C0F0729EE755}"/>
              </c:ext>
            </c:extLst>
          </c:dPt>
          <c:dPt>
            <c:idx val="914"/>
            <c:invertIfNegative val="1"/>
            <c:bubble3D val="0"/>
            <c:spPr>
              <a:solidFill>
                <a:srgbClr val="AEABAB"/>
              </a:solidFill>
            </c:spPr>
            <c:extLst>
              <c:ext xmlns:c16="http://schemas.microsoft.com/office/drawing/2014/chart" uri="{C3380CC4-5D6E-409C-BE32-E72D297353CC}">
                <c16:uniqueId val="{00000727-F218-4DDE-952B-C0F0729EE755}"/>
              </c:ext>
            </c:extLst>
          </c:dPt>
          <c:dPt>
            <c:idx val="915"/>
            <c:invertIfNegative val="1"/>
            <c:bubble3D val="0"/>
            <c:spPr>
              <a:solidFill>
                <a:srgbClr val="AEABAB"/>
              </a:solidFill>
            </c:spPr>
            <c:extLst>
              <c:ext xmlns:c16="http://schemas.microsoft.com/office/drawing/2014/chart" uri="{C3380CC4-5D6E-409C-BE32-E72D297353CC}">
                <c16:uniqueId val="{00000729-F218-4DDE-952B-C0F0729EE755}"/>
              </c:ext>
            </c:extLst>
          </c:dPt>
          <c:dPt>
            <c:idx val="916"/>
            <c:invertIfNegative val="1"/>
            <c:bubble3D val="0"/>
            <c:spPr>
              <a:solidFill>
                <a:srgbClr val="AEABAB"/>
              </a:solidFill>
            </c:spPr>
            <c:extLst>
              <c:ext xmlns:c16="http://schemas.microsoft.com/office/drawing/2014/chart" uri="{C3380CC4-5D6E-409C-BE32-E72D297353CC}">
                <c16:uniqueId val="{0000072B-F218-4DDE-952B-C0F0729EE755}"/>
              </c:ext>
            </c:extLst>
          </c:dPt>
          <c:dPt>
            <c:idx val="917"/>
            <c:invertIfNegative val="1"/>
            <c:bubble3D val="0"/>
            <c:spPr>
              <a:solidFill>
                <a:srgbClr val="AEABAB"/>
              </a:solidFill>
            </c:spPr>
            <c:extLst>
              <c:ext xmlns:c16="http://schemas.microsoft.com/office/drawing/2014/chart" uri="{C3380CC4-5D6E-409C-BE32-E72D297353CC}">
                <c16:uniqueId val="{0000072D-F218-4DDE-952B-C0F0729EE755}"/>
              </c:ext>
            </c:extLst>
          </c:dPt>
          <c:dPt>
            <c:idx val="918"/>
            <c:invertIfNegative val="1"/>
            <c:bubble3D val="0"/>
            <c:spPr>
              <a:solidFill>
                <a:srgbClr val="AEABAB"/>
              </a:solidFill>
            </c:spPr>
            <c:extLst>
              <c:ext xmlns:c16="http://schemas.microsoft.com/office/drawing/2014/chart" uri="{C3380CC4-5D6E-409C-BE32-E72D297353CC}">
                <c16:uniqueId val="{0000072F-F218-4DDE-952B-C0F0729EE755}"/>
              </c:ext>
            </c:extLst>
          </c:dPt>
          <c:dPt>
            <c:idx val="919"/>
            <c:invertIfNegative val="1"/>
            <c:bubble3D val="0"/>
            <c:spPr>
              <a:solidFill>
                <a:srgbClr val="AEABAB"/>
              </a:solidFill>
            </c:spPr>
            <c:extLst>
              <c:ext xmlns:c16="http://schemas.microsoft.com/office/drawing/2014/chart" uri="{C3380CC4-5D6E-409C-BE32-E72D297353CC}">
                <c16:uniqueId val="{00000731-F218-4DDE-952B-C0F0729EE755}"/>
              </c:ext>
            </c:extLst>
          </c:dPt>
          <c:dPt>
            <c:idx val="920"/>
            <c:invertIfNegative val="1"/>
            <c:bubble3D val="0"/>
            <c:spPr>
              <a:solidFill>
                <a:srgbClr val="AEABAB"/>
              </a:solidFill>
            </c:spPr>
            <c:extLst>
              <c:ext xmlns:c16="http://schemas.microsoft.com/office/drawing/2014/chart" uri="{C3380CC4-5D6E-409C-BE32-E72D297353CC}">
                <c16:uniqueId val="{00000733-F218-4DDE-952B-C0F0729EE755}"/>
              </c:ext>
            </c:extLst>
          </c:dPt>
          <c:dPt>
            <c:idx val="921"/>
            <c:invertIfNegative val="1"/>
            <c:bubble3D val="0"/>
            <c:spPr>
              <a:solidFill>
                <a:srgbClr val="AEABAB"/>
              </a:solidFill>
            </c:spPr>
            <c:extLst>
              <c:ext xmlns:c16="http://schemas.microsoft.com/office/drawing/2014/chart" uri="{C3380CC4-5D6E-409C-BE32-E72D297353CC}">
                <c16:uniqueId val="{00000735-F218-4DDE-952B-C0F0729EE755}"/>
              </c:ext>
            </c:extLst>
          </c:dPt>
          <c:dPt>
            <c:idx val="922"/>
            <c:invertIfNegative val="1"/>
            <c:bubble3D val="0"/>
            <c:spPr>
              <a:solidFill>
                <a:srgbClr val="AEABAB"/>
              </a:solidFill>
            </c:spPr>
            <c:extLst>
              <c:ext xmlns:c16="http://schemas.microsoft.com/office/drawing/2014/chart" uri="{C3380CC4-5D6E-409C-BE32-E72D297353CC}">
                <c16:uniqueId val="{00000737-F218-4DDE-952B-C0F0729EE755}"/>
              </c:ext>
            </c:extLst>
          </c:dPt>
          <c:dPt>
            <c:idx val="923"/>
            <c:invertIfNegative val="1"/>
            <c:bubble3D val="0"/>
            <c:spPr>
              <a:solidFill>
                <a:srgbClr val="AEABAB"/>
              </a:solidFill>
            </c:spPr>
            <c:extLst>
              <c:ext xmlns:c16="http://schemas.microsoft.com/office/drawing/2014/chart" uri="{C3380CC4-5D6E-409C-BE32-E72D297353CC}">
                <c16:uniqueId val="{00000739-F218-4DDE-952B-C0F0729EE755}"/>
              </c:ext>
            </c:extLst>
          </c:dPt>
          <c:dPt>
            <c:idx val="924"/>
            <c:invertIfNegative val="1"/>
            <c:bubble3D val="0"/>
            <c:spPr>
              <a:solidFill>
                <a:srgbClr val="AEABAB"/>
              </a:solidFill>
            </c:spPr>
            <c:extLst>
              <c:ext xmlns:c16="http://schemas.microsoft.com/office/drawing/2014/chart" uri="{C3380CC4-5D6E-409C-BE32-E72D297353CC}">
                <c16:uniqueId val="{0000073B-F218-4DDE-952B-C0F0729EE755}"/>
              </c:ext>
            </c:extLst>
          </c:dPt>
          <c:dPt>
            <c:idx val="925"/>
            <c:invertIfNegative val="1"/>
            <c:bubble3D val="0"/>
            <c:spPr>
              <a:solidFill>
                <a:srgbClr val="AEABAB"/>
              </a:solidFill>
            </c:spPr>
            <c:extLst>
              <c:ext xmlns:c16="http://schemas.microsoft.com/office/drawing/2014/chart" uri="{C3380CC4-5D6E-409C-BE32-E72D297353CC}">
                <c16:uniqueId val="{0000073D-F218-4DDE-952B-C0F0729EE755}"/>
              </c:ext>
            </c:extLst>
          </c:dPt>
          <c:dPt>
            <c:idx val="926"/>
            <c:invertIfNegative val="1"/>
            <c:bubble3D val="0"/>
            <c:spPr>
              <a:solidFill>
                <a:srgbClr val="AEABAB"/>
              </a:solidFill>
            </c:spPr>
            <c:extLst>
              <c:ext xmlns:c16="http://schemas.microsoft.com/office/drawing/2014/chart" uri="{C3380CC4-5D6E-409C-BE32-E72D297353CC}">
                <c16:uniqueId val="{0000073F-F218-4DDE-952B-C0F0729EE755}"/>
              </c:ext>
            </c:extLst>
          </c:dPt>
          <c:dPt>
            <c:idx val="927"/>
            <c:invertIfNegative val="1"/>
            <c:bubble3D val="0"/>
            <c:spPr>
              <a:solidFill>
                <a:srgbClr val="AEABAB"/>
              </a:solidFill>
            </c:spPr>
            <c:extLst>
              <c:ext xmlns:c16="http://schemas.microsoft.com/office/drawing/2014/chart" uri="{C3380CC4-5D6E-409C-BE32-E72D297353CC}">
                <c16:uniqueId val="{00000741-F218-4DDE-952B-C0F0729EE755}"/>
              </c:ext>
            </c:extLst>
          </c:dPt>
          <c:dPt>
            <c:idx val="928"/>
            <c:invertIfNegative val="1"/>
            <c:bubble3D val="0"/>
            <c:spPr>
              <a:solidFill>
                <a:srgbClr val="AEABAB"/>
              </a:solidFill>
            </c:spPr>
            <c:extLst>
              <c:ext xmlns:c16="http://schemas.microsoft.com/office/drawing/2014/chart" uri="{C3380CC4-5D6E-409C-BE32-E72D297353CC}">
                <c16:uniqueId val="{00000743-F218-4DDE-952B-C0F0729EE755}"/>
              </c:ext>
            </c:extLst>
          </c:dPt>
          <c:dPt>
            <c:idx val="929"/>
            <c:invertIfNegative val="1"/>
            <c:bubble3D val="0"/>
            <c:spPr>
              <a:solidFill>
                <a:srgbClr val="AEABAB"/>
              </a:solidFill>
            </c:spPr>
            <c:extLst>
              <c:ext xmlns:c16="http://schemas.microsoft.com/office/drawing/2014/chart" uri="{C3380CC4-5D6E-409C-BE32-E72D297353CC}">
                <c16:uniqueId val="{00000745-F218-4DDE-952B-C0F0729EE755}"/>
              </c:ext>
            </c:extLst>
          </c:dPt>
          <c:dPt>
            <c:idx val="930"/>
            <c:invertIfNegative val="1"/>
            <c:bubble3D val="0"/>
            <c:spPr>
              <a:solidFill>
                <a:srgbClr val="AEABAB"/>
              </a:solidFill>
            </c:spPr>
            <c:extLst>
              <c:ext xmlns:c16="http://schemas.microsoft.com/office/drawing/2014/chart" uri="{C3380CC4-5D6E-409C-BE32-E72D297353CC}">
                <c16:uniqueId val="{00000747-F218-4DDE-952B-C0F0729EE755}"/>
              </c:ext>
            </c:extLst>
          </c:dPt>
          <c:dPt>
            <c:idx val="931"/>
            <c:invertIfNegative val="1"/>
            <c:bubble3D val="0"/>
            <c:spPr>
              <a:solidFill>
                <a:srgbClr val="AEABAB"/>
              </a:solidFill>
            </c:spPr>
            <c:extLst>
              <c:ext xmlns:c16="http://schemas.microsoft.com/office/drawing/2014/chart" uri="{C3380CC4-5D6E-409C-BE32-E72D297353CC}">
                <c16:uniqueId val="{00000749-F218-4DDE-952B-C0F0729EE755}"/>
              </c:ext>
            </c:extLst>
          </c:dPt>
          <c:dPt>
            <c:idx val="932"/>
            <c:invertIfNegative val="1"/>
            <c:bubble3D val="0"/>
            <c:spPr>
              <a:solidFill>
                <a:srgbClr val="AEABAB"/>
              </a:solidFill>
            </c:spPr>
            <c:extLst>
              <c:ext xmlns:c16="http://schemas.microsoft.com/office/drawing/2014/chart" uri="{C3380CC4-5D6E-409C-BE32-E72D297353CC}">
                <c16:uniqueId val="{0000074B-F218-4DDE-952B-C0F0729EE755}"/>
              </c:ext>
            </c:extLst>
          </c:dPt>
          <c:dPt>
            <c:idx val="933"/>
            <c:invertIfNegative val="1"/>
            <c:bubble3D val="0"/>
            <c:spPr>
              <a:solidFill>
                <a:srgbClr val="AEABAB"/>
              </a:solidFill>
            </c:spPr>
            <c:extLst>
              <c:ext xmlns:c16="http://schemas.microsoft.com/office/drawing/2014/chart" uri="{C3380CC4-5D6E-409C-BE32-E72D297353CC}">
                <c16:uniqueId val="{0000074D-F218-4DDE-952B-C0F0729EE755}"/>
              </c:ext>
            </c:extLst>
          </c:dPt>
          <c:dPt>
            <c:idx val="934"/>
            <c:invertIfNegative val="1"/>
            <c:bubble3D val="0"/>
            <c:spPr>
              <a:solidFill>
                <a:srgbClr val="AEABAB"/>
              </a:solidFill>
            </c:spPr>
            <c:extLst>
              <c:ext xmlns:c16="http://schemas.microsoft.com/office/drawing/2014/chart" uri="{C3380CC4-5D6E-409C-BE32-E72D297353CC}">
                <c16:uniqueId val="{0000074F-F218-4DDE-952B-C0F0729EE755}"/>
              </c:ext>
            </c:extLst>
          </c:dPt>
          <c:dPt>
            <c:idx val="935"/>
            <c:invertIfNegative val="1"/>
            <c:bubble3D val="0"/>
            <c:spPr>
              <a:solidFill>
                <a:srgbClr val="AEABAB"/>
              </a:solidFill>
            </c:spPr>
            <c:extLst>
              <c:ext xmlns:c16="http://schemas.microsoft.com/office/drawing/2014/chart" uri="{C3380CC4-5D6E-409C-BE32-E72D297353CC}">
                <c16:uniqueId val="{00000751-F218-4DDE-952B-C0F0729EE755}"/>
              </c:ext>
            </c:extLst>
          </c:dPt>
          <c:dPt>
            <c:idx val="936"/>
            <c:invertIfNegative val="1"/>
            <c:bubble3D val="0"/>
            <c:spPr>
              <a:solidFill>
                <a:srgbClr val="AEABAB"/>
              </a:solidFill>
            </c:spPr>
            <c:extLst>
              <c:ext xmlns:c16="http://schemas.microsoft.com/office/drawing/2014/chart" uri="{C3380CC4-5D6E-409C-BE32-E72D297353CC}">
                <c16:uniqueId val="{00000753-F218-4DDE-952B-C0F0729EE755}"/>
              </c:ext>
            </c:extLst>
          </c:dPt>
          <c:dPt>
            <c:idx val="937"/>
            <c:invertIfNegative val="1"/>
            <c:bubble3D val="0"/>
            <c:spPr>
              <a:solidFill>
                <a:srgbClr val="AEABAB"/>
              </a:solidFill>
            </c:spPr>
            <c:extLst>
              <c:ext xmlns:c16="http://schemas.microsoft.com/office/drawing/2014/chart" uri="{C3380CC4-5D6E-409C-BE32-E72D297353CC}">
                <c16:uniqueId val="{00000755-F218-4DDE-952B-C0F0729EE755}"/>
              </c:ext>
            </c:extLst>
          </c:dPt>
          <c:dPt>
            <c:idx val="938"/>
            <c:invertIfNegative val="1"/>
            <c:bubble3D val="0"/>
            <c:spPr>
              <a:solidFill>
                <a:srgbClr val="AEABAB"/>
              </a:solidFill>
            </c:spPr>
            <c:extLst>
              <c:ext xmlns:c16="http://schemas.microsoft.com/office/drawing/2014/chart" uri="{C3380CC4-5D6E-409C-BE32-E72D297353CC}">
                <c16:uniqueId val="{00000757-F218-4DDE-952B-C0F0729EE755}"/>
              </c:ext>
            </c:extLst>
          </c:dPt>
          <c:dPt>
            <c:idx val="939"/>
            <c:invertIfNegative val="1"/>
            <c:bubble3D val="0"/>
            <c:spPr>
              <a:solidFill>
                <a:srgbClr val="AEABAB"/>
              </a:solidFill>
            </c:spPr>
            <c:extLst>
              <c:ext xmlns:c16="http://schemas.microsoft.com/office/drawing/2014/chart" uri="{C3380CC4-5D6E-409C-BE32-E72D297353CC}">
                <c16:uniqueId val="{00000759-F218-4DDE-952B-C0F0729EE755}"/>
              </c:ext>
            </c:extLst>
          </c:dPt>
          <c:dPt>
            <c:idx val="940"/>
            <c:invertIfNegative val="1"/>
            <c:bubble3D val="0"/>
            <c:spPr>
              <a:solidFill>
                <a:srgbClr val="AEABAB"/>
              </a:solidFill>
            </c:spPr>
            <c:extLst>
              <c:ext xmlns:c16="http://schemas.microsoft.com/office/drawing/2014/chart" uri="{C3380CC4-5D6E-409C-BE32-E72D297353CC}">
                <c16:uniqueId val="{0000075B-F218-4DDE-952B-C0F0729EE755}"/>
              </c:ext>
            </c:extLst>
          </c:dPt>
          <c:dPt>
            <c:idx val="941"/>
            <c:invertIfNegative val="1"/>
            <c:bubble3D val="0"/>
            <c:spPr>
              <a:solidFill>
                <a:srgbClr val="AEABAB"/>
              </a:solidFill>
            </c:spPr>
            <c:extLst>
              <c:ext xmlns:c16="http://schemas.microsoft.com/office/drawing/2014/chart" uri="{C3380CC4-5D6E-409C-BE32-E72D297353CC}">
                <c16:uniqueId val="{0000075D-F218-4DDE-952B-C0F0729EE755}"/>
              </c:ext>
            </c:extLst>
          </c:dPt>
          <c:dPt>
            <c:idx val="942"/>
            <c:invertIfNegative val="1"/>
            <c:bubble3D val="0"/>
            <c:spPr>
              <a:solidFill>
                <a:srgbClr val="AEABAB"/>
              </a:solidFill>
            </c:spPr>
            <c:extLst>
              <c:ext xmlns:c16="http://schemas.microsoft.com/office/drawing/2014/chart" uri="{C3380CC4-5D6E-409C-BE32-E72D297353CC}">
                <c16:uniqueId val="{0000075F-F218-4DDE-952B-C0F0729EE755}"/>
              </c:ext>
            </c:extLst>
          </c:dPt>
          <c:dPt>
            <c:idx val="943"/>
            <c:invertIfNegative val="1"/>
            <c:bubble3D val="0"/>
            <c:spPr>
              <a:solidFill>
                <a:srgbClr val="AEABAB"/>
              </a:solidFill>
            </c:spPr>
            <c:extLst>
              <c:ext xmlns:c16="http://schemas.microsoft.com/office/drawing/2014/chart" uri="{C3380CC4-5D6E-409C-BE32-E72D297353CC}">
                <c16:uniqueId val="{00000761-F218-4DDE-952B-C0F0729EE755}"/>
              </c:ext>
            </c:extLst>
          </c:dPt>
          <c:dPt>
            <c:idx val="944"/>
            <c:invertIfNegative val="1"/>
            <c:bubble3D val="0"/>
            <c:spPr>
              <a:solidFill>
                <a:srgbClr val="AEABAB"/>
              </a:solidFill>
            </c:spPr>
            <c:extLst>
              <c:ext xmlns:c16="http://schemas.microsoft.com/office/drawing/2014/chart" uri="{C3380CC4-5D6E-409C-BE32-E72D297353CC}">
                <c16:uniqueId val="{00000763-F218-4DDE-952B-C0F0729EE755}"/>
              </c:ext>
            </c:extLst>
          </c:dPt>
          <c:cat>
            <c:strRef>
              <c:f>Sheet1!$A$2:$A$946</c:f>
              <c:strCache>
                <c:ptCount val="945"/>
                <c:pt idx="0">
                  <c:v>Caprice Des</c:v>
                </c:pt>
                <c:pt idx="1">
                  <c:v>Private Lab</c:v>
                </c:pt>
                <c:pt idx="2">
                  <c:v>Coeur De Li</c:v>
                </c:pt>
                <c:pt idx="3">
                  <c:v>President</c:v>
                </c:pt>
                <c:pt idx="4">
                  <c:v>La Vache Qu</c:v>
                </c:pt>
                <c:pt idx="5">
                  <c:v>Mini Babybe</c:v>
                </c:pt>
                <c:pt idx="6">
                  <c:v>Caprice Des</c:v>
                </c:pt>
                <c:pt idx="7">
                  <c:v>Soignon</c:v>
                </c:pt>
                <c:pt idx="8">
                  <c:v>Private Lab</c:v>
                </c:pt>
                <c:pt idx="9">
                  <c:v>Coeur De Li</c:v>
                </c:pt>
                <c:pt idx="10">
                  <c:v>Galbani</c:v>
                </c:pt>
                <c:pt idx="11">
                  <c:v>Soignon</c:v>
                </c:pt>
                <c:pt idx="12">
                  <c:v>Le Rustique</c:v>
                </c:pt>
                <c:pt idx="13">
                  <c:v>St Moret</c:v>
                </c:pt>
                <c:pt idx="14">
                  <c:v>Private Lab</c:v>
                </c:pt>
                <c:pt idx="15">
                  <c:v>La Vache Qu</c:v>
                </c:pt>
                <c:pt idx="16">
                  <c:v>Soignon</c:v>
                </c:pt>
                <c:pt idx="17">
                  <c:v>President</c:v>
                </c:pt>
                <c:pt idx="18">
                  <c:v>Tartare</c:v>
                </c:pt>
                <c:pt idx="19">
                  <c:v>All Others</c:v>
                </c:pt>
                <c:pt idx="20">
                  <c:v>Salakis</c:v>
                </c:pt>
                <c:pt idx="21">
                  <c:v>President</c:v>
                </c:pt>
                <c:pt idx="22">
                  <c:v>Ficello</c:v>
                </c:pt>
                <c:pt idx="23">
                  <c:v>Private Lab</c:v>
                </c:pt>
                <c:pt idx="24">
                  <c:v>La Vache Qu</c:v>
                </c:pt>
                <c:pt idx="25">
                  <c:v>Mini Babybe</c:v>
                </c:pt>
                <c:pt idx="26">
                  <c:v>St Moret</c:v>
                </c:pt>
                <c:pt idx="27">
                  <c:v>All Others</c:v>
                </c:pt>
                <c:pt idx="28">
                  <c:v>Kiri</c:v>
                </c:pt>
                <c:pt idx="29">
                  <c:v>Paysan Bret</c:v>
                </c:pt>
                <c:pt idx="30">
                  <c:v>St Moret</c:v>
                </c:pt>
                <c:pt idx="31">
                  <c:v>Islos</c:v>
                </c:pt>
                <c:pt idx="32">
                  <c:v>Carre Frais</c:v>
                </c:pt>
                <c:pt idx="33">
                  <c:v>Kiri</c:v>
                </c:pt>
                <c:pt idx="34">
                  <c:v>Private Lab</c:v>
                </c:pt>
                <c:pt idx="35">
                  <c:v>Philadelphi</c:v>
                </c:pt>
                <c:pt idx="36">
                  <c:v>Paysan Bret</c:v>
                </c:pt>
                <c:pt idx="37">
                  <c:v>Private Lab</c:v>
                </c:pt>
                <c:pt idx="38">
                  <c:v>Lepetit</c:v>
                </c:pt>
                <c:pt idx="39">
                  <c:v>St Moret</c:v>
                </c:pt>
                <c:pt idx="40">
                  <c:v>Coeur De Li</c:v>
                </c:pt>
                <c:pt idx="41">
                  <c:v>Carre Frais</c:v>
                </c:pt>
                <c:pt idx="42">
                  <c:v>Caprice Des</c:v>
                </c:pt>
                <c:pt idx="43">
                  <c:v>Tartare</c:v>
                </c:pt>
                <c:pt idx="44">
                  <c:v>Private Lab</c:v>
                </c:pt>
                <c:pt idx="45">
                  <c:v>Boursin</c:v>
                </c:pt>
                <c:pt idx="46">
                  <c:v>Kiri</c:v>
                </c:pt>
                <c:pt idx="47">
                  <c:v>Casa Azzurr</c:v>
                </c:pt>
                <c:pt idx="48">
                  <c:v>Istara</c:v>
                </c:pt>
                <c:pt idx="49">
                  <c:v>Casa Azzurr</c:v>
                </c:pt>
                <c:pt idx="50">
                  <c:v>Private Lab</c:v>
                </c:pt>
                <c:pt idx="51">
                  <c:v>St Moret</c:v>
                </c:pt>
                <c:pt idx="52">
                  <c:v>Galbani</c:v>
                </c:pt>
                <c:pt idx="53">
                  <c:v>Private Lab</c:v>
                </c:pt>
                <c:pt idx="54">
                  <c:v>Boursin</c:v>
                </c:pt>
                <c:pt idx="55">
                  <c:v>Private Lab</c:v>
                </c:pt>
                <c:pt idx="56">
                  <c:v>All Others</c:v>
                </c:pt>
                <c:pt idx="57">
                  <c:v>President</c:v>
                </c:pt>
                <c:pt idx="58">
                  <c:v>President</c:v>
                </c:pt>
                <c:pt idx="59">
                  <c:v>Petit Billy</c:v>
                </c:pt>
                <c:pt idx="60">
                  <c:v>Lou Perac</c:v>
                </c:pt>
                <c:pt idx="61">
                  <c:v>Private Lab</c:v>
                </c:pt>
                <c:pt idx="62">
                  <c:v>Private Lab</c:v>
                </c:pt>
                <c:pt idx="63">
                  <c:v>Philadelphi</c:v>
                </c:pt>
                <c:pt idx="64">
                  <c:v>Private Lab</c:v>
                </c:pt>
                <c:pt idx="65">
                  <c:v>Private Lab</c:v>
                </c:pt>
                <c:pt idx="66">
                  <c:v>Boursin</c:v>
                </c:pt>
                <c:pt idx="67">
                  <c:v>President</c:v>
                </c:pt>
                <c:pt idx="68">
                  <c:v>St Moret</c:v>
                </c:pt>
                <c:pt idx="69">
                  <c:v>President</c:v>
                </c:pt>
                <c:pt idx="70">
                  <c:v>Private Lab</c:v>
                </c:pt>
                <c:pt idx="71">
                  <c:v>Kiri</c:v>
                </c:pt>
                <c:pt idx="72">
                  <c:v>St Moret</c:v>
                </c:pt>
                <c:pt idx="73">
                  <c:v>Coeur De Li</c:v>
                </c:pt>
                <c:pt idx="74">
                  <c:v>Salakis</c:v>
                </c:pt>
                <c:pt idx="75">
                  <c:v>Private Lab</c:v>
                </c:pt>
                <c:pt idx="76">
                  <c:v>Galbani</c:v>
                </c:pt>
                <c:pt idx="77">
                  <c:v>Private Lab</c:v>
                </c:pt>
                <c:pt idx="78">
                  <c:v>Casa Azzurr</c:v>
                </c:pt>
                <c:pt idx="79">
                  <c:v>Galbani</c:v>
                </c:pt>
                <c:pt idx="80">
                  <c:v>Le Rustique</c:v>
                </c:pt>
                <c:pt idx="81">
                  <c:v>All Others</c:v>
                </c:pt>
                <c:pt idx="82">
                  <c:v>President</c:v>
                </c:pt>
                <c:pt idx="83">
                  <c:v>Casa Azzurr</c:v>
                </c:pt>
                <c:pt idx="84">
                  <c:v>Private Lab</c:v>
                </c:pt>
                <c:pt idx="85">
                  <c:v>All Others</c:v>
                </c:pt>
                <c:pt idx="86">
                  <c:v>Mini Babybe</c:v>
                </c:pt>
                <c:pt idx="87">
                  <c:v>Ficello</c:v>
                </c:pt>
                <c:pt idx="88">
                  <c:v>Boursin</c:v>
                </c:pt>
                <c:pt idx="89">
                  <c:v>Mini Babybe</c:v>
                </c:pt>
                <c:pt idx="90">
                  <c:v>Le Brebiou</c:v>
                </c:pt>
                <c:pt idx="91">
                  <c:v>St Moret</c:v>
                </c:pt>
                <c:pt idx="92">
                  <c:v>Soignon</c:v>
                </c:pt>
                <c:pt idx="93">
                  <c:v>Salakis</c:v>
                </c:pt>
                <c:pt idx="94">
                  <c:v>Paysan Bret</c:v>
                </c:pt>
                <c:pt idx="95">
                  <c:v>Le Rustique</c:v>
                </c:pt>
                <c:pt idx="96">
                  <c:v>Coeur De Li</c:v>
                </c:pt>
                <c:pt idx="97">
                  <c:v>Kiri</c:v>
                </c:pt>
                <c:pt idx="98">
                  <c:v>President</c:v>
                </c:pt>
                <c:pt idx="99">
                  <c:v>Lactalis: A</c:v>
                </c:pt>
                <c:pt idx="100">
                  <c:v>Private Lab</c:v>
                </c:pt>
                <c:pt idx="101">
                  <c:v>Private Lab</c:v>
                </c:pt>
                <c:pt idx="102">
                  <c:v>Private Lab</c:v>
                </c:pt>
                <c:pt idx="103">
                  <c:v>Private Lab</c:v>
                </c:pt>
                <c:pt idx="104">
                  <c:v>Soignon</c:v>
                </c:pt>
                <c:pt idx="105">
                  <c:v>Casa Azzurr</c:v>
                </c:pt>
                <c:pt idx="106">
                  <c:v>Etorki</c:v>
                </c:pt>
                <c:pt idx="107">
                  <c:v>All Others</c:v>
                </c:pt>
                <c:pt idx="108">
                  <c:v>Lou Perac</c:v>
                </c:pt>
                <c:pt idx="109">
                  <c:v>Casa Azzurr</c:v>
                </c:pt>
                <c:pt idx="110">
                  <c:v>La Vache Qu</c:v>
                </c:pt>
                <c:pt idx="111">
                  <c:v>Chavroux</c:v>
                </c:pt>
                <c:pt idx="112">
                  <c:v>Soignon</c:v>
                </c:pt>
                <c:pt idx="113">
                  <c:v>Caprice Des</c:v>
                </c:pt>
                <c:pt idx="114">
                  <c:v>La Vache Qu</c:v>
                </c:pt>
                <c:pt idx="115">
                  <c:v>Private Lab</c:v>
                </c:pt>
                <c:pt idx="116">
                  <c:v>Galbani</c:v>
                </c:pt>
                <c:pt idx="117">
                  <c:v>Rondele</c:v>
                </c:pt>
                <c:pt idx="118">
                  <c:v>Private Lab</c:v>
                </c:pt>
                <c:pt idx="119">
                  <c:v>All Others</c:v>
                </c:pt>
                <c:pt idx="120">
                  <c:v>Private Lab</c:v>
                </c:pt>
                <c:pt idx="121">
                  <c:v>Private Lab</c:v>
                </c:pt>
                <c:pt idx="122">
                  <c:v>Lactalis: A</c:v>
                </c:pt>
                <c:pt idx="123">
                  <c:v>All Others</c:v>
                </c:pt>
                <c:pt idx="124">
                  <c:v>Paysan Bret</c:v>
                </c:pt>
                <c:pt idx="125">
                  <c:v>President</c:v>
                </c:pt>
                <c:pt idx="126">
                  <c:v>Private Lab</c:v>
                </c:pt>
                <c:pt idx="127">
                  <c:v>Private Lab</c:v>
                </c:pt>
                <c:pt idx="128">
                  <c:v>Tartare</c:v>
                </c:pt>
                <c:pt idx="129">
                  <c:v>Istara</c:v>
                </c:pt>
                <c:pt idx="130">
                  <c:v>Private Lab</c:v>
                </c:pt>
                <c:pt idx="131">
                  <c:v>Casa Azzurr</c:v>
                </c:pt>
                <c:pt idx="132">
                  <c:v>Boursin</c:v>
                </c:pt>
                <c:pt idx="133">
                  <c:v>All Others</c:v>
                </c:pt>
                <c:pt idx="134">
                  <c:v>Lactalis: A</c:v>
                </c:pt>
                <c:pt idx="135">
                  <c:v>P'Tit Louis</c:v>
                </c:pt>
                <c:pt idx="136">
                  <c:v>Private Lab</c:v>
                </c:pt>
                <c:pt idx="137">
                  <c:v>Soignon</c:v>
                </c:pt>
                <c:pt idx="138">
                  <c:v>La Vache Qu</c:v>
                </c:pt>
                <c:pt idx="139">
                  <c:v>All Others</c:v>
                </c:pt>
                <c:pt idx="140">
                  <c:v>Soignon</c:v>
                </c:pt>
                <c:pt idx="141">
                  <c:v>Private Lab</c:v>
                </c:pt>
                <c:pt idx="142">
                  <c:v>Soignon</c:v>
                </c:pt>
                <c:pt idx="143">
                  <c:v>Chavroux</c:v>
                </c:pt>
                <c:pt idx="144">
                  <c:v>Private Lab</c:v>
                </c:pt>
                <c:pt idx="145">
                  <c:v>Paysan Bret</c:v>
                </c:pt>
                <c:pt idx="146">
                  <c:v>Private Lab</c:v>
                </c:pt>
                <c:pt idx="147">
                  <c:v>Galbani</c:v>
                </c:pt>
                <c:pt idx="148">
                  <c:v>President</c:v>
                </c:pt>
                <c:pt idx="149">
                  <c:v>President</c:v>
                </c:pt>
                <c:pt idx="150">
                  <c:v>All Others</c:v>
                </c:pt>
                <c:pt idx="151">
                  <c:v>Caprice Des</c:v>
                </c:pt>
                <c:pt idx="152">
                  <c:v>All Others</c:v>
                </c:pt>
                <c:pt idx="153">
                  <c:v>All Others</c:v>
                </c:pt>
                <c:pt idx="154">
                  <c:v>Paysan Bret</c:v>
                </c:pt>
                <c:pt idx="155">
                  <c:v>All Others</c:v>
                </c:pt>
                <c:pt idx="156">
                  <c:v>Le Rustique</c:v>
                </c:pt>
                <c:pt idx="157">
                  <c:v>All Others</c:v>
                </c:pt>
                <c:pt idx="158">
                  <c:v>All Others</c:v>
                </c:pt>
                <c:pt idx="159">
                  <c:v>Lactalis: A</c:v>
                </c:pt>
                <c:pt idx="160">
                  <c:v>Private Lab</c:v>
                </c:pt>
                <c:pt idx="161">
                  <c:v>All Others</c:v>
                </c:pt>
                <c:pt idx="162">
                  <c:v>All Others</c:v>
                </c:pt>
                <c:pt idx="163">
                  <c:v>Casa Azzurr</c:v>
                </c:pt>
                <c:pt idx="164">
                  <c:v>Kiri</c:v>
                </c:pt>
                <c:pt idx="165">
                  <c:v>Soignon</c:v>
                </c:pt>
                <c:pt idx="166">
                  <c:v>Soignon</c:v>
                </c:pt>
                <c:pt idx="167">
                  <c:v>Salakis</c:v>
                </c:pt>
                <c:pt idx="168">
                  <c:v>All Others</c:v>
                </c:pt>
                <c:pt idx="169">
                  <c:v>Casa Azzurr</c:v>
                </c:pt>
                <c:pt idx="170">
                  <c:v>Private Lab</c:v>
                </c:pt>
                <c:pt idx="171">
                  <c:v>Private Lab</c:v>
                </c:pt>
                <c:pt idx="172">
                  <c:v>All Others</c:v>
                </c:pt>
                <c:pt idx="173">
                  <c:v>Salakis</c:v>
                </c:pt>
                <c:pt idx="174">
                  <c:v>Tartare</c:v>
                </c:pt>
                <c:pt idx="175">
                  <c:v>Paysan Bret</c:v>
                </c:pt>
                <c:pt idx="176">
                  <c:v>Boursin</c:v>
                </c:pt>
                <c:pt idx="177">
                  <c:v>All Others</c:v>
                </c:pt>
                <c:pt idx="178">
                  <c:v>Salakis</c:v>
                </c:pt>
                <c:pt idx="179">
                  <c:v>All Others</c:v>
                </c:pt>
                <c:pt idx="180">
                  <c:v>Private Lab</c:v>
                </c:pt>
                <c:pt idx="181">
                  <c:v>Galbani</c:v>
                </c:pt>
                <c:pt idx="182">
                  <c:v>All Others</c:v>
                </c:pt>
                <c:pt idx="183">
                  <c:v>Boursin</c:v>
                </c:pt>
                <c:pt idx="184">
                  <c:v>Private Lab</c:v>
                </c:pt>
                <c:pt idx="185">
                  <c:v>Private Lab</c:v>
                </c:pt>
                <c:pt idx="186">
                  <c:v>Private Lab</c:v>
                </c:pt>
                <c:pt idx="187">
                  <c:v>Savencia: A</c:v>
                </c:pt>
                <c:pt idx="188">
                  <c:v>All Others</c:v>
                </c:pt>
                <c:pt idx="189">
                  <c:v>Private Lab</c:v>
                </c:pt>
                <c:pt idx="190">
                  <c:v>Private Lab</c:v>
                </c:pt>
                <c:pt idx="191">
                  <c:v>Lou Perac</c:v>
                </c:pt>
                <c:pt idx="192">
                  <c:v>Chavroux</c:v>
                </c:pt>
                <c:pt idx="193">
                  <c:v>Etoile Du Q</c:v>
                </c:pt>
                <c:pt idx="194">
                  <c:v>All Others</c:v>
                </c:pt>
                <c:pt idx="195">
                  <c:v>All Others</c:v>
                </c:pt>
                <c:pt idx="196">
                  <c:v>Galbani</c:v>
                </c:pt>
                <c:pt idx="197">
                  <c:v>Casa Azzurr</c:v>
                </c:pt>
                <c:pt idx="198">
                  <c:v>All Others</c:v>
                </c:pt>
                <c:pt idx="199">
                  <c:v>Private Lab</c:v>
                </c:pt>
                <c:pt idx="200">
                  <c:v>All Others</c:v>
                </c:pt>
                <c:pt idx="201">
                  <c:v>President</c:v>
                </c:pt>
                <c:pt idx="202">
                  <c:v>Mini Babybe</c:v>
                </c:pt>
                <c:pt idx="203">
                  <c:v>Mini Babybe</c:v>
                </c:pt>
                <c:pt idx="204">
                  <c:v>Soignon</c:v>
                </c:pt>
                <c:pt idx="205">
                  <c:v>All Others</c:v>
                </c:pt>
                <c:pt idx="206">
                  <c:v>Triballat N</c:v>
                </c:pt>
                <c:pt idx="207">
                  <c:v>All Others</c:v>
                </c:pt>
                <c:pt idx="208">
                  <c:v>Private Lab</c:v>
                </c:pt>
                <c:pt idx="209">
                  <c:v>All Others</c:v>
                </c:pt>
                <c:pt idx="210">
                  <c:v>Private Lab</c:v>
                </c:pt>
                <c:pt idx="211">
                  <c:v>All Others</c:v>
                </c:pt>
                <c:pt idx="212">
                  <c:v>All Others</c:v>
                </c:pt>
                <c:pt idx="213">
                  <c:v>Pave D'Affi</c:v>
                </c:pt>
                <c:pt idx="214">
                  <c:v>All Others</c:v>
                </c:pt>
                <c:pt idx="215">
                  <c:v>Private Lab</c:v>
                </c:pt>
                <c:pt idx="216">
                  <c:v>Casa Azzurr</c:v>
                </c:pt>
                <c:pt idx="217">
                  <c:v>Private Lab</c:v>
                </c:pt>
                <c:pt idx="218">
                  <c:v>All Others</c:v>
                </c:pt>
                <c:pt idx="219">
                  <c:v>All Others</c:v>
                </c:pt>
                <c:pt idx="220">
                  <c:v>Savencia: A</c:v>
                </c:pt>
                <c:pt idx="221">
                  <c:v>All Others</c:v>
                </c:pt>
                <c:pt idx="222">
                  <c:v>Private Lab</c:v>
                </c:pt>
                <c:pt idx="223">
                  <c:v>Ficello</c:v>
                </c:pt>
                <c:pt idx="224">
                  <c:v>Savencia: A</c:v>
                </c:pt>
                <c:pt idx="225">
                  <c:v>All Others</c:v>
                </c:pt>
                <c:pt idx="226">
                  <c:v>St Moret</c:v>
                </c:pt>
                <c:pt idx="227">
                  <c:v>Galbani</c:v>
                </c:pt>
                <c:pt idx="228">
                  <c:v>Private Lab</c:v>
                </c:pt>
                <c:pt idx="229">
                  <c:v>Private Lab</c:v>
                </c:pt>
                <c:pt idx="230">
                  <c:v>Private Lab</c:v>
                </c:pt>
                <c:pt idx="231">
                  <c:v>Boursin</c:v>
                </c:pt>
                <c:pt idx="232">
                  <c:v>Private Lab</c:v>
                </c:pt>
                <c:pt idx="233">
                  <c:v>Galbani</c:v>
                </c:pt>
                <c:pt idx="234">
                  <c:v>All Others</c:v>
                </c:pt>
                <c:pt idx="235">
                  <c:v>Lou Perac</c:v>
                </c:pt>
                <c:pt idx="236">
                  <c:v>All Others</c:v>
                </c:pt>
                <c:pt idx="237">
                  <c:v>Boursin</c:v>
                </c:pt>
                <c:pt idx="238">
                  <c:v>All Others</c:v>
                </c:pt>
                <c:pt idx="239">
                  <c:v>All Others</c:v>
                </c:pt>
                <c:pt idx="240">
                  <c:v>St Moret</c:v>
                </c:pt>
                <c:pt idx="241">
                  <c:v>All Others</c:v>
                </c:pt>
                <c:pt idx="242">
                  <c:v>Private Lab</c:v>
                </c:pt>
                <c:pt idx="243">
                  <c:v>Mini Babybe</c:v>
                </c:pt>
                <c:pt idx="244">
                  <c:v>All Others</c:v>
                </c:pt>
                <c:pt idx="245">
                  <c:v>All Others</c:v>
                </c:pt>
                <c:pt idx="246">
                  <c:v>Tartare</c:v>
                </c:pt>
                <c:pt idx="247">
                  <c:v>All Others</c:v>
                </c:pt>
                <c:pt idx="248">
                  <c:v>All Others</c:v>
                </c:pt>
                <c:pt idx="249">
                  <c:v>All Others</c:v>
                </c:pt>
                <c:pt idx="250">
                  <c:v>Kiri</c:v>
                </c:pt>
                <c:pt idx="251">
                  <c:v>All Others</c:v>
                </c:pt>
                <c:pt idx="252">
                  <c:v>Soignon</c:v>
                </c:pt>
                <c:pt idx="253">
                  <c:v>President</c:v>
                </c:pt>
                <c:pt idx="254">
                  <c:v>Philadelphi</c:v>
                </c:pt>
                <c:pt idx="255">
                  <c:v>All Others</c:v>
                </c:pt>
                <c:pt idx="256">
                  <c:v>Etoile Du V</c:v>
                </c:pt>
                <c:pt idx="257">
                  <c:v>Kiri</c:v>
                </c:pt>
                <c:pt idx="258">
                  <c:v>Kiri</c:v>
                </c:pt>
                <c:pt idx="259">
                  <c:v>Islos</c:v>
                </c:pt>
                <c:pt idx="260">
                  <c:v>Casa Azzurr</c:v>
                </c:pt>
                <c:pt idx="261">
                  <c:v>Kiri</c:v>
                </c:pt>
                <c:pt idx="262">
                  <c:v>All Others</c:v>
                </c:pt>
                <c:pt idx="263">
                  <c:v>Rondele</c:v>
                </c:pt>
                <c:pt idx="264">
                  <c:v>Rondele</c:v>
                </c:pt>
                <c:pt idx="265">
                  <c:v>All Others</c:v>
                </c:pt>
                <c:pt idx="266">
                  <c:v>Casa Azzurr</c:v>
                </c:pt>
                <c:pt idx="267">
                  <c:v>All Others</c:v>
                </c:pt>
                <c:pt idx="268">
                  <c:v>Private Lab</c:v>
                </c:pt>
                <c:pt idx="269">
                  <c:v>All Others</c:v>
                </c:pt>
                <c:pt idx="270">
                  <c:v>All Others</c:v>
                </c:pt>
                <c:pt idx="271">
                  <c:v>All Others</c:v>
                </c:pt>
                <c:pt idx="272">
                  <c:v>All Others</c:v>
                </c:pt>
                <c:pt idx="273">
                  <c:v>Triballat R</c:v>
                </c:pt>
                <c:pt idx="274">
                  <c:v>Corsica</c:v>
                </c:pt>
                <c:pt idx="275">
                  <c:v>All Others</c:v>
                </c:pt>
                <c:pt idx="276">
                  <c:v>Le Brebiou</c:v>
                </c:pt>
                <c:pt idx="277">
                  <c:v>Saint Agur</c:v>
                </c:pt>
                <c:pt idx="278">
                  <c:v>All Others</c:v>
                </c:pt>
                <c:pt idx="279">
                  <c:v>All Others</c:v>
                </c:pt>
                <c:pt idx="280">
                  <c:v>All Others</c:v>
                </c:pt>
                <c:pt idx="281">
                  <c:v>All Others</c:v>
                </c:pt>
                <c:pt idx="282">
                  <c:v>All Others</c:v>
                </c:pt>
                <c:pt idx="283">
                  <c:v>All Others</c:v>
                </c:pt>
                <c:pt idx="284">
                  <c:v>All Others</c:v>
                </c:pt>
                <c:pt idx="285">
                  <c:v>All Others</c:v>
                </c:pt>
                <c:pt idx="286">
                  <c:v>All Others</c:v>
                </c:pt>
                <c:pt idx="287">
                  <c:v>Ficello</c:v>
                </c:pt>
                <c:pt idx="288">
                  <c:v>Savencia: A</c:v>
                </c:pt>
                <c:pt idx="289">
                  <c:v>P'Tit Louis</c:v>
                </c:pt>
                <c:pt idx="290">
                  <c:v>All Others</c:v>
                </c:pt>
                <c:pt idx="291">
                  <c:v>All Others</c:v>
                </c:pt>
                <c:pt idx="292">
                  <c:v>All Others</c:v>
                </c:pt>
                <c:pt idx="293">
                  <c:v>Lou Perac</c:v>
                </c:pt>
                <c:pt idx="294">
                  <c:v>All Others</c:v>
                </c:pt>
                <c:pt idx="295">
                  <c:v>Lactalis: A</c:v>
                </c:pt>
                <c:pt idx="296">
                  <c:v>President</c:v>
                </c:pt>
                <c:pt idx="297">
                  <c:v>Eurial Autr</c:v>
                </c:pt>
                <c:pt idx="298">
                  <c:v>Mini Babybe</c:v>
                </c:pt>
                <c:pt idx="299">
                  <c:v>All Others</c:v>
                </c:pt>
                <c:pt idx="300">
                  <c:v>Private Lab</c:v>
                </c:pt>
                <c:pt idx="301">
                  <c:v>Soignon</c:v>
                </c:pt>
                <c:pt idx="302">
                  <c:v>Galbani</c:v>
                </c:pt>
                <c:pt idx="303">
                  <c:v>All Others</c:v>
                </c:pt>
                <c:pt idx="304">
                  <c:v>All Others</c:v>
                </c:pt>
                <c:pt idx="305">
                  <c:v>All Others</c:v>
                </c:pt>
                <c:pt idx="306">
                  <c:v>La Vache Qu</c:v>
                </c:pt>
                <c:pt idx="307">
                  <c:v>Private Lab</c:v>
                </c:pt>
                <c:pt idx="308">
                  <c:v>All Others</c:v>
                </c:pt>
                <c:pt idx="309">
                  <c:v>Private Lab</c:v>
                </c:pt>
                <c:pt idx="310">
                  <c:v>All Others</c:v>
                </c:pt>
                <c:pt idx="311">
                  <c:v>Boursin</c:v>
                </c:pt>
                <c:pt idx="312">
                  <c:v>All Others</c:v>
                </c:pt>
                <c:pt idx="313">
                  <c:v>Triballat R</c:v>
                </c:pt>
                <c:pt idx="314">
                  <c:v>Private Lab</c:v>
                </c:pt>
                <c:pt idx="315">
                  <c:v>All Others</c:v>
                </c:pt>
                <c:pt idx="316">
                  <c:v>All Others</c:v>
                </c:pt>
                <c:pt idx="317">
                  <c:v>All Others</c:v>
                </c:pt>
                <c:pt idx="318">
                  <c:v>All Others</c:v>
                </c:pt>
                <c:pt idx="319">
                  <c:v>P'Tit Louis</c:v>
                </c:pt>
                <c:pt idx="320">
                  <c:v>All Others</c:v>
                </c:pt>
                <c:pt idx="321">
                  <c:v>Casa Azzurr</c:v>
                </c:pt>
                <c:pt idx="322">
                  <c:v>All Others</c:v>
                </c:pt>
                <c:pt idx="323">
                  <c:v>All Others</c:v>
                </c:pt>
                <c:pt idx="324">
                  <c:v>All Others</c:v>
                </c:pt>
                <c:pt idx="325">
                  <c:v>Salakis</c:v>
                </c:pt>
                <c:pt idx="326">
                  <c:v>All Others</c:v>
                </c:pt>
                <c:pt idx="327">
                  <c:v>All Others</c:v>
                </c:pt>
                <c:pt idx="328">
                  <c:v>Galbani</c:v>
                </c:pt>
                <c:pt idx="329">
                  <c:v>All Others</c:v>
                </c:pt>
                <c:pt idx="330">
                  <c:v>All Others</c:v>
                </c:pt>
                <c:pt idx="331">
                  <c:v>Lactalis: A</c:v>
                </c:pt>
                <c:pt idx="332">
                  <c:v>Boursin</c:v>
                </c:pt>
                <c:pt idx="333">
                  <c:v>Philadelphi</c:v>
                </c:pt>
                <c:pt idx="334">
                  <c:v>All Others</c:v>
                </c:pt>
                <c:pt idx="335">
                  <c:v>All Others</c:v>
                </c:pt>
                <c:pt idx="336">
                  <c:v>Paysan Bret</c:v>
                </c:pt>
                <c:pt idx="337">
                  <c:v>All Others</c:v>
                </c:pt>
                <c:pt idx="338">
                  <c:v>Triballat R</c:v>
                </c:pt>
                <c:pt idx="339">
                  <c:v>All Others</c:v>
                </c:pt>
                <c:pt idx="340">
                  <c:v>All Others</c:v>
                </c:pt>
                <c:pt idx="341">
                  <c:v>Savencia: A</c:v>
                </c:pt>
                <c:pt idx="342">
                  <c:v>All Others</c:v>
                </c:pt>
                <c:pt idx="343">
                  <c:v>Private Lab</c:v>
                </c:pt>
                <c:pt idx="344">
                  <c:v>All Others</c:v>
                </c:pt>
                <c:pt idx="345">
                  <c:v>Private Lab</c:v>
                </c:pt>
                <c:pt idx="346">
                  <c:v>Tartare</c:v>
                </c:pt>
                <c:pt idx="347">
                  <c:v>All Others</c:v>
                </c:pt>
                <c:pt idx="348">
                  <c:v>All Others</c:v>
                </c:pt>
                <c:pt idx="349">
                  <c:v>All Others</c:v>
                </c:pt>
                <c:pt idx="350">
                  <c:v>Etoile Du Q</c:v>
                </c:pt>
                <c:pt idx="351">
                  <c:v>All Others</c:v>
                </c:pt>
                <c:pt idx="352">
                  <c:v>Boursin</c:v>
                </c:pt>
                <c:pt idx="353">
                  <c:v>All Others</c:v>
                </c:pt>
                <c:pt idx="354">
                  <c:v>St Moret</c:v>
                </c:pt>
                <c:pt idx="355">
                  <c:v>All Others</c:v>
                </c:pt>
                <c:pt idx="356">
                  <c:v>All Others</c:v>
                </c:pt>
                <c:pt idx="357">
                  <c:v>All Others</c:v>
                </c:pt>
                <c:pt idx="358">
                  <c:v>Boursin</c:v>
                </c:pt>
                <c:pt idx="359">
                  <c:v>All Others</c:v>
                </c:pt>
                <c:pt idx="360">
                  <c:v>All Others</c:v>
                </c:pt>
                <c:pt idx="361">
                  <c:v>Lactalis: A</c:v>
                </c:pt>
                <c:pt idx="362">
                  <c:v>Caprice Des</c:v>
                </c:pt>
                <c:pt idx="363">
                  <c:v>All Others</c:v>
                </c:pt>
                <c:pt idx="364">
                  <c:v>Mini Babybe</c:v>
                </c:pt>
                <c:pt idx="365">
                  <c:v>Petit Billy</c:v>
                </c:pt>
                <c:pt idx="366">
                  <c:v>All Others</c:v>
                </c:pt>
                <c:pt idx="367">
                  <c:v>All Others</c:v>
                </c:pt>
                <c:pt idx="368">
                  <c:v>All Others</c:v>
                </c:pt>
                <c:pt idx="369">
                  <c:v>Corsica</c:v>
                </c:pt>
                <c:pt idx="370">
                  <c:v>Istara</c:v>
                </c:pt>
                <c:pt idx="371">
                  <c:v>All Others</c:v>
                </c:pt>
                <c:pt idx="372">
                  <c:v>All Others</c:v>
                </c:pt>
                <c:pt idx="373">
                  <c:v>All Others</c:v>
                </c:pt>
                <c:pt idx="374">
                  <c:v>Paysan Bret</c:v>
                </c:pt>
                <c:pt idx="375">
                  <c:v>All Others</c:v>
                </c:pt>
                <c:pt idx="376">
                  <c:v>All Others</c:v>
                </c:pt>
                <c:pt idx="377">
                  <c:v>All Others</c:v>
                </c:pt>
                <c:pt idx="378">
                  <c:v>All Others</c:v>
                </c:pt>
                <c:pt idx="379">
                  <c:v>Galbani</c:v>
                </c:pt>
                <c:pt idx="380">
                  <c:v>All Others</c:v>
                </c:pt>
                <c:pt idx="381">
                  <c:v>All Others</c:v>
                </c:pt>
                <c:pt idx="382">
                  <c:v>All Others</c:v>
                </c:pt>
                <c:pt idx="383">
                  <c:v>Private Lab</c:v>
                </c:pt>
                <c:pt idx="384">
                  <c:v>Lactalis: A</c:v>
                </c:pt>
                <c:pt idx="385">
                  <c:v>All Others</c:v>
                </c:pt>
                <c:pt idx="386">
                  <c:v>All Others</c:v>
                </c:pt>
                <c:pt idx="387">
                  <c:v>Paysan Bret</c:v>
                </c:pt>
                <c:pt idx="388">
                  <c:v>La Vache Qu</c:v>
                </c:pt>
                <c:pt idx="389">
                  <c:v>All Others</c:v>
                </c:pt>
                <c:pt idx="390">
                  <c:v>St Moret</c:v>
                </c:pt>
                <c:pt idx="391">
                  <c:v>All Others</c:v>
                </c:pt>
                <c:pt idx="392">
                  <c:v>All Others</c:v>
                </c:pt>
                <c:pt idx="393">
                  <c:v>All Others</c:v>
                </c:pt>
                <c:pt idx="394">
                  <c:v>All Others</c:v>
                </c:pt>
                <c:pt idx="395">
                  <c:v>All Others</c:v>
                </c:pt>
                <c:pt idx="396">
                  <c:v>All Others</c:v>
                </c:pt>
                <c:pt idx="397">
                  <c:v>Salakis</c:v>
                </c:pt>
                <c:pt idx="398">
                  <c:v>All Others</c:v>
                </c:pt>
                <c:pt idx="399">
                  <c:v>All Others</c:v>
                </c:pt>
                <c:pt idx="400">
                  <c:v>Caprice Des</c:v>
                </c:pt>
                <c:pt idx="401">
                  <c:v>All Others</c:v>
                </c:pt>
                <c:pt idx="402">
                  <c:v>All Others</c:v>
                </c:pt>
                <c:pt idx="403">
                  <c:v>Milleret: A</c:v>
                </c:pt>
                <c:pt idx="404">
                  <c:v>Saint Agur</c:v>
                </c:pt>
                <c:pt idx="405">
                  <c:v>All Others</c:v>
                </c:pt>
                <c:pt idx="406">
                  <c:v>Private Lab</c:v>
                </c:pt>
                <c:pt idx="407">
                  <c:v>Tartare</c:v>
                </c:pt>
                <c:pt idx="408">
                  <c:v>All Others</c:v>
                </c:pt>
                <c:pt idx="409">
                  <c:v>All Others</c:v>
                </c:pt>
                <c:pt idx="410">
                  <c:v>Private Lab</c:v>
                </c:pt>
                <c:pt idx="411">
                  <c:v>Savencia: A</c:v>
                </c:pt>
                <c:pt idx="412">
                  <c:v>All Others</c:v>
                </c:pt>
                <c:pt idx="413">
                  <c:v>Etoile Du V</c:v>
                </c:pt>
                <c:pt idx="414">
                  <c:v>Lactalis: A</c:v>
                </c:pt>
                <c:pt idx="415">
                  <c:v>Savencia: A</c:v>
                </c:pt>
                <c:pt idx="416">
                  <c:v>All Others</c:v>
                </c:pt>
                <c:pt idx="417">
                  <c:v>Boursin</c:v>
                </c:pt>
                <c:pt idx="418">
                  <c:v>Paysan Bret</c:v>
                </c:pt>
                <c:pt idx="419">
                  <c:v>All Others</c:v>
                </c:pt>
                <c:pt idx="420">
                  <c:v>All Others</c:v>
                </c:pt>
                <c:pt idx="421">
                  <c:v>All Others</c:v>
                </c:pt>
                <c:pt idx="422">
                  <c:v>All Others</c:v>
                </c:pt>
                <c:pt idx="423">
                  <c:v>All Others</c:v>
                </c:pt>
                <c:pt idx="424">
                  <c:v>All Others</c:v>
                </c:pt>
                <c:pt idx="425">
                  <c:v>Chavroux</c:v>
                </c:pt>
                <c:pt idx="426">
                  <c:v>All Others</c:v>
                </c:pt>
                <c:pt idx="427">
                  <c:v>Etorki</c:v>
                </c:pt>
                <c:pt idx="428">
                  <c:v>All Others</c:v>
                </c:pt>
                <c:pt idx="429">
                  <c:v>All Others</c:v>
                </c:pt>
                <c:pt idx="430">
                  <c:v>All Others</c:v>
                </c:pt>
                <c:pt idx="431">
                  <c:v>Salakis</c:v>
                </c:pt>
                <c:pt idx="432">
                  <c:v>All Others</c:v>
                </c:pt>
                <c:pt idx="433">
                  <c:v>All Others</c:v>
                </c:pt>
                <c:pt idx="434">
                  <c:v>All Others</c:v>
                </c:pt>
                <c:pt idx="435">
                  <c:v>All Others</c:v>
                </c:pt>
                <c:pt idx="436">
                  <c:v>All Others</c:v>
                </c:pt>
                <c:pt idx="437">
                  <c:v>All Others</c:v>
                </c:pt>
                <c:pt idx="438">
                  <c:v>Private Lab</c:v>
                </c:pt>
                <c:pt idx="439">
                  <c:v>Private Lab</c:v>
                </c:pt>
                <c:pt idx="440">
                  <c:v>All Others</c:v>
                </c:pt>
                <c:pt idx="441">
                  <c:v>Tartare</c:v>
                </c:pt>
                <c:pt idx="442">
                  <c:v>Private Lab</c:v>
                </c:pt>
                <c:pt idx="443">
                  <c:v>Private Lab</c:v>
                </c:pt>
                <c:pt idx="444">
                  <c:v>All Others</c:v>
                </c:pt>
                <c:pt idx="445">
                  <c:v>Private Lab</c:v>
                </c:pt>
                <c:pt idx="446">
                  <c:v>All Others</c:v>
                </c:pt>
                <c:pt idx="447">
                  <c:v>Tartare</c:v>
                </c:pt>
                <c:pt idx="448">
                  <c:v>All Others</c:v>
                </c:pt>
                <c:pt idx="449">
                  <c:v>All Others</c:v>
                </c:pt>
                <c:pt idx="450">
                  <c:v>All Others</c:v>
                </c:pt>
                <c:pt idx="451">
                  <c:v>All Others</c:v>
                </c:pt>
                <c:pt idx="452">
                  <c:v>All Others</c:v>
                </c:pt>
                <c:pt idx="453">
                  <c:v>All Others</c:v>
                </c:pt>
                <c:pt idx="454">
                  <c:v>P'Tit Louis</c:v>
                </c:pt>
                <c:pt idx="455">
                  <c:v>All Others</c:v>
                </c:pt>
                <c:pt idx="456">
                  <c:v>Private Lab</c:v>
                </c:pt>
                <c:pt idx="457">
                  <c:v>All Others</c:v>
                </c:pt>
                <c:pt idx="458">
                  <c:v>All Others</c:v>
                </c:pt>
                <c:pt idx="459">
                  <c:v>All Others</c:v>
                </c:pt>
                <c:pt idx="460">
                  <c:v>Private Lab</c:v>
                </c:pt>
                <c:pt idx="461">
                  <c:v>All Others</c:v>
                </c:pt>
                <c:pt idx="462">
                  <c:v>All Others</c:v>
                </c:pt>
                <c:pt idx="463">
                  <c:v>Private Lab</c:v>
                </c:pt>
                <c:pt idx="464">
                  <c:v>Private Lab</c:v>
                </c:pt>
                <c:pt idx="465">
                  <c:v>All Others</c:v>
                </c:pt>
                <c:pt idx="466">
                  <c:v>All Others</c:v>
                </c:pt>
                <c:pt idx="467">
                  <c:v>All Others</c:v>
                </c:pt>
                <c:pt idx="468">
                  <c:v>All Others</c:v>
                </c:pt>
                <c:pt idx="469">
                  <c:v>All Others</c:v>
                </c:pt>
                <c:pt idx="470">
                  <c:v>All Others</c:v>
                </c:pt>
                <c:pt idx="471">
                  <c:v>Islos</c:v>
                </c:pt>
                <c:pt idx="472">
                  <c:v>Tartare</c:v>
                </c:pt>
                <c:pt idx="473">
                  <c:v>Private Lab</c:v>
                </c:pt>
                <c:pt idx="474">
                  <c:v>All Others</c:v>
                </c:pt>
                <c:pt idx="475">
                  <c:v>All Others</c:v>
                </c:pt>
                <c:pt idx="476">
                  <c:v>All Others</c:v>
                </c:pt>
                <c:pt idx="477">
                  <c:v>All Others</c:v>
                </c:pt>
                <c:pt idx="478">
                  <c:v>Lactalis: A</c:v>
                </c:pt>
                <c:pt idx="479">
                  <c:v>All Others</c:v>
                </c:pt>
                <c:pt idx="480">
                  <c:v>All Others</c:v>
                </c:pt>
                <c:pt idx="481">
                  <c:v>Philadelphi</c:v>
                </c:pt>
                <c:pt idx="482">
                  <c:v>Triballat R</c:v>
                </c:pt>
                <c:pt idx="483">
                  <c:v>All Others</c:v>
                </c:pt>
                <c:pt idx="484">
                  <c:v>All Others</c:v>
                </c:pt>
                <c:pt idx="485">
                  <c:v>All Others</c:v>
                </c:pt>
                <c:pt idx="486">
                  <c:v>All Others</c:v>
                </c:pt>
                <c:pt idx="487">
                  <c:v>All Others</c:v>
                </c:pt>
                <c:pt idx="488">
                  <c:v>All Others</c:v>
                </c:pt>
                <c:pt idx="489">
                  <c:v>Private Lab</c:v>
                </c:pt>
                <c:pt idx="490">
                  <c:v>Boursin</c:v>
                </c:pt>
                <c:pt idx="491">
                  <c:v>Boursin</c:v>
                </c:pt>
                <c:pt idx="492">
                  <c:v>All Others</c:v>
                </c:pt>
                <c:pt idx="493">
                  <c:v>All Others</c:v>
                </c:pt>
                <c:pt idx="494">
                  <c:v>All Others</c:v>
                </c:pt>
                <c:pt idx="495">
                  <c:v>All Others</c:v>
                </c:pt>
                <c:pt idx="496">
                  <c:v>All Others</c:v>
                </c:pt>
                <c:pt idx="497">
                  <c:v>All Others</c:v>
                </c:pt>
                <c:pt idx="498">
                  <c:v>All Others</c:v>
                </c:pt>
                <c:pt idx="499">
                  <c:v>All Others</c:v>
                </c:pt>
                <c:pt idx="500">
                  <c:v>Private Lab</c:v>
                </c:pt>
                <c:pt idx="501">
                  <c:v>Private Lab</c:v>
                </c:pt>
                <c:pt idx="502">
                  <c:v>All Others</c:v>
                </c:pt>
                <c:pt idx="503">
                  <c:v>Triballat N</c:v>
                </c:pt>
                <c:pt idx="504">
                  <c:v>All Others</c:v>
                </c:pt>
                <c:pt idx="505">
                  <c:v>All Others</c:v>
                </c:pt>
                <c:pt idx="506">
                  <c:v>All Others</c:v>
                </c:pt>
                <c:pt idx="507">
                  <c:v>All Others</c:v>
                </c:pt>
                <c:pt idx="508">
                  <c:v>All Others</c:v>
                </c:pt>
                <c:pt idx="509">
                  <c:v>All Others</c:v>
                </c:pt>
                <c:pt idx="510">
                  <c:v>All Others</c:v>
                </c:pt>
                <c:pt idx="511">
                  <c:v>All Others</c:v>
                </c:pt>
                <c:pt idx="512">
                  <c:v>All Others</c:v>
                </c:pt>
                <c:pt idx="513">
                  <c:v>All Others</c:v>
                </c:pt>
                <c:pt idx="514">
                  <c:v>Lactalis: A</c:v>
                </c:pt>
                <c:pt idx="515">
                  <c:v>Laita: All </c:v>
                </c:pt>
                <c:pt idx="516">
                  <c:v>All Others</c:v>
                </c:pt>
                <c:pt idx="517">
                  <c:v>All Others</c:v>
                </c:pt>
                <c:pt idx="518">
                  <c:v>All Others</c:v>
                </c:pt>
                <c:pt idx="519">
                  <c:v>All Others</c:v>
                </c:pt>
                <c:pt idx="520">
                  <c:v>All Others</c:v>
                </c:pt>
                <c:pt idx="521">
                  <c:v>All Others</c:v>
                </c:pt>
                <c:pt idx="522">
                  <c:v>All Others</c:v>
                </c:pt>
                <c:pt idx="523">
                  <c:v>All Others</c:v>
                </c:pt>
                <c:pt idx="524">
                  <c:v>All Others</c:v>
                </c:pt>
                <c:pt idx="525">
                  <c:v>All Others</c:v>
                </c:pt>
                <c:pt idx="526">
                  <c:v>All Others</c:v>
                </c:pt>
                <c:pt idx="527">
                  <c:v>All Others</c:v>
                </c:pt>
                <c:pt idx="528">
                  <c:v>Private Lab</c:v>
                </c:pt>
                <c:pt idx="529">
                  <c:v>All Others</c:v>
                </c:pt>
                <c:pt idx="530">
                  <c:v>All Others</c:v>
                </c:pt>
                <c:pt idx="531">
                  <c:v>All Others</c:v>
                </c:pt>
                <c:pt idx="532">
                  <c:v>All Others</c:v>
                </c:pt>
                <c:pt idx="533">
                  <c:v>All Others</c:v>
                </c:pt>
                <c:pt idx="534">
                  <c:v>All Others</c:v>
                </c:pt>
                <c:pt idx="535">
                  <c:v>All Others</c:v>
                </c:pt>
                <c:pt idx="536">
                  <c:v>All Others</c:v>
                </c:pt>
                <c:pt idx="537">
                  <c:v>All Others</c:v>
                </c:pt>
                <c:pt idx="538">
                  <c:v>All Others</c:v>
                </c:pt>
                <c:pt idx="539">
                  <c:v>Savencia: A</c:v>
                </c:pt>
                <c:pt idx="540">
                  <c:v>All Others</c:v>
                </c:pt>
                <c:pt idx="541">
                  <c:v>All Others</c:v>
                </c:pt>
                <c:pt idx="542">
                  <c:v>All Others</c:v>
                </c:pt>
                <c:pt idx="543">
                  <c:v>All Others</c:v>
                </c:pt>
                <c:pt idx="544">
                  <c:v>All Others</c:v>
                </c:pt>
                <c:pt idx="545">
                  <c:v>All Others</c:v>
                </c:pt>
                <c:pt idx="546">
                  <c:v>All Others</c:v>
                </c:pt>
                <c:pt idx="547">
                  <c:v>Boursin</c:v>
                </c:pt>
                <c:pt idx="548">
                  <c:v>All Others</c:v>
                </c:pt>
                <c:pt idx="549">
                  <c:v>All Others</c:v>
                </c:pt>
                <c:pt idx="550">
                  <c:v>Private Lab</c:v>
                </c:pt>
                <c:pt idx="551">
                  <c:v>All Others</c:v>
                </c:pt>
                <c:pt idx="552">
                  <c:v>All Others</c:v>
                </c:pt>
                <c:pt idx="553">
                  <c:v>All Others</c:v>
                </c:pt>
                <c:pt idx="554">
                  <c:v>All Others</c:v>
                </c:pt>
                <c:pt idx="555">
                  <c:v>All Others</c:v>
                </c:pt>
                <c:pt idx="556">
                  <c:v>All Others</c:v>
                </c:pt>
                <c:pt idx="557">
                  <c:v>All Others</c:v>
                </c:pt>
                <c:pt idx="558">
                  <c:v>All Others</c:v>
                </c:pt>
                <c:pt idx="559">
                  <c:v>All Others</c:v>
                </c:pt>
                <c:pt idx="560">
                  <c:v>All Others</c:v>
                </c:pt>
                <c:pt idx="561">
                  <c:v>All Others</c:v>
                </c:pt>
                <c:pt idx="562">
                  <c:v>All Others</c:v>
                </c:pt>
                <c:pt idx="563">
                  <c:v>All Others</c:v>
                </c:pt>
                <c:pt idx="564">
                  <c:v>Milleret: A</c:v>
                </c:pt>
                <c:pt idx="565">
                  <c:v>Triballat R</c:v>
                </c:pt>
                <c:pt idx="566">
                  <c:v>All Others</c:v>
                </c:pt>
                <c:pt idx="567">
                  <c:v>All Others</c:v>
                </c:pt>
                <c:pt idx="568">
                  <c:v>All Others</c:v>
                </c:pt>
                <c:pt idx="569">
                  <c:v>All Others</c:v>
                </c:pt>
                <c:pt idx="570">
                  <c:v>All Others</c:v>
                </c:pt>
                <c:pt idx="571">
                  <c:v>All Others</c:v>
                </c:pt>
                <c:pt idx="572">
                  <c:v>All Others</c:v>
                </c:pt>
                <c:pt idx="573">
                  <c:v>All Others</c:v>
                </c:pt>
                <c:pt idx="574">
                  <c:v>All Others</c:v>
                </c:pt>
                <c:pt idx="575">
                  <c:v>All Others</c:v>
                </c:pt>
                <c:pt idx="576">
                  <c:v>All Others</c:v>
                </c:pt>
                <c:pt idx="577">
                  <c:v>Istara</c:v>
                </c:pt>
                <c:pt idx="578">
                  <c:v>All Others</c:v>
                </c:pt>
                <c:pt idx="579">
                  <c:v>Private Lab</c:v>
                </c:pt>
                <c:pt idx="580">
                  <c:v>All Others</c:v>
                </c:pt>
                <c:pt idx="581">
                  <c:v>All Others</c:v>
                </c:pt>
                <c:pt idx="582">
                  <c:v>All Others</c:v>
                </c:pt>
                <c:pt idx="583">
                  <c:v>Eurial Autr</c:v>
                </c:pt>
                <c:pt idx="584">
                  <c:v>All Others</c:v>
                </c:pt>
                <c:pt idx="585">
                  <c:v>All Others</c:v>
                </c:pt>
                <c:pt idx="586">
                  <c:v>All Others</c:v>
                </c:pt>
                <c:pt idx="587">
                  <c:v>All Others</c:v>
                </c:pt>
                <c:pt idx="588">
                  <c:v>All Others</c:v>
                </c:pt>
                <c:pt idx="589">
                  <c:v>All Others</c:v>
                </c:pt>
                <c:pt idx="590">
                  <c:v>All Others</c:v>
                </c:pt>
                <c:pt idx="591">
                  <c:v>All Others</c:v>
                </c:pt>
                <c:pt idx="592">
                  <c:v>All Others</c:v>
                </c:pt>
                <c:pt idx="593">
                  <c:v>All Others</c:v>
                </c:pt>
                <c:pt idx="594">
                  <c:v>All Others</c:v>
                </c:pt>
                <c:pt idx="595">
                  <c:v>All Others</c:v>
                </c:pt>
                <c:pt idx="596">
                  <c:v>All Others</c:v>
                </c:pt>
                <c:pt idx="597">
                  <c:v>All Others</c:v>
                </c:pt>
                <c:pt idx="598">
                  <c:v>All Others</c:v>
                </c:pt>
                <c:pt idx="599">
                  <c:v>All Others</c:v>
                </c:pt>
                <c:pt idx="600">
                  <c:v>All Others</c:v>
                </c:pt>
                <c:pt idx="601">
                  <c:v>All Others</c:v>
                </c:pt>
                <c:pt idx="602">
                  <c:v>All Others</c:v>
                </c:pt>
                <c:pt idx="603">
                  <c:v>All Others</c:v>
                </c:pt>
                <c:pt idx="604">
                  <c:v>All Others</c:v>
                </c:pt>
                <c:pt idx="605">
                  <c:v>All Others</c:v>
                </c:pt>
                <c:pt idx="606">
                  <c:v>All Others</c:v>
                </c:pt>
                <c:pt idx="607">
                  <c:v>All Others</c:v>
                </c:pt>
                <c:pt idx="608">
                  <c:v>All Others</c:v>
                </c:pt>
                <c:pt idx="609">
                  <c:v>All Others</c:v>
                </c:pt>
                <c:pt idx="610">
                  <c:v>All Others</c:v>
                </c:pt>
                <c:pt idx="611">
                  <c:v>All Others</c:v>
                </c:pt>
                <c:pt idx="612">
                  <c:v>All Others</c:v>
                </c:pt>
                <c:pt idx="613">
                  <c:v>All Others</c:v>
                </c:pt>
                <c:pt idx="614">
                  <c:v>Eurial Autr</c:v>
                </c:pt>
                <c:pt idx="615">
                  <c:v>Carre Frais</c:v>
                </c:pt>
                <c:pt idx="616">
                  <c:v>All Others</c:v>
                </c:pt>
                <c:pt idx="617">
                  <c:v>Private Lab</c:v>
                </c:pt>
                <c:pt idx="618">
                  <c:v>All Others</c:v>
                </c:pt>
                <c:pt idx="619">
                  <c:v>All Others</c:v>
                </c:pt>
                <c:pt idx="620">
                  <c:v>All Others</c:v>
                </c:pt>
                <c:pt idx="621">
                  <c:v>All Others</c:v>
                </c:pt>
                <c:pt idx="622">
                  <c:v>All Others</c:v>
                </c:pt>
                <c:pt idx="623">
                  <c:v>All Others</c:v>
                </c:pt>
                <c:pt idx="624">
                  <c:v>All Others</c:v>
                </c:pt>
                <c:pt idx="625">
                  <c:v>All Others</c:v>
                </c:pt>
                <c:pt idx="626">
                  <c:v>All Others</c:v>
                </c:pt>
                <c:pt idx="627">
                  <c:v>All Others</c:v>
                </c:pt>
                <c:pt idx="628">
                  <c:v>All Others</c:v>
                </c:pt>
                <c:pt idx="629">
                  <c:v>All Others</c:v>
                </c:pt>
                <c:pt idx="630">
                  <c:v>All Others</c:v>
                </c:pt>
                <c:pt idx="631">
                  <c:v>Lactalis: A</c:v>
                </c:pt>
                <c:pt idx="632">
                  <c:v>All Others</c:v>
                </c:pt>
                <c:pt idx="633">
                  <c:v>All Others</c:v>
                </c:pt>
                <c:pt idx="634">
                  <c:v>All Others</c:v>
                </c:pt>
                <c:pt idx="635">
                  <c:v>All Others</c:v>
                </c:pt>
                <c:pt idx="636">
                  <c:v>All Others</c:v>
                </c:pt>
                <c:pt idx="637">
                  <c:v>All Others</c:v>
                </c:pt>
                <c:pt idx="638">
                  <c:v>All Others</c:v>
                </c:pt>
                <c:pt idx="639">
                  <c:v>All Others</c:v>
                </c:pt>
                <c:pt idx="640">
                  <c:v>All Others</c:v>
                </c:pt>
                <c:pt idx="641">
                  <c:v>All Others</c:v>
                </c:pt>
                <c:pt idx="642">
                  <c:v>All Others</c:v>
                </c:pt>
                <c:pt idx="643">
                  <c:v>All Others</c:v>
                </c:pt>
                <c:pt idx="644">
                  <c:v>All Others</c:v>
                </c:pt>
                <c:pt idx="645">
                  <c:v>All Others</c:v>
                </c:pt>
                <c:pt idx="646">
                  <c:v>All Others</c:v>
                </c:pt>
                <c:pt idx="647">
                  <c:v>Mini Babybe</c:v>
                </c:pt>
                <c:pt idx="648">
                  <c:v>All Others</c:v>
                </c:pt>
                <c:pt idx="649">
                  <c:v>All Others</c:v>
                </c:pt>
                <c:pt idx="650">
                  <c:v>All Others</c:v>
                </c:pt>
                <c:pt idx="651">
                  <c:v>All Others</c:v>
                </c:pt>
                <c:pt idx="652">
                  <c:v>All Others</c:v>
                </c:pt>
                <c:pt idx="653">
                  <c:v>All Others</c:v>
                </c:pt>
                <c:pt idx="654">
                  <c:v>All Others</c:v>
                </c:pt>
                <c:pt idx="655">
                  <c:v>All Others</c:v>
                </c:pt>
                <c:pt idx="656">
                  <c:v>All Others</c:v>
                </c:pt>
                <c:pt idx="657">
                  <c:v>All Others</c:v>
                </c:pt>
                <c:pt idx="658">
                  <c:v>All Others</c:v>
                </c:pt>
                <c:pt idx="659">
                  <c:v>Triballat N</c:v>
                </c:pt>
                <c:pt idx="660">
                  <c:v>All Others</c:v>
                </c:pt>
                <c:pt idx="661">
                  <c:v>All Others</c:v>
                </c:pt>
                <c:pt idx="662">
                  <c:v>All Others</c:v>
                </c:pt>
                <c:pt idx="663">
                  <c:v>All Others</c:v>
                </c:pt>
                <c:pt idx="664">
                  <c:v>All Others</c:v>
                </c:pt>
                <c:pt idx="665">
                  <c:v>All Others</c:v>
                </c:pt>
                <c:pt idx="666">
                  <c:v>All Others</c:v>
                </c:pt>
                <c:pt idx="667">
                  <c:v>All Others</c:v>
                </c:pt>
                <c:pt idx="668">
                  <c:v>All Others</c:v>
                </c:pt>
                <c:pt idx="669">
                  <c:v>All Others</c:v>
                </c:pt>
                <c:pt idx="670">
                  <c:v>All Others</c:v>
                </c:pt>
                <c:pt idx="671">
                  <c:v>Private Lab</c:v>
                </c:pt>
                <c:pt idx="672">
                  <c:v>All Others</c:v>
                </c:pt>
                <c:pt idx="673">
                  <c:v>All Others</c:v>
                </c:pt>
                <c:pt idx="674">
                  <c:v>Triballat R</c:v>
                </c:pt>
                <c:pt idx="675">
                  <c:v>All Others</c:v>
                </c:pt>
                <c:pt idx="676">
                  <c:v>All Others</c:v>
                </c:pt>
                <c:pt idx="677">
                  <c:v>All Others</c:v>
                </c:pt>
                <c:pt idx="678">
                  <c:v>All Others</c:v>
                </c:pt>
                <c:pt idx="679">
                  <c:v>All Others</c:v>
                </c:pt>
                <c:pt idx="680">
                  <c:v>All Others</c:v>
                </c:pt>
                <c:pt idx="681">
                  <c:v>All Others</c:v>
                </c:pt>
                <c:pt idx="682">
                  <c:v>Private Lab</c:v>
                </c:pt>
                <c:pt idx="683">
                  <c:v>All Others</c:v>
                </c:pt>
                <c:pt idx="684">
                  <c:v>All Others</c:v>
                </c:pt>
                <c:pt idx="685">
                  <c:v>All Others</c:v>
                </c:pt>
                <c:pt idx="686">
                  <c:v>All Others</c:v>
                </c:pt>
                <c:pt idx="687">
                  <c:v>All Others</c:v>
                </c:pt>
                <c:pt idx="688">
                  <c:v>All Others</c:v>
                </c:pt>
                <c:pt idx="689">
                  <c:v>All Others</c:v>
                </c:pt>
                <c:pt idx="690">
                  <c:v>All Others</c:v>
                </c:pt>
                <c:pt idx="691">
                  <c:v>All Others</c:v>
                </c:pt>
                <c:pt idx="692">
                  <c:v>All Others</c:v>
                </c:pt>
                <c:pt idx="693">
                  <c:v>Etoile Du Q</c:v>
                </c:pt>
                <c:pt idx="694">
                  <c:v>All Others</c:v>
                </c:pt>
                <c:pt idx="695">
                  <c:v>All Others</c:v>
                </c:pt>
                <c:pt idx="696">
                  <c:v>All Others</c:v>
                </c:pt>
                <c:pt idx="697">
                  <c:v>Eurial Autr</c:v>
                </c:pt>
                <c:pt idx="698">
                  <c:v>All Others</c:v>
                </c:pt>
                <c:pt idx="699">
                  <c:v>All Others</c:v>
                </c:pt>
                <c:pt idx="700">
                  <c:v>All Others</c:v>
                </c:pt>
                <c:pt idx="701">
                  <c:v>All Others</c:v>
                </c:pt>
                <c:pt idx="702">
                  <c:v>All Others</c:v>
                </c:pt>
                <c:pt idx="703">
                  <c:v>Private Lab</c:v>
                </c:pt>
                <c:pt idx="704">
                  <c:v>Soignon</c:v>
                </c:pt>
                <c:pt idx="705">
                  <c:v>All Others</c:v>
                </c:pt>
                <c:pt idx="706">
                  <c:v>All Others</c:v>
                </c:pt>
                <c:pt idx="707">
                  <c:v>All Others</c:v>
                </c:pt>
                <c:pt idx="708">
                  <c:v>All Others</c:v>
                </c:pt>
                <c:pt idx="709">
                  <c:v>All Others</c:v>
                </c:pt>
                <c:pt idx="710">
                  <c:v>All Others</c:v>
                </c:pt>
                <c:pt idx="711">
                  <c:v>All Others</c:v>
                </c:pt>
                <c:pt idx="712">
                  <c:v>All Others</c:v>
                </c:pt>
                <c:pt idx="713">
                  <c:v>All Others</c:v>
                </c:pt>
                <c:pt idx="714">
                  <c:v>All Others</c:v>
                </c:pt>
                <c:pt idx="715">
                  <c:v>All Others</c:v>
                </c:pt>
                <c:pt idx="716">
                  <c:v>All Others</c:v>
                </c:pt>
                <c:pt idx="717">
                  <c:v>All Others</c:v>
                </c:pt>
                <c:pt idx="718">
                  <c:v>All Others</c:v>
                </c:pt>
                <c:pt idx="719">
                  <c:v>All Others</c:v>
                </c:pt>
                <c:pt idx="720">
                  <c:v>All Others</c:v>
                </c:pt>
                <c:pt idx="721">
                  <c:v>Lactalis: A</c:v>
                </c:pt>
                <c:pt idx="722">
                  <c:v>All Others</c:v>
                </c:pt>
                <c:pt idx="723">
                  <c:v>All Others</c:v>
                </c:pt>
                <c:pt idx="724">
                  <c:v>All Others</c:v>
                </c:pt>
                <c:pt idx="725">
                  <c:v>All Others</c:v>
                </c:pt>
                <c:pt idx="726">
                  <c:v>All Others</c:v>
                </c:pt>
                <c:pt idx="727">
                  <c:v>Private Lab</c:v>
                </c:pt>
                <c:pt idx="728">
                  <c:v>All Others</c:v>
                </c:pt>
                <c:pt idx="729">
                  <c:v>Private Lab</c:v>
                </c:pt>
                <c:pt idx="730">
                  <c:v>All Others</c:v>
                </c:pt>
                <c:pt idx="731">
                  <c:v>All Others</c:v>
                </c:pt>
                <c:pt idx="732">
                  <c:v>Private Lab</c:v>
                </c:pt>
                <c:pt idx="733">
                  <c:v>All Others</c:v>
                </c:pt>
                <c:pt idx="734">
                  <c:v>All Others</c:v>
                </c:pt>
                <c:pt idx="735">
                  <c:v>All Others</c:v>
                </c:pt>
                <c:pt idx="736">
                  <c:v>All Others</c:v>
                </c:pt>
                <c:pt idx="737">
                  <c:v>All Others</c:v>
                </c:pt>
                <c:pt idx="738">
                  <c:v>All Others</c:v>
                </c:pt>
                <c:pt idx="739">
                  <c:v>All Others</c:v>
                </c:pt>
                <c:pt idx="740">
                  <c:v>All Others</c:v>
                </c:pt>
                <c:pt idx="741">
                  <c:v>All Others</c:v>
                </c:pt>
                <c:pt idx="742">
                  <c:v>Private Lab</c:v>
                </c:pt>
                <c:pt idx="743">
                  <c:v>All Others</c:v>
                </c:pt>
                <c:pt idx="744">
                  <c:v>All Others</c:v>
                </c:pt>
                <c:pt idx="745">
                  <c:v>All Others</c:v>
                </c:pt>
                <c:pt idx="746">
                  <c:v>All Others</c:v>
                </c:pt>
                <c:pt idx="747">
                  <c:v>All Others</c:v>
                </c:pt>
                <c:pt idx="748">
                  <c:v>All Others</c:v>
                </c:pt>
                <c:pt idx="749">
                  <c:v>All Others</c:v>
                </c:pt>
                <c:pt idx="750">
                  <c:v>All Others</c:v>
                </c:pt>
                <c:pt idx="751">
                  <c:v>All Others</c:v>
                </c:pt>
                <c:pt idx="752">
                  <c:v>All Others</c:v>
                </c:pt>
                <c:pt idx="753">
                  <c:v>All Others</c:v>
                </c:pt>
                <c:pt idx="754">
                  <c:v>All Others</c:v>
                </c:pt>
                <c:pt idx="755">
                  <c:v>All Others</c:v>
                </c:pt>
                <c:pt idx="756">
                  <c:v>All Others</c:v>
                </c:pt>
                <c:pt idx="757">
                  <c:v>All Others</c:v>
                </c:pt>
                <c:pt idx="758">
                  <c:v>Lactalis: A</c:v>
                </c:pt>
                <c:pt idx="759">
                  <c:v>All Others</c:v>
                </c:pt>
                <c:pt idx="760">
                  <c:v>All Others</c:v>
                </c:pt>
                <c:pt idx="761">
                  <c:v>All Others</c:v>
                </c:pt>
                <c:pt idx="762">
                  <c:v>All Others</c:v>
                </c:pt>
                <c:pt idx="763">
                  <c:v>All Others</c:v>
                </c:pt>
                <c:pt idx="764">
                  <c:v>Boursin</c:v>
                </c:pt>
                <c:pt idx="765">
                  <c:v>All Others</c:v>
                </c:pt>
                <c:pt idx="766">
                  <c:v>All Others</c:v>
                </c:pt>
                <c:pt idx="767">
                  <c:v>All Others</c:v>
                </c:pt>
                <c:pt idx="768">
                  <c:v>All Others</c:v>
                </c:pt>
                <c:pt idx="769">
                  <c:v>Private Lab</c:v>
                </c:pt>
                <c:pt idx="770">
                  <c:v>All Others</c:v>
                </c:pt>
                <c:pt idx="771">
                  <c:v>Lactalis: A</c:v>
                </c:pt>
                <c:pt idx="772">
                  <c:v>Private Lab</c:v>
                </c:pt>
                <c:pt idx="773">
                  <c:v>All Others</c:v>
                </c:pt>
                <c:pt idx="774">
                  <c:v>All Others</c:v>
                </c:pt>
                <c:pt idx="775">
                  <c:v>All Others</c:v>
                </c:pt>
                <c:pt idx="776">
                  <c:v>All Others</c:v>
                </c:pt>
                <c:pt idx="777">
                  <c:v>All Others</c:v>
                </c:pt>
                <c:pt idx="778">
                  <c:v>All Others</c:v>
                </c:pt>
                <c:pt idx="779">
                  <c:v>All Others</c:v>
                </c:pt>
                <c:pt idx="780">
                  <c:v>All Others</c:v>
                </c:pt>
                <c:pt idx="781">
                  <c:v>All Others</c:v>
                </c:pt>
                <c:pt idx="782">
                  <c:v>All Others</c:v>
                </c:pt>
                <c:pt idx="783">
                  <c:v>All Others</c:v>
                </c:pt>
                <c:pt idx="784">
                  <c:v>All Others</c:v>
                </c:pt>
                <c:pt idx="785">
                  <c:v>All Others</c:v>
                </c:pt>
                <c:pt idx="786">
                  <c:v>All Others</c:v>
                </c:pt>
                <c:pt idx="787">
                  <c:v>All Others</c:v>
                </c:pt>
                <c:pt idx="788">
                  <c:v>All Others</c:v>
                </c:pt>
                <c:pt idx="789">
                  <c:v>Lactalis: A</c:v>
                </c:pt>
                <c:pt idx="790">
                  <c:v>All Others</c:v>
                </c:pt>
                <c:pt idx="791">
                  <c:v>All Others</c:v>
                </c:pt>
                <c:pt idx="792">
                  <c:v>All Others</c:v>
                </c:pt>
                <c:pt idx="793">
                  <c:v>All Others</c:v>
                </c:pt>
                <c:pt idx="794">
                  <c:v>All Others</c:v>
                </c:pt>
                <c:pt idx="795">
                  <c:v>All Others</c:v>
                </c:pt>
                <c:pt idx="796">
                  <c:v>All Others</c:v>
                </c:pt>
                <c:pt idx="797">
                  <c:v>All Others</c:v>
                </c:pt>
                <c:pt idx="798">
                  <c:v>All Others</c:v>
                </c:pt>
                <c:pt idx="799">
                  <c:v>All Others</c:v>
                </c:pt>
                <c:pt idx="800">
                  <c:v>All Others</c:v>
                </c:pt>
                <c:pt idx="801">
                  <c:v>All Others</c:v>
                </c:pt>
                <c:pt idx="802">
                  <c:v>All Others</c:v>
                </c:pt>
                <c:pt idx="803">
                  <c:v>All Others</c:v>
                </c:pt>
                <c:pt idx="804">
                  <c:v>All Others</c:v>
                </c:pt>
                <c:pt idx="805">
                  <c:v>All Others</c:v>
                </c:pt>
                <c:pt idx="806">
                  <c:v>All Others</c:v>
                </c:pt>
                <c:pt idx="807">
                  <c:v>All Others</c:v>
                </c:pt>
                <c:pt idx="808">
                  <c:v>All Others</c:v>
                </c:pt>
                <c:pt idx="809">
                  <c:v>All Others</c:v>
                </c:pt>
                <c:pt idx="810">
                  <c:v>All Others</c:v>
                </c:pt>
                <c:pt idx="811">
                  <c:v>All Others</c:v>
                </c:pt>
                <c:pt idx="812">
                  <c:v>Kiri</c:v>
                </c:pt>
                <c:pt idx="813">
                  <c:v>All Others</c:v>
                </c:pt>
                <c:pt idx="814">
                  <c:v>All Others</c:v>
                </c:pt>
                <c:pt idx="815">
                  <c:v>All Others</c:v>
                </c:pt>
                <c:pt idx="816">
                  <c:v>All Others</c:v>
                </c:pt>
                <c:pt idx="817">
                  <c:v>All Others</c:v>
                </c:pt>
                <c:pt idx="818">
                  <c:v>All Others</c:v>
                </c:pt>
                <c:pt idx="819">
                  <c:v>All Others</c:v>
                </c:pt>
                <c:pt idx="820">
                  <c:v>All Others</c:v>
                </c:pt>
                <c:pt idx="821">
                  <c:v>All Others</c:v>
                </c:pt>
                <c:pt idx="822">
                  <c:v>All Others</c:v>
                </c:pt>
                <c:pt idx="823">
                  <c:v>All Others</c:v>
                </c:pt>
                <c:pt idx="824">
                  <c:v>All Others</c:v>
                </c:pt>
                <c:pt idx="825">
                  <c:v>All Others</c:v>
                </c:pt>
                <c:pt idx="826">
                  <c:v>All Others</c:v>
                </c:pt>
                <c:pt idx="827">
                  <c:v>All Others</c:v>
                </c:pt>
                <c:pt idx="828">
                  <c:v>All Others</c:v>
                </c:pt>
                <c:pt idx="829">
                  <c:v>Lactalis: A</c:v>
                </c:pt>
                <c:pt idx="830">
                  <c:v>All Others</c:v>
                </c:pt>
                <c:pt idx="831">
                  <c:v>All Others</c:v>
                </c:pt>
                <c:pt idx="832">
                  <c:v>Soignon</c:v>
                </c:pt>
                <c:pt idx="833">
                  <c:v>All Others</c:v>
                </c:pt>
                <c:pt idx="834">
                  <c:v>Private Lab</c:v>
                </c:pt>
                <c:pt idx="835">
                  <c:v>Eurial Autr</c:v>
                </c:pt>
                <c:pt idx="836">
                  <c:v>All Others</c:v>
                </c:pt>
                <c:pt idx="837">
                  <c:v>Private Lab</c:v>
                </c:pt>
                <c:pt idx="838">
                  <c:v>All Others</c:v>
                </c:pt>
                <c:pt idx="839">
                  <c:v>All Others</c:v>
                </c:pt>
                <c:pt idx="840">
                  <c:v>All Others</c:v>
                </c:pt>
                <c:pt idx="841">
                  <c:v>All Others</c:v>
                </c:pt>
                <c:pt idx="842">
                  <c:v>Lactalis: A</c:v>
                </c:pt>
                <c:pt idx="843">
                  <c:v>All Others</c:v>
                </c:pt>
                <c:pt idx="844">
                  <c:v>All Others</c:v>
                </c:pt>
                <c:pt idx="845">
                  <c:v>All Others</c:v>
                </c:pt>
                <c:pt idx="846">
                  <c:v>All Others</c:v>
                </c:pt>
                <c:pt idx="847">
                  <c:v>All Others</c:v>
                </c:pt>
                <c:pt idx="848">
                  <c:v>All Others</c:v>
                </c:pt>
                <c:pt idx="849">
                  <c:v>All Others</c:v>
                </c:pt>
                <c:pt idx="850">
                  <c:v>All Others</c:v>
                </c:pt>
                <c:pt idx="851">
                  <c:v>All Others</c:v>
                </c:pt>
                <c:pt idx="852">
                  <c:v>All Others</c:v>
                </c:pt>
                <c:pt idx="853">
                  <c:v>All Others</c:v>
                </c:pt>
                <c:pt idx="854">
                  <c:v>All Others</c:v>
                </c:pt>
                <c:pt idx="855">
                  <c:v>All Others</c:v>
                </c:pt>
                <c:pt idx="856">
                  <c:v>All Others</c:v>
                </c:pt>
                <c:pt idx="857">
                  <c:v>All Others</c:v>
                </c:pt>
                <c:pt idx="858">
                  <c:v>All Others</c:v>
                </c:pt>
                <c:pt idx="859">
                  <c:v>All Others</c:v>
                </c:pt>
                <c:pt idx="860">
                  <c:v>All Others</c:v>
                </c:pt>
                <c:pt idx="861">
                  <c:v>All Others</c:v>
                </c:pt>
                <c:pt idx="862">
                  <c:v>Eurial Autr</c:v>
                </c:pt>
                <c:pt idx="863">
                  <c:v>All Others</c:v>
                </c:pt>
                <c:pt idx="864">
                  <c:v>All Others</c:v>
                </c:pt>
                <c:pt idx="865">
                  <c:v>All Others</c:v>
                </c:pt>
                <c:pt idx="866">
                  <c:v>All Others</c:v>
                </c:pt>
                <c:pt idx="867">
                  <c:v>All Others</c:v>
                </c:pt>
                <c:pt idx="868">
                  <c:v>All Others</c:v>
                </c:pt>
                <c:pt idx="869">
                  <c:v>All Others</c:v>
                </c:pt>
                <c:pt idx="870">
                  <c:v>Soignon</c:v>
                </c:pt>
                <c:pt idx="871">
                  <c:v>All Others</c:v>
                </c:pt>
                <c:pt idx="872">
                  <c:v>Private Lab</c:v>
                </c:pt>
                <c:pt idx="873">
                  <c:v>All Others</c:v>
                </c:pt>
                <c:pt idx="874">
                  <c:v>All Others</c:v>
                </c:pt>
                <c:pt idx="875">
                  <c:v>All Others</c:v>
                </c:pt>
                <c:pt idx="876">
                  <c:v>All Others</c:v>
                </c:pt>
                <c:pt idx="877">
                  <c:v>All Others</c:v>
                </c:pt>
                <c:pt idx="878">
                  <c:v>All Others</c:v>
                </c:pt>
                <c:pt idx="879">
                  <c:v>Galbani</c:v>
                </c:pt>
                <c:pt idx="880">
                  <c:v>All Others</c:v>
                </c:pt>
                <c:pt idx="881">
                  <c:v>All Others</c:v>
                </c:pt>
                <c:pt idx="882">
                  <c:v>All Others</c:v>
                </c:pt>
                <c:pt idx="883">
                  <c:v>Eurial Autr</c:v>
                </c:pt>
                <c:pt idx="884">
                  <c:v>Private Lab</c:v>
                </c:pt>
                <c:pt idx="885">
                  <c:v>All Others</c:v>
                </c:pt>
                <c:pt idx="886">
                  <c:v>All Others</c:v>
                </c:pt>
                <c:pt idx="887">
                  <c:v>All Others</c:v>
                </c:pt>
                <c:pt idx="888">
                  <c:v>All Others</c:v>
                </c:pt>
                <c:pt idx="889">
                  <c:v>All Others</c:v>
                </c:pt>
                <c:pt idx="890">
                  <c:v>All Others</c:v>
                </c:pt>
                <c:pt idx="891">
                  <c:v>All Others</c:v>
                </c:pt>
                <c:pt idx="892">
                  <c:v>All Others</c:v>
                </c:pt>
                <c:pt idx="893">
                  <c:v>All Others</c:v>
                </c:pt>
                <c:pt idx="894">
                  <c:v>All Others</c:v>
                </c:pt>
                <c:pt idx="895">
                  <c:v>All Others</c:v>
                </c:pt>
                <c:pt idx="896">
                  <c:v>All Others</c:v>
                </c:pt>
                <c:pt idx="897">
                  <c:v>All Others</c:v>
                </c:pt>
                <c:pt idx="898">
                  <c:v>All Others</c:v>
                </c:pt>
                <c:pt idx="899">
                  <c:v>Triballat R</c:v>
                </c:pt>
                <c:pt idx="900">
                  <c:v>Private Lab</c:v>
                </c:pt>
                <c:pt idx="901">
                  <c:v>All Others</c:v>
                </c:pt>
                <c:pt idx="902">
                  <c:v>All Others</c:v>
                </c:pt>
                <c:pt idx="903">
                  <c:v>All Others</c:v>
                </c:pt>
                <c:pt idx="904">
                  <c:v>All Others</c:v>
                </c:pt>
                <c:pt idx="905">
                  <c:v>All Others</c:v>
                </c:pt>
                <c:pt idx="906">
                  <c:v>All Others</c:v>
                </c:pt>
                <c:pt idx="907">
                  <c:v>All Others</c:v>
                </c:pt>
                <c:pt idx="908">
                  <c:v>Islos</c:v>
                </c:pt>
                <c:pt idx="909">
                  <c:v>All Others</c:v>
                </c:pt>
                <c:pt idx="910">
                  <c:v>President</c:v>
                </c:pt>
                <c:pt idx="911">
                  <c:v>All Others</c:v>
                </c:pt>
                <c:pt idx="912">
                  <c:v>All Others</c:v>
                </c:pt>
                <c:pt idx="913">
                  <c:v>All Others</c:v>
                </c:pt>
                <c:pt idx="914">
                  <c:v>All Others</c:v>
                </c:pt>
                <c:pt idx="915">
                  <c:v>All Others</c:v>
                </c:pt>
                <c:pt idx="916">
                  <c:v>All Others</c:v>
                </c:pt>
                <c:pt idx="917">
                  <c:v>All Others</c:v>
                </c:pt>
                <c:pt idx="918">
                  <c:v>All Others</c:v>
                </c:pt>
                <c:pt idx="919">
                  <c:v>All Others</c:v>
                </c:pt>
                <c:pt idx="920">
                  <c:v>All Others</c:v>
                </c:pt>
                <c:pt idx="921">
                  <c:v>All Others</c:v>
                </c:pt>
                <c:pt idx="922">
                  <c:v>All Others</c:v>
                </c:pt>
                <c:pt idx="923">
                  <c:v>All Others</c:v>
                </c:pt>
                <c:pt idx="924">
                  <c:v>All Others</c:v>
                </c:pt>
                <c:pt idx="925">
                  <c:v>All Others</c:v>
                </c:pt>
                <c:pt idx="926">
                  <c:v>All Others</c:v>
                </c:pt>
                <c:pt idx="927">
                  <c:v>All Others</c:v>
                </c:pt>
                <c:pt idx="928">
                  <c:v>All Others</c:v>
                </c:pt>
                <c:pt idx="929">
                  <c:v>Boursin</c:v>
                </c:pt>
                <c:pt idx="930">
                  <c:v>All Others</c:v>
                </c:pt>
                <c:pt idx="931">
                  <c:v>All Others</c:v>
                </c:pt>
                <c:pt idx="932">
                  <c:v>All Others</c:v>
                </c:pt>
                <c:pt idx="933">
                  <c:v>All Others</c:v>
                </c:pt>
                <c:pt idx="934">
                  <c:v>All Others</c:v>
                </c:pt>
                <c:pt idx="935">
                  <c:v>All Others</c:v>
                </c:pt>
                <c:pt idx="936">
                  <c:v>Caprice Des</c:v>
                </c:pt>
                <c:pt idx="937">
                  <c:v>Private Lab</c:v>
                </c:pt>
                <c:pt idx="938">
                  <c:v>All Others</c:v>
                </c:pt>
                <c:pt idx="939">
                  <c:v>Private Lab</c:v>
                </c:pt>
                <c:pt idx="940">
                  <c:v>All Others</c:v>
                </c:pt>
                <c:pt idx="941">
                  <c:v>All Others</c:v>
                </c:pt>
                <c:pt idx="942">
                  <c:v>All Others</c:v>
                </c:pt>
                <c:pt idx="943">
                  <c:v>Private Lab</c:v>
                </c:pt>
                <c:pt idx="944">
                  <c:v>Savencia: A</c:v>
                </c:pt>
              </c:strCache>
            </c:strRef>
          </c:cat>
          <c:val>
            <c:numRef>
              <c:f>Sheet1!$C$2:$C$946</c:f>
              <c:numCache>
                <c:formatCode>General</c:formatCode>
                <c:ptCount val="945"/>
                <c:pt idx="0">
                  <c:v>6.3793122935983687E-2</c:v>
                </c:pt>
                <c:pt idx="1">
                  <c:v>8.0786183990624871E-2</c:v>
                </c:pt>
                <c:pt idx="2">
                  <c:v>9.6546789606636874E-2</c:v>
                </c:pt>
                <c:pt idx="3">
                  <c:v>0.110408377352161</c:v>
                </c:pt>
                <c:pt idx="4">
                  <c:v>0.12344007315294901</c:v>
                </c:pt>
                <c:pt idx="5">
                  <c:v>0.13600436831142063</c:v>
                </c:pt>
                <c:pt idx="6">
                  <c:v>0.16048343794163214</c:v>
                </c:pt>
                <c:pt idx="7">
                  <c:v>0.17205382997268515</c:v>
                </c:pt>
                <c:pt idx="8">
                  <c:v>0.18307557417235054</c:v>
                </c:pt>
                <c:pt idx="9">
                  <c:v>0.19310646312948493</c:v>
                </c:pt>
                <c:pt idx="10">
                  <c:v>0.21247844473529265</c:v>
                </c:pt>
                <c:pt idx="11">
                  <c:v>0.22192277288544077</c:v>
                </c:pt>
                <c:pt idx="12">
                  <c:v>0.23122070263033076</c:v>
                </c:pt>
                <c:pt idx="13">
                  <c:v>0.24015376415086293</c:v>
                </c:pt>
                <c:pt idx="14">
                  <c:v>0.24860480303331217</c:v>
                </c:pt>
                <c:pt idx="15">
                  <c:v>0.25679646477045331</c:v>
                </c:pt>
                <c:pt idx="16">
                  <c:v>0.26464131361069154</c:v>
                </c:pt>
                <c:pt idx="17">
                  <c:v>0.27243885599403811</c:v>
                </c:pt>
                <c:pt idx="18">
                  <c:v>0.2800905602975684</c:v>
                </c:pt>
                <c:pt idx="19">
                  <c:v>0.29511202527671615</c:v>
                </c:pt>
                <c:pt idx="20">
                  <c:v>0.30249422731851422</c:v>
                </c:pt>
                <c:pt idx="21">
                  <c:v>0.30970938456854957</c:v>
                </c:pt>
                <c:pt idx="22">
                  <c:v>0.31658575192546118</c:v>
                </c:pt>
                <c:pt idx="23">
                  <c:v>0.3234519049421522</c:v>
                </c:pt>
                <c:pt idx="24">
                  <c:v>0.33026514467858098</c:v>
                </c:pt>
                <c:pt idx="25">
                  <c:v>0.33700784765046754</c:v>
                </c:pt>
                <c:pt idx="26">
                  <c:v>0.35023175649152827</c:v>
                </c:pt>
                <c:pt idx="27">
                  <c:v>0.35675177114321771</c:v>
                </c:pt>
                <c:pt idx="28">
                  <c:v>0.36323934759146026</c:v>
                </c:pt>
                <c:pt idx="29">
                  <c:v>0.36960894876705014</c:v>
                </c:pt>
                <c:pt idx="30">
                  <c:v>0.38162171951893575</c:v>
                </c:pt>
                <c:pt idx="31">
                  <c:v>0.38742449619131991</c:v>
                </c:pt>
                <c:pt idx="32">
                  <c:v>0.39314120402067132</c:v>
                </c:pt>
                <c:pt idx="33">
                  <c:v>0.39880922063980973</c:v>
                </c:pt>
                <c:pt idx="34">
                  <c:v>0.41538495344671694</c:v>
                </c:pt>
                <c:pt idx="35">
                  <c:v>0.42624990645331068</c:v>
                </c:pt>
                <c:pt idx="36">
                  <c:v>0.43164814243247185</c:v>
                </c:pt>
                <c:pt idx="37">
                  <c:v>0.45238661503292715</c:v>
                </c:pt>
                <c:pt idx="38">
                  <c:v>0.4624253021498736</c:v>
                </c:pt>
                <c:pt idx="39">
                  <c:v>0.46733213985441813</c:v>
                </c:pt>
                <c:pt idx="40">
                  <c:v>0.47692429399056802</c:v>
                </c:pt>
                <c:pt idx="41">
                  <c:v>0.48160801510069234</c:v>
                </c:pt>
                <c:pt idx="42">
                  <c:v>0.486024878542412</c:v>
                </c:pt>
                <c:pt idx="43">
                  <c:v>0.49030515462753405</c:v>
                </c:pt>
                <c:pt idx="44">
                  <c:v>0.4945591810717328</c:v>
                </c:pt>
                <c:pt idx="45">
                  <c:v>0.49879630852887896</c:v>
                </c:pt>
                <c:pt idx="46">
                  <c:v>0.50301397806048964</c:v>
                </c:pt>
                <c:pt idx="47">
                  <c:v>0.50722041966955178</c:v>
                </c:pt>
                <c:pt idx="48">
                  <c:v>0.51140247106160919</c:v>
                </c:pt>
                <c:pt idx="49">
                  <c:v>0.51544980522784312</c:v>
                </c:pt>
                <c:pt idx="50">
                  <c:v>0.5194670745436164</c:v>
                </c:pt>
                <c:pt idx="51">
                  <c:v>0.52347477906840745</c:v>
                </c:pt>
                <c:pt idx="52">
                  <c:v>0.52747880043487994</c:v>
                </c:pt>
                <c:pt idx="53">
                  <c:v>0.53146973802383712</c:v>
                </c:pt>
                <c:pt idx="54">
                  <c:v>0.53935965558815135</c:v>
                </c:pt>
                <c:pt idx="55">
                  <c:v>0.55109858780179599</c:v>
                </c:pt>
                <c:pt idx="56">
                  <c:v>0.55497143948059291</c:v>
                </c:pt>
                <c:pt idx="57">
                  <c:v>0.55884063655268623</c:v>
                </c:pt>
                <c:pt idx="58">
                  <c:v>0.56270019745476008</c:v>
                </c:pt>
                <c:pt idx="59">
                  <c:v>0.56654851972742981</c:v>
                </c:pt>
                <c:pt idx="60">
                  <c:v>0.57403412501144002</c:v>
                </c:pt>
                <c:pt idx="61">
                  <c:v>0.57769236490809683</c:v>
                </c:pt>
                <c:pt idx="62">
                  <c:v>0.58133736042440476</c:v>
                </c:pt>
                <c:pt idx="63">
                  <c:v>0.58497656353184546</c:v>
                </c:pt>
                <c:pt idx="64">
                  <c:v>0.58854740336642608</c:v>
                </c:pt>
                <c:pt idx="65">
                  <c:v>0.59211252574012851</c:v>
                </c:pt>
                <c:pt idx="66">
                  <c:v>0.59906537573537955</c:v>
                </c:pt>
                <c:pt idx="67">
                  <c:v>0.6024802380979124</c:v>
                </c:pt>
                <c:pt idx="68">
                  <c:v>0.60588122794456911</c:v>
                </c:pt>
                <c:pt idx="69">
                  <c:v>0.60927847752967756</c:v>
                </c:pt>
                <c:pt idx="70">
                  <c:v>0.61264213970884052</c:v>
                </c:pt>
                <c:pt idx="71">
                  <c:v>0.61596473039000954</c:v>
                </c:pt>
                <c:pt idx="72">
                  <c:v>0.61925284856517204</c:v>
                </c:pt>
                <c:pt idx="73">
                  <c:v>0.62253031341903531</c:v>
                </c:pt>
                <c:pt idx="74">
                  <c:v>0.62577193528937813</c:v>
                </c:pt>
                <c:pt idx="75">
                  <c:v>0.63528555463986969</c:v>
                </c:pt>
                <c:pt idx="76">
                  <c:v>0.63837240891284497</c:v>
                </c:pt>
                <c:pt idx="77">
                  <c:v>0.64445770738334318</c:v>
                </c:pt>
                <c:pt idx="78">
                  <c:v>0.64742706462321487</c:v>
                </c:pt>
                <c:pt idx="79">
                  <c:v>0.65037671411092091</c:v>
                </c:pt>
                <c:pt idx="80">
                  <c:v>0.65328815440002397</c:v>
                </c:pt>
                <c:pt idx="81">
                  <c:v>0.65617091459198773</c:v>
                </c:pt>
                <c:pt idx="82">
                  <c:v>0.65903980583702726</c:v>
                </c:pt>
                <c:pt idx="83">
                  <c:v>0.66189032411789639</c:v>
                </c:pt>
                <c:pt idx="84">
                  <c:v>0.66473115983237197</c:v>
                </c:pt>
                <c:pt idx="85">
                  <c:v>0.67026657204518747</c:v>
                </c:pt>
                <c:pt idx="86">
                  <c:v>0.67298166287881322</c:v>
                </c:pt>
                <c:pt idx="87">
                  <c:v>0.67568971930832478</c:v>
                </c:pt>
                <c:pt idx="88">
                  <c:v>0.67838076968222794</c:v>
                </c:pt>
                <c:pt idx="89">
                  <c:v>0.68106150221630668</c:v>
                </c:pt>
                <c:pt idx="90">
                  <c:v>0.6837391154864606</c:v>
                </c:pt>
                <c:pt idx="91">
                  <c:v>0.68641026895374957</c:v>
                </c:pt>
                <c:pt idx="92">
                  <c:v>0.68905992305503971</c:v>
                </c:pt>
                <c:pt idx="93">
                  <c:v>0.69433422004299183</c:v>
                </c:pt>
                <c:pt idx="94">
                  <c:v>0.69696255322587597</c:v>
                </c:pt>
                <c:pt idx="95">
                  <c:v>0.69958893062314143</c:v>
                </c:pt>
                <c:pt idx="96">
                  <c:v>0.70218955089484014</c:v>
                </c:pt>
                <c:pt idx="97">
                  <c:v>0.70478359001931068</c:v>
                </c:pt>
                <c:pt idx="98">
                  <c:v>0.70737273967973435</c:v>
                </c:pt>
                <c:pt idx="99">
                  <c:v>0.7125139647286699</c:v>
                </c:pt>
                <c:pt idx="100">
                  <c:v>0.7150282663307056</c:v>
                </c:pt>
                <c:pt idx="101">
                  <c:v>0.71753129718277042</c:v>
                </c:pt>
                <c:pt idx="102">
                  <c:v>0.72002356764498032</c:v>
                </c:pt>
                <c:pt idx="103">
                  <c:v>0.72250059511380016</c:v>
                </c:pt>
                <c:pt idx="104">
                  <c:v>0.72497025626598299</c:v>
                </c:pt>
                <c:pt idx="105">
                  <c:v>0.72743759403050556</c:v>
                </c:pt>
                <c:pt idx="106">
                  <c:v>0.72986100156659506</c:v>
                </c:pt>
                <c:pt idx="107">
                  <c:v>0.73228300293565218</c:v>
                </c:pt>
                <c:pt idx="108">
                  <c:v>0.73469985073822475</c:v>
                </c:pt>
                <c:pt idx="109">
                  <c:v>0.73943306250377849</c:v>
                </c:pt>
                <c:pt idx="110">
                  <c:v>0.74396973565940638</c:v>
                </c:pt>
                <c:pt idx="111">
                  <c:v>0.74621974923837597</c:v>
                </c:pt>
                <c:pt idx="112">
                  <c:v>0.74845697883178641</c:v>
                </c:pt>
                <c:pt idx="113">
                  <c:v>0.75066811224920349</c:v>
                </c:pt>
                <c:pt idx="114">
                  <c:v>0.75284934498794553</c:v>
                </c:pt>
                <c:pt idx="115">
                  <c:v>0.75501242246858058</c:v>
                </c:pt>
                <c:pt idx="116">
                  <c:v>0.75713545987830899</c:v>
                </c:pt>
                <c:pt idx="117">
                  <c:v>0.7592028216390363</c:v>
                </c:pt>
                <c:pt idx="118">
                  <c:v>0.76125307741350312</c:v>
                </c:pt>
                <c:pt idx="119">
                  <c:v>0.76328892176036311</c:v>
                </c:pt>
                <c:pt idx="120">
                  <c:v>0.76529620021654332</c:v>
                </c:pt>
                <c:pt idx="121">
                  <c:v>0.7672880857833555</c:v>
                </c:pt>
                <c:pt idx="122">
                  <c:v>0.76924024891597642</c:v>
                </c:pt>
                <c:pt idx="123">
                  <c:v>0.77118678024256382</c:v>
                </c:pt>
                <c:pt idx="124">
                  <c:v>0.7731268696110456</c:v>
                </c:pt>
                <c:pt idx="125">
                  <c:v>0.77504712988299851</c:v>
                </c:pt>
                <c:pt idx="126">
                  <c:v>0.77691287084635263</c:v>
                </c:pt>
                <c:pt idx="127">
                  <c:v>0.77877818710443547</c:v>
                </c:pt>
                <c:pt idx="128">
                  <c:v>0.78060475168323284</c:v>
                </c:pt>
                <c:pt idx="129">
                  <c:v>0.78243078805715505</c:v>
                </c:pt>
                <c:pt idx="130">
                  <c:v>0.78424533954399489</c:v>
                </c:pt>
                <c:pt idx="131">
                  <c:v>0.78604914848573892</c:v>
                </c:pt>
                <c:pt idx="132">
                  <c:v>0.78784391727242398</c:v>
                </c:pt>
                <c:pt idx="133">
                  <c:v>0.78963499576288687</c:v>
                </c:pt>
                <c:pt idx="134">
                  <c:v>0.79138838969067005</c:v>
                </c:pt>
                <c:pt idx="135">
                  <c:v>0.79313543445309598</c:v>
                </c:pt>
                <c:pt idx="136">
                  <c:v>0.79660515874360605</c:v>
                </c:pt>
                <c:pt idx="137">
                  <c:v>0.79831239184804426</c:v>
                </c:pt>
                <c:pt idx="138">
                  <c:v>0.80001772627009349</c:v>
                </c:pt>
                <c:pt idx="139">
                  <c:v>0.80171777150548762</c:v>
                </c:pt>
                <c:pt idx="140">
                  <c:v>0.80341312000023524</c:v>
                </c:pt>
                <c:pt idx="141">
                  <c:v>0.80508508472240237</c:v>
                </c:pt>
                <c:pt idx="142">
                  <c:v>0.80674861958027844</c:v>
                </c:pt>
                <c:pt idx="143">
                  <c:v>0.81006425437427421</c:v>
                </c:pt>
                <c:pt idx="144">
                  <c:v>0.81169032594448587</c:v>
                </c:pt>
                <c:pt idx="145">
                  <c:v>0.81331164367082132</c:v>
                </c:pt>
                <c:pt idx="146">
                  <c:v>0.81491110870492378</c:v>
                </c:pt>
                <c:pt idx="147">
                  <c:v>0.81806695438628629</c:v>
                </c:pt>
                <c:pt idx="148">
                  <c:v>0.81963918474875241</c:v>
                </c:pt>
                <c:pt idx="149">
                  <c:v>0.8212022964392186</c:v>
                </c:pt>
                <c:pt idx="150">
                  <c:v>0.82275577195966543</c:v>
                </c:pt>
                <c:pt idx="151">
                  <c:v>0.82724019566007689</c:v>
                </c:pt>
                <c:pt idx="152">
                  <c:v>0.82869839801064638</c:v>
                </c:pt>
                <c:pt idx="153">
                  <c:v>0.83014636103833228</c:v>
                </c:pt>
                <c:pt idx="154">
                  <c:v>0.83159372805105769</c:v>
                </c:pt>
                <c:pt idx="155">
                  <c:v>0.83303805074784731</c:v>
                </c:pt>
                <c:pt idx="156">
                  <c:v>0.83590194189133227</c:v>
                </c:pt>
                <c:pt idx="157">
                  <c:v>0.83730291252989009</c:v>
                </c:pt>
                <c:pt idx="158">
                  <c:v>0.83869602790540621</c:v>
                </c:pt>
                <c:pt idx="159">
                  <c:v>0.84008054210694194</c:v>
                </c:pt>
                <c:pt idx="160">
                  <c:v>0.84146225468126834</c:v>
                </c:pt>
                <c:pt idx="161">
                  <c:v>0.84284179376391255</c:v>
                </c:pt>
                <c:pt idx="162">
                  <c:v>0.84416838744572786</c:v>
                </c:pt>
                <c:pt idx="163">
                  <c:v>0.84548150833427527</c:v>
                </c:pt>
                <c:pt idx="164">
                  <c:v>0.846785706843175</c:v>
                </c:pt>
                <c:pt idx="165">
                  <c:v>0.84806739240374784</c:v>
                </c:pt>
                <c:pt idx="166">
                  <c:v>0.84934779671060334</c:v>
                </c:pt>
                <c:pt idx="167">
                  <c:v>0.85187744123668108</c:v>
                </c:pt>
                <c:pt idx="168">
                  <c:v>0.85313050737229623</c:v>
                </c:pt>
                <c:pt idx="169">
                  <c:v>0.85438356280105587</c:v>
                </c:pt>
                <c:pt idx="170">
                  <c:v>0.85563171092100931</c:v>
                </c:pt>
                <c:pt idx="171">
                  <c:v>0.8568721965013214</c:v>
                </c:pt>
                <c:pt idx="172">
                  <c:v>0.85811011957419869</c:v>
                </c:pt>
                <c:pt idx="173">
                  <c:v>0.85934602262032378</c:v>
                </c:pt>
                <c:pt idx="174">
                  <c:v>0.86056507307577035</c:v>
                </c:pt>
                <c:pt idx="175">
                  <c:v>0.8617563606547054</c:v>
                </c:pt>
                <c:pt idx="176">
                  <c:v>0.86412263640943532</c:v>
                </c:pt>
                <c:pt idx="177">
                  <c:v>0.86529510847416946</c:v>
                </c:pt>
                <c:pt idx="178">
                  <c:v>0.8664597252758619</c:v>
                </c:pt>
                <c:pt idx="179">
                  <c:v>0.86761089069799757</c:v>
                </c:pt>
                <c:pt idx="180">
                  <c:v>0.86876069991842686</c:v>
                </c:pt>
                <c:pt idx="181">
                  <c:v>0.8699027966338887</c:v>
                </c:pt>
                <c:pt idx="182">
                  <c:v>0.8710369096040419</c:v>
                </c:pt>
                <c:pt idx="183">
                  <c:v>0.87216727517474302</c:v>
                </c:pt>
                <c:pt idx="184">
                  <c:v>0.87329193042246966</c:v>
                </c:pt>
                <c:pt idx="185">
                  <c:v>0.87441482974588169</c:v>
                </c:pt>
                <c:pt idx="186">
                  <c:v>0.87664220189425757</c:v>
                </c:pt>
                <c:pt idx="187">
                  <c:v>0.87773474371315652</c:v>
                </c:pt>
                <c:pt idx="188">
                  <c:v>0.87880061832376466</c:v>
                </c:pt>
                <c:pt idx="189">
                  <c:v>0.87986367703135604</c:v>
                </c:pt>
                <c:pt idx="190">
                  <c:v>0.88092588632840496</c:v>
                </c:pt>
                <c:pt idx="191">
                  <c:v>0.88198253162950568</c:v>
                </c:pt>
                <c:pt idx="192">
                  <c:v>0.88303527249727254</c:v>
                </c:pt>
                <c:pt idx="193">
                  <c:v>0.88407577542911475</c:v>
                </c:pt>
                <c:pt idx="194">
                  <c:v>0.88507761590546785</c:v>
                </c:pt>
                <c:pt idx="195">
                  <c:v>0.88704615338921811</c:v>
                </c:pt>
                <c:pt idx="196">
                  <c:v>0.88801779696389183</c:v>
                </c:pt>
                <c:pt idx="197">
                  <c:v>0.88897324463502925</c:v>
                </c:pt>
                <c:pt idx="198">
                  <c:v>0.88992719334638581</c:v>
                </c:pt>
                <c:pt idx="199">
                  <c:v>0.89087783007041721</c:v>
                </c:pt>
                <c:pt idx="200">
                  <c:v>0.89181238866632362</c:v>
                </c:pt>
                <c:pt idx="201">
                  <c:v>0.89274630485089534</c:v>
                </c:pt>
                <c:pt idx="202">
                  <c:v>0.89366260468909087</c:v>
                </c:pt>
                <c:pt idx="203">
                  <c:v>0.89454533496610011</c:v>
                </c:pt>
                <c:pt idx="204">
                  <c:v>0.89541276871544151</c:v>
                </c:pt>
                <c:pt idx="205">
                  <c:v>0.89627978132846353</c:v>
                </c:pt>
                <c:pt idx="206">
                  <c:v>0.89711652209181714</c:v>
                </c:pt>
                <c:pt idx="207">
                  <c:v>0.8979432626520617</c:v>
                </c:pt>
                <c:pt idx="208">
                  <c:v>0.89876115934959955</c:v>
                </c:pt>
                <c:pt idx="209">
                  <c:v>0.89957359911974488</c:v>
                </c:pt>
                <c:pt idx="210">
                  <c:v>0.90038345496874428</c:v>
                </c:pt>
                <c:pt idx="211">
                  <c:v>0.90118857124967489</c:v>
                </c:pt>
                <c:pt idx="212">
                  <c:v>0.90198288074437627</c:v>
                </c:pt>
                <c:pt idx="213">
                  <c:v>0.90277554495227064</c:v>
                </c:pt>
                <c:pt idx="214">
                  <c:v>0.90356255594042034</c:v>
                </c:pt>
                <c:pt idx="215">
                  <c:v>0.90434262174825231</c:v>
                </c:pt>
                <c:pt idx="216">
                  <c:v>0.9051201928587348</c:v>
                </c:pt>
                <c:pt idx="217">
                  <c:v>0.90589585814892459</c:v>
                </c:pt>
                <c:pt idx="218">
                  <c:v>0.90666997808295935</c:v>
                </c:pt>
                <c:pt idx="219">
                  <c:v>0.90744292383183245</c:v>
                </c:pt>
                <c:pt idx="220">
                  <c:v>0.90820872810803566</c:v>
                </c:pt>
                <c:pt idx="221">
                  <c:v>0.90969412587177112</c:v>
                </c:pt>
                <c:pt idx="222">
                  <c:v>0.91040948301344671</c:v>
                </c:pt>
                <c:pt idx="223">
                  <c:v>0.91111598201660815</c:v>
                </c:pt>
                <c:pt idx="224">
                  <c:v>0.91181996133975707</c:v>
                </c:pt>
                <c:pt idx="225">
                  <c:v>0.91252204198051701</c:v>
                </c:pt>
                <c:pt idx="226">
                  <c:v>0.91322312688370821</c:v>
                </c:pt>
                <c:pt idx="227">
                  <c:v>0.91392259148275545</c:v>
                </c:pt>
                <c:pt idx="228">
                  <c:v>0.91461488962646975</c:v>
                </c:pt>
                <c:pt idx="229">
                  <c:v>0.91529852235507025</c:v>
                </c:pt>
                <c:pt idx="230">
                  <c:v>0.91596788641413829</c:v>
                </c:pt>
                <c:pt idx="231">
                  <c:v>0.91661699310245437</c:v>
                </c:pt>
                <c:pt idx="232">
                  <c:v>0.9172541830605131</c:v>
                </c:pt>
                <c:pt idx="233">
                  <c:v>0.91788735794773035</c:v>
                </c:pt>
                <c:pt idx="234">
                  <c:v>0.91852037223211402</c:v>
                </c:pt>
                <c:pt idx="235">
                  <c:v>0.91913782231744035</c:v>
                </c:pt>
                <c:pt idx="236">
                  <c:v>0.91974522223433164</c:v>
                </c:pt>
                <c:pt idx="237">
                  <c:v>0.92035037014259979</c:v>
                </c:pt>
                <c:pt idx="238">
                  <c:v>0.92095531818956389</c:v>
                </c:pt>
                <c:pt idx="239">
                  <c:v>0.92155867448399886</c:v>
                </c:pt>
                <c:pt idx="240">
                  <c:v>0.92215634900707422</c:v>
                </c:pt>
                <c:pt idx="241">
                  <c:v>0.92275167872877817</c:v>
                </c:pt>
                <c:pt idx="242">
                  <c:v>0.92334059147503955</c:v>
                </c:pt>
                <c:pt idx="243">
                  <c:v>0.92392920442934479</c:v>
                </c:pt>
                <c:pt idx="244">
                  <c:v>0.92451010487868257</c:v>
                </c:pt>
                <c:pt idx="245">
                  <c:v>0.92509090182841647</c:v>
                </c:pt>
                <c:pt idx="246">
                  <c:v>0.92566491063171452</c:v>
                </c:pt>
                <c:pt idx="247">
                  <c:v>0.92623484012303758</c:v>
                </c:pt>
                <c:pt idx="248">
                  <c:v>0.9268031635860241</c:v>
                </c:pt>
                <c:pt idx="249">
                  <c:v>0.92737002377874844</c:v>
                </c:pt>
                <c:pt idx="250">
                  <c:v>0.92793292243490921</c:v>
                </c:pt>
                <c:pt idx="251">
                  <c:v>0.9284949538357683</c:v>
                </c:pt>
                <c:pt idx="252">
                  <c:v>0.92905393378278789</c:v>
                </c:pt>
                <c:pt idx="253">
                  <c:v>0.92960842755732065</c:v>
                </c:pt>
                <c:pt idx="254">
                  <c:v>0.93015893124367499</c:v>
                </c:pt>
                <c:pt idx="255">
                  <c:v>0.93070937425784772</c:v>
                </c:pt>
                <c:pt idx="256">
                  <c:v>0.93124035934648486</c:v>
                </c:pt>
                <c:pt idx="257">
                  <c:v>0.93177015597415302</c:v>
                </c:pt>
                <c:pt idx="258">
                  <c:v>0.93229769345529434</c:v>
                </c:pt>
                <c:pt idx="259">
                  <c:v>0.93282268984271199</c:v>
                </c:pt>
                <c:pt idx="260">
                  <c:v>0.93334457410410865</c:v>
                </c:pt>
                <c:pt idx="261">
                  <c:v>0.93386584450578547</c:v>
                </c:pt>
                <c:pt idx="262">
                  <c:v>0.93438376009271484</c:v>
                </c:pt>
                <c:pt idx="263">
                  <c:v>0.93490023025414126</c:v>
                </c:pt>
                <c:pt idx="264">
                  <c:v>0.93590097506227365</c:v>
                </c:pt>
                <c:pt idx="265">
                  <c:v>0.93638748387284343</c:v>
                </c:pt>
                <c:pt idx="266">
                  <c:v>0.93687020959444256</c:v>
                </c:pt>
                <c:pt idx="267">
                  <c:v>0.93734008708934913</c:v>
                </c:pt>
                <c:pt idx="268">
                  <c:v>0.937809475637851</c:v>
                </c:pt>
                <c:pt idx="269">
                  <c:v>0.93827635521319597</c:v>
                </c:pt>
                <c:pt idx="270">
                  <c:v>0.93874282435907719</c:v>
                </c:pt>
                <c:pt idx="271">
                  <c:v>0.9392088545238797</c:v>
                </c:pt>
                <c:pt idx="272">
                  <c:v>0.93966376383468941</c:v>
                </c:pt>
                <c:pt idx="273">
                  <c:v>0.94011822702651682</c:v>
                </c:pt>
                <c:pt idx="274">
                  <c:v>0.94057196572111679</c:v>
                </c:pt>
                <c:pt idx="275">
                  <c:v>0.9410250727112377</c:v>
                </c:pt>
                <c:pt idx="276">
                  <c:v>0.94146900392612898</c:v>
                </c:pt>
                <c:pt idx="277">
                  <c:v>0.94191229272968569</c:v>
                </c:pt>
                <c:pt idx="278">
                  <c:v>0.94235170565152349</c:v>
                </c:pt>
                <c:pt idx="279">
                  <c:v>0.94278044740730271</c:v>
                </c:pt>
                <c:pt idx="280">
                  <c:v>0.94320232249970515</c:v>
                </c:pt>
                <c:pt idx="281">
                  <c:v>0.94361961862687238</c:v>
                </c:pt>
                <c:pt idx="282">
                  <c:v>0.94403533370836601</c:v>
                </c:pt>
                <c:pt idx="283">
                  <c:v>0.94444613434314983</c:v>
                </c:pt>
                <c:pt idx="284">
                  <c:v>0.94485249163286911</c:v>
                </c:pt>
                <c:pt idx="285">
                  <c:v>0.94525780678864557</c:v>
                </c:pt>
                <c:pt idx="286">
                  <c:v>0.94565677634801659</c:v>
                </c:pt>
                <c:pt idx="287">
                  <c:v>0.94604497481067706</c:v>
                </c:pt>
                <c:pt idx="288">
                  <c:v>0.94643116038448893</c:v>
                </c:pt>
                <c:pt idx="289">
                  <c:v>0.94681184620348602</c:v>
                </c:pt>
                <c:pt idx="290">
                  <c:v>0.94719174328412226</c:v>
                </c:pt>
                <c:pt idx="291">
                  <c:v>0.94756759674230229</c:v>
                </c:pt>
                <c:pt idx="292">
                  <c:v>0.94794189056851985</c:v>
                </c:pt>
                <c:pt idx="293">
                  <c:v>0.94831545275960627</c:v>
                </c:pt>
                <c:pt idx="294">
                  <c:v>0.94868771585221601</c:v>
                </c:pt>
                <c:pt idx="295">
                  <c:v>0.94942503275468038</c:v>
                </c:pt>
                <c:pt idx="296">
                  <c:v>0.94978945486005584</c:v>
                </c:pt>
                <c:pt idx="297">
                  <c:v>0.95015347367387126</c:v>
                </c:pt>
                <c:pt idx="298">
                  <c:v>0.95051436251690624</c:v>
                </c:pt>
                <c:pt idx="299">
                  <c:v>0.95087431629455421</c:v>
                </c:pt>
                <c:pt idx="300">
                  <c:v>0.9512328639051697</c:v>
                </c:pt>
                <c:pt idx="301">
                  <c:v>0.95158960919509639</c:v>
                </c:pt>
                <c:pt idx="302">
                  <c:v>0.95193897389257853</c:v>
                </c:pt>
                <c:pt idx="303">
                  <c:v>0.95228766048920743</c:v>
                </c:pt>
                <c:pt idx="304">
                  <c:v>0.95263462685104028</c:v>
                </c:pt>
                <c:pt idx="305">
                  <c:v>0.95298134695519487</c:v>
                </c:pt>
                <c:pt idx="306">
                  <c:v>0.95332690001209153</c:v>
                </c:pt>
                <c:pt idx="307">
                  <c:v>0.9536581736926002</c:v>
                </c:pt>
                <c:pt idx="308">
                  <c:v>0.95398932959769744</c:v>
                </c:pt>
                <c:pt idx="309">
                  <c:v>0.95431711998119162</c:v>
                </c:pt>
                <c:pt idx="310">
                  <c:v>0.95464397886825059</c:v>
                </c:pt>
                <c:pt idx="311">
                  <c:v>0.9549691139515617</c:v>
                </c:pt>
                <c:pt idx="312">
                  <c:v>0.95528947734623726</c:v>
                </c:pt>
                <c:pt idx="313">
                  <c:v>0.95528947734623726</c:v>
                </c:pt>
                <c:pt idx="314">
                  <c:v>0.95560759230124159</c:v>
                </c:pt>
                <c:pt idx="315">
                  <c:v>0.95592272361249175</c:v>
                </c:pt>
                <c:pt idx="316">
                  <c:v>0.95623394692145625</c:v>
                </c:pt>
                <c:pt idx="317">
                  <c:v>0.95654213305238867</c:v>
                </c:pt>
                <c:pt idx="318">
                  <c:v>0.95684795653719046</c:v>
                </c:pt>
                <c:pt idx="319">
                  <c:v>0.95715188847750687</c:v>
                </c:pt>
                <c:pt idx="320">
                  <c:v>0.95745328289305154</c:v>
                </c:pt>
                <c:pt idx="321">
                  <c:v>0.95775408843153942</c:v>
                </c:pt>
                <c:pt idx="322">
                  <c:v>0.95805324868322028</c:v>
                </c:pt>
                <c:pt idx="323">
                  <c:v>0.95834980716899598</c:v>
                </c:pt>
                <c:pt idx="324">
                  <c:v>0.95864522359017679</c:v>
                </c:pt>
                <c:pt idx="325">
                  <c:v>0.95893711388692082</c:v>
                </c:pt>
                <c:pt idx="326">
                  <c:v>0.95922531031849079</c:v>
                </c:pt>
                <c:pt idx="327">
                  <c:v>0.95951150456806777</c:v>
                </c:pt>
                <c:pt idx="328">
                  <c:v>0.95979676732120955</c:v>
                </c:pt>
                <c:pt idx="329">
                  <c:v>0.96007663025018863</c:v>
                </c:pt>
                <c:pt idx="330">
                  <c:v>0.96035600423276302</c:v>
                </c:pt>
                <c:pt idx="331">
                  <c:v>0.96062539228803578</c:v>
                </c:pt>
                <c:pt idx="332">
                  <c:v>0.9608856973608273</c:v>
                </c:pt>
                <c:pt idx="333">
                  <c:v>0.96114570264166266</c:v>
                </c:pt>
                <c:pt idx="334">
                  <c:v>0.96140427677280249</c:v>
                </c:pt>
                <c:pt idx="335">
                  <c:v>0.96165789362981013</c:v>
                </c:pt>
                <c:pt idx="336">
                  <c:v>0.96191108578154649</c:v>
                </c:pt>
                <c:pt idx="337">
                  <c:v>0.9621638675038191</c:v>
                </c:pt>
                <c:pt idx="338">
                  <c:v>0.9624164779164025</c:v>
                </c:pt>
                <c:pt idx="339">
                  <c:v>0.96266830315957685</c:v>
                </c:pt>
                <c:pt idx="340">
                  <c:v>0.96291991069668781</c:v>
                </c:pt>
                <c:pt idx="341">
                  <c:v>0.9631660327547914</c:v>
                </c:pt>
                <c:pt idx="342">
                  <c:v>0.9634104666986657</c:v>
                </c:pt>
                <c:pt idx="343">
                  <c:v>0.9636543545929056</c:v>
                </c:pt>
                <c:pt idx="344">
                  <c:v>0.96389757866209969</c:v>
                </c:pt>
                <c:pt idx="345">
                  <c:v>0.96413922168562016</c:v>
                </c:pt>
                <c:pt idx="346">
                  <c:v>0.96438046855548432</c:v>
                </c:pt>
                <c:pt idx="347">
                  <c:v>0.96461831778317864</c:v>
                </c:pt>
                <c:pt idx="348">
                  <c:v>0.9648517165279048</c:v>
                </c:pt>
                <c:pt idx="349">
                  <c:v>0.96508327012451978</c:v>
                </c:pt>
                <c:pt idx="350">
                  <c:v>0.9653146345666862</c:v>
                </c:pt>
                <c:pt idx="351">
                  <c:v>0.96554570635480019</c:v>
                </c:pt>
                <c:pt idx="352">
                  <c:v>0.96577593943922735</c:v>
                </c:pt>
                <c:pt idx="353">
                  <c:v>0.96600585845589093</c:v>
                </c:pt>
                <c:pt idx="354">
                  <c:v>0.96623443911560736</c:v>
                </c:pt>
                <c:pt idx="355">
                  <c:v>0.96668949118449155</c:v>
                </c:pt>
                <c:pt idx="356">
                  <c:v>0.96691220448735171</c:v>
                </c:pt>
                <c:pt idx="357">
                  <c:v>0.96713294059088195</c:v>
                </c:pt>
                <c:pt idx="358">
                  <c:v>0.96735181370154177</c:v>
                </c:pt>
                <c:pt idx="359">
                  <c:v>0.9675691664387096</c:v>
                </c:pt>
                <c:pt idx="360">
                  <c:v>0.96778260046673625</c:v>
                </c:pt>
                <c:pt idx="361">
                  <c:v>0.96799508158461645</c:v>
                </c:pt>
                <c:pt idx="362">
                  <c:v>0.96820567472696328</c:v>
                </c:pt>
                <c:pt idx="363">
                  <c:v>0.96841364825864551</c:v>
                </c:pt>
                <c:pt idx="364">
                  <c:v>0.96861978021116846</c:v>
                </c:pt>
                <c:pt idx="365">
                  <c:v>0.96882545533785347</c:v>
                </c:pt>
                <c:pt idx="366">
                  <c:v>0.96903039169150373</c:v>
                </c:pt>
                <c:pt idx="367">
                  <c:v>0.96923316882927923</c:v>
                </c:pt>
                <c:pt idx="368">
                  <c:v>0.96943579964002846</c:v>
                </c:pt>
                <c:pt idx="369">
                  <c:v>0.96963752750595744</c:v>
                </c:pt>
                <c:pt idx="370">
                  <c:v>0.97023644759323158</c:v>
                </c:pt>
                <c:pt idx="371">
                  <c:v>0.97043150151918411</c:v>
                </c:pt>
                <c:pt idx="372">
                  <c:v>0.9706251671228634</c:v>
                </c:pt>
                <c:pt idx="373">
                  <c:v>0.97081880060597603</c:v>
                </c:pt>
                <c:pt idx="374">
                  <c:v>0.97101018921836935</c:v>
                </c:pt>
                <c:pt idx="375">
                  <c:v>0.97120075697183506</c:v>
                </c:pt>
                <c:pt idx="376">
                  <c:v>0.97138887999327728</c:v>
                </c:pt>
                <c:pt idx="377">
                  <c:v>0.97157459754116648</c:v>
                </c:pt>
                <c:pt idx="378">
                  <c:v>0.9717566604823521</c:v>
                </c:pt>
                <c:pt idx="379">
                  <c:v>0.97193758135894281</c:v>
                </c:pt>
                <c:pt idx="380">
                  <c:v>0.97211550788492374</c:v>
                </c:pt>
                <c:pt idx="381">
                  <c:v>0.97229244581123975</c:v>
                </c:pt>
                <c:pt idx="382">
                  <c:v>0.97246801326004184</c:v>
                </c:pt>
                <c:pt idx="383">
                  <c:v>0.97264262066079388</c:v>
                </c:pt>
                <c:pt idx="384">
                  <c:v>0.97281564701587231</c:v>
                </c:pt>
                <c:pt idx="385">
                  <c:v>0.97298861983667284</c:v>
                </c:pt>
                <c:pt idx="386">
                  <c:v>0.97316146417520655</c:v>
                </c:pt>
                <c:pt idx="387">
                  <c:v>0.97333415147985836</c:v>
                </c:pt>
                <c:pt idx="388">
                  <c:v>0.97350435836296823</c:v>
                </c:pt>
                <c:pt idx="389">
                  <c:v>0.9736739692311176</c:v>
                </c:pt>
                <c:pt idx="390">
                  <c:v>0.97384253439637225</c:v>
                </c:pt>
                <c:pt idx="391">
                  <c:v>0.97401108528581948</c:v>
                </c:pt>
                <c:pt idx="392">
                  <c:v>0.97417899019498022</c:v>
                </c:pt>
                <c:pt idx="393">
                  <c:v>0.97434440397574329</c:v>
                </c:pt>
                <c:pt idx="394">
                  <c:v>0.9745083116588219</c:v>
                </c:pt>
                <c:pt idx="395">
                  <c:v>0.97467210870439291</c:v>
                </c:pt>
                <c:pt idx="396">
                  <c:v>0.97483407487766016</c:v>
                </c:pt>
                <c:pt idx="397">
                  <c:v>0.97499175473974475</c:v>
                </c:pt>
                <c:pt idx="398">
                  <c:v>0.9751476144363812</c:v>
                </c:pt>
                <c:pt idx="399">
                  <c:v>0.97530340275398042</c:v>
                </c:pt>
                <c:pt idx="400">
                  <c:v>0.97545867357356009</c:v>
                </c:pt>
                <c:pt idx="401">
                  <c:v>0.9756116781087093</c:v>
                </c:pt>
                <c:pt idx="402">
                  <c:v>0.97576128143273688</c:v>
                </c:pt>
                <c:pt idx="403">
                  <c:v>0.9759105242926267</c:v>
                </c:pt>
                <c:pt idx="404">
                  <c:v>0.97620654386667172</c:v>
                </c:pt>
                <c:pt idx="405">
                  <c:v>0.97635316711589692</c:v>
                </c:pt>
                <c:pt idx="406">
                  <c:v>0.97649890883401302</c:v>
                </c:pt>
                <c:pt idx="407">
                  <c:v>0.97664461843156236</c:v>
                </c:pt>
                <c:pt idx="408">
                  <c:v>0.97678852213947098</c:v>
                </c:pt>
                <c:pt idx="409">
                  <c:v>0.97693207252114556</c:v>
                </c:pt>
                <c:pt idx="410">
                  <c:v>0.9772161753649331</c:v>
                </c:pt>
                <c:pt idx="411">
                  <c:v>0.97735698836053186</c:v>
                </c:pt>
                <c:pt idx="412">
                  <c:v>0.97749492478093214</c:v>
                </c:pt>
                <c:pt idx="413">
                  <c:v>0.97763226518637203</c:v>
                </c:pt>
                <c:pt idx="414">
                  <c:v>0.97790581820846423</c:v>
                </c:pt>
                <c:pt idx="415">
                  <c:v>0.97804149191338596</c:v>
                </c:pt>
                <c:pt idx="416">
                  <c:v>0.97817575945127522</c:v>
                </c:pt>
                <c:pt idx="417">
                  <c:v>0.978308899200377</c:v>
                </c:pt>
                <c:pt idx="418">
                  <c:v>0.97844156427888151</c:v>
                </c:pt>
                <c:pt idx="419">
                  <c:v>0.97857193095238881</c:v>
                </c:pt>
                <c:pt idx="420">
                  <c:v>0.97870179083473208</c:v>
                </c:pt>
                <c:pt idx="421">
                  <c:v>0.97883070851378462</c:v>
                </c:pt>
                <c:pt idx="422">
                  <c:v>0.97895832709436048</c:v>
                </c:pt>
                <c:pt idx="423">
                  <c:v>0.97920433137705276</c:v>
                </c:pt>
                <c:pt idx="424">
                  <c:v>0.97932585775680514</c:v>
                </c:pt>
                <c:pt idx="425">
                  <c:v>0.97944635984737405</c:v>
                </c:pt>
                <c:pt idx="426">
                  <c:v>0.97956671204196488</c:v>
                </c:pt>
                <c:pt idx="427">
                  <c:v>0.97968641111836552</c:v>
                </c:pt>
                <c:pt idx="428">
                  <c:v>0.97980517869833095</c:v>
                </c:pt>
                <c:pt idx="429">
                  <c:v>0.97992353584883252</c:v>
                </c:pt>
                <c:pt idx="430">
                  <c:v>0.98004180377553762</c:v>
                </c:pt>
                <c:pt idx="431">
                  <c:v>0.98015644564715398</c:v>
                </c:pt>
                <c:pt idx="432">
                  <c:v>0.98027012033281646</c:v>
                </c:pt>
                <c:pt idx="433">
                  <c:v>0.9803821854211906</c:v>
                </c:pt>
                <c:pt idx="434">
                  <c:v>0.98060498080994352</c:v>
                </c:pt>
                <c:pt idx="435">
                  <c:v>0.98071576821355211</c:v>
                </c:pt>
                <c:pt idx="436">
                  <c:v>0.9808264521175567</c:v>
                </c:pt>
                <c:pt idx="437">
                  <c:v>0.98093541221781344</c:v>
                </c:pt>
                <c:pt idx="438">
                  <c:v>0.98115231883599885</c:v>
                </c:pt>
                <c:pt idx="439">
                  <c:v>0.98125720319323251</c:v>
                </c:pt>
                <c:pt idx="440">
                  <c:v>0.98136200189562162</c:v>
                </c:pt>
                <c:pt idx="441">
                  <c:v>0.98146663999517703</c:v>
                </c:pt>
                <c:pt idx="442">
                  <c:v>0.98157126381892501</c:v>
                </c:pt>
                <c:pt idx="443">
                  <c:v>0.98167360708243501</c:v>
                </c:pt>
                <c:pt idx="444">
                  <c:v>0.98177295242638341</c:v>
                </c:pt>
                <c:pt idx="445">
                  <c:v>0.98187209077112403</c:v>
                </c:pt>
                <c:pt idx="446">
                  <c:v>0.98197116844368304</c:v>
                </c:pt>
                <c:pt idx="447">
                  <c:v>0.98206686274987964</c:v>
                </c:pt>
                <c:pt idx="448">
                  <c:v>0.98216102597572874</c:v>
                </c:pt>
                <c:pt idx="449">
                  <c:v>0.98225466099670267</c:v>
                </c:pt>
                <c:pt idx="450">
                  <c:v>0.98234820322492833</c:v>
                </c:pt>
                <c:pt idx="451">
                  <c:v>0.98243945418606049</c:v>
                </c:pt>
                <c:pt idx="452">
                  <c:v>0.98252892780916679</c:v>
                </c:pt>
                <c:pt idx="453">
                  <c:v>0.98261812662297998</c:v>
                </c:pt>
                <c:pt idx="454">
                  <c:v>0.98270632256132073</c:v>
                </c:pt>
                <c:pt idx="455">
                  <c:v>0.98287992708660044</c:v>
                </c:pt>
                <c:pt idx="456">
                  <c:v>0.98296652413450836</c:v>
                </c:pt>
                <c:pt idx="457">
                  <c:v>0.98305233958195914</c:v>
                </c:pt>
                <c:pt idx="458">
                  <c:v>0.98313762682453476</c:v>
                </c:pt>
                <c:pt idx="459">
                  <c:v>0.98322215031141258</c:v>
                </c:pt>
                <c:pt idx="460">
                  <c:v>0.98330654531602346</c:v>
                </c:pt>
                <c:pt idx="461">
                  <c:v>0.98339075116618579</c:v>
                </c:pt>
                <c:pt idx="462">
                  <c:v>0.98347484280988862</c:v>
                </c:pt>
                <c:pt idx="463">
                  <c:v>0.9835589094709285</c:v>
                </c:pt>
                <c:pt idx="464">
                  <c:v>0.98364247647870806</c:v>
                </c:pt>
                <c:pt idx="465">
                  <c:v>0.98372565803968692</c:v>
                </c:pt>
                <c:pt idx="466">
                  <c:v>0.98380878963533969</c:v>
                </c:pt>
                <c:pt idx="467">
                  <c:v>0.98389190695518502</c:v>
                </c:pt>
                <c:pt idx="468">
                  <c:v>0.98397404638222097</c:v>
                </c:pt>
                <c:pt idx="469">
                  <c:v>0.98405604662013446</c:v>
                </c:pt>
                <c:pt idx="470">
                  <c:v>0.98413746511889488</c:v>
                </c:pt>
                <c:pt idx="471">
                  <c:v>0.98421861951521772</c:v>
                </c:pt>
                <c:pt idx="472">
                  <c:v>0.984298978035276</c:v>
                </c:pt>
                <c:pt idx="473">
                  <c:v>0.98437887616054454</c:v>
                </c:pt>
                <c:pt idx="474">
                  <c:v>0.98445838170110855</c:v>
                </c:pt>
                <c:pt idx="475">
                  <c:v>0.98453765525980175</c:v>
                </c:pt>
                <c:pt idx="476">
                  <c:v>0.98461647556160881</c:v>
                </c:pt>
                <c:pt idx="477">
                  <c:v>0.98469452853876616</c:v>
                </c:pt>
                <c:pt idx="478">
                  <c:v>0.98477059004078615</c:v>
                </c:pt>
                <c:pt idx="479">
                  <c:v>0.98484661942223939</c:v>
                </c:pt>
                <c:pt idx="480">
                  <c:v>0.98492201353026176</c:v>
                </c:pt>
                <c:pt idx="481">
                  <c:v>0.98499729343182463</c:v>
                </c:pt>
                <c:pt idx="482">
                  <c:v>0.98507197374947519</c:v>
                </c:pt>
                <c:pt idx="483">
                  <c:v>0.98514630787879542</c:v>
                </c:pt>
                <c:pt idx="484">
                  <c:v>0.98521996390726241</c:v>
                </c:pt>
                <c:pt idx="485">
                  <c:v>0.98536682270731035</c:v>
                </c:pt>
                <c:pt idx="486">
                  <c:v>0.98543934024013435</c:v>
                </c:pt>
                <c:pt idx="487">
                  <c:v>0.98551152942938736</c:v>
                </c:pt>
                <c:pt idx="488">
                  <c:v>0.98558315115529471</c:v>
                </c:pt>
                <c:pt idx="489">
                  <c:v>0.98565445881343849</c:v>
                </c:pt>
                <c:pt idx="490">
                  <c:v>0.98572558088608564</c:v>
                </c:pt>
                <c:pt idx="491">
                  <c:v>0.98579634249459502</c:v>
                </c:pt>
                <c:pt idx="492">
                  <c:v>0.98586652950185505</c:v>
                </c:pt>
                <c:pt idx="493">
                  <c:v>0.98593626682118085</c:v>
                </c:pt>
                <c:pt idx="494">
                  <c:v>0.98600576502073212</c:v>
                </c:pt>
                <c:pt idx="495">
                  <c:v>0.9860751097553534</c:v>
                </c:pt>
                <c:pt idx="496">
                  <c:v>0.98614424392181499</c:v>
                </c:pt>
                <c:pt idx="497">
                  <c:v>0.98621184343897716</c:v>
                </c:pt>
                <c:pt idx="498">
                  <c:v>0.9862793109049206</c:v>
                </c:pt>
                <c:pt idx="499">
                  <c:v>0.98634666416440453</c:v>
                </c:pt>
                <c:pt idx="500">
                  <c:v>0.98641389251057343</c:v>
                </c:pt>
                <c:pt idx="501">
                  <c:v>0.98648099951237911</c:v>
                </c:pt>
                <c:pt idx="502">
                  <c:v>0.986547949480303</c:v>
                </c:pt>
                <c:pt idx="503">
                  <c:v>0.98661403576187701</c:v>
                </c:pt>
                <c:pt idx="504">
                  <c:v>0.98674494134711499</c:v>
                </c:pt>
                <c:pt idx="505">
                  <c:v>0.98681004259797589</c:v>
                </c:pt>
                <c:pt idx="506">
                  <c:v>0.9868750403492329</c:v>
                </c:pt>
                <c:pt idx="507">
                  <c:v>0.98693929575850314</c:v>
                </c:pt>
                <c:pt idx="508">
                  <c:v>0.98700311575564659</c:v>
                </c:pt>
                <c:pt idx="509">
                  <c:v>0.98706680370157129</c:v>
                </c:pt>
                <c:pt idx="510">
                  <c:v>0.987130163303925</c:v>
                </c:pt>
                <c:pt idx="511">
                  <c:v>0.98719261639250644</c:v>
                </c:pt>
                <c:pt idx="512">
                  <c:v>0.98725494456777285</c:v>
                </c:pt>
                <c:pt idx="513">
                  <c:v>0.98737794492464304</c:v>
                </c:pt>
                <c:pt idx="514">
                  <c:v>0.98743853858930597</c:v>
                </c:pt>
                <c:pt idx="515">
                  <c:v>0.98749876108297552</c:v>
                </c:pt>
                <c:pt idx="516">
                  <c:v>0.98755880512905214</c:v>
                </c:pt>
                <c:pt idx="517">
                  <c:v>0.98761884203722505</c:v>
                </c:pt>
                <c:pt idx="518">
                  <c:v>0.98773697434375951</c:v>
                </c:pt>
                <c:pt idx="519">
                  <c:v>0.98779560508489994</c:v>
                </c:pt>
                <c:pt idx="520">
                  <c:v>0.98785394317198794</c:v>
                </c:pt>
                <c:pt idx="521">
                  <c:v>0.98791163170983753</c:v>
                </c:pt>
                <c:pt idx="522">
                  <c:v>0.98796905614524966</c:v>
                </c:pt>
                <c:pt idx="523">
                  <c:v>0.98802557049793771</c:v>
                </c:pt>
                <c:pt idx="524">
                  <c:v>0.98813799961940141</c:v>
                </c:pt>
                <c:pt idx="525">
                  <c:v>0.988193992905118</c:v>
                </c:pt>
                <c:pt idx="526">
                  <c:v>0.98824902257383263</c:v>
                </c:pt>
                <c:pt idx="527">
                  <c:v>0.9883036453820353</c:v>
                </c:pt>
                <c:pt idx="528">
                  <c:v>0.98835802907046344</c:v>
                </c:pt>
                <c:pt idx="529">
                  <c:v>0.98841193095039059</c:v>
                </c:pt>
                <c:pt idx="530">
                  <c:v>0.98851835709482738</c:v>
                </c:pt>
                <c:pt idx="531">
                  <c:v>0.98857082425610721</c:v>
                </c:pt>
                <c:pt idx="532">
                  <c:v>0.98862318791778314</c:v>
                </c:pt>
                <c:pt idx="533">
                  <c:v>0.98867469146206111</c:v>
                </c:pt>
                <c:pt idx="534">
                  <c:v>0.98872600585189052</c:v>
                </c:pt>
                <c:pt idx="535">
                  <c:v>0.98882793154803306</c:v>
                </c:pt>
                <c:pt idx="536">
                  <c:v>0.98887845719950163</c:v>
                </c:pt>
                <c:pt idx="537">
                  <c:v>0.98902573356691714</c:v>
                </c:pt>
                <c:pt idx="538">
                  <c:v>0.98907415710574065</c:v>
                </c:pt>
                <c:pt idx="539">
                  <c:v>0.98912254138609379</c:v>
                </c:pt>
                <c:pt idx="540">
                  <c:v>0.98917015834179722</c:v>
                </c:pt>
                <c:pt idx="541">
                  <c:v>0.98921701867970646</c:v>
                </c:pt>
                <c:pt idx="542">
                  <c:v>0.98926333653693321</c:v>
                </c:pt>
                <c:pt idx="543">
                  <c:v>0.98930932961954077</c:v>
                </c:pt>
                <c:pt idx="544">
                  <c:v>0.98935523347835186</c:v>
                </c:pt>
                <c:pt idx="545">
                  <c:v>0.98944599906203112</c:v>
                </c:pt>
                <c:pt idx="546">
                  <c:v>0.98949115700990364</c:v>
                </c:pt>
                <c:pt idx="547">
                  <c:v>0.9895362828372094</c:v>
                </c:pt>
                <c:pt idx="548">
                  <c:v>0.9895812659064408</c:v>
                </c:pt>
                <c:pt idx="549">
                  <c:v>0.9896258635288715</c:v>
                </c:pt>
                <c:pt idx="550">
                  <c:v>0.98967037192750562</c:v>
                </c:pt>
                <c:pt idx="551">
                  <c:v>0.98984557534321815</c:v>
                </c:pt>
                <c:pt idx="552">
                  <c:v>0.98997407188595132</c:v>
                </c:pt>
                <c:pt idx="553">
                  <c:v>0.99001657810259258</c:v>
                </c:pt>
                <c:pt idx="554">
                  <c:v>0.99005894869906319</c:v>
                </c:pt>
                <c:pt idx="555">
                  <c:v>0.99010125505440039</c:v>
                </c:pt>
                <c:pt idx="556">
                  <c:v>0.99014348646174855</c:v>
                </c:pt>
                <c:pt idx="557">
                  <c:v>0.9902267215570052</c:v>
                </c:pt>
                <c:pt idx="558">
                  <c:v>0.99026819991551107</c:v>
                </c:pt>
                <c:pt idx="559">
                  <c:v>0.99030963901554647</c:v>
                </c:pt>
                <c:pt idx="560">
                  <c:v>0.99035081401314429</c:v>
                </c:pt>
                <c:pt idx="561">
                  <c:v>0.9903918819421863</c:v>
                </c:pt>
                <c:pt idx="562">
                  <c:v>0.99043285707848006</c:v>
                </c:pt>
                <c:pt idx="563">
                  <c:v>0.9905543049412916</c:v>
                </c:pt>
                <c:pt idx="564">
                  <c:v>0.99059424508154614</c:v>
                </c:pt>
                <c:pt idx="565">
                  <c:v>0.99063411027381165</c:v>
                </c:pt>
                <c:pt idx="566">
                  <c:v>0.99067387910437699</c:v>
                </c:pt>
                <c:pt idx="567">
                  <c:v>0.99071326248814162</c:v>
                </c:pt>
                <c:pt idx="568">
                  <c:v>0.99075263873400254</c:v>
                </c:pt>
                <c:pt idx="569">
                  <c:v>0.99079162596411074</c:v>
                </c:pt>
                <c:pt idx="570">
                  <c:v>0.99083054538413362</c:v>
                </c:pt>
                <c:pt idx="571">
                  <c:v>0.99086945409730098</c:v>
                </c:pt>
                <c:pt idx="572">
                  <c:v>0.99090814867335675</c:v>
                </c:pt>
                <c:pt idx="573">
                  <c:v>0.99094667907762701</c:v>
                </c:pt>
                <c:pt idx="574">
                  <c:v>0.99102360783494881</c:v>
                </c:pt>
                <c:pt idx="575">
                  <c:v>0.9910619348089631</c:v>
                </c:pt>
                <c:pt idx="576">
                  <c:v>0.99110014043861416</c:v>
                </c:pt>
                <c:pt idx="577">
                  <c:v>0.99113832465455409</c:v>
                </c:pt>
                <c:pt idx="578">
                  <c:v>0.99121407208881052</c:v>
                </c:pt>
                <c:pt idx="579">
                  <c:v>0.99132700443248634</c:v>
                </c:pt>
                <c:pt idx="580">
                  <c:v>0.99136439991006542</c:v>
                </c:pt>
                <c:pt idx="581">
                  <c:v>0.99140153485415883</c:v>
                </c:pt>
                <c:pt idx="582">
                  <c:v>0.99143864481558919</c:v>
                </c:pt>
                <c:pt idx="583">
                  <c:v>0.99147569410483793</c:v>
                </c:pt>
                <c:pt idx="584">
                  <c:v>0.99154950002928299</c:v>
                </c:pt>
                <c:pt idx="585">
                  <c:v>0.99158601754470477</c:v>
                </c:pt>
                <c:pt idx="586">
                  <c:v>0.99162236731938913</c:v>
                </c:pt>
                <c:pt idx="587">
                  <c:v>0.99165834949203202</c:v>
                </c:pt>
                <c:pt idx="588">
                  <c:v>0.99169418890660055</c:v>
                </c:pt>
                <c:pt idx="589">
                  <c:v>0.99172995694213195</c:v>
                </c:pt>
                <c:pt idx="590">
                  <c:v>0.99176546087522577</c:v>
                </c:pt>
                <c:pt idx="591">
                  <c:v>0.99183629386277228</c:v>
                </c:pt>
                <c:pt idx="592">
                  <c:v>0.99194142447768419</c:v>
                </c:pt>
                <c:pt idx="593">
                  <c:v>0.99197596479377603</c:v>
                </c:pt>
                <c:pt idx="594">
                  <c:v>0.99201042302397513</c:v>
                </c:pt>
                <c:pt idx="595">
                  <c:v>0.99207905039927269</c:v>
                </c:pt>
                <c:pt idx="596">
                  <c:v>0.99211300183830775</c:v>
                </c:pt>
                <c:pt idx="597">
                  <c:v>0.9921468890362094</c:v>
                </c:pt>
                <c:pt idx="598">
                  <c:v>0.99218050142481795</c:v>
                </c:pt>
                <c:pt idx="599">
                  <c:v>0.99221401745172622</c:v>
                </c:pt>
                <c:pt idx="600">
                  <c:v>0.99228065335188642</c:v>
                </c:pt>
                <c:pt idx="601">
                  <c:v>0.99231386958683854</c:v>
                </c:pt>
                <c:pt idx="602">
                  <c:v>0.99238019141923528</c:v>
                </c:pt>
                <c:pt idx="603">
                  <c:v>0.99244615635644595</c:v>
                </c:pt>
                <c:pt idx="604">
                  <c:v>0.99251167517467431</c:v>
                </c:pt>
                <c:pt idx="605">
                  <c:v>0.99254389924100961</c:v>
                </c:pt>
                <c:pt idx="606">
                  <c:v>0.99260830097730612</c:v>
                </c:pt>
                <c:pt idx="607">
                  <c:v>0.99264037157871154</c:v>
                </c:pt>
                <c:pt idx="608">
                  <c:v>0.99267242790430954</c:v>
                </c:pt>
                <c:pt idx="609">
                  <c:v>0.99270429150650707</c:v>
                </c:pt>
                <c:pt idx="610">
                  <c:v>0.99273601948853396</c:v>
                </c:pt>
                <c:pt idx="611">
                  <c:v>0.99276772962580162</c:v>
                </c:pt>
                <c:pt idx="612">
                  <c:v>0.99279940764250252</c:v>
                </c:pt>
                <c:pt idx="613">
                  <c:v>0.99283106067654037</c:v>
                </c:pt>
                <c:pt idx="614">
                  <c:v>0.99289287135378723</c:v>
                </c:pt>
                <c:pt idx="615">
                  <c:v>0.99292343585750809</c:v>
                </c:pt>
                <c:pt idx="616">
                  <c:v>0.9929538147757323</c:v>
                </c:pt>
                <c:pt idx="617">
                  <c:v>0.99298407234959329</c:v>
                </c:pt>
                <c:pt idx="618">
                  <c:v>0.99301429066498381</c:v>
                </c:pt>
                <c:pt idx="619">
                  <c:v>0.99310365721953431</c:v>
                </c:pt>
                <c:pt idx="620">
                  <c:v>0.99313276559089669</c:v>
                </c:pt>
                <c:pt idx="621">
                  <c:v>0.99316153134288065</c:v>
                </c:pt>
                <c:pt idx="622">
                  <c:v>0.99319023285373109</c:v>
                </c:pt>
                <c:pt idx="623">
                  <c:v>0.99321883800288135</c:v>
                </c:pt>
                <c:pt idx="624">
                  <c:v>0.99324731466976468</c:v>
                </c:pt>
                <c:pt idx="625">
                  <c:v>0.99327573066446639</c:v>
                </c:pt>
                <c:pt idx="626">
                  <c:v>0.99330411810755326</c:v>
                </c:pt>
                <c:pt idx="627">
                  <c:v>0.9933603005477184</c:v>
                </c:pt>
                <c:pt idx="628">
                  <c:v>0.99341583343864515</c:v>
                </c:pt>
                <c:pt idx="629">
                  <c:v>0.99344352850507134</c:v>
                </c:pt>
                <c:pt idx="630">
                  <c:v>0.99347110579608622</c:v>
                </c:pt>
                <c:pt idx="631">
                  <c:v>0.9935260605168118</c:v>
                </c:pt>
                <c:pt idx="632">
                  <c:v>0.99355318455094055</c:v>
                </c:pt>
                <c:pt idx="633">
                  <c:v>0.99360730770588301</c:v>
                </c:pt>
                <c:pt idx="634">
                  <c:v>0.99363397134522191</c:v>
                </c:pt>
                <c:pt idx="635">
                  <c:v>0.99366060643294596</c:v>
                </c:pt>
                <c:pt idx="636">
                  <c:v>0.99368692745290643</c:v>
                </c:pt>
                <c:pt idx="637">
                  <c:v>0.99371319850754092</c:v>
                </c:pt>
                <c:pt idx="638">
                  <c:v>0.9937393624936196</c:v>
                </c:pt>
                <c:pt idx="639">
                  <c:v>0.99379104805444229</c:v>
                </c:pt>
                <c:pt idx="640">
                  <c:v>0.99381651609490851</c:v>
                </c:pt>
                <c:pt idx="641">
                  <c:v>0.9938918638065567</c:v>
                </c:pt>
                <c:pt idx="642">
                  <c:v>0.99391663233245853</c:v>
                </c:pt>
                <c:pt idx="643">
                  <c:v>0.99401465716421911</c:v>
                </c:pt>
                <c:pt idx="644">
                  <c:v>0.99403847277997448</c:v>
                </c:pt>
                <c:pt idx="645">
                  <c:v>0.99410951276672888</c:v>
                </c:pt>
                <c:pt idx="646">
                  <c:v>0.99415648374214571</c:v>
                </c:pt>
                <c:pt idx="647">
                  <c:v>0.99417984610101506</c:v>
                </c:pt>
                <c:pt idx="648">
                  <c:v>0.99420299075382101</c:v>
                </c:pt>
                <c:pt idx="649">
                  <c:v>0.99422612826872325</c:v>
                </c:pt>
                <c:pt idx="650">
                  <c:v>0.99427218202351242</c:v>
                </c:pt>
                <c:pt idx="651">
                  <c:v>0.99429513752186982</c:v>
                </c:pt>
                <c:pt idx="652">
                  <c:v>0.99431806446861237</c:v>
                </c:pt>
                <c:pt idx="653">
                  <c:v>0.9943409271742214</c:v>
                </c:pt>
                <c:pt idx="654">
                  <c:v>0.99436373277660073</c:v>
                </c:pt>
                <c:pt idx="655">
                  <c:v>0.99438651339631701</c:v>
                </c:pt>
                <c:pt idx="656">
                  <c:v>0.99440929044708148</c:v>
                </c:pt>
                <c:pt idx="657">
                  <c:v>0.99443205322203854</c:v>
                </c:pt>
                <c:pt idx="658">
                  <c:v>0.99445473391110273</c:v>
                </c:pt>
                <c:pt idx="659">
                  <c:v>0.99447729682475561</c:v>
                </c:pt>
                <c:pt idx="660">
                  <c:v>0.99449982404888992</c:v>
                </c:pt>
                <c:pt idx="661">
                  <c:v>0.9945445751362505</c:v>
                </c:pt>
                <c:pt idx="662">
                  <c:v>0.99456685967165837</c:v>
                </c:pt>
                <c:pt idx="663">
                  <c:v>0.99463290312580999</c:v>
                </c:pt>
                <c:pt idx="664">
                  <c:v>0.99467651214857566</c:v>
                </c:pt>
                <c:pt idx="665">
                  <c:v>0.99474153488249561</c:v>
                </c:pt>
                <c:pt idx="666">
                  <c:v>0.99480582241233262</c:v>
                </c:pt>
                <c:pt idx="667">
                  <c:v>0.99482709336541253</c:v>
                </c:pt>
                <c:pt idx="668">
                  <c:v>0.994890485088333</c:v>
                </c:pt>
                <c:pt idx="669">
                  <c:v>0.99491143483574562</c:v>
                </c:pt>
                <c:pt idx="670">
                  <c:v>0.99495322012411136</c:v>
                </c:pt>
                <c:pt idx="671">
                  <c:v>0.9949948412406916</c:v>
                </c:pt>
                <c:pt idx="672">
                  <c:v>0.99501559469575196</c:v>
                </c:pt>
                <c:pt idx="673">
                  <c:v>0.99503626606491957</c:v>
                </c:pt>
                <c:pt idx="674">
                  <c:v>0.99507661663463798</c:v>
                </c:pt>
                <c:pt idx="675">
                  <c:v>0.99519646560701669</c:v>
                </c:pt>
                <c:pt idx="676">
                  <c:v>0.99521624116926766</c:v>
                </c:pt>
                <c:pt idx="677">
                  <c:v>0.99523584542182941</c:v>
                </c:pt>
                <c:pt idx="678">
                  <c:v>0.99525542469172812</c:v>
                </c:pt>
                <c:pt idx="679">
                  <c:v>0.99527460067006679</c:v>
                </c:pt>
                <c:pt idx="680">
                  <c:v>0.99529371954517576</c:v>
                </c:pt>
                <c:pt idx="681">
                  <c:v>0.99531282414447719</c:v>
                </c:pt>
                <c:pt idx="682">
                  <c:v>0.99533190019216378</c:v>
                </c:pt>
                <c:pt idx="683">
                  <c:v>0.99538902126666784</c:v>
                </c:pt>
                <c:pt idx="684">
                  <c:v>0.99540795455628006</c:v>
                </c:pt>
                <c:pt idx="685">
                  <c:v>0.99542682717371067</c:v>
                </c:pt>
                <c:pt idx="686">
                  <c:v>0.99544566053267092</c:v>
                </c:pt>
                <c:pt idx="687">
                  <c:v>0.99546439039202717</c:v>
                </c:pt>
                <c:pt idx="688">
                  <c:v>0.99550150749136124</c:v>
                </c:pt>
                <c:pt idx="689">
                  <c:v>0.99555613743746763</c:v>
                </c:pt>
                <c:pt idx="690">
                  <c:v>0.99559235159198134</c:v>
                </c:pt>
                <c:pt idx="691">
                  <c:v>0.99562851221221726</c:v>
                </c:pt>
                <c:pt idx="692">
                  <c:v>0.99564648545377943</c:v>
                </c:pt>
                <c:pt idx="693">
                  <c:v>0.99566433021307466</c:v>
                </c:pt>
                <c:pt idx="694">
                  <c:v>0.99571766819860807</c:v>
                </c:pt>
                <c:pt idx="695">
                  <c:v>0.99573535949297343</c:v>
                </c:pt>
                <c:pt idx="696">
                  <c:v>0.99575300795991639</c:v>
                </c:pt>
                <c:pt idx="697">
                  <c:v>0.99577062073734079</c:v>
                </c:pt>
                <c:pt idx="698">
                  <c:v>0.99578798368813504</c:v>
                </c:pt>
                <c:pt idx="699">
                  <c:v>0.99580532522521814</c:v>
                </c:pt>
                <c:pt idx="700">
                  <c:v>0.99583972992113945</c:v>
                </c:pt>
                <c:pt idx="701">
                  <c:v>0.99587385980776755</c:v>
                </c:pt>
                <c:pt idx="702">
                  <c:v>0.99589071953634967</c:v>
                </c:pt>
                <c:pt idx="703">
                  <c:v>0.99592441044189917</c:v>
                </c:pt>
                <c:pt idx="704">
                  <c:v>0.99594123448096272</c:v>
                </c:pt>
                <c:pt idx="705">
                  <c:v>0.99597472195625614</c:v>
                </c:pt>
                <c:pt idx="706">
                  <c:v>0.99600803098395663</c:v>
                </c:pt>
                <c:pt idx="707">
                  <c:v>0.99602455880001584</c:v>
                </c:pt>
                <c:pt idx="708">
                  <c:v>0.99604107947817133</c:v>
                </c:pt>
                <c:pt idx="709">
                  <c:v>0.99607393524898569</c:v>
                </c:pt>
                <c:pt idx="710">
                  <c:v>0.99609030960011502</c:v>
                </c:pt>
                <c:pt idx="711">
                  <c:v>0.99613874027684224</c:v>
                </c:pt>
                <c:pt idx="712">
                  <c:v>0.99615483624972656</c:v>
                </c:pt>
                <c:pt idx="713">
                  <c:v>0.99617075734396976</c:v>
                </c:pt>
                <c:pt idx="714">
                  <c:v>0.99618665702450182</c:v>
                </c:pt>
                <c:pt idx="715">
                  <c:v>0.99623369937895601</c:v>
                </c:pt>
                <c:pt idx="716">
                  <c:v>0.99624908869937223</c:v>
                </c:pt>
                <c:pt idx="717">
                  <c:v>0.99627978525431182</c:v>
                </c:pt>
                <c:pt idx="718">
                  <c:v>0.99629502467874997</c:v>
                </c:pt>
                <c:pt idx="719">
                  <c:v>0.99631022484471765</c:v>
                </c:pt>
                <c:pt idx="720">
                  <c:v>0.99632533935584067</c:v>
                </c:pt>
                <c:pt idx="721">
                  <c:v>0.99634030753993752</c:v>
                </c:pt>
                <c:pt idx="722">
                  <c:v>0.99636978351334138</c:v>
                </c:pt>
                <c:pt idx="723">
                  <c:v>0.99639913814238201</c:v>
                </c:pt>
                <c:pt idx="724">
                  <c:v>0.99641379225871529</c:v>
                </c:pt>
                <c:pt idx="725">
                  <c:v>0.99647184126070265</c:v>
                </c:pt>
                <c:pt idx="726">
                  <c:v>0.99651468652777053</c:v>
                </c:pt>
                <c:pt idx="727">
                  <c:v>0.99652888024931396</c:v>
                </c:pt>
                <c:pt idx="728">
                  <c:v>0.9965571963133637</c:v>
                </c:pt>
                <c:pt idx="729">
                  <c:v>0.99657129010425505</c:v>
                </c:pt>
                <c:pt idx="730">
                  <c:v>0.99659904584286285</c:v>
                </c:pt>
                <c:pt idx="731">
                  <c:v>0.99661276489380901</c:v>
                </c:pt>
                <c:pt idx="732">
                  <c:v>0.99666731989192647</c:v>
                </c:pt>
                <c:pt idx="733">
                  <c:v>0.99668090689165389</c:v>
                </c:pt>
                <c:pt idx="734">
                  <c:v>0.99669446177081455</c:v>
                </c:pt>
                <c:pt idx="735">
                  <c:v>0.99670799880521588</c:v>
                </c:pt>
                <c:pt idx="736">
                  <c:v>0.99673501933974074</c:v>
                </c:pt>
                <c:pt idx="737">
                  <c:v>0.99674845287453817</c:v>
                </c:pt>
                <c:pt idx="738">
                  <c:v>0.99676183644400962</c:v>
                </c:pt>
                <c:pt idx="739">
                  <c:v>0.99678828594623703</c:v>
                </c:pt>
                <c:pt idx="740">
                  <c:v>0.99681434643271172</c:v>
                </c:pt>
                <c:pt idx="741">
                  <c:v>0.99684019991997863</c:v>
                </c:pt>
                <c:pt idx="742">
                  <c:v>0.99686596775240099</c:v>
                </c:pt>
                <c:pt idx="743">
                  <c:v>0.99687883382385289</c:v>
                </c:pt>
                <c:pt idx="744">
                  <c:v>0.99695531289324046</c:v>
                </c:pt>
                <c:pt idx="745">
                  <c:v>0.99696795412072525</c:v>
                </c:pt>
                <c:pt idx="746">
                  <c:v>0.99698057036554699</c:v>
                </c:pt>
                <c:pt idx="747">
                  <c:v>0.9970057064934903</c:v>
                </c:pt>
                <c:pt idx="748">
                  <c:v>0.99701823708346737</c:v>
                </c:pt>
                <c:pt idx="749">
                  <c:v>0.99703072127707038</c:v>
                </c:pt>
                <c:pt idx="750">
                  <c:v>0.99706770632518582</c:v>
                </c:pt>
                <c:pt idx="751">
                  <c:v>0.9970799621058698</c:v>
                </c:pt>
                <c:pt idx="752">
                  <c:v>0.997152804413313</c:v>
                </c:pt>
                <c:pt idx="753">
                  <c:v>0.99716482821212615</c:v>
                </c:pt>
                <c:pt idx="754">
                  <c:v>0.99717683773513188</c:v>
                </c:pt>
                <c:pt idx="755">
                  <c:v>0.99722406924403451</c:v>
                </c:pt>
                <c:pt idx="756">
                  <c:v>0.99724732096539626</c:v>
                </c:pt>
                <c:pt idx="757">
                  <c:v>0.99730495596896807</c:v>
                </c:pt>
                <c:pt idx="758">
                  <c:v>0.99732780796772158</c:v>
                </c:pt>
                <c:pt idx="759">
                  <c:v>0.99735021741644447</c:v>
                </c:pt>
                <c:pt idx="760">
                  <c:v>0.99737224141836667</c:v>
                </c:pt>
                <c:pt idx="761">
                  <c:v>0.9973832230832369</c:v>
                </c:pt>
                <c:pt idx="762">
                  <c:v>0.99739418690334791</c:v>
                </c:pt>
                <c:pt idx="763">
                  <c:v>0.99741586828589168</c:v>
                </c:pt>
                <c:pt idx="764">
                  <c:v>0.99746921340932893</c:v>
                </c:pt>
                <c:pt idx="765">
                  <c:v>0.99747973824836123</c:v>
                </c:pt>
                <c:pt idx="766">
                  <c:v>0.99751082381905343</c:v>
                </c:pt>
                <c:pt idx="767">
                  <c:v>0.99753137741280962</c:v>
                </c:pt>
                <c:pt idx="768">
                  <c:v>0.99757175653414287</c:v>
                </c:pt>
                <c:pt idx="769">
                  <c:v>0.99758175316830011</c:v>
                </c:pt>
                <c:pt idx="770">
                  <c:v>0.99759173195769801</c:v>
                </c:pt>
                <c:pt idx="771">
                  <c:v>0.99763121527211474</c:v>
                </c:pt>
                <c:pt idx="772">
                  <c:v>0.99764097278649733</c:v>
                </c:pt>
                <c:pt idx="773">
                  <c:v>0.99766045212574406</c:v>
                </c:pt>
                <c:pt idx="774">
                  <c:v>0.99767015253689695</c:v>
                </c:pt>
                <c:pt idx="775">
                  <c:v>0.99767973517263853</c:v>
                </c:pt>
                <c:pt idx="776">
                  <c:v>0.99768929282571706</c:v>
                </c:pt>
                <c:pt idx="777">
                  <c:v>0.99770833318388508</c:v>
                </c:pt>
                <c:pt idx="778">
                  <c:v>0.99771781588897457</c:v>
                </c:pt>
                <c:pt idx="779">
                  <c:v>0.99773669207535709</c:v>
                </c:pt>
                <c:pt idx="780">
                  <c:v>0.99774611410826497</c:v>
                </c:pt>
                <c:pt idx="781">
                  <c:v>0.99778313484589887</c:v>
                </c:pt>
                <c:pt idx="782">
                  <c:v>0.99781072998167297</c:v>
                </c:pt>
                <c:pt idx="783">
                  <c:v>0.99781984151576908</c:v>
                </c:pt>
                <c:pt idx="784">
                  <c:v>0.99782889594663549</c:v>
                </c:pt>
                <c:pt idx="785">
                  <c:v>0.99787396110175974</c:v>
                </c:pt>
                <c:pt idx="786">
                  <c:v>0.99788292630882969</c:v>
                </c:pt>
                <c:pt idx="787">
                  <c:v>0.99790971843043563</c:v>
                </c:pt>
                <c:pt idx="788">
                  <c:v>0.99791861582742025</c:v>
                </c:pt>
                <c:pt idx="789">
                  <c:v>0.99792751322440487</c:v>
                </c:pt>
                <c:pt idx="790">
                  <c:v>0.99795412689841778</c:v>
                </c:pt>
                <c:pt idx="791">
                  <c:v>0.99796293507160594</c:v>
                </c:pt>
                <c:pt idx="792">
                  <c:v>0.99797172540003476</c:v>
                </c:pt>
                <c:pt idx="793">
                  <c:v>0.99798920612624031</c:v>
                </c:pt>
                <c:pt idx="794">
                  <c:v>0.99799793221353572</c:v>
                </c:pt>
                <c:pt idx="795">
                  <c:v>0.99801526661271511</c:v>
                </c:pt>
                <c:pt idx="796">
                  <c:v>0.99802386064879167</c:v>
                </c:pt>
                <c:pt idx="797">
                  <c:v>0.99804097734190766</c:v>
                </c:pt>
                <c:pt idx="798">
                  <c:v>0.9980494999989471</c:v>
                </c:pt>
                <c:pt idx="799">
                  <c:v>0.99805796912170863</c:v>
                </c:pt>
                <c:pt idx="800">
                  <c:v>0.99806640969285532</c:v>
                </c:pt>
                <c:pt idx="801">
                  <c:v>0.99810791660297593</c:v>
                </c:pt>
                <c:pt idx="802">
                  <c:v>0.99814884534289561</c:v>
                </c:pt>
                <c:pt idx="803">
                  <c:v>0.99817323555990045</c:v>
                </c:pt>
                <c:pt idx="804">
                  <c:v>0.99818131566690937</c:v>
                </c:pt>
                <c:pt idx="805">
                  <c:v>0.99818939220496639</c:v>
                </c:pt>
                <c:pt idx="806">
                  <c:v>0.99820535612663197</c:v>
                </c:pt>
                <c:pt idx="807">
                  <c:v>0.99827536825525087</c:v>
                </c:pt>
                <c:pt idx="808">
                  <c:v>0.99829826308142666</c:v>
                </c:pt>
                <c:pt idx="809">
                  <c:v>0.99830570791500461</c:v>
                </c:pt>
                <c:pt idx="810">
                  <c:v>0.99831312776591963</c:v>
                </c:pt>
                <c:pt idx="811">
                  <c:v>0.99832051906521968</c:v>
                </c:pt>
                <c:pt idx="812">
                  <c:v>0.99833519102631219</c:v>
                </c:pt>
                <c:pt idx="813">
                  <c:v>0.99834248239496026</c:v>
                </c:pt>
                <c:pt idx="814">
                  <c:v>0.99837134807759609</c:v>
                </c:pt>
                <c:pt idx="815">
                  <c:v>0.9983855310922839</c:v>
                </c:pt>
                <c:pt idx="816">
                  <c:v>0.99841999646038671</c:v>
                </c:pt>
                <c:pt idx="817">
                  <c:v>0.9984335192189806</c:v>
                </c:pt>
                <c:pt idx="818">
                  <c:v>0.99846009006557124</c:v>
                </c:pt>
                <c:pt idx="819">
                  <c:v>0.99849266745814058</c:v>
                </c:pt>
                <c:pt idx="820">
                  <c:v>0.99849912012310171</c:v>
                </c:pt>
                <c:pt idx="821">
                  <c:v>0.99851190053970895</c:v>
                </c:pt>
                <c:pt idx="822">
                  <c:v>0.99852457031880859</c:v>
                </c:pt>
                <c:pt idx="823">
                  <c:v>0.99854342509147997</c:v>
                </c:pt>
                <c:pt idx="824">
                  <c:v>0.99854963863666657</c:v>
                </c:pt>
                <c:pt idx="825">
                  <c:v>0.99858053148395842</c:v>
                </c:pt>
                <c:pt idx="826">
                  <c:v>0.99859884377594732</c:v>
                </c:pt>
                <c:pt idx="827">
                  <c:v>0.99861096393646065</c:v>
                </c:pt>
                <c:pt idx="828">
                  <c:v>0.99861701687881355</c:v>
                </c:pt>
                <c:pt idx="829">
                  <c:v>0.99863495443085715</c:v>
                </c:pt>
                <c:pt idx="830">
                  <c:v>0.99868195395788895</c:v>
                </c:pt>
                <c:pt idx="831">
                  <c:v>0.99869913132318666</c:v>
                </c:pt>
                <c:pt idx="832">
                  <c:v>0.99870479168083515</c:v>
                </c:pt>
                <c:pt idx="833">
                  <c:v>0.99871607313766164</c:v>
                </c:pt>
                <c:pt idx="834">
                  <c:v>0.99874950707867727</c:v>
                </c:pt>
                <c:pt idx="835">
                  <c:v>0.99877717716244041</c:v>
                </c:pt>
                <c:pt idx="836">
                  <c:v>0.99880463667804387</c:v>
                </c:pt>
                <c:pt idx="837">
                  <c:v>0.99881006505382153</c:v>
                </c:pt>
                <c:pt idx="838">
                  <c:v>0.99881548272274356</c:v>
                </c:pt>
                <c:pt idx="839">
                  <c:v>0.99883152159239807</c:v>
                </c:pt>
                <c:pt idx="840">
                  <c:v>0.99884728208380769</c:v>
                </c:pt>
                <c:pt idx="841">
                  <c:v>0.99887303564042262</c:v>
                </c:pt>
                <c:pt idx="842">
                  <c:v>0.99889320735633003</c:v>
                </c:pt>
                <c:pt idx="843">
                  <c:v>0.99889820031998078</c:v>
                </c:pt>
                <c:pt idx="844">
                  <c:v>0.99890316473201668</c:v>
                </c:pt>
                <c:pt idx="845">
                  <c:v>0.99890812914405258</c:v>
                </c:pt>
                <c:pt idx="846">
                  <c:v>0.99891307571132926</c:v>
                </c:pt>
                <c:pt idx="847">
                  <c:v>0.99892292601846022</c:v>
                </c:pt>
                <c:pt idx="848">
                  <c:v>0.99892784403412194</c:v>
                </c:pt>
                <c:pt idx="849">
                  <c:v>0.99893757656584159</c:v>
                </c:pt>
                <c:pt idx="850">
                  <c:v>0.99897129602300583</c:v>
                </c:pt>
                <c:pt idx="851">
                  <c:v>0.99897606057373767</c:v>
                </c:pt>
                <c:pt idx="852">
                  <c:v>0.99898552900301973</c:v>
                </c:pt>
                <c:pt idx="853">
                  <c:v>0.99900430525875017</c:v>
                </c:pt>
                <c:pt idx="854">
                  <c:v>0.99900897701673363</c:v>
                </c:pt>
                <c:pt idx="855">
                  <c:v>0.9990136452057653</c:v>
                </c:pt>
                <c:pt idx="856">
                  <c:v>0.9990412367725876</c:v>
                </c:pt>
                <c:pt idx="857">
                  <c:v>0.99906839292728311</c:v>
                </c:pt>
                <c:pt idx="858">
                  <c:v>0.99909054541147224</c:v>
                </c:pt>
                <c:pt idx="859">
                  <c:v>0.99909491380854776</c:v>
                </c:pt>
                <c:pt idx="860">
                  <c:v>0.99909925008505651</c:v>
                </c:pt>
                <c:pt idx="861">
                  <c:v>0.99910356494785413</c:v>
                </c:pt>
                <c:pt idx="862">
                  <c:v>0.99911218039764182</c:v>
                </c:pt>
                <c:pt idx="863">
                  <c:v>0.9991250393311899</c:v>
                </c:pt>
                <c:pt idx="864">
                  <c:v>0.99915039316519649</c:v>
                </c:pt>
                <c:pt idx="865">
                  <c:v>0.99917502963987948</c:v>
                </c:pt>
                <c:pt idx="866">
                  <c:v>0.99919910578912063</c:v>
                </c:pt>
                <c:pt idx="867">
                  <c:v>0.99922994867108639</c:v>
                </c:pt>
                <c:pt idx="868">
                  <c:v>0.99923737922885703</c:v>
                </c:pt>
                <c:pt idx="869">
                  <c:v>0.9992447812350127</c:v>
                </c:pt>
                <c:pt idx="870">
                  <c:v>0.99924845368647564</c:v>
                </c:pt>
                <c:pt idx="871">
                  <c:v>0.99928095256210414</c:v>
                </c:pt>
                <c:pt idx="872">
                  <c:v>0.99929844756411734</c:v>
                </c:pt>
                <c:pt idx="873">
                  <c:v>0.99930538203757946</c:v>
                </c:pt>
                <c:pt idx="874">
                  <c:v>0.99930882964507528</c:v>
                </c:pt>
                <c:pt idx="875">
                  <c:v>0.99931226654571559</c:v>
                </c:pt>
                <c:pt idx="876">
                  <c:v>0.99931568917054836</c:v>
                </c:pt>
                <c:pt idx="877">
                  <c:v>0.99932586068334672</c:v>
                </c:pt>
                <c:pt idx="878">
                  <c:v>0.99933595724815605</c:v>
                </c:pt>
                <c:pt idx="879">
                  <c:v>0.99933930135604798</c:v>
                </c:pt>
                <c:pt idx="880">
                  <c:v>0.99934592889965024</c:v>
                </c:pt>
                <c:pt idx="881">
                  <c:v>0.99936871308831843</c:v>
                </c:pt>
                <c:pt idx="882">
                  <c:v>0.99939093338259288</c:v>
                </c:pt>
                <c:pt idx="883">
                  <c:v>0.99941849282884843</c:v>
                </c:pt>
                <c:pt idx="884">
                  <c:v>0.99944542413957693</c:v>
                </c:pt>
                <c:pt idx="885">
                  <c:v>0.99945410739944995</c:v>
                </c:pt>
                <c:pt idx="886">
                  <c:v>0.9994626407633449</c:v>
                </c:pt>
                <c:pt idx="887">
                  <c:v>0.99946824758671549</c:v>
                </c:pt>
                <c:pt idx="888">
                  <c:v>0.99948462550679662</c:v>
                </c:pt>
                <c:pt idx="889">
                  <c:v>0.99948996108982591</c:v>
                </c:pt>
                <c:pt idx="890">
                  <c:v>0.99949787345609742</c:v>
                </c:pt>
                <c:pt idx="891">
                  <c:v>0.99950825910600727</c:v>
                </c:pt>
                <c:pt idx="892">
                  <c:v>0.99951082875134578</c:v>
                </c:pt>
                <c:pt idx="893">
                  <c:v>0.99951589666298568</c:v>
                </c:pt>
                <c:pt idx="894">
                  <c:v>0.99953519041673555</c:v>
                </c:pt>
                <c:pt idx="895">
                  <c:v>0.99953755306286629</c:v>
                </c:pt>
                <c:pt idx="896">
                  <c:v>0.99955145413035718</c:v>
                </c:pt>
                <c:pt idx="897">
                  <c:v>0.99955821015622637</c:v>
                </c:pt>
                <c:pt idx="898">
                  <c:v>0.99956904906302235</c:v>
                </c:pt>
                <c:pt idx="899">
                  <c:v>0.99957751104788006</c:v>
                </c:pt>
                <c:pt idx="900">
                  <c:v>0.99958773966390813</c:v>
                </c:pt>
                <c:pt idx="901">
                  <c:v>0.9996037428440443</c:v>
                </c:pt>
                <c:pt idx="902">
                  <c:v>0.99962510658987247</c:v>
                </c:pt>
                <c:pt idx="903">
                  <c:v>0.99962889324779491</c:v>
                </c:pt>
                <c:pt idx="904">
                  <c:v>0.99963264778515071</c:v>
                </c:pt>
                <c:pt idx="905">
                  <c:v>0.99963637020193974</c:v>
                </c:pt>
                <c:pt idx="906">
                  <c:v>0.99964189493941746</c:v>
                </c:pt>
                <c:pt idx="907">
                  <c:v>0.99964734115995446</c:v>
                </c:pt>
                <c:pt idx="908">
                  <c:v>0.99965093509447656</c:v>
                </c:pt>
                <c:pt idx="909">
                  <c:v>0.99966334790904243</c:v>
                </c:pt>
                <c:pt idx="910">
                  <c:v>0.99966683120605682</c:v>
                </c:pt>
                <c:pt idx="911">
                  <c:v>0.99967546450060385</c:v>
                </c:pt>
                <c:pt idx="912">
                  <c:v>0.99968375517577246</c:v>
                </c:pt>
                <c:pt idx="913">
                  <c:v>0.99969497952936925</c:v>
                </c:pt>
                <c:pt idx="914">
                  <c:v>0.99969812734490893</c:v>
                </c:pt>
                <c:pt idx="915">
                  <c:v>0.9997012180572189</c:v>
                </c:pt>
                <c:pt idx="916">
                  <c:v>0.9997027455686146</c:v>
                </c:pt>
                <c:pt idx="917">
                  <c:v>0.99970732453384981</c:v>
                </c:pt>
                <c:pt idx="918">
                  <c:v>0.99971036171188188</c:v>
                </c:pt>
                <c:pt idx="919">
                  <c:v>0.99971635755100507</c:v>
                </c:pt>
                <c:pt idx="920">
                  <c:v>0.99971784580393031</c:v>
                </c:pt>
                <c:pt idx="921">
                  <c:v>0.99974481994208109</c:v>
                </c:pt>
                <c:pt idx="922">
                  <c:v>0.99974618328169129</c:v>
                </c:pt>
                <c:pt idx="923">
                  <c:v>0.99974754305234959</c:v>
                </c:pt>
                <c:pt idx="924">
                  <c:v>0.9997542562507965</c:v>
                </c:pt>
                <c:pt idx="925">
                  <c:v>0.99975689370622034</c:v>
                </c:pt>
                <c:pt idx="926">
                  <c:v>0.9997903454919953</c:v>
                </c:pt>
                <c:pt idx="927">
                  <c:v>0.99979603797021044</c:v>
                </c:pt>
                <c:pt idx="928">
                  <c:v>0.99979940706076542</c:v>
                </c:pt>
                <c:pt idx="929">
                  <c:v>0.99981703411399725</c:v>
                </c:pt>
                <c:pt idx="930">
                  <c:v>0.99982347607210287</c:v>
                </c:pt>
                <c:pt idx="931">
                  <c:v>0.99982453605080501</c:v>
                </c:pt>
                <c:pt idx="932">
                  <c:v>0.99984008597405483</c:v>
                </c:pt>
                <c:pt idx="933">
                  <c:v>0.99985452595327662</c:v>
                </c:pt>
                <c:pt idx="934">
                  <c:v>0.99985729189096739</c:v>
                </c:pt>
                <c:pt idx="935">
                  <c:v>0.99987196742101181</c:v>
                </c:pt>
                <c:pt idx="936">
                  <c:v>0.99988017244133565</c:v>
                </c:pt>
                <c:pt idx="937">
                  <c:v>0.99991350645169941</c:v>
                </c:pt>
                <c:pt idx="938">
                  <c:v>0.99992257872732515</c:v>
                </c:pt>
                <c:pt idx="939">
                  <c:v>0.99992365655078652</c:v>
                </c:pt>
                <c:pt idx="940">
                  <c:v>0.99993454185395692</c:v>
                </c:pt>
                <c:pt idx="941">
                  <c:v>0.99997835073802666</c:v>
                </c:pt>
                <c:pt idx="942">
                  <c:v>0.99998695548095884</c:v>
                </c:pt>
                <c:pt idx="943">
                  <c:v>0.99999443600405558</c:v>
                </c:pt>
                <c:pt idx="944">
                  <c:v>0.9999973232861099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17</c:f>
              <c:strCache>
                <c:ptCount val="416"/>
                <c:pt idx="0">
                  <c:v>Private Lab</c:v>
                </c:pt>
                <c:pt idx="1">
                  <c:v>Soignon</c:v>
                </c:pt>
                <c:pt idx="2">
                  <c:v>Caprice Des</c:v>
                </c:pt>
                <c:pt idx="3">
                  <c:v>Mini Babybe</c:v>
                </c:pt>
                <c:pt idx="4">
                  <c:v>St Moret</c:v>
                </c:pt>
                <c:pt idx="5">
                  <c:v>La Vache Qu</c:v>
                </c:pt>
                <c:pt idx="6">
                  <c:v>Le Rustique</c:v>
                </c:pt>
                <c:pt idx="7">
                  <c:v>Coeur De Li</c:v>
                </c:pt>
                <c:pt idx="8">
                  <c:v>Kiri</c:v>
                </c:pt>
                <c:pt idx="9">
                  <c:v>Galbani</c:v>
                </c:pt>
                <c:pt idx="10">
                  <c:v>Private Lab</c:v>
                </c:pt>
                <c:pt idx="11">
                  <c:v>Paysan Bret</c:v>
                </c:pt>
                <c:pt idx="12">
                  <c:v>President</c:v>
                </c:pt>
                <c:pt idx="13">
                  <c:v>Philadelphi</c:v>
                </c:pt>
                <c:pt idx="14">
                  <c:v>Coeur De Li</c:v>
                </c:pt>
                <c:pt idx="15">
                  <c:v>Private Lab</c:v>
                </c:pt>
                <c:pt idx="16">
                  <c:v>Private Lab</c:v>
                </c:pt>
                <c:pt idx="17">
                  <c:v>Ficello</c:v>
                </c:pt>
                <c:pt idx="18">
                  <c:v>Caprice Des</c:v>
                </c:pt>
                <c:pt idx="19">
                  <c:v>Salakis</c:v>
                </c:pt>
                <c:pt idx="20">
                  <c:v>Soignon</c:v>
                </c:pt>
                <c:pt idx="21">
                  <c:v>La Vache Qu</c:v>
                </c:pt>
                <c:pt idx="22">
                  <c:v>Boursin</c:v>
                </c:pt>
                <c:pt idx="23">
                  <c:v>Soignon</c:v>
                </c:pt>
                <c:pt idx="24">
                  <c:v>Petit Billy</c:v>
                </c:pt>
                <c:pt idx="25">
                  <c:v>St Moret</c:v>
                </c:pt>
                <c:pt idx="26">
                  <c:v>Private Lab</c:v>
                </c:pt>
                <c:pt idx="27">
                  <c:v>St Moret</c:v>
                </c:pt>
                <c:pt idx="28">
                  <c:v>Private Lab</c:v>
                </c:pt>
                <c:pt idx="29">
                  <c:v>Tartare</c:v>
                </c:pt>
                <c:pt idx="30">
                  <c:v>Private Lab</c:v>
                </c:pt>
                <c:pt idx="31">
                  <c:v>President</c:v>
                </c:pt>
                <c:pt idx="32">
                  <c:v>Soignon</c:v>
                </c:pt>
                <c:pt idx="33">
                  <c:v>Private Lab</c:v>
                </c:pt>
                <c:pt idx="34">
                  <c:v>Caprice Des</c:v>
                </c:pt>
                <c:pt idx="35">
                  <c:v>All Others</c:v>
                </c:pt>
                <c:pt idx="36">
                  <c:v>Kiri</c:v>
                </c:pt>
                <c:pt idx="37">
                  <c:v>All Others</c:v>
                </c:pt>
                <c:pt idx="38">
                  <c:v>Le Brebiou</c:v>
                </c:pt>
                <c:pt idx="39">
                  <c:v>Private Lab</c:v>
                </c:pt>
                <c:pt idx="40">
                  <c:v>President</c:v>
                </c:pt>
                <c:pt idx="41">
                  <c:v>Private Lab</c:v>
                </c:pt>
                <c:pt idx="42">
                  <c:v>Private Lab</c:v>
                </c:pt>
                <c:pt idx="43">
                  <c:v>Carre Frais</c:v>
                </c:pt>
                <c:pt idx="44">
                  <c:v>Chavroux</c:v>
                </c:pt>
                <c:pt idx="45">
                  <c:v>Private Lab</c:v>
                </c:pt>
                <c:pt idx="46">
                  <c:v>Private Lab</c:v>
                </c:pt>
                <c:pt idx="47">
                  <c:v>President</c:v>
                </c:pt>
                <c:pt idx="48">
                  <c:v>Boursin</c:v>
                </c:pt>
                <c:pt idx="49">
                  <c:v>Etorki</c:v>
                </c:pt>
                <c:pt idx="50">
                  <c:v>President</c:v>
                </c:pt>
                <c:pt idx="51">
                  <c:v>Private Lab</c:v>
                </c:pt>
                <c:pt idx="52">
                  <c:v>Istara</c:v>
                </c:pt>
                <c:pt idx="53">
                  <c:v>Lou Perac</c:v>
                </c:pt>
                <c:pt idx="54">
                  <c:v>All Others</c:v>
                </c:pt>
                <c:pt idx="55">
                  <c:v>Paysan Bret</c:v>
                </c:pt>
                <c:pt idx="56">
                  <c:v>Tartare</c:v>
                </c:pt>
                <c:pt idx="57">
                  <c:v>Boursin</c:v>
                </c:pt>
                <c:pt idx="58">
                  <c:v>Lepetit</c:v>
                </c:pt>
                <c:pt idx="59">
                  <c:v>Salakis</c:v>
                </c:pt>
                <c:pt idx="60">
                  <c:v>Casa Azzurr</c:v>
                </c:pt>
                <c:pt idx="61">
                  <c:v>Private Lab</c:v>
                </c:pt>
                <c:pt idx="62">
                  <c:v>Private Lab</c:v>
                </c:pt>
                <c:pt idx="63">
                  <c:v>Tartare</c:v>
                </c:pt>
                <c:pt idx="64">
                  <c:v>Private Lab</c:v>
                </c:pt>
                <c:pt idx="65">
                  <c:v>Private Lab</c:v>
                </c:pt>
                <c:pt idx="66">
                  <c:v>Private Lab</c:v>
                </c:pt>
                <c:pt idx="67">
                  <c:v>La Vache Qu</c:v>
                </c:pt>
                <c:pt idx="68">
                  <c:v>St Moret</c:v>
                </c:pt>
                <c:pt idx="69">
                  <c:v>Mini Babybe</c:v>
                </c:pt>
                <c:pt idx="70">
                  <c:v>Galbani</c:v>
                </c:pt>
                <c:pt idx="71">
                  <c:v>Private Lab</c:v>
                </c:pt>
                <c:pt idx="72">
                  <c:v>All Others</c:v>
                </c:pt>
                <c:pt idx="73">
                  <c:v>Private Lab</c:v>
                </c:pt>
                <c:pt idx="74">
                  <c:v>Private Lab</c:v>
                </c:pt>
                <c:pt idx="75">
                  <c:v>All Others</c:v>
                </c:pt>
                <c:pt idx="76">
                  <c:v>Islos</c:v>
                </c:pt>
                <c:pt idx="77">
                  <c:v>Casa Azzurr</c:v>
                </c:pt>
                <c:pt idx="78">
                  <c:v>Kiri</c:v>
                </c:pt>
                <c:pt idx="79">
                  <c:v>Carre Frais</c:v>
                </c:pt>
                <c:pt idx="80">
                  <c:v>Private Lab</c:v>
                </c:pt>
                <c:pt idx="81">
                  <c:v>Private Lab</c:v>
                </c:pt>
                <c:pt idx="82">
                  <c:v>Private Lab</c:v>
                </c:pt>
                <c:pt idx="83">
                  <c:v>All Others</c:v>
                </c:pt>
                <c:pt idx="84">
                  <c:v>Private Lab</c:v>
                </c:pt>
                <c:pt idx="85">
                  <c:v>Soignon</c:v>
                </c:pt>
                <c:pt idx="86">
                  <c:v>Private Lab</c:v>
                </c:pt>
                <c:pt idx="87">
                  <c:v>Private Lab</c:v>
                </c:pt>
                <c:pt idx="88">
                  <c:v>Private Lab</c:v>
                </c:pt>
                <c:pt idx="89">
                  <c:v>Galbani</c:v>
                </c:pt>
                <c:pt idx="90">
                  <c:v>All Others</c:v>
                </c:pt>
                <c:pt idx="91">
                  <c:v>President</c:v>
                </c:pt>
                <c:pt idx="92">
                  <c:v>Paysan Bret</c:v>
                </c:pt>
                <c:pt idx="93">
                  <c:v>Private Lab</c:v>
                </c:pt>
                <c:pt idx="94">
                  <c:v>P'Tit Louis</c:v>
                </c:pt>
                <c:pt idx="95">
                  <c:v>Istara</c:v>
                </c:pt>
                <c:pt idx="96">
                  <c:v>All Others</c:v>
                </c:pt>
                <c:pt idx="97">
                  <c:v>All Others</c:v>
                </c:pt>
                <c:pt idx="98">
                  <c:v>Paysan Bret</c:v>
                </c:pt>
                <c:pt idx="99">
                  <c:v>Private Lab</c:v>
                </c:pt>
                <c:pt idx="100">
                  <c:v>Lactalis: A</c:v>
                </c:pt>
                <c:pt idx="101">
                  <c:v>All Others</c:v>
                </c:pt>
                <c:pt idx="102">
                  <c:v>All Others</c:v>
                </c:pt>
                <c:pt idx="103">
                  <c:v>Lou Perac</c:v>
                </c:pt>
                <c:pt idx="104">
                  <c:v>President</c:v>
                </c:pt>
                <c:pt idx="105">
                  <c:v>All Others</c:v>
                </c:pt>
                <c:pt idx="106">
                  <c:v>President</c:v>
                </c:pt>
                <c:pt idx="107">
                  <c:v>All Others</c:v>
                </c:pt>
                <c:pt idx="108">
                  <c:v>Private Lab</c:v>
                </c:pt>
                <c:pt idx="109">
                  <c:v>All Others</c:v>
                </c:pt>
                <c:pt idx="110">
                  <c:v>All Others</c:v>
                </c:pt>
                <c:pt idx="111">
                  <c:v>La Vache Qu</c:v>
                </c:pt>
                <c:pt idx="112">
                  <c:v>All Others</c:v>
                </c:pt>
                <c:pt idx="113">
                  <c:v>All Others</c:v>
                </c:pt>
                <c:pt idx="114">
                  <c:v>All Others</c:v>
                </c:pt>
                <c:pt idx="115">
                  <c:v>Private Lab</c:v>
                </c:pt>
                <c:pt idx="116">
                  <c:v>Private Lab</c:v>
                </c:pt>
                <c:pt idx="117">
                  <c:v>Kiri</c:v>
                </c:pt>
                <c:pt idx="118">
                  <c:v>Soignon</c:v>
                </c:pt>
                <c:pt idx="119">
                  <c:v>Soignon</c:v>
                </c:pt>
                <c:pt idx="120">
                  <c:v>All Others</c:v>
                </c:pt>
                <c:pt idx="121">
                  <c:v>All Others</c:v>
                </c:pt>
                <c:pt idx="122">
                  <c:v>Soignon</c:v>
                </c:pt>
                <c:pt idx="123">
                  <c:v>All Others</c:v>
                </c:pt>
                <c:pt idx="124">
                  <c:v>All Others</c:v>
                </c:pt>
                <c:pt idx="125">
                  <c:v>President</c:v>
                </c:pt>
                <c:pt idx="126">
                  <c:v>All Others</c:v>
                </c:pt>
                <c:pt idx="127">
                  <c:v>Paysan Bret</c:v>
                </c:pt>
                <c:pt idx="128">
                  <c:v>All Others</c:v>
                </c:pt>
                <c:pt idx="129">
                  <c:v>All Others</c:v>
                </c:pt>
                <c:pt idx="130">
                  <c:v>Paysan Bret</c:v>
                </c:pt>
                <c:pt idx="131">
                  <c:v>All Others</c:v>
                </c:pt>
                <c:pt idx="132">
                  <c:v>Private Lab</c:v>
                </c:pt>
                <c:pt idx="133">
                  <c:v>All Others</c:v>
                </c:pt>
                <c:pt idx="134">
                  <c:v>Triballat N</c:v>
                </c:pt>
                <c:pt idx="135">
                  <c:v>All Others</c:v>
                </c:pt>
                <c:pt idx="136">
                  <c:v>All Others</c:v>
                </c:pt>
                <c:pt idx="137">
                  <c:v>All Others</c:v>
                </c:pt>
                <c:pt idx="138">
                  <c:v>All Others</c:v>
                </c:pt>
                <c:pt idx="139">
                  <c:v>Lactalis: A</c:v>
                </c:pt>
                <c:pt idx="140">
                  <c:v>Private Lab</c:v>
                </c:pt>
                <c:pt idx="141">
                  <c:v>All Others</c:v>
                </c:pt>
                <c:pt idx="142">
                  <c:v>All Others</c:v>
                </c:pt>
                <c:pt idx="143">
                  <c:v>Private Lab</c:v>
                </c:pt>
                <c:pt idx="144">
                  <c:v>Private Lab</c:v>
                </c:pt>
                <c:pt idx="145">
                  <c:v>P'Tit Louis</c:v>
                </c:pt>
                <c:pt idx="146">
                  <c:v>Salakis</c:v>
                </c:pt>
                <c:pt idx="147">
                  <c:v>All Others</c:v>
                </c:pt>
                <c:pt idx="148">
                  <c:v>St Moret</c:v>
                </c:pt>
                <c:pt idx="149">
                  <c:v>Private Lab</c:v>
                </c:pt>
                <c:pt idx="150">
                  <c:v>Le Rustique</c:v>
                </c:pt>
                <c:pt idx="151">
                  <c:v>Private Lab</c:v>
                </c:pt>
                <c:pt idx="152">
                  <c:v>All Others</c:v>
                </c:pt>
                <c:pt idx="153">
                  <c:v>All Others</c:v>
                </c:pt>
                <c:pt idx="154">
                  <c:v>All Others</c:v>
                </c:pt>
                <c:pt idx="155">
                  <c:v>Milleret: A</c:v>
                </c:pt>
                <c:pt idx="156">
                  <c:v>All Others</c:v>
                </c:pt>
                <c:pt idx="157">
                  <c:v>Private Lab</c:v>
                </c:pt>
                <c:pt idx="158">
                  <c:v>Soignon</c:v>
                </c:pt>
                <c:pt idx="159">
                  <c:v>All Others</c:v>
                </c:pt>
                <c:pt idx="160">
                  <c:v>All Others</c:v>
                </c:pt>
                <c:pt idx="161">
                  <c:v>Carre Frais</c:v>
                </c:pt>
                <c:pt idx="162">
                  <c:v>All Others</c:v>
                </c:pt>
                <c:pt idx="163">
                  <c:v>Galbani</c:v>
                </c:pt>
                <c:pt idx="164">
                  <c:v>Paysan Bret</c:v>
                </c:pt>
                <c:pt idx="165">
                  <c:v>Coeur De Li</c:v>
                </c:pt>
                <c:pt idx="166">
                  <c:v>All Others</c:v>
                </c:pt>
                <c:pt idx="167">
                  <c:v>All Others</c:v>
                </c:pt>
                <c:pt idx="168">
                  <c:v>Private Lab</c:v>
                </c:pt>
                <c:pt idx="169">
                  <c:v>Soignon</c:v>
                </c:pt>
                <c:pt idx="170">
                  <c:v>Savencia: A</c:v>
                </c:pt>
                <c:pt idx="171">
                  <c:v>Milleret: A</c:v>
                </c:pt>
                <c:pt idx="172">
                  <c:v>Paysan Bret</c:v>
                </c:pt>
                <c:pt idx="173">
                  <c:v>All Others</c:v>
                </c:pt>
                <c:pt idx="174">
                  <c:v>Boursin</c:v>
                </c:pt>
                <c:pt idx="175">
                  <c:v>Lactalis: A</c:v>
                </c:pt>
                <c:pt idx="176">
                  <c:v>Galbani</c:v>
                </c:pt>
                <c:pt idx="177">
                  <c:v>Pave D'Affi</c:v>
                </c:pt>
                <c:pt idx="178">
                  <c:v>Casa Azzurr</c:v>
                </c:pt>
                <c:pt idx="179">
                  <c:v>Casa Azzurr</c:v>
                </c:pt>
                <c:pt idx="180">
                  <c:v>Istara</c:v>
                </c:pt>
                <c:pt idx="181">
                  <c:v>Boursin</c:v>
                </c:pt>
                <c:pt idx="182">
                  <c:v>Mini Babybe</c:v>
                </c:pt>
                <c:pt idx="183">
                  <c:v>Eurial Autr</c:v>
                </c:pt>
                <c:pt idx="184">
                  <c:v>Private Lab</c:v>
                </c:pt>
                <c:pt idx="185">
                  <c:v>Casa Azzurr</c:v>
                </c:pt>
                <c:pt idx="186">
                  <c:v>All Others</c:v>
                </c:pt>
                <c:pt idx="187">
                  <c:v>Lou Perac</c:v>
                </c:pt>
                <c:pt idx="188">
                  <c:v>Kiri</c:v>
                </c:pt>
                <c:pt idx="189">
                  <c:v>All Others</c:v>
                </c:pt>
                <c:pt idx="190">
                  <c:v>Private Lab</c:v>
                </c:pt>
                <c:pt idx="191">
                  <c:v>All Others</c:v>
                </c:pt>
                <c:pt idx="192">
                  <c:v>All Others</c:v>
                </c:pt>
                <c:pt idx="193">
                  <c:v>Private Lab</c:v>
                </c:pt>
                <c:pt idx="194">
                  <c:v>All Others</c:v>
                </c:pt>
                <c:pt idx="195">
                  <c:v>All Others</c:v>
                </c:pt>
                <c:pt idx="196">
                  <c:v>Mini Babybe</c:v>
                </c:pt>
                <c:pt idx="197">
                  <c:v>All Others</c:v>
                </c:pt>
                <c:pt idx="198">
                  <c:v>Private Lab</c:v>
                </c:pt>
                <c:pt idx="199">
                  <c:v>All Others</c:v>
                </c:pt>
                <c:pt idx="200">
                  <c:v>Private Lab</c:v>
                </c:pt>
                <c:pt idx="201">
                  <c:v>All Others</c:v>
                </c:pt>
                <c:pt idx="202">
                  <c:v>All Others</c:v>
                </c:pt>
                <c:pt idx="203">
                  <c:v>All Others</c:v>
                </c:pt>
                <c:pt idx="204">
                  <c:v>All Others</c:v>
                </c:pt>
                <c:pt idx="205">
                  <c:v>All Others</c:v>
                </c:pt>
                <c:pt idx="206">
                  <c:v>All Others</c:v>
                </c:pt>
                <c:pt idx="207">
                  <c:v>All Others</c:v>
                </c:pt>
                <c:pt idx="208">
                  <c:v>La Vache Qu</c:v>
                </c:pt>
                <c:pt idx="209">
                  <c:v>All Others</c:v>
                </c:pt>
                <c:pt idx="210">
                  <c:v>Private Lab</c:v>
                </c:pt>
                <c:pt idx="211">
                  <c:v>Private Lab</c:v>
                </c:pt>
                <c:pt idx="212">
                  <c:v>Private Lab</c:v>
                </c:pt>
                <c:pt idx="213">
                  <c:v>All Others</c:v>
                </c:pt>
                <c:pt idx="214">
                  <c:v>All Others</c:v>
                </c:pt>
                <c:pt idx="215">
                  <c:v>Lactalis: A</c:v>
                </c:pt>
                <c:pt idx="216">
                  <c:v>All Others</c:v>
                </c:pt>
                <c:pt idx="217">
                  <c:v>All Others</c:v>
                </c:pt>
                <c:pt idx="218">
                  <c:v>All Others</c:v>
                </c:pt>
                <c:pt idx="219">
                  <c:v>All Others</c:v>
                </c:pt>
                <c:pt idx="220">
                  <c:v>All Others</c:v>
                </c:pt>
                <c:pt idx="221">
                  <c:v>Mini Babybe</c:v>
                </c:pt>
                <c:pt idx="222">
                  <c:v>All Others</c:v>
                </c:pt>
                <c:pt idx="223">
                  <c:v>La Vache Qu</c:v>
                </c:pt>
                <c:pt idx="224">
                  <c:v>All Others</c:v>
                </c:pt>
                <c:pt idx="225">
                  <c:v>All Others</c:v>
                </c:pt>
                <c:pt idx="226">
                  <c:v>All Others</c:v>
                </c:pt>
                <c:pt idx="227">
                  <c:v>All Others</c:v>
                </c:pt>
                <c:pt idx="228">
                  <c:v>All Others</c:v>
                </c:pt>
                <c:pt idx="229">
                  <c:v>All Others</c:v>
                </c:pt>
                <c:pt idx="230">
                  <c:v>All Others</c:v>
                </c:pt>
                <c:pt idx="231">
                  <c:v>P'Tit Louis</c:v>
                </c:pt>
                <c:pt idx="232">
                  <c:v>All Others</c:v>
                </c:pt>
                <c:pt idx="233">
                  <c:v>All Others</c:v>
                </c:pt>
                <c:pt idx="234">
                  <c:v>Boursin</c:v>
                </c:pt>
                <c:pt idx="235">
                  <c:v>All Others</c:v>
                </c:pt>
                <c:pt idx="236">
                  <c:v>All Others</c:v>
                </c:pt>
                <c:pt idx="237">
                  <c:v>All Others</c:v>
                </c:pt>
                <c:pt idx="238">
                  <c:v>All Others</c:v>
                </c:pt>
                <c:pt idx="239">
                  <c:v>Private Lab</c:v>
                </c:pt>
                <c:pt idx="240">
                  <c:v>All Others</c:v>
                </c:pt>
                <c:pt idx="241">
                  <c:v>Lactalis: A</c:v>
                </c:pt>
                <c:pt idx="242">
                  <c:v>All Others</c:v>
                </c:pt>
                <c:pt idx="243">
                  <c:v>All Others</c:v>
                </c:pt>
                <c:pt idx="244">
                  <c:v>All Others</c:v>
                </c:pt>
                <c:pt idx="245">
                  <c:v>All Others</c:v>
                </c:pt>
                <c:pt idx="246">
                  <c:v>All Others</c:v>
                </c:pt>
                <c:pt idx="247">
                  <c:v>All Others</c:v>
                </c:pt>
                <c:pt idx="248">
                  <c:v>All Others</c:v>
                </c:pt>
                <c:pt idx="249">
                  <c:v>Lou Perac</c:v>
                </c:pt>
                <c:pt idx="250">
                  <c:v>All Others</c:v>
                </c:pt>
                <c:pt idx="251">
                  <c:v>Lactalis: A</c:v>
                </c:pt>
                <c:pt idx="252">
                  <c:v>All Others</c:v>
                </c:pt>
                <c:pt idx="253">
                  <c:v>Galbani</c:v>
                </c:pt>
                <c:pt idx="254">
                  <c:v>All Others</c:v>
                </c:pt>
                <c:pt idx="255">
                  <c:v>Private Lab</c:v>
                </c:pt>
                <c:pt idx="256">
                  <c:v>Ficello</c:v>
                </c:pt>
                <c:pt idx="257">
                  <c:v>All Others</c:v>
                </c:pt>
                <c:pt idx="258">
                  <c:v>Chavroux</c:v>
                </c:pt>
                <c:pt idx="259">
                  <c:v>All Others</c:v>
                </c:pt>
                <c:pt idx="260">
                  <c:v>All Others</c:v>
                </c:pt>
                <c:pt idx="261">
                  <c:v>All Others</c:v>
                </c:pt>
                <c:pt idx="262">
                  <c:v>All Others</c:v>
                </c:pt>
                <c:pt idx="263">
                  <c:v>Private Lab</c:v>
                </c:pt>
                <c:pt idx="264">
                  <c:v>Kiri</c:v>
                </c:pt>
                <c:pt idx="265">
                  <c:v>All Others</c:v>
                </c:pt>
                <c:pt idx="266">
                  <c:v>Mini Babybe</c:v>
                </c:pt>
                <c:pt idx="267">
                  <c:v>All Others</c:v>
                </c:pt>
                <c:pt idx="268">
                  <c:v>All Others</c:v>
                </c:pt>
                <c:pt idx="269">
                  <c:v>All Others</c:v>
                </c:pt>
                <c:pt idx="270">
                  <c:v>All Others</c:v>
                </c:pt>
                <c:pt idx="271">
                  <c:v>All Others</c:v>
                </c:pt>
                <c:pt idx="272">
                  <c:v>All Others</c:v>
                </c:pt>
                <c:pt idx="273">
                  <c:v>All Others</c:v>
                </c:pt>
                <c:pt idx="274">
                  <c:v>All Others</c:v>
                </c:pt>
                <c:pt idx="275">
                  <c:v>All Others</c:v>
                </c:pt>
                <c:pt idx="276">
                  <c:v>Triballat R</c:v>
                </c:pt>
                <c:pt idx="277">
                  <c:v>All Others</c:v>
                </c:pt>
                <c:pt idx="278">
                  <c:v>All Others</c:v>
                </c:pt>
                <c:pt idx="279">
                  <c:v>Philadelphi</c:v>
                </c:pt>
                <c:pt idx="280">
                  <c:v>Triballat R</c:v>
                </c:pt>
                <c:pt idx="281">
                  <c:v>Lactalis: A</c:v>
                </c:pt>
                <c:pt idx="282">
                  <c:v>Savencia: A</c:v>
                </c:pt>
                <c:pt idx="283">
                  <c:v>Private Lab</c:v>
                </c:pt>
                <c:pt idx="284">
                  <c:v>Private Lab</c:v>
                </c:pt>
                <c:pt idx="285">
                  <c:v>All Others</c:v>
                </c:pt>
                <c:pt idx="286">
                  <c:v>All Others</c:v>
                </c:pt>
                <c:pt idx="287">
                  <c:v>All Others</c:v>
                </c:pt>
                <c:pt idx="288">
                  <c:v>All Others</c:v>
                </c:pt>
                <c:pt idx="289">
                  <c:v>All Others</c:v>
                </c:pt>
                <c:pt idx="290">
                  <c:v>All Others</c:v>
                </c:pt>
                <c:pt idx="291">
                  <c:v>Etoile Du Q</c:v>
                </c:pt>
                <c:pt idx="292">
                  <c:v>All Others</c:v>
                </c:pt>
                <c:pt idx="293">
                  <c:v>All Others</c:v>
                </c:pt>
                <c:pt idx="294">
                  <c:v>All Others</c:v>
                </c:pt>
                <c:pt idx="295">
                  <c:v>All Others</c:v>
                </c:pt>
                <c:pt idx="296">
                  <c:v>Savencia: A</c:v>
                </c:pt>
                <c:pt idx="297">
                  <c:v>Triballat R</c:v>
                </c:pt>
                <c:pt idx="298">
                  <c:v>All Others</c:v>
                </c:pt>
                <c:pt idx="299">
                  <c:v>All Others</c:v>
                </c:pt>
                <c:pt idx="300">
                  <c:v>St Moret</c:v>
                </c:pt>
                <c:pt idx="301">
                  <c:v>All Others</c:v>
                </c:pt>
                <c:pt idx="302">
                  <c:v>All Others</c:v>
                </c:pt>
                <c:pt idx="303">
                  <c:v>All Others</c:v>
                </c:pt>
                <c:pt idx="304">
                  <c:v>Savencia: A</c:v>
                </c:pt>
                <c:pt idx="305">
                  <c:v>All Others</c:v>
                </c:pt>
                <c:pt idx="306">
                  <c:v>All Others</c:v>
                </c:pt>
                <c:pt idx="307">
                  <c:v>All Others</c:v>
                </c:pt>
                <c:pt idx="308">
                  <c:v>All Others</c:v>
                </c:pt>
                <c:pt idx="309">
                  <c:v>All Others</c:v>
                </c:pt>
                <c:pt idx="310">
                  <c:v>All Others</c:v>
                </c:pt>
                <c:pt idx="311">
                  <c:v>Lactalis: A</c:v>
                </c:pt>
                <c:pt idx="312">
                  <c:v>Ficello</c:v>
                </c:pt>
                <c:pt idx="313">
                  <c:v>Triballat N</c:v>
                </c:pt>
                <c:pt idx="314">
                  <c:v>All Others</c:v>
                </c:pt>
                <c:pt idx="315">
                  <c:v>All Others</c:v>
                </c:pt>
                <c:pt idx="316">
                  <c:v>Private Lab</c:v>
                </c:pt>
                <c:pt idx="317">
                  <c:v>All Others</c:v>
                </c:pt>
                <c:pt idx="318">
                  <c:v>All Others</c:v>
                </c:pt>
                <c:pt idx="319">
                  <c:v>All Others</c:v>
                </c:pt>
                <c:pt idx="320">
                  <c:v>All Others</c:v>
                </c:pt>
                <c:pt idx="321">
                  <c:v>All Others</c:v>
                </c:pt>
                <c:pt idx="322">
                  <c:v>All Others</c:v>
                </c:pt>
                <c:pt idx="323">
                  <c:v>All Others</c:v>
                </c:pt>
                <c:pt idx="324">
                  <c:v>Private Lab</c:v>
                </c:pt>
                <c:pt idx="325">
                  <c:v>All Others</c:v>
                </c:pt>
                <c:pt idx="326">
                  <c:v>All Others</c:v>
                </c:pt>
                <c:pt idx="327">
                  <c:v>Private Lab</c:v>
                </c:pt>
                <c:pt idx="328">
                  <c:v>All Others</c:v>
                </c:pt>
                <c:pt idx="329">
                  <c:v>All Others</c:v>
                </c:pt>
                <c:pt idx="330">
                  <c:v>All Others</c:v>
                </c:pt>
                <c:pt idx="331">
                  <c:v>Tartare</c:v>
                </c:pt>
                <c:pt idx="332">
                  <c:v>All Others</c:v>
                </c:pt>
                <c:pt idx="333">
                  <c:v>All Others</c:v>
                </c:pt>
                <c:pt idx="334">
                  <c:v>All Others</c:v>
                </c:pt>
                <c:pt idx="335">
                  <c:v>All Others</c:v>
                </c:pt>
                <c:pt idx="336">
                  <c:v>All Others</c:v>
                </c:pt>
                <c:pt idx="337">
                  <c:v>All Others</c:v>
                </c:pt>
                <c:pt idx="338">
                  <c:v>All Others</c:v>
                </c:pt>
                <c:pt idx="339">
                  <c:v>Eurial Autr</c:v>
                </c:pt>
                <c:pt idx="340">
                  <c:v>All Others</c:v>
                </c:pt>
                <c:pt idx="341">
                  <c:v>All Others</c:v>
                </c:pt>
                <c:pt idx="342">
                  <c:v>All Others</c:v>
                </c:pt>
                <c:pt idx="343">
                  <c:v>All Others</c:v>
                </c:pt>
                <c:pt idx="344">
                  <c:v>All Others</c:v>
                </c:pt>
                <c:pt idx="345">
                  <c:v>All Others</c:v>
                </c:pt>
                <c:pt idx="346">
                  <c:v>Mini Babybe</c:v>
                </c:pt>
                <c:pt idx="347">
                  <c:v>All Others</c:v>
                </c:pt>
                <c:pt idx="348">
                  <c:v>Private Lab</c:v>
                </c:pt>
                <c:pt idx="349">
                  <c:v>All Others</c:v>
                </c:pt>
                <c:pt idx="350">
                  <c:v>All Others</c:v>
                </c:pt>
                <c:pt idx="351">
                  <c:v>All Others</c:v>
                </c:pt>
                <c:pt idx="352">
                  <c:v>All Others</c:v>
                </c:pt>
                <c:pt idx="353">
                  <c:v>All Others</c:v>
                </c:pt>
                <c:pt idx="354">
                  <c:v>All Others</c:v>
                </c:pt>
                <c:pt idx="355">
                  <c:v>All Others</c:v>
                </c:pt>
                <c:pt idx="356">
                  <c:v>Boursin</c:v>
                </c:pt>
                <c:pt idx="357">
                  <c:v>All Others</c:v>
                </c:pt>
                <c:pt idx="358">
                  <c:v>Soignon</c:v>
                </c:pt>
                <c:pt idx="359">
                  <c:v>All Others</c:v>
                </c:pt>
                <c:pt idx="360">
                  <c:v>All Others</c:v>
                </c:pt>
                <c:pt idx="361">
                  <c:v>All Others</c:v>
                </c:pt>
                <c:pt idx="362">
                  <c:v>All Others</c:v>
                </c:pt>
                <c:pt idx="363">
                  <c:v>Private Lab</c:v>
                </c:pt>
                <c:pt idx="364">
                  <c:v>All Others</c:v>
                </c:pt>
                <c:pt idx="365">
                  <c:v>All Others</c:v>
                </c:pt>
                <c:pt idx="366">
                  <c:v>All Others</c:v>
                </c:pt>
                <c:pt idx="367">
                  <c:v>All Others</c:v>
                </c:pt>
                <c:pt idx="368">
                  <c:v>All Others</c:v>
                </c:pt>
                <c:pt idx="369">
                  <c:v>All Others</c:v>
                </c:pt>
                <c:pt idx="370">
                  <c:v>All Others</c:v>
                </c:pt>
                <c:pt idx="371">
                  <c:v>Savencia: A</c:v>
                </c:pt>
                <c:pt idx="372">
                  <c:v>Private Lab</c:v>
                </c:pt>
                <c:pt idx="373">
                  <c:v>All Others</c:v>
                </c:pt>
                <c:pt idx="374">
                  <c:v>All Others</c:v>
                </c:pt>
                <c:pt idx="375">
                  <c:v>All Others</c:v>
                </c:pt>
                <c:pt idx="376">
                  <c:v>All Others</c:v>
                </c:pt>
                <c:pt idx="377">
                  <c:v>All Others</c:v>
                </c:pt>
                <c:pt idx="378">
                  <c:v>All Others</c:v>
                </c:pt>
                <c:pt idx="379">
                  <c:v>All Others</c:v>
                </c:pt>
                <c:pt idx="380">
                  <c:v>All Others</c:v>
                </c:pt>
                <c:pt idx="381">
                  <c:v>All Others</c:v>
                </c:pt>
                <c:pt idx="382">
                  <c:v>All Others</c:v>
                </c:pt>
                <c:pt idx="383">
                  <c:v>All Others</c:v>
                </c:pt>
                <c:pt idx="384">
                  <c:v>All Others</c:v>
                </c:pt>
                <c:pt idx="385">
                  <c:v>Private Lab</c:v>
                </c:pt>
                <c:pt idx="386">
                  <c:v>Private Lab</c:v>
                </c:pt>
                <c:pt idx="387">
                  <c:v>All Others</c:v>
                </c:pt>
                <c:pt idx="388">
                  <c:v>All Others</c:v>
                </c:pt>
                <c:pt idx="389">
                  <c:v>Private Lab</c:v>
                </c:pt>
                <c:pt idx="390">
                  <c:v>All Others</c:v>
                </c:pt>
                <c:pt idx="391">
                  <c:v>Caprice Des</c:v>
                </c:pt>
                <c:pt idx="392">
                  <c:v>Private Lab</c:v>
                </c:pt>
                <c:pt idx="393">
                  <c:v>All Others</c:v>
                </c:pt>
                <c:pt idx="394">
                  <c:v>Private Lab</c:v>
                </c:pt>
                <c:pt idx="395">
                  <c:v>All Others</c:v>
                </c:pt>
                <c:pt idx="396">
                  <c:v>All Others</c:v>
                </c:pt>
                <c:pt idx="397">
                  <c:v>All Others</c:v>
                </c:pt>
                <c:pt idx="398">
                  <c:v>All Others</c:v>
                </c:pt>
                <c:pt idx="399">
                  <c:v>All Others</c:v>
                </c:pt>
                <c:pt idx="400">
                  <c:v>Private Lab</c:v>
                </c:pt>
                <c:pt idx="401">
                  <c:v>All Others</c:v>
                </c:pt>
                <c:pt idx="402">
                  <c:v>All Others</c:v>
                </c:pt>
                <c:pt idx="403">
                  <c:v>Carre Frais</c:v>
                </c:pt>
                <c:pt idx="404">
                  <c:v>All Others</c:v>
                </c:pt>
                <c:pt idx="405">
                  <c:v>All Others</c:v>
                </c:pt>
                <c:pt idx="406">
                  <c:v>Triballat R</c:v>
                </c:pt>
                <c:pt idx="407">
                  <c:v>All Others</c:v>
                </c:pt>
                <c:pt idx="408">
                  <c:v>All Others</c:v>
                </c:pt>
                <c:pt idx="409">
                  <c:v>All Others</c:v>
                </c:pt>
                <c:pt idx="410">
                  <c:v>All Others</c:v>
                </c:pt>
                <c:pt idx="411">
                  <c:v>All Others</c:v>
                </c:pt>
                <c:pt idx="412">
                  <c:v>All Others</c:v>
                </c:pt>
                <c:pt idx="413">
                  <c:v>All Others</c:v>
                </c:pt>
                <c:pt idx="414">
                  <c:v>All Others</c:v>
                </c:pt>
                <c:pt idx="415">
                  <c:v>All Others</c:v>
                </c:pt>
              </c:strCache>
            </c:strRef>
          </c:cat>
          <c:val>
            <c:numRef>
              <c:f>Sheet1!$B$2:$B$417</c:f>
              <c:numCache>
                <c:formatCode>General</c:formatCode>
                <c:ptCount val="416"/>
                <c:pt idx="0">
                  <c:v>1</c:v>
                </c:pt>
                <c:pt idx="1">
                  <c:v>0.93</c:v>
                </c:pt>
                <c:pt idx="2">
                  <c:v>0.95</c:v>
                </c:pt>
                <c:pt idx="3">
                  <c:v>0.96</c:v>
                </c:pt>
                <c:pt idx="4">
                  <c:v>0.97</c:v>
                </c:pt>
                <c:pt idx="5">
                  <c:v>0.91</c:v>
                </c:pt>
                <c:pt idx="6">
                  <c:v>0.94</c:v>
                </c:pt>
                <c:pt idx="7">
                  <c:v>0.78</c:v>
                </c:pt>
                <c:pt idx="8">
                  <c:v>0.96</c:v>
                </c:pt>
                <c:pt idx="9">
                  <c:v>0.74</c:v>
                </c:pt>
                <c:pt idx="10">
                  <c:v>0.84</c:v>
                </c:pt>
                <c:pt idx="11">
                  <c:v>0.86</c:v>
                </c:pt>
                <c:pt idx="12">
                  <c:v>0.95</c:v>
                </c:pt>
                <c:pt idx="13">
                  <c:v>0.91</c:v>
                </c:pt>
                <c:pt idx="14">
                  <c:v>0.86</c:v>
                </c:pt>
                <c:pt idx="15">
                  <c:v>0.95</c:v>
                </c:pt>
                <c:pt idx="16">
                  <c:v>0.99</c:v>
                </c:pt>
                <c:pt idx="17">
                  <c:v>0.83</c:v>
                </c:pt>
                <c:pt idx="18">
                  <c:v>0.47</c:v>
                </c:pt>
                <c:pt idx="19">
                  <c:v>0.66</c:v>
                </c:pt>
                <c:pt idx="20">
                  <c:v>0.78</c:v>
                </c:pt>
                <c:pt idx="21">
                  <c:v>0.47</c:v>
                </c:pt>
                <c:pt idx="22">
                  <c:v>0.83</c:v>
                </c:pt>
                <c:pt idx="23">
                  <c:v>0.48</c:v>
                </c:pt>
                <c:pt idx="24">
                  <c:v>0.79</c:v>
                </c:pt>
                <c:pt idx="25">
                  <c:v>0.65</c:v>
                </c:pt>
                <c:pt idx="26">
                  <c:v>0.94</c:v>
                </c:pt>
                <c:pt idx="27">
                  <c:v>0.75</c:v>
                </c:pt>
                <c:pt idx="28">
                  <c:v>0.97</c:v>
                </c:pt>
                <c:pt idx="29">
                  <c:v>0.75</c:v>
                </c:pt>
                <c:pt idx="30">
                  <c:v>0.98</c:v>
                </c:pt>
                <c:pt idx="31">
                  <c:v>0.56000000000000005</c:v>
                </c:pt>
                <c:pt idx="32">
                  <c:v>0.78</c:v>
                </c:pt>
                <c:pt idx="33">
                  <c:v>0.84</c:v>
                </c:pt>
                <c:pt idx="34">
                  <c:v>0.56999999999999995</c:v>
                </c:pt>
                <c:pt idx="35">
                  <c:v>0.25</c:v>
                </c:pt>
                <c:pt idx="36">
                  <c:v>0.71</c:v>
                </c:pt>
                <c:pt idx="37">
                  <c:v>0.01</c:v>
                </c:pt>
                <c:pt idx="38">
                  <c:v>0.63</c:v>
                </c:pt>
                <c:pt idx="39">
                  <c:v>0.96</c:v>
                </c:pt>
                <c:pt idx="40">
                  <c:v>0.62</c:v>
                </c:pt>
                <c:pt idx="41">
                  <c:v>0.88</c:v>
                </c:pt>
                <c:pt idx="42">
                  <c:v>0.88</c:v>
                </c:pt>
                <c:pt idx="43">
                  <c:v>0.54</c:v>
                </c:pt>
                <c:pt idx="44">
                  <c:v>0.74</c:v>
                </c:pt>
                <c:pt idx="45">
                  <c:v>0.68</c:v>
                </c:pt>
                <c:pt idx="46">
                  <c:v>0.95</c:v>
                </c:pt>
                <c:pt idx="47">
                  <c:v>0.71</c:v>
                </c:pt>
                <c:pt idx="48">
                  <c:v>0.53</c:v>
                </c:pt>
                <c:pt idx="49">
                  <c:v>0.56000000000000005</c:v>
                </c:pt>
                <c:pt idx="50">
                  <c:v>0.61</c:v>
                </c:pt>
                <c:pt idx="51">
                  <c:v>0.76</c:v>
                </c:pt>
                <c:pt idx="52">
                  <c:v>0.48</c:v>
                </c:pt>
                <c:pt idx="53">
                  <c:v>0.57999999999999996</c:v>
                </c:pt>
                <c:pt idx="54">
                  <c:v>0.57999999999999996</c:v>
                </c:pt>
                <c:pt idx="55">
                  <c:v>0.48</c:v>
                </c:pt>
                <c:pt idx="56">
                  <c:v>0.41</c:v>
                </c:pt>
                <c:pt idx="57">
                  <c:v>0.79</c:v>
                </c:pt>
                <c:pt idx="58">
                  <c:v>0.5</c:v>
                </c:pt>
                <c:pt idx="59">
                  <c:v>0.68</c:v>
                </c:pt>
                <c:pt idx="60">
                  <c:v>0.35</c:v>
                </c:pt>
                <c:pt idx="61">
                  <c:v>0.68</c:v>
                </c:pt>
                <c:pt idx="62">
                  <c:v>0.56999999999999995</c:v>
                </c:pt>
                <c:pt idx="63">
                  <c:v>0.59</c:v>
                </c:pt>
                <c:pt idx="64">
                  <c:v>0.41</c:v>
                </c:pt>
                <c:pt idx="65">
                  <c:v>0.73</c:v>
                </c:pt>
                <c:pt idx="66">
                  <c:v>0.66</c:v>
                </c:pt>
                <c:pt idx="67">
                  <c:v>0.51</c:v>
                </c:pt>
                <c:pt idx="68">
                  <c:v>0.19</c:v>
                </c:pt>
                <c:pt idx="69">
                  <c:v>0.2</c:v>
                </c:pt>
                <c:pt idx="70">
                  <c:v>0.28000000000000003</c:v>
                </c:pt>
                <c:pt idx="71">
                  <c:v>0.82</c:v>
                </c:pt>
                <c:pt idx="72">
                  <c:v>0.34</c:v>
                </c:pt>
                <c:pt idx="73">
                  <c:v>0.52</c:v>
                </c:pt>
                <c:pt idx="74">
                  <c:v>0.61</c:v>
                </c:pt>
                <c:pt idx="75">
                  <c:v>0.27</c:v>
                </c:pt>
                <c:pt idx="76">
                  <c:v>0.14000000000000001</c:v>
                </c:pt>
                <c:pt idx="77">
                  <c:v>0.25</c:v>
                </c:pt>
                <c:pt idx="78">
                  <c:v>0.56000000000000005</c:v>
                </c:pt>
                <c:pt idx="79">
                  <c:v>0.28000000000000003</c:v>
                </c:pt>
                <c:pt idx="80">
                  <c:v>0.92</c:v>
                </c:pt>
                <c:pt idx="81">
                  <c:v>0.77</c:v>
                </c:pt>
                <c:pt idx="82">
                  <c:v>0.6</c:v>
                </c:pt>
                <c:pt idx="83">
                  <c:v>0.22</c:v>
                </c:pt>
                <c:pt idx="84">
                  <c:v>0.6</c:v>
                </c:pt>
                <c:pt idx="85">
                  <c:v>0.37</c:v>
                </c:pt>
                <c:pt idx="86">
                  <c:v>0.36</c:v>
                </c:pt>
                <c:pt idx="87">
                  <c:v>0.45</c:v>
                </c:pt>
                <c:pt idx="88">
                  <c:v>0.38</c:v>
                </c:pt>
                <c:pt idx="89">
                  <c:v>0.16</c:v>
                </c:pt>
                <c:pt idx="90">
                  <c:v>0.16</c:v>
                </c:pt>
                <c:pt idx="91">
                  <c:v>0.14000000000000001</c:v>
                </c:pt>
                <c:pt idx="92">
                  <c:v>0.24</c:v>
                </c:pt>
                <c:pt idx="93">
                  <c:v>0.28000000000000003</c:v>
                </c:pt>
                <c:pt idx="94">
                  <c:v>0.36</c:v>
                </c:pt>
                <c:pt idx="95">
                  <c:v>0.14000000000000001</c:v>
                </c:pt>
                <c:pt idx="96">
                  <c:v>0.28999999999999998</c:v>
                </c:pt>
                <c:pt idx="97">
                  <c:v>0.1</c:v>
                </c:pt>
                <c:pt idx="98">
                  <c:v>0.52</c:v>
                </c:pt>
                <c:pt idx="99">
                  <c:v>0.3</c:v>
                </c:pt>
                <c:pt idx="100">
                  <c:v>0.16</c:v>
                </c:pt>
                <c:pt idx="101">
                  <c:v>0.08</c:v>
                </c:pt>
                <c:pt idx="102">
                  <c:v>0.18</c:v>
                </c:pt>
                <c:pt idx="103">
                  <c:v>0.37</c:v>
                </c:pt>
                <c:pt idx="104">
                  <c:v>0.18</c:v>
                </c:pt>
                <c:pt idx="105">
                  <c:v>0.18</c:v>
                </c:pt>
                <c:pt idx="106">
                  <c:v>0.12</c:v>
                </c:pt>
                <c:pt idx="107">
                  <c:v>0.19</c:v>
                </c:pt>
                <c:pt idx="108">
                  <c:v>0.28000000000000003</c:v>
                </c:pt>
                <c:pt idx="109">
                  <c:v>0.18</c:v>
                </c:pt>
                <c:pt idx="110">
                  <c:v>0.19</c:v>
                </c:pt>
                <c:pt idx="111">
                  <c:v>0.09</c:v>
                </c:pt>
                <c:pt idx="112">
                  <c:v>0.19</c:v>
                </c:pt>
                <c:pt idx="113">
                  <c:v>0.09</c:v>
                </c:pt>
                <c:pt idx="114">
                  <c:v>0.08</c:v>
                </c:pt>
                <c:pt idx="115">
                  <c:v>0.41</c:v>
                </c:pt>
                <c:pt idx="116">
                  <c:v>0.16</c:v>
                </c:pt>
                <c:pt idx="117">
                  <c:v>0.27</c:v>
                </c:pt>
                <c:pt idx="118">
                  <c:v>0.12</c:v>
                </c:pt>
                <c:pt idx="119">
                  <c:v>0.18</c:v>
                </c:pt>
                <c:pt idx="120">
                  <c:v>0.06</c:v>
                </c:pt>
                <c:pt idx="121">
                  <c:v>0.08</c:v>
                </c:pt>
                <c:pt idx="122">
                  <c:v>0.16</c:v>
                </c:pt>
                <c:pt idx="123">
                  <c:v>0.08</c:v>
                </c:pt>
                <c:pt idx="124">
                  <c:v>0.1</c:v>
                </c:pt>
                <c:pt idx="125">
                  <c:v>0.19</c:v>
                </c:pt>
                <c:pt idx="126">
                  <c:v>0.08</c:v>
                </c:pt>
                <c:pt idx="127">
                  <c:v>0.05</c:v>
                </c:pt>
                <c:pt idx="128">
                  <c:v>0.24</c:v>
                </c:pt>
                <c:pt idx="129">
                  <c:v>0.06</c:v>
                </c:pt>
                <c:pt idx="130">
                  <c:v>0.06</c:v>
                </c:pt>
                <c:pt idx="131">
                  <c:v>0.1</c:v>
                </c:pt>
                <c:pt idx="132">
                  <c:v>0.22</c:v>
                </c:pt>
                <c:pt idx="133">
                  <c:v>0.08</c:v>
                </c:pt>
                <c:pt idx="134">
                  <c:v>0.14000000000000001</c:v>
                </c:pt>
                <c:pt idx="135">
                  <c:v>7.0000000000000007E-2</c:v>
                </c:pt>
                <c:pt idx="136">
                  <c:v>7.0000000000000007E-2</c:v>
                </c:pt>
                <c:pt idx="137">
                  <c:v>0.03</c:v>
                </c:pt>
                <c:pt idx="138">
                  <c:v>0.05</c:v>
                </c:pt>
                <c:pt idx="139">
                  <c:v>0.06</c:v>
                </c:pt>
                <c:pt idx="140">
                  <c:v>0.21</c:v>
                </c:pt>
                <c:pt idx="141">
                  <c:v>7.0000000000000007E-2</c:v>
                </c:pt>
                <c:pt idx="142">
                  <c:v>0.03</c:v>
                </c:pt>
                <c:pt idx="143">
                  <c:v>0.27</c:v>
                </c:pt>
                <c:pt idx="144">
                  <c:v>0.2</c:v>
                </c:pt>
                <c:pt idx="145">
                  <c:v>0.3</c:v>
                </c:pt>
                <c:pt idx="146">
                  <c:v>0.11</c:v>
                </c:pt>
                <c:pt idx="147">
                  <c:v>0.1</c:v>
                </c:pt>
                <c:pt idx="148">
                  <c:v>0.12</c:v>
                </c:pt>
                <c:pt idx="149">
                  <c:v>0.22</c:v>
                </c:pt>
                <c:pt idx="150">
                  <c:v>7.0000000000000007E-2</c:v>
                </c:pt>
                <c:pt idx="151">
                  <c:v>0.16</c:v>
                </c:pt>
                <c:pt idx="152">
                  <c:v>7.0000000000000007E-2</c:v>
                </c:pt>
                <c:pt idx="153">
                  <c:v>0.04</c:v>
                </c:pt>
                <c:pt idx="154">
                  <c:v>0.04</c:v>
                </c:pt>
                <c:pt idx="155">
                  <c:v>0.05</c:v>
                </c:pt>
                <c:pt idx="156">
                  <c:v>7.0000000000000007E-2</c:v>
                </c:pt>
                <c:pt idx="157">
                  <c:v>0.11</c:v>
                </c:pt>
                <c:pt idx="158">
                  <c:v>0.13</c:v>
                </c:pt>
                <c:pt idx="159">
                  <c:v>0.05</c:v>
                </c:pt>
                <c:pt idx="160">
                  <c:v>0.06</c:v>
                </c:pt>
                <c:pt idx="161">
                  <c:v>0.08</c:v>
                </c:pt>
                <c:pt idx="162">
                  <c:v>0.18</c:v>
                </c:pt>
                <c:pt idx="163">
                  <c:v>0.08</c:v>
                </c:pt>
                <c:pt idx="164">
                  <c:v>0.04</c:v>
                </c:pt>
                <c:pt idx="165">
                  <c:v>0.05</c:v>
                </c:pt>
                <c:pt idx="166">
                  <c:v>0.05</c:v>
                </c:pt>
                <c:pt idx="167">
                  <c:v>0.05</c:v>
                </c:pt>
                <c:pt idx="168">
                  <c:v>0.32</c:v>
                </c:pt>
                <c:pt idx="169">
                  <c:v>0.11</c:v>
                </c:pt>
                <c:pt idx="170">
                  <c:v>0.12</c:v>
                </c:pt>
                <c:pt idx="171">
                  <c:v>0.05</c:v>
                </c:pt>
                <c:pt idx="172">
                  <c:v>0.04</c:v>
                </c:pt>
                <c:pt idx="173">
                  <c:v>0.03</c:v>
                </c:pt>
                <c:pt idx="174">
                  <c:v>0.08</c:v>
                </c:pt>
                <c:pt idx="175">
                  <c:v>7.0000000000000007E-2</c:v>
                </c:pt>
                <c:pt idx="176">
                  <c:v>7.0000000000000007E-2</c:v>
                </c:pt>
                <c:pt idx="177">
                  <c:v>7.0000000000000007E-2</c:v>
                </c:pt>
                <c:pt idx="178">
                  <c:v>0.09</c:v>
                </c:pt>
                <c:pt idx="179">
                  <c:v>0.08</c:v>
                </c:pt>
                <c:pt idx="180">
                  <c:v>7.0000000000000007E-2</c:v>
                </c:pt>
                <c:pt idx="181">
                  <c:v>0.12</c:v>
                </c:pt>
                <c:pt idx="182">
                  <c:v>0.13</c:v>
                </c:pt>
                <c:pt idx="183">
                  <c:v>0.03</c:v>
                </c:pt>
                <c:pt idx="184">
                  <c:v>0.12</c:v>
                </c:pt>
                <c:pt idx="185">
                  <c:v>0.06</c:v>
                </c:pt>
                <c:pt idx="186">
                  <c:v>7.0000000000000007E-2</c:v>
                </c:pt>
                <c:pt idx="187">
                  <c:v>0.05</c:v>
                </c:pt>
                <c:pt idx="188">
                  <c:v>0.06</c:v>
                </c:pt>
                <c:pt idx="189">
                  <c:v>0.05</c:v>
                </c:pt>
                <c:pt idx="190">
                  <c:v>0.14000000000000001</c:v>
                </c:pt>
                <c:pt idx="191">
                  <c:v>0.02</c:v>
                </c:pt>
                <c:pt idx="192">
                  <c:v>0.04</c:v>
                </c:pt>
                <c:pt idx="193">
                  <c:v>0.16</c:v>
                </c:pt>
                <c:pt idx="194">
                  <c:v>0.04</c:v>
                </c:pt>
                <c:pt idx="195">
                  <c:v>0.08</c:v>
                </c:pt>
                <c:pt idx="196">
                  <c:v>0.17</c:v>
                </c:pt>
                <c:pt idx="197">
                  <c:v>0.06</c:v>
                </c:pt>
                <c:pt idx="198">
                  <c:v>0.13</c:v>
                </c:pt>
                <c:pt idx="199">
                  <c:v>0.08</c:v>
                </c:pt>
                <c:pt idx="200">
                  <c:v>0.06</c:v>
                </c:pt>
                <c:pt idx="201">
                  <c:v>0.01</c:v>
                </c:pt>
                <c:pt idx="202">
                  <c:v>0.02</c:v>
                </c:pt>
                <c:pt idx="203">
                  <c:v>0.03</c:v>
                </c:pt>
                <c:pt idx="204">
                  <c:v>0.01</c:v>
                </c:pt>
                <c:pt idx="205">
                  <c:v>0.03</c:v>
                </c:pt>
                <c:pt idx="206">
                  <c:v>0.03</c:v>
                </c:pt>
                <c:pt idx="207">
                  <c:v>0.05</c:v>
                </c:pt>
                <c:pt idx="208">
                  <c:v>0.08</c:v>
                </c:pt>
                <c:pt idx="209">
                  <c:v>0.03</c:v>
                </c:pt>
                <c:pt idx="210">
                  <c:v>0.09</c:v>
                </c:pt>
                <c:pt idx="211">
                  <c:v>0.11</c:v>
                </c:pt>
                <c:pt idx="212">
                  <c:v>0.13</c:v>
                </c:pt>
                <c:pt idx="213">
                  <c:v>0.01</c:v>
                </c:pt>
                <c:pt idx="214">
                  <c:v>0.03</c:v>
                </c:pt>
                <c:pt idx="215">
                  <c:v>0.05</c:v>
                </c:pt>
                <c:pt idx="216">
                  <c:v>0.03</c:v>
                </c:pt>
                <c:pt idx="217">
                  <c:v>0.03</c:v>
                </c:pt>
                <c:pt idx="218">
                  <c:v>0.02</c:v>
                </c:pt>
                <c:pt idx="219">
                  <c:v>0.03</c:v>
                </c:pt>
                <c:pt idx="220">
                  <c:v>0.02</c:v>
                </c:pt>
                <c:pt idx="221">
                  <c:v>0.06</c:v>
                </c:pt>
                <c:pt idx="222">
                  <c:v>0.04</c:v>
                </c:pt>
                <c:pt idx="223">
                  <c:v>0.05</c:v>
                </c:pt>
                <c:pt idx="224">
                  <c:v>0.05</c:v>
                </c:pt>
                <c:pt idx="225">
                  <c:v>0.01</c:v>
                </c:pt>
                <c:pt idx="226">
                  <c:v>0.03</c:v>
                </c:pt>
                <c:pt idx="227">
                  <c:v>0.02</c:v>
                </c:pt>
                <c:pt idx="228">
                  <c:v>0.03</c:v>
                </c:pt>
                <c:pt idx="229">
                  <c:v>0.02</c:v>
                </c:pt>
                <c:pt idx="230">
                  <c:v>0.03</c:v>
                </c:pt>
                <c:pt idx="231">
                  <c:v>0.05</c:v>
                </c:pt>
                <c:pt idx="232">
                  <c:v>0.01</c:v>
                </c:pt>
                <c:pt idx="233">
                  <c:v>0.03</c:v>
                </c:pt>
                <c:pt idx="234">
                  <c:v>0.11</c:v>
                </c:pt>
                <c:pt idx="235">
                  <c:v>0.02</c:v>
                </c:pt>
                <c:pt idx="236">
                  <c:v>0.02</c:v>
                </c:pt>
                <c:pt idx="237">
                  <c:v>0.01</c:v>
                </c:pt>
                <c:pt idx="238">
                  <c:v>0.12</c:v>
                </c:pt>
                <c:pt idx="239">
                  <c:v>7.0000000000000007E-2</c:v>
                </c:pt>
                <c:pt idx="240">
                  <c:v>0.01</c:v>
                </c:pt>
                <c:pt idx="241">
                  <c:v>0.02</c:v>
                </c:pt>
                <c:pt idx="242">
                  <c:v>0.01</c:v>
                </c:pt>
                <c:pt idx="243">
                  <c:v>0.02</c:v>
                </c:pt>
                <c:pt idx="244">
                  <c:v>0.02</c:v>
                </c:pt>
                <c:pt idx="245">
                  <c:v>0.01</c:v>
                </c:pt>
                <c:pt idx="246">
                  <c:v>0.01</c:v>
                </c:pt>
                <c:pt idx="247">
                  <c:v>0.02</c:v>
                </c:pt>
                <c:pt idx="248">
                  <c:v>0.02</c:v>
                </c:pt>
                <c:pt idx="249">
                  <c:v>0.03</c:v>
                </c:pt>
                <c:pt idx="250">
                  <c:v>0.11</c:v>
                </c:pt>
                <c:pt idx="251">
                  <c:v>0.02</c:v>
                </c:pt>
                <c:pt idx="252">
                  <c:v>0.01</c:v>
                </c:pt>
                <c:pt idx="253">
                  <c:v>0.04</c:v>
                </c:pt>
                <c:pt idx="254">
                  <c:v>0.01</c:v>
                </c:pt>
                <c:pt idx="255">
                  <c:v>0.06</c:v>
                </c:pt>
                <c:pt idx="256">
                  <c:v>0.02</c:v>
                </c:pt>
                <c:pt idx="257">
                  <c:v>0.01</c:v>
                </c:pt>
                <c:pt idx="258">
                  <c:v>0.05</c:v>
                </c:pt>
                <c:pt idx="259">
                  <c:v>0.03</c:v>
                </c:pt>
                <c:pt idx="260">
                  <c:v>0.02</c:v>
                </c:pt>
                <c:pt idx="261">
                  <c:v>0.02</c:v>
                </c:pt>
                <c:pt idx="262">
                  <c:v>0.01</c:v>
                </c:pt>
                <c:pt idx="263">
                  <c:v>0.05</c:v>
                </c:pt>
                <c:pt idx="264">
                  <c:v>0.02</c:v>
                </c:pt>
                <c:pt idx="265">
                  <c:v>0.01</c:v>
                </c:pt>
                <c:pt idx="266">
                  <c:v>0.05</c:v>
                </c:pt>
                <c:pt idx="267">
                  <c:v>0.01</c:v>
                </c:pt>
                <c:pt idx="268">
                  <c:v>0.01</c:v>
                </c:pt>
                <c:pt idx="269">
                  <c:v>0.03</c:v>
                </c:pt>
                <c:pt idx="270">
                  <c:v>0.01</c:v>
                </c:pt>
                <c:pt idx="271">
                  <c:v>0.01</c:v>
                </c:pt>
                <c:pt idx="272">
                  <c:v>0.01</c:v>
                </c:pt>
                <c:pt idx="273">
                  <c:v>0.01</c:v>
                </c:pt>
                <c:pt idx="274">
                  <c:v>0.01</c:v>
                </c:pt>
                <c:pt idx="275">
                  <c:v>0.01</c:v>
                </c:pt>
                <c:pt idx="276">
                  <c:v>0.01</c:v>
                </c:pt>
                <c:pt idx="277">
                  <c:v>0.01</c:v>
                </c:pt>
                <c:pt idx="278">
                  <c:v>0.02</c:v>
                </c:pt>
                <c:pt idx="279">
                  <c:v>0.03</c:v>
                </c:pt>
                <c:pt idx="280">
                  <c:v>0.01</c:v>
                </c:pt>
                <c:pt idx="281">
                  <c:v>0.02</c:v>
                </c:pt>
                <c:pt idx="282">
                  <c:v>0.01</c:v>
                </c:pt>
                <c:pt idx="283">
                  <c:v>0.05</c:v>
                </c:pt>
                <c:pt idx="284">
                  <c:v>0.04</c:v>
                </c:pt>
                <c:pt idx="285">
                  <c:v>0.01</c:v>
                </c:pt>
                <c:pt idx="286">
                  <c:v>0.16</c:v>
                </c:pt>
                <c:pt idx="287">
                  <c:v>0.01</c:v>
                </c:pt>
                <c:pt idx="288">
                  <c:v>0.04</c:v>
                </c:pt>
                <c:pt idx="289">
                  <c:v>0.01</c:v>
                </c:pt>
                <c:pt idx="290">
                  <c:v>0.01</c:v>
                </c:pt>
                <c:pt idx="291">
                  <c:v>0.01</c:v>
                </c:pt>
                <c:pt idx="292">
                  <c:v>0.01</c:v>
                </c:pt>
                <c:pt idx="293">
                  <c:v>0.01</c:v>
                </c:pt>
                <c:pt idx="294">
                  <c:v>0.01</c:v>
                </c:pt>
                <c:pt idx="295">
                  <c:v>0.01</c:v>
                </c:pt>
                <c:pt idx="296">
                  <c:v>0.01</c:v>
                </c:pt>
                <c:pt idx="297">
                  <c:v>0.01</c:v>
                </c:pt>
                <c:pt idx="298">
                  <c:v>0.01</c:v>
                </c:pt>
                <c:pt idx="299">
                  <c:v>0.01</c:v>
                </c:pt>
                <c:pt idx="300">
                  <c:v>0.03</c:v>
                </c:pt>
                <c:pt idx="301">
                  <c:v>0.03</c:v>
                </c:pt>
                <c:pt idx="302">
                  <c:v>0.01</c:v>
                </c:pt>
                <c:pt idx="303">
                  <c:v>0.01</c:v>
                </c:pt>
                <c:pt idx="304">
                  <c:v>0.01</c:v>
                </c:pt>
                <c:pt idx="305">
                  <c:v>0.01</c:v>
                </c:pt>
                <c:pt idx="306">
                  <c:v>0.01</c:v>
                </c:pt>
                <c:pt idx="307">
                  <c:v>0.04</c:v>
                </c:pt>
                <c:pt idx="308">
                  <c:v>0.01</c:v>
                </c:pt>
                <c:pt idx="309">
                  <c:v>0.01</c:v>
                </c:pt>
                <c:pt idx="310">
                  <c:v>0.01</c:v>
                </c:pt>
                <c:pt idx="311">
                  <c:v>0.08</c:v>
                </c:pt>
                <c:pt idx="312">
                  <c:v>0.03</c:v>
                </c:pt>
                <c:pt idx="313">
                  <c:v>0.01</c:v>
                </c:pt>
                <c:pt idx="314">
                  <c:v>0.01</c:v>
                </c:pt>
                <c:pt idx="315">
                  <c:v>0.01</c:v>
                </c:pt>
                <c:pt idx="316">
                  <c:v>0.02</c:v>
                </c:pt>
                <c:pt idx="317">
                  <c:v>0.01</c:v>
                </c:pt>
                <c:pt idx="318">
                  <c:v>0.02</c:v>
                </c:pt>
                <c:pt idx="319">
                  <c:v>0.03</c:v>
                </c:pt>
                <c:pt idx="320">
                  <c:v>0.01</c:v>
                </c:pt>
                <c:pt idx="321">
                  <c:v>0.01</c:v>
                </c:pt>
                <c:pt idx="322">
                  <c:v>0.02</c:v>
                </c:pt>
                <c:pt idx="323">
                  <c:v>0.02</c:v>
                </c:pt>
                <c:pt idx="324">
                  <c:v>0.02</c:v>
                </c:pt>
                <c:pt idx="325">
                  <c:v>0.01</c:v>
                </c:pt>
                <c:pt idx="326">
                  <c:v>0.01</c:v>
                </c:pt>
                <c:pt idx="327">
                  <c:v>0.03</c:v>
                </c:pt>
                <c:pt idx="328">
                  <c:v>0.01</c:v>
                </c:pt>
                <c:pt idx="329">
                  <c:v>0.01</c:v>
                </c:pt>
                <c:pt idx="330">
                  <c:v>0.01</c:v>
                </c:pt>
                <c:pt idx="331">
                  <c:v>0.03</c:v>
                </c:pt>
                <c:pt idx="332">
                  <c:v>0.01</c:v>
                </c:pt>
                <c:pt idx="333">
                  <c:v>0.01</c:v>
                </c:pt>
                <c:pt idx="334">
                  <c:v>0.01</c:v>
                </c:pt>
                <c:pt idx="335">
                  <c:v>0.01</c:v>
                </c:pt>
                <c:pt idx="336">
                  <c:v>0.02</c:v>
                </c:pt>
                <c:pt idx="337">
                  <c:v>0.01</c:v>
                </c:pt>
                <c:pt idx="338">
                  <c:v>0.01</c:v>
                </c:pt>
                <c:pt idx="339">
                  <c:v>0.01</c:v>
                </c:pt>
                <c:pt idx="340">
                  <c:v>0.01</c:v>
                </c:pt>
                <c:pt idx="341">
                  <c:v>0.01</c:v>
                </c:pt>
                <c:pt idx="342">
                  <c:v>0.01</c:v>
                </c:pt>
                <c:pt idx="343">
                  <c:v>0.01</c:v>
                </c:pt>
                <c:pt idx="344">
                  <c:v>0.01</c:v>
                </c:pt>
                <c:pt idx="345">
                  <c:v>0.01</c:v>
                </c:pt>
                <c:pt idx="346">
                  <c:v>0.06</c:v>
                </c:pt>
                <c:pt idx="347">
                  <c:v>0.01</c:v>
                </c:pt>
                <c:pt idx="348">
                  <c:v>0.04</c:v>
                </c:pt>
                <c:pt idx="349">
                  <c:v>0.01</c:v>
                </c:pt>
                <c:pt idx="350">
                  <c:v>0.04</c:v>
                </c:pt>
                <c:pt idx="351">
                  <c:v>0.01</c:v>
                </c:pt>
                <c:pt idx="352">
                  <c:v>0.01</c:v>
                </c:pt>
                <c:pt idx="353">
                  <c:v>0.02</c:v>
                </c:pt>
                <c:pt idx="354">
                  <c:v>0.01</c:v>
                </c:pt>
                <c:pt idx="355">
                  <c:v>0.01</c:v>
                </c:pt>
                <c:pt idx="356">
                  <c:v>0.1</c:v>
                </c:pt>
                <c:pt idx="357">
                  <c:v>0.01</c:v>
                </c:pt>
                <c:pt idx="358">
                  <c:v>0.01</c:v>
                </c:pt>
                <c:pt idx="359">
                  <c:v>0.01</c:v>
                </c:pt>
                <c:pt idx="360">
                  <c:v>0.01</c:v>
                </c:pt>
                <c:pt idx="361">
                  <c:v>0.01</c:v>
                </c:pt>
                <c:pt idx="362">
                  <c:v>0.01</c:v>
                </c:pt>
                <c:pt idx="363">
                  <c:v>0.01</c:v>
                </c:pt>
                <c:pt idx="364">
                  <c:v>0.01</c:v>
                </c:pt>
                <c:pt idx="365">
                  <c:v>0.01</c:v>
                </c:pt>
                <c:pt idx="366">
                  <c:v>0.01</c:v>
                </c:pt>
                <c:pt idx="367">
                  <c:v>0.01</c:v>
                </c:pt>
                <c:pt idx="368">
                  <c:v>0.01</c:v>
                </c:pt>
                <c:pt idx="369">
                  <c:v>0.01</c:v>
                </c:pt>
                <c:pt idx="370">
                  <c:v>0.01</c:v>
                </c:pt>
                <c:pt idx="371">
                  <c:v>0.01</c:v>
                </c:pt>
                <c:pt idx="372">
                  <c:v>0.05</c:v>
                </c:pt>
                <c:pt idx="373">
                  <c:v>0.01</c:v>
                </c:pt>
                <c:pt idx="374">
                  <c:v>0.01</c:v>
                </c:pt>
                <c:pt idx="375">
                  <c:v>0.06</c:v>
                </c:pt>
                <c:pt idx="376">
                  <c:v>0.01</c:v>
                </c:pt>
                <c:pt idx="377">
                  <c:v>0.02</c:v>
                </c:pt>
                <c:pt idx="378">
                  <c:v>0.01</c:v>
                </c:pt>
                <c:pt idx="379">
                  <c:v>0.05</c:v>
                </c:pt>
                <c:pt idx="380">
                  <c:v>0.01</c:v>
                </c:pt>
                <c:pt idx="381">
                  <c:v>0.01</c:v>
                </c:pt>
                <c:pt idx="382">
                  <c:v>0.01</c:v>
                </c:pt>
                <c:pt idx="383">
                  <c:v>0.01</c:v>
                </c:pt>
                <c:pt idx="384">
                  <c:v>0.01</c:v>
                </c:pt>
                <c:pt idx="385">
                  <c:v>0.02</c:v>
                </c:pt>
                <c:pt idx="386">
                  <c:v>0.08</c:v>
                </c:pt>
                <c:pt idx="387">
                  <c:v>0.02</c:v>
                </c:pt>
                <c:pt idx="388">
                  <c:v>0.01</c:v>
                </c:pt>
                <c:pt idx="389">
                  <c:v>0.01</c:v>
                </c:pt>
                <c:pt idx="390">
                  <c:v>0.01</c:v>
                </c:pt>
                <c:pt idx="391">
                  <c:v>0.02</c:v>
                </c:pt>
                <c:pt idx="392">
                  <c:v>0.05</c:v>
                </c:pt>
                <c:pt idx="393">
                  <c:v>0.01</c:v>
                </c:pt>
                <c:pt idx="394">
                  <c:v>7.0000000000000007E-2</c:v>
                </c:pt>
                <c:pt idx="395">
                  <c:v>0.01</c:v>
                </c:pt>
                <c:pt idx="396">
                  <c:v>0.01</c:v>
                </c:pt>
                <c:pt idx="397">
                  <c:v>0.01</c:v>
                </c:pt>
                <c:pt idx="398">
                  <c:v>0.01</c:v>
                </c:pt>
                <c:pt idx="399">
                  <c:v>0.01</c:v>
                </c:pt>
                <c:pt idx="400">
                  <c:v>0.01</c:v>
                </c:pt>
                <c:pt idx="401">
                  <c:v>0.03</c:v>
                </c:pt>
                <c:pt idx="402">
                  <c:v>0.01</c:v>
                </c:pt>
                <c:pt idx="403">
                  <c:v>0.01</c:v>
                </c:pt>
                <c:pt idx="404">
                  <c:v>0.01</c:v>
                </c:pt>
                <c:pt idx="405">
                  <c:v>0.01</c:v>
                </c:pt>
                <c:pt idx="406">
                  <c:v>0.01</c:v>
                </c:pt>
                <c:pt idx="407">
                  <c:v>0.01</c:v>
                </c:pt>
                <c:pt idx="408">
                  <c:v>0.01</c:v>
                </c:pt>
                <c:pt idx="409">
                  <c:v>0.01</c:v>
                </c:pt>
                <c:pt idx="410">
                  <c:v>0.01</c:v>
                </c:pt>
                <c:pt idx="411">
                  <c:v>0.01</c:v>
                </c:pt>
                <c:pt idx="412">
                  <c:v>0.01</c:v>
                </c:pt>
                <c:pt idx="413">
                  <c:v>0.01</c:v>
                </c:pt>
                <c:pt idx="414">
                  <c:v>0.01</c:v>
                </c:pt>
                <c:pt idx="41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7ECAC4"/>
              </a:solidFill>
            </c:spPr>
            <c:extLst>
              <c:ext xmlns:c16="http://schemas.microsoft.com/office/drawing/2014/chart" uri="{C3380CC4-5D6E-409C-BE32-E72D297353CC}">
                <c16:uniqueId val="{0000007E-C76F-4230-900D-40618C09729F}"/>
              </c:ext>
            </c:extLst>
          </c:dPt>
          <c:dPt>
            <c:idx val="61"/>
            <c:invertIfNegative val="0"/>
            <c:bubble3D val="0"/>
            <c:spPr>
              <a:solidFill>
                <a:srgbClr val="7ECAC4"/>
              </a:solidFill>
            </c:spPr>
            <c:extLst>
              <c:ext xmlns:c16="http://schemas.microsoft.com/office/drawing/2014/chart" uri="{C3380CC4-5D6E-409C-BE32-E72D297353CC}">
                <c16:uniqueId val="{00000080-C76F-4230-900D-40618C09729F}"/>
              </c:ext>
            </c:extLst>
          </c:dPt>
          <c:dPt>
            <c:idx val="62"/>
            <c:invertIfNegative val="0"/>
            <c:bubble3D val="0"/>
            <c:spPr>
              <a:solidFill>
                <a:srgbClr val="7ECAC4"/>
              </a:solidFill>
            </c:spPr>
            <c:extLst>
              <c:ext xmlns:c16="http://schemas.microsoft.com/office/drawing/2014/chart" uri="{C3380CC4-5D6E-409C-BE32-E72D297353CC}">
                <c16:uniqueId val="{00000082-C76F-4230-900D-40618C09729F}"/>
              </c:ext>
            </c:extLst>
          </c:dPt>
          <c:dPt>
            <c:idx val="63"/>
            <c:invertIfNegative val="0"/>
            <c:bubble3D val="0"/>
            <c:spPr>
              <a:solidFill>
                <a:srgbClr val="7ECAC4"/>
              </a:solidFill>
            </c:spPr>
            <c:extLst>
              <c:ext xmlns:c16="http://schemas.microsoft.com/office/drawing/2014/chart" uri="{C3380CC4-5D6E-409C-BE32-E72D297353CC}">
                <c16:uniqueId val="{00000084-C76F-4230-900D-40618C09729F}"/>
              </c:ext>
            </c:extLst>
          </c:dPt>
          <c:dPt>
            <c:idx val="64"/>
            <c:invertIfNegative val="0"/>
            <c:bubble3D val="0"/>
            <c:spPr>
              <a:solidFill>
                <a:srgbClr val="7ECAC4"/>
              </a:solidFill>
            </c:spPr>
            <c:extLst>
              <c:ext xmlns:c16="http://schemas.microsoft.com/office/drawing/2014/chart" uri="{C3380CC4-5D6E-409C-BE32-E72D297353CC}">
                <c16:uniqueId val="{00000086-C76F-4230-900D-40618C09729F}"/>
              </c:ext>
            </c:extLst>
          </c:dPt>
          <c:dPt>
            <c:idx val="65"/>
            <c:invertIfNegative val="0"/>
            <c:bubble3D val="0"/>
            <c:spPr>
              <a:solidFill>
                <a:srgbClr val="7ECAC4"/>
              </a:solidFill>
            </c:spPr>
            <c:extLst>
              <c:ext xmlns:c16="http://schemas.microsoft.com/office/drawing/2014/chart" uri="{C3380CC4-5D6E-409C-BE32-E72D297353CC}">
                <c16:uniqueId val="{00000088-C76F-4230-900D-40618C09729F}"/>
              </c:ext>
            </c:extLst>
          </c:dPt>
          <c:dPt>
            <c:idx val="66"/>
            <c:invertIfNegative val="0"/>
            <c:bubble3D val="0"/>
            <c:spPr>
              <a:solidFill>
                <a:srgbClr val="7ECAC4"/>
              </a:solidFill>
            </c:spPr>
            <c:extLst>
              <c:ext xmlns:c16="http://schemas.microsoft.com/office/drawing/2014/chart" uri="{C3380CC4-5D6E-409C-BE32-E72D297353CC}">
                <c16:uniqueId val="{0000008A-C76F-4230-900D-40618C09729F}"/>
              </c:ext>
            </c:extLst>
          </c:dPt>
          <c:dPt>
            <c:idx val="67"/>
            <c:invertIfNegative val="0"/>
            <c:bubble3D val="0"/>
            <c:spPr>
              <a:solidFill>
                <a:srgbClr val="7ECAC4"/>
              </a:solidFill>
            </c:spPr>
            <c:extLst>
              <c:ext xmlns:c16="http://schemas.microsoft.com/office/drawing/2014/chart" uri="{C3380CC4-5D6E-409C-BE32-E72D297353CC}">
                <c16:uniqueId val="{0000008C-C76F-4230-900D-40618C09729F}"/>
              </c:ext>
            </c:extLst>
          </c:dPt>
          <c:dPt>
            <c:idx val="68"/>
            <c:invertIfNegative val="0"/>
            <c:bubble3D val="0"/>
            <c:spPr>
              <a:solidFill>
                <a:srgbClr val="7ECAC4"/>
              </a:solidFill>
            </c:spPr>
            <c:extLst>
              <c:ext xmlns:c16="http://schemas.microsoft.com/office/drawing/2014/chart" uri="{C3380CC4-5D6E-409C-BE32-E72D297353CC}">
                <c16:uniqueId val="{0000008E-C76F-4230-900D-40618C09729F}"/>
              </c:ext>
            </c:extLst>
          </c:dPt>
          <c:dPt>
            <c:idx val="69"/>
            <c:invertIfNegative val="0"/>
            <c:bubble3D val="0"/>
            <c:spPr>
              <a:solidFill>
                <a:srgbClr val="7ECAC4"/>
              </a:solidFill>
            </c:spPr>
            <c:extLst>
              <c:ext xmlns:c16="http://schemas.microsoft.com/office/drawing/2014/chart" uri="{C3380CC4-5D6E-409C-BE32-E72D297353CC}">
                <c16:uniqueId val="{00000090-C76F-4230-900D-40618C09729F}"/>
              </c:ext>
            </c:extLst>
          </c:dPt>
          <c:dPt>
            <c:idx val="70"/>
            <c:invertIfNegative val="0"/>
            <c:bubble3D val="0"/>
            <c:spPr>
              <a:solidFill>
                <a:srgbClr val="7ECAC4"/>
              </a:solidFill>
            </c:spPr>
            <c:extLst>
              <c:ext xmlns:c16="http://schemas.microsoft.com/office/drawing/2014/chart" uri="{C3380CC4-5D6E-409C-BE32-E72D297353CC}">
                <c16:uniqueId val="{00000092-C76F-4230-900D-40618C09729F}"/>
              </c:ext>
            </c:extLst>
          </c:dPt>
          <c:dPt>
            <c:idx val="71"/>
            <c:invertIfNegative val="0"/>
            <c:bubble3D val="0"/>
            <c:spPr>
              <a:solidFill>
                <a:srgbClr val="7ECAC4"/>
              </a:solidFill>
            </c:spPr>
            <c:extLst>
              <c:ext xmlns:c16="http://schemas.microsoft.com/office/drawing/2014/chart" uri="{C3380CC4-5D6E-409C-BE32-E72D297353CC}">
                <c16:uniqueId val="{00000094-C76F-4230-900D-40618C09729F}"/>
              </c:ext>
            </c:extLst>
          </c:dPt>
          <c:dPt>
            <c:idx val="72"/>
            <c:invertIfNegative val="0"/>
            <c:bubble3D val="0"/>
            <c:spPr>
              <a:solidFill>
                <a:srgbClr val="7ECAC4"/>
              </a:solidFill>
            </c:spPr>
            <c:extLst>
              <c:ext xmlns:c16="http://schemas.microsoft.com/office/drawing/2014/chart" uri="{C3380CC4-5D6E-409C-BE32-E72D297353CC}">
                <c16:uniqueId val="{00000096-C76F-4230-900D-40618C09729F}"/>
              </c:ext>
            </c:extLst>
          </c:dPt>
          <c:dPt>
            <c:idx val="73"/>
            <c:invertIfNegative val="0"/>
            <c:bubble3D val="0"/>
            <c:spPr>
              <a:solidFill>
                <a:srgbClr val="7ECAC4"/>
              </a:solidFill>
            </c:spPr>
            <c:extLst>
              <c:ext xmlns:c16="http://schemas.microsoft.com/office/drawing/2014/chart" uri="{C3380CC4-5D6E-409C-BE32-E72D297353CC}">
                <c16:uniqueId val="{00000098-C76F-4230-900D-40618C09729F}"/>
              </c:ext>
            </c:extLst>
          </c:dPt>
          <c:dPt>
            <c:idx val="74"/>
            <c:invertIfNegative val="0"/>
            <c:bubble3D val="0"/>
            <c:spPr>
              <a:solidFill>
                <a:srgbClr val="7ECAC4"/>
              </a:solidFill>
            </c:spPr>
            <c:extLst>
              <c:ext xmlns:c16="http://schemas.microsoft.com/office/drawing/2014/chart" uri="{C3380CC4-5D6E-409C-BE32-E72D297353CC}">
                <c16:uniqueId val="{0000009A-C76F-4230-900D-40618C09729F}"/>
              </c:ext>
            </c:extLst>
          </c:dPt>
          <c:dPt>
            <c:idx val="75"/>
            <c:invertIfNegative val="0"/>
            <c:bubble3D val="0"/>
            <c:spPr>
              <a:solidFill>
                <a:srgbClr val="7ECAC4"/>
              </a:solidFill>
            </c:spPr>
            <c:extLst>
              <c:ext xmlns:c16="http://schemas.microsoft.com/office/drawing/2014/chart" uri="{C3380CC4-5D6E-409C-BE32-E72D297353CC}">
                <c16:uniqueId val="{0000009C-C76F-4230-900D-40618C09729F}"/>
              </c:ext>
            </c:extLst>
          </c:dPt>
          <c:dPt>
            <c:idx val="76"/>
            <c:invertIfNegative val="0"/>
            <c:bubble3D val="0"/>
            <c:spPr>
              <a:solidFill>
                <a:srgbClr val="7ECAC4"/>
              </a:solidFill>
            </c:spPr>
            <c:extLst>
              <c:ext xmlns:c16="http://schemas.microsoft.com/office/drawing/2014/chart" uri="{C3380CC4-5D6E-409C-BE32-E72D297353CC}">
                <c16:uniqueId val="{0000009E-C76F-4230-900D-40618C09729F}"/>
              </c:ext>
            </c:extLst>
          </c:dPt>
          <c:dPt>
            <c:idx val="77"/>
            <c:invertIfNegative val="0"/>
            <c:bubble3D val="0"/>
            <c:spPr>
              <a:solidFill>
                <a:srgbClr val="7ECAC4"/>
              </a:solidFill>
            </c:spPr>
            <c:extLst>
              <c:ext xmlns:c16="http://schemas.microsoft.com/office/drawing/2014/chart" uri="{C3380CC4-5D6E-409C-BE32-E72D297353CC}">
                <c16:uniqueId val="{000000A0-C76F-4230-900D-40618C09729F}"/>
              </c:ext>
            </c:extLst>
          </c:dPt>
          <c:dPt>
            <c:idx val="78"/>
            <c:invertIfNegative val="0"/>
            <c:bubble3D val="0"/>
            <c:spPr>
              <a:solidFill>
                <a:srgbClr val="7ECAC4"/>
              </a:solidFill>
            </c:spPr>
            <c:extLst>
              <c:ext xmlns:c16="http://schemas.microsoft.com/office/drawing/2014/chart" uri="{C3380CC4-5D6E-409C-BE32-E72D297353CC}">
                <c16:uniqueId val="{000000A2-C76F-4230-900D-40618C09729F}"/>
              </c:ext>
            </c:extLst>
          </c:dPt>
          <c:dPt>
            <c:idx val="79"/>
            <c:invertIfNegative val="0"/>
            <c:bubble3D val="0"/>
            <c:spPr>
              <a:solidFill>
                <a:srgbClr val="7ECAC4"/>
              </a:solidFill>
            </c:spPr>
            <c:extLst>
              <c:ext xmlns:c16="http://schemas.microsoft.com/office/drawing/2014/chart" uri="{C3380CC4-5D6E-409C-BE32-E72D297353CC}">
                <c16:uniqueId val="{000000A4-C76F-4230-900D-40618C09729F}"/>
              </c:ext>
            </c:extLst>
          </c:dPt>
          <c:dPt>
            <c:idx val="80"/>
            <c:invertIfNegative val="0"/>
            <c:bubble3D val="0"/>
            <c:spPr>
              <a:solidFill>
                <a:srgbClr val="7ECAC4"/>
              </a:solidFill>
            </c:spPr>
            <c:extLst>
              <c:ext xmlns:c16="http://schemas.microsoft.com/office/drawing/2014/chart" uri="{C3380CC4-5D6E-409C-BE32-E72D297353CC}">
                <c16:uniqueId val="{000000A6-C76F-4230-900D-40618C09729F}"/>
              </c:ext>
            </c:extLst>
          </c:dPt>
          <c:dPt>
            <c:idx val="81"/>
            <c:invertIfNegative val="1"/>
            <c:bubble3D val="0"/>
            <c:spPr>
              <a:solidFill>
                <a:srgbClr val="7ECAC4"/>
              </a:solidFill>
            </c:spPr>
            <c:extLst>
              <c:ext xmlns:c16="http://schemas.microsoft.com/office/drawing/2014/chart" uri="{C3380CC4-5D6E-409C-BE32-E72D297353CC}">
                <c16:uniqueId val="{000000A5-2993-41DE-A2CB-63102DE87051}"/>
              </c:ext>
            </c:extLst>
          </c:dPt>
          <c:dPt>
            <c:idx val="82"/>
            <c:invertIfNegative val="1"/>
            <c:bubble3D val="0"/>
            <c:spPr>
              <a:solidFill>
                <a:srgbClr val="7ECAC4"/>
              </a:solidFill>
            </c:spPr>
            <c:extLst>
              <c:ext xmlns:c16="http://schemas.microsoft.com/office/drawing/2014/chart" uri="{C3380CC4-5D6E-409C-BE32-E72D297353CC}">
                <c16:uniqueId val="{000000A7-2993-41DE-A2CB-63102DE87051}"/>
              </c:ext>
            </c:extLst>
          </c:dPt>
          <c:dPt>
            <c:idx val="83"/>
            <c:invertIfNegative val="1"/>
            <c:bubble3D val="0"/>
            <c:spPr>
              <a:solidFill>
                <a:srgbClr val="7ECAC4"/>
              </a:solidFill>
            </c:spPr>
            <c:extLst>
              <c:ext xmlns:c16="http://schemas.microsoft.com/office/drawing/2014/chart" uri="{C3380CC4-5D6E-409C-BE32-E72D297353CC}">
                <c16:uniqueId val="{000000A9-2993-41DE-A2CB-63102DE87051}"/>
              </c:ext>
            </c:extLst>
          </c:dPt>
          <c:dPt>
            <c:idx val="84"/>
            <c:invertIfNegative val="1"/>
            <c:bubble3D val="0"/>
            <c:spPr>
              <a:solidFill>
                <a:srgbClr val="7ECAC4"/>
              </a:solidFill>
            </c:spPr>
            <c:extLst>
              <c:ext xmlns:c16="http://schemas.microsoft.com/office/drawing/2014/chart" uri="{C3380CC4-5D6E-409C-BE32-E72D297353CC}">
                <c16:uniqueId val="{000000AB-2993-41DE-A2CB-63102DE87051}"/>
              </c:ext>
            </c:extLst>
          </c:dPt>
          <c:dPt>
            <c:idx val="85"/>
            <c:invertIfNegative val="1"/>
            <c:bubble3D val="0"/>
            <c:spPr>
              <a:solidFill>
                <a:srgbClr val="7ECAC4"/>
              </a:solidFill>
            </c:spPr>
            <c:extLst>
              <c:ext xmlns:c16="http://schemas.microsoft.com/office/drawing/2014/chart" uri="{C3380CC4-5D6E-409C-BE32-E72D297353CC}">
                <c16:uniqueId val="{000000AD-2993-41DE-A2CB-63102DE87051}"/>
              </c:ext>
            </c:extLst>
          </c:dPt>
          <c:dPt>
            <c:idx val="86"/>
            <c:invertIfNegative val="1"/>
            <c:bubble3D val="0"/>
            <c:spPr>
              <a:solidFill>
                <a:srgbClr val="7ECAC4"/>
              </a:solidFill>
            </c:spPr>
            <c:extLst>
              <c:ext xmlns:c16="http://schemas.microsoft.com/office/drawing/2014/chart" uri="{C3380CC4-5D6E-409C-BE32-E72D297353CC}">
                <c16:uniqueId val="{000000AF-2993-41DE-A2CB-63102DE87051}"/>
              </c:ext>
            </c:extLst>
          </c:dPt>
          <c:dPt>
            <c:idx val="87"/>
            <c:invertIfNegative val="1"/>
            <c:bubble3D val="0"/>
            <c:spPr>
              <a:solidFill>
                <a:srgbClr val="7ECAC4"/>
              </a:solidFill>
            </c:spPr>
            <c:extLst>
              <c:ext xmlns:c16="http://schemas.microsoft.com/office/drawing/2014/chart" uri="{C3380CC4-5D6E-409C-BE32-E72D297353CC}">
                <c16:uniqueId val="{000000B1-2993-41DE-A2CB-63102DE87051}"/>
              </c:ext>
            </c:extLst>
          </c:dPt>
          <c:dPt>
            <c:idx val="88"/>
            <c:invertIfNegative val="1"/>
            <c:bubble3D val="0"/>
            <c:spPr>
              <a:solidFill>
                <a:srgbClr val="7ECAC4"/>
              </a:solidFill>
            </c:spPr>
            <c:extLst>
              <c:ext xmlns:c16="http://schemas.microsoft.com/office/drawing/2014/chart" uri="{C3380CC4-5D6E-409C-BE32-E72D297353CC}">
                <c16:uniqueId val="{000000B3-2993-41DE-A2CB-63102DE87051}"/>
              </c:ext>
            </c:extLst>
          </c:dPt>
          <c:dPt>
            <c:idx val="89"/>
            <c:invertIfNegative val="1"/>
            <c:bubble3D val="0"/>
            <c:spPr>
              <a:solidFill>
                <a:srgbClr val="7ECAC4"/>
              </a:solidFill>
            </c:spPr>
            <c:extLst>
              <c:ext xmlns:c16="http://schemas.microsoft.com/office/drawing/2014/chart" uri="{C3380CC4-5D6E-409C-BE32-E72D297353CC}">
                <c16:uniqueId val="{000000B5-2993-41DE-A2CB-63102DE87051}"/>
              </c:ext>
            </c:extLst>
          </c:dPt>
          <c:dPt>
            <c:idx val="90"/>
            <c:invertIfNegative val="1"/>
            <c:bubble3D val="0"/>
            <c:spPr>
              <a:solidFill>
                <a:srgbClr val="7ECAC4"/>
              </a:solidFill>
            </c:spPr>
            <c:extLst>
              <c:ext xmlns:c16="http://schemas.microsoft.com/office/drawing/2014/chart" uri="{C3380CC4-5D6E-409C-BE32-E72D297353CC}">
                <c16:uniqueId val="{000000B7-2993-41DE-A2CB-63102DE87051}"/>
              </c:ext>
            </c:extLst>
          </c:dPt>
          <c:dPt>
            <c:idx val="91"/>
            <c:invertIfNegative val="1"/>
            <c:bubble3D val="0"/>
            <c:spPr>
              <a:solidFill>
                <a:srgbClr val="7ECAC4"/>
              </a:solidFill>
            </c:spPr>
            <c:extLst>
              <c:ext xmlns:c16="http://schemas.microsoft.com/office/drawing/2014/chart" uri="{C3380CC4-5D6E-409C-BE32-E72D297353CC}">
                <c16:uniqueId val="{000000B9-2993-41DE-A2CB-63102DE87051}"/>
              </c:ext>
            </c:extLst>
          </c:dPt>
          <c:dPt>
            <c:idx val="92"/>
            <c:invertIfNegative val="1"/>
            <c:bubble3D val="0"/>
            <c:spPr>
              <a:solidFill>
                <a:srgbClr val="7ECAC4"/>
              </a:solidFill>
            </c:spPr>
            <c:extLst>
              <c:ext xmlns:c16="http://schemas.microsoft.com/office/drawing/2014/chart" uri="{C3380CC4-5D6E-409C-BE32-E72D297353CC}">
                <c16:uniqueId val="{000000BB-2993-41DE-A2CB-63102DE87051}"/>
              </c:ext>
            </c:extLst>
          </c:dPt>
          <c:dPt>
            <c:idx val="93"/>
            <c:invertIfNegative val="1"/>
            <c:bubble3D val="0"/>
            <c:spPr>
              <a:solidFill>
                <a:srgbClr val="7ECAC4"/>
              </a:solidFill>
            </c:spPr>
            <c:extLst>
              <c:ext xmlns:c16="http://schemas.microsoft.com/office/drawing/2014/chart" uri="{C3380CC4-5D6E-409C-BE32-E72D297353CC}">
                <c16:uniqueId val="{000000BD-2993-41DE-A2CB-63102DE87051}"/>
              </c:ext>
            </c:extLst>
          </c:dPt>
          <c:dPt>
            <c:idx val="94"/>
            <c:invertIfNegative val="1"/>
            <c:bubble3D val="0"/>
            <c:spPr>
              <a:solidFill>
                <a:srgbClr val="7ECAC4"/>
              </a:solidFill>
            </c:spPr>
            <c:extLst>
              <c:ext xmlns:c16="http://schemas.microsoft.com/office/drawing/2014/chart" uri="{C3380CC4-5D6E-409C-BE32-E72D297353CC}">
                <c16:uniqueId val="{000000BF-2993-41DE-A2CB-63102DE87051}"/>
              </c:ext>
            </c:extLst>
          </c:dPt>
          <c:dPt>
            <c:idx val="95"/>
            <c:invertIfNegative val="1"/>
            <c:bubble3D val="0"/>
            <c:spPr>
              <a:solidFill>
                <a:srgbClr val="7ECAC4"/>
              </a:solidFill>
            </c:spPr>
            <c:extLst>
              <c:ext xmlns:c16="http://schemas.microsoft.com/office/drawing/2014/chart" uri="{C3380CC4-5D6E-409C-BE32-E72D297353CC}">
                <c16:uniqueId val="{000000C1-2993-41DE-A2CB-63102DE87051}"/>
              </c:ext>
            </c:extLst>
          </c:dPt>
          <c:dPt>
            <c:idx val="96"/>
            <c:invertIfNegative val="1"/>
            <c:bubble3D val="0"/>
            <c:spPr>
              <a:solidFill>
                <a:srgbClr val="7ECAC4"/>
              </a:solidFill>
            </c:spPr>
            <c:extLst>
              <c:ext xmlns:c16="http://schemas.microsoft.com/office/drawing/2014/chart" uri="{C3380CC4-5D6E-409C-BE32-E72D297353CC}">
                <c16:uniqueId val="{000000C3-2993-41DE-A2CB-63102DE87051}"/>
              </c:ext>
            </c:extLst>
          </c:dPt>
          <c:dPt>
            <c:idx val="97"/>
            <c:invertIfNegative val="1"/>
            <c:bubble3D val="0"/>
            <c:spPr>
              <a:solidFill>
                <a:srgbClr val="7ECAC4"/>
              </a:solidFill>
            </c:spPr>
            <c:extLst>
              <c:ext xmlns:c16="http://schemas.microsoft.com/office/drawing/2014/chart" uri="{C3380CC4-5D6E-409C-BE32-E72D297353CC}">
                <c16:uniqueId val="{000000C5-2993-41DE-A2CB-63102DE87051}"/>
              </c:ext>
            </c:extLst>
          </c:dPt>
          <c:dPt>
            <c:idx val="98"/>
            <c:invertIfNegative val="1"/>
            <c:bubble3D val="0"/>
            <c:spPr>
              <a:solidFill>
                <a:srgbClr val="7ECAC4"/>
              </a:solidFill>
            </c:spPr>
            <c:extLst>
              <c:ext xmlns:c16="http://schemas.microsoft.com/office/drawing/2014/chart" uri="{C3380CC4-5D6E-409C-BE32-E72D297353CC}">
                <c16:uniqueId val="{000000C7-2993-41DE-A2CB-63102DE87051}"/>
              </c:ext>
            </c:extLst>
          </c:dPt>
          <c:dPt>
            <c:idx val="99"/>
            <c:invertIfNegative val="1"/>
            <c:bubble3D val="0"/>
            <c:spPr>
              <a:solidFill>
                <a:srgbClr val="7ECAC4"/>
              </a:solidFill>
            </c:spPr>
            <c:extLst>
              <c:ext xmlns:c16="http://schemas.microsoft.com/office/drawing/2014/chart" uri="{C3380CC4-5D6E-409C-BE32-E72D297353CC}">
                <c16:uniqueId val="{000000C9-2993-41DE-A2CB-63102DE87051}"/>
              </c:ext>
            </c:extLst>
          </c:dPt>
          <c:dPt>
            <c:idx val="100"/>
            <c:invertIfNegative val="1"/>
            <c:bubble3D val="0"/>
            <c:spPr>
              <a:solidFill>
                <a:srgbClr val="7ECAC4"/>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AEABAB"/>
              </a:solidFill>
            </c:spPr>
            <c:extLst>
              <c:ext xmlns:c16="http://schemas.microsoft.com/office/drawing/2014/chart" uri="{C3380CC4-5D6E-409C-BE32-E72D297353CC}">
                <c16:uniqueId val="{00000121-2993-41DE-A2CB-63102DE87051}"/>
              </c:ext>
            </c:extLst>
          </c:dPt>
          <c:dPt>
            <c:idx val="144"/>
            <c:invertIfNegative val="1"/>
            <c:bubble3D val="0"/>
            <c:spPr>
              <a:solidFill>
                <a:srgbClr val="AEABAB"/>
              </a:solidFill>
            </c:spPr>
            <c:extLst>
              <c:ext xmlns:c16="http://schemas.microsoft.com/office/drawing/2014/chart" uri="{C3380CC4-5D6E-409C-BE32-E72D297353CC}">
                <c16:uniqueId val="{00000123-2993-41DE-A2CB-63102DE87051}"/>
              </c:ext>
            </c:extLst>
          </c:dPt>
          <c:dPt>
            <c:idx val="145"/>
            <c:invertIfNegative val="1"/>
            <c:bubble3D val="0"/>
            <c:spPr>
              <a:solidFill>
                <a:srgbClr val="AEABAB"/>
              </a:solidFill>
            </c:spPr>
            <c:extLst>
              <c:ext xmlns:c16="http://schemas.microsoft.com/office/drawing/2014/chart" uri="{C3380CC4-5D6E-409C-BE32-E72D297353CC}">
                <c16:uniqueId val="{00000125-2993-41DE-A2CB-63102DE87051}"/>
              </c:ext>
            </c:extLst>
          </c:dPt>
          <c:dPt>
            <c:idx val="146"/>
            <c:invertIfNegative val="1"/>
            <c:bubble3D val="0"/>
            <c:spPr>
              <a:solidFill>
                <a:srgbClr val="AEABAB"/>
              </a:solidFill>
            </c:spPr>
            <c:extLst>
              <c:ext xmlns:c16="http://schemas.microsoft.com/office/drawing/2014/chart" uri="{C3380CC4-5D6E-409C-BE32-E72D297353CC}">
                <c16:uniqueId val="{00000127-2993-41DE-A2CB-63102DE87051}"/>
              </c:ext>
            </c:extLst>
          </c:dPt>
          <c:dPt>
            <c:idx val="147"/>
            <c:invertIfNegative val="1"/>
            <c:bubble3D val="0"/>
            <c:spPr>
              <a:solidFill>
                <a:srgbClr val="AEABAB"/>
              </a:solidFill>
            </c:spPr>
            <c:extLst>
              <c:ext xmlns:c16="http://schemas.microsoft.com/office/drawing/2014/chart" uri="{C3380CC4-5D6E-409C-BE32-E72D297353CC}">
                <c16:uniqueId val="{00000129-2993-41DE-A2CB-63102DE87051}"/>
              </c:ext>
            </c:extLst>
          </c:dPt>
          <c:dPt>
            <c:idx val="148"/>
            <c:invertIfNegative val="1"/>
            <c:bubble3D val="0"/>
            <c:spPr>
              <a:solidFill>
                <a:srgbClr val="AEABAB"/>
              </a:solidFill>
            </c:spPr>
            <c:extLst>
              <c:ext xmlns:c16="http://schemas.microsoft.com/office/drawing/2014/chart" uri="{C3380CC4-5D6E-409C-BE32-E72D297353CC}">
                <c16:uniqueId val="{0000012B-2993-41DE-A2CB-63102DE87051}"/>
              </c:ext>
            </c:extLst>
          </c:dPt>
          <c:dPt>
            <c:idx val="149"/>
            <c:invertIfNegative val="1"/>
            <c:bubble3D val="0"/>
            <c:spPr>
              <a:solidFill>
                <a:srgbClr val="AEABAB"/>
              </a:solidFill>
            </c:spPr>
            <c:extLst>
              <c:ext xmlns:c16="http://schemas.microsoft.com/office/drawing/2014/chart" uri="{C3380CC4-5D6E-409C-BE32-E72D297353CC}">
                <c16:uniqueId val="{0000012D-2993-41DE-A2CB-63102DE87051}"/>
              </c:ext>
            </c:extLst>
          </c:dPt>
          <c:dPt>
            <c:idx val="150"/>
            <c:invertIfNegative val="1"/>
            <c:bubble3D val="0"/>
            <c:spPr>
              <a:solidFill>
                <a:srgbClr val="AEABAB"/>
              </a:solidFill>
            </c:spPr>
            <c:extLst>
              <c:ext xmlns:c16="http://schemas.microsoft.com/office/drawing/2014/chart" uri="{C3380CC4-5D6E-409C-BE32-E72D297353CC}">
                <c16:uniqueId val="{0000012F-2993-41DE-A2CB-63102DE87051}"/>
              </c:ext>
            </c:extLst>
          </c:dPt>
          <c:dPt>
            <c:idx val="151"/>
            <c:invertIfNegative val="1"/>
            <c:bubble3D val="0"/>
            <c:spPr>
              <a:solidFill>
                <a:srgbClr val="AEABAB"/>
              </a:solidFill>
            </c:spPr>
            <c:extLst>
              <c:ext xmlns:c16="http://schemas.microsoft.com/office/drawing/2014/chart" uri="{C3380CC4-5D6E-409C-BE32-E72D297353CC}">
                <c16:uniqueId val="{00000131-2993-41DE-A2CB-63102DE87051}"/>
              </c:ext>
            </c:extLst>
          </c:dPt>
          <c:dPt>
            <c:idx val="152"/>
            <c:invertIfNegative val="1"/>
            <c:bubble3D val="0"/>
            <c:spPr>
              <a:solidFill>
                <a:srgbClr val="AEABAB"/>
              </a:solidFill>
            </c:spPr>
            <c:extLst>
              <c:ext xmlns:c16="http://schemas.microsoft.com/office/drawing/2014/chart" uri="{C3380CC4-5D6E-409C-BE32-E72D297353CC}">
                <c16:uniqueId val="{00000133-2993-41DE-A2CB-63102DE87051}"/>
              </c:ext>
            </c:extLst>
          </c:dPt>
          <c:dPt>
            <c:idx val="153"/>
            <c:invertIfNegative val="1"/>
            <c:bubble3D val="0"/>
            <c:spPr>
              <a:solidFill>
                <a:srgbClr val="AEABAB"/>
              </a:solidFill>
            </c:spPr>
            <c:extLst>
              <c:ext xmlns:c16="http://schemas.microsoft.com/office/drawing/2014/chart" uri="{C3380CC4-5D6E-409C-BE32-E72D297353CC}">
                <c16:uniqueId val="{00000135-2993-41DE-A2CB-63102DE87051}"/>
              </c:ext>
            </c:extLst>
          </c:dPt>
          <c:dPt>
            <c:idx val="154"/>
            <c:invertIfNegative val="1"/>
            <c:bubble3D val="0"/>
            <c:spPr>
              <a:solidFill>
                <a:srgbClr val="AEABAB"/>
              </a:solidFill>
            </c:spPr>
            <c:extLst>
              <c:ext xmlns:c16="http://schemas.microsoft.com/office/drawing/2014/chart" uri="{C3380CC4-5D6E-409C-BE32-E72D297353CC}">
                <c16:uniqueId val="{00000137-2993-41DE-A2CB-63102DE87051}"/>
              </c:ext>
            </c:extLst>
          </c:dPt>
          <c:dPt>
            <c:idx val="155"/>
            <c:invertIfNegative val="1"/>
            <c:bubble3D val="0"/>
            <c:spPr>
              <a:solidFill>
                <a:srgbClr val="AEABAB"/>
              </a:solidFill>
            </c:spPr>
            <c:extLst>
              <c:ext xmlns:c16="http://schemas.microsoft.com/office/drawing/2014/chart" uri="{C3380CC4-5D6E-409C-BE32-E72D297353CC}">
                <c16:uniqueId val="{00000139-2993-41DE-A2CB-63102DE87051}"/>
              </c:ext>
            </c:extLst>
          </c:dPt>
          <c:dPt>
            <c:idx val="156"/>
            <c:invertIfNegative val="1"/>
            <c:bubble3D val="0"/>
            <c:spPr>
              <a:solidFill>
                <a:srgbClr val="AEABAB"/>
              </a:solidFill>
            </c:spPr>
            <c:extLst>
              <c:ext xmlns:c16="http://schemas.microsoft.com/office/drawing/2014/chart" uri="{C3380CC4-5D6E-409C-BE32-E72D297353CC}">
                <c16:uniqueId val="{0000013B-2993-41DE-A2CB-63102DE87051}"/>
              </c:ext>
            </c:extLst>
          </c:dPt>
          <c:dPt>
            <c:idx val="157"/>
            <c:invertIfNegative val="1"/>
            <c:bubble3D val="0"/>
            <c:spPr>
              <a:solidFill>
                <a:srgbClr val="AEABAB"/>
              </a:solidFill>
            </c:spPr>
            <c:extLst>
              <c:ext xmlns:c16="http://schemas.microsoft.com/office/drawing/2014/chart" uri="{C3380CC4-5D6E-409C-BE32-E72D297353CC}">
                <c16:uniqueId val="{0000013D-2993-41DE-A2CB-63102DE87051}"/>
              </c:ext>
            </c:extLst>
          </c:dPt>
          <c:dPt>
            <c:idx val="158"/>
            <c:invertIfNegative val="1"/>
            <c:bubble3D val="0"/>
            <c:spPr>
              <a:solidFill>
                <a:srgbClr val="AEABAB"/>
              </a:solidFill>
            </c:spPr>
            <c:extLst>
              <c:ext xmlns:c16="http://schemas.microsoft.com/office/drawing/2014/chart" uri="{C3380CC4-5D6E-409C-BE32-E72D297353CC}">
                <c16:uniqueId val="{0000013F-2993-41DE-A2CB-63102DE87051}"/>
              </c:ext>
            </c:extLst>
          </c:dPt>
          <c:dPt>
            <c:idx val="159"/>
            <c:invertIfNegative val="1"/>
            <c:bubble3D val="0"/>
            <c:spPr>
              <a:solidFill>
                <a:srgbClr val="AEABAB"/>
              </a:solidFill>
            </c:spPr>
            <c:extLst>
              <c:ext xmlns:c16="http://schemas.microsoft.com/office/drawing/2014/chart" uri="{C3380CC4-5D6E-409C-BE32-E72D297353CC}">
                <c16:uniqueId val="{00000141-2993-41DE-A2CB-63102DE87051}"/>
              </c:ext>
            </c:extLst>
          </c:dPt>
          <c:dPt>
            <c:idx val="160"/>
            <c:invertIfNegative val="1"/>
            <c:bubble3D val="0"/>
            <c:spPr>
              <a:solidFill>
                <a:srgbClr val="AEABAB"/>
              </a:solidFill>
            </c:spPr>
            <c:extLst>
              <c:ext xmlns:c16="http://schemas.microsoft.com/office/drawing/2014/chart" uri="{C3380CC4-5D6E-409C-BE32-E72D297353CC}">
                <c16:uniqueId val="{00000143-2993-41DE-A2CB-63102DE87051}"/>
              </c:ext>
            </c:extLst>
          </c:dPt>
          <c:dPt>
            <c:idx val="161"/>
            <c:invertIfNegative val="1"/>
            <c:bubble3D val="0"/>
            <c:spPr>
              <a:solidFill>
                <a:srgbClr val="AEABAB"/>
              </a:solidFill>
            </c:spPr>
            <c:extLst>
              <c:ext xmlns:c16="http://schemas.microsoft.com/office/drawing/2014/chart" uri="{C3380CC4-5D6E-409C-BE32-E72D297353CC}">
                <c16:uniqueId val="{00000145-2993-41DE-A2CB-63102DE87051}"/>
              </c:ext>
            </c:extLst>
          </c:dPt>
          <c:dPt>
            <c:idx val="162"/>
            <c:invertIfNegative val="1"/>
            <c:bubble3D val="0"/>
            <c:spPr>
              <a:solidFill>
                <a:srgbClr val="AEABAB"/>
              </a:solidFill>
            </c:spPr>
            <c:extLst>
              <c:ext xmlns:c16="http://schemas.microsoft.com/office/drawing/2014/chart" uri="{C3380CC4-5D6E-409C-BE32-E72D297353CC}">
                <c16:uniqueId val="{00000147-2993-41DE-A2CB-63102DE87051}"/>
              </c:ext>
            </c:extLst>
          </c:dPt>
          <c:dPt>
            <c:idx val="163"/>
            <c:invertIfNegative val="1"/>
            <c:bubble3D val="0"/>
            <c:spPr>
              <a:solidFill>
                <a:srgbClr val="AEABAB"/>
              </a:solidFill>
            </c:spPr>
            <c:extLst>
              <c:ext xmlns:c16="http://schemas.microsoft.com/office/drawing/2014/chart" uri="{C3380CC4-5D6E-409C-BE32-E72D297353CC}">
                <c16:uniqueId val="{00000149-2993-41DE-A2CB-63102DE87051}"/>
              </c:ext>
            </c:extLst>
          </c:dPt>
          <c:dPt>
            <c:idx val="164"/>
            <c:invertIfNegative val="1"/>
            <c:bubble3D val="0"/>
            <c:spPr>
              <a:solidFill>
                <a:srgbClr val="AEABAB"/>
              </a:solidFill>
            </c:spPr>
            <c:extLst>
              <c:ext xmlns:c16="http://schemas.microsoft.com/office/drawing/2014/chart" uri="{C3380CC4-5D6E-409C-BE32-E72D297353CC}">
                <c16:uniqueId val="{0000014B-2993-41DE-A2CB-63102DE87051}"/>
              </c:ext>
            </c:extLst>
          </c:dPt>
          <c:dPt>
            <c:idx val="165"/>
            <c:invertIfNegative val="1"/>
            <c:bubble3D val="0"/>
            <c:spPr>
              <a:solidFill>
                <a:srgbClr val="AEABAB"/>
              </a:solidFill>
            </c:spPr>
            <c:extLst>
              <c:ext xmlns:c16="http://schemas.microsoft.com/office/drawing/2014/chart" uri="{C3380CC4-5D6E-409C-BE32-E72D297353CC}">
                <c16:uniqueId val="{0000014D-2993-41DE-A2CB-63102DE87051}"/>
              </c:ext>
            </c:extLst>
          </c:dPt>
          <c:dPt>
            <c:idx val="166"/>
            <c:invertIfNegative val="1"/>
            <c:bubble3D val="0"/>
            <c:spPr>
              <a:solidFill>
                <a:srgbClr val="AEABAB"/>
              </a:solidFill>
            </c:spPr>
            <c:extLst>
              <c:ext xmlns:c16="http://schemas.microsoft.com/office/drawing/2014/chart" uri="{C3380CC4-5D6E-409C-BE32-E72D297353CC}">
                <c16:uniqueId val="{0000014F-2993-41DE-A2CB-63102DE87051}"/>
              </c:ext>
            </c:extLst>
          </c:dPt>
          <c:dPt>
            <c:idx val="167"/>
            <c:invertIfNegative val="1"/>
            <c:bubble3D val="0"/>
            <c:spPr>
              <a:solidFill>
                <a:srgbClr val="AEABAB"/>
              </a:solidFill>
            </c:spPr>
            <c:extLst>
              <c:ext xmlns:c16="http://schemas.microsoft.com/office/drawing/2014/chart" uri="{C3380CC4-5D6E-409C-BE32-E72D297353CC}">
                <c16:uniqueId val="{00000151-2993-41DE-A2CB-63102DE87051}"/>
              </c:ext>
            </c:extLst>
          </c:dPt>
          <c:dPt>
            <c:idx val="168"/>
            <c:invertIfNegative val="1"/>
            <c:bubble3D val="0"/>
            <c:spPr>
              <a:solidFill>
                <a:srgbClr val="AEABAB"/>
              </a:solidFill>
            </c:spPr>
            <c:extLst>
              <c:ext xmlns:c16="http://schemas.microsoft.com/office/drawing/2014/chart" uri="{C3380CC4-5D6E-409C-BE32-E72D297353CC}">
                <c16:uniqueId val="{00000153-2993-41DE-A2CB-63102DE87051}"/>
              </c:ext>
            </c:extLst>
          </c:dPt>
          <c:dPt>
            <c:idx val="169"/>
            <c:invertIfNegative val="1"/>
            <c:bubble3D val="0"/>
            <c:spPr>
              <a:solidFill>
                <a:srgbClr val="AEABAB"/>
              </a:solidFill>
            </c:spPr>
            <c:extLst>
              <c:ext xmlns:c16="http://schemas.microsoft.com/office/drawing/2014/chart" uri="{C3380CC4-5D6E-409C-BE32-E72D297353CC}">
                <c16:uniqueId val="{00000155-2993-41DE-A2CB-63102DE87051}"/>
              </c:ext>
            </c:extLst>
          </c:dPt>
          <c:dPt>
            <c:idx val="170"/>
            <c:invertIfNegative val="1"/>
            <c:bubble3D val="0"/>
            <c:spPr>
              <a:solidFill>
                <a:srgbClr val="AEABAB"/>
              </a:solidFill>
            </c:spPr>
            <c:extLst>
              <c:ext xmlns:c16="http://schemas.microsoft.com/office/drawing/2014/chart" uri="{C3380CC4-5D6E-409C-BE32-E72D297353CC}">
                <c16:uniqueId val="{00000157-2993-41DE-A2CB-63102DE87051}"/>
              </c:ext>
            </c:extLst>
          </c:dPt>
          <c:dPt>
            <c:idx val="171"/>
            <c:invertIfNegative val="1"/>
            <c:bubble3D val="0"/>
            <c:spPr>
              <a:solidFill>
                <a:srgbClr val="AEABAB"/>
              </a:solidFill>
            </c:spPr>
            <c:extLst>
              <c:ext xmlns:c16="http://schemas.microsoft.com/office/drawing/2014/chart" uri="{C3380CC4-5D6E-409C-BE32-E72D297353CC}">
                <c16:uniqueId val="{00000159-2993-41DE-A2CB-63102DE87051}"/>
              </c:ext>
            </c:extLst>
          </c:dPt>
          <c:dPt>
            <c:idx val="172"/>
            <c:invertIfNegative val="1"/>
            <c:bubble3D val="0"/>
            <c:spPr>
              <a:solidFill>
                <a:srgbClr val="AEABAB"/>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0029-46E1-99A1-0468ED71B755}"/>
              </c:ext>
            </c:extLst>
          </c:dPt>
          <c:dPt>
            <c:idx val="211"/>
            <c:invertIfNegative val="1"/>
            <c:bubble3D val="0"/>
            <c:spPr>
              <a:solidFill>
                <a:srgbClr val="AEABAB"/>
              </a:solidFill>
            </c:spPr>
            <c:extLst>
              <c:ext xmlns:c16="http://schemas.microsoft.com/office/drawing/2014/chart" uri="{C3380CC4-5D6E-409C-BE32-E72D297353CC}">
                <c16:uniqueId val="{000001A9-0029-46E1-99A1-0468ED71B755}"/>
              </c:ext>
            </c:extLst>
          </c:dPt>
          <c:dPt>
            <c:idx val="212"/>
            <c:invertIfNegative val="1"/>
            <c:bubble3D val="0"/>
            <c:spPr>
              <a:solidFill>
                <a:srgbClr val="AEABAB"/>
              </a:solidFill>
            </c:spPr>
            <c:extLst>
              <c:ext xmlns:c16="http://schemas.microsoft.com/office/drawing/2014/chart" uri="{C3380CC4-5D6E-409C-BE32-E72D297353CC}">
                <c16:uniqueId val="{000001AB-0029-46E1-99A1-0468ED71B755}"/>
              </c:ext>
            </c:extLst>
          </c:dPt>
          <c:dPt>
            <c:idx val="213"/>
            <c:invertIfNegative val="1"/>
            <c:bubble3D val="0"/>
            <c:spPr>
              <a:solidFill>
                <a:srgbClr val="AEABAB"/>
              </a:solidFill>
            </c:spPr>
            <c:extLst>
              <c:ext xmlns:c16="http://schemas.microsoft.com/office/drawing/2014/chart" uri="{C3380CC4-5D6E-409C-BE32-E72D297353CC}">
                <c16:uniqueId val="{000001AD-0029-46E1-99A1-0468ED71B755}"/>
              </c:ext>
            </c:extLst>
          </c:dPt>
          <c:dPt>
            <c:idx val="214"/>
            <c:invertIfNegative val="1"/>
            <c:bubble3D val="0"/>
            <c:spPr>
              <a:solidFill>
                <a:srgbClr val="AEABAB"/>
              </a:solidFill>
            </c:spPr>
            <c:extLst>
              <c:ext xmlns:c16="http://schemas.microsoft.com/office/drawing/2014/chart" uri="{C3380CC4-5D6E-409C-BE32-E72D297353CC}">
                <c16:uniqueId val="{000001AF-0029-46E1-99A1-0468ED71B755}"/>
              </c:ext>
            </c:extLst>
          </c:dPt>
          <c:dPt>
            <c:idx val="215"/>
            <c:invertIfNegative val="1"/>
            <c:bubble3D val="0"/>
            <c:spPr>
              <a:solidFill>
                <a:srgbClr val="AEABAB"/>
              </a:solidFill>
            </c:spPr>
            <c:extLst>
              <c:ext xmlns:c16="http://schemas.microsoft.com/office/drawing/2014/chart" uri="{C3380CC4-5D6E-409C-BE32-E72D297353CC}">
                <c16:uniqueId val="{000001B1-0029-46E1-99A1-0468ED71B755}"/>
              </c:ext>
            </c:extLst>
          </c:dPt>
          <c:dPt>
            <c:idx val="216"/>
            <c:invertIfNegative val="1"/>
            <c:bubble3D val="0"/>
            <c:spPr>
              <a:solidFill>
                <a:srgbClr val="AEABAB"/>
              </a:solidFill>
            </c:spPr>
            <c:extLst>
              <c:ext xmlns:c16="http://schemas.microsoft.com/office/drawing/2014/chart" uri="{C3380CC4-5D6E-409C-BE32-E72D297353CC}">
                <c16:uniqueId val="{000001B3-0029-46E1-99A1-0468ED71B755}"/>
              </c:ext>
            </c:extLst>
          </c:dPt>
          <c:dPt>
            <c:idx val="217"/>
            <c:invertIfNegative val="1"/>
            <c:bubble3D val="0"/>
            <c:spPr>
              <a:solidFill>
                <a:srgbClr val="AEABAB"/>
              </a:solidFill>
            </c:spPr>
            <c:extLst>
              <c:ext xmlns:c16="http://schemas.microsoft.com/office/drawing/2014/chart" uri="{C3380CC4-5D6E-409C-BE32-E72D297353CC}">
                <c16:uniqueId val="{000001B5-0029-46E1-99A1-0468ED71B755}"/>
              </c:ext>
            </c:extLst>
          </c:dPt>
          <c:dPt>
            <c:idx val="218"/>
            <c:invertIfNegative val="1"/>
            <c:bubble3D val="0"/>
            <c:spPr>
              <a:solidFill>
                <a:srgbClr val="AEABAB"/>
              </a:solidFill>
            </c:spPr>
            <c:extLst>
              <c:ext xmlns:c16="http://schemas.microsoft.com/office/drawing/2014/chart" uri="{C3380CC4-5D6E-409C-BE32-E72D297353CC}">
                <c16:uniqueId val="{000001B7-0029-46E1-99A1-0468ED71B755}"/>
              </c:ext>
            </c:extLst>
          </c:dPt>
          <c:dPt>
            <c:idx val="219"/>
            <c:invertIfNegative val="1"/>
            <c:bubble3D val="0"/>
            <c:spPr>
              <a:solidFill>
                <a:srgbClr val="AEABAB"/>
              </a:solidFill>
            </c:spPr>
            <c:extLst>
              <c:ext xmlns:c16="http://schemas.microsoft.com/office/drawing/2014/chart" uri="{C3380CC4-5D6E-409C-BE32-E72D297353CC}">
                <c16:uniqueId val="{000001B9-0029-46E1-99A1-0468ED71B755}"/>
              </c:ext>
            </c:extLst>
          </c:dPt>
          <c:dPt>
            <c:idx val="220"/>
            <c:invertIfNegative val="1"/>
            <c:bubble3D val="0"/>
            <c:spPr>
              <a:solidFill>
                <a:srgbClr val="AEABAB"/>
              </a:solidFill>
            </c:spPr>
            <c:extLst>
              <c:ext xmlns:c16="http://schemas.microsoft.com/office/drawing/2014/chart" uri="{C3380CC4-5D6E-409C-BE32-E72D297353CC}">
                <c16:uniqueId val="{000001BB-0029-46E1-99A1-0468ED71B755}"/>
              </c:ext>
            </c:extLst>
          </c:dPt>
          <c:dPt>
            <c:idx val="221"/>
            <c:invertIfNegative val="1"/>
            <c:bubble3D val="0"/>
            <c:spPr>
              <a:solidFill>
                <a:srgbClr val="AEABAB"/>
              </a:solidFill>
            </c:spPr>
            <c:extLst>
              <c:ext xmlns:c16="http://schemas.microsoft.com/office/drawing/2014/chart" uri="{C3380CC4-5D6E-409C-BE32-E72D297353CC}">
                <c16:uniqueId val="{000001BD-0029-46E1-99A1-0468ED71B755}"/>
              </c:ext>
            </c:extLst>
          </c:dPt>
          <c:dPt>
            <c:idx val="222"/>
            <c:invertIfNegative val="1"/>
            <c:bubble3D val="0"/>
            <c:spPr>
              <a:solidFill>
                <a:srgbClr val="AEABAB"/>
              </a:solidFill>
            </c:spPr>
            <c:extLst>
              <c:ext xmlns:c16="http://schemas.microsoft.com/office/drawing/2014/chart" uri="{C3380CC4-5D6E-409C-BE32-E72D297353CC}">
                <c16:uniqueId val="{000001BF-0029-46E1-99A1-0468ED71B755}"/>
              </c:ext>
            </c:extLst>
          </c:dPt>
          <c:dPt>
            <c:idx val="223"/>
            <c:invertIfNegative val="1"/>
            <c:bubble3D val="0"/>
            <c:spPr>
              <a:solidFill>
                <a:srgbClr val="AEABAB"/>
              </a:solidFill>
            </c:spPr>
            <c:extLst>
              <c:ext xmlns:c16="http://schemas.microsoft.com/office/drawing/2014/chart" uri="{C3380CC4-5D6E-409C-BE32-E72D297353CC}">
                <c16:uniqueId val="{000001C1-0029-46E1-99A1-0468ED71B755}"/>
              </c:ext>
            </c:extLst>
          </c:dPt>
          <c:dPt>
            <c:idx val="224"/>
            <c:invertIfNegative val="1"/>
            <c:bubble3D val="0"/>
            <c:spPr>
              <a:solidFill>
                <a:srgbClr val="AEABAB"/>
              </a:solidFill>
            </c:spPr>
            <c:extLst>
              <c:ext xmlns:c16="http://schemas.microsoft.com/office/drawing/2014/chart" uri="{C3380CC4-5D6E-409C-BE32-E72D297353CC}">
                <c16:uniqueId val="{000001C3-0029-46E1-99A1-0468ED71B755}"/>
              </c:ext>
            </c:extLst>
          </c:dPt>
          <c:dPt>
            <c:idx val="225"/>
            <c:invertIfNegative val="1"/>
            <c:bubble3D val="0"/>
            <c:spPr>
              <a:solidFill>
                <a:srgbClr val="AEABAB"/>
              </a:solidFill>
            </c:spPr>
            <c:extLst>
              <c:ext xmlns:c16="http://schemas.microsoft.com/office/drawing/2014/chart" uri="{C3380CC4-5D6E-409C-BE32-E72D297353CC}">
                <c16:uniqueId val="{000001C5-0029-46E1-99A1-0468ED71B755}"/>
              </c:ext>
            </c:extLst>
          </c:dPt>
          <c:dPt>
            <c:idx val="226"/>
            <c:invertIfNegative val="1"/>
            <c:bubble3D val="0"/>
            <c:spPr>
              <a:solidFill>
                <a:srgbClr val="AEABAB"/>
              </a:solidFill>
            </c:spPr>
            <c:extLst>
              <c:ext xmlns:c16="http://schemas.microsoft.com/office/drawing/2014/chart" uri="{C3380CC4-5D6E-409C-BE32-E72D297353CC}">
                <c16:uniqueId val="{000001C7-0029-46E1-99A1-0468ED71B755}"/>
              </c:ext>
            </c:extLst>
          </c:dPt>
          <c:dPt>
            <c:idx val="227"/>
            <c:invertIfNegative val="1"/>
            <c:bubble3D val="0"/>
            <c:spPr>
              <a:solidFill>
                <a:srgbClr val="AEABAB"/>
              </a:solidFill>
            </c:spPr>
            <c:extLst>
              <c:ext xmlns:c16="http://schemas.microsoft.com/office/drawing/2014/chart" uri="{C3380CC4-5D6E-409C-BE32-E72D297353CC}">
                <c16:uniqueId val="{000001C9-0029-46E1-99A1-0468ED71B755}"/>
              </c:ext>
            </c:extLst>
          </c:dPt>
          <c:dPt>
            <c:idx val="228"/>
            <c:invertIfNegative val="1"/>
            <c:bubble3D val="0"/>
            <c:spPr>
              <a:solidFill>
                <a:srgbClr val="AEABAB"/>
              </a:solidFill>
            </c:spPr>
            <c:extLst>
              <c:ext xmlns:c16="http://schemas.microsoft.com/office/drawing/2014/chart" uri="{C3380CC4-5D6E-409C-BE32-E72D297353CC}">
                <c16:uniqueId val="{000001CB-0029-46E1-99A1-0468ED71B755}"/>
              </c:ext>
            </c:extLst>
          </c:dPt>
          <c:dPt>
            <c:idx val="229"/>
            <c:invertIfNegative val="1"/>
            <c:bubble3D val="0"/>
            <c:spPr>
              <a:solidFill>
                <a:srgbClr val="AEABAB"/>
              </a:solidFill>
            </c:spPr>
            <c:extLst>
              <c:ext xmlns:c16="http://schemas.microsoft.com/office/drawing/2014/chart" uri="{C3380CC4-5D6E-409C-BE32-E72D297353CC}">
                <c16:uniqueId val="{000001CD-0029-46E1-99A1-0468ED71B755}"/>
              </c:ext>
            </c:extLst>
          </c:dPt>
          <c:dPt>
            <c:idx val="230"/>
            <c:invertIfNegative val="1"/>
            <c:bubble3D val="0"/>
            <c:spPr>
              <a:solidFill>
                <a:srgbClr val="AEABAB"/>
              </a:solidFill>
            </c:spPr>
            <c:extLst>
              <c:ext xmlns:c16="http://schemas.microsoft.com/office/drawing/2014/chart" uri="{C3380CC4-5D6E-409C-BE32-E72D297353CC}">
                <c16:uniqueId val="{000001CF-0029-46E1-99A1-0468ED71B755}"/>
              </c:ext>
            </c:extLst>
          </c:dPt>
          <c:dPt>
            <c:idx val="231"/>
            <c:invertIfNegative val="1"/>
            <c:bubble3D val="0"/>
            <c:spPr>
              <a:solidFill>
                <a:srgbClr val="AEABAB"/>
              </a:solidFill>
            </c:spPr>
            <c:extLst>
              <c:ext xmlns:c16="http://schemas.microsoft.com/office/drawing/2014/chart" uri="{C3380CC4-5D6E-409C-BE32-E72D297353CC}">
                <c16:uniqueId val="{000001D1-0029-46E1-99A1-0468ED71B755}"/>
              </c:ext>
            </c:extLst>
          </c:dPt>
          <c:dPt>
            <c:idx val="232"/>
            <c:invertIfNegative val="1"/>
            <c:bubble3D val="0"/>
            <c:spPr>
              <a:solidFill>
                <a:srgbClr val="AEABAB"/>
              </a:solidFill>
            </c:spPr>
            <c:extLst>
              <c:ext xmlns:c16="http://schemas.microsoft.com/office/drawing/2014/chart" uri="{C3380CC4-5D6E-409C-BE32-E72D297353CC}">
                <c16:uniqueId val="{000001D3-0029-46E1-99A1-0468ED71B755}"/>
              </c:ext>
            </c:extLst>
          </c:dPt>
          <c:dPt>
            <c:idx val="233"/>
            <c:invertIfNegative val="1"/>
            <c:bubble3D val="0"/>
            <c:spPr>
              <a:solidFill>
                <a:srgbClr val="AEABAB"/>
              </a:solidFill>
            </c:spPr>
            <c:extLst>
              <c:ext xmlns:c16="http://schemas.microsoft.com/office/drawing/2014/chart" uri="{C3380CC4-5D6E-409C-BE32-E72D297353CC}">
                <c16:uniqueId val="{000001D5-0029-46E1-99A1-0468ED71B755}"/>
              </c:ext>
            </c:extLst>
          </c:dPt>
          <c:dPt>
            <c:idx val="234"/>
            <c:invertIfNegative val="1"/>
            <c:bubble3D val="0"/>
            <c:spPr>
              <a:solidFill>
                <a:srgbClr val="AEABAB"/>
              </a:solidFill>
            </c:spPr>
            <c:extLst>
              <c:ext xmlns:c16="http://schemas.microsoft.com/office/drawing/2014/chart" uri="{C3380CC4-5D6E-409C-BE32-E72D297353CC}">
                <c16:uniqueId val="{000001D7-0029-46E1-99A1-0468ED71B755}"/>
              </c:ext>
            </c:extLst>
          </c:dPt>
          <c:dPt>
            <c:idx val="235"/>
            <c:invertIfNegative val="1"/>
            <c:bubble3D val="0"/>
            <c:spPr>
              <a:solidFill>
                <a:srgbClr val="AEABAB"/>
              </a:solidFill>
            </c:spPr>
            <c:extLst>
              <c:ext xmlns:c16="http://schemas.microsoft.com/office/drawing/2014/chart" uri="{C3380CC4-5D6E-409C-BE32-E72D297353CC}">
                <c16:uniqueId val="{000001D9-0029-46E1-99A1-0468ED71B755}"/>
              </c:ext>
            </c:extLst>
          </c:dPt>
          <c:dPt>
            <c:idx val="236"/>
            <c:invertIfNegative val="1"/>
            <c:bubble3D val="0"/>
            <c:spPr>
              <a:solidFill>
                <a:srgbClr val="AEABAB"/>
              </a:solidFill>
            </c:spPr>
            <c:extLst>
              <c:ext xmlns:c16="http://schemas.microsoft.com/office/drawing/2014/chart" uri="{C3380CC4-5D6E-409C-BE32-E72D297353CC}">
                <c16:uniqueId val="{000001DB-0029-46E1-99A1-0468ED71B755}"/>
              </c:ext>
            </c:extLst>
          </c:dPt>
          <c:dPt>
            <c:idx val="237"/>
            <c:invertIfNegative val="1"/>
            <c:bubble3D val="0"/>
            <c:spPr>
              <a:solidFill>
                <a:srgbClr val="AEABAB"/>
              </a:solidFill>
            </c:spPr>
            <c:extLst>
              <c:ext xmlns:c16="http://schemas.microsoft.com/office/drawing/2014/chart" uri="{C3380CC4-5D6E-409C-BE32-E72D297353CC}">
                <c16:uniqueId val="{000001DD-0029-46E1-99A1-0468ED71B755}"/>
              </c:ext>
            </c:extLst>
          </c:dPt>
          <c:dPt>
            <c:idx val="238"/>
            <c:invertIfNegative val="1"/>
            <c:bubble3D val="0"/>
            <c:spPr>
              <a:solidFill>
                <a:srgbClr val="AEABAB"/>
              </a:solidFill>
            </c:spPr>
            <c:extLst>
              <c:ext xmlns:c16="http://schemas.microsoft.com/office/drawing/2014/chart" uri="{C3380CC4-5D6E-409C-BE32-E72D297353CC}">
                <c16:uniqueId val="{000001DF-0029-46E1-99A1-0468ED71B755}"/>
              </c:ext>
            </c:extLst>
          </c:dPt>
          <c:dPt>
            <c:idx val="239"/>
            <c:invertIfNegative val="1"/>
            <c:bubble3D val="0"/>
            <c:spPr>
              <a:solidFill>
                <a:srgbClr val="AEABAB"/>
              </a:solidFill>
            </c:spPr>
            <c:extLst>
              <c:ext xmlns:c16="http://schemas.microsoft.com/office/drawing/2014/chart" uri="{C3380CC4-5D6E-409C-BE32-E72D297353CC}">
                <c16:uniqueId val="{000001E1-0029-46E1-99A1-0468ED71B755}"/>
              </c:ext>
            </c:extLst>
          </c:dPt>
          <c:dPt>
            <c:idx val="240"/>
            <c:invertIfNegative val="1"/>
            <c:bubble3D val="0"/>
            <c:spPr>
              <a:solidFill>
                <a:srgbClr val="AEABAB"/>
              </a:solidFill>
            </c:spPr>
            <c:extLst>
              <c:ext xmlns:c16="http://schemas.microsoft.com/office/drawing/2014/chart" uri="{C3380CC4-5D6E-409C-BE32-E72D297353CC}">
                <c16:uniqueId val="{000001E3-0029-46E1-99A1-0468ED71B755}"/>
              </c:ext>
            </c:extLst>
          </c:dPt>
          <c:dPt>
            <c:idx val="241"/>
            <c:invertIfNegative val="1"/>
            <c:bubble3D val="0"/>
            <c:spPr>
              <a:solidFill>
                <a:srgbClr val="AEABAB"/>
              </a:solidFill>
            </c:spPr>
            <c:extLst>
              <c:ext xmlns:c16="http://schemas.microsoft.com/office/drawing/2014/chart" uri="{C3380CC4-5D6E-409C-BE32-E72D297353CC}">
                <c16:uniqueId val="{000001E5-0029-46E1-99A1-0468ED71B755}"/>
              </c:ext>
            </c:extLst>
          </c:dPt>
          <c:dPt>
            <c:idx val="242"/>
            <c:invertIfNegative val="1"/>
            <c:bubble3D val="0"/>
            <c:spPr>
              <a:solidFill>
                <a:srgbClr val="AEABAB"/>
              </a:solidFill>
            </c:spPr>
            <c:extLst>
              <c:ext xmlns:c16="http://schemas.microsoft.com/office/drawing/2014/chart" uri="{C3380CC4-5D6E-409C-BE32-E72D297353CC}">
                <c16:uniqueId val="{000001E7-0029-46E1-99A1-0468ED71B755}"/>
              </c:ext>
            </c:extLst>
          </c:dPt>
          <c:dPt>
            <c:idx val="243"/>
            <c:invertIfNegative val="1"/>
            <c:bubble3D val="0"/>
            <c:spPr>
              <a:solidFill>
                <a:srgbClr val="AEABAB"/>
              </a:solidFill>
            </c:spPr>
            <c:extLst>
              <c:ext xmlns:c16="http://schemas.microsoft.com/office/drawing/2014/chart" uri="{C3380CC4-5D6E-409C-BE32-E72D297353CC}">
                <c16:uniqueId val="{000001E9-0029-46E1-99A1-0468ED71B755}"/>
              </c:ext>
            </c:extLst>
          </c:dPt>
          <c:dPt>
            <c:idx val="244"/>
            <c:invertIfNegative val="1"/>
            <c:bubble3D val="0"/>
            <c:spPr>
              <a:solidFill>
                <a:srgbClr val="AEABAB"/>
              </a:solidFill>
            </c:spPr>
            <c:extLst>
              <c:ext xmlns:c16="http://schemas.microsoft.com/office/drawing/2014/chart" uri="{C3380CC4-5D6E-409C-BE32-E72D297353CC}">
                <c16:uniqueId val="{000001EB-0029-46E1-99A1-0468ED71B755}"/>
              </c:ext>
            </c:extLst>
          </c:dPt>
          <c:dPt>
            <c:idx val="245"/>
            <c:invertIfNegative val="1"/>
            <c:bubble3D val="0"/>
            <c:spPr>
              <a:solidFill>
                <a:srgbClr val="AEABAB"/>
              </a:solidFill>
            </c:spPr>
            <c:extLst>
              <c:ext xmlns:c16="http://schemas.microsoft.com/office/drawing/2014/chart" uri="{C3380CC4-5D6E-409C-BE32-E72D297353CC}">
                <c16:uniqueId val="{000001ED-0029-46E1-99A1-0468ED71B755}"/>
              </c:ext>
            </c:extLst>
          </c:dPt>
          <c:dPt>
            <c:idx val="246"/>
            <c:invertIfNegative val="1"/>
            <c:bubble3D val="0"/>
            <c:spPr>
              <a:solidFill>
                <a:srgbClr val="AEABAB"/>
              </a:solidFill>
            </c:spPr>
            <c:extLst>
              <c:ext xmlns:c16="http://schemas.microsoft.com/office/drawing/2014/chart" uri="{C3380CC4-5D6E-409C-BE32-E72D297353CC}">
                <c16:uniqueId val="{000001EF-0029-46E1-99A1-0468ED71B755}"/>
              </c:ext>
            </c:extLst>
          </c:dPt>
          <c:dPt>
            <c:idx val="247"/>
            <c:invertIfNegative val="1"/>
            <c:bubble3D val="0"/>
            <c:spPr>
              <a:solidFill>
                <a:srgbClr val="AEABAB"/>
              </a:solidFill>
            </c:spPr>
            <c:extLst>
              <c:ext xmlns:c16="http://schemas.microsoft.com/office/drawing/2014/chart" uri="{C3380CC4-5D6E-409C-BE32-E72D297353CC}">
                <c16:uniqueId val="{000001F1-0029-46E1-99A1-0468ED71B755}"/>
              </c:ext>
            </c:extLst>
          </c:dPt>
          <c:dPt>
            <c:idx val="248"/>
            <c:invertIfNegative val="1"/>
            <c:bubble3D val="0"/>
            <c:spPr>
              <a:solidFill>
                <a:srgbClr val="AEABAB"/>
              </a:solidFill>
            </c:spPr>
            <c:extLst>
              <c:ext xmlns:c16="http://schemas.microsoft.com/office/drawing/2014/chart" uri="{C3380CC4-5D6E-409C-BE32-E72D297353CC}">
                <c16:uniqueId val="{000001F3-0029-46E1-99A1-0468ED71B755}"/>
              </c:ext>
            </c:extLst>
          </c:dPt>
          <c:dPt>
            <c:idx val="249"/>
            <c:invertIfNegative val="1"/>
            <c:bubble3D val="0"/>
            <c:spPr>
              <a:solidFill>
                <a:srgbClr val="AEABAB"/>
              </a:solidFill>
            </c:spPr>
            <c:extLst>
              <c:ext xmlns:c16="http://schemas.microsoft.com/office/drawing/2014/chart" uri="{C3380CC4-5D6E-409C-BE32-E72D297353CC}">
                <c16:uniqueId val="{000001F5-0029-46E1-99A1-0468ED71B755}"/>
              </c:ext>
            </c:extLst>
          </c:dPt>
          <c:dPt>
            <c:idx val="250"/>
            <c:invertIfNegative val="1"/>
            <c:bubble3D val="0"/>
            <c:spPr>
              <a:solidFill>
                <a:srgbClr val="AEABAB"/>
              </a:solidFill>
            </c:spPr>
            <c:extLst>
              <c:ext xmlns:c16="http://schemas.microsoft.com/office/drawing/2014/chart" uri="{C3380CC4-5D6E-409C-BE32-E72D297353CC}">
                <c16:uniqueId val="{000001F7-0029-46E1-99A1-0468ED71B755}"/>
              </c:ext>
            </c:extLst>
          </c:dPt>
          <c:dPt>
            <c:idx val="251"/>
            <c:invertIfNegative val="1"/>
            <c:bubble3D val="0"/>
            <c:spPr>
              <a:solidFill>
                <a:srgbClr val="AEABAB"/>
              </a:solidFill>
            </c:spPr>
            <c:extLst>
              <c:ext xmlns:c16="http://schemas.microsoft.com/office/drawing/2014/chart" uri="{C3380CC4-5D6E-409C-BE32-E72D297353CC}">
                <c16:uniqueId val="{000001F9-0029-46E1-99A1-0468ED71B755}"/>
              </c:ext>
            </c:extLst>
          </c:dPt>
          <c:dPt>
            <c:idx val="252"/>
            <c:invertIfNegative val="1"/>
            <c:bubble3D val="0"/>
            <c:spPr>
              <a:solidFill>
                <a:srgbClr val="AEABAB"/>
              </a:solidFill>
            </c:spPr>
            <c:extLst>
              <c:ext xmlns:c16="http://schemas.microsoft.com/office/drawing/2014/chart" uri="{C3380CC4-5D6E-409C-BE32-E72D297353CC}">
                <c16:uniqueId val="{000001FB-0029-46E1-99A1-0468ED71B755}"/>
              </c:ext>
            </c:extLst>
          </c:dPt>
          <c:dPt>
            <c:idx val="253"/>
            <c:invertIfNegative val="1"/>
            <c:bubble3D val="0"/>
            <c:spPr>
              <a:solidFill>
                <a:srgbClr val="AEABAB"/>
              </a:solidFill>
            </c:spPr>
            <c:extLst>
              <c:ext xmlns:c16="http://schemas.microsoft.com/office/drawing/2014/chart" uri="{C3380CC4-5D6E-409C-BE32-E72D297353CC}">
                <c16:uniqueId val="{000001FD-0029-46E1-99A1-0468ED71B755}"/>
              </c:ext>
            </c:extLst>
          </c:dPt>
          <c:dPt>
            <c:idx val="254"/>
            <c:invertIfNegative val="1"/>
            <c:bubble3D val="0"/>
            <c:spPr>
              <a:solidFill>
                <a:srgbClr val="AEABAB"/>
              </a:solidFill>
            </c:spPr>
            <c:extLst>
              <c:ext xmlns:c16="http://schemas.microsoft.com/office/drawing/2014/chart" uri="{C3380CC4-5D6E-409C-BE32-E72D297353CC}">
                <c16:uniqueId val="{000001FF-0029-46E1-99A1-0468ED71B755}"/>
              </c:ext>
            </c:extLst>
          </c:dPt>
          <c:dPt>
            <c:idx val="255"/>
            <c:invertIfNegative val="1"/>
            <c:bubble3D val="0"/>
            <c:spPr>
              <a:solidFill>
                <a:srgbClr val="AEABAB"/>
              </a:solidFill>
            </c:spPr>
            <c:extLst>
              <c:ext xmlns:c16="http://schemas.microsoft.com/office/drawing/2014/chart" uri="{C3380CC4-5D6E-409C-BE32-E72D297353CC}">
                <c16:uniqueId val="{00000201-0029-46E1-99A1-0468ED71B755}"/>
              </c:ext>
            </c:extLst>
          </c:dPt>
          <c:dPt>
            <c:idx val="256"/>
            <c:invertIfNegative val="1"/>
            <c:bubble3D val="0"/>
            <c:spPr>
              <a:solidFill>
                <a:srgbClr val="AEABAB"/>
              </a:solidFill>
            </c:spPr>
            <c:extLst>
              <c:ext xmlns:c16="http://schemas.microsoft.com/office/drawing/2014/chart" uri="{C3380CC4-5D6E-409C-BE32-E72D297353CC}">
                <c16:uniqueId val="{00000203-0029-46E1-99A1-0468ED71B755}"/>
              </c:ext>
            </c:extLst>
          </c:dPt>
          <c:dPt>
            <c:idx val="257"/>
            <c:invertIfNegative val="1"/>
            <c:bubble3D val="0"/>
            <c:spPr>
              <a:solidFill>
                <a:srgbClr val="AEABAB"/>
              </a:solidFill>
            </c:spPr>
            <c:extLst>
              <c:ext xmlns:c16="http://schemas.microsoft.com/office/drawing/2014/chart" uri="{C3380CC4-5D6E-409C-BE32-E72D297353CC}">
                <c16:uniqueId val="{00000205-0029-46E1-99A1-0468ED71B755}"/>
              </c:ext>
            </c:extLst>
          </c:dPt>
          <c:dPt>
            <c:idx val="258"/>
            <c:invertIfNegative val="1"/>
            <c:bubble3D val="0"/>
            <c:spPr>
              <a:solidFill>
                <a:srgbClr val="AEABAB"/>
              </a:solidFill>
            </c:spPr>
            <c:extLst>
              <c:ext xmlns:c16="http://schemas.microsoft.com/office/drawing/2014/chart" uri="{C3380CC4-5D6E-409C-BE32-E72D297353CC}">
                <c16:uniqueId val="{00000207-0029-46E1-99A1-0468ED71B755}"/>
              </c:ext>
            </c:extLst>
          </c:dPt>
          <c:dPt>
            <c:idx val="259"/>
            <c:invertIfNegative val="1"/>
            <c:bubble3D val="0"/>
            <c:spPr>
              <a:solidFill>
                <a:srgbClr val="AEABAB"/>
              </a:solidFill>
            </c:spPr>
            <c:extLst>
              <c:ext xmlns:c16="http://schemas.microsoft.com/office/drawing/2014/chart" uri="{C3380CC4-5D6E-409C-BE32-E72D297353CC}">
                <c16:uniqueId val="{00000209-0029-46E1-99A1-0468ED71B755}"/>
              </c:ext>
            </c:extLst>
          </c:dPt>
          <c:dPt>
            <c:idx val="260"/>
            <c:invertIfNegative val="1"/>
            <c:bubble3D val="0"/>
            <c:spPr>
              <a:solidFill>
                <a:srgbClr val="AEABAB"/>
              </a:solidFill>
            </c:spPr>
            <c:extLst>
              <c:ext xmlns:c16="http://schemas.microsoft.com/office/drawing/2014/chart" uri="{C3380CC4-5D6E-409C-BE32-E72D297353CC}">
                <c16:uniqueId val="{0000020B-0029-46E1-99A1-0468ED71B755}"/>
              </c:ext>
            </c:extLst>
          </c:dPt>
          <c:dPt>
            <c:idx val="261"/>
            <c:invertIfNegative val="1"/>
            <c:bubble3D val="0"/>
            <c:spPr>
              <a:solidFill>
                <a:srgbClr val="AEABAB"/>
              </a:solidFill>
            </c:spPr>
            <c:extLst>
              <c:ext xmlns:c16="http://schemas.microsoft.com/office/drawing/2014/chart" uri="{C3380CC4-5D6E-409C-BE32-E72D297353CC}">
                <c16:uniqueId val="{0000020D-0029-46E1-99A1-0468ED71B755}"/>
              </c:ext>
            </c:extLst>
          </c:dPt>
          <c:dPt>
            <c:idx val="262"/>
            <c:invertIfNegative val="1"/>
            <c:bubble3D val="0"/>
            <c:spPr>
              <a:solidFill>
                <a:srgbClr val="AEABAB"/>
              </a:solidFill>
            </c:spPr>
            <c:extLst>
              <c:ext xmlns:c16="http://schemas.microsoft.com/office/drawing/2014/chart" uri="{C3380CC4-5D6E-409C-BE32-E72D297353CC}">
                <c16:uniqueId val="{0000020F-0029-46E1-99A1-0468ED71B755}"/>
              </c:ext>
            </c:extLst>
          </c:dPt>
          <c:dPt>
            <c:idx val="263"/>
            <c:invertIfNegative val="1"/>
            <c:bubble3D val="0"/>
            <c:spPr>
              <a:solidFill>
                <a:srgbClr val="AEABAB"/>
              </a:solidFill>
            </c:spPr>
            <c:extLst>
              <c:ext xmlns:c16="http://schemas.microsoft.com/office/drawing/2014/chart" uri="{C3380CC4-5D6E-409C-BE32-E72D297353CC}">
                <c16:uniqueId val="{00000211-0029-46E1-99A1-0468ED71B755}"/>
              </c:ext>
            </c:extLst>
          </c:dPt>
          <c:dPt>
            <c:idx val="264"/>
            <c:invertIfNegative val="1"/>
            <c:bubble3D val="0"/>
            <c:spPr>
              <a:solidFill>
                <a:srgbClr val="AEABAB"/>
              </a:solidFill>
            </c:spPr>
            <c:extLst>
              <c:ext xmlns:c16="http://schemas.microsoft.com/office/drawing/2014/chart" uri="{C3380CC4-5D6E-409C-BE32-E72D297353CC}">
                <c16:uniqueId val="{00000213-0029-46E1-99A1-0468ED71B755}"/>
              </c:ext>
            </c:extLst>
          </c:dPt>
          <c:dPt>
            <c:idx val="265"/>
            <c:invertIfNegative val="1"/>
            <c:bubble3D val="0"/>
            <c:spPr>
              <a:solidFill>
                <a:srgbClr val="AEABAB"/>
              </a:solidFill>
            </c:spPr>
            <c:extLst>
              <c:ext xmlns:c16="http://schemas.microsoft.com/office/drawing/2014/chart" uri="{C3380CC4-5D6E-409C-BE32-E72D297353CC}">
                <c16:uniqueId val="{00000215-0029-46E1-99A1-0468ED71B755}"/>
              </c:ext>
            </c:extLst>
          </c:dPt>
          <c:dPt>
            <c:idx val="266"/>
            <c:invertIfNegative val="1"/>
            <c:bubble3D val="0"/>
            <c:spPr>
              <a:solidFill>
                <a:srgbClr val="AEABAB"/>
              </a:solidFill>
            </c:spPr>
            <c:extLst>
              <c:ext xmlns:c16="http://schemas.microsoft.com/office/drawing/2014/chart" uri="{C3380CC4-5D6E-409C-BE32-E72D297353CC}">
                <c16:uniqueId val="{00000217-0029-46E1-99A1-0468ED71B755}"/>
              </c:ext>
            </c:extLst>
          </c:dPt>
          <c:dPt>
            <c:idx val="267"/>
            <c:invertIfNegative val="1"/>
            <c:bubble3D val="0"/>
            <c:spPr>
              <a:solidFill>
                <a:srgbClr val="AEABAB"/>
              </a:solidFill>
            </c:spPr>
            <c:extLst>
              <c:ext xmlns:c16="http://schemas.microsoft.com/office/drawing/2014/chart" uri="{C3380CC4-5D6E-409C-BE32-E72D297353CC}">
                <c16:uniqueId val="{00000219-0029-46E1-99A1-0468ED71B755}"/>
              </c:ext>
            </c:extLst>
          </c:dPt>
          <c:dPt>
            <c:idx val="268"/>
            <c:invertIfNegative val="1"/>
            <c:bubble3D val="0"/>
            <c:spPr>
              <a:solidFill>
                <a:srgbClr val="AEABAB"/>
              </a:solidFill>
            </c:spPr>
            <c:extLst>
              <c:ext xmlns:c16="http://schemas.microsoft.com/office/drawing/2014/chart" uri="{C3380CC4-5D6E-409C-BE32-E72D297353CC}">
                <c16:uniqueId val="{0000021B-0029-46E1-99A1-0468ED71B755}"/>
              </c:ext>
            </c:extLst>
          </c:dPt>
          <c:dPt>
            <c:idx val="269"/>
            <c:invertIfNegative val="1"/>
            <c:bubble3D val="0"/>
            <c:spPr>
              <a:solidFill>
                <a:srgbClr val="AEABAB"/>
              </a:solidFill>
            </c:spPr>
            <c:extLst>
              <c:ext xmlns:c16="http://schemas.microsoft.com/office/drawing/2014/chart" uri="{C3380CC4-5D6E-409C-BE32-E72D297353CC}">
                <c16:uniqueId val="{0000021D-0029-46E1-99A1-0468ED71B755}"/>
              </c:ext>
            </c:extLst>
          </c:dPt>
          <c:dPt>
            <c:idx val="270"/>
            <c:invertIfNegative val="1"/>
            <c:bubble3D val="0"/>
            <c:spPr>
              <a:solidFill>
                <a:srgbClr val="AEABAB"/>
              </a:solidFill>
            </c:spPr>
            <c:extLst>
              <c:ext xmlns:c16="http://schemas.microsoft.com/office/drawing/2014/chart" uri="{C3380CC4-5D6E-409C-BE32-E72D297353CC}">
                <c16:uniqueId val="{0000021F-0029-46E1-99A1-0468ED71B755}"/>
              </c:ext>
            </c:extLst>
          </c:dPt>
          <c:dPt>
            <c:idx val="271"/>
            <c:invertIfNegative val="1"/>
            <c:bubble3D val="0"/>
            <c:spPr>
              <a:solidFill>
                <a:srgbClr val="AEABAB"/>
              </a:solidFill>
            </c:spPr>
            <c:extLst>
              <c:ext xmlns:c16="http://schemas.microsoft.com/office/drawing/2014/chart" uri="{C3380CC4-5D6E-409C-BE32-E72D297353CC}">
                <c16:uniqueId val="{00000221-0029-46E1-99A1-0468ED71B755}"/>
              </c:ext>
            </c:extLst>
          </c:dPt>
          <c:dPt>
            <c:idx val="272"/>
            <c:invertIfNegative val="1"/>
            <c:bubble3D val="0"/>
            <c:spPr>
              <a:solidFill>
                <a:srgbClr val="AEABAB"/>
              </a:solidFill>
            </c:spPr>
            <c:extLst>
              <c:ext xmlns:c16="http://schemas.microsoft.com/office/drawing/2014/chart" uri="{C3380CC4-5D6E-409C-BE32-E72D297353CC}">
                <c16:uniqueId val="{00000223-0029-46E1-99A1-0468ED71B755}"/>
              </c:ext>
            </c:extLst>
          </c:dPt>
          <c:dPt>
            <c:idx val="273"/>
            <c:invertIfNegative val="1"/>
            <c:bubble3D val="0"/>
            <c:spPr>
              <a:solidFill>
                <a:srgbClr val="AEABAB"/>
              </a:solidFill>
            </c:spPr>
            <c:extLst>
              <c:ext xmlns:c16="http://schemas.microsoft.com/office/drawing/2014/chart" uri="{C3380CC4-5D6E-409C-BE32-E72D297353CC}">
                <c16:uniqueId val="{00000225-0029-46E1-99A1-0468ED71B755}"/>
              </c:ext>
            </c:extLst>
          </c:dPt>
          <c:dPt>
            <c:idx val="274"/>
            <c:invertIfNegative val="1"/>
            <c:bubble3D val="0"/>
            <c:spPr>
              <a:solidFill>
                <a:srgbClr val="AEABAB"/>
              </a:solidFill>
            </c:spPr>
            <c:extLst>
              <c:ext xmlns:c16="http://schemas.microsoft.com/office/drawing/2014/chart" uri="{C3380CC4-5D6E-409C-BE32-E72D297353CC}">
                <c16:uniqueId val="{00000227-0029-46E1-99A1-0468ED71B755}"/>
              </c:ext>
            </c:extLst>
          </c:dPt>
          <c:dPt>
            <c:idx val="275"/>
            <c:invertIfNegative val="1"/>
            <c:bubble3D val="0"/>
            <c:spPr>
              <a:solidFill>
                <a:srgbClr val="AEABAB"/>
              </a:solidFill>
            </c:spPr>
            <c:extLst>
              <c:ext xmlns:c16="http://schemas.microsoft.com/office/drawing/2014/chart" uri="{C3380CC4-5D6E-409C-BE32-E72D297353CC}">
                <c16:uniqueId val="{00000229-0029-46E1-99A1-0468ED71B755}"/>
              </c:ext>
            </c:extLst>
          </c:dPt>
          <c:dPt>
            <c:idx val="276"/>
            <c:invertIfNegative val="1"/>
            <c:bubble3D val="0"/>
            <c:spPr>
              <a:solidFill>
                <a:srgbClr val="AEABAB"/>
              </a:solidFill>
            </c:spPr>
            <c:extLst>
              <c:ext xmlns:c16="http://schemas.microsoft.com/office/drawing/2014/chart" uri="{C3380CC4-5D6E-409C-BE32-E72D297353CC}">
                <c16:uniqueId val="{0000022B-0029-46E1-99A1-0468ED71B755}"/>
              </c:ext>
            </c:extLst>
          </c:dPt>
          <c:dPt>
            <c:idx val="277"/>
            <c:invertIfNegative val="1"/>
            <c:bubble3D val="0"/>
            <c:spPr>
              <a:solidFill>
                <a:srgbClr val="AEABAB"/>
              </a:solidFill>
            </c:spPr>
            <c:extLst>
              <c:ext xmlns:c16="http://schemas.microsoft.com/office/drawing/2014/chart" uri="{C3380CC4-5D6E-409C-BE32-E72D297353CC}">
                <c16:uniqueId val="{0000022D-0029-46E1-99A1-0468ED71B755}"/>
              </c:ext>
            </c:extLst>
          </c:dPt>
          <c:dPt>
            <c:idx val="278"/>
            <c:invertIfNegative val="1"/>
            <c:bubble3D val="0"/>
            <c:spPr>
              <a:solidFill>
                <a:srgbClr val="AEABAB"/>
              </a:solidFill>
            </c:spPr>
            <c:extLst>
              <c:ext xmlns:c16="http://schemas.microsoft.com/office/drawing/2014/chart" uri="{C3380CC4-5D6E-409C-BE32-E72D297353CC}">
                <c16:uniqueId val="{0000022F-0029-46E1-99A1-0468ED71B755}"/>
              </c:ext>
            </c:extLst>
          </c:dPt>
          <c:dPt>
            <c:idx val="279"/>
            <c:invertIfNegative val="1"/>
            <c:bubble3D val="0"/>
            <c:spPr>
              <a:solidFill>
                <a:srgbClr val="AEABAB"/>
              </a:solidFill>
            </c:spPr>
            <c:extLst>
              <c:ext xmlns:c16="http://schemas.microsoft.com/office/drawing/2014/chart" uri="{C3380CC4-5D6E-409C-BE32-E72D297353CC}">
                <c16:uniqueId val="{00000231-0029-46E1-99A1-0468ED71B755}"/>
              </c:ext>
            </c:extLst>
          </c:dPt>
          <c:dPt>
            <c:idx val="280"/>
            <c:invertIfNegative val="1"/>
            <c:bubble3D val="0"/>
            <c:spPr>
              <a:solidFill>
                <a:srgbClr val="AEABAB"/>
              </a:solidFill>
            </c:spPr>
            <c:extLst>
              <c:ext xmlns:c16="http://schemas.microsoft.com/office/drawing/2014/chart" uri="{C3380CC4-5D6E-409C-BE32-E72D297353CC}">
                <c16:uniqueId val="{00000233-0029-46E1-99A1-0468ED71B755}"/>
              </c:ext>
            </c:extLst>
          </c:dPt>
          <c:dPt>
            <c:idx val="281"/>
            <c:invertIfNegative val="1"/>
            <c:bubble3D val="0"/>
            <c:spPr>
              <a:solidFill>
                <a:srgbClr val="AEABAB"/>
              </a:solidFill>
            </c:spPr>
            <c:extLst>
              <c:ext xmlns:c16="http://schemas.microsoft.com/office/drawing/2014/chart" uri="{C3380CC4-5D6E-409C-BE32-E72D297353CC}">
                <c16:uniqueId val="{00000235-0029-46E1-99A1-0468ED71B755}"/>
              </c:ext>
            </c:extLst>
          </c:dPt>
          <c:dPt>
            <c:idx val="282"/>
            <c:invertIfNegative val="1"/>
            <c:bubble3D val="0"/>
            <c:spPr>
              <a:solidFill>
                <a:srgbClr val="AEABAB"/>
              </a:solidFill>
            </c:spPr>
            <c:extLst>
              <c:ext xmlns:c16="http://schemas.microsoft.com/office/drawing/2014/chart" uri="{C3380CC4-5D6E-409C-BE32-E72D297353CC}">
                <c16:uniqueId val="{00000237-0029-46E1-99A1-0468ED71B755}"/>
              </c:ext>
            </c:extLst>
          </c:dPt>
          <c:dPt>
            <c:idx val="283"/>
            <c:invertIfNegative val="1"/>
            <c:bubble3D val="0"/>
            <c:spPr>
              <a:solidFill>
                <a:srgbClr val="AEABAB"/>
              </a:solidFill>
            </c:spPr>
            <c:extLst>
              <c:ext xmlns:c16="http://schemas.microsoft.com/office/drawing/2014/chart" uri="{C3380CC4-5D6E-409C-BE32-E72D297353CC}">
                <c16:uniqueId val="{00000239-0029-46E1-99A1-0468ED71B755}"/>
              </c:ext>
            </c:extLst>
          </c:dPt>
          <c:dPt>
            <c:idx val="284"/>
            <c:invertIfNegative val="1"/>
            <c:bubble3D val="0"/>
            <c:spPr>
              <a:solidFill>
                <a:srgbClr val="AEABAB"/>
              </a:solidFill>
            </c:spPr>
            <c:extLst>
              <c:ext xmlns:c16="http://schemas.microsoft.com/office/drawing/2014/chart" uri="{C3380CC4-5D6E-409C-BE32-E72D297353CC}">
                <c16:uniqueId val="{0000023B-0029-46E1-99A1-0468ED71B755}"/>
              </c:ext>
            </c:extLst>
          </c:dPt>
          <c:dPt>
            <c:idx val="285"/>
            <c:invertIfNegative val="1"/>
            <c:bubble3D val="0"/>
            <c:spPr>
              <a:solidFill>
                <a:srgbClr val="AEABAB"/>
              </a:solidFill>
            </c:spPr>
            <c:extLst>
              <c:ext xmlns:c16="http://schemas.microsoft.com/office/drawing/2014/chart" uri="{C3380CC4-5D6E-409C-BE32-E72D297353CC}">
                <c16:uniqueId val="{0000023D-0029-46E1-99A1-0468ED71B755}"/>
              </c:ext>
            </c:extLst>
          </c:dPt>
          <c:dPt>
            <c:idx val="286"/>
            <c:invertIfNegative val="1"/>
            <c:bubble3D val="0"/>
            <c:spPr>
              <a:solidFill>
                <a:srgbClr val="AEABAB"/>
              </a:solidFill>
            </c:spPr>
            <c:extLst>
              <c:ext xmlns:c16="http://schemas.microsoft.com/office/drawing/2014/chart" uri="{C3380CC4-5D6E-409C-BE32-E72D297353CC}">
                <c16:uniqueId val="{0000023F-0029-46E1-99A1-0468ED71B755}"/>
              </c:ext>
            </c:extLst>
          </c:dPt>
          <c:dPt>
            <c:idx val="287"/>
            <c:invertIfNegative val="1"/>
            <c:bubble3D val="0"/>
            <c:spPr>
              <a:solidFill>
                <a:srgbClr val="AEABAB"/>
              </a:solidFill>
            </c:spPr>
            <c:extLst>
              <c:ext xmlns:c16="http://schemas.microsoft.com/office/drawing/2014/chart" uri="{C3380CC4-5D6E-409C-BE32-E72D297353CC}">
                <c16:uniqueId val="{00000241-0029-46E1-99A1-0468ED71B755}"/>
              </c:ext>
            </c:extLst>
          </c:dPt>
          <c:dPt>
            <c:idx val="288"/>
            <c:invertIfNegative val="1"/>
            <c:bubble3D val="0"/>
            <c:spPr>
              <a:solidFill>
                <a:srgbClr val="AEABAB"/>
              </a:solidFill>
            </c:spPr>
            <c:extLst>
              <c:ext xmlns:c16="http://schemas.microsoft.com/office/drawing/2014/chart" uri="{C3380CC4-5D6E-409C-BE32-E72D297353CC}">
                <c16:uniqueId val="{00000243-0029-46E1-99A1-0468ED71B755}"/>
              </c:ext>
            </c:extLst>
          </c:dPt>
          <c:dPt>
            <c:idx val="289"/>
            <c:invertIfNegative val="1"/>
            <c:bubble3D val="0"/>
            <c:spPr>
              <a:solidFill>
                <a:srgbClr val="AEABAB"/>
              </a:solidFill>
            </c:spPr>
            <c:extLst>
              <c:ext xmlns:c16="http://schemas.microsoft.com/office/drawing/2014/chart" uri="{C3380CC4-5D6E-409C-BE32-E72D297353CC}">
                <c16:uniqueId val="{00000245-0029-46E1-99A1-0468ED71B755}"/>
              </c:ext>
            </c:extLst>
          </c:dPt>
          <c:dPt>
            <c:idx val="290"/>
            <c:invertIfNegative val="1"/>
            <c:bubble3D val="0"/>
            <c:spPr>
              <a:solidFill>
                <a:srgbClr val="AEABAB"/>
              </a:solidFill>
            </c:spPr>
            <c:extLst>
              <c:ext xmlns:c16="http://schemas.microsoft.com/office/drawing/2014/chart" uri="{C3380CC4-5D6E-409C-BE32-E72D297353CC}">
                <c16:uniqueId val="{00000247-0029-46E1-99A1-0468ED71B755}"/>
              </c:ext>
            </c:extLst>
          </c:dPt>
          <c:dPt>
            <c:idx val="291"/>
            <c:invertIfNegative val="1"/>
            <c:bubble3D val="0"/>
            <c:spPr>
              <a:solidFill>
                <a:srgbClr val="AEABAB"/>
              </a:solidFill>
            </c:spPr>
            <c:extLst>
              <c:ext xmlns:c16="http://schemas.microsoft.com/office/drawing/2014/chart" uri="{C3380CC4-5D6E-409C-BE32-E72D297353CC}">
                <c16:uniqueId val="{00000249-0029-46E1-99A1-0468ED71B755}"/>
              </c:ext>
            </c:extLst>
          </c:dPt>
          <c:dPt>
            <c:idx val="292"/>
            <c:invertIfNegative val="1"/>
            <c:bubble3D val="0"/>
            <c:spPr>
              <a:solidFill>
                <a:srgbClr val="AEABAB"/>
              </a:solidFill>
            </c:spPr>
            <c:extLst>
              <c:ext xmlns:c16="http://schemas.microsoft.com/office/drawing/2014/chart" uri="{C3380CC4-5D6E-409C-BE32-E72D297353CC}">
                <c16:uniqueId val="{0000024B-0029-46E1-99A1-0468ED71B755}"/>
              </c:ext>
            </c:extLst>
          </c:dPt>
          <c:dPt>
            <c:idx val="293"/>
            <c:invertIfNegative val="1"/>
            <c:bubble3D val="0"/>
            <c:spPr>
              <a:solidFill>
                <a:srgbClr val="AEABAB"/>
              </a:solidFill>
            </c:spPr>
            <c:extLst>
              <c:ext xmlns:c16="http://schemas.microsoft.com/office/drawing/2014/chart" uri="{C3380CC4-5D6E-409C-BE32-E72D297353CC}">
                <c16:uniqueId val="{0000024D-0029-46E1-99A1-0468ED71B755}"/>
              </c:ext>
            </c:extLst>
          </c:dPt>
          <c:dPt>
            <c:idx val="294"/>
            <c:invertIfNegative val="1"/>
            <c:bubble3D val="0"/>
            <c:spPr>
              <a:solidFill>
                <a:srgbClr val="AEABAB"/>
              </a:solidFill>
            </c:spPr>
            <c:extLst>
              <c:ext xmlns:c16="http://schemas.microsoft.com/office/drawing/2014/chart" uri="{C3380CC4-5D6E-409C-BE32-E72D297353CC}">
                <c16:uniqueId val="{0000024F-0029-46E1-99A1-0468ED71B755}"/>
              </c:ext>
            </c:extLst>
          </c:dPt>
          <c:dPt>
            <c:idx val="295"/>
            <c:invertIfNegative val="1"/>
            <c:bubble3D val="0"/>
            <c:spPr>
              <a:solidFill>
                <a:srgbClr val="AEABAB"/>
              </a:solidFill>
            </c:spPr>
            <c:extLst>
              <c:ext xmlns:c16="http://schemas.microsoft.com/office/drawing/2014/chart" uri="{C3380CC4-5D6E-409C-BE32-E72D297353CC}">
                <c16:uniqueId val="{00000251-0029-46E1-99A1-0468ED71B755}"/>
              </c:ext>
            </c:extLst>
          </c:dPt>
          <c:dPt>
            <c:idx val="296"/>
            <c:invertIfNegative val="1"/>
            <c:bubble3D val="0"/>
            <c:spPr>
              <a:solidFill>
                <a:srgbClr val="AEABAB"/>
              </a:solidFill>
            </c:spPr>
            <c:extLst>
              <c:ext xmlns:c16="http://schemas.microsoft.com/office/drawing/2014/chart" uri="{C3380CC4-5D6E-409C-BE32-E72D297353CC}">
                <c16:uniqueId val="{00000253-0029-46E1-99A1-0468ED71B755}"/>
              </c:ext>
            </c:extLst>
          </c:dPt>
          <c:dPt>
            <c:idx val="297"/>
            <c:invertIfNegative val="1"/>
            <c:bubble3D val="0"/>
            <c:spPr>
              <a:solidFill>
                <a:srgbClr val="AEABAB"/>
              </a:solidFill>
            </c:spPr>
            <c:extLst>
              <c:ext xmlns:c16="http://schemas.microsoft.com/office/drawing/2014/chart" uri="{C3380CC4-5D6E-409C-BE32-E72D297353CC}">
                <c16:uniqueId val="{00000255-0029-46E1-99A1-0468ED71B755}"/>
              </c:ext>
            </c:extLst>
          </c:dPt>
          <c:dPt>
            <c:idx val="298"/>
            <c:invertIfNegative val="1"/>
            <c:bubble3D val="0"/>
            <c:spPr>
              <a:solidFill>
                <a:srgbClr val="AEABAB"/>
              </a:solidFill>
            </c:spPr>
            <c:extLst>
              <c:ext xmlns:c16="http://schemas.microsoft.com/office/drawing/2014/chart" uri="{C3380CC4-5D6E-409C-BE32-E72D297353CC}">
                <c16:uniqueId val="{00000257-0029-46E1-99A1-0468ED71B755}"/>
              </c:ext>
            </c:extLst>
          </c:dPt>
          <c:dPt>
            <c:idx val="299"/>
            <c:invertIfNegative val="1"/>
            <c:bubble3D val="0"/>
            <c:spPr>
              <a:solidFill>
                <a:srgbClr val="AEABAB"/>
              </a:solidFill>
            </c:spPr>
            <c:extLst>
              <c:ext xmlns:c16="http://schemas.microsoft.com/office/drawing/2014/chart" uri="{C3380CC4-5D6E-409C-BE32-E72D297353CC}">
                <c16:uniqueId val="{00000259-0029-46E1-99A1-0468ED71B755}"/>
              </c:ext>
            </c:extLst>
          </c:dPt>
          <c:dPt>
            <c:idx val="300"/>
            <c:invertIfNegative val="1"/>
            <c:bubble3D val="0"/>
            <c:spPr>
              <a:solidFill>
                <a:srgbClr val="AEABAB"/>
              </a:solidFill>
            </c:spPr>
            <c:extLst>
              <c:ext xmlns:c16="http://schemas.microsoft.com/office/drawing/2014/chart" uri="{C3380CC4-5D6E-409C-BE32-E72D297353CC}">
                <c16:uniqueId val="{0000025B-0029-46E1-99A1-0468ED71B755}"/>
              </c:ext>
            </c:extLst>
          </c:dPt>
          <c:dPt>
            <c:idx val="301"/>
            <c:invertIfNegative val="1"/>
            <c:bubble3D val="0"/>
            <c:spPr>
              <a:solidFill>
                <a:srgbClr val="AEABAB"/>
              </a:solidFill>
            </c:spPr>
            <c:extLst>
              <c:ext xmlns:c16="http://schemas.microsoft.com/office/drawing/2014/chart" uri="{C3380CC4-5D6E-409C-BE32-E72D297353CC}">
                <c16:uniqueId val="{0000025D-0029-46E1-99A1-0468ED71B755}"/>
              </c:ext>
            </c:extLst>
          </c:dPt>
          <c:dPt>
            <c:idx val="302"/>
            <c:invertIfNegative val="1"/>
            <c:bubble3D val="0"/>
            <c:spPr>
              <a:solidFill>
                <a:srgbClr val="AEABAB"/>
              </a:solidFill>
            </c:spPr>
            <c:extLst>
              <c:ext xmlns:c16="http://schemas.microsoft.com/office/drawing/2014/chart" uri="{C3380CC4-5D6E-409C-BE32-E72D297353CC}">
                <c16:uniqueId val="{0000025F-0029-46E1-99A1-0468ED71B755}"/>
              </c:ext>
            </c:extLst>
          </c:dPt>
          <c:dPt>
            <c:idx val="303"/>
            <c:invertIfNegative val="1"/>
            <c:bubble3D val="0"/>
            <c:spPr>
              <a:solidFill>
                <a:srgbClr val="AEABAB"/>
              </a:solidFill>
            </c:spPr>
            <c:extLst>
              <c:ext xmlns:c16="http://schemas.microsoft.com/office/drawing/2014/chart" uri="{C3380CC4-5D6E-409C-BE32-E72D297353CC}">
                <c16:uniqueId val="{00000261-0029-46E1-99A1-0468ED71B755}"/>
              </c:ext>
            </c:extLst>
          </c:dPt>
          <c:dPt>
            <c:idx val="304"/>
            <c:invertIfNegative val="1"/>
            <c:bubble3D val="0"/>
            <c:spPr>
              <a:solidFill>
                <a:srgbClr val="AEABAB"/>
              </a:solidFill>
            </c:spPr>
            <c:extLst>
              <c:ext xmlns:c16="http://schemas.microsoft.com/office/drawing/2014/chart" uri="{C3380CC4-5D6E-409C-BE32-E72D297353CC}">
                <c16:uniqueId val="{00000263-0029-46E1-99A1-0468ED71B755}"/>
              </c:ext>
            </c:extLst>
          </c:dPt>
          <c:dPt>
            <c:idx val="305"/>
            <c:invertIfNegative val="1"/>
            <c:bubble3D val="0"/>
            <c:spPr>
              <a:solidFill>
                <a:srgbClr val="AEABAB"/>
              </a:solidFill>
            </c:spPr>
            <c:extLst>
              <c:ext xmlns:c16="http://schemas.microsoft.com/office/drawing/2014/chart" uri="{C3380CC4-5D6E-409C-BE32-E72D297353CC}">
                <c16:uniqueId val="{00000265-0029-46E1-99A1-0468ED71B755}"/>
              </c:ext>
            </c:extLst>
          </c:dPt>
          <c:dPt>
            <c:idx val="306"/>
            <c:invertIfNegative val="1"/>
            <c:bubble3D val="0"/>
            <c:spPr>
              <a:solidFill>
                <a:srgbClr val="AEABAB"/>
              </a:solidFill>
            </c:spPr>
            <c:extLst>
              <c:ext xmlns:c16="http://schemas.microsoft.com/office/drawing/2014/chart" uri="{C3380CC4-5D6E-409C-BE32-E72D297353CC}">
                <c16:uniqueId val="{00000267-0029-46E1-99A1-0468ED71B755}"/>
              </c:ext>
            </c:extLst>
          </c:dPt>
          <c:dPt>
            <c:idx val="307"/>
            <c:invertIfNegative val="1"/>
            <c:bubble3D val="0"/>
            <c:spPr>
              <a:solidFill>
                <a:srgbClr val="AEABAB"/>
              </a:solidFill>
            </c:spPr>
            <c:extLst>
              <c:ext xmlns:c16="http://schemas.microsoft.com/office/drawing/2014/chart" uri="{C3380CC4-5D6E-409C-BE32-E72D297353CC}">
                <c16:uniqueId val="{00000269-0029-46E1-99A1-0468ED71B755}"/>
              </c:ext>
            </c:extLst>
          </c:dPt>
          <c:dPt>
            <c:idx val="308"/>
            <c:invertIfNegative val="1"/>
            <c:bubble3D val="0"/>
            <c:spPr>
              <a:solidFill>
                <a:srgbClr val="AEABAB"/>
              </a:solidFill>
            </c:spPr>
            <c:extLst>
              <c:ext xmlns:c16="http://schemas.microsoft.com/office/drawing/2014/chart" uri="{C3380CC4-5D6E-409C-BE32-E72D297353CC}">
                <c16:uniqueId val="{0000026B-0029-46E1-99A1-0468ED71B755}"/>
              </c:ext>
            </c:extLst>
          </c:dPt>
          <c:dPt>
            <c:idx val="309"/>
            <c:invertIfNegative val="1"/>
            <c:bubble3D val="0"/>
            <c:spPr>
              <a:solidFill>
                <a:srgbClr val="AEABAB"/>
              </a:solidFill>
            </c:spPr>
            <c:extLst>
              <c:ext xmlns:c16="http://schemas.microsoft.com/office/drawing/2014/chart" uri="{C3380CC4-5D6E-409C-BE32-E72D297353CC}">
                <c16:uniqueId val="{0000026D-0029-46E1-99A1-0468ED71B755}"/>
              </c:ext>
            </c:extLst>
          </c:dPt>
          <c:dPt>
            <c:idx val="310"/>
            <c:invertIfNegative val="1"/>
            <c:bubble3D val="0"/>
            <c:spPr>
              <a:solidFill>
                <a:srgbClr val="AEABAB"/>
              </a:solidFill>
            </c:spPr>
            <c:extLst>
              <c:ext xmlns:c16="http://schemas.microsoft.com/office/drawing/2014/chart" uri="{C3380CC4-5D6E-409C-BE32-E72D297353CC}">
                <c16:uniqueId val="{0000026F-0029-46E1-99A1-0468ED71B755}"/>
              </c:ext>
            </c:extLst>
          </c:dPt>
          <c:dPt>
            <c:idx val="311"/>
            <c:invertIfNegative val="1"/>
            <c:bubble3D val="0"/>
            <c:spPr>
              <a:solidFill>
                <a:srgbClr val="AEABAB"/>
              </a:solidFill>
            </c:spPr>
            <c:extLst>
              <c:ext xmlns:c16="http://schemas.microsoft.com/office/drawing/2014/chart" uri="{C3380CC4-5D6E-409C-BE32-E72D297353CC}">
                <c16:uniqueId val="{00000271-0029-46E1-99A1-0468ED71B755}"/>
              </c:ext>
            </c:extLst>
          </c:dPt>
          <c:dPt>
            <c:idx val="312"/>
            <c:invertIfNegative val="1"/>
            <c:bubble3D val="0"/>
            <c:spPr>
              <a:solidFill>
                <a:srgbClr val="AEABAB"/>
              </a:solidFill>
            </c:spPr>
            <c:extLst>
              <c:ext xmlns:c16="http://schemas.microsoft.com/office/drawing/2014/chart" uri="{C3380CC4-5D6E-409C-BE32-E72D297353CC}">
                <c16:uniqueId val="{00000273-0029-46E1-99A1-0468ED71B755}"/>
              </c:ext>
            </c:extLst>
          </c:dPt>
          <c:dPt>
            <c:idx val="313"/>
            <c:invertIfNegative val="1"/>
            <c:bubble3D val="0"/>
            <c:spPr>
              <a:solidFill>
                <a:srgbClr val="AEABAB"/>
              </a:solidFill>
            </c:spPr>
            <c:extLst>
              <c:ext xmlns:c16="http://schemas.microsoft.com/office/drawing/2014/chart" uri="{C3380CC4-5D6E-409C-BE32-E72D297353CC}">
                <c16:uniqueId val="{00000275-0029-46E1-99A1-0468ED71B755}"/>
              </c:ext>
            </c:extLst>
          </c:dPt>
          <c:dPt>
            <c:idx val="314"/>
            <c:invertIfNegative val="1"/>
            <c:bubble3D val="0"/>
            <c:spPr>
              <a:solidFill>
                <a:srgbClr val="AEABAB"/>
              </a:solidFill>
            </c:spPr>
            <c:extLst>
              <c:ext xmlns:c16="http://schemas.microsoft.com/office/drawing/2014/chart" uri="{C3380CC4-5D6E-409C-BE32-E72D297353CC}">
                <c16:uniqueId val="{00000277-0029-46E1-99A1-0468ED71B755}"/>
              </c:ext>
            </c:extLst>
          </c:dPt>
          <c:dPt>
            <c:idx val="315"/>
            <c:invertIfNegative val="1"/>
            <c:bubble3D val="0"/>
            <c:spPr>
              <a:solidFill>
                <a:srgbClr val="AEABAB"/>
              </a:solidFill>
            </c:spPr>
            <c:extLst>
              <c:ext xmlns:c16="http://schemas.microsoft.com/office/drawing/2014/chart" uri="{C3380CC4-5D6E-409C-BE32-E72D297353CC}">
                <c16:uniqueId val="{00000279-0029-46E1-99A1-0468ED71B755}"/>
              </c:ext>
            </c:extLst>
          </c:dPt>
          <c:dPt>
            <c:idx val="316"/>
            <c:invertIfNegative val="1"/>
            <c:bubble3D val="0"/>
            <c:spPr>
              <a:solidFill>
                <a:srgbClr val="AEABAB"/>
              </a:solidFill>
            </c:spPr>
            <c:extLst>
              <c:ext xmlns:c16="http://schemas.microsoft.com/office/drawing/2014/chart" uri="{C3380CC4-5D6E-409C-BE32-E72D297353CC}">
                <c16:uniqueId val="{0000027B-0029-46E1-99A1-0468ED71B755}"/>
              </c:ext>
            </c:extLst>
          </c:dPt>
          <c:dPt>
            <c:idx val="317"/>
            <c:invertIfNegative val="1"/>
            <c:bubble3D val="0"/>
            <c:spPr>
              <a:solidFill>
                <a:srgbClr val="AEABAB"/>
              </a:solidFill>
            </c:spPr>
            <c:extLst>
              <c:ext xmlns:c16="http://schemas.microsoft.com/office/drawing/2014/chart" uri="{C3380CC4-5D6E-409C-BE32-E72D297353CC}">
                <c16:uniqueId val="{0000027D-0029-46E1-99A1-0468ED71B755}"/>
              </c:ext>
            </c:extLst>
          </c:dPt>
          <c:dPt>
            <c:idx val="318"/>
            <c:invertIfNegative val="1"/>
            <c:bubble3D val="0"/>
            <c:spPr>
              <a:solidFill>
                <a:srgbClr val="AEABAB"/>
              </a:solidFill>
            </c:spPr>
            <c:extLst>
              <c:ext xmlns:c16="http://schemas.microsoft.com/office/drawing/2014/chart" uri="{C3380CC4-5D6E-409C-BE32-E72D297353CC}">
                <c16:uniqueId val="{0000027F-0029-46E1-99A1-0468ED71B755}"/>
              </c:ext>
            </c:extLst>
          </c:dPt>
          <c:dPt>
            <c:idx val="319"/>
            <c:invertIfNegative val="1"/>
            <c:bubble3D val="0"/>
            <c:spPr>
              <a:solidFill>
                <a:srgbClr val="AEABAB"/>
              </a:solidFill>
            </c:spPr>
            <c:extLst>
              <c:ext xmlns:c16="http://schemas.microsoft.com/office/drawing/2014/chart" uri="{C3380CC4-5D6E-409C-BE32-E72D297353CC}">
                <c16:uniqueId val="{00000281-0029-46E1-99A1-0468ED71B755}"/>
              </c:ext>
            </c:extLst>
          </c:dPt>
          <c:dPt>
            <c:idx val="320"/>
            <c:invertIfNegative val="1"/>
            <c:bubble3D val="0"/>
            <c:spPr>
              <a:solidFill>
                <a:srgbClr val="AEABAB"/>
              </a:solidFill>
            </c:spPr>
            <c:extLst>
              <c:ext xmlns:c16="http://schemas.microsoft.com/office/drawing/2014/chart" uri="{C3380CC4-5D6E-409C-BE32-E72D297353CC}">
                <c16:uniqueId val="{00000283-0029-46E1-99A1-0468ED71B755}"/>
              </c:ext>
            </c:extLst>
          </c:dPt>
          <c:dPt>
            <c:idx val="321"/>
            <c:invertIfNegative val="1"/>
            <c:bubble3D val="0"/>
            <c:spPr>
              <a:solidFill>
                <a:srgbClr val="AEABAB"/>
              </a:solidFill>
            </c:spPr>
            <c:extLst>
              <c:ext xmlns:c16="http://schemas.microsoft.com/office/drawing/2014/chart" uri="{C3380CC4-5D6E-409C-BE32-E72D297353CC}">
                <c16:uniqueId val="{00000285-0029-46E1-99A1-0468ED71B755}"/>
              </c:ext>
            </c:extLst>
          </c:dPt>
          <c:dPt>
            <c:idx val="322"/>
            <c:invertIfNegative val="1"/>
            <c:bubble3D val="0"/>
            <c:spPr>
              <a:solidFill>
                <a:srgbClr val="AEABAB"/>
              </a:solidFill>
            </c:spPr>
            <c:extLst>
              <c:ext xmlns:c16="http://schemas.microsoft.com/office/drawing/2014/chart" uri="{C3380CC4-5D6E-409C-BE32-E72D297353CC}">
                <c16:uniqueId val="{00000287-0029-46E1-99A1-0468ED71B755}"/>
              </c:ext>
            </c:extLst>
          </c:dPt>
          <c:dPt>
            <c:idx val="323"/>
            <c:invertIfNegative val="1"/>
            <c:bubble3D val="0"/>
            <c:spPr>
              <a:solidFill>
                <a:srgbClr val="AEABAB"/>
              </a:solidFill>
            </c:spPr>
            <c:extLst>
              <c:ext xmlns:c16="http://schemas.microsoft.com/office/drawing/2014/chart" uri="{C3380CC4-5D6E-409C-BE32-E72D297353CC}">
                <c16:uniqueId val="{00000289-0029-46E1-99A1-0468ED71B755}"/>
              </c:ext>
            </c:extLst>
          </c:dPt>
          <c:dPt>
            <c:idx val="324"/>
            <c:invertIfNegative val="1"/>
            <c:bubble3D val="0"/>
            <c:spPr>
              <a:solidFill>
                <a:srgbClr val="AEABAB"/>
              </a:solidFill>
            </c:spPr>
            <c:extLst>
              <c:ext xmlns:c16="http://schemas.microsoft.com/office/drawing/2014/chart" uri="{C3380CC4-5D6E-409C-BE32-E72D297353CC}">
                <c16:uniqueId val="{0000028B-0029-46E1-99A1-0468ED71B755}"/>
              </c:ext>
            </c:extLst>
          </c:dPt>
          <c:dPt>
            <c:idx val="325"/>
            <c:invertIfNegative val="1"/>
            <c:bubble3D val="0"/>
            <c:spPr>
              <a:solidFill>
                <a:srgbClr val="AEABAB"/>
              </a:solidFill>
            </c:spPr>
            <c:extLst>
              <c:ext xmlns:c16="http://schemas.microsoft.com/office/drawing/2014/chart" uri="{C3380CC4-5D6E-409C-BE32-E72D297353CC}">
                <c16:uniqueId val="{0000028D-0029-46E1-99A1-0468ED71B755}"/>
              </c:ext>
            </c:extLst>
          </c:dPt>
          <c:dPt>
            <c:idx val="326"/>
            <c:invertIfNegative val="1"/>
            <c:bubble3D val="0"/>
            <c:spPr>
              <a:solidFill>
                <a:srgbClr val="AEABAB"/>
              </a:solidFill>
            </c:spPr>
            <c:extLst>
              <c:ext xmlns:c16="http://schemas.microsoft.com/office/drawing/2014/chart" uri="{C3380CC4-5D6E-409C-BE32-E72D297353CC}">
                <c16:uniqueId val="{0000028F-0029-46E1-99A1-0468ED71B755}"/>
              </c:ext>
            </c:extLst>
          </c:dPt>
          <c:dPt>
            <c:idx val="327"/>
            <c:invertIfNegative val="1"/>
            <c:bubble3D val="0"/>
            <c:spPr>
              <a:solidFill>
                <a:srgbClr val="AEABAB"/>
              </a:solidFill>
            </c:spPr>
            <c:extLst>
              <c:ext xmlns:c16="http://schemas.microsoft.com/office/drawing/2014/chart" uri="{C3380CC4-5D6E-409C-BE32-E72D297353CC}">
                <c16:uniqueId val="{00000291-0029-46E1-99A1-0468ED71B755}"/>
              </c:ext>
            </c:extLst>
          </c:dPt>
          <c:dPt>
            <c:idx val="328"/>
            <c:invertIfNegative val="1"/>
            <c:bubble3D val="0"/>
            <c:spPr>
              <a:solidFill>
                <a:srgbClr val="AEABAB"/>
              </a:solidFill>
            </c:spPr>
            <c:extLst>
              <c:ext xmlns:c16="http://schemas.microsoft.com/office/drawing/2014/chart" uri="{C3380CC4-5D6E-409C-BE32-E72D297353CC}">
                <c16:uniqueId val="{00000293-0029-46E1-99A1-0468ED71B755}"/>
              </c:ext>
            </c:extLst>
          </c:dPt>
          <c:dPt>
            <c:idx val="329"/>
            <c:invertIfNegative val="1"/>
            <c:bubble3D val="0"/>
            <c:spPr>
              <a:solidFill>
                <a:srgbClr val="AEABAB"/>
              </a:solidFill>
            </c:spPr>
            <c:extLst>
              <c:ext xmlns:c16="http://schemas.microsoft.com/office/drawing/2014/chart" uri="{C3380CC4-5D6E-409C-BE32-E72D297353CC}">
                <c16:uniqueId val="{00000295-0029-46E1-99A1-0468ED71B755}"/>
              </c:ext>
            </c:extLst>
          </c:dPt>
          <c:dPt>
            <c:idx val="330"/>
            <c:invertIfNegative val="1"/>
            <c:bubble3D val="0"/>
            <c:spPr>
              <a:solidFill>
                <a:srgbClr val="AEABAB"/>
              </a:solidFill>
            </c:spPr>
            <c:extLst>
              <c:ext xmlns:c16="http://schemas.microsoft.com/office/drawing/2014/chart" uri="{C3380CC4-5D6E-409C-BE32-E72D297353CC}">
                <c16:uniqueId val="{00000297-0029-46E1-99A1-0468ED71B755}"/>
              </c:ext>
            </c:extLst>
          </c:dPt>
          <c:dPt>
            <c:idx val="331"/>
            <c:invertIfNegative val="1"/>
            <c:bubble3D val="0"/>
            <c:spPr>
              <a:solidFill>
                <a:srgbClr val="AEABAB"/>
              </a:solidFill>
            </c:spPr>
            <c:extLst>
              <c:ext xmlns:c16="http://schemas.microsoft.com/office/drawing/2014/chart" uri="{C3380CC4-5D6E-409C-BE32-E72D297353CC}">
                <c16:uniqueId val="{00000299-0029-46E1-99A1-0468ED71B755}"/>
              </c:ext>
            </c:extLst>
          </c:dPt>
          <c:dPt>
            <c:idx val="332"/>
            <c:invertIfNegative val="1"/>
            <c:bubble3D val="0"/>
            <c:spPr>
              <a:solidFill>
                <a:srgbClr val="AEABAB"/>
              </a:solidFill>
            </c:spPr>
            <c:extLst>
              <c:ext xmlns:c16="http://schemas.microsoft.com/office/drawing/2014/chart" uri="{C3380CC4-5D6E-409C-BE32-E72D297353CC}">
                <c16:uniqueId val="{0000029B-0029-46E1-99A1-0468ED71B755}"/>
              </c:ext>
            </c:extLst>
          </c:dPt>
          <c:dPt>
            <c:idx val="333"/>
            <c:invertIfNegative val="1"/>
            <c:bubble3D val="0"/>
            <c:spPr>
              <a:solidFill>
                <a:srgbClr val="AEABAB"/>
              </a:solidFill>
            </c:spPr>
            <c:extLst>
              <c:ext xmlns:c16="http://schemas.microsoft.com/office/drawing/2014/chart" uri="{C3380CC4-5D6E-409C-BE32-E72D297353CC}">
                <c16:uniqueId val="{0000029D-0029-46E1-99A1-0468ED71B755}"/>
              </c:ext>
            </c:extLst>
          </c:dPt>
          <c:dPt>
            <c:idx val="334"/>
            <c:invertIfNegative val="1"/>
            <c:bubble3D val="0"/>
            <c:spPr>
              <a:solidFill>
                <a:srgbClr val="AEABAB"/>
              </a:solidFill>
            </c:spPr>
            <c:extLst>
              <c:ext xmlns:c16="http://schemas.microsoft.com/office/drawing/2014/chart" uri="{C3380CC4-5D6E-409C-BE32-E72D297353CC}">
                <c16:uniqueId val="{0000029F-0029-46E1-99A1-0468ED71B755}"/>
              </c:ext>
            </c:extLst>
          </c:dPt>
          <c:dPt>
            <c:idx val="335"/>
            <c:invertIfNegative val="1"/>
            <c:bubble3D val="0"/>
            <c:spPr>
              <a:solidFill>
                <a:srgbClr val="AEABAB"/>
              </a:solidFill>
            </c:spPr>
            <c:extLst>
              <c:ext xmlns:c16="http://schemas.microsoft.com/office/drawing/2014/chart" uri="{C3380CC4-5D6E-409C-BE32-E72D297353CC}">
                <c16:uniqueId val="{000002A1-0029-46E1-99A1-0468ED71B755}"/>
              </c:ext>
            </c:extLst>
          </c:dPt>
          <c:dPt>
            <c:idx val="336"/>
            <c:invertIfNegative val="1"/>
            <c:bubble3D val="0"/>
            <c:spPr>
              <a:solidFill>
                <a:srgbClr val="AEABAB"/>
              </a:solidFill>
            </c:spPr>
            <c:extLst>
              <c:ext xmlns:c16="http://schemas.microsoft.com/office/drawing/2014/chart" uri="{C3380CC4-5D6E-409C-BE32-E72D297353CC}">
                <c16:uniqueId val="{000002A3-0029-46E1-99A1-0468ED71B755}"/>
              </c:ext>
            </c:extLst>
          </c:dPt>
          <c:dPt>
            <c:idx val="337"/>
            <c:invertIfNegative val="1"/>
            <c:bubble3D val="0"/>
            <c:spPr>
              <a:solidFill>
                <a:srgbClr val="AEABAB"/>
              </a:solidFill>
            </c:spPr>
            <c:extLst>
              <c:ext xmlns:c16="http://schemas.microsoft.com/office/drawing/2014/chart" uri="{C3380CC4-5D6E-409C-BE32-E72D297353CC}">
                <c16:uniqueId val="{000002A5-0029-46E1-99A1-0468ED71B755}"/>
              </c:ext>
            </c:extLst>
          </c:dPt>
          <c:dPt>
            <c:idx val="338"/>
            <c:invertIfNegative val="1"/>
            <c:bubble3D val="0"/>
            <c:spPr>
              <a:solidFill>
                <a:srgbClr val="AEABAB"/>
              </a:solidFill>
            </c:spPr>
            <c:extLst>
              <c:ext xmlns:c16="http://schemas.microsoft.com/office/drawing/2014/chart" uri="{C3380CC4-5D6E-409C-BE32-E72D297353CC}">
                <c16:uniqueId val="{000002A7-0029-46E1-99A1-0468ED71B755}"/>
              </c:ext>
            </c:extLst>
          </c:dPt>
          <c:dPt>
            <c:idx val="339"/>
            <c:invertIfNegative val="1"/>
            <c:bubble3D val="0"/>
            <c:spPr>
              <a:solidFill>
                <a:srgbClr val="AEABAB"/>
              </a:solidFill>
            </c:spPr>
            <c:extLst>
              <c:ext xmlns:c16="http://schemas.microsoft.com/office/drawing/2014/chart" uri="{C3380CC4-5D6E-409C-BE32-E72D297353CC}">
                <c16:uniqueId val="{000002A9-0029-46E1-99A1-0468ED71B755}"/>
              </c:ext>
            </c:extLst>
          </c:dPt>
          <c:dPt>
            <c:idx val="340"/>
            <c:invertIfNegative val="1"/>
            <c:bubble3D val="0"/>
            <c:spPr>
              <a:solidFill>
                <a:srgbClr val="AEABAB"/>
              </a:solidFill>
            </c:spPr>
            <c:extLst>
              <c:ext xmlns:c16="http://schemas.microsoft.com/office/drawing/2014/chart" uri="{C3380CC4-5D6E-409C-BE32-E72D297353CC}">
                <c16:uniqueId val="{000002AB-0029-46E1-99A1-0468ED71B755}"/>
              </c:ext>
            </c:extLst>
          </c:dPt>
          <c:dPt>
            <c:idx val="341"/>
            <c:invertIfNegative val="1"/>
            <c:bubble3D val="0"/>
            <c:spPr>
              <a:solidFill>
                <a:srgbClr val="AEABAB"/>
              </a:solidFill>
            </c:spPr>
            <c:extLst>
              <c:ext xmlns:c16="http://schemas.microsoft.com/office/drawing/2014/chart" uri="{C3380CC4-5D6E-409C-BE32-E72D297353CC}">
                <c16:uniqueId val="{000002AD-0029-46E1-99A1-0468ED71B755}"/>
              </c:ext>
            </c:extLst>
          </c:dPt>
          <c:dPt>
            <c:idx val="342"/>
            <c:invertIfNegative val="1"/>
            <c:bubble3D val="0"/>
            <c:spPr>
              <a:solidFill>
                <a:srgbClr val="AEABAB"/>
              </a:solidFill>
            </c:spPr>
            <c:extLst>
              <c:ext xmlns:c16="http://schemas.microsoft.com/office/drawing/2014/chart" uri="{C3380CC4-5D6E-409C-BE32-E72D297353CC}">
                <c16:uniqueId val="{000002AF-0029-46E1-99A1-0468ED71B755}"/>
              </c:ext>
            </c:extLst>
          </c:dPt>
          <c:dPt>
            <c:idx val="343"/>
            <c:invertIfNegative val="1"/>
            <c:bubble3D val="0"/>
            <c:spPr>
              <a:solidFill>
                <a:srgbClr val="AEABAB"/>
              </a:solidFill>
            </c:spPr>
            <c:extLst>
              <c:ext xmlns:c16="http://schemas.microsoft.com/office/drawing/2014/chart" uri="{C3380CC4-5D6E-409C-BE32-E72D297353CC}">
                <c16:uniqueId val="{000002B1-0029-46E1-99A1-0468ED71B755}"/>
              </c:ext>
            </c:extLst>
          </c:dPt>
          <c:dPt>
            <c:idx val="344"/>
            <c:invertIfNegative val="1"/>
            <c:bubble3D val="0"/>
            <c:spPr>
              <a:solidFill>
                <a:srgbClr val="AEABAB"/>
              </a:solidFill>
            </c:spPr>
            <c:extLst>
              <c:ext xmlns:c16="http://schemas.microsoft.com/office/drawing/2014/chart" uri="{C3380CC4-5D6E-409C-BE32-E72D297353CC}">
                <c16:uniqueId val="{000002B3-0029-46E1-99A1-0468ED71B755}"/>
              </c:ext>
            </c:extLst>
          </c:dPt>
          <c:dPt>
            <c:idx val="345"/>
            <c:invertIfNegative val="1"/>
            <c:bubble3D val="0"/>
            <c:spPr>
              <a:solidFill>
                <a:srgbClr val="AEABAB"/>
              </a:solidFill>
            </c:spPr>
            <c:extLst>
              <c:ext xmlns:c16="http://schemas.microsoft.com/office/drawing/2014/chart" uri="{C3380CC4-5D6E-409C-BE32-E72D297353CC}">
                <c16:uniqueId val="{000002B5-0029-46E1-99A1-0468ED71B755}"/>
              </c:ext>
            </c:extLst>
          </c:dPt>
          <c:dPt>
            <c:idx val="346"/>
            <c:invertIfNegative val="1"/>
            <c:bubble3D val="0"/>
            <c:spPr>
              <a:solidFill>
                <a:srgbClr val="AEABAB"/>
              </a:solidFill>
            </c:spPr>
            <c:extLst>
              <c:ext xmlns:c16="http://schemas.microsoft.com/office/drawing/2014/chart" uri="{C3380CC4-5D6E-409C-BE32-E72D297353CC}">
                <c16:uniqueId val="{000002B7-0029-46E1-99A1-0468ED71B755}"/>
              </c:ext>
            </c:extLst>
          </c:dPt>
          <c:dPt>
            <c:idx val="347"/>
            <c:invertIfNegative val="1"/>
            <c:bubble3D val="0"/>
            <c:spPr>
              <a:solidFill>
                <a:srgbClr val="AEABAB"/>
              </a:solidFill>
            </c:spPr>
            <c:extLst>
              <c:ext xmlns:c16="http://schemas.microsoft.com/office/drawing/2014/chart" uri="{C3380CC4-5D6E-409C-BE32-E72D297353CC}">
                <c16:uniqueId val="{000002B9-0029-46E1-99A1-0468ED71B755}"/>
              </c:ext>
            </c:extLst>
          </c:dPt>
          <c:dPt>
            <c:idx val="348"/>
            <c:invertIfNegative val="1"/>
            <c:bubble3D val="0"/>
            <c:spPr>
              <a:solidFill>
                <a:srgbClr val="AEABAB"/>
              </a:solidFill>
            </c:spPr>
            <c:extLst>
              <c:ext xmlns:c16="http://schemas.microsoft.com/office/drawing/2014/chart" uri="{C3380CC4-5D6E-409C-BE32-E72D297353CC}">
                <c16:uniqueId val="{000002BB-0029-46E1-99A1-0468ED71B755}"/>
              </c:ext>
            </c:extLst>
          </c:dPt>
          <c:dPt>
            <c:idx val="349"/>
            <c:invertIfNegative val="1"/>
            <c:bubble3D val="0"/>
            <c:spPr>
              <a:solidFill>
                <a:srgbClr val="AEABAB"/>
              </a:solidFill>
            </c:spPr>
            <c:extLst>
              <c:ext xmlns:c16="http://schemas.microsoft.com/office/drawing/2014/chart" uri="{C3380CC4-5D6E-409C-BE32-E72D297353CC}">
                <c16:uniqueId val="{000002BD-0029-46E1-99A1-0468ED71B755}"/>
              </c:ext>
            </c:extLst>
          </c:dPt>
          <c:dPt>
            <c:idx val="350"/>
            <c:invertIfNegative val="1"/>
            <c:bubble3D val="0"/>
            <c:spPr>
              <a:solidFill>
                <a:srgbClr val="AEABAB"/>
              </a:solidFill>
            </c:spPr>
            <c:extLst>
              <c:ext xmlns:c16="http://schemas.microsoft.com/office/drawing/2014/chart" uri="{C3380CC4-5D6E-409C-BE32-E72D297353CC}">
                <c16:uniqueId val="{000002BF-0029-46E1-99A1-0468ED71B755}"/>
              </c:ext>
            </c:extLst>
          </c:dPt>
          <c:dPt>
            <c:idx val="351"/>
            <c:invertIfNegative val="1"/>
            <c:bubble3D val="0"/>
            <c:spPr>
              <a:solidFill>
                <a:srgbClr val="AEABAB"/>
              </a:solidFill>
            </c:spPr>
            <c:extLst>
              <c:ext xmlns:c16="http://schemas.microsoft.com/office/drawing/2014/chart" uri="{C3380CC4-5D6E-409C-BE32-E72D297353CC}">
                <c16:uniqueId val="{000002C1-0029-46E1-99A1-0468ED71B755}"/>
              </c:ext>
            </c:extLst>
          </c:dPt>
          <c:dPt>
            <c:idx val="352"/>
            <c:invertIfNegative val="1"/>
            <c:bubble3D val="0"/>
            <c:spPr>
              <a:solidFill>
                <a:srgbClr val="AEABAB"/>
              </a:solidFill>
            </c:spPr>
            <c:extLst>
              <c:ext xmlns:c16="http://schemas.microsoft.com/office/drawing/2014/chart" uri="{C3380CC4-5D6E-409C-BE32-E72D297353CC}">
                <c16:uniqueId val="{000002C3-0029-46E1-99A1-0468ED71B755}"/>
              </c:ext>
            </c:extLst>
          </c:dPt>
          <c:dPt>
            <c:idx val="353"/>
            <c:invertIfNegative val="1"/>
            <c:bubble3D val="0"/>
            <c:spPr>
              <a:solidFill>
                <a:srgbClr val="AEABAB"/>
              </a:solidFill>
            </c:spPr>
            <c:extLst>
              <c:ext xmlns:c16="http://schemas.microsoft.com/office/drawing/2014/chart" uri="{C3380CC4-5D6E-409C-BE32-E72D297353CC}">
                <c16:uniqueId val="{000002C5-0029-46E1-99A1-0468ED71B755}"/>
              </c:ext>
            </c:extLst>
          </c:dPt>
          <c:dPt>
            <c:idx val="354"/>
            <c:invertIfNegative val="1"/>
            <c:bubble3D val="0"/>
            <c:spPr>
              <a:solidFill>
                <a:srgbClr val="AEABAB"/>
              </a:solidFill>
            </c:spPr>
            <c:extLst>
              <c:ext xmlns:c16="http://schemas.microsoft.com/office/drawing/2014/chart" uri="{C3380CC4-5D6E-409C-BE32-E72D297353CC}">
                <c16:uniqueId val="{000002C7-0029-46E1-99A1-0468ED71B755}"/>
              </c:ext>
            </c:extLst>
          </c:dPt>
          <c:dPt>
            <c:idx val="355"/>
            <c:invertIfNegative val="1"/>
            <c:bubble3D val="0"/>
            <c:spPr>
              <a:solidFill>
                <a:srgbClr val="AEABAB"/>
              </a:solidFill>
            </c:spPr>
            <c:extLst>
              <c:ext xmlns:c16="http://schemas.microsoft.com/office/drawing/2014/chart" uri="{C3380CC4-5D6E-409C-BE32-E72D297353CC}">
                <c16:uniqueId val="{000002C9-0029-46E1-99A1-0468ED71B755}"/>
              </c:ext>
            </c:extLst>
          </c:dPt>
          <c:dPt>
            <c:idx val="356"/>
            <c:invertIfNegative val="1"/>
            <c:bubble3D val="0"/>
            <c:spPr>
              <a:solidFill>
                <a:srgbClr val="AEABAB"/>
              </a:solidFill>
            </c:spPr>
            <c:extLst>
              <c:ext xmlns:c16="http://schemas.microsoft.com/office/drawing/2014/chart" uri="{C3380CC4-5D6E-409C-BE32-E72D297353CC}">
                <c16:uniqueId val="{000002CB-0029-46E1-99A1-0468ED71B755}"/>
              </c:ext>
            </c:extLst>
          </c:dPt>
          <c:dPt>
            <c:idx val="357"/>
            <c:invertIfNegative val="1"/>
            <c:bubble3D val="0"/>
            <c:spPr>
              <a:solidFill>
                <a:srgbClr val="AEABAB"/>
              </a:solidFill>
            </c:spPr>
            <c:extLst>
              <c:ext xmlns:c16="http://schemas.microsoft.com/office/drawing/2014/chart" uri="{C3380CC4-5D6E-409C-BE32-E72D297353CC}">
                <c16:uniqueId val="{000002CD-0029-46E1-99A1-0468ED71B755}"/>
              </c:ext>
            </c:extLst>
          </c:dPt>
          <c:dPt>
            <c:idx val="358"/>
            <c:invertIfNegative val="1"/>
            <c:bubble3D val="0"/>
            <c:spPr>
              <a:solidFill>
                <a:srgbClr val="AEABAB"/>
              </a:solidFill>
            </c:spPr>
            <c:extLst>
              <c:ext xmlns:c16="http://schemas.microsoft.com/office/drawing/2014/chart" uri="{C3380CC4-5D6E-409C-BE32-E72D297353CC}">
                <c16:uniqueId val="{000002CF-0029-46E1-99A1-0468ED71B755}"/>
              </c:ext>
            </c:extLst>
          </c:dPt>
          <c:dPt>
            <c:idx val="359"/>
            <c:invertIfNegative val="1"/>
            <c:bubble3D val="0"/>
            <c:spPr>
              <a:solidFill>
                <a:srgbClr val="AEABAB"/>
              </a:solidFill>
            </c:spPr>
            <c:extLst>
              <c:ext xmlns:c16="http://schemas.microsoft.com/office/drawing/2014/chart" uri="{C3380CC4-5D6E-409C-BE32-E72D297353CC}">
                <c16:uniqueId val="{000002D1-0029-46E1-99A1-0468ED71B755}"/>
              </c:ext>
            </c:extLst>
          </c:dPt>
          <c:dPt>
            <c:idx val="360"/>
            <c:invertIfNegative val="1"/>
            <c:bubble3D val="0"/>
            <c:spPr>
              <a:solidFill>
                <a:srgbClr val="AEABAB"/>
              </a:solidFill>
            </c:spPr>
            <c:extLst>
              <c:ext xmlns:c16="http://schemas.microsoft.com/office/drawing/2014/chart" uri="{C3380CC4-5D6E-409C-BE32-E72D297353CC}">
                <c16:uniqueId val="{000002D3-0029-46E1-99A1-0468ED71B755}"/>
              </c:ext>
            </c:extLst>
          </c:dPt>
          <c:dPt>
            <c:idx val="361"/>
            <c:invertIfNegative val="1"/>
            <c:bubble3D val="0"/>
            <c:spPr>
              <a:solidFill>
                <a:srgbClr val="AEABAB"/>
              </a:solidFill>
            </c:spPr>
            <c:extLst>
              <c:ext xmlns:c16="http://schemas.microsoft.com/office/drawing/2014/chart" uri="{C3380CC4-5D6E-409C-BE32-E72D297353CC}">
                <c16:uniqueId val="{000002D5-0029-46E1-99A1-0468ED71B755}"/>
              </c:ext>
            </c:extLst>
          </c:dPt>
          <c:dPt>
            <c:idx val="362"/>
            <c:invertIfNegative val="1"/>
            <c:bubble3D val="0"/>
            <c:spPr>
              <a:solidFill>
                <a:srgbClr val="AEABAB"/>
              </a:solidFill>
            </c:spPr>
            <c:extLst>
              <c:ext xmlns:c16="http://schemas.microsoft.com/office/drawing/2014/chart" uri="{C3380CC4-5D6E-409C-BE32-E72D297353CC}">
                <c16:uniqueId val="{000002D7-0029-46E1-99A1-0468ED71B755}"/>
              </c:ext>
            </c:extLst>
          </c:dPt>
          <c:dPt>
            <c:idx val="363"/>
            <c:invertIfNegative val="1"/>
            <c:bubble3D val="0"/>
            <c:spPr>
              <a:solidFill>
                <a:srgbClr val="AEABAB"/>
              </a:solidFill>
            </c:spPr>
            <c:extLst>
              <c:ext xmlns:c16="http://schemas.microsoft.com/office/drawing/2014/chart" uri="{C3380CC4-5D6E-409C-BE32-E72D297353CC}">
                <c16:uniqueId val="{000002D9-0029-46E1-99A1-0468ED71B755}"/>
              </c:ext>
            </c:extLst>
          </c:dPt>
          <c:dPt>
            <c:idx val="364"/>
            <c:invertIfNegative val="1"/>
            <c:bubble3D val="0"/>
            <c:spPr>
              <a:solidFill>
                <a:srgbClr val="AEABAB"/>
              </a:solidFill>
            </c:spPr>
            <c:extLst>
              <c:ext xmlns:c16="http://schemas.microsoft.com/office/drawing/2014/chart" uri="{C3380CC4-5D6E-409C-BE32-E72D297353CC}">
                <c16:uniqueId val="{000002DB-0029-46E1-99A1-0468ED71B755}"/>
              </c:ext>
            </c:extLst>
          </c:dPt>
          <c:dPt>
            <c:idx val="365"/>
            <c:invertIfNegative val="1"/>
            <c:bubble3D val="0"/>
            <c:spPr>
              <a:solidFill>
                <a:srgbClr val="AEABAB"/>
              </a:solidFill>
            </c:spPr>
            <c:extLst>
              <c:ext xmlns:c16="http://schemas.microsoft.com/office/drawing/2014/chart" uri="{C3380CC4-5D6E-409C-BE32-E72D297353CC}">
                <c16:uniqueId val="{000002DD-0029-46E1-99A1-0468ED71B755}"/>
              </c:ext>
            </c:extLst>
          </c:dPt>
          <c:dPt>
            <c:idx val="366"/>
            <c:invertIfNegative val="1"/>
            <c:bubble3D val="0"/>
            <c:spPr>
              <a:solidFill>
                <a:srgbClr val="AEABAB"/>
              </a:solidFill>
            </c:spPr>
            <c:extLst>
              <c:ext xmlns:c16="http://schemas.microsoft.com/office/drawing/2014/chart" uri="{C3380CC4-5D6E-409C-BE32-E72D297353CC}">
                <c16:uniqueId val="{000002DF-0029-46E1-99A1-0468ED71B755}"/>
              </c:ext>
            </c:extLst>
          </c:dPt>
          <c:dPt>
            <c:idx val="367"/>
            <c:invertIfNegative val="1"/>
            <c:bubble3D val="0"/>
            <c:spPr>
              <a:solidFill>
                <a:srgbClr val="AEABAB"/>
              </a:solidFill>
            </c:spPr>
            <c:extLst>
              <c:ext xmlns:c16="http://schemas.microsoft.com/office/drawing/2014/chart" uri="{C3380CC4-5D6E-409C-BE32-E72D297353CC}">
                <c16:uniqueId val="{000002E1-0029-46E1-99A1-0468ED71B755}"/>
              </c:ext>
            </c:extLst>
          </c:dPt>
          <c:dPt>
            <c:idx val="368"/>
            <c:invertIfNegative val="1"/>
            <c:bubble3D val="0"/>
            <c:spPr>
              <a:solidFill>
                <a:srgbClr val="AEABAB"/>
              </a:solidFill>
            </c:spPr>
            <c:extLst>
              <c:ext xmlns:c16="http://schemas.microsoft.com/office/drawing/2014/chart" uri="{C3380CC4-5D6E-409C-BE32-E72D297353CC}">
                <c16:uniqueId val="{000002E3-0029-46E1-99A1-0468ED71B755}"/>
              </c:ext>
            </c:extLst>
          </c:dPt>
          <c:dPt>
            <c:idx val="369"/>
            <c:invertIfNegative val="1"/>
            <c:bubble3D val="0"/>
            <c:spPr>
              <a:solidFill>
                <a:srgbClr val="AEABAB"/>
              </a:solidFill>
            </c:spPr>
            <c:extLst>
              <c:ext xmlns:c16="http://schemas.microsoft.com/office/drawing/2014/chart" uri="{C3380CC4-5D6E-409C-BE32-E72D297353CC}">
                <c16:uniqueId val="{000002E5-0029-46E1-99A1-0468ED71B755}"/>
              </c:ext>
            </c:extLst>
          </c:dPt>
          <c:dPt>
            <c:idx val="370"/>
            <c:invertIfNegative val="1"/>
            <c:bubble3D val="0"/>
            <c:spPr>
              <a:solidFill>
                <a:srgbClr val="AEABAB"/>
              </a:solidFill>
            </c:spPr>
            <c:extLst>
              <c:ext xmlns:c16="http://schemas.microsoft.com/office/drawing/2014/chart" uri="{C3380CC4-5D6E-409C-BE32-E72D297353CC}">
                <c16:uniqueId val="{000002E7-0029-46E1-99A1-0468ED71B755}"/>
              </c:ext>
            </c:extLst>
          </c:dPt>
          <c:dPt>
            <c:idx val="371"/>
            <c:invertIfNegative val="1"/>
            <c:bubble3D val="0"/>
            <c:spPr>
              <a:solidFill>
                <a:srgbClr val="AEABAB"/>
              </a:solidFill>
            </c:spPr>
            <c:extLst>
              <c:ext xmlns:c16="http://schemas.microsoft.com/office/drawing/2014/chart" uri="{C3380CC4-5D6E-409C-BE32-E72D297353CC}">
                <c16:uniqueId val="{000002E9-0029-46E1-99A1-0468ED71B755}"/>
              </c:ext>
            </c:extLst>
          </c:dPt>
          <c:dPt>
            <c:idx val="372"/>
            <c:invertIfNegative val="1"/>
            <c:bubble3D val="0"/>
            <c:spPr>
              <a:solidFill>
                <a:srgbClr val="AEABAB"/>
              </a:solidFill>
            </c:spPr>
            <c:extLst>
              <c:ext xmlns:c16="http://schemas.microsoft.com/office/drawing/2014/chart" uri="{C3380CC4-5D6E-409C-BE32-E72D297353CC}">
                <c16:uniqueId val="{000002EB-0029-46E1-99A1-0468ED71B755}"/>
              </c:ext>
            </c:extLst>
          </c:dPt>
          <c:dPt>
            <c:idx val="373"/>
            <c:invertIfNegative val="1"/>
            <c:bubble3D val="0"/>
            <c:spPr>
              <a:solidFill>
                <a:srgbClr val="AEABAB"/>
              </a:solidFill>
            </c:spPr>
            <c:extLst>
              <c:ext xmlns:c16="http://schemas.microsoft.com/office/drawing/2014/chart" uri="{C3380CC4-5D6E-409C-BE32-E72D297353CC}">
                <c16:uniqueId val="{000002ED-0029-46E1-99A1-0468ED71B755}"/>
              </c:ext>
            </c:extLst>
          </c:dPt>
          <c:dPt>
            <c:idx val="374"/>
            <c:invertIfNegative val="1"/>
            <c:bubble3D val="0"/>
            <c:spPr>
              <a:solidFill>
                <a:srgbClr val="AEABAB"/>
              </a:solidFill>
            </c:spPr>
            <c:extLst>
              <c:ext xmlns:c16="http://schemas.microsoft.com/office/drawing/2014/chart" uri="{C3380CC4-5D6E-409C-BE32-E72D297353CC}">
                <c16:uniqueId val="{000002EF-0029-46E1-99A1-0468ED71B755}"/>
              </c:ext>
            </c:extLst>
          </c:dPt>
          <c:dPt>
            <c:idx val="375"/>
            <c:invertIfNegative val="1"/>
            <c:bubble3D val="0"/>
            <c:spPr>
              <a:solidFill>
                <a:srgbClr val="AEABAB"/>
              </a:solidFill>
            </c:spPr>
            <c:extLst>
              <c:ext xmlns:c16="http://schemas.microsoft.com/office/drawing/2014/chart" uri="{C3380CC4-5D6E-409C-BE32-E72D297353CC}">
                <c16:uniqueId val="{000002F1-0029-46E1-99A1-0468ED71B755}"/>
              </c:ext>
            </c:extLst>
          </c:dPt>
          <c:dPt>
            <c:idx val="376"/>
            <c:invertIfNegative val="1"/>
            <c:bubble3D val="0"/>
            <c:spPr>
              <a:solidFill>
                <a:srgbClr val="AEABAB"/>
              </a:solidFill>
            </c:spPr>
            <c:extLst>
              <c:ext xmlns:c16="http://schemas.microsoft.com/office/drawing/2014/chart" uri="{C3380CC4-5D6E-409C-BE32-E72D297353CC}">
                <c16:uniqueId val="{000002F3-0029-46E1-99A1-0468ED71B755}"/>
              </c:ext>
            </c:extLst>
          </c:dPt>
          <c:dPt>
            <c:idx val="377"/>
            <c:invertIfNegative val="1"/>
            <c:bubble3D val="0"/>
            <c:spPr>
              <a:solidFill>
                <a:srgbClr val="AEABAB"/>
              </a:solidFill>
            </c:spPr>
            <c:extLst>
              <c:ext xmlns:c16="http://schemas.microsoft.com/office/drawing/2014/chart" uri="{C3380CC4-5D6E-409C-BE32-E72D297353CC}">
                <c16:uniqueId val="{000002F5-0029-46E1-99A1-0468ED71B755}"/>
              </c:ext>
            </c:extLst>
          </c:dPt>
          <c:dPt>
            <c:idx val="378"/>
            <c:invertIfNegative val="1"/>
            <c:bubble3D val="0"/>
            <c:spPr>
              <a:solidFill>
                <a:srgbClr val="AEABAB"/>
              </a:solidFill>
            </c:spPr>
            <c:extLst>
              <c:ext xmlns:c16="http://schemas.microsoft.com/office/drawing/2014/chart" uri="{C3380CC4-5D6E-409C-BE32-E72D297353CC}">
                <c16:uniqueId val="{000002F7-0029-46E1-99A1-0468ED71B755}"/>
              </c:ext>
            </c:extLst>
          </c:dPt>
          <c:dPt>
            <c:idx val="379"/>
            <c:invertIfNegative val="1"/>
            <c:bubble3D val="0"/>
            <c:spPr>
              <a:solidFill>
                <a:srgbClr val="AEABAB"/>
              </a:solidFill>
            </c:spPr>
            <c:extLst>
              <c:ext xmlns:c16="http://schemas.microsoft.com/office/drawing/2014/chart" uri="{C3380CC4-5D6E-409C-BE32-E72D297353CC}">
                <c16:uniqueId val="{000002F9-0029-46E1-99A1-0468ED71B755}"/>
              </c:ext>
            </c:extLst>
          </c:dPt>
          <c:dPt>
            <c:idx val="380"/>
            <c:invertIfNegative val="1"/>
            <c:bubble3D val="0"/>
            <c:spPr>
              <a:solidFill>
                <a:srgbClr val="AEABAB"/>
              </a:solidFill>
            </c:spPr>
            <c:extLst>
              <c:ext xmlns:c16="http://schemas.microsoft.com/office/drawing/2014/chart" uri="{C3380CC4-5D6E-409C-BE32-E72D297353CC}">
                <c16:uniqueId val="{000002FB-0029-46E1-99A1-0468ED71B755}"/>
              </c:ext>
            </c:extLst>
          </c:dPt>
          <c:dPt>
            <c:idx val="381"/>
            <c:invertIfNegative val="1"/>
            <c:bubble3D val="0"/>
            <c:spPr>
              <a:solidFill>
                <a:srgbClr val="AEABAB"/>
              </a:solidFill>
            </c:spPr>
            <c:extLst>
              <c:ext xmlns:c16="http://schemas.microsoft.com/office/drawing/2014/chart" uri="{C3380CC4-5D6E-409C-BE32-E72D297353CC}">
                <c16:uniqueId val="{000002FD-0029-46E1-99A1-0468ED71B755}"/>
              </c:ext>
            </c:extLst>
          </c:dPt>
          <c:dPt>
            <c:idx val="382"/>
            <c:invertIfNegative val="1"/>
            <c:bubble3D val="0"/>
            <c:spPr>
              <a:solidFill>
                <a:srgbClr val="AEABAB"/>
              </a:solidFill>
            </c:spPr>
            <c:extLst>
              <c:ext xmlns:c16="http://schemas.microsoft.com/office/drawing/2014/chart" uri="{C3380CC4-5D6E-409C-BE32-E72D297353CC}">
                <c16:uniqueId val="{000002FF-0029-46E1-99A1-0468ED71B755}"/>
              </c:ext>
            </c:extLst>
          </c:dPt>
          <c:dPt>
            <c:idx val="383"/>
            <c:invertIfNegative val="1"/>
            <c:bubble3D val="0"/>
            <c:spPr>
              <a:solidFill>
                <a:srgbClr val="AEABAB"/>
              </a:solidFill>
            </c:spPr>
            <c:extLst>
              <c:ext xmlns:c16="http://schemas.microsoft.com/office/drawing/2014/chart" uri="{C3380CC4-5D6E-409C-BE32-E72D297353CC}">
                <c16:uniqueId val="{00000301-0029-46E1-99A1-0468ED71B755}"/>
              </c:ext>
            </c:extLst>
          </c:dPt>
          <c:dPt>
            <c:idx val="384"/>
            <c:invertIfNegative val="1"/>
            <c:bubble3D val="0"/>
            <c:spPr>
              <a:solidFill>
                <a:srgbClr val="AEABAB"/>
              </a:solidFill>
            </c:spPr>
            <c:extLst>
              <c:ext xmlns:c16="http://schemas.microsoft.com/office/drawing/2014/chart" uri="{C3380CC4-5D6E-409C-BE32-E72D297353CC}">
                <c16:uniqueId val="{00000303-0029-46E1-99A1-0468ED71B755}"/>
              </c:ext>
            </c:extLst>
          </c:dPt>
          <c:dPt>
            <c:idx val="385"/>
            <c:invertIfNegative val="1"/>
            <c:bubble3D val="0"/>
            <c:spPr>
              <a:solidFill>
                <a:srgbClr val="AEABAB"/>
              </a:solidFill>
            </c:spPr>
            <c:extLst>
              <c:ext xmlns:c16="http://schemas.microsoft.com/office/drawing/2014/chart" uri="{C3380CC4-5D6E-409C-BE32-E72D297353CC}">
                <c16:uniqueId val="{00000305-0029-46E1-99A1-0468ED71B755}"/>
              </c:ext>
            </c:extLst>
          </c:dPt>
          <c:dPt>
            <c:idx val="386"/>
            <c:invertIfNegative val="1"/>
            <c:bubble3D val="0"/>
            <c:spPr>
              <a:solidFill>
                <a:srgbClr val="AEABAB"/>
              </a:solidFill>
            </c:spPr>
            <c:extLst>
              <c:ext xmlns:c16="http://schemas.microsoft.com/office/drawing/2014/chart" uri="{C3380CC4-5D6E-409C-BE32-E72D297353CC}">
                <c16:uniqueId val="{00000307-0029-46E1-99A1-0468ED71B755}"/>
              </c:ext>
            </c:extLst>
          </c:dPt>
          <c:dPt>
            <c:idx val="387"/>
            <c:invertIfNegative val="1"/>
            <c:bubble3D val="0"/>
            <c:spPr>
              <a:solidFill>
                <a:srgbClr val="AEABAB"/>
              </a:solidFill>
            </c:spPr>
            <c:extLst>
              <c:ext xmlns:c16="http://schemas.microsoft.com/office/drawing/2014/chart" uri="{C3380CC4-5D6E-409C-BE32-E72D297353CC}">
                <c16:uniqueId val="{00000309-0029-46E1-99A1-0468ED71B755}"/>
              </c:ext>
            </c:extLst>
          </c:dPt>
          <c:dPt>
            <c:idx val="388"/>
            <c:invertIfNegative val="1"/>
            <c:bubble3D val="0"/>
            <c:spPr>
              <a:solidFill>
                <a:srgbClr val="AEABAB"/>
              </a:solidFill>
            </c:spPr>
            <c:extLst>
              <c:ext xmlns:c16="http://schemas.microsoft.com/office/drawing/2014/chart" uri="{C3380CC4-5D6E-409C-BE32-E72D297353CC}">
                <c16:uniqueId val="{0000030B-0029-46E1-99A1-0468ED71B755}"/>
              </c:ext>
            </c:extLst>
          </c:dPt>
          <c:dPt>
            <c:idx val="389"/>
            <c:invertIfNegative val="1"/>
            <c:bubble3D val="0"/>
            <c:spPr>
              <a:solidFill>
                <a:srgbClr val="AEABAB"/>
              </a:solidFill>
            </c:spPr>
            <c:extLst>
              <c:ext xmlns:c16="http://schemas.microsoft.com/office/drawing/2014/chart" uri="{C3380CC4-5D6E-409C-BE32-E72D297353CC}">
                <c16:uniqueId val="{0000030D-0029-46E1-99A1-0468ED71B755}"/>
              </c:ext>
            </c:extLst>
          </c:dPt>
          <c:dPt>
            <c:idx val="390"/>
            <c:invertIfNegative val="1"/>
            <c:bubble3D val="0"/>
            <c:spPr>
              <a:solidFill>
                <a:srgbClr val="AEABAB"/>
              </a:solidFill>
            </c:spPr>
            <c:extLst>
              <c:ext xmlns:c16="http://schemas.microsoft.com/office/drawing/2014/chart" uri="{C3380CC4-5D6E-409C-BE32-E72D297353CC}">
                <c16:uniqueId val="{0000030F-0029-46E1-99A1-0468ED71B755}"/>
              </c:ext>
            </c:extLst>
          </c:dPt>
          <c:dPt>
            <c:idx val="391"/>
            <c:invertIfNegative val="1"/>
            <c:bubble3D val="0"/>
            <c:spPr>
              <a:solidFill>
                <a:srgbClr val="AEABAB"/>
              </a:solidFill>
            </c:spPr>
            <c:extLst>
              <c:ext xmlns:c16="http://schemas.microsoft.com/office/drawing/2014/chart" uri="{C3380CC4-5D6E-409C-BE32-E72D297353CC}">
                <c16:uniqueId val="{00000311-0029-46E1-99A1-0468ED71B755}"/>
              </c:ext>
            </c:extLst>
          </c:dPt>
          <c:dPt>
            <c:idx val="392"/>
            <c:invertIfNegative val="1"/>
            <c:bubble3D val="0"/>
            <c:spPr>
              <a:solidFill>
                <a:srgbClr val="AEABAB"/>
              </a:solidFill>
            </c:spPr>
            <c:extLst>
              <c:ext xmlns:c16="http://schemas.microsoft.com/office/drawing/2014/chart" uri="{C3380CC4-5D6E-409C-BE32-E72D297353CC}">
                <c16:uniqueId val="{00000313-0029-46E1-99A1-0468ED71B755}"/>
              </c:ext>
            </c:extLst>
          </c:dPt>
          <c:dPt>
            <c:idx val="393"/>
            <c:invertIfNegative val="1"/>
            <c:bubble3D val="0"/>
            <c:spPr>
              <a:solidFill>
                <a:srgbClr val="AEABAB"/>
              </a:solidFill>
            </c:spPr>
            <c:extLst>
              <c:ext xmlns:c16="http://schemas.microsoft.com/office/drawing/2014/chart" uri="{C3380CC4-5D6E-409C-BE32-E72D297353CC}">
                <c16:uniqueId val="{00000315-0029-46E1-99A1-0468ED71B755}"/>
              </c:ext>
            </c:extLst>
          </c:dPt>
          <c:dPt>
            <c:idx val="394"/>
            <c:invertIfNegative val="1"/>
            <c:bubble3D val="0"/>
            <c:spPr>
              <a:solidFill>
                <a:srgbClr val="AEABAB"/>
              </a:solidFill>
            </c:spPr>
            <c:extLst>
              <c:ext xmlns:c16="http://schemas.microsoft.com/office/drawing/2014/chart" uri="{C3380CC4-5D6E-409C-BE32-E72D297353CC}">
                <c16:uniqueId val="{00000317-0029-46E1-99A1-0468ED71B755}"/>
              </c:ext>
            </c:extLst>
          </c:dPt>
          <c:dPt>
            <c:idx val="395"/>
            <c:invertIfNegative val="1"/>
            <c:bubble3D val="0"/>
            <c:spPr>
              <a:solidFill>
                <a:srgbClr val="AEABAB"/>
              </a:solidFill>
            </c:spPr>
            <c:extLst>
              <c:ext xmlns:c16="http://schemas.microsoft.com/office/drawing/2014/chart" uri="{C3380CC4-5D6E-409C-BE32-E72D297353CC}">
                <c16:uniqueId val="{00000319-0029-46E1-99A1-0468ED71B755}"/>
              </c:ext>
            </c:extLst>
          </c:dPt>
          <c:dPt>
            <c:idx val="396"/>
            <c:invertIfNegative val="1"/>
            <c:bubble3D val="0"/>
            <c:spPr>
              <a:solidFill>
                <a:srgbClr val="AEABAB"/>
              </a:solidFill>
            </c:spPr>
            <c:extLst>
              <c:ext xmlns:c16="http://schemas.microsoft.com/office/drawing/2014/chart" uri="{C3380CC4-5D6E-409C-BE32-E72D297353CC}">
                <c16:uniqueId val="{0000031B-0029-46E1-99A1-0468ED71B755}"/>
              </c:ext>
            </c:extLst>
          </c:dPt>
          <c:dPt>
            <c:idx val="397"/>
            <c:invertIfNegative val="1"/>
            <c:bubble3D val="0"/>
            <c:spPr>
              <a:solidFill>
                <a:srgbClr val="AEABAB"/>
              </a:solidFill>
            </c:spPr>
            <c:extLst>
              <c:ext xmlns:c16="http://schemas.microsoft.com/office/drawing/2014/chart" uri="{C3380CC4-5D6E-409C-BE32-E72D297353CC}">
                <c16:uniqueId val="{0000031D-0029-46E1-99A1-0468ED71B755}"/>
              </c:ext>
            </c:extLst>
          </c:dPt>
          <c:dPt>
            <c:idx val="398"/>
            <c:invertIfNegative val="1"/>
            <c:bubble3D val="0"/>
            <c:spPr>
              <a:solidFill>
                <a:srgbClr val="AEABAB"/>
              </a:solidFill>
            </c:spPr>
            <c:extLst>
              <c:ext xmlns:c16="http://schemas.microsoft.com/office/drawing/2014/chart" uri="{C3380CC4-5D6E-409C-BE32-E72D297353CC}">
                <c16:uniqueId val="{0000031F-0029-46E1-99A1-0468ED71B755}"/>
              </c:ext>
            </c:extLst>
          </c:dPt>
          <c:dPt>
            <c:idx val="399"/>
            <c:invertIfNegative val="1"/>
            <c:bubble3D val="0"/>
            <c:spPr>
              <a:solidFill>
                <a:srgbClr val="AEABAB"/>
              </a:solidFill>
            </c:spPr>
            <c:extLst>
              <c:ext xmlns:c16="http://schemas.microsoft.com/office/drawing/2014/chart" uri="{C3380CC4-5D6E-409C-BE32-E72D297353CC}">
                <c16:uniqueId val="{00000321-0029-46E1-99A1-0468ED71B755}"/>
              </c:ext>
            </c:extLst>
          </c:dPt>
          <c:dPt>
            <c:idx val="400"/>
            <c:invertIfNegative val="1"/>
            <c:bubble3D val="0"/>
            <c:spPr>
              <a:solidFill>
                <a:srgbClr val="AEABAB"/>
              </a:solidFill>
            </c:spPr>
            <c:extLst>
              <c:ext xmlns:c16="http://schemas.microsoft.com/office/drawing/2014/chart" uri="{C3380CC4-5D6E-409C-BE32-E72D297353CC}">
                <c16:uniqueId val="{00000323-0029-46E1-99A1-0468ED71B755}"/>
              </c:ext>
            </c:extLst>
          </c:dPt>
          <c:dPt>
            <c:idx val="401"/>
            <c:invertIfNegative val="1"/>
            <c:bubble3D val="0"/>
            <c:spPr>
              <a:solidFill>
                <a:srgbClr val="AEABAB"/>
              </a:solidFill>
            </c:spPr>
            <c:extLst>
              <c:ext xmlns:c16="http://schemas.microsoft.com/office/drawing/2014/chart" uri="{C3380CC4-5D6E-409C-BE32-E72D297353CC}">
                <c16:uniqueId val="{00000325-0029-46E1-99A1-0468ED71B755}"/>
              </c:ext>
            </c:extLst>
          </c:dPt>
          <c:dPt>
            <c:idx val="402"/>
            <c:invertIfNegative val="1"/>
            <c:bubble3D val="0"/>
            <c:spPr>
              <a:solidFill>
                <a:srgbClr val="AEABAB"/>
              </a:solidFill>
            </c:spPr>
            <c:extLst>
              <c:ext xmlns:c16="http://schemas.microsoft.com/office/drawing/2014/chart" uri="{C3380CC4-5D6E-409C-BE32-E72D297353CC}">
                <c16:uniqueId val="{00000327-0029-46E1-99A1-0468ED71B755}"/>
              </c:ext>
            </c:extLst>
          </c:dPt>
          <c:dPt>
            <c:idx val="403"/>
            <c:invertIfNegative val="1"/>
            <c:bubble3D val="0"/>
            <c:spPr>
              <a:solidFill>
                <a:srgbClr val="AEABAB"/>
              </a:solidFill>
            </c:spPr>
            <c:extLst>
              <c:ext xmlns:c16="http://schemas.microsoft.com/office/drawing/2014/chart" uri="{C3380CC4-5D6E-409C-BE32-E72D297353CC}">
                <c16:uniqueId val="{00000329-0029-46E1-99A1-0468ED71B755}"/>
              </c:ext>
            </c:extLst>
          </c:dPt>
          <c:dPt>
            <c:idx val="404"/>
            <c:invertIfNegative val="1"/>
            <c:bubble3D val="0"/>
            <c:spPr>
              <a:solidFill>
                <a:srgbClr val="AEABAB"/>
              </a:solidFill>
            </c:spPr>
            <c:extLst>
              <c:ext xmlns:c16="http://schemas.microsoft.com/office/drawing/2014/chart" uri="{C3380CC4-5D6E-409C-BE32-E72D297353CC}">
                <c16:uniqueId val="{0000032B-0029-46E1-99A1-0468ED71B755}"/>
              </c:ext>
            </c:extLst>
          </c:dPt>
          <c:dPt>
            <c:idx val="405"/>
            <c:invertIfNegative val="1"/>
            <c:bubble3D val="0"/>
            <c:spPr>
              <a:solidFill>
                <a:srgbClr val="AEABAB"/>
              </a:solidFill>
            </c:spPr>
            <c:extLst>
              <c:ext xmlns:c16="http://schemas.microsoft.com/office/drawing/2014/chart" uri="{C3380CC4-5D6E-409C-BE32-E72D297353CC}">
                <c16:uniqueId val="{0000032D-0029-46E1-99A1-0468ED71B755}"/>
              </c:ext>
            </c:extLst>
          </c:dPt>
          <c:dPt>
            <c:idx val="406"/>
            <c:invertIfNegative val="1"/>
            <c:bubble3D val="0"/>
            <c:spPr>
              <a:solidFill>
                <a:srgbClr val="AEABAB"/>
              </a:solidFill>
            </c:spPr>
            <c:extLst>
              <c:ext xmlns:c16="http://schemas.microsoft.com/office/drawing/2014/chart" uri="{C3380CC4-5D6E-409C-BE32-E72D297353CC}">
                <c16:uniqueId val="{0000032F-0029-46E1-99A1-0468ED71B755}"/>
              </c:ext>
            </c:extLst>
          </c:dPt>
          <c:dPt>
            <c:idx val="407"/>
            <c:invertIfNegative val="1"/>
            <c:bubble3D val="0"/>
            <c:spPr>
              <a:solidFill>
                <a:srgbClr val="AEABAB"/>
              </a:solidFill>
            </c:spPr>
            <c:extLst>
              <c:ext xmlns:c16="http://schemas.microsoft.com/office/drawing/2014/chart" uri="{C3380CC4-5D6E-409C-BE32-E72D297353CC}">
                <c16:uniqueId val="{00000331-0029-46E1-99A1-0468ED71B755}"/>
              </c:ext>
            </c:extLst>
          </c:dPt>
          <c:dPt>
            <c:idx val="408"/>
            <c:invertIfNegative val="1"/>
            <c:bubble3D val="0"/>
            <c:spPr>
              <a:solidFill>
                <a:srgbClr val="AEABAB"/>
              </a:solidFill>
            </c:spPr>
            <c:extLst>
              <c:ext xmlns:c16="http://schemas.microsoft.com/office/drawing/2014/chart" uri="{C3380CC4-5D6E-409C-BE32-E72D297353CC}">
                <c16:uniqueId val="{00000333-0029-46E1-99A1-0468ED71B755}"/>
              </c:ext>
            </c:extLst>
          </c:dPt>
          <c:dPt>
            <c:idx val="409"/>
            <c:invertIfNegative val="1"/>
            <c:bubble3D val="0"/>
            <c:spPr>
              <a:solidFill>
                <a:srgbClr val="AEABAB"/>
              </a:solidFill>
            </c:spPr>
            <c:extLst>
              <c:ext xmlns:c16="http://schemas.microsoft.com/office/drawing/2014/chart" uri="{C3380CC4-5D6E-409C-BE32-E72D297353CC}">
                <c16:uniqueId val="{00000335-0029-46E1-99A1-0468ED71B755}"/>
              </c:ext>
            </c:extLst>
          </c:dPt>
          <c:dPt>
            <c:idx val="410"/>
            <c:invertIfNegative val="1"/>
            <c:bubble3D val="0"/>
            <c:spPr>
              <a:solidFill>
                <a:srgbClr val="AEABAB"/>
              </a:solidFill>
            </c:spPr>
            <c:extLst>
              <c:ext xmlns:c16="http://schemas.microsoft.com/office/drawing/2014/chart" uri="{C3380CC4-5D6E-409C-BE32-E72D297353CC}">
                <c16:uniqueId val="{00000337-0029-46E1-99A1-0468ED71B755}"/>
              </c:ext>
            </c:extLst>
          </c:dPt>
          <c:dPt>
            <c:idx val="411"/>
            <c:invertIfNegative val="1"/>
            <c:bubble3D val="0"/>
            <c:spPr>
              <a:solidFill>
                <a:srgbClr val="AEABAB"/>
              </a:solidFill>
            </c:spPr>
            <c:extLst>
              <c:ext xmlns:c16="http://schemas.microsoft.com/office/drawing/2014/chart" uri="{C3380CC4-5D6E-409C-BE32-E72D297353CC}">
                <c16:uniqueId val="{00000339-0029-46E1-99A1-0468ED71B755}"/>
              </c:ext>
            </c:extLst>
          </c:dPt>
          <c:dPt>
            <c:idx val="412"/>
            <c:invertIfNegative val="1"/>
            <c:bubble3D val="0"/>
            <c:spPr>
              <a:solidFill>
                <a:srgbClr val="AEABAB"/>
              </a:solidFill>
            </c:spPr>
            <c:extLst>
              <c:ext xmlns:c16="http://schemas.microsoft.com/office/drawing/2014/chart" uri="{C3380CC4-5D6E-409C-BE32-E72D297353CC}">
                <c16:uniqueId val="{0000033B-0029-46E1-99A1-0468ED71B755}"/>
              </c:ext>
            </c:extLst>
          </c:dPt>
          <c:dPt>
            <c:idx val="413"/>
            <c:invertIfNegative val="1"/>
            <c:bubble3D val="0"/>
            <c:spPr>
              <a:solidFill>
                <a:srgbClr val="AEABAB"/>
              </a:solidFill>
            </c:spPr>
            <c:extLst>
              <c:ext xmlns:c16="http://schemas.microsoft.com/office/drawing/2014/chart" uri="{C3380CC4-5D6E-409C-BE32-E72D297353CC}">
                <c16:uniqueId val="{0000033D-0029-46E1-99A1-0468ED71B755}"/>
              </c:ext>
            </c:extLst>
          </c:dPt>
          <c:dPt>
            <c:idx val="414"/>
            <c:invertIfNegative val="1"/>
            <c:bubble3D val="0"/>
            <c:spPr>
              <a:solidFill>
                <a:srgbClr val="AEABAB"/>
              </a:solidFill>
            </c:spPr>
            <c:extLst>
              <c:ext xmlns:c16="http://schemas.microsoft.com/office/drawing/2014/chart" uri="{C3380CC4-5D6E-409C-BE32-E72D297353CC}">
                <c16:uniqueId val="{0000033F-0029-46E1-99A1-0468ED71B755}"/>
              </c:ext>
            </c:extLst>
          </c:dPt>
          <c:dPt>
            <c:idx val="415"/>
            <c:invertIfNegative val="1"/>
            <c:bubble3D val="0"/>
            <c:spPr>
              <a:solidFill>
                <a:srgbClr val="AEABAB"/>
              </a:solidFill>
            </c:spPr>
            <c:extLst>
              <c:ext xmlns:c16="http://schemas.microsoft.com/office/drawing/2014/chart" uri="{C3380CC4-5D6E-409C-BE32-E72D297353CC}">
                <c16:uniqueId val="{00000341-0029-46E1-99A1-0468ED71B755}"/>
              </c:ext>
            </c:extLst>
          </c:dPt>
          <c:cat>
            <c:strRef>
              <c:f>Sheet1!$A$2:$A$417</c:f>
              <c:strCache>
                <c:ptCount val="416"/>
                <c:pt idx="0">
                  <c:v>Private Lab</c:v>
                </c:pt>
                <c:pt idx="1">
                  <c:v>Soignon</c:v>
                </c:pt>
                <c:pt idx="2">
                  <c:v>Caprice Des</c:v>
                </c:pt>
                <c:pt idx="3">
                  <c:v>Mini Babybe</c:v>
                </c:pt>
                <c:pt idx="4">
                  <c:v>St Moret</c:v>
                </c:pt>
                <c:pt idx="5">
                  <c:v>La Vache Qu</c:v>
                </c:pt>
                <c:pt idx="6">
                  <c:v>Le Rustique</c:v>
                </c:pt>
                <c:pt idx="7">
                  <c:v>Coeur De Li</c:v>
                </c:pt>
                <c:pt idx="8">
                  <c:v>Kiri</c:v>
                </c:pt>
                <c:pt idx="9">
                  <c:v>Galbani</c:v>
                </c:pt>
                <c:pt idx="10">
                  <c:v>Private Lab</c:v>
                </c:pt>
                <c:pt idx="11">
                  <c:v>Paysan Bret</c:v>
                </c:pt>
                <c:pt idx="12">
                  <c:v>President</c:v>
                </c:pt>
                <c:pt idx="13">
                  <c:v>Philadelphi</c:v>
                </c:pt>
                <c:pt idx="14">
                  <c:v>Coeur De Li</c:v>
                </c:pt>
                <c:pt idx="15">
                  <c:v>Private Lab</c:v>
                </c:pt>
                <c:pt idx="16">
                  <c:v>Private Lab</c:v>
                </c:pt>
                <c:pt idx="17">
                  <c:v>Ficello</c:v>
                </c:pt>
                <c:pt idx="18">
                  <c:v>Caprice Des</c:v>
                </c:pt>
                <c:pt idx="19">
                  <c:v>Salakis</c:v>
                </c:pt>
                <c:pt idx="20">
                  <c:v>Soignon</c:v>
                </c:pt>
                <c:pt idx="21">
                  <c:v>La Vache Qu</c:v>
                </c:pt>
                <c:pt idx="22">
                  <c:v>Boursin</c:v>
                </c:pt>
                <c:pt idx="23">
                  <c:v>Soignon</c:v>
                </c:pt>
                <c:pt idx="24">
                  <c:v>Petit Billy</c:v>
                </c:pt>
                <c:pt idx="25">
                  <c:v>St Moret</c:v>
                </c:pt>
                <c:pt idx="26">
                  <c:v>Private Lab</c:v>
                </c:pt>
                <c:pt idx="27">
                  <c:v>St Moret</c:v>
                </c:pt>
                <c:pt idx="28">
                  <c:v>Private Lab</c:v>
                </c:pt>
                <c:pt idx="29">
                  <c:v>Tartare</c:v>
                </c:pt>
                <c:pt idx="30">
                  <c:v>Private Lab</c:v>
                </c:pt>
                <c:pt idx="31">
                  <c:v>President</c:v>
                </c:pt>
                <c:pt idx="32">
                  <c:v>Soignon</c:v>
                </c:pt>
                <c:pt idx="33">
                  <c:v>Private Lab</c:v>
                </c:pt>
                <c:pt idx="34">
                  <c:v>Caprice Des</c:v>
                </c:pt>
                <c:pt idx="35">
                  <c:v>All Others</c:v>
                </c:pt>
                <c:pt idx="36">
                  <c:v>Kiri</c:v>
                </c:pt>
                <c:pt idx="37">
                  <c:v>All Others</c:v>
                </c:pt>
                <c:pt idx="38">
                  <c:v>Le Brebiou</c:v>
                </c:pt>
                <c:pt idx="39">
                  <c:v>Private Lab</c:v>
                </c:pt>
                <c:pt idx="40">
                  <c:v>President</c:v>
                </c:pt>
                <c:pt idx="41">
                  <c:v>Private Lab</c:v>
                </c:pt>
                <c:pt idx="42">
                  <c:v>Private Lab</c:v>
                </c:pt>
                <c:pt idx="43">
                  <c:v>Carre Frais</c:v>
                </c:pt>
                <c:pt idx="44">
                  <c:v>Chavroux</c:v>
                </c:pt>
                <c:pt idx="45">
                  <c:v>Private Lab</c:v>
                </c:pt>
                <c:pt idx="46">
                  <c:v>Private Lab</c:v>
                </c:pt>
                <c:pt idx="47">
                  <c:v>President</c:v>
                </c:pt>
                <c:pt idx="48">
                  <c:v>Boursin</c:v>
                </c:pt>
                <c:pt idx="49">
                  <c:v>Etorki</c:v>
                </c:pt>
                <c:pt idx="50">
                  <c:v>President</c:v>
                </c:pt>
                <c:pt idx="51">
                  <c:v>Private Lab</c:v>
                </c:pt>
                <c:pt idx="52">
                  <c:v>Istara</c:v>
                </c:pt>
                <c:pt idx="53">
                  <c:v>Lou Perac</c:v>
                </c:pt>
                <c:pt idx="54">
                  <c:v>All Others</c:v>
                </c:pt>
                <c:pt idx="55">
                  <c:v>Paysan Bret</c:v>
                </c:pt>
                <c:pt idx="56">
                  <c:v>Tartare</c:v>
                </c:pt>
                <c:pt idx="57">
                  <c:v>Boursin</c:v>
                </c:pt>
                <c:pt idx="58">
                  <c:v>Lepetit</c:v>
                </c:pt>
                <c:pt idx="59">
                  <c:v>Salakis</c:v>
                </c:pt>
                <c:pt idx="60">
                  <c:v>Casa Azzurr</c:v>
                </c:pt>
                <c:pt idx="61">
                  <c:v>Private Lab</c:v>
                </c:pt>
                <c:pt idx="62">
                  <c:v>Private Lab</c:v>
                </c:pt>
                <c:pt idx="63">
                  <c:v>Tartare</c:v>
                </c:pt>
                <c:pt idx="64">
                  <c:v>Private Lab</c:v>
                </c:pt>
                <c:pt idx="65">
                  <c:v>Private Lab</c:v>
                </c:pt>
                <c:pt idx="66">
                  <c:v>Private Lab</c:v>
                </c:pt>
                <c:pt idx="67">
                  <c:v>La Vache Qu</c:v>
                </c:pt>
                <c:pt idx="68">
                  <c:v>St Moret</c:v>
                </c:pt>
                <c:pt idx="69">
                  <c:v>Mini Babybe</c:v>
                </c:pt>
                <c:pt idx="70">
                  <c:v>Galbani</c:v>
                </c:pt>
                <c:pt idx="71">
                  <c:v>Private Lab</c:v>
                </c:pt>
                <c:pt idx="72">
                  <c:v>All Others</c:v>
                </c:pt>
                <c:pt idx="73">
                  <c:v>Private Lab</c:v>
                </c:pt>
                <c:pt idx="74">
                  <c:v>Private Lab</c:v>
                </c:pt>
                <c:pt idx="75">
                  <c:v>All Others</c:v>
                </c:pt>
                <c:pt idx="76">
                  <c:v>Islos</c:v>
                </c:pt>
                <c:pt idx="77">
                  <c:v>Casa Azzurr</c:v>
                </c:pt>
                <c:pt idx="78">
                  <c:v>Kiri</c:v>
                </c:pt>
                <c:pt idx="79">
                  <c:v>Carre Frais</c:v>
                </c:pt>
                <c:pt idx="80">
                  <c:v>Private Lab</c:v>
                </c:pt>
                <c:pt idx="81">
                  <c:v>Private Lab</c:v>
                </c:pt>
                <c:pt idx="82">
                  <c:v>Private Lab</c:v>
                </c:pt>
                <c:pt idx="83">
                  <c:v>All Others</c:v>
                </c:pt>
                <c:pt idx="84">
                  <c:v>Private Lab</c:v>
                </c:pt>
                <c:pt idx="85">
                  <c:v>Soignon</c:v>
                </c:pt>
                <c:pt idx="86">
                  <c:v>Private Lab</c:v>
                </c:pt>
                <c:pt idx="87">
                  <c:v>Private Lab</c:v>
                </c:pt>
                <c:pt idx="88">
                  <c:v>Private Lab</c:v>
                </c:pt>
                <c:pt idx="89">
                  <c:v>Galbani</c:v>
                </c:pt>
                <c:pt idx="90">
                  <c:v>All Others</c:v>
                </c:pt>
                <c:pt idx="91">
                  <c:v>President</c:v>
                </c:pt>
                <c:pt idx="92">
                  <c:v>Paysan Bret</c:v>
                </c:pt>
                <c:pt idx="93">
                  <c:v>Private Lab</c:v>
                </c:pt>
                <c:pt idx="94">
                  <c:v>P'Tit Louis</c:v>
                </c:pt>
                <c:pt idx="95">
                  <c:v>Istara</c:v>
                </c:pt>
                <c:pt idx="96">
                  <c:v>All Others</c:v>
                </c:pt>
                <c:pt idx="97">
                  <c:v>All Others</c:v>
                </c:pt>
                <c:pt idx="98">
                  <c:v>Paysan Bret</c:v>
                </c:pt>
                <c:pt idx="99">
                  <c:v>Private Lab</c:v>
                </c:pt>
                <c:pt idx="100">
                  <c:v>Lactalis: A</c:v>
                </c:pt>
                <c:pt idx="101">
                  <c:v>All Others</c:v>
                </c:pt>
                <c:pt idx="102">
                  <c:v>All Others</c:v>
                </c:pt>
                <c:pt idx="103">
                  <c:v>Lou Perac</c:v>
                </c:pt>
                <c:pt idx="104">
                  <c:v>President</c:v>
                </c:pt>
                <c:pt idx="105">
                  <c:v>All Others</c:v>
                </c:pt>
                <c:pt idx="106">
                  <c:v>President</c:v>
                </c:pt>
                <c:pt idx="107">
                  <c:v>All Others</c:v>
                </c:pt>
                <c:pt idx="108">
                  <c:v>Private Lab</c:v>
                </c:pt>
                <c:pt idx="109">
                  <c:v>All Others</c:v>
                </c:pt>
                <c:pt idx="110">
                  <c:v>All Others</c:v>
                </c:pt>
                <c:pt idx="111">
                  <c:v>La Vache Qu</c:v>
                </c:pt>
                <c:pt idx="112">
                  <c:v>All Others</c:v>
                </c:pt>
                <c:pt idx="113">
                  <c:v>All Others</c:v>
                </c:pt>
                <c:pt idx="114">
                  <c:v>All Others</c:v>
                </c:pt>
                <c:pt idx="115">
                  <c:v>Private Lab</c:v>
                </c:pt>
                <c:pt idx="116">
                  <c:v>Private Lab</c:v>
                </c:pt>
                <c:pt idx="117">
                  <c:v>Kiri</c:v>
                </c:pt>
                <c:pt idx="118">
                  <c:v>Soignon</c:v>
                </c:pt>
                <c:pt idx="119">
                  <c:v>Soignon</c:v>
                </c:pt>
                <c:pt idx="120">
                  <c:v>All Others</c:v>
                </c:pt>
                <c:pt idx="121">
                  <c:v>All Others</c:v>
                </c:pt>
                <c:pt idx="122">
                  <c:v>Soignon</c:v>
                </c:pt>
                <c:pt idx="123">
                  <c:v>All Others</c:v>
                </c:pt>
                <c:pt idx="124">
                  <c:v>All Others</c:v>
                </c:pt>
                <c:pt idx="125">
                  <c:v>President</c:v>
                </c:pt>
                <c:pt idx="126">
                  <c:v>All Others</c:v>
                </c:pt>
                <c:pt idx="127">
                  <c:v>Paysan Bret</c:v>
                </c:pt>
                <c:pt idx="128">
                  <c:v>All Others</c:v>
                </c:pt>
                <c:pt idx="129">
                  <c:v>All Others</c:v>
                </c:pt>
                <c:pt idx="130">
                  <c:v>Paysan Bret</c:v>
                </c:pt>
                <c:pt idx="131">
                  <c:v>All Others</c:v>
                </c:pt>
                <c:pt idx="132">
                  <c:v>Private Lab</c:v>
                </c:pt>
                <c:pt idx="133">
                  <c:v>All Others</c:v>
                </c:pt>
                <c:pt idx="134">
                  <c:v>Triballat N</c:v>
                </c:pt>
                <c:pt idx="135">
                  <c:v>All Others</c:v>
                </c:pt>
                <c:pt idx="136">
                  <c:v>All Others</c:v>
                </c:pt>
                <c:pt idx="137">
                  <c:v>All Others</c:v>
                </c:pt>
                <c:pt idx="138">
                  <c:v>All Others</c:v>
                </c:pt>
                <c:pt idx="139">
                  <c:v>Lactalis: A</c:v>
                </c:pt>
                <c:pt idx="140">
                  <c:v>Private Lab</c:v>
                </c:pt>
                <c:pt idx="141">
                  <c:v>All Others</c:v>
                </c:pt>
                <c:pt idx="142">
                  <c:v>All Others</c:v>
                </c:pt>
                <c:pt idx="143">
                  <c:v>Private Lab</c:v>
                </c:pt>
                <c:pt idx="144">
                  <c:v>Private Lab</c:v>
                </c:pt>
                <c:pt idx="145">
                  <c:v>P'Tit Louis</c:v>
                </c:pt>
                <c:pt idx="146">
                  <c:v>Salakis</c:v>
                </c:pt>
                <c:pt idx="147">
                  <c:v>All Others</c:v>
                </c:pt>
                <c:pt idx="148">
                  <c:v>St Moret</c:v>
                </c:pt>
                <c:pt idx="149">
                  <c:v>Private Lab</c:v>
                </c:pt>
                <c:pt idx="150">
                  <c:v>Le Rustique</c:v>
                </c:pt>
                <c:pt idx="151">
                  <c:v>Private Lab</c:v>
                </c:pt>
                <c:pt idx="152">
                  <c:v>All Others</c:v>
                </c:pt>
                <c:pt idx="153">
                  <c:v>All Others</c:v>
                </c:pt>
                <c:pt idx="154">
                  <c:v>All Others</c:v>
                </c:pt>
                <c:pt idx="155">
                  <c:v>Milleret: A</c:v>
                </c:pt>
                <c:pt idx="156">
                  <c:v>All Others</c:v>
                </c:pt>
                <c:pt idx="157">
                  <c:v>Private Lab</c:v>
                </c:pt>
                <c:pt idx="158">
                  <c:v>Soignon</c:v>
                </c:pt>
                <c:pt idx="159">
                  <c:v>All Others</c:v>
                </c:pt>
                <c:pt idx="160">
                  <c:v>All Others</c:v>
                </c:pt>
                <c:pt idx="161">
                  <c:v>Carre Frais</c:v>
                </c:pt>
                <c:pt idx="162">
                  <c:v>All Others</c:v>
                </c:pt>
                <c:pt idx="163">
                  <c:v>Galbani</c:v>
                </c:pt>
                <c:pt idx="164">
                  <c:v>Paysan Bret</c:v>
                </c:pt>
                <c:pt idx="165">
                  <c:v>Coeur De Li</c:v>
                </c:pt>
                <c:pt idx="166">
                  <c:v>All Others</c:v>
                </c:pt>
                <c:pt idx="167">
                  <c:v>All Others</c:v>
                </c:pt>
                <c:pt idx="168">
                  <c:v>Private Lab</c:v>
                </c:pt>
                <c:pt idx="169">
                  <c:v>Soignon</c:v>
                </c:pt>
                <c:pt idx="170">
                  <c:v>Savencia: A</c:v>
                </c:pt>
                <c:pt idx="171">
                  <c:v>Milleret: A</c:v>
                </c:pt>
                <c:pt idx="172">
                  <c:v>Paysan Bret</c:v>
                </c:pt>
                <c:pt idx="173">
                  <c:v>All Others</c:v>
                </c:pt>
                <c:pt idx="174">
                  <c:v>Boursin</c:v>
                </c:pt>
                <c:pt idx="175">
                  <c:v>Lactalis: A</c:v>
                </c:pt>
                <c:pt idx="176">
                  <c:v>Galbani</c:v>
                </c:pt>
                <c:pt idx="177">
                  <c:v>Pave D'Affi</c:v>
                </c:pt>
                <c:pt idx="178">
                  <c:v>Casa Azzurr</c:v>
                </c:pt>
                <c:pt idx="179">
                  <c:v>Casa Azzurr</c:v>
                </c:pt>
                <c:pt idx="180">
                  <c:v>Istara</c:v>
                </c:pt>
                <c:pt idx="181">
                  <c:v>Boursin</c:v>
                </c:pt>
                <c:pt idx="182">
                  <c:v>Mini Babybe</c:v>
                </c:pt>
                <c:pt idx="183">
                  <c:v>Eurial Autr</c:v>
                </c:pt>
                <c:pt idx="184">
                  <c:v>Private Lab</c:v>
                </c:pt>
                <c:pt idx="185">
                  <c:v>Casa Azzurr</c:v>
                </c:pt>
                <c:pt idx="186">
                  <c:v>All Others</c:v>
                </c:pt>
                <c:pt idx="187">
                  <c:v>Lou Perac</c:v>
                </c:pt>
                <c:pt idx="188">
                  <c:v>Kiri</c:v>
                </c:pt>
                <c:pt idx="189">
                  <c:v>All Others</c:v>
                </c:pt>
                <c:pt idx="190">
                  <c:v>Private Lab</c:v>
                </c:pt>
                <c:pt idx="191">
                  <c:v>All Others</c:v>
                </c:pt>
                <c:pt idx="192">
                  <c:v>All Others</c:v>
                </c:pt>
                <c:pt idx="193">
                  <c:v>Private Lab</c:v>
                </c:pt>
                <c:pt idx="194">
                  <c:v>All Others</c:v>
                </c:pt>
                <c:pt idx="195">
                  <c:v>All Others</c:v>
                </c:pt>
                <c:pt idx="196">
                  <c:v>Mini Babybe</c:v>
                </c:pt>
                <c:pt idx="197">
                  <c:v>All Others</c:v>
                </c:pt>
                <c:pt idx="198">
                  <c:v>Private Lab</c:v>
                </c:pt>
                <c:pt idx="199">
                  <c:v>All Others</c:v>
                </c:pt>
                <c:pt idx="200">
                  <c:v>Private Lab</c:v>
                </c:pt>
                <c:pt idx="201">
                  <c:v>All Others</c:v>
                </c:pt>
                <c:pt idx="202">
                  <c:v>All Others</c:v>
                </c:pt>
                <c:pt idx="203">
                  <c:v>All Others</c:v>
                </c:pt>
                <c:pt idx="204">
                  <c:v>All Others</c:v>
                </c:pt>
                <c:pt idx="205">
                  <c:v>All Others</c:v>
                </c:pt>
                <c:pt idx="206">
                  <c:v>All Others</c:v>
                </c:pt>
                <c:pt idx="207">
                  <c:v>All Others</c:v>
                </c:pt>
                <c:pt idx="208">
                  <c:v>La Vache Qu</c:v>
                </c:pt>
                <c:pt idx="209">
                  <c:v>All Others</c:v>
                </c:pt>
                <c:pt idx="210">
                  <c:v>Private Lab</c:v>
                </c:pt>
                <c:pt idx="211">
                  <c:v>Private Lab</c:v>
                </c:pt>
                <c:pt idx="212">
                  <c:v>Private Lab</c:v>
                </c:pt>
                <c:pt idx="213">
                  <c:v>All Others</c:v>
                </c:pt>
                <c:pt idx="214">
                  <c:v>All Others</c:v>
                </c:pt>
                <c:pt idx="215">
                  <c:v>Lactalis: A</c:v>
                </c:pt>
                <c:pt idx="216">
                  <c:v>All Others</c:v>
                </c:pt>
                <c:pt idx="217">
                  <c:v>All Others</c:v>
                </c:pt>
                <c:pt idx="218">
                  <c:v>All Others</c:v>
                </c:pt>
                <c:pt idx="219">
                  <c:v>All Others</c:v>
                </c:pt>
                <c:pt idx="220">
                  <c:v>All Others</c:v>
                </c:pt>
                <c:pt idx="221">
                  <c:v>Mini Babybe</c:v>
                </c:pt>
                <c:pt idx="222">
                  <c:v>All Others</c:v>
                </c:pt>
                <c:pt idx="223">
                  <c:v>La Vache Qu</c:v>
                </c:pt>
                <c:pt idx="224">
                  <c:v>All Others</c:v>
                </c:pt>
                <c:pt idx="225">
                  <c:v>All Others</c:v>
                </c:pt>
                <c:pt idx="226">
                  <c:v>All Others</c:v>
                </c:pt>
                <c:pt idx="227">
                  <c:v>All Others</c:v>
                </c:pt>
                <c:pt idx="228">
                  <c:v>All Others</c:v>
                </c:pt>
                <c:pt idx="229">
                  <c:v>All Others</c:v>
                </c:pt>
                <c:pt idx="230">
                  <c:v>All Others</c:v>
                </c:pt>
                <c:pt idx="231">
                  <c:v>P'Tit Louis</c:v>
                </c:pt>
                <c:pt idx="232">
                  <c:v>All Others</c:v>
                </c:pt>
                <c:pt idx="233">
                  <c:v>All Others</c:v>
                </c:pt>
                <c:pt idx="234">
                  <c:v>Boursin</c:v>
                </c:pt>
                <c:pt idx="235">
                  <c:v>All Others</c:v>
                </c:pt>
                <c:pt idx="236">
                  <c:v>All Others</c:v>
                </c:pt>
                <c:pt idx="237">
                  <c:v>All Others</c:v>
                </c:pt>
                <c:pt idx="238">
                  <c:v>All Others</c:v>
                </c:pt>
                <c:pt idx="239">
                  <c:v>Private Lab</c:v>
                </c:pt>
                <c:pt idx="240">
                  <c:v>All Others</c:v>
                </c:pt>
                <c:pt idx="241">
                  <c:v>Lactalis: A</c:v>
                </c:pt>
                <c:pt idx="242">
                  <c:v>All Others</c:v>
                </c:pt>
                <c:pt idx="243">
                  <c:v>All Others</c:v>
                </c:pt>
                <c:pt idx="244">
                  <c:v>All Others</c:v>
                </c:pt>
                <c:pt idx="245">
                  <c:v>All Others</c:v>
                </c:pt>
                <c:pt idx="246">
                  <c:v>All Others</c:v>
                </c:pt>
                <c:pt idx="247">
                  <c:v>All Others</c:v>
                </c:pt>
                <c:pt idx="248">
                  <c:v>All Others</c:v>
                </c:pt>
                <c:pt idx="249">
                  <c:v>Lou Perac</c:v>
                </c:pt>
                <c:pt idx="250">
                  <c:v>All Others</c:v>
                </c:pt>
                <c:pt idx="251">
                  <c:v>Lactalis: A</c:v>
                </c:pt>
                <c:pt idx="252">
                  <c:v>All Others</c:v>
                </c:pt>
                <c:pt idx="253">
                  <c:v>Galbani</c:v>
                </c:pt>
                <c:pt idx="254">
                  <c:v>All Others</c:v>
                </c:pt>
                <c:pt idx="255">
                  <c:v>Private Lab</c:v>
                </c:pt>
                <c:pt idx="256">
                  <c:v>Ficello</c:v>
                </c:pt>
                <c:pt idx="257">
                  <c:v>All Others</c:v>
                </c:pt>
                <c:pt idx="258">
                  <c:v>Chavroux</c:v>
                </c:pt>
                <c:pt idx="259">
                  <c:v>All Others</c:v>
                </c:pt>
                <c:pt idx="260">
                  <c:v>All Others</c:v>
                </c:pt>
                <c:pt idx="261">
                  <c:v>All Others</c:v>
                </c:pt>
                <c:pt idx="262">
                  <c:v>All Others</c:v>
                </c:pt>
                <c:pt idx="263">
                  <c:v>Private Lab</c:v>
                </c:pt>
                <c:pt idx="264">
                  <c:v>Kiri</c:v>
                </c:pt>
                <c:pt idx="265">
                  <c:v>All Others</c:v>
                </c:pt>
                <c:pt idx="266">
                  <c:v>Mini Babybe</c:v>
                </c:pt>
                <c:pt idx="267">
                  <c:v>All Others</c:v>
                </c:pt>
                <c:pt idx="268">
                  <c:v>All Others</c:v>
                </c:pt>
                <c:pt idx="269">
                  <c:v>All Others</c:v>
                </c:pt>
                <c:pt idx="270">
                  <c:v>All Others</c:v>
                </c:pt>
                <c:pt idx="271">
                  <c:v>All Others</c:v>
                </c:pt>
                <c:pt idx="272">
                  <c:v>All Others</c:v>
                </c:pt>
                <c:pt idx="273">
                  <c:v>All Others</c:v>
                </c:pt>
                <c:pt idx="274">
                  <c:v>All Others</c:v>
                </c:pt>
                <c:pt idx="275">
                  <c:v>All Others</c:v>
                </c:pt>
                <c:pt idx="276">
                  <c:v>Triballat R</c:v>
                </c:pt>
                <c:pt idx="277">
                  <c:v>All Others</c:v>
                </c:pt>
                <c:pt idx="278">
                  <c:v>All Others</c:v>
                </c:pt>
                <c:pt idx="279">
                  <c:v>Philadelphi</c:v>
                </c:pt>
                <c:pt idx="280">
                  <c:v>Triballat R</c:v>
                </c:pt>
                <c:pt idx="281">
                  <c:v>Lactalis: A</c:v>
                </c:pt>
                <c:pt idx="282">
                  <c:v>Savencia: A</c:v>
                </c:pt>
                <c:pt idx="283">
                  <c:v>Private Lab</c:v>
                </c:pt>
                <c:pt idx="284">
                  <c:v>Private Lab</c:v>
                </c:pt>
                <c:pt idx="285">
                  <c:v>All Others</c:v>
                </c:pt>
                <c:pt idx="286">
                  <c:v>All Others</c:v>
                </c:pt>
                <c:pt idx="287">
                  <c:v>All Others</c:v>
                </c:pt>
                <c:pt idx="288">
                  <c:v>All Others</c:v>
                </c:pt>
                <c:pt idx="289">
                  <c:v>All Others</c:v>
                </c:pt>
                <c:pt idx="290">
                  <c:v>All Others</c:v>
                </c:pt>
                <c:pt idx="291">
                  <c:v>Etoile Du Q</c:v>
                </c:pt>
                <c:pt idx="292">
                  <c:v>All Others</c:v>
                </c:pt>
                <c:pt idx="293">
                  <c:v>All Others</c:v>
                </c:pt>
                <c:pt idx="294">
                  <c:v>All Others</c:v>
                </c:pt>
                <c:pt idx="295">
                  <c:v>All Others</c:v>
                </c:pt>
                <c:pt idx="296">
                  <c:v>Savencia: A</c:v>
                </c:pt>
                <c:pt idx="297">
                  <c:v>Triballat R</c:v>
                </c:pt>
                <c:pt idx="298">
                  <c:v>All Others</c:v>
                </c:pt>
                <c:pt idx="299">
                  <c:v>All Others</c:v>
                </c:pt>
                <c:pt idx="300">
                  <c:v>St Moret</c:v>
                </c:pt>
                <c:pt idx="301">
                  <c:v>All Others</c:v>
                </c:pt>
                <c:pt idx="302">
                  <c:v>All Others</c:v>
                </c:pt>
                <c:pt idx="303">
                  <c:v>All Others</c:v>
                </c:pt>
                <c:pt idx="304">
                  <c:v>Savencia: A</c:v>
                </c:pt>
                <c:pt idx="305">
                  <c:v>All Others</c:v>
                </c:pt>
                <c:pt idx="306">
                  <c:v>All Others</c:v>
                </c:pt>
                <c:pt idx="307">
                  <c:v>All Others</c:v>
                </c:pt>
                <c:pt idx="308">
                  <c:v>All Others</c:v>
                </c:pt>
                <c:pt idx="309">
                  <c:v>All Others</c:v>
                </c:pt>
                <c:pt idx="310">
                  <c:v>All Others</c:v>
                </c:pt>
                <c:pt idx="311">
                  <c:v>Lactalis: A</c:v>
                </c:pt>
                <c:pt idx="312">
                  <c:v>Ficello</c:v>
                </c:pt>
                <c:pt idx="313">
                  <c:v>Triballat N</c:v>
                </c:pt>
                <c:pt idx="314">
                  <c:v>All Others</c:v>
                </c:pt>
                <c:pt idx="315">
                  <c:v>All Others</c:v>
                </c:pt>
                <c:pt idx="316">
                  <c:v>Private Lab</c:v>
                </c:pt>
                <c:pt idx="317">
                  <c:v>All Others</c:v>
                </c:pt>
                <c:pt idx="318">
                  <c:v>All Others</c:v>
                </c:pt>
                <c:pt idx="319">
                  <c:v>All Others</c:v>
                </c:pt>
                <c:pt idx="320">
                  <c:v>All Others</c:v>
                </c:pt>
                <c:pt idx="321">
                  <c:v>All Others</c:v>
                </c:pt>
                <c:pt idx="322">
                  <c:v>All Others</c:v>
                </c:pt>
                <c:pt idx="323">
                  <c:v>All Others</c:v>
                </c:pt>
                <c:pt idx="324">
                  <c:v>Private Lab</c:v>
                </c:pt>
                <c:pt idx="325">
                  <c:v>All Others</c:v>
                </c:pt>
                <c:pt idx="326">
                  <c:v>All Others</c:v>
                </c:pt>
                <c:pt idx="327">
                  <c:v>Private Lab</c:v>
                </c:pt>
                <c:pt idx="328">
                  <c:v>All Others</c:v>
                </c:pt>
                <c:pt idx="329">
                  <c:v>All Others</c:v>
                </c:pt>
                <c:pt idx="330">
                  <c:v>All Others</c:v>
                </c:pt>
                <c:pt idx="331">
                  <c:v>Tartare</c:v>
                </c:pt>
                <c:pt idx="332">
                  <c:v>All Others</c:v>
                </c:pt>
                <c:pt idx="333">
                  <c:v>All Others</c:v>
                </c:pt>
                <c:pt idx="334">
                  <c:v>All Others</c:v>
                </c:pt>
                <c:pt idx="335">
                  <c:v>All Others</c:v>
                </c:pt>
                <c:pt idx="336">
                  <c:v>All Others</c:v>
                </c:pt>
                <c:pt idx="337">
                  <c:v>All Others</c:v>
                </c:pt>
                <c:pt idx="338">
                  <c:v>All Others</c:v>
                </c:pt>
                <c:pt idx="339">
                  <c:v>Eurial Autr</c:v>
                </c:pt>
                <c:pt idx="340">
                  <c:v>All Others</c:v>
                </c:pt>
                <c:pt idx="341">
                  <c:v>All Others</c:v>
                </c:pt>
                <c:pt idx="342">
                  <c:v>All Others</c:v>
                </c:pt>
                <c:pt idx="343">
                  <c:v>All Others</c:v>
                </c:pt>
                <c:pt idx="344">
                  <c:v>All Others</c:v>
                </c:pt>
                <c:pt idx="345">
                  <c:v>All Others</c:v>
                </c:pt>
                <c:pt idx="346">
                  <c:v>Mini Babybe</c:v>
                </c:pt>
                <c:pt idx="347">
                  <c:v>All Others</c:v>
                </c:pt>
                <c:pt idx="348">
                  <c:v>Private Lab</c:v>
                </c:pt>
                <c:pt idx="349">
                  <c:v>All Others</c:v>
                </c:pt>
                <c:pt idx="350">
                  <c:v>All Others</c:v>
                </c:pt>
                <c:pt idx="351">
                  <c:v>All Others</c:v>
                </c:pt>
                <c:pt idx="352">
                  <c:v>All Others</c:v>
                </c:pt>
                <c:pt idx="353">
                  <c:v>All Others</c:v>
                </c:pt>
                <c:pt idx="354">
                  <c:v>All Others</c:v>
                </c:pt>
                <c:pt idx="355">
                  <c:v>All Others</c:v>
                </c:pt>
                <c:pt idx="356">
                  <c:v>Boursin</c:v>
                </c:pt>
                <c:pt idx="357">
                  <c:v>All Others</c:v>
                </c:pt>
                <c:pt idx="358">
                  <c:v>Soignon</c:v>
                </c:pt>
                <c:pt idx="359">
                  <c:v>All Others</c:v>
                </c:pt>
                <c:pt idx="360">
                  <c:v>All Others</c:v>
                </c:pt>
                <c:pt idx="361">
                  <c:v>All Others</c:v>
                </c:pt>
                <c:pt idx="362">
                  <c:v>All Others</c:v>
                </c:pt>
                <c:pt idx="363">
                  <c:v>Private Lab</c:v>
                </c:pt>
                <c:pt idx="364">
                  <c:v>All Others</c:v>
                </c:pt>
                <c:pt idx="365">
                  <c:v>All Others</c:v>
                </c:pt>
                <c:pt idx="366">
                  <c:v>All Others</c:v>
                </c:pt>
                <c:pt idx="367">
                  <c:v>All Others</c:v>
                </c:pt>
                <c:pt idx="368">
                  <c:v>All Others</c:v>
                </c:pt>
                <c:pt idx="369">
                  <c:v>All Others</c:v>
                </c:pt>
                <c:pt idx="370">
                  <c:v>All Others</c:v>
                </c:pt>
                <c:pt idx="371">
                  <c:v>Savencia: A</c:v>
                </c:pt>
                <c:pt idx="372">
                  <c:v>Private Lab</c:v>
                </c:pt>
                <c:pt idx="373">
                  <c:v>All Others</c:v>
                </c:pt>
                <c:pt idx="374">
                  <c:v>All Others</c:v>
                </c:pt>
                <c:pt idx="375">
                  <c:v>All Others</c:v>
                </c:pt>
                <c:pt idx="376">
                  <c:v>All Others</c:v>
                </c:pt>
                <c:pt idx="377">
                  <c:v>All Others</c:v>
                </c:pt>
                <c:pt idx="378">
                  <c:v>All Others</c:v>
                </c:pt>
                <c:pt idx="379">
                  <c:v>All Others</c:v>
                </c:pt>
                <c:pt idx="380">
                  <c:v>All Others</c:v>
                </c:pt>
                <c:pt idx="381">
                  <c:v>All Others</c:v>
                </c:pt>
                <c:pt idx="382">
                  <c:v>All Others</c:v>
                </c:pt>
                <c:pt idx="383">
                  <c:v>All Others</c:v>
                </c:pt>
                <c:pt idx="384">
                  <c:v>All Others</c:v>
                </c:pt>
                <c:pt idx="385">
                  <c:v>Private Lab</c:v>
                </c:pt>
                <c:pt idx="386">
                  <c:v>Private Lab</c:v>
                </c:pt>
                <c:pt idx="387">
                  <c:v>All Others</c:v>
                </c:pt>
                <c:pt idx="388">
                  <c:v>All Others</c:v>
                </c:pt>
                <c:pt idx="389">
                  <c:v>Private Lab</c:v>
                </c:pt>
                <c:pt idx="390">
                  <c:v>All Others</c:v>
                </c:pt>
                <c:pt idx="391">
                  <c:v>Caprice Des</c:v>
                </c:pt>
                <c:pt idx="392">
                  <c:v>Private Lab</c:v>
                </c:pt>
                <c:pt idx="393">
                  <c:v>All Others</c:v>
                </c:pt>
                <c:pt idx="394">
                  <c:v>Private Lab</c:v>
                </c:pt>
                <c:pt idx="395">
                  <c:v>All Others</c:v>
                </c:pt>
                <c:pt idx="396">
                  <c:v>All Others</c:v>
                </c:pt>
                <c:pt idx="397">
                  <c:v>All Others</c:v>
                </c:pt>
                <c:pt idx="398">
                  <c:v>All Others</c:v>
                </c:pt>
                <c:pt idx="399">
                  <c:v>All Others</c:v>
                </c:pt>
                <c:pt idx="400">
                  <c:v>Private Lab</c:v>
                </c:pt>
                <c:pt idx="401">
                  <c:v>All Others</c:v>
                </c:pt>
                <c:pt idx="402">
                  <c:v>All Others</c:v>
                </c:pt>
                <c:pt idx="403">
                  <c:v>Carre Frais</c:v>
                </c:pt>
                <c:pt idx="404">
                  <c:v>All Others</c:v>
                </c:pt>
                <c:pt idx="405">
                  <c:v>All Others</c:v>
                </c:pt>
                <c:pt idx="406">
                  <c:v>Triballat R</c:v>
                </c:pt>
                <c:pt idx="407">
                  <c:v>All Others</c:v>
                </c:pt>
                <c:pt idx="408">
                  <c:v>All Others</c:v>
                </c:pt>
                <c:pt idx="409">
                  <c:v>All Others</c:v>
                </c:pt>
                <c:pt idx="410">
                  <c:v>All Others</c:v>
                </c:pt>
                <c:pt idx="411">
                  <c:v>All Others</c:v>
                </c:pt>
                <c:pt idx="412">
                  <c:v>All Others</c:v>
                </c:pt>
                <c:pt idx="413">
                  <c:v>All Others</c:v>
                </c:pt>
                <c:pt idx="414">
                  <c:v>All Others</c:v>
                </c:pt>
                <c:pt idx="415">
                  <c:v>All Others</c:v>
                </c:pt>
              </c:strCache>
            </c:strRef>
          </c:cat>
          <c:val>
            <c:numRef>
              <c:f>Sheet1!$C$2:$C$417</c:f>
              <c:numCache>
                <c:formatCode>General</c:formatCode>
                <c:ptCount val="416"/>
                <c:pt idx="0">
                  <c:v>0.11790685819383477</c:v>
                </c:pt>
                <c:pt idx="1">
                  <c:v>0.14085332980473061</c:v>
                </c:pt>
                <c:pt idx="2">
                  <c:v>0.16266497149999792</c:v>
                </c:pt>
                <c:pt idx="3">
                  <c:v>0.18430045007606444</c:v>
                </c:pt>
                <c:pt idx="4">
                  <c:v>0.22656680224958739</c:v>
                </c:pt>
                <c:pt idx="5">
                  <c:v>0.24540693531187074</c:v>
                </c:pt>
                <c:pt idx="6">
                  <c:v>0.26374881526059485</c:v>
                </c:pt>
                <c:pt idx="7">
                  <c:v>0.28076942429539636</c:v>
                </c:pt>
                <c:pt idx="8">
                  <c:v>0.32970147662574051</c:v>
                </c:pt>
                <c:pt idx="9">
                  <c:v>0.34556751461386781</c:v>
                </c:pt>
                <c:pt idx="10">
                  <c:v>0.3607868269034632</c:v>
                </c:pt>
                <c:pt idx="11">
                  <c:v>0.37548583004966185</c:v>
                </c:pt>
                <c:pt idx="12">
                  <c:v>0.3901492815097235</c:v>
                </c:pt>
                <c:pt idx="13">
                  <c:v>0.41740208263230144</c:v>
                </c:pt>
                <c:pt idx="14">
                  <c:v>0.42989491255575041</c:v>
                </c:pt>
                <c:pt idx="15">
                  <c:v>0.44228765195783148</c:v>
                </c:pt>
                <c:pt idx="16">
                  <c:v>0.47685526850870885</c:v>
                </c:pt>
                <c:pt idx="17">
                  <c:v>0.48770899395068751</c:v>
                </c:pt>
                <c:pt idx="18">
                  <c:v>0.50834692086147149</c:v>
                </c:pt>
                <c:pt idx="19">
                  <c:v>0.518277137456708</c:v>
                </c:pt>
                <c:pt idx="20">
                  <c:v>0.52786635791935976</c:v>
                </c:pt>
                <c:pt idx="21">
                  <c:v>0.53684699759934817</c:v>
                </c:pt>
                <c:pt idx="22">
                  <c:v>0.5458274132568729</c:v>
                </c:pt>
                <c:pt idx="23">
                  <c:v>0.56341942892247865</c:v>
                </c:pt>
                <c:pt idx="24">
                  <c:v>0.57185030389937042</c:v>
                </c:pt>
                <c:pt idx="25">
                  <c:v>0.58001387934568294</c:v>
                </c:pt>
                <c:pt idx="26">
                  <c:v>0.58814791098102193</c:v>
                </c:pt>
                <c:pt idx="27">
                  <c:v>0.59610634294759923</c:v>
                </c:pt>
                <c:pt idx="28">
                  <c:v>0.60395015687546416</c:v>
                </c:pt>
                <c:pt idx="29">
                  <c:v>0.62593574183097356</c:v>
                </c:pt>
                <c:pt idx="30">
                  <c:v>0.63305060702756044</c:v>
                </c:pt>
                <c:pt idx="31">
                  <c:v>0.64688194401751964</c:v>
                </c:pt>
                <c:pt idx="32">
                  <c:v>0.65329679332344648</c:v>
                </c:pt>
                <c:pt idx="33">
                  <c:v>0.6592135999611588</c:v>
                </c:pt>
                <c:pt idx="34">
                  <c:v>0.66511540388236112</c:v>
                </c:pt>
                <c:pt idx="35">
                  <c:v>0.67100608814309137</c:v>
                </c:pt>
                <c:pt idx="36">
                  <c:v>0.68262909314837783</c:v>
                </c:pt>
                <c:pt idx="37">
                  <c:v>0.68831129395809554</c:v>
                </c:pt>
                <c:pt idx="38">
                  <c:v>0.69399231355845903</c:v>
                </c:pt>
                <c:pt idx="39">
                  <c:v>0.69951900883555496</c:v>
                </c:pt>
                <c:pt idx="40">
                  <c:v>0.70496916989277159</c:v>
                </c:pt>
                <c:pt idx="41">
                  <c:v>0.7153494000977122</c:v>
                </c:pt>
                <c:pt idx="42">
                  <c:v>0.7203588139289514</c:v>
                </c:pt>
                <c:pt idx="43">
                  <c:v>0.72523350879677873</c:v>
                </c:pt>
                <c:pt idx="44">
                  <c:v>0.73008575389831709</c:v>
                </c:pt>
                <c:pt idx="45">
                  <c:v>0.73492863078773618</c:v>
                </c:pt>
                <c:pt idx="46">
                  <c:v>0.73968714624816456</c:v>
                </c:pt>
                <c:pt idx="47">
                  <c:v>0.74443579793162962</c:v>
                </c:pt>
                <c:pt idx="48">
                  <c:v>0.74918195142519617</c:v>
                </c:pt>
                <c:pt idx="49">
                  <c:v>0.75391980929904545</c:v>
                </c:pt>
                <c:pt idx="50">
                  <c:v>0.75865423895034378</c:v>
                </c:pt>
                <c:pt idx="51">
                  <c:v>0.76333373557811324</c:v>
                </c:pt>
                <c:pt idx="52">
                  <c:v>0.76789513842470292</c:v>
                </c:pt>
                <c:pt idx="53">
                  <c:v>0.7722801744953065</c:v>
                </c:pt>
                <c:pt idx="54">
                  <c:v>0.77658217290602327</c:v>
                </c:pt>
                <c:pt idx="55">
                  <c:v>0.78513792343504207</c:v>
                </c:pt>
                <c:pt idx="56">
                  <c:v>0.78916829800277377</c:v>
                </c:pt>
                <c:pt idx="57">
                  <c:v>0.79314337296476323</c:v>
                </c:pt>
                <c:pt idx="58">
                  <c:v>0.7971011506771295</c:v>
                </c:pt>
                <c:pt idx="59">
                  <c:v>0.80456011437799591</c:v>
                </c:pt>
                <c:pt idx="60">
                  <c:v>0.80824670271518551</c:v>
                </c:pt>
                <c:pt idx="61">
                  <c:v>0.81190795614829581</c:v>
                </c:pt>
                <c:pt idx="62">
                  <c:v>0.81551645568547892</c:v>
                </c:pt>
                <c:pt idx="63">
                  <c:v>0.82255053702393521</c:v>
                </c:pt>
                <c:pt idx="64">
                  <c:v>0.82572431078742359</c:v>
                </c:pt>
                <c:pt idx="65">
                  <c:v>0.8288709642556823</c:v>
                </c:pt>
                <c:pt idx="66">
                  <c:v>0.83191435694528348</c:v>
                </c:pt>
                <c:pt idx="67">
                  <c:v>0.83492081308260835</c:v>
                </c:pt>
                <c:pt idx="68">
                  <c:v>0.83784324043035829</c:v>
                </c:pt>
                <c:pt idx="69">
                  <c:v>0.84075906250970822</c:v>
                </c:pt>
                <c:pt idx="70">
                  <c:v>0.84366278737601708</c:v>
                </c:pt>
                <c:pt idx="71">
                  <c:v>0.84653250834775651</c:v>
                </c:pt>
                <c:pt idx="72">
                  <c:v>0.84939286110737655</c:v>
                </c:pt>
                <c:pt idx="73">
                  <c:v>0.85471293299876483</c:v>
                </c:pt>
                <c:pt idx="74">
                  <c:v>0.85732954252929416</c:v>
                </c:pt>
                <c:pt idx="75">
                  <c:v>0.85987986177623976</c:v>
                </c:pt>
                <c:pt idx="76">
                  <c:v>0.86239523351884451</c:v>
                </c:pt>
                <c:pt idx="77">
                  <c:v>0.86486962272770684</c:v>
                </c:pt>
                <c:pt idx="78">
                  <c:v>0.86969527025309767</c:v>
                </c:pt>
                <c:pt idx="79">
                  <c:v>0.87208182229050191</c:v>
                </c:pt>
                <c:pt idx="80">
                  <c:v>0.87673229103782047</c:v>
                </c:pt>
                <c:pt idx="81">
                  <c:v>0.87893848462624868</c:v>
                </c:pt>
                <c:pt idx="82">
                  <c:v>0.88111960127585887</c:v>
                </c:pt>
                <c:pt idx="83">
                  <c:v>0.88313240238105806</c:v>
                </c:pt>
                <c:pt idx="84">
                  <c:v>0.88683543939793263</c:v>
                </c:pt>
                <c:pt idx="85">
                  <c:v>0.89046083565972811</c:v>
                </c:pt>
                <c:pt idx="86">
                  <c:v>0.89222288774242553</c:v>
                </c:pt>
                <c:pt idx="87">
                  <c:v>0.89395191348312253</c:v>
                </c:pt>
                <c:pt idx="88">
                  <c:v>0.89560443894673769</c:v>
                </c:pt>
                <c:pt idx="89">
                  <c:v>0.89724976853727567</c:v>
                </c:pt>
                <c:pt idx="90">
                  <c:v>0.90004515478241587</c:v>
                </c:pt>
                <c:pt idx="91">
                  <c:v>0.90137055992907811</c:v>
                </c:pt>
                <c:pt idx="92">
                  <c:v>0.90268120674737262</c:v>
                </c:pt>
                <c:pt idx="93">
                  <c:v>0.90395533790408011</c:v>
                </c:pt>
                <c:pt idx="94">
                  <c:v>0.90647389348109353</c:v>
                </c:pt>
                <c:pt idx="95">
                  <c:v>0.90772654563552169</c:v>
                </c:pt>
                <c:pt idx="96">
                  <c:v>0.91129363495971361</c:v>
                </c:pt>
                <c:pt idx="97">
                  <c:v>0.91246003167704859</c:v>
                </c:pt>
                <c:pt idx="98">
                  <c:v>0.91362620437191988</c:v>
                </c:pt>
                <c:pt idx="99">
                  <c:v>0.91478359945934895</c:v>
                </c:pt>
                <c:pt idx="100">
                  <c:v>0.91590830084419339</c:v>
                </c:pt>
                <c:pt idx="101">
                  <c:v>0.91699045832660886</c:v>
                </c:pt>
                <c:pt idx="102">
                  <c:v>0.91806565753552982</c:v>
                </c:pt>
                <c:pt idx="103">
                  <c:v>0.91909710447842963</c:v>
                </c:pt>
                <c:pt idx="104">
                  <c:v>0.92113217205881104</c:v>
                </c:pt>
                <c:pt idx="105">
                  <c:v>0.92213871856544005</c:v>
                </c:pt>
                <c:pt idx="106">
                  <c:v>0.92314514966655747</c:v>
                </c:pt>
                <c:pt idx="107">
                  <c:v>0.92411606302433547</c:v>
                </c:pt>
                <c:pt idx="108">
                  <c:v>0.92504535572377733</c:v>
                </c:pt>
                <c:pt idx="109">
                  <c:v>0.92593619802217286</c:v>
                </c:pt>
                <c:pt idx="110">
                  <c:v>0.92681100574301334</c:v>
                </c:pt>
                <c:pt idx="111">
                  <c:v>0.92855048586535083</c:v>
                </c:pt>
                <c:pt idx="112">
                  <c:v>0.92941397026893402</c:v>
                </c:pt>
                <c:pt idx="113">
                  <c:v>0.93023350553827044</c:v>
                </c:pt>
                <c:pt idx="114">
                  <c:v>0.9310238635788467</c:v>
                </c:pt>
                <c:pt idx="115">
                  <c:v>0.93181375320881699</c:v>
                </c:pt>
                <c:pt idx="116">
                  <c:v>0.93260175561924441</c:v>
                </c:pt>
                <c:pt idx="117">
                  <c:v>0.93415410231021812</c:v>
                </c:pt>
                <c:pt idx="118">
                  <c:v>0.93564814206358815</c:v>
                </c:pt>
                <c:pt idx="119">
                  <c:v>0.93639085799354582</c:v>
                </c:pt>
                <c:pt idx="120">
                  <c:v>0.93712715873476959</c:v>
                </c:pt>
                <c:pt idx="121">
                  <c:v>0.93786230542087723</c:v>
                </c:pt>
                <c:pt idx="122">
                  <c:v>0.93859694296502183</c:v>
                </c:pt>
                <c:pt idx="123">
                  <c:v>0.93932510422339699</c:v>
                </c:pt>
                <c:pt idx="124">
                  <c:v>0.94005012237872054</c:v>
                </c:pt>
                <c:pt idx="125">
                  <c:v>0.94148384578087285</c:v>
                </c:pt>
                <c:pt idx="126">
                  <c:v>0.94285759904834232</c:v>
                </c:pt>
                <c:pt idx="127">
                  <c:v>0.94352430347750271</c:v>
                </c:pt>
                <c:pt idx="128">
                  <c:v>0.94415646092733307</c:v>
                </c:pt>
                <c:pt idx="129">
                  <c:v>0.94477474935009109</c:v>
                </c:pt>
                <c:pt idx="130">
                  <c:v>0.94539082470244995</c:v>
                </c:pt>
                <c:pt idx="131">
                  <c:v>0.94600652668403595</c:v>
                </c:pt>
                <c:pt idx="132">
                  <c:v>0.94662017173209134</c:v>
                </c:pt>
                <c:pt idx="133">
                  <c:v>0.94722436710531333</c:v>
                </c:pt>
                <c:pt idx="134">
                  <c:v>0.94782773427427547</c:v>
                </c:pt>
                <c:pt idx="135">
                  <c:v>0.94841957446919511</c:v>
                </c:pt>
                <c:pt idx="136">
                  <c:v>0.94900574621692657</c:v>
                </c:pt>
                <c:pt idx="137">
                  <c:v>0.95016377264038976</c:v>
                </c:pt>
                <c:pt idx="138">
                  <c:v>0.95073342103428171</c:v>
                </c:pt>
                <c:pt idx="139">
                  <c:v>0.95129818166532887</c:v>
                </c:pt>
                <c:pt idx="140">
                  <c:v>0.95184714531840375</c:v>
                </c:pt>
                <c:pt idx="141">
                  <c:v>0.95237792242055996</c:v>
                </c:pt>
                <c:pt idx="142">
                  <c:v>0.95290526451160573</c:v>
                </c:pt>
                <c:pt idx="143">
                  <c:v>0.95343012198987198</c:v>
                </c:pt>
                <c:pt idx="144">
                  <c:v>0.95393190515437476</c:v>
                </c:pt>
                <c:pt idx="145">
                  <c:v>0.95440647298381487</c:v>
                </c:pt>
                <c:pt idx="146">
                  <c:v>0.95487915359371212</c:v>
                </c:pt>
                <c:pt idx="147">
                  <c:v>0.95534748273696546</c:v>
                </c:pt>
                <c:pt idx="148">
                  <c:v>0.95581127712246827</c:v>
                </c:pt>
                <c:pt idx="149">
                  <c:v>0.95626488188015146</c:v>
                </c:pt>
                <c:pt idx="150">
                  <c:v>0.95670142019923465</c:v>
                </c:pt>
                <c:pt idx="151">
                  <c:v>0.95712098711955085</c:v>
                </c:pt>
                <c:pt idx="152">
                  <c:v>0.95753889763134736</c:v>
                </c:pt>
                <c:pt idx="153">
                  <c:v>0.95795654338932312</c:v>
                </c:pt>
                <c:pt idx="154">
                  <c:v>0.95837181994003107</c:v>
                </c:pt>
                <c:pt idx="155">
                  <c:v>0.95878364790250958</c:v>
                </c:pt>
                <c:pt idx="156">
                  <c:v>0.95919455262089515</c:v>
                </c:pt>
                <c:pt idx="157">
                  <c:v>0.96000692595995196</c:v>
                </c:pt>
                <c:pt idx="158">
                  <c:v>0.96040301804149375</c:v>
                </c:pt>
                <c:pt idx="159">
                  <c:v>0.96079781350816973</c:v>
                </c:pt>
                <c:pt idx="160">
                  <c:v>0.96118720528147827</c:v>
                </c:pt>
                <c:pt idx="161">
                  <c:v>0.96156895992534175</c:v>
                </c:pt>
                <c:pt idx="162">
                  <c:v>0.96194899027509051</c:v>
                </c:pt>
                <c:pt idx="163">
                  <c:v>0.96232444513573168</c:v>
                </c:pt>
                <c:pt idx="164">
                  <c:v>0.96268729364136874</c:v>
                </c:pt>
                <c:pt idx="165">
                  <c:v>0.96304084860904104</c:v>
                </c:pt>
                <c:pt idx="166">
                  <c:v>0.96339301192201454</c:v>
                </c:pt>
                <c:pt idx="167">
                  <c:v>0.96374405512266936</c:v>
                </c:pt>
                <c:pt idx="168">
                  <c:v>0.96408860846043576</c:v>
                </c:pt>
                <c:pt idx="169">
                  <c:v>0.964427561236609</c:v>
                </c:pt>
                <c:pt idx="170">
                  <c:v>0.96476624925896148</c:v>
                </c:pt>
                <c:pt idx="171">
                  <c:v>0.96510015134686167</c:v>
                </c:pt>
                <c:pt idx="172">
                  <c:v>0.96609353483660698</c:v>
                </c:pt>
                <c:pt idx="173">
                  <c:v>0.96641960292683637</c:v>
                </c:pt>
                <c:pt idx="174">
                  <c:v>0.96674535195476896</c:v>
                </c:pt>
                <c:pt idx="175">
                  <c:v>0.96706628789401128</c:v>
                </c:pt>
                <c:pt idx="176">
                  <c:v>0.96737966137796305</c:v>
                </c:pt>
                <c:pt idx="177">
                  <c:v>0.96800253207838816</c:v>
                </c:pt>
                <c:pt idx="178">
                  <c:v>0.96861868889346103</c:v>
                </c:pt>
                <c:pt idx="179">
                  <c:v>0.9689258712111426</c:v>
                </c:pt>
                <c:pt idx="180">
                  <c:v>0.96922998509992708</c:v>
                </c:pt>
                <c:pt idx="181">
                  <c:v>0.96952608848849353</c:v>
                </c:pt>
                <c:pt idx="182">
                  <c:v>0.96982053546854041</c:v>
                </c:pt>
                <c:pt idx="183">
                  <c:v>0.97011460228925483</c:v>
                </c:pt>
                <c:pt idx="184">
                  <c:v>0.97040827537351793</c:v>
                </c:pt>
                <c:pt idx="185">
                  <c:v>0.97069736618011393</c:v>
                </c:pt>
                <c:pt idx="186">
                  <c:v>0.97097916607379964</c:v>
                </c:pt>
                <c:pt idx="187">
                  <c:v>0.97126050434543887</c:v>
                </c:pt>
                <c:pt idx="188">
                  <c:v>0.97153761334450539</c:v>
                </c:pt>
                <c:pt idx="189">
                  <c:v>0.97181429466432301</c:v>
                </c:pt>
                <c:pt idx="190">
                  <c:v>0.9723611742296292</c:v>
                </c:pt>
                <c:pt idx="191">
                  <c:v>0.97262667479193921</c:v>
                </c:pt>
                <c:pt idx="192">
                  <c:v>0.97315120641934916</c:v>
                </c:pt>
                <c:pt idx="193">
                  <c:v>0.97340824164795414</c:v>
                </c:pt>
                <c:pt idx="194">
                  <c:v>0.97391747186223587</c:v>
                </c:pt>
                <c:pt idx="195">
                  <c:v>0.97416553261517291</c:v>
                </c:pt>
                <c:pt idx="196">
                  <c:v>0.9743988689825398</c:v>
                </c:pt>
                <c:pt idx="197">
                  <c:v>0.97463018914773314</c:v>
                </c:pt>
                <c:pt idx="198">
                  <c:v>0.9748542048228972</c:v>
                </c:pt>
                <c:pt idx="199">
                  <c:v>0.97507684242048143</c:v>
                </c:pt>
                <c:pt idx="200">
                  <c:v>0.97529339068018805</c:v>
                </c:pt>
                <c:pt idx="201">
                  <c:v>0.97550985068862106</c:v>
                </c:pt>
                <c:pt idx="202">
                  <c:v>0.97572548249279423</c:v>
                </c:pt>
                <c:pt idx="203">
                  <c:v>0.9759340474065209</c:v>
                </c:pt>
                <c:pt idx="204">
                  <c:v>0.97613980864517125</c:v>
                </c:pt>
                <c:pt idx="205">
                  <c:v>0.97634527797576276</c:v>
                </c:pt>
                <c:pt idx="206">
                  <c:v>0.97654741412363644</c:v>
                </c:pt>
                <c:pt idx="207">
                  <c:v>0.97733569486500349</c:v>
                </c:pt>
                <c:pt idx="208">
                  <c:v>0.97752895157704234</c:v>
                </c:pt>
                <c:pt idx="209">
                  <c:v>0.97772074196022773</c:v>
                </c:pt>
                <c:pt idx="210">
                  <c:v>0.97791222685823531</c:v>
                </c:pt>
                <c:pt idx="211">
                  <c:v>0.97809261925000879</c:v>
                </c:pt>
                <c:pt idx="212">
                  <c:v>0.97827227168879605</c:v>
                </c:pt>
                <c:pt idx="213">
                  <c:v>0.97845003011948095</c:v>
                </c:pt>
                <c:pt idx="214">
                  <c:v>0.97862581307934937</c:v>
                </c:pt>
                <c:pt idx="215">
                  <c:v>0.97880108010869527</c:v>
                </c:pt>
                <c:pt idx="216">
                  <c:v>0.97897634713804116</c:v>
                </c:pt>
                <c:pt idx="217">
                  <c:v>0.97914463552821407</c:v>
                </c:pt>
                <c:pt idx="218">
                  <c:v>0.97931130145266487</c:v>
                </c:pt>
                <c:pt idx="219">
                  <c:v>0.97947591044358517</c:v>
                </c:pt>
                <c:pt idx="220">
                  <c:v>0.97963882908318822</c:v>
                </c:pt>
                <c:pt idx="221">
                  <c:v>0.97980055972487767</c:v>
                </c:pt>
                <c:pt idx="222">
                  <c:v>0.97996116346568896</c:v>
                </c:pt>
                <c:pt idx="223">
                  <c:v>0.98012076928825276</c:v>
                </c:pt>
                <c:pt idx="224">
                  <c:v>0.98027784297812048</c:v>
                </c:pt>
                <c:pt idx="225">
                  <c:v>0.98043429890907308</c:v>
                </c:pt>
                <c:pt idx="226">
                  <c:v>0.98059012350399155</c:v>
                </c:pt>
                <c:pt idx="227">
                  <c:v>0.98074567655652978</c:v>
                </c:pt>
                <c:pt idx="228">
                  <c:v>0.98089961393190539</c:v>
                </c:pt>
                <c:pt idx="229">
                  <c:v>0.98105280456573529</c:v>
                </c:pt>
                <c:pt idx="230">
                  <c:v>0.9812039246889156</c:v>
                </c:pt>
                <c:pt idx="231">
                  <c:v>0.98150211895381012</c:v>
                </c:pt>
                <c:pt idx="232">
                  <c:v>0.9816470750649583</c:v>
                </c:pt>
                <c:pt idx="233">
                  <c:v>0.98179152203414344</c:v>
                </c:pt>
                <c:pt idx="234">
                  <c:v>0.98207858306144691</c:v>
                </c:pt>
                <c:pt idx="235">
                  <c:v>0.98222142114202893</c:v>
                </c:pt>
                <c:pt idx="236">
                  <c:v>0.98236329524716104</c:v>
                </c:pt>
                <c:pt idx="237">
                  <c:v>0.98250349257809499</c:v>
                </c:pt>
                <c:pt idx="238">
                  <c:v>0.98277479735878326</c:v>
                </c:pt>
                <c:pt idx="239">
                  <c:v>0.98290612883100137</c:v>
                </c:pt>
                <c:pt idx="240">
                  <c:v>0.98316478652532857</c:v>
                </c:pt>
                <c:pt idx="241">
                  <c:v>0.98329338899662488</c:v>
                </c:pt>
                <c:pt idx="242">
                  <c:v>0.98342096639543575</c:v>
                </c:pt>
                <c:pt idx="243">
                  <c:v>0.98367209557726987</c:v>
                </c:pt>
                <c:pt idx="244">
                  <c:v>0.98379549801198407</c:v>
                </c:pt>
                <c:pt idx="245">
                  <c:v>0.98403949241777655</c:v>
                </c:pt>
                <c:pt idx="246">
                  <c:v>0.98416061389649645</c:v>
                </c:pt>
                <c:pt idx="247">
                  <c:v>0.98451733233289895</c:v>
                </c:pt>
                <c:pt idx="248">
                  <c:v>0.98475218933759534</c:v>
                </c:pt>
                <c:pt idx="249">
                  <c:v>0.98486735724962782</c:v>
                </c:pt>
                <c:pt idx="250">
                  <c:v>0.98498209069385179</c:v>
                </c:pt>
                <c:pt idx="251">
                  <c:v>0.98509556825456701</c:v>
                </c:pt>
                <c:pt idx="252">
                  <c:v>0.9852073554639651</c:v>
                </c:pt>
                <c:pt idx="253">
                  <c:v>0.98531874893691174</c:v>
                </c:pt>
                <c:pt idx="254">
                  <c:v>0.985537971889064</c:v>
                </c:pt>
                <c:pt idx="255">
                  <c:v>0.9856429976931933</c:v>
                </c:pt>
                <c:pt idx="256">
                  <c:v>0.98574619058625579</c:v>
                </c:pt>
                <c:pt idx="257">
                  <c:v>0.98584929522804465</c:v>
                </c:pt>
                <c:pt idx="258">
                  <c:v>0.98605264652807012</c:v>
                </c:pt>
                <c:pt idx="259">
                  <c:v>0.98615285924350915</c:v>
                </c:pt>
                <c:pt idx="260">
                  <c:v>0.9862521826576528</c:v>
                </c:pt>
                <c:pt idx="261">
                  <c:v>0.98635044026795382</c:v>
                </c:pt>
                <c:pt idx="262">
                  <c:v>0.98644846706723166</c:v>
                </c:pt>
                <c:pt idx="263">
                  <c:v>0.98654614086141512</c:v>
                </c:pt>
                <c:pt idx="264">
                  <c:v>0.98664371961576547</c:v>
                </c:pt>
                <c:pt idx="265">
                  <c:v>0.98683308648320689</c:v>
                </c:pt>
                <c:pt idx="266">
                  <c:v>0.98692658531329369</c:v>
                </c:pt>
                <c:pt idx="267">
                  <c:v>0.98701901833953798</c:v>
                </c:pt>
                <c:pt idx="268">
                  <c:v>0.98710997145980972</c:v>
                </c:pt>
                <c:pt idx="269">
                  <c:v>0.987199913084715</c:v>
                </c:pt>
                <c:pt idx="270">
                  <c:v>0.98728978003546564</c:v>
                </c:pt>
                <c:pt idx="271">
                  <c:v>0.98737878483915897</c:v>
                </c:pt>
                <c:pt idx="272">
                  <c:v>0.98746567161228616</c:v>
                </c:pt>
                <c:pt idx="273">
                  <c:v>0.98754985653872962</c:v>
                </c:pt>
                <c:pt idx="274">
                  <c:v>0.98763369524863831</c:v>
                </c:pt>
                <c:pt idx="275">
                  <c:v>0.98771730314752371</c:v>
                </c:pt>
                <c:pt idx="276">
                  <c:v>0.98779822277684448</c:v>
                </c:pt>
                <c:pt idx="277">
                  <c:v>0.98787837529894096</c:v>
                </c:pt>
                <c:pt idx="278">
                  <c:v>0.9880372886884351</c:v>
                </c:pt>
                <c:pt idx="279">
                  <c:v>0.98811639577236754</c:v>
                </c:pt>
                <c:pt idx="280">
                  <c:v>0.98819498692577745</c:v>
                </c:pt>
                <c:pt idx="281">
                  <c:v>0.98827337442240215</c:v>
                </c:pt>
                <c:pt idx="282">
                  <c:v>0.98850567892872399</c:v>
                </c:pt>
                <c:pt idx="283">
                  <c:v>0.98873122881833653</c:v>
                </c:pt>
                <c:pt idx="284">
                  <c:v>0.98880603195554173</c:v>
                </c:pt>
                <c:pt idx="285">
                  <c:v>0.98887936876389337</c:v>
                </c:pt>
                <c:pt idx="286">
                  <c:v>0.98895133428322468</c:v>
                </c:pt>
                <c:pt idx="287">
                  <c:v>0.98902232903854648</c:v>
                </c:pt>
                <c:pt idx="288">
                  <c:v>0.98909304546292853</c:v>
                </c:pt>
                <c:pt idx="289">
                  <c:v>0.98916281148897967</c:v>
                </c:pt>
                <c:pt idx="290">
                  <c:v>0.98930173257072629</c:v>
                </c:pt>
                <c:pt idx="291">
                  <c:v>0.98937089441498127</c:v>
                </c:pt>
                <c:pt idx="292">
                  <c:v>0.98943958106007079</c:v>
                </c:pt>
                <c:pt idx="293">
                  <c:v>0.98950812514541064</c:v>
                </c:pt>
                <c:pt idx="294">
                  <c:v>0.98957600395191891</c:v>
                </c:pt>
                <c:pt idx="295">
                  <c:v>0.98964283053170365</c:v>
                </c:pt>
                <c:pt idx="296">
                  <c:v>0.98990879271606003</c:v>
                </c:pt>
                <c:pt idx="297">
                  <c:v>0.98997511694244122</c:v>
                </c:pt>
                <c:pt idx="298">
                  <c:v>0.99004126466627529</c:v>
                </c:pt>
                <c:pt idx="299">
                  <c:v>0.99010682857399168</c:v>
                </c:pt>
                <c:pt idx="300">
                  <c:v>0.99017107550116379</c:v>
                </c:pt>
                <c:pt idx="301">
                  <c:v>0.9902990194821879</c:v>
                </c:pt>
                <c:pt idx="302">
                  <c:v>0.99036217345127942</c:v>
                </c:pt>
                <c:pt idx="303">
                  <c:v>0.99042522559197832</c:v>
                </c:pt>
                <c:pt idx="304">
                  <c:v>0.99048762603096463</c:v>
                </c:pt>
                <c:pt idx="305">
                  <c:v>0.99060918197749293</c:v>
                </c:pt>
                <c:pt idx="306">
                  <c:v>0.99066909101514022</c:v>
                </c:pt>
                <c:pt idx="307">
                  <c:v>0.99078791796074672</c:v>
                </c:pt>
                <c:pt idx="308">
                  <c:v>0.99084651001784974</c:v>
                </c:pt>
                <c:pt idx="309">
                  <c:v>0.99096227532311876</c:v>
                </c:pt>
                <c:pt idx="310">
                  <c:v>0.99101900052635739</c:v>
                </c:pt>
                <c:pt idx="311">
                  <c:v>0.9910750943935619</c:v>
                </c:pt>
                <c:pt idx="312">
                  <c:v>0.99113103212389775</c:v>
                </c:pt>
                <c:pt idx="313">
                  <c:v>0.9912951523385336</c:v>
                </c:pt>
                <c:pt idx="314">
                  <c:v>0.99134920963788609</c:v>
                </c:pt>
                <c:pt idx="315">
                  <c:v>0.99176680108738569</c:v>
                </c:pt>
                <c:pt idx="316">
                  <c:v>0.99186641640958806</c:v>
                </c:pt>
                <c:pt idx="317">
                  <c:v>0.99191557236897665</c:v>
                </c:pt>
                <c:pt idx="318">
                  <c:v>0.9920132529517196</c:v>
                </c:pt>
                <c:pt idx="319">
                  <c:v>0.99206082717674304</c:v>
                </c:pt>
                <c:pt idx="320">
                  <c:v>0.99210835388184992</c:v>
                </c:pt>
                <c:pt idx="321">
                  <c:v>0.99215588058695681</c:v>
                </c:pt>
                <c:pt idx="322">
                  <c:v>0.99220276237891059</c:v>
                </c:pt>
                <c:pt idx="323">
                  <c:v>0.99224952197679328</c:v>
                </c:pt>
                <c:pt idx="324">
                  <c:v>0.99238761485428018</c:v>
                </c:pt>
                <c:pt idx="325">
                  <c:v>0.99247824212369562</c:v>
                </c:pt>
                <c:pt idx="326">
                  <c:v>0.99252345393001074</c:v>
                </c:pt>
                <c:pt idx="327">
                  <c:v>0.99256831951979096</c:v>
                </c:pt>
                <c:pt idx="328">
                  <c:v>0.9926128524701554</c:v>
                </c:pt>
                <c:pt idx="329">
                  <c:v>0.99265644181074841</c:v>
                </c:pt>
                <c:pt idx="330">
                  <c:v>0.9926988567305467</c:v>
                </c:pt>
                <c:pt idx="331">
                  <c:v>0.99274124449610701</c:v>
                </c:pt>
                <c:pt idx="332">
                  <c:v>0.99282565344501428</c:v>
                </c:pt>
                <c:pt idx="333">
                  <c:v>0.99290888797312682</c:v>
                </c:pt>
                <c:pt idx="334">
                  <c:v>0.99299075121221902</c:v>
                </c:pt>
                <c:pt idx="335">
                  <c:v>0.9930315436662952</c:v>
                </c:pt>
                <c:pt idx="336">
                  <c:v>0.99311247687273496</c:v>
                </c:pt>
                <c:pt idx="337">
                  <c:v>0.99315278733908618</c:v>
                </c:pt>
                <c:pt idx="338">
                  <c:v>0.99335004251267467</c:v>
                </c:pt>
                <c:pt idx="339">
                  <c:v>0.99342783261606282</c:v>
                </c:pt>
                <c:pt idx="340">
                  <c:v>0.9935038576939792</c:v>
                </c:pt>
                <c:pt idx="341">
                  <c:v>0.99354139842805167</c:v>
                </c:pt>
                <c:pt idx="342">
                  <c:v>0.99357881017949345</c:v>
                </c:pt>
                <c:pt idx="343">
                  <c:v>0.99361615404534021</c:v>
                </c:pt>
                <c:pt idx="344">
                  <c:v>0.99365336213999689</c:v>
                </c:pt>
                <c:pt idx="345">
                  <c:v>0.99372705195344291</c:v>
                </c:pt>
                <c:pt idx="346">
                  <c:v>0.99390603911339859</c:v>
                </c:pt>
                <c:pt idx="347">
                  <c:v>0.99394119706308415</c:v>
                </c:pt>
                <c:pt idx="348">
                  <c:v>0.99397634822421022</c:v>
                </c:pt>
                <c:pt idx="349">
                  <c:v>0.99401135682558661</c:v>
                </c:pt>
                <c:pt idx="350">
                  <c:v>0.99404614140449932</c:v>
                </c:pt>
                <c:pt idx="351">
                  <c:v>0.99428270912619143</c:v>
                </c:pt>
                <c:pt idx="352">
                  <c:v>0.99434855136484768</c:v>
                </c:pt>
                <c:pt idx="353">
                  <c:v>0.99447739143572678</c:v>
                </c:pt>
                <c:pt idx="354">
                  <c:v>0.99450882246624317</c:v>
                </c:pt>
                <c:pt idx="355">
                  <c:v>0.99460221946793737</c:v>
                </c:pt>
                <c:pt idx="356">
                  <c:v>0.99466425332471031</c:v>
                </c:pt>
                <c:pt idx="357">
                  <c:v>0.99481789879202709</c:v>
                </c:pt>
                <c:pt idx="358">
                  <c:v>0.99493831426055823</c:v>
                </c:pt>
                <c:pt idx="359">
                  <c:v>0.99514368855131674</c:v>
                </c:pt>
                <c:pt idx="360">
                  <c:v>0.99519972132148571</c:v>
                </c:pt>
                <c:pt idx="361">
                  <c:v>0.99528195114279128</c:v>
                </c:pt>
                <c:pt idx="362">
                  <c:v>0.99541604555872842</c:v>
                </c:pt>
                <c:pt idx="363">
                  <c:v>0.99564880489853735</c:v>
                </c:pt>
                <c:pt idx="364">
                  <c:v>0.99569943397533889</c:v>
                </c:pt>
                <c:pt idx="365">
                  <c:v>0.99572447018279986</c:v>
                </c:pt>
                <c:pt idx="366">
                  <c:v>0.99577379585617609</c:v>
                </c:pt>
                <c:pt idx="367">
                  <c:v>0.99579822788184102</c:v>
                </c:pt>
                <c:pt idx="368">
                  <c:v>0.99594286493069251</c:v>
                </c:pt>
                <c:pt idx="369">
                  <c:v>0.99601366960634818</c:v>
                </c:pt>
                <c:pt idx="370">
                  <c:v>0.99603719875359864</c:v>
                </c:pt>
                <c:pt idx="371">
                  <c:v>0.99608410769979039</c:v>
                </c:pt>
                <c:pt idx="372">
                  <c:v>0.99613064327520928</c:v>
                </c:pt>
                <c:pt idx="373">
                  <c:v>0.99622275045059727</c:v>
                </c:pt>
                <c:pt idx="374">
                  <c:v>0.99626775181156768</c:v>
                </c:pt>
                <c:pt idx="375">
                  <c:v>0.99650613207864802</c:v>
                </c:pt>
                <c:pt idx="376">
                  <c:v>0.99656821345533741</c:v>
                </c:pt>
                <c:pt idx="377">
                  <c:v>0.99660930460603192</c:v>
                </c:pt>
                <c:pt idx="378">
                  <c:v>0.99665002917451306</c:v>
                </c:pt>
                <c:pt idx="379">
                  <c:v>0.99674893848652679</c:v>
                </c:pt>
                <c:pt idx="380">
                  <c:v>0.99680702140166666</c:v>
                </c:pt>
                <c:pt idx="381">
                  <c:v>0.9968833044448443</c:v>
                </c:pt>
                <c:pt idx="382">
                  <c:v>0.99690164034407214</c:v>
                </c:pt>
                <c:pt idx="383">
                  <c:v>0.99704468208143937</c:v>
                </c:pt>
                <c:pt idx="384">
                  <c:v>0.99713083569013983</c:v>
                </c:pt>
                <c:pt idx="385">
                  <c:v>0.99724704225177674</c:v>
                </c:pt>
                <c:pt idx="386">
                  <c:v>0.9972794847776596</c:v>
                </c:pt>
                <c:pt idx="387">
                  <c:v>0.99729563476072625</c:v>
                </c:pt>
                <c:pt idx="388">
                  <c:v>0.99737557683747802</c:v>
                </c:pt>
                <c:pt idx="389">
                  <c:v>0.9975460782980502</c:v>
                </c:pt>
                <c:pt idx="390">
                  <c:v>0.99771058546057778</c:v>
                </c:pt>
                <c:pt idx="391">
                  <c:v>0.99775414764693271</c:v>
                </c:pt>
                <c:pt idx="392">
                  <c:v>0.99783981247934872</c:v>
                </c:pt>
                <c:pt idx="393">
                  <c:v>0.99810671827347652</c:v>
                </c:pt>
                <c:pt idx="394">
                  <c:v>0.99815236454760004</c:v>
                </c:pt>
                <c:pt idx="395">
                  <c:v>0.99821760939301973</c:v>
                </c:pt>
                <c:pt idx="396">
                  <c:v>0.99828998222592147</c:v>
                </c:pt>
                <c:pt idx="397">
                  <c:v>0.99837721521558354</c:v>
                </c:pt>
                <c:pt idx="398">
                  <c:v>0.99847054433168247</c:v>
                </c:pt>
                <c:pt idx="399">
                  <c:v>0.99885749222356857</c:v>
                </c:pt>
                <c:pt idx="400">
                  <c:v>0.99889651965217297</c:v>
                </c:pt>
                <c:pt idx="401">
                  <c:v>0.99890292805234737</c:v>
                </c:pt>
                <c:pt idx="402">
                  <c:v>0.99891562944718448</c:v>
                </c:pt>
                <c:pt idx="403">
                  <c:v>0.99902189755770388</c:v>
                </c:pt>
                <c:pt idx="404">
                  <c:v>0.99907112819124699</c:v>
                </c:pt>
                <c:pt idx="405">
                  <c:v>0.99914856528954077</c:v>
                </c:pt>
                <c:pt idx="406">
                  <c:v>0.99915848337498014</c:v>
                </c:pt>
                <c:pt idx="407">
                  <c:v>0.99922552718866908</c:v>
                </c:pt>
                <c:pt idx="408">
                  <c:v>0.99925298012331443</c:v>
                </c:pt>
                <c:pt idx="409">
                  <c:v>0.99929733657113162</c:v>
                </c:pt>
                <c:pt idx="410">
                  <c:v>0.99936485558398613</c:v>
                </c:pt>
                <c:pt idx="411">
                  <c:v>0.99939642917425209</c:v>
                </c:pt>
                <c:pt idx="412">
                  <c:v>0.99946352729641685</c:v>
                </c:pt>
                <c:pt idx="413">
                  <c:v>0.99947669710185993</c:v>
                </c:pt>
                <c:pt idx="414">
                  <c:v>0.99982070056630679</c:v>
                </c:pt>
                <c:pt idx="415">
                  <c:v>0.9999835852631127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Galbani</c:v>
                </c:pt>
                <c:pt idx="4">
                  <c:v>Soignon</c:v>
                </c:pt>
                <c:pt idx="5">
                  <c:v>St Moret</c:v>
                </c:pt>
                <c:pt idx="6">
                  <c:v>La Vache Qui Rit</c:v>
                </c:pt>
                <c:pt idx="7">
                  <c:v>Boursin</c:v>
                </c:pt>
                <c:pt idx="8">
                  <c:v>Kiri</c:v>
                </c:pt>
                <c:pt idx="9">
                  <c:v>Others</c:v>
                </c:pt>
              </c:strCache>
            </c:strRef>
          </c:cat>
          <c:val>
            <c:numRef>
              <c:f>Sheet1!$B$2:$B$11</c:f>
              <c:numCache>
                <c:formatCode>General</c:formatCode>
                <c:ptCount val="10"/>
                <c:pt idx="0">
                  <c:v>0.410188449106068</c:v>
                </c:pt>
                <c:pt idx="1">
                  <c:v>7.6581972543675256E-2</c:v>
                </c:pt>
                <c:pt idx="2">
                  <c:v>5.0338143553492254E-2</c:v>
                </c:pt>
                <c:pt idx="3">
                  <c:v>2.5052129503562254E-2</c:v>
                </c:pt>
                <c:pt idx="4">
                  <c:v>2.4928533065382313E-2</c:v>
                </c:pt>
                <c:pt idx="5">
                  <c:v>2.4706706186670088E-2</c:v>
                </c:pt>
                <c:pt idx="6">
                  <c:v>1.7200482043746447E-2</c:v>
                </c:pt>
                <c:pt idx="7">
                  <c:v>1.5324066306675094E-2</c:v>
                </c:pt>
                <c:pt idx="8">
                  <c:v>1.2688749732690968E-2</c:v>
                </c:pt>
                <c:pt idx="9">
                  <c:v>0.34299076795803735</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Galbani</c:v>
                </c:pt>
                <c:pt idx="4">
                  <c:v>Soignon</c:v>
                </c:pt>
                <c:pt idx="5">
                  <c:v>St Moret</c:v>
                </c:pt>
                <c:pt idx="6">
                  <c:v>La Vache Qui Rit</c:v>
                </c:pt>
                <c:pt idx="7">
                  <c:v>Boursin</c:v>
                </c:pt>
                <c:pt idx="8">
                  <c:v>Kiri</c:v>
                </c:pt>
                <c:pt idx="9">
                  <c:v>Others</c:v>
                </c:pt>
              </c:strCache>
            </c:strRef>
          </c:cat>
          <c:val>
            <c:numRef>
              <c:f>Sheet1!$C$2:$C$11</c:f>
              <c:numCache>
                <c:formatCode>General</c:formatCode>
                <c:ptCount val="10"/>
                <c:pt idx="0">
                  <c:v>0.26144999798946389</c:v>
                </c:pt>
                <c:pt idx="1">
                  <c:v>5.2743040197300306E-2</c:v>
                </c:pt>
                <c:pt idx="2">
                  <c:v>5.2407950996555083E-2</c:v>
                </c:pt>
                <c:pt idx="3">
                  <c:v>3.0332274451458863E-2</c:v>
                </c:pt>
                <c:pt idx="4">
                  <c:v>2.6994786012036306E-2</c:v>
                </c:pt>
                <c:pt idx="5">
                  <c:v>1.8161834680391856E-2</c:v>
                </c:pt>
                <c:pt idx="6">
                  <c:v>1.2411703995603585E-2</c:v>
                </c:pt>
                <c:pt idx="7">
                  <c:v>3.0653960084174293E-2</c:v>
                </c:pt>
                <c:pt idx="8">
                  <c:v>1.7196777782245574E-2</c:v>
                </c:pt>
                <c:pt idx="9">
                  <c:v>0.49764767381076663</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Galbani</c:v>
                </c:pt>
                <c:pt idx="4">
                  <c:v>Soignon</c:v>
                </c:pt>
                <c:pt idx="5">
                  <c:v>St Moret</c:v>
                </c:pt>
                <c:pt idx="6">
                  <c:v>La Vache Qui Rit</c:v>
                </c:pt>
                <c:pt idx="7">
                  <c:v>Boursin</c:v>
                </c:pt>
                <c:pt idx="8">
                  <c:v>Kiri</c:v>
                </c:pt>
                <c:pt idx="9">
                  <c:v>Others</c:v>
                </c:pt>
              </c:strCache>
            </c:strRef>
          </c:cat>
          <c:val>
            <c:numRef>
              <c:f>Sheet1!$D$2:$D$11</c:f>
              <c:numCache>
                <c:formatCode>General</c:formatCode>
                <c:ptCount val="10"/>
                <c:pt idx="0">
                  <c:v>63.738995712640659</c:v>
                </c:pt>
                <c:pt idx="1">
                  <c:v>68.871352415505584</c:v>
                </c:pt>
                <c:pt idx="2">
                  <c:v>104.11180726373695</c:v>
                </c:pt>
                <c:pt idx="3">
                  <c:v>121.07663121869862</c:v>
                </c:pt>
                <c:pt idx="4">
                  <c:v>108.28870652450607</c:v>
                </c:pt>
                <c:pt idx="5">
                  <c:v>73.509736762040092</c:v>
                </c:pt>
                <c:pt idx="6">
                  <c:v>72.159047426906795</c:v>
                </c:pt>
                <c:pt idx="7">
                  <c:v>200.03802822767457</c:v>
                </c:pt>
                <c:pt idx="8">
                  <c:v>135.52775603998427</c:v>
                </c:pt>
                <c:pt idx="9">
                  <c:v>145.09069056682321</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80</c:f>
              <c:strCache>
                <c:ptCount val="579"/>
                <c:pt idx="0">
                  <c:v>Caprice Des</c:v>
                </c:pt>
                <c:pt idx="1">
                  <c:v>Private Lab</c:v>
                </c:pt>
                <c:pt idx="2">
                  <c:v>Private Lab</c:v>
                </c:pt>
                <c:pt idx="3">
                  <c:v>Private Lab</c:v>
                </c:pt>
                <c:pt idx="4">
                  <c:v>Coeur De Li</c:v>
                </c:pt>
                <c:pt idx="5">
                  <c:v>Mini Babybe</c:v>
                </c:pt>
                <c:pt idx="6">
                  <c:v>President</c:v>
                </c:pt>
                <c:pt idx="7">
                  <c:v>Soignon</c:v>
                </c:pt>
                <c:pt idx="8">
                  <c:v>Private Lab</c:v>
                </c:pt>
                <c:pt idx="9">
                  <c:v>Private Lab</c:v>
                </c:pt>
                <c:pt idx="10">
                  <c:v>Private Lab</c:v>
                </c:pt>
                <c:pt idx="11">
                  <c:v>Caprice Des</c:v>
                </c:pt>
                <c:pt idx="12">
                  <c:v>President</c:v>
                </c:pt>
                <c:pt idx="13">
                  <c:v>La Vache Qu</c:v>
                </c:pt>
                <c:pt idx="14">
                  <c:v>Soignon</c:v>
                </c:pt>
                <c:pt idx="15">
                  <c:v>Le Rustique</c:v>
                </c:pt>
                <c:pt idx="16">
                  <c:v>Private Lab</c:v>
                </c:pt>
                <c:pt idx="17">
                  <c:v>St Moret</c:v>
                </c:pt>
                <c:pt idx="18">
                  <c:v>St Moret</c:v>
                </c:pt>
                <c:pt idx="19">
                  <c:v>President</c:v>
                </c:pt>
                <c:pt idx="20">
                  <c:v>La Vache Qu</c:v>
                </c:pt>
                <c:pt idx="21">
                  <c:v>Private Lab</c:v>
                </c:pt>
                <c:pt idx="22">
                  <c:v>Private Lab</c:v>
                </c:pt>
                <c:pt idx="23">
                  <c:v>Private Lab</c:v>
                </c:pt>
                <c:pt idx="24">
                  <c:v>St Moret</c:v>
                </c:pt>
                <c:pt idx="25">
                  <c:v>Tartare</c:v>
                </c:pt>
                <c:pt idx="26">
                  <c:v>Private Lab</c:v>
                </c:pt>
                <c:pt idx="27">
                  <c:v>Galbani</c:v>
                </c:pt>
                <c:pt idx="28">
                  <c:v>Mini Babybe</c:v>
                </c:pt>
                <c:pt idx="29">
                  <c:v>Private Lab</c:v>
                </c:pt>
                <c:pt idx="30">
                  <c:v>La Vache Qu</c:v>
                </c:pt>
                <c:pt idx="31">
                  <c:v>Coeur De Li</c:v>
                </c:pt>
                <c:pt idx="32">
                  <c:v>St Moret</c:v>
                </c:pt>
                <c:pt idx="33">
                  <c:v>Soignon</c:v>
                </c:pt>
                <c:pt idx="34">
                  <c:v>Salakis</c:v>
                </c:pt>
                <c:pt idx="35">
                  <c:v>Kiri</c:v>
                </c:pt>
                <c:pt idx="36">
                  <c:v>Private Lab</c:v>
                </c:pt>
                <c:pt idx="37">
                  <c:v>All Others</c:v>
                </c:pt>
                <c:pt idx="38">
                  <c:v>Private Lab</c:v>
                </c:pt>
                <c:pt idx="39">
                  <c:v>Private Lab</c:v>
                </c:pt>
                <c:pt idx="40">
                  <c:v>Private Lab</c:v>
                </c:pt>
                <c:pt idx="41">
                  <c:v>Kiri</c:v>
                </c:pt>
                <c:pt idx="42">
                  <c:v>Private Lab</c:v>
                </c:pt>
                <c:pt idx="43">
                  <c:v>Galbani</c:v>
                </c:pt>
                <c:pt idx="44">
                  <c:v>Private Lab</c:v>
                </c:pt>
                <c:pt idx="45">
                  <c:v>Private Lab</c:v>
                </c:pt>
                <c:pt idx="46">
                  <c:v>Private Lab</c:v>
                </c:pt>
                <c:pt idx="47">
                  <c:v>Galbani</c:v>
                </c:pt>
                <c:pt idx="48">
                  <c:v>Private Lab</c:v>
                </c:pt>
                <c:pt idx="49">
                  <c:v>Private Lab</c:v>
                </c:pt>
                <c:pt idx="50">
                  <c:v>Paysan Bret</c:v>
                </c:pt>
                <c:pt idx="51">
                  <c:v>Istara</c:v>
                </c:pt>
                <c:pt idx="52">
                  <c:v>Paysan Bret</c:v>
                </c:pt>
                <c:pt idx="53">
                  <c:v>Private Lab</c:v>
                </c:pt>
                <c:pt idx="54">
                  <c:v>Private Lab</c:v>
                </c:pt>
                <c:pt idx="55">
                  <c:v>Tartare</c:v>
                </c:pt>
                <c:pt idx="56">
                  <c:v>Ficello</c:v>
                </c:pt>
                <c:pt idx="57">
                  <c:v>Boursin</c:v>
                </c:pt>
                <c:pt idx="58">
                  <c:v>Boursin</c:v>
                </c:pt>
                <c:pt idx="59">
                  <c:v>Kiri</c:v>
                </c:pt>
                <c:pt idx="60">
                  <c:v>Lou Perac</c:v>
                </c:pt>
                <c:pt idx="61">
                  <c:v>Private Lab</c:v>
                </c:pt>
                <c:pt idx="62">
                  <c:v>President</c:v>
                </c:pt>
                <c:pt idx="63">
                  <c:v>All Others</c:v>
                </c:pt>
                <c:pt idx="64">
                  <c:v>President</c:v>
                </c:pt>
                <c:pt idx="65">
                  <c:v>Private Lab</c:v>
                </c:pt>
                <c:pt idx="66">
                  <c:v>Private Lab</c:v>
                </c:pt>
                <c:pt idx="67">
                  <c:v>St Moret</c:v>
                </c:pt>
                <c:pt idx="68">
                  <c:v>Caprice Des</c:v>
                </c:pt>
                <c:pt idx="69">
                  <c:v>Lepetit</c:v>
                </c:pt>
                <c:pt idx="70">
                  <c:v>Carre Frais</c:v>
                </c:pt>
                <c:pt idx="71">
                  <c:v>Galbani</c:v>
                </c:pt>
                <c:pt idx="72">
                  <c:v>Galbani</c:v>
                </c:pt>
                <c:pt idx="73">
                  <c:v>Kiri</c:v>
                </c:pt>
                <c:pt idx="74">
                  <c:v>Islos</c:v>
                </c:pt>
                <c:pt idx="75">
                  <c:v>Boursin</c:v>
                </c:pt>
                <c:pt idx="76">
                  <c:v>Coeur De Li</c:v>
                </c:pt>
                <c:pt idx="77">
                  <c:v>Private Lab</c:v>
                </c:pt>
                <c:pt idx="78">
                  <c:v>Salakis</c:v>
                </c:pt>
                <c:pt idx="79">
                  <c:v>Carre Frais</c:v>
                </c:pt>
                <c:pt idx="80">
                  <c:v>Private Lab</c:v>
                </c:pt>
                <c:pt idx="81">
                  <c:v>Philadelphi</c:v>
                </c:pt>
                <c:pt idx="82">
                  <c:v>Soignon</c:v>
                </c:pt>
                <c:pt idx="83">
                  <c:v>Private Lab</c:v>
                </c:pt>
                <c:pt idx="84">
                  <c:v>Coeur De Li</c:v>
                </c:pt>
                <c:pt idx="85">
                  <c:v>Coeur De Li</c:v>
                </c:pt>
                <c:pt idx="86">
                  <c:v>President</c:v>
                </c:pt>
                <c:pt idx="87">
                  <c:v>Galbani</c:v>
                </c:pt>
                <c:pt idx="88">
                  <c:v>St Moret</c:v>
                </c:pt>
                <c:pt idx="89">
                  <c:v>President</c:v>
                </c:pt>
                <c:pt idx="90">
                  <c:v>Private Lab</c:v>
                </c:pt>
                <c:pt idx="91">
                  <c:v>Mini Babybe</c:v>
                </c:pt>
                <c:pt idx="92">
                  <c:v>Kiri</c:v>
                </c:pt>
                <c:pt idx="93">
                  <c:v>Le Rustique</c:v>
                </c:pt>
                <c:pt idx="94">
                  <c:v>Istara</c:v>
                </c:pt>
                <c:pt idx="95">
                  <c:v>President</c:v>
                </c:pt>
                <c:pt idx="96">
                  <c:v>Petit Billy</c:v>
                </c:pt>
                <c:pt idx="97">
                  <c:v>Private Lab</c:v>
                </c:pt>
                <c:pt idx="98">
                  <c:v>Private Lab</c:v>
                </c:pt>
                <c:pt idx="99">
                  <c:v>Private Lab</c:v>
                </c:pt>
                <c:pt idx="100">
                  <c:v>All Others</c:v>
                </c:pt>
                <c:pt idx="101">
                  <c:v>President</c:v>
                </c:pt>
                <c:pt idx="102">
                  <c:v>Private Lab</c:v>
                </c:pt>
                <c:pt idx="103">
                  <c:v>Ficello</c:v>
                </c:pt>
                <c:pt idx="104">
                  <c:v>Soignon</c:v>
                </c:pt>
                <c:pt idx="105">
                  <c:v>Private Lab</c:v>
                </c:pt>
                <c:pt idx="106">
                  <c:v>Etorki</c:v>
                </c:pt>
                <c:pt idx="107">
                  <c:v>Philadelphi</c:v>
                </c:pt>
                <c:pt idx="108">
                  <c:v>Private Lab</c:v>
                </c:pt>
                <c:pt idx="109">
                  <c:v>Soignon</c:v>
                </c:pt>
                <c:pt idx="110">
                  <c:v>Private Lab</c:v>
                </c:pt>
                <c:pt idx="111">
                  <c:v>Private Lab</c:v>
                </c:pt>
                <c:pt idx="112">
                  <c:v>All Others</c:v>
                </c:pt>
                <c:pt idx="113">
                  <c:v>All Others</c:v>
                </c:pt>
                <c:pt idx="114">
                  <c:v>St Moret</c:v>
                </c:pt>
                <c:pt idx="115">
                  <c:v>Lactalis: A</c:v>
                </c:pt>
                <c:pt idx="116">
                  <c:v>Tartare</c:v>
                </c:pt>
                <c:pt idx="117">
                  <c:v>Caprice Des</c:v>
                </c:pt>
                <c:pt idx="118">
                  <c:v>Coeur De Li</c:v>
                </c:pt>
                <c:pt idx="119">
                  <c:v>Casa Azzurr</c:v>
                </c:pt>
                <c:pt idx="120">
                  <c:v>All Others</c:v>
                </c:pt>
                <c:pt idx="121">
                  <c:v>La Vache Qu</c:v>
                </c:pt>
                <c:pt idx="122">
                  <c:v>Soignon</c:v>
                </c:pt>
                <c:pt idx="123">
                  <c:v>La Vache Qu</c:v>
                </c:pt>
                <c:pt idx="124">
                  <c:v>P'Tit Louis</c:v>
                </c:pt>
                <c:pt idx="125">
                  <c:v>All Others</c:v>
                </c:pt>
                <c:pt idx="126">
                  <c:v>Casa Azzurr</c:v>
                </c:pt>
                <c:pt idx="127">
                  <c:v>Ficello</c:v>
                </c:pt>
                <c:pt idx="128">
                  <c:v>All Others</c:v>
                </c:pt>
                <c:pt idx="129">
                  <c:v>Private Lab</c:v>
                </c:pt>
                <c:pt idx="130">
                  <c:v>Soignon</c:v>
                </c:pt>
                <c:pt idx="131">
                  <c:v>Chavroux</c:v>
                </c:pt>
                <c:pt idx="132">
                  <c:v>Private Lab</c:v>
                </c:pt>
                <c:pt idx="133">
                  <c:v>Paysan Bret</c:v>
                </c:pt>
                <c:pt idx="134">
                  <c:v>President</c:v>
                </c:pt>
                <c:pt idx="135">
                  <c:v>President</c:v>
                </c:pt>
                <c:pt idx="136">
                  <c:v>Lactalis: A</c:v>
                </c:pt>
                <c:pt idx="137">
                  <c:v>Boursin</c:v>
                </c:pt>
                <c:pt idx="138">
                  <c:v>Le Brebiou</c:v>
                </c:pt>
                <c:pt idx="139">
                  <c:v>Boursin</c:v>
                </c:pt>
                <c:pt idx="140">
                  <c:v>Galbani</c:v>
                </c:pt>
                <c:pt idx="141">
                  <c:v>Soignon</c:v>
                </c:pt>
                <c:pt idx="142">
                  <c:v>Boursin</c:v>
                </c:pt>
                <c:pt idx="143">
                  <c:v>Salakis</c:v>
                </c:pt>
                <c:pt idx="144">
                  <c:v>Private Lab</c:v>
                </c:pt>
                <c:pt idx="145">
                  <c:v>Casa Azzurr</c:v>
                </c:pt>
                <c:pt idx="146">
                  <c:v>Private Lab</c:v>
                </c:pt>
                <c:pt idx="147">
                  <c:v>President</c:v>
                </c:pt>
                <c:pt idx="148">
                  <c:v>Le Rustique</c:v>
                </c:pt>
                <c:pt idx="149">
                  <c:v>Boursin</c:v>
                </c:pt>
                <c:pt idx="150">
                  <c:v>Private Lab</c:v>
                </c:pt>
                <c:pt idx="151">
                  <c:v>Paysan Bret</c:v>
                </c:pt>
                <c:pt idx="152">
                  <c:v>All Others</c:v>
                </c:pt>
                <c:pt idx="153">
                  <c:v>Soignon</c:v>
                </c:pt>
                <c:pt idx="154">
                  <c:v>Private Lab</c:v>
                </c:pt>
                <c:pt idx="155">
                  <c:v>Private Lab</c:v>
                </c:pt>
                <c:pt idx="156">
                  <c:v>Paysan Bret</c:v>
                </c:pt>
                <c:pt idx="157">
                  <c:v>Casa Azzurr</c:v>
                </c:pt>
                <c:pt idx="158">
                  <c:v>Private Lab</c:v>
                </c:pt>
                <c:pt idx="159">
                  <c:v>All Others</c:v>
                </c:pt>
                <c:pt idx="160">
                  <c:v>Salakis</c:v>
                </c:pt>
                <c:pt idx="161">
                  <c:v>Casa Azzurr</c:v>
                </c:pt>
                <c:pt idx="162">
                  <c:v>Les Mousque</c:v>
                </c:pt>
                <c:pt idx="163">
                  <c:v>Private Lab</c:v>
                </c:pt>
                <c:pt idx="164">
                  <c:v>La Vache Qu</c:v>
                </c:pt>
                <c:pt idx="165">
                  <c:v>Carre Frais</c:v>
                </c:pt>
                <c:pt idx="166">
                  <c:v>Soignon</c:v>
                </c:pt>
                <c:pt idx="167">
                  <c:v>Paysan Bret</c:v>
                </c:pt>
                <c:pt idx="168">
                  <c:v>Lou Perac</c:v>
                </c:pt>
                <c:pt idx="169">
                  <c:v>Tartare</c:v>
                </c:pt>
                <c:pt idx="170">
                  <c:v>Boursin</c:v>
                </c:pt>
                <c:pt idx="171">
                  <c:v>Pave D'Affi</c:v>
                </c:pt>
                <c:pt idx="172">
                  <c:v>Chavroux</c:v>
                </c:pt>
                <c:pt idx="173">
                  <c:v>Lactalis: A</c:v>
                </c:pt>
                <c:pt idx="174">
                  <c:v>Galbani</c:v>
                </c:pt>
                <c:pt idx="175">
                  <c:v>Private Lab</c:v>
                </c:pt>
                <c:pt idx="176">
                  <c:v>All Others</c:v>
                </c:pt>
                <c:pt idx="177">
                  <c:v>All Others</c:v>
                </c:pt>
                <c:pt idx="178">
                  <c:v>Private Lab</c:v>
                </c:pt>
                <c:pt idx="179">
                  <c:v>Caprice Des</c:v>
                </c:pt>
                <c:pt idx="180">
                  <c:v>All Others</c:v>
                </c:pt>
                <c:pt idx="181">
                  <c:v>Boursin</c:v>
                </c:pt>
                <c:pt idx="182">
                  <c:v>Private Lab</c:v>
                </c:pt>
                <c:pt idx="183">
                  <c:v>Private Lab</c:v>
                </c:pt>
                <c:pt idx="184">
                  <c:v>Paysan Bret</c:v>
                </c:pt>
                <c:pt idx="185">
                  <c:v>All Others</c:v>
                </c:pt>
                <c:pt idx="186">
                  <c:v>Boursin</c:v>
                </c:pt>
                <c:pt idx="187">
                  <c:v>Casa Azzurr</c:v>
                </c:pt>
                <c:pt idx="188">
                  <c:v>Mini Babybe</c:v>
                </c:pt>
                <c:pt idx="189">
                  <c:v>Private Lab</c:v>
                </c:pt>
                <c:pt idx="190">
                  <c:v>Private Lab</c:v>
                </c:pt>
                <c:pt idx="191">
                  <c:v>Tartare</c:v>
                </c:pt>
                <c:pt idx="192">
                  <c:v>Les Mousque</c:v>
                </c:pt>
                <c:pt idx="193">
                  <c:v>Mini Babybe</c:v>
                </c:pt>
                <c:pt idx="194">
                  <c:v>Salakis</c:v>
                </c:pt>
                <c:pt idx="195">
                  <c:v>Etorki</c:v>
                </c:pt>
                <c:pt idx="196">
                  <c:v>Galbani</c:v>
                </c:pt>
                <c:pt idx="197">
                  <c:v>Private Lab</c:v>
                </c:pt>
                <c:pt idx="198">
                  <c:v>Lou Perac</c:v>
                </c:pt>
                <c:pt idx="199">
                  <c:v>Savencia: A</c:v>
                </c:pt>
                <c:pt idx="200">
                  <c:v>Saint Agur</c:v>
                </c:pt>
                <c:pt idx="201">
                  <c:v>Private Lab</c:v>
                </c:pt>
                <c:pt idx="202">
                  <c:v>Salakis</c:v>
                </c:pt>
                <c:pt idx="203">
                  <c:v>Kiri</c:v>
                </c:pt>
                <c:pt idx="204">
                  <c:v>Caprice Des</c:v>
                </c:pt>
                <c:pt idx="205">
                  <c:v>Private Lab</c:v>
                </c:pt>
                <c:pt idx="206">
                  <c:v>Casa Azzurr</c:v>
                </c:pt>
                <c:pt idx="207">
                  <c:v>Caprice Des</c:v>
                </c:pt>
                <c:pt idx="208">
                  <c:v>Boursin</c:v>
                </c:pt>
                <c:pt idx="209">
                  <c:v>La Vache Qu</c:v>
                </c:pt>
                <c:pt idx="210">
                  <c:v>Tartare</c:v>
                </c:pt>
                <c:pt idx="211">
                  <c:v>St Moret</c:v>
                </c:pt>
                <c:pt idx="212">
                  <c:v>Paysan Bret</c:v>
                </c:pt>
                <c:pt idx="213">
                  <c:v>Tartare</c:v>
                </c:pt>
                <c:pt idx="214">
                  <c:v>Le Rustique</c:v>
                </c:pt>
                <c:pt idx="215">
                  <c:v>Private Lab</c:v>
                </c:pt>
                <c:pt idx="216">
                  <c:v>Soignon</c:v>
                </c:pt>
                <c:pt idx="217">
                  <c:v>St Moret</c:v>
                </c:pt>
                <c:pt idx="218">
                  <c:v>Istara</c:v>
                </c:pt>
                <c:pt idx="219">
                  <c:v>Private Lab</c:v>
                </c:pt>
                <c:pt idx="220">
                  <c:v>All Others</c:v>
                </c:pt>
                <c:pt idx="221">
                  <c:v>Kiri</c:v>
                </c:pt>
                <c:pt idx="222">
                  <c:v>Private Lab</c:v>
                </c:pt>
                <c:pt idx="223">
                  <c:v>All Others</c:v>
                </c:pt>
                <c:pt idx="224">
                  <c:v>Soignon</c:v>
                </c:pt>
                <c:pt idx="225">
                  <c:v>Soignon</c:v>
                </c:pt>
                <c:pt idx="226">
                  <c:v>All Others</c:v>
                </c:pt>
                <c:pt idx="227">
                  <c:v>Kiri</c:v>
                </c:pt>
                <c:pt idx="228">
                  <c:v>All Others</c:v>
                </c:pt>
                <c:pt idx="229">
                  <c:v>Galbani</c:v>
                </c:pt>
                <c:pt idx="230">
                  <c:v>Paysan Bret</c:v>
                </c:pt>
                <c:pt idx="231">
                  <c:v>Mini Babybe</c:v>
                </c:pt>
                <c:pt idx="232">
                  <c:v>All Others</c:v>
                </c:pt>
                <c:pt idx="233">
                  <c:v>Soignon</c:v>
                </c:pt>
                <c:pt idx="234">
                  <c:v>Private Lab</c:v>
                </c:pt>
                <c:pt idx="235">
                  <c:v>All Others</c:v>
                </c:pt>
                <c:pt idx="236">
                  <c:v>Private Lab</c:v>
                </c:pt>
                <c:pt idx="237">
                  <c:v>All Others</c:v>
                </c:pt>
                <c:pt idx="238">
                  <c:v>All Others</c:v>
                </c:pt>
                <c:pt idx="239">
                  <c:v>Casa Azzurr</c:v>
                </c:pt>
                <c:pt idx="240">
                  <c:v>Islos</c:v>
                </c:pt>
                <c:pt idx="241">
                  <c:v>Corsica</c:v>
                </c:pt>
                <c:pt idx="242">
                  <c:v>Les Mousque</c:v>
                </c:pt>
                <c:pt idx="243">
                  <c:v>Soignon</c:v>
                </c:pt>
                <c:pt idx="244">
                  <c:v>Boursin</c:v>
                </c:pt>
                <c:pt idx="245">
                  <c:v>Mini Babybe</c:v>
                </c:pt>
                <c:pt idx="246">
                  <c:v>Casa Azzurr</c:v>
                </c:pt>
                <c:pt idx="247">
                  <c:v>All Others</c:v>
                </c:pt>
                <c:pt idx="248">
                  <c:v>Kiri</c:v>
                </c:pt>
                <c:pt idx="249">
                  <c:v>Kiri</c:v>
                </c:pt>
                <c:pt idx="250">
                  <c:v>Milleret: A</c:v>
                </c:pt>
                <c:pt idx="251">
                  <c:v>Paysan Bret</c:v>
                </c:pt>
                <c:pt idx="252">
                  <c:v>All Others</c:v>
                </c:pt>
                <c:pt idx="253">
                  <c:v>All Others</c:v>
                </c:pt>
                <c:pt idx="254">
                  <c:v>P'Tit Louis</c:v>
                </c:pt>
                <c:pt idx="255">
                  <c:v>Etoile Du Q</c:v>
                </c:pt>
                <c:pt idx="256">
                  <c:v>Galbani</c:v>
                </c:pt>
                <c:pt idx="257">
                  <c:v>Salakis</c:v>
                </c:pt>
                <c:pt idx="258">
                  <c:v>Mini Babybe</c:v>
                </c:pt>
                <c:pt idx="259">
                  <c:v>All Others</c:v>
                </c:pt>
                <c:pt idx="260">
                  <c:v>All Others</c:v>
                </c:pt>
                <c:pt idx="261">
                  <c:v>Lactalis: A</c:v>
                </c:pt>
                <c:pt idx="262">
                  <c:v>Triballat N</c:v>
                </c:pt>
                <c:pt idx="263">
                  <c:v>Le Brebiou</c:v>
                </c:pt>
                <c:pt idx="264">
                  <c:v>Galbani</c:v>
                </c:pt>
                <c:pt idx="265">
                  <c:v>Caprice Des</c:v>
                </c:pt>
                <c:pt idx="266">
                  <c:v>All Others</c:v>
                </c:pt>
                <c:pt idx="267">
                  <c:v>Boursin</c:v>
                </c:pt>
                <c:pt idx="268">
                  <c:v>All Others</c:v>
                </c:pt>
                <c:pt idx="269">
                  <c:v>All Others</c:v>
                </c:pt>
                <c:pt idx="270">
                  <c:v>Etorki</c:v>
                </c:pt>
                <c:pt idx="271">
                  <c:v>Galbani</c:v>
                </c:pt>
                <c:pt idx="272">
                  <c:v>Saint Agur</c:v>
                </c:pt>
                <c:pt idx="273">
                  <c:v>Paysan Bret</c:v>
                </c:pt>
                <c:pt idx="274">
                  <c:v>Islos</c:v>
                </c:pt>
                <c:pt idx="275">
                  <c:v>All Others</c:v>
                </c:pt>
                <c:pt idx="276">
                  <c:v>Salakis</c:v>
                </c:pt>
                <c:pt idx="277">
                  <c:v>Carre Frais</c:v>
                </c:pt>
                <c:pt idx="278">
                  <c:v>Milleret: A</c:v>
                </c:pt>
                <c:pt idx="279">
                  <c:v>Istara</c:v>
                </c:pt>
                <c:pt idx="280">
                  <c:v>All Others</c:v>
                </c:pt>
                <c:pt idx="281">
                  <c:v>Galbani</c:v>
                </c:pt>
                <c:pt idx="282">
                  <c:v>Private Lab</c:v>
                </c:pt>
                <c:pt idx="283">
                  <c:v>Triballat N</c:v>
                </c:pt>
                <c:pt idx="284">
                  <c:v>All Others</c:v>
                </c:pt>
                <c:pt idx="285">
                  <c:v>All Others</c:v>
                </c:pt>
                <c:pt idx="286">
                  <c:v>Chavroux</c:v>
                </c:pt>
                <c:pt idx="287">
                  <c:v>Triballat N</c:v>
                </c:pt>
                <c:pt idx="288">
                  <c:v>All Others</c:v>
                </c:pt>
                <c:pt idx="289">
                  <c:v>Boursin</c:v>
                </c:pt>
                <c:pt idx="290">
                  <c:v>All Others</c:v>
                </c:pt>
                <c:pt idx="291">
                  <c:v>Lactalis: A</c:v>
                </c:pt>
                <c:pt idx="292">
                  <c:v>All Others</c:v>
                </c:pt>
                <c:pt idx="293">
                  <c:v>All Others</c:v>
                </c:pt>
                <c:pt idx="294">
                  <c:v>All Others</c:v>
                </c:pt>
                <c:pt idx="295">
                  <c:v>Lactalis: A</c:v>
                </c:pt>
                <c:pt idx="296">
                  <c:v>All Others</c:v>
                </c:pt>
                <c:pt idx="297">
                  <c:v>All Others</c:v>
                </c:pt>
                <c:pt idx="298">
                  <c:v>Boursin</c:v>
                </c:pt>
                <c:pt idx="299">
                  <c:v>All Others</c:v>
                </c:pt>
                <c:pt idx="300">
                  <c:v>All Others</c:v>
                </c:pt>
                <c:pt idx="301">
                  <c:v>All Others</c:v>
                </c:pt>
                <c:pt idx="302">
                  <c:v>All Others</c:v>
                </c:pt>
                <c:pt idx="303">
                  <c:v>Triballat N</c:v>
                </c:pt>
                <c:pt idx="304">
                  <c:v>Tartare</c:v>
                </c:pt>
                <c:pt idx="305">
                  <c:v>All Others</c:v>
                </c:pt>
                <c:pt idx="306">
                  <c:v>Boursin</c:v>
                </c:pt>
                <c:pt idx="307">
                  <c:v>Les Mousque</c:v>
                </c:pt>
                <c:pt idx="308">
                  <c:v>All Others</c:v>
                </c:pt>
                <c:pt idx="309">
                  <c:v>Mini Babybe</c:v>
                </c:pt>
                <c:pt idx="310">
                  <c:v>All Others</c:v>
                </c:pt>
                <c:pt idx="311">
                  <c:v>All Others</c:v>
                </c:pt>
                <c:pt idx="312">
                  <c:v>All Others</c:v>
                </c:pt>
                <c:pt idx="313">
                  <c:v>All Others</c:v>
                </c:pt>
                <c:pt idx="314">
                  <c:v>Chavroux</c:v>
                </c:pt>
                <c:pt idx="315">
                  <c:v>All Others</c:v>
                </c:pt>
                <c:pt idx="316">
                  <c:v>Soignon</c:v>
                </c:pt>
                <c:pt idx="317">
                  <c:v>All Others</c:v>
                </c:pt>
                <c:pt idx="318">
                  <c:v>All Others</c:v>
                </c:pt>
                <c:pt idx="319">
                  <c:v>All Others</c:v>
                </c:pt>
                <c:pt idx="320">
                  <c:v>All Others</c:v>
                </c:pt>
                <c:pt idx="321">
                  <c:v>All Others</c:v>
                </c:pt>
                <c:pt idx="322">
                  <c:v>All Others</c:v>
                </c:pt>
                <c:pt idx="323">
                  <c:v>All Others</c:v>
                </c:pt>
                <c:pt idx="324">
                  <c:v>All Others</c:v>
                </c:pt>
                <c:pt idx="325">
                  <c:v>All Others</c:v>
                </c:pt>
                <c:pt idx="326">
                  <c:v>All Others</c:v>
                </c:pt>
                <c:pt idx="327">
                  <c:v>Boursin</c:v>
                </c:pt>
                <c:pt idx="328">
                  <c:v>All Others</c:v>
                </c:pt>
                <c:pt idx="329">
                  <c:v>All Others</c:v>
                </c:pt>
                <c:pt idx="330">
                  <c:v>Chavroux</c:v>
                </c:pt>
                <c:pt idx="331">
                  <c:v>Salakis</c:v>
                </c:pt>
                <c:pt idx="332">
                  <c:v>All Others</c:v>
                </c:pt>
                <c:pt idx="333">
                  <c:v>All Others</c:v>
                </c:pt>
                <c:pt idx="334">
                  <c:v>Boursin</c:v>
                </c:pt>
                <c:pt idx="335">
                  <c:v>All Others</c:v>
                </c:pt>
                <c:pt idx="336">
                  <c:v>All Others</c:v>
                </c:pt>
                <c:pt idx="337">
                  <c:v>All Others</c:v>
                </c:pt>
                <c:pt idx="338">
                  <c:v>All Others</c:v>
                </c:pt>
                <c:pt idx="339">
                  <c:v>All Others</c:v>
                </c:pt>
                <c:pt idx="340">
                  <c:v>All Others</c:v>
                </c:pt>
                <c:pt idx="341">
                  <c:v>Etoile Du V</c:v>
                </c:pt>
                <c:pt idx="342">
                  <c:v>President</c:v>
                </c:pt>
                <c:pt idx="343">
                  <c:v>All Others</c:v>
                </c:pt>
                <c:pt idx="344">
                  <c:v>All Others</c:v>
                </c:pt>
                <c:pt idx="345">
                  <c:v>All Others</c:v>
                </c:pt>
                <c:pt idx="346">
                  <c:v>All Others</c:v>
                </c:pt>
                <c:pt idx="347">
                  <c:v>All Others</c:v>
                </c:pt>
                <c:pt idx="348">
                  <c:v>All Others</c:v>
                </c:pt>
                <c:pt idx="349">
                  <c:v>All Others</c:v>
                </c:pt>
                <c:pt idx="350">
                  <c:v>All Others</c:v>
                </c:pt>
                <c:pt idx="351">
                  <c:v>Chavroux</c:v>
                </c:pt>
                <c:pt idx="352">
                  <c:v>All Others</c:v>
                </c:pt>
                <c:pt idx="353">
                  <c:v>All Others</c:v>
                </c:pt>
                <c:pt idx="354">
                  <c:v>All Others</c:v>
                </c:pt>
                <c:pt idx="355">
                  <c:v>Salakis</c:v>
                </c:pt>
                <c:pt idx="356">
                  <c:v>All Others</c:v>
                </c:pt>
                <c:pt idx="357">
                  <c:v>All Others</c:v>
                </c:pt>
                <c:pt idx="358">
                  <c:v>All Others</c:v>
                </c:pt>
                <c:pt idx="359">
                  <c:v>All Others</c:v>
                </c:pt>
                <c:pt idx="360">
                  <c:v>Entremont</c:v>
                </c:pt>
                <c:pt idx="361">
                  <c:v>Petit Billy</c:v>
                </c:pt>
                <c:pt idx="362">
                  <c:v>All Others</c:v>
                </c:pt>
                <c:pt idx="363">
                  <c:v>La Vache Qu</c:v>
                </c:pt>
                <c:pt idx="364">
                  <c:v>Private Lab</c:v>
                </c:pt>
                <c:pt idx="365">
                  <c:v>Lactalis: A</c:v>
                </c:pt>
                <c:pt idx="366">
                  <c:v>Chavroux</c:v>
                </c:pt>
                <c:pt idx="367">
                  <c:v>All Others</c:v>
                </c:pt>
                <c:pt idx="368">
                  <c:v>Entremont</c:v>
                </c:pt>
                <c:pt idx="369">
                  <c:v>All Others</c:v>
                </c:pt>
                <c:pt idx="370">
                  <c:v>All Others</c:v>
                </c:pt>
                <c:pt idx="371">
                  <c:v>All Others</c:v>
                </c:pt>
                <c:pt idx="372">
                  <c:v>All Others</c:v>
                </c:pt>
                <c:pt idx="373">
                  <c:v>Private Lab</c:v>
                </c:pt>
                <c:pt idx="374">
                  <c:v>All Others</c:v>
                </c:pt>
                <c:pt idx="375">
                  <c:v>All Others</c:v>
                </c:pt>
                <c:pt idx="376">
                  <c:v>Mini Babybe</c:v>
                </c:pt>
                <c:pt idx="377">
                  <c:v>All Others</c:v>
                </c:pt>
                <c:pt idx="378">
                  <c:v>All Others</c:v>
                </c:pt>
                <c:pt idx="379">
                  <c:v>All Others</c:v>
                </c:pt>
                <c:pt idx="380">
                  <c:v>All Others</c:v>
                </c:pt>
                <c:pt idx="381">
                  <c:v>All Others</c:v>
                </c:pt>
                <c:pt idx="382">
                  <c:v>All Others</c:v>
                </c:pt>
                <c:pt idx="383">
                  <c:v>All Others</c:v>
                </c:pt>
                <c:pt idx="384">
                  <c:v>All Others</c:v>
                </c:pt>
                <c:pt idx="385">
                  <c:v>All Others</c:v>
                </c:pt>
                <c:pt idx="386">
                  <c:v>All Others</c:v>
                </c:pt>
                <c:pt idx="387">
                  <c:v>All Others</c:v>
                </c:pt>
                <c:pt idx="388">
                  <c:v>All Others</c:v>
                </c:pt>
                <c:pt idx="389">
                  <c:v>All Others</c:v>
                </c:pt>
                <c:pt idx="390">
                  <c:v>All Others</c:v>
                </c:pt>
                <c:pt idx="391">
                  <c:v>Corsica</c:v>
                </c:pt>
                <c:pt idx="392">
                  <c:v>All Others</c:v>
                </c:pt>
                <c:pt idx="393">
                  <c:v>All Others</c:v>
                </c:pt>
                <c:pt idx="394">
                  <c:v>All Others</c:v>
                </c:pt>
                <c:pt idx="395">
                  <c:v>All Others</c:v>
                </c:pt>
                <c:pt idx="396">
                  <c:v>All Others</c:v>
                </c:pt>
                <c:pt idx="397">
                  <c:v>All Others</c:v>
                </c:pt>
                <c:pt idx="398">
                  <c:v>All Others</c:v>
                </c:pt>
                <c:pt idx="399">
                  <c:v>All Others</c:v>
                </c:pt>
                <c:pt idx="400">
                  <c:v>All Others</c:v>
                </c:pt>
                <c:pt idx="401">
                  <c:v>All Others</c:v>
                </c:pt>
                <c:pt idx="402">
                  <c:v>Mini Babybe</c:v>
                </c:pt>
                <c:pt idx="403">
                  <c:v>All Others</c:v>
                </c:pt>
                <c:pt idx="404">
                  <c:v>All Others</c:v>
                </c:pt>
                <c:pt idx="405">
                  <c:v>All Others</c:v>
                </c:pt>
                <c:pt idx="406">
                  <c:v>All Others</c:v>
                </c:pt>
                <c:pt idx="407">
                  <c:v>All Others</c:v>
                </c:pt>
                <c:pt idx="408">
                  <c:v>Entremont</c:v>
                </c:pt>
                <c:pt idx="409">
                  <c:v>Kiri</c:v>
                </c:pt>
                <c:pt idx="410">
                  <c:v>All Others</c:v>
                </c:pt>
                <c:pt idx="411">
                  <c:v>All Others</c:v>
                </c:pt>
                <c:pt idx="412">
                  <c:v>All Others</c:v>
                </c:pt>
                <c:pt idx="413">
                  <c:v>All Others</c:v>
                </c:pt>
                <c:pt idx="414">
                  <c:v>All Others</c:v>
                </c:pt>
                <c:pt idx="415">
                  <c:v>Savencia: A</c:v>
                </c:pt>
                <c:pt idx="416">
                  <c:v>All Others</c:v>
                </c:pt>
                <c:pt idx="417">
                  <c:v>All Others</c:v>
                </c:pt>
                <c:pt idx="418">
                  <c:v>All Others</c:v>
                </c:pt>
                <c:pt idx="419">
                  <c:v>All Others</c:v>
                </c:pt>
                <c:pt idx="420">
                  <c:v>All Others</c:v>
                </c:pt>
                <c:pt idx="421">
                  <c:v>Casa Azzurr</c:v>
                </c:pt>
                <c:pt idx="422">
                  <c:v>All Others</c:v>
                </c:pt>
                <c:pt idx="423">
                  <c:v>All Others</c:v>
                </c:pt>
                <c:pt idx="424">
                  <c:v>All Others</c:v>
                </c:pt>
                <c:pt idx="425">
                  <c:v>All Others</c:v>
                </c:pt>
                <c:pt idx="426">
                  <c:v>All Others</c:v>
                </c:pt>
                <c:pt idx="427">
                  <c:v>Savencia: A</c:v>
                </c:pt>
                <c:pt idx="428">
                  <c:v>All Others</c:v>
                </c:pt>
                <c:pt idx="429">
                  <c:v>All Others</c:v>
                </c:pt>
                <c:pt idx="430">
                  <c:v>All Others</c:v>
                </c:pt>
                <c:pt idx="431">
                  <c:v>All Others</c:v>
                </c:pt>
                <c:pt idx="432">
                  <c:v>All Others</c:v>
                </c:pt>
                <c:pt idx="433">
                  <c:v>All Others</c:v>
                </c:pt>
                <c:pt idx="434">
                  <c:v>All Others</c:v>
                </c:pt>
                <c:pt idx="435">
                  <c:v>All Others</c:v>
                </c:pt>
                <c:pt idx="436">
                  <c:v>All Others</c:v>
                </c:pt>
                <c:pt idx="437">
                  <c:v>All Others</c:v>
                </c:pt>
                <c:pt idx="438">
                  <c:v>All Others</c:v>
                </c:pt>
                <c:pt idx="439">
                  <c:v>All Others</c:v>
                </c:pt>
                <c:pt idx="440">
                  <c:v>All Others</c:v>
                </c:pt>
                <c:pt idx="441">
                  <c:v>All Others</c:v>
                </c:pt>
                <c:pt idx="442">
                  <c:v>All Others</c:v>
                </c:pt>
                <c:pt idx="443">
                  <c:v>All Others</c:v>
                </c:pt>
                <c:pt idx="444">
                  <c:v>All Others</c:v>
                </c:pt>
                <c:pt idx="445">
                  <c:v>All Others</c:v>
                </c:pt>
                <c:pt idx="446">
                  <c:v>All Others</c:v>
                </c:pt>
                <c:pt idx="447">
                  <c:v>All Others</c:v>
                </c:pt>
                <c:pt idx="448">
                  <c:v>All Others</c:v>
                </c:pt>
                <c:pt idx="449">
                  <c:v>All Others</c:v>
                </c:pt>
                <c:pt idx="450">
                  <c:v>Paysan Bret</c:v>
                </c:pt>
                <c:pt idx="451">
                  <c:v>All Others</c:v>
                </c:pt>
                <c:pt idx="452">
                  <c:v>All Others</c:v>
                </c:pt>
                <c:pt idx="453">
                  <c:v>All Others</c:v>
                </c:pt>
                <c:pt idx="454">
                  <c:v>All Others</c:v>
                </c:pt>
                <c:pt idx="455">
                  <c:v>All Others</c:v>
                </c:pt>
                <c:pt idx="456">
                  <c:v>La Table M</c:v>
                </c:pt>
                <c:pt idx="457">
                  <c:v>All Others</c:v>
                </c:pt>
                <c:pt idx="458">
                  <c:v>All Others</c:v>
                </c:pt>
                <c:pt idx="459">
                  <c:v>All Others</c:v>
                </c:pt>
                <c:pt idx="460">
                  <c:v>All Others</c:v>
                </c:pt>
                <c:pt idx="461">
                  <c:v>All Others</c:v>
                </c:pt>
                <c:pt idx="462">
                  <c:v>All Others</c:v>
                </c:pt>
                <c:pt idx="463">
                  <c:v>All Others</c:v>
                </c:pt>
                <c:pt idx="464">
                  <c:v>All Others</c:v>
                </c:pt>
                <c:pt idx="465">
                  <c:v>All Others</c:v>
                </c:pt>
                <c:pt idx="466">
                  <c:v>All Others</c:v>
                </c:pt>
                <c:pt idx="467">
                  <c:v>All Others</c:v>
                </c:pt>
                <c:pt idx="468">
                  <c:v>All Others</c:v>
                </c:pt>
                <c:pt idx="469">
                  <c:v>All Others</c:v>
                </c:pt>
                <c:pt idx="470">
                  <c:v>All Others</c:v>
                </c:pt>
                <c:pt idx="471">
                  <c:v>All Others</c:v>
                </c:pt>
                <c:pt idx="472">
                  <c:v>All Others</c:v>
                </c:pt>
                <c:pt idx="473">
                  <c:v>All Others</c:v>
                </c:pt>
                <c:pt idx="474">
                  <c:v>All Others</c:v>
                </c:pt>
                <c:pt idx="475">
                  <c:v>Etoile Du V</c:v>
                </c:pt>
                <c:pt idx="476">
                  <c:v>All Others</c:v>
                </c:pt>
                <c:pt idx="477">
                  <c:v>All Others</c:v>
                </c:pt>
                <c:pt idx="478">
                  <c:v>All Others</c:v>
                </c:pt>
                <c:pt idx="479">
                  <c:v>All Others</c:v>
                </c:pt>
                <c:pt idx="480">
                  <c:v>All Others</c:v>
                </c:pt>
                <c:pt idx="481">
                  <c:v>All Others</c:v>
                </c:pt>
                <c:pt idx="482">
                  <c:v>All Others</c:v>
                </c:pt>
                <c:pt idx="483">
                  <c:v>All Others</c:v>
                </c:pt>
                <c:pt idx="484">
                  <c:v>All Others</c:v>
                </c:pt>
                <c:pt idx="485">
                  <c:v>All Others</c:v>
                </c:pt>
                <c:pt idx="486">
                  <c:v>All Others</c:v>
                </c:pt>
                <c:pt idx="487">
                  <c:v>All Others</c:v>
                </c:pt>
                <c:pt idx="488">
                  <c:v>All Others</c:v>
                </c:pt>
                <c:pt idx="489">
                  <c:v>Lactalis: A</c:v>
                </c:pt>
                <c:pt idx="490">
                  <c:v>All Others</c:v>
                </c:pt>
                <c:pt idx="491">
                  <c:v>All Others</c:v>
                </c:pt>
                <c:pt idx="492">
                  <c:v>All Others</c:v>
                </c:pt>
                <c:pt idx="493">
                  <c:v>All Others</c:v>
                </c:pt>
                <c:pt idx="494">
                  <c:v>All Others</c:v>
                </c:pt>
                <c:pt idx="495">
                  <c:v>All Others</c:v>
                </c:pt>
                <c:pt idx="496">
                  <c:v>Savencia: A</c:v>
                </c:pt>
                <c:pt idx="497">
                  <c:v>All Others</c:v>
                </c:pt>
                <c:pt idx="498">
                  <c:v>All Others</c:v>
                </c:pt>
                <c:pt idx="499">
                  <c:v>All Others</c:v>
                </c:pt>
                <c:pt idx="500">
                  <c:v>All Others</c:v>
                </c:pt>
                <c:pt idx="501">
                  <c:v>All Others</c:v>
                </c:pt>
                <c:pt idx="502">
                  <c:v>All Others</c:v>
                </c:pt>
                <c:pt idx="503">
                  <c:v>All Others</c:v>
                </c:pt>
                <c:pt idx="504">
                  <c:v>All Others</c:v>
                </c:pt>
                <c:pt idx="505">
                  <c:v>All Others</c:v>
                </c:pt>
                <c:pt idx="506">
                  <c:v>All Others</c:v>
                </c:pt>
                <c:pt idx="507">
                  <c:v>Other Suppl</c:v>
                </c:pt>
                <c:pt idx="508">
                  <c:v>All Others</c:v>
                </c:pt>
                <c:pt idx="509">
                  <c:v>All Others</c:v>
                </c:pt>
                <c:pt idx="510">
                  <c:v>All Others</c:v>
                </c:pt>
                <c:pt idx="511">
                  <c:v>All Others</c:v>
                </c:pt>
                <c:pt idx="512">
                  <c:v>All Others</c:v>
                </c:pt>
                <c:pt idx="513">
                  <c:v>All Others</c:v>
                </c:pt>
                <c:pt idx="514">
                  <c:v>All Others</c:v>
                </c:pt>
                <c:pt idx="515">
                  <c:v>All Others</c:v>
                </c:pt>
                <c:pt idx="516">
                  <c:v>All Others</c:v>
                </c:pt>
                <c:pt idx="517">
                  <c:v>All Others</c:v>
                </c:pt>
                <c:pt idx="518">
                  <c:v>All Others</c:v>
                </c:pt>
                <c:pt idx="519">
                  <c:v>All Others</c:v>
                </c:pt>
                <c:pt idx="520">
                  <c:v>All Others</c:v>
                </c:pt>
                <c:pt idx="521">
                  <c:v>All Others</c:v>
                </c:pt>
                <c:pt idx="522">
                  <c:v>All Others</c:v>
                </c:pt>
                <c:pt idx="523">
                  <c:v>All Others</c:v>
                </c:pt>
                <c:pt idx="524">
                  <c:v>All Others</c:v>
                </c:pt>
                <c:pt idx="525">
                  <c:v>Caprice Des</c:v>
                </c:pt>
                <c:pt idx="526">
                  <c:v>All Others</c:v>
                </c:pt>
                <c:pt idx="527">
                  <c:v>All Others</c:v>
                </c:pt>
                <c:pt idx="528">
                  <c:v>All Others</c:v>
                </c:pt>
                <c:pt idx="529">
                  <c:v>All Others</c:v>
                </c:pt>
                <c:pt idx="530">
                  <c:v>Other Suppl</c:v>
                </c:pt>
                <c:pt idx="531">
                  <c:v>All Others</c:v>
                </c:pt>
                <c:pt idx="532">
                  <c:v>All Others</c:v>
                </c:pt>
                <c:pt idx="533">
                  <c:v>All Others</c:v>
                </c:pt>
                <c:pt idx="534">
                  <c:v>All Others</c:v>
                </c:pt>
                <c:pt idx="535">
                  <c:v>All Others</c:v>
                </c:pt>
                <c:pt idx="536">
                  <c:v>All Others</c:v>
                </c:pt>
                <c:pt idx="537">
                  <c:v>All Others</c:v>
                </c:pt>
                <c:pt idx="538">
                  <c:v>All Others</c:v>
                </c:pt>
                <c:pt idx="539">
                  <c:v>All Others</c:v>
                </c:pt>
                <c:pt idx="540">
                  <c:v>All Others</c:v>
                </c:pt>
                <c:pt idx="541">
                  <c:v>All Others</c:v>
                </c:pt>
                <c:pt idx="542">
                  <c:v>Lactalis: A</c:v>
                </c:pt>
                <c:pt idx="543">
                  <c:v>All Others</c:v>
                </c:pt>
                <c:pt idx="544">
                  <c:v>All Others</c:v>
                </c:pt>
                <c:pt idx="545">
                  <c:v>All Others</c:v>
                </c:pt>
                <c:pt idx="546">
                  <c:v>All Others</c:v>
                </c:pt>
                <c:pt idx="547">
                  <c:v>All Others</c:v>
                </c:pt>
                <c:pt idx="548">
                  <c:v>All Others</c:v>
                </c:pt>
                <c:pt idx="549">
                  <c:v>La Vache Qu</c:v>
                </c:pt>
                <c:pt idx="550">
                  <c:v>All Others</c:v>
                </c:pt>
                <c:pt idx="551">
                  <c:v>Savencia: A</c:v>
                </c:pt>
                <c:pt idx="552">
                  <c:v>All Others</c:v>
                </c:pt>
                <c:pt idx="553">
                  <c:v>All Others</c:v>
                </c:pt>
                <c:pt idx="554">
                  <c:v>All Others</c:v>
                </c:pt>
                <c:pt idx="555">
                  <c:v>Lactalis: A</c:v>
                </c:pt>
                <c:pt idx="556">
                  <c:v>All Others</c:v>
                </c:pt>
                <c:pt idx="557">
                  <c:v>All Others</c:v>
                </c:pt>
                <c:pt idx="558">
                  <c:v>All Others</c:v>
                </c:pt>
                <c:pt idx="559">
                  <c:v>All Others</c:v>
                </c:pt>
                <c:pt idx="560">
                  <c:v>All Others</c:v>
                </c:pt>
                <c:pt idx="561">
                  <c:v>All Others</c:v>
                </c:pt>
                <c:pt idx="562">
                  <c:v>All Others</c:v>
                </c:pt>
                <c:pt idx="563">
                  <c:v>All Others</c:v>
                </c:pt>
                <c:pt idx="564">
                  <c:v>All Others</c:v>
                </c:pt>
                <c:pt idx="565">
                  <c:v>All Others</c:v>
                </c:pt>
                <c:pt idx="566">
                  <c:v>All Others</c:v>
                </c:pt>
                <c:pt idx="567">
                  <c:v>Private Lab</c:v>
                </c:pt>
                <c:pt idx="568">
                  <c:v>All Others</c:v>
                </c:pt>
                <c:pt idx="569">
                  <c:v>All Others</c:v>
                </c:pt>
                <c:pt idx="570">
                  <c:v>All Others</c:v>
                </c:pt>
                <c:pt idx="571">
                  <c:v>All Others</c:v>
                </c:pt>
                <c:pt idx="572">
                  <c:v>All Others</c:v>
                </c:pt>
                <c:pt idx="573">
                  <c:v>All Others</c:v>
                </c:pt>
                <c:pt idx="574">
                  <c:v>All Others</c:v>
                </c:pt>
                <c:pt idx="575">
                  <c:v>Private Lab</c:v>
                </c:pt>
                <c:pt idx="576">
                  <c:v>All Others</c:v>
                </c:pt>
                <c:pt idx="577">
                  <c:v>All Others</c:v>
                </c:pt>
                <c:pt idx="578">
                  <c:v>All Others</c:v>
                </c:pt>
              </c:strCache>
            </c:strRef>
          </c:cat>
          <c:val>
            <c:numRef>
              <c:f>Sheet1!$B$2:$B$580</c:f>
              <c:numCache>
                <c:formatCode>General</c:formatCode>
                <c:ptCount val="579"/>
                <c:pt idx="0">
                  <c:v>1</c:v>
                </c:pt>
                <c:pt idx="1">
                  <c:v>1</c:v>
                </c:pt>
                <c:pt idx="2">
                  <c:v>1</c:v>
                </c:pt>
                <c:pt idx="3">
                  <c:v>1</c:v>
                </c:pt>
                <c:pt idx="4">
                  <c:v>1</c:v>
                </c:pt>
                <c:pt idx="5">
                  <c:v>1</c:v>
                </c:pt>
                <c:pt idx="6">
                  <c:v>1</c:v>
                </c:pt>
                <c:pt idx="7">
                  <c:v>1</c:v>
                </c:pt>
                <c:pt idx="8">
                  <c:v>1</c:v>
                </c:pt>
                <c:pt idx="9">
                  <c:v>0.99</c:v>
                </c:pt>
                <c:pt idx="10">
                  <c:v>0.98</c:v>
                </c:pt>
                <c:pt idx="11">
                  <c:v>0.99</c:v>
                </c:pt>
                <c:pt idx="12">
                  <c:v>1</c:v>
                </c:pt>
                <c:pt idx="13">
                  <c:v>0.98</c:v>
                </c:pt>
                <c:pt idx="14">
                  <c:v>0.99</c:v>
                </c:pt>
                <c:pt idx="15">
                  <c:v>1</c:v>
                </c:pt>
                <c:pt idx="16">
                  <c:v>1</c:v>
                </c:pt>
                <c:pt idx="17">
                  <c:v>0.98</c:v>
                </c:pt>
                <c:pt idx="18">
                  <c:v>0.99</c:v>
                </c:pt>
                <c:pt idx="19">
                  <c:v>1</c:v>
                </c:pt>
                <c:pt idx="20">
                  <c:v>1</c:v>
                </c:pt>
                <c:pt idx="21">
                  <c:v>0.99</c:v>
                </c:pt>
                <c:pt idx="22">
                  <c:v>0.96</c:v>
                </c:pt>
                <c:pt idx="23">
                  <c:v>1</c:v>
                </c:pt>
                <c:pt idx="24">
                  <c:v>1</c:v>
                </c:pt>
                <c:pt idx="25">
                  <c:v>1</c:v>
                </c:pt>
                <c:pt idx="26">
                  <c:v>0.99</c:v>
                </c:pt>
                <c:pt idx="27">
                  <c:v>1</c:v>
                </c:pt>
                <c:pt idx="28">
                  <c:v>1</c:v>
                </c:pt>
                <c:pt idx="29">
                  <c:v>0.95</c:v>
                </c:pt>
                <c:pt idx="30">
                  <c:v>0.97</c:v>
                </c:pt>
                <c:pt idx="31">
                  <c:v>1</c:v>
                </c:pt>
                <c:pt idx="32">
                  <c:v>1</c:v>
                </c:pt>
                <c:pt idx="33">
                  <c:v>0.95</c:v>
                </c:pt>
                <c:pt idx="34">
                  <c:v>0.99</c:v>
                </c:pt>
                <c:pt idx="35">
                  <c:v>0.99</c:v>
                </c:pt>
                <c:pt idx="36">
                  <c:v>0.99</c:v>
                </c:pt>
                <c:pt idx="37">
                  <c:v>0.99</c:v>
                </c:pt>
                <c:pt idx="38">
                  <c:v>1</c:v>
                </c:pt>
                <c:pt idx="39">
                  <c:v>0.99</c:v>
                </c:pt>
                <c:pt idx="40">
                  <c:v>1</c:v>
                </c:pt>
                <c:pt idx="41">
                  <c:v>0.89</c:v>
                </c:pt>
                <c:pt idx="42">
                  <c:v>0.99</c:v>
                </c:pt>
                <c:pt idx="43">
                  <c:v>0.98</c:v>
                </c:pt>
                <c:pt idx="44">
                  <c:v>0.99</c:v>
                </c:pt>
                <c:pt idx="45">
                  <c:v>1</c:v>
                </c:pt>
                <c:pt idx="46">
                  <c:v>0.99</c:v>
                </c:pt>
                <c:pt idx="47">
                  <c:v>0.97</c:v>
                </c:pt>
                <c:pt idx="48">
                  <c:v>0.99</c:v>
                </c:pt>
                <c:pt idx="49">
                  <c:v>0.99</c:v>
                </c:pt>
                <c:pt idx="50">
                  <c:v>0.98</c:v>
                </c:pt>
                <c:pt idx="51">
                  <c:v>0.97</c:v>
                </c:pt>
                <c:pt idx="52">
                  <c:v>1</c:v>
                </c:pt>
                <c:pt idx="53">
                  <c:v>1</c:v>
                </c:pt>
                <c:pt idx="54">
                  <c:v>0.99</c:v>
                </c:pt>
                <c:pt idx="55">
                  <c:v>0.99</c:v>
                </c:pt>
                <c:pt idx="56">
                  <c:v>0.71</c:v>
                </c:pt>
                <c:pt idx="57">
                  <c:v>0.99</c:v>
                </c:pt>
                <c:pt idx="58">
                  <c:v>0.99</c:v>
                </c:pt>
                <c:pt idx="59">
                  <c:v>0.96</c:v>
                </c:pt>
                <c:pt idx="60">
                  <c:v>0.99</c:v>
                </c:pt>
                <c:pt idx="61">
                  <c:v>0.9</c:v>
                </c:pt>
                <c:pt idx="62">
                  <c:v>0.89</c:v>
                </c:pt>
                <c:pt idx="63">
                  <c:v>0.72</c:v>
                </c:pt>
                <c:pt idx="64">
                  <c:v>0.92</c:v>
                </c:pt>
                <c:pt idx="65">
                  <c:v>1</c:v>
                </c:pt>
                <c:pt idx="66">
                  <c:v>1</c:v>
                </c:pt>
                <c:pt idx="67">
                  <c:v>0.88</c:v>
                </c:pt>
                <c:pt idx="68">
                  <c:v>0.97</c:v>
                </c:pt>
                <c:pt idx="69">
                  <c:v>0.96</c:v>
                </c:pt>
                <c:pt idx="70">
                  <c:v>0.99</c:v>
                </c:pt>
                <c:pt idx="71">
                  <c:v>0.95</c:v>
                </c:pt>
                <c:pt idx="72">
                  <c:v>0.98</c:v>
                </c:pt>
                <c:pt idx="73">
                  <c:v>0.99</c:v>
                </c:pt>
                <c:pt idx="74">
                  <c:v>0.96</c:v>
                </c:pt>
                <c:pt idx="75">
                  <c:v>1</c:v>
                </c:pt>
                <c:pt idx="76">
                  <c:v>0.99</c:v>
                </c:pt>
                <c:pt idx="77">
                  <c:v>0.98</c:v>
                </c:pt>
                <c:pt idx="78">
                  <c:v>1</c:v>
                </c:pt>
                <c:pt idx="79">
                  <c:v>0.97</c:v>
                </c:pt>
                <c:pt idx="80">
                  <c:v>0.97</c:v>
                </c:pt>
                <c:pt idx="81">
                  <c:v>0.92</c:v>
                </c:pt>
                <c:pt idx="82">
                  <c:v>0.95</c:v>
                </c:pt>
                <c:pt idx="83">
                  <c:v>0.81</c:v>
                </c:pt>
                <c:pt idx="84">
                  <c:v>0.98</c:v>
                </c:pt>
                <c:pt idx="85">
                  <c:v>0.95</c:v>
                </c:pt>
                <c:pt idx="86">
                  <c:v>0.99</c:v>
                </c:pt>
                <c:pt idx="87">
                  <c:v>0.96</c:v>
                </c:pt>
                <c:pt idx="88">
                  <c:v>0.97</c:v>
                </c:pt>
                <c:pt idx="89">
                  <c:v>0.83</c:v>
                </c:pt>
                <c:pt idx="90">
                  <c:v>0.99</c:v>
                </c:pt>
                <c:pt idx="91">
                  <c:v>0.9</c:v>
                </c:pt>
                <c:pt idx="92">
                  <c:v>0.99</c:v>
                </c:pt>
                <c:pt idx="93">
                  <c:v>0.96</c:v>
                </c:pt>
                <c:pt idx="94">
                  <c:v>0.8</c:v>
                </c:pt>
                <c:pt idx="95">
                  <c:v>0.99</c:v>
                </c:pt>
                <c:pt idx="96">
                  <c:v>0.94</c:v>
                </c:pt>
                <c:pt idx="97">
                  <c:v>0.99</c:v>
                </c:pt>
                <c:pt idx="98">
                  <c:v>0.97</c:v>
                </c:pt>
                <c:pt idx="99">
                  <c:v>0.95</c:v>
                </c:pt>
                <c:pt idx="100">
                  <c:v>0.49</c:v>
                </c:pt>
                <c:pt idx="101">
                  <c:v>0.99</c:v>
                </c:pt>
                <c:pt idx="102">
                  <c:v>0.75</c:v>
                </c:pt>
                <c:pt idx="103">
                  <c:v>0.96</c:v>
                </c:pt>
                <c:pt idx="104">
                  <c:v>0.95</c:v>
                </c:pt>
                <c:pt idx="105">
                  <c:v>0.92</c:v>
                </c:pt>
                <c:pt idx="106">
                  <c:v>0.91</c:v>
                </c:pt>
                <c:pt idx="107">
                  <c:v>0.98</c:v>
                </c:pt>
                <c:pt idx="108">
                  <c:v>0.98</c:v>
                </c:pt>
                <c:pt idx="109">
                  <c:v>0.91</c:v>
                </c:pt>
                <c:pt idx="110">
                  <c:v>0.93</c:v>
                </c:pt>
                <c:pt idx="111">
                  <c:v>0.86</c:v>
                </c:pt>
                <c:pt idx="112">
                  <c:v>0.74</c:v>
                </c:pt>
                <c:pt idx="113">
                  <c:v>0.89</c:v>
                </c:pt>
                <c:pt idx="114">
                  <c:v>0.9</c:v>
                </c:pt>
                <c:pt idx="115">
                  <c:v>0.85</c:v>
                </c:pt>
                <c:pt idx="116">
                  <c:v>0.96</c:v>
                </c:pt>
                <c:pt idx="117">
                  <c:v>0.9</c:v>
                </c:pt>
                <c:pt idx="118">
                  <c:v>0.94</c:v>
                </c:pt>
                <c:pt idx="119">
                  <c:v>0.97</c:v>
                </c:pt>
                <c:pt idx="120">
                  <c:v>0.95</c:v>
                </c:pt>
                <c:pt idx="121">
                  <c:v>0.97</c:v>
                </c:pt>
                <c:pt idx="122">
                  <c:v>0.93</c:v>
                </c:pt>
                <c:pt idx="123">
                  <c:v>0.89</c:v>
                </c:pt>
                <c:pt idx="124">
                  <c:v>0.93</c:v>
                </c:pt>
                <c:pt idx="125">
                  <c:v>0.96</c:v>
                </c:pt>
                <c:pt idx="126">
                  <c:v>0.9</c:v>
                </c:pt>
                <c:pt idx="127">
                  <c:v>0.91</c:v>
                </c:pt>
                <c:pt idx="128">
                  <c:v>0.9</c:v>
                </c:pt>
                <c:pt idx="129">
                  <c:v>0.92</c:v>
                </c:pt>
                <c:pt idx="130">
                  <c:v>0.86</c:v>
                </c:pt>
                <c:pt idx="131">
                  <c:v>0.99</c:v>
                </c:pt>
                <c:pt idx="132">
                  <c:v>0.87</c:v>
                </c:pt>
                <c:pt idx="133">
                  <c:v>0.71</c:v>
                </c:pt>
                <c:pt idx="134">
                  <c:v>0.96</c:v>
                </c:pt>
                <c:pt idx="135">
                  <c:v>0.98</c:v>
                </c:pt>
                <c:pt idx="136">
                  <c:v>0.62</c:v>
                </c:pt>
                <c:pt idx="137">
                  <c:v>0.97</c:v>
                </c:pt>
                <c:pt idx="138">
                  <c:v>0.89</c:v>
                </c:pt>
                <c:pt idx="139">
                  <c:v>0.98</c:v>
                </c:pt>
                <c:pt idx="140">
                  <c:v>0.87</c:v>
                </c:pt>
                <c:pt idx="141">
                  <c:v>0.87</c:v>
                </c:pt>
                <c:pt idx="142">
                  <c:v>0.96</c:v>
                </c:pt>
                <c:pt idx="143">
                  <c:v>0.9</c:v>
                </c:pt>
                <c:pt idx="144">
                  <c:v>0.72</c:v>
                </c:pt>
                <c:pt idx="145">
                  <c:v>0.8</c:v>
                </c:pt>
                <c:pt idx="146">
                  <c:v>0.97</c:v>
                </c:pt>
                <c:pt idx="147">
                  <c:v>0.87</c:v>
                </c:pt>
                <c:pt idx="148">
                  <c:v>0.94</c:v>
                </c:pt>
                <c:pt idx="149">
                  <c:v>0.99</c:v>
                </c:pt>
                <c:pt idx="150">
                  <c:v>0.87</c:v>
                </c:pt>
                <c:pt idx="151">
                  <c:v>0.67</c:v>
                </c:pt>
                <c:pt idx="152">
                  <c:v>0.95</c:v>
                </c:pt>
                <c:pt idx="153">
                  <c:v>0.98</c:v>
                </c:pt>
                <c:pt idx="154">
                  <c:v>0.85</c:v>
                </c:pt>
                <c:pt idx="155">
                  <c:v>0.94</c:v>
                </c:pt>
                <c:pt idx="156">
                  <c:v>0.53</c:v>
                </c:pt>
                <c:pt idx="157">
                  <c:v>0.83</c:v>
                </c:pt>
                <c:pt idx="158">
                  <c:v>0.94</c:v>
                </c:pt>
                <c:pt idx="159">
                  <c:v>0.95</c:v>
                </c:pt>
                <c:pt idx="160">
                  <c:v>0.97</c:v>
                </c:pt>
                <c:pt idx="161">
                  <c:v>0.89</c:v>
                </c:pt>
                <c:pt idx="162">
                  <c:v>0.92</c:v>
                </c:pt>
                <c:pt idx="163">
                  <c:v>0.79</c:v>
                </c:pt>
                <c:pt idx="164">
                  <c:v>0.87</c:v>
                </c:pt>
                <c:pt idx="165">
                  <c:v>0.79</c:v>
                </c:pt>
                <c:pt idx="166">
                  <c:v>0.82</c:v>
                </c:pt>
                <c:pt idx="167">
                  <c:v>0.42</c:v>
                </c:pt>
                <c:pt idx="168">
                  <c:v>0.77</c:v>
                </c:pt>
                <c:pt idx="169">
                  <c:v>0.96</c:v>
                </c:pt>
                <c:pt idx="170">
                  <c:v>0.99</c:v>
                </c:pt>
                <c:pt idx="171">
                  <c:v>0.8</c:v>
                </c:pt>
                <c:pt idx="172">
                  <c:v>0.85</c:v>
                </c:pt>
                <c:pt idx="173">
                  <c:v>0.59</c:v>
                </c:pt>
                <c:pt idx="174">
                  <c:v>0.9</c:v>
                </c:pt>
                <c:pt idx="175">
                  <c:v>0.74</c:v>
                </c:pt>
                <c:pt idx="176">
                  <c:v>0.76</c:v>
                </c:pt>
                <c:pt idx="177">
                  <c:v>0.75</c:v>
                </c:pt>
                <c:pt idx="178">
                  <c:v>0.77</c:v>
                </c:pt>
                <c:pt idx="179">
                  <c:v>0.9</c:v>
                </c:pt>
                <c:pt idx="180">
                  <c:v>0.43</c:v>
                </c:pt>
                <c:pt idx="181">
                  <c:v>0.87</c:v>
                </c:pt>
                <c:pt idx="182">
                  <c:v>0.89</c:v>
                </c:pt>
                <c:pt idx="183">
                  <c:v>0.56999999999999995</c:v>
                </c:pt>
                <c:pt idx="184">
                  <c:v>0.56999999999999995</c:v>
                </c:pt>
                <c:pt idx="185">
                  <c:v>0.24</c:v>
                </c:pt>
                <c:pt idx="186">
                  <c:v>0.96</c:v>
                </c:pt>
                <c:pt idx="187">
                  <c:v>0.68</c:v>
                </c:pt>
                <c:pt idx="188">
                  <c:v>0.81</c:v>
                </c:pt>
                <c:pt idx="189">
                  <c:v>0.87</c:v>
                </c:pt>
                <c:pt idx="190">
                  <c:v>0.63</c:v>
                </c:pt>
                <c:pt idx="191">
                  <c:v>0.92</c:v>
                </c:pt>
                <c:pt idx="192">
                  <c:v>0.9</c:v>
                </c:pt>
                <c:pt idx="193">
                  <c:v>0.85</c:v>
                </c:pt>
                <c:pt idx="194">
                  <c:v>0.57999999999999996</c:v>
                </c:pt>
                <c:pt idx="195">
                  <c:v>0.45</c:v>
                </c:pt>
                <c:pt idx="196">
                  <c:v>0.44</c:v>
                </c:pt>
                <c:pt idx="197">
                  <c:v>0.68</c:v>
                </c:pt>
                <c:pt idx="198">
                  <c:v>0.76</c:v>
                </c:pt>
                <c:pt idx="199">
                  <c:v>0.87</c:v>
                </c:pt>
                <c:pt idx="200">
                  <c:v>0.87</c:v>
                </c:pt>
                <c:pt idx="201">
                  <c:v>0.59</c:v>
                </c:pt>
                <c:pt idx="202">
                  <c:v>0.95</c:v>
                </c:pt>
                <c:pt idx="203">
                  <c:v>0.87</c:v>
                </c:pt>
                <c:pt idx="204">
                  <c:v>0.85</c:v>
                </c:pt>
                <c:pt idx="205">
                  <c:v>0.76</c:v>
                </c:pt>
                <c:pt idx="206">
                  <c:v>0.34</c:v>
                </c:pt>
                <c:pt idx="207">
                  <c:v>0.84</c:v>
                </c:pt>
                <c:pt idx="208">
                  <c:v>0.83</c:v>
                </c:pt>
                <c:pt idx="209">
                  <c:v>0.69</c:v>
                </c:pt>
                <c:pt idx="210">
                  <c:v>0.83</c:v>
                </c:pt>
                <c:pt idx="211">
                  <c:v>0.66</c:v>
                </c:pt>
                <c:pt idx="212">
                  <c:v>0.55000000000000004</c:v>
                </c:pt>
                <c:pt idx="213">
                  <c:v>0.9</c:v>
                </c:pt>
                <c:pt idx="214">
                  <c:v>0.61</c:v>
                </c:pt>
                <c:pt idx="215">
                  <c:v>0.7</c:v>
                </c:pt>
                <c:pt idx="216">
                  <c:v>0.74</c:v>
                </c:pt>
                <c:pt idx="217">
                  <c:v>0.2</c:v>
                </c:pt>
                <c:pt idx="218">
                  <c:v>0.41</c:v>
                </c:pt>
                <c:pt idx="219">
                  <c:v>0.41</c:v>
                </c:pt>
                <c:pt idx="220">
                  <c:v>0.94</c:v>
                </c:pt>
                <c:pt idx="221">
                  <c:v>0.6</c:v>
                </c:pt>
                <c:pt idx="222">
                  <c:v>0.45</c:v>
                </c:pt>
                <c:pt idx="223">
                  <c:v>0.39</c:v>
                </c:pt>
                <c:pt idx="224">
                  <c:v>0.93</c:v>
                </c:pt>
                <c:pt idx="225">
                  <c:v>0.88</c:v>
                </c:pt>
                <c:pt idx="226">
                  <c:v>0.31</c:v>
                </c:pt>
                <c:pt idx="227">
                  <c:v>0.68</c:v>
                </c:pt>
                <c:pt idx="228">
                  <c:v>0.24</c:v>
                </c:pt>
                <c:pt idx="229">
                  <c:v>0.33</c:v>
                </c:pt>
                <c:pt idx="230">
                  <c:v>0.5</c:v>
                </c:pt>
                <c:pt idx="231">
                  <c:v>0.73</c:v>
                </c:pt>
                <c:pt idx="232">
                  <c:v>0.9</c:v>
                </c:pt>
                <c:pt idx="233">
                  <c:v>0.68</c:v>
                </c:pt>
                <c:pt idx="234">
                  <c:v>0.94</c:v>
                </c:pt>
                <c:pt idx="235">
                  <c:v>0.06</c:v>
                </c:pt>
                <c:pt idx="236">
                  <c:v>0.7</c:v>
                </c:pt>
                <c:pt idx="237">
                  <c:v>0.11</c:v>
                </c:pt>
                <c:pt idx="238">
                  <c:v>0.18</c:v>
                </c:pt>
                <c:pt idx="239">
                  <c:v>0.81</c:v>
                </c:pt>
                <c:pt idx="240">
                  <c:v>0.71</c:v>
                </c:pt>
                <c:pt idx="241">
                  <c:v>0.24</c:v>
                </c:pt>
                <c:pt idx="242">
                  <c:v>0.89</c:v>
                </c:pt>
                <c:pt idx="243">
                  <c:v>0.7</c:v>
                </c:pt>
                <c:pt idx="244">
                  <c:v>0.86</c:v>
                </c:pt>
                <c:pt idx="245">
                  <c:v>0.89</c:v>
                </c:pt>
                <c:pt idx="246">
                  <c:v>0.3</c:v>
                </c:pt>
                <c:pt idx="247">
                  <c:v>0.21</c:v>
                </c:pt>
                <c:pt idx="248">
                  <c:v>0.94</c:v>
                </c:pt>
                <c:pt idx="249">
                  <c:v>0.83</c:v>
                </c:pt>
                <c:pt idx="250">
                  <c:v>0.13</c:v>
                </c:pt>
                <c:pt idx="251">
                  <c:v>0.22</c:v>
                </c:pt>
                <c:pt idx="252">
                  <c:v>0.39</c:v>
                </c:pt>
                <c:pt idx="253">
                  <c:v>0.18</c:v>
                </c:pt>
                <c:pt idx="254">
                  <c:v>0.35</c:v>
                </c:pt>
                <c:pt idx="255">
                  <c:v>0.19</c:v>
                </c:pt>
                <c:pt idx="256">
                  <c:v>0.54</c:v>
                </c:pt>
                <c:pt idx="257">
                  <c:v>0.42</c:v>
                </c:pt>
                <c:pt idx="258">
                  <c:v>0.77</c:v>
                </c:pt>
                <c:pt idx="259">
                  <c:v>0.13</c:v>
                </c:pt>
                <c:pt idx="260">
                  <c:v>0.18</c:v>
                </c:pt>
                <c:pt idx="261">
                  <c:v>0.28999999999999998</c:v>
                </c:pt>
                <c:pt idx="262">
                  <c:v>0.6</c:v>
                </c:pt>
                <c:pt idx="263">
                  <c:v>0.91</c:v>
                </c:pt>
                <c:pt idx="264">
                  <c:v>0.36</c:v>
                </c:pt>
                <c:pt idx="265">
                  <c:v>0.11</c:v>
                </c:pt>
                <c:pt idx="266">
                  <c:v>0.21</c:v>
                </c:pt>
                <c:pt idx="267">
                  <c:v>0.88</c:v>
                </c:pt>
                <c:pt idx="268">
                  <c:v>0.24</c:v>
                </c:pt>
                <c:pt idx="269">
                  <c:v>0.11</c:v>
                </c:pt>
                <c:pt idx="270">
                  <c:v>0.43</c:v>
                </c:pt>
                <c:pt idx="271">
                  <c:v>0.28000000000000003</c:v>
                </c:pt>
                <c:pt idx="272">
                  <c:v>0.86</c:v>
                </c:pt>
                <c:pt idx="273">
                  <c:v>0.06</c:v>
                </c:pt>
                <c:pt idx="274">
                  <c:v>0.56000000000000005</c:v>
                </c:pt>
                <c:pt idx="275">
                  <c:v>0.27</c:v>
                </c:pt>
                <c:pt idx="276">
                  <c:v>0.43</c:v>
                </c:pt>
                <c:pt idx="277">
                  <c:v>0.26</c:v>
                </c:pt>
                <c:pt idx="278">
                  <c:v>0.12</c:v>
                </c:pt>
                <c:pt idx="279">
                  <c:v>0.16</c:v>
                </c:pt>
                <c:pt idx="280">
                  <c:v>0.15</c:v>
                </c:pt>
                <c:pt idx="281">
                  <c:v>0.56000000000000005</c:v>
                </c:pt>
                <c:pt idx="282">
                  <c:v>0.67</c:v>
                </c:pt>
                <c:pt idx="283">
                  <c:v>0.53</c:v>
                </c:pt>
                <c:pt idx="284">
                  <c:v>0.08</c:v>
                </c:pt>
                <c:pt idx="285">
                  <c:v>0.17</c:v>
                </c:pt>
                <c:pt idx="286">
                  <c:v>0.82</c:v>
                </c:pt>
                <c:pt idx="287">
                  <c:v>0.23</c:v>
                </c:pt>
                <c:pt idx="288">
                  <c:v>0.03</c:v>
                </c:pt>
                <c:pt idx="289">
                  <c:v>0.67</c:v>
                </c:pt>
                <c:pt idx="290">
                  <c:v>0.23</c:v>
                </c:pt>
                <c:pt idx="291">
                  <c:v>0.36</c:v>
                </c:pt>
                <c:pt idx="292">
                  <c:v>0.21</c:v>
                </c:pt>
                <c:pt idx="293">
                  <c:v>0.31</c:v>
                </c:pt>
                <c:pt idx="294">
                  <c:v>0.1</c:v>
                </c:pt>
                <c:pt idx="295">
                  <c:v>0.1</c:v>
                </c:pt>
                <c:pt idx="296">
                  <c:v>0.18</c:v>
                </c:pt>
                <c:pt idx="297">
                  <c:v>0.1</c:v>
                </c:pt>
                <c:pt idx="298">
                  <c:v>0.83</c:v>
                </c:pt>
                <c:pt idx="299">
                  <c:v>0.15</c:v>
                </c:pt>
                <c:pt idx="300">
                  <c:v>0.04</c:v>
                </c:pt>
                <c:pt idx="301">
                  <c:v>0.1</c:v>
                </c:pt>
                <c:pt idx="302">
                  <c:v>0.13</c:v>
                </c:pt>
                <c:pt idx="303">
                  <c:v>0.25</c:v>
                </c:pt>
                <c:pt idx="304">
                  <c:v>0.61</c:v>
                </c:pt>
                <c:pt idx="305">
                  <c:v>0.06</c:v>
                </c:pt>
                <c:pt idx="306">
                  <c:v>0.28999999999999998</c:v>
                </c:pt>
                <c:pt idx="307">
                  <c:v>0.56999999999999995</c:v>
                </c:pt>
                <c:pt idx="308">
                  <c:v>0.18</c:v>
                </c:pt>
                <c:pt idx="309">
                  <c:v>0.59</c:v>
                </c:pt>
                <c:pt idx="310">
                  <c:v>0.08</c:v>
                </c:pt>
                <c:pt idx="311">
                  <c:v>7.0000000000000007E-2</c:v>
                </c:pt>
                <c:pt idx="312">
                  <c:v>0.08</c:v>
                </c:pt>
                <c:pt idx="313">
                  <c:v>0.02</c:v>
                </c:pt>
                <c:pt idx="314">
                  <c:v>0.25</c:v>
                </c:pt>
                <c:pt idx="315">
                  <c:v>7.0000000000000007E-2</c:v>
                </c:pt>
                <c:pt idx="316">
                  <c:v>0.56000000000000005</c:v>
                </c:pt>
                <c:pt idx="317">
                  <c:v>0.28000000000000003</c:v>
                </c:pt>
                <c:pt idx="318">
                  <c:v>0.13</c:v>
                </c:pt>
                <c:pt idx="319">
                  <c:v>0.01</c:v>
                </c:pt>
                <c:pt idx="320">
                  <c:v>7.0000000000000007E-2</c:v>
                </c:pt>
                <c:pt idx="321">
                  <c:v>0.15</c:v>
                </c:pt>
                <c:pt idx="322">
                  <c:v>0.04</c:v>
                </c:pt>
                <c:pt idx="323">
                  <c:v>0.12</c:v>
                </c:pt>
                <c:pt idx="324">
                  <c:v>0.11</c:v>
                </c:pt>
                <c:pt idx="325">
                  <c:v>0.05</c:v>
                </c:pt>
                <c:pt idx="326">
                  <c:v>0.04</c:v>
                </c:pt>
                <c:pt idx="327">
                  <c:v>0.4</c:v>
                </c:pt>
                <c:pt idx="328">
                  <c:v>0.05</c:v>
                </c:pt>
                <c:pt idx="329">
                  <c:v>0.05</c:v>
                </c:pt>
                <c:pt idx="330">
                  <c:v>0.28000000000000003</c:v>
                </c:pt>
                <c:pt idx="331">
                  <c:v>0.24</c:v>
                </c:pt>
                <c:pt idx="332">
                  <c:v>0.03</c:v>
                </c:pt>
                <c:pt idx="333">
                  <c:v>0.03</c:v>
                </c:pt>
                <c:pt idx="334">
                  <c:v>0.7</c:v>
                </c:pt>
                <c:pt idx="335">
                  <c:v>0.08</c:v>
                </c:pt>
                <c:pt idx="336">
                  <c:v>0.1</c:v>
                </c:pt>
                <c:pt idx="337">
                  <c:v>7.0000000000000007E-2</c:v>
                </c:pt>
                <c:pt idx="338">
                  <c:v>0.12</c:v>
                </c:pt>
                <c:pt idx="339">
                  <c:v>0.13</c:v>
                </c:pt>
                <c:pt idx="340">
                  <c:v>0.1</c:v>
                </c:pt>
                <c:pt idx="341">
                  <c:v>0.09</c:v>
                </c:pt>
                <c:pt idx="342">
                  <c:v>0.37</c:v>
                </c:pt>
                <c:pt idx="343">
                  <c:v>0.06</c:v>
                </c:pt>
                <c:pt idx="344">
                  <c:v>0.16</c:v>
                </c:pt>
                <c:pt idx="345">
                  <c:v>0.03</c:v>
                </c:pt>
                <c:pt idx="346">
                  <c:v>0.01</c:v>
                </c:pt>
                <c:pt idx="347">
                  <c:v>0.04</c:v>
                </c:pt>
                <c:pt idx="348">
                  <c:v>0.04</c:v>
                </c:pt>
                <c:pt idx="349">
                  <c:v>0.44</c:v>
                </c:pt>
                <c:pt idx="350">
                  <c:v>0.01</c:v>
                </c:pt>
                <c:pt idx="351">
                  <c:v>0.73</c:v>
                </c:pt>
                <c:pt idx="352">
                  <c:v>0.1</c:v>
                </c:pt>
                <c:pt idx="353">
                  <c:v>0.09</c:v>
                </c:pt>
                <c:pt idx="354">
                  <c:v>0.04</c:v>
                </c:pt>
                <c:pt idx="355">
                  <c:v>0.23</c:v>
                </c:pt>
                <c:pt idx="356">
                  <c:v>0.02</c:v>
                </c:pt>
                <c:pt idx="357">
                  <c:v>0.02</c:v>
                </c:pt>
                <c:pt idx="358">
                  <c:v>0.1</c:v>
                </c:pt>
                <c:pt idx="359">
                  <c:v>0.03</c:v>
                </c:pt>
                <c:pt idx="360">
                  <c:v>0.39</c:v>
                </c:pt>
                <c:pt idx="361">
                  <c:v>0.14000000000000001</c:v>
                </c:pt>
                <c:pt idx="362">
                  <c:v>0.04</c:v>
                </c:pt>
                <c:pt idx="363">
                  <c:v>0.25</c:v>
                </c:pt>
                <c:pt idx="364">
                  <c:v>0.16</c:v>
                </c:pt>
                <c:pt idx="365">
                  <c:v>0.04</c:v>
                </c:pt>
                <c:pt idx="366">
                  <c:v>0.66</c:v>
                </c:pt>
                <c:pt idx="367">
                  <c:v>0.03</c:v>
                </c:pt>
                <c:pt idx="368">
                  <c:v>0.4</c:v>
                </c:pt>
                <c:pt idx="369">
                  <c:v>0.01</c:v>
                </c:pt>
                <c:pt idx="370">
                  <c:v>7.0000000000000007E-2</c:v>
                </c:pt>
                <c:pt idx="371">
                  <c:v>7.0000000000000007E-2</c:v>
                </c:pt>
                <c:pt idx="372">
                  <c:v>0.15</c:v>
                </c:pt>
                <c:pt idx="373">
                  <c:v>0.16</c:v>
                </c:pt>
                <c:pt idx="374">
                  <c:v>7.0000000000000007E-2</c:v>
                </c:pt>
                <c:pt idx="375">
                  <c:v>0.02</c:v>
                </c:pt>
                <c:pt idx="376">
                  <c:v>0.31</c:v>
                </c:pt>
                <c:pt idx="377">
                  <c:v>0.02</c:v>
                </c:pt>
                <c:pt idx="378">
                  <c:v>0.05</c:v>
                </c:pt>
                <c:pt idx="379">
                  <c:v>0.01</c:v>
                </c:pt>
                <c:pt idx="380">
                  <c:v>0.1</c:v>
                </c:pt>
                <c:pt idx="381">
                  <c:v>0.08</c:v>
                </c:pt>
                <c:pt idx="382">
                  <c:v>7.0000000000000007E-2</c:v>
                </c:pt>
                <c:pt idx="383">
                  <c:v>0.09</c:v>
                </c:pt>
                <c:pt idx="384">
                  <c:v>7.0000000000000007E-2</c:v>
                </c:pt>
                <c:pt idx="385">
                  <c:v>0.09</c:v>
                </c:pt>
                <c:pt idx="386">
                  <c:v>7.0000000000000007E-2</c:v>
                </c:pt>
                <c:pt idx="387">
                  <c:v>0.11</c:v>
                </c:pt>
                <c:pt idx="388">
                  <c:v>0.14000000000000001</c:v>
                </c:pt>
                <c:pt idx="389">
                  <c:v>0.02</c:v>
                </c:pt>
                <c:pt idx="390">
                  <c:v>0.01</c:v>
                </c:pt>
                <c:pt idx="391">
                  <c:v>0.06</c:v>
                </c:pt>
                <c:pt idx="392">
                  <c:v>0.03</c:v>
                </c:pt>
                <c:pt idx="393">
                  <c:v>0.05</c:v>
                </c:pt>
                <c:pt idx="394">
                  <c:v>0.08</c:v>
                </c:pt>
                <c:pt idx="395">
                  <c:v>0.09</c:v>
                </c:pt>
                <c:pt idx="396">
                  <c:v>0.1</c:v>
                </c:pt>
                <c:pt idx="397">
                  <c:v>0.06</c:v>
                </c:pt>
                <c:pt idx="398">
                  <c:v>0.01</c:v>
                </c:pt>
                <c:pt idx="399">
                  <c:v>0.04</c:v>
                </c:pt>
                <c:pt idx="400">
                  <c:v>0.09</c:v>
                </c:pt>
                <c:pt idx="401">
                  <c:v>0.36</c:v>
                </c:pt>
                <c:pt idx="402">
                  <c:v>0.09</c:v>
                </c:pt>
                <c:pt idx="403">
                  <c:v>0.14000000000000001</c:v>
                </c:pt>
                <c:pt idx="404">
                  <c:v>0.08</c:v>
                </c:pt>
                <c:pt idx="405">
                  <c:v>0.01</c:v>
                </c:pt>
                <c:pt idx="406">
                  <c:v>7.0000000000000007E-2</c:v>
                </c:pt>
                <c:pt idx="407">
                  <c:v>0.03</c:v>
                </c:pt>
                <c:pt idx="408">
                  <c:v>0.34</c:v>
                </c:pt>
                <c:pt idx="409">
                  <c:v>0.38</c:v>
                </c:pt>
                <c:pt idx="410">
                  <c:v>0.01</c:v>
                </c:pt>
                <c:pt idx="411">
                  <c:v>0.02</c:v>
                </c:pt>
                <c:pt idx="412">
                  <c:v>7.0000000000000007E-2</c:v>
                </c:pt>
                <c:pt idx="413">
                  <c:v>0.12</c:v>
                </c:pt>
                <c:pt idx="414">
                  <c:v>0.01</c:v>
                </c:pt>
                <c:pt idx="415">
                  <c:v>0.18</c:v>
                </c:pt>
                <c:pt idx="416">
                  <c:v>0.13</c:v>
                </c:pt>
                <c:pt idx="417">
                  <c:v>0.05</c:v>
                </c:pt>
                <c:pt idx="418">
                  <c:v>7.0000000000000007E-2</c:v>
                </c:pt>
                <c:pt idx="419">
                  <c:v>0.01</c:v>
                </c:pt>
                <c:pt idx="420">
                  <c:v>7.0000000000000007E-2</c:v>
                </c:pt>
                <c:pt idx="421">
                  <c:v>0.06</c:v>
                </c:pt>
                <c:pt idx="422">
                  <c:v>0.02</c:v>
                </c:pt>
                <c:pt idx="423">
                  <c:v>0.01</c:v>
                </c:pt>
                <c:pt idx="424">
                  <c:v>0.1</c:v>
                </c:pt>
                <c:pt idx="425">
                  <c:v>0.05</c:v>
                </c:pt>
                <c:pt idx="426">
                  <c:v>0.01</c:v>
                </c:pt>
                <c:pt idx="427">
                  <c:v>0.2</c:v>
                </c:pt>
                <c:pt idx="428">
                  <c:v>0.01</c:v>
                </c:pt>
                <c:pt idx="429">
                  <c:v>0.06</c:v>
                </c:pt>
                <c:pt idx="430">
                  <c:v>0.04</c:v>
                </c:pt>
                <c:pt idx="431">
                  <c:v>0.01</c:v>
                </c:pt>
                <c:pt idx="432">
                  <c:v>0.01</c:v>
                </c:pt>
                <c:pt idx="433">
                  <c:v>0.01</c:v>
                </c:pt>
                <c:pt idx="434">
                  <c:v>0.04</c:v>
                </c:pt>
                <c:pt idx="435">
                  <c:v>0.04</c:v>
                </c:pt>
                <c:pt idx="436">
                  <c:v>0.11</c:v>
                </c:pt>
                <c:pt idx="437">
                  <c:v>0.01</c:v>
                </c:pt>
                <c:pt idx="438">
                  <c:v>0.01</c:v>
                </c:pt>
                <c:pt idx="439">
                  <c:v>0.01</c:v>
                </c:pt>
                <c:pt idx="440">
                  <c:v>0.11</c:v>
                </c:pt>
                <c:pt idx="441">
                  <c:v>0.01</c:v>
                </c:pt>
                <c:pt idx="442">
                  <c:v>0.01</c:v>
                </c:pt>
                <c:pt idx="443">
                  <c:v>0.03</c:v>
                </c:pt>
                <c:pt idx="444">
                  <c:v>0.01</c:v>
                </c:pt>
                <c:pt idx="445">
                  <c:v>0.02</c:v>
                </c:pt>
                <c:pt idx="446">
                  <c:v>7.0000000000000007E-2</c:v>
                </c:pt>
                <c:pt idx="447">
                  <c:v>0.06</c:v>
                </c:pt>
                <c:pt idx="448">
                  <c:v>0.17</c:v>
                </c:pt>
                <c:pt idx="449">
                  <c:v>0.02</c:v>
                </c:pt>
                <c:pt idx="450">
                  <c:v>0.13</c:v>
                </c:pt>
                <c:pt idx="451">
                  <c:v>0.11</c:v>
                </c:pt>
                <c:pt idx="452">
                  <c:v>0.01</c:v>
                </c:pt>
                <c:pt idx="453">
                  <c:v>0.09</c:v>
                </c:pt>
                <c:pt idx="454">
                  <c:v>0.05</c:v>
                </c:pt>
                <c:pt idx="455">
                  <c:v>0.01</c:v>
                </c:pt>
                <c:pt idx="456">
                  <c:v>0.02</c:v>
                </c:pt>
                <c:pt idx="457">
                  <c:v>0.02</c:v>
                </c:pt>
                <c:pt idx="458">
                  <c:v>0.02</c:v>
                </c:pt>
                <c:pt idx="459">
                  <c:v>0.11</c:v>
                </c:pt>
                <c:pt idx="460">
                  <c:v>0.01</c:v>
                </c:pt>
                <c:pt idx="461">
                  <c:v>0.12</c:v>
                </c:pt>
                <c:pt idx="462">
                  <c:v>0.01</c:v>
                </c:pt>
                <c:pt idx="463">
                  <c:v>0.01</c:v>
                </c:pt>
                <c:pt idx="464">
                  <c:v>0.02</c:v>
                </c:pt>
                <c:pt idx="465">
                  <c:v>0.02</c:v>
                </c:pt>
                <c:pt idx="466">
                  <c:v>0.28000000000000003</c:v>
                </c:pt>
                <c:pt idx="467">
                  <c:v>0.01</c:v>
                </c:pt>
                <c:pt idx="468">
                  <c:v>0.02</c:v>
                </c:pt>
                <c:pt idx="469">
                  <c:v>0.02</c:v>
                </c:pt>
                <c:pt idx="470">
                  <c:v>0.01</c:v>
                </c:pt>
                <c:pt idx="471">
                  <c:v>0.01</c:v>
                </c:pt>
                <c:pt idx="472">
                  <c:v>0.01</c:v>
                </c:pt>
                <c:pt idx="473">
                  <c:v>0.01</c:v>
                </c:pt>
                <c:pt idx="474">
                  <c:v>0.02</c:v>
                </c:pt>
                <c:pt idx="475">
                  <c:v>0.1</c:v>
                </c:pt>
                <c:pt idx="476">
                  <c:v>0.04</c:v>
                </c:pt>
                <c:pt idx="477">
                  <c:v>0.01</c:v>
                </c:pt>
                <c:pt idx="478">
                  <c:v>0.02</c:v>
                </c:pt>
                <c:pt idx="479">
                  <c:v>0.01</c:v>
                </c:pt>
                <c:pt idx="480">
                  <c:v>0.01</c:v>
                </c:pt>
                <c:pt idx="481">
                  <c:v>0.02</c:v>
                </c:pt>
                <c:pt idx="482">
                  <c:v>0.02</c:v>
                </c:pt>
                <c:pt idx="483">
                  <c:v>0.02</c:v>
                </c:pt>
                <c:pt idx="484">
                  <c:v>0.05</c:v>
                </c:pt>
                <c:pt idx="485">
                  <c:v>7.0000000000000007E-2</c:v>
                </c:pt>
                <c:pt idx="486">
                  <c:v>0.01</c:v>
                </c:pt>
                <c:pt idx="487">
                  <c:v>0.01</c:v>
                </c:pt>
                <c:pt idx="488">
                  <c:v>0.06</c:v>
                </c:pt>
                <c:pt idx="489">
                  <c:v>0.02</c:v>
                </c:pt>
                <c:pt idx="490">
                  <c:v>0.03</c:v>
                </c:pt>
                <c:pt idx="491">
                  <c:v>0.01</c:v>
                </c:pt>
                <c:pt idx="492">
                  <c:v>0.01</c:v>
                </c:pt>
                <c:pt idx="493">
                  <c:v>0.01</c:v>
                </c:pt>
                <c:pt idx="494">
                  <c:v>0.01</c:v>
                </c:pt>
                <c:pt idx="495">
                  <c:v>7.0000000000000007E-2</c:v>
                </c:pt>
                <c:pt idx="496">
                  <c:v>0.01</c:v>
                </c:pt>
                <c:pt idx="497">
                  <c:v>0.01</c:v>
                </c:pt>
                <c:pt idx="498">
                  <c:v>0.01</c:v>
                </c:pt>
                <c:pt idx="499">
                  <c:v>0.02</c:v>
                </c:pt>
                <c:pt idx="500">
                  <c:v>0.01</c:v>
                </c:pt>
                <c:pt idx="501">
                  <c:v>0.01</c:v>
                </c:pt>
                <c:pt idx="502">
                  <c:v>0.01</c:v>
                </c:pt>
                <c:pt idx="503">
                  <c:v>0.05</c:v>
                </c:pt>
                <c:pt idx="504">
                  <c:v>0.01</c:v>
                </c:pt>
                <c:pt idx="505">
                  <c:v>0.01</c:v>
                </c:pt>
                <c:pt idx="506">
                  <c:v>0.02</c:v>
                </c:pt>
                <c:pt idx="507">
                  <c:v>0.03</c:v>
                </c:pt>
                <c:pt idx="508">
                  <c:v>0.04</c:v>
                </c:pt>
                <c:pt idx="509">
                  <c:v>0.02</c:v>
                </c:pt>
                <c:pt idx="510">
                  <c:v>0.02</c:v>
                </c:pt>
                <c:pt idx="511">
                  <c:v>0.02</c:v>
                </c:pt>
                <c:pt idx="512">
                  <c:v>0.02</c:v>
                </c:pt>
                <c:pt idx="513">
                  <c:v>0.01</c:v>
                </c:pt>
                <c:pt idx="514">
                  <c:v>0.04</c:v>
                </c:pt>
                <c:pt idx="515">
                  <c:v>0.01</c:v>
                </c:pt>
                <c:pt idx="516">
                  <c:v>0.01</c:v>
                </c:pt>
                <c:pt idx="517">
                  <c:v>0.01</c:v>
                </c:pt>
                <c:pt idx="518">
                  <c:v>0.01</c:v>
                </c:pt>
                <c:pt idx="519">
                  <c:v>0.02</c:v>
                </c:pt>
                <c:pt idx="520">
                  <c:v>0.04</c:v>
                </c:pt>
                <c:pt idx="521">
                  <c:v>0.02</c:v>
                </c:pt>
                <c:pt idx="522">
                  <c:v>0.01</c:v>
                </c:pt>
                <c:pt idx="523">
                  <c:v>0.01</c:v>
                </c:pt>
                <c:pt idx="524">
                  <c:v>0.01</c:v>
                </c:pt>
                <c:pt idx="525">
                  <c:v>0.04</c:v>
                </c:pt>
                <c:pt idx="526">
                  <c:v>0.01</c:v>
                </c:pt>
                <c:pt idx="527">
                  <c:v>0.02</c:v>
                </c:pt>
                <c:pt idx="528">
                  <c:v>0.02</c:v>
                </c:pt>
                <c:pt idx="529">
                  <c:v>0.02</c:v>
                </c:pt>
                <c:pt idx="530">
                  <c:v>0.04</c:v>
                </c:pt>
                <c:pt idx="531">
                  <c:v>0.01</c:v>
                </c:pt>
                <c:pt idx="532">
                  <c:v>0.04</c:v>
                </c:pt>
                <c:pt idx="533">
                  <c:v>0.01</c:v>
                </c:pt>
                <c:pt idx="534">
                  <c:v>0.01</c:v>
                </c:pt>
                <c:pt idx="535">
                  <c:v>0.01</c:v>
                </c:pt>
                <c:pt idx="536">
                  <c:v>0.01</c:v>
                </c:pt>
                <c:pt idx="537">
                  <c:v>0.01</c:v>
                </c:pt>
                <c:pt idx="538">
                  <c:v>0.02</c:v>
                </c:pt>
                <c:pt idx="539">
                  <c:v>0.01</c:v>
                </c:pt>
                <c:pt idx="540">
                  <c:v>0.01</c:v>
                </c:pt>
                <c:pt idx="541">
                  <c:v>0.02</c:v>
                </c:pt>
                <c:pt idx="542">
                  <c:v>0.01</c:v>
                </c:pt>
                <c:pt idx="543">
                  <c:v>0.02</c:v>
                </c:pt>
                <c:pt idx="544">
                  <c:v>0.01</c:v>
                </c:pt>
                <c:pt idx="545">
                  <c:v>0.01</c:v>
                </c:pt>
                <c:pt idx="546">
                  <c:v>0.01</c:v>
                </c:pt>
                <c:pt idx="547">
                  <c:v>0.01</c:v>
                </c:pt>
                <c:pt idx="548">
                  <c:v>0.01</c:v>
                </c:pt>
                <c:pt idx="549">
                  <c:v>0.12</c:v>
                </c:pt>
                <c:pt idx="550">
                  <c:v>0.01</c:v>
                </c:pt>
                <c:pt idx="551">
                  <c:v>0.01</c:v>
                </c:pt>
                <c:pt idx="552">
                  <c:v>0.02</c:v>
                </c:pt>
                <c:pt idx="553">
                  <c:v>0.01</c:v>
                </c:pt>
                <c:pt idx="554">
                  <c:v>0.04</c:v>
                </c:pt>
                <c:pt idx="555">
                  <c:v>0.01</c:v>
                </c:pt>
                <c:pt idx="556">
                  <c:v>0.04</c:v>
                </c:pt>
                <c:pt idx="557">
                  <c:v>0.04</c:v>
                </c:pt>
                <c:pt idx="558">
                  <c:v>0.01</c:v>
                </c:pt>
                <c:pt idx="559">
                  <c:v>0.01</c:v>
                </c:pt>
                <c:pt idx="560">
                  <c:v>0.01</c:v>
                </c:pt>
                <c:pt idx="561">
                  <c:v>0.01</c:v>
                </c:pt>
                <c:pt idx="562">
                  <c:v>0.01</c:v>
                </c:pt>
                <c:pt idx="563">
                  <c:v>0.01</c:v>
                </c:pt>
                <c:pt idx="564">
                  <c:v>0.02</c:v>
                </c:pt>
                <c:pt idx="565">
                  <c:v>0.01</c:v>
                </c:pt>
                <c:pt idx="566">
                  <c:v>0.01</c:v>
                </c:pt>
                <c:pt idx="567">
                  <c:v>0.01</c:v>
                </c:pt>
                <c:pt idx="568">
                  <c:v>0.01</c:v>
                </c:pt>
                <c:pt idx="569">
                  <c:v>0.01</c:v>
                </c:pt>
                <c:pt idx="570">
                  <c:v>0.01</c:v>
                </c:pt>
                <c:pt idx="571">
                  <c:v>0.03</c:v>
                </c:pt>
                <c:pt idx="572">
                  <c:v>0.01</c:v>
                </c:pt>
                <c:pt idx="573">
                  <c:v>0.01</c:v>
                </c:pt>
                <c:pt idx="574">
                  <c:v>0.01</c:v>
                </c:pt>
                <c:pt idx="575">
                  <c:v>0.02</c:v>
                </c:pt>
                <c:pt idx="576">
                  <c:v>0.01</c:v>
                </c:pt>
                <c:pt idx="577">
                  <c:v>0.01</c:v>
                </c:pt>
                <c:pt idx="578">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7ECAC4"/>
              </a:solidFill>
            </c:spPr>
            <c:extLst>
              <c:ext xmlns:c16="http://schemas.microsoft.com/office/drawing/2014/chart" uri="{C3380CC4-5D6E-409C-BE32-E72D297353CC}">
                <c16:uniqueId val="{00000185-2993-41DE-A2CB-63102DE87051}"/>
              </c:ext>
            </c:extLst>
          </c:dPt>
          <c:dPt>
            <c:idx val="194"/>
            <c:invertIfNegative val="1"/>
            <c:bubble3D val="0"/>
            <c:spPr>
              <a:solidFill>
                <a:srgbClr val="7ECAC4"/>
              </a:solidFill>
            </c:spPr>
            <c:extLst>
              <c:ext xmlns:c16="http://schemas.microsoft.com/office/drawing/2014/chart" uri="{C3380CC4-5D6E-409C-BE32-E72D297353CC}">
                <c16:uniqueId val="{00000187-2993-41DE-A2CB-63102DE87051}"/>
              </c:ext>
            </c:extLst>
          </c:dPt>
          <c:dPt>
            <c:idx val="195"/>
            <c:invertIfNegative val="1"/>
            <c:bubble3D val="0"/>
            <c:spPr>
              <a:solidFill>
                <a:srgbClr val="7ECAC4"/>
              </a:solidFill>
            </c:spPr>
            <c:extLst>
              <c:ext xmlns:c16="http://schemas.microsoft.com/office/drawing/2014/chart" uri="{C3380CC4-5D6E-409C-BE32-E72D297353CC}">
                <c16:uniqueId val="{00000189-2993-41DE-A2CB-63102DE87051}"/>
              </c:ext>
            </c:extLst>
          </c:dPt>
          <c:dPt>
            <c:idx val="196"/>
            <c:invertIfNegative val="1"/>
            <c:bubble3D val="0"/>
            <c:spPr>
              <a:solidFill>
                <a:srgbClr val="7ECAC4"/>
              </a:solidFill>
            </c:spPr>
            <c:extLst>
              <c:ext xmlns:c16="http://schemas.microsoft.com/office/drawing/2014/chart" uri="{C3380CC4-5D6E-409C-BE32-E72D297353CC}">
                <c16:uniqueId val="{0000018B-2993-41DE-A2CB-63102DE87051}"/>
              </c:ext>
            </c:extLst>
          </c:dPt>
          <c:dPt>
            <c:idx val="197"/>
            <c:invertIfNegative val="1"/>
            <c:bubble3D val="0"/>
            <c:spPr>
              <a:solidFill>
                <a:srgbClr val="7ECAC4"/>
              </a:solidFill>
            </c:spPr>
            <c:extLst>
              <c:ext xmlns:c16="http://schemas.microsoft.com/office/drawing/2014/chart" uri="{C3380CC4-5D6E-409C-BE32-E72D297353CC}">
                <c16:uniqueId val="{0000018D-2993-41DE-A2CB-63102DE87051}"/>
              </c:ext>
            </c:extLst>
          </c:dPt>
          <c:dPt>
            <c:idx val="198"/>
            <c:invertIfNegative val="1"/>
            <c:bubble3D val="0"/>
            <c:spPr>
              <a:solidFill>
                <a:srgbClr val="7ECAC4"/>
              </a:solidFill>
            </c:spPr>
            <c:extLst>
              <c:ext xmlns:c16="http://schemas.microsoft.com/office/drawing/2014/chart" uri="{C3380CC4-5D6E-409C-BE32-E72D297353CC}">
                <c16:uniqueId val="{0000018F-2993-41DE-A2CB-63102DE87051}"/>
              </c:ext>
            </c:extLst>
          </c:dPt>
          <c:dPt>
            <c:idx val="199"/>
            <c:invertIfNegative val="1"/>
            <c:bubble3D val="0"/>
            <c:spPr>
              <a:solidFill>
                <a:srgbClr val="7ECAC4"/>
              </a:solidFill>
            </c:spPr>
            <c:extLst>
              <c:ext xmlns:c16="http://schemas.microsoft.com/office/drawing/2014/chart" uri="{C3380CC4-5D6E-409C-BE32-E72D297353CC}">
                <c16:uniqueId val="{00000191-2993-41DE-A2CB-63102DE87051}"/>
              </c:ext>
            </c:extLst>
          </c:dPt>
          <c:dPt>
            <c:idx val="200"/>
            <c:invertIfNegative val="1"/>
            <c:bubble3D val="0"/>
            <c:spPr>
              <a:solidFill>
                <a:srgbClr val="7ECAC4"/>
              </a:solidFill>
            </c:spPr>
            <c:extLst>
              <c:ext xmlns:c16="http://schemas.microsoft.com/office/drawing/2014/chart" uri="{C3380CC4-5D6E-409C-BE32-E72D297353CC}">
                <c16:uniqueId val="{00000193-2993-41DE-A2CB-63102DE87051}"/>
              </c:ext>
            </c:extLst>
          </c:dPt>
          <c:dPt>
            <c:idx val="201"/>
            <c:invertIfNegative val="1"/>
            <c:bubble3D val="0"/>
            <c:spPr>
              <a:solidFill>
                <a:srgbClr val="7ECAC4"/>
              </a:solidFill>
            </c:spPr>
            <c:extLst>
              <c:ext xmlns:c16="http://schemas.microsoft.com/office/drawing/2014/chart" uri="{C3380CC4-5D6E-409C-BE32-E72D297353CC}">
                <c16:uniqueId val="{00000195-2993-41DE-A2CB-63102DE87051}"/>
              </c:ext>
            </c:extLst>
          </c:dPt>
          <c:dPt>
            <c:idx val="202"/>
            <c:invertIfNegative val="1"/>
            <c:bubble3D val="0"/>
            <c:spPr>
              <a:solidFill>
                <a:srgbClr val="7ECAC4"/>
              </a:solidFill>
            </c:spPr>
            <c:extLst>
              <c:ext xmlns:c16="http://schemas.microsoft.com/office/drawing/2014/chart" uri="{C3380CC4-5D6E-409C-BE32-E72D297353CC}">
                <c16:uniqueId val="{00000197-2993-41DE-A2CB-63102DE87051}"/>
              </c:ext>
            </c:extLst>
          </c:dPt>
          <c:dPt>
            <c:idx val="203"/>
            <c:invertIfNegative val="1"/>
            <c:bubble3D val="0"/>
            <c:spPr>
              <a:solidFill>
                <a:srgbClr val="7ECAC4"/>
              </a:solidFill>
            </c:spPr>
            <c:extLst>
              <c:ext xmlns:c16="http://schemas.microsoft.com/office/drawing/2014/chart" uri="{C3380CC4-5D6E-409C-BE32-E72D297353CC}">
                <c16:uniqueId val="{00000199-2993-41DE-A2CB-63102DE87051}"/>
              </c:ext>
            </c:extLst>
          </c:dPt>
          <c:dPt>
            <c:idx val="204"/>
            <c:invertIfNegative val="1"/>
            <c:bubble3D val="0"/>
            <c:spPr>
              <a:solidFill>
                <a:srgbClr val="7ECAC4"/>
              </a:solidFill>
            </c:spPr>
            <c:extLst>
              <c:ext xmlns:c16="http://schemas.microsoft.com/office/drawing/2014/chart" uri="{C3380CC4-5D6E-409C-BE32-E72D297353CC}">
                <c16:uniqueId val="{0000019B-2993-41DE-A2CB-63102DE87051}"/>
              </c:ext>
            </c:extLst>
          </c:dPt>
          <c:dPt>
            <c:idx val="205"/>
            <c:invertIfNegative val="1"/>
            <c:bubble3D val="0"/>
            <c:spPr>
              <a:solidFill>
                <a:srgbClr val="7ECAC4"/>
              </a:solidFill>
            </c:spPr>
            <c:extLst>
              <c:ext xmlns:c16="http://schemas.microsoft.com/office/drawing/2014/chart" uri="{C3380CC4-5D6E-409C-BE32-E72D297353CC}">
                <c16:uniqueId val="{0000019D-2993-41DE-A2CB-63102DE87051}"/>
              </c:ext>
            </c:extLst>
          </c:dPt>
          <c:dPt>
            <c:idx val="206"/>
            <c:invertIfNegative val="1"/>
            <c:bubble3D val="0"/>
            <c:spPr>
              <a:solidFill>
                <a:srgbClr val="7ECAC4"/>
              </a:solidFill>
            </c:spPr>
            <c:extLst>
              <c:ext xmlns:c16="http://schemas.microsoft.com/office/drawing/2014/chart" uri="{C3380CC4-5D6E-409C-BE32-E72D297353CC}">
                <c16:uniqueId val="{0000019F-2993-41DE-A2CB-63102DE87051}"/>
              </c:ext>
            </c:extLst>
          </c:dPt>
          <c:dPt>
            <c:idx val="207"/>
            <c:invertIfNegative val="1"/>
            <c:bubble3D val="0"/>
            <c:spPr>
              <a:solidFill>
                <a:srgbClr val="7ECAC4"/>
              </a:solidFill>
            </c:spPr>
            <c:extLst>
              <c:ext xmlns:c16="http://schemas.microsoft.com/office/drawing/2014/chart" uri="{C3380CC4-5D6E-409C-BE32-E72D297353CC}">
                <c16:uniqueId val="{000001A1-2993-41DE-A2CB-63102DE87051}"/>
              </c:ext>
            </c:extLst>
          </c:dPt>
          <c:dPt>
            <c:idx val="208"/>
            <c:invertIfNegative val="1"/>
            <c:bubble3D val="0"/>
            <c:spPr>
              <a:solidFill>
                <a:srgbClr val="7ECAC4"/>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08A2-4ED8-81DE-F02C5E6E5F08}"/>
              </c:ext>
            </c:extLst>
          </c:dPt>
          <c:dPt>
            <c:idx val="211"/>
            <c:invertIfNegative val="1"/>
            <c:bubble3D val="0"/>
            <c:spPr>
              <a:solidFill>
                <a:srgbClr val="AEABAB"/>
              </a:solidFill>
            </c:spPr>
            <c:extLst>
              <c:ext xmlns:c16="http://schemas.microsoft.com/office/drawing/2014/chart" uri="{C3380CC4-5D6E-409C-BE32-E72D297353CC}">
                <c16:uniqueId val="{000001A9-08A2-4ED8-81DE-F02C5E6E5F08}"/>
              </c:ext>
            </c:extLst>
          </c:dPt>
          <c:dPt>
            <c:idx val="212"/>
            <c:invertIfNegative val="1"/>
            <c:bubble3D val="0"/>
            <c:spPr>
              <a:solidFill>
                <a:srgbClr val="AEABAB"/>
              </a:solidFill>
            </c:spPr>
            <c:extLst>
              <c:ext xmlns:c16="http://schemas.microsoft.com/office/drawing/2014/chart" uri="{C3380CC4-5D6E-409C-BE32-E72D297353CC}">
                <c16:uniqueId val="{000001AB-08A2-4ED8-81DE-F02C5E6E5F08}"/>
              </c:ext>
            </c:extLst>
          </c:dPt>
          <c:dPt>
            <c:idx val="213"/>
            <c:invertIfNegative val="1"/>
            <c:bubble3D val="0"/>
            <c:spPr>
              <a:solidFill>
                <a:srgbClr val="AEABAB"/>
              </a:solidFill>
            </c:spPr>
            <c:extLst>
              <c:ext xmlns:c16="http://schemas.microsoft.com/office/drawing/2014/chart" uri="{C3380CC4-5D6E-409C-BE32-E72D297353CC}">
                <c16:uniqueId val="{000001AD-08A2-4ED8-81DE-F02C5E6E5F08}"/>
              </c:ext>
            </c:extLst>
          </c:dPt>
          <c:dPt>
            <c:idx val="214"/>
            <c:invertIfNegative val="1"/>
            <c:bubble3D val="0"/>
            <c:spPr>
              <a:solidFill>
                <a:srgbClr val="AEABAB"/>
              </a:solidFill>
            </c:spPr>
            <c:extLst>
              <c:ext xmlns:c16="http://schemas.microsoft.com/office/drawing/2014/chart" uri="{C3380CC4-5D6E-409C-BE32-E72D297353CC}">
                <c16:uniqueId val="{000001AF-08A2-4ED8-81DE-F02C5E6E5F08}"/>
              </c:ext>
            </c:extLst>
          </c:dPt>
          <c:dPt>
            <c:idx val="215"/>
            <c:invertIfNegative val="1"/>
            <c:bubble3D val="0"/>
            <c:spPr>
              <a:solidFill>
                <a:srgbClr val="AEABAB"/>
              </a:solidFill>
            </c:spPr>
            <c:extLst>
              <c:ext xmlns:c16="http://schemas.microsoft.com/office/drawing/2014/chart" uri="{C3380CC4-5D6E-409C-BE32-E72D297353CC}">
                <c16:uniqueId val="{000001B1-08A2-4ED8-81DE-F02C5E6E5F08}"/>
              </c:ext>
            </c:extLst>
          </c:dPt>
          <c:dPt>
            <c:idx val="216"/>
            <c:invertIfNegative val="1"/>
            <c:bubble3D val="0"/>
            <c:spPr>
              <a:solidFill>
                <a:srgbClr val="AEABAB"/>
              </a:solidFill>
            </c:spPr>
            <c:extLst>
              <c:ext xmlns:c16="http://schemas.microsoft.com/office/drawing/2014/chart" uri="{C3380CC4-5D6E-409C-BE32-E72D297353CC}">
                <c16:uniqueId val="{000001B3-08A2-4ED8-81DE-F02C5E6E5F08}"/>
              </c:ext>
            </c:extLst>
          </c:dPt>
          <c:dPt>
            <c:idx val="217"/>
            <c:invertIfNegative val="1"/>
            <c:bubble3D val="0"/>
            <c:spPr>
              <a:solidFill>
                <a:srgbClr val="AEABAB"/>
              </a:solidFill>
            </c:spPr>
            <c:extLst>
              <c:ext xmlns:c16="http://schemas.microsoft.com/office/drawing/2014/chart" uri="{C3380CC4-5D6E-409C-BE32-E72D297353CC}">
                <c16:uniqueId val="{000001B5-08A2-4ED8-81DE-F02C5E6E5F08}"/>
              </c:ext>
            </c:extLst>
          </c:dPt>
          <c:dPt>
            <c:idx val="218"/>
            <c:invertIfNegative val="1"/>
            <c:bubble3D val="0"/>
            <c:spPr>
              <a:solidFill>
                <a:srgbClr val="AEABAB"/>
              </a:solidFill>
            </c:spPr>
            <c:extLst>
              <c:ext xmlns:c16="http://schemas.microsoft.com/office/drawing/2014/chart" uri="{C3380CC4-5D6E-409C-BE32-E72D297353CC}">
                <c16:uniqueId val="{000001B7-08A2-4ED8-81DE-F02C5E6E5F08}"/>
              </c:ext>
            </c:extLst>
          </c:dPt>
          <c:dPt>
            <c:idx val="219"/>
            <c:invertIfNegative val="1"/>
            <c:bubble3D val="0"/>
            <c:spPr>
              <a:solidFill>
                <a:srgbClr val="AEABAB"/>
              </a:solidFill>
            </c:spPr>
            <c:extLst>
              <c:ext xmlns:c16="http://schemas.microsoft.com/office/drawing/2014/chart" uri="{C3380CC4-5D6E-409C-BE32-E72D297353CC}">
                <c16:uniqueId val="{000001B9-08A2-4ED8-81DE-F02C5E6E5F08}"/>
              </c:ext>
            </c:extLst>
          </c:dPt>
          <c:dPt>
            <c:idx val="220"/>
            <c:invertIfNegative val="1"/>
            <c:bubble3D val="0"/>
            <c:spPr>
              <a:solidFill>
                <a:srgbClr val="AEABAB"/>
              </a:solidFill>
            </c:spPr>
            <c:extLst>
              <c:ext xmlns:c16="http://schemas.microsoft.com/office/drawing/2014/chart" uri="{C3380CC4-5D6E-409C-BE32-E72D297353CC}">
                <c16:uniqueId val="{000001BB-08A2-4ED8-81DE-F02C5E6E5F08}"/>
              </c:ext>
            </c:extLst>
          </c:dPt>
          <c:dPt>
            <c:idx val="221"/>
            <c:invertIfNegative val="1"/>
            <c:bubble3D val="0"/>
            <c:spPr>
              <a:solidFill>
                <a:srgbClr val="AEABAB"/>
              </a:solidFill>
            </c:spPr>
            <c:extLst>
              <c:ext xmlns:c16="http://schemas.microsoft.com/office/drawing/2014/chart" uri="{C3380CC4-5D6E-409C-BE32-E72D297353CC}">
                <c16:uniqueId val="{000001BD-08A2-4ED8-81DE-F02C5E6E5F08}"/>
              </c:ext>
            </c:extLst>
          </c:dPt>
          <c:dPt>
            <c:idx val="222"/>
            <c:invertIfNegative val="1"/>
            <c:bubble3D val="0"/>
            <c:spPr>
              <a:solidFill>
                <a:srgbClr val="AEABAB"/>
              </a:solidFill>
            </c:spPr>
            <c:extLst>
              <c:ext xmlns:c16="http://schemas.microsoft.com/office/drawing/2014/chart" uri="{C3380CC4-5D6E-409C-BE32-E72D297353CC}">
                <c16:uniqueId val="{000001BF-08A2-4ED8-81DE-F02C5E6E5F08}"/>
              </c:ext>
            </c:extLst>
          </c:dPt>
          <c:dPt>
            <c:idx val="223"/>
            <c:invertIfNegative val="1"/>
            <c:bubble3D val="0"/>
            <c:spPr>
              <a:solidFill>
                <a:srgbClr val="AEABAB"/>
              </a:solidFill>
            </c:spPr>
            <c:extLst>
              <c:ext xmlns:c16="http://schemas.microsoft.com/office/drawing/2014/chart" uri="{C3380CC4-5D6E-409C-BE32-E72D297353CC}">
                <c16:uniqueId val="{000001C1-08A2-4ED8-81DE-F02C5E6E5F08}"/>
              </c:ext>
            </c:extLst>
          </c:dPt>
          <c:dPt>
            <c:idx val="224"/>
            <c:invertIfNegative val="1"/>
            <c:bubble3D val="0"/>
            <c:spPr>
              <a:solidFill>
                <a:srgbClr val="AEABAB"/>
              </a:solidFill>
            </c:spPr>
            <c:extLst>
              <c:ext xmlns:c16="http://schemas.microsoft.com/office/drawing/2014/chart" uri="{C3380CC4-5D6E-409C-BE32-E72D297353CC}">
                <c16:uniqueId val="{000001C3-08A2-4ED8-81DE-F02C5E6E5F08}"/>
              </c:ext>
            </c:extLst>
          </c:dPt>
          <c:dPt>
            <c:idx val="225"/>
            <c:invertIfNegative val="1"/>
            <c:bubble3D val="0"/>
            <c:spPr>
              <a:solidFill>
                <a:srgbClr val="AEABAB"/>
              </a:solidFill>
            </c:spPr>
            <c:extLst>
              <c:ext xmlns:c16="http://schemas.microsoft.com/office/drawing/2014/chart" uri="{C3380CC4-5D6E-409C-BE32-E72D297353CC}">
                <c16:uniqueId val="{000001C5-08A2-4ED8-81DE-F02C5E6E5F08}"/>
              </c:ext>
            </c:extLst>
          </c:dPt>
          <c:dPt>
            <c:idx val="226"/>
            <c:invertIfNegative val="1"/>
            <c:bubble3D val="0"/>
            <c:spPr>
              <a:solidFill>
                <a:srgbClr val="AEABAB"/>
              </a:solidFill>
            </c:spPr>
            <c:extLst>
              <c:ext xmlns:c16="http://schemas.microsoft.com/office/drawing/2014/chart" uri="{C3380CC4-5D6E-409C-BE32-E72D297353CC}">
                <c16:uniqueId val="{000001C7-08A2-4ED8-81DE-F02C5E6E5F08}"/>
              </c:ext>
            </c:extLst>
          </c:dPt>
          <c:dPt>
            <c:idx val="227"/>
            <c:invertIfNegative val="1"/>
            <c:bubble3D val="0"/>
            <c:spPr>
              <a:solidFill>
                <a:srgbClr val="AEABAB"/>
              </a:solidFill>
            </c:spPr>
            <c:extLst>
              <c:ext xmlns:c16="http://schemas.microsoft.com/office/drawing/2014/chart" uri="{C3380CC4-5D6E-409C-BE32-E72D297353CC}">
                <c16:uniqueId val="{000001C9-08A2-4ED8-81DE-F02C5E6E5F08}"/>
              </c:ext>
            </c:extLst>
          </c:dPt>
          <c:dPt>
            <c:idx val="228"/>
            <c:invertIfNegative val="1"/>
            <c:bubble3D val="0"/>
            <c:spPr>
              <a:solidFill>
                <a:srgbClr val="AEABAB"/>
              </a:solidFill>
            </c:spPr>
            <c:extLst>
              <c:ext xmlns:c16="http://schemas.microsoft.com/office/drawing/2014/chart" uri="{C3380CC4-5D6E-409C-BE32-E72D297353CC}">
                <c16:uniqueId val="{000001CB-08A2-4ED8-81DE-F02C5E6E5F08}"/>
              </c:ext>
            </c:extLst>
          </c:dPt>
          <c:dPt>
            <c:idx val="229"/>
            <c:invertIfNegative val="1"/>
            <c:bubble3D val="0"/>
            <c:spPr>
              <a:solidFill>
                <a:srgbClr val="AEABAB"/>
              </a:solidFill>
            </c:spPr>
            <c:extLst>
              <c:ext xmlns:c16="http://schemas.microsoft.com/office/drawing/2014/chart" uri="{C3380CC4-5D6E-409C-BE32-E72D297353CC}">
                <c16:uniqueId val="{000001CD-08A2-4ED8-81DE-F02C5E6E5F08}"/>
              </c:ext>
            </c:extLst>
          </c:dPt>
          <c:dPt>
            <c:idx val="230"/>
            <c:invertIfNegative val="1"/>
            <c:bubble3D val="0"/>
            <c:spPr>
              <a:solidFill>
                <a:srgbClr val="AEABAB"/>
              </a:solidFill>
            </c:spPr>
            <c:extLst>
              <c:ext xmlns:c16="http://schemas.microsoft.com/office/drawing/2014/chart" uri="{C3380CC4-5D6E-409C-BE32-E72D297353CC}">
                <c16:uniqueId val="{000001CF-08A2-4ED8-81DE-F02C5E6E5F08}"/>
              </c:ext>
            </c:extLst>
          </c:dPt>
          <c:dPt>
            <c:idx val="231"/>
            <c:invertIfNegative val="1"/>
            <c:bubble3D val="0"/>
            <c:spPr>
              <a:solidFill>
                <a:srgbClr val="AEABAB"/>
              </a:solidFill>
            </c:spPr>
            <c:extLst>
              <c:ext xmlns:c16="http://schemas.microsoft.com/office/drawing/2014/chart" uri="{C3380CC4-5D6E-409C-BE32-E72D297353CC}">
                <c16:uniqueId val="{000001D1-08A2-4ED8-81DE-F02C5E6E5F08}"/>
              </c:ext>
            </c:extLst>
          </c:dPt>
          <c:dPt>
            <c:idx val="232"/>
            <c:invertIfNegative val="1"/>
            <c:bubble3D val="0"/>
            <c:spPr>
              <a:solidFill>
                <a:srgbClr val="AEABAB"/>
              </a:solidFill>
            </c:spPr>
            <c:extLst>
              <c:ext xmlns:c16="http://schemas.microsoft.com/office/drawing/2014/chart" uri="{C3380CC4-5D6E-409C-BE32-E72D297353CC}">
                <c16:uniqueId val="{000001D3-08A2-4ED8-81DE-F02C5E6E5F08}"/>
              </c:ext>
            </c:extLst>
          </c:dPt>
          <c:dPt>
            <c:idx val="233"/>
            <c:invertIfNegative val="1"/>
            <c:bubble3D val="0"/>
            <c:spPr>
              <a:solidFill>
                <a:srgbClr val="AEABAB"/>
              </a:solidFill>
            </c:spPr>
            <c:extLst>
              <c:ext xmlns:c16="http://schemas.microsoft.com/office/drawing/2014/chart" uri="{C3380CC4-5D6E-409C-BE32-E72D297353CC}">
                <c16:uniqueId val="{000001D5-08A2-4ED8-81DE-F02C5E6E5F08}"/>
              </c:ext>
            </c:extLst>
          </c:dPt>
          <c:dPt>
            <c:idx val="234"/>
            <c:invertIfNegative val="1"/>
            <c:bubble3D val="0"/>
            <c:spPr>
              <a:solidFill>
                <a:srgbClr val="AEABAB"/>
              </a:solidFill>
            </c:spPr>
            <c:extLst>
              <c:ext xmlns:c16="http://schemas.microsoft.com/office/drawing/2014/chart" uri="{C3380CC4-5D6E-409C-BE32-E72D297353CC}">
                <c16:uniqueId val="{000001D7-08A2-4ED8-81DE-F02C5E6E5F08}"/>
              </c:ext>
            </c:extLst>
          </c:dPt>
          <c:dPt>
            <c:idx val="235"/>
            <c:invertIfNegative val="1"/>
            <c:bubble3D val="0"/>
            <c:spPr>
              <a:solidFill>
                <a:srgbClr val="AEABAB"/>
              </a:solidFill>
            </c:spPr>
            <c:extLst>
              <c:ext xmlns:c16="http://schemas.microsoft.com/office/drawing/2014/chart" uri="{C3380CC4-5D6E-409C-BE32-E72D297353CC}">
                <c16:uniqueId val="{000001D9-08A2-4ED8-81DE-F02C5E6E5F08}"/>
              </c:ext>
            </c:extLst>
          </c:dPt>
          <c:dPt>
            <c:idx val="236"/>
            <c:invertIfNegative val="1"/>
            <c:bubble3D val="0"/>
            <c:spPr>
              <a:solidFill>
                <a:srgbClr val="AEABAB"/>
              </a:solidFill>
            </c:spPr>
            <c:extLst>
              <c:ext xmlns:c16="http://schemas.microsoft.com/office/drawing/2014/chart" uri="{C3380CC4-5D6E-409C-BE32-E72D297353CC}">
                <c16:uniqueId val="{000001DB-08A2-4ED8-81DE-F02C5E6E5F08}"/>
              </c:ext>
            </c:extLst>
          </c:dPt>
          <c:dPt>
            <c:idx val="237"/>
            <c:invertIfNegative val="1"/>
            <c:bubble3D val="0"/>
            <c:spPr>
              <a:solidFill>
                <a:srgbClr val="AEABAB"/>
              </a:solidFill>
            </c:spPr>
            <c:extLst>
              <c:ext xmlns:c16="http://schemas.microsoft.com/office/drawing/2014/chart" uri="{C3380CC4-5D6E-409C-BE32-E72D297353CC}">
                <c16:uniqueId val="{000001DD-08A2-4ED8-81DE-F02C5E6E5F08}"/>
              </c:ext>
            </c:extLst>
          </c:dPt>
          <c:dPt>
            <c:idx val="238"/>
            <c:invertIfNegative val="1"/>
            <c:bubble3D val="0"/>
            <c:spPr>
              <a:solidFill>
                <a:srgbClr val="AEABAB"/>
              </a:solidFill>
            </c:spPr>
            <c:extLst>
              <c:ext xmlns:c16="http://schemas.microsoft.com/office/drawing/2014/chart" uri="{C3380CC4-5D6E-409C-BE32-E72D297353CC}">
                <c16:uniqueId val="{000001DF-08A2-4ED8-81DE-F02C5E6E5F08}"/>
              </c:ext>
            </c:extLst>
          </c:dPt>
          <c:dPt>
            <c:idx val="239"/>
            <c:invertIfNegative val="1"/>
            <c:bubble3D val="0"/>
            <c:spPr>
              <a:solidFill>
                <a:srgbClr val="AEABAB"/>
              </a:solidFill>
            </c:spPr>
            <c:extLst>
              <c:ext xmlns:c16="http://schemas.microsoft.com/office/drawing/2014/chart" uri="{C3380CC4-5D6E-409C-BE32-E72D297353CC}">
                <c16:uniqueId val="{000001E1-08A2-4ED8-81DE-F02C5E6E5F08}"/>
              </c:ext>
            </c:extLst>
          </c:dPt>
          <c:dPt>
            <c:idx val="240"/>
            <c:invertIfNegative val="1"/>
            <c:bubble3D val="0"/>
            <c:spPr>
              <a:solidFill>
                <a:srgbClr val="AEABAB"/>
              </a:solidFill>
            </c:spPr>
            <c:extLst>
              <c:ext xmlns:c16="http://schemas.microsoft.com/office/drawing/2014/chart" uri="{C3380CC4-5D6E-409C-BE32-E72D297353CC}">
                <c16:uniqueId val="{000001E3-08A2-4ED8-81DE-F02C5E6E5F08}"/>
              </c:ext>
            </c:extLst>
          </c:dPt>
          <c:dPt>
            <c:idx val="241"/>
            <c:invertIfNegative val="1"/>
            <c:bubble3D val="0"/>
            <c:spPr>
              <a:solidFill>
                <a:srgbClr val="AEABAB"/>
              </a:solidFill>
            </c:spPr>
            <c:extLst>
              <c:ext xmlns:c16="http://schemas.microsoft.com/office/drawing/2014/chart" uri="{C3380CC4-5D6E-409C-BE32-E72D297353CC}">
                <c16:uniqueId val="{000001E5-08A2-4ED8-81DE-F02C5E6E5F08}"/>
              </c:ext>
            </c:extLst>
          </c:dPt>
          <c:dPt>
            <c:idx val="242"/>
            <c:invertIfNegative val="1"/>
            <c:bubble3D val="0"/>
            <c:spPr>
              <a:solidFill>
                <a:srgbClr val="AEABAB"/>
              </a:solidFill>
            </c:spPr>
            <c:extLst>
              <c:ext xmlns:c16="http://schemas.microsoft.com/office/drawing/2014/chart" uri="{C3380CC4-5D6E-409C-BE32-E72D297353CC}">
                <c16:uniqueId val="{000001E7-08A2-4ED8-81DE-F02C5E6E5F08}"/>
              </c:ext>
            </c:extLst>
          </c:dPt>
          <c:dPt>
            <c:idx val="243"/>
            <c:invertIfNegative val="1"/>
            <c:bubble3D val="0"/>
            <c:spPr>
              <a:solidFill>
                <a:srgbClr val="AEABAB"/>
              </a:solidFill>
            </c:spPr>
            <c:extLst>
              <c:ext xmlns:c16="http://schemas.microsoft.com/office/drawing/2014/chart" uri="{C3380CC4-5D6E-409C-BE32-E72D297353CC}">
                <c16:uniqueId val="{000001E9-08A2-4ED8-81DE-F02C5E6E5F08}"/>
              </c:ext>
            </c:extLst>
          </c:dPt>
          <c:dPt>
            <c:idx val="244"/>
            <c:invertIfNegative val="1"/>
            <c:bubble3D val="0"/>
            <c:spPr>
              <a:solidFill>
                <a:srgbClr val="AEABAB"/>
              </a:solidFill>
            </c:spPr>
            <c:extLst>
              <c:ext xmlns:c16="http://schemas.microsoft.com/office/drawing/2014/chart" uri="{C3380CC4-5D6E-409C-BE32-E72D297353CC}">
                <c16:uniqueId val="{000001EB-08A2-4ED8-81DE-F02C5E6E5F08}"/>
              </c:ext>
            </c:extLst>
          </c:dPt>
          <c:dPt>
            <c:idx val="245"/>
            <c:invertIfNegative val="1"/>
            <c:bubble3D val="0"/>
            <c:spPr>
              <a:solidFill>
                <a:srgbClr val="AEABAB"/>
              </a:solidFill>
            </c:spPr>
            <c:extLst>
              <c:ext xmlns:c16="http://schemas.microsoft.com/office/drawing/2014/chart" uri="{C3380CC4-5D6E-409C-BE32-E72D297353CC}">
                <c16:uniqueId val="{000001ED-08A2-4ED8-81DE-F02C5E6E5F08}"/>
              </c:ext>
            </c:extLst>
          </c:dPt>
          <c:dPt>
            <c:idx val="246"/>
            <c:invertIfNegative val="1"/>
            <c:bubble3D val="0"/>
            <c:spPr>
              <a:solidFill>
                <a:srgbClr val="AEABAB"/>
              </a:solidFill>
            </c:spPr>
            <c:extLst>
              <c:ext xmlns:c16="http://schemas.microsoft.com/office/drawing/2014/chart" uri="{C3380CC4-5D6E-409C-BE32-E72D297353CC}">
                <c16:uniqueId val="{000001EF-08A2-4ED8-81DE-F02C5E6E5F08}"/>
              </c:ext>
            </c:extLst>
          </c:dPt>
          <c:dPt>
            <c:idx val="247"/>
            <c:invertIfNegative val="1"/>
            <c:bubble3D val="0"/>
            <c:spPr>
              <a:solidFill>
                <a:srgbClr val="AEABAB"/>
              </a:solidFill>
            </c:spPr>
            <c:extLst>
              <c:ext xmlns:c16="http://schemas.microsoft.com/office/drawing/2014/chart" uri="{C3380CC4-5D6E-409C-BE32-E72D297353CC}">
                <c16:uniqueId val="{000001F1-08A2-4ED8-81DE-F02C5E6E5F08}"/>
              </c:ext>
            </c:extLst>
          </c:dPt>
          <c:dPt>
            <c:idx val="248"/>
            <c:invertIfNegative val="1"/>
            <c:bubble3D val="0"/>
            <c:spPr>
              <a:solidFill>
                <a:srgbClr val="AEABAB"/>
              </a:solidFill>
            </c:spPr>
            <c:extLst>
              <c:ext xmlns:c16="http://schemas.microsoft.com/office/drawing/2014/chart" uri="{C3380CC4-5D6E-409C-BE32-E72D297353CC}">
                <c16:uniqueId val="{000001F3-08A2-4ED8-81DE-F02C5E6E5F08}"/>
              </c:ext>
            </c:extLst>
          </c:dPt>
          <c:dPt>
            <c:idx val="249"/>
            <c:invertIfNegative val="1"/>
            <c:bubble3D val="0"/>
            <c:spPr>
              <a:solidFill>
                <a:srgbClr val="AEABAB"/>
              </a:solidFill>
            </c:spPr>
            <c:extLst>
              <c:ext xmlns:c16="http://schemas.microsoft.com/office/drawing/2014/chart" uri="{C3380CC4-5D6E-409C-BE32-E72D297353CC}">
                <c16:uniqueId val="{000001F5-08A2-4ED8-81DE-F02C5E6E5F08}"/>
              </c:ext>
            </c:extLst>
          </c:dPt>
          <c:dPt>
            <c:idx val="250"/>
            <c:invertIfNegative val="1"/>
            <c:bubble3D val="0"/>
            <c:spPr>
              <a:solidFill>
                <a:srgbClr val="AEABAB"/>
              </a:solidFill>
            </c:spPr>
            <c:extLst>
              <c:ext xmlns:c16="http://schemas.microsoft.com/office/drawing/2014/chart" uri="{C3380CC4-5D6E-409C-BE32-E72D297353CC}">
                <c16:uniqueId val="{000001F7-08A2-4ED8-81DE-F02C5E6E5F08}"/>
              </c:ext>
            </c:extLst>
          </c:dPt>
          <c:dPt>
            <c:idx val="251"/>
            <c:invertIfNegative val="1"/>
            <c:bubble3D val="0"/>
            <c:spPr>
              <a:solidFill>
                <a:srgbClr val="AEABAB"/>
              </a:solidFill>
            </c:spPr>
            <c:extLst>
              <c:ext xmlns:c16="http://schemas.microsoft.com/office/drawing/2014/chart" uri="{C3380CC4-5D6E-409C-BE32-E72D297353CC}">
                <c16:uniqueId val="{000001F9-08A2-4ED8-81DE-F02C5E6E5F08}"/>
              </c:ext>
            </c:extLst>
          </c:dPt>
          <c:dPt>
            <c:idx val="252"/>
            <c:invertIfNegative val="1"/>
            <c:bubble3D val="0"/>
            <c:spPr>
              <a:solidFill>
                <a:srgbClr val="AEABAB"/>
              </a:solidFill>
            </c:spPr>
            <c:extLst>
              <c:ext xmlns:c16="http://schemas.microsoft.com/office/drawing/2014/chart" uri="{C3380CC4-5D6E-409C-BE32-E72D297353CC}">
                <c16:uniqueId val="{000001FB-08A2-4ED8-81DE-F02C5E6E5F08}"/>
              </c:ext>
            </c:extLst>
          </c:dPt>
          <c:dPt>
            <c:idx val="253"/>
            <c:invertIfNegative val="1"/>
            <c:bubble3D val="0"/>
            <c:spPr>
              <a:solidFill>
                <a:srgbClr val="AEABAB"/>
              </a:solidFill>
            </c:spPr>
            <c:extLst>
              <c:ext xmlns:c16="http://schemas.microsoft.com/office/drawing/2014/chart" uri="{C3380CC4-5D6E-409C-BE32-E72D297353CC}">
                <c16:uniqueId val="{000001FD-08A2-4ED8-81DE-F02C5E6E5F08}"/>
              </c:ext>
            </c:extLst>
          </c:dPt>
          <c:dPt>
            <c:idx val="254"/>
            <c:invertIfNegative val="1"/>
            <c:bubble3D val="0"/>
            <c:spPr>
              <a:solidFill>
                <a:srgbClr val="AEABAB"/>
              </a:solidFill>
            </c:spPr>
            <c:extLst>
              <c:ext xmlns:c16="http://schemas.microsoft.com/office/drawing/2014/chart" uri="{C3380CC4-5D6E-409C-BE32-E72D297353CC}">
                <c16:uniqueId val="{000001FF-08A2-4ED8-81DE-F02C5E6E5F08}"/>
              </c:ext>
            </c:extLst>
          </c:dPt>
          <c:dPt>
            <c:idx val="255"/>
            <c:invertIfNegative val="1"/>
            <c:bubble3D val="0"/>
            <c:spPr>
              <a:solidFill>
                <a:srgbClr val="AEABAB"/>
              </a:solidFill>
            </c:spPr>
            <c:extLst>
              <c:ext xmlns:c16="http://schemas.microsoft.com/office/drawing/2014/chart" uri="{C3380CC4-5D6E-409C-BE32-E72D297353CC}">
                <c16:uniqueId val="{00000201-08A2-4ED8-81DE-F02C5E6E5F08}"/>
              </c:ext>
            </c:extLst>
          </c:dPt>
          <c:dPt>
            <c:idx val="256"/>
            <c:invertIfNegative val="1"/>
            <c:bubble3D val="0"/>
            <c:spPr>
              <a:solidFill>
                <a:srgbClr val="AEABAB"/>
              </a:solidFill>
            </c:spPr>
            <c:extLst>
              <c:ext xmlns:c16="http://schemas.microsoft.com/office/drawing/2014/chart" uri="{C3380CC4-5D6E-409C-BE32-E72D297353CC}">
                <c16:uniqueId val="{00000203-08A2-4ED8-81DE-F02C5E6E5F08}"/>
              </c:ext>
            </c:extLst>
          </c:dPt>
          <c:dPt>
            <c:idx val="257"/>
            <c:invertIfNegative val="1"/>
            <c:bubble3D val="0"/>
            <c:spPr>
              <a:solidFill>
                <a:srgbClr val="AEABAB"/>
              </a:solidFill>
            </c:spPr>
            <c:extLst>
              <c:ext xmlns:c16="http://schemas.microsoft.com/office/drawing/2014/chart" uri="{C3380CC4-5D6E-409C-BE32-E72D297353CC}">
                <c16:uniqueId val="{00000205-08A2-4ED8-81DE-F02C5E6E5F08}"/>
              </c:ext>
            </c:extLst>
          </c:dPt>
          <c:dPt>
            <c:idx val="258"/>
            <c:invertIfNegative val="1"/>
            <c:bubble3D val="0"/>
            <c:spPr>
              <a:solidFill>
                <a:srgbClr val="AEABAB"/>
              </a:solidFill>
            </c:spPr>
            <c:extLst>
              <c:ext xmlns:c16="http://schemas.microsoft.com/office/drawing/2014/chart" uri="{C3380CC4-5D6E-409C-BE32-E72D297353CC}">
                <c16:uniqueId val="{00000207-08A2-4ED8-81DE-F02C5E6E5F08}"/>
              </c:ext>
            </c:extLst>
          </c:dPt>
          <c:dPt>
            <c:idx val="259"/>
            <c:invertIfNegative val="1"/>
            <c:bubble3D val="0"/>
            <c:spPr>
              <a:solidFill>
                <a:srgbClr val="AEABAB"/>
              </a:solidFill>
            </c:spPr>
            <c:extLst>
              <c:ext xmlns:c16="http://schemas.microsoft.com/office/drawing/2014/chart" uri="{C3380CC4-5D6E-409C-BE32-E72D297353CC}">
                <c16:uniqueId val="{00000209-08A2-4ED8-81DE-F02C5E6E5F08}"/>
              </c:ext>
            </c:extLst>
          </c:dPt>
          <c:dPt>
            <c:idx val="260"/>
            <c:invertIfNegative val="1"/>
            <c:bubble3D val="0"/>
            <c:spPr>
              <a:solidFill>
                <a:srgbClr val="AEABAB"/>
              </a:solidFill>
            </c:spPr>
            <c:extLst>
              <c:ext xmlns:c16="http://schemas.microsoft.com/office/drawing/2014/chart" uri="{C3380CC4-5D6E-409C-BE32-E72D297353CC}">
                <c16:uniqueId val="{0000020B-08A2-4ED8-81DE-F02C5E6E5F08}"/>
              </c:ext>
            </c:extLst>
          </c:dPt>
          <c:dPt>
            <c:idx val="261"/>
            <c:invertIfNegative val="1"/>
            <c:bubble3D val="0"/>
            <c:spPr>
              <a:solidFill>
                <a:srgbClr val="AEABAB"/>
              </a:solidFill>
            </c:spPr>
            <c:extLst>
              <c:ext xmlns:c16="http://schemas.microsoft.com/office/drawing/2014/chart" uri="{C3380CC4-5D6E-409C-BE32-E72D297353CC}">
                <c16:uniqueId val="{0000020D-08A2-4ED8-81DE-F02C5E6E5F08}"/>
              </c:ext>
            </c:extLst>
          </c:dPt>
          <c:dPt>
            <c:idx val="262"/>
            <c:invertIfNegative val="1"/>
            <c:bubble3D val="0"/>
            <c:spPr>
              <a:solidFill>
                <a:srgbClr val="AEABAB"/>
              </a:solidFill>
            </c:spPr>
            <c:extLst>
              <c:ext xmlns:c16="http://schemas.microsoft.com/office/drawing/2014/chart" uri="{C3380CC4-5D6E-409C-BE32-E72D297353CC}">
                <c16:uniqueId val="{0000020F-08A2-4ED8-81DE-F02C5E6E5F08}"/>
              </c:ext>
            </c:extLst>
          </c:dPt>
          <c:dPt>
            <c:idx val="263"/>
            <c:invertIfNegative val="1"/>
            <c:bubble3D val="0"/>
            <c:spPr>
              <a:solidFill>
                <a:srgbClr val="AEABAB"/>
              </a:solidFill>
            </c:spPr>
            <c:extLst>
              <c:ext xmlns:c16="http://schemas.microsoft.com/office/drawing/2014/chart" uri="{C3380CC4-5D6E-409C-BE32-E72D297353CC}">
                <c16:uniqueId val="{00000211-08A2-4ED8-81DE-F02C5E6E5F08}"/>
              </c:ext>
            </c:extLst>
          </c:dPt>
          <c:dPt>
            <c:idx val="264"/>
            <c:invertIfNegative val="1"/>
            <c:bubble3D val="0"/>
            <c:spPr>
              <a:solidFill>
                <a:srgbClr val="AEABAB"/>
              </a:solidFill>
            </c:spPr>
            <c:extLst>
              <c:ext xmlns:c16="http://schemas.microsoft.com/office/drawing/2014/chart" uri="{C3380CC4-5D6E-409C-BE32-E72D297353CC}">
                <c16:uniqueId val="{00000213-08A2-4ED8-81DE-F02C5E6E5F08}"/>
              </c:ext>
            </c:extLst>
          </c:dPt>
          <c:dPt>
            <c:idx val="265"/>
            <c:invertIfNegative val="1"/>
            <c:bubble3D val="0"/>
            <c:spPr>
              <a:solidFill>
                <a:srgbClr val="AEABAB"/>
              </a:solidFill>
            </c:spPr>
            <c:extLst>
              <c:ext xmlns:c16="http://schemas.microsoft.com/office/drawing/2014/chart" uri="{C3380CC4-5D6E-409C-BE32-E72D297353CC}">
                <c16:uniqueId val="{00000215-08A2-4ED8-81DE-F02C5E6E5F08}"/>
              </c:ext>
            </c:extLst>
          </c:dPt>
          <c:dPt>
            <c:idx val="266"/>
            <c:invertIfNegative val="1"/>
            <c:bubble3D val="0"/>
            <c:spPr>
              <a:solidFill>
                <a:srgbClr val="AEABAB"/>
              </a:solidFill>
            </c:spPr>
            <c:extLst>
              <c:ext xmlns:c16="http://schemas.microsoft.com/office/drawing/2014/chart" uri="{C3380CC4-5D6E-409C-BE32-E72D297353CC}">
                <c16:uniqueId val="{00000217-08A2-4ED8-81DE-F02C5E6E5F08}"/>
              </c:ext>
            </c:extLst>
          </c:dPt>
          <c:dPt>
            <c:idx val="267"/>
            <c:invertIfNegative val="1"/>
            <c:bubble3D val="0"/>
            <c:spPr>
              <a:solidFill>
                <a:srgbClr val="AEABAB"/>
              </a:solidFill>
            </c:spPr>
            <c:extLst>
              <c:ext xmlns:c16="http://schemas.microsoft.com/office/drawing/2014/chart" uri="{C3380CC4-5D6E-409C-BE32-E72D297353CC}">
                <c16:uniqueId val="{00000219-08A2-4ED8-81DE-F02C5E6E5F08}"/>
              </c:ext>
            </c:extLst>
          </c:dPt>
          <c:dPt>
            <c:idx val="268"/>
            <c:invertIfNegative val="1"/>
            <c:bubble3D val="0"/>
            <c:spPr>
              <a:solidFill>
                <a:srgbClr val="AEABAB"/>
              </a:solidFill>
            </c:spPr>
            <c:extLst>
              <c:ext xmlns:c16="http://schemas.microsoft.com/office/drawing/2014/chart" uri="{C3380CC4-5D6E-409C-BE32-E72D297353CC}">
                <c16:uniqueId val="{0000021B-08A2-4ED8-81DE-F02C5E6E5F08}"/>
              </c:ext>
            </c:extLst>
          </c:dPt>
          <c:dPt>
            <c:idx val="269"/>
            <c:invertIfNegative val="1"/>
            <c:bubble3D val="0"/>
            <c:spPr>
              <a:solidFill>
                <a:srgbClr val="AEABAB"/>
              </a:solidFill>
            </c:spPr>
            <c:extLst>
              <c:ext xmlns:c16="http://schemas.microsoft.com/office/drawing/2014/chart" uri="{C3380CC4-5D6E-409C-BE32-E72D297353CC}">
                <c16:uniqueId val="{0000021D-08A2-4ED8-81DE-F02C5E6E5F08}"/>
              </c:ext>
            </c:extLst>
          </c:dPt>
          <c:dPt>
            <c:idx val="270"/>
            <c:invertIfNegative val="1"/>
            <c:bubble3D val="0"/>
            <c:spPr>
              <a:solidFill>
                <a:srgbClr val="AEABAB"/>
              </a:solidFill>
            </c:spPr>
            <c:extLst>
              <c:ext xmlns:c16="http://schemas.microsoft.com/office/drawing/2014/chart" uri="{C3380CC4-5D6E-409C-BE32-E72D297353CC}">
                <c16:uniqueId val="{0000021F-08A2-4ED8-81DE-F02C5E6E5F08}"/>
              </c:ext>
            </c:extLst>
          </c:dPt>
          <c:dPt>
            <c:idx val="271"/>
            <c:invertIfNegative val="1"/>
            <c:bubble3D val="0"/>
            <c:spPr>
              <a:solidFill>
                <a:srgbClr val="AEABAB"/>
              </a:solidFill>
            </c:spPr>
            <c:extLst>
              <c:ext xmlns:c16="http://schemas.microsoft.com/office/drawing/2014/chart" uri="{C3380CC4-5D6E-409C-BE32-E72D297353CC}">
                <c16:uniqueId val="{00000221-08A2-4ED8-81DE-F02C5E6E5F08}"/>
              </c:ext>
            </c:extLst>
          </c:dPt>
          <c:dPt>
            <c:idx val="272"/>
            <c:invertIfNegative val="1"/>
            <c:bubble3D val="0"/>
            <c:spPr>
              <a:solidFill>
                <a:srgbClr val="AEABAB"/>
              </a:solidFill>
            </c:spPr>
            <c:extLst>
              <c:ext xmlns:c16="http://schemas.microsoft.com/office/drawing/2014/chart" uri="{C3380CC4-5D6E-409C-BE32-E72D297353CC}">
                <c16:uniqueId val="{00000223-08A2-4ED8-81DE-F02C5E6E5F08}"/>
              </c:ext>
            </c:extLst>
          </c:dPt>
          <c:dPt>
            <c:idx val="273"/>
            <c:invertIfNegative val="1"/>
            <c:bubble3D val="0"/>
            <c:spPr>
              <a:solidFill>
                <a:srgbClr val="AEABAB"/>
              </a:solidFill>
            </c:spPr>
            <c:extLst>
              <c:ext xmlns:c16="http://schemas.microsoft.com/office/drawing/2014/chart" uri="{C3380CC4-5D6E-409C-BE32-E72D297353CC}">
                <c16:uniqueId val="{00000225-08A2-4ED8-81DE-F02C5E6E5F08}"/>
              </c:ext>
            </c:extLst>
          </c:dPt>
          <c:dPt>
            <c:idx val="274"/>
            <c:invertIfNegative val="1"/>
            <c:bubble3D val="0"/>
            <c:spPr>
              <a:solidFill>
                <a:srgbClr val="AEABAB"/>
              </a:solidFill>
            </c:spPr>
            <c:extLst>
              <c:ext xmlns:c16="http://schemas.microsoft.com/office/drawing/2014/chart" uri="{C3380CC4-5D6E-409C-BE32-E72D297353CC}">
                <c16:uniqueId val="{00000227-08A2-4ED8-81DE-F02C5E6E5F08}"/>
              </c:ext>
            </c:extLst>
          </c:dPt>
          <c:dPt>
            <c:idx val="275"/>
            <c:invertIfNegative val="1"/>
            <c:bubble3D val="0"/>
            <c:spPr>
              <a:solidFill>
                <a:srgbClr val="AEABAB"/>
              </a:solidFill>
            </c:spPr>
            <c:extLst>
              <c:ext xmlns:c16="http://schemas.microsoft.com/office/drawing/2014/chart" uri="{C3380CC4-5D6E-409C-BE32-E72D297353CC}">
                <c16:uniqueId val="{00000229-08A2-4ED8-81DE-F02C5E6E5F08}"/>
              </c:ext>
            </c:extLst>
          </c:dPt>
          <c:dPt>
            <c:idx val="276"/>
            <c:invertIfNegative val="1"/>
            <c:bubble3D val="0"/>
            <c:spPr>
              <a:solidFill>
                <a:srgbClr val="AEABAB"/>
              </a:solidFill>
            </c:spPr>
            <c:extLst>
              <c:ext xmlns:c16="http://schemas.microsoft.com/office/drawing/2014/chart" uri="{C3380CC4-5D6E-409C-BE32-E72D297353CC}">
                <c16:uniqueId val="{0000022B-08A2-4ED8-81DE-F02C5E6E5F08}"/>
              </c:ext>
            </c:extLst>
          </c:dPt>
          <c:dPt>
            <c:idx val="277"/>
            <c:invertIfNegative val="1"/>
            <c:bubble3D val="0"/>
            <c:spPr>
              <a:solidFill>
                <a:srgbClr val="AEABAB"/>
              </a:solidFill>
            </c:spPr>
            <c:extLst>
              <c:ext xmlns:c16="http://schemas.microsoft.com/office/drawing/2014/chart" uri="{C3380CC4-5D6E-409C-BE32-E72D297353CC}">
                <c16:uniqueId val="{0000022D-08A2-4ED8-81DE-F02C5E6E5F08}"/>
              </c:ext>
            </c:extLst>
          </c:dPt>
          <c:dPt>
            <c:idx val="278"/>
            <c:invertIfNegative val="1"/>
            <c:bubble3D val="0"/>
            <c:spPr>
              <a:solidFill>
                <a:srgbClr val="AEABAB"/>
              </a:solidFill>
            </c:spPr>
            <c:extLst>
              <c:ext xmlns:c16="http://schemas.microsoft.com/office/drawing/2014/chart" uri="{C3380CC4-5D6E-409C-BE32-E72D297353CC}">
                <c16:uniqueId val="{0000022F-08A2-4ED8-81DE-F02C5E6E5F08}"/>
              </c:ext>
            </c:extLst>
          </c:dPt>
          <c:dPt>
            <c:idx val="279"/>
            <c:invertIfNegative val="1"/>
            <c:bubble3D val="0"/>
            <c:spPr>
              <a:solidFill>
                <a:srgbClr val="AEABAB"/>
              </a:solidFill>
            </c:spPr>
            <c:extLst>
              <c:ext xmlns:c16="http://schemas.microsoft.com/office/drawing/2014/chart" uri="{C3380CC4-5D6E-409C-BE32-E72D297353CC}">
                <c16:uniqueId val="{00000231-08A2-4ED8-81DE-F02C5E6E5F08}"/>
              </c:ext>
            </c:extLst>
          </c:dPt>
          <c:dPt>
            <c:idx val="280"/>
            <c:invertIfNegative val="1"/>
            <c:bubble3D val="0"/>
            <c:spPr>
              <a:solidFill>
                <a:srgbClr val="AEABAB"/>
              </a:solidFill>
            </c:spPr>
            <c:extLst>
              <c:ext xmlns:c16="http://schemas.microsoft.com/office/drawing/2014/chart" uri="{C3380CC4-5D6E-409C-BE32-E72D297353CC}">
                <c16:uniqueId val="{00000233-08A2-4ED8-81DE-F02C5E6E5F08}"/>
              </c:ext>
            </c:extLst>
          </c:dPt>
          <c:dPt>
            <c:idx val="281"/>
            <c:invertIfNegative val="1"/>
            <c:bubble3D val="0"/>
            <c:spPr>
              <a:solidFill>
                <a:srgbClr val="AEABAB"/>
              </a:solidFill>
            </c:spPr>
            <c:extLst>
              <c:ext xmlns:c16="http://schemas.microsoft.com/office/drawing/2014/chart" uri="{C3380CC4-5D6E-409C-BE32-E72D297353CC}">
                <c16:uniqueId val="{00000235-08A2-4ED8-81DE-F02C5E6E5F08}"/>
              </c:ext>
            </c:extLst>
          </c:dPt>
          <c:dPt>
            <c:idx val="282"/>
            <c:invertIfNegative val="1"/>
            <c:bubble3D val="0"/>
            <c:spPr>
              <a:solidFill>
                <a:srgbClr val="AEABAB"/>
              </a:solidFill>
            </c:spPr>
            <c:extLst>
              <c:ext xmlns:c16="http://schemas.microsoft.com/office/drawing/2014/chart" uri="{C3380CC4-5D6E-409C-BE32-E72D297353CC}">
                <c16:uniqueId val="{00000237-08A2-4ED8-81DE-F02C5E6E5F08}"/>
              </c:ext>
            </c:extLst>
          </c:dPt>
          <c:dPt>
            <c:idx val="283"/>
            <c:invertIfNegative val="1"/>
            <c:bubble3D val="0"/>
            <c:spPr>
              <a:solidFill>
                <a:srgbClr val="AEABAB"/>
              </a:solidFill>
            </c:spPr>
            <c:extLst>
              <c:ext xmlns:c16="http://schemas.microsoft.com/office/drawing/2014/chart" uri="{C3380CC4-5D6E-409C-BE32-E72D297353CC}">
                <c16:uniqueId val="{00000239-08A2-4ED8-81DE-F02C5E6E5F08}"/>
              </c:ext>
            </c:extLst>
          </c:dPt>
          <c:dPt>
            <c:idx val="284"/>
            <c:invertIfNegative val="1"/>
            <c:bubble3D val="0"/>
            <c:spPr>
              <a:solidFill>
                <a:srgbClr val="AEABAB"/>
              </a:solidFill>
            </c:spPr>
            <c:extLst>
              <c:ext xmlns:c16="http://schemas.microsoft.com/office/drawing/2014/chart" uri="{C3380CC4-5D6E-409C-BE32-E72D297353CC}">
                <c16:uniqueId val="{0000023B-08A2-4ED8-81DE-F02C5E6E5F08}"/>
              </c:ext>
            </c:extLst>
          </c:dPt>
          <c:dPt>
            <c:idx val="285"/>
            <c:invertIfNegative val="1"/>
            <c:bubble3D val="0"/>
            <c:spPr>
              <a:solidFill>
                <a:srgbClr val="AEABAB"/>
              </a:solidFill>
            </c:spPr>
            <c:extLst>
              <c:ext xmlns:c16="http://schemas.microsoft.com/office/drawing/2014/chart" uri="{C3380CC4-5D6E-409C-BE32-E72D297353CC}">
                <c16:uniqueId val="{0000023D-08A2-4ED8-81DE-F02C5E6E5F08}"/>
              </c:ext>
            </c:extLst>
          </c:dPt>
          <c:dPt>
            <c:idx val="286"/>
            <c:invertIfNegative val="1"/>
            <c:bubble3D val="0"/>
            <c:spPr>
              <a:solidFill>
                <a:srgbClr val="AEABAB"/>
              </a:solidFill>
            </c:spPr>
            <c:extLst>
              <c:ext xmlns:c16="http://schemas.microsoft.com/office/drawing/2014/chart" uri="{C3380CC4-5D6E-409C-BE32-E72D297353CC}">
                <c16:uniqueId val="{0000023F-08A2-4ED8-81DE-F02C5E6E5F08}"/>
              </c:ext>
            </c:extLst>
          </c:dPt>
          <c:dPt>
            <c:idx val="287"/>
            <c:invertIfNegative val="1"/>
            <c:bubble3D val="0"/>
            <c:spPr>
              <a:solidFill>
                <a:srgbClr val="AEABAB"/>
              </a:solidFill>
            </c:spPr>
            <c:extLst>
              <c:ext xmlns:c16="http://schemas.microsoft.com/office/drawing/2014/chart" uri="{C3380CC4-5D6E-409C-BE32-E72D297353CC}">
                <c16:uniqueId val="{00000241-08A2-4ED8-81DE-F02C5E6E5F08}"/>
              </c:ext>
            </c:extLst>
          </c:dPt>
          <c:dPt>
            <c:idx val="288"/>
            <c:invertIfNegative val="1"/>
            <c:bubble3D val="0"/>
            <c:spPr>
              <a:solidFill>
                <a:srgbClr val="AEABAB"/>
              </a:solidFill>
            </c:spPr>
            <c:extLst>
              <c:ext xmlns:c16="http://schemas.microsoft.com/office/drawing/2014/chart" uri="{C3380CC4-5D6E-409C-BE32-E72D297353CC}">
                <c16:uniqueId val="{00000243-08A2-4ED8-81DE-F02C5E6E5F08}"/>
              </c:ext>
            </c:extLst>
          </c:dPt>
          <c:dPt>
            <c:idx val="289"/>
            <c:invertIfNegative val="1"/>
            <c:bubble3D val="0"/>
            <c:spPr>
              <a:solidFill>
                <a:srgbClr val="AEABAB"/>
              </a:solidFill>
            </c:spPr>
            <c:extLst>
              <c:ext xmlns:c16="http://schemas.microsoft.com/office/drawing/2014/chart" uri="{C3380CC4-5D6E-409C-BE32-E72D297353CC}">
                <c16:uniqueId val="{00000245-08A2-4ED8-81DE-F02C5E6E5F08}"/>
              </c:ext>
            </c:extLst>
          </c:dPt>
          <c:dPt>
            <c:idx val="290"/>
            <c:invertIfNegative val="1"/>
            <c:bubble3D val="0"/>
            <c:spPr>
              <a:solidFill>
                <a:srgbClr val="AEABAB"/>
              </a:solidFill>
            </c:spPr>
            <c:extLst>
              <c:ext xmlns:c16="http://schemas.microsoft.com/office/drawing/2014/chart" uri="{C3380CC4-5D6E-409C-BE32-E72D297353CC}">
                <c16:uniqueId val="{00000247-08A2-4ED8-81DE-F02C5E6E5F08}"/>
              </c:ext>
            </c:extLst>
          </c:dPt>
          <c:dPt>
            <c:idx val="291"/>
            <c:invertIfNegative val="1"/>
            <c:bubble3D val="0"/>
            <c:spPr>
              <a:solidFill>
                <a:srgbClr val="AEABAB"/>
              </a:solidFill>
            </c:spPr>
            <c:extLst>
              <c:ext xmlns:c16="http://schemas.microsoft.com/office/drawing/2014/chart" uri="{C3380CC4-5D6E-409C-BE32-E72D297353CC}">
                <c16:uniqueId val="{00000249-08A2-4ED8-81DE-F02C5E6E5F08}"/>
              </c:ext>
            </c:extLst>
          </c:dPt>
          <c:dPt>
            <c:idx val="292"/>
            <c:invertIfNegative val="1"/>
            <c:bubble3D val="0"/>
            <c:spPr>
              <a:solidFill>
                <a:srgbClr val="AEABAB"/>
              </a:solidFill>
            </c:spPr>
            <c:extLst>
              <c:ext xmlns:c16="http://schemas.microsoft.com/office/drawing/2014/chart" uri="{C3380CC4-5D6E-409C-BE32-E72D297353CC}">
                <c16:uniqueId val="{0000024B-08A2-4ED8-81DE-F02C5E6E5F08}"/>
              </c:ext>
            </c:extLst>
          </c:dPt>
          <c:dPt>
            <c:idx val="293"/>
            <c:invertIfNegative val="1"/>
            <c:bubble3D val="0"/>
            <c:spPr>
              <a:solidFill>
                <a:srgbClr val="AEABAB"/>
              </a:solidFill>
            </c:spPr>
            <c:extLst>
              <c:ext xmlns:c16="http://schemas.microsoft.com/office/drawing/2014/chart" uri="{C3380CC4-5D6E-409C-BE32-E72D297353CC}">
                <c16:uniqueId val="{0000024D-08A2-4ED8-81DE-F02C5E6E5F08}"/>
              </c:ext>
            </c:extLst>
          </c:dPt>
          <c:dPt>
            <c:idx val="294"/>
            <c:invertIfNegative val="1"/>
            <c:bubble3D val="0"/>
            <c:spPr>
              <a:solidFill>
                <a:srgbClr val="AEABAB"/>
              </a:solidFill>
            </c:spPr>
            <c:extLst>
              <c:ext xmlns:c16="http://schemas.microsoft.com/office/drawing/2014/chart" uri="{C3380CC4-5D6E-409C-BE32-E72D297353CC}">
                <c16:uniqueId val="{0000024F-08A2-4ED8-81DE-F02C5E6E5F08}"/>
              </c:ext>
            </c:extLst>
          </c:dPt>
          <c:dPt>
            <c:idx val="295"/>
            <c:invertIfNegative val="1"/>
            <c:bubble3D val="0"/>
            <c:spPr>
              <a:solidFill>
                <a:srgbClr val="AEABAB"/>
              </a:solidFill>
            </c:spPr>
            <c:extLst>
              <c:ext xmlns:c16="http://schemas.microsoft.com/office/drawing/2014/chart" uri="{C3380CC4-5D6E-409C-BE32-E72D297353CC}">
                <c16:uniqueId val="{00000251-08A2-4ED8-81DE-F02C5E6E5F08}"/>
              </c:ext>
            </c:extLst>
          </c:dPt>
          <c:dPt>
            <c:idx val="296"/>
            <c:invertIfNegative val="1"/>
            <c:bubble3D val="0"/>
            <c:spPr>
              <a:solidFill>
                <a:srgbClr val="AEABAB"/>
              </a:solidFill>
            </c:spPr>
            <c:extLst>
              <c:ext xmlns:c16="http://schemas.microsoft.com/office/drawing/2014/chart" uri="{C3380CC4-5D6E-409C-BE32-E72D297353CC}">
                <c16:uniqueId val="{00000253-08A2-4ED8-81DE-F02C5E6E5F08}"/>
              </c:ext>
            </c:extLst>
          </c:dPt>
          <c:dPt>
            <c:idx val="297"/>
            <c:invertIfNegative val="1"/>
            <c:bubble3D val="0"/>
            <c:spPr>
              <a:solidFill>
                <a:srgbClr val="AEABAB"/>
              </a:solidFill>
            </c:spPr>
            <c:extLst>
              <c:ext xmlns:c16="http://schemas.microsoft.com/office/drawing/2014/chart" uri="{C3380CC4-5D6E-409C-BE32-E72D297353CC}">
                <c16:uniqueId val="{00000255-08A2-4ED8-81DE-F02C5E6E5F08}"/>
              </c:ext>
            </c:extLst>
          </c:dPt>
          <c:dPt>
            <c:idx val="298"/>
            <c:invertIfNegative val="1"/>
            <c:bubble3D val="0"/>
            <c:spPr>
              <a:solidFill>
                <a:srgbClr val="AEABAB"/>
              </a:solidFill>
            </c:spPr>
            <c:extLst>
              <c:ext xmlns:c16="http://schemas.microsoft.com/office/drawing/2014/chart" uri="{C3380CC4-5D6E-409C-BE32-E72D297353CC}">
                <c16:uniqueId val="{00000257-08A2-4ED8-81DE-F02C5E6E5F08}"/>
              </c:ext>
            </c:extLst>
          </c:dPt>
          <c:dPt>
            <c:idx val="299"/>
            <c:invertIfNegative val="1"/>
            <c:bubble3D val="0"/>
            <c:spPr>
              <a:solidFill>
                <a:srgbClr val="AEABAB"/>
              </a:solidFill>
            </c:spPr>
            <c:extLst>
              <c:ext xmlns:c16="http://schemas.microsoft.com/office/drawing/2014/chart" uri="{C3380CC4-5D6E-409C-BE32-E72D297353CC}">
                <c16:uniqueId val="{00000259-08A2-4ED8-81DE-F02C5E6E5F08}"/>
              </c:ext>
            </c:extLst>
          </c:dPt>
          <c:dPt>
            <c:idx val="300"/>
            <c:invertIfNegative val="1"/>
            <c:bubble3D val="0"/>
            <c:spPr>
              <a:solidFill>
                <a:srgbClr val="AEABAB"/>
              </a:solidFill>
            </c:spPr>
            <c:extLst>
              <c:ext xmlns:c16="http://schemas.microsoft.com/office/drawing/2014/chart" uri="{C3380CC4-5D6E-409C-BE32-E72D297353CC}">
                <c16:uniqueId val="{0000025B-08A2-4ED8-81DE-F02C5E6E5F08}"/>
              </c:ext>
            </c:extLst>
          </c:dPt>
          <c:dPt>
            <c:idx val="301"/>
            <c:invertIfNegative val="1"/>
            <c:bubble3D val="0"/>
            <c:spPr>
              <a:solidFill>
                <a:srgbClr val="AEABAB"/>
              </a:solidFill>
            </c:spPr>
            <c:extLst>
              <c:ext xmlns:c16="http://schemas.microsoft.com/office/drawing/2014/chart" uri="{C3380CC4-5D6E-409C-BE32-E72D297353CC}">
                <c16:uniqueId val="{0000025D-08A2-4ED8-81DE-F02C5E6E5F08}"/>
              </c:ext>
            </c:extLst>
          </c:dPt>
          <c:dPt>
            <c:idx val="302"/>
            <c:invertIfNegative val="1"/>
            <c:bubble3D val="0"/>
            <c:spPr>
              <a:solidFill>
                <a:srgbClr val="AEABAB"/>
              </a:solidFill>
            </c:spPr>
            <c:extLst>
              <c:ext xmlns:c16="http://schemas.microsoft.com/office/drawing/2014/chart" uri="{C3380CC4-5D6E-409C-BE32-E72D297353CC}">
                <c16:uniqueId val="{0000025F-08A2-4ED8-81DE-F02C5E6E5F08}"/>
              </c:ext>
            </c:extLst>
          </c:dPt>
          <c:dPt>
            <c:idx val="303"/>
            <c:invertIfNegative val="1"/>
            <c:bubble3D val="0"/>
            <c:spPr>
              <a:solidFill>
                <a:srgbClr val="AEABAB"/>
              </a:solidFill>
            </c:spPr>
            <c:extLst>
              <c:ext xmlns:c16="http://schemas.microsoft.com/office/drawing/2014/chart" uri="{C3380CC4-5D6E-409C-BE32-E72D297353CC}">
                <c16:uniqueId val="{00000261-08A2-4ED8-81DE-F02C5E6E5F08}"/>
              </c:ext>
            </c:extLst>
          </c:dPt>
          <c:dPt>
            <c:idx val="304"/>
            <c:invertIfNegative val="1"/>
            <c:bubble3D val="0"/>
            <c:spPr>
              <a:solidFill>
                <a:srgbClr val="AEABAB"/>
              </a:solidFill>
            </c:spPr>
            <c:extLst>
              <c:ext xmlns:c16="http://schemas.microsoft.com/office/drawing/2014/chart" uri="{C3380CC4-5D6E-409C-BE32-E72D297353CC}">
                <c16:uniqueId val="{00000263-08A2-4ED8-81DE-F02C5E6E5F08}"/>
              </c:ext>
            </c:extLst>
          </c:dPt>
          <c:dPt>
            <c:idx val="305"/>
            <c:invertIfNegative val="1"/>
            <c:bubble3D val="0"/>
            <c:spPr>
              <a:solidFill>
                <a:srgbClr val="AEABAB"/>
              </a:solidFill>
            </c:spPr>
            <c:extLst>
              <c:ext xmlns:c16="http://schemas.microsoft.com/office/drawing/2014/chart" uri="{C3380CC4-5D6E-409C-BE32-E72D297353CC}">
                <c16:uniqueId val="{00000265-08A2-4ED8-81DE-F02C5E6E5F08}"/>
              </c:ext>
            </c:extLst>
          </c:dPt>
          <c:dPt>
            <c:idx val="306"/>
            <c:invertIfNegative val="1"/>
            <c:bubble3D val="0"/>
            <c:spPr>
              <a:solidFill>
                <a:srgbClr val="AEABAB"/>
              </a:solidFill>
            </c:spPr>
            <c:extLst>
              <c:ext xmlns:c16="http://schemas.microsoft.com/office/drawing/2014/chart" uri="{C3380CC4-5D6E-409C-BE32-E72D297353CC}">
                <c16:uniqueId val="{00000267-08A2-4ED8-81DE-F02C5E6E5F08}"/>
              </c:ext>
            </c:extLst>
          </c:dPt>
          <c:dPt>
            <c:idx val="307"/>
            <c:invertIfNegative val="1"/>
            <c:bubble3D val="0"/>
            <c:spPr>
              <a:solidFill>
                <a:srgbClr val="AEABAB"/>
              </a:solidFill>
            </c:spPr>
            <c:extLst>
              <c:ext xmlns:c16="http://schemas.microsoft.com/office/drawing/2014/chart" uri="{C3380CC4-5D6E-409C-BE32-E72D297353CC}">
                <c16:uniqueId val="{00000269-08A2-4ED8-81DE-F02C5E6E5F08}"/>
              </c:ext>
            </c:extLst>
          </c:dPt>
          <c:dPt>
            <c:idx val="308"/>
            <c:invertIfNegative val="1"/>
            <c:bubble3D val="0"/>
            <c:spPr>
              <a:solidFill>
                <a:srgbClr val="AEABAB"/>
              </a:solidFill>
            </c:spPr>
            <c:extLst>
              <c:ext xmlns:c16="http://schemas.microsoft.com/office/drawing/2014/chart" uri="{C3380CC4-5D6E-409C-BE32-E72D297353CC}">
                <c16:uniqueId val="{0000026B-08A2-4ED8-81DE-F02C5E6E5F08}"/>
              </c:ext>
            </c:extLst>
          </c:dPt>
          <c:dPt>
            <c:idx val="309"/>
            <c:invertIfNegative val="1"/>
            <c:bubble3D val="0"/>
            <c:spPr>
              <a:solidFill>
                <a:srgbClr val="AEABAB"/>
              </a:solidFill>
            </c:spPr>
            <c:extLst>
              <c:ext xmlns:c16="http://schemas.microsoft.com/office/drawing/2014/chart" uri="{C3380CC4-5D6E-409C-BE32-E72D297353CC}">
                <c16:uniqueId val="{0000026D-08A2-4ED8-81DE-F02C5E6E5F08}"/>
              </c:ext>
            </c:extLst>
          </c:dPt>
          <c:dPt>
            <c:idx val="310"/>
            <c:invertIfNegative val="1"/>
            <c:bubble3D val="0"/>
            <c:spPr>
              <a:solidFill>
                <a:srgbClr val="AEABAB"/>
              </a:solidFill>
            </c:spPr>
            <c:extLst>
              <c:ext xmlns:c16="http://schemas.microsoft.com/office/drawing/2014/chart" uri="{C3380CC4-5D6E-409C-BE32-E72D297353CC}">
                <c16:uniqueId val="{0000026F-08A2-4ED8-81DE-F02C5E6E5F08}"/>
              </c:ext>
            </c:extLst>
          </c:dPt>
          <c:dPt>
            <c:idx val="311"/>
            <c:invertIfNegative val="1"/>
            <c:bubble3D val="0"/>
            <c:spPr>
              <a:solidFill>
                <a:srgbClr val="AEABAB"/>
              </a:solidFill>
            </c:spPr>
            <c:extLst>
              <c:ext xmlns:c16="http://schemas.microsoft.com/office/drawing/2014/chart" uri="{C3380CC4-5D6E-409C-BE32-E72D297353CC}">
                <c16:uniqueId val="{00000271-08A2-4ED8-81DE-F02C5E6E5F08}"/>
              </c:ext>
            </c:extLst>
          </c:dPt>
          <c:dPt>
            <c:idx val="312"/>
            <c:invertIfNegative val="1"/>
            <c:bubble3D val="0"/>
            <c:spPr>
              <a:solidFill>
                <a:srgbClr val="AEABAB"/>
              </a:solidFill>
            </c:spPr>
            <c:extLst>
              <c:ext xmlns:c16="http://schemas.microsoft.com/office/drawing/2014/chart" uri="{C3380CC4-5D6E-409C-BE32-E72D297353CC}">
                <c16:uniqueId val="{00000273-08A2-4ED8-81DE-F02C5E6E5F08}"/>
              </c:ext>
            </c:extLst>
          </c:dPt>
          <c:dPt>
            <c:idx val="313"/>
            <c:invertIfNegative val="1"/>
            <c:bubble3D val="0"/>
            <c:spPr>
              <a:solidFill>
                <a:srgbClr val="AEABAB"/>
              </a:solidFill>
            </c:spPr>
            <c:extLst>
              <c:ext xmlns:c16="http://schemas.microsoft.com/office/drawing/2014/chart" uri="{C3380CC4-5D6E-409C-BE32-E72D297353CC}">
                <c16:uniqueId val="{00000275-08A2-4ED8-81DE-F02C5E6E5F08}"/>
              </c:ext>
            </c:extLst>
          </c:dPt>
          <c:dPt>
            <c:idx val="314"/>
            <c:invertIfNegative val="1"/>
            <c:bubble3D val="0"/>
            <c:spPr>
              <a:solidFill>
                <a:srgbClr val="AEABAB"/>
              </a:solidFill>
            </c:spPr>
            <c:extLst>
              <c:ext xmlns:c16="http://schemas.microsoft.com/office/drawing/2014/chart" uri="{C3380CC4-5D6E-409C-BE32-E72D297353CC}">
                <c16:uniqueId val="{00000277-08A2-4ED8-81DE-F02C5E6E5F08}"/>
              </c:ext>
            </c:extLst>
          </c:dPt>
          <c:dPt>
            <c:idx val="315"/>
            <c:invertIfNegative val="1"/>
            <c:bubble3D val="0"/>
            <c:spPr>
              <a:solidFill>
                <a:srgbClr val="AEABAB"/>
              </a:solidFill>
            </c:spPr>
            <c:extLst>
              <c:ext xmlns:c16="http://schemas.microsoft.com/office/drawing/2014/chart" uri="{C3380CC4-5D6E-409C-BE32-E72D297353CC}">
                <c16:uniqueId val="{00000279-08A2-4ED8-81DE-F02C5E6E5F08}"/>
              </c:ext>
            </c:extLst>
          </c:dPt>
          <c:dPt>
            <c:idx val="316"/>
            <c:invertIfNegative val="1"/>
            <c:bubble3D val="0"/>
            <c:spPr>
              <a:solidFill>
                <a:srgbClr val="AEABAB"/>
              </a:solidFill>
            </c:spPr>
            <c:extLst>
              <c:ext xmlns:c16="http://schemas.microsoft.com/office/drawing/2014/chart" uri="{C3380CC4-5D6E-409C-BE32-E72D297353CC}">
                <c16:uniqueId val="{0000027B-08A2-4ED8-81DE-F02C5E6E5F08}"/>
              </c:ext>
            </c:extLst>
          </c:dPt>
          <c:dPt>
            <c:idx val="317"/>
            <c:invertIfNegative val="1"/>
            <c:bubble3D val="0"/>
            <c:spPr>
              <a:solidFill>
                <a:srgbClr val="AEABAB"/>
              </a:solidFill>
            </c:spPr>
            <c:extLst>
              <c:ext xmlns:c16="http://schemas.microsoft.com/office/drawing/2014/chart" uri="{C3380CC4-5D6E-409C-BE32-E72D297353CC}">
                <c16:uniqueId val="{0000027D-08A2-4ED8-81DE-F02C5E6E5F08}"/>
              </c:ext>
            </c:extLst>
          </c:dPt>
          <c:dPt>
            <c:idx val="318"/>
            <c:invertIfNegative val="1"/>
            <c:bubble3D val="0"/>
            <c:spPr>
              <a:solidFill>
                <a:srgbClr val="AEABAB"/>
              </a:solidFill>
            </c:spPr>
            <c:extLst>
              <c:ext xmlns:c16="http://schemas.microsoft.com/office/drawing/2014/chart" uri="{C3380CC4-5D6E-409C-BE32-E72D297353CC}">
                <c16:uniqueId val="{0000027F-08A2-4ED8-81DE-F02C5E6E5F08}"/>
              </c:ext>
            </c:extLst>
          </c:dPt>
          <c:dPt>
            <c:idx val="319"/>
            <c:invertIfNegative val="1"/>
            <c:bubble3D val="0"/>
            <c:spPr>
              <a:solidFill>
                <a:srgbClr val="AEABAB"/>
              </a:solidFill>
            </c:spPr>
            <c:extLst>
              <c:ext xmlns:c16="http://schemas.microsoft.com/office/drawing/2014/chart" uri="{C3380CC4-5D6E-409C-BE32-E72D297353CC}">
                <c16:uniqueId val="{00000281-08A2-4ED8-81DE-F02C5E6E5F08}"/>
              </c:ext>
            </c:extLst>
          </c:dPt>
          <c:dPt>
            <c:idx val="320"/>
            <c:invertIfNegative val="1"/>
            <c:bubble3D val="0"/>
            <c:spPr>
              <a:solidFill>
                <a:srgbClr val="AEABAB"/>
              </a:solidFill>
            </c:spPr>
            <c:extLst>
              <c:ext xmlns:c16="http://schemas.microsoft.com/office/drawing/2014/chart" uri="{C3380CC4-5D6E-409C-BE32-E72D297353CC}">
                <c16:uniqueId val="{00000283-08A2-4ED8-81DE-F02C5E6E5F08}"/>
              </c:ext>
            </c:extLst>
          </c:dPt>
          <c:dPt>
            <c:idx val="321"/>
            <c:invertIfNegative val="1"/>
            <c:bubble3D val="0"/>
            <c:spPr>
              <a:solidFill>
                <a:srgbClr val="AEABAB"/>
              </a:solidFill>
            </c:spPr>
            <c:extLst>
              <c:ext xmlns:c16="http://schemas.microsoft.com/office/drawing/2014/chart" uri="{C3380CC4-5D6E-409C-BE32-E72D297353CC}">
                <c16:uniqueId val="{00000285-08A2-4ED8-81DE-F02C5E6E5F08}"/>
              </c:ext>
            </c:extLst>
          </c:dPt>
          <c:dPt>
            <c:idx val="322"/>
            <c:invertIfNegative val="1"/>
            <c:bubble3D val="0"/>
            <c:spPr>
              <a:solidFill>
                <a:srgbClr val="AEABAB"/>
              </a:solidFill>
            </c:spPr>
            <c:extLst>
              <c:ext xmlns:c16="http://schemas.microsoft.com/office/drawing/2014/chart" uri="{C3380CC4-5D6E-409C-BE32-E72D297353CC}">
                <c16:uniqueId val="{00000287-08A2-4ED8-81DE-F02C5E6E5F08}"/>
              </c:ext>
            </c:extLst>
          </c:dPt>
          <c:dPt>
            <c:idx val="323"/>
            <c:invertIfNegative val="1"/>
            <c:bubble3D val="0"/>
            <c:spPr>
              <a:solidFill>
                <a:srgbClr val="AEABAB"/>
              </a:solidFill>
            </c:spPr>
            <c:extLst>
              <c:ext xmlns:c16="http://schemas.microsoft.com/office/drawing/2014/chart" uri="{C3380CC4-5D6E-409C-BE32-E72D297353CC}">
                <c16:uniqueId val="{00000289-08A2-4ED8-81DE-F02C5E6E5F08}"/>
              </c:ext>
            </c:extLst>
          </c:dPt>
          <c:dPt>
            <c:idx val="324"/>
            <c:invertIfNegative val="1"/>
            <c:bubble3D val="0"/>
            <c:spPr>
              <a:solidFill>
                <a:srgbClr val="AEABAB"/>
              </a:solidFill>
            </c:spPr>
            <c:extLst>
              <c:ext xmlns:c16="http://schemas.microsoft.com/office/drawing/2014/chart" uri="{C3380CC4-5D6E-409C-BE32-E72D297353CC}">
                <c16:uniqueId val="{0000028B-08A2-4ED8-81DE-F02C5E6E5F08}"/>
              </c:ext>
            </c:extLst>
          </c:dPt>
          <c:dPt>
            <c:idx val="325"/>
            <c:invertIfNegative val="1"/>
            <c:bubble3D val="0"/>
            <c:spPr>
              <a:solidFill>
                <a:srgbClr val="AEABAB"/>
              </a:solidFill>
            </c:spPr>
            <c:extLst>
              <c:ext xmlns:c16="http://schemas.microsoft.com/office/drawing/2014/chart" uri="{C3380CC4-5D6E-409C-BE32-E72D297353CC}">
                <c16:uniqueId val="{0000028D-08A2-4ED8-81DE-F02C5E6E5F08}"/>
              </c:ext>
            </c:extLst>
          </c:dPt>
          <c:dPt>
            <c:idx val="326"/>
            <c:invertIfNegative val="1"/>
            <c:bubble3D val="0"/>
            <c:spPr>
              <a:solidFill>
                <a:srgbClr val="AEABAB"/>
              </a:solidFill>
            </c:spPr>
            <c:extLst>
              <c:ext xmlns:c16="http://schemas.microsoft.com/office/drawing/2014/chart" uri="{C3380CC4-5D6E-409C-BE32-E72D297353CC}">
                <c16:uniqueId val="{0000028F-08A2-4ED8-81DE-F02C5E6E5F08}"/>
              </c:ext>
            </c:extLst>
          </c:dPt>
          <c:dPt>
            <c:idx val="327"/>
            <c:invertIfNegative val="1"/>
            <c:bubble3D val="0"/>
            <c:spPr>
              <a:solidFill>
                <a:srgbClr val="AEABAB"/>
              </a:solidFill>
            </c:spPr>
            <c:extLst>
              <c:ext xmlns:c16="http://schemas.microsoft.com/office/drawing/2014/chart" uri="{C3380CC4-5D6E-409C-BE32-E72D297353CC}">
                <c16:uniqueId val="{00000291-08A2-4ED8-81DE-F02C5E6E5F08}"/>
              </c:ext>
            </c:extLst>
          </c:dPt>
          <c:dPt>
            <c:idx val="328"/>
            <c:invertIfNegative val="1"/>
            <c:bubble3D val="0"/>
            <c:spPr>
              <a:solidFill>
                <a:srgbClr val="AEABAB"/>
              </a:solidFill>
            </c:spPr>
            <c:extLst>
              <c:ext xmlns:c16="http://schemas.microsoft.com/office/drawing/2014/chart" uri="{C3380CC4-5D6E-409C-BE32-E72D297353CC}">
                <c16:uniqueId val="{00000293-08A2-4ED8-81DE-F02C5E6E5F08}"/>
              </c:ext>
            </c:extLst>
          </c:dPt>
          <c:dPt>
            <c:idx val="329"/>
            <c:invertIfNegative val="1"/>
            <c:bubble3D val="0"/>
            <c:spPr>
              <a:solidFill>
                <a:srgbClr val="AEABAB"/>
              </a:solidFill>
            </c:spPr>
            <c:extLst>
              <c:ext xmlns:c16="http://schemas.microsoft.com/office/drawing/2014/chart" uri="{C3380CC4-5D6E-409C-BE32-E72D297353CC}">
                <c16:uniqueId val="{00000295-08A2-4ED8-81DE-F02C5E6E5F08}"/>
              </c:ext>
            </c:extLst>
          </c:dPt>
          <c:dPt>
            <c:idx val="330"/>
            <c:invertIfNegative val="1"/>
            <c:bubble3D val="0"/>
            <c:spPr>
              <a:solidFill>
                <a:srgbClr val="AEABAB"/>
              </a:solidFill>
            </c:spPr>
            <c:extLst>
              <c:ext xmlns:c16="http://schemas.microsoft.com/office/drawing/2014/chart" uri="{C3380CC4-5D6E-409C-BE32-E72D297353CC}">
                <c16:uniqueId val="{00000297-08A2-4ED8-81DE-F02C5E6E5F08}"/>
              </c:ext>
            </c:extLst>
          </c:dPt>
          <c:dPt>
            <c:idx val="331"/>
            <c:invertIfNegative val="1"/>
            <c:bubble3D val="0"/>
            <c:spPr>
              <a:solidFill>
                <a:srgbClr val="AEABAB"/>
              </a:solidFill>
            </c:spPr>
            <c:extLst>
              <c:ext xmlns:c16="http://schemas.microsoft.com/office/drawing/2014/chart" uri="{C3380CC4-5D6E-409C-BE32-E72D297353CC}">
                <c16:uniqueId val="{00000299-08A2-4ED8-81DE-F02C5E6E5F08}"/>
              </c:ext>
            </c:extLst>
          </c:dPt>
          <c:dPt>
            <c:idx val="332"/>
            <c:invertIfNegative val="1"/>
            <c:bubble3D val="0"/>
            <c:spPr>
              <a:solidFill>
                <a:srgbClr val="AEABAB"/>
              </a:solidFill>
            </c:spPr>
            <c:extLst>
              <c:ext xmlns:c16="http://schemas.microsoft.com/office/drawing/2014/chart" uri="{C3380CC4-5D6E-409C-BE32-E72D297353CC}">
                <c16:uniqueId val="{0000029B-08A2-4ED8-81DE-F02C5E6E5F08}"/>
              </c:ext>
            </c:extLst>
          </c:dPt>
          <c:dPt>
            <c:idx val="333"/>
            <c:invertIfNegative val="1"/>
            <c:bubble3D val="0"/>
            <c:spPr>
              <a:solidFill>
                <a:srgbClr val="AEABAB"/>
              </a:solidFill>
            </c:spPr>
            <c:extLst>
              <c:ext xmlns:c16="http://schemas.microsoft.com/office/drawing/2014/chart" uri="{C3380CC4-5D6E-409C-BE32-E72D297353CC}">
                <c16:uniqueId val="{0000029D-08A2-4ED8-81DE-F02C5E6E5F08}"/>
              </c:ext>
            </c:extLst>
          </c:dPt>
          <c:dPt>
            <c:idx val="334"/>
            <c:invertIfNegative val="1"/>
            <c:bubble3D val="0"/>
            <c:spPr>
              <a:solidFill>
                <a:srgbClr val="AEABAB"/>
              </a:solidFill>
            </c:spPr>
            <c:extLst>
              <c:ext xmlns:c16="http://schemas.microsoft.com/office/drawing/2014/chart" uri="{C3380CC4-5D6E-409C-BE32-E72D297353CC}">
                <c16:uniqueId val="{0000029F-08A2-4ED8-81DE-F02C5E6E5F08}"/>
              </c:ext>
            </c:extLst>
          </c:dPt>
          <c:dPt>
            <c:idx val="335"/>
            <c:invertIfNegative val="1"/>
            <c:bubble3D val="0"/>
            <c:spPr>
              <a:solidFill>
                <a:srgbClr val="AEABAB"/>
              </a:solidFill>
            </c:spPr>
            <c:extLst>
              <c:ext xmlns:c16="http://schemas.microsoft.com/office/drawing/2014/chart" uri="{C3380CC4-5D6E-409C-BE32-E72D297353CC}">
                <c16:uniqueId val="{000002A1-08A2-4ED8-81DE-F02C5E6E5F08}"/>
              </c:ext>
            </c:extLst>
          </c:dPt>
          <c:dPt>
            <c:idx val="336"/>
            <c:invertIfNegative val="1"/>
            <c:bubble3D val="0"/>
            <c:spPr>
              <a:solidFill>
                <a:srgbClr val="AEABAB"/>
              </a:solidFill>
            </c:spPr>
            <c:extLst>
              <c:ext xmlns:c16="http://schemas.microsoft.com/office/drawing/2014/chart" uri="{C3380CC4-5D6E-409C-BE32-E72D297353CC}">
                <c16:uniqueId val="{000002A3-08A2-4ED8-81DE-F02C5E6E5F08}"/>
              </c:ext>
            </c:extLst>
          </c:dPt>
          <c:dPt>
            <c:idx val="337"/>
            <c:invertIfNegative val="1"/>
            <c:bubble3D val="0"/>
            <c:spPr>
              <a:solidFill>
                <a:srgbClr val="AEABAB"/>
              </a:solidFill>
            </c:spPr>
            <c:extLst>
              <c:ext xmlns:c16="http://schemas.microsoft.com/office/drawing/2014/chart" uri="{C3380CC4-5D6E-409C-BE32-E72D297353CC}">
                <c16:uniqueId val="{000002A5-08A2-4ED8-81DE-F02C5E6E5F08}"/>
              </c:ext>
            </c:extLst>
          </c:dPt>
          <c:dPt>
            <c:idx val="338"/>
            <c:invertIfNegative val="1"/>
            <c:bubble3D val="0"/>
            <c:spPr>
              <a:solidFill>
                <a:srgbClr val="AEABAB"/>
              </a:solidFill>
            </c:spPr>
            <c:extLst>
              <c:ext xmlns:c16="http://schemas.microsoft.com/office/drawing/2014/chart" uri="{C3380CC4-5D6E-409C-BE32-E72D297353CC}">
                <c16:uniqueId val="{000002A7-08A2-4ED8-81DE-F02C5E6E5F08}"/>
              </c:ext>
            </c:extLst>
          </c:dPt>
          <c:dPt>
            <c:idx val="339"/>
            <c:invertIfNegative val="1"/>
            <c:bubble3D val="0"/>
            <c:spPr>
              <a:solidFill>
                <a:srgbClr val="AEABAB"/>
              </a:solidFill>
            </c:spPr>
            <c:extLst>
              <c:ext xmlns:c16="http://schemas.microsoft.com/office/drawing/2014/chart" uri="{C3380CC4-5D6E-409C-BE32-E72D297353CC}">
                <c16:uniqueId val="{000002A9-08A2-4ED8-81DE-F02C5E6E5F08}"/>
              </c:ext>
            </c:extLst>
          </c:dPt>
          <c:dPt>
            <c:idx val="340"/>
            <c:invertIfNegative val="1"/>
            <c:bubble3D val="0"/>
            <c:spPr>
              <a:solidFill>
                <a:srgbClr val="AEABAB"/>
              </a:solidFill>
            </c:spPr>
            <c:extLst>
              <c:ext xmlns:c16="http://schemas.microsoft.com/office/drawing/2014/chart" uri="{C3380CC4-5D6E-409C-BE32-E72D297353CC}">
                <c16:uniqueId val="{000002AB-08A2-4ED8-81DE-F02C5E6E5F08}"/>
              </c:ext>
            </c:extLst>
          </c:dPt>
          <c:dPt>
            <c:idx val="341"/>
            <c:invertIfNegative val="1"/>
            <c:bubble3D val="0"/>
            <c:spPr>
              <a:solidFill>
                <a:srgbClr val="AEABAB"/>
              </a:solidFill>
            </c:spPr>
            <c:extLst>
              <c:ext xmlns:c16="http://schemas.microsoft.com/office/drawing/2014/chart" uri="{C3380CC4-5D6E-409C-BE32-E72D297353CC}">
                <c16:uniqueId val="{000002AD-08A2-4ED8-81DE-F02C5E6E5F08}"/>
              </c:ext>
            </c:extLst>
          </c:dPt>
          <c:dPt>
            <c:idx val="342"/>
            <c:invertIfNegative val="1"/>
            <c:bubble3D val="0"/>
            <c:spPr>
              <a:solidFill>
                <a:srgbClr val="AEABAB"/>
              </a:solidFill>
            </c:spPr>
            <c:extLst>
              <c:ext xmlns:c16="http://schemas.microsoft.com/office/drawing/2014/chart" uri="{C3380CC4-5D6E-409C-BE32-E72D297353CC}">
                <c16:uniqueId val="{000002AF-08A2-4ED8-81DE-F02C5E6E5F08}"/>
              </c:ext>
            </c:extLst>
          </c:dPt>
          <c:dPt>
            <c:idx val="343"/>
            <c:invertIfNegative val="1"/>
            <c:bubble3D val="0"/>
            <c:spPr>
              <a:solidFill>
                <a:srgbClr val="AEABAB"/>
              </a:solidFill>
            </c:spPr>
            <c:extLst>
              <c:ext xmlns:c16="http://schemas.microsoft.com/office/drawing/2014/chart" uri="{C3380CC4-5D6E-409C-BE32-E72D297353CC}">
                <c16:uniqueId val="{000002B1-08A2-4ED8-81DE-F02C5E6E5F08}"/>
              </c:ext>
            </c:extLst>
          </c:dPt>
          <c:dPt>
            <c:idx val="344"/>
            <c:invertIfNegative val="1"/>
            <c:bubble3D val="0"/>
            <c:spPr>
              <a:solidFill>
                <a:srgbClr val="AEABAB"/>
              </a:solidFill>
            </c:spPr>
            <c:extLst>
              <c:ext xmlns:c16="http://schemas.microsoft.com/office/drawing/2014/chart" uri="{C3380CC4-5D6E-409C-BE32-E72D297353CC}">
                <c16:uniqueId val="{000002B3-08A2-4ED8-81DE-F02C5E6E5F08}"/>
              </c:ext>
            </c:extLst>
          </c:dPt>
          <c:dPt>
            <c:idx val="345"/>
            <c:invertIfNegative val="1"/>
            <c:bubble3D val="0"/>
            <c:spPr>
              <a:solidFill>
                <a:srgbClr val="AEABAB"/>
              </a:solidFill>
            </c:spPr>
            <c:extLst>
              <c:ext xmlns:c16="http://schemas.microsoft.com/office/drawing/2014/chart" uri="{C3380CC4-5D6E-409C-BE32-E72D297353CC}">
                <c16:uniqueId val="{000002B5-08A2-4ED8-81DE-F02C5E6E5F08}"/>
              </c:ext>
            </c:extLst>
          </c:dPt>
          <c:dPt>
            <c:idx val="346"/>
            <c:invertIfNegative val="1"/>
            <c:bubble3D val="0"/>
            <c:spPr>
              <a:solidFill>
                <a:srgbClr val="AEABAB"/>
              </a:solidFill>
            </c:spPr>
            <c:extLst>
              <c:ext xmlns:c16="http://schemas.microsoft.com/office/drawing/2014/chart" uri="{C3380CC4-5D6E-409C-BE32-E72D297353CC}">
                <c16:uniqueId val="{000002B7-08A2-4ED8-81DE-F02C5E6E5F08}"/>
              </c:ext>
            </c:extLst>
          </c:dPt>
          <c:dPt>
            <c:idx val="347"/>
            <c:invertIfNegative val="1"/>
            <c:bubble3D val="0"/>
            <c:spPr>
              <a:solidFill>
                <a:srgbClr val="AEABAB"/>
              </a:solidFill>
            </c:spPr>
            <c:extLst>
              <c:ext xmlns:c16="http://schemas.microsoft.com/office/drawing/2014/chart" uri="{C3380CC4-5D6E-409C-BE32-E72D297353CC}">
                <c16:uniqueId val="{000002B9-08A2-4ED8-81DE-F02C5E6E5F08}"/>
              </c:ext>
            </c:extLst>
          </c:dPt>
          <c:dPt>
            <c:idx val="348"/>
            <c:invertIfNegative val="1"/>
            <c:bubble3D val="0"/>
            <c:spPr>
              <a:solidFill>
                <a:srgbClr val="AEABAB"/>
              </a:solidFill>
            </c:spPr>
            <c:extLst>
              <c:ext xmlns:c16="http://schemas.microsoft.com/office/drawing/2014/chart" uri="{C3380CC4-5D6E-409C-BE32-E72D297353CC}">
                <c16:uniqueId val="{000002BB-08A2-4ED8-81DE-F02C5E6E5F08}"/>
              </c:ext>
            </c:extLst>
          </c:dPt>
          <c:dPt>
            <c:idx val="349"/>
            <c:invertIfNegative val="1"/>
            <c:bubble3D val="0"/>
            <c:spPr>
              <a:solidFill>
                <a:srgbClr val="AEABAB"/>
              </a:solidFill>
            </c:spPr>
            <c:extLst>
              <c:ext xmlns:c16="http://schemas.microsoft.com/office/drawing/2014/chart" uri="{C3380CC4-5D6E-409C-BE32-E72D297353CC}">
                <c16:uniqueId val="{000002BD-08A2-4ED8-81DE-F02C5E6E5F08}"/>
              </c:ext>
            </c:extLst>
          </c:dPt>
          <c:dPt>
            <c:idx val="350"/>
            <c:invertIfNegative val="1"/>
            <c:bubble3D val="0"/>
            <c:spPr>
              <a:solidFill>
                <a:srgbClr val="AEABAB"/>
              </a:solidFill>
            </c:spPr>
            <c:extLst>
              <c:ext xmlns:c16="http://schemas.microsoft.com/office/drawing/2014/chart" uri="{C3380CC4-5D6E-409C-BE32-E72D297353CC}">
                <c16:uniqueId val="{000002BF-08A2-4ED8-81DE-F02C5E6E5F08}"/>
              </c:ext>
            </c:extLst>
          </c:dPt>
          <c:dPt>
            <c:idx val="351"/>
            <c:invertIfNegative val="1"/>
            <c:bubble3D val="0"/>
            <c:spPr>
              <a:solidFill>
                <a:srgbClr val="AEABAB"/>
              </a:solidFill>
            </c:spPr>
            <c:extLst>
              <c:ext xmlns:c16="http://schemas.microsoft.com/office/drawing/2014/chart" uri="{C3380CC4-5D6E-409C-BE32-E72D297353CC}">
                <c16:uniqueId val="{000002C1-08A2-4ED8-81DE-F02C5E6E5F08}"/>
              </c:ext>
            </c:extLst>
          </c:dPt>
          <c:dPt>
            <c:idx val="352"/>
            <c:invertIfNegative val="1"/>
            <c:bubble3D val="0"/>
            <c:spPr>
              <a:solidFill>
                <a:srgbClr val="AEABAB"/>
              </a:solidFill>
            </c:spPr>
            <c:extLst>
              <c:ext xmlns:c16="http://schemas.microsoft.com/office/drawing/2014/chart" uri="{C3380CC4-5D6E-409C-BE32-E72D297353CC}">
                <c16:uniqueId val="{000002C3-08A2-4ED8-81DE-F02C5E6E5F08}"/>
              </c:ext>
            </c:extLst>
          </c:dPt>
          <c:dPt>
            <c:idx val="353"/>
            <c:invertIfNegative val="1"/>
            <c:bubble3D val="0"/>
            <c:spPr>
              <a:solidFill>
                <a:srgbClr val="AEABAB"/>
              </a:solidFill>
            </c:spPr>
            <c:extLst>
              <c:ext xmlns:c16="http://schemas.microsoft.com/office/drawing/2014/chart" uri="{C3380CC4-5D6E-409C-BE32-E72D297353CC}">
                <c16:uniqueId val="{000002C5-08A2-4ED8-81DE-F02C5E6E5F08}"/>
              </c:ext>
            </c:extLst>
          </c:dPt>
          <c:dPt>
            <c:idx val="354"/>
            <c:invertIfNegative val="1"/>
            <c:bubble3D val="0"/>
            <c:spPr>
              <a:solidFill>
                <a:srgbClr val="AEABAB"/>
              </a:solidFill>
            </c:spPr>
            <c:extLst>
              <c:ext xmlns:c16="http://schemas.microsoft.com/office/drawing/2014/chart" uri="{C3380CC4-5D6E-409C-BE32-E72D297353CC}">
                <c16:uniqueId val="{000002C7-08A2-4ED8-81DE-F02C5E6E5F08}"/>
              </c:ext>
            </c:extLst>
          </c:dPt>
          <c:dPt>
            <c:idx val="355"/>
            <c:invertIfNegative val="1"/>
            <c:bubble3D val="0"/>
            <c:spPr>
              <a:solidFill>
                <a:srgbClr val="AEABAB"/>
              </a:solidFill>
            </c:spPr>
            <c:extLst>
              <c:ext xmlns:c16="http://schemas.microsoft.com/office/drawing/2014/chart" uri="{C3380CC4-5D6E-409C-BE32-E72D297353CC}">
                <c16:uniqueId val="{000002C9-08A2-4ED8-81DE-F02C5E6E5F08}"/>
              </c:ext>
            </c:extLst>
          </c:dPt>
          <c:dPt>
            <c:idx val="356"/>
            <c:invertIfNegative val="1"/>
            <c:bubble3D val="0"/>
            <c:spPr>
              <a:solidFill>
                <a:srgbClr val="AEABAB"/>
              </a:solidFill>
            </c:spPr>
            <c:extLst>
              <c:ext xmlns:c16="http://schemas.microsoft.com/office/drawing/2014/chart" uri="{C3380CC4-5D6E-409C-BE32-E72D297353CC}">
                <c16:uniqueId val="{000002CB-08A2-4ED8-81DE-F02C5E6E5F08}"/>
              </c:ext>
            </c:extLst>
          </c:dPt>
          <c:dPt>
            <c:idx val="357"/>
            <c:invertIfNegative val="1"/>
            <c:bubble3D val="0"/>
            <c:spPr>
              <a:solidFill>
                <a:srgbClr val="AEABAB"/>
              </a:solidFill>
            </c:spPr>
            <c:extLst>
              <c:ext xmlns:c16="http://schemas.microsoft.com/office/drawing/2014/chart" uri="{C3380CC4-5D6E-409C-BE32-E72D297353CC}">
                <c16:uniqueId val="{000002CD-08A2-4ED8-81DE-F02C5E6E5F08}"/>
              </c:ext>
            </c:extLst>
          </c:dPt>
          <c:dPt>
            <c:idx val="358"/>
            <c:invertIfNegative val="1"/>
            <c:bubble3D val="0"/>
            <c:spPr>
              <a:solidFill>
                <a:srgbClr val="AEABAB"/>
              </a:solidFill>
            </c:spPr>
            <c:extLst>
              <c:ext xmlns:c16="http://schemas.microsoft.com/office/drawing/2014/chart" uri="{C3380CC4-5D6E-409C-BE32-E72D297353CC}">
                <c16:uniqueId val="{000002CF-08A2-4ED8-81DE-F02C5E6E5F08}"/>
              </c:ext>
            </c:extLst>
          </c:dPt>
          <c:dPt>
            <c:idx val="359"/>
            <c:invertIfNegative val="1"/>
            <c:bubble3D val="0"/>
            <c:spPr>
              <a:solidFill>
                <a:srgbClr val="AEABAB"/>
              </a:solidFill>
            </c:spPr>
            <c:extLst>
              <c:ext xmlns:c16="http://schemas.microsoft.com/office/drawing/2014/chart" uri="{C3380CC4-5D6E-409C-BE32-E72D297353CC}">
                <c16:uniqueId val="{000002D1-08A2-4ED8-81DE-F02C5E6E5F08}"/>
              </c:ext>
            </c:extLst>
          </c:dPt>
          <c:dPt>
            <c:idx val="360"/>
            <c:invertIfNegative val="1"/>
            <c:bubble3D val="0"/>
            <c:spPr>
              <a:solidFill>
                <a:srgbClr val="AEABAB"/>
              </a:solidFill>
            </c:spPr>
            <c:extLst>
              <c:ext xmlns:c16="http://schemas.microsoft.com/office/drawing/2014/chart" uri="{C3380CC4-5D6E-409C-BE32-E72D297353CC}">
                <c16:uniqueId val="{000002D3-08A2-4ED8-81DE-F02C5E6E5F08}"/>
              </c:ext>
            </c:extLst>
          </c:dPt>
          <c:dPt>
            <c:idx val="361"/>
            <c:invertIfNegative val="1"/>
            <c:bubble3D val="0"/>
            <c:spPr>
              <a:solidFill>
                <a:srgbClr val="AEABAB"/>
              </a:solidFill>
            </c:spPr>
            <c:extLst>
              <c:ext xmlns:c16="http://schemas.microsoft.com/office/drawing/2014/chart" uri="{C3380CC4-5D6E-409C-BE32-E72D297353CC}">
                <c16:uniqueId val="{000002D5-08A2-4ED8-81DE-F02C5E6E5F08}"/>
              </c:ext>
            </c:extLst>
          </c:dPt>
          <c:dPt>
            <c:idx val="362"/>
            <c:invertIfNegative val="1"/>
            <c:bubble3D val="0"/>
            <c:spPr>
              <a:solidFill>
                <a:srgbClr val="AEABAB"/>
              </a:solidFill>
            </c:spPr>
            <c:extLst>
              <c:ext xmlns:c16="http://schemas.microsoft.com/office/drawing/2014/chart" uri="{C3380CC4-5D6E-409C-BE32-E72D297353CC}">
                <c16:uniqueId val="{000002D7-08A2-4ED8-81DE-F02C5E6E5F08}"/>
              </c:ext>
            </c:extLst>
          </c:dPt>
          <c:dPt>
            <c:idx val="363"/>
            <c:invertIfNegative val="1"/>
            <c:bubble3D val="0"/>
            <c:spPr>
              <a:solidFill>
                <a:srgbClr val="AEABAB"/>
              </a:solidFill>
            </c:spPr>
            <c:extLst>
              <c:ext xmlns:c16="http://schemas.microsoft.com/office/drawing/2014/chart" uri="{C3380CC4-5D6E-409C-BE32-E72D297353CC}">
                <c16:uniqueId val="{000002D9-08A2-4ED8-81DE-F02C5E6E5F08}"/>
              </c:ext>
            </c:extLst>
          </c:dPt>
          <c:dPt>
            <c:idx val="364"/>
            <c:invertIfNegative val="1"/>
            <c:bubble3D val="0"/>
            <c:spPr>
              <a:solidFill>
                <a:srgbClr val="AEABAB"/>
              </a:solidFill>
            </c:spPr>
            <c:extLst>
              <c:ext xmlns:c16="http://schemas.microsoft.com/office/drawing/2014/chart" uri="{C3380CC4-5D6E-409C-BE32-E72D297353CC}">
                <c16:uniqueId val="{000002DB-08A2-4ED8-81DE-F02C5E6E5F08}"/>
              </c:ext>
            </c:extLst>
          </c:dPt>
          <c:dPt>
            <c:idx val="365"/>
            <c:invertIfNegative val="1"/>
            <c:bubble3D val="0"/>
            <c:spPr>
              <a:solidFill>
                <a:srgbClr val="AEABAB"/>
              </a:solidFill>
            </c:spPr>
            <c:extLst>
              <c:ext xmlns:c16="http://schemas.microsoft.com/office/drawing/2014/chart" uri="{C3380CC4-5D6E-409C-BE32-E72D297353CC}">
                <c16:uniqueId val="{000002DD-08A2-4ED8-81DE-F02C5E6E5F08}"/>
              </c:ext>
            </c:extLst>
          </c:dPt>
          <c:dPt>
            <c:idx val="366"/>
            <c:invertIfNegative val="1"/>
            <c:bubble3D val="0"/>
            <c:spPr>
              <a:solidFill>
                <a:srgbClr val="AEABAB"/>
              </a:solidFill>
            </c:spPr>
            <c:extLst>
              <c:ext xmlns:c16="http://schemas.microsoft.com/office/drawing/2014/chart" uri="{C3380CC4-5D6E-409C-BE32-E72D297353CC}">
                <c16:uniqueId val="{000002DF-08A2-4ED8-81DE-F02C5E6E5F08}"/>
              </c:ext>
            </c:extLst>
          </c:dPt>
          <c:dPt>
            <c:idx val="367"/>
            <c:invertIfNegative val="1"/>
            <c:bubble3D val="0"/>
            <c:spPr>
              <a:solidFill>
                <a:srgbClr val="AEABAB"/>
              </a:solidFill>
            </c:spPr>
            <c:extLst>
              <c:ext xmlns:c16="http://schemas.microsoft.com/office/drawing/2014/chart" uri="{C3380CC4-5D6E-409C-BE32-E72D297353CC}">
                <c16:uniqueId val="{000002E1-08A2-4ED8-81DE-F02C5E6E5F08}"/>
              </c:ext>
            </c:extLst>
          </c:dPt>
          <c:dPt>
            <c:idx val="368"/>
            <c:invertIfNegative val="1"/>
            <c:bubble3D val="0"/>
            <c:spPr>
              <a:solidFill>
                <a:srgbClr val="AEABAB"/>
              </a:solidFill>
            </c:spPr>
            <c:extLst>
              <c:ext xmlns:c16="http://schemas.microsoft.com/office/drawing/2014/chart" uri="{C3380CC4-5D6E-409C-BE32-E72D297353CC}">
                <c16:uniqueId val="{000002E3-08A2-4ED8-81DE-F02C5E6E5F08}"/>
              </c:ext>
            </c:extLst>
          </c:dPt>
          <c:dPt>
            <c:idx val="369"/>
            <c:invertIfNegative val="1"/>
            <c:bubble3D val="0"/>
            <c:spPr>
              <a:solidFill>
                <a:srgbClr val="AEABAB"/>
              </a:solidFill>
            </c:spPr>
            <c:extLst>
              <c:ext xmlns:c16="http://schemas.microsoft.com/office/drawing/2014/chart" uri="{C3380CC4-5D6E-409C-BE32-E72D297353CC}">
                <c16:uniqueId val="{000002E5-08A2-4ED8-81DE-F02C5E6E5F08}"/>
              </c:ext>
            </c:extLst>
          </c:dPt>
          <c:dPt>
            <c:idx val="370"/>
            <c:invertIfNegative val="1"/>
            <c:bubble3D val="0"/>
            <c:spPr>
              <a:solidFill>
                <a:srgbClr val="AEABAB"/>
              </a:solidFill>
            </c:spPr>
            <c:extLst>
              <c:ext xmlns:c16="http://schemas.microsoft.com/office/drawing/2014/chart" uri="{C3380CC4-5D6E-409C-BE32-E72D297353CC}">
                <c16:uniqueId val="{000002E7-08A2-4ED8-81DE-F02C5E6E5F08}"/>
              </c:ext>
            </c:extLst>
          </c:dPt>
          <c:dPt>
            <c:idx val="371"/>
            <c:invertIfNegative val="1"/>
            <c:bubble3D val="0"/>
            <c:spPr>
              <a:solidFill>
                <a:srgbClr val="AEABAB"/>
              </a:solidFill>
            </c:spPr>
            <c:extLst>
              <c:ext xmlns:c16="http://schemas.microsoft.com/office/drawing/2014/chart" uri="{C3380CC4-5D6E-409C-BE32-E72D297353CC}">
                <c16:uniqueId val="{000002E9-08A2-4ED8-81DE-F02C5E6E5F08}"/>
              </c:ext>
            </c:extLst>
          </c:dPt>
          <c:dPt>
            <c:idx val="372"/>
            <c:invertIfNegative val="1"/>
            <c:bubble3D val="0"/>
            <c:spPr>
              <a:solidFill>
                <a:srgbClr val="AEABAB"/>
              </a:solidFill>
            </c:spPr>
            <c:extLst>
              <c:ext xmlns:c16="http://schemas.microsoft.com/office/drawing/2014/chart" uri="{C3380CC4-5D6E-409C-BE32-E72D297353CC}">
                <c16:uniqueId val="{000002EB-08A2-4ED8-81DE-F02C5E6E5F08}"/>
              </c:ext>
            </c:extLst>
          </c:dPt>
          <c:dPt>
            <c:idx val="373"/>
            <c:invertIfNegative val="1"/>
            <c:bubble3D val="0"/>
            <c:spPr>
              <a:solidFill>
                <a:srgbClr val="AEABAB"/>
              </a:solidFill>
            </c:spPr>
            <c:extLst>
              <c:ext xmlns:c16="http://schemas.microsoft.com/office/drawing/2014/chart" uri="{C3380CC4-5D6E-409C-BE32-E72D297353CC}">
                <c16:uniqueId val="{000002ED-08A2-4ED8-81DE-F02C5E6E5F08}"/>
              </c:ext>
            </c:extLst>
          </c:dPt>
          <c:dPt>
            <c:idx val="374"/>
            <c:invertIfNegative val="1"/>
            <c:bubble3D val="0"/>
            <c:spPr>
              <a:solidFill>
                <a:srgbClr val="AEABAB"/>
              </a:solidFill>
            </c:spPr>
            <c:extLst>
              <c:ext xmlns:c16="http://schemas.microsoft.com/office/drawing/2014/chart" uri="{C3380CC4-5D6E-409C-BE32-E72D297353CC}">
                <c16:uniqueId val="{000002EF-08A2-4ED8-81DE-F02C5E6E5F08}"/>
              </c:ext>
            </c:extLst>
          </c:dPt>
          <c:dPt>
            <c:idx val="375"/>
            <c:invertIfNegative val="1"/>
            <c:bubble3D val="0"/>
            <c:spPr>
              <a:solidFill>
                <a:srgbClr val="AEABAB"/>
              </a:solidFill>
            </c:spPr>
            <c:extLst>
              <c:ext xmlns:c16="http://schemas.microsoft.com/office/drawing/2014/chart" uri="{C3380CC4-5D6E-409C-BE32-E72D297353CC}">
                <c16:uniqueId val="{000002F1-08A2-4ED8-81DE-F02C5E6E5F08}"/>
              </c:ext>
            </c:extLst>
          </c:dPt>
          <c:dPt>
            <c:idx val="376"/>
            <c:invertIfNegative val="1"/>
            <c:bubble3D val="0"/>
            <c:spPr>
              <a:solidFill>
                <a:srgbClr val="AEABAB"/>
              </a:solidFill>
            </c:spPr>
            <c:extLst>
              <c:ext xmlns:c16="http://schemas.microsoft.com/office/drawing/2014/chart" uri="{C3380CC4-5D6E-409C-BE32-E72D297353CC}">
                <c16:uniqueId val="{000002F3-08A2-4ED8-81DE-F02C5E6E5F08}"/>
              </c:ext>
            </c:extLst>
          </c:dPt>
          <c:dPt>
            <c:idx val="377"/>
            <c:invertIfNegative val="1"/>
            <c:bubble3D val="0"/>
            <c:spPr>
              <a:solidFill>
                <a:srgbClr val="AEABAB"/>
              </a:solidFill>
            </c:spPr>
            <c:extLst>
              <c:ext xmlns:c16="http://schemas.microsoft.com/office/drawing/2014/chart" uri="{C3380CC4-5D6E-409C-BE32-E72D297353CC}">
                <c16:uniqueId val="{000002F5-08A2-4ED8-81DE-F02C5E6E5F08}"/>
              </c:ext>
            </c:extLst>
          </c:dPt>
          <c:dPt>
            <c:idx val="378"/>
            <c:invertIfNegative val="1"/>
            <c:bubble3D val="0"/>
            <c:spPr>
              <a:solidFill>
                <a:srgbClr val="AEABAB"/>
              </a:solidFill>
            </c:spPr>
            <c:extLst>
              <c:ext xmlns:c16="http://schemas.microsoft.com/office/drawing/2014/chart" uri="{C3380CC4-5D6E-409C-BE32-E72D297353CC}">
                <c16:uniqueId val="{000002F7-08A2-4ED8-81DE-F02C5E6E5F08}"/>
              </c:ext>
            </c:extLst>
          </c:dPt>
          <c:dPt>
            <c:idx val="379"/>
            <c:invertIfNegative val="1"/>
            <c:bubble3D val="0"/>
            <c:spPr>
              <a:solidFill>
                <a:srgbClr val="AEABAB"/>
              </a:solidFill>
            </c:spPr>
            <c:extLst>
              <c:ext xmlns:c16="http://schemas.microsoft.com/office/drawing/2014/chart" uri="{C3380CC4-5D6E-409C-BE32-E72D297353CC}">
                <c16:uniqueId val="{000002F9-08A2-4ED8-81DE-F02C5E6E5F08}"/>
              </c:ext>
            </c:extLst>
          </c:dPt>
          <c:dPt>
            <c:idx val="380"/>
            <c:invertIfNegative val="1"/>
            <c:bubble3D val="0"/>
            <c:spPr>
              <a:solidFill>
                <a:srgbClr val="AEABAB"/>
              </a:solidFill>
            </c:spPr>
            <c:extLst>
              <c:ext xmlns:c16="http://schemas.microsoft.com/office/drawing/2014/chart" uri="{C3380CC4-5D6E-409C-BE32-E72D297353CC}">
                <c16:uniqueId val="{000002FB-08A2-4ED8-81DE-F02C5E6E5F08}"/>
              </c:ext>
            </c:extLst>
          </c:dPt>
          <c:dPt>
            <c:idx val="381"/>
            <c:invertIfNegative val="1"/>
            <c:bubble3D val="0"/>
            <c:spPr>
              <a:solidFill>
                <a:srgbClr val="AEABAB"/>
              </a:solidFill>
            </c:spPr>
            <c:extLst>
              <c:ext xmlns:c16="http://schemas.microsoft.com/office/drawing/2014/chart" uri="{C3380CC4-5D6E-409C-BE32-E72D297353CC}">
                <c16:uniqueId val="{000002FD-08A2-4ED8-81DE-F02C5E6E5F08}"/>
              </c:ext>
            </c:extLst>
          </c:dPt>
          <c:dPt>
            <c:idx val="382"/>
            <c:invertIfNegative val="1"/>
            <c:bubble3D val="0"/>
            <c:spPr>
              <a:solidFill>
                <a:srgbClr val="AEABAB"/>
              </a:solidFill>
            </c:spPr>
            <c:extLst>
              <c:ext xmlns:c16="http://schemas.microsoft.com/office/drawing/2014/chart" uri="{C3380CC4-5D6E-409C-BE32-E72D297353CC}">
                <c16:uniqueId val="{000002FF-08A2-4ED8-81DE-F02C5E6E5F08}"/>
              </c:ext>
            </c:extLst>
          </c:dPt>
          <c:dPt>
            <c:idx val="383"/>
            <c:invertIfNegative val="1"/>
            <c:bubble3D val="0"/>
            <c:spPr>
              <a:solidFill>
                <a:srgbClr val="AEABAB"/>
              </a:solidFill>
            </c:spPr>
            <c:extLst>
              <c:ext xmlns:c16="http://schemas.microsoft.com/office/drawing/2014/chart" uri="{C3380CC4-5D6E-409C-BE32-E72D297353CC}">
                <c16:uniqueId val="{00000301-08A2-4ED8-81DE-F02C5E6E5F08}"/>
              </c:ext>
            </c:extLst>
          </c:dPt>
          <c:dPt>
            <c:idx val="384"/>
            <c:invertIfNegative val="1"/>
            <c:bubble3D val="0"/>
            <c:spPr>
              <a:solidFill>
                <a:srgbClr val="AEABAB"/>
              </a:solidFill>
            </c:spPr>
            <c:extLst>
              <c:ext xmlns:c16="http://schemas.microsoft.com/office/drawing/2014/chart" uri="{C3380CC4-5D6E-409C-BE32-E72D297353CC}">
                <c16:uniqueId val="{00000303-08A2-4ED8-81DE-F02C5E6E5F08}"/>
              </c:ext>
            </c:extLst>
          </c:dPt>
          <c:dPt>
            <c:idx val="385"/>
            <c:invertIfNegative val="1"/>
            <c:bubble3D val="0"/>
            <c:spPr>
              <a:solidFill>
                <a:srgbClr val="AEABAB"/>
              </a:solidFill>
            </c:spPr>
            <c:extLst>
              <c:ext xmlns:c16="http://schemas.microsoft.com/office/drawing/2014/chart" uri="{C3380CC4-5D6E-409C-BE32-E72D297353CC}">
                <c16:uniqueId val="{00000305-08A2-4ED8-81DE-F02C5E6E5F08}"/>
              </c:ext>
            </c:extLst>
          </c:dPt>
          <c:dPt>
            <c:idx val="386"/>
            <c:invertIfNegative val="1"/>
            <c:bubble3D val="0"/>
            <c:spPr>
              <a:solidFill>
                <a:srgbClr val="AEABAB"/>
              </a:solidFill>
            </c:spPr>
            <c:extLst>
              <c:ext xmlns:c16="http://schemas.microsoft.com/office/drawing/2014/chart" uri="{C3380CC4-5D6E-409C-BE32-E72D297353CC}">
                <c16:uniqueId val="{00000307-08A2-4ED8-81DE-F02C5E6E5F08}"/>
              </c:ext>
            </c:extLst>
          </c:dPt>
          <c:dPt>
            <c:idx val="387"/>
            <c:invertIfNegative val="1"/>
            <c:bubble3D val="0"/>
            <c:spPr>
              <a:solidFill>
                <a:srgbClr val="AEABAB"/>
              </a:solidFill>
            </c:spPr>
            <c:extLst>
              <c:ext xmlns:c16="http://schemas.microsoft.com/office/drawing/2014/chart" uri="{C3380CC4-5D6E-409C-BE32-E72D297353CC}">
                <c16:uniqueId val="{00000309-08A2-4ED8-81DE-F02C5E6E5F08}"/>
              </c:ext>
            </c:extLst>
          </c:dPt>
          <c:dPt>
            <c:idx val="388"/>
            <c:invertIfNegative val="1"/>
            <c:bubble3D val="0"/>
            <c:spPr>
              <a:solidFill>
                <a:srgbClr val="AEABAB"/>
              </a:solidFill>
            </c:spPr>
            <c:extLst>
              <c:ext xmlns:c16="http://schemas.microsoft.com/office/drawing/2014/chart" uri="{C3380CC4-5D6E-409C-BE32-E72D297353CC}">
                <c16:uniqueId val="{0000030B-08A2-4ED8-81DE-F02C5E6E5F08}"/>
              </c:ext>
            </c:extLst>
          </c:dPt>
          <c:dPt>
            <c:idx val="389"/>
            <c:invertIfNegative val="1"/>
            <c:bubble3D val="0"/>
            <c:spPr>
              <a:solidFill>
                <a:srgbClr val="AEABAB"/>
              </a:solidFill>
            </c:spPr>
            <c:extLst>
              <c:ext xmlns:c16="http://schemas.microsoft.com/office/drawing/2014/chart" uri="{C3380CC4-5D6E-409C-BE32-E72D297353CC}">
                <c16:uniqueId val="{0000030D-08A2-4ED8-81DE-F02C5E6E5F08}"/>
              </c:ext>
            </c:extLst>
          </c:dPt>
          <c:dPt>
            <c:idx val="390"/>
            <c:invertIfNegative val="1"/>
            <c:bubble3D val="0"/>
            <c:spPr>
              <a:solidFill>
                <a:srgbClr val="AEABAB"/>
              </a:solidFill>
            </c:spPr>
            <c:extLst>
              <c:ext xmlns:c16="http://schemas.microsoft.com/office/drawing/2014/chart" uri="{C3380CC4-5D6E-409C-BE32-E72D297353CC}">
                <c16:uniqueId val="{0000030F-08A2-4ED8-81DE-F02C5E6E5F08}"/>
              </c:ext>
            </c:extLst>
          </c:dPt>
          <c:dPt>
            <c:idx val="391"/>
            <c:invertIfNegative val="1"/>
            <c:bubble3D val="0"/>
            <c:spPr>
              <a:solidFill>
                <a:srgbClr val="AEABAB"/>
              </a:solidFill>
            </c:spPr>
            <c:extLst>
              <c:ext xmlns:c16="http://schemas.microsoft.com/office/drawing/2014/chart" uri="{C3380CC4-5D6E-409C-BE32-E72D297353CC}">
                <c16:uniqueId val="{00000311-08A2-4ED8-81DE-F02C5E6E5F08}"/>
              </c:ext>
            </c:extLst>
          </c:dPt>
          <c:dPt>
            <c:idx val="392"/>
            <c:invertIfNegative val="1"/>
            <c:bubble3D val="0"/>
            <c:spPr>
              <a:solidFill>
                <a:srgbClr val="AEABAB"/>
              </a:solidFill>
            </c:spPr>
            <c:extLst>
              <c:ext xmlns:c16="http://schemas.microsoft.com/office/drawing/2014/chart" uri="{C3380CC4-5D6E-409C-BE32-E72D297353CC}">
                <c16:uniqueId val="{00000313-08A2-4ED8-81DE-F02C5E6E5F08}"/>
              </c:ext>
            </c:extLst>
          </c:dPt>
          <c:dPt>
            <c:idx val="393"/>
            <c:invertIfNegative val="1"/>
            <c:bubble3D val="0"/>
            <c:spPr>
              <a:solidFill>
                <a:srgbClr val="AEABAB"/>
              </a:solidFill>
            </c:spPr>
            <c:extLst>
              <c:ext xmlns:c16="http://schemas.microsoft.com/office/drawing/2014/chart" uri="{C3380CC4-5D6E-409C-BE32-E72D297353CC}">
                <c16:uniqueId val="{00000315-08A2-4ED8-81DE-F02C5E6E5F08}"/>
              </c:ext>
            </c:extLst>
          </c:dPt>
          <c:dPt>
            <c:idx val="394"/>
            <c:invertIfNegative val="1"/>
            <c:bubble3D val="0"/>
            <c:spPr>
              <a:solidFill>
                <a:srgbClr val="AEABAB"/>
              </a:solidFill>
            </c:spPr>
            <c:extLst>
              <c:ext xmlns:c16="http://schemas.microsoft.com/office/drawing/2014/chart" uri="{C3380CC4-5D6E-409C-BE32-E72D297353CC}">
                <c16:uniqueId val="{00000317-08A2-4ED8-81DE-F02C5E6E5F08}"/>
              </c:ext>
            </c:extLst>
          </c:dPt>
          <c:dPt>
            <c:idx val="395"/>
            <c:invertIfNegative val="1"/>
            <c:bubble3D val="0"/>
            <c:spPr>
              <a:solidFill>
                <a:srgbClr val="AEABAB"/>
              </a:solidFill>
            </c:spPr>
            <c:extLst>
              <c:ext xmlns:c16="http://schemas.microsoft.com/office/drawing/2014/chart" uri="{C3380CC4-5D6E-409C-BE32-E72D297353CC}">
                <c16:uniqueId val="{00000319-08A2-4ED8-81DE-F02C5E6E5F08}"/>
              </c:ext>
            </c:extLst>
          </c:dPt>
          <c:dPt>
            <c:idx val="396"/>
            <c:invertIfNegative val="1"/>
            <c:bubble3D val="0"/>
            <c:spPr>
              <a:solidFill>
                <a:srgbClr val="AEABAB"/>
              </a:solidFill>
            </c:spPr>
            <c:extLst>
              <c:ext xmlns:c16="http://schemas.microsoft.com/office/drawing/2014/chart" uri="{C3380CC4-5D6E-409C-BE32-E72D297353CC}">
                <c16:uniqueId val="{0000031B-08A2-4ED8-81DE-F02C5E6E5F08}"/>
              </c:ext>
            </c:extLst>
          </c:dPt>
          <c:dPt>
            <c:idx val="397"/>
            <c:invertIfNegative val="1"/>
            <c:bubble3D val="0"/>
            <c:spPr>
              <a:solidFill>
                <a:srgbClr val="AEABAB"/>
              </a:solidFill>
            </c:spPr>
            <c:extLst>
              <c:ext xmlns:c16="http://schemas.microsoft.com/office/drawing/2014/chart" uri="{C3380CC4-5D6E-409C-BE32-E72D297353CC}">
                <c16:uniqueId val="{0000031D-08A2-4ED8-81DE-F02C5E6E5F08}"/>
              </c:ext>
            </c:extLst>
          </c:dPt>
          <c:dPt>
            <c:idx val="398"/>
            <c:invertIfNegative val="1"/>
            <c:bubble3D val="0"/>
            <c:spPr>
              <a:solidFill>
                <a:srgbClr val="AEABAB"/>
              </a:solidFill>
            </c:spPr>
            <c:extLst>
              <c:ext xmlns:c16="http://schemas.microsoft.com/office/drawing/2014/chart" uri="{C3380CC4-5D6E-409C-BE32-E72D297353CC}">
                <c16:uniqueId val="{0000031F-08A2-4ED8-81DE-F02C5E6E5F08}"/>
              </c:ext>
            </c:extLst>
          </c:dPt>
          <c:dPt>
            <c:idx val="399"/>
            <c:invertIfNegative val="1"/>
            <c:bubble3D val="0"/>
            <c:spPr>
              <a:solidFill>
                <a:srgbClr val="AEABAB"/>
              </a:solidFill>
            </c:spPr>
            <c:extLst>
              <c:ext xmlns:c16="http://schemas.microsoft.com/office/drawing/2014/chart" uri="{C3380CC4-5D6E-409C-BE32-E72D297353CC}">
                <c16:uniqueId val="{00000321-08A2-4ED8-81DE-F02C5E6E5F08}"/>
              </c:ext>
            </c:extLst>
          </c:dPt>
          <c:dPt>
            <c:idx val="400"/>
            <c:invertIfNegative val="1"/>
            <c:bubble3D val="0"/>
            <c:spPr>
              <a:solidFill>
                <a:srgbClr val="AEABAB"/>
              </a:solidFill>
            </c:spPr>
            <c:extLst>
              <c:ext xmlns:c16="http://schemas.microsoft.com/office/drawing/2014/chart" uri="{C3380CC4-5D6E-409C-BE32-E72D297353CC}">
                <c16:uniqueId val="{00000323-08A2-4ED8-81DE-F02C5E6E5F08}"/>
              </c:ext>
            </c:extLst>
          </c:dPt>
          <c:dPt>
            <c:idx val="401"/>
            <c:invertIfNegative val="1"/>
            <c:bubble3D val="0"/>
            <c:spPr>
              <a:solidFill>
                <a:srgbClr val="AEABAB"/>
              </a:solidFill>
            </c:spPr>
            <c:extLst>
              <c:ext xmlns:c16="http://schemas.microsoft.com/office/drawing/2014/chart" uri="{C3380CC4-5D6E-409C-BE32-E72D297353CC}">
                <c16:uniqueId val="{00000325-08A2-4ED8-81DE-F02C5E6E5F08}"/>
              </c:ext>
            </c:extLst>
          </c:dPt>
          <c:dPt>
            <c:idx val="402"/>
            <c:invertIfNegative val="1"/>
            <c:bubble3D val="0"/>
            <c:spPr>
              <a:solidFill>
                <a:srgbClr val="AEABAB"/>
              </a:solidFill>
            </c:spPr>
            <c:extLst>
              <c:ext xmlns:c16="http://schemas.microsoft.com/office/drawing/2014/chart" uri="{C3380CC4-5D6E-409C-BE32-E72D297353CC}">
                <c16:uniqueId val="{00000327-08A2-4ED8-81DE-F02C5E6E5F08}"/>
              </c:ext>
            </c:extLst>
          </c:dPt>
          <c:dPt>
            <c:idx val="403"/>
            <c:invertIfNegative val="1"/>
            <c:bubble3D val="0"/>
            <c:spPr>
              <a:solidFill>
                <a:srgbClr val="AEABAB"/>
              </a:solidFill>
            </c:spPr>
            <c:extLst>
              <c:ext xmlns:c16="http://schemas.microsoft.com/office/drawing/2014/chart" uri="{C3380CC4-5D6E-409C-BE32-E72D297353CC}">
                <c16:uniqueId val="{00000329-08A2-4ED8-81DE-F02C5E6E5F08}"/>
              </c:ext>
            </c:extLst>
          </c:dPt>
          <c:dPt>
            <c:idx val="404"/>
            <c:invertIfNegative val="1"/>
            <c:bubble3D val="0"/>
            <c:spPr>
              <a:solidFill>
                <a:srgbClr val="AEABAB"/>
              </a:solidFill>
            </c:spPr>
            <c:extLst>
              <c:ext xmlns:c16="http://schemas.microsoft.com/office/drawing/2014/chart" uri="{C3380CC4-5D6E-409C-BE32-E72D297353CC}">
                <c16:uniqueId val="{0000032B-08A2-4ED8-81DE-F02C5E6E5F08}"/>
              </c:ext>
            </c:extLst>
          </c:dPt>
          <c:dPt>
            <c:idx val="405"/>
            <c:invertIfNegative val="1"/>
            <c:bubble3D val="0"/>
            <c:spPr>
              <a:solidFill>
                <a:srgbClr val="AEABAB"/>
              </a:solidFill>
            </c:spPr>
            <c:extLst>
              <c:ext xmlns:c16="http://schemas.microsoft.com/office/drawing/2014/chart" uri="{C3380CC4-5D6E-409C-BE32-E72D297353CC}">
                <c16:uniqueId val="{0000032D-08A2-4ED8-81DE-F02C5E6E5F08}"/>
              </c:ext>
            </c:extLst>
          </c:dPt>
          <c:dPt>
            <c:idx val="406"/>
            <c:invertIfNegative val="1"/>
            <c:bubble3D val="0"/>
            <c:spPr>
              <a:solidFill>
                <a:srgbClr val="AEABAB"/>
              </a:solidFill>
            </c:spPr>
            <c:extLst>
              <c:ext xmlns:c16="http://schemas.microsoft.com/office/drawing/2014/chart" uri="{C3380CC4-5D6E-409C-BE32-E72D297353CC}">
                <c16:uniqueId val="{0000032F-08A2-4ED8-81DE-F02C5E6E5F08}"/>
              </c:ext>
            </c:extLst>
          </c:dPt>
          <c:dPt>
            <c:idx val="407"/>
            <c:invertIfNegative val="1"/>
            <c:bubble3D val="0"/>
            <c:spPr>
              <a:solidFill>
                <a:srgbClr val="AEABAB"/>
              </a:solidFill>
            </c:spPr>
            <c:extLst>
              <c:ext xmlns:c16="http://schemas.microsoft.com/office/drawing/2014/chart" uri="{C3380CC4-5D6E-409C-BE32-E72D297353CC}">
                <c16:uniqueId val="{00000331-08A2-4ED8-81DE-F02C5E6E5F08}"/>
              </c:ext>
            </c:extLst>
          </c:dPt>
          <c:dPt>
            <c:idx val="408"/>
            <c:invertIfNegative val="1"/>
            <c:bubble3D val="0"/>
            <c:spPr>
              <a:solidFill>
                <a:srgbClr val="AEABAB"/>
              </a:solidFill>
            </c:spPr>
            <c:extLst>
              <c:ext xmlns:c16="http://schemas.microsoft.com/office/drawing/2014/chart" uri="{C3380CC4-5D6E-409C-BE32-E72D297353CC}">
                <c16:uniqueId val="{00000333-08A2-4ED8-81DE-F02C5E6E5F08}"/>
              </c:ext>
            </c:extLst>
          </c:dPt>
          <c:dPt>
            <c:idx val="409"/>
            <c:invertIfNegative val="1"/>
            <c:bubble3D val="0"/>
            <c:spPr>
              <a:solidFill>
                <a:srgbClr val="AEABAB"/>
              </a:solidFill>
            </c:spPr>
            <c:extLst>
              <c:ext xmlns:c16="http://schemas.microsoft.com/office/drawing/2014/chart" uri="{C3380CC4-5D6E-409C-BE32-E72D297353CC}">
                <c16:uniqueId val="{00000335-08A2-4ED8-81DE-F02C5E6E5F08}"/>
              </c:ext>
            </c:extLst>
          </c:dPt>
          <c:dPt>
            <c:idx val="410"/>
            <c:invertIfNegative val="1"/>
            <c:bubble3D val="0"/>
            <c:spPr>
              <a:solidFill>
                <a:srgbClr val="AEABAB"/>
              </a:solidFill>
            </c:spPr>
            <c:extLst>
              <c:ext xmlns:c16="http://schemas.microsoft.com/office/drawing/2014/chart" uri="{C3380CC4-5D6E-409C-BE32-E72D297353CC}">
                <c16:uniqueId val="{00000337-08A2-4ED8-81DE-F02C5E6E5F08}"/>
              </c:ext>
            </c:extLst>
          </c:dPt>
          <c:dPt>
            <c:idx val="411"/>
            <c:invertIfNegative val="1"/>
            <c:bubble3D val="0"/>
            <c:spPr>
              <a:solidFill>
                <a:srgbClr val="AEABAB"/>
              </a:solidFill>
            </c:spPr>
            <c:extLst>
              <c:ext xmlns:c16="http://schemas.microsoft.com/office/drawing/2014/chart" uri="{C3380CC4-5D6E-409C-BE32-E72D297353CC}">
                <c16:uniqueId val="{00000339-08A2-4ED8-81DE-F02C5E6E5F08}"/>
              </c:ext>
            </c:extLst>
          </c:dPt>
          <c:dPt>
            <c:idx val="412"/>
            <c:invertIfNegative val="1"/>
            <c:bubble3D val="0"/>
            <c:spPr>
              <a:solidFill>
                <a:srgbClr val="AEABAB"/>
              </a:solidFill>
            </c:spPr>
            <c:extLst>
              <c:ext xmlns:c16="http://schemas.microsoft.com/office/drawing/2014/chart" uri="{C3380CC4-5D6E-409C-BE32-E72D297353CC}">
                <c16:uniqueId val="{0000033B-08A2-4ED8-81DE-F02C5E6E5F08}"/>
              </c:ext>
            </c:extLst>
          </c:dPt>
          <c:dPt>
            <c:idx val="413"/>
            <c:invertIfNegative val="1"/>
            <c:bubble3D val="0"/>
            <c:spPr>
              <a:solidFill>
                <a:srgbClr val="AEABAB"/>
              </a:solidFill>
            </c:spPr>
            <c:extLst>
              <c:ext xmlns:c16="http://schemas.microsoft.com/office/drawing/2014/chart" uri="{C3380CC4-5D6E-409C-BE32-E72D297353CC}">
                <c16:uniqueId val="{0000033D-08A2-4ED8-81DE-F02C5E6E5F08}"/>
              </c:ext>
            </c:extLst>
          </c:dPt>
          <c:dPt>
            <c:idx val="414"/>
            <c:invertIfNegative val="1"/>
            <c:bubble3D val="0"/>
            <c:spPr>
              <a:solidFill>
                <a:srgbClr val="AEABAB"/>
              </a:solidFill>
            </c:spPr>
            <c:extLst>
              <c:ext xmlns:c16="http://schemas.microsoft.com/office/drawing/2014/chart" uri="{C3380CC4-5D6E-409C-BE32-E72D297353CC}">
                <c16:uniqueId val="{0000033F-08A2-4ED8-81DE-F02C5E6E5F08}"/>
              </c:ext>
            </c:extLst>
          </c:dPt>
          <c:dPt>
            <c:idx val="415"/>
            <c:invertIfNegative val="1"/>
            <c:bubble3D val="0"/>
            <c:spPr>
              <a:solidFill>
                <a:srgbClr val="AEABAB"/>
              </a:solidFill>
            </c:spPr>
            <c:extLst>
              <c:ext xmlns:c16="http://schemas.microsoft.com/office/drawing/2014/chart" uri="{C3380CC4-5D6E-409C-BE32-E72D297353CC}">
                <c16:uniqueId val="{00000341-08A2-4ED8-81DE-F02C5E6E5F08}"/>
              </c:ext>
            </c:extLst>
          </c:dPt>
          <c:dPt>
            <c:idx val="416"/>
            <c:invertIfNegative val="1"/>
            <c:bubble3D val="0"/>
            <c:spPr>
              <a:solidFill>
                <a:srgbClr val="AEABAB"/>
              </a:solidFill>
            </c:spPr>
            <c:extLst>
              <c:ext xmlns:c16="http://schemas.microsoft.com/office/drawing/2014/chart" uri="{C3380CC4-5D6E-409C-BE32-E72D297353CC}">
                <c16:uniqueId val="{00000343-08A2-4ED8-81DE-F02C5E6E5F08}"/>
              </c:ext>
            </c:extLst>
          </c:dPt>
          <c:dPt>
            <c:idx val="417"/>
            <c:invertIfNegative val="1"/>
            <c:bubble3D val="0"/>
            <c:spPr>
              <a:solidFill>
                <a:srgbClr val="AEABAB"/>
              </a:solidFill>
            </c:spPr>
            <c:extLst>
              <c:ext xmlns:c16="http://schemas.microsoft.com/office/drawing/2014/chart" uri="{C3380CC4-5D6E-409C-BE32-E72D297353CC}">
                <c16:uniqueId val="{00000345-08A2-4ED8-81DE-F02C5E6E5F08}"/>
              </c:ext>
            </c:extLst>
          </c:dPt>
          <c:dPt>
            <c:idx val="418"/>
            <c:invertIfNegative val="1"/>
            <c:bubble3D val="0"/>
            <c:spPr>
              <a:solidFill>
                <a:srgbClr val="AEABAB"/>
              </a:solidFill>
            </c:spPr>
            <c:extLst>
              <c:ext xmlns:c16="http://schemas.microsoft.com/office/drawing/2014/chart" uri="{C3380CC4-5D6E-409C-BE32-E72D297353CC}">
                <c16:uniqueId val="{00000347-08A2-4ED8-81DE-F02C5E6E5F08}"/>
              </c:ext>
            </c:extLst>
          </c:dPt>
          <c:dPt>
            <c:idx val="419"/>
            <c:invertIfNegative val="1"/>
            <c:bubble3D val="0"/>
            <c:spPr>
              <a:solidFill>
                <a:srgbClr val="AEABAB"/>
              </a:solidFill>
            </c:spPr>
            <c:extLst>
              <c:ext xmlns:c16="http://schemas.microsoft.com/office/drawing/2014/chart" uri="{C3380CC4-5D6E-409C-BE32-E72D297353CC}">
                <c16:uniqueId val="{00000349-08A2-4ED8-81DE-F02C5E6E5F08}"/>
              </c:ext>
            </c:extLst>
          </c:dPt>
          <c:dPt>
            <c:idx val="420"/>
            <c:invertIfNegative val="1"/>
            <c:bubble3D val="0"/>
            <c:spPr>
              <a:solidFill>
                <a:srgbClr val="AEABAB"/>
              </a:solidFill>
            </c:spPr>
            <c:extLst>
              <c:ext xmlns:c16="http://schemas.microsoft.com/office/drawing/2014/chart" uri="{C3380CC4-5D6E-409C-BE32-E72D297353CC}">
                <c16:uniqueId val="{0000034B-08A2-4ED8-81DE-F02C5E6E5F08}"/>
              </c:ext>
            </c:extLst>
          </c:dPt>
          <c:dPt>
            <c:idx val="421"/>
            <c:invertIfNegative val="1"/>
            <c:bubble3D val="0"/>
            <c:spPr>
              <a:solidFill>
                <a:srgbClr val="AEABAB"/>
              </a:solidFill>
            </c:spPr>
            <c:extLst>
              <c:ext xmlns:c16="http://schemas.microsoft.com/office/drawing/2014/chart" uri="{C3380CC4-5D6E-409C-BE32-E72D297353CC}">
                <c16:uniqueId val="{0000034D-08A2-4ED8-81DE-F02C5E6E5F08}"/>
              </c:ext>
            </c:extLst>
          </c:dPt>
          <c:dPt>
            <c:idx val="422"/>
            <c:invertIfNegative val="1"/>
            <c:bubble3D val="0"/>
            <c:spPr>
              <a:solidFill>
                <a:srgbClr val="AEABAB"/>
              </a:solidFill>
            </c:spPr>
            <c:extLst>
              <c:ext xmlns:c16="http://schemas.microsoft.com/office/drawing/2014/chart" uri="{C3380CC4-5D6E-409C-BE32-E72D297353CC}">
                <c16:uniqueId val="{0000034F-08A2-4ED8-81DE-F02C5E6E5F08}"/>
              </c:ext>
            </c:extLst>
          </c:dPt>
          <c:dPt>
            <c:idx val="423"/>
            <c:invertIfNegative val="1"/>
            <c:bubble3D val="0"/>
            <c:spPr>
              <a:solidFill>
                <a:srgbClr val="AEABAB"/>
              </a:solidFill>
            </c:spPr>
            <c:extLst>
              <c:ext xmlns:c16="http://schemas.microsoft.com/office/drawing/2014/chart" uri="{C3380CC4-5D6E-409C-BE32-E72D297353CC}">
                <c16:uniqueId val="{00000351-08A2-4ED8-81DE-F02C5E6E5F08}"/>
              </c:ext>
            </c:extLst>
          </c:dPt>
          <c:dPt>
            <c:idx val="424"/>
            <c:invertIfNegative val="1"/>
            <c:bubble3D val="0"/>
            <c:spPr>
              <a:solidFill>
                <a:srgbClr val="AEABAB"/>
              </a:solidFill>
            </c:spPr>
            <c:extLst>
              <c:ext xmlns:c16="http://schemas.microsoft.com/office/drawing/2014/chart" uri="{C3380CC4-5D6E-409C-BE32-E72D297353CC}">
                <c16:uniqueId val="{00000353-08A2-4ED8-81DE-F02C5E6E5F08}"/>
              </c:ext>
            </c:extLst>
          </c:dPt>
          <c:dPt>
            <c:idx val="425"/>
            <c:invertIfNegative val="1"/>
            <c:bubble3D val="0"/>
            <c:spPr>
              <a:solidFill>
                <a:srgbClr val="AEABAB"/>
              </a:solidFill>
            </c:spPr>
            <c:extLst>
              <c:ext xmlns:c16="http://schemas.microsoft.com/office/drawing/2014/chart" uri="{C3380CC4-5D6E-409C-BE32-E72D297353CC}">
                <c16:uniqueId val="{00000355-08A2-4ED8-81DE-F02C5E6E5F08}"/>
              </c:ext>
            </c:extLst>
          </c:dPt>
          <c:dPt>
            <c:idx val="426"/>
            <c:invertIfNegative val="1"/>
            <c:bubble3D val="0"/>
            <c:spPr>
              <a:solidFill>
                <a:srgbClr val="AEABAB"/>
              </a:solidFill>
            </c:spPr>
            <c:extLst>
              <c:ext xmlns:c16="http://schemas.microsoft.com/office/drawing/2014/chart" uri="{C3380CC4-5D6E-409C-BE32-E72D297353CC}">
                <c16:uniqueId val="{00000357-08A2-4ED8-81DE-F02C5E6E5F08}"/>
              </c:ext>
            </c:extLst>
          </c:dPt>
          <c:dPt>
            <c:idx val="427"/>
            <c:invertIfNegative val="1"/>
            <c:bubble3D val="0"/>
            <c:spPr>
              <a:solidFill>
                <a:srgbClr val="AEABAB"/>
              </a:solidFill>
            </c:spPr>
            <c:extLst>
              <c:ext xmlns:c16="http://schemas.microsoft.com/office/drawing/2014/chart" uri="{C3380CC4-5D6E-409C-BE32-E72D297353CC}">
                <c16:uniqueId val="{00000359-08A2-4ED8-81DE-F02C5E6E5F08}"/>
              </c:ext>
            </c:extLst>
          </c:dPt>
          <c:dPt>
            <c:idx val="428"/>
            <c:invertIfNegative val="1"/>
            <c:bubble3D val="0"/>
            <c:spPr>
              <a:solidFill>
                <a:srgbClr val="AEABAB"/>
              </a:solidFill>
            </c:spPr>
            <c:extLst>
              <c:ext xmlns:c16="http://schemas.microsoft.com/office/drawing/2014/chart" uri="{C3380CC4-5D6E-409C-BE32-E72D297353CC}">
                <c16:uniqueId val="{0000035B-08A2-4ED8-81DE-F02C5E6E5F08}"/>
              </c:ext>
            </c:extLst>
          </c:dPt>
          <c:dPt>
            <c:idx val="429"/>
            <c:invertIfNegative val="1"/>
            <c:bubble3D val="0"/>
            <c:spPr>
              <a:solidFill>
                <a:srgbClr val="AEABAB"/>
              </a:solidFill>
            </c:spPr>
            <c:extLst>
              <c:ext xmlns:c16="http://schemas.microsoft.com/office/drawing/2014/chart" uri="{C3380CC4-5D6E-409C-BE32-E72D297353CC}">
                <c16:uniqueId val="{0000035D-08A2-4ED8-81DE-F02C5E6E5F08}"/>
              </c:ext>
            </c:extLst>
          </c:dPt>
          <c:dPt>
            <c:idx val="430"/>
            <c:invertIfNegative val="1"/>
            <c:bubble3D val="0"/>
            <c:spPr>
              <a:solidFill>
                <a:srgbClr val="AEABAB"/>
              </a:solidFill>
            </c:spPr>
            <c:extLst>
              <c:ext xmlns:c16="http://schemas.microsoft.com/office/drawing/2014/chart" uri="{C3380CC4-5D6E-409C-BE32-E72D297353CC}">
                <c16:uniqueId val="{0000035F-08A2-4ED8-81DE-F02C5E6E5F08}"/>
              </c:ext>
            </c:extLst>
          </c:dPt>
          <c:dPt>
            <c:idx val="431"/>
            <c:invertIfNegative val="1"/>
            <c:bubble3D val="0"/>
            <c:spPr>
              <a:solidFill>
                <a:srgbClr val="AEABAB"/>
              </a:solidFill>
            </c:spPr>
            <c:extLst>
              <c:ext xmlns:c16="http://schemas.microsoft.com/office/drawing/2014/chart" uri="{C3380CC4-5D6E-409C-BE32-E72D297353CC}">
                <c16:uniqueId val="{00000361-08A2-4ED8-81DE-F02C5E6E5F08}"/>
              </c:ext>
            </c:extLst>
          </c:dPt>
          <c:dPt>
            <c:idx val="432"/>
            <c:invertIfNegative val="1"/>
            <c:bubble3D val="0"/>
            <c:spPr>
              <a:solidFill>
                <a:srgbClr val="AEABAB"/>
              </a:solidFill>
            </c:spPr>
            <c:extLst>
              <c:ext xmlns:c16="http://schemas.microsoft.com/office/drawing/2014/chart" uri="{C3380CC4-5D6E-409C-BE32-E72D297353CC}">
                <c16:uniqueId val="{00000363-08A2-4ED8-81DE-F02C5E6E5F08}"/>
              </c:ext>
            </c:extLst>
          </c:dPt>
          <c:dPt>
            <c:idx val="433"/>
            <c:invertIfNegative val="1"/>
            <c:bubble3D val="0"/>
            <c:spPr>
              <a:solidFill>
                <a:srgbClr val="AEABAB"/>
              </a:solidFill>
            </c:spPr>
            <c:extLst>
              <c:ext xmlns:c16="http://schemas.microsoft.com/office/drawing/2014/chart" uri="{C3380CC4-5D6E-409C-BE32-E72D297353CC}">
                <c16:uniqueId val="{00000365-08A2-4ED8-81DE-F02C5E6E5F08}"/>
              </c:ext>
            </c:extLst>
          </c:dPt>
          <c:dPt>
            <c:idx val="434"/>
            <c:invertIfNegative val="1"/>
            <c:bubble3D val="0"/>
            <c:spPr>
              <a:solidFill>
                <a:srgbClr val="AEABAB"/>
              </a:solidFill>
            </c:spPr>
            <c:extLst>
              <c:ext xmlns:c16="http://schemas.microsoft.com/office/drawing/2014/chart" uri="{C3380CC4-5D6E-409C-BE32-E72D297353CC}">
                <c16:uniqueId val="{00000367-08A2-4ED8-81DE-F02C5E6E5F08}"/>
              </c:ext>
            </c:extLst>
          </c:dPt>
          <c:dPt>
            <c:idx val="435"/>
            <c:invertIfNegative val="1"/>
            <c:bubble3D val="0"/>
            <c:spPr>
              <a:solidFill>
                <a:srgbClr val="AEABAB"/>
              </a:solidFill>
            </c:spPr>
            <c:extLst>
              <c:ext xmlns:c16="http://schemas.microsoft.com/office/drawing/2014/chart" uri="{C3380CC4-5D6E-409C-BE32-E72D297353CC}">
                <c16:uniqueId val="{00000369-08A2-4ED8-81DE-F02C5E6E5F08}"/>
              </c:ext>
            </c:extLst>
          </c:dPt>
          <c:dPt>
            <c:idx val="436"/>
            <c:invertIfNegative val="1"/>
            <c:bubble3D val="0"/>
            <c:spPr>
              <a:solidFill>
                <a:srgbClr val="AEABAB"/>
              </a:solidFill>
            </c:spPr>
            <c:extLst>
              <c:ext xmlns:c16="http://schemas.microsoft.com/office/drawing/2014/chart" uri="{C3380CC4-5D6E-409C-BE32-E72D297353CC}">
                <c16:uniqueId val="{0000036B-08A2-4ED8-81DE-F02C5E6E5F08}"/>
              </c:ext>
            </c:extLst>
          </c:dPt>
          <c:dPt>
            <c:idx val="437"/>
            <c:invertIfNegative val="1"/>
            <c:bubble3D val="0"/>
            <c:spPr>
              <a:solidFill>
                <a:srgbClr val="AEABAB"/>
              </a:solidFill>
            </c:spPr>
            <c:extLst>
              <c:ext xmlns:c16="http://schemas.microsoft.com/office/drawing/2014/chart" uri="{C3380CC4-5D6E-409C-BE32-E72D297353CC}">
                <c16:uniqueId val="{0000036D-08A2-4ED8-81DE-F02C5E6E5F08}"/>
              </c:ext>
            </c:extLst>
          </c:dPt>
          <c:dPt>
            <c:idx val="438"/>
            <c:invertIfNegative val="1"/>
            <c:bubble3D val="0"/>
            <c:spPr>
              <a:solidFill>
                <a:srgbClr val="AEABAB"/>
              </a:solidFill>
            </c:spPr>
            <c:extLst>
              <c:ext xmlns:c16="http://schemas.microsoft.com/office/drawing/2014/chart" uri="{C3380CC4-5D6E-409C-BE32-E72D297353CC}">
                <c16:uniqueId val="{0000036F-08A2-4ED8-81DE-F02C5E6E5F08}"/>
              </c:ext>
            </c:extLst>
          </c:dPt>
          <c:dPt>
            <c:idx val="439"/>
            <c:invertIfNegative val="1"/>
            <c:bubble3D val="0"/>
            <c:spPr>
              <a:solidFill>
                <a:srgbClr val="AEABAB"/>
              </a:solidFill>
            </c:spPr>
            <c:extLst>
              <c:ext xmlns:c16="http://schemas.microsoft.com/office/drawing/2014/chart" uri="{C3380CC4-5D6E-409C-BE32-E72D297353CC}">
                <c16:uniqueId val="{00000371-08A2-4ED8-81DE-F02C5E6E5F08}"/>
              </c:ext>
            </c:extLst>
          </c:dPt>
          <c:dPt>
            <c:idx val="440"/>
            <c:invertIfNegative val="1"/>
            <c:bubble3D val="0"/>
            <c:spPr>
              <a:solidFill>
                <a:srgbClr val="AEABAB"/>
              </a:solidFill>
            </c:spPr>
            <c:extLst>
              <c:ext xmlns:c16="http://schemas.microsoft.com/office/drawing/2014/chart" uri="{C3380CC4-5D6E-409C-BE32-E72D297353CC}">
                <c16:uniqueId val="{00000373-08A2-4ED8-81DE-F02C5E6E5F08}"/>
              </c:ext>
            </c:extLst>
          </c:dPt>
          <c:dPt>
            <c:idx val="441"/>
            <c:invertIfNegative val="1"/>
            <c:bubble3D val="0"/>
            <c:spPr>
              <a:solidFill>
                <a:srgbClr val="AEABAB"/>
              </a:solidFill>
            </c:spPr>
            <c:extLst>
              <c:ext xmlns:c16="http://schemas.microsoft.com/office/drawing/2014/chart" uri="{C3380CC4-5D6E-409C-BE32-E72D297353CC}">
                <c16:uniqueId val="{00000375-08A2-4ED8-81DE-F02C5E6E5F08}"/>
              </c:ext>
            </c:extLst>
          </c:dPt>
          <c:dPt>
            <c:idx val="442"/>
            <c:invertIfNegative val="1"/>
            <c:bubble3D val="0"/>
            <c:spPr>
              <a:solidFill>
                <a:srgbClr val="AEABAB"/>
              </a:solidFill>
            </c:spPr>
            <c:extLst>
              <c:ext xmlns:c16="http://schemas.microsoft.com/office/drawing/2014/chart" uri="{C3380CC4-5D6E-409C-BE32-E72D297353CC}">
                <c16:uniqueId val="{00000377-08A2-4ED8-81DE-F02C5E6E5F08}"/>
              </c:ext>
            </c:extLst>
          </c:dPt>
          <c:dPt>
            <c:idx val="443"/>
            <c:invertIfNegative val="1"/>
            <c:bubble3D val="0"/>
            <c:spPr>
              <a:solidFill>
                <a:srgbClr val="AEABAB"/>
              </a:solidFill>
            </c:spPr>
            <c:extLst>
              <c:ext xmlns:c16="http://schemas.microsoft.com/office/drawing/2014/chart" uri="{C3380CC4-5D6E-409C-BE32-E72D297353CC}">
                <c16:uniqueId val="{00000379-08A2-4ED8-81DE-F02C5E6E5F08}"/>
              </c:ext>
            </c:extLst>
          </c:dPt>
          <c:dPt>
            <c:idx val="444"/>
            <c:invertIfNegative val="1"/>
            <c:bubble3D val="0"/>
            <c:spPr>
              <a:solidFill>
                <a:srgbClr val="AEABAB"/>
              </a:solidFill>
            </c:spPr>
            <c:extLst>
              <c:ext xmlns:c16="http://schemas.microsoft.com/office/drawing/2014/chart" uri="{C3380CC4-5D6E-409C-BE32-E72D297353CC}">
                <c16:uniqueId val="{0000037B-08A2-4ED8-81DE-F02C5E6E5F08}"/>
              </c:ext>
            </c:extLst>
          </c:dPt>
          <c:dPt>
            <c:idx val="445"/>
            <c:invertIfNegative val="1"/>
            <c:bubble3D val="0"/>
            <c:spPr>
              <a:solidFill>
                <a:srgbClr val="AEABAB"/>
              </a:solidFill>
            </c:spPr>
            <c:extLst>
              <c:ext xmlns:c16="http://schemas.microsoft.com/office/drawing/2014/chart" uri="{C3380CC4-5D6E-409C-BE32-E72D297353CC}">
                <c16:uniqueId val="{0000037D-08A2-4ED8-81DE-F02C5E6E5F08}"/>
              </c:ext>
            </c:extLst>
          </c:dPt>
          <c:dPt>
            <c:idx val="446"/>
            <c:invertIfNegative val="1"/>
            <c:bubble3D val="0"/>
            <c:spPr>
              <a:solidFill>
                <a:srgbClr val="AEABAB"/>
              </a:solidFill>
            </c:spPr>
            <c:extLst>
              <c:ext xmlns:c16="http://schemas.microsoft.com/office/drawing/2014/chart" uri="{C3380CC4-5D6E-409C-BE32-E72D297353CC}">
                <c16:uniqueId val="{0000037F-08A2-4ED8-81DE-F02C5E6E5F08}"/>
              </c:ext>
            </c:extLst>
          </c:dPt>
          <c:dPt>
            <c:idx val="447"/>
            <c:invertIfNegative val="1"/>
            <c:bubble3D val="0"/>
            <c:spPr>
              <a:solidFill>
                <a:srgbClr val="AEABAB"/>
              </a:solidFill>
            </c:spPr>
            <c:extLst>
              <c:ext xmlns:c16="http://schemas.microsoft.com/office/drawing/2014/chart" uri="{C3380CC4-5D6E-409C-BE32-E72D297353CC}">
                <c16:uniqueId val="{00000381-08A2-4ED8-81DE-F02C5E6E5F08}"/>
              </c:ext>
            </c:extLst>
          </c:dPt>
          <c:dPt>
            <c:idx val="448"/>
            <c:invertIfNegative val="1"/>
            <c:bubble3D val="0"/>
            <c:spPr>
              <a:solidFill>
                <a:srgbClr val="AEABAB"/>
              </a:solidFill>
            </c:spPr>
            <c:extLst>
              <c:ext xmlns:c16="http://schemas.microsoft.com/office/drawing/2014/chart" uri="{C3380CC4-5D6E-409C-BE32-E72D297353CC}">
                <c16:uniqueId val="{00000383-08A2-4ED8-81DE-F02C5E6E5F08}"/>
              </c:ext>
            </c:extLst>
          </c:dPt>
          <c:dPt>
            <c:idx val="449"/>
            <c:invertIfNegative val="1"/>
            <c:bubble3D val="0"/>
            <c:spPr>
              <a:solidFill>
                <a:srgbClr val="AEABAB"/>
              </a:solidFill>
            </c:spPr>
            <c:extLst>
              <c:ext xmlns:c16="http://schemas.microsoft.com/office/drawing/2014/chart" uri="{C3380CC4-5D6E-409C-BE32-E72D297353CC}">
                <c16:uniqueId val="{00000385-08A2-4ED8-81DE-F02C5E6E5F08}"/>
              </c:ext>
            </c:extLst>
          </c:dPt>
          <c:dPt>
            <c:idx val="450"/>
            <c:invertIfNegative val="1"/>
            <c:bubble3D val="0"/>
            <c:spPr>
              <a:solidFill>
                <a:srgbClr val="AEABAB"/>
              </a:solidFill>
            </c:spPr>
            <c:extLst>
              <c:ext xmlns:c16="http://schemas.microsoft.com/office/drawing/2014/chart" uri="{C3380CC4-5D6E-409C-BE32-E72D297353CC}">
                <c16:uniqueId val="{00000387-08A2-4ED8-81DE-F02C5E6E5F08}"/>
              </c:ext>
            </c:extLst>
          </c:dPt>
          <c:dPt>
            <c:idx val="451"/>
            <c:invertIfNegative val="1"/>
            <c:bubble3D val="0"/>
            <c:spPr>
              <a:solidFill>
                <a:srgbClr val="AEABAB"/>
              </a:solidFill>
            </c:spPr>
            <c:extLst>
              <c:ext xmlns:c16="http://schemas.microsoft.com/office/drawing/2014/chart" uri="{C3380CC4-5D6E-409C-BE32-E72D297353CC}">
                <c16:uniqueId val="{00000389-08A2-4ED8-81DE-F02C5E6E5F08}"/>
              </c:ext>
            </c:extLst>
          </c:dPt>
          <c:dPt>
            <c:idx val="452"/>
            <c:invertIfNegative val="1"/>
            <c:bubble3D val="0"/>
            <c:spPr>
              <a:solidFill>
                <a:srgbClr val="AEABAB"/>
              </a:solidFill>
            </c:spPr>
            <c:extLst>
              <c:ext xmlns:c16="http://schemas.microsoft.com/office/drawing/2014/chart" uri="{C3380CC4-5D6E-409C-BE32-E72D297353CC}">
                <c16:uniqueId val="{0000038B-08A2-4ED8-81DE-F02C5E6E5F08}"/>
              </c:ext>
            </c:extLst>
          </c:dPt>
          <c:dPt>
            <c:idx val="453"/>
            <c:invertIfNegative val="1"/>
            <c:bubble3D val="0"/>
            <c:spPr>
              <a:solidFill>
                <a:srgbClr val="AEABAB"/>
              </a:solidFill>
            </c:spPr>
            <c:extLst>
              <c:ext xmlns:c16="http://schemas.microsoft.com/office/drawing/2014/chart" uri="{C3380CC4-5D6E-409C-BE32-E72D297353CC}">
                <c16:uniqueId val="{0000038D-08A2-4ED8-81DE-F02C5E6E5F08}"/>
              </c:ext>
            </c:extLst>
          </c:dPt>
          <c:dPt>
            <c:idx val="454"/>
            <c:invertIfNegative val="1"/>
            <c:bubble3D val="0"/>
            <c:spPr>
              <a:solidFill>
                <a:srgbClr val="AEABAB"/>
              </a:solidFill>
            </c:spPr>
            <c:extLst>
              <c:ext xmlns:c16="http://schemas.microsoft.com/office/drawing/2014/chart" uri="{C3380CC4-5D6E-409C-BE32-E72D297353CC}">
                <c16:uniqueId val="{0000038F-08A2-4ED8-81DE-F02C5E6E5F08}"/>
              </c:ext>
            </c:extLst>
          </c:dPt>
          <c:dPt>
            <c:idx val="455"/>
            <c:invertIfNegative val="1"/>
            <c:bubble3D val="0"/>
            <c:spPr>
              <a:solidFill>
                <a:srgbClr val="AEABAB"/>
              </a:solidFill>
            </c:spPr>
            <c:extLst>
              <c:ext xmlns:c16="http://schemas.microsoft.com/office/drawing/2014/chart" uri="{C3380CC4-5D6E-409C-BE32-E72D297353CC}">
                <c16:uniqueId val="{00000391-08A2-4ED8-81DE-F02C5E6E5F08}"/>
              </c:ext>
            </c:extLst>
          </c:dPt>
          <c:dPt>
            <c:idx val="456"/>
            <c:invertIfNegative val="1"/>
            <c:bubble3D val="0"/>
            <c:spPr>
              <a:solidFill>
                <a:srgbClr val="AEABAB"/>
              </a:solidFill>
            </c:spPr>
            <c:extLst>
              <c:ext xmlns:c16="http://schemas.microsoft.com/office/drawing/2014/chart" uri="{C3380CC4-5D6E-409C-BE32-E72D297353CC}">
                <c16:uniqueId val="{00000393-08A2-4ED8-81DE-F02C5E6E5F08}"/>
              </c:ext>
            </c:extLst>
          </c:dPt>
          <c:dPt>
            <c:idx val="457"/>
            <c:invertIfNegative val="1"/>
            <c:bubble3D val="0"/>
            <c:spPr>
              <a:solidFill>
                <a:srgbClr val="AEABAB"/>
              </a:solidFill>
            </c:spPr>
            <c:extLst>
              <c:ext xmlns:c16="http://schemas.microsoft.com/office/drawing/2014/chart" uri="{C3380CC4-5D6E-409C-BE32-E72D297353CC}">
                <c16:uniqueId val="{00000395-08A2-4ED8-81DE-F02C5E6E5F08}"/>
              </c:ext>
            </c:extLst>
          </c:dPt>
          <c:dPt>
            <c:idx val="458"/>
            <c:invertIfNegative val="1"/>
            <c:bubble3D val="0"/>
            <c:spPr>
              <a:solidFill>
                <a:srgbClr val="AEABAB"/>
              </a:solidFill>
            </c:spPr>
            <c:extLst>
              <c:ext xmlns:c16="http://schemas.microsoft.com/office/drawing/2014/chart" uri="{C3380CC4-5D6E-409C-BE32-E72D297353CC}">
                <c16:uniqueId val="{00000397-08A2-4ED8-81DE-F02C5E6E5F08}"/>
              </c:ext>
            </c:extLst>
          </c:dPt>
          <c:dPt>
            <c:idx val="459"/>
            <c:invertIfNegative val="1"/>
            <c:bubble3D val="0"/>
            <c:spPr>
              <a:solidFill>
                <a:srgbClr val="AEABAB"/>
              </a:solidFill>
            </c:spPr>
            <c:extLst>
              <c:ext xmlns:c16="http://schemas.microsoft.com/office/drawing/2014/chart" uri="{C3380CC4-5D6E-409C-BE32-E72D297353CC}">
                <c16:uniqueId val="{00000399-08A2-4ED8-81DE-F02C5E6E5F08}"/>
              </c:ext>
            </c:extLst>
          </c:dPt>
          <c:dPt>
            <c:idx val="460"/>
            <c:invertIfNegative val="1"/>
            <c:bubble3D val="0"/>
            <c:spPr>
              <a:solidFill>
                <a:srgbClr val="AEABAB"/>
              </a:solidFill>
            </c:spPr>
            <c:extLst>
              <c:ext xmlns:c16="http://schemas.microsoft.com/office/drawing/2014/chart" uri="{C3380CC4-5D6E-409C-BE32-E72D297353CC}">
                <c16:uniqueId val="{0000039B-08A2-4ED8-81DE-F02C5E6E5F08}"/>
              </c:ext>
            </c:extLst>
          </c:dPt>
          <c:dPt>
            <c:idx val="461"/>
            <c:invertIfNegative val="1"/>
            <c:bubble3D val="0"/>
            <c:spPr>
              <a:solidFill>
                <a:srgbClr val="AEABAB"/>
              </a:solidFill>
            </c:spPr>
            <c:extLst>
              <c:ext xmlns:c16="http://schemas.microsoft.com/office/drawing/2014/chart" uri="{C3380CC4-5D6E-409C-BE32-E72D297353CC}">
                <c16:uniqueId val="{0000039D-08A2-4ED8-81DE-F02C5E6E5F08}"/>
              </c:ext>
            </c:extLst>
          </c:dPt>
          <c:dPt>
            <c:idx val="462"/>
            <c:invertIfNegative val="1"/>
            <c:bubble3D val="0"/>
            <c:spPr>
              <a:solidFill>
                <a:srgbClr val="AEABAB"/>
              </a:solidFill>
            </c:spPr>
            <c:extLst>
              <c:ext xmlns:c16="http://schemas.microsoft.com/office/drawing/2014/chart" uri="{C3380CC4-5D6E-409C-BE32-E72D297353CC}">
                <c16:uniqueId val="{0000039F-08A2-4ED8-81DE-F02C5E6E5F08}"/>
              </c:ext>
            </c:extLst>
          </c:dPt>
          <c:dPt>
            <c:idx val="463"/>
            <c:invertIfNegative val="1"/>
            <c:bubble3D val="0"/>
            <c:spPr>
              <a:solidFill>
                <a:srgbClr val="AEABAB"/>
              </a:solidFill>
            </c:spPr>
            <c:extLst>
              <c:ext xmlns:c16="http://schemas.microsoft.com/office/drawing/2014/chart" uri="{C3380CC4-5D6E-409C-BE32-E72D297353CC}">
                <c16:uniqueId val="{000003A1-08A2-4ED8-81DE-F02C5E6E5F08}"/>
              </c:ext>
            </c:extLst>
          </c:dPt>
          <c:dPt>
            <c:idx val="464"/>
            <c:invertIfNegative val="1"/>
            <c:bubble3D val="0"/>
            <c:spPr>
              <a:solidFill>
                <a:srgbClr val="AEABAB"/>
              </a:solidFill>
            </c:spPr>
            <c:extLst>
              <c:ext xmlns:c16="http://schemas.microsoft.com/office/drawing/2014/chart" uri="{C3380CC4-5D6E-409C-BE32-E72D297353CC}">
                <c16:uniqueId val="{000003A3-08A2-4ED8-81DE-F02C5E6E5F08}"/>
              </c:ext>
            </c:extLst>
          </c:dPt>
          <c:dPt>
            <c:idx val="465"/>
            <c:invertIfNegative val="1"/>
            <c:bubble3D val="0"/>
            <c:spPr>
              <a:solidFill>
                <a:srgbClr val="AEABAB"/>
              </a:solidFill>
            </c:spPr>
            <c:extLst>
              <c:ext xmlns:c16="http://schemas.microsoft.com/office/drawing/2014/chart" uri="{C3380CC4-5D6E-409C-BE32-E72D297353CC}">
                <c16:uniqueId val="{000003A5-08A2-4ED8-81DE-F02C5E6E5F08}"/>
              </c:ext>
            </c:extLst>
          </c:dPt>
          <c:dPt>
            <c:idx val="466"/>
            <c:invertIfNegative val="1"/>
            <c:bubble3D val="0"/>
            <c:spPr>
              <a:solidFill>
                <a:srgbClr val="AEABAB"/>
              </a:solidFill>
            </c:spPr>
            <c:extLst>
              <c:ext xmlns:c16="http://schemas.microsoft.com/office/drawing/2014/chart" uri="{C3380CC4-5D6E-409C-BE32-E72D297353CC}">
                <c16:uniqueId val="{000003A7-08A2-4ED8-81DE-F02C5E6E5F08}"/>
              </c:ext>
            </c:extLst>
          </c:dPt>
          <c:dPt>
            <c:idx val="467"/>
            <c:invertIfNegative val="1"/>
            <c:bubble3D val="0"/>
            <c:spPr>
              <a:solidFill>
                <a:srgbClr val="AEABAB"/>
              </a:solidFill>
            </c:spPr>
            <c:extLst>
              <c:ext xmlns:c16="http://schemas.microsoft.com/office/drawing/2014/chart" uri="{C3380CC4-5D6E-409C-BE32-E72D297353CC}">
                <c16:uniqueId val="{000003A9-08A2-4ED8-81DE-F02C5E6E5F08}"/>
              </c:ext>
            </c:extLst>
          </c:dPt>
          <c:dPt>
            <c:idx val="468"/>
            <c:invertIfNegative val="1"/>
            <c:bubble3D val="0"/>
            <c:spPr>
              <a:solidFill>
                <a:srgbClr val="AEABAB"/>
              </a:solidFill>
            </c:spPr>
            <c:extLst>
              <c:ext xmlns:c16="http://schemas.microsoft.com/office/drawing/2014/chart" uri="{C3380CC4-5D6E-409C-BE32-E72D297353CC}">
                <c16:uniqueId val="{000003AB-08A2-4ED8-81DE-F02C5E6E5F08}"/>
              </c:ext>
            </c:extLst>
          </c:dPt>
          <c:dPt>
            <c:idx val="469"/>
            <c:invertIfNegative val="1"/>
            <c:bubble3D val="0"/>
            <c:spPr>
              <a:solidFill>
                <a:srgbClr val="AEABAB"/>
              </a:solidFill>
            </c:spPr>
            <c:extLst>
              <c:ext xmlns:c16="http://schemas.microsoft.com/office/drawing/2014/chart" uri="{C3380CC4-5D6E-409C-BE32-E72D297353CC}">
                <c16:uniqueId val="{000003AD-08A2-4ED8-81DE-F02C5E6E5F08}"/>
              </c:ext>
            </c:extLst>
          </c:dPt>
          <c:dPt>
            <c:idx val="470"/>
            <c:invertIfNegative val="1"/>
            <c:bubble3D val="0"/>
            <c:spPr>
              <a:solidFill>
                <a:srgbClr val="AEABAB"/>
              </a:solidFill>
            </c:spPr>
            <c:extLst>
              <c:ext xmlns:c16="http://schemas.microsoft.com/office/drawing/2014/chart" uri="{C3380CC4-5D6E-409C-BE32-E72D297353CC}">
                <c16:uniqueId val="{000003AF-08A2-4ED8-81DE-F02C5E6E5F08}"/>
              </c:ext>
            </c:extLst>
          </c:dPt>
          <c:dPt>
            <c:idx val="471"/>
            <c:invertIfNegative val="1"/>
            <c:bubble3D val="0"/>
            <c:spPr>
              <a:solidFill>
                <a:srgbClr val="AEABAB"/>
              </a:solidFill>
            </c:spPr>
            <c:extLst>
              <c:ext xmlns:c16="http://schemas.microsoft.com/office/drawing/2014/chart" uri="{C3380CC4-5D6E-409C-BE32-E72D297353CC}">
                <c16:uniqueId val="{000003B1-08A2-4ED8-81DE-F02C5E6E5F08}"/>
              </c:ext>
            </c:extLst>
          </c:dPt>
          <c:dPt>
            <c:idx val="472"/>
            <c:invertIfNegative val="1"/>
            <c:bubble3D val="0"/>
            <c:spPr>
              <a:solidFill>
                <a:srgbClr val="AEABAB"/>
              </a:solidFill>
            </c:spPr>
            <c:extLst>
              <c:ext xmlns:c16="http://schemas.microsoft.com/office/drawing/2014/chart" uri="{C3380CC4-5D6E-409C-BE32-E72D297353CC}">
                <c16:uniqueId val="{000003B3-08A2-4ED8-81DE-F02C5E6E5F08}"/>
              </c:ext>
            </c:extLst>
          </c:dPt>
          <c:dPt>
            <c:idx val="473"/>
            <c:invertIfNegative val="1"/>
            <c:bubble3D val="0"/>
            <c:spPr>
              <a:solidFill>
                <a:srgbClr val="AEABAB"/>
              </a:solidFill>
            </c:spPr>
            <c:extLst>
              <c:ext xmlns:c16="http://schemas.microsoft.com/office/drawing/2014/chart" uri="{C3380CC4-5D6E-409C-BE32-E72D297353CC}">
                <c16:uniqueId val="{000003B5-08A2-4ED8-81DE-F02C5E6E5F08}"/>
              </c:ext>
            </c:extLst>
          </c:dPt>
          <c:dPt>
            <c:idx val="474"/>
            <c:invertIfNegative val="1"/>
            <c:bubble3D val="0"/>
            <c:spPr>
              <a:solidFill>
                <a:srgbClr val="AEABAB"/>
              </a:solidFill>
            </c:spPr>
            <c:extLst>
              <c:ext xmlns:c16="http://schemas.microsoft.com/office/drawing/2014/chart" uri="{C3380CC4-5D6E-409C-BE32-E72D297353CC}">
                <c16:uniqueId val="{000003B7-08A2-4ED8-81DE-F02C5E6E5F08}"/>
              </c:ext>
            </c:extLst>
          </c:dPt>
          <c:dPt>
            <c:idx val="475"/>
            <c:invertIfNegative val="1"/>
            <c:bubble3D val="0"/>
            <c:spPr>
              <a:solidFill>
                <a:srgbClr val="AEABAB"/>
              </a:solidFill>
            </c:spPr>
            <c:extLst>
              <c:ext xmlns:c16="http://schemas.microsoft.com/office/drawing/2014/chart" uri="{C3380CC4-5D6E-409C-BE32-E72D297353CC}">
                <c16:uniqueId val="{000003B9-08A2-4ED8-81DE-F02C5E6E5F08}"/>
              </c:ext>
            </c:extLst>
          </c:dPt>
          <c:dPt>
            <c:idx val="476"/>
            <c:invertIfNegative val="1"/>
            <c:bubble3D val="0"/>
            <c:spPr>
              <a:solidFill>
                <a:srgbClr val="AEABAB"/>
              </a:solidFill>
            </c:spPr>
            <c:extLst>
              <c:ext xmlns:c16="http://schemas.microsoft.com/office/drawing/2014/chart" uri="{C3380CC4-5D6E-409C-BE32-E72D297353CC}">
                <c16:uniqueId val="{000003BB-08A2-4ED8-81DE-F02C5E6E5F08}"/>
              </c:ext>
            </c:extLst>
          </c:dPt>
          <c:dPt>
            <c:idx val="477"/>
            <c:invertIfNegative val="1"/>
            <c:bubble3D val="0"/>
            <c:spPr>
              <a:solidFill>
                <a:srgbClr val="AEABAB"/>
              </a:solidFill>
            </c:spPr>
            <c:extLst>
              <c:ext xmlns:c16="http://schemas.microsoft.com/office/drawing/2014/chart" uri="{C3380CC4-5D6E-409C-BE32-E72D297353CC}">
                <c16:uniqueId val="{000003BD-08A2-4ED8-81DE-F02C5E6E5F08}"/>
              </c:ext>
            </c:extLst>
          </c:dPt>
          <c:dPt>
            <c:idx val="478"/>
            <c:invertIfNegative val="1"/>
            <c:bubble3D val="0"/>
            <c:spPr>
              <a:solidFill>
                <a:srgbClr val="AEABAB"/>
              </a:solidFill>
            </c:spPr>
            <c:extLst>
              <c:ext xmlns:c16="http://schemas.microsoft.com/office/drawing/2014/chart" uri="{C3380CC4-5D6E-409C-BE32-E72D297353CC}">
                <c16:uniqueId val="{000003BF-08A2-4ED8-81DE-F02C5E6E5F08}"/>
              </c:ext>
            </c:extLst>
          </c:dPt>
          <c:dPt>
            <c:idx val="479"/>
            <c:invertIfNegative val="1"/>
            <c:bubble3D val="0"/>
            <c:spPr>
              <a:solidFill>
                <a:srgbClr val="AEABAB"/>
              </a:solidFill>
            </c:spPr>
            <c:extLst>
              <c:ext xmlns:c16="http://schemas.microsoft.com/office/drawing/2014/chart" uri="{C3380CC4-5D6E-409C-BE32-E72D297353CC}">
                <c16:uniqueId val="{000003C1-08A2-4ED8-81DE-F02C5E6E5F08}"/>
              </c:ext>
            </c:extLst>
          </c:dPt>
          <c:dPt>
            <c:idx val="480"/>
            <c:invertIfNegative val="1"/>
            <c:bubble3D val="0"/>
            <c:spPr>
              <a:solidFill>
                <a:srgbClr val="AEABAB"/>
              </a:solidFill>
            </c:spPr>
            <c:extLst>
              <c:ext xmlns:c16="http://schemas.microsoft.com/office/drawing/2014/chart" uri="{C3380CC4-5D6E-409C-BE32-E72D297353CC}">
                <c16:uniqueId val="{000003C3-08A2-4ED8-81DE-F02C5E6E5F08}"/>
              </c:ext>
            </c:extLst>
          </c:dPt>
          <c:dPt>
            <c:idx val="481"/>
            <c:invertIfNegative val="1"/>
            <c:bubble3D val="0"/>
            <c:spPr>
              <a:solidFill>
                <a:srgbClr val="AEABAB"/>
              </a:solidFill>
            </c:spPr>
            <c:extLst>
              <c:ext xmlns:c16="http://schemas.microsoft.com/office/drawing/2014/chart" uri="{C3380CC4-5D6E-409C-BE32-E72D297353CC}">
                <c16:uniqueId val="{000003C5-08A2-4ED8-81DE-F02C5E6E5F08}"/>
              </c:ext>
            </c:extLst>
          </c:dPt>
          <c:dPt>
            <c:idx val="482"/>
            <c:invertIfNegative val="1"/>
            <c:bubble3D val="0"/>
            <c:spPr>
              <a:solidFill>
                <a:srgbClr val="AEABAB"/>
              </a:solidFill>
            </c:spPr>
            <c:extLst>
              <c:ext xmlns:c16="http://schemas.microsoft.com/office/drawing/2014/chart" uri="{C3380CC4-5D6E-409C-BE32-E72D297353CC}">
                <c16:uniqueId val="{000003C7-08A2-4ED8-81DE-F02C5E6E5F08}"/>
              </c:ext>
            </c:extLst>
          </c:dPt>
          <c:dPt>
            <c:idx val="483"/>
            <c:invertIfNegative val="1"/>
            <c:bubble3D val="0"/>
            <c:spPr>
              <a:solidFill>
                <a:srgbClr val="AEABAB"/>
              </a:solidFill>
            </c:spPr>
            <c:extLst>
              <c:ext xmlns:c16="http://schemas.microsoft.com/office/drawing/2014/chart" uri="{C3380CC4-5D6E-409C-BE32-E72D297353CC}">
                <c16:uniqueId val="{000003C9-08A2-4ED8-81DE-F02C5E6E5F08}"/>
              </c:ext>
            </c:extLst>
          </c:dPt>
          <c:dPt>
            <c:idx val="484"/>
            <c:invertIfNegative val="1"/>
            <c:bubble3D val="0"/>
            <c:spPr>
              <a:solidFill>
                <a:srgbClr val="AEABAB"/>
              </a:solidFill>
            </c:spPr>
            <c:extLst>
              <c:ext xmlns:c16="http://schemas.microsoft.com/office/drawing/2014/chart" uri="{C3380CC4-5D6E-409C-BE32-E72D297353CC}">
                <c16:uniqueId val="{000003CB-08A2-4ED8-81DE-F02C5E6E5F08}"/>
              </c:ext>
            </c:extLst>
          </c:dPt>
          <c:dPt>
            <c:idx val="485"/>
            <c:invertIfNegative val="1"/>
            <c:bubble3D val="0"/>
            <c:spPr>
              <a:solidFill>
                <a:srgbClr val="AEABAB"/>
              </a:solidFill>
            </c:spPr>
            <c:extLst>
              <c:ext xmlns:c16="http://schemas.microsoft.com/office/drawing/2014/chart" uri="{C3380CC4-5D6E-409C-BE32-E72D297353CC}">
                <c16:uniqueId val="{000003CD-08A2-4ED8-81DE-F02C5E6E5F08}"/>
              </c:ext>
            </c:extLst>
          </c:dPt>
          <c:dPt>
            <c:idx val="486"/>
            <c:invertIfNegative val="1"/>
            <c:bubble3D val="0"/>
            <c:spPr>
              <a:solidFill>
                <a:srgbClr val="AEABAB"/>
              </a:solidFill>
            </c:spPr>
            <c:extLst>
              <c:ext xmlns:c16="http://schemas.microsoft.com/office/drawing/2014/chart" uri="{C3380CC4-5D6E-409C-BE32-E72D297353CC}">
                <c16:uniqueId val="{000003CF-08A2-4ED8-81DE-F02C5E6E5F08}"/>
              </c:ext>
            </c:extLst>
          </c:dPt>
          <c:dPt>
            <c:idx val="487"/>
            <c:invertIfNegative val="1"/>
            <c:bubble3D val="0"/>
            <c:spPr>
              <a:solidFill>
                <a:srgbClr val="AEABAB"/>
              </a:solidFill>
            </c:spPr>
            <c:extLst>
              <c:ext xmlns:c16="http://schemas.microsoft.com/office/drawing/2014/chart" uri="{C3380CC4-5D6E-409C-BE32-E72D297353CC}">
                <c16:uniqueId val="{000003D1-08A2-4ED8-81DE-F02C5E6E5F08}"/>
              </c:ext>
            </c:extLst>
          </c:dPt>
          <c:dPt>
            <c:idx val="488"/>
            <c:invertIfNegative val="1"/>
            <c:bubble3D val="0"/>
            <c:spPr>
              <a:solidFill>
                <a:srgbClr val="AEABAB"/>
              </a:solidFill>
            </c:spPr>
            <c:extLst>
              <c:ext xmlns:c16="http://schemas.microsoft.com/office/drawing/2014/chart" uri="{C3380CC4-5D6E-409C-BE32-E72D297353CC}">
                <c16:uniqueId val="{000003D3-08A2-4ED8-81DE-F02C5E6E5F08}"/>
              </c:ext>
            </c:extLst>
          </c:dPt>
          <c:dPt>
            <c:idx val="489"/>
            <c:invertIfNegative val="1"/>
            <c:bubble3D val="0"/>
            <c:spPr>
              <a:solidFill>
                <a:srgbClr val="AEABAB"/>
              </a:solidFill>
            </c:spPr>
            <c:extLst>
              <c:ext xmlns:c16="http://schemas.microsoft.com/office/drawing/2014/chart" uri="{C3380CC4-5D6E-409C-BE32-E72D297353CC}">
                <c16:uniqueId val="{000003D5-08A2-4ED8-81DE-F02C5E6E5F08}"/>
              </c:ext>
            </c:extLst>
          </c:dPt>
          <c:dPt>
            <c:idx val="490"/>
            <c:invertIfNegative val="1"/>
            <c:bubble3D val="0"/>
            <c:spPr>
              <a:solidFill>
                <a:srgbClr val="AEABAB"/>
              </a:solidFill>
            </c:spPr>
            <c:extLst>
              <c:ext xmlns:c16="http://schemas.microsoft.com/office/drawing/2014/chart" uri="{C3380CC4-5D6E-409C-BE32-E72D297353CC}">
                <c16:uniqueId val="{000003D7-08A2-4ED8-81DE-F02C5E6E5F08}"/>
              </c:ext>
            </c:extLst>
          </c:dPt>
          <c:dPt>
            <c:idx val="491"/>
            <c:invertIfNegative val="1"/>
            <c:bubble3D val="0"/>
            <c:spPr>
              <a:solidFill>
                <a:srgbClr val="AEABAB"/>
              </a:solidFill>
            </c:spPr>
            <c:extLst>
              <c:ext xmlns:c16="http://schemas.microsoft.com/office/drawing/2014/chart" uri="{C3380CC4-5D6E-409C-BE32-E72D297353CC}">
                <c16:uniqueId val="{000003D9-08A2-4ED8-81DE-F02C5E6E5F08}"/>
              </c:ext>
            </c:extLst>
          </c:dPt>
          <c:dPt>
            <c:idx val="492"/>
            <c:invertIfNegative val="1"/>
            <c:bubble3D val="0"/>
            <c:spPr>
              <a:solidFill>
                <a:srgbClr val="AEABAB"/>
              </a:solidFill>
            </c:spPr>
            <c:extLst>
              <c:ext xmlns:c16="http://schemas.microsoft.com/office/drawing/2014/chart" uri="{C3380CC4-5D6E-409C-BE32-E72D297353CC}">
                <c16:uniqueId val="{000003DB-08A2-4ED8-81DE-F02C5E6E5F08}"/>
              </c:ext>
            </c:extLst>
          </c:dPt>
          <c:dPt>
            <c:idx val="493"/>
            <c:invertIfNegative val="1"/>
            <c:bubble3D val="0"/>
            <c:spPr>
              <a:solidFill>
                <a:srgbClr val="AEABAB"/>
              </a:solidFill>
            </c:spPr>
            <c:extLst>
              <c:ext xmlns:c16="http://schemas.microsoft.com/office/drawing/2014/chart" uri="{C3380CC4-5D6E-409C-BE32-E72D297353CC}">
                <c16:uniqueId val="{000003DD-08A2-4ED8-81DE-F02C5E6E5F08}"/>
              </c:ext>
            </c:extLst>
          </c:dPt>
          <c:dPt>
            <c:idx val="494"/>
            <c:invertIfNegative val="1"/>
            <c:bubble3D val="0"/>
            <c:spPr>
              <a:solidFill>
                <a:srgbClr val="AEABAB"/>
              </a:solidFill>
            </c:spPr>
            <c:extLst>
              <c:ext xmlns:c16="http://schemas.microsoft.com/office/drawing/2014/chart" uri="{C3380CC4-5D6E-409C-BE32-E72D297353CC}">
                <c16:uniqueId val="{000003DF-08A2-4ED8-81DE-F02C5E6E5F08}"/>
              </c:ext>
            </c:extLst>
          </c:dPt>
          <c:dPt>
            <c:idx val="495"/>
            <c:invertIfNegative val="1"/>
            <c:bubble3D val="0"/>
            <c:spPr>
              <a:solidFill>
                <a:srgbClr val="AEABAB"/>
              </a:solidFill>
            </c:spPr>
            <c:extLst>
              <c:ext xmlns:c16="http://schemas.microsoft.com/office/drawing/2014/chart" uri="{C3380CC4-5D6E-409C-BE32-E72D297353CC}">
                <c16:uniqueId val="{000003E1-08A2-4ED8-81DE-F02C5E6E5F08}"/>
              </c:ext>
            </c:extLst>
          </c:dPt>
          <c:dPt>
            <c:idx val="496"/>
            <c:invertIfNegative val="1"/>
            <c:bubble3D val="0"/>
            <c:spPr>
              <a:solidFill>
                <a:srgbClr val="AEABAB"/>
              </a:solidFill>
            </c:spPr>
            <c:extLst>
              <c:ext xmlns:c16="http://schemas.microsoft.com/office/drawing/2014/chart" uri="{C3380CC4-5D6E-409C-BE32-E72D297353CC}">
                <c16:uniqueId val="{000003E3-08A2-4ED8-81DE-F02C5E6E5F08}"/>
              </c:ext>
            </c:extLst>
          </c:dPt>
          <c:dPt>
            <c:idx val="497"/>
            <c:invertIfNegative val="1"/>
            <c:bubble3D val="0"/>
            <c:spPr>
              <a:solidFill>
                <a:srgbClr val="AEABAB"/>
              </a:solidFill>
            </c:spPr>
            <c:extLst>
              <c:ext xmlns:c16="http://schemas.microsoft.com/office/drawing/2014/chart" uri="{C3380CC4-5D6E-409C-BE32-E72D297353CC}">
                <c16:uniqueId val="{000003E5-08A2-4ED8-81DE-F02C5E6E5F08}"/>
              </c:ext>
            </c:extLst>
          </c:dPt>
          <c:dPt>
            <c:idx val="498"/>
            <c:invertIfNegative val="1"/>
            <c:bubble3D val="0"/>
            <c:spPr>
              <a:solidFill>
                <a:srgbClr val="AEABAB"/>
              </a:solidFill>
            </c:spPr>
            <c:extLst>
              <c:ext xmlns:c16="http://schemas.microsoft.com/office/drawing/2014/chart" uri="{C3380CC4-5D6E-409C-BE32-E72D297353CC}">
                <c16:uniqueId val="{000003E7-08A2-4ED8-81DE-F02C5E6E5F08}"/>
              </c:ext>
            </c:extLst>
          </c:dPt>
          <c:dPt>
            <c:idx val="499"/>
            <c:invertIfNegative val="1"/>
            <c:bubble3D val="0"/>
            <c:spPr>
              <a:solidFill>
                <a:srgbClr val="AEABAB"/>
              </a:solidFill>
            </c:spPr>
            <c:extLst>
              <c:ext xmlns:c16="http://schemas.microsoft.com/office/drawing/2014/chart" uri="{C3380CC4-5D6E-409C-BE32-E72D297353CC}">
                <c16:uniqueId val="{000003E9-08A2-4ED8-81DE-F02C5E6E5F08}"/>
              </c:ext>
            </c:extLst>
          </c:dPt>
          <c:dPt>
            <c:idx val="500"/>
            <c:invertIfNegative val="1"/>
            <c:bubble3D val="0"/>
            <c:spPr>
              <a:solidFill>
                <a:srgbClr val="AEABAB"/>
              </a:solidFill>
            </c:spPr>
            <c:extLst>
              <c:ext xmlns:c16="http://schemas.microsoft.com/office/drawing/2014/chart" uri="{C3380CC4-5D6E-409C-BE32-E72D297353CC}">
                <c16:uniqueId val="{000003EB-08A2-4ED8-81DE-F02C5E6E5F08}"/>
              </c:ext>
            </c:extLst>
          </c:dPt>
          <c:dPt>
            <c:idx val="501"/>
            <c:invertIfNegative val="1"/>
            <c:bubble3D val="0"/>
            <c:spPr>
              <a:solidFill>
                <a:srgbClr val="AEABAB"/>
              </a:solidFill>
            </c:spPr>
            <c:extLst>
              <c:ext xmlns:c16="http://schemas.microsoft.com/office/drawing/2014/chart" uri="{C3380CC4-5D6E-409C-BE32-E72D297353CC}">
                <c16:uniqueId val="{000003ED-08A2-4ED8-81DE-F02C5E6E5F08}"/>
              </c:ext>
            </c:extLst>
          </c:dPt>
          <c:dPt>
            <c:idx val="502"/>
            <c:invertIfNegative val="1"/>
            <c:bubble3D val="0"/>
            <c:spPr>
              <a:solidFill>
                <a:srgbClr val="AEABAB"/>
              </a:solidFill>
            </c:spPr>
            <c:extLst>
              <c:ext xmlns:c16="http://schemas.microsoft.com/office/drawing/2014/chart" uri="{C3380CC4-5D6E-409C-BE32-E72D297353CC}">
                <c16:uniqueId val="{000003EF-08A2-4ED8-81DE-F02C5E6E5F08}"/>
              </c:ext>
            </c:extLst>
          </c:dPt>
          <c:dPt>
            <c:idx val="503"/>
            <c:invertIfNegative val="1"/>
            <c:bubble3D val="0"/>
            <c:spPr>
              <a:solidFill>
                <a:srgbClr val="AEABAB"/>
              </a:solidFill>
            </c:spPr>
            <c:extLst>
              <c:ext xmlns:c16="http://schemas.microsoft.com/office/drawing/2014/chart" uri="{C3380CC4-5D6E-409C-BE32-E72D297353CC}">
                <c16:uniqueId val="{000003F1-08A2-4ED8-81DE-F02C5E6E5F08}"/>
              </c:ext>
            </c:extLst>
          </c:dPt>
          <c:dPt>
            <c:idx val="504"/>
            <c:invertIfNegative val="1"/>
            <c:bubble3D val="0"/>
            <c:spPr>
              <a:solidFill>
                <a:srgbClr val="AEABAB"/>
              </a:solidFill>
            </c:spPr>
            <c:extLst>
              <c:ext xmlns:c16="http://schemas.microsoft.com/office/drawing/2014/chart" uri="{C3380CC4-5D6E-409C-BE32-E72D297353CC}">
                <c16:uniqueId val="{000003F3-08A2-4ED8-81DE-F02C5E6E5F08}"/>
              </c:ext>
            </c:extLst>
          </c:dPt>
          <c:dPt>
            <c:idx val="505"/>
            <c:invertIfNegative val="1"/>
            <c:bubble3D val="0"/>
            <c:spPr>
              <a:solidFill>
                <a:srgbClr val="AEABAB"/>
              </a:solidFill>
            </c:spPr>
            <c:extLst>
              <c:ext xmlns:c16="http://schemas.microsoft.com/office/drawing/2014/chart" uri="{C3380CC4-5D6E-409C-BE32-E72D297353CC}">
                <c16:uniqueId val="{000003F5-08A2-4ED8-81DE-F02C5E6E5F08}"/>
              </c:ext>
            </c:extLst>
          </c:dPt>
          <c:dPt>
            <c:idx val="506"/>
            <c:invertIfNegative val="1"/>
            <c:bubble3D val="0"/>
            <c:spPr>
              <a:solidFill>
                <a:srgbClr val="AEABAB"/>
              </a:solidFill>
            </c:spPr>
            <c:extLst>
              <c:ext xmlns:c16="http://schemas.microsoft.com/office/drawing/2014/chart" uri="{C3380CC4-5D6E-409C-BE32-E72D297353CC}">
                <c16:uniqueId val="{000003F7-08A2-4ED8-81DE-F02C5E6E5F08}"/>
              </c:ext>
            </c:extLst>
          </c:dPt>
          <c:dPt>
            <c:idx val="507"/>
            <c:invertIfNegative val="1"/>
            <c:bubble3D val="0"/>
            <c:spPr>
              <a:solidFill>
                <a:srgbClr val="AEABAB"/>
              </a:solidFill>
            </c:spPr>
            <c:extLst>
              <c:ext xmlns:c16="http://schemas.microsoft.com/office/drawing/2014/chart" uri="{C3380CC4-5D6E-409C-BE32-E72D297353CC}">
                <c16:uniqueId val="{000003F9-08A2-4ED8-81DE-F02C5E6E5F08}"/>
              </c:ext>
            </c:extLst>
          </c:dPt>
          <c:dPt>
            <c:idx val="508"/>
            <c:invertIfNegative val="1"/>
            <c:bubble3D val="0"/>
            <c:spPr>
              <a:solidFill>
                <a:srgbClr val="AEABAB"/>
              </a:solidFill>
            </c:spPr>
            <c:extLst>
              <c:ext xmlns:c16="http://schemas.microsoft.com/office/drawing/2014/chart" uri="{C3380CC4-5D6E-409C-BE32-E72D297353CC}">
                <c16:uniqueId val="{000003FB-08A2-4ED8-81DE-F02C5E6E5F08}"/>
              </c:ext>
            </c:extLst>
          </c:dPt>
          <c:dPt>
            <c:idx val="509"/>
            <c:invertIfNegative val="1"/>
            <c:bubble3D val="0"/>
            <c:spPr>
              <a:solidFill>
                <a:srgbClr val="AEABAB"/>
              </a:solidFill>
            </c:spPr>
            <c:extLst>
              <c:ext xmlns:c16="http://schemas.microsoft.com/office/drawing/2014/chart" uri="{C3380CC4-5D6E-409C-BE32-E72D297353CC}">
                <c16:uniqueId val="{000003FD-08A2-4ED8-81DE-F02C5E6E5F08}"/>
              </c:ext>
            </c:extLst>
          </c:dPt>
          <c:dPt>
            <c:idx val="510"/>
            <c:invertIfNegative val="1"/>
            <c:bubble3D val="0"/>
            <c:spPr>
              <a:solidFill>
                <a:srgbClr val="AEABAB"/>
              </a:solidFill>
            </c:spPr>
            <c:extLst>
              <c:ext xmlns:c16="http://schemas.microsoft.com/office/drawing/2014/chart" uri="{C3380CC4-5D6E-409C-BE32-E72D297353CC}">
                <c16:uniqueId val="{000003FF-08A2-4ED8-81DE-F02C5E6E5F08}"/>
              </c:ext>
            </c:extLst>
          </c:dPt>
          <c:dPt>
            <c:idx val="511"/>
            <c:invertIfNegative val="1"/>
            <c:bubble3D val="0"/>
            <c:spPr>
              <a:solidFill>
                <a:srgbClr val="AEABAB"/>
              </a:solidFill>
            </c:spPr>
            <c:extLst>
              <c:ext xmlns:c16="http://schemas.microsoft.com/office/drawing/2014/chart" uri="{C3380CC4-5D6E-409C-BE32-E72D297353CC}">
                <c16:uniqueId val="{00000401-08A2-4ED8-81DE-F02C5E6E5F08}"/>
              </c:ext>
            </c:extLst>
          </c:dPt>
          <c:dPt>
            <c:idx val="512"/>
            <c:invertIfNegative val="1"/>
            <c:bubble3D val="0"/>
            <c:spPr>
              <a:solidFill>
                <a:srgbClr val="AEABAB"/>
              </a:solidFill>
            </c:spPr>
            <c:extLst>
              <c:ext xmlns:c16="http://schemas.microsoft.com/office/drawing/2014/chart" uri="{C3380CC4-5D6E-409C-BE32-E72D297353CC}">
                <c16:uniqueId val="{00000403-08A2-4ED8-81DE-F02C5E6E5F08}"/>
              </c:ext>
            </c:extLst>
          </c:dPt>
          <c:dPt>
            <c:idx val="513"/>
            <c:invertIfNegative val="1"/>
            <c:bubble3D val="0"/>
            <c:spPr>
              <a:solidFill>
                <a:srgbClr val="AEABAB"/>
              </a:solidFill>
            </c:spPr>
            <c:extLst>
              <c:ext xmlns:c16="http://schemas.microsoft.com/office/drawing/2014/chart" uri="{C3380CC4-5D6E-409C-BE32-E72D297353CC}">
                <c16:uniqueId val="{00000405-08A2-4ED8-81DE-F02C5E6E5F08}"/>
              </c:ext>
            </c:extLst>
          </c:dPt>
          <c:dPt>
            <c:idx val="514"/>
            <c:invertIfNegative val="1"/>
            <c:bubble3D val="0"/>
            <c:spPr>
              <a:solidFill>
                <a:srgbClr val="AEABAB"/>
              </a:solidFill>
            </c:spPr>
            <c:extLst>
              <c:ext xmlns:c16="http://schemas.microsoft.com/office/drawing/2014/chart" uri="{C3380CC4-5D6E-409C-BE32-E72D297353CC}">
                <c16:uniqueId val="{00000407-08A2-4ED8-81DE-F02C5E6E5F08}"/>
              </c:ext>
            </c:extLst>
          </c:dPt>
          <c:dPt>
            <c:idx val="515"/>
            <c:invertIfNegative val="1"/>
            <c:bubble3D val="0"/>
            <c:spPr>
              <a:solidFill>
                <a:srgbClr val="AEABAB"/>
              </a:solidFill>
            </c:spPr>
            <c:extLst>
              <c:ext xmlns:c16="http://schemas.microsoft.com/office/drawing/2014/chart" uri="{C3380CC4-5D6E-409C-BE32-E72D297353CC}">
                <c16:uniqueId val="{00000409-08A2-4ED8-81DE-F02C5E6E5F08}"/>
              </c:ext>
            </c:extLst>
          </c:dPt>
          <c:dPt>
            <c:idx val="516"/>
            <c:invertIfNegative val="1"/>
            <c:bubble3D val="0"/>
            <c:spPr>
              <a:solidFill>
                <a:srgbClr val="AEABAB"/>
              </a:solidFill>
            </c:spPr>
            <c:extLst>
              <c:ext xmlns:c16="http://schemas.microsoft.com/office/drawing/2014/chart" uri="{C3380CC4-5D6E-409C-BE32-E72D297353CC}">
                <c16:uniqueId val="{0000040B-08A2-4ED8-81DE-F02C5E6E5F08}"/>
              </c:ext>
            </c:extLst>
          </c:dPt>
          <c:dPt>
            <c:idx val="517"/>
            <c:invertIfNegative val="1"/>
            <c:bubble3D val="0"/>
            <c:spPr>
              <a:solidFill>
                <a:srgbClr val="AEABAB"/>
              </a:solidFill>
            </c:spPr>
            <c:extLst>
              <c:ext xmlns:c16="http://schemas.microsoft.com/office/drawing/2014/chart" uri="{C3380CC4-5D6E-409C-BE32-E72D297353CC}">
                <c16:uniqueId val="{0000040D-08A2-4ED8-81DE-F02C5E6E5F08}"/>
              </c:ext>
            </c:extLst>
          </c:dPt>
          <c:dPt>
            <c:idx val="518"/>
            <c:invertIfNegative val="1"/>
            <c:bubble3D val="0"/>
            <c:spPr>
              <a:solidFill>
                <a:srgbClr val="AEABAB"/>
              </a:solidFill>
            </c:spPr>
            <c:extLst>
              <c:ext xmlns:c16="http://schemas.microsoft.com/office/drawing/2014/chart" uri="{C3380CC4-5D6E-409C-BE32-E72D297353CC}">
                <c16:uniqueId val="{0000040F-08A2-4ED8-81DE-F02C5E6E5F08}"/>
              </c:ext>
            </c:extLst>
          </c:dPt>
          <c:dPt>
            <c:idx val="519"/>
            <c:invertIfNegative val="1"/>
            <c:bubble3D val="0"/>
            <c:spPr>
              <a:solidFill>
                <a:srgbClr val="AEABAB"/>
              </a:solidFill>
            </c:spPr>
            <c:extLst>
              <c:ext xmlns:c16="http://schemas.microsoft.com/office/drawing/2014/chart" uri="{C3380CC4-5D6E-409C-BE32-E72D297353CC}">
                <c16:uniqueId val="{00000411-08A2-4ED8-81DE-F02C5E6E5F08}"/>
              </c:ext>
            </c:extLst>
          </c:dPt>
          <c:dPt>
            <c:idx val="520"/>
            <c:invertIfNegative val="1"/>
            <c:bubble3D val="0"/>
            <c:spPr>
              <a:solidFill>
                <a:srgbClr val="AEABAB"/>
              </a:solidFill>
            </c:spPr>
            <c:extLst>
              <c:ext xmlns:c16="http://schemas.microsoft.com/office/drawing/2014/chart" uri="{C3380CC4-5D6E-409C-BE32-E72D297353CC}">
                <c16:uniqueId val="{00000413-08A2-4ED8-81DE-F02C5E6E5F08}"/>
              </c:ext>
            </c:extLst>
          </c:dPt>
          <c:dPt>
            <c:idx val="521"/>
            <c:invertIfNegative val="1"/>
            <c:bubble3D val="0"/>
            <c:spPr>
              <a:solidFill>
                <a:srgbClr val="AEABAB"/>
              </a:solidFill>
            </c:spPr>
            <c:extLst>
              <c:ext xmlns:c16="http://schemas.microsoft.com/office/drawing/2014/chart" uri="{C3380CC4-5D6E-409C-BE32-E72D297353CC}">
                <c16:uniqueId val="{00000415-08A2-4ED8-81DE-F02C5E6E5F08}"/>
              </c:ext>
            </c:extLst>
          </c:dPt>
          <c:dPt>
            <c:idx val="522"/>
            <c:invertIfNegative val="1"/>
            <c:bubble3D val="0"/>
            <c:spPr>
              <a:solidFill>
                <a:srgbClr val="AEABAB"/>
              </a:solidFill>
            </c:spPr>
            <c:extLst>
              <c:ext xmlns:c16="http://schemas.microsoft.com/office/drawing/2014/chart" uri="{C3380CC4-5D6E-409C-BE32-E72D297353CC}">
                <c16:uniqueId val="{00000417-08A2-4ED8-81DE-F02C5E6E5F08}"/>
              </c:ext>
            </c:extLst>
          </c:dPt>
          <c:dPt>
            <c:idx val="523"/>
            <c:invertIfNegative val="1"/>
            <c:bubble3D val="0"/>
            <c:spPr>
              <a:solidFill>
                <a:srgbClr val="AEABAB"/>
              </a:solidFill>
            </c:spPr>
            <c:extLst>
              <c:ext xmlns:c16="http://schemas.microsoft.com/office/drawing/2014/chart" uri="{C3380CC4-5D6E-409C-BE32-E72D297353CC}">
                <c16:uniqueId val="{00000419-08A2-4ED8-81DE-F02C5E6E5F08}"/>
              </c:ext>
            </c:extLst>
          </c:dPt>
          <c:dPt>
            <c:idx val="524"/>
            <c:invertIfNegative val="1"/>
            <c:bubble3D val="0"/>
            <c:spPr>
              <a:solidFill>
                <a:srgbClr val="AEABAB"/>
              </a:solidFill>
            </c:spPr>
            <c:extLst>
              <c:ext xmlns:c16="http://schemas.microsoft.com/office/drawing/2014/chart" uri="{C3380CC4-5D6E-409C-BE32-E72D297353CC}">
                <c16:uniqueId val="{0000041B-08A2-4ED8-81DE-F02C5E6E5F08}"/>
              </c:ext>
            </c:extLst>
          </c:dPt>
          <c:dPt>
            <c:idx val="525"/>
            <c:invertIfNegative val="1"/>
            <c:bubble3D val="0"/>
            <c:spPr>
              <a:solidFill>
                <a:srgbClr val="AEABAB"/>
              </a:solidFill>
            </c:spPr>
            <c:extLst>
              <c:ext xmlns:c16="http://schemas.microsoft.com/office/drawing/2014/chart" uri="{C3380CC4-5D6E-409C-BE32-E72D297353CC}">
                <c16:uniqueId val="{0000041D-08A2-4ED8-81DE-F02C5E6E5F08}"/>
              </c:ext>
            </c:extLst>
          </c:dPt>
          <c:dPt>
            <c:idx val="526"/>
            <c:invertIfNegative val="1"/>
            <c:bubble3D val="0"/>
            <c:spPr>
              <a:solidFill>
                <a:srgbClr val="AEABAB"/>
              </a:solidFill>
            </c:spPr>
            <c:extLst>
              <c:ext xmlns:c16="http://schemas.microsoft.com/office/drawing/2014/chart" uri="{C3380CC4-5D6E-409C-BE32-E72D297353CC}">
                <c16:uniqueId val="{0000041F-08A2-4ED8-81DE-F02C5E6E5F08}"/>
              </c:ext>
            </c:extLst>
          </c:dPt>
          <c:dPt>
            <c:idx val="527"/>
            <c:invertIfNegative val="1"/>
            <c:bubble3D val="0"/>
            <c:spPr>
              <a:solidFill>
                <a:srgbClr val="AEABAB"/>
              </a:solidFill>
            </c:spPr>
            <c:extLst>
              <c:ext xmlns:c16="http://schemas.microsoft.com/office/drawing/2014/chart" uri="{C3380CC4-5D6E-409C-BE32-E72D297353CC}">
                <c16:uniqueId val="{00000421-08A2-4ED8-81DE-F02C5E6E5F08}"/>
              </c:ext>
            </c:extLst>
          </c:dPt>
          <c:dPt>
            <c:idx val="528"/>
            <c:invertIfNegative val="1"/>
            <c:bubble3D val="0"/>
            <c:spPr>
              <a:solidFill>
                <a:srgbClr val="AEABAB"/>
              </a:solidFill>
            </c:spPr>
            <c:extLst>
              <c:ext xmlns:c16="http://schemas.microsoft.com/office/drawing/2014/chart" uri="{C3380CC4-5D6E-409C-BE32-E72D297353CC}">
                <c16:uniqueId val="{00000423-08A2-4ED8-81DE-F02C5E6E5F08}"/>
              </c:ext>
            </c:extLst>
          </c:dPt>
          <c:dPt>
            <c:idx val="529"/>
            <c:invertIfNegative val="1"/>
            <c:bubble3D val="0"/>
            <c:spPr>
              <a:solidFill>
                <a:srgbClr val="AEABAB"/>
              </a:solidFill>
            </c:spPr>
            <c:extLst>
              <c:ext xmlns:c16="http://schemas.microsoft.com/office/drawing/2014/chart" uri="{C3380CC4-5D6E-409C-BE32-E72D297353CC}">
                <c16:uniqueId val="{00000425-08A2-4ED8-81DE-F02C5E6E5F08}"/>
              </c:ext>
            </c:extLst>
          </c:dPt>
          <c:dPt>
            <c:idx val="530"/>
            <c:invertIfNegative val="1"/>
            <c:bubble3D val="0"/>
            <c:spPr>
              <a:solidFill>
                <a:srgbClr val="AEABAB"/>
              </a:solidFill>
            </c:spPr>
            <c:extLst>
              <c:ext xmlns:c16="http://schemas.microsoft.com/office/drawing/2014/chart" uri="{C3380CC4-5D6E-409C-BE32-E72D297353CC}">
                <c16:uniqueId val="{00000427-08A2-4ED8-81DE-F02C5E6E5F08}"/>
              </c:ext>
            </c:extLst>
          </c:dPt>
          <c:dPt>
            <c:idx val="531"/>
            <c:invertIfNegative val="1"/>
            <c:bubble3D val="0"/>
            <c:spPr>
              <a:solidFill>
                <a:srgbClr val="AEABAB"/>
              </a:solidFill>
            </c:spPr>
            <c:extLst>
              <c:ext xmlns:c16="http://schemas.microsoft.com/office/drawing/2014/chart" uri="{C3380CC4-5D6E-409C-BE32-E72D297353CC}">
                <c16:uniqueId val="{00000429-08A2-4ED8-81DE-F02C5E6E5F08}"/>
              </c:ext>
            </c:extLst>
          </c:dPt>
          <c:dPt>
            <c:idx val="532"/>
            <c:invertIfNegative val="1"/>
            <c:bubble3D val="0"/>
            <c:spPr>
              <a:solidFill>
                <a:srgbClr val="AEABAB"/>
              </a:solidFill>
            </c:spPr>
            <c:extLst>
              <c:ext xmlns:c16="http://schemas.microsoft.com/office/drawing/2014/chart" uri="{C3380CC4-5D6E-409C-BE32-E72D297353CC}">
                <c16:uniqueId val="{0000042B-08A2-4ED8-81DE-F02C5E6E5F08}"/>
              </c:ext>
            </c:extLst>
          </c:dPt>
          <c:dPt>
            <c:idx val="533"/>
            <c:invertIfNegative val="1"/>
            <c:bubble3D val="0"/>
            <c:spPr>
              <a:solidFill>
                <a:srgbClr val="AEABAB"/>
              </a:solidFill>
            </c:spPr>
            <c:extLst>
              <c:ext xmlns:c16="http://schemas.microsoft.com/office/drawing/2014/chart" uri="{C3380CC4-5D6E-409C-BE32-E72D297353CC}">
                <c16:uniqueId val="{0000042D-08A2-4ED8-81DE-F02C5E6E5F08}"/>
              </c:ext>
            </c:extLst>
          </c:dPt>
          <c:dPt>
            <c:idx val="534"/>
            <c:invertIfNegative val="1"/>
            <c:bubble3D val="0"/>
            <c:spPr>
              <a:solidFill>
                <a:srgbClr val="AEABAB"/>
              </a:solidFill>
            </c:spPr>
            <c:extLst>
              <c:ext xmlns:c16="http://schemas.microsoft.com/office/drawing/2014/chart" uri="{C3380CC4-5D6E-409C-BE32-E72D297353CC}">
                <c16:uniqueId val="{0000042F-08A2-4ED8-81DE-F02C5E6E5F08}"/>
              </c:ext>
            </c:extLst>
          </c:dPt>
          <c:dPt>
            <c:idx val="535"/>
            <c:invertIfNegative val="1"/>
            <c:bubble3D val="0"/>
            <c:spPr>
              <a:solidFill>
                <a:srgbClr val="AEABAB"/>
              </a:solidFill>
            </c:spPr>
            <c:extLst>
              <c:ext xmlns:c16="http://schemas.microsoft.com/office/drawing/2014/chart" uri="{C3380CC4-5D6E-409C-BE32-E72D297353CC}">
                <c16:uniqueId val="{00000431-08A2-4ED8-81DE-F02C5E6E5F08}"/>
              </c:ext>
            </c:extLst>
          </c:dPt>
          <c:dPt>
            <c:idx val="536"/>
            <c:invertIfNegative val="1"/>
            <c:bubble3D val="0"/>
            <c:spPr>
              <a:solidFill>
                <a:srgbClr val="AEABAB"/>
              </a:solidFill>
            </c:spPr>
            <c:extLst>
              <c:ext xmlns:c16="http://schemas.microsoft.com/office/drawing/2014/chart" uri="{C3380CC4-5D6E-409C-BE32-E72D297353CC}">
                <c16:uniqueId val="{00000433-08A2-4ED8-81DE-F02C5E6E5F08}"/>
              </c:ext>
            </c:extLst>
          </c:dPt>
          <c:dPt>
            <c:idx val="537"/>
            <c:invertIfNegative val="1"/>
            <c:bubble3D val="0"/>
            <c:spPr>
              <a:solidFill>
                <a:srgbClr val="AEABAB"/>
              </a:solidFill>
            </c:spPr>
            <c:extLst>
              <c:ext xmlns:c16="http://schemas.microsoft.com/office/drawing/2014/chart" uri="{C3380CC4-5D6E-409C-BE32-E72D297353CC}">
                <c16:uniqueId val="{00000435-08A2-4ED8-81DE-F02C5E6E5F08}"/>
              </c:ext>
            </c:extLst>
          </c:dPt>
          <c:dPt>
            <c:idx val="538"/>
            <c:invertIfNegative val="1"/>
            <c:bubble3D val="0"/>
            <c:spPr>
              <a:solidFill>
                <a:srgbClr val="AEABAB"/>
              </a:solidFill>
            </c:spPr>
            <c:extLst>
              <c:ext xmlns:c16="http://schemas.microsoft.com/office/drawing/2014/chart" uri="{C3380CC4-5D6E-409C-BE32-E72D297353CC}">
                <c16:uniqueId val="{00000437-08A2-4ED8-81DE-F02C5E6E5F08}"/>
              </c:ext>
            </c:extLst>
          </c:dPt>
          <c:dPt>
            <c:idx val="539"/>
            <c:invertIfNegative val="1"/>
            <c:bubble3D val="0"/>
            <c:spPr>
              <a:solidFill>
                <a:srgbClr val="AEABAB"/>
              </a:solidFill>
            </c:spPr>
            <c:extLst>
              <c:ext xmlns:c16="http://schemas.microsoft.com/office/drawing/2014/chart" uri="{C3380CC4-5D6E-409C-BE32-E72D297353CC}">
                <c16:uniqueId val="{00000439-08A2-4ED8-81DE-F02C5E6E5F08}"/>
              </c:ext>
            </c:extLst>
          </c:dPt>
          <c:dPt>
            <c:idx val="540"/>
            <c:invertIfNegative val="1"/>
            <c:bubble3D val="0"/>
            <c:spPr>
              <a:solidFill>
                <a:srgbClr val="AEABAB"/>
              </a:solidFill>
            </c:spPr>
            <c:extLst>
              <c:ext xmlns:c16="http://schemas.microsoft.com/office/drawing/2014/chart" uri="{C3380CC4-5D6E-409C-BE32-E72D297353CC}">
                <c16:uniqueId val="{0000043B-08A2-4ED8-81DE-F02C5E6E5F08}"/>
              </c:ext>
            </c:extLst>
          </c:dPt>
          <c:dPt>
            <c:idx val="541"/>
            <c:invertIfNegative val="1"/>
            <c:bubble3D val="0"/>
            <c:spPr>
              <a:solidFill>
                <a:srgbClr val="AEABAB"/>
              </a:solidFill>
            </c:spPr>
            <c:extLst>
              <c:ext xmlns:c16="http://schemas.microsoft.com/office/drawing/2014/chart" uri="{C3380CC4-5D6E-409C-BE32-E72D297353CC}">
                <c16:uniqueId val="{0000043D-08A2-4ED8-81DE-F02C5E6E5F08}"/>
              </c:ext>
            </c:extLst>
          </c:dPt>
          <c:dPt>
            <c:idx val="542"/>
            <c:invertIfNegative val="1"/>
            <c:bubble3D val="0"/>
            <c:spPr>
              <a:solidFill>
                <a:srgbClr val="AEABAB"/>
              </a:solidFill>
            </c:spPr>
            <c:extLst>
              <c:ext xmlns:c16="http://schemas.microsoft.com/office/drawing/2014/chart" uri="{C3380CC4-5D6E-409C-BE32-E72D297353CC}">
                <c16:uniqueId val="{0000043F-08A2-4ED8-81DE-F02C5E6E5F08}"/>
              </c:ext>
            </c:extLst>
          </c:dPt>
          <c:dPt>
            <c:idx val="543"/>
            <c:invertIfNegative val="1"/>
            <c:bubble3D val="0"/>
            <c:spPr>
              <a:solidFill>
                <a:srgbClr val="AEABAB"/>
              </a:solidFill>
            </c:spPr>
            <c:extLst>
              <c:ext xmlns:c16="http://schemas.microsoft.com/office/drawing/2014/chart" uri="{C3380CC4-5D6E-409C-BE32-E72D297353CC}">
                <c16:uniqueId val="{00000441-08A2-4ED8-81DE-F02C5E6E5F08}"/>
              </c:ext>
            </c:extLst>
          </c:dPt>
          <c:dPt>
            <c:idx val="544"/>
            <c:invertIfNegative val="1"/>
            <c:bubble3D val="0"/>
            <c:spPr>
              <a:solidFill>
                <a:srgbClr val="AEABAB"/>
              </a:solidFill>
            </c:spPr>
            <c:extLst>
              <c:ext xmlns:c16="http://schemas.microsoft.com/office/drawing/2014/chart" uri="{C3380CC4-5D6E-409C-BE32-E72D297353CC}">
                <c16:uniqueId val="{00000443-08A2-4ED8-81DE-F02C5E6E5F08}"/>
              </c:ext>
            </c:extLst>
          </c:dPt>
          <c:dPt>
            <c:idx val="545"/>
            <c:invertIfNegative val="1"/>
            <c:bubble3D val="0"/>
            <c:spPr>
              <a:solidFill>
                <a:srgbClr val="AEABAB"/>
              </a:solidFill>
            </c:spPr>
            <c:extLst>
              <c:ext xmlns:c16="http://schemas.microsoft.com/office/drawing/2014/chart" uri="{C3380CC4-5D6E-409C-BE32-E72D297353CC}">
                <c16:uniqueId val="{00000445-08A2-4ED8-81DE-F02C5E6E5F08}"/>
              </c:ext>
            </c:extLst>
          </c:dPt>
          <c:dPt>
            <c:idx val="546"/>
            <c:invertIfNegative val="1"/>
            <c:bubble3D val="0"/>
            <c:spPr>
              <a:solidFill>
                <a:srgbClr val="AEABAB"/>
              </a:solidFill>
            </c:spPr>
            <c:extLst>
              <c:ext xmlns:c16="http://schemas.microsoft.com/office/drawing/2014/chart" uri="{C3380CC4-5D6E-409C-BE32-E72D297353CC}">
                <c16:uniqueId val="{00000447-08A2-4ED8-81DE-F02C5E6E5F08}"/>
              </c:ext>
            </c:extLst>
          </c:dPt>
          <c:dPt>
            <c:idx val="547"/>
            <c:invertIfNegative val="1"/>
            <c:bubble3D val="0"/>
            <c:spPr>
              <a:solidFill>
                <a:srgbClr val="AEABAB"/>
              </a:solidFill>
            </c:spPr>
            <c:extLst>
              <c:ext xmlns:c16="http://schemas.microsoft.com/office/drawing/2014/chart" uri="{C3380CC4-5D6E-409C-BE32-E72D297353CC}">
                <c16:uniqueId val="{00000449-08A2-4ED8-81DE-F02C5E6E5F08}"/>
              </c:ext>
            </c:extLst>
          </c:dPt>
          <c:dPt>
            <c:idx val="548"/>
            <c:invertIfNegative val="1"/>
            <c:bubble3D val="0"/>
            <c:spPr>
              <a:solidFill>
                <a:srgbClr val="AEABAB"/>
              </a:solidFill>
            </c:spPr>
            <c:extLst>
              <c:ext xmlns:c16="http://schemas.microsoft.com/office/drawing/2014/chart" uri="{C3380CC4-5D6E-409C-BE32-E72D297353CC}">
                <c16:uniqueId val="{0000044B-08A2-4ED8-81DE-F02C5E6E5F08}"/>
              </c:ext>
            </c:extLst>
          </c:dPt>
          <c:dPt>
            <c:idx val="549"/>
            <c:invertIfNegative val="1"/>
            <c:bubble3D val="0"/>
            <c:spPr>
              <a:solidFill>
                <a:srgbClr val="AEABAB"/>
              </a:solidFill>
            </c:spPr>
            <c:extLst>
              <c:ext xmlns:c16="http://schemas.microsoft.com/office/drawing/2014/chart" uri="{C3380CC4-5D6E-409C-BE32-E72D297353CC}">
                <c16:uniqueId val="{0000044D-08A2-4ED8-81DE-F02C5E6E5F08}"/>
              </c:ext>
            </c:extLst>
          </c:dPt>
          <c:dPt>
            <c:idx val="550"/>
            <c:invertIfNegative val="1"/>
            <c:bubble3D val="0"/>
            <c:spPr>
              <a:solidFill>
                <a:srgbClr val="AEABAB"/>
              </a:solidFill>
            </c:spPr>
            <c:extLst>
              <c:ext xmlns:c16="http://schemas.microsoft.com/office/drawing/2014/chart" uri="{C3380CC4-5D6E-409C-BE32-E72D297353CC}">
                <c16:uniqueId val="{0000044F-08A2-4ED8-81DE-F02C5E6E5F08}"/>
              </c:ext>
            </c:extLst>
          </c:dPt>
          <c:dPt>
            <c:idx val="551"/>
            <c:invertIfNegative val="1"/>
            <c:bubble3D val="0"/>
            <c:spPr>
              <a:solidFill>
                <a:srgbClr val="AEABAB"/>
              </a:solidFill>
            </c:spPr>
            <c:extLst>
              <c:ext xmlns:c16="http://schemas.microsoft.com/office/drawing/2014/chart" uri="{C3380CC4-5D6E-409C-BE32-E72D297353CC}">
                <c16:uniqueId val="{00000451-08A2-4ED8-81DE-F02C5E6E5F08}"/>
              </c:ext>
            </c:extLst>
          </c:dPt>
          <c:dPt>
            <c:idx val="552"/>
            <c:invertIfNegative val="1"/>
            <c:bubble3D val="0"/>
            <c:spPr>
              <a:solidFill>
                <a:srgbClr val="AEABAB"/>
              </a:solidFill>
            </c:spPr>
            <c:extLst>
              <c:ext xmlns:c16="http://schemas.microsoft.com/office/drawing/2014/chart" uri="{C3380CC4-5D6E-409C-BE32-E72D297353CC}">
                <c16:uniqueId val="{00000453-08A2-4ED8-81DE-F02C5E6E5F08}"/>
              </c:ext>
            </c:extLst>
          </c:dPt>
          <c:dPt>
            <c:idx val="553"/>
            <c:invertIfNegative val="1"/>
            <c:bubble3D val="0"/>
            <c:spPr>
              <a:solidFill>
                <a:srgbClr val="AEABAB"/>
              </a:solidFill>
            </c:spPr>
            <c:extLst>
              <c:ext xmlns:c16="http://schemas.microsoft.com/office/drawing/2014/chart" uri="{C3380CC4-5D6E-409C-BE32-E72D297353CC}">
                <c16:uniqueId val="{00000455-08A2-4ED8-81DE-F02C5E6E5F08}"/>
              </c:ext>
            </c:extLst>
          </c:dPt>
          <c:dPt>
            <c:idx val="554"/>
            <c:invertIfNegative val="1"/>
            <c:bubble3D val="0"/>
            <c:spPr>
              <a:solidFill>
                <a:srgbClr val="AEABAB"/>
              </a:solidFill>
            </c:spPr>
            <c:extLst>
              <c:ext xmlns:c16="http://schemas.microsoft.com/office/drawing/2014/chart" uri="{C3380CC4-5D6E-409C-BE32-E72D297353CC}">
                <c16:uniqueId val="{00000457-08A2-4ED8-81DE-F02C5E6E5F08}"/>
              </c:ext>
            </c:extLst>
          </c:dPt>
          <c:dPt>
            <c:idx val="555"/>
            <c:invertIfNegative val="1"/>
            <c:bubble3D val="0"/>
            <c:spPr>
              <a:solidFill>
                <a:srgbClr val="AEABAB"/>
              </a:solidFill>
            </c:spPr>
            <c:extLst>
              <c:ext xmlns:c16="http://schemas.microsoft.com/office/drawing/2014/chart" uri="{C3380CC4-5D6E-409C-BE32-E72D297353CC}">
                <c16:uniqueId val="{00000459-08A2-4ED8-81DE-F02C5E6E5F08}"/>
              </c:ext>
            </c:extLst>
          </c:dPt>
          <c:dPt>
            <c:idx val="556"/>
            <c:invertIfNegative val="1"/>
            <c:bubble3D val="0"/>
            <c:spPr>
              <a:solidFill>
                <a:srgbClr val="AEABAB"/>
              </a:solidFill>
            </c:spPr>
            <c:extLst>
              <c:ext xmlns:c16="http://schemas.microsoft.com/office/drawing/2014/chart" uri="{C3380CC4-5D6E-409C-BE32-E72D297353CC}">
                <c16:uniqueId val="{0000045B-08A2-4ED8-81DE-F02C5E6E5F08}"/>
              </c:ext>
            </c:extLst>
          </c:dPt>
          <c:dPt>
            <c:idx val="557"/>
            <c:invertIfNegative val="1"/>
            <c:bubble3D val="0"/>
            <c:spPr>
              <a:solidFill>
                <a:srgbClr val="AEABAB"/>
              </a:solidFill>
            </c:spPr>
            <c:extLst>
              <c:ext xmlns:c16="http://schemas.microsoft.com/office/drawing/2014/chart" uri="{C3380CC4-5D6E-409C-BE32-E72D297353CC}">
                <c16:uniqueId val="{0000045D-08A2-4ED8-81DE-F02C5E6E5F08}"/>
              </c:ext>
            </c:extLst>
          </c:dPt>
          <c:dPt>
            <c:idx val="558"/>
            <c:invertIfNegative val="1"/>
            <c:bubble3D val="0"/>
            <c:spPr>
              <a:solidFill>
                <a:srgbClr val="AEABAB"/>
              </a:solidFill>
            </c:spPr>
            <c:extLst>
              <c:ext xmlns:c16="http://schemas.microsoft.com/office/drawing/2014/chart" uri="{C3380CC4-5D6E-409C-BE32-E72D297353CC}">
                <c16:uniqueId val="{0000045F-08A2-4ED8-81DE-F02C5E6E5F08}"/>
              </c:ext>
            </c:extLst>
          </c:dPt>
          <c:dPt>
            <c:idx val="559"/>
            <c:invertIfNegative val="1"/>
            <c:bubble3D val="0"/>
            <c:spPr>
              <a:solidFill>
                <a:srgbClr val="AEABAB"/>
              </a:solidFill>
            </c:spPr>
            <c:extLst>
              <c:ext xmlns:c16="http://schemas.microsoft.com/office/drawing/2014/chart" uri="{C3380CC4-5D6E-409C-BE32-E72D297353CC}">
                <c16:uniqueId val="{00000461-08A2-4ED8-81DE-F02C5E6E5F08}"/>
              </c:ext>
            </c:extLst>
          </c:dPt>
          <c:dPt>
            <c:idx val="560"/>
            <c:invertIfNegative val="1"/>
            <c:bubble3D val="0"/>
            <c:spPr>
              <a:solidFill>
                <a:srgbClr val="AEABAB"/>
              </a:solidFill>
            </c:spPr>
            <c:extLst>
              <c:ext xmlns:c16="http://schemas.microsoft.com/office/drawing/2014/chart" uri="{C3380CC4-5D6E-409C-BE32-E72D297353CC}">
                <c16:uniqueId val="{00000463-08A2-4ED8-81DE-F02C5E6E5F08}"/>
              </c:ext>
            </c:extLst>
          </c:dPt>
          <c:dPt>
            <c:idx val="561"/>
            <c:invertIfNegative val="1"/>
            <c:bubble3D val="0"/>
            <c:spPr>
              <a:solidFill>
                <a:srgbClr val="AEABAB"/>
              </a:solidFill>
            </c:spPr>
            <c:extLst>
              <c:ext xmlns:c16="http://schemas.microsoft.com/office/drawing/2014/chart" uri="{C3380CC4-5D6E-409C-BE32-E72D297353CC}">
                <c16:uniqueId val="{00000465-08A2-4ED8-81DE-F02C5E6E5F08}"/>
              </c:ext>
            </c:extLst>
          </c:dPt>
          <c:dPt>
            <c:idx val="562"/>
            <c:invertIfNegative val="1"/>
            <c:bubble3D val="0"/>
            <c:spPr>
              <a:solidFill>
                <a:srgbClr val="AEABAB"/>
              </a:solidFill>
            </c:spPr>
            <c:extLst>
              <c:ext xmlns:c16="http://schemas.microsoft.com/office/drawing/2014/chart" uri="{C3380CC4-5D6E-409C-BE32-E72D297353CC}">
                <c16:uniqueId val="{00000467-08A2-4ED8-81DE-F02C5E6E5F08}"/>
              </c:ext>
            </c:extLst>
          </c:dPt>
          <c:dPt>
            <c:idx val="563"/>
            <c:invertIfNegative val="1"/>
            <c:bubble3D val="0"/>
            <c:spPr>
              <a:solidFill>
                <a:srgbClr val="AEABAB"/>
              </a:solidFill>
            </c:spPr>
            <c:extLst>
              <c:ext xmlns:c16="http://schemas.microsoft.com/office/drawing/2014/chart" uri="{C3380CC4-5D6E-409C-BE32-E72D297353CC}">
                <c16:uniqueId val="{00000469-08A2-4ED8-81DE-F02C5E6E5F08}"/>
              </c:ext>
            </c:extLst>
          </c:dPt>
          <c:dPt>
            <c:idx val="564"/>
            <c:invertIfNegative val="1"/>
            <c:bubble3D val="0"/>
            <c:spPr>
              <a:solidFill>
                <a:srgbClr val="AEABAB"/>
              </a:solidFill>
            </c:spPr>
            <c:extLst>
              <c:ext xmlns:c16="http://schemas.microsoft.com/office/drawing/2014/chart" uri="{C3380CC4-5D6E-409C-BE32-E72D297353CC}">
                <c16:uniqueId val="{0000046B-08A2-4ED8-81DE-F02C5E6E5F08}"/>
              </c:ext>
            </c:extLst>
          </c:dPt>
          <c:dPt>
            <c:idx val="565"/>
            <c:invertIfNegative val="1"/>
            <c:bubble3D val="0"/>
            <c:spPr>
              <a:solidFill>
                <a:srgbClr val="AEABAB"/>
              </a:solidFill>
            </c:spPr>
            <c:extLst>
              <c:ext xmlns:c16="http://schemas.microsoft.com/office/drawing/2014/chart" uri="{C3380CC4-5D6E-409C-BE32-E72D297353CC}">
                <c16:uniqueId val="{0000046D-08A2-4ED8-81DE-F02C5E6E5F08}"/>
              </c:ext>
            </c:extLst>
          </c:dPt>
          <c:dPt>
            <c:idx val="566"/>
            <c:invertIfNegative val="1"/>
            <c:bubble3D val="0"/>
            <c:spPr>
              <a:solidFill>
                <a:srgbClr val="AEABAB"/>
              </a:solidFill>
            </c:spPr>
            <c:extLst>
              <c:ext xmlns:c16="http://schemas.microsoft.com/office/drawing/2014/chart" uri="{C3380CC4-5D6E-409C-BE32-E72D297353CC}">
                <c16:uniqueId val="{0000046F-08A2-4ED8-81DE-F02C5E6E5F08}"/>
              </c:ext>
            </c:extLst>
          </c:dPt>
          <c:dPt>
            <c:idx val="567"/>
            <c:invertIfNegative val="1"/>
            <c:bubble3D val="0"/>
            <c:spPr>
              <a:solidFill>
                <a:srgbClr val="AEABAB"/>
              </a:solidFill>
            </c:spPr>
            <c:extLst>
              <c:ext xmlns:c16="http://schemas.microsoft.com/office/drawing/2014/chart" uri="{C3380CC4-5D6E-409C-BE32-E72D297353CC}">
                <c16:uniqueId val="{00000471-08A2-4ED8-81DE-F02C5E6E5F08}"/>
              </c:ext>
            </c:extLst>
          </c:dPt>
          <c:dPt>
            <c:idx val="568"/>
            <c:invertIfNegative val="1"/>
            <c:bubble3D val="0"/>
            <c:spPr>
              <a:solidFill>
                <a:srgbClr val="AEABAB"/>
              </a:solidFill>
            </c:spPr>
            <c:extLst>
              <c:ext xmlns:c16="http://schemas.microsoft.com/office/drawing/2014/chart" uri="{C3380CC4-5D6E-409C-BE32-E72D297353CC}">
                <c16:uniqueId val="{00000473-08A2-4ED8-81DE-F02C5E6E5F08}"/>
              </c:ext>
            </c:extLst>
          </c:dPt>
          <c:dPt>
            <c:idx val="569"/>
            <c:invertIfNegative val="1"/>
            <c:bubble3D val="0"/>
            <c:spPr>
              <a:solidFill>
                <a:srgbClr val="AEABAB"/>
              </a:solidFill>
            </c:spPr>
            <c:extLst>
              <c:ext xmlns:c16="http://schemas.microsoft.com/office/drawing/2014/chart" uri="{C3380CC4-5D6E-409C-BE32-E72D297353CC}">
                <c16:uniqueId val="{00000475-08A2-4ED8-81DE-F02C5E6E5F08}"/>
              </c:ext>
            </c:extLst>
          </c:dPt>
          <c:dPt>
            <c:idx val="570"/>
            <c:invertIfNegative val="1"/>
            <c:bubble3D val="0"/>
            <c:spPr>
              <a:solidFill>
                <a:srgbClr val="AEABAB"/>
              </a:solidFill>
            </c:spPr>
            <c:extLst>
              <c:ext xmlns:c16="http://schemas.microsoft.com/office/drawing/2014/chart" uri="{C3380CC4-5D6E-409C-BE32-E72D297353CC}">
                <c16:uniqueId val="{00000477-08A2-4ED8-81DE-F02C5E6E5F08}"/>
              </c:ext>
            </c:extLst>
          </c:dPt>
          <c:dPt>
            <c:idx val="571"/>
            <c:invertIfNegative val="1"/>
            <c:bubble3D val="0"/>
            <c:spPr>
              <a:solidFill>
                <a:srgbClr val="AEABAB"/>
              </a:solidFill>
            </c:spPr>
            <c:extLst>
              <c:ext xmlns:c16="http://schemas.microsoft.com/office/drawing/2014/chart" uri="{C3380CC4-5D6E-409C-BE32-E72D297353CC}">
                <c16:uniqueId val="{00000479-08A2-4ED8-81DE-F02C5E6E5F08}"/>
              </c:ext>
            </c:extLst>
          </c:dPt>
          <c:dPt>
            <c:idx val="572"/>
            <c:invertIfNegative val="1"/>
            <c:bubble3D val="0"/>
            <c:spPr>
              <a:solidFill>
                <a:srgbClr val="AEABAB"/>
              </a:solidFill>
            </c:spPr>
            <c:extLst>
              <c:ext xmlns:c16="http://schemas.microsoft.com/office/drawing/2014/chart" uri="{C3380CC4-5D6E-409C-BE32-E72D297353CC}">
                <c16:uniqueId val="{0000047B-08A2-4ED8-81DE-F02C5E6E5F08}"/>
              </c:ext>
            </c:extLst>
          </c:dPt>
          <c:dPt>
            <c:idx val="573"/>
            <c:invertIfNegative val="1"/>
            <c:bubble3D val="0"/>
            <c:spPr>
              <a:solidFill>
                <a:srgbClr val="AEABAB"/>
              </a:solidFill>
            </c:spPr>
            <c:extLst>
              <c:ext xmlns:c16="http://schemas.microsoft.com/office/drawing/2014/chart" uri="{C3380CC4-5D6E-409C-BE32-E72D297353CC}">
                <c16:uniqueId val="{0000047D-08A2-4ED8-81DE-F02C5E6E5F08}"/>
              </c:ext>
            </c:extLst>
          </c:dPt>
          <c:dPt>
            <c:idx val="574"/>
            <c:invertIfNegative val="1"/>
            <c:bubble3D val="0"/>
            <c:spPr>
              <a:solidFill>
                <a:srgbClr val="AEABAB"/>
              </a:solidFill>
            </c:spPr>
            <c:extLst>
              <c:ext xmlns:c16="http://schemas.microsoft.com/office/drawing/2014/chart" uri="{C3380CC4-5D6E-409C-BE32-E72D297353CC}">
                <c16:uniqueId val="{0000047F-08A2-4ED8-81DE-F02C5E6E5F08}"/>
              </c:ext>
            </c:extLst>
          </c:dPt>
          <c:dPt>
            <c:idx val="575"/>
            <c:invertIfNegative val="1"/>
            <c:bubble3D val="0"/>
            <c:spPr>
              <a:solidFill>
                <a:srgbClr val="AEABAB"/>
              </a:solidFill>
            </c:spPr>
            <c:extLst>
              <c:ext xmlns:c16="http://schemas.microsoft.com/office/drawing/2014/chart" uri="{C3380CC4-5D6E-409C-BE32-E72D297353CC}">
                <c16:uniqueId val="{00000481-08A2-4ED8-81DE-F02C5E6E5F08}"/>
              </c:ext>
            </c:extLst>
          </c:dPt>
          <c:dPt>
            <c:idx val="576"/>
            <c:invertIfNegative val="1"/>
            <c:bubble3D val="0"/>
            <c:spPr>
              <a:solidFill>
                <a:srgbClr val="AEABAB"/>
              </a:solidFill>
            </c:spPr>
            <c:extLst>
              <c:ext xmlns:c16="http://schemas.microsoft.com/office/drawing/2014/chart" uri="{C3380CC4-5D6E-409C-BE32-E72D297353CC}">
                <c16:uniqueId val="{00000483-08A2-4ED8-81DE-F02C5E6E5F08}"/>
              </c:ext>
            </c:extLst>
          </c:dPt>
          <c:dPt>
            <c:idx val="577"/>
            <c:invertIfNegative val="1"/>
            <c:bubble3D val="0"/>
            <c:spPr>
              <a:solidFill>
                <a:srgbClr val="AEABAB"/>
              </a:solidFill>
            </c:spPr>
            <c:extLst>
              <c:ext xmlns:c16="http://schemas.microsoft.com/office/drawing/2014/chart" uri="{C3380CC4-5D6E-409C-BE32-E72D297353CC}">
                <c16:uniqueId val="{00000485-08A2-4ED8-81DE-F02C5E6E5F08}"/>
              </c:ext>
            </c:extLst>
          </c:dPt>
          <c:dPt>
            <c:idx val="578"/>
            <c:invertIfNegative val="1"/>
            <c:bubble3D val="0"/>
            <c:spPr>
              <a:solidFill>
                <a:srgbClr val="AEABAB"/>
              </a:solidFill>
            </c:spPr>
            <c:extLst>
              <c:ext xmlns:c16="http://schemas.microsoft.com/office/drawing/2014/chart" uri="{C3380CC4-5D6E-409C-BE32-E72D297353CC}">
                <c16:uniqueId val="{00000487-08A2-4ED8-81DE-F02C5E6E5F08}"/>
              </c:ext>
            </c:extLst>
          </c:dPt>
          <c:cat>
            <c:strRef>
              <c:f>Sheet1!$A$2:$A$580</c:f>
              <c:strCache>
                <c:ptCount val="579"/>
                <c:pt idx="0">
                  <c:v>Caprice Des</c:v>
                </c:pt>
                <c:pt idx="1">
                  <c:v>Private Lab</c:v>
                </c:pt>
                <c:pt idx="2">
                  <c:v>Private Lab</c:v>
                </c:pt>
                <c:pt idx="3">
                  <c:v>Private Lab</c:v>
                </c:pt>
                <c:pt idx="4">
                  <c:v>Coeur De Li</c:v>
                </c:pt>
                <c:pt idx="5">
                  <c:v>Mini Babybe</c:v>
                </c:pt>
                <c:pt idx="6">
                  <c:v>President</c:v>
                </c:pt>
                <c:pt idx="7">
                  <c:v>Soignon</c:v>
                </c:pt>
                <c:pt idx="8">
                  <c:v>Private Lab</c:v>
                </c:pt>
                <c:pt idx="9">
                  <c:v>Private Lab</c:v>
                </c:pt>
                <c:pt idx="10">
                  <c:v>Private Lab</c:v>
                </c:pt>
                <c:pt idx="11">
                  <c:v>Caprice Des</c:v>
                </c:pt>
                <c:pt idx="12">
                  <c:v>President</c:v>
                </c:pt>
                <c:pt idx="13">
                  <c:v>La Vache Qu</c:v>
                </c:pt>
                <c:pt idx="14">
                  <c:v>Soignon</c:v>
                </c:pt>
                <c:pt idx="15">
                  <c:v>Le Rustique</c:v>
                </c:pt>
                <c:pt idx="16">
                  <c:v>Private Lab</c:v>
                </c:pt>
                <c:pt idx="17">
                  <c:v>St Moret</c:v>
                </c:pt>
                <c:pt idx="18">
                  <c:v>St Moret</c:v>
                </c:pt>
                <c:pt idx="19">
                  <c:v>President</c:v>
                </c:pt>
                <c:pt idx="20">
                  <c:v>La Vache Qu</c:v>
                </c:pt>
                <c:pt idx="21">
                  <c:v>Private Lab</c:v>
                </c:pt>
                <c:pt idx="22">
                  <c:v>Private Lab</c:v>
                </c:pt>
                <c:pt idx="23">
                  <c:v>Private Lab</c:v>
                </c:pt>
                <c:pt idx="24">
                  <c:v>St Moret</c:v>
                </c:pt>
                <c:pt idx="25">
                  <c:v>Tartare</c:v>
                </c:pt>
                <c:pt idx="26">
                  <c:v>Private Lab</c:v>
                </c:pt>
                <c:pt idx="27">
                  <c:v>Galbani</c:v>
                </c:pt>
                <c:pt idx="28">
                  <c:v>Mini Babybe</c:v>
                </c:pt>
                <c:pt idx="29">
                  <c:v>Private Lab</c:v>
                </c:pt>
                <c:pt idx="30">
                  <c:v>La Vache Qu</c:v>
                </c:pt>
                <c:pt idx="31">
                  <c:v>Coeur De Li</c:v>
                </c:pt>
                <c:pt idx="32">
                  <c:v>St Moret</c:v>
                </c:pt>
                <c:pt idx="33">
                  <c:v>Soignon</c:v>
                </c:pt>
                <c:pt idx="34">
                  <c:v>Salakis</c:v>
                </c:pt>
                <c:pt idx="35">
                  <c:v>Kiri</c:v>
                </c:pt>
                <c:pt idx="36">
                  <c:v>Private Lab</c:v>
                </c:pt>
                <c:pt idx="37">
                  <c:v>All Others</c:v>
                </c:pt>
                <c:pt idx="38">
                  <c:v>Private Lab</c:v>
                </c:pt>
                <c:pt idx="39">
                  <c:v>Private Lab</c:v>
                </c:pt>
                <c:pt idx="40">
                  <c:v>Private Lab</c:v>
                </c:pt>
                <c:pt idx="41">
                  <c:v>Kiri</c:v>
                </c:pt>
                <c:pt idx="42">
                  <c:v>Private Lab</c:v>
                </c:pt>
                <c:pt idx="43">
                  <c:v>Galbani</c:v>
                </c:pt>
                <c:pt idx="44">
                  <c:v>Private Lab</c:v>
                </c:pt>
                <c:pt idx="45">
                  <c:v>Private Lab</c:v>
                </c:pt>
                <c:pt idx="46">
                  <c:v>Private Lab</c:v>
                </c:pt>
                <c:pt idx="47">
                  <c:v>Galbani</c:v>
                </c:pt>
                <c:pt idx="48">
                  <c:v>Private Lab</c:v>
                </c:pt>
                <c:pt idx="49">
                  <c:v>Private Lab</c:v>
                </c:pt>
                <c:pt idx="50">
                  <c:v>Paysan Bret</c:v>
                </c:pt>
                <c:pt idx="51">
                  <c:v>Istara</c:v>
                </c:pt>
                <c:pt idx="52">
                  <c:v>Paysan Bret</c:v>
                </c:pt>
                <c:pt idx="53">
                  <c:v>Private Lab</c:v>
                </c:pt>
                <c:pt idx="54">
                  <c:v>Private Lab</c:v>
                </c:pt>
                <c:pt idx="55">
                  <c:v>Tartare</c:v>
                </c:pt>
                <c:pt idx="56">
                  <c:v>Ficello</c:v>
                </c:pt>
                <c:pt idx="57">
                  <c:v>Boursin</c:v>
                </c:pt>
                <c:pt idx="58">
                  <c:v>Boursin</c:v>
                </c:pt>
                <c:pt idx="59">
                  <c:v>Kiri</c:v>
                </c:pt>
                <c:pt idx="60">
                  <c:v>Lou Perac</c:v>
                </c:pt>
                <c:pt idx="61">
                  <c:v>Private Lab</c:v>
                </c:pt>
                <c:pt idx="62">
                  <c:v>President</c:v>
                </c:pt>
                <c:pt idx="63">
                  <c:v>All Others</c:v>
                </c:pt>
                <c:pt idx="64">
                  <c:v>President</c:v>
                </c:pt>
                <c:pt idx="65">
                  <c:v>Private Lab</c:v>
                </c:pt>
                <c:pt idx="66">
                  <c:v>Private Lab</c:v>
                </c:pt>
                <c:pt idx="67">
                  <c:v>St Moret</c:v>
                </c:pt>
                <c:pt idx="68">
                  <c:v>Caprice Des</c:v>
                </c:pt>
                <c:pt idx="69">
                  <c:v>Lepetit</c:v>
                </c:pt>
                <c:pt idx="70">
                  <c:v>Carre Frais</c:v>
                </c:pt>
                <c:pt idx="71">
                  <c:v>Galbani</c:v>
                </c:pt>
                <c:pt idx="72">
                  <c:v>Galbani</c:v>
                </c:pt>
                <c:pt idx="73">
                  <c:v>Kiri</c:v>
                </c:pt>
                <c:pt idx="74">
                  <c:v>Islos</c:v>
                </c:pt>
                <c:pt idx="75">
                  <c:v>Boursin</c:v>
                </c:pt>
                <c:pt idx="76">
                  <c:v>Coeur De Li</c:v>
                </c:pt>
                <c:pt idx="77">
                  <c:v>Private Lab</c:v>
                </c:pt>
                <c:pt idx="78">
                  <c:v>Salakis</c:v>
                </c:pt>
                <c:pt idx="79">
                  <c:v>Carre Frais</c:v>
                </c:pt>
                <c:pt idx="80">
                  <c:v>Private Lab</c:v>
                </c:pt>
                <c:pt idx="81">
                  <c:v>Philadelphi</c:v>
                </c:pt>
                <c:pt idx="82">
                  <c:v>Soignon</c:v>
                </c:pt>
                <c:pt idx="83">
                  <c:v>Private Lab</c:v>
                </c:pt>
                <c:pt idx="84">
                  <c:v>Coeur De Li</c:v>
                </c:pt>
                <c:pt idx="85">
                  <c:v>Coeur De Li</c:v>
                </c:pt>
                <c:pt idx="86">
                  <c:v>President</c:v>
                </c:pt>
                <c:pt idx="87">
                  <c:v>Galbani</c:v>
                </c:pt>
                <c:pt idx="88">
                  <c:v>St Moret</c:v>
                </c:pt>
                <c:pt idx="89">
                  <c:v>President</c:v>
                </c:pt>
                <c:pt idx="90">
                  <c:v>Private Lab</c:v>
                </c:pt>
                <c:pt idx="91">
                  <c:v>Mini Babybe</c:v>
                </c:pt>
                <c:pt idx="92">
                  <c:v>Kiri</c:v>
                </c:pt>
                <c:pt idx="93">
                  <c:v>Le Rustique</c:v>
                </c:pt>
                <c:pt idx="94">
                  <c:v>Istara</c:v>
                </c:pt>
                <c:pt idx="95">
                  <c:v>President</c:v>
                </c:pt>
                <c:pt idx="96">
                  <c:v>Petit Billy</c:v>
                </c:pt>
                <c:pt idx="97">
                  <c:v>Private Lab</c:v>
                </c:pt>
                <c:pt idx="98">
                  <c:v>Private Lab</c:v>
                </c:pt>
                <c:pt idx="99">
                  <c:v>Private Lab</c:v>
                </c:pt>
                <c:pt idx="100">
                  <c:v>All Others</c:v>
                </c:pt>
                <c:pt idx="101">
                  <c:v>President</c:v>
                </c:pt>
                <c:pt idx="102">
                  <c:v>Private Lab</c:v>
                </c:pt>
                <c:pt idx="103">
                  <c:v>Ficello</c:v>
                </c:pt>
                <c:pt idx="104">
                  <c:v>Soignon</c:v>
                </c:pt>
                <c:pt idx="105">
                  <c:v>Private Lab</c:v>
                </c:pt>
                <c:pt idx="106">
                  <c:v>Etorki</c:v>
                </c:pt>
                <c:pt idx="107">
                  <c:v>Philadelphi</c:v>
                </c:pt>
                <c:pt idx="108">
                  <c:v>Private Lab</c:v>
                </c:pt>
                <c:pt idx="109">
                  <c:v>Soignon</c:v>
                </c:pt>
                <c:pt idx="110">
                  <c:v>Private Lab</c:v>
                </c:pt>
                <c:pt idx="111">
                  <c:v>Private Lab</c:v>
                </c:pt>
                <c:pt idx="112">
                  <c:v>All Others</c:v>
                </c:pt>
                <c:pt idx="113">
                  <c:v>All Others</c:v>
                </c:pt>
                <c:pt idx="114">
                  <c:v>St Moret</c:v>
                </c:pt>
                <c:pt idx="115">
                  <c:v>Lactalis: A</c:v>
                </c:pt>
                <c:pt idx="116">
                  <c:v>Tartare</c:v>
                </c:pt>
                <c:pt idx="117">
                  <c:v>Caprice Des</c:v>
                </c:pt>
                <c:pt idx="118">
                  <c:v>Coeur De Li</c:v>
                </c:pt>
                <c:pt idx="119">
                  <c:v>Casa Azzurr</c:v>
                </c:pt>
                <c:pt idx="120">
                  <c:v>All Others</c:v>
                </c:pt>
                <c:pt idx="121">
                  <c:v>La Vache Qu</c:v>
                </c:pt>
                <c:pt idx="122">
                  <c:v>Soignon</c:v>
                </c:pt>
                <c:pt idx="123">
                  <c:v>La Vache Qu</c:v>
                </c:pt>
                <c:pt idx="124">
                  <c:v>P'Tit Louis</c:v>
                </c:pt>
                <c:pt idx="125">
                  <c:v>All Others</c:v>
                </c:pt>
                <c:pt idx="126">
                  <c:v>Casa Azzurr</c:v>
                </c:pt>
                <c:pt idx="127">
                  <c:v>Ficello</c:v>
                </c:pt>
                <c:pt idx="128">
                  <c:v>All Others</c:v>
                </c:pt>
                <c:pt idx="129">
                  <c:v>Private Lab</c:v>
                </c:pt>
                <c:pt idx="130">
                  <c:v>Soignon</c:v>
                </c:pt>
                <c:pt idx="131">
                  <c:v>Chavroux</c:v>
                </c:pt>
                <c:pt idx="132">
                  <c:v>Private Lab</c:v>
                </c:pt>
                <c:pt idx="133">
                  <c:v>Paysan Bret</c:v>
                </c:pt>
                <c:pt idx="134">
                  <c:v>President</c:v>
                </c:pt>
                <c:pt idx="135">
                  <c:v>President</c:v>
                </c:pt>
                <c:pt idx="136">
                  <c:v>Lactalis: A</c:v>
                </c:pt>
                <c:pt idx="137">
                  <c:v>Boursin</c:v>
                </c:pt>
                <c:pt idx="138">
                  <c:v>Le Brebiou</c:v>
                </c:pt>
                <c:pt idx="139">
                  <c:v>Boursin</c:v>
                </c:pt>
                <c:pt idx="140">
                  <c:v>Galbani</c:v>
                </c:pt>
                <c:pt idx="141">
                  <c:v>Soignon</c:v>
                </c:pt>
                <c:pt idx="142">
                  <c:v>Boursin</c:v>
                </c:pt>
                <c:pt idx="143">
                  <c:v>Salakis</c:v>
                </c:pt>
                <c:pt idx="144">
                  <c:v>Private Lab</c:v>
                </c:pt>
                <c:pt idx="145">
                  <c:v>Casa Azzurr</c:v>
                </c:pt>
                <c:pt idx="146">
                  <c:v>Private Lab</c:v>
                </c:pt>
                <c:pt idx="147">
                  <c:v>President</c:v>
                </c:pt>
                <c:pt idx="148">
                  <c:v>Le Rustique</c:v>
                </c:pt>
                <c:pt idx="149">
                  <c:v>Boursin</c:v>
                </c:pt>
                <c:pt idx="150">
                  <c:v>Private Lab</c:v>
                </c:pt>
                <c:pt idx="151">
                  <c:v>Paysan Bret</c:v>
                </c:pt>
                <c:pt idx="152">
                  <c:v>All Others</c:v>
                </c:pt>
                <c:pt idx="153">
                  <c:v>Soignon</c:v>
                </c:pt>
                <c:pt idx="154">
                  <c:v>Private Lab</c:v>
                </c:pt>
                <c:pt idx="155">
                  <c:v>Private Lab</c:v>
                </c:pt>
                <c:pt idx="156">
                  <c:v>Paysan Bret</c:v>
                </c:pt>
                <c:pt idx="157">
                  <c:v>Casa Azzurr</c:v>
                </c:pt>
                <c:pt idx="158">
                  <c:v>Private Lab</c:v>
                </c:pt>
                <c:pt idx="159">
                  <c:v>All Others</c:v>
                </c:pt>
                <c:pt idx="160">
                  <c:v>Salakis</c:v>
                </c:pt>
                <c:pt idx="161">
                  <c:v>Casa Azzurr</c:v>
                </c:pt>
                <c:pt idx="162">
                  <c:v>Les Mousque</c:v>
                </c:pt>
                <c:pt idx="163">
                  <c:v>Private Lab</c:v>
                </c:pt>
                <c:pt idx="164">
                  <c:v>La Vache Qu</c:v>
                </c:pt>
                <c:pt idx="165">
                  <c:v>Carre Frais</c:v>
                </c:pt>
                <c:pt idx="166">
                  <c:v>Soignon</c:v>
                </c:pt>
                <c:pt idx="167">
                  <c:v>Paysan Bret</c:v>
                </c:pt>
                <c:pt idx="168">
                  <c:v>Lou Perac</c:v>
                </c:pt>
                <c:pt idx="169">
                  <c:v>Tartare</c:v>
                </c:pt>
                <c:pt idx="170">
                  <c:v>Boursin</c:v>
                </c:pt>
                <c:pt idx="171">
                  <c:v>Pave D'Affi</c:v>
                </c:pt>
                <c:pt idx="172">
                  <c:v>Chavroux</c:v>
                </c:pt>
                <c:pt idx="173">
                  <c:v>Lactalis: A</c:v>
                </c:pt>
                <c:pt idx="174">
                  <c:v>Galbani</c:v>
                </c:pt>
                <c:pt idx="175">
                  <c:v>Private Lab</c:v>
                </c:pt>
                <c:pt idx="176">
                  <c:v>All Others</c:v>
                </c:pt>
                <c:pt idx="177">
                  <c:v>All Others</c:v>
                </c:pt>
                <c:pt idx="178">
                  <c:v>Private Lab</c:v>
                </c:pt>
                <c:pt idx="179">
                  <c:v>Caprice Des</c:v>
                </c:pt>
                <c:pt idx="180">
                  <c:v>All Others</c:v>
                </c:pt>
                <c:pt idx="181">
                  <c:v>Boursin</c:v>
                </c:pt>
                <c:pt idx="182">
                  <c:v>Private Lab</c:v>
                </c:pt>
                <c:pt idx="183">
                  <c:v>Private Lab</c:v>
                </c:pt>
                <c:pt idx="184">
                  <c:v>Paysan Bret</c:v>
                </c:pt>
                <c:pt idx="185">
                  <c:v>All Others</c:v>
                </c:pt>
                <c:pt idx="186">
                  <c:v>Boursin</c:v>
                </c:pt>
                <c:pt idx="187">
                  <c:v>Casa Azzurr</c:v>
                </c:pt>
                <c:pt idx="188">
                  <c:v>Mini Babybe</c:v>
                </c:pt>
                <c:pt idx="189">
                  <c:v>Private Lab</c:v>
                </c:pt>
                <c:pt idx="190">
                  <c:v>Private Lab</c:v>
                </c:pt>
                <c:pt idx="191">
                  <c:v>Tartare</c:v>
                </c:pt>
                <c:pt idx="192">
                  <c:v>Les Mousque</c:v>
                </c:pt>
                <c:pt idx="193">
                  <c:v>Mini Babybe</c:v>
                </c:pt>
                <c:pt idx="194">
                  <c:v>Salakis</c:v>
                </c:pt>
                <c:pt idx="195">
                  <c:v>Etorki</c:v>
                </c:pt>
                <c:pt idx="196">
                  <c:v>Galbani</c:v>
                </c:pt>
                <c:pt idx="197">
                  <c:v>Private Lab</c:v>
                </c:pt>
                <c:pt idx="198">
                  <c:v>Lou Perac</c:v>
                </c:pt>
                <c:pt idx="199">
                  <c:v>Savencia: A</c:v>
                </c:pt>
                <c:pt idx="200">
                  <c:v>Saint Agur</c:v>
                </c:pt>
                <c:pt idx="201">
                  <c:v>Private Lab</c:v>
                </c:pt>
                <c:pt idx="202">
                  <c:v>Salakis</c:v>
                </c:pt>
                <c:pt idx="203">
                  <c:v>Kiri</c:v>
                </c:pt>
                <c:pt idx="204">
                  <c:v>Caprice Des</c:v>
                </c:pt>
                <c:pt idx="205">
                  <c:v>Private Lab</c:v>
                </c:pt>
                <c:pt idx="206">
                  <c:v>Casa Azzurr</c:v>
                </c:pt>
                <c:pt idx="207">
                  <c:v>Caprice Des</c:v>
                </c:pt>
                <c:pt idx="208">
                  <c:v>Boursin</c:v>
                </c:pt>
                <c:pt idx="209">
                  <c:v>La Vache Qu</c:v>
                </c:pt>
                <c:pt idx="210">
                  <c:v>Tartare</c:v>
                </c:pt>
                <c:pt idx="211">
                  <c:v>St Moret</c:v>
                </c:pt>
                <c:pt idx="212">
                  <c:v>Paysan Bret</c:v>
                </c:pt>
                <c:pt idx="213">
                  <c:v>Tartare</c:v>
                </c:pt>
                <c:pt idx="214">
                  <c:v>Le Rustique</c:v>
                </c:pt>
                <c:pt idx="215">
                  <c:v>Private Lab</c:v>
                </c:pt>
                <c:pt idx="216">
                  <c:v>Soignon</c:v>
                </c:pt>
                <c:pt idx="217">
                  <c:v>St Moret</c:v>
                </c:pt>
                <c:pt idx="218">
                  <c:v>Istara</c:v>
                </c:pt>
                <c:pt idx="219">
                  <c:v>Private Lab</c:v>
                </c:pt>
                <c:pt idx="220">
                  <c:v>All Others</c:v>
                </c:pt>
                <c:pt idx="221">
                  <c:v>Kiri</c:v>
                </c:pt>
                <c:pt idx="222">
                  <c:v>Private Lab</c:v>
                </c:pt>
                <c:pt idx="223">
                  <c:v>All Others</c:v>
                </c:pt>
                <c:pt idx="224">
                  <c:v>Soignon</c:v>
                </c:pt>
                <c:pt idx="225">
                  <c:v>Soignon</c:v>
                </c:pt>
                <c:pt idx="226">
                  <c:v>All Others</c:v>
                </c:pt>
                <c:pt idx="227">
                  <c:v>Kiri</c:v>
                </c:pt>
                <c:pt idx="228">
                  <c:v>All Others</c:v>
                </c:pt>
                <c:pt idx="229">
                  <c:v>Galbani</c:v>
                </c:pt>
                <c:pt idx="230">
                  <c:v>Paysan Bret</c:v>
                </c:pt>
                <c:pt idx="231">
                  <c:v>Mini Babybe</c:v>
                </c:pt>
                <c:pt idx="232">
                  <c:v>All Others</c:v>
                </c:pt>
                <c:pt idx="233">
                  <c:v>Soignon</c:v>
                </c:pt>
                <c:pt idx="234">
                  <c:v>Private Lab</c:v>
                </c:pt>
                <c:pt idx="235">
                  <c:v>All Others</c:v>
                </c:pt>
                <c:pt idx="236">
                  <c:v>Private Lab</c:v>
                </c:pt>
                <c:pt idx="237">
                  <c:v>All Others</c:v>
                </c:pt>
                <c:pt idx="238">
                  <c:v>All Others</c:v>
                </c:pt>
                <c:pt idx="239">
                  <c:v>Casa Azzurr</c:v>
                </c:pt>
                <c:pt idx="240">
                  <c:v>Islos</c:v>
                </c:pt>
                <c:pt idx="241">
                  <c:v>Corsica</c:v>
                </c:pt>
                <c:pt idx="242">
                  <c:v>Les Mousque</c:v>
                </c:pt>
                <c:pt idx="243">
                  <c:v>Soignon</c:v>
                </c:pt>
                <c:pt idx="244">
                  <c:v>Boursin</c:v>
                </c:pt>
                <c:pt idx="245">
                  <c:v>Mini Babybe</c:v>
                </c:pt>
                <c:pt idx="246">
                  <c:v>Casa Azzurr</c:v>
                </c:pt>
                <c:pt idx="247">
                  <c:v>All Others</c:v>
                </c:pt>
                <c:pt idx="248">
                  <c:v>Kiri</c:v>
                </c:pt>
                <c:pt idx="249">
                  <c:v>Kiri</c:v>
                </c:pt>
                <c:pt idx="250">
                  <c:v>Milleret: A</c:v>
                </c:pt>
                <c:pt idx="251">
                  <c:v>Paysan Bret</c:v>
                </c:pt>
                <c:pt idx="252">
                  <c:v>All Others</c:v>
                </c:pt>
                <c:pt idx="253">
                  <c:v>All Others</c:v>
                </c:pt>
                <c:pt idx="254">
                  <c:v>P'Tit Louis</c:v>
                </c:pt>
                <c:pt idx="255">
                  <c:v>Etoile Du Q</c:v>
                </c:pt>
                <c:pt idx="256">
                  <c:v>Galbani</c:v>
                </c:pt>
                <c:pt idx="257">
                  <c:v>Salakis</c:v>
                </c:pt>
                <c:pt idx="258">
                  <c:v>Mini Babybe</c:v>
                </c:pt>
                <c:pt idx="259">
                  <c:v>All Others</c:v>
                </c:pt>
                <c:pt idx="260">
                  <c:v>All Others</c:v>
                </c:pt>
                <c:pt idx="261">
                  <c:v>Lactalis: A</c:v>
                </c:pt>
                <c:pt idx="262">
                  <c:v>Triballat N</c:v>
                </c:pt>
                <c:pt idx="263">
                  <c:v>Le Brebiou</c:v>
                </c:pt>
                <c:pt idx="264">
                  <c:v>Galbani</c:v>
                </c:pt>
                <c:pt idx="265">
                  <c:v>Caprice Des</c:v>
                </c:pt>
                <c:pt idx="266">
                  <c:v>All Others</c:v>
                </c:pt>
                <c:pt idx="267">
                  <c:v>Boursin</c:v>
                </c:pt>
                <c:pt idx="268">
                  <c:v>All Others</c:v>
                </c:pt>
                <c:pt idx="269">
                  <c:v>All Others</c:v>
                </c:pt>
                <c:pt idx="270">
                  <c:v>Etorki</c:v>
                </c:pt>
                <c:pt idx="271">
                  <c:v>Galbani</c:v>
                </c:pt>
                <c:pt idx="272">
                  <c:v>Saint Agur</c:v>
                </c:pt>
                <c:pt idx="273">
                  <c:v>Paysan Bret</c:v>
                </c:pt>
                <c:pt idx="274">
                  <c:v>Islos</c:v>
                </c:pt>
                <c:pt idx="275">
                  <c:v>All Others</c:v>
                </c:pt>
                <c:pt idx="276">
                  <c:v>Salakis</c:v>
                </c:pt>
                <c:pt idx="277">
                  <c:v>Carre Frais</c:v>
                </c:pt>
                <c:pt idx="278">
                  <c:v>Milleret: A</c:v>
                </c:pt>
                <c:pt idx="279">
                  <c:v>Istara</c:v>
                </c:pt>
                <c:pt idx="280">
                  <c:v>All Others</c:v>
                </c:pt>
                <c:pt idx="281">
                  <c:v>Galbani</c:v>
                </c:pt>
                <c:pt idx="282">
                  <c:v>Private Lab</c:v>
                </c:pt>
                <c:pt idx="283">
                  <c:v>Triballat N</c:v>
                </c:pt>
                <c:pt idx="284">
                  <c:v>All Others</c:v>
                </c:pt>
                <c:pt idx="285">
                  <c:v>All Others</c:v>
                </c:pt>
                <c:pt idx="286">
                  <c:v>Chavroux</c:v>
                </c:pt>
                <c:pt idx="287">
                  <c:v>Triballat N</c:v>
                </c:pt>
                <c:pt idx="288">
                  <c:v>All Others</c:v>
                </c:pt>
                <c:pt idx="289">
                  <c:v>Boursin</c:v>
                </c:pt>
                <c:pt idx="290">
                  <c:v>All Others</c:v>
                </c:pt>
                <c:pt idx="291">
                  <c:v>Lactalis: A</c:v>
                </c:pt>
                <c:pt idx="292">
                  <c:v>All Others</c:v>
                </c:pt>
                <c:pt idx="293">
                  <c:v>All Others</c:v>
                </c:pt>
                <c:pt idx="294">
                  <c:v>All Others</c:v>
                </c:pt>
                <c:pt idx="295">
                  <c:v>Lactalis: A</c:v>
                </c:pt>
                <c:pt idx="296">
                  <c:v>All Others</c:v>
                </c:pt>
                <c:pt idx="297">
                  <c:v>All Others</c:v>
                </c:pt>
                <c:pt idx="298">
                  <c:v>Boursin</c:v>
                </c:pt>
                <c:pt idx="299">
                  <c:v>All Others</c:v>
                </c:pt>
                <c:pt idx="300">
                  <c:v>All Others</c:v>
                </c:pt>
                <c:pt idx="301">
                  <c:v>All Others</c:v>
                </c:pt>
                <c:pt idx="302">
                  <c:v>All Others</c:v>
                </c:pt>
                <c:pt idx="303">
                  <c:v>Triballat N</c:v>
                </c:pt>
                <c:pt idx="304">
                  <c:v>Tartare</c:v>
                </c:pt>
                <c:pt idx="305">
                  <c:v>All Others</c:v>
                </c:pt>
                <c:pt idx="306">
                  <c:v>Boursin</c:v>
                </c:pt>
                <c:pt idx="307">
                  <c:v>Les Mousque</c:v>
                </c:pt>
                <c:pt idx="308">
                  <c:v>All Others</c:v>
                </c:pt>
                <c:pt idx="309">
                  <c:v>Mini Babybe</c:v>
                </c:pt>
                <c:pt idx="310">
                  <c:v>All Others</c:v>
                </c:pt>
                <c:pt idx="311">
                  <c:v>All Others</c:v>
                </c:pt>
                <c:pt idx="312">
                  <c:v>All Others</c:v>
                </c:pt>
                <c:pt idx="313">
                  <c:v>All Others</c:v>
                </c:pt>
                <c:pt idx="314">
                  <c:v>Chavroux</c:v>
                </c:pt>
                <c:pt idx="315">
                  <c:v>All Others</c:v>
                </c:pt>
                <c:pt idx="316">
                  <c:v>Soignon</c:v>
                </c:pt>
                <c:pt idx="317">
                  <c:v>All Others</c:v>
                </c:pt>
                <c:pt idx="318">
                  <c:v>All Others</c:v>
                </c:pt>
                <c:pt idx="319">
                  <c:v>All Others</c:v>
                </c:pt>
                <c:pt idx="320">
                  <c:v>All Others</c:v>
                </c:pt>
                <c:pt idx="321">
                  <c:v>All Others</c:v>
                </c:pt>
                <c:pt idx="322">
                  <c:v>All Others</c:v>
                </c:pt>
                <c:pt idx="323">
                  <c:v>All Others</c:v>
                </c:pt>
                <c:pt idx="324">
                  <c:v>All Others</c:v>
                </c:pt>
                <c:pt idx="325">
                  <c:v>All Others</c:v>
                </c:pt>
                <c:pt idx="326">
                  <c:v>All Others</c:v>
                </c:pt>
                <c:pt idx="327">
                  <c:v>Boursin</c:v>
                </c:pt>
                <c:pt idx="328">
                  <c:v>All Others</c:v>
                </c:pt>
                <c:pt idx="329">
                  <c:v>All Others</c:v>
                </c:pt>
                <c:pt idx="330">
                  <c:v>Chavroux</c:v>
                </c:pt>
                <c:pt idx="331">
                  <c:v>Salakis</c:v>
                </c:pt>
                <c:pt idx="332">
                  <c:v>All Others</c:v>
                </c:pt>
                <c:pt idx="333">
                  <c:v>All Others</c:v>
                </c:pt>
                <c:pt idx="334">
                  <c:v>Boursin</c:v>
                </c:pt>
                <c:pt idx="335">
                  <c:v>All Others</c:v>
                </c:pt>
                <c:pt idx="336">
                  <c:v>All Others</c:v>
                </c:pt>
                <c:pt idx="337">
                  <c:v>All Others</c:v>
                </c:pt>
                <c:pt idx="338">
                  <c:v>All Others</c:v>
                </c:pt>
                <c:pt idx="339">
                  <c:v>All Others</c:v>
                </c:pt>
                <c:pt idx="340">
                  <c:v>All Others</c:v>
                </c:pt>
                <c:pt idx="341">
                  <c:v>Etoile Du V</c:v>
                </c:pt>
                <c:pt idx="342">
                  <c:v>President</c:v>
                </c:pt>
                <c:pt idx="343">
                  <c:v>All Others</c:v>
                </c:pt>
                <c:pt idx="344">
                  <c:v>All Others</c:v>
                </c:pt>
                <c:pt idx="345">
                  <c:v>All Others</c:v>
                </c:pt>
                <c:pt idx="346">
                  <c:v>All Others</c:v>
                </c:pt>
                <c:pt idx="347">
                  <c:v>All Others</c:v>
                </c:pt>
                <c:pt idx="348">
                  <c:v>All Others</c:v>
                </c:pt>
                <c:pt idx="349">
                  <c:v>All Others</c:v>
                </c:pt>
                <c:pt idx="350">
                  <c:v>All Others</c:v>
                </c:pt>
                <c:pt idx="351">
                  <c:v>Chavroux</c:v>
                </c:pt>
                <c:pt idx="352">
                  <c:v>All Others</c:v>
                </c:pt>
                <c:pt idx="353">
                  <c:v>All Others</c:v>
                </c:pt>
                <c:pt idx="354">
                  <c:v>All Others</c:v>
                </c:pt>
                <c:pt idx="355">
                  <c:v>Salakis</c:v>
                </c:pt>
                <c:pt idx="356">
                  <c:v>All Others</c:v>
                </c:pt>
                <c:pt idx="357">
                  <c:v>All Others</c:v>
                </c:pt>
                <c:pt idx="358">
                  <c:v>All Others</c:v>
                </c:pt>
                <c:pt idx="359">
                  <c:v>All Others</c:v>
                </c:pt>
                <c:pt idx="360">
                  <c:v>Entremont</c:v>
                </c:pt>
                <c:pt idx="361">
                  <c:v>Petit Billy</c:v>
                </c:pt>
                <c:pt idx="362">
                  <c:v>All Others</c:v>
                </c:pt>
                <c:pt idx="363">
                  <c:v>La Vache Qu</c:v>
                </c:pt>
                <c:pt idx="364">
                  <c:v>Private Lab</c:v>
                </c:pt>
                <c:pt idx="365">
                  <c:v>Lactalis: A</c:v>
                </c:pt>
                <c:pt idx="366">
                  <c:v>Chavroux</c:v>
                </c:pt>
                <c:pt idx="367">
                  <c:v>All Others</c:v>
                </c:pt>
                <c:pt idx="368">
                  <c:v>Entremont</c:v>
                </c:pt>
                <c:pt idx="369">
                  <c:v>All Others</c:v>
                </c:pt>
                <c:pt idx="370">
                  <c:v>All Others</c:v>
                </c:pt>
                <c:pt idx="371">
                  <c:v>All Others</c:v>
                </c:pt>
                <c:pt idx="372">
                  <c:v>All Others</c:v>
                </c:pt>
                <c:pt idx="373">
                  <c:v>Private Lab</c:v>
                </c:pt>
                <c:pt idx="374">
                  <c:v>All Others</c:v>
                </c:pt>
                <c:pt idx="375">
                  <c:v>All Others</c:v>
                </c:pt>
                <c:pt idx="376">
                  <c:v>Mini Babybe</c:v>
                </c:pt>
                <c:pt idx="377">
                  <c:v>All Others</c:v>
                </c:pt>
                <c:pt idx="378">
                  <c:v>All Others</c:v>
                </c:pt>
                <c:pt idx="379">
                  <c:v>All Others</c:v>
                </c:pt>
                <c:pt idx="380">
                  <c:v>All Others</c:v>
                </c:pt>
                <c:pt idx="381">
                  <c:v>All Others</c:v>
                </c:pt>
                <c:pt idx="382">
                  <c:v>All Others</c:v>
                </c:pt>
                <c:pt idx="383">
                  <c:v>All Others</c:v>
                </c:pt>
                <c:pt idx="384">
                  <c:v>All Others</c:v>
                </c:pt>
                <c:pt idx="385">
                  <c:v>All Others</c:v>
                </c:pt>
                <c:pt idx="386">
                  <c:v>All Others</c:v>
                </c:pt>
                <c:pt idx="387">
                  <c:v>All Others</c:v>
                </c:pt>
                <c:pt idx="388">
                  <c:v>All Others</c:v>
                </c:pt>
                <c:pt idx="389">
                  <c:v>All Others</c:v>
                </c:pt>
                <c:pt idx="390">
                  <c:v>All Others</c:v>
                </c:pt>
                <c:pt idx="391">
                  <c:v>Corsica</c:v>
                </c:pt>
                <c:pt idx="392">
                  <c:v>All Others</c:v>
                </c:pt>
                <c:pt idx="393">
                  <c:v>All Others</c:v>
                </c:pt>
                <c:pt idx="394">
                  <c:v>All Others</c:v>
                </c:pt>
                <c:pt idx="395">
                  <c:v>All Others</c:v>
                </c:pt>
                <c:pt idx="396">
                  <c:v>All Others</c:v>
                </c:pt>
                <c:pt idx="397">
                  <c:v>All Others</c:v>
                </c:pt>
                <c:pt idx="398">
                  <c:v>All Others</c:v>
                </c:pt>
                <c:pt idx="399">
                  <c:v>All Others</c:v>
                </c:pt>
                <c:pt idx="400">
                  <c:v>All Others</c:v>
                </c:pt>
                <c:pt idx="401">
                  <c:v>All Others</c:v>
                </c:pt>
                <c:pt idx="402">
                  <c:v>Mini Babybe</c:v>
                </c:pt>
                <c:pt idx="403">
                  <c:v>All Others</c:v>
                </c:pt>
                <c:pt idx="404">
                  <c:v>All Others</c:v>
                </c:pt>
                <c:pt idx="405">
                  <c:v>All Others</c:v>
                </c:pt>
                <c:pt idx="406">
                  <c:v>All Others</c:v>
                </c:pt>
                <c:pt idx="407">
                  <c:v>All Others</c:v>
                </c:pt>
                <c:pt idx="408">
                  <c:v>Entremont</c:v>
                </c:pt>
                <c:pt idx="409">
                  <c:v>Kiri</c:v>
                </c:pt>
                <c:pt idx="410">
                  <c:v>All Others</c:v>
                </c:pt>
                <c:pt idx="411">
                  <c:v>All Others</c:v>
                </c:pt>
                <c:pt idx="412">
                  <c:v>All Others</c:v>
                </c:pt>
                <c:pt idx="413">
                  <c:v>All Others</c:v>
                </c:pt>
                <c:pt idx="414">
                  <c:v>All Others</c:v>
                </c:pt>
                <c:pt idx="415">
                  <c:v>Savencia: A</c:v>
                </c:pt>
                <c:pt idx="416">
                  <c:v>All Others</c:v>
                </c:pt>
                <c:pt idx="417">
                  <c:v>All Others</c:v>
                </c:pt>
                <c:pt idx="418">
                  <c:v>All Others</c:v>
                </c:pt>
                <c:pt idx="419">
                  <c:v>All Others</c:v>
                </c:pt>
                <c:pt idx="420">
                  <c:v>All Others</c:v>
                </c:pt>
                <c:pt idx="421">
                  <c:v>Casa Azzurr</c:v>
                </c:pt>
                <c:pt idx="422">
                  <c:v>All Others</c:v>
                </c:pt>
                <c:pt idx="423">
                  <c:v>All Others</c:v>
                </c:pt>
                <c:pt idx="424">
                  <c:v>All Others</c:v>
                </c:pt>
                <c:pt idx="425">
                  <c:v>All Others</c:v>
                </c:pt>
                <c:pt idx="426">
                  <c:v>All Others</c:v>
                </c:pt>
                <c:pt idx="427">
                  <c:v>Savencia: A</c:v>
                </c:pt>
                <c:pt idx="428">
                  <c:v>All Others</c:v>
                </c:pt>
                <c:pt idx="429">
                  <c:v>All Others</c:v>
                </c:pt>
                <c:pt idx="430">
                  <c:v>All Others</c:v>
                </c:pt>
                <c:pt idx="431">
                  <c:v>All Others</c:v>
                </c:pt>
                <c:pt idx="432">
                  <c:v>All Others</c:v>
                </c:pt>
                <c:pt idx="433">
                  <c:v>All Others</c:v>
                </c:pt>
                <c:pt idx="434">
                  <c:v>All Others</c:v>
                </c:pt>
                <c:pt idx="435">
                  <c:v>All Others</c:v>
                </c:pt>
                <c:pt idx="436">
                  <c:v>All Others</c:v>
                </c:pt>
                <c:pt idx="437">
                  <c:v>All Others</c:v>
                </c:pt>
                <c:pt idx="438">
                  <c:v>All Others</c:v>
                </c:pt>
                <c:pt idx="439">
                  <c:v>All Others</c:v>
                </c:pt>
                <c:pt idx="440">
                  <c:v>All Others</c:v>
                </c:pt>
                <c:pt idx="441">
                  <c:v>All Others</c:v>
                </c:pt>
                <c:pt idx="442">
                  <c:v>All Others</c:v>
                </c:pt>
                <c:pt idx="443">
                  <c:v>All Others</c:v>
                </c:pt>
                <c:pt idx="444">
                  <c:v>All Others</c:v>
                </c:pt>
                <c:pt idx="445">
                  <c:v>All Others</c:v>
                </c:pt>
                <c:pt idx="446">
                  <c:v>All Others</c:v>
                </c:pt>
                <c:pt idx="447">
                  <c:v>All Others</c:v>
                </c:pt>
                <c:pt idx="448">
                  <c:v>All Others</c:v>
                </c:pt>
                <c:pt idx="449">
                  <c:v>All Others</c:v>
                </c:pt>
                <c:pt idx="450">
                  <c:v>Paysan Bret</c:v>
                </c:pt>
                <c:pt idx="451">
                  <c:v>All Others</c:v>
                </c:pt>
                <c:pt idx="452">
                  <c:v>All Others</c:v>
                </c:pt>
                <c:pt idx="453">
                  <c:v>All Others</c:v>
                </c:pt>
                <c:pt idx="454">
                  <c:v>All Others</c:v>
                </c:pt>
                <c:pt idx="455">
                  <c:v>All Others</c:v>
                </c:pt>
                <c:pt idx="456">
                  <c:v>La Table M</c:v>
                </c:pt>
                <c:pt idx="457">
                  <c:v>All Others</c:v>
                </c:pt>
                <c:pt idx="458">
                  <c:v>All Others</c:v>
                </c:pt>
                <c:pt idx="459">
                  <c:v>All Others</c:v>
                </c:pt>
                <c:pt idx="460">
                  <c:v>All Others</c:v>
                </c:pt>
                <c:pt idx="461">
                  <c:v>All Others</c:v>
                </c:pt>
                <c:pt idx="462">
                  <c:v>All Others</c:v>
                </c:pt>
                <c:pt idx="463">
                  <c:v>All Others</c:v>
                </c:pt>
                <c:pt idx="464">
                  <c:v>All Others</c:v>
                </c:pt>
                <c:pt idx="465">
                  <c:v>All Others</c:v>
                </c:pt>
                <c:pt idx="466">
                  <c:v>All Others</c:v>
                </c:pt>
                <c:pt idx="467">
                  <c:v>All Others</c:v>
                </c:pt>
                <c:pt idx="468">
                  <c:v>All Others</c:v>
                </c:pt>
                <c:pt idx="469">
                  <c:v>All Others</c:v>
                </c:pt>
                <c:pt idx="470">
                  <c:v>All Others</c:v>
                </c:pt>
                <c:pt idx="471">
                  <c:v>All Others</c:v>
                </c:pt>
                <c:pt idx="472">
                  <c:v>All Others</c:v>
                </c:pt>
                <c:pt idx="473">
                  <c:v>All Others</c:v>
                </c:pt>
                <c:pt idx="474">
                  <c:v>All Others</c:v>
                </c:pt>
                <c:pt idx="475">
                  <c:v>Etoile Du V</c:v>
                </c:pt>
                <c:pt idx="476">
                  <c:v>All Others</c:v>
                </c:pt>
                <c:pt idx="477">
                  <c:v>All Others</c:v>
                </c:pt>
                <c:pt idx="478">
                  <c:v>All Others</c:v>
                </c:pt>
                <c:pt idx="479">
                  <c:v>All Others</c:v>
                </c:pt>
                <c:pt idx="480">
                  <c:v>All Others</c:v>
                </c:pt>
                <c:pt idx="481">
                  <c:v>All Others</c:v>
                </c:pt>
                <c:pt idx="482">
                  <c:v>All Others</c:v>
                </c:pt>
                <c:pt idx="483">
                  <c:v>All Others</c:v>
                </c:pt>
                <c:pt idx="484">
                  <c:v>All Others</c:v>
                </c:pt>
                <c:pt idx="485">
                  <c:v>All Others</c:v>
                </c:pt>
                <c:pt idx="486">
                  <c:v>All Others</c:v>
                </c:pt>
                <c:pt idx="487">
                  <c:v>All Others</c:v>
                </c:pt>
                <c:pt idx="488">
                  <c:v>All Others</c:v>
                </c:pt>
                <c:pt idx="489">
                  <c:v>Lactalis: A</c:v>
                </c:pt>
                <c:pt idx="490">
                  <c:v>All Others</c:v>
                </c:pt>
                <c:pt idx="491">
                  <c:v>All Others</c:v>
                </c:pt>
                <c:pt idx="492">
                  <c:v>All Others</c:v>
                </c:pt>
                <c:pt idx="493">
                  <c:v>All Others</c:v>
                </c:pt>
                <c:pt idx="494">
                  <c:v>All Others</c:v>
                </c:pt>
                <c:pt idx="495">
                  <c:v>All Others</c:v>
                </c:pt>
                <c:pt idx="496">
                  <c:v>Savencia: A</c:v>
                </c:pt>
                <c:pt idx="497">
                  <c:v>All Others</c:v>
                </c:pt>
                <c:pt idx="498">
                  <c:v>All Others</c:v>
                </c:pt>
                <c:pt idx="499">
                  <c:v>All Others</c:v>
                </c:pt>
                <c:pt idx="500">
                  <c:v>All Others</c:v>
                </c:pt>
                <c:pt idx="501">
                  <c:v>All Others</c:v>
                </c:pt>
                <c:pt idx="502">
                  <c:v>All Others</c:v>
                </c:pt>
                <c:pt idx="503">
                  <c:v>All Others</c:v>
                </c:pt>
                <c:pt idx="504">
                  <c:v>All Others</c:v>
                </c:pt>
                <c:pt idx="505">
                  <c:v>All Others</c:v>
                </c:pt>
                <c:pt idx="506">
                  <c:v>All Others</c:v>
                </c:pt>
                <c:pt idx="507">
                  <c:v>Other Suppl</c:v>
                </c:pt>
                <c:pt idx="508">
                  <c:v>All Others</c:v>
                </c:pt>
                <c:pt idx="509">
                  <c:v>All Others</c:v>
                </c:pt>
                <c:pt idx="510">
                  <c:v>All Others</c:v>
                </c:pt>
                <c:pt idx="511">
                  <c:v>All Others</c:v>
                </c:pt>
                <c:pt idx="512">
                  <c:v>All Others</c:v>
                </c:pt>
                <c:pt idx="513">
                  <c:v>All Others</c:v>
                </c:pt>
                <c:pt idx="514">
                  <c:v>All Others</c:v>
                </c:pt>
                <c:pt idx="515">
                  <c:v>All Others</c:v>
                </c:pt>
                <c:pt idx="516">
                  <c:v>All Others</c:v>
                </c:pt>
                <c:pt idx="517">
                  <c:v>All Others</c:v>
                </c:pt>
                <c:pt idx="518">
                  <c:v>All Others</c:v>
                </c:pt>
                <c:pt idx="519">
                  <c:v>All Others</c:v>
                </c:pt>
                <c:pt idx="520">
                  <c:v>All Others</c:v>
                </c:pt>
                <c:pt idx="521">
                  <c:v>All Others</c:v>
                </c:pt>
                <c:pt idx="522">
                  <c:v>All Others</c:v>
                </c:pt>
                <c:pt idx="523">
                  <c:v>All Others</c:v>
                </c:pt>
                <c:pt idx="524">
                  <c:v>All Others</c:v>
                </c:pt>
                <c:pt idx="525">
                  <c:v>Caprice Des</c:v>
                </c:pt>
                <c:pt idx="526">
                  <c:v>All Others</c:v>
                </c:pt>
                <c:pt idx="527">
                  <c:v>All Others</c:v>
                </c:pt>
                <c:pt idx="528">
                  <c:v>All Others</c:v>
                </c:pt>
                <c:pt idx="529">
                  <c:v>All Others</c:v>
                </c:pt>
                <c:pt idx="530">
                  <c:v>Other Suppl</c:v>
                </c:pt>
                <c:pt idx="531">
                  <c:v>All Others</c:v>
                </c:pt>
                <c:pt idx="532">
                  <c:v>All Others</c:v>
                </c:pt>
                <c:pt idx="533">
                  <c:v>All Others</c:v>
                </c:pt>
                <c:pt idx="534">
                  <c:v>All Others</c:v>
                </c:pt>
                <c:pt idx="535">
                  <c:v>All Others</c:v>
                </c:pt>
                <c:pt idx="536">
                  <c:v>All Others</c:v>
                </c:pt>
                <c:pt idx="537">
                  <c:v>All Others</c:v>
                </c:pt>
                <c:pt idx="538">
                  <c:v>All Others</c:v>
                </c:pt>
                <c:pt idx="539">
                  <c:v>All Others</c:v>
                </c:pt>
                <c:pt idx="540">
                  <c:v>All Others</c:v>
                </c:pt>
                <c:pt idx="541">
                  <c:v>All Others</c:v>
                </c:pt>
                <c:pt idx="542">
                  <c:v>Lactalis: A</c:v>
                </c:pt>
                <c:pt idx="543">
                  <c:v>All Others</c:v>
                </c:pt>
                <c:pt idx="544">
                  <c:v>All Others</c:v>
                </c:pt>
                <c:pt idx="545">
                  <c:v>All Others</c:v>
                </c:pt>
                <c:pt idx="546">
                  <c:v>All Others</c:v>
                </c:pt>
                <c:pt idx="547">
                  <c:v>All Others</c:v>
                </c:pt>
                <c:pt idx="548">
                  <c:v>All Others</c:v>
                </c:pt>
                <c:pt idx="549">
                  <c:v>La Vache Qu</c:v>
                </c:pt>
                <c:pt idx="550">
                  <c:v>All Others</c:v>
                </c:pt>
                <c:pt idx="551">
                  <c:v>Savencia: A</c:v>
                </c:pt>
                <c:pt idx="552">
                  <c:v>All Others</c:v>
                </c:pt>
                <c:pt idx="553">
                  <c:v>All Others</c:v>
                </c:pt>
                <c:pt idx="554">
                  <c:v>All Others</c:v>
                </c:pt>
                <c:pt idx="555">
                  <c:v>Lactalis: A</c:v>
                </c:pt>
                <c:pt idx="556">
                  <c:v>All Others</c:v>
                </c:pt>
                <c:pt idx="557">
                  <c:v>All Others</c:v>
                </c:pt>
                <c:pt idx="558">
                  <c:v>All Others</c:v>
                </c:pt>
                <c:pt idx="559">
                  <c:v>All Others</c:v>
                </c:pt>
                <c:pt idx="560">
                  <c:v>All Others</c:v>
                </c:pt>
                <c:pt idx="561">
                  <c:v>All Others</c:v>
                </c:pt>
                <c:pt idx="562">
                  <c:v>All Others</c:v>
                </c:pt>
                <c:pt idx="563">
                  <c:v>All Others</c:v>
                </c:pt>
                <c:pt idx="564">
                  <c:v>All Others</c:v>
                </c:pt>
                <c:pt idx="565">
                  <c:v>All Others</c:v>
                </c:pt>
                <c:pt idx="566">
                  <c:v>All Others</c:v>
                </c:pt>
                <c:pt idx="567">
                  <c:v>Private Lab</c:v>
                </c:pt>
                <c:pt idx="568">
                  <c:v>All Others</c:v>
                </c:pt>
                <c:pt idx="569">
                  <c:v>All Others</c:v>
                </c:pt>
                <c:pt idx="570">
                  <c:v>All Others</c:v>
                </c:pt>
                <c:pt idx="571">
                  <c:v>All Others</c:v>
                </c:pt>
                <c:pt idx="572">
                  <c:v>All Others</c:v>
                </c:pt>
                <c:pt idx="573">
                  <c:v>All Others</c:v>
                </c:pt>
                <c:pt idx="574">
                  <c:v>All Others</c:v>
                </c:pt>
                <c:pt idx="575">
                  <c:v>Private Lab</c:v>
                </c:pt>
                <c:pt idx="576">
                  <c:v>All Others</c:v>
                </c:pt>
                <c:pt idx="577">
                  <c:v>All Others</c:v>
                </c:pt>
                <c:pt idx="578">
                  <c:v>All Others</c:v>
                </c:pt>
              </c:strCache>
            </c:strRef>
          </c:cat>
          <c:val>
            <c:numRef>
              <c:f>Sheet1!$C$2:$C$580</c:f>
              <c:numCache>
                <c:formatCode>General</c:formatCode>
                <c:ptCount val="579"/>
                <c:pt idx="0">
                  <c:v>2.6930837709512219E-2</c:v>
                </c:pt>
                <c:pt idx="1">
                  <c:v>4.8612399240720527E-2</c:v>
                </c:pt>
                <c:pt idx="2">
                  <c:v>6.9254914553448232E-2</c:v>
                </c:pt>
                <c:pt idx="3">
                  <c:v>8.8760295606354428E-2</c:v>
                </c:pt>
                <c:pt idx="4">
                  <c:v>0.10694004806488928</c:v>
                </c:pt>
                <c:pt idx="5">
                  <c:v>0.12449792639907697</c:v>
                </c:pt>
                <c:pt idx="6">
                  <c:v>0.14203289941142139</c:v>
                </c:pt>
                <c:pt idx="7">
                  <c:v>0.15889300496470404</c:v>
                </c:pt>
                <c:pt idx="8">
                  <c:v>0.17548660702837887</c:v>
                </c:pt>
                <c:pt idx="9">
                  <c:v>0.19190386703118795</c:v>
                </c:pt>
                <c:pt idx="10">
                  <c:v>0.20781595531455754</c:v>
                </c:pt>
                <c:pt idx="11">
                  <c:v>0.22279664446316527</c:v>
                </c:pt>
                <c:pt idx="12">
                  <c:v>0.23637965423103741</c:v>
                </c:pt>
                <c:pt idx="13">
                  <c:v>0.24984593827357643</c:v>
                </c:pt>
                <c:pt idx="14">
                  <c:v>0.26224427509441717</c:v>
                </c:pt>
                <c:pt idx="15">
                  <c:v>0.27430184453091389</c:v>
                </c:pt>
                <c:pt idx="16">
                  <c:v>0.2860717448596955</c:v>
                </c:pt>
                <c:pt idx="17">
                  <c:v>0.29784147494937158</c:v>
                </c:pt>
                <c:pt idx="18">
                  <c:v>0.30886660717595049</c:v>
                </c:pt>
                <c:pt idx="19">
                  <c:v>0.31951524279440596</c:v>
                </c:pt>
                <c:pt idx="20">
                  <c:v>0.33005826020615386</c:v>
                </c:pt>
                <c:pt idx="21">
                  <c:v>0.33995530183388745</c:v>
                </c:pt>
                <c:pt idx="22">
                  <c:v>0.34941384250640245</c:v>
                </c:pt>
                <c:pt idx="23">
                  <c:v>0.35883907228325368</c:v>
                </c:pt>
                <c:pt idx="24">
                  <c:v>0.36821941490526483</c:v>
                </c:pt>
                <c:pt idx="25">
                  <c:v>0.37748711987251826</c:v>
                </c:pt>
                <c:pt idx="26">
                  <c:v>0.38674443792229152</c:v>
                </c:pt>
                <c:pt idx="27">
                  <c:v>0.39561328199344786</c:v>
                </c:pt>
                <c:pt idx="28">
                  <c:v>0.40446994813845216</c:v>
                </c:pt>
                <c:pt idx="29">
                  <c:v>0.41325568987363975</c:v>
                </c:pt>
                <c:pt idx="30">
                  <c:v>0.42197137005475105</c:v>
                </c:pt>
                <c:pt idx="31">
                  <c:v>0.43059631279261246</c:v>
                </c:pt>
                <c:pt idx="32">
                  <c:v>0.43894041231127795</c:v>
                </c:pt>
                <c:pt idx="33">
                  <c:v>0.44700197787990487</c:v>
                </c:pt>
                <c:pt idx="34">
                  <c:v>0.45476888987340469</c:v>
                </c:pt>
                <c:pt idx="35">
                  <c:v>0.46249575370033819</c:v>
                </c:pt>
                <c:pt idx="36">
                  <c:v>0.46996684609744016</c:v>
                </c:pt>
                <c:pt idx="37">
                  <c:v>0.47737080365385548</c:v>
                </c:pt>
                <c:pt idx="38">
                  <c:v>0.48470049731553455</c:v>
                </c:pt>
                <c:pt idx="39">
                  <c:v>0.49179422558468761</c:v>
                </c:pt>
                <c:pt idx="40">
                  <c:v>0.498865025211572</c:v>
                </c:pt>
                <c:pt idx="41">
                  <c:v>0.50556252079657238</c:v>
                </c:pt>
                <c:pt idx="42">
                  <c:v>0.51219760392703273</c:v>
                </c:pt>
                <c:pt idx="43">
                  <c:v>0.51869537172856051</c:v>
                </c:pt>
                <c:pt idx="44">
                  <c:v>0.52515975400906323</c:v>
                </c:pt>
                <c:pt idx="45">
                  <c:v>0.53147898529769366</c:v>
                </c:pt>
                <c:pt idx="46">
                  <c:v>0.53779602913042013</c:v>
                </c:pt>
                <c:pt idx="47">
                  <c:v>0.543925096342041</c:v>
                </c:pt>
                <c:pt idx="48">
                  <c:v>0.54975112162151274</c:v>
                </c:pt>
                <c:pt idx="49">
                  <c:v>0.55552462697090588</c:v>
                </c:pt>
                <c:pt idx="50">
                  <c:v>0.56122263710710085</c:v>
                </c:pt>
                <c:pt idx="51">
                  <c:v>0.56692062392287035</c:v>
                </c:pt>
                <c:pt idx="52">
                  <c:v>0.57239461805252223</c:v>
                </c:pt>
                <c:pt idx="53">
                  <c:v>0.57768024144587904</c:v>
                </c:pt>
                <c:pt idx="54">
                  <c:v>0.58290157275840737</c:v>
                </c:pt>
                <c:pt idx="55">
                  <c:v>0.58781726890748032</c:v>
                </c:pt>
                <c:pt idx="56">
                  <c:v>0.59270622585677168</c:v>
                </c:pt>
                <c:pt idx="57">
                  <c:v>0.59755398027843865</c:v>
                </c:pt>
                <c:pt idx="58">
                  <c:v>0.60221222592705015</c:v>
                </c:pt>
                <c:pt idx="59">
                  <c:v>0.60681198394871916</c:v>
                </c:pt>
                <c:pt idx="60">
                  <c:v>0.61139998381189353</c:v>
                </c:pt>
                <c:pt idx="61">
                  <c:v>0.61588179178589508</c:v>
                </c:pt>
                <c:pt idx="62">
                  <c:v>0.62035276275820594</c:v>
                </c:pt>
                <c:pt idx="63">
                  <c:v>0.62481694515467834</c:v>
                </c:pt>
                <c:pt idx="64">
                  <c:v>0.62925557302898028</c:v>
                </c:pt>
                <c:pt idx="65">
                  <c:v>0.63369000789079244</c:v>
                </c:pt>
                <c:pt idx="66">
                  <c:v>0.63808431996067694</c:v>
                </c:pt>
                <c:pt idx="67">
                  <c:v>0.64246053304839634</c:v>
                </c:pt>
                <c:pt idx="68">
                  <c:v>0.64681294530993649</c:v>
                </c:pt>
                <c:pt idx="69">
                  <c:v>0.65114672921565464</c:v>
                </c:pt>
                <c:pt idx="70">
                  <c:v>0.65547539428799395</c:v>
                </c:pt>
                <c:pt idx="71">
                  <c:v>0.65979467288910354</c:v>
                </c:pt>
                <c:pt idx="72">
                  <c:v>0.6640934225197197</c:v>
                </c:pt>
                <c:pt idx="73">
                  <c:v>0.66838981678736886</c:v>
                </c:pt>
                <c:pt idx="74">
                  <c:v>0.67259048770481422</c:v>
                </c:pt>
                <c:pt idx="75">
                  <c:v>0.67676754202744116</c:v>
                </c:pt>
                <c:pt idx="76">
                  <c:v>0.68086344360166406</c:v>
                </c:pt>
                <c:pt idx="77">
                  <c:v>0.68494557912876408</c:v>
                </c:pt>
                <c:pt idx="78">
                  <c:v>0.68898467447871692</c:v>
                </c:pt>
                <c:pt idx="79">
                  <c:v>0.69283017531708158</c:v>
                </c:pt>
                <c:pt idx="80">
                  <c:v>0.69653934028438103</c:v>
                </c:pt>
                <c:pt idx="81">
                  <c:v>0.70020543009389524</c:v>
                </c:pt>
                <c:pt idx="82">
                  <c:v>0.70386442116591286</c:v>
                </c:pt>
                <c:pt idx="83">
                  <c:v>0.70751235835628346</c:v>
                </c:pt>
                <c:pt idx="84">
                  <c:v>0.71111458518079684</c:v>
                </c:pt>
                <c:pt idx="85">
                  <c:v>0.71468840539511136</c:v>
                </c:pt>
                <c:pt idx="86">
                  <c:v>0.71817108239077376</c:v>
                </c:pt>
                <c:pt idx="87">
                  <c:v>0.72163945930157125</c:v>
                </c:pt>
                <c:pt idx="88">
                  <c:v>0.72510227662294968</c:v>
                </c:pt>
                <c:pt idx="89">
                  <c:v>0.7285326459044047</c:v>
                </c:pt>
                <c:pt idx="90">
                  <c:v>0.73196071812395636</c:v>
                </c:pt>
                <c:pt idx="91">
                  <c:v>0.7353473476155018</c:v>
                </c:pt>
                <c:pt idx="92">
                  <c:v>0.73871428067574119</c:v>
                </c:pt>
                <c:pt idx="93">
                  <c:v>0.74208018064113457</c:v>
                </c:pt>
                <c:pt idx="94">
                  <c:v>0.74539915524650657</c:v>
                </c:pt>
                <c:pt idx="95">
                  <c:v>0.74863939543159019</c:v>
                </c:pt>
                <c:pt idx="96">
                  <c:v>0.75181669612051938</c:v>
                </c:pt>
                <c:pt idx="97">
                  <c:v>0.7549508633505998</c:v>
                </c:pt>
                <c:pt idx="98">
                  <c:v>0.75805824707209024</c:v>
                </c:pt>
                <c:pt idx="99">
                  <c:v>0.7611444441870906</c:v>
                </c:pt>
                <c:pt idx="100">
                  <c:v>0.76417820532554381</c:v>
                </c:pt>
                <c:pt idx="101">
                  <c:v>0.7672078690652514</c:v>
                </c:pt>
                <c:pt idx="102">
                  <c:v>0.7699927033187326</c:v>
                </c:pt>
                <c:pt idx="103">
                  <c:v>0.77271840396948721</c:v>
                </c:pt>
                <c:pt idx="104">
                  <c:v>0.77542835400491605</c:v>
                </c:pt>
                <c:pt idx="105">
                  <c:v>0.77812920907443284</c:v>
                </c:pt>
                <c:pt idx="106">
                  <c:v>0.7808068953012991</c:v>
                </c:pt>
                <c:pt idx="107">
                  <c:v>0.78348323127553376</c:v>
                </c:pt>
                <c:pt idx="108">
                  <c:v>0.78615581266127654</c:v>
                </c:pt>
                <c:pt idx="109">
                  <c:v>0.788769356058037</c:v>
                </c:pt>
                <c:pt idx="110">
                  <c:v>0.79138217185752446</c:v>
                </c:pt>
                <c:pt idx="111">
                  <c:v>0.7939661309626026</c:v>
                </c:pt>
                <c:pt idx="112">
                  <c:v>0.79653310346980799</c:v>
                </c:pt>
                <c:pt idx="113">
                  <c:v>0.79906440272225499</c:v>
                </c:pt>
                <c:pt idx="114">
                  <c:v>0.80156454821838918</c:v>
                </c:pt>
                <c:pt idx="115">
                  <c:v>0.80404976397817218</c:v>
                </c:pt>
                <c:pt idx="116">
                  <c:v>0.80648058018158808</c:v>
                </c:pt>
                <c:pt idx="117">
                  <c:v>0.80886528257578705</c:v>
                </c:pt>
                <c:pt idx="118">
                  <c:v>0.81123235006428662</c:v>
                </c:pt>
                <c:pt idx="119">
                  <c:v>0.81357874166361266</c:v>
                </c:pt>
                <c:pt idx="120">
                  <c:v>0.81588857149997207</c:v>
                </c:pt>
                <c:pt idx="121">
                  <c:v>0.81817508324295829</c:v>
                </c:pt>
                <c:pt idx="122">
                  <c:v>0.82044655097950892</c:v>
                </c:pt>
                <c:pt idx="123">
                  <c:v>0.82269193482023206</c:v>
                </c:pt>
                <c:pt idx="124">
                  <c:v>0.82493663070840539</c:v>
                </c:pt>
                <c:pt idx="125">
                  <c:v>0.82716115209655161</c:v>
                </c:pt>
                <c:pt idx="126">
                  <c:v>0.82936148087537165</c:v>
                </c:pt>
                <c:pt idx="127">
                  <c:v>0.83152041589907888</c:v>
                </c:pt>
                <c:pt idx="128">
                  <c:v>0.83367483608842563</c:v>
                </c:pt>
                <c:pt idx="129">
                  <c:v>0.83578607384603021</c:v>
                </c:pt>
                <c:pt idx="130">
                  <c:v>0.83788958088260945</c:v>
                </c:pt>
                <c:pt idx="131">
                  <c:v>0.8399578904011088</c:v>
                </c:pt>
                <c:pt idx="132">
                  <c:v>0.84200021163752492</c:v>
                </c:pt>
                <c:pt idx="133">
                  <c:v>0.84404037573459012</c:v>
                </c:pt>
                <c:pt idx="134">
                  <c:v>0.84607890273779107</c:v>
                </c:pt>
                <c:pt idx="135">
                  <c:v>0.84810555264832788</c:v>
                </c:pt>
                <c:pt idx="136">
                  <c:v>0.85011502939758854</c:v>
                </c:pt>
                <c:pt idx="137">
                  <c:v>0.85212185927856454</c:v>
                </c:pt>
                <c:pt idx="138">
                  <c:v>0.85408782711012721</c:v>
                </c:pt>
                <c:pt idx="139">
                  <c:v>0.85600017195548905</c:v>
                </c:pt>
                <c:pt idx="140">
                  <c:v>0.85789897229776946</c:v>
                </c:pt>
                <c:pt idx="141">
                  <c:v>0.85974674288515529</c:v>
                </c:pt>
                <c:pt idx="142">
                  <c:v>0.86159308159842063</c:v>
                </c:pt>
                <c:pt idx="143">
                  <c:v>0.86340606743925641</c:v>
                </c:pt>
                <c:pt idx="144">
                  <c:v>0.86521711302069759</c:v>
                </c:pt>
                <c:pt idx="145">
                  <c:v>0.867005337233827</c:v>
                </c:pt>
                <c:pt idx="146">
                  <c:v>0.86876591974671125</c:v>
                </c:pt>
                <c:pt idx="147">
                  <c:v>0.87050626479441973</c:v>
                </c:pt>
                <c:pt idx="148">
                  <c:v>0.87223505457133477</c:v>
                </c:pt>
                <c:pt idx="149">
                  <c:v>0.8739458829565947</c:v>
                </c:pt>
                <c:pt idx="150">
                  <c:v>0.87563124077321552</c:v>
                </c:pt>
                <c:pt idx="151">
                  <c:v>0.877307093184437</c:v>
                </c:pt>
                <c:pt idx="152">
                  <c:v>0.87897541309824923</c:v>
                </c:pt>
                <c:pt idx="153">
                  <c:v>0.88063463105002171</c:v>
                </c:pt>
                <c:pt idx="154">
                  <c:v>0.88227683441941085</c:v>
                </c:pt>
                <c:pt idx="155">
                  <c:v>0.88391548142392418</c:v>
                </c:pt>
                <c:pt idx="156">
                  <c:v>0.88555367601218438</c:v>
                </c:pt>
                <c:pt idx="157">
                  <c:v>0.8871851916306055</c:v>
                </c:pt>
                <c:pt idx="158">
                  <c:v>0.88880024069664065</c:v>
                </c:pt>
                <c:pt idx="159">
                  <c:v>0.89040521300685371</c:v>
                </c:pt>
                <c:pt idx="160">
                  <c:v>0.89199260171630335</c:v>
                </c:pt>
                <c:pt idx="161">
                  <c:v>0.893576399080239</c:v>
                </c:pt>
                <c:pt idx="162">
                  <c:v>0.89514453677850803</c:v>
                </c:pt>
                <c:pt idx="163">
                  <c:v>0.89669037548599451</c:v>
                </c:pt>
                <c:pt idx="164">
                  <c:v>0.89823146615486638</c:v>
                </c:pt>
                <c:pt idx="165">
                  <c:v>0.89973278617023433</c:v>
                </c:pt>
                <c:pt idx="166">
                  <c:v>0.901204242048815</c:v>
                </c:pt>
                <c:pt idx="167">
                  <c:v>0.90266884172232342</c:v>
                </c:pt>
                <c:pt idx="168">
                  <c:v>0.9041232853505633</c:v>
                </c:pt>
                <c:pt idx="169">
                  <c:v>0.90557586567681247</c:v>
                </c:pt>
                <c:pt idx="170">
                  <c:v>0.90701735947281903</c:v>
                </c:pt>
                <c:pt idx="171">
                  <c:v>0.90844485868153368</c:v>
                </c:pt>
                <c:pt idx="172">
                  <c:v>0.90987062285059739</c:v>
                </c:pt>
                <c:pt idx="173">
                  <c:v>0.91125157915426747</c:v>
                </c:pt>
                <c:pt idx="174">
                  <c:v>0.91261483525504705</c:v>
                </c:pt>
                <c:pt idx="175">
                  <c:v>0.91396601370750385</c:v>
                </c:pt>
                <c:pt idx="176">
                  <c:v>0.91530908831212865</c:v>
                </c:pt>
                <c:pt idx="177">
                  <c:v>0.91665066341339918</c:v>
                </c:pt>
                <c:pt idx="178">
                  <c:v>0.91793338942113334</c:v>
                </c:pt>
                <c:pt idx="179">
                  <c:v>0.91921223491007831</c:v>
                </c:pt>
                <c:pt idx="180">
                  <c:v>0.92048635801287659</c:v>
                </c:pt>
                <c:pt idx="181">
                  <c:v>0.92174146564079096</c:v>
                </c:pt>
                <c:pt idx="182">
                  <c:v>0.92297982220712915</c:v>
                </c:pt>
                <c:pt idx="183">
                  <c:v>0.92420118984355204</c:v>
                </c:pt>
                <c:pt idx="184">
                  <c:v>0.92539604215627735</c:v>
                </c:pt>
                <c:pt idx="185">
                  <c:v>0.92658233587287508</c:v>
                </c:pt>
                <c:pt idx="186">
                  <c:v>0.9277607449536398</c:v>
                </c:pt>
                <c:pt idx="187">
                  <c:v>0.92892265483342296</c:v>
                </c:pt>
                <c:pt idx="188">
                  <c:v>0.93008159369100807</c:v>
                </c:pt>
                <c:pt idx="189">
                  <c:v>0.93123300471526904</c:v>
                </c:pt>
                <c:pt idx="190">
                  <c:v>0.93232823217061855</c:v>
                </c:pt>
                <c:pt idx="191">
                  <c:v>0.93340974954786615</c:v>
                </c:pt>
                <c:pt idx="192">
                  <c:v>0.93449016153694908</c:v>
                </c:pt>
                <c:pt idx="193">
                  <c:v>0.9355286550613473</c:v>
                </c:pt>
                <c:pt idx="194">
                  <c:v>0.93656515702141507</c:v>
                </c:pt>
                <c:pt idx="195">
                  <c:v>0.93757394731996135</c:v>
                </c:pt>
                <c:pt idx="196">
                  <c:v>0.9385797502720119</c:v>
                </c:pt>
                <c:pt idx="197">
                  <c:v>0.93957712289027473</c:v>
                </c:pt>
                <c:pt idx="198">
                  <c:v>0.94055638953024479</c:v>
                </c:pt>
                <c:pt idx="199">
                  <c:v>0.94152237285589813</c:v>
                </c:pt>
                <c:pt idx="200">
                  <c:v>0.94248510298220589</c:v>
                </c:pt>
                <c:pt idx="201">
                  <c:v>0.94341471344033834</c:v>
                </c:pt>
                <c:pt idx="202">
                  <c:v>0.94434314155290222</c:v>
                </c:pt>
                <c:pt idx="203">
                  <c:v>0.94524719282477909</c:v>
                </c:pt>
                <c:pt idx="204">
                  <c:v>0.94615083598921124</c:v>
                </c:pt>
                <c:pt idx="205">
                  <c:v>0.94705402906943281</c:v>
                </c:pt>
                <c:pt idx="206">
                  <c:v>0.94793440544542773</c:v>
                </c:pt>
                <c:pt idx="207">
                  <c:v>0.94880624188163543</c:v>
                </c:pt>
                <c:pt idx="208">
                  <c:v>0.94964955044143207</c:v>
                </c:pt>
                <c:pt idx="209">
                  <c:v>0.95046557177144986</c:v>
                </c:pt>
                <c:pt idx="210">
                  <c:v>0.95127541318873243</c:v>
                </c:pt>
                <c:pt idx="211">
                  <c:v>0.95208213433309441</c:v>
                </c:pt>
                <c:pt idx="212">
                  <c:v>0.95288811155588571</c:v>
                </c:pt>
                <c:pt idx="213">
                  <c:v>0.95368399803059956</c:v>
                </c:pt>
                <c:pt idx="214">
                  <c:v>0.95447445317823409</c:v>
                </c:pt>
                <c:pt idx="215">
                  <c:v>0.9552635767295774</c:v>
                </c:pt>
                <c:pt idx="216">
                  <c:v>0.95605220588790196</c:v>
                </c:pt>
                <c:pt idx="217">
                  <c:v>0.95683516585080797</c:v>
                </c:pt>
                <c:pt idx="218">
                  <c:v>0.9576159546821077</c:v>
                </c:pt>
                <c:pt idx="219">
                  <c:v>0.95839250852415203</c:v>
                </c:pt>
                <c:pt idx="220">
                  <c:v>0.95914076069791188</c:v>
                </c:pt>
                <c:pt idx="221">
                  <c:v>0.95986951466398163</c:v>
                </c:pt>
                <c:pt idx="222">
                  <c:v>0.96059516001734346</c:v>
                </c:pt>
                <c:pt idx="223">
                  <c:v>0.96131428731180169</c:v>
                </c:pt>
                <c:pt idx="224">
                  <c:v>0.96201870641395015</c:v>
                </c:pt>
                <c:pt idx="225">
                  <c:v>0.96268452554795059</c:v>
                </c:pt>
                <c:pt idx="226">
                  <c:v>0.96334957743995486</c:v>
                </c:pt>
                <c:pt idx="227">
                  <c:v>0.9640124838528209</c:v>
                </c:pt>
                <c:pt idx="228">
                  <c:v>0.96467355261616416</c:v>
                </c:pt>
                <c:pt idx="229">
                  <c:v>0.96532780015507336</c:v>
                </c:pt>
                <c:pt idx="230">
                  <c:v>0.96592396584244233</c:v>
                </c:pt>
                <c:pt idx="231">
                  <c:v>0.96651924768568798</c:v>
                </c:pt>
                <c:pt idx="232">
                  <c:v>0.96708331747155729</c:v>
                </c:pt>
                <c:pt idx="233">
                  <c:v>0.96764602767662489</c:v>
                </c:pt>
                <c:pt idx="234">
                  <c:v>0.9681968841094537</c:v>
                </c:pt>
                <c:pt idx="235">
                  <c:v>0.96874700828092442</c:v>
                </c:pt>
                <c:pt idx="236">
                  <c:v>0.96929163349608216</c:v>
                </c:pt>
                <c:pt idx="237">
                  <c:v>0.96983467059026907</c:v>
                </c:pt>
                <c:pt idx="238">
                  <c:v>0.97037750013266977</c:v>
                </c:pt>
                <c:pt idx="239">
                  <c:v>0.97090685746530792</c:v>
                </c:pt>
                <c:pt idx="240">
                  <c:v>0.97142823688041136</c:v>
                </c:pt>
                <c:pt idx="241">
                  <c:v>0.9719484409460738</c:v>
                </c:pt>
                <c:pt idx="242">
                  <c:v>0.97245715737017646</c:v>
                </c:pt>
                <c:pt idx="243">
                  <c:v>0.97296436729479729</c:v>
                </c:pt>
                <c:pt idx="244">
                  <c:v>0.97345708124297969</c:v>
                </c:pt>
                <c:pt idx="245">
                  <c:v>0.97394738152713156</c:v>
                </c:pt>
                <c:pt idx="246">
                  <c:v>0.97443678397490496</c:v>
                </c:pt>
                <c:pt idx="247">
                  <c:v>0.97492216131725162</c:v>
                </c:pt>
                <c:pt idx="248">
                  <c:v>0.97539621426101641</c:v>
                </c:pt>
                <c:pt idx="249">
                  <c:v>0.97586436713715108</c:v>
                </c:pt>
                <c:pt idx="250">
                  <c:v>0.97632668291080416</c:v>
                </c:pt>
                <c:pt idx="251">
                  <c:v>0.97677791681829973</c:v>
                </c:pt>
                <c:pt idx="252">
                  <c:v>0.97720770526258305</c:v>
                </c:pt>
                <c:pt idx="253">
                  <c:v>0.97763363650850266</c:v>
                </c:pt>
                <c:pt idx="254">
                  <c:v>0.97804711931133537</c:v>
                </c:pt>
                <c:pt idx="255">
                  <c:v>0.97846040622259456</c:v>
                </c:pt>
                <c:pt idx="256">
                  <c:v>0.97886718673516282</c:v>
                </c:pt>
                <c:pt idx="257">
                  <c:v>0.97924203925329445</c:v>
                </c:pt>
                <c:pt idx="258">
                  <c:v>0.97961464368241602</c:v>
                </c:pt>
                <c:pt idx="259">
                  <c:v>0.97998206631301021</c:v>
                </c:pt>
                <c:pt idx="260">
                  <c:v>0.98034374512282452</c:v>
                </c:pt>
                <c:pt idx="261">
                  <c:v>0.9807018675677629</c:v>
                </c:pt>
                <c:pt idx="262">
                  <c:v>0.9810516226440622</c:v>
                </c:pt>
                <c:pt idx="263">
                  <c:v>0.98139890575526745</c:v>
                </c:pt>
                <c:pt idx="264">
                  <c:v>0.98174283538929785</c:v>
                </c:pt>
                <c:pt idx="265">
                  <c:v>0.98207968027808701</c:v>
                </c:pt>
                <c:pt idx="266">
                  <c:v>0.98241604243406999</c:v>
                </c:pt>
                <c:pt idx="267">
                  <c:v>0.98274718314680243</c:v>
                </c:pt>
                <c:pt idx="268">
                  <c:v>0.98307724179179556</c:v>
                </c:pt>
                <c:pt idx="269">
                  <c:v>0.9834066451328346</c:v>
                </c:pt>
                <c:pt idx="270">
                  <c:v>0.98372793996195651</c:v>
                </c:pt>
                <c:pt idx="271">
                  <c:v>0.98404248119587812</c:v>
                </c:pt>
                <c:pt idx="272">
                  <c:v>0.98435622253920796</c:v>
                </c:pt>
                <c:pt idx="273">
                  <c:v>0.9846678767044631</c:v>
                </c:pt>
                <c:pt idx="274">
                  <c:v>0.98496744389322533</c:v>
                </c:pt>
                <c:pt idx="275">
                  <c:v>0.98525128845117227</c:v>
                </c:pt>
                <c:pt idx="276">
                  <c:v>0.98552959207604041</c:v>
                </c:pt>
                <c:pt idx="277">
                  <c:v>0.98579050332763352</c:v>
                </c:pt>
                <c:pt idx="278">
                  <c:v>0.9860329727868079</c:v>
                </c:pt>
                <c:pt idx="279">
                  <c:v>0.98627290731573969</c:v>
                </c:pt>
                <c:pt idx="280">
                  <c:v>0.98650378419144003</c:v>
                </c:pt>
                <c:pt idx="281">
                  <c:v>0.98673261819787395</c:v>
                </c:pt>
                <c:pt idx="282">
                  <c:v>0.98695396634774935</c:v>
                </c:pt>
                <c:pt idx="283">
                  <c:v>0.98716468737976282</c:v>
                </c:pt>
                <c:pt idx="284">
                  <c:v>0.98737380629855032</c:v>
                </c:pt>
                <c:pt idx="285">
                  <c:v>0.98757959506058846</c:v>
                </c:pt>
                <c:pt idx="286">
                  <c:v>0.98778060080337382</c:v>
                </c:pt>
                <c:pt idx="287">
                  <c:v>0.98797984585404031</c:v>
                </c:pt>
                <c:pt idx="288">
                  <c:v>0.98817433353792195</c:v>
                </c:pt>
                <c:pt idx="289">
                  <c:v>0.98836249205834581</c:v>
                </c:pt>
                <c:pt idx="290">
                  <c:v>0.98854911609477736</c:v>
                </c:pt>
                <c:pt idx="291">
                  <c:v>0.98873274345654294</c:v>
                </c:pt>
                <c:pt idx="292">
                  <c:v>0.98891004865097831</c:v>
                </c:pt>
                <c:pt idx="293">
                  <c:v>0.98908640936818437</c:v>
                </c:pt>
                <c:pt idx="294">
                  <c:v>0.98926096741650582</c:v>
                </c:pt>
                <c:pt idx="295">
                  <c:v>0.98943360852585804</c:v>
                </c:pt>
                <c:pt idx="296">
                  <c:v>0.98960402253458313</c:v>
                </c:pt>
                <c:pt idx="297">
                  <c:v>0.98977221410676608</c:v>
                </c:pt>
                <c:pt idx="298">
                  <c:v>0.98993359145064252</c:v>
                </c:pt>
                <c:pt idx="299">
                  <c:v>0.99009089238415637</c:v>
                </c:pt>
                <c:pt idx="300">
                  <c:v>0.99024478153943185</c:v>
                </c:pt>
                <c:pt idx="301">
                  <c:v>0.99039804570730627</c:v>
                </c:pt>
                <c:pt idx="302">
                  <c:v>0.99054379370206913</c:v>
                </c:pt>
                <c:pt idx="303">
                  <c:v>0.99068671292922916</c:v>
                </c:pt>
                <c:pt idx="304">
                  <c:v>0.99082782249137691</c:v>
                </c:pt>
                <c:pt idx="305">
                  <c:v>0.99096497924141669</c:v>
                </c:pt>
                <c:pt idx="306">
                  <c:v>0.99110135942129007</c:v>
                </c:pt>
                <c:pt idx="307">
                  <c:v>0.99123596025270433</c:v>
                </c:pt>
                <c:pt idx="308">
                  <c:v>0.99136909422935993</c:v>
                </c:pt>
                <c:pt idx="309">
                  <c:v>0.99150126040836073</c:v>
                </c:pt>
                <c:pt idx="310">
                  <c:v>0.99163184079843325</c:v>
                </c:pt>
                <c:pt idx="311">
                  <c:v>0.99175765216150824</c:v>
                </c:pt>
                <c:pt idx="312">
                  <c:v>0.99187742353440067</c:v>
                </c:pt>
                <c:pt idx="313">
                  <c:v>0.99199437546786029</c:v>
                </c:pt>
                <c:pt idx="314">
                  <c:v>0.99210670062891748</c:v>
                </c:pt>
                <c:pt idx="315">
                  <c:v>0.99221688497492144</c:v>
                </c:pt>
                <c:pt idx="316">
                  <c:v>0.99232558614186905</c:v>
                </c:pt>
                <c:pt idx="317">
                  <c:v>0.99243093616368439</c:v>
                </c:pt>
                <c:pt idx="318">
                  <c:v>0.99253566119809855</c:v>
                </c:pt>
                <c:pt idx="319">
                  <c:v>0.99263481031879586</c:v>
                </c:pt>
                <c:pt idx="320">
                  <c:v>0.99273063161478636</c:v>
                </c:pt>
                <c:pt idx="321">
                  <c:v>0.99282506068137955</c:v>
                </c:pt>
                <c:pt idx="322">
                  <c:v>0.99291906298418764</c:v>
                </c:pt>
                <c:pt idx="323">
                  <c:v>0.99300381640627589</c:v>
                </c:pt>
                <c:pt idx="324">
                  <c:v>0.99308796816138833</c:v>
                </c:pt>
                <c:pt idx="325">
                  <c:v>0.99317077665999687</c:v>
                </c:pt>
                <c:pt idx="326">
                  <c:v>0.9932530884335441</c:v>
                </c:pt>
                <c:pt idx="327">
                  <c:v>0.99333521830777305</c:v>
                </c:pt>
                <c:pt idx="328">
                  <c:v>0.99341660659247377</c:v>
                </c:pt>
                <c:pt idx="329">
                  <c:v>0.99349631347450207</c:v>
                </c:pt>
                <c:pt idx="330">
                  <c:v>0.99357565422585126</c:v>
                </c:pt>
                <c:pt idx="331">
                  <c:v>0.99365398053869491</c:v>
                </c:pt>
                <c:pt idx="332">
                  <c:v>0.99373107320103404</c:v>
                </c:pt>
                <c:pt idx="333">
                  <c:v>0.99380708845971899</c:v>
                </c:pt>
                <c:pt idx="334">
                  <c:v>0.99388296612789395</c:v>
                </c:pt>
                <c:pt idx="335">
                  <c:v>0.99395833307875237</c:v>
                </c:pt>
                <c:pt idx="336">
                  <c:v>0.99403233578472394</c:v>
                </c:pt>
                <c:pt idx="337">
                  <c:v>0.99410152282284714</c:v>
                </c:pt>
                <c:pt idx="338">
                  <c:v>0.99417043001586536</c:v>
                </c:pt>
                <c:pt idx="339">
                  <c:v>0.99423899673067251</c:v>
                </c:pt>
                <c:pt idx="340">
                  <c:v>0.99430728593241724</c:v>
                </c:pt>
                <c:pt idx="341">
                  <c:v>0.99437523232390834</c:v>
                </c:pt>
                <c:pt idx="342">
                  <c:v>0.99444278926429497</c:v>
                </c:pt>
                <c:pt idx="343">
                  <c:v>0.99450867646222185</c:v>
                </c:pt>
                <c:pt idx="344">
                  <c:v>0.99457410191572548</c:v>
                </c:pt>
                <c:pt idx="345">
                  <c:v>0.99463921254348608</c:v>
                </c:pt>
                <c:pt idx="346">
                  <c:v>0.99470403633001403</c:v>
                </c:pt>
                <c:pt idx="347">
                  <c:v>0.99476877383096796</c:v>
                </c:pt>
                <c:pt idx="348">
                  <c:v>0.99483323615090202</c:v>
                </c:pt>
                <c:pt idx="349">
                  <c:v>0.99489727170705089</c:v>
                </c:pt>
                <c:pt idx="350">
                  <c:v>0.99496130259911475</c:v>
                </c:pt>
                <c:pt idx="351">
                  <c:v>0.99502501166930779</c:v>
                </c:pt>
                <c:pt idx="352">
                  <c:v>0.99508768531261238</c:v>
                </c:pt>
                <c:pt idx="353">
                  <c:v>0.99515013041574796</c:v>
                </c:pt>
                <c:pt idx="354">
                  <c:v>0.995211707999058</c:v>
                </c:pt>
                <c:pt idx="355">
                  <c:v>0.99527293810802941</c:v>
                </c:pt>
                <c:pt idx="356">
                  <c:v>0.99533314445032506</c:v>
                </c:pt>
                <c:pt idx="357">
                  <c:v>0.99539254390590137</c:v>
                </c:pt>
                <c:pt idx="358">
                  <c:v>0.99551028640178252</c:v>
                </c:pt>
                <c:pt idx="359">
                  <c:v>0.99556866209068307</c:v>
                </c:pt>
                <c:pt idx="360">
                  <c:v>0.9956269398337968</c:v>
                </c:pt>
                <c:pt idx="361">
                  <c:v>0.99568516860401723</c:v>
                </c:pt>
                <c:pt idx="362">
                  <c:v>0.99574308021645197</c:v>
                </c:pt>
                <c:pt idx="363">
                  <c:v>0.99580084724224915</c:v>
                </c:pt>
                <c:pt idx="364">
                  <c:v>0.99585723136681914</c:v>
                </c:pt>
                <c:pt idx="365">
                  <c:v>0.99591159127846307</c:v>
                </c:pt>
                <c:pt idx="366">
                  <c:v>0.99596535185517387</c:v>
                </c:pt>
                <c:pt idx="367">
                  <c:v>0.99601908211533163</c:v>
                </c:pt>
                <c:pt idx="368">
                  <c:v>0.99607134085664562</c:v>
                </c:pt>
                <c:pt idx="369">
                  <c:v>0.99612313552149379</c:v>
                </c:pt>
                <c:pt idx="370">
                  <c:v>0.99617438915247236</c:v>
                </c:pt>
                <c:pt idx="371">
                  <c:v>0.99622551218906863</c:v>
                </c:pt>
                <c:pt idx="372">
                  <c:v>0.99627479058001445</c:v>
                </c:pt>
                <c:pt idx="373">
                  <c:v>0.99632300555956133</c:v>
                </c:pt>
                <c:pt idx="374">
                  <c:v>0.99636942253430871</c:v>
                </c:pt>
                <c:pt idx="375">
                  <c:v>0.99641522851391018</c:v>
                </c:pt>
                <c:pt idx="376">
                  <c:v>0.99646090623117189</c:v>
                </c:pt>
                <c:pt idx="377">
                  <c:v>0.99650607789520207</c:v>
                </c:pt>
                <c:pt idx="378">
                  <c:v>0.99655096505004215</c:v>
                </c:pt>
                <c:pt idx="379">
                  <c:v>0.99659540445271422</c:v>
                </c:pt>
                <c:pt idx="380">
                  <c:v>0.99663978322228031</c:v>
                </c:pt>
                <c:pt idx="381">
                  <c:v>0.99668363495023193</c:v>
                </c:pt>
                <c:pt idx="382">
                  <c:v>0.99672702260171775</c:v>
                </c:pt>
                <c:pt idx="383">
                  <c:v>0.99677009542746053</c:v>
                </c:pt>
                <c:pt idx="384">
                  <c:v>0.9968131472648204</c:v>
                </c:pt>
                <c:pt idx="385">
                  <c:v>0.99685543885631178</c:v>
                </c:pt>
                <c:pt idx="386">
                  <c:v>0.99689772578371805</c:v>
                </c:pt>
                <c:pt idx="387">
                  <c:v>0.99693949266563753</c:v>
                </c:pt>
                <c:pt idx="388">
                  <c:v>0.99702231982058642</c:v>
                </c:pt>
                <c:pt idx="389">
                  <c:v>0.99706211146247314</c:v>
                </c:pt>
                <c:pt idx="390">
                  <c:v>0.99710125712857589</c:v>
                </c:pt>
                <c:pt idx="391">
                  <c:v>0.99714037714221071</c:v>
                </c:pt>
                <c:pt idx="392">
                  <c:v>0.99717945984316481</c:v>
                </c:pt>
                <c:pt idx="393">
                  <c:v>0.99721809712399345</c:v>
                </c:pt>
                <c:pt idx="394">
                  <c:v>0.99725656882980174</c:v>
                </c:pt>
                <c:pt idx="395">
                  <c:v>0.99729441088412374</c:v>
                </c:pt>
                <c:pt idx="396">
                  <c:v>0.99733216665287172</c:v>
                </c:pt>
                <c:pt idx="397">
                  <c:v>0.99736981747970532</c:v>
                </c:pt>
                <c:pt idx="398">
                  <c:v>0.99740677102581898</c:v>
                </c:pt>
                <c:pt idx="399">
                  <c:v>0.99744346571521059</c:v>
                </c:pt>
                <c:pt idx="400">
                  <c:v>0.99748015340847451</c:v>
                </c:pt>
                <c:pt idx="401">
                  <c:v>0.99751566108821244</c:v>
                </c:pt>
                <c:pt idx="402">
                  <c:v>0.99755091690735587</c:v>
                </c:pt>
                <c:pt idx="403">
                  <c:v>0.99758546611760923</c:v>
                </c:pt>
                <c:pt idx="404">
                  <c:v>0.99761986374509737</c:v>
                </c:pt>
                <c:pt idx="405">
                  <c:v>0.99765405148875674</c:v>
                </c:pt>
                <c:pt idx="406">
                  <c:v>0.99768808998169345</c:v>
                </c:pt>
                <c:pt idx="407">
                  <c:v>0.99772211215033235</c:v>
                </c:pt>
                <c:pt idx="408">
                  <c:v>0.99775576352420714</c:v>
                </c:pt>
                <c:pt idx="409">
                  <c:v>0.99778877825046808</c:v>
                </c:pt>
                <c:pt idx="410">
                  <c:v>0.9978215481122622</c:v>
                </c:pt>
                <c:pt idx="411">
                  <c:v>0.99785428998954584</c:v>
                </c:pt>
                <c:pt idx="412">
                  <c:v>0.99788582853287799</c:v>
                </c:pt>
                <c:pt idx="413">
                  <c:v>0.99791668145570289</c:v>
                </c:pt>
                <c:pt idx="414">
                  <c:v>0.99794745042499633</c:v>
                </c:pt>
                <c:pt idx="415">
                  <c:v>0.99800710640525214</c:v>
                </c:pt>
                <c:pt idx="416">
                  <c:v>0.9980357159031521</c:v>
                </c:pt>
                <c:pt idx="417">
                  <c:v>0.99806424377956304</c:v>
                </c:pt>
                <c:pt idx="418">
                  <c:v>0.99809273667533593</c:v>
                </c:pt>
                <c:pt idx="419">
                  <c:v>0.99814876632943972</c:v>
                </c:pt>
                <c:pt idx="420">
                  <c:v>0.9981767181913429</c:v>
                </c:pt>
                <c:pt idx="421">
                  <c:v>0.99820409170669577</c:v>
                </c:pt>
                <c:pt idx="422">
                  <c:v>0.99823104079030611</c:v>
                </c:pt>
                <c:pt idx="423">
                  <c:v>0.9982578779358745</c:v>
                </c:pt>
                <c:pt idx="424">
                  <c:v>0.99828454484233731</c:v>
                </c:pt>
                <c:pt idx="425">
                  <c:v>0.9983111907604173</c:v>
                </c:pt>
                <c:pt idx="426">
                  <c:v>0.99833773873271048</c:v>
                </c:pt>
                <c:pt idx="427">
                  <c:v>0.99836361507675175</c:v>
                </c:pt>
                <c:pt idx="428">
                  <c:v>0.99838946343628254</c:v>
                </c:pt>
                <c:pt idx="429">
                  <c:v>0.99844048619504955</c:v>
                </c:pt>
                <c:pt idx="430">
                  <c:v>0.99846540173756371</c:v>
                </c:pt>
                <c:pt idx="431">
                  <c:v>0.99848913260246674</c:v>
                </c:pt>
                <c:pt idx="432">
                  <c:v>0.99851252998528628</c:v>
                </c:pt>
                <c:pt idx="433">
                  <c:v>0.99853508316870576</c:v>
                </c:pt>
                <c:pt idx="434">
                  <c:v>0.99855753840633854</c:v>
                </c:pt>
                <c:pt idx="435">
                  <c:v>0.99857980241648292</c:v>
                </c:pt>
                <c:pt idx="436">
                  <c:v>0.99860197081288304</c:v>
                </c:pt>
                <c:pt idx="437">
                  <c:v>0.99862403426736879</c:v>
                </c:pt>
                <c:pt idx="438">
                  <c:v>0.99864599511198271</c:v>
                </c:pt>
                <c:pt idx="439">
                  <c:v>0.99866784868263969</c:v>
                </c:pt>
                <c:pt idx="440">
                  <c:v>0.99868953434623375</c:v>
                </c:pt>
                <c:pt idx="441">
                  <c:v>0.99871077925378748</c:v>
                </c:pt>
                <c:pt idx="442">
                  <c:v>0.99873090944500631</c:v>
                </c:pt>
                <c:pt idx="443">
                  <c:v>0.99875101631579966</c:v>
                </c:pt>
                <c:pt idx="444">
                  <c:v>0.99877095994361509</c:v>
                </c:pt>
                <c:pt idx="445">
                  <c:v>0.99879082194994162</c:v>
                </c:pt>
                <c:pt idx="446">
                  <c:v>0.99881067462809803</c:v>
                </c:pt>
                <c:pt idx="447">
                  <c:v>0.99883030809425544</c:v>
                </c:pt>
                <c:pt idx="448">
                  <c:v>0.99886854426376703</c:v>
                </c:pt>
                <c:pt idx="449">
                  <c:v>0.99888748511328962</c:v>
                </c:pt>
                <c:pt idx="450">
                  <c:v>0.99890622307511112</c:v>
                </c:pt>
                <c:pt idx="451">
                  <c:v>0.99892494704467738</c:v>
                </c:pt>
                <c:pt idx="452">
                  <c:v>0.99894295274514078</c:v>
                </c:pt>
                <c:pt idx="453">
                  <c:v>0.99897761622547865</c:v>
                </c:pt>
                <c:pt idx="454">
                  <c:v>0.99899444191241604</c:v>
                </c:pt>
                <c:pt idx="455">
                  <c:v>0.99901120463420479</c:v>
                </c:pt>
                <c:pt idx="456">
                  <c:v>0.99902780877710073</c:v>
                </c:pt>
                <c:pt idx="457">
                  <c:v>0.99904432663442266</c:v>
                </c:pt>
                <c:pt idx="458">
                  <c:v>0.99906079085476618</c:v>
                </c:pt>
                <c:pt idx="459">
                  <c:v>0.99909315727320058</c:v>
                </c:pt>
                <c:pt idx="460">
                  <c:v>0.99910900117022794</c:v>
                </c:pt>
                <c:pt idx="461">
                  <c:v>0.99912478676619176</c:v>
                </c:pt>
                <c:pt idx="462">
                  <c:v>0.99914049307270925</c:v>
                </c:pt>
                <c:pt idx="463">
                  <c:v>0.9991560641207593</c:v>
                </c:pt>
                <c:pt idx="464">
                  <c:v>0.99917093555604686</c:v>
                </c:pt>
                <c:pt idx="465">
                  <c:v>0.99918565307652674</c:v>
                </c:pt>
                <c:pt idx="466">
                  <c:v>0.99920016537726286</c:v>
                </c:pt>
                <c:pt idx="467">
                  <c:v>0.99922847637371748</c:v>
                </c:pt>
                <c:pt idx="468">
                  <c:v>0.99924253625820059</c:v>
                </c:pt>
                <c:pt idx="469">
                  <c:v>0.99925607842923947</c:v>
                </c:pt>
                <c:pt idx="470">
                  <c:v>0.99926939439215179</c:v>
                </c:pt>
                <c:pt idx="471">
                  <c:v>0.99928263339766021</c:v>
                </c:pt>
                <c:pt idx="472">
                  <c:v>0.99929582809436035</c:v>
                </c:pt>
                <c:pt idx="473">
                  <c:v>0.99930897381816719</c:v>
                </c:pt>
                <c:pt idx="474">
                  <c:v>0.99932205890886794</c:v>
                </c:pt>
                <c:pt idx="475">
                  <c:v>0.9993350996907604</c:v>
                </c:pt>
                <c:pt idx="476">
                  <c:v>0.99934799122193019</c:v>
                </c:pt>
                <c:pt idx="477">
                  <c:v>0.99936086409675962</c:v>
                </c:pt>
                <c:pt idx="478">
                  <c:v>0.99937360404516418</c:v>
                </c:pt>
                <c:pt idx="479">
                  <c:v>0.99938626703616484</c:v>
                </c:pt>
                <c:pt idx="480">
                  <c:v>0.99939851725563567</c:v>
                </c:pt>
                <c:pt idx="481">
                  <c:v>0.99942266555615356</c:v>
                </c:pt>
                <c:pt idx="482">
                  <c:v>0.99943461494213659</c:v>
                </c:pt>
                <c:pt idx="483">
                  <c:v>0.99944655499994939</c:v>
                </c:pt>
                <c:pt idx="484">
                  <c:v>0.99945842043240085</c:v>
                </c:pt>
                <c:pt idx="485">
                  <c:v>0.99946998269932197</c:v>
                </c:pt>
                <c:pt idx="486">
                  <c:v>0.99948138871939274</c:v>
                </c:pt>
                <c:pt idx="487">
                  <c:v>0.99949255453908181</c:v>
                </c:pt>
                <c:pt idx="488">
                  <c:v>0.99951376679803983</c:v>
                </c:pt>
                <c:pt idx="489">
                  <c:v>0.99952382722956412</c:v>
                </c:pt>
                <c:pt idx="490">
                  <c:v>0.99953384568432269</c:v>
                </c:pt>
                <c:pt idx="491">
                  <c:v>0.99954366125138017</c:v>
                </c:pt>
                <c:pt idx="492">
                  <c:v>0.99956214268852217</c:v>
                </c:pt>
                <c:pt idx="493">
                  <c:v>0.9995797309533706</c:v>
                </c:pt>
                <c:pt idx="494">
                  <c:v>0.99958818227554125</c:v>
                </c:pt>
                <c:pt idx="495">
                  <c:v>0.99961279931661007</c:v>
                </c:pt>
                <c:pt idx="496">
                  <c:v>0.99964293163828977</c:v>
                </c:pt>
                <c:pt idx="497">
                  <c:v>0.99965017263038136</c:v>
                </c:pt>
                <c:pt idx="498">
                  <c:v>0.99965735532140942</c:v>
                </c:pt>
                <c:pt idx="499">
                  <c:v>0.99966443773460811</c:v>
                </c:pt>
                <c:pt idx="500">
                  <c:v>0.99967140820976486</c:v>
                </c:pt>
                <c:pt idx="501">
                  <c:v>0.99967837635287904</c:v>
                </c:pt>
                <c:pt idx="502">
                  <c:v>0.99968524888224908</c:v>
                </c:pt>
                <c:pt idx="503">
                  <c:v>0.99969210975140632</c:v>
                </c:pt>
                <c:pt idx="504">
                  <c:v>0.99969875374060724</c:v>
                </c:pt>
                <c:pt idx="505">
                  <c:v>0.99971194377322237</c:v>
                </c:pt>
                <c:pt idx="506">
                  <c:v>0.99972405407014076</c:v>
                </c:pt>
                <c:pt idx="507">
                  <c:v>0.99972988417649467</c:v>
                </c:pt>
                <c:pt idx="508">
                  <c:v>0.99973570029059333</c:v>
                </c:pt>
                <c:pt idx="509">
                  <c:v>0.99974149308426663</c:v>
                </c:pt>
                <c:pt idx="510">
                  <c:v>0.99974723690504652</c:v>
                </c:pt>
                <c:pt idx="511">
                  <c:v>0.99975293175293301</c:v>
                </c:pt>
                <c:pt idx="512">
                  <c:v>0.9997582977828211</c:v>
                </c:pt>
                <c:pt idx="513">
                  <c:v>0.99976362883207115</c:v>
                </c:pt>
                <c:pt idx="514">
                  <c:v>0.99976880596651341</c:v>
                </c:pt>
                <c:pt idx="515">
                  <c:v>0.99977398310095567</c:v>
                </c:pt>
                <c:pt idx="516">
                  <c:v>0.99977902730897306</c:v>
                </c:pt>
                <c:pt idx="517">
                  <c:v>0.99978403653635239</c:v>
                </c:pt>
                <c:pt idx="518">
                  <c:v>0.99978900378696589</c:v>
                </c:pt>
                <c:pt idx="519">
                  <c:v>0.99980344146234068</c:v>
                </c:pt>
                <c:pt idx="520">
                  <c:v>0.99980790965585031</c:v>
                </c:pt>
                <c:pt idx="521">
                  <c:v>0.99981233587259422</c:v>
                </c:pt>
                <c:pt idx="522">
                  <c:v>0.99982100174267874</c:v>
                </c:pt>
                <c:pt idx="523">
                  <c:v>0.99983363441712647</c:v>
                </c:pt>
                <c:pt idx="524">
                  <c:v>0.9998419224963192</c:v>
                </c:pt>
                <c:pt idx="525">
                  <c:v>0.99984588463659729</c:v>
                </c:pt>
                <c:pt idx="526">
                  <c:v>0.99984964855325942</c:v>
                </c:pt>
                <c:pt idx="527">
                  <c:v>0.99985337282519826</c:v>
                </c:pt>
                <c:pt idx="528">
                  <c:v>0.99985702247177577</c:v>
                </c:pt>
                <c:pt idx="529">
                  <c:v>0.99986055784826877</c:v>
                </c:pt>
                <c:pt idx="530">
                  <c:v>0.999864020931443</c:v>
                </c:pt>
                <c:pt idx="531">
                  <c:v>0.9998674630262343</c:v>
                </c:pt>
                <c:pt idx="532">
                  <c:v>0.999870867808345</c:v>
                </c:pt>
                <c:pt idx="533">
                  <c:v>0.99987423294573252</c:v>
                </c:pt>
                <c:pt idx="534">
                  <c:v>0.99987758642290725</c:v>
                </c:pt>
                <c:pt idx="535">
                  <c:v>0.99988090491944392</c:v>
                </c:pt>
                <c:pt idx="536">
                  <c:v>0.99988415112266182</c:v>
                </c:pt>
                <c:pt idx="537">
                  <c:v>0.99988738799770949</c:v>
                </c:pt>
                <c:pt idx="538">
                  <c:v>0.99989955193160629</c:v>
                </c:pt>
                <c:pt idx="539">
                  <c:v>0.99990253927810202</c:v>
                </c:pt>
                <c:pt idx="540">
                  <c:v>0.99990542168268337</c:v>
                </c:pt>
                <c:pt idx="541">
                  <c:v>0.99990822946190339</c:v>
                </c:pt>
                <c:pt idx="542">
                  <c:v>0.99991351853438759</c:v>
                </c:pt>
                <c:pt idx="543">
                  <c:v>0.99991848112091597</c:v>
                </c:pt>
                <c:pt idx="544">
                  <c:v>0.99992311255740352</c:v>
                </c:pt>
                <c:pt idx="545">
                  <c:v>0.99992538863092406</c:v>
                </c:pt>
                <c:pt idx="546">
                  <c:v>0.999927632055849</c:v>
                </c:pt>
                <c:pt idx="547">
                  <c:v>0.99992983350400821</c:v>
                </c:pt>
                <c:pt idx="548">
                  <c:v>0.99993417343517799</c:v>
                </c:pt>
                <c:pt idx="549">
                  <c:v>0.99993630259001842</c:v>
                </c:pt>
                <c:pt idx="550">
                  <c:v>0.9999404023208065</c:v>
                </c:pt>
                <c:pt idx="551">
                  <c:v>0.9999423915530945</c:v>
                </c:pt>
                <c:pt idx="552">
                  <c:v>0.99994437612129738</c:v>
                </c:pt>
                <c:pt idx="553">
                  <c:v>0.99994624875145821</c:v>
                </c:pt>
                <c:pt idx="554">
                  <c:v>0.99994802809991745</c:v>
                </c:pt>
                <c:pt idx="555">
                  <c:v>0.99994973748710048</c:v>
                </c:pt>
                <c:pt idx="556">
                  <c:v>0.9999528181152979</c:v>
                </c:pt>
                <c:pt idx="557">
                  <c:v>0.99995855960403524</c:v>
                </c:pt>
                <c:pt idx="558">
                  <c:v>0.99995994017321987</c:v>
                </c:pt>
                <c:pt idx="559">
                  <c:v>0.99996265700278086</c:v>
                </c:pt>
                <c:pt idx="560">
                  <c:v>0.99996520359323626</c:v>
                </c:pt>
                <c:pt idx="561">
                  <c:v>0.99996643257965567</c:v>
                </c:pt>
                <c:pt idx="562">
                  <c:v>0.99996765690198997</c:v>
                </c:pt>
                <c:pt idx="563">
                  <c:v>0.99997108034044102</c:v>
                </c:pt>
                <c:pt idx="564">
                  <c:v>0.99997216007613776</c:v>
                </c:pt>
                <c:pt idx="565">
                  <c:v>0.99997320483119634</c:v>
                </c:pt>
                <c:pt idx="566">
                  <c:v>0.99997422859787211</c:v>
                </c:pt>
                <c:pt idx="567">
                  <c:v>0.99997724159683576</c:v>
                </c:pt>
                <c:pt idx="568">
                  <c:v>0.99997813476912922</c:v>
                </c:pt>
                <c:pt idx="569">
                  <c:v>0.9999796879094619</c:v>
                </c:pt>
                <c:pt idx="570">
                  <c:v>0.99998184971289783</c:v>
                </c:pt>
                <c:pt idx="571">
                  <c:v>0.9999825563217879</c:v>
                </c:pt>
                <c:pt idx="572">
                  <c:v>0.99998324660638016</c:v>
                </c:pt>
                <c:pt idx="573">
                  <c:v>0.99998747926359322</c:v>
                </c:pt>
                <c:pt idx="574">
                  <c:v>0.99998960841843365</c:v>
                </c:pt>
                <c:pt idx="575">
                  <c:v>0.99999241619765367</c:v>
                </c:pt>
                <c:pt idx="576">
                  <c:v>0.99999444507466473</c:v>
                </c:pt>
                <c:pt idx="577">
                  <c:v>0.99999525196138417</c:v>
                </c:pt>
                <c:pt idx="578">
                  <c:v>0.9999982929448585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94</c:f>
              <c:strCache>
                <c:ptCount val="593"/>
                <c:pt idx="0">
                  <c:v>Caprice Des</c:v>
                </c:pt>
                <c:pt idx="1">
                  <c:v>Private Lab</c:v>
                </c:pt>
                <c:pt idx="2">
                  <c:v>Mini Babybe</c:v>
                </c:pt>
                <c:pt idx="3">
                  <c:v>Private Lab</c:v>
                </c:pt>
                <c:pt idx="4">
                  <c:v>President</c:v>
                </c:pt>
                <c:pt idx="5">
                  <c:v>Coeur De Li</c:v>
                </c:pt>
                <c:pt idx="6">
                  <c:v>Private Lab</c:v>
                </c:pt>
                <c:pt idx="7">
                  <c:v>Soignon</c:v>
                </c:pt>
                <c:pt idx="8">
                  <c:v>Caprice Des</c:v>
                </c:pt>
                <c:pt idx="9">
                  <c:v>La Vache Qu</c:v>
                </c:pt>
                <c:pt idx="10">
                  <c:v>Private Lab</c:v>
                </c:pt>
                <c:pt idx="11">
                  <c:v>Private Lab</c:v>
                </c:pt>
                <c:pt idx="12">
                  <c:v>President</c:v>
                </c:pt>
                <c:pt idx="13">
                  <c:v>Private Lab</c:v>
                </c:pt>
                <c:pt idx="14">
                  <c:v>Soignon</c:v>
                </c:pt>
                <c:pt idx="15">
                  <c:v>St Moret</c:v>
                </c:pt>
                <c:pt idx="16">
                  <c:v>Le Rustique</c:v>
                </c:pt>
                <c:pt idx="17">
                  <c:v>St Moret</c:v>
                </c:pt>
                <c:pt idx="18">
                  <c:v>All Others</c:v>
                </c:pt>
                <c:pt idx="19">
                  <c:v>Private Lab</c:v>
                </c:pt>
                <c:pt idx="20">
                  <c:v>President</c:v>
                </c:pt>
                <c:pt idx="21">
                  <c:v>La Vache Qu</c:v>
                </c:pt>
                <c:pt idx="22">
                  <c:v>St Moret</c:v>
                </c:pt>
                <c:pt idx="23">
                  <c:v>Private Lab</c:v>
                </c:pt>
                <c:pt idx="24">
                  <c:v>Coeur De Li</c:v>
                </c:pt>
                <c:pt idx="25">
                  <c:v>La Vache Qu</c:v>
                </c:pt>
                <c:pt idx="26">
                  <c:v>Private Lab</c:v>
                </c:pt>
                <c:pt idx="27">
                  <c:v>St Moret</c:v>
                </c:pt>
                <c:pt idx="28">
                  <c:v>Tartare</c:v>
                </c:pt>
                <c:pt idx="29">
                  <c:v>Mini Babybe</c:v>
                </c:pt>
                <c:pt idx="30">
                  <c:v>Private Lab</c:v>
                </c:pt>
                <c:pt idx="31">
                  <c:v>Soignon</c:v>
                </c:pt>
                <c:pt idx="32">
                  <c:v>Galbani</c:v>
                </c:pt>
                <c:pt idx="33">
                  <c:v>Kiri</c:v>
                </c:pt>
                <c:pt idx="34">
                  <c:v>Private Lab</c:v>
                </c:pt>
                <c:pt idx="35">
                  <c:v>Kiri</c:v>
                </c:pt>
                <c:pt idx="36">
                  <c:v>Galbani</c:v>
                </c:pt>
                <c:pt idx="37">
                  <c:v>Ficello</c:v>
                </c:pt>
                <c:pt idx="38">
                  <c:v>Private Lab</c:v>
                </c:pt>
                <c:pt idx="39">
                  <c:v>Galbani</c:v>
                </c:pt>
                <c:pt idx="40">
                  <c:v>Salakis</c:v>
                </c:pt>
                <c:pt idx="41">
                  <c:v>Private Lab</c:v>
                </c:pt>
                <c:pt idx="42">
                  <c:v>Private Lab</c:v>
                </c:pt>
                <c:pt idx="43">
                  <c:v>Private Lab</c:v>
                </c:pt>
                <c:pt idx="44">
                  <c:v>Private Lab</c:v>
                </c:pt>
                <c:pt idx="45">
                  <c:v>Private Lab</c:v>
                </c:pt>
                <c:pt idx="46">
                  <c:v>Private Lab</c:v>
                </c:pt>
                <c:pt idx="47">
                  <c:v>Paysan Bret</c:v>
                </c:pt>
                <c:pt idx="48">
                  <c:v>Private Lab</c:v>
                </c:pt>
                <c:pt idx="49">
                  <c:v>Istara</c:v>
                </c:pt>
                <c:pt idx="50">
                  <c:v>Private Lab</c:v>
                </c:pt>
                <c:pt idx="51">
                  <c:v>Private Lab</c:v>
                </c:pt>
                <c:pt idx="52">
                  <c:v>Boursin</c:v>
                </c:pt>
                <c:pt idx="53">
                  <c:v>St Moret</c:v>
                </c:pt>
                <c:pt idx="54">
                  <c:v>Paysan Bret</c:v>
                </c:pt>
                <c:pt idx="55">
                  <c:v>Philadelphi</c:v>
                </c:pt>
                <c:pt idx="56">
                  <c:v>Private Lab</c:v>
                </c:pt>
                <c:pt idx="57">
                  <c:v>Kiri</c:v>
                </c:pt>
                <c:pt idx="58">
                  <c:v>President</c:v>
                </c:pt>
                <c:pt idx="59">
                  <c:v>Lou Perac</c:v>
                </c:pt>
                <c:pt idx="60">
                  <c:v>Tartare</c:v>
                </c:pt>
                <c:pt idx="61">
                  <c:v>Boursin</c:v>
                </c:pt>
                <c:pt idx="62">
                  <c:v>Galbani</c:v>
                </c:pt>
                <c:pt idx="63">
                  <c:v>Private Lab</c:v>
                </c:pt>
                <c:pt idx="64">
                  <c:v>All Others</c:v>
                </c:pt>
                <c:pt idx="65">
                  <c:v>Islos</c:v>
                </c:pt>
                <c:pt idx="66">
                  <c:v>Mini Babybe</c:v>
                </c:pt>
                <c:pt idx="67">
                  <c:v>Lepetit</c:v>
                </c:pt>
                <c:pt idx="68">
                  <c:v>Caprice Des</c:v>
                </c:pt>
                <c:pt idx="69">
                  <c:v>Salakis</c:v>
                </c:pt>
                <c:pt idx="70">
                  <c:v>Galbani</c:v>
                </c:pt>
                <c:pt idx="71">
                  <c:v>President</c:v>
                </c:pt>
                <c:pt idx="72">
                  <c:v>All Others</c:v>
                </c:pt>
                <c:pt idx="73">
                  <c:v>Coeur De Li</c:v>
                </c:pt>
                <c:pt idx="74">
                  <c:v>Boursin</c:v>
                </c:pt>
                <c:pt idx="75">
                  <c:v>Private Lab</c:v>
                </c:pt>
                <c:pt idx="76">
                  <c:v>Kiri</c:v>
                </c:pt>
                <c:pt idx="77">
                  <c:v>Carre Frais</c:v>
                </c:pt>
                <c:pt idx="78">
                  <c:v>Carre Frais</c:v>
                </c:pt>
                <c:pt idx="79">
                  <c:v>Coeur De Li</c:v>
                </c:pt>
                <c:pt idx="80">
                  <c:v>Coeur De Li</c:v>
                </c:pt>
                <c:pt idx="81">
                  <c:v>Private Lab</c:v>
                </c:pt>
                <c:pt idx="82">
                  <c:v>St Moret</c:v>
                </c:pt>
                <c:pt idx="83">
                  <c:v>Private Lab</c:v>
                </c:pt>
                <c:pt idx="84">
                  <c:v>Private Lab</c:v>
                </c:pt>
                <c:pt idx="85">
                  <c:v>All Others</c:v>
                </c:pt>
                <c:pt idx="86">
                  <c:v>Private Lab</c:v>
                </c:pt>
                <c:pt idx="87">
                  <c:v>President</c:v>
                </c:pt>
                <c:pt idx="88">
                  <c:v>All Others</c:v>
                </c:pt>
                <c:pt idx="89">
                  <c:v>Galbani</c:v>
                </c:pt>
                <c:pt idx="90">
                  <c:v>President</c:v>
                </c:pt>
                <c:pt idx="91">
                  <c:v>Kiri</c:v>
                </c:pt>
                <c:pt idx="92">
                  <c:v>Salakis</c:v>
                </c:pt>
                <c:pt idx="93">
                  <c:v>Soignon</c:v>
                </c:pt>
                <c:pt idx="94">
                  <c:v>All Others</c:v>
                </c:pt>
                <c:pt idx="95">
                  <c:v>Private Lab</c:v>
                </c:pt>
                <c:pt idx="96">
                  <c:v>President</c:v>
                </c:pt>
                <c:pt idx="97">
                  <c:v>Private Lab</c:v>
                </c:pt>
                <c:pt idx="98">
                  <c:v>Casa Azzurr</c:v>
                </c:pt>
                <c:pt idx="99">
                  <c:v>Lactalis: A</c:v>
                </c:pt>
                <c:pt idx="100">
                  <c:v>All Others</c:v>
                </c:pt>
                <c:pt idx="101">
                  <c:v>Istara</c:v>
                </c:pt>
                <c:pt idx="102">
                  <c:v>Private Lab</c:v>
                </c:pt>
                <c:pt idx="103">
                  <c:v>Private Lab</c:v>
                </c:pt>
                <c:pt idx="104">
                  <c:v>La Vache Qu</c:v>
                </c:pt>
                <c:pt idx="105">
                  <c:v>Private Lab</c:v>
                </c:pt>
                <c:pt idx="106">
                  <c:v>Petit Billy</c:v>
                </c:pt>
                <c:pt idx="107">
                  <c:v>Tartare</c:v>
                </c:pt>
                <c:pt idx="108">
                  <c:v>President</c:v>
                </c:pt>
                <c:pt idx="109">
                  <c:v>La Vache Qu</c:v>
                </c:pt>
                <c:pt idx="110">
                  <c:v>St Moret</c:v>
                </c:pt>
                <c:pt idx="111">
                  <c:v>St Moret</c:v>
                </c:pt>
                <c:pt idx="112">
                  <c:v>Lactalis: A</c:v>
                </c:pt>
                <c:pt idx="113">
                  <c:v>Soignon</c:v>
                </c:pt>
                <c:pt idx="114">
                  <c:v>Private Lab</c:v>
                </c:pt>
                <c:pt idx="115">
                  <c:v>Le Rustique</c:v>
                </c:pt>
                <c:pt idx="116">
                  <c:v>Coeur De Li</c:v>
                </c:pt>
                <c:pt idx="117">
                  <c:v>Casa Azzurr</c:v>
                </c:pt>
                <c:pt idx="118">
                  <c:v>Casa Azzurr</c:v>
                </c:pt>
                <c:pt idx="119">
                  <c:v>Private Lab</c:v>
                </c:pt>
                <c:pt idx="120">
                  <c:v>Soignon</c:v>
                </c:pt>
                <c:pt idx="121">
                  <c:v>Private Lab</c:v>
                </c:pt>
                <c:pt idx="122">
                  <c:v>Casa Azzurr</c:v>
                </c:pt>
                <c:pt idx="123">
                  <c:v>Caprice Des</c:v>
                </c:pt>
                <c:pt idx="124">
                  <c:v>Ficello</c:v>
                </c:pt>
                <c:pt idx="125">
                  <c:v>Philadelphi</c:v>
                </c:pt>
                <c:pt idx="126">
                  <c:v>Private Lab</c:v>
                </c:pt>
                <c:pt idx="127">
                  <c:v>All Others</c:v>
                </c:pt>
                <c:pt idx="128">
                  <c:v>Private Lab</c:v>
                </c:pt>
                <c:pt idx="129">
                  <c:v>President</c:v>
                </c:pt>
                <c:pt idx="130">
                  <c:v>Etorki</c:v>
                </c:pt>
                <c:pt idx="131">
                  <c:v>Paysan Bret</c:v>
                </c:pt>
                <c:pt idx="132">
                  <c:v>P'Tit Louis</c:v>
                </c:pt>
                <c:pt idx="133">
                  <c:v>Ficello</c:v>
                </c:pt>
                <c:pt idx="134">
                  <c:v>Galbani</c:v>
                </c:pt>
                <c:pt idx="135">
                  <c:v>All Others</c:v>
                </c:pt>
                <c:pt idx="136">
                  <c:v>Private Lab</c:v>
                </c:pt>
                <c:pt idx="137">
                  <c:v>Private Lab</c:v>
                </c:pt>
                <c:pt idx="138">
                  <c:v>Le Rustique</c:v>
                </c:pt>
                <c:pt idx="139">
                  <c:v>All Others</c:v>
                </c:pt>
                <c:pt idx="140">
                  <c:v>Chavroux</c:v>
                </c:pt>
                <c:pt idx="141">
                  <c:v>Soignon</c:v>
                </c:pt>
                <c:pt idx="142">
                  <c:v>Lactalis: A</c:v>
                </c:pt>
                <c:pt idx="143">
                  <c:v>Casa Azzurr</c:v>
                </c:pt>
                <c:pt idx="144">
                  <c:v>Private Lab</c:v>
                </c:pt>
                <c:pt idx="145">
                  <c:v>Salakis</c:v>
                </c:pt>
                <c:pt idx="146">
                  <c:v>Boursin</c:v>
                </c:pt>
                <c:pt idx="147">
                  <c:v>Boursin</c:v>
                </c:pt>
                <c:pt idx="148">
                  <c:v>Paysan Bret</c:v>
                </c:pt>
                <c:pt idx="149">
                  <c:v>Soignon</c:v>
                </c:pt>
                <c:pt idx="150">
                  <c:v>Boursin</c:v>
                </c:pt>
                <c:pt idx="151">
                  <c:v>President</c:v>
                </c:pt>
                <c:pt idx="152">
                  <c:v>Paysan Bret</c:v>
                </c:pt>
                <c:pt idx="153">
                  <c:v>Salakis</c:v>
                </c:pt>
                <c:pt idx="154">
                  <c:v>Boursin</c:v>
                </c:pt>
                <c:pt idx="155">
                  <c:v>Private Lab</c:v>
                </c:pt>
                <c:pt idx="156">
                  <c:v>President</c:v>
                </c:pt>
                <c:pt idx="157">
                  <c:v>Tartare</c:v>
                </c:pt>
                <c:pt idx="158">
                  <c:v>Private Lab</c:v>
                </c:pt>
                <c:pt idx="159">
                  <c:v>Carre Frais</c:v>
                </c:pt>
                <c:pt idx="160">
                  <c:v>Le Brebiou</c:v>
                </c:pt>
                <c:pt idx="161">
                  <c:v>Casa Azzurr</c:v>
                </c:pt>
                <c:pt idx="162">
                  <c:v>Soignon</c:v>
                </c:pt>
                <c:pt idx="163">
                  <c:v>Private Lab</c:v>
                </c:pt>
                <c:pt idx="164">
                  <c:v>Soignon</c:v>
                </c:pt>
                <c:pt idx="165">
                  <c:v>Paysan Bret</c:v>
                </c:pt>
                <c:pt idx="166">
                  <c:v>Pave D'Affi</c:v>
                </c:pt>
                <c:pt idx="167">
                  <c:v>Private Lab</c:v>
                </c:pt>
                <c:pt idx="168">
                  <c:v>Boursin</c:v>
                </c:pt>
                <c:pt idx="169">
                  <c:v>Private Lab</c:v>
                </c:pt>
                <c:pt idx="170">
                  <c:v>La Vache Qu</c:v>
                </c:pt>
                <c:pt idx="171">
                  <c:v>Private Lab</c:v>
                </c:pt>
                <c:pt idx="172">
                  <c:v>All Others</c:v>
                </c:pt>
                <c:pt idx="173">
                  <c:v>All Others</c:v>
                </c:pt>
                <c:pt idx="174">
                  <c:v>Galbani</c:v>
                </c:pt>
                <c:pt idx="175">
                  <c:v>Mini Babybe</c:v>
                </c:pt>
                <c:pt idx="176">
                  <c:v>Etorki</c:v>
                </c:pt>
                <c:pt idx="177">
                  <c:v>Galbani</c:v>
                </c:pt>
                <c:pt idx="178">
                  <c:v>Tartare</c:v>
                </c:pt>
                <c:pt idx="179">
                  <c:v>Caprice Des</c:v>
                </c:pt>
                <c:pt idx="180">
                  <c:v>Chavroux</c:v>
                </c:pt>
                <c:pt idx="181">
                  <c:v>Private Lab</c:v>
                </c:pt>
                <c:pt idx="182">
                  <c:v>All Others</c:v>
                </c:pt>
                <c:pt idx="183">
                  <c:v>Private Lab</c:v>
                </c:pt>
                <c:pt idx="184">
                  <c:v>Soignon</c:v>
                </c:pt>
                <c:pt idx="185">
                  <c:v>Private Lab</c:v>
                </c:pt>
                <c:pt idx="186">
                  <c:v>Private Lab</c:v>
                </c:pt>
                <c:pt idx="187">
                  <c:v>Boursin</c:v>
                </c:pt>
                <c:pt idx="188">
                  <c:v>Mini Babybe</c:v>
                </c:pt>
                <c:pt idx="189">
                  <c:v>Paysan Bret</c:v>
                </c:pt>
                <c:pt idx="190">
                  <c:v>Les Mousque</c:v>
                </c:pt>
                <c:pt idx="191">
                  <c:v>All Others</c:v>
                </c:pt>
                <c:pt idx="192">
                  <c:v>Lou Perac</c:v>
                </c:pt>
                <c:pt idx="193">
                  <c:v>Private Lab</c:v>
                </c:pt>
                <c:pt idx="194">
                  <c:v>Private Lab</c:v>
                </c:pt>
                <c:pt idx="195">
                  <c:v>All Others</c:v>
                </c:pt>
                <c:pt idx="196">
                  <c:v>Boursin</c:v>
                </c:pt>
                <c:pt idx="197">
                  <c:v>Galbani</c:v>
                </c:pt>
                <c:pt idx="198">
                  <c:v>Saint Agur</c:v>
                </c:pt>
                <c:pt idx="199">
                  <c:v>Les Mousque</c:v>
                </c:pt>
                <c:pt idx="200">
                  <c:v>Caprice Des</c:v>
                </c:pt>
                <c:pt idx="201">
                  <c:v>Savencia: A</c:v>
                </c:pt>
                <c:pt idx="202">
                  <c:v>Le Rustique</c:v>
                </c:pt>
                <c:pt idx="203">
                  <c:v>Salakis</c:v>
                </c:pt>
                <c:pt idx="204">
                  <c:v>Caprice Des</c:v>
                </c:pt>
                <c:pt idx="205">
                  <c:v>Caprice Des</c:v>
                </c:pt>
                <c:pt idx="206">
                  <c:v>Tartare</c:v>
                </c:pt>
                <c:pt idx="207">
                  <c:v>Tartare</c:v>
                </c:pt>
                <c:pt idx="208">
                  <c:v>All Others</c:v>
                </c:pt>
                <c:pt idx="209">
                  <c:v>Private Lab</c:v>
                </c:pt>
                <c:pt idx="210">
                  <c:v>Casa Azzurr</c:v>
                </c:pt>
                <c:pt idx="211">
                  <c:v>Kiri</c:v>
                </c:pt>
                <c:pt idx="212">
                  <c:v>La Vache Qu</c:v>
                </c:pt>
                <c:pt idx="213">
                  <c:v>St Moret</c:v>
                </c:pt>
                <c:pt idx="214">
                  <c:v>Boursin</c:v>
                </c:pt>
                <c:pt idx="215">
                  <c:v>Private Lab</c:v>
                </c:pt>
                <c:pt idx="216">
                  <c:v>Private Lab</c:v>
                </c:pt>
                <c:pt idx="217">
                  <c:v>All Others</c:v>
                </c:pt>
                <c:pt idx="218">
                  <c:v>Private Lab</c:v>
                </c:pt>
                <c:pt idx="219">
                  <c:v>Paysan Bret</c:v>
                </c:pt>
                <c:pt idx="220">
                  <c:v>Casa Azzurr</c:v>
                </c:pt>
                <c:pt idx="221">
                  <c:v>Lou Perac</c:v>
                </c:pt>
                <c:pt idx="222">
                  <c:v>Private Lab</c:v>
                </c:pt>
                <c:pt idx="223">
                  <c:v>P'Tit Louis</c:v>
                </c:pt>
                <c:pt idx="224">
                  <c:v>Kiri</c:v>
                </c:pt>
                <c:pt idx="225">
                  <c:v>Lactalis: A</c:v>
                </c:pt>
                <c:pt idx="226">
                  <c:v>All Others</c:v>
                </c:pt>
                <c:pt idx="227">
                  <c:v>Soignon</c:v>
                </c:pt>
                <c:pt idx="228">
                  <c:v>Soignon</c:v>
                </c:pt>
                <c:pt idx="229">
                  <c:v>Mini Babybe</c:v>
                </c:pt>
                <c:pt idx="230">
                  <c:v>All Others</c:v>
                </c:pt>
                <c:pt idx="231">
                  <c:v>All Others</c:v>
                </c:pt>
                <c:pt idx="232">
                  <c:v>All Others</c:v>
                </c:pt>
                <c:pt idx="233">
                  <c:v>Soignon</c:v>
                </c:pt>
                <c:pt idx="234">
                  <c:v>Casa Azzurr</c:v>
                </c:pt>
                <c:pt idx="235">
                  <c:v>Islos</c:v>
                </c:pt>
                <c:pt idx="236">
                  <c:v>Kiri</c:v>
                </c:pt>
                <c:pt idx="237">
                  <c:v>All Others</c:v>
                </c:pt>
                <c:pt idx="238">
                  <c:v>Private Lab</c:v>
                </c:pt>
                <c:pt idx="239">
                  <c:v>Istara</c:v>
                </c:pt>
                <c:pt idx="240">
                  <c:v>Paysan Bret</c:v>
                </c:pt>
                <c:pt idx="241">
                  <c:v>Corsica</c:v>
                </c:pt>
                <c:pt idx="242">
                  <c:v>All Others</c:v>
                </c:pt>
                <c:pt idx="243">
                  <c:v>Paysan Bret</c:v>
                </c:pt>
                <c:pt idx="244">
                  <c:v>Kiri</c:v>
                </c:pt>
                <c:pt idx="245">
                  <c:v>Milleret: A</c:v>
                </c:pt>
                <c:pt idx="246">
                  <c:v>Etoile Du Q</c:v>
                </c:pt>
                <c:pt idx="247">
                  <c:v>Boursin</c:v>
                </c:pt>
                <c:pt idx="248">
                  <c:v>All Others</c:v>
                </c:pt>
                <c:pt idx="249">
                  <c:v>Private Lab</c:v>
                </c:pt>
                <c:pt idx="250">
                  <c:v>Galbani</c:v>
                </c:pt>
                <c:pt idx="251">
                  <c:v>Mini Babybe</c:v>
                </c:pt>
                <c:pt idx="252">
                  <c:v>Salakis</c:v>
                </c:pt>
                <c:pt idx="253">
                  <c:v>Private Lab</c:v>
                </c:pt>
                <c:pt idx="254">
                  <c:v>Mini Babybe</c:v>
                </c:pt>
                <c:pt idx="255">
                  <c:v>Soignon</c:v>
                </c:pt>
                <c:pt idx="256">
                  <c:v>Kiri</c:v>
                </c:pt>
                <c:pt idx="257">
                  <c:v>All Others</c:v>
                </c:pt>
                <c:pt idx="258">
                  <c:v>Soignon</c:v>
                </c:pt>
                <c:pt idx="259">
                  <c:v>Galbani</c:v>
                </c:pt>
                <c:pt idx="260">
                  <c:v>All Others</c:v>
                </c:pt>
                <c:pt idx="261">
                  <c:v>Private Lab</c:v>
                </c:pt>
                <c:pt idx="262">
                  <c:v>Carre Frais</c:v>
                </c:pt>
                <c:pt idx="263">
                  <c:v>Les Mousque</c:v>
                </c:pt>
                <c:pt idx="264">
                  <c:v>Salakis</c:v>
                </c:pt>
                <c:pt idx="265">
                  <c:v>Triballat N</c:v>
                </c:pt>
                <c:pt idx="266">
                  <c:v>Le Brebiou</c:v>
                </c:pt>
                <c:pt idx="267">
                  <c:v>Boursin</c:v>
                </c:pt>
                <c:pt idx="268">
                  <c:v>All Others</c:v>
                </c:pt>
                <c:pt idx="269">
                  <c:v>All Others</c:v>
                </c:pt>
                <c:pt idx="270">
                  <c:v>Galbani</c:v>
                </c:pt>
                <c:pt idx="271">
                  <c:v>Milleret: A</c:v>
                </c:pt>
                <c:pt idx="272">
                  <c:v>All Others</c:v>
                </c:pt>
                <c:pt idx="273">
                  <c:v>Triballat N</c:v>
                </c:pt>
                <c:pt idx="274">
                  <c:v>Paysan Bret</c:v>
                </c:pt>
                <c:pt idx="275">
                  <c:v>All Others</c:v>
                </c:pt>
                <c:pt idx="276">
                  <c:v>Etorki</c:v>
                </c:pt>
                <c:pt idx="277">
                  <c:v>Saint Agur</c:v>
                </c:pt>
                <c:pt idx="278">
                  <c:v>Private Lab</c:v>
                </c:pt>
                <c:pt idx="279">
                  <c:v>Islos</c:v>
                </c:pt>
                <c:pt idx="280">
                  <c:v>All Others</c:v>
                </c:pt>
                <c:pt idx="281">
                  <c:v>All Others</c:v>
                </c:pt>
                <c:pt idx="282">
                  <c:v>Boursin</c:v>
                </c:pt>
                <c:pt idx="283">
                  <c:v>Galbani</c:v>
                </c:pt>
                <c:pt idx="284">
                  <c:v>Lactalis: A</c:v>
                </c:pt>
                <c:pt idx="285">
                  <c:v>All Others</c:v>
                </c:pt>
                <c:pt idx="286">
                  <c:v>Tartare</c:v>
                </c:pt>
                <c:pt idx="287">
                  <c:v>All Others</c:v>
                </c:pt>
                <c:pt idx="288">
                  <c:v>Triballat N</c:v>
                </c:pt>
                <c:pt idx="289">
                  <c:v>Boursin</c:v>
                </c:pt>
                <c:pt idx="290">
                  <c:v>Mini Babybe</c:v>
                </c:pt>
                <c:pt idx="291">
                  <c:v>All Others</c:v>
                </c:pt>
                <c:pt idx="292">
                  <c:v>All Others</c:v>
                </c:pt>
                <c:pt idx="293">
                  <c:v>All Others</c:v>
                </c:pt>
                <c:pt idx="294">
                  <c:v>Chavroux</c:v>
                </c:pt>
                <c:pt idx="295">
                  <c:v>All Others</c:v>
                </c:pt>
                <c:pt idx="296">
                  <c:v>Lactalis: A</c:v>
                </c:pt>
                <c:pt idx="297">
                  <c:v>All Others</c:v>
                </c:pt>
                <c:pt idx="298">
                  <c:v>All Others</c:v>
                </c:pt>
                <c:pt idx="299">
                  <c:v>Chavroux</c:v>
                </c:pt>
                <c:pt idx="300">
                  <c:v>All Others</c:v>
                </c:pt>
                <c:pt idx="301">
                  <c:v>Boursin</c:v>
                </c:pt>
                <c:pt idx="302">
                  <c:v>All Others</c:v>
                </c:pt>
                <c:pt idx="303">
                  <c:v>All Others</c:v>
                </c:pt>
                <c:pt idx="304">
                  <c:v>All Others</c:v>
                </c:pt>
                <c:pt idx="305">
                  <c:v>Triballat N</c:v>
                </c:pt>
                <c:pt idx="306">
                  <c:v>All Others</c:v>
                </c:pt>
                <c:pt idx="307">
                  <c:v>All Others</c:v>
                </c:pt>
                <c:pt idx="308">
                  <c:v>Istara</c:v>
                </c:pt>
                <c:pt idx="309">
                  <c:v>All Others</c:v>
                </c:pt>
                <c:pt idx="310">
                  <c:v>All Others</c:v>
                </c:pt>
                <c:pt idx="311">
                  <c:v>Chavroux</c:v>
                </c:pt>
                <c:pt idx="312">
                  <c:v>All Others</c:v>
                </c:pt>
                <c:pt idx="313">
                  <c:v>All Others</c:v>
                </c:pt>
                <c:pt idx="314">
                  <c:v>All Others</c:v>
                </c:pt>
                <c:pt idx="315">
                  <c:v>All Others</c:v>
                </c:pt>
                <c:pt idx="316">
                  <c:v>Savencia: A</c:v>
                </c:pt>
                <c:pt idx="317">
                  <c:v>All Others</c:v>
                </c:pt>
                <c:pt idx="318">
                  <c:v>All Others</c:v>
                </c:pt>
                <c:pt idx="319">
                  <c:v>Les Mousque</c:v>
                </c:pt>
                <c:pt idx="320">
                  <c:v>Petit Billy</c:v>
                </c:pt>
                <c:pt idx="321">
                  <c:v>All Others</c:v>
                </c:pt>
                <c:pt idx="322">
                  <c:v>All Others</c:v>
                </c:pt>
                <c:pt idx="323">
                  <c:v>All Others</c:v>
                </c:pt>
                <c:pt idx="324">
                  <c:v>Savencia: A</c:v>
                </c:pt>
                <c:pt idx="325">
                  <c:v>All Others</c:v>
                </c:pt>
                <c:pt idx="326">
                  <c:v>All Others</c:v>
                </c:pt>
                <c:pt idx="327">
                  <c:v>All Others</c:v>
                </c:pt>
                <c:pt idx="328">
                  <c:v>Private Lab</c:v>
                </c:pt>
                <c:pt idx="329">
                  <c:v>All Others</c:v>
                </c:pt>
                <c:pt idx="330">
                  <c:v>All Others</c:v>
                </c:pt>
                <c:pt idx="331">
                  <c:v>Soignon</c:v>
                </c:pt>
                <c:pt idx="332">
                  <c:v>All Others</c:v>
                </c:pt>
                <c:pt idx="333">
                  <c:v>Boursin</c:v>
                </c:pt>
                <c:pt idx="334">
                  <c:v>Boursin</c:v>
                </c:pt>
                <c:pt idx="335">
                  <c:v>All Others</c:v>
                </c:pt>
                <c:pt idx="336">
                  <c:v>All Others</c:v>
                </c:pt>
                <c:pt idx="337">
                  <c:v>President</c:v>
                </c:pt>
                <c:pt idx="338">
                  <c:v>All Others</c:v>
                </c:pt>
                <c:pt idx="339">
                  <c:v>Salakis</c:v>
                </c:pt>
                <c:pt idx="340">
                  <c:v>All Others</c:v>
                </c:pt>
                <c:pt idx="341">
                  <c:v>All Others</c:v>
                </c:pt>
                <c:pt idx="342">
                  <c:v>All Others</c:v>
                </c:pt>
                <c:pt idx="343">
                  <c:v>Entremont</c:v>
                </c:pt>
                <c:pt idx="344">
                  <c:v>All Others</c:v>
                </c:pt>
                <c:pt idx="345">
                  <c:v>All Others</c:v>
                </c:pt>
                <c:pt idx="346">
                  <c:v>Salakis</c:v>
                </c:pt>
                <c:pt idx="347">
                  <c:v>All Others</c:v>
                </c:pt>
                <c:pt idx="348">
                  <c:v>All Others</c:v>
                </c:pt>
                <c:pt idx="349">
                  <c:v>All Others</c:v>
                </c:pt>
                <c:pt idx="350">
                  <c:v>All Others</c:v>
                </c:pt>
                <c:pt idx="351">
                  <c:v>La Vache Qu</c:v>
                </c:pt>
                <c:pt idx="352">
                  <c:v>Chavroux</c:v>
                </c:pt>
                <c:pt idx="353">
                  <c:v>All Others</c:v>
                </c:pt>
                <c:pt idx="354">
                  <c:v>Mini Babybe</c:v>
                </c:pt>
                <c:pt idx="355">
                  <c:v>Entremont</c:v>
                </c:pt>
                <c:pt idx="356">
                  <c:v>All Others</c:v>
                </c:pt>
                <c:pt idx="357">
                  <c:v>All Others</c:v>
                </c:pt>
                <c:pt idx="358">
                  <c:v>All Others</c:v>
                </c:pt>
                <c:pt idx="359">
                  <c:v>All Others</c:v>
                </c:pt>
                <c:pt idx="360">
                  <c:v>Chavroux</c:v>
                </c:pt>
                <c:pt idx="361">
                  <c:v>All Others</c:v>
                </c:pt>
                <c:pt idx="362">
                  <c:v>All Others</c:v>
                </c:pt>
                <c:pt idx="363">
                  <c:v>All Others</c:v>
                </c:pt>
                <c:pt idx="364">
                  <c:v>Corsica</c:v>
                </c:pt>
                <c:pt idx="365">
                  <c:v>All Others</c:v>
                </c:pt>
                <c:pt idx="366">
                  <c:v>All Others</c:v>
                </c:pt>
                <c:pt idx="367">
                  <c:v>All Others</c:v>
                </c:pt>
                <c:pt idx="368">
                  <c:v>All Others</c:v>
                </c:pt>
                <c:pt idx="369">
                  <c:v>Mini Babybe</c:v>
                </c:pt>
                <c:pt idx="370">
                  <c:v>All Others</c:v>
                </c:pt>
                <c:pt idx="371">
                  <c:v>All Others</c:v>
                </c:pt>
                <c:pt idx="372">
                  <c:v>All Others</c:v>
                </c:pt>
                <c:pt idx="373">
                  <c:v>Casa Azzurr</c:v>
                </c:pt>
                <c:pt idx="374">
                  <c:v>All Others</c:v>
                </c:pt>
                <c:pt idx="375">
                  <c:v>All Others</c:v>
                </c:pt>
                <c:pt idx="376">
                  <c:v>All Others</c:v>
                </c:pt>
                <c:pt idx="377">
                  <c:v>All Others</c:v>
                </c:pt>
                <c:pt idx="378">
                  <c:v>All Others</c:v>
                </c:pt>
                <c:pt idx="379">
                  <c:v>All Others</c:v>
                </c:pt>
                <c:pt idx="380">
                  <c:v>Etoile Du V</c:v>
                </c:pt>
                <c:pt idx="381">
                  <c:v>All Others</c:v>
                </c:pt>
                <c:pt idx="382">
                  <c:v>All Others</c:v>
                </c:pt>
                <c:pt idx="383">
                  <c:v>Kiri</c:v>
                </c:pt>
                <c:pt idx="384">
                  <c:v>All Others</c:v>
                </c:pt>
                <c:pt idx="385">
                  <c:v>All Others</c:v>
                </c:pt>
                <c:pt idx="386">
                  <c:v>Lactalis: A</c:v>
                </c:pt>
                <c:pt idx="387">
                  <c:v>All Others</c:v>
                </c:pt>
                <c:pt idx="388">
                  <c:v>All Others</c:v>
                </c:pt>
                <c:pt idx="389">
                  <c:v>All Others</c:v>
                </c:pt>
                <c:pt idx="390">
                  <c:v>All Others</c:v>
                </c:pt>
                <c:pt idx="391">
                  <c:v>Private Lab</c:v>
                </c:pt>
                <c:pt idx="392">
                  <c:v>Lactalis: A</c:v>
                </c:pt>
                <c:pt idx="393">
                  <c:v>All Others</c:v>
                </c:pt>
                <c:pt idx="394">
                  <c:v>All Others</c:v>
                </c:pt>
                <c:pt idx="395">
                  <c:v>All Others</c:v>
                </c:pt>
                <c:pt idx="396">
                  <c:v>All Others</c:v>
                </c:pt>
                <c:pt idx="397">
                  <c:v>All Others</c:v>
                </c:pt>
                <c:pt idx="398">
                  <c:v>All Others</c:v>
                </c:pt>
                <c:pt idx="399">
                  <c:v>All Others</c:v>
                </c:pt>
                <c:pt idx="400">
                  <c:v>All Others</c:v>
                </c:pt>
                <c:pt idx="401">
                  <c:v>Entremont</c:v>
                </c:pt>
                <c:pt idx="402">
                  <c:v>All Others</c:v>
                </c:pt>
                <c:pt idx="403">
                  <c:v>All Others</c:v>
                </c:pt>
                <c:pt idx="404">
                  <c:v>All Others</c:v>
                </c:pt>
                <c:pt idx="405">
                  <c:v>All Others</c:v>
                </c:pt>
                <c:pt idx="406">
                  <c:v>All Others</c:v>
                </c:pt>
                <c:pt idx="407">
                  <c:v>All Others</c:v>
                </c:pt>
                <c:pt idx="408">
                  <c:v>All Others</c:v>
                </c:pt>
                <c:pt idx="409">
                  <c:v>All Others</c:v>
                </c:pt>
                <c:pt idx="410">
                  <c:v>All Others</c:v>
                </c:pt>
                <c:pt idx="411">
                  <c:v>All Others</c:v>
                </c:pt>
                <c:pt idx="412">
                  <c:v>All Others</c:v>
                </c:pt>
                <c:pt idx="413">
                  <c:v>All Others</c:v>
                </c:pt>
                <c:pt idx="414">
                  <c:v>All Others</c:v>
                </c:pt>
                <c:pt idx="415">
                  <c:v>All Others</c:v>
                </c:pt>
                <c:pt idx="416">
                  <c:v>All Others</c:v>
                </c:pt>
                <c:pt idx="417">
                  <c:v>All Others</c:v>
                </c:pt>
                <c:pt idx="418">
                  <c:v>All Others</c:v>
                </c:pt>
                <c:pt idx="419">
                  <c:v>All Others</c:v>
                </c:pt>
                <c:pt idx="420">
                  <c:v>All Others</c:v>
                </c:pt>
                <c:pt idx="421">
                  <c:v>All Others</c:v>
                </c:pt>
                <c:pt idx="422">
                  <c:v>All Others</c:v>
                </c:pt>
                <c:pt idx="423">
                  <c:v>All Others</c:v>
                </c:pt>
                <c:pt idx="424">
                  <c:v>All Others</c:v>
                </c:pt>
                <c:pt idx="425">
                  <c:v>All Others</c:v>
                </c:pt>
                <c:pt idx="426">
                  <c:v>All Others</c:v>
                </c:pt>
                <c:pt idx="427">
                  <c:v>All Others</c:v>
                </c:pt>
                <c:pt idx="428">
                  <c:v>All Others</c:v>
                </c:pt>
                <c:pt idx="429">
                  <c:v>All Others</c:v>
                </c:pt>
                <c:pt idx="430">
                  <c:v>All Others</c:v>
                </c:pt>
                <c:pt idx="431">
                  <c:v>All Others</c:v>
                </c:pt>
                <c:pt idx="432">
                  <c:v>All Others</c:v>
                </c:pt>
                <c:pt idx="433">
                  <c:v>Savencia: A</c:v>
                </c:pt>
                <c:pt idx="434">
                  <c:v>All Others</c:v>
                </c:pt>
                <c:pt idx="435">
                  <c:v>All Others</c:v>
                </c:pt>
                <c:pt idx="436">
                  <c:v>All Others</c:v>
                </c:pt>
                <c:pt idx="437">
                  <c:v>All Others</c:v>
                </c:pt>
                <c:pt idx="438">
                  <c:v>All Others</c:v>
                </c:pt>
                <c:pt idx="439">
                  <c:v>All Others</c:v>
                </c:pt>
                <c:pt idx="440">
                  <c:v>All Others</c:v>
                </c:pt>
                <c:pt idx="441">
                  <c:v>All Others</c:v>
                </c:pt>
                <c:pt idx="442">
                  <c:v>Paysan Bret</c:v>
                </c:pt>
                <c:pt idx="443">
                  <c:v>All Others</c:v>
                </c:pt>
                <c:pt idx="444">
                  <c:v>All Others</c:v>
                </c:pt>
                <c:pt idx="445">
                  <c:v>All Others</c:v>
                </c:pt>
                <c:pt idx="446">
                  <c:v>All Others</c:v>
                </c:pt>
                <c:pt idx="447">
                  <c:v>All Others</c:v>
                </c:pt>
                <c:pt idx="448">
                  <c:v>All Others</c:v>
                </c:pt>
                <c:pt idx="449">
                  <c:v>All Others</c:v>
                </c:pt>
                <c:pt idx="450">
                  <c:v>All Others</c:v>
                </c:pt>
                <c:pt idx="451">
                  <c:v>All Others</c:v>
                </c:pt>
                <c:pt idx="452">
                  <c:v>All Others</c:v>
                </c:pt>
                <c:pt idx="453">
                  <c:v>All Others</c:v>
                </c:pt>
                <c:pt idx="454">
                  <c:v>All Others</c:v>
                </c:pt>
                <c:pt idx="455">
                  <c:v>All Others</c:v>
                </c:pt>
                <c:pt idx="456">
                  <c:v>All Others</c:v>
                </c:pt>
                <c:pt idx="457">
                  <c:v>All Others</c:v>
                </c:pt>
                <c:pt idx="458">
                  <c:v>La Table M</c:v>
                </c:pt>
                <c:pt idx="459">
                  <c:v>All Others</c:v>
                </c:pt>
                <c:pt idx="460">
                  <c:v>All Others</c:v>
                </c:pt>
                <c:pt idx="461">
                  <c:v>All Others</c:v>
                </c:pt>
                <c:pt idx="462">
                  <c:v>All Others</c:v>
                </c:pt>
                <c:pt idx="463">
                  <c:v>Savencia: A</c:v>
                </c:pt>
                <c:pt idx="464">
                  <c:v>All Others</c:v>
                </c:pt>
                <c:pt idx="465">
                  <c:v>All Others</c:v>
                </c:pt>
                <c:pt idx="466">
                  <c:v>All Others</c:v>
                </c:pt>
                <c:pt idx="467">
                  <c:v>All Others</c:v>
                </c:pt>
                <c:pt idx="468">
                  <c:v>All Others</c:v>
                </c:pt>
                <c:pt idx="469">
                  <c:v>All Others</c:v>
                </c:pt>
                <c:pt idx="470">
                  <c:v>All Others</c:v>
                </c:pt>
                <c:pt idx="471">
                  <c:v>All Others</c:v>
                </c:pt>
                <c:pt idx="472">
                  <c:v>All Others</c:v>
                </c:pt>
                <c:pt idx="473">
                  <c:v>All Others</c:v>
                </c:pt>
                <c:pt idx="474">
                  <c:v>All Others</c:v>
                </c:pt>
                <c:pt idx="475">
                  <c:v>All Others</c:v>
                </c:pt>
                <c:pt idx="476">
                  <c:v>All Others</c:v>
                </c:pt>
                <c:pt idx="477">
                  <c:v>All Others</c:v>
                </c:pt>
                <c:pt idx="478">
                  <c:v>All Others</c:v>
                </c:pt>
                <c:pt idx="479">
                  <c:v>All Others</c:v>
                </c:pt>
                <c:pt idx="480">
                  <c:v>All Others</c:v>
                </c:pt>
                <c:pt idx="481">
                  <c:v>All Others</c:v>
                </c:pt>
                <c:pt idx="482">
                  <c:v>All Others</c:v>
                </c:pt>
                <c:pt idx="483">
                  <c:v>All Others</c:v>
                </c:pt>
                <c:pt idx="484">
                  <c:v>All Others</c:v>
                </c:pt>
                <c:pt idx="485">
                  <c:v>All Others</c:v>
                </c:pt>
                <c:pt idx="486">
                  <c:v>All Others</c:v>
                </c:pt>
                <c:pt idx="487">
                  <c:v>All Others</c:v>
                </c:pt>
                <c:pt idx="488">
                  <c:v>Lactalis: A</c:v>
                </c:pt>
                <c:pt idx="489">
                  <c:v>All Others</c:v>
                </c:pt>
                <c:pt idx="490">
                  <c:v>All Others</c:v>
                </c:pt>
                <c:pt idx="491">
                  <c:v>All Others</c:v>
                </c:pt>
                <c:pt idx="492">
                  <c:v>Lactalis: A</c:v>
                </c:pt>
                <c:pt idx="493">
                  <c:v>All Others</c:v>
                </c:pt>
                <c:pt idx="494">
                  <c:v>All Others</c:v>
                </c:pt>
                <c:pt idx="495">
                  <c:v>All Others</c:v>
                </c:pt>
                <c:pt idx="496">
                  <c:v>All Others</c:v>
                </c:pt>
                <c:pt idx="497">
                  <c:v>All Others</c:v>
                </c:pt>
                <c:pt idx="498">
                  <c:v>All Others</c:v>
                </c:pt>
                <c:pt idx="499">
                  <c:v>All Others</c:v>
                </c:pt>
                <c:pt idx="500">
                  <c:v>All Others</c:v>
                </c:pt>
                <c:pt idx="501">
                  <c:v>All Others</c:v>
                </c:pt>
                <c:pt idx="502">
                  <c:v>All Others</c:v>
                </c:pt>
                <c:pt idx="503">
                  <c:v>All Others</c:v>
                </c:pt>
                <c:pt idx="504">
                  <c:v>Other Suppl</c:v>
                </c:pt>
                <c:pt idx="505">
                  <c:v>All Others</c:v>
                </c:pt>
                <c:pt idx="506">
                  <c:v>All Others</c:v>
                </c:pt>
                <c:pt idx="507">
                  <c:v>All Others</c:v>
                </c:pt>
                <c:pt idx="508">
                  <c:v>All Others</c:v>
                </c:pt>
                <c:pt idx="509">
                  <c:v>All Others</c:v>
                </c:pt>
                <c:pt idx="510">
                  <c:v>All Others</c:v>
                </c:pt>
                <c:pt idx="511">
                  <c:v>All Others</c:v>
                </c:pt>
                <c:pt idx="512">
                  <c:v>All Others</c:v>
                </c:pt>
                <c:pt idx="513">
                  <c:v>All Others</c:v>
                </c:pt>
                <c:pt idx="514">
                  <c:v>All Others</c:v>
                </c:pt>
                <c:pt idx="515">
                  <c:v>All Others</c:v>
                </c:pt>
                <c:pt idx="516">
                  <c:v>All Others</c:v>
                </c:pt>
                <c:pt idx="517">
                  <c:v>Etoile Du V</c:v>
                </c:pt>
                <c:pt idx="518">
                  <c:v>All Others</c:v>
                </c:pt>
                <c:pt idx="519">
                  <c:v>All Others</c:v>
                </c:pt>
                <c:pt idx="520">
                  <c:v>All Others</c:v>
                </c:pt>
                <c:pt idx="521">
                  <c:v>All Others</c:v>
                </c:pt>
                <c:pt idx="522">
                  <c:v>All Others</c:v>
                </c:pt>
                <c:pt idx="523">
                  <c:v>All Others</c:v>
                </c:pt>
                <c:pt idx="524">
                  <c:v>All Others</c:v>
                </c:pt>
                <c:pt idx="525">
                  <c:v>All Others</c:v>
                </c:pt>
                <c:pt idx="526">
                  <c:v>All Others</c:v>
                </c:pt>
                <c:pt idx="527">
                  <c:v>All Others</c:v>
                </c:pt>
                <c:pt idx="528">
                  <c:v>All Others</c:v>
                </c:pt>
                <c:pt idx="529">
                  <c:v>All Others</c:v>
                </c:pt>
                <c:pt idx="530">
                  <c:v>All Others</c:v>
                </c:pt>
                <c:pt idx="531">
                  <c:v>All Others</c:v>
                </c:pt>
                <c:pt idx="532">
                  <c:v>Other Suppl</c:v>
                </c:pt>
                <c:pt idx="533">
                  <c:v>All Others</c:v>
                </c:pt>
                <c:pt idx="534">
                  <c:v>All Others</c:v>
                </c:pt>
                <c:pt idx="535">
                  <c:v>All Others</c:v>
                </c:pt>
                <c:pt idx="536">
                  <c:v>All Others</c:v>
                </c:pt>
                <c:pt idx="537">
                  <c:v>All Others</c:v>
                </c:pt>
                <c:pt idx="538">
                  <c:v>Etoile Du V</c:v>
                </c:pt>
                <c:pt idx="539">
                  <c:v>All Others</c:v>
                </c:pt>
                <c:pt idx="540">
                  <c:v>All Others</c:v>
                </c:pt>
                <c:pt idx="541">
                  <c:v>All Others</c:v>
                </c:pt>
                <c:pt idx="542">
                  <c:v>All Others</c:v>
                </c:pt>
                <c:pt idx="543">
                  <c:v>All Others</c:v>
                </c:pt>
                <c:pt idx="544">
                  <c:v>All Others</c:v>
                </c:pt>
                <c:pt idx="545">
                  <c:v>All Others</c:v>
                </c:pt>
                <c:pt idx="546">
                  <c:v>All Others</c:v>
                </c:pt>
                <c:pt idx="547">
                  <c:v>All Others</c:v>
                </c:pt>
                <c:pt idx="548">
                  <c:v>All Others</c:v>
                </c:pt>
                <c:pt idx="549">
                  <c:v>All Others</c:v>
                </c:pt>
                <c:pt idx="550">
                  <c:v>All Others</c:v>
                </c:pt>
                <c:pt idx="551">
                  <c:v>All Others</c:v>
                </c:pt>
                <c:pt idx="552">
                  <c:v>La Vache Qu</c:v>
                </c:pt>
                <c:pt idx="553">
                  <c:v>All Others</c:v>
                </c:pt>
                <c:pt idx="554">
                  <c:v>All Others</c:v>
                </c:pt>
                <c:pt idx="555">
                  <c:v>All Others</c:v>
                </c:pt>
                <c:pt idx="556">
                  <c:v>Private Lab</c:v>
                </c:pt>
                <c:pt idx="557">
                  <c:v>All Others</c:v>
                </c:pt>
                <c:pt idx="558">
                  <c:v>All Others</c:v>
                </c:pt>
                <c:pt idx="559">
                  <c:v>All Others</c:v>
                </c:pt>
                <c:pt idx="560">
                  <c:v>All Others</c:v>
                </c:pt>
                <c:pt idx="561">
                  <c:v>All Others</c:v>
                </c:pt>
                <c:pt idx="562">
                  <c:v>All Others</c:v>
                </c:pt>
                <c:pt idx="563">
                  <c:v>All Others</c:v>
                </c:pt>
                <c:pt idx="564">
                  <c:v>All Others</c:v>
                </c:pt>
                <c:pt idx="565">
                  <c:v>All Others</c:v>
                </c:pt>
                <c:pt idx="566">
                  <c:v>All Others</c:v>
                </c:pt>
                <c:pt idx="567">
                  <c:v>All Others</c:v>
                </c:pt>
                <c:pt idx="568">
                  <c:v>All Others</c:v>
                </c:pt>
                <c:pt idx="569">
                  <c:v>Private Lab</c:v>
                </c:pt>
                <c:pt idx="570">
                  <c:v>All Others</c:v>
                </c:pt>
                <c:pt idx="571">
                  <c:v>All Others</c:v>
                </c:pt>
                <c:pt idx="572">
                  <c:v>All Others</c:v>
                </c:pt>
                <c:pt idx="573">
                  <c:v>Private Lab</c:v>
                </c:pt>
                <c:pt idx="574">
                  <c:v>Lactalis: A</c:v>
                </c:pt>
                <c:pt idx="575">
                  <c:v>All Others</c:v>
                </c:pt>
                <c:pt idx="576">
                  <c:v>All Others</c:v>
                </c:pt>
                <c:pt idx="577">
                  <c:v>Lactalis: A</c:v>
                </c:pt>
                <c:pt idx="578">
                  <c:v>All Others</c:v>
                </c:pt>
                <c:pt idx="579">
                  <c:v>All Others</c:v>
                </c:pt>
                <c:pt idx="580">
                  <c:v>All Others</c:v>
                </c:pt>
                <c:pt idx="581">
                  <c:v>All Others</c:v>
                </c:pt>
                <c:pt idx="582">
                  <c:v>Gillot</c:v>
                </c:pt>
                <c:pt idx="583">
                  <c:v>All Others</c:v>
                </c:pt>
                <c:pt idx="584">
                  <c:v>Private Lab</c:v>
                </c:pt>
                <c:pt idx="585">
                  <c:v>All Others</c:v>
                </c:pt>
                <c:pt idx="586">
                  <c:v>All Others</c:v>
                </c:pt>
                <c:pt idx="587">
                  <c:v>All Others</c:v>
                </c:pt>
                <c:pt idx="588">
                  <c:v>All Others</c:v>
                </c:pt>
                <c:pt idx="589">
                  <c:v>President</c:v>
                </c:pt>
                <c:pt idx="590">
                  <c:v>Private Lab</c:v>
                </c:pt>
                <c:pt idx="591">
                  <c:v>All Others</c:v>
                </c:pt>
                <c:pt idx="592">
                  <c:v>All Others</c:v>
                </c:pt>
              </c:strCache>
            </c:strRef>
          </c:cat>
          <c:val>
            <c:numRef>
              <c:f>Sheet1!$B$2:$B$594</c:f>
              <c:numCache>
                <c:formatCode>General</c:formatCode>
                <c:ptCount val="593"/>
                <c:pt idx="0">
                  <c:v>1</c:v>
                </c:pt>
                <c:pt idx="1">
                  <c:v>1</c:v>
                </c:pt>
                <c:pt idx="2">
                  <c:v>1</c:v>
                </c:pt>
                <c:pt idx="3">
                  <c:v>1</c:v>
                </c:pt>
                <c:pt idx="4">
                  <c:v>1</c:v>
                </c:pt>
                <c:pt idx="5">
                  <c:v>1</c:v>
                </c:pt>
                <c:pt idx="6">
                  <c:v>1</c:v>
                </c:pt>
                <c:pt idx="7">
                  <c:v>1</c:v>
                </c:pt>
                <c:pt idx="8">
                  <c:v>1</c:v>
                </c:pt>
                <c:pt idx="9">
                  <c:v>0.99</c:v>
                </c:pt>
                <c:pt idx="10">
                  <c:v>1</c:v>
                </c:pt>
                <c:pt idx="11">
                  <c:v>0.99</c:v>
                </c:pt>
                <c:pt idx="12">
                  <c:v>1</c:v>
                </c:pt>
                <c:pt idx="13">
                  <c:v>0.99</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0.99</c:v>
                </c:pt>
                <c:pt idx="31">
                  <c:v>1</c:v>
                </c:pt>
                <c:pt idx="32">
                  <c:v>1</c:v>
                </c:pt>
                <c:pt idx="33">
                  <c:v>0.99</c:v>
                </c:pt>
                <c:pt idx="34">
                  <c:v>1</c:v>
                </c:pt>
                <c:pt idx="35">
                  <c:v>1</c:v>
                </c:pt>
                <c:pt idx="36">
                  <c:v>0.99</c:v>
                </c:pt>
                <c:pt idx="37">
                  <c:v>0.99</c:v>
                </c:pt>
                <c:pt idx="38">
                  <c:v>0.99</c:v>
                </c:pt>
                <c:pt idx="39">
                  <c:v>0.98</c:v>
                </c:pt>
                <c:pt idx="40">
                  <c:v>0.99</c:v>
                </c:pt>
                <c:pt idx="41">
                  <c:v>0.99</c:v>
                </c:pt>
                <c:pt idx="42">
                  <c:v>0.99</c:v>
                </c:pt>
                <c:pt idx="43">
                  <c:v>1</c:v>
                </c:pt>
                <c:pt idx="44">
                  <c:v>1</c:v>
                </c:pt>
                <c:pt idx="45">
                  <c:v>1</c:v>
                </c:pt>
                <c:pt idx="46">
                  <c:v>1</c:v>
                </c:pt>
                <c:pt idx="47">
                  <c:v>1</c:v>
                </c:pt>
                <c:pt idx="48">
                  <c:v>0.99</c:v>
                </c:pt>
                <c:pt idx="49">
                  <c:v>1</c:v>
                </c:pt>
                <c:pt idx="50">
                  <c:v>1</c:v>
                </c:pt>
                <c:pt idx="51">
                  <c:v>1</c:v>
                </c:pt>
                <c:pt idx="52">
                  <c:v>1</c:v>
                </c:pt>
                <c:pt idx="53">
                  <c:v>1</c:v>
                </c:pt>
                <c:pt idx="54">
                  <c:v>0.99</c:v>
                </c:pt>
                <c:pt idx="55">
                  <c:v>0.98</c:v>
                </c:pt>
                <c:pt idx="56">
                  <c:v>1</c:v>
                </c:pt>
                <c:pt idx="57">
                  <c:v>0.99</c:v>
                </c:pt>
                <c:pt idx="58">
                  <c:v>1</c:v>
                </c:pt>
                <c:pt idx="59">
                  <c:v>1</c:v>
                </c:pt>
                <c:pt idx="60">
                  <c:v>1</c:v>
                </c:pt>
                <c:pt idx="61">
                  <c:v>1</c:v>
                </c:pt>
                <c:pt idx="62">
                  <c:v>0.99</c:v>
                </c:pt>
                <c:pt idx="63">
                  <c:v>1</c:v>
                </c:pt>
                <c:pt idx="64">
                  <c:v>0.99</c:v>
                </c:pt>
                <c:pt idx="65">
                  <c:v>0.98</c:v>
                </c:pt>
                <c:pt idx="66">
                  <c:v>0.98</c:v>
                </c:pt>
                <c:pt idx="67">
                  <c:v>0.99</c:v>
                </c:pt>
                <c:pt idx="68">
                  <c:v>0.99</c:v>
                </c:pt>
                <c:pt idx="69">
                  <c:v>1</c:v>
                </c:pt>
                <c:pt idx="70">
                  <c:v>0.99</c:v>
                </c:pt>
                <c:pt idx="71">
                  <c:v>1</c:v>
                </c:pt>
                <c:pt idx="72">
                  <c:v>0.66</c:v>
                </c:pt>
                <c:pt idx="73">
                  <c:v>1</c:v>
                </c:pt>
                <c:pt idx="74">
                  <c:v>1</c:v>
                </c:pt>
                <c:pt idx="75">
                  <c:v>1</c:v>
                </c:pt>
                <c:pt idx="76">
                  <c:v>1</c:v>
                </c:pt>
                <c:pt idx="77">
                  <c:v>0.99</c:v>
                </c:pt>
                <c:pt idx="78">
                  <c:v>1</c:v>
                </c:pt>
                <c:pt idx="79">
                  <c:v>1</c:v>
                </c:pt>
                <c:pt idx="80">
                  <c:v>0.99</c:v>
                </c:pt>
                <c:pt idx="81">
                  <c:v>1</c:v>
                </c:pt>
                <c:pt idx="82">
                  <c:v>1</c:v>
                </c:pt>
                <c:pt idx="83">
                  <c:v>0.98</c:v>
                </c:pt>
                <c:pt idx="84">
                  <c:v>1</c:v>
                </c:pt>
                <c:pt idx="85">
                  <c:v>0.97</c:v>
                </c:pt>
                <c:pt idx="86">
                  <c:v>0.98</c:v>
                </c:pt>
                <c:pt idx="87">
                  <c:v>0.99</c:v>
                </c:pt>
                <c:pt idx="88">
                  <c:v>0.97</c:v>
                </c:pt>
                <c:pt idx="89">
                  <c:v>0.99</c:v>
                </c:pt>
                <c:pt idx="90">
                  <c:v>0.99</c:v>
                </c:pt>
                <c:pt idx="91">
                  <c:v>1</c:v>
                </c:pt>
                <c:pt idx="92">
                  <c:v>0.99</c:v>
                </c:pt>
                <c:pt idx="93">
                  <c:v>1</c:v>
                </c:pt>
                <c:pt idx="94">
                  <c:v>0.99</c:v>
                </c:pt>
                <c:pt idx="95">
                  <c:v>1</c:v>
                </c:pt>
                <c:pt idx="96">
                  <c:v>0.94</c:v>
                </c:pt>
                <c:pt idx="97">
                  <c:v>0.95</c:v>
                </c:pt>
                <c:pt idx="98">
                  <c:v>0.98</c:v>
                </c:pt>
                <c:pt idx="99">
                  <c:v>0.98</c:v>
                </c:pt>
                <c:pt idx="100">
                  <c:v>0.98</c:v>
                </c:pt>
                <c:pt idx="101">
                  <c:v>0.97</c:v>
                </c:pt>
                <c:pt idx="102">
                  <c:v>1</c:v>
                </c:pt>
                <c:pt idx="103">
                  <c:v>0.85</c:v>
                </c:pt>
                <c:pt idx="104">
                  <c:v>0.98</c:v>
                </c:pt>
                <c:pt idx="105">
                  <c:v>0.98</c:v>
                </c:pt>
                <c:pt idx="106">
                  <c:v>1</c:v>
                </c:pt>
                <c:pt idx="107">
                  <c:v>0.99</c:v>
                </c:pt>
                <c:pt idx="108">
                  <c:v>0.99</c:v>
                </c:pt>
                <c:pt idx="109">
                  <c:v>0.99</c:v>
                </c:pt>
                <c:pt idx="110">
                  <c:v>0.99</c:v>
                </c:pt>
                <c:pt idx="111">
                  <c:v>0.78</c:v>
                </c:pt>
                <c:pt idx="112">
                  <c:v>0.97</c:v>
                </c:pt>
                <c:pt idx="113">
                  <c:v>0.99</c:v>
                </c:pt>
                <c:pt idx="114">
                  <c:v>0.98</c:v>
                </c:pt>
                <c:pt idx="115">
                  <c:v>0.99</c:v>
                </c:pt>
                <c:pt idx="116">
                  <c:v>0.99</c:v>
                </c:pt>
                <c:pt idx="117">
                  <c:v>0.97</c:v>
                </c:pt>
                <c:pt idx="118">
                  <c:v>0.96</c:v>
                </c:pt>
                <c:pt idx="119">
                  <c:v>0.97</c:v>
                </c:pt>
                <c:pt idx="120">
                  <c:v>0.99</c:v>
                </c:pt>
                <c:pt idx="121">
                  <c:v>1</c:v>
                </c:pt>
                <c:pt idx="122">
                  <c:v>0.98</c:v>
                </c:pt>
                <c:pt idx="123">
                  <c:v>0.97</c:v>
                </c:pt>
                <c:pt idx="124">
                  <c:v>0.98</c:v>
                </c:pt>
                <c:pt idx="125">
                  <c:v>0.99</c:v>
                </c:pt>
                <c:pt idx="126">
                  <c:v>0.99</c:v>
                </c:pt>
                <c:pt idx="127">
                  <c:v>0.98</c:v>
                </c:pt>
                <c:pt idx="128">
                  <c:v>0.98</c:v>
                </c:pt>
                <c:pt idx="129">
                  <c:v>0.99</c:v>
                </c:pt>
                <c:pt idx="130">
                  <c:v>0.99</c:v>
                </c:pt>
                <c:pt idx="131">
                  <c:v>0.63</c:v>
                </c:pt>
                <c:pt idx="132">
                  <c:v>0.99</c:v>
                </c:pt>
                <c:pt idx="133">
                  <c:v>0.99</c:v>
                </c:pt>
                <c:pt idx="134">
                  <c:v>0.98</c:v>
                </c:pt>
                <c:pt idx="135">
                  <c:v>0.98</c:v>
                </c:pt>
                <c:pt idx="136">
                  <c:v>0.98</c:v>
                </c:pt>
                <c:pt idx="137">
                  <c:v>0.99</c:v>
                </c:pt>
                <c:pt idx="138">
                  <c:v>0.99</c:v>
                </c:pt>
                <c:pt idx="139">
                  <c:v>0.99</c:v>
                </c:pt>
                <c:pt idx="140">
                  <c:v>0.99</c:v>
                </c:pt>
                <c:pt idx="141">
                  <c:v>0.99</c:v>
                </c:pt>
                <c:pt idx="142">
                  <c:v>0.85</c:v>
                </c:pt>
                <c:pt idx="143">
                  <c:v>0.96</c:v>
                </c:pt>
                <c:pt idx="144">
                  <c:v>0.99</c:v>
                </c:pt>
                <c:pt idx="145">
                  <c:v>0.99</c:v>
                </c:pt>
                <c:pt idx="146">
                  <c:v>1</c:v>
                </c:pt>
                <c:pt idx="147">
                  <c:v>0.99</c:v>
                </c:pt>
                <c:pt idx="148">
                  <c:v>0.68</c:v>
                </c:pt>
                <c:pt idx="149">
                  <c:v>0.99</c:v>
                </c:pt>
                <c:pt idx="150">
                  <c:v>0.99</c:v>
                </c:pt>
                <c:pt idx="151">
                  <c:v>0.99</c:v>
                </c:pt>
                <c:pt idx="152">
                  <c:v>0.79</c:v>
                </c:pt>
                <c:pt idx="153">
                  <c:v>0.88</c:v>
                </c:pt>
                <c:pt idx="154">
                  <c:v>0.99</c:v>
                </c:pt>
                <c:pt idx="155">
                  <c:v>0.95</c:v>
                </c:pt>
                <c:pt idx="156">
                  <c:v>0.99</c:v>
                </c:pt>
                <c:pt idx="157">
                  <c:v>0.99</c:v>
                </c:pt>
                <c:pt idx="158">
                  <c:v>0.96</c:v>
                </c:pt>
                <c:pt idx="159">
                  <c:v>0.93</c:v>
                </c:pt>
                <c:pt idx="160">
                  <c:v>0.99</c:v>
                </c:pt>
                <c:pt idx="161">
                  <c:v>0.96</c:v>
                </c:pt>
                <c:pt idx="162">
                  <c:v>0.99</c:v>
                </c:pt>
                <c:pt idx="163">
                  <c:v>0.99</c:v>
                </c:pt>
                <c:pt idx="164">
                  <c:v>0.95</c:v>
                </c:pt>
                <c:pt idx="165">
                  <c:v>0.72</c:v>
                </c:pt>
                <c:pt idx="166">
                  <c:v>0.97</c:v>
                </c:pt>
                <c:pt idx="167">
                  <c:v>0.96</c:v>
                </c:pt>
                <c:pt idx="168">
                  <c:v>1</c:v>
                </c:pt>
                <c:pt idx="169">
                  <c:v>0.78</c:v>
                </c:pt>
                <c:pt idx="170">
                  <c:v>0.97</c:v>
                </c:pt>
                <c:pt idx="171">
                  <c:v>0.98</c:v>
                </c:pt>
                <c:pt idx="172">
                  <c:v>0.97</c:v>
                </c:pt>
                <c:pt idx="173">
                  <c:v>0.28000000000000003</c:v>
                </c:pt>
                <c:pt idx="174">
                  <c:v>0.97</c:v>
                </c:pt>
                <c:pt idx="175">
                  <c:v>0.97</c:v>
                </c:pt>
                <c:pt idx="176">
                  <c:v>0.83</c:v>
                </c:pt>
                <c:pt idx="177">
                  <c:v>0.8</c:v>
                </c:pt>
                <c:pt idx="178">
                  <c:v>0.98</c:v>
                </c:pt>
                <c:pt idx="179">
                  <c:v>0.96</c:v>
                </c:pt>
                <c:pt idx="180">
                  <c:v>0.98</c:v>
                </c:pt>
                <c:pt idx="181">
                  <c:v>0.99</c:v>
                </c:pt>
                <c:pt idx="182">
                  <c:v>0.94</c:v>
                </c:pt>
                <c:pt idx="183">
                  <c:v>0.99</c:v>
                </c:pt>
                <c:pt idx="184">
                  <c:v>0.98</c:v>
                </c:pt>
                <c:pt idx="185">
                  <c:v>0.94</c:v>
                </c:pt>
                <c:pt idx="186">
                  <c:v>0.93</c:v>
                </c:pt>
                <c:pt idx="187">
                  <c:v>1</c:v>
                </c:pt>
                <c:pt idx="188">
                  <c:v>0.97</c:v>
                </c:pt>
                <c:pt idx="189">
                  <c:v>0.7</c:v>
                </c:pt>
                <c:pt idx="190">
                  <c:v>0.98</c:v>
                </c:pt>
                <c:pt idx="191">
                  <c:v>0.56999999999999995</c:v>
                </c:pt>
                <c:pt idx="192">
                  <c:v>0.91</c:v>
                </c:pt>
                <c:pt idx="193">
                  <c:v>0.96</c:v>
                </c:pt>
                <c:pt idx="194">
                  <c:v>0.92</c:v>
                </c:pt>
                <c:pt idx="195">
                  <c:v>0.56999999999999995</c:v>
                </c:pt>
                <c:pt idx="196">
                  <c:v>0.99</c:v>
                </c:pt>
                <c:pt idx="197">
                  <c:v>0.76</c:v>
                </c:pt>
                <c:pt idx="198">
                  <c:v>0.99</c:v>
                </c:pt>
                <c:pt idx="199">
                  <c:v>0.91</c:v>
                </c:pt>
                <c:pt idx="200">
                  <c:v>0.45</c:v>
                </c:pt>
                <c:pt idx="201">
                  <c:v>0.97</c:v>
                </c:pt>
                <c:pt idx="202">
                  <c:v>0.94</c:v>
                </c:pt>
                <c:pt idx="203">
                  <c:v>0.98</c:v>
                </c:pt>
                <c:pt idx="204">
                  <c:v>0.94</c:v>
                </c:pt>
                <c:pt idx="205">
                  <c:v>0.96</c:v>
                </c:pt>
                <c:pt idx="206">
                  <c:v>0.98</c:v>
                </c:pt>
                <c:pt idx="207">
                  <c:v>0.99</c:v>
                </c:pt>
                <c:pt idx="208">
                  <c:v>0.73</c:v>
                </c:pt>
                <c:pt idx="209">
                  <c:v>0.97</c:v>
                </c:pt>
                <c:pt idx="210">
                  <c:v>0.53</c:v>
                </c:pt>
                <c:pt idx="211">
                  <c:v>0.99</c:v>
                </c:pt>
                <c:pt idx="212">
                  <c:v>0.92</c:v>
                </c:pt>
                <c:pt idx="213">
                  <c:v>0.93</c:v>
                </c:pt>
                <c:pt idx="214">
                  <c:v>0.98</c:v>
                </c:pt>
                <c:pt idx="215">
                  <c:v>0.96</c:v>
                </c:pt>
                <c:pt idx="216">
                  <c:v>0.74</c:v>
                </c:pt>
                <c:pt idx="217">
                  <c:v>0.23</c:v>
                </c:pt>
                <c:pt idx="218">
                  <c:v>0.82</c:v>
                </c:pt>
                <c:pt idx="219">
                  <c:v>0.7</c:v>
                </c:pt>
                <c:pt idx="220">
                  <c:v>0.68</c:v>
                </c:pt>
                <c:pt idx="221">
                  <c:v>0.96</c:v>
                </c:pt>
                <c:pt idx="222">
                  <c:v>0.78</c:v>
                </c:pt>
                <c:pt idx="223">
                  <c:v>0.78</c:v>
                </c:pt>
                <c:pt idx="224">
                  <c:v>0.87</c:v>
                </c:pt>
                <c:pt idx="225">
                  <c:v>0.68</c:v>
                </c:pt>
                <c:pt idx="226">
                  <c:v>0.55000000000000004</c:v>
                </c:pt>
                <c:pt idx="227">
                  <c:v>0.98</c:v>
                </c:pt>
                <c:pt idx="228">
                  <c:v>0.99</c:v>
                </c:pt>
                <c:pt idx="229">
                  <c:v>0.95</c:v>
                </c:pt>
                <c:pt idx="230">
                  <c:v>0.1</c:v>
                </c:pt>
                <c:pt idx="231">
                  <c:v>0.44</c:v>
                </c:pt>
                <c:pt idx="232">
                  <c:v>0.98</c:v>
                </c:pt>
                <c:pt idx="233">
                  <c:v>0.93</c:v>
                </c:pt>
                <c:pt idx="234">
                  <c:v>0.94</c:v>
                </c:pt>
                <c:pt idx="235">
                  <c:v>0.84</c:v>
                </c:pt>
                <c:pt idx="236">
                  <c:v>0.88</c:v>
                </c:pt>
                <c:pt idx="237">
                  <c:v>0.94</c:v>
                </c:pt>
                <c:pt idx="238">
                  <c:v>0.64</c:v>
                </c:pt>
                <c:pt idx="239">
                  <c:v>0.47</c:v>
                </c:pt>
                <c:pt idx="240">
                  <c:v>0.61</c:v>
                </c:pt>
                <c:pt idx="241">
                  <c:v>0.44</c:v>
                </c:pt>
                <c:pt idx="242">
                  <c:v>0.28999999999999998</c:v>
                </c:pt>
                <c:pt idx="243">
                  <c:v>0.28000000000000003</c:v>
                </c:pt>
                <c:pt idx="244">
                  <c:v>0.98</c:v>
                </c:pt>
                <c:pt idx="245">
                  <c:v>0.23</c:v>
                </c:pt>
                <c:pt idx="246">
                  <c:v>0.41</c:v>
                </c:pt>
                <c:pt idx="247">
                  <c:v>0.95</c:v>
                </c:pt>
                <c:pt idx="248">
                  <c:v>0.22</c:v>
                </c:pt>
                <c:pt idx="249">
                  <c:v>0.89</c:v>
                </c:pt>
                <c:pt idx="250">
                  <c:v>0.76</c:v>
                </c:pt>
                <c:pt idx="251">
                  <c:v>0.92</c:v>
                </c:pt>
                <c:pt idx="252">
                  <c:v>0.73</c:v>
                </c:pt>
                <c:pt idx="253">
                  <c:v>0.85</c:v>
                </c:pt>
                <c:pt idx="254">
                  <c:v>0.95</c:v>
                </c:pt>
                <c:pt idx="255">
                  <c:v>0.92</c:v>
                </c:pt>
                <c:pt idx="256">
                  <c:v>0.94</c:v>
                </c:pt>
                <c:pt idx="257">
                  <c:v>0.22</c:v>
                </c:pt>
                <c:pt idx="258">
                  <c:v>0.94</c:v>
                </c:pt>
                <c:pt idx="259">
                  <c:v>0.56000000000000005</c:v>
                </c:pt>
                <c:pt idx="260">
                  <c:v>0.98</c:v>
                </c:pt>
                <c:pt idx="261">
                  <c:v>0.97</c:v>
                </c:pt>
                <c:pt idx="262">
                  <c:v>0.59</c:v>
                </c:pt>
                <c:pt idx="263">
                  <c:v>0.97</c:v>
                </c:pt>
                <c:pt idx="264">
                  <c:v>0.74</c:v>
                </c:pt>
                <c:pt idx="265">
                  <c:v>0.84</c:v>
                </c:pt>
                <c:pt idx="266">
                  <c:v>0.98</c:v>
                </c:pt>
                <c:pt idx="267">
                  <c:v>0.97</c:v>
                </c:pt>
                <c:pt idx="268">
                  <c:v>0.12</c:v>
                </c:pt>
                <c:pt idx="269">
                  <c:v>0.36</c:v>
                </c:pt>
                <c:pt idx="270">
                  <c:v>0.71</c:v>
                </c:pt>
                <c:pt idx="271">
                  <c:v>0.15</c:v>
                </c:pt>
                <c:pt idx="272">
                  <c:v>0.12</c:v>
                </c:pt>
                <c:pt idx="273">
                  <c:v>0.8</c:v>
                </c:pt>
                <c:pt idx="274">
                  <c:v>0.06</c:v>
                </c:pt>
                <c:pt idx="275">
                  <c:v>0.23</c:v>
                </c:pt>
                <c:pt idx="276">
                  <c:v>0.69</c:v>
                </c:pt>
                <c:pt idx="277">
                  <c:v>0.94</c:v>
                </c:pt>
                <c:pt idx="278">
                  <c:v>0.86</c:v>
                </c:pt>
                <c:pt idx="279">
                  <c:v>0.77</c:v>
                </c:pt>
                <c:pt idx="280">
                  <c:v>0.31</c:v>
                </c:pt>
                <c:pt idx="281">
                  <c:v>0.17</c:v>
                </c:pt>
                <c:pt idx="282">
                  <c:v>0.7</c:v>
                </c:pt>
                <c:pt idx="283">
                  <c:v>0.86</c:v>
                </c:pt>
                <c:pt idx="284">
                  <c:v>0.73</c:v>
                </c:pt>
                <c:pt idx="285">
                  <c:v>0.31</c:v>
                </c:pt>
                <c:pt idx="286">
                  <c:v>0.82</c:v>
                </c:pt>
                <c:pt idx="287">
                  <c:v>0.45</c:v>
                </c:pt>
                <c:pt idx="288">
                  <c:v>0.41</c:v>
                </c:pt>
                <c:pt idx="289">
                  <c:v>0.93</c:v>
                </c:pt>
                <c:pt idx="290">
                  <c:v>0.9</c:v>
                </c:pt>
                <c:pt idx="291">
                  <c:v>0.25</c:v>
                </c:pt>
                <c:pt idx="292">
                  <c:v>0.21</c:v>
                </c:pt>
                <c:pt idx="293">
                  <c:v>0.19</c:v>
                </c:pt>
                <c:pt idx="294">
                  <c:v>0.66</c:v>
                </c:pt>
                <c:pt idx="295">
                  <c:v>0.11</c:v>
                </c:pt>
                <c:pt idx="296">
                  <c:v>0.08</c:v>
                </c:pt>
                <c:pt idx="297">
                  <c:v>0.12</c:v>
                </c:pt>
                <c:pt idx="298">
                  <c:v>0.25</c:v>
                </c:pt>
                <c:pt idx="299">
                  <c:v>0.94</c:v>
                </c:pt>
                <c:pt idx="300">
                  <c:v>0.11</c:v>
                </c:pt>
                <c:pt idx="301">
                  <c:v>0.99</c:v>
                </c:pt>
                <c:pt idx="302">
                  <c:v>0.12</c:v>
                </c:pt>
                <c:pt idx="303">
                  <c:v>0.22</c:v>
                </c:pt>
                <c:pt idx="304">
                  <c:v>0.12</c:v>
                </c:pt>
                <c:pt idx="305">
                  <c:v>0.45</c:v>
                </c:pt>
                <c:pt idx="306">
                  <c:v>0.16</c:v>
                </c:pt>
                <c:pt idx="307">
                  <c:v>0.05</c:v>
                </c:pt>
                <c:pt idx="308">
                  <c:v>0.18</c:v>
                </c:pt>
                <c:pt idx="309">
                  <c:v>0.22</c:v>
                </c:pt>
                <c:pt idx="310">
                  <c:v>0.11</c:v>
                </c:pt>
                <c:pt idx="311">
                  <c:v>0.72</c:v>
                </c:pt>
                <c:pt idx="312">
                  <c:v>0.12</c:v>
                </c:pt>
                <c:pt idx="313">
                  <c:v>0.08</c:v>
                </c:pt>
                <c:pt idx="314">
                  <c:v>0.21</c:v>
                </c:pt>
                <c:pt idx="315">
                  <c:v>0.02</c:v>
                </c:pt>
                <c:pt idx="316">
                  <c:v>0.89</c:v>
                </c:pt>
                <c:pt idx="317">
                  <c:v>0.15</c:v>
                </c:pt>
                <c:pt idx="318">
                  <c:v>0.09</c:v>
                </c:pt>
                <c:pt idx="319">
                  <c:v>0.85</c:v>
                </c:pt>
                <c:pt idx="320">
                  <c:v>0.38</c:v>
                </c:pt>
                <c:pt idx="321">
                  <c:v>0.02</c:v>
                </c:pt>
                <c:pt idx="322">
                  <c:v>0.05</c:v>
                </c:pt>
                <c:pt idx="323">
                  <c:v>0.18</c:v>
                </c:pt>
                <c:pt idx="324">
                  <c:v>0.86</c:v>
                </c:pt>
                <c:pt idx="325">
                  <c:v>0.02</c:v>
                </c:pt>
                <c:pt idx="326">
                  <c:v>0.39</c:v>
                </c:pt>
                <c:pt idx="327">
                  <c:v>0.1</c:v>
                </c:pt>
                <c:pt idx="328">
                  <c:v>0.5</c:v>
                </c:pt>
                <c:pt idx="329">
                  <c:v>0.08</c:v>
                </c:pt>
                <c:pt idx="330">
                  <c:v>0.09</c:v>
                </c:pt>
                <c:pt idx="331">
                  <c:v>0.84</c:v>
                </c:pt>
                <c:pt idx="332">
                  <c:v>0.31</c:v>
                </c:pt>
                <c:pt idx="333">
                  <c:v>0.92</c:v>
                </c:pt>
                <c:pt idx="334">
                  <c:v>0.73</c:v>
                </c:pt>
                <c:pt idx="335">
                  <c:v>0.37</c:v>
                </c:pt>
                <c:pt idx="336">
                  <c:v>0.06</c:v>
                </c:pt>
                <c:pt idx="337">
                  <c:v>0.8</c:v>
                </c:pt>
                <c:pt idx="338">
                  <c:v>7.0000000000000007E-2</c:v>
                </c:pt>
                <c:pt idx="339">
                  <c:v>0.45</c:v>
                </c:pt>
                <c:pt idx="340">
                  <c:v>0.2</c:v>
                </c:pt>
                <c:pt idx="341">
                  <c:v>0.14000000000000001</c:v>
                </c:pt>
                <c:pt idx="342">
                  <c:v>0.18</c:v>
                </c:pt>
                <c:pt idx="343">
                  <c:v>0.65</c:v>
                </c:pt>
                <c:pt idx="344">
                  <c:v>0.06</c:v>
                </c:pt>
                <c:pt idx="345">
                  <c:v>0.09</c:v>
                </c:pt>
                <c:pt idx="346">
                  <c:v>0.4</c:v>
                </c:pt>
                <c:pt idx="347">
                  <c:v>0.16</c:v>
                </c:pt>
                <c:pt idx="348">
                  <c:v>0.14000000000000001</c:v>
                </c:pt>
                <c:pt idx="349">
                  <c:v>0.33</c:v>
                </c:pt>
                <c:pt idx="350">
                  <c:v>0.02</c:v>
                </c:pt>
                <c:pt idx="351">
                  <c:v>0.32</c:v>
                </c:pt>
                <c:pt idx="352">
                  <c:v>0.84</c:v>
                </c:pt>
                <c:pt idx="353">
                  <c:v>7.0000000000000007E-2</c:v>
                </c:pt>
                <c:pt idx="354">
                  <c:v>0.24</c:v>
                </c:pt>
                <c:pt idx="355">
                  <c:v>0.67</c:v>
                </c:pt>
                <c:pt idx="356">
                  <c:v>7.0000000000000007E-2</c:v>
                </c:pt>
                <c:pt idx="357">
                  <c:v>0.09</c:v>
                </c:pt>
                <c:pt idx="358">
                  <c:v>0.03</c:v>
                </c:pt>
                <c:pt idx="359">
                  <c:v>0.03</c:v>
                </c:pt>
                <c:pt idx="360">
                  <c:v>0.81</c:v>
                </c:pt>
                <c:pt idx="361">
                  <c:v>0.05</c:v>
                </c:pt>
                <c:pt idx="362">
                  <c:v>0.09</c:v>
                </c:pt>
                <c:pt idx="363">
                  <c:v>0.24</c:v>
                </c:pt>
                <c:pt idx="364">
                  <c:v>0.21</c:v>
                </c:pt>
                <c:pt idx="365">
                  <c:v>0.02</c:v>
                </c:pt>
                <c:pt idx="366">
                  <c:v>0.14000000000000001</c:v>
                </c:pt>
                <c:pt idx="367">
                  <c:v>0.13</c:v>
                </c:pt>
                <c:pt idx="368">
                  <c:v>0.06</c:v>
                </c:pt>
                <c:pt idx="369">
                  <c:v>0.55000000000000004</c:v>
                </c:pt>
                <c:pt idx="370">
                  <c:v>0.04</c:v>
                </c:pt>
                <c:pt idx="371">
                  <c:v>0.08</c:v>
                </c:pt>
                <c:pt idx="372">
                  <c:v>0.03</c:v>
                </c:pt>
                <c:pt idx="373">
                  <c:v>0.21</c:v>
                </c:pt>
                <c:pt idx="374">
                  <c:v>0.08</c:v>
                </c:pt>
                <c:pt idx="375">
                  <c:v>0.06</c:v>
                </c:pt>
                <c:pt idx="376">
                  <c:v>0.01</c:v>
                </c:pt>
                <c:pt idx="377">
                  <c:v>0.04</c:v>
                </c:pt>
                <c:pt idx="378">
                  <c:v>0.14000000000000001</c:v>
                </c:pt>
                <c:pt idx="379">
                  <c:v>0.43</c:v>
                </c:pt>
                <c:pt idx="380">
                  <c:v>0.1</c:v>
                </c:pt>
                <c:pt idx="381">
                  <c:v>0.15</c:v>
                </c:pt>
                <c:pt idx="382">
                  <c:v>0.11</c:v>
                </c:pt>
                <c:pt idx="383">
                  <c:v>0.64</c:v>
                </c:pt>
                <c:pt idx="384">
                  <c:v>0.04</c:v>
                </c:pt>
                <c:pt idx="385">
                  <c:v>0.12</c:v>
                </c:pt>
                <c:pt idx="386">
                  <c:v>0.11</c:v>
                </c:pt>
                <c:pt idx="387">
                  <c:v>0.02</c:v>
                </c:pt>
                <c:pt idx="388">
                  <c:v>0.09</c:v>
                </c:pt>
                <c:pt idx="389">
                  <c:v>0.08</c:v>
                </c:pt>
                <c:pt idx="390">
                  <c:v>0.02</c:v>
                </c:pt>
                <c:pt idx="391">
                  <c:v>0.26</c:v>
                </c:pt>
                <c:pt idx="392">
                  <c:v>0.06</c:v>
                </c:pt>
                <c:pt idx="393">
                  <c:v>0.01</c:v>
                </c:pt>
                <c:pt idx="394">
                  <c:v>0.11</c:v>
                </c:pt>
                <c:pt idx="395">
                  <c:v>0.2</c:v>
                </c:pt>
                <c:pt idx="396">
                  <c:v>0.5</c:v>
                </c:pt>
                <c:pt idx="397">
                  <c:v>0.03</c:v>
                </c:pt>
                <c:pt idx="398">
                  <c:v>0.09</c:v>
                </c:pt>
                <c:pt idx="399">
                  <c:v>0.14000000000000001</c:v>
                </c:pt>
                <c:pt idx="400">
                  <c:v>0.04</c:v>
                </c:pt>
                <c:pt idx="401">
                  <c:v>0.51</c:v>
                </c:pt>
                <c:pt idx="402">
                  <c:v>0.15</c:v>
                </c:pt>
                <c:pt idx="403">
                  <c:v>0.05</c:v>
                </c:pt>
                <c:pt idx="404">
                  <c:v>0.03</c:v>
                </c:pt>
                <c:pt idx="405">
                  <c:v>7.0000000000000007E-2</c:v>
                </c:pt>
                <c:pt idx="406">
                  <c:v>0.09</c:v>
                </c:pt>
                <c:pt idx="407">
                  <c:v>0.16</c:v>
                </c:pt>
                <c:pt idx="408">
                  <c:v>0.05</c:v>
                </c:pt>
                <c:pt idx="409">
                  <c:v>0.05</c:v>
                </c:pt>
                <c:pt idx="410">
                  <c:v>0.02</c:v>
                </c:pt>
                <c:pt idx="411">
                  <c:v>0.08</c:v>
                </c:pt>
                <c:pt idx="412">
                  <c:v>0.03</c:v>
                </c:pt>
                <c:pt idx="413">
                  <c:v>0.05</c:v>
                </c:pt>
                <c:pt idx="414">
                  <c:v>0.08</c:v>
                </c:pt>
                <c:pt idx="415">
                  <c:v>0.13</c:v>
                </c:pt>
                <c:pt idx="416">
                  <c:v>0.44</c:v>
                </c:pt>
                <c:pt idx="417">
                  <c:v>0.09</c:v>
                </c:pt>
                <c:pt idx="418">
                  <c:v>0.09</c:v>
                </c:pt>
                <c:pt idx="419">
                  <c:v>0.05</c:v>
                </c:pt>
                <c:pt idx="420">
                  <c:v>0.17</c:v>
                </c:pt>
                <c:pt idx="421">
                  <c:v>0.4</c:v>
                </c:pt>
                <c:pt idx="422">
                  <c:v>0.08</c:v>
                </c:pt>
                <c:pt idx="423">
                  <c:v>0.03</c:v>
                </c:pt>
                <c:pt idx="424">
                  <c:v>0.1</c:v>
                </c:pt>
                <c:pt idx="425">
                  <c:v>0.15</c:v>
                </c:pt>
                <c:pt idx="426">
                  <c:v>0.06</c:v>
                </c:pt>
                <c:pt idx="427">
                  <c:v>0.02</c:v>
                </c:pt>
                <c:pt idx="428">
                  <c:v>0.04</c:v>
                </c:pt>
                <c:pt idx="429">
                  <c:v>0.04</c:v>
                </c:pt>
                <c:pt idx="430">
                  <c:v>0.15</c:v>
                </c:pt>
                <c:pt idx="431">
                  <c:v>0.09</c:v>
                </c:pt>
                <c:pt idx="432">
                  <c:v>0.15</c:v>
                </c:pt>
                <c:pt idx="433">
                  <c:v>0.08</c:v>
                </c:pt>
                <c:pt idx="434">
                  <c:v>0.03</c:v>
                </c:pt>
                <c:pt idx="435">
                  <c:v>0.01</c:v>
                </c:pt>
                <c:pt idx="436">
                  <c:v>0.03</c:v>
                </c:pt>
                <c:pt idx="437">
                  <c:v>0.04</c:v>
                </c:pt>
                <c:pt idx="438">
                  <c:v>0.01</c:v>
                </c:pt>
                <c:pt idx="439">
                  <c:v>0.01</c:v>
                </c:pt>
                <c:pt idx="440">
                  <c:v>0.02</c:v>
                </c:pt>
                <c:pt idx="441">
                  <c:v>0.04</c:v>
                </c:pt>
                <c:pt idx="442">
                  <c:v>0.23</c:v>
                </c:pt>
                <c:pt idx="443">
                  <c:v>0.06</c:v>
                </c:pt>
                <c:pt idx="444">
                  <c:v>0.04</c:v>
                </c:pt>
                <c:pt idx="445">
                  <c:v>0.21</c:v>
                </c:pt>
                <c:pt idx="446">
                  <c:v>0.06</c:v>
                </c:pt>
                <c:pt idx="447">
                  <c:v>0.03</c:v>
                </c:pt>
                <c:pt idx="448">
                  <c:v>0.05</c:v>
                </c:pt>
                <c:pt idx="449">
                  <c:v>0.03</c:v>
                </c:pt>
                <c:pt idx="450">
                  <c:v>0.04</c:v>
                </c:pt>
                <c:pt idx="451">
                  <c:v>0.03</c:v>
                </c:pt>
                <c:pt idx="452">
                  <c:v>0.02</c:v>
                </c:pt>
                <c:pt idx="453">
                  <c:v>0.11</c:v>
                </c:pt>
                <c:pt idx="454">
                  <c:v>0.14000000000000001</c:v>
                </c:pt>
                <c:pt idx="455">
                  <c:v>0.03</c:v>
                </c:pt>
                <c:pt idx="456">
                  <c:v>0.15</c:v>
                </c:pt>
                <c:pt idx="457">
                  <c:v>0.05</c:v>
                </c:pt>
                <c:pt idx="458">
                  <c:v>0.04</c:v>
                </c:pt>
                <c:pt idx="459">
                  <c:v>0.09</c:v>
                </c:pt>
                <c:pt idx="460">
                  <c:v>0.02</c:v>
                </c:pt>
                <c:pt idx="461">
                  <c:v>0.03</c:v>
                </c:pt>
                <c:pt idx="462">
                  <c:v>0.11</c:v>
                </c:pt>
                <c:pt idx="463">
                  <c:v>0.06</c:v>
                </c:pt>
                <c:pt idx="464">
                  <c:v>0.13</c:v>
                </c:pt>
                <c:pt idx="465">
                  <c:v>0.01</c:v>
                </c:pt>
                <c:pt idx="466">
                  <c:v>0.06</c:v>
                </c:pt>
                <c:pt idx="467">
                  <c:v>0.15</c:v>
                </c:pt>
                <c:pt idx="468">
                  <c:v>0.02</c:v>
                </c:pt>
                <c:pt idx="469">
                  <c:v>0.04</c:v>
                </c:pt>
                <c:pt idx="470">
                  <c:v>0.14000000000000001</c:v>
                </c:pt>
                <c:pt idx="471">
                  <c:v>0.41</c:v>
                </c:pt>
                <c:pt idx="472">
                  <c:v>0.02</c:v>
                </c:pt>
                <c:pt idx="473">
                  <c:v>0.01</c:v>
                </c:pt>
                <c:pt idx="474">
                  <c:v>0.06</c:v>
                </c:pt>
                <c:pt idx="475">
                  <c:v>0.04</c:v>
                </c:pt>
                <c:pt idx="476">
                  <c:v>0.04</c:v>
                </c:pt>
                <c:pt idx="477">
                  <c:v>0.08</c:v>
                </c:pt>
                <c:pt idx="478">
                  <c:v>0.06</c:v>
                </c:pt>
                <c:pt idx="479">
                  <c:v>0.06</c:v>
                </c:pt>
                <c:pt idx="480">
                  <c:v>0.05</c:v>
                </c:pt>
                <c:pt idx="481">
                  <c:v>0.05</c:v>
                </c:pt>
                <c:pt idx="482">
                  <c:v>0.04</c:v>
                </c:pt>
                <c:pt idx="483">
                  <c:v>0.01</c:v>
                </c:pt>
                <c:pt idx="484">
                  <c:v>0.03</c:v>
                </c:pt>
                <c:pt idx="485">
                  <c:v>0.08</c:v>
                </c:pt>
                <c:pt idx="486">
                  <c:v>0.01</c:v>
                </c:pt>
                <c:pt idx="487">
                  <c:v>0.09</c:v>
                </c:pt>
                <c:pt idx="488">
                  <c:v>0.05</c:v>
                </c:pt>
                <c:pt idx="489">
                  <c:v>0.02</c:v>
                </c:pt>
                <c:pt idx="490">
                  <c:v>0.08</c:v>
                </c:pt>
                <c:pt idx="491">
                  <c:v>0.09</c:v>
                </c:pt>
                <c:pt idx="492">
                  <c:v>0.02</c:v>
                </c:pt>
                <c:pt idx="493">
                  <c:v>0.03</c:v>
                </c:pt>
                <c:pt idx="494">
                  <c:v>0.03</c:v>
                </c:pt>
                <c:pt idx="495">
                  <c:v>0.1</c:v>
                </c:pt>
                <c:pt idx="496">
                  <c:v>0.1</c:v>
                </c:pt>
                <c:pt idx="497">
                  <c:v>0.02</c:v>
                </c:pt>
                <c:pt idx="498">
                  <c:v>0.06</c:v>
                </c:pt>
                <c:pt idx="499">
                  <c:v>0.04</c:v>
                </c:pt>
                <c:pt idx="500">
                  <c:v>0.12</c:v>
                </c:pt>
                <c:pt idx="501">
                  <c:v>0.02</c:v>
                </c:pt>
                <c:pt idx="502">
                  <c:v>0.03</c:v>
                </c:pt>
                <c:pt idx="503">
                  <c:v>0.02</c:v>
                </c:pt>
                <c:pt idx="504">
                  <c:v>0.12</c:v>
                </c:pt>
                <c:pt idx="505">
                  <c:v>0.1</c:v>
                </c:pt>
                <c:pt idx="506">
                  <c:v>0.04</c:v>
                </c:pt>
                <c:pt idx="507">
                  <c:v>0.04</c:v>
                </c:pt>
                <c:pt idx="508">
                  <c:v>7.0000000000000007E-2</c:v>
                </c:pt>
                <c:pt idx="509">
                  <c:v>0.12</c:v>
                </c:pt>
                <c:pt idx="510">
                  <c:v>0.04</c:v>
                </c:pt>
                <c:pt idx="511">
                  <c:v>0.01</c:v>
                </c:pt>
                <c:pt idx="512">
                  <c:v>0.02</c:v>
                </c:pt>
                <c:pt idx="513">
                  <c:v>0.04</c:v>
                </c:pt>
                <c:pt idx="514">
                  <c:v>0.06</c:v>
                </c:pt>
                <c:pt idx="515">
                  <c:v>0.02</c:v>
                </c:pt>
                <c:pt idx="516">
                  <c:v>0.03</c:v>
                </c:pt>
                <c:pt idx="517">
                  <c:v>0.09</c:v>
                </c:pt>
                <c:pt idx="518">
                  <c:v>0.02</c:v>
                </c:pt>
                <c:pt idx="519">
                  <c:v>7.0000000000000007E-2</c:v>
                </c:pt>
                <c:pt idx="520">
                  <c:v>0.06</c:v>
                </c:pt>
                <c:pt idx="521">
                  <c:v>0.04</c:v>
                </c:pt>
                <c:pt idx="522">
                  <c:v>0.03</c:v>
                </c:pt>
                <c:pt idx="523">
                  <c:v>0.06</c:v>
                </c:pt>
                <c:pt idx="524">
                  <c:v>0.04</c:v>
                </c:pt>
                <c:pt idx="525">
                  <c:v>0.02</c:v>
                </c:pt>
                <c:pt idx="526">
                  <c:v>0.02</c:v>
                </c:pt>
                <c:pt idx="527">
                  <c:v>0.02</c:v>
                </c:pt>
                <c:pt idx="528">
                  <c:v>0.01</c:v>
                </c:pt>
                <c:pt idx="529">
                  <c:v>0.02</c:v>
                </c:pt>
                <c:pt idx="530">
                  <c:v>0.11</c:v>
                </c:pt>
                <c:pt idx="531">
                  <c:v>0.01</c:v>
                </c:pt>
                <c:pt idx="532">
                  <c:v>7.0000000000000007E-2</c:v>
                </c:pt>
                <c:pt idx="533">
                  <c:v>0.04</c:v>
                </c:pt>
                <c:pt idx="534">
                  <c:v>0.03</c:v>
                </c:pt>
                <c:pt idx="535">
                  <c:v>0.02</c:v>
                </c:pt>
                <c:pt idx="536">
                  <c:v>0.01</c:v>
                </c:pt>
                <c:pt idx="537">
                  <c:v>0.05</c:v>
                </c:pt>
                <c:pt idx="538">
                  <c:v>0.01</c:v>
                </c:pt>
                <c:pt idx="539">
                  <c:v>0.09</c:v>
                </c:pt>
                <c:pt idx="540">
                  <c:v>0.02</c:v>
                </c:pt>
                <c:pt idx="541">
                  <c:v>0.06</c:v>
                </c:pt>
                <c:pt idx="542">
                  <c:v>0.04</c:v>
                </c:pt>
                <c:pt idx="543">
                  <c:v>0.02</c:v>
                </c:pt>
                <c:pt idx="544">
                  <c:v>0.04</c:v>
                </c:pt>
                <c:pt idx="545">
                  <c:v>0.02</c:v>
                </c:pt>
                <c:pt idx="546">
                  <c:v>0.03</c:v>
                </c:pt>
                <c:pt idx="547">
                  <c:v>0.05</c:v>
                </c:pt>
                <c:pt idx="548">
                  <c:v>0.02</c:v>
                </c:pt>
                <c:pt idx="549">
                  <c:v>0.04</c:v>
                </c:pt>
                <c:pt idx="550">
                  <c:v>0.08</c:v>
                </c:pt>
                <c:pt idx="551">
                  <c:v>0.04</c:v>
                </c:pt>
                <c:pt idx="552">
                  <c:v>0.13</c:v>
                </c:pt>
                <c:pt idx="553">
                  <c:v>0.02</c:v>
                </c:pt>
                <c:pt idx="554">
                  <c:v>0.01</c:v>
                </c:pt>
                <c:pt idx="555">
                  <c:v>0.08</c:v>
                </c:pt>
                <c:pt idx="556">
                  <c:v>0.02</c:v>
                </c:pt>
                <c:pt idx="557">
                  <c:v>0.02</c:v>
                </c:pt>
                <c:pt idx="558">
                  <c:v>0.02</c:v>
                </c:pt>
                <c:pt idx="559">
                  <c:v>0.01</c:v>
                </c:pt>
                <c:pt idx="560">
                  <c:v>0.04</c:v>
                </c:pt>
                <c:pt idx="561">
                  <c:v>0.01</c:v>
                </c:pt>
                <c:pt idx="562">
                  <c:v>0.01</c:v>
                </c:pt>
                <c:pt idx="563">
                  <c:v>0.02</c:v>
                </c:pt>
                <c:pt idx="564">
                  <c:v>0.02</c:v>
                </c:pt>
                <c:pt idx="565">
                  <c:v>0.02</c:v>
                </c:pt>
                <c:pt idx="566">
                  <c:v>0.01</c:v>
                </c:pt>
                <c:pt idx="567">
                  <c:v>0.01</c:v>
                </c:pt>
                <c:pt idx="568">
                  <c:v>0.02</c:v>
                </c:pt>
                <c:pt idx="569">
                  <c:v>0.04</c:v>
                </c:pt>
                <c:pt idx="570">
                  <c:v>0.01</c:v>
                </c:pt>
                <c:pt idx="571">
                  <c:v>0.02</c:v>
                </c:pt>
                <c:pt idx="572">
                  <c:v>0.02</c:v>
                </c:pt>
                <c:pt idx="573">
                  <c:v>0.01</c:v>
                </c:pt>
                <c:pt idx="574">
                  <c:v>0.01</c:v>
                </c:pt>
                <c:pt idx="575">
                  <c:v>0.01</c:v>
                </c:pt>
                <c:pt idx="576">
                  <c:v>0.04</c:v>
                </c:pt>
                <c:pt idx="577">
                  <c:v>0.01</c:v>
                </c:pt>
                <c:pt idx="578">
                  <c:v>0.04</c:v>
                </c:pt>
                <c:pt idx="579">
                  <c:v>0.03</c:v>
                </c:pt>
                <c:pt idx="580">
                  <c:v>0.01</c:v>
                </c:pt>
                <c:pt idx="581">
                  <c:v>0.02</c:v>
                </c:pt>
                <c:pt idx="582">
                  <c:v>0.01</c:v>
                </c:pt>
                <c:pt idx="583">
                  <c:v>0.03</c:v>
                </c:pt>
                <c:pt idx="584">
                  <c:v>0.01</c:v>
                </c:pt>
                <c:pt idx="585">
                  <c:v>0.02</c:v>
                </c:pt>
                <c:pt idx="586">
                  <c:v>0.01</c:v>
                </c:pt>
                <c:pt idx="587">
                  <c:v>0.01</c:v>
                </c:pt>
                <c:pt idx="588">
                  <c:v>0.01</c:v>
                </c:pt>
                <c:pt idx="589">
                  <c:v>0.02</c:v>
                </c:pt>
                <c:pt idx="590">
                  <c:v>0.01</c:v>
                </c:pt>
                <c:pt idx="591">
                  <c:v>0.01</c:v>
                </c:pt>
                <c:pt idx="59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00A097"/>
              </a:solidFill>
            </c:spPr>
            <c:extLst>
              <c:ext xmlns:c16="http://schemas.microsoft.com/office/drawing/2014/chart" uri="{C3380CC4-5D6E-409C-BE32-E72D297353CC}">
                <c16:uniqueId val="{000000EB-2993-41DE-A2CB-63102DE87051}"/>
              </c:ext>
            </c:extLst>
          </c:dPt>
          <c:dPt>
            <c:idx val="117"/>
            <c:invertIfNegative val="1"/>
            <c:bubble3D val="0"/>
            <c:spPr>
              <a:solidFill>
                <a:srgbClr val="00A097"/>
              </a:solidFill>
            </c:spPr>
            <c:extLst>
              <c:ext xmlns:c16="http://schemas.microsoft.com/office/drawing/2014/chart" uri="{C3380CC4-5D6E-409C-BE32-E72D297353CC}">
                <c16:uniqueId val="{000000ED-2993-41DE-A2CB-63102DE87051}"/>
              </c:ext>
            </c:extLst>
          </c:dPt>
          <c:dPt>
            <c:idx val="118"/>
            <c:invertIfNegative val="1"/>
            <c:bubble3D val="0"/>
            <c:spPr>
              <a:solidFill>
                <a:srgbClr val="00A097"/>
              </a:solidFill>
            </c:spPr>
            <c:extLst>
              <c:ext xmlns:c16="http://schemas.microsoft.com/office/drawing/2014/chart" uri="{C3380CC4-5D6E-409C-BE32-E72D297353CC}">
                <c16:uniqueId val="{000000EF-2993-41DE-A2CB-63102DE87051}"/>
              </c:ext>
            </c:extLst>
          </c:dPt>
          <c:dPt>
            <c:idx val="119"/>
            <c:invertIfNegative val="1"/>
            <c:bubble3D val="0"/>
            <c:spPr>
              <a:solidFill>
                <a:srgbClr val="00A097"/>
              </a:solidFill>
            </c:spPr>
            <c:extLst>
              <c:ext xmlns:c16="http://schemas.microsoft.com/office/drawing/2014/chart" uri="{C3380CC4-5D6E-409C-BE32-E72D297353CC}">
                <c16:uniqueId val="{000000F1-2993-41DE-A2CB-63102DE87051}"/>
              </c:ext>
            </c:extLst>
          </c:dPt>
          <c:dPt>
            <c:idx val="120"/>
            <c:invertIfNegative val="1"/>
            <c:bubble3D val="0"/>
            <c:spPr>
              <a:solidFill>
                <a:srgbClr val="00A097"/>
              </a:solidFill>
            </c:spPr>
            <c:extLst>
              <c:ext xmlns:c16="http://schemas.microsoft.com/office/drawing/2014/chart" uri="{C3380CC4-5D6E-409C-BE32-E72D297353CC}">
                <c16:uniqueId val="{000000F3-2993-41DE-A2CB-63102DE87051}"/>
              </c:ext>
            </c:extLst>
          </c:dPt>
          <c:dPt>
            <c:idx val="121"/>
            <c:invertIfNegative val="1"/>
            <c:bubble3D val="0"/>
            <c:spPr>
              <a:solidFill>
                <a:srgbClr val="00A097"/>
              </a:solidFill>
            </c:spPr>
            <c:extLst>
              <c:ext xmlns:c16="http://schemas.microsoft.com/office/drawing/2014/chart" uri="{C3380CC4-5D6E-409C-BE32-E72D297353CC}">
                <c16:uniqueId val="{000000F5-2993-41DE-A2CB-63102DE87051}"/>
              </c:ext>
            </c:extLst>
          </c:dPt>
          <c:dPt>
            <c:idx val="122"/>
            <c:invertIfNegative val="1"/>
            <c:bubble3D val="0"/>
            <c:spPr>
              <a:solidFill>
                <a:srgbClr val="00A097"/>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7ECAC4"/>
              </a:solidFill>
            </c:spPr>
            <c:extLst>
              <c:ext xmlns:c16="http://schemas.microsoft.com/office/drawing/2014/chart" uri="{C3380CC4-5D6E-409C-BE32-E72D297353CC}">
                <c16:uniqueId val="{0000017D-2993-41DE-A2CB-63102DE87051}"/>
              </c:ext>
            </c:extLst>
          </c:dPt>
          <c:dPt>
            <c:idx val="190"/>
            <c:invertIfNegative val="1"/>
            <c:bubble3D val="0"/>
            <c:spPr>
              <a:solidFill>
                <a:srgbClr val="7ECAC4"/>
              </a:solidFill>
            </c:spPr>
            <c:extLst>
              <c:ext xmlns:c16="http://schemas.microsoft.com/office/drawing/2014/chart" uri="{C3380CC4-5D6E-409C-BE32-E72D297353CC}">
                <c16:uniqueId val="{0000017F-2993-41DE-A2CB-63102DE87051}"/>
              </c:ext>
            </c:extLst>
          </c:dPt>
          <c:dPt>
            <c:idx val="191"/>
            <c:invertIfNegative val="1"/>
            <c:bubble3D val="0"/>
            <c:spPr>
              <a:solidFill>
                <a:srgbClr val="7ECAC4"/>
              </a:solidFill>
            </c:spPr>
            <c:extLst>
              <c:ext xmlns:c16="http://schemas.microsoft.com/office/drawing/2014/chart" uri="{C3380CC4-5D6E-409C-BE32-E72D297353CC}">
                <c16:uniqueId val="{00000181-2993-41DE-A2CB-63102DE87051}"/>
              </c:ext>
            </c:extLst>
          </c:dPt>
          <c:dPt>
            <c:idx val="192"/>
            <c:invertIfNegative val="1"/>
            <c:bubble3D val="0"/>
            <c:spPr>
              <a:solidFill>
                <a:srgbClr val="7ECAC4"/>
              </a:solidFill>
            </c:spPr>
            <c:extLst>
              <c:ext xmlns:c16="http://schemas.microsoft.com/office/drawing/2014/chart" uri="{C3380CC4-5D6E-409C-BE32-E72D297353CC}">
                <c16:uniqueId val="{00000183-2993-41DE-A2CB-63102DE87051}"/>
              </c:ext>
            </c:extLst>
          </c:dPt>
          <c:dPt>
            <c:idx val="193"/>
            <c:invertIfNegative val="1"/>
            <c:bubble3D val="0"/>
            <c:spPr>
              <a:solidFill>
                <a:srgbClr val="7ECAC4"/>
              </a:solidFill>
            </c:spPr>
            <c:extLst>
              <c:ext xmlns:c16="http://schemas.microsoft.com/office/drawing/2014/chart" uri="{C3380CC4-5D6E-409C-BE32-E72D297353CC}">
                <c16:uniqueId val="{00000185-2993-41DE-A2CB-63102DE87051}"/>
              </c:ext>
            </c:extLst>
          </c:dPt>
          <c:dPt>
            <c:idx val="194"/>
            <c:invertIfNegative val="1"/>
            <c:bubble3D val="0"/>
            <c:spPr>
              <a:solidFill>
                <a:srgbClr val="7ECAC4"/>
              </a:solidFill>
            </c:spPr>
            <c:extLst>
              <c:ext xmlns:c16="http://schemas.microsoft.com/office/drawing/2014/chart" uri="{C3380CC4-5D6E-409C-BE32-E72D297353CC}">
                <c16:uniqueId val="{00000187-2993-41DE-A2CB-63102DE87051}"/>
              </c:ext>
            </c:extLst>
          </c:dPt>
          <c:dPt>
            <c:idx val="195"/>
            <c:invertIfNegative val="1"/>
            <c:bubble3D val="0"/>
            <c:spPr>
              <a:solidFill>
                <a:srgbClr val="7ECAC4"/>
              </a:solidFill>
            </c:spPr>
            <c:extLst>
              <c:ext xmlns:c16="http://schemas.microsoft.com/office/drawing/2014/chart" uri="{C3380CC4-5D6E-409C-BE32-E72D297353CC}">
                <c16:uniqueId val="{00000189-2993-41DE-A2CB-63102DE87051}"/>
              </c:ext>
            </c:extLst>
          </c:dPt>
          <c:dPt>
            <c:idx val="196"/>
            <c:invertIfNegative val="1"/>
            <c:bubble3D val="0"/>
            <c:spPr>
              <a:solidFill>
                <a:srgbClr val="7ECAC4"/>
              </a:solidFill>
            </c:spPr>
            <c:extLst>
              <c:ext xmlns:c16="http://schemas.microsoft.com/office/drawing/2014/chart" uri="{C3380CC4-5D6E-409C-BE32-E72D297353CC}">
                <c16:uniqueId val="{0000018B-2993-41DE-A2CB-63102DE87051}"/>
              </c:ext>
            </c:extLst>
          </c:dPt>
          <c:dPt>
            <c:idx val="197"/>
            <c:invertIfNegative val="1"/>
            <c:bubble3D val="0"/>
            <c:spPr>
              <a:solidFill>
                <a:srgbClr val="7ECAC4"/>
              </a:solidFill>
            </c:spPr>
            <c:extLst>
              <c:ext xmlns:c16="http://schemas.microsoft.com/office/drawing/2014/chart" uri="{C3380CC4-5D6E-409C-BE32-E72D297353CC}">
                <c16:uniqueId val="{0000018D-2993-41DE-A2CB-63102DE87051}"/>
              </c:ext>
            </c:extLst>
          </c:dPt>
          <c:dPt>
            <c:idx val="198"/>
            <c:invertIfNegative val="1"/>
            <c:bubble3D val="0"/>
            <c:spPr>
              <a:solidFill>
                <a:srgbClr val="7ECAC4"/>
              </a:solidFill>
            </c:spPr>
            <c:extLst>
              <c:ext xmlns:c16="http://schemas.microsoft.com/office/drawing/2014/chart" uri="{C3380CC4-5D6E-409C-BE32-E72D297353CC}">
                <c16:uniqueId val="{0000018F-2993-41DE-A2CB-63102DE87051}"/>
              </c:ext>
            </c:extLst>
          </c:dPt>
          <c:dPt>
            <c:idx val="199"/>
            <c:invertIfNegative val="1"/>
            <c:bubble3D val="0"/>
            <c:spPr>
              <a:solidFill>
                <a:srgbClr val="7ECAC4"/>
              </a:solidFill>
            </c:spPr>
            <c:extLst>
              <c:ext xmlns:c16="http://schemas.microsoft.com/office/drawing/2014/chart" uri="{C3380CC4-5D6E-409C-BE32-E72D297353CC}">
                <c16:uniqueId val="{00000191-2993-41DE-A2CB-63102DE87051}"/>
              </c:ext>
            </c:extLst>
          </c:dPt>
          <c:dPt>
            <c:idx val="200"/>
            <c:invertIfNegative val="1"/>
            <c:bubble3D val="0"/>
            <c:spPr>
              <a:solidFill>
                <a:srgbClr val="7ECAC4"/>
              </a:solidFill>
            </c:spPr>
            <c:extLst>
              <c:ext xmlns:c16="http://schemas.microsoft.com/office/drawing/2014/chart" uri="{C3380CC4-5D6E-409C-BE32-E72D297353CC}">
                <c16:uniqueId val="{00000193-2993-41DE-A2CB-63102DE87051}"/>
              </c:ext>
            </c:extLst>
          </c:dPt>
          <c:dPt>
            <c:idx val="201"/>
            <c:invertIfNegative val="1"/>
            <c:bubble3D val="0"/>
            <c:spPr>
              <a:solidFill>
                <a:srgbClr val="7ECAC4"/>
              </a:solidFill>
            </c:spPr>
            <c:extLst>
              <c:ext xmlns:c16="http://schemas.microsoft.com/office/drawing/2014/chart" uri="{C3380CC4-5D6E-409C-BE32-E72D297353CC}">
                <c16:uniqueId val="{00000195-2993-41DE-A2CB-63102DE87051}"/>
              </c:ext>
            </c:extLst>
          </c:dPt>
          <c:dPt>
            <c:idx val="202"/>
            <c:invertIfNegative val="1"/>
            <c:bubble3D val="0"/>
            <c:spPr>
              <a:solidFill>
                <a:srgbClr val="7ECAC4"/>
              </a:solidFill>
            </c:spPr>
            <c:extLst>
              <c:ext xmlns:c16="http://schemas.microsoft.com/office/drawing/2014/chart" uri="{C3380CC4-5D6E-409C-BE32-E72D297353CC}">
                <c16:uniqueId val="{00000197-2993-41DE-A2CB-63102DE87051}"/>
              </c:ext>
            </c:extLst>
          </c:dPt>
          <c:dPt>
            <c:idx val="203"/>
            <c:invertIfNegative val="1"/>
            <c:bubble3D val="0"/>
            <c:spPr>
              <a:solidFill>
                <a:srgbClr val="7ECAC4"/>
              </a:solidFill>
            </c:spPr>
            <c:extLst>
              <c:ext xmlns:c16="http://schemas.microsoft.com/office/drawing/2014/chart" uri="{C3380CC4-5D6E-409C-BE32-E72D297353CC}">
                <c16:uniqueId val="{00000199-2993-41DE-A2CB-63102DE87051}"/>
              </c:ext>
            </c:extLst>
          </c:dPt>
          <c:dPt>
            <c:idx val="204"/>
            <c:invertIfNegative val="1"/>
            <c:bubble3D val="0"/>
            <c:spPr>
              <a:solidFill>
                <a:srgbClr val="7ECAC4"/>
              </a:solidFill>
            </c:spPr>
            <c:extLst>
              <c:ext xmlns:c16="http://schemas.microsoft.com/office/drawing/2014/chart" uri="{C3380CC4-5D6E-409C-BE32-E72D297353CC}">
                <c16:uniqueId val="{0000019B-2993-41DE-A2CB-63102DE87051}"/>
              </c:ext>
            </c:extLst>
          </c:dPt>
          <c:dPt>
            <c:idx val="205"/>
            <c:invertIfNegative val="1"/>
            <c:bubble3D val="0"/>
            <c:spPr>
              <a:solidFill>
                <a:srgbClr val="7ECAC4"/>
              </a:solidFill>
            </c:spPr>
            <c:extLst>
              <c:ext xmlns:c16="http://schemas.microsoft.com/office/drawing/2014/chart" uri="{C3380CC4-5D6E-409C-BE32-E72D297353CC}">
                <c16:uniqueId val="{0000019D-2993-41DE-A2CB-63102DE87051}"/>
              </c:ext>
            </c:extLst>
          </c:dPt>
          <c:dPt>
            <c:idx val="206"/>
            <c:invertIfNegative val="1"/>
            <c:bubble3D val="0"/>
            <c:spPr>
              <a:solidFill>
                <a:srgbClr val="7ECAC4"/>
              </a:solidFill>
            </c:spPr>
            <c:extLst>
              <c:ext xmlns:c16="http://schemas.microsoft.com/office/drawing/2014/chart" uri="{C3380CC4-5D6E-409C-BE32-E72D297353CC}">
                <c16:uniqueId val="{0000019F-2993-41DE-A2CB-63102DE87051}"/>
              </c:ext>
            </c:extLst>
          </c:dPt>
          <c:dPt>
            <c:idx val="207"/>
            <c:invertIfNegative val="1"/>
            <c:bubble3D val="0"/>
            <c:spPr>
              <a:solidFill>
                <a:srgbClr val="7ECAC4"/>
              </a:solidFill>
            </c:spPr>
            <c:extLst>
              <c:ext xmlns:c16="http://schemas.microsoft.com/office/drawing/2014/chart" uri="{C3380CC4-5D6E-409C-BE32-E72D297353CC}">
                <c16:uniqueId val="{000001A1-2993-41DE-A2CB-63102DE87051}"/>
              </c:ext>
            </c:extLst>
          </c:dPt>
          <c:dPt>
            <c:idx val="208"/>
            <c:invertIfNegative val="1"/>
            <c:bubble3D val="0"/>
            <c:spPr>
              <a:solidFill>
                <a:srgbClr val="7ECAC4"/>
              </a:solidFill>
            </c:spPr>
            <c:extLst>
              <c:ext xmlns:c16="http://schemas.microsoft.com/office/drawing/2014/chart" uri="{C3380CC4-5D6E-409C-BE32-E72D297353CC}">
                <c16:uniqueId val="{000001A3-2993-41DE-A2CB-63102DE87051}"/>
              </c:ext>
            </c:extLst>
          </c:dPt>
          <c:dPt>
            <c:idx val="209"/>
            <c:invertIfNegative val="1"/>
            <c:bubble3D val="0"/>
            <c:spPr>
              <a:solidFill>
                <a:srgbClr val="7ECAC4"/>
              </a:solidFill>
            </c:spPr>
            <c:extLst>
              <c:ext xmlns:c16="http://schemas.microsoft.com/office/drawing/2014/chart" uri="{C3380CC4-5D6E-409C-BE32-E72D297353CC}">
                <c16:uniqueId val="{000001A5-2993-41DE-A2CB-63102DE87051}"/>
              </c:ext>
            </c:extLst>
          </c:dPt>
          <c:dPt>
            <c:idx val="210"/>
            <c:invertIfNegative val="1"/>
            <c:bubble3D val="0"/>
            <c:spPr>
              <a:solidFill>
                <a:srgbClr val="7ECAC4"/>
              </a:solidFill>
            </c:spPr>
            <c:extLst>
              <c:ext xmlns:c16="http://schemas.microsoft.com/office/drawing/2014/chart" uri="{C3380CC4-5D6E-409C-BE32-E72D297353CC}">
                <c16:uniqueId val="{000001A7-72A3-4674-B362-466726B36580}"/>
              </c:ext>
            </c:extLst>
          </c:dPt>
          <c:dPt>
            <c:idx val="211"/>
            <c:invertIfNegative val="1"/>
            <c:bubble3D val="0"/>
            <c:spPr>
              <a:solidFill>
                <a:srgbClr val="7ECAC4"/>
              </a:solidFill>
            </c:spPr>
            <c:extLst>
              <c:ext xmlns:c16="http://schemas.microsoft.com/office/drawing/2014/chart" uri="{C3380CC4-5D6E-409C-BE32-E72D297353CC}">
                <c16:uniqueId val="{000001A9-72A3-4674-B362-466726B36580}"/>
              </c:ext>
            </c:extLst>
          </c:dPt>
          <c:dPt>
            <c:idx val="212"/>
            <c:invertIfNegative val="1"/>
            <c:bubble3D val="0"/>
            <c:spPr>
              <a:solidFill>
                <a:srgbClr val="7ECAC4"/>
              </a:solidFill>
            </c:spPr>
            <c:extLst>
              <c:ext xmlns:c16="http://schemas.microsoft.com/office/drawing/2014/chart" uri="{C3380CC4-5D6E-409C-BE32-E72D297353CC}">
                <c16:uniqueId val="{000001AB-72A3-4674-B362-466726B36580}"/>
              </c:ext>
            </c:extLst>
          </c:dPt>
          <c:dPt>
            <c:idx val="213"/>
            <c:invertIfNegative val="1"/>
            <c:bubble3D val="0"/>
            <c:spPr>
              <a:solidFill>
                <a:srgbClr val="7ECAC4"/>
              </a:solidFill>
            </c:spPr>
            <c:extLst>
              <c:ext xmlns:c16="http://schemas.microsoft.com/office/drawing/2014/chart" uri="{C3380CC4-5D6E-409C-BE32-E72D297353CC}">
                <c16:uniqueId val="{000001AD-72A3-4674-B362-466726B36580}"/>
              </c:ext>
            </c:extLst>
          </c:dPt>
          <c:dPt>
            <c:idx val="214"/>
            <c:invertIfNegative val="1"/>
            <c:bubble3D val="0"/>
            <c:spPr>
              <a:solidFill>
                <a:srgbClr val="7ECAC4"/>
              </a:solidFill>
            </c:spPr>
            <c:extLst>
              <c:ext xmlns:c16="http://schemas.microsoft.com/office/drawing/2014/chart" uri="{C3380CC4-5D6E-409C-BE32-E72D297353CC}">
                <c16:uniqueId val="{000001AF-72A3-4674-B362-466726B36580}"/>
              </c:ext>
            </c:extLst>
          </c:dPt>
          <c:dPt>
            <c:idx val="215"/>
            <c:invertIfNegative val="1"/>
            <c:bubble3D val="0"/>
            <c:spPr>
              <a:solidFill>
                <a:srgbClr val="7ECAC4"/>
              </a:solidFill>
            </c:spPr>
            <c:extLst>
              <c:ext xmlns:c16="http://schemas.microsoft.com/office/drawing/2014/chart" uri="{C3380CC4-5D6E-409C-BE32-E72D297353CC}">
                <c16:uniqueId val="{000001B1-72A3-4674-B362-466726B36580}"/>
              </c:ext>
            </c:extLst>
          </c:dPt>
          <c:dPt>
            <c:idx val="216"/>
            <c:invertIfNegative val="1"/>
            <c:bubble3D val="0"/>
            <c:spPr>
              <a:solidFill>
                <a:srgbClr val="7ECAC4"/>
              </a:solidFill>
            </c:spPr>
            <c:extLst>
              <c:ext xmlns:c16="http://schemas.microsoft.com/office/drawing/2014/chart" uri="{C3380CC4-5D6E-409C-BE32-E72D297353CC}">
                <c16:uniqueId val="{000001B3-72A3-4674-B362-466726B36580}"/>
              </c:ext>
            </c:extLst>
          </c:dPt>
          <c:dPt>
            <c:idx val="217"/>
            <c:invertIfNegative val="1"/>
            <c:bubble3D val="0"/>
            <c:spPr>
              <a:solidFill>
                <a:srgbClr val="7ECAC4"/>
              </a:solidFill>
            </c:spPr>
            <c:extLst>
              <c:ext xmlns:c16="http://schemas.microsoft.com/office/drawing/2014/chart" uri="{C3380CC4-5D6E-409C-BE32-E72D297353CC}">
                <c16:uniqueId val="{000001B5-72A3-4674-B362-466726B36580}"/>
              </c:ext>
            </c:extLst>
          </c:dPt>
          <c:dPt>
            <c:idx val="218"/>
            <c:invertIfNegative val="1"/>
            <c:bubble3D val="0"/>
            <c:spPr>
              <a:solidFill>
                <a:srgbClr val="7ECAC4"/>
              </a:solidFill>
            </c:spPr>
            <c:extLst>
              <c:ext xmlns:c16="http://schemas.microsoft.com/office/drawing/2014/chart" uri="{C3380CC4-5D6E-409C-BE32-E72D297353CC}">
                <c16:uniqueId val="{000001B7-72A3-4674-B362-466726B36580}"/>
              </c:ext>
            </c:extLst>
          </c:dPt>
          <c:dPt>
            <c:idx val="219"/>
            <c:invertIfNegative val="1"/>
            <c:bubble3D val="0"/>
            <c:spPr>
              <a:solidFill>
                <a:srgbClr val="7ECAC4"/>
              </a:solidFill>
            </c:spPr>
            <c:extLst>
              <c:ext xmlns:c16="http://schemas.microsoft.com/office/drawing/2014/chart" uri="{C3380CC4-5D6E-409C-BE32-E72D297353CC}">
                <c16:uniqueId val="{000001B9-72A3-4674-B362-466726B36580}"/>
              </c:ext>
            </c:extLst>
          </c:dPt>
          <c:dPt>
            <c:idx val="220"/>
            <c:invertIfNegative val="1"/>
            <c:bubble3D val="0"/>
            <c:spPr>
              <a:solidFill>
                <a:srgbClr val="AEABAB"/>
              </a:solidFill>
            </c:spPr>
            <c:extLst>
              <c:ext xmlns:c16="http://schemas.microsoft.com/office/drawing/2014/chart" uri="{C3380CC4-5D6E-409C-BE32-E72D297353CC}">
                <c16:uniqueId val="{000001BB-72A3-4674-B362-466726B36580}"/>
              </c:ext>
            </c:extLst>
          </c:dPt>
          <c:dPt>
            <c:idx val="221"/>
            <c:invertIfNegative val="1"/>
            <c:bubble3D val="0"/>
            <c:spPr>
              <a:solidFill>
                <a:srgbClr val="AEABAB"/>
              </a:solidFill>
            </c:spPr>
            <c:extLst>
              <c:ext xmlns:c16="http://schemas.microsoft.com/office/drawing/2014/chart" uri="{C3380CC4-5D6E-409C-BE32-E72D297353CC}">
                <c16:uniqueId val="{000001BD-72A3-4674-B362-466726B36580}"/>
              </c:ext>
            </c:extLst>
          </c:dPt>
          <c:dPt>
            <c:idx val="222"/>
            <c:invertIfNegative val="1"/>
            <c:bubble3D val="0"/>
            <c:spPr>
              <a:solidFill>
                <a:srgbClr val="AEABAB"/>
              </a:solidFill>
            </c:spPr>
            <c:extLst>
              <c:ext xmlns:c16="http://schemas.microsoft.com/office/drawing/2014/chart" uri="{C3380CC4-5D6E-409C-BE32-E72D297353CC}">
                <c16:uniqueId val="{000001BF-72A3-4674-B362-466726B36580}"/>
              </c:ext>
            </c:extLst>
          </c:dPt>
          <c:dPt>
            <c:idx val="223"/>
            <c:invertIfNegative val="1"/>
            <c:bubble3D val="0"/>
            <c:spPr>
              <a:solidFill>
                <a:srgbClr val="AEABAB"/>
              </a:solidFill>
            </c:spPr>
            <c:extLst>
              <c:ext xmlns:c16="http://schemas.microsoft.com/office/drawing/2014/chart" uri="{C3380CC4-5D6E-409C-BE32-E72D297353CC}">
                <c16:uniqueId val="{000001C1-72A3-4674-B362-466726B36580}"/>
              </c:ext>
            </c:extLst>
          </c:dPt>
          <c:dPt>
            <c:idx val="224"/>
            <c:invertIfNegative val="1"/>
            <c:bubble3D val="0"/>
            <c:spPr>
              <a:solidFill>
                <a:srgbClr val="AEABAB"/>
              </a:solidFill>
            </c:spPr>
            <c:extLst>
              <c:ext xmlns:c16="http://schemas.microsoft.com/office/drawing/2014/chart" uri="{C3380CC4-5D6E-409C-BE32-E72D297353CC}">
                <c16:uniqueId val="{000001C3-72A3-4674-B362-466726B36580}"/>
              </c:ext>
            </c:extLst>
          </c:dPt>
          <c:dPt>
            <c:idx val="225"/>
            <c:invertIfNegative val="1"/>
            <c:bubble3D val="0"/>
            <c:spPr>
              <a:solidFill>
                <a:srgbClr val="AEABAB"/>
              </a:solidFill>
            </c:spPr>
            <c:extLst>
              <c:ext xmlns:c16="http://schemas.microsoft.com/office/drawing/2014/chart" uri="{C3380CC4-5D6E-409C-BE32-E72D297353CC}">
                <c16:uniqueId val="{000001C5-72A3-4674-B362-466726B36580}"/>
              </c:ext>
            </c:extLst>
          </c:dPt>
          <c:dPt>
            <c:idx val="226"/>
            <c:invertIfNegative val="1"/>
            <c:bubble3D val="0"/>
            <c:spPr>
              <a:solidFill>
                <a:srgbClr val="AEABAB"/>
              </a:solidFill>
            </c:spPr>
            <c:extLst>
              <c:ext xmlns:c16="http://schemas.microsoft.com/office/drawing/2014/chart" uri="{C3380CC4-5D6E-409C-BE32-E72D297353CC}">
                <c16:uniqueId val="{000001C7-72A3-4674-B362-466726B36580}"/>
              </c:ext>
            </c:extLst>
          </c:dPt>
          <c:dPt>
            <c:idx val="227"/>
            <c:invertIfNegative val="1"/>
            <c:bubble3D val="0"/>
            <c:spPr>
              <a:solidFill>
                <a:srgbClr val="AEABAB"/>
              </a:solidFill>
            </c:spPr>
            <c:extLst>
              <c:ext xmlns:c16="http://schemas.microsoft.com/office/drawing/2014/chart" uri="{C3380CC4-5D6E-409C-BE32-E72D297353CC}">
                <c16:uniqueId val="{000001C9-72A3-4674-B362-466726B36580}"/>
              </c:ext>
            </c:extLst>
          </c:dPt>
          <c:dPt>
            <c:idx val="228"/>
            <c:invertIfNegative val="1"/>
            <c:bubble3D val="0"/>
            <c:spPr>
              <a:solidFill>
                <a:srgbClr val="AEABAB"/>
              </a:solidFill>
            </c:spPr>
            <c:extLst>
              <c:ext xmlns:c16="http://schemas.microsoft.com/office/drawing/2014/chart" uri="{C3380CC4-5D6E-409C-BE32-E72D297353CC}">
                <c16:uniqueId val="{000001CB-72A3-4674-B362-466726B36580}"/>
              </c:ext>
            </c:extLst>
          </c:dPt>
          <c:dPt>
            <c:idx val="229"/>
            <c:invertIfNegative val="1"/>
            <c:bubble3D val="0"/>
            <c:spPr>
              <a:solidFill>
                <a:srgbClr val="AEABAB"/>
              </a:solidFill>
            </c:spPr>
            <c:extLst>
              <c:ext xmlns:c16="http://schemas.microsoft.com/office/drawing/2014/chart" uri="{C3380CC4-5D6E-409C-BE32-E72D297353CC}">
                <c16:uniqueId val="{000001CD-72A3-4674-B362-466726B36580}"/>
              </c:ext>
            </c:extLst>
          </c:dPt>
          <c:dPt>
            <c:idx val="230"/>
            <c:invertIfNegative val="1"/>
            <c:bubble3D val="0"/>
            <c:spPr>
              <a:solidFill>
                <a:srgbClr val="AEABAB"/>
              </a:solidFill>
            </c:spPr>
            <c:extLst>
              <c:ext xmlns:c16="http://schemas.microsoft.com/office/drawing/2014/chart" uri="{C3380CC4-5D6E-409C-BE32-E72D297353CC}">
                <c16:uniqueId val="{000001CF-72A3-4674-B362-466726B36580}"/>
              </c:ext>
            </c:extLst>
          </c:dPt>
          <c:dPt>
            <c:idx val="231"/>
            <c:invertIfNegative val="1"/>
            <c:bubble3D val="0"/>
            <c:spPr>
              <a:solidFill>
                <a:srgbClr val="AEABAB"/>
              </a:solidFill>
            </c:spPr>
            <c:extLst>
              <c:ext xmlns:c16="http://schemas.microsoft.com/office/drawing/2014/chart" uri="{C3380CC4-5D6E-409C-BE32-E72D297353CC}">
                <c16:uniqueId val="{000001D1-72A3-4674-B362-466726B36580}"/>
              </c:ext>
            </c:extLst>
          </c:dPt>
          <c:dPt>
            <c:idx val="232"/>
            <c:invertIfNegative val="1"/>
            <c:bubble3D val="0"/>
            <c:spPr>
              <a:solidFill>
                <a:srgbClr val="AEABAB"/>
              </a:solidFill>
            </c:spPr>
            <c:extLst>
              <c:ext xmlns:c16="http://schemas.microsoft.com/office/drawing/2014/chart" uri="{C3380CC4-5D6E-409C-BE32-E72D297353CC}">
                <c16:uniqueId val="{000001D3-72A3-4674-B362-466726B36580}"/>
              </c:ext>
            </c:extLst>
          </c:dPt>
          <c:dPt>
            <c:idx val="233"/>
            <c:invertIfNegative val="1"/>
            <c:bubble3D val="0"/>
            <c:spPr>
              <a:solidFill>
                <a:srgbClr val="AEABAB"/>
              </a:solidFill>
            </c:spPr>
            <c:extLst>
              <c:ext xmlns:c16="http://schemas.microsoft.com/office/drawing/2014/chart" uri="{C3380CC4-5D6E-409C-BE32-E72D297353CC}">
                <c16:uniqueId val="{000001D5-72A3-4674-B362-466726B36580}"/>
              </c:ext>
            </c:extLst>
          </c:dPt>
          <c:dPt>
            <c:idx val="234"/>
            <c:invertIfNegative val="1"/>
            <c:bubble3D val="0"/>
            <c:spPr>
              <a:solidFill>
                <a:srgbClr val="AEABAB"/>
              </a:solidFill>
            </c:spPr>
            <c:extLst>
              <c:ext xmlns:c16="http://schemas.microsoft.com/office/drawing/2014/chart" uri="{C3380CC4-5D6E-409C-BE32-E72D297353CC}">
                <c16:uniqueId val="{000001D7-72A3-4674-B362-466726B36580}"/>
              </c:ext>
            </c:extLst>
          </c:dPt>
          <c:dPt>
            <c:idx val="235"/>
            <c:invertIfNegative val="1"/>
            <c:bubble3D val="0"/>
            <c:spPr>
              <a:solidFill>
                <a:srgbClr val="AEABAB"/>
              </a:solidFill>
            </c:spPr>
            <c:extLst>
              <c:ext xmlns:c16="http://schemas.microsoft.com/office/drawing/2014/chart" uri="{C3380CC4-5D6E-409C-BE32-E72D297353CC}">
                <c16:uniqueId val="{000001D9-72A3-4674-B362-466726B36580}"/>
              </c:ext>
            </c:extLst>
          </c:dPt>
          <c:dPt>
            <c:idx val="236"/>
            <c:invertIfNegative val="1"/>
            <c:bubble3D val="0"/>
            <c:spPr>
              <a:solidFill>
                <a:srgbClr val="AEABAB"/>
              </a:solidFill>
            </c:spPr>
            <c:extLst>
              <c:ext xmlns:c16="http://schemas.microsoft.com/office/drawing/2014/chart" uri="{C3380CC4-5D6E-409C-BE32-E72D297353CC}">
                <c16:uniqueId val="{000001DB-72A3-4674-B362-466726B36580}"/>
              </c:ext>
            </c:extLst>
          </c:dPt>
          <c:dPt>
            <c:idx val="237"/>
            <c:invertIfNegative val="1"/>
            <c:bubble3D val="0"/>
            <c:spPr>
              <a:solidFill>
                <a:srgbClr val="AEABAB"/>
              </a:solidFill>
            </c:spPr>
            <c:extLst>
              <c:ext xmlns:c16="http://schemas.microsoft.com/office/drawing/2014/chart" uri="{C3380CC4-5D6E-409C-BE32-E72D297353CC}">
                <c16:uniqueId val="{000001DD-72A3-4674-B362-466726B36580}"/>
              </c:ext>
            </c:extLst>
          </c:dPt>
          <c:dPt>
            <c:idx val="238"/>
            <c:invertIfNegative val="1"/>
            <c:bubble3D val="0"/>
            <c:spPr>
              <a:solidFill>
                <a:srgbClr val="AEABAB"/>
              </a:solidFill>
            </c:spPr>
            <c:extLst>
              <c:ext xmlns:c16="http://schemas.microsoft.com/office/drawing/2014/chart" uri="{C3380CC4-5D6E-409C-BE32-E72D297353CC}">
                <c16:uniqueId val="{000001DF-72A3-4674-B362-466726B36580}"/>
              </c:ext>
            </c:extLst>
          </c:dPt>
          <c:dPt>
            <c:idx val="239"/>
            <c:invertIfNegative val="1"/>
            <c:bubble3D val="0"/>
            <c:spPr>
              <a:solidFill>
                <a:srgbClr val="AEABAB"/>
              </a:solidFill>
            </c:spPr>
            <c:extLst>
              <c:ext xmlns:c16="http://schemas.microsoft.com/office/drawing/2014/chart" uri="{C3380CC4-5D6E-409C-BE32-E72D297353CC}">
                <c16:uniqueId val="{000001E1-72A3-4674-B362-466726B36580}"/>
              </c:ext>
            </c:extLst>
          </c:dPt>
          <c:dPt>
            <c:idx val="240"/>
            <c:invertIfNegative val="1"/>
            <c:bubble3D val="0"/>
            <c:spPr>
              <a:solidFill>
                <a:srgbClr val="AEABAB"/>
              </a:solidFill>
            </c:spPr>
            <c:extLst>
              <c:ext xmlns:c16="http://schemas.microsoft.com/office/drawing/2014/chart" uri="{C3380CC4-5D6E-409C-BE32-E72D297353CC}">
                <c16:uniqueId val="{000001E3-72A3-4674-B362-466726B36580}"/>
              </c:ext>
            </c:extLst>
          </c:dPt>
          <c:dPt>
            <c:idx val="241"/>
            <c:invertIfNegative val="1"/>
            <c:bubble3D val="0"/>
            <c:spPr>
              <a:solidFill>
                <a:srgbClr val="AEABAB"/>
              </a:solidFill>
            </c:spPr>
            <c:extLst>
              <c:ext xmlns:c16="http://schemas.microsoft.com/office/drawing/2014/chart" uri="{C3380CC4-5D6E-409C-BE32-E72D297353CC}">
                <c16:uniqueId val="{000001E5-72A3-4674-B362-466726B36580}"/>
              </c:ext>
            </c:extLst>
          </c:dPt>
          <c:dPt>
            <c:idx val="242"/>
            <c:invertIfNegative val="1"/>
            <c:bubble3D val="0"/>
            <c:spPr>
              <a:solidFill>
                <a:srgbClr val="AEABAB"/>
              </a:solidFill>
            </c:spPr>
            <c:extLst>
              <c:ext xmlns:c16="http://schemas.microsoft.com/office/drawing/2014/chart" uri="{C3380CC4-5D6E-409C-BE32-E72D297353CC}">
                <c16:uniqueId val="{000001E7-72A3-4674-B362-466726B36580}"/>
              </c:ext>
            </c:extLst>
          </c:dPt>
          <c:dPt>
            <c:idx val="243"/>
            <c:invertIfNegative val="1"/>
            <c:bubble3D val="0"/>
            <c:spPr>
              <a:solidFill>
                <a:srgbClr val="AEABAB"/>
              </a:solidFill>
            </c:spPr>
            <c:extLst>
              <c:ext xmlns:c16="http://schemas.microsoft.com/office/drawing/2014/chart" uri="{C3380CC4-5D6E-409C-BE32-E72D297353CC}">
                <c16:uniqueId val="{000001E9-72A3-4674-B362-466726B36580}"/>
              </c:ext>
            </c:extLst>
          </c:dPt>
          <c:dPt>
            <c:idx val="244"/>
            <c:invertIfNegative val="1"/>
            <c:bubble3D val="0"/>
            <c:spPr>
              <a:solidFill>
                <a:srgbClr val="AEABAB"/>
              </a:solidFill>
            </c:spPr>
            <c:extLst>
              <c:ext xmlns:c16="http://schemas.microsoft.com/office/drawing/2014/chart" uri="{C3380CC4-5D6E-409C-BE32-E72D297353CC}">
                <c16:uniqueId val="{000001EB-72A3-4674-B362-466726B36580}"/>
              </c:ext>
            </c:extLst>
          </c:dPt>
          <c:dPt>
            <c:idx val="245"/>
            <c:invertIfNegative val="1"/>
            <c:bubble3D val="0"/>
            <c:spPr>
              <a:solidFill>
                <a:srgbClr val="AEABAB"/>
              </a:solidFill>
            </c:spPr>
            <c:extLst>
              <c:ext xmlns:c16="http://schemas.microsoft.com/office/drawing/2014/chart" uri="{C3380CC4-5D6E-409C-BE32-E72D297353CC}">
                <c16:uniqueId val="{000001ED-72A3-4674-B362-466726B36580}"/>
              </c:ext>
            </c:extLst>
          </c:dPt>
          <c:dPt>
            <c:idx val="246"/>
            <c:invertIfNegative val="1"/>
            <c:bubble3D val="0"/>
            <c:spPr>
              <a:solidFill>
                <a:srgbClr val="AEABAB"/>
              </a:solidFill>
            </c:spPr>
            <c:extLst>
              <c:ext xmlns:c16="http://schemas.microsoft.com/office/drawing/2014/chart" uri="{C3380CC4-5D6E-409C-BE32-E72D297353CC}">
                <c16:uniqueId val="{000001EF-72A3-4674-B362-466726B36580}"/>
              </c:ext>
            </c:extLst>
          </c:dPt>
          <c:dPt>
            <c:idx val="247"/>
            <c:invertIfNegative val="1"/>
            <c:bubble3D val="0"/>
            <c:spPr>
              <a:solidFill>
                <a:srgbClr val="AEABAB"/>
              </a:solidFill>
            </c:spPr>
            <c:extLst>
              <c:ext xmlns:c16="http://schemas.microsoft.com/office/drawing/2014/chart" uri="{C3380CC4-5D6E-409C-BE32-E72D297353CC}">
                <c16:uniqueId val="{000001F1-72A3-4674-B362-466726B36580}"/>
              </c:ext>
            </c:extLst>
          </c:dPt>
          <c:dPt>
            <c:idx val="248"/>
            <c:invertIfNegative val="1"/>
            <c:bubble3D val="0"/>
            <c:spPr>
              <a:solidFill>
                <a:srgbClr val="AEABAB"/>
              </a:solidFill>
            </c:spPr>
            <c:extLst>
              <c:ext xmlns:c16="http://schemas.microsoft.com/office/drawing/2014/chart" uri="{C3380CC4-5D6E-409C-BE32-E72D297353CC}">
                <c16:uniqueId val="{000001F3-72A3-4674-B362-466726B36580}"/>
              </c:ext>
            </c:extLst>
          </c:dPt>
          <c:dPt>
            <c:idx val="249"/>
            <c:invertIfNegative val="1"/>
            <c:bubble3D val="0"/>
            <c:spPr>
              <a:solidFill>
                <a:srgbClr val="AEABAB"/>
              </a:solidFill>
            </c:spPr>
            <c:extLst>
              <c:ext xmlns:c16="http://schemas.microsoft.com/office/drawing/2014/chart" uri="{C3380CC4-5D6E-409C-BE32-E72D297353CC}">
                <c16:uniqueId val="{000001F5-72A3-4674-B362-466726B36580}"/>
              </c:ext>
            </c:extLst>
          </c:dPt>
          <c:dPt>
            <c:idx val="250"/>
            <c:invertIfNegative val="1"/>
            <c:bubble3D val="0"/>
            <c:spPr>
              <a:solidFill>
                <a:srgbClr val="AEABAB"/>
              </a:solidFill>
            </c:spPr>
            <c:extLst>
              <c:ext xmlns:c16="http://schemas.microsoft.com/office/drawing/2014/chart" uri="{C3380CC4-5D6E-409C-BE32-E72D297353CC}">
                <c16:uniqueId val="{000001F7-72A3-4674-B362-466726B36580}"/>
              </c:ext>
            </c:extLst>
          </c:dPt>
          <c:dPt>
            <c:idx val="251"/>
            <c:invertIfNegative val="1"/>
            <c:bubble3D val="0"/>
            <c:spPr>
              <a:solidFill>
                <a:srgbClr val="AEABAB"/>
              </a:solidFill>
            </c:spPr>
            <c:extLst>
              <c:ext xmlns:c16="http://schemas.microsoft.com/office/drawing/2014/chart" uri="{C3380CC4-5D6E-409C-BE32-E72D297353CC}">
                <c16:uniqueId val="{000001F9-72A3-4674-B362-466726B36580}"/>
              </c:ext>
            </c:extLst>
          </c:dPt>
          <c:dPt>
            <c:idx val="252"/>
            <c:invertIfNegative val="1"/>
            <c:bubble3D val="0"/>
            <c:spPr>
              <a:solidFill>
                <a:srgbClr val="AEABAB"/>
              </a:solidFill>
            </c:spPr>
            <c:extLst>
              <c:ext xmlns:c16="http://schemas.microsoft.com/office/drawing/2014/chart" uri="{C3380CC4-5D6E-409C-BE32-E72D297353CC}">
                <c16:uniqueId val="{000001FB-72A3-4674-B362-466726B36580}"/>
              </c:ext>
            </c:extLst>
          </c:dPt>
          <c:dPt>
            <c:idx val="253"/>
            <c:invertIfNegative val="1"/>
            <c:bubble3D val="0"/>
            <c:spPr>
              <a:solidFill>
                <a:srgbClr val="AEABAB"/>
              </a:solidFill>
            </c:spPr>
            <c:extLst>
              <c:ext xmlns:c16="http://schemas.microsoft.com/office/drawing/2014/chart" uri="{C3380CC4-5D6E-409C-BE32-E72D297353CC}">
                <c16:uniqueId val="{000001FD-72A3-4674-B362-466726B36580}"/>
              </c:ext>
            </c:extLst>
          </c:dPt>
          <c:dPt>
            <c:idx val="254"/>
            <c:invertIfNegative val="1"/>
            <c:bubble3D val="0"/>
            <c:spPr>
              <a:solidFill>
                <a:srgbClr val="AEABAB"/>
              </a:solidFill>
            </c:spPr>
            <c:extLst>
              <c:ext xmlns:c16="http://schemas.microsoft.com/office/drawing/2014/chart" uri="{C3380CC4-5D6E-409C-BE32-E72D297353CC}">
                <c16:uniqueId val="{000001FF-72A3-4674-B362-466726B36580}"/>
              </c:ext>
            </c:extLst>
          </c:dPt>
          <c:dPt>
            <c:idx val="255"/>
            <c:invertIfNegative val="1"/>
            <c:bubble3D val="0"/>
            <c:spPr>
              <a:solidFill>
                <a:srgbClr val="AEABAB"/>
              </a:solidFill>
            </c:spPr>
            <c:extLst>
              <c:ext xmlns:c16="http://schemas.microsoft.com/office/drawing/2014/chart" uri="{C3380CC4-5D6E-409C-BE32-E72D297353CC}">
                <c16:uniqueId val="{00000201-72A3-4674-B362-466726B36580}"/>
              </c:ext>
            </c:extLst>
          </c:dPt>
          <c:dPt>
            <c:idx val="256"/>
            <c:invertIfNegative val="1"/>
            <c:bubble3D val="0"/>
            <c:spPr>
              <a:solidFill>
                <a:srgbClr val="AEABAB"/>
              </a:solidFill>
            </c:spPr>
            <c:extLst>
              <c:ext xmlns:c16="http://schemas.microsoft.com/office/drawing/2014/chart" uri="{C3380CC4-5D6E-409C-BE32-E72D297353CC}">
                <c16:uniqueId val="{00000203-72A3-4674-B362-466726B36580}"/>
              </c:ext>
            </c:extLst>
          </c:dPt>
          <c:dPt>
            <c:idx val="257"/>
            <c:invertIfNegative val="1"/>
            <c:bubble3D val="0"/>
            <c:spPr>
              <a:solidFill>
                <a:srgbClr val="AEABAB"/>
              </a:solidFill>
            </c:spPr>
            <c:extLst>
              <c:ext xmlns:c16="http://schemas.microsoft.com/office/drawing/2014/chart" uri="{C3380CC4-5D6E-409C-BE32-E72D297353CC}">
                <c16:uniqueId val="{00000205-72A3-4674-B362-466726B36580}"/>
              </c:ext>
            </c:extLst>
          </c:dPt>
          <c:dPt>
            <c:idx val="258"/>
            <c:invertIfNegative val="1"/>
            <c:bubble3D val="0"/>
            <c:spPr>
              <a:solidFill>
                <a:srgbClr val="AEABAB"/>
              </a:solidFill>
            </c:spPr>
            <c:extLst>
              <c:ext xmlns:c16="http://schemas.microsoft.com/office/drawing/2014/chart" uri="{C3380CC4-5D6E-409C-BE32-E72D297353CC}">
                <c16:uniqueId val="{00000207-72A3-4674-B362-466726B36580}"/>
              </c:ext>
            </c:extLst>
          </c:dPt>
          <c:dPt>
            <c:idx val="259"/>
            <c:invertIfNegative val="1"/>
            <c:bubble3D val="0"/>
            <c:spPr>
              <a:solidFill>
                <a:srgbClr val="AEABAB"/>
              </a:solidFill>
            </c:spPr>
            <c:extLst>
              <c:ext xmlns:c16="http://schemas.microsoft.com/office/drawing/2014/chart" uri="{C3380CC4-5D6E-409C-BE32-E72D297353CC}">
                <c16:uniqueId val="{00000209-72A3-4674-B362-466726B36580}"/>
              </c:ext>
            </c:extLst>
          </c:dPt>
          <c:dPt>
            <c:idx val="260"/>
            <c:invertIfNegative val="1"/>
            <c:bubble3D val="0"/>
            <c:spPr>
              <a:solidFill>
                <a:srgbClr val="AEABAB"/>
              </a:solidFill>
            </c:spPr>
            <c:extLst>
              <c:ext xmlns:c16="http://schemas.microsoft.com/office/drawing/2014/chart" uri="{C3380CC4-5D6E-409C-BE32-E72D297353CC}">
                <c16:uniqueId val="{0000020B-72A3-4674-B362-466726B36580}"/>
              </c:ext>
            </c:extLst>
          </c:dPt>
          <c:dPt>
            <c:idx val="261"/>
            <c:invertIfNegative val="1"/>
            <c:bubble3D val="0"/>
            <c:spPr>
              <a:solidFill>
                <a:srgbClr val="AEABAB"/>
              </a:solidFill>
            </c:spPr>
            <c:extLst>
              <c:ext xmlns:c16="http://schemas.microsoft.com/office/drawing/2014/chart" uri="{C3380CC4-5D6E-409C-BE32-E72D297353CC}">
                <c16:uniqueId val="{0000020D-72A3-4674-B362-466726B36580}"/>
              </c:ext>
            </c:extLst>
          </c:dPt>
          <c:dPt>
            <c:idx val="262"/>
            <c:invertIfNegative val="1"/>
            <c:bubble3D val="0"/>
            <c:spPr>
              <a:solidFill>
                <a:srgbClr val="AEABAB"/>
              </a:solidFill>
            </c:spPr>
            <c:extLst>
              <c:ext xmlns:c16="http://schemas.microsoft.com/office/drawing/2014/chart" uri="{C3380CC4-5D6E-409C-BE32-E72D297353CC}">
                <c16:uniqueId val="{0000020F-72A3-4674-B362-466726B36580}"/>
              </c:ext>
            </c:extLst>
          </c:dPt>
          <c:dPt>
            <c:idx val="263"/>
            <c:invertIfNegative val="1"/>
            <c:bubble3D val="0"/>
            <c:spPr>
              <a:solidFill>
                <a:srgbClr val="AEABAB"/>
              </a:solidFill>
            </c:spPr>
            <c:extLst>
              <c:ext xmlns:c16="http://schemas.microsoft.com/office/drawing/2014/chart" uri="{C3380CC4-5D6E-409C-BE32-E72D297353CC}">
                <c16:uniqueId val="{00000211-72A3-4674-B362-466726B36580}"/>
              </c:ext>
            </c:extLst>
          </c:dPt>
          <c:dPt>
            <c:idx val="264"/>
            <c:invertIfNegative val="1"/>
            <c:bubble3D val="0"/>
            <c:spPr>
              <a:solidFill>
                <a:srgbClr val="AEABAB"/>
              </a:solidFill>
            </c:spPr>
            <c:extLst>
              <c:ext xmlns:c16="http://schemas.microsoft.com/office/drawing/2014/chart" uri="{C3380CC4-5D6E-409C-BE32-E72D297353CC}">
                <c16:uniqueId val="{00000213-72A3-4674-B362-466726B36580}"/>
              </c:ext>
            </c:extLst>
          </c:dPt>
          <c:dPt>
            <c:idx val="265"/>
            <c:invertIfNegative val="1"/>
            <c:bubble3D val="0"/>
            <c:spPr>
              <a:solidFill>
                <a:srgbClr val="AEABAB"/>
              </a:solidFill>
            </c:spPr>
            <c:extLst>
              <c:ext xmlns:c16="http://schemas.microsoft.com/office/drawing/2014/chart" uri="{C3380CC4-5D6E-409C-BE32-E72D297353CC}">
                <c16:uniqueId val="{00000215-72A3-4674-B362-466726B36580}"/>
              </c:ext>
            </c:extLst>
          </c:dPt>
          <c:dPt>
            <c:idx val="266"/>
            <c:invertIfNegative val="1"/>
            <c:bubble3D val="0"/>
            <c:spPr>
              <a:solidFill>
                <a:srgbClr val="AEABAB"/>
              </a:solidFill>
            </c:spPr>
            <c:extLst>
              <c:ext xmlns:c16="http://schemas.microsoft.com/office/drawing/2014/chart" uri="{C3380CC4-5D6E-409C-BE32-E72D297353CC}">
                <c16:uniqueId val="{00000217-72A3-4674-B362-466726B36580}"/>
              </c:ext>
            </c:extLst>
          </c:dPt>
          <c:dPt>
            <c:idx val="267"/>
            <c:invertIfNegative val="1"/>
            <c:bubble3D val="0"/>
            <c:spPr>
              <a:solidFill>
                <a:srgbClr val="AEABAB"/>
              </a:solidFill>
            </c:spPr>
            <c:extLst>
              <c:ext xmlns:c16="http://schemas.microsoft.com/office/drawing/2014/chart" uri="{C3380CC4-5D6E-409C-BE32-E72D297353CC}">
                <c16:uniqueId val="{00000219-72A3-4674-B362-466726B36580}"/>
              </c:ext>
            </c:extLst>
          </c:dPt>
          <c:dPt>
            <c:idx val="268"/>
            <c:invertIfNegative val="1"/>
            <c:bubble3D val="0"/>
            <c:spPr>
              <a:solidFill>
                <a:srgbClr val="AEABAB"/>
              </a:solidFill>
            </c:spPr>
            <c:extLst>
              <c:ext xmlns:c16="http://schemas.microsoft.com/office/drawing/2014/chart" uri="{C3380CC4-5D6E-409C-BE32-E72D297353CC}">
                <c16:uniqueId val="{0000021B-72A3-4674-B362-466726B36580}"/>
              </c:ext>
            </c:extLst>
          </c:dPt>
          <c:dPt>
            <c:idx val="269"/>
            <c:invertIfNegative val="1"/>
            <c:bubble3D val="0"/>
            <c:spPr>
              <a:solidFill>
                <a:srgbClr val="AEABAB"/>
              </a:solidFill>
            </c:spPr>
            <c:extLst>
              <c:ext xmlns:c16="http://schemas.microsoft.com/office/drawing/2014/chart" uri="{C3380CC4-5D6E-409C-BE32-E72D297353CC}">
                <c16:uniqueId val="{0000021D-72A3-4674-B362-466726B36580}"/>
              </c:ext>
            </c:extLst>
          </c:dPt>
          <c:dPt>
            <c:idx val="270"/>
            <c:invertIfNegative val="1"/>
            <c:bubble3D val="0"/>
            <c:spPr>
              <a:solidFill>
                <a:srgbClr val="AEABAB"/>
              </a:solidFill>
            </c:spPr>
            <c:extLst>
              <c:ext xmlns:c16="http://schemas.microsoft.com/office/drawing/2014/chart" uri="{C3380CC4-5D6E-409C-BE32-E72D297353CC}">
                <c16:uniqueId val="{0000021F-72A3-4674-B362-466726B36580}"/>
              </c:ext>
            </c:extLst>
          </c:dPt>
          <c:dPt>
            <c:idx val="271"/>
            <c:invertIfNegative val="1"/>
            <c:bubble3D val="0"/>
            <c:spPr>
              <a:solidFill>
                <a:srgbClr val="AEABAB"/>
              </a:solidFill>
            </c:spPr>
            <c:extLst>
              <c:ext xmlns:c16="http://schemas.microsoft.com/office/drawing/2014/chart" uri="{C3380CC4-5D6E-409C-BE32-E72D297353CC}">
                <c16:uniqueId val="{00000221-72A3-4674-B362-466726B36580}"/>
              </c:ext>
            </c:extLst>
          </c:dPt>
          <c:dPt>
            <c:idx val="272"/>
            <c:invertIfNegative val="1"/>
            <c:bubble3D val="0"/>
            <c:spPr>
              <a:solidFill>
                <a:srgbClr val="AEABAB"/>
              </a:solidFill>
            </c:spPr>
            <c:extLst>
              <c:ext xmlns:c16="http://schemas.microsoft.com/office/drawing/2014/chart" uri="{C3380CC4-5D6E-409C-BE32-E72D297353CC}">
                <c16:uniqueId val="{00000223-72A3-4674-B362-466726B36580}"/>
              </c:ext>
            </c:extLst>
          </c:dPt>
          <c:dPt>
            <c:idx val="273"/>
            <c:invertIfNegative val="1"/>
            <c:bubble3D val="0"/>
            <c:spPr>
              <a:solidFill>
                <a:srgbClr val="AEABAB"/>
              </a:solidFill>
            </c:spPr>
            <c:extLst>
              <c:ext xmlns:c16="http://schemas.microsoft.com/office/drawing/2014/chart" uri="{C3380CC4-5D6E-409C-BE32-E72D297353CC}">
                <c16:uniqueId val="{00000225-72A3-4674-B362-466726B36580}"/>
              </c:ext>
            </c:extLst>
          </c:dPt>
          <c:dPt>
            <c:idx val="274"/>
            <c:invertIfNegative val="1"/>
            <c:bubble3D val="0"/>
            <c:spPr>
              <a:solidFill>
                <a:srgbClr val="AEABAB"/>
              </a:solidFill>
            </c:spPr>
            <c:extLst>
              <c:ext xmlns:c16="http://schemas.microsoft.com/office/drawing/2014/chart" uri="{C3380CC4-5D6E-409C-BE32-E72D297353CC}">
                <c16:uniqueId val="{00000227-72A3-4674-B362-466726B36580}"/>
              </c:ext>
            </c:extLst>
          </c:dPt>
          <c:dPt>
            <c:idx val="275"/>
            <c:invertIfNegative val="1"/>
            <c:bubble3D val="0"/>
            <c:spPr>
              <a:solidFill>
                <a:srgbClr val="AEABAB"/>
              </a:solidFill>
            </c:spPr>
            <c:extLst>
              <c:ext xmlns:c16="http://schemas.microsoft.com/office/drawing/2014/chart" uri="{C3380CC4-5D6E-409C-BE32-E72D297353CC}">
                <c16:uniqueId val="{00000229-72A3-4674-B362-466726B36580}"/>
              </c:ext>
            </c:extLst>
          </c:dPt>
          <c:dPt>
            <c:idx val="276"/>
            <c:invertIfNegative val="1"/>
            <c:bubble3D val="0"/>
            <c:spPr>
              <a:solidFill>
                <a:srgbClr val="AEABAB"/>
              </a:solidFill>
            </c:spPr>
            <c:extLst>
              <c:ext xmlns:c16="http://schemas.microsoft.com/office/drawing/2014/chart" uri="{C3380CC4-5D6E-409C-BE32-E72D297353CC}">
                <c16:uniqueId val="{0000022B-72A3-4674-B362-466726B36580}"/>
              </c:ext>
            </c:extLst>
          </c:dPt>
          <c:dPt>
            <c:idx val="277"/>
            <c:invertIfNegative val="1"/>
            <c:bubble3D val="0"/>
            <c:spPr>
              <a:solidFill>
                <a:srgbClr val="AEABAB"/>
              </a:solidFill>
            </c:spPr>
            <c:extLst>
              <c:ext xmlns:c16="http://schemas.microsoft.com/office/drawing/2014/chart" uri="{C3380CC4-5D6E-409C-BE32-E72D297353CC}">
                <c16:uniqueId val="{0000022D-72A3-4674-B362-466726B36580}"/>
              </c:ext>
            </c:extLst>
          </c:dPt>
          <c:dPt>
            <c:idx val="278"/>
            <c:invertIfNegative val="1"/>
            <c:bubble3D val="0"/>
            <c:spPr>
              <a:solidFill>
                <a:srgbClr val="AEABAB"/>
              </a:solidFill>
            </c:spPr>
            <c:extLst>
              <c:ext xmlns:c16="http://schemas.microsoft.com/office/drawing/2014/chart" uri="{C3380CC4-5D6E-409C-BE32-E72D297353CC}">
                <c16:uniqueId val="{0000022F-72A3-4674-B362-466726B36580}"/>
              </c:ext>
            </c:extLst>
          </c:dPt>
          <c:dPt>
            <c:idx val="279"/>
            <c:invertIfNegative val="1"/>
            <c:bubble3D val="0"/>
            <c:spPr>
              <a:solidFill>
                <a:srgbClr val="AEABAB"/>
              </a:solidFill>
            </c:spPr>
            <c:extLst>
              <c:ext xmlns:c16="http://schemas.microsoft.com/office/drawing/2014/chart" uri="{C3380CC4-5D6E-409C-BE32-E72D297353CC}">
                <c16:uniqueId val="{00000231-72A3-4674-B362-466726B36580}"/>
              </c:ext>
            </c:extLst>
          </c:dPt>
          <c:dPt>
            <c:idx val="280"/>
            <c:invertIfNegative val="1"/>
            <c:bubble3D val="0"/>
            <c:spPr>
              <a:solidFill>
                <a:srgbClr val="AEABAB"/>
              </a:solidFill>
            </c:spPr>
            <c:extLst>
              <c:ext xmlns:c16="http://schemas.microsoft.com/office/drawing/2014/chart" uri="{C3380CC4-5D6E-409C-BE32-E72D297353CC}">
                <c16:uniqueId val="{00000233-72A3-4674-B362-466726B36580}"/>
              </c:ext>
            </c:extLst>
          </c:dPt>
          <c:dPt>
            <c:idx val="281"/>
            <c:invertIfNegative val="1"/>
            <c:bubble3D val="0"/>
            <c:spPr>
              <a:solidFill>
                <a:srgbClr val="AEABAB"/>
              </a:solidFill>
            </c:spPr>
            <c:extLst>
              <c:ext xmlns:c16="http://schemas.microsoft.com/office/drawing/2014/chart" uri="{C3380CC4-5D6E-409C-BE32-E72D297353CC}">
                <c16:uniqueId val="{00000235-72A3-4674-B362-466726B36580}"/>
              </c:ext>
            </c:extLst>
          </c:dPt>
          <c:dPt>
            <c:idx val="282"/>
            <c:invertIfNegative val="1"/>
            <c:bubble3D val="0"/>
            <c:spPr>
              <a:solidFill>
                <a:srgbClr val="AEABAB"/>
              </a:solidFill>
            </c:spPr>
            <c:extLst>
              <c:ext xmlns:c16="http://schemas.microsoft.com/office/drawing/2014/chart" uri="{C3380CC4-5D6E-409C-BE32-E72D297353CC}">
                <c16:uniqueId val="{00000237-72A3-4674-B362-466726B36580}"/>
              </c:ext>
            </c:extLst>
          </c:dPt>
          <c:dPt>
            <c:idx val="283"/>
            <c:invertIfNegative val="1"/>
            <c:bubble3D val="0"/>
            <c:spPr>
              <a:solidFill>
                <a:srgbClr val="AEABAB"/>
              </a:solidFill>
            </c:spPr>
            <c:extLst>
              <c:ext xmlns:c16="http://schemas.microsoft.com/office/drawing/2014/chart" uri="{C3380CC4-5D6E-409C-BE32-E72D297353CC}">
                <c16:uniqueId val="{00000239-72A3-4674-B362-466726B36580}"/>
              </c:ext>
            </c:extLst>
          </c:dPt>
          <c:dPt>
            <c:idx val="284"/>
            <c:invertIfNegative val="1"/>
            <c:bubble3D val="0"/>
            <c:spPr>
              <a:solidFill>
                <a:srgbClr val="AEABAB"/>
              </a:solidFill>
            </c:spPr>
            <c:extLst>
              <c:ext xmlns:c16="http://schemas.microsoft.com/office/drawing/2014/chart" uri="{C3380CC4-5D6E-409C-BE32-E72D297353CC}">
                <c16:uniqueId val="{0000023B-72A3-4674-B362-466726B36580}"/>
              </c:ext>
            </c:extLst>
          </c:dPt>
          <c:dPt>
            <c:idx val="285"/>
            <c:invertIfNegative val="1"/>
            <c:bubble3D val="0"/>
            <c:spPr>
              <a:solidFill>
                <a:srgbClr val="AEABAB"/>
              </a:solidFill>
            </c:spPr>
            <c:extLst>
              <c:ext xmlns:c16="http://schemas.microsoft.com/office/drawing/2014/chart" uri="{C3380CC4-5D6E-409C-BE32-E72D297353CC}">
                <c16:uniqueId val="{0000023D-72A3-4674-B362-466726B36580}"/>
              </c:ext>
            </c:extLst>
          </c:dPt>
          <c:dPt>
            <c:idx val="286"/>
            <c:invertIfNegative val="1"/>
            <c:bubble3D val="0"/>
            <c:spPr>
              <a:solidFill>
                <a:srgbClr val="AEABAB"/>
              </a:solidFill>
            </c:spPr>
            <c:extLst>
              <c:ext xmlns:c16="http://schemas.microsoft.com/office/drawing/2014/chart" uri="{C3380CC4-5D6E-409C-BE32-E72D297353CC}">
                <c16:uniqueId val="{0000023F-72A3-4674-B362-466726B36580}"/>
              </c:ext>
            </c:extLst>
          </c:dPt>
          <c:dPt>
            <c:idx val="287"/>
            <c:invertIfNegative val="1"/>
            <c:bubble3D val="0"/>
            <c:spPr>
              <a:solidFill>
                <a:srgbClr val="AEABAB"/>
              </a:solidFill>
            </c:spPr>
            <c:extLst>
              <c:ext xmlns:c16="http://schemas.microsoft.com/office/drawing/2014/chart" uri="{C3380CC4-5D6E-409C-BE32-E72D297353CC}">
                <c16:uniqueId val="{00000241-72A3-4674-B362-466726B36580}"/>
              </c:ext>
            </c:extLst>
          </c:dPt>
          <c:dPt>
            <c:idx val="288"/>
            <c:invertIfNegative val="1"/>
            <c:bubble3D val="0"/>
            <c:spPr>
              <a:solidFill>
                <a:srgbClr val="AEABAB"/>
              </a:solidFill>
            </c:spPr>
            <c:extLst>
              <c:ext xmlns:c16="http://schemas.microsoft.com/office/drawing/2014/chart" uri="{C3380CC4-5D6E-409C-BE32-E72D297353CC}">
                <c16:uniqueId val="{00000243-72A3-4674-B362-466726B36580}"/>
              </c:ext>
            </c:extLst>
          </c:dPt>
          <c:dPt>
            <c:idx val="289"/>
            <c:invertIfNegative val="1"/>
            <c:bubble3D val="0"/>
            <c:spPr>
              <a:solidFill>
                <a:srgbClr val="AEABAB"/>
              </a:solidFill>
            </c:spPr>
            <c:extLst>
              <c:ext xmlns:c16="http://schemas.microsoft.com/office/drawing/2014/chart" uri="{C3380CC4-5D6E-409C-BE32-E72D297353CC}">
                <c16:uniqueId val="{00000245-72A3-4674-B362-466726B36580}"/>
              </c:ext>
            </c:extLst>
          </c:dPt>
          <c:dPt>
            <c:idx val="290"/>
            <c:invertIfNegative val="1"/>
            <c:bubble3D val="0"/>
            <c:spPr>
              <a:solidFill>
                <a:srgbClr val="AEABAB"/>
              </a:solidFill>
            </c:spPr>
            <c:extLst>
              <c:ext xmlns:c16="http://schemas.microsoft.com/office/drawing/2014/chart" uri="{C3380CC4-5D6E-409C-BE32-E72D297353CC}">
                <c16:uniqueId val="{00000247-72A3-4674-B362-466726B36580}"/>
              </c:ext>
            </c:extLst>
          </c:dPt>
          <c:dPt>
            <c:idx val="291"/>
            <c:invertIfNegative val="1"/>
            <c:bubble3D val="0"/>
            <c:spPr>
              <a:solidFill>
                <a:srgbClr val="AEABAB"/>
              </a:solidFill>
            </c:spPr>
            <c:extLst>
              <c:ext xmlns:c16="http://schemas.microsoft.com/office/drawing/2014/chart" uri="{C3380CC4-5D6E-409C-BE32-E72D297353CC}">
                <c16:uniqueId val="{00000249-72A3-4674-B362-466726B36580}"/>
              </c:ext>
            </c:extLst>
          </c:dPt>
          <c:dPt>
            <c:idx val="292"/>
            <c:invertIfNegative val="1"/>
            <c:bubble3D val="0"/>
            <c:spPr>
              <a:solidFill>
                <a:srgbClr val="AEABAB"/>
              </a:solidFill>
            </c:spPr>
            <c:extLst>
              <c:ext xmlns:c16="http://schemas.microsoft.com/office/drawing/2014/chart" uri="{C3380CC4-5D6E-409C-BE32-E72D297353CC}">
                <c16:uniqueId val="{0000024B-72A3-4674-B362-466726B36580}"/>
              </c:ext>
            </c:extLst>
          </c:dPt>
          <c:dPt>
            <c:idx val="293"/>
            <c:invertIfNegative val="1"/>
            <c:bubble3D val="0"/>
            <c:spPr>
              <a:solidFill>
                <a:srgbClr val="AEABAB"/>
              </a:solidFill>
            </c:spPr>
            <c:extLst>
              <c:ext xmlns:c16="http://schemas.microsoft.com/office/drawing/2014/chart" uri="{C3380CC4-5D6E-409C-BE32-E72D297353CC}">
                <c16:uniqueId val="{0000024D-72A3-4674-B362-466726B36580}"/>
              </c:ext>
            </c:extLst>
          </c:dPt>
          <c:dPt>
            <c:idx val="294"/>
            <c:invertIfNegative val="1"/>
            <c:bubble3D val="0"/>
            <c:spPr>
              <a:solidFill>
                <a:srgbClr val="AEABAB"/>
              </a:solidFill>
            </c:spPr>
            <c:extLst>
              <c:ext xmlns:c16="http://schemas.microsoft.com/office/drawing/2014/chart" uri="{C3380CC4-5D6E-409C-BE32-E72D297353CC}">
                <c16:uniqueId val="{0000024F-72A3-4674-B362-466726B36580}"/>
              </c:ext>
            </c:extLst>
          </c:dPt>
          <c:dPt>
            <c:idx val="295"/>
            <c:invertIfNegative val="1"/>
            <c:bubble3D val="0"/>
            <c:spPr>
              <a:solidFill>
                <a:srgbClr val="AEABAB"/>
              </a:solidFill>
            </c:spPr>
            <c:extLst>
              <c:ext xmlns:c16="http://schemas.microsoft.com/office/drawing/2014/chart" uri="{C3380CC4-5D6E-409C-BE32-E72D297353CC}">
                <c16:uniqueId val="{00000251-72A3-4674-B362-466726B36580}"/>
              </c:ext>
            </c:extLst>
          </c:dPt>
          <c:dPt>
            <c:idx val="296"/>
            <c:invertIfNegative val="1"/>
            <c:bubble3D val="0"/>
            <c:spPr>
              <a:solidFill>
                <a:srgbClr val="AEABAB"/>
              </a:solidFill>
            </c:spPr>
            <c:extLst>
              <c:ext xmlns:c16="http://schemas.microsoft.com/office/drawing/2014/chart" uri="{C3380CC4-5D6E-409C-BE32-E72D297353CC}">
                <c16:uniqueId val="{00000253-72A3-4674-B362-466726B36580}"/>
              </c:ext>
            </c:extLst>
          </c:dPt>
          <c:dPt>
            <c:idx val="297"/>
            <c:invertIfNegative val="1"/>
            <c:bubble3D val="0"/>
            <c:spPr>
              <a:solidFill>
                <a:srgbClr val="AEABAB"/>
              </a:solidFill>
            </c:spPr>
            <c:extLst>
              <c:ext xmlns:c16="http://schemas.microsoft.com/office/drawing/2014/chart" uri="{C3380CC4-5D6E-409C-BE32-E72D297353CC}">
                <c16:uniqueId val="{00000255-72A3-4674-B362-466726B36580}"/>
              </c:ext>
            </c:extLst>
          </c:dPt>
          <c:dPt>
            <c:idx val="298"/>
            <c:invertIfNegative val="1"/>
            <c:bubble3D val="0"/>
            <c:spPr>
              <a:solidFill>
                <a:srgbClr val="AEABAB"/>
              </a:solidFill>
            </c:spPr>
            <c:extLst>
              <c:ext xmlns:c16="http://schemas.microsoft.com/office/drawing/2014/chart" uri="{C3380CC4-5D6E-409C-BE32-E72D297353CC}">
                <c16:uniqueId val="{00000257-72A3-4674-B362-466726B36580}"/>
              </c:ext>
            </c:extLst>
          </c:dPt>
          <c:dPt>
            <c:idx val="299"/>
            <c:invertIfNegative val="1"/>
            <c:bubble3D val="0"/>
            <c:spPr>
              <a:solidFill>
                <a:srgbClr val="AEABAB"/>
              </a:solidFill>
            </c:spPr>
            <c:extLst>
              <c:ext xmlns:c16="http://schemas.microsoft.com/office/drawing/2014/chart" uri="{C3380CC4-5D6E-409C-BE32-E72D297353CC}">
                <c16:uniqueId val="{00000259-72A3-4674-B362-466726B36580}"/>
              </c:ext>
            </c:extLst>
          </c:dPt>
          <c:dPt>
            <c:idx val="300"/>
            <c:invertIfNegative val="1"/>
            <c:bubble3D val="0"/>
            <c:spPr>
              <a:solidFill>
                <a:srgbClr val="AEABAB"/>
              </a:solidFill>
            </c:spPr>
            <c:extLst>
              <c:ext xmlns:c16="http://schemas.microsoft.com/office/drawing/2014/chart" uri="{C3380CC4-5D6E-409C-BE32-E72D297353CC}">
                <c16:uniqueId val="{0000025B-72A3-4674-B362-466726B36580}"/>
              </c:ext>
            </c:extLst>
          </c:dPt>
          <c:dPt>
            <c:idx val="301"/>
            <c:invertIfNegative val="1"/>
            <c:bubble3D val="0"/>
            <c:spPr>
              <a:solidFill>
                <a:srgbClr val="AEABAB"/>
              </a:solidFill>
            </c:spPr>
            <c:extLst>
              <c:ext xmlns:c16="http://schemas.microsoft.com/office/drawing/2014/chart" uri="{C3380CC4-5D6E-409C-BE32-E72D297353CC}">
                <c16:uniqueId val="{0000025D-72A3-4674-B362-466726B36580}"/>
              </c:ext>
            </c:extLst>
          </c:dPt>
          <c:dPt>
            <c:idx val="302"/>
            <c:invertIfNegative val="1"/>
            <c:bubble3D val="0"/>
            <c:spPr>
              <a:solidFill>
                <a:srgbClr val="AEABAB"/>
              </a:solidFill>
            </c:spPr>
            <c:extLst>
              <c:ext xmlns:c16="http://schemas.microsoft.com/office/drawing/2014/chart" uri="{C3380CC4-5D6E-409C-BE32-E72D297353CC}">
                <c16:uniqueId val="{0000025F-72A3-4674-B362-466726B36580}"/>
              </c:ext>
            </c:extLst>
          </c:dPt>
          <c:dPt>
            <c:idx val="303"/>
            <c:invertIfNegative val="1"/>
            <c:bubble3D val="0"/>
            <c:spPr>
              <a:solidFill>
                <a:srgbClr val="AEABAB"/>
              </a:solidFill>
            </c:spPr>
            <c:extLst>
              <c:ext xmlns:c16="http://schemas.microsoft.com/office/drawing/2014/chart" uri="{C3380CC4-5D6E-409C-BE32-E72D297353CC}">
                <c16:uniqueId val="{00000261-72A3-4674-B362-466726B36580}"/>
              </c:ext>
            </c:extLst>
          </c:dPt>
          <c:dPt>
            <c:idx val="304"/>
            <c:invertIfNegative val="1"/>
            <c:bubble3D val="0"/>
            <c:spPr>
              <a:solidFill>
                <a:srgbClr val="AEABAB"/>
              </a:solidFill>
            </c:spPr>
            <c:extLst>
              <c:ext xmlns:c16="http://schemas.microsoft.com/office/drawing/2014/chart" uri="{C3380CC4-5D6E-409C-BE32-E72D297353CC}">
                <c16:uniqueId val="{00000263-72A3-4674-B362-466726B36580}"/>
              </c:ext>
            </c:extLst>
          </c:dPt>
          <c:dPt>
            <c:idx val="305"/>
            <c:invertIfNegative val="1"/>
            <c:bubble3D val="0"/>
            <c:spPr>
              <a:solidFill>
                <a:srgbClr val="AEABAB"/>
              </a:solidFill>
            </c:spPr>
            <c:extLst>
              <c:ext xmlns:c16="http://schemas.microsoft.com/office/drawing/2014/chart" uri="{C3380CC4-5D6E-409C-BE32-E72D297353CC}">
                <c16:uniqueId val="{00000265-72A3-4674-B362-466726B36580}"/>
              </c:ext>
            </c:extLst>
          </c:dPt>
          <c:dPt>
            <c:idx val="306"/>
            <c:invertIfNegative val="1"/>
            <c:bubble3D val="0"/>
            <c:spPr>
              <a:solidFill>
                <a:srgbClr val="AEABAB"/>
              </a:solidFill>
            </c:spPr>
            <c:extLst>
              <c:ext xmlns:c16="http://schemas.microsoft.com/office/drawing/2014/chart" uri="{C3380CC4-5D6E-409C-BE32-E72D297353CC}">
                <c16:uniqueId val="{00000267-72A3-4674-B362-466726B36580}"/>
              </c:ext>
            </c:extLst>
          </c:dPt>
          <c:dPt>
            <c:idx val="307"/>
            <c:invertIfNegative val="1"/>
            <c:bubble3D val="0"/>
            <c:spPr>
              <a:solidFill>
                <a:srgbClr val="AEABAB"/>
              </a:solidFill>
            </c:spPr>
            <c:extLst>
              <c:ext xmlns:c16="http://schemas.microsoft.com/office/drawing/2014/chart" uri="{C3380CC4-5D6E-409C-BE32-E72D297353CC}">
                <c16:uniqueId val="{00000269-72A3-4674-B362-466726B36580}"/>
              </c:ext>
            </c:extLst>
          </c:dPt>
          <c:dPt>
            <c:idx val="308"/>
            <c:invertIfNegative val="1"/>
            <c:bubble3D val="0"/>
            <c:spPr>
              <a:solidFill>
                <a:srgbClr val="AEABAB"/>
              </a:solidFill>
            </c:spPr>
            <c:extLst>
              <c:ext xmlns:c16="http://schemas.microsoft.com/office/drawing/2014/chart" uri="{C3380CC4-5D6E-409C-BE32-E72D297353CC}">
                <c16:uniqueId val="{0000026B-72A3-4674-B362-466726B36580}"/>
              </c:ext>
            </c:extLst>
          </c:dPt>
          <c:dPt>
            <c:idx val="309"/>
            <c:invertIfNegative val="1"/>
            <c:bubble3D val="0"/>
            <c:spPr>
              <a:solidFill>
                <a:srgbClr val="AEABAB"/>
              </a:solidFill>
            </c:spPr>
            <c:extLst>
              <c:ext xmlns:c16="http://schemas.microsoft.com/office/drawing/2014/chart" uri="{C3380CC4-5D6E-409C-BE32-E72D297353CC}">
                <c16:uniqueId val="{0000026D-72A3-4674-B362-466726B36580}"/>
              </c:ext>
            </c:extLst>
          </c:dPt>
          <c:dPt>
            <c:idx val="310"/>
            <c:invertIfNegative val="1"/>
            <c:bubble3D val="0"/>
            <c:spPr>
              <a:solidFill>
                <a:srgbClr val="AEABAB"/>
              </a:solidFill>
            </c:spPr>
            <c:extLst>
              <c:ext xmlns:c16="http://schemas.microsoft.com/office/drawing/2014/chart" uri="{C3380CC4-5D6E-409C-BE32-E72D297353CC}">
                <c16:uniqueId val="{0000026F-72A3-4674-B362-466726B36580}"/>
              </c:ext>
            </c:extLst>
          </c:dPt>
          <c:dPt>
            <c:idx val="311"/>
            <c:invertIfNegative val="1"/>
            <c:bubble3D val="0"/>
            <c:spPr>
              <a:solidFill>
                <a:srgbClr val="AEABAB"/>
              </a:solidFill>
            </c:spPr>
            <c:extLst>
              <c:ext xmlns:c16="http://schemas.microsoft.com/office/drawing/2014/chart" uri="{C3380CC4-5D6E-409C-BE32-E72D297353CC}">
                <c16:uniqueId val="{00000271-72A3-4674-B362-466726B36580}"/>
              </c:ext>
            </c:extLst>
          </c:dPt>
          <c:dPt>
            <c:idx val="312"/>
            <c:invertIfNegative val="1"/>
            <c:bubble3D val="0"/>
            <c:spPr>
              <a:solidFill>
                <a:srgbClr val="AEABAB"/>
              </a:solidFill>
            </c:spPr>
            <c:extLst>
              <c:ext xmlns:c16="http://schemas.microsoft.com/office/drawing/2014/chart" uri="{C3380CC4-5D6E-409C-BE32-E72D297353CC}">
                <c16:uniqueId val="{00000273-72A3-4674-B362-466726B36580}"/>
              </c:ext>
            </c:extLst>
          </c:dPt>
          <c:dPt>
            <c:idx val="313"/>
            <c:invertIfNegative val="1"/>
            <c:bubble3D val="0"/>
            <c:spPr>
              <a:solidFill>
                <a:srgbClr val="AEABAB"/>
              </a:solidFill>
            </c:spPr>
            <c:extLst>
              <c:ext xmlns:c16="http://schemas.microsoft.com/office/drawing/2014/chart" uri="{C3380CC4-5D6E-409C-BE32-E72D297353CC}">
                <c16:uniqueId val="{00000275-72A3-4674-B362-466726B36580}"/>
              </c:ext>
            </c:extLst>
          </c:dPt>
          <c:dPt>
            <c:idx val="314"/>
            <c:invertIfNegative val="1"/>
            <c:bubble3D val="0"/>
            <c:spPr>
              <a:solidFill>
                <a:srgbClr val="AEABAB"/>
              </a:solidFill>
            </c:spPr>
            <c:extLst>
              <c:ext xmlns:c16="http://schemas.microsoft.com/office/drawing/2014/chart" uri="{C3380CC4-5D6E-409C-BE32-E72D297353CC}">
                <c16:uniqueId val="{00000277-72A3-4674-B362-466726B36580}"/>
              </c:ext>
            </c:extLst>
          </c:dPt>
          <c:dPt>
            <c:idx val="315"/>
            <c:invertIfNegative val="1"/>
            <c:bubble3D val="0"/>
            <c:spPr>
              <a:solidFill>
                <a:srgbClr val="AEABAB"/>
              </a:solidFill>
            </c:spPr>
            <c:extLst>
              <c:ext xmlns:c16="http://schemas.microsoft.com/office/drawing/2014/chart" uri="{C3380CC4-5D6E-409C-BE32-E72D297353CC}">
                <c16:uniqueId val="{00000279-72A3-4674-B362-466726B36580}"/>
              </c:ext>
            </c:extLst>
          </c:dPt>
          <c:dPt>
            <c:idx val="316"/>
            <c:invertIfNegative val="1"/>
            <c:bubble3D val="0"/>
            <c:spPr>
              <a:solidFill>
                <a:srgbClr val="AEABAB"/>
              </a:solidFill>
            </c:spPr>
            <c:extLst>
              <c:ext xmlns:c16="http://schemas.microsoft.com/office/drawing/2014/chart" uri="{C3380CC4-5D6E-409C-BE32-E72D297353CC}">
                <c16:uniqueId val="{0000027B-72A3-4674-B362-466726B36580}"/>
              </c:ext>
            </c:extLst>
          </c:dPt>
          <c:dPt>
            <c:idx val="317"/>
            <c:invertIfNegative val="1"/>
            <c:bubble3D val="0"/>
            <c:spPr>
              <a:solidFill>
                <a:srgbClr val="AEABAB"/>
              </a:solidFill>
            </c:spPr>
            <c:extLst>
              <c:ext xmlns:c16="http://schemas.microsoft.com/office/drawing/2014/chart" uri="{C3380CC4-5D6E-409C-BE32-E72D297353CC}">
                <c16:uniqueId val="{0000027D-72A3-4674-B362-466726B36580}"/>
              </c:ext>
            </c:extLst>
          </c:dPt>
          <c:dPt>
            <c:idx val="318"/>
            <c:invertIfNegative val="1"/>
            <c:bubble3D val="0"/>
            <c:spPr>
              <a:solidFill>
                <a:srgbClr val="AEABAB"/>
              </a:solidFill>
            </c:spPr>
            <c:extLst>
              <c:ext xmlns:c16="http://schemas.microsoft.com/office/drawing/2014/chart" uri="{C3380CC4-5D6E-409C-BE32-E72D297353CC}">
                <c16:uniqueId val="{0000027F-72A3-4674-B362-466726B36580}"/>
              </c:ext>
            </c:extLst>
          </c:dPt>
          <c:dPt>
            <c:idx val="319"/>
            <c:invertIfNegative val="1"/>
            <c:bubble3D val="0"/>
            <c:spPr>
              <a:solidFill>
                <a:srgbClr val="AEABAB"/>
              </a:solidFill>
            </c:spPr>
            <c:extLst>
              <c:ext xmlns:c16="http://schemas.microsoft.com/office/drawing/2014/chart" uri="{C3380CC4-5D6E-409C-BE32-E72D297353CC}">
                <c16:uniqueId val="{00000281-72A3-4674-B362-466726B36580}"/>
              </c:ext>
            </c:extLst>
          </c:dPt>
          <c:dPt>
            <c:idx val="320"/>
            <c:invertIfNegative val="1"/>
            <c:bubble3D val="0"/>
            <c:spPr>
              <a:solidFill>
                <a:srgbClr val="AEABAB"/>
              </a:solidFill>
            </c:spPr>
            <c:extLst>
              <c:ext xmlns:c16="http://schemas.microsoft.com/office/drawing/2014/chart" uri="{C3380CC4-5D6E-409C-BE32-E72D297353CC}">
                <c16:uniqueId val="{00000283-72A3-4674-B362-466726B36580}"/>
              </c:ext>
            </c:extLst>
          </c:dPt>
          <c:dPt>
            <c:idx val="321"/>
            <c:invertIfNegative val="1"/>
            <c:bubble3D val="0"/>
            <c:spPr>
              <a:solidFill>
                <a:srgbClr val="AEABAB"/>
              </a:solidFill>
            </c:spPr>
            <c:extLst>
              <c:ext xmlns:c16="http://schemas.microsoft.com/office/drawing/2014/chart" uri="{C3380CC4-5D6E-409C-BE32-E72D297353CC}">
                <c16:uniqueId val="{00000285-72A3-4674-B362-466726B36580}"/>
              </c:ext>
            </c:extLst>
          </c:dPt>
          <c:dPt>
            <c:idx val="322"/>
            <c:invertIfNegative val="1"/>
            <c:bubble3D val="0"/>
            <c:spPr>
              <a:solidFill>
                <a:srgbClr val="AEABAB"/>
              </a:solidFill>
            </c:spPr>
            <c:extLst>
              <c:ext xmlns:c16="http://schemas.microsoft.com/office/drawing/2014/chart" uri="{C3380CC4-5D6E-409C-BE32-E72D297353CC}">
                <c16:uniqueId val="{00000287-72A3-4674-B362-466726B36580}"/>
              </c:ext>
            </c:extLst>
          </c:dPt>
          <c:dPt>
            <c:idx val="323"/>
            <c:invertIfNegative val="1"/>
            <c:bubble3D val="0"/>
            <c:spPr>
              <a:solidFill>
                <a:srgbClr val="AEABAB"/>
              </a:solidFill>
            </c:spPr>
            <c:extLst>
              <c:ext xmlns:c16="http://schemas.microsoft.com/office/drawing/2014/chart" uri="{C3380CC4-5D6E-409C-BE32-E72D297353CC}">
                <c16:uniqueId val="{00000289-72A3-4674-B362-466726B36580}"/>
              </c:ext>
            </c:extLst>
          </c:dPt>
          <c:dPt>
            <c:idx val="324"/>
            <c:invertIfNegative val="1"/>
            <c:bubble3D val="0"/>
            <c:spPr>
              <a:solidFill>
                <a:srgbClr val="AEABAB"/>
              </a:solidFill>
            </c:spPr>
            <c:extLst>
              <c:ext xmlns:c16="http://schemas.microsoft.com/office/drawing/2014/chart" uri="{C3380CC4-5D6E-409C-BE32-E72D297353CC}">
                <c16:uniqueId val="{0000028B-72A3-4674-B362-466726B36580}"/>
              </c:ext>
            </c:extLst>
          </c:dPt>
          <c:dPt>
            <c:idx val="325"/>
            <c:invertIfNegative val="1"/>
            <c:bubble3D val="0"/>
            <c:spPr>
              <a:solidFill>
                <a:srgbClr val="AEABAB"/>
              </a:solidFill>
            </c:spPr>
            <c:extLst>
              <c:ext xmlns:c16="http://schemas.microsoft.com/office/drawing/2014/chart" uri="{C3380CC4-5D6E-409C-BE32-E72D297353CC}">
                <c16:uniqueId val="{0000028D-72A3-4674-B362-466726B36580}"/>
              </c:ext>
            </c:extLst>
          </c:dPt>
          <c:dPt>
            <c:idx val="326"/>
            <c:invertIfNegative val="1"/>
            <c:bubble3D val="0"/>
            <c:spPr>
              <a:solidFill>
                <a:srgbClr val="AEABAB"/>
              </a:solidFill>
            </c:spPr>
            <c:extLst>
              <c:ext xmlns:c16="http://schemas.microsoft.com/office/drawing/2014/chart" uri="{C3380CC4-5D6E-409C-BE32-E72D297353CC}">
                <c16:uniqueId val="{0000028F-72A3-4674-B362-466726B36580}"/>
              </c:ext>
            </c:extLst>
          </c:dPt>
          <c:dPt>
            <c:idx val="327"/>
            <c:invertIfNegative val="1"/>
            <c:bubble3D val="0"/>
            <c:spPr>
              <a:solidFill>
                <a:srgbClr val="AEABAB"/>
              </a:solidFill>
            </c:spPr>
            <c:extLst>
              <c:ext xmlns:c16="http://schemas.microsoft.com/office/drawing/2014/chart" uri="{C3380CC4-5D6E-409C-BE32-E72D297353CC}">
                <c16:uniqueId val="{00000291-72A3-4674-B362-466726B36580}"/>
              </c:ext>
            </c:extLst>
          </c:dPt>
          <c:dPt>
            <c:idx val="328"/>
            <c:invertIfNegative val="1"/>
            <c:bubble3D val="0"/>
            <c:spPr>
              <a:solidFill>
                <a:srgbClr val="AEABAB"/>
              </a:solidFill>
            </c:spPr>
            <c:extLst>
              <c:ext xmlns:c16="http://schemas.microsoft.com/office/drawing/2014/chart" uri="{C3380CC4-5D6E-409C-BE32-E72D297353CC}">
                <c16:uniqueId val="{00000293-72A3-4674-B362-466726B36580}"/>
              </c:ext>
            </c:extLst>
          </c:dPt>
          <c:dPt>
            <c:idx val="329"/>
            <c:invertIfNegative val="1"/>
            <c:bubble3D val="0"/>
            <c:spPr>
              <a:solidFill>
                <a:srgbClr val="AEABAB"/>
              </a:solidFill>
            </c:spPr>
            <c:extLst>
              <c:ext xmlns:c16="http://schemas.microsoft.com/office/drawing/2014/chart" uri="{C3380CC4-5D6E-409C-BE32-E72D297353CC}">
                <c16:uniqueId val="{00000295-72A3-4674-B362-466726B36580}"/>
              </c:ext>
            </c:extLst>
          </c:dPt>
          <c:dPt>
            <c:idx val="330"/>
            <c:invertIfNegative val="1"/>
            <c:bubble3D val="0"/>
            <c:spPr>
              <a:solidFill>
                <a:srgbClr val="AEABAB"/>
              </a:solidFill>
            </c:spPr>
            <c:extLst>
              <c:ext xmlns:c16="http://schemas.microsoft.com/office/drawing/2014/chart" uri="{C3380CC4-5D6E-409C-BE32-E72D297353CC}">
                <c16:uniqueId val="{00000297-72A3-4674-B362-466726B36580}"/>
              </c:ext>
            </c:extLst>
          </c:dPt>
          <c:dPt>
            <c:idx val="331"/>
            <c:invertIfNegative val="1"/>
            <c:bubble3D val="0"/>
            <c:spPr>
              <a:solidFill>
                <a:srgbClr val="AEABAB"/>
              </a:solidFill>
            </c:spPr>
            <c:extLst>
              <c:ext xmlns:c16="http://schemas.microsoft.com/office/drawing/2014/chart" uri="{C3380CC4-5D6E-409C-BE32-E72D297353CC}">
                <c16:uniqueId val="{00000299-72A3-4674-B362-466726B36580}"/>
              </c:ext>
            </c:extLst>
          </c:dPt>
          <c:dPt>
            <c:idx val="332"/>
            <c:invertIfNegative val="1"/>
            <c:bubble3D val="0"/>
            <c:spPr>
              <a:solidFill>
                <a:srgbClr val="AEABAB"/>
              </a:solidFill>
            </c:spPr>
            <c:extLst>
              <c:ext xmlns:c16="http://schemas.microsoft.com/office/drawing/2014/chart" uri="{C3380CC4-5D6E-409C-BE32-E72D297353CC}">
                <c16:uniqueId val="{0000029B-72A3-4674-B362-466726B36580}"/>
              </c:ext>
            </c:extLst>
          </c:dPt>
          <c:dPt>
            <c:idx val="333"/>
            <c:invertIfNegative val="1"/>
            <c:bubble3D val="0"/>
            <c:spPr>
              <a:solidFill>
                <a:srgbClr val="AEABAB"/>
              </a:solidFill>
            </c:spPr>
            <c:extLst>
              <c:ext xmlns:c16="http://schemas.microsoft.com/office/drawing/2014/chart" uri="{C3380CC4-5D6E-409C-BE32-E72D297353CC}">
                <c16:uniqueId val="{0000029D-72A3-4674-B362-466726B36580}"/>
              </c:ext>
            </c:extLst>
          </c:dPt>
          <c:dPt>
            <c:idx val="334"/>
            <c:invertIfNegative val="1"/>
            <c:bubble3D val="0"/>
            <c:spPr>
              <a:solidFill>
                <a:srgbClr val="AEABAB"/>
              </a:solidFill>
            </c:spPr>
            <c:extLst>
              <c:ext xmlns:c16="http://schemas.microsoft.com/office/drawing/2014/chart" uri="{C3380CC4-5D6E-409C-BE32-E72D297353CC}">
                <c16:uniqueId val="{0000029F-72A3-4674-B362-466726B36580}"/>
              </c:ext>
            </c:extLst>
          </c:dPt>
          <c:dPt>
            <c:idx val="335"/>
            <c:invertIfNegative val="1"/>
            <c:bubble3D val="0"/>
            <c:spPr>
              <a:solidFill>
                <a:srgbClr val="AEABAB"/>
              </a:solidFill>
            </c:spPr>
            <c:extLst>
              <c:ext xmlns:c16="http://schemas.microsoft.com/office/drawing/2014/chart" uri="{C3380CC4-5D6E-409C-BE32-E72D297353CC}">
                <c16:uniqueId val="{000002A1-72A3-4674-B362-466726B36580}"/>
              </c:ext>
            </c:extLst>
          </c:dPt>
          <c:dPt>
            <c:idx val="336"/>
            <c:invertIfNegative val="1"/>
            <c:bubble3D val="0"/>
            <c:spPr>
              <a:solidFill>
                <a:srgbClr val="AEABAB"/>
              </a:solidFill>
            </c:spPr>
            <c:extLst>
              <c:ext xmlns:c16="http://schemas.microsoft.com/office/drawing/2014/chart" uri="{C3380CC4-5D6E-409C-BE32-E72D297353CC}">
                <c16:uniqueId val="{000002A3-72A3-4674-B362-466726B36580}"/>
              </c:ext>
            </c:extLst>
          </c:dPt>
          <c:dPt>
            <c:idx val="337"/>
            <c:invertIfNegative val="1"/>
            <c:bubble3D val="0"/>
            <c:spPr>
              <a:solidFill>
                <a:srgbClr val="AEABAB"/>
              </a:solidFill>
            </c:spPr>
            <c:extLst>
              <c:ext xmlns:c16="http://schemas.microsoft.com/office/drawing/2014/chart" uri="{C3380CC4-5D6E-409C-BE32-E72D297353CC}">
                <c16:uniqueId val="{000002A5-72A3-4674-B362-466726B36580}"/>
              </c:ext>
            </c:extLst>
          </c:dPt>
          <c:dPt>
            <c:idx val="338"/>
            <c:invertIfNegative val="1"/>
            <c:bubble3D val="0"/>
            <c:spPr>
              <a:solidFill>
                <a:srgbClr val="AEABAB"/>
              </a:solidFill>
            </c:spPr>
            <c:extLst>
              <c:ext xmlns:c16="http://schemas.microsoft.com/office/drawing/2014/chart" uri="{C3380CC4-5D6E-409C-BE32-E72D297353CC}">
                <c16:uniqueId val="{000002A7-72A3-4674-B362-466726B36580}"/>
              </c:ext>
            </c:extLst>
          </c:dPt>
          <c:dPt>
            <c:idx val="339"/>
            <c:invertIfNegative val="1"/>
            <c:bubble3D val="0"/>
            <c:spPr>
              <a:solidFill>
                <a:srgbClr val="AEABAB"/>
              </a:solidFill>
            </c:spPr>
            <c:extLst>
              <c:ext xmlns:c16="http://schemas.microsoft.com/office/drawing/2014/chart" uri="{C3380CC4-5D6E-409C-BE32-E72D297353CC}">
                <c16:uniqueId val="{000002A9-72A3-4674-B362-466726B36580}"/>
              </c:ext>
            </c:extLst>
          </c:dPt>
          <c:dPt>
            <c:idx val="340"/>
            <c:invertIfNegative val="1"/>
            <c:bubble3D val="0"/>
            <c:spPr>
              <a:solidFill>
                <a:srgbClr val="AEABAB"/>
              </a:solidFill>
            </c:spPr>
            <c:extLst>
              <c:ext xmlns:c16="http://schemas.microsoft.com/office/drawing/2014/chart" uri="{C3380CC4-5D6E-409C-BE32-E72D297353CC}">
                <c16:uniqueId val="{000002AB-72A3-4674-B362-466726B36580}"/>
              </c:ext>
            </c:extLst>
          </c:dPt>
          <c:dPt>
            <c:idx val="341"/>
            <c:invertIfNegative val="1"/>
            <c:bubble3D val="0"/>
            <c:spPr>
              <a:solidFill>
                <a:srgbClr val="AEABAB"/>
              </a:solidFill>
            </c:spPr>
            <c:extLst>
              <c:ext xmlns:c16="http://schemas.microsoft.com/office/drawing/2014/chart" uri="{C3380CC4-5D6E-409C-BE32-E72D297353CC}">
                <c16:uniqueId val="{000002AD-72A3-4674-B362-466726B36580}"/>
              </c:ext>
            </c:extLst>
          </c:dPt>
          <c:dPt>
            <c:idx val="342"/>
            <c:invertIfNegative val="1"/>
            <c:bubble3D val="0"/>
            <c:spPr>
              <a:solidFill>
                <a:srgbClr val="AEABAB"/>
              </a:solidFill>
            </c:spPr>
            <c:extLst>
              <c:ext xmlns:c16="http://schemas.microsoft.com/office/drawing/2014/chart" uri="{C3380CC4-5D6E-409C-BE32-E72D297353CC}">
                <c16:uniqueId val="{000002AF-72A3-4674-B362-466726B36580}"/>
              </c:ext>
            </c:extLst>
          </c:dPt>
          <c:dPt>
            <c:idx val="343"/>
            <c:invertIfNegative val="1"/>
            <c:bubble3D val="0"/>
            <c:spPr>
              <a:solidFill>
                <a:srgbClr val="AEABAB"/>
              </a:solidFill>
            </c:spPr>
            <c:extLst>
              <c:ext xmlns:c16="http://schemas.microsoft.com/office/drawing/2014/chart" uri="{C3380CC4-5D6E-409C-BE32-E72D297353CC}">
                <c16:uniqueId val="{000002B1-72A3-4674-B362-466726B36580}"/>
              </c:ext>
            </c:extLst>
          </c:dPt>
          <c:dPt>
            <c:idx val="344"/>
            <c:invertIfNegative val="1"/>
            <c:bubble3D val="0"/>
            <c:spPr>
              <a:solidFill>
                <a:srgbClr val="AEABAB"/>
              </a:solidFill>
            </c:spPr>
            <c:extLst>
              <c:ext xmlns:c16="http://schemas.microsoft.com/office/drawing/2014/chart" uri="{C3380CC4-5D6E-409C-BE32-E72D297353CC}">
                <c16:uniqueId val="{000002B3-72A3-4674-B362-466726B36580}"/>
              </c:ext>
            </c:extLst>
          </c:dPt>
          <c:dPt>
            <c:idx val="345"/>
            <c:invertIfNegative val="1"/>
            <c:bubble3D val="0"/>
            <c:spPr>
              <a:solidFill>
                <a:srgbClr val="AEABAB"/>
              </a:solidFill>
            </c:spPr>
            <c:extLst>
              <c:ext xmlns:c16="http://schemas.microsoft.com/office/drawing/2014/chart" uri="{C3380CC4-5D6E-409C-BE32-E72D297353CC}">
                <c16:uniqueId val="{000002B5-72A3-4674-B362-466726B36580}"/>
              </c:ext>
            </c:extLst>
          </c:dPt>
          <c:dPt>
            <c:idx val="346"/>
            <c:invertIfNegative val="1"/>
            <c:bubble3D val="0"/>
            <c:spPr>
              <a:solidFill>
                <a:srgbClr val="AEABAB"/>
              </a:solidFill>
            </c:spPr>
            <c:extLst>
              <c:ext xmlns:c16="http://schemas.microsoft.com/office/drawing/2014/chart" uri="{C3380CC4-5D6E-409C-BE32-E72D297353CC}">
                <c16:uniqueId val="{000002B7-72A3-4674-B362-466726B36580}"/>
              </c:ext>
            </c:extLst>
          </c:dPt>
          <c:dPt>
            <c:idx val="347"/>
            <c:invertIfNegative val="1"/>
            <c:bubble3D val="0"/>
            <c:spPr>
              <a:solidFill>
                <a:srgbClr val="AEABAB"/>
              </a:solidFill>
            </c:spPr>
            <c:extLst>
              <c:ext xmlns:c16="http://schemas.microsoft.com/office/drawing/2014/chart" uri="{C3380CC4-5D6E-409C-BE32-E72D297353CC}">
                <c16:uniqueId val="{000002B9-72A3-4674-B362-466726B36580}"/>
              </c:ext>
            </c:extLst>
          </c:dPt>
          <c:dPt>
            <c:idx val="348"/>
            <c:invertIfNegative val="1"/>
            <c:bubble3D val="0"/>
            <c:spPr>
              <a:solidFill>
                <a:srgbClr val="AEABAB"/>
              </a:solidFill>
            </c:spPr>
            <c:extLst>
              <c:ext xmlns:c16="http://schemas.microsoft.com/office/drawing/2014/chart" uri="{C3380CC4-5D6E-409C-BE32-E72D297353CC}">
                <c16:uniqueId val="{000002BB-72A3-4674-B362-466726B36580}"/>
              </c:ext>
            </c:extLst>
          </c:dPt>
          <c:dPt>
            <c:idx val="349"/>
            <c:invertIfNegative val="1"/>
            <c:bubble3D val="0"/>
            <c:spPr>
              <a:solidFill>
                <a:srgbClr val="AEABAB"/>
              </a:solidFill>
            </c:spPr>
            <c:extLst>
              <c:ext xmlns:c16="http://schemas.microsoft.com/office/drawing/2014/chart" uri="{C3380CC4-5D6E-409C-BE32-E72D297353CC}">
                <c16:uniqueId val="{000002BD-72A3-4674-B362-466726B36580}"/>
              </c:ext>
            </c:extLst>
          </c:dPt>
          <c:dPt>
            <c:idx val="350"/>
            <c:invertIfNegative val="1"/>
            <c:bubble3D val="0"/>
            <c:spPr>
              <a:solidFill>
                <a:srgbClr val="AEABAB"/>
              </a:solidFill>
            </c:spPr>
            <c:extLst>
              <c:ext xmlns:c16="http://schemas.microsoft.com/office/drawing/2014/chart" uri="{C3380CC4-5D6E-409C-BE32-E72D297353CC}">
                <c16:uniqueId val="{000002BF-72A3-4674-B362-466726B36580}"/>
              </c:ext>
            </c:extLst>
          </c:dPt>
          <c:dPt>
            <c:idx val="351"/>
            <c:invertIfNegative val="1"/>
            <c:bubble3D val="0"/>
            <c:spPr>
              <a:solidFill>
                <a:srgbClr val="AEABAB"/>
              </a:solidFill>
            </c:spPr>
            <c:extLst>
              <c:ext xmlns:c16="http://schemas.microsoft.com/office/drawing/2014/chart" uri="{C3380CC4-5D6E-409C-BE32-E72D297353CC}">
                <c16:uniqueId val="{000002C1-72A3-4674-B362-466726B36580}"/>
              </c:ext>
            </c:extLst>
          </c:dPt>
          <c:dPt>
            <c:idx val="352"/>
            <c:invertIfNegative val="1"/>
            <c:bubble3D val="0"/>
            <c:spPr>
              <a:solidFill>
                <a:srgbClr val="AEABAB"/>
              </a:solidFill>
            </c:spPr>
            <c:extLst>
              <c:ext xmlns:c16="http://schemas.microsoft.com/office/drawing/2014/chart" uri="{C3380CC4-5D6E-409C-BE32-E72D297353CC}">
                <c16:uniqueId val="{000002C3-72A3-4674-B362-466726B36580}"/>
              </c:ext>
            </c:extLst>
          </c:dPt>
          <c:dPt>
            <c:idx val="353"/>
            <c:invertIfNegative val="1"/>
            <c:bubble3D val="0"/>
            <c:spPr>
              <a:solidFill>
                <a:srgbClr val="AEABAB"/>
              </a:solidFill>
            </c:spPr>
            <c:extLst>
              <c:ext xmlns:c16="http://schemas.microsoft.com/office/drawing/2014/chart" uri="{C3380CC4-5D6E-409C-BE32-E72D297353CC}">
                <c16:uniqueId val="{000002C5-72A3-4674-B362-466726B36580}"/>
              </c:ext>
            </c:extLst>
          </c:dPt>
          <c:dPt>
            <c:idx val="354"/>
            <c:invertIfNegative val="1"/>
            <c:bubble3D val="0"/>
            <c:spPr>
              <a:solidFill>
                <a:srgbClr val="AEABAB"/>
              </a:solidFill>
            </c:spPr>
            <c:extLst>
              <c:ext xmlns:c16="http://schemas.microsoft.com/office/drawing/2014/chart" uri="{C3380CC4-5D6E-409C-BE32-E72D297353CC}">
                <c16:uniqueId val="{000002C7-72A3-4674-B362-466726B36580}"/>
              </c:ext>
            </c:extLst>
          </c:dPt>
          <c:dPt>
            <c:idx val="355"/>
            <c:invertIfNegative val="1"/>
            <c:bubble3D val="0"/>
            <c:spPr>
              <a:solidFill>
                <a:srgbClr val="AEABAB"/>
              </a:solidFill>
            </c:spPr>
            <c:extLst>
              <c:ext xmlns:c16="http://schemas.microsoft.com/office/drawing/2014/chart" uri="{C3380CC4-5D6E-409C-BE32-E72D297353CC}">
                <c16:uniqueId val="{000002C9-72A3-4674-B362-466726B36580}"/>
              </c:ext>
            </c:extLst>
          </c:dPt>
          <c:dPt>
            <c:idx val="356"/>
            <c:invertIfNegative val="1"/>
            <c:bubble3D val="0"/>
            <c:spPr>
              <a:solidFill>
                <a:srgbClr val="AEABAB"/>
              </a:solidFill>
            </c:spPr>
            <c:extLst>
              <c:ext xmlns:c16="http://schemas.microsoft.com/office/drawing/2014/chart" uri="{C3380CC4-5D6E-409C-BE32-E72D297353CC}">
                <c16:uniqueId val="{000002CB-72A3-4674-B362-466726B36580}"/>
              </c:ext>
            </c:extLst>
          </c:dPt>
          <c:dPt>
            <c:idx val="357"/>
            <c:invertIfNegative val="1"/>
            <c:bubble3D val="0"/>
            <c:spPr>
              <a:solidFill>
                <a:srgbClr val="AEABAB"/>
              </a:solidFill>
            </c:spPr>
            <c:extLst>
              <c:ext xmlns:c16="http://schemas.microsoft.com/office/drawing/2014/chart" uri="{C3380CC4-5D6E-409C-BE32-E72D297353CC}">
                <c16:uniqueId val="{000002CD-72A3-4674-B362-466726B36580}"/>
              </c:ext>
            </c:extLst>
          </c:dPt>
          <c:dPt>
            <c:idx val="358"/>
            <c:invertIfNegative val="1"/>
            <c:bubble3D val="0"/>
            <c:spPr>
              <a:solidFill>
                <a:srgbClr val="AEABAB"/>
              </a:solidFill>
            </c:spPr>
            <c:extLst>
              <c:ext xmlns:c16="http://schemas.microsoft.com/office/drawing/2014/chart" uri="{C3380CC4-5D6E-409C-BE32-E72D297353CC}">
                <c16:uniqueId val="{000002CF-72A3-4674-B362-466726B36580}"/>
              </c:ext>
            </c:extLst>
          </c:dPt>
          <c:dPt>
            <c:idx val="359"/>
            <c:invertIfNegative val="1"/>
            <c:bubble3D val="0"/>
            <c:spPr>
              <a:solidFill>
                <a:srgbClr val="AEABAB"/>
              </a:solidFill>
            </c:spPr>
            <c:extLst>
              <c:ext xmlns:c16="http://schemas.microsoft.com/office/drawing/2014/chart" uri="{C3380CC4-5D6E-409C-BE32-E72D297353CC}">
                <c16:uniqueId val="{000002D1-72A3-4674-B362-466726B36580}"/>
              </c:ext>
            </c:extLst>
          </c:dPt>
          <c:dPt>
            <c:idx val="360"/>
            <c:invertIfNegative val="1"/>
            <c:bubble3D val="0"/>
            <c:spPr>
              <a:solidFill>
                <a:srgbClr val="AEABAB"/>
              </a:solidFill>
            </c:spPr>
            <c:extLst>
              <c:ext xmlns:c16="http://schemas.microsoft.com/office/drawing/2014/chart" uri="{C3380CC4-5D6E-409C-BE32-E72D297353CC}">
                <c16:uniqueId val="{000002D3-72A3-4674-B362-466726B36580}"/>
              </c:ext>
            </c:extLst>
          </c:dPt>
          <c:dPt>
            <c:idx val="361"/>
            <c:invertIfNegative val="1"/>
            <c:bubble3D val="0"/>
            <c:spPr>
              <a:solidFill>
                <a:srgbClr val="AEABAB"/>
              </a:solidFill>
            </c:spPr>
            <c:extLst>
              <c:ext xmlns:c16="http://schemas.microsoft.com/office/drawing/2014/chart" uri="{C3380CC4-5D6E-409C-BE32-E72D297353CC}">
                <c16:uniqueId val="{000002D5-72A3-4674-B362-466726B36580}"/>
              </c:ext>
            </c:extLst>
          </c:dPt>
          <c:dPt>
            <c:idx val="362"/>
            <c:invertIfNegative val="1"/>
            <c:bubble3D val="0"/>
            <c:spPr>
              <a:solidFill>
                <a:srgbClr val="AEABAB"/>
              </a:solidFill>
            </c:spPr>
            <c:extLst>
              <c:ext xmlns:c16="http://schemas.microsoft.com/office/drawing/2014/chart" uri="{C3380CC4-5D6E-409C-BE32-E72D297353CC}">
                <c16:uniqueId val="{000002D7-72A3-4674-B362-466726B36580}"/>
              </c:ext>
            </c:extLst>
          </c:dPt>
          <c:dPt>
            <c:idx val="363"/>
            <c:invertIfNegative val="1"/>
            <c:bubble3D val="0"/>
            <c:spPr>
              <a:solidFill>
                <a:srgbClr val="AEABAB"/>
              </a:solidFill>
            </c:spPr>
            <c:extLst>
              <c:ext xmlns:c16="http://schemas.microsoft.com/office/drawing/2014/chart" uri="{C3380CC4-5D6E-409C-BE32-E72D297353CC}">
                <c16:uniqueId val="{000002D9-72A3-4674-B362-466726B36580}"/>
              </c:ext>
            </c:extLst>
          </c:dPt>
          <c:dPt>
            <c:idx val="364"/>
            <c:invertIfNegative val="1"/>
            <c:bubble3D val="0"/>
            <c:spPr>
              <a:solidFill>
                <a:srgbClr val="AEABAB"/>
              </a:solidFill>
            </c:spPr>
            <c:extLst>
              <c:ext xmlns:c16="http://schemas.microsoft.com/office/drawing/2014/chart" uri="{C3380CC4-5D6E-409C-BE32-E72D297353CC}">
                <c16:uniqueId val="{000002DB-72A3-4674-B362-466726B36580}"/>
              </c:ext>
            </c:extLst>
          </c:dPt>
          <c:dPt>
            <c:idx val="365"/>
            <c:invertIfNegative val="1"/>
            <c:bubble3D val="0"/>
            <c:spPr>
              <a:solidFill>
                <a:srgbClr val="AEABAB"/>
              </a:solidFill>
            </c:spPr>
            <c:extLst>
              <c:ext xmlns:c16="http://schemas.microsoft.com/office/drawing/2014/chart" uri="{C3380CC4-5D6E-409C-BE32-E72D297353CC}">
                <c16:uniqueId val="{000002DD-72A3-4674-B362-466726B36580}"/>
              </c:ext>
            </c:extLst>
          </c:dPt>
          <c:dPt>
            <c:idx val="366"/>
            <c:invertIfNegative val="1"/>
            <c:bubble3D val="0"/>
            <c:spPr>
              <a:solidFill>
                <a:srgbClr val="AEABAB"/>
              </a:solidFill>
            </c:spPr>
            <c:extLst>
              <c:ext xmlns:c16="http://schemas.microsoft.com/office/drawing/2014/chart" uri="{C3380CC4-5D6E-409C-BE32-E72D297353CC}">
                <c16:uniqueId val="{000002DF-72A3-4674-B362-466726B36580}"/>
              </c:ext>
            </c:extLst>
          </c:dPt>
          <c:dPt>
            <c:idx val="367"/>
            <c:invertIfNegative val="1"/>
            <c:bubble3D val="0"/>
            <c:spPr>
              <a:solidFill>
                <a:srgbClr val="AEABAB"/>
              </a:solidFill>
            </c:spPr>
            <c:extLst>
              <c:ext xmlns:c16="http://schemas.microsoft.com/office/drawing/2014/chart" uri="{C3380CC4-5D6E-409C-BE32-E72D297353CC}">
                <c16:uniqueId val="{000002E1-72A3-4674-B362-466726B36580}"/>
              </c:ext>
            </c:extLst>
          </c:dPt>
          <c:dPt>
            <c:idx val="368"/>
            <c:invertIfNegative val="1"/>
            <c:bubble3D val="0"/>
            <c:spPr>
              <a:solidFill>
                <a:srgbClr val="AEABAB"/>
              </a:solidFill>
            </c:spPr>
            <c:extLst>
              <c:ext xmlns:c16="http://schemas.microsoft.com/office/drawing/2014/chart" uri="{C3380CC4-5D6E-409C-BE32-E72D297353CC}">
                <c16:uniqueId val="{000002E3-72A3-4674-B362-466726B36580}"/>
              </c:ext>
            </c:extLst>
          </c:dPt>
          <c:dPt>
            <c:idx val="369"/>
            <c:invertIfNegative val="1"/>
            <c:bubble3D val="0"/>
            <c:spPr>
              <a:solidFill>
                <a:srgbClr val="AEABAB"/>
              </a:solidFill>
            </c:spPr>
            <c:extLst>
              <c:ext xmlns:c16="http://schemas.microsoft.com/office/drawing/2014/chart" uri="{C3380CC4-5D6E-409C-BE32-E72D297353CC}">
                <c16:uniqueId val="{000002E5-72A3-4674-B362-466726B36580}"/>
              </c:ext>
            </c:extLst>
          </c:dPt>
          <c:dPt>
            <c:idx val="370"/>
            <c:invertIfNegative val="1"/>
            <c:bubble3D val="0"/>
            <c:spPr>
              <a:solidFill>
                <a:srgbClr val="AEABAB"/>
              </a:solidFill>
            </c:spPr>
            <c:extLst>
              <c:ext xmlns:c16="http://schemas.microsoft.com/office/drawing/2014/chart" uri="{C3380CC4-5D6E-409C-BE32-E72D297353CC}">
                <c16:uniqueId val="{000002E7-72A3-4674-B362-466726B36580}"/>
              </c:ext>
            </c:extLst>
          </c:dPt>
          <c:dPt>
            <c:idx val="371"/>
            <c:invertIfNegative val="1"/>
            <c:bubble3D val="0"/>
            <c:spPr>
              <a:solidFill>
                <a:srgbClr val="AEABAB"/>
              </a:solidFill>
            </c:spPr>
            <c:extLst>
              <c:ext xmlns:c16="http://schemas.microsoft.com/office/drawing/2014/chart" uri="{C3380CC4-5D6E-409C-BE32-E72D297353CC}">
                <c16:uniqueId val="{000002E9-72A3-4674-B362-466726B36580}"/>
              </c:ext>
            </c:extLst>
          </c:dPt>
          <c:dPt>
            <c:idx val="372"/>
            <c:invertIfNegative val="1"/>
            <c:bubble3D val="0"/>
            <c:spPr>
              <a:solidFill>
                <a:srgbClr val="AEABAB"/>
              </a:solidFill>
            </c:spPr>
            <c:extLst>
              <c:ext xmlns:c16="http://schemas.microsoft.com/office/drawing/2014/chart" uri="{C3380CC4-5D6E-409C-BE32-E72D297353CC}">
                <c16:uniqueId val="{000002EB-72A3-4674-B362-466726B36580}"/>
              </c:ext>
            </c:extLst>
          </c:dPt>
          <c:dPt>
            <c:idx val="373"/>
            <c:invertIfNegative val="1"/>
            <c:bubble3D val="0"/>
            <c:spPr>
              <a:solidFill>
                <a:srgbClr val="AEABAB"/>
              </a:solidFill>
            </c:spPr>
            <c:extLst>
              <c:ext xmlns:c16="http://schemas.microsoft.com/office/drawing/2014/chart" uri="{C3380CC4-5D6E-409C-BE32-E72D297353CC}">
                <c16:uniqueId val="{000002ED-72A3-4674-B362-466726B36580}"/>
              </c:ext>
            </c:extLst>
          </c:dPt>
          <c:dPt>
            <c:idx val="374"/>
            <c:invertIfNegative val="1"/>
            <c:bubble3D val="0"/>
            <c:spPr>
              <a:solidFill>
                <a:srgbClr val="AEABAB"/>
              </a:solidFill>
            </c:spPr>
            <c:extLst>
              <c:ext xmlns:c16="http://schemas.microsoft.com/office/drawing/2014/chart" uri="{C3380CC4-5D6E-409C-BE32-E72D297353CC}">
                <c16:uniqueId val="{000002EF-72A3-4674-B362-466726B36580}"/>
              </c:ext>
            </c:extLst>
          </c:dPt>
          <c:dPt>
            <c:idx val="375"/>
            <c:invertIfNegative val="1"/>
            <c:bubble3D val="0"/>
            <c:spPr>
              <a:solidFill>
                <a:srgbClr val="AEABAB"/>
              </a:solidFill>
            </c:spPr>
            <c:extLst>
              <c:ext xmlns:c16="http://schemas.microsoft.com/office/drawing/2014/chart" uri="{C3380CC4-5D6E-409C-BE32-E72D297353CC}">
                <c16:uniqueId val="{000002F1-72A3-4674-B362-466726B36580}"/>
              </c:ext>
            </c:extLst>
          </c:dPt>
          <c:dPt>
            <c:idx val="376"/>
            <c:invertIfNegative val="1"/>
            <c:bubble3D val="0"/>
            <c:spPr>
              <a:solidFill>
                <a:srgbClr val="AEABAB"/>
              </a:solidFill>
            </c:spPr>
            <c:extLst>
              <c:ext xmlns:c16="http://schemas.microsoft.com/office/drawing/2014/chart" uri="{C3380CC4-5D6E-409C-BE32-E72D297353CC}">
                <c16:uniqueId val="{000002F3-72A3-4674-B362-466726B36580}"/>
              </c:ext>
            </c:extLst>
          </c:dPt>
          <c:dPt>
            <c:idx val="377"/>
            <c:invertIfNegative val="1"/>
            <c:bubble3D val="0"/>
            <c:spPr>
              <a:solidFill>
                <a:srgbClr val="AEABAB"/>
              </a:solidFill>
            </c:spPr>
            <c:extLst>
              <c:ext xmlns:c16="http://schemas.microsoft.com/office/drawing/2014/chart" uri="{C3380CC4-5D6E-409C-BE32-E72D297353CC}">
                <c16:uniqueId val="{000002F5-72A3-4674-B362-466726B36580}"/>
              </c:ext>
            </c:extLst>
          </c:dPt>
          <c:dPt>
            <c:idx val="378"/>
            <c:invertIfNegative val="1"/>
            <c:bubble3D val="0"/>
            <c:spPr>
              <a:solidFill>
                <a:srgbClr val="AEABAB"/>
              </a:solidFill>
            </c:spPr>
            <c:extLst>
              <c:ext xmlns:c16="http://schemas.microsoft.com/office/drawing/2014/chart" uri="{C3380CC4-5D6E-409C-BE32-E72D297353CC}">
                <c16:uniqueId val="{000002F7-72A3-4674-B362-466726B36580}"/>
              </c:ext>
            </c:extLst>
          </c:dPt>
          <c:dPt>
            <c:idx val="379"/>
            <c:invertIfNegative val="1"/>
            <c:bubble3D val="0"/>
            <c:spPr>
              <a:solidFill>
                <a:srgbClr val="AEABAB"/>
              </a:solidFill>
            </c:spPr>
            <c:extLst>
              <c:ext xmlns:c16="http://schemas.microsoft.com/office/drawing/2014/chart" uri="{C3380CC4-5D6E-409C-BE32-E72D297353CC}">
                <c16:uniqueId val="{000002F9-72A3-4674-B362-466726B36580}"/>
              </c:ext>
            </c:extLst>
          </c:dPt>
          <c:dPt>
            <c:idx val="380"/>
            <c:invertIfNegative val="1"/>
            <c:bubble3D val="0"/>
            <c:spPr>
              <a:solidFill>
                <a:srgbClr val="AEABAB"/>
              </a:solidFill>
            </c:spPr>
            <c:extLst>
              <c:ext xmlns:c16="http://schemas.microsoft.com/office/drawing/2014/chart" uri="{C3380CC4-5D6E-409C-BE32-E72D297353CC}">
                <c16:uniqueId val="{000002FB-72A3-4674-B362-466726B36580}"/>
              </c:ext>
            </c:extLst>
          </c:dPt>
          <c:dPt>
            <c:idx val="381"/>
            <c:invertIfNegative val="1"/>
            <c:bubble3D val="0"/>
            <c:spPr>
              <a:solidFill>
                <a:srgbClr val="AEABAB"/>
              </a:solidFill>
            </c:spPr>
            <c:extLst>
              <c:ext xmlns:c16="http://schemas.microsoft.com/office/drawing/2014/chart" uri="{C3380CC4-5D6E-409C-BE32-E72D297353CC}">
                <c16:uniqueId val="{000002FD-72A3-4674-B362-466726B36580}"/>
              </c:ext>
            </c:extLst>
          </c:dPt>
          <c:dPt>
            <c:idx val="382"/>
            <c:invertIfNegative val="1"/>
            <c:bubble3D val="0"/>
            <c:spPr>
              <a:solidFill>
                <a:srgbClr val="AEABAB"/>
              </a:solidFill>
            </c:spPr>
            <c:extLst>
              <c:ext xmlns:c16="http://schemas.microsoft.com/office/drawing/2014/chart" uri="{C3380CC4-5D6E-409C-BE32-E72D297353CC}">
                <c16:uniqueId val="{000002FF-72A3-4674-B362-466726B36580}"/>
              </c:ext>
            </c:extLst>
          </c:dPt>
          <c:dPt>
            <c:idx val="383"/>
            <c:invertIfNegative val="1"/>
            <c:bubble3D val="0"/>
            <c:spPr>
              <a:solidFill>
                <a:srgbClr val="AEABAB"/>
              </a:solidFill>
            </c:spPr>
            <c:extLst>
              <c:ext xmlns:c16="http://schemas.microsoft.com/office/drawing/2014/chart" uri="{C3380CC4-5D6E-409C-BE32-E72D297353CC}">
                <c16:uniqueId val="{00000301-72A3-4674-B362-466726B36580}"/>
              </c:ext>
            </c:extLst>
          </c:dPt>
          <c:dPt>
            <c:idx val="384"/>
            <c:invertIfNegative val="1"/>
            <c:bubble3D val="0"/>
            <c:spPr>
              <a:solidFill>
                <a:srgbClr val="AEABAB"/>
              </a:solidFill>
            </c:spPr>
            <c:extLst>
              <c:ext xmlns:c16="http://schemas.microsoft.com/office/drawing/2014/chart" uri="{C3380CC4-5D6E-409C-BE32-E72D297353CC}">
                <c16:uniqueId val="{00000303-72A3-4674-B362-466726B36580}"/>
              </c:ext>
            </c:extLst>
          </c:dPt>
          <c:dPt>
            <c:idx val="385"/>
            <c:invertIfNegative val="1"/>
            <c:bubble3D val="0"/>
            <c:spPr>
              <a:solidFill>
                <a:srgbClr val="AEABAB"/>
              </a:solidFill>
            </c:spPr>
            <c:extLst>
              <c:ext xmlns:c16="http://schemas.microsoft.com/office/drawing/2014/chart" uri="{C3380CC4-5D6E-409C-BE32-E72D297353CC}">
                <c16:uniqueId val="{00000305-72A3-4674-B362-466726B36580}"/>
              </c:ext>
            </c:extLst>
          </c:dPt>
          <c:dPt>
            <c:idx val="386"/>
            <c:invertIfNegative val="1"/>
            <c:bubble3D val="0"/>
            <c:spPr>
              <a:solidFill>
                <a:srgbClr val="AEABAB"/>
              </a:solidFill>
            </c:spPr>
            <c:extLst>
              <c:ext xmlns:c16="http://schemas.microsoft.com/office/drawing/2014/chart" uri="{C3380CC4-5D6E-409C-BE32-E72D297353CC}">
                <c16:uniqueId val="{00000307-72A3-4674-B362-466726B36580}"/>
              </c:ext>
            </c:extLst>
          </c:dPt>
          <c:dPt>
            <c:idx val="387"/>
            <c:invertIfNegative val="1"/>
            <c:bubble3D val="0"/>
            <c:spPr>
              <a:solidFill>
                <a:srgbClr val="AEABAB"/>
              </a:solidFill>
            </c:spPr>
            <c:extLst>
              <c:ext xmlns:c16="http://schemas.microsoft.com/office/drawing/2014/chart" uri="{C3380CC4-5D6E-409C-BE32-E72D297353CC}">
                <c16:uniqueId val="{00000309-72A3-4674-B362-466726B36580}"/>
              </c:ext>
            </c:extLst>
          </c:dPt>
          <c:dPt>
            <c:idx val="388"/>
            <c:invertIfNegative val="1"/>
            <c:bubble3D val="0"/>
            <c:spPr>
              <a:solidFill>
                <a:srgbClr val="AEABAB"/>
              </a:solidFill>
            </c:spPr>
            <c:extLst>
              <c:ext xmlns:c16="http://schemas.microsoft.com/office/drawing/2014/chart" uri="{C3380CC4-5D6E-409C-BE32-E72D297353CC}">
                <c16:uniqueId val="{0000030B-72A3-4674-B362-466726B36580}"/>
              </c:ext>
            </c:extLst>
          </c:dPt>
          <c:dPt>
            <c:idx val="389"/>
            <c:invertIfNegative val="1"/>
            <c:bubble3D val="0"/>
            <c:spPr>
              <a:solidFill>
                <a:srgbClr val="AEABAB"/>
              </a:solidFill>
            </c:spPr>
            <c:extLst>
              <c:ext xmlns:c16="http://schemas.microsoft.com/office/drawing/2014/chart" uri="{C3380CC4-5D6E-409C-BE32-E72D297353CC}">
                <c16:uniqueId val="{0000030D-72A3-4674-B362-466726B36580}"/>
              </c:ext>
            </c:extLst>
          </c:dPt>
          <c:dPt>
            <c:idx val="390"/>
            <c:invertIfNegative val="1"/>
            <c:bubble3D val="0"/>
            <c:spPr>
              <a:solidFill>
                <a:srgbClr val="AEABAB"/>
              </a:solidFill>
            </c:spPr>
            <c:extLst>
              <c:ext xmlns:c16="http://schemas.microsoft.com/office/drawing/2014/chart" uri="{C3380CC4-5D6E-409C-BE32-E72D297353CC}">
                <c16:uniqueId val="{0000030F-72A3-4674-B362-466726B36580}"/>
              </c:ext>
            </c:extLst>
          </c:dPt>
          <c:dPt>
            <c:idx val="391"/>
            <c:invertIfNegative val="1"/>
            <c:bubble3D val="0"/>
            <c:spPr>
              <a:solidFill>
                <a:srgbClr val="AEABAB"/>
              </a:solidFill>
            </c:spPr>
            <c:extLst>
              <c:ext xmlns:c16="http://schemas.microsoft.com/office/drawing/2014/chart" uri="{C3380CC4-5D6E-409C-BE32-E72D297353CC}">
                <c16:uniqueId val="{00000311-72A3-4674-B362-466726B36580}"/>
              </c:ext>
            </c:extLst>
          </c:dPt>
          <c:dPt>
            <c:idx val="392"/>
            <c:invertIfNegative val="1"/>
            <c:bubble3D val="0"/>
            <c:spPr>
              <a:solidFill>
                <a:srgbClr val="AEABAB"/>
              </a:solidFill>
            </c:spPr>
            <c:extLst>
              <c:ext xmlns:c16="http://schemas.microsoft.com/office/drawing/2014/chart" uri="{C3380CC4-5D6E-409C-BE32-E72D297353CC}">
                <c16:uniqueId val="{00000313-72A3-4674-B362-466726B36580}"/>
              </c:ext>
            </c:extLst>
          </c:dPt>
          <c:dPt>
            <c:idx val="393"/>
            <c:invertIfNegative val="1"/>
            <c:bubble3D val="0"/>
            <c:spPr>
              <a:solidFill>
                <a:srgbClr val="AEABAB"/>
              </a:solidFill>
            </c:spPr>
            <c:extLst>
              <c:ext xmlns:c16="http://schemas.microsoft.com/office/drawing/2014/chart" uri="{C3380CC4-5D6E-409C-BE32-E72D297353CC}">
                <c16:uniqueId val="{00000315-72A3-4674-B362-466726B36580}"/>
              </c:ext>
            </c:extLst>
          </c:dPt>
          <c:dPt>
            <c:idx val="394"/>
            <c:invertIfNegative val="1"/>
            <c:bubble3D val="0"/>
            <c:spPr>
              <a:solidFill>
                <a:srgbClr val="AEABAB"/>
              </a:solidFill>
            </c:spPr>
            <c:extLst>
              <c:ext xmlns:c16="http://schemas.microsoft.com/office/drawing/2014/chart" uri="{C3380CC4-5D6E-409C-BE32-E72D297353CC}">
                <c16:uniqueId val="{00000317-72A3-4674-B362-466726B36580}"/>
              </c:ext>
            </c:extLst>
          </c:dPt>
          <c:dPt>
            <c:idx val="395"/>
            <c:invertIfNegative val="1"/>
            <c:bubble3D val="0"/>
            <c:spPr>
              <a:solidFill>
                <a:srgbClr val="AEABAB"/>
              </a:solidFill>
            </c:spPr>
            <c:extLst>
              <c:ext xmlns:c16="http://schemas.microsoft.com/office/drawing/2014/chart" uri="{C3380CC4-5D6E-409C-BE32-E72D297353CC}">
                <c16:uniqueId val="{00000319-72A3-4674-B362-466726B36580}"/>
              </c:ext>
            </c:extLst>
          </c:dPt>
          <c:dPt>
            <c:idx val="396"/>
            <c:invertIfNegative val="1"/>
            <c:bubble3D val="0"/>
            <c:spPr>
              <a:solidFill>
                <a:srgbClr val="AEABAB"/>
              </a:solidFill>
            </c:spPr>
            <c:extLst>
              <c:ext xmlns:c16="http://schemas.microsoft.com/office/drawing/2014/chart" uri="{C3380CC4-5D6E-409C-BE32-E72D297353CC}">
                <c16:uniqueId val="{0000031B-72A3-4674-B362-466726B36580}"/>
              </c:ext>
            </c:extLst>
          </c:dPt>
          <c:dPt>
            <c:idx val="397"/>
            <c:invertIfNegative val="1"/>
            <c:bubble3D val="0"/>
            <c:spPr>
              <a:solidFill>
                <a:srgbClr val="AEABAB"/>
              </a:solidFill>
            </c:spPr>
            <c:extLst>
              <c:ext xmlns:c16="http://schemas.microsoft.com/office/drawing/2014/chart" uri="{C3380CC4-5D6E-409C-BE32-E72D297353CC}">
                <c16:uniqueId val="{0000031D-72A3-4674-B362-466726B36580}"/>
              </c:ext>
            </c:extLst>
          </c:dPt>
          <c:dPt>
            <c:idx val="398"/>
            <c:invertIfNegative val="1"/>
            <c:bubble3D val="0"/>
            <c:spPr>
              <a:solidFill>
                <a:srgbClr val="AEABAB"/>
              </a:solidFill>
            </c:spPr>
            <c:extLst>
              <c:ext xmlns:c16="http://schemas.microsoft.com/office/drawing/2014/chart" uri="{C3380CC4-5D6E-409C-BE32-E72D297353CC}">
                <c16:uniqueId val="{0000031F-72A3-4674-B362-466726B36580}"/>
              </c:ext>
            </c:extLst>
          </c:dPt>
          <c:dPt>
            <c:idx val="399"/>
            <c:invertIfNegative val="1"/>
            <c:bubble3D val="0"/>
            <c:spPr>
              <a:solidFill>
                <a:srgbClr val="AEABAB"/>
              </a:solidFill>
            </c:spPr>
            <c:extLst>
              <c:ext xmlns:c16="http://schemas.microsoft.com/office/drawing/2014/chart" uri="{C3380CC4-5D6E-409C-BE32-E72D297353CC}">
                <c16:uniqueId val="{00000321-72A3-4674-B362-466726B36580}"/>
              </c:ext>
            </c:extLst>
          </c:dPt>
          <c:dPt>
            <c:idx val="400"/>
            <c:invertIfNegative val="1"/>
            <c:bubble3D val="0"/>
            <c:spPr>
              <a:solidFill>
                <a:srgbClr val="AEABAB"/>
              </a:solidFill>
            </c:spPr>
            <c:extLst>
              <c:ext xmlns:c16="http://schemas.microsoft.com/office/drawing/2014/chart" uri="{C3380CC4-5D6E-409C-BE32-E72D297353CC}">
                <c16:uniqueId val="{00000323-72A3-4674-B362-466726B36580}"/>
              </c:ext>
            </c:extLst>
          </c:dPt>
          <c:dPt>
            <c:idx val="401"/>
            <c:invertIfNegative val="1"/>
            <c:bubble3D val="0"/>
            <c:spPr>
              <a:solidFill>
                <a:srgbClr val="AEABAB"/>
              </a:solidFill>
            </c:spPr>
            <c:extLst>
              <c:ext xmlns:c16="http://schemas.microsoft.com/office/drawing/2014/chart" uri="{C3380CC4-5D6E-409C-BE32-E72D297353CC}">
                <c16:uniqueId val="{00000325-72A3-4674-B362-466726B36580}"/>
              </c:ext>
            </c:extLst>
          </c:dPt>
          <c:dPt>
            <c:idx val="402"/>
            <c:invertIfNegative val="1"/>
            <c:bubble3D val="0"/>
            <c:spPr>
              <a:solidFill>
                <a:srgbClr val="AEABAB"/>
              </a:solidFill>
            </c:spPr>
            <c:extLst>
              <c:ext xmlns:c16="http://schemas.microsoft.com/office/drawing/2014/chart" uri="{C3380CC4-5D6E-409C-BE32-E72D297353CC}">
                <c16:uniqueId val="{00000327-72A3-4674-B362-466726B36580}"/>
              </c:ext>
            </c:extLst>
          </c:dPt>
          <c:dPt>
            <c:idx val="403"/>
            <c:invertIfNegative val="1"/>
            <c:bubble3D val="0"/>
            <c:spPr>
              <a:solidFill>
                <a:srgbClr val="AEABAB"/>
              </a:solidFill>
            </c:spPr>
            <c:extLst>
              <c:ext xmlns:c16="http://schemas.microsoft.com/office/drawing/2014/chart" uri="{C3380CC4-5D6E-409C-BE32-E72D297353CC}">
                <c16:uniqueId val="{00000329-72A3-4674-B362-466726B36580}"/>
              </c:ext>
            </c:extLst>
          </c:dPt>
          <c:dPt>
            <c:idx val="404"/>
            <c:invertIfNegative val="1"/>
            <c:bubble3D val="0"/>
            <c:spPr>
              <a:solidFill>
                <a:srgbClr val="AEABAB"/>
              </a:solidFill>
            </c:spPr>
            <c:extLst>
              <c:ext xmlns:c16="http://schemas.microsoft.com/office/drawing/2014/chart" uri="{C3380CC4-5D6E-409C-BE32-E72D297353CC}">
                <c16:uniqueId val="{0000032B-72A3-4674-B362-466726B36580}"/>
              </c:ext>
            </c:extLst>
          </c:dPt>
          <c:dPt>
            <c:idx val="405"/>
            <c:invertIfNegative val="1"/>
            <c:bubble3D val="0"/>
            <c:spPr>
              <a:solidFill>
                <a:srgbClr val="AEABAB"/>
              </a:solidFill>
            </c:spPr>
            <c:extLst>
              <c:ext xmlns:c16="http://schemas.microsoft.com/office/drawing/2014/chart" uri="{C3380CC4-5D6E-409C-BE32-E72D297353CC}">
                <c16:uniqueId val="{0000032D-72A3-4674-B362-466726B36580}"/>
              </c:ext>
            </c:extLst>
          </c:dPt>
          <c:dPt>
            <c:idx val="406"/>
            <c:invertIfNegative val="1"/>
            <c:bubble3D val="0"/>
            <c:spPr>
              <a:solidFill>
                <a:srgbClr val="AEABAB"/>
              </a:solidFill>
            </c:spPr>
            <c:extLst>
              <c:ext xmlns:c16="http://schemas.microsoft.com/office/drawing/2014/chart" uri="{C3380CC4-5D6E-409C-BE32-E72D297353CC}">
                <c16:uniqueId val="{0000032F-72A3-4674-B362-466726B36580}"/>
              </c:ext>
            </c:extLst>
          </c:dPt>
          <c:dPt>
            <c:idx val="407"/>
            <c:invertIfNegative val="1"/>
            <c:bubble3D val="0"/>
            <c:spPr>
              <a:solidFill>
                <a:srgbClr val="AEABAB"/>
              </a:solidFill>
            </c:spPr>
            <c:extLst>
              <c:ext xmlns:c16="http://schemas.microsoft.com/office/drawing/2014/chart" uri="{C3380CC4-5D6E-409C-BE32-E72D297353CC}">
                <c16:uniqueId val="{00000331-72A3-4674-B362-466726B36580}"/>
              </c:ext>
            </c:extLst>
          </c:dPt>
          <c:dPt>
            <c:idx val="408"/>
            <c:invertIfNegative val="1"/>
            <c:bubble3D val="0"/>
            <c:spPr>
              <a:solidFill>
                <a:srgbClr val="AEABAB"/>
              </a:solidFill>
            </c:spPr>
            <c:extLst>
              <c:ext xmlns:c16="http://schemas.microsoft.com/office/drawing/2014/chart" uri="{C3380CC4-5D6E-409C-BE32-E72D297353CC}">
                <c16:uniqueId val="{00000333-72A3-4674-B362-466726B36580}"/>
              </c:ext>
            </c:extLst>
          </c:dPt>
          <c:dPt>
            <c:idx val="409"/>
            <c:invertIfNegative val="1"/>
            <c:bubble3D val="0"/>
            <c:spPr>
              <a:solidFill>
                <a:srgbClr val="AEABAB"/>
              </a:solidFill>
            </c:spPr>
            <c:extLst>
              <c:ext xmlns:c16="http://schemas.microsoft.com/office/drawing/2014/chart" uri="{C3380CC4-5D6E-409C-BE32-E72D297353CC}">
                <c16:uniqueId val="{00000335-72A3-4674-B362-466726B36580}"/>
              </c:ext>
            </c:extLst>
          </c:dPt>
          <c:dPt>
            <c:idx val="410"/>
            <c:invertIfNegative val="1"/>
            <c:bubble3D val="0"/>
            <c:spPr>
              <a:solidFill>
                <a:srgbClr val="AEABAB"/>
              </a:solidFill>
            </c:spPr>
            <c:extLst>
              <c:ext xmlns:c16="http://schemas.microsoft.com/office/drawing/2014/chart" uri="{C3380CC4-5D6E-409C-BE32-E72D297353CC}">
                <c16:uniqueId val="{00000337-72A3-4674-B362-466726B36580}"/>
              </c:ext>
            </c:extLst>
          </c:dPt>
          <c:dPt>
            <c:idx val="411"/>
            <c:invertIfNegative val="1"/>
            <c:bubble3D val="0"/>
            <c:spPr>
              <a:solidFill>
                <a:srgbClr val="AEABAB"/>
              </a:solidFill>
            </c:spPr>
            <c:extLst>
              <c:ext xmlns:c16="http://schemas.microsoft.com/office/drawing/2014/chart" uri="{C3380CC4-5D6E-409C-BE32-E72D297353CC}">
                <c16:uniqueId val="{00000339-72A3-4674-B362-466726B36580}"/>
              </c:ext>
            </c:extLst>
          </c:dPt>
          <c:dPt>
            <c:idx val="412"/>
            <c:invertIfNegative val="1"/>
            <c:bubble3D val="0"/>
            <c:spPr>
              <a:solidFill>
                <a:srgbClr val="AEABAB"/>
              </a:solidFill>
            </c:spPr>
            <c:extLst>
              <c:ext xmlns:c16="http://schemas.microsoft.com/office/drawing/2014/chart" uri="{C3380CC4-5D6E-409C-BE32-E72D297353CC}">
                <c16:uniqueId val="{0000033B-72A3-4674-B362-466726B36580}"/>
              </c:ext>
            </c:extLst>
          </c:dPt>
          <c:dPt>
            <c:idx val="413"/>
            <c:invertIfNegative val="1"/>
            <c:bubble3D val="0"/>
            <c:spPr>
              <a:solidFill>
                <a:srgbClr val="AEABAB"/>
              </a:solidFill>
            </c:spPr>
            <c:extLst>
              <c:ext xmlns:c16="http://schemas.microsoft.com/office/drawing/2014/chart" uri="{C3380CC4-5D6E-409C-BE32-E72D297353CC}">
                <c16:uniqueId val="{0000033D-72A3-4674-B362-466726B36580}"/>
              </c:ext>
            </c:extLst>
          </c:dPt>
          <c:dPt>
            <c:idx val="414"/>
            <c:invertIfNegative val="1"/>
            <c:bubble3D val="0"/>
            <c:spPr>
              <a:solidFill>
                <a:srgbClr val="AEABAB"/>
              </a:solidFill>
            </c:spPr>
            <c:extLst>
              <c:ext xmlns:c16="http://schemas.microsoft.com/office/drawing/2014/chart" uri="{C3380CC4-5D6E-409C-BE32-E72D297353CC}">
                <c16:uniqueId val="{0000033F-72A3-4674-B362-466726B36580}"/>
              </c:ext>
            </c:extLst>
          </c:dPt>
          <c:dPt>
            <c:idx val="415"/>
            <c:invertIfNegative val="1"/>
            <c:bubble3D val="0"/>
            <c:spPr>
              <a:solidFill>
                <a:srgbClr val="AEABAB"/>
              </a:solidFill>
            </c:spPr>
            <c:extLst>
              <c:ext xmlns:c16="http://schemas.microsoft.com/office/drawing/2014/chart" uri="{C3380CC4-5D6E-409C-BE32-E72D297353CC}">
                <c16:uniqueId val="{00000341-72A3-4674-B362-466726B36580}"/>
              </c:ext>
            </c:extLst>
          </c:dPt>
          <c:dPt>
            <c:idx val="416"/>
            <c:invertIfNegative val="1"/>
            <c:bubble3D val="0"/>
            <c:spPr>
              <a:solidFill>
                <a:srgbClr val="AEABAB"/>
              </a:solidFill>
            </c:spPr>
            <c:extLst>
              <c:ext xmlns:c16="http://schemas.microsoft.com/office/drawing/2014/chart" uri="{C3380CC4-5D6E-409C-BE32-E72D297353CC}">
                <c16:uniqueId val="{00000343-72A3-4674-B362-466726B36580}"/>
              </c:ext>
            </c:extLst>
          </c:dPt>
          <c:dPt>
            <c:idx val="417"/>
            <c:invertIfNegative val="1"/>
            <c:bubble3D val="0"/>
            <c:spPr>
              <a:solidFill>
                <a:srgbClr val="AEABAB"/>
              </a:solidFill>
            </c:spPr>
            <c:extLst>
              <c:ext xmlns:c16="http://schemas.microsoft.com/office/drawing/2014/chart" uri="{C3380CC4-5D6E-409C-BE32-E72D297353CC}">
                <c16:uniqueId val="{00000345-72A3-4674-B362-466726B36580}"/>
              </c:ext>
            </c:extLst>
          </c:dPt>
          <c:dPt>
            <c:idx val="418"/>
            <c:invertIfNegative val="1"/>
            <c:bubble3D val="0"/>
            <c:spPr>
              <a:solidFill>
                <a:srgbClr val="AEABAB"/>
              </a:solidFill>
            </c:spPr>
            <c:extLst>
              <c:ext xmlns:c16="http://schemas.microsoft.com/office/drawing/2014/chart" uri="{C3380CC4-5D6E-409C-BE32-E72D297353CC}">
                <c16:uniqueId val="{00000347-72A3-4674-B362-466726B36580}"/>
              </c:ext>
            </c:extLst>
          </c:dPt>
          <c:dPt>
            <c:idx val="419"/>
            <c:invertIfNegative val="1"/>
            <c:bubble3D val="0"/>
            <c:spPr>
              <a:solidFill>
                <a:srgbClr val="AEABAB"/>
              </a:solidFill>
            </c:spPr>
            <c:extLst>
              <c:ext xmlns:c16="http://schemas.microsoft.com/office/drawing/2014/chart" uri="{C3380CC4-5D6E-409C-BE32-E72D297353CC}">
                <c16:uniqueId val="{00000349-72A3-4674-B362-466726B36580}"/>
              </c:ext>
            </c:extLst>
          </c:dPt>
          <c:dPt>
            <c:idx val="420"/>
            <c:invertIfNegative val="1"/>
            <c:bubble3D val="0"/>
            <c:spPr>
              <a:solidFill>
                <a:srgbClr val="AEABAB"/>
              </a:solidFill>
            </c:spPr>
            <c:extLst>
              <c:ext xmlns:c16="http://schemas.microsoft.com/office/drawing/2014/chart" uri="{C3380CC4-5D6E-409C-BE32-E72D297353CC}">
                <c16:uniqueId val="{0000034B-72A3-4674-B362-466726B36580}"/>
              </c:ext>
            </c:extLst>
          </c:dPt>
          <c:dPt>
            <c:idx val="421"/>
            <c:invertIfNegative val="1"/>
            <c:bubble3D val="0"/>
            <c:spPr>
              <a:solidFill>
                <a:srgbClr val="AEABAB"/>
              </a:solidFill>
            </c:spPr>
            <c:extLst>
              <c:ext xmlns:c16="http://schemas.microsoft.com/office/drawing/2014/chart" uri="{C3380CC4-5D6E-409C-BE32-E72D297353CC}">
                <c16:uniqueId val="{0000034D-72A3-4674-B362-466726B36580}"/>
              </c:ext>
            </c:extLst>
          </c:dPt>
          <c:dPt>
            <c:idx val="422"/>
            <c:invertIfNegative val="1"/>
            <c:bubble3D val="0"/>
            <c:spPr>
              <a:solidFill>
                <a:srgbClr val="AEABAB"/>
              </a:solidFill>
            </c:spPr>
            <c:extLst>
              <c:ext xmlns:c16="http://schemas.microsoft.com/office/drawing/2014/chart" uri="{C3380CC4-5D6E-409C-BE32-E72D297353CC}">
                <c16:uniqueId val="{0000034F-72A3-4674-B362-466726B36580}"/>
              </c:ext>
            </c:extLst>
          </c:dPt>
          <c:dPt>
            <c:idx val="423"/>
            <c:invertIfNegative val="1"/>
            <c:bubble3D val="0"/>
            <c:spPr>
              <a:solidFill>
                <a:srgbClr val="AEABAB"/>
              </a:solidFill>
            </c:spPr>
            <c:extLst>
              <c:ext xmlns:c16="http://schemas.microsoft.com/office/drawing/2014/chart" uri="{C3380CC4-5D6E-409C-BE32-E72D297353CC}">
                <c16:uniqueId val="{00000351-72A3-4674-B362-466726B36580}"/>
              </c:ext>
            </c:extLst>
          </c:dPt>
          <c:dPt>
            <c:idx val="424"/>
            <c:invertIfNegative val="1"/>
            <c:bubble3D val="0"/>
            <c:spPr>
              <a:solidFill>
                <a:srgbClr val="AEABAB"/>
              </a:solidFill>
            </c:spPr>
            <c:extLst>
              <c:ext xmlns:c16="http://schemas.microsoft.com/office/drawing/2014/chart" uri="{C3380CC4-5D6E-409C-BE32-E72D297353CC}">
                <c16:uniqueId val="{00000353-72A3-4674-B362-466726B36580}"/>
              </c:ext>
            </c:extLst>
          </c:dPt>
          <c:dPt>
            <c:idx val="425"/>
            <c:invertIfNegative val="1"/>
            <c:bubble3D val="0"/>
            <c:spPr>
              <a:solidFill>
                <a:srgbClr val="AEABAB"/>
              </a:solidFill>
            </c:spPr>
            <c:extLst>
              <c:ext xmlns:c16="http://schemas.microsoft.com/office/drawing/2014/chart" uri="{C3380CC4-5D6E-409C-BE32-E72D297353CC}">
                <c16:uniqueId val="{00000355-72A3-4674-B362-466726B36580}"/>
              </c:ext>
            </c:extLst>
          </c:dPt>
          <c:dPt>
            <c:idx val="426"/>
            <c:invertIfNegative val="1"/>
            <c:bubble3D val="0"/>
            <c:spPr>
              <a:solidFill>
                <a:srgbClr val="AEABAB"/>
              </a:solidFill>
            </c:spPr>
            <c:extLst>
              <c:ext xmlns:c16="http://schemas.microsoft.com/office/drawing/2014/chart" uri="{C3380CC4-5D6E-409C-BE32-E72D297353CC}">
                <c16:uniqueId val="{00000357-72A3-4674-B362-466726B36580}"/>
              </c:ext>
            </c:extLst>
          </c:dPt>
          <c:dPt>
            <c:idx val="427"/>
            <c:invertIfNegative val="1"/>
            <c:bubble3D val="0"/>
            <c:spPr>
              <a:solidFill>
                <a:srgbClr val="AEABAB"/>
              </a:solidFill>
            </c:spPr>
            <c:extLst>
              <c:ext xmlns:c16="http://schemas.microsoft.com/office/drawing/2014/chart" uri="{C3380CC4-5D6E-409C-BE32-E72D297353CC}">
                <c16:uniqueId val="{00000359-72A3-4674-B362-466726B36580}"/>
              </c:ext>
            </c:extLst>
          </c:dPt>
          <c:dPt>
            <c:idx val="428"/>
            <c:invertIfNegative val="1"/>
            <c:bubble3D val="0"/>
            <c:spPr>
              <a:solidFill>
                <a:srgbClr val="AEABAB"/>
              </a:solidFill>
            </c:spPr>
            <c:extLst>
              <c:ext xmlns:c16="http://schemas.microsoft.com/office/drawing/2014/chart" uri="{C3380CC4-5D6E-409C-BE32-E72D297353CC}">
                <c16:uniqueId val="{0000035B-72A3-4674-B362-466726B36580}"/>
              </c:ext>
            </c:extLst>
          </c:dPt>
          <c:dPt>
            <c:idx val="429"/>
            <c:invertIfNegative val="1"/>
            <c:bubble3D val="0"/>
            <c:spPr>
              <a:solidFill>
                <a:srgbClr val="AEABAB"/>
              </a:solidFill>
            </c:spPr>
            <c:extLst>
              <c:ext xmlns:c16="http://schemas.microsoft.com/office/drawing/2014/chart" uri="{C3380CC4-5D6E-409C-BE32-E72D297353CC}">
                <c16:uniqueId val="{0000035D-72A3-4674-B362-466726B36580}"/>
              </c:ext>
            </c:extLst>
          </c:dPt>
          <c:dPt>
            <c:idx val="430"/>
            <c:invertIfNegative val="1"/>
            <c:bubble3D val="0"/>
            <c:spPr>
              <a:solidFill>
                <a:srgbClr val="AEABAB"/>
              </a:solidFill>
            </c:spPr>
            <c:extLst>
              <c:ext xmlns:c16="http://schemas.microsoft.com/office/drawing/2014/chart" uri="{C3380CC4-5D6E-409C-BE32-E72D297353CC}">
                <c16:uniqueId val="{0000035F-72A3-4674-B362-466726B36580}"/>
              </c:ext>
            </c:extLst>
          </c:dPt>
          <c:dPt>
            <c:idx val="431"/>
            <c:invertIfNegative val="1"/>
            <c:bubble3D val="0"/>
            <c:spPr>
              <a:solidFill>
                <a:srgbClr val="AEABAB"/>
              </a:solidFill>
            </c:spPr>
            <c:extLst>
              <c:ext xmlns:c16="http://schemas.microsoft.com/office/drawing/2014/chart" uri="{C3380CC4-5D6E-409C-BE32-E72D297353CC}">
                <c16:uniqueId val="{00000361-72A3-4674-B362-466726B36580}"/>
              </c:ext>
            </c:extLst>
          </c:dPt>
          <c:dPt>
            <c:idx val="432"/>
            <c:invertIfNegative val="1"/>
            <c:bubble3D val="0"/>
            <c:spPr>
              <a:solidFill>
                <a:srgbClr val="AEABAB"/>
              </a:solidFill>
            </c:spPr>
            <c:extLst>
              <c:ext xmlns:c16="http://schemas.microsoft.com/office/drawing/2014/chart" uri="{C3380CC4-5D6E-409C-BE32-E72D297353CC}">
                <c16:uniqueId val="{00000363-72A3-4674-B362-466726B36580}"/>
              </c:ext>
            </c:extLst>
          </c:dPt>
          <c:dPt>
            <c:idx val="433"/>
            <c:invertIfNegative val="1"/>
            <c:bubble3D val="0"/>
            <c:spPr>
              <a:solidFill>
                <a:srgbClr val="AEABAB"/>
              </a:solidFill>
            </c:spPr>
            <c:extLst>
              <c:ext xmlns:c16="http://schemas.microsoft.com/office/drawing/2014/chart" uri="{C3380CC4-5D6E-409C-BE32-E72D297353CC}">
                <c16:uniqueId val="{00000365-72A3-4674-B362-466726B36580}"/>
              </c:ext>
            </c:extLst>
          </c:dPt>
          <c:dPt>
            <c:idx val="434"/>
            <c:invertIfNegative val="1"/>
            <c:bubble3D val="0"/>
            <c:spPr>
              <a:solidFill>
                <a:srgbClr val="AEABAB"/>
              </a:solidFill>
            </c:spPr>
            <c:extLst>
              <c:ext xmlns:c16="http://schemas.microsoft.com/office/drawing/2014/chart" uri="{C3380CC4-5D6E-409C-BE32-E72D297353CC}">
                <c16:uniqueId val="{00000367-72A3-4674-B362-466726B36580}"/>
              </c:ext>
            </c:extLst>
          </c:dPt>
          <c:dPt>
            <c:idx val="435"/>
            <c:invertIfNegative val="1"/>
            <c:bubble3D val="0"/>
            <c:spPr>
              <a:solidFill>
                <a:srgbClr val="AEABAB"/>
              </a:solidFill>
            </c:spPr>
            <c:extLst>
              <c:ext xmlns:c16="http://schemas.microsoft.com/office/drawing/2014/chart" uri="{C3380CC4-5D6E-409C-BE32-E72D297353CC}">
                <c16:uniqueId val="{00000369-72A3-4674-B362-466726B36580}"/>
              </c:ext>
            </c:extLst>
          </c:dPt>
          <c:dPt>
            <c:idx val="436"/>
            <c:invertIfNegative val="1"/>
            <c:bubble3D val="0"/>
            <c:spPr>
              <a:solidFill>
                <a:srgbClr val="AEABAB"/>
              </a:solidFill>
            </c:spPr>
            <c:extLst>
              <c:ext xmlns:c16="http://schemas.microsoft.com/office/drawing/2014/chart" uri="{C3380CC4-5D6E-409C-BE32-E72D297353CC}">
                <c16:uniqueId val="{0000036B-72A3-4674-B362-466726B36580}"/>
              </c:ext>
            </c:extLst>
          </c:dPt>
          <c:dPt>
            <c:idx val="437"/>
            <c:invertIfNegative val="1"/>
            <c:bubble3D val="0"/>
            <c:spPr>
              <a:solidFill>
                <a:srgbClr val="AEABAB"/>
              </a:solidFill>
            </c:spPr>
            <c:extLst>
              <c:ext xmlns:c16="http://schemas.microsoft.com/office/drawing/2014/chart" uri="{C3380CC4-5D6E-409C-BE32-E72D297353CC}">
                <c16:uniqueId val="{0000036D-72A3-4674-B362-466726B36580}"/>
              </c:ext>
            </c:extLst>
          </c:dPt>
          <c:dPt>
            <c:idx val="438"/>
            <c:invertIfNegative val="1"/>
            <c:bubble3D val="0"/>
            <c:spPr>
              <a:solidFill>
                <a:srgbClr val="AEABAB"/>
              </a:solidFill>
            </c:spPr>
            <c:extLst>
              <c:ext xmlns:c16="http://schemas.microsoft.com/office/drawing/2014/chart" uri="{C3380CC4-5D6E-409C-BE32-E72D297353CC}">
                <c16:uniqueId val="{0000036F-72A3-4674-B362-466726B36580}"/>
              </c:ext>
            </c:extLst>
          </c:dPt>
          <c:dPt>
            <c:idx val="439"/>
            <c:invertIfNegative val="1"/>
            <c:bubble3D val="0"/>
            <c:spPr>
              <a:solidFill>
                <a:srgbClr val="AEABAB"/>
              </a:solidFill>
            </c:spPr>
            <c:extLst>
              <c:ext xmlns:c16="http://schemas.microsoft.com/office/drawing/2014/chart" uri="{C3380CC4-5D6E-409C-BE32-E72D297353CC}">
                <c16:uniqueId val="{00000371-72A3-4674-B362-466726B36580}"/>
              </c:ext>
            </c:extLst>
          </c:dPt>
          <c:dPt>
            <c:idx val="440"/>
            <c:invertIfNegative val="1"/>
            <c:bubble3D val="0"/>
            <c:spPr>
              <a:solidFill>
                <a:srgbClr val="AEABAB"/>
              </a:solidFill>
            </c:spPr>
            <c:extLst>
              <c:ext xmlns:c16="http://schemas.microsoft.com/office/drawing/2014/chart" uri="{C3380CC4-5D6E-409C-BE32-E72D297353CC}">
                <c16:uniqueId val="{00000373-72A3-4674-B362-466726B36580}"/>
              </c:ext>
            </c:extLst>
          </c:dPt>
          <c:dPt>
            <c:idx val="441"/>
            <c:invertIfNegative val="1"/>
            <c:bubble3D val="0"/>
            <c:spPr>
              <a:solidFill>
                <a:srgbClr val="AEABAB"/>
              </a:solidFill>
            </c:spPr>
            <c:extLst>
              <c:ext xmlns:c16="http://schemas.microsoft.com/office/drawing/2014/chart" uri="{C3380CC4-5D6E-409C-BE32-E72D297353CC}">
                <c16:uniqueId val="{00000375-72A3-4674-B362-466726B36580}"/>
              </c:ext>
            </c:extLst>
          </c:dPt>
          <c:dPt>
            <c:idx val="442"/>
            <c:invertIfNegative val="1"/>
            <c:bubble3D val="0"/>
            <c:spPr>
              <a:solidFill>
                <a:srgbClr val="AEABAB"/>
              </a:solidFill>
            </c:spPr>
            <c:extLst>
              <c:ext xmlns:c16="http://schemas.microsoft.com/office/drawing/2014/chart" uri="{C3380CC4-5D6E-409C-BE32-E72D297353CC}">
                <c16:uniqueId val="{00000377-72A3-4674-B362-466726B36580}"/>
              </c:ext>
            </c:extLst>
          </c:dPt>
          <c:dPt>
            <c:idx val="443"/>
            <c:invertIfNegative val="1"/>
            <c:bubble3D val="0"/>
            <c:spPr>
              <a:solidFill>
                <a:srgbClr val="AEABAB"/>
              </a:solidFill>
            </c:spPr>
            <c:extLst>
              <c:ext xmlns:c16="http://schemas.microsoft.com/office/drawing/2014/chart" uri="{C3380CC4-5D6E-409C-BE32-E72D297353CC}">
                <c16:uniqueId val="{00000379-72A3-4674-B362-466726B36580}"/>
              </c:ext>
            </c:extLst>
          </c:dPt>
          <c:dPt>
            <c:idx val="444"/>
            <c:invertIfNegative val="1"/>
            <c:bubble3D val="0"/>
            <c:spPr>
              <a:solidFill>
                <a:srgbClr val="AEABAB"/>
              </a:solidFill>
            </c:spPr>
            <c:extLst>
              <c:ext xmlns:c16="http://schemas.microsoft.com/office/drawing/2014/chart" uri="{C3380CC4-5D6E-409C-BE32-E72D297353CC}">
                <c16:uniqueId val="{0000037B-72A3-4674-B362-466726B36580}"/>
              </c:ext>
            </c:extLst>
          </c:dPt>
          <c:dPt>
            <c:idx val="445"/>
            <c:invertIfNegative val="1"/>
            <c:bubble3D val="0"/>
            <c:spPr>
              <a:solidFill>
                <a:srgbClr val="AEABAB"/>
              </a:solidFill>
            </c:spPr>
            <c:extLst>
              <c:ext xmlns:c16="http://schemas.microsoft.com/office/drawing/2014/chart" uri="{C3380CC4-5D6E-409C-BE32-E72D297353CC}">
                <c16:uniqueId val="{0000037D-72A3-4674-B362-466726B36580}"/>
              </c:ext>
            </c:extLst>
          </c:dPt>
          <c:dPt>
            <c:idx val="446"/>
            <c:invertIfNegative val="1"/>
            <c:bubble3D val="0"/>
            <c:spPr>
              <a:solidFill>
                <a:srgbClr val="AEABAB"/>
              </a:solidFill>
            </c:spPr>
            <c:extLst>
              <c:ext xmlns:c16="http://schemas.microsoft.com/office/drawing/2014/chart" uri="{C3380CC4-5D6E-409C-BE32-E72D297353CC}">
                <c16:uniqueId val="{0000037F-72A3-4674-B362-466726B36580}"/>
              </c:ext>
            </c:extLst>
          </c:dPt>
          <c:dPt>
            <c:idx val="447"/>
            <c:invertIfNegative val="1"/>
            <c:bubble3D val="0"/>
            <c:spPr>
              <a:solidFill>
                <a:srgbClr val="AEABAB"/>
              </a:solidFill>
            </c:spPr>
            <c:extLst>
              <c:ext xmlns:c16="http://schemas.microsoft.com/office/drawing/2014/chart" uri="{C3380CC4-5D6E-409C-BE32-E72D297353CC}">
                <c16:uniqueId val="{00000381-72A3-4674-B362-466726B36580}"/>
              </c:ext>
            </c:extLst>
          </c:dPt>
          <c:dPt>
            <c:idx val="448"/>
            <c:invertIfNegative val="1"/>
            <c:bubble3D val="0"/>
            <c:spPr>
              <a:solidFill>
                <a:srgbClr val="AEABAB"/>
              </a:solidFill>
            </c:spPr>
            <c:extLst>
              <c:ext xmlns:c16="http://schemas.microsoft.com/office/drawing/2014/chart" uri="{C3380CC4-5D6E-409C-BE32-E72D297353CC}">
                <c16:uniqueId val="{00000383-72A3-4674-B362-466726B36580}"/>
              </c:ext>
            </c:extLst>
          </c:dPt>
          <c:dPt>
            <c:idx val="449"/>
            <c:invertIfNegative val="1"/>
            <c:bubble3D val="0"/>
            <c:spPr>
              <a:solidFill>
                <a:srgbClr val="AEABAB"/>
              </a:solidFill>
            </c:spPr>
            <c:extLst>
              <c:ext xmlns:c16="http://schemas.microsoft.com/office/drawing/2014/chart" uri="{C3380CC4-5D6E-409C-BE32-E72D297353CC}">
                <c16:uniqueId val="{00000385-72A3-4674-B362-466726B36580}"/>
              </c:ext>
            </c:extLst>
          </c:dPt>
          <c:dPt>
            <c:idx val="450"/>
            <c:invertIfNegative val="1"/>
            <c:bubble3D val="0"/>
            <c:spPr>
              <a:solidFill>
                <a:srgbClr val="AEABAB"/>
              </a:solidFill>
            </c:spPr>
            <c:extLst>
              <c:ext xmlns:c16="http://schemas.microsoft.com/office/drawing/2014/chart" uri="{C3380CC4-5D6E-409C-BE32-E72D297353CC}">
                <c16:uniqueId val="{00000387-72A3-4674-B362-466726B36580}"/>
              </c:ext>
            </c:extLst>
          </c:dPt>
          <c:dPt>
            <c:idx val="451"/>
            <c:invertIfNegative val="1"/>
            <c:bubble3D val="0"/>
            <c:spPr>
              <a:solidFill>
                <a:srgbClr val="AEABAB"/>
              </a:solidFill>
            </c:spPr>
            <c:extLst>
              <c:ext xmlns:c16="http://schemas.microsoft.com/office/drawing/2014/chart" uri="{C3380CC4-5D6E-409C-BE32-E72D297353CC}">
                <c16:uniqueId val="{00000389-72A3-4674-B362-466726B36580}"/>
              </c:ext>
            </c:extLst>
          </c:dPt>
          <c:dPt>
            <c:idx val="452"/>
            <c:invertIfNegative val="1"/>
            <c:bubble3D val="0"/>
            <c:spPr>
              <a:solidFill>
                <a:srgbClr val="AEABAB"/>
              </a:solidFill>
            </c:spPr>
            <c:extLst>
              <c:ext xmlns:c16="http://schemas.microsoft.com/office/drawing/2014/chart" uri="{C3380CC4-5D6E-409C-BE32-E72D297353CC}">
                <c16:uniqueId val="{0000038B-72A3-4674-B362-466726B36580}"/>
              </c:ext>
            </c:extLst>
          </c:dPt>
          <c:dPt>
            <c:idx val="453"/>
            <c:invertIfNegative val="1"/>
            <c:bubble3D val="0"/>
            <c:spPr>
              <a:solidFill>
                <a:srgbClr val="AEABAB"/>
              </a:solidFill>
            </c:spPr>
            <c:extLst>
              <c:ext xmlns:c16="http://schemas.microsoft.com/office/drawing/2014/chart" uri="{C3380CC4-5D6E-409C-BE32-E72D297353CC}">
                <c16:uniqueId val="{0000038D-72A3-4674-B362-466726B36580}"/>
              </c:ext>
            </c:extLst>
          </c:dPt>
          <c:dPt>
            <c:idx val="454"/>
            <c:invertIfNegative val="1"/>
            <c:bubble3D val="0"/>
            <c:spPr>
              <a:solidFill>
                <a:srgbClr val="AEABAB"/>
              </a:solidFill>
            </c:spPr>
            <c:extLst>
              <c:ext xmlns:c16="http://schemas.microsoft.com/office/drawing/2014/chart" uri="{C3380CC4-5D6E-409C-BE32-E72D297353CC}">
                <c16:uniqueId val="{0000038F-72A3-4674-B362-466726B36580}"/>
              </c:ext>
            </c:extLst>
          </c:dPt>
          <c:dPt>
            <c:idx val="455"/>
            <c:invertIfNegative val="1"/>
            <c:bubble3D val="0"/>
            <c:spPr>
              <a:solidFill>
                <a:srgbClr val="AEABAB"/>
              </a:solidFill>
            </c:spPr>
            <c:extLst>
              <c:ext xmlns:c16="http://schemas.microsoft.com/office/drawing/2014/chart" uri="{C3380CC4-5D6E-409C-BE32-E72D297353CC}">
                <c16:uniqueId val="{00000391-72A3-4674-B362-466726B36580}"/>
              </c:ext>
            </c:extLst>
          </c:dPt>
          <c:dPt>
            <c:idx val="456"/>
            <c:invertIfNegative val="1"/>
            <c:bubble3D val="0"/>
            <c:spPr>
              <a:solidFill>
                <a:srgbClr val="AEABAB"/>
              </a:solidFill>
            </c:spPr>
            <c:extLst>
              <c:ext xmlns:c16="http://schemas.microsoft.com/office/drawing/2014/chart" uri="{C3380CC4-5D6E-409C-BE32-E72D297353CC}">
                <c16:uniqueId val="{00000393-72A3-4674-B362-466726B36580}"/>
              </c:ext>
            </c:extLst>
          </c:dPt>
          <c:dPt>
            <c:idx val="457"/>
            <c:invertIfNegative val="1"/>
            <c:bubble3D val="0"/>
            <c:spPr>
              <a:solidFill>
                <a:srgbClr val="AEABAB"/>
              </a:solidFill>
            </c:spPr>
            <c:extLst>
              <c:ext xmlns:c16="http://schemas.microsoft.com/office/drawing/2014/chart" uri="{C3380CC4-5D6E-409C-BE32-E72D297353CC}">
                <c16:uniqueId val="{00000395-72A3-4674-B362-466726B36580}"/>
              </c:ext>
            </c:extLst>
          </c:dPt>
          <c:dPt>
            <c:idx val="458"/>
            <c:invertIfNegative val="1"/>
            <c:bubble3D val="0"/>
            <c:spPr>
              <a:solidFill>
                <a:srgbClr val="AEABAB"/>
              </a:solidFill>
            </c:spPr>
            <c:extLst>
              <c:ext xmlns:c16="http://schemas.microsoft.com/office/drawing/2014/chart" uri="{C3380CC4-5D6E-409C-BE32-E72D297353CC}">
                <c16:uniqueId val="{00000397-72A3-4674-B362-466726B36580}"/>
              </c:ext>
            </c:extLst>
          </c:dPt>
          <c:dPt>
            <c:idx val="459"/>
            <c:invertIfNegative val="1"/>
            <c:bubble3D val="0"/>
            <c:spPr>
              <a:solidFill>
                <a:srgbClr val="AEABAB"/>
              </a:solidFill>
            </c:spPr>
            <c:extLst>
              <c:ext xmlns:c16="http://schemas.microsoft.com/office/drawing/2014/chart" uri="{C3380CC4-5D6E-409C-BE32-E72D297353CC}">
                <c16:uniqueId val="{00000399-72A3-4674-B362-466726B36580}"/>
              </c:ext>
            </c:extLst>
          </c:dPt>
          <c:dPt>
            <c:idx val="460"/>
            <c:invertIfNegative val="1"/>
            <c:bubble3D val="0"/>
            <c:spPr>
              <a:solidFill>
                <a:srgbClr val="AEABAB"/>
              </a:solidFill>
            </c:spPr>
            <c:extLst>
              <c:ext xmlns:c16="http://schemas.microsoft.com/office/drawing/2014/chart" uri="{C3380CC4-5D6E-409C-BE32-E72D297353CC}">
                <c16:uniqueId val="{0000039B-72A3-4674-B362-466726B36580}"/>
              </c:ext>
            </c:extLst>
          </c:dPt>
          <c:dPt>
            <c:idx val="461"/>
            <c:invertIfNegative val="1"/>
            <c:bubble3D val="0"/>
            <c:spPr>
              <a:solidFill>
                <a:srgbClr val="AEABAB"/>
              </a:solidFill>
            </c:spPr>
            <c:extLst>
              <c:ext xmlns:c16="http://schemas.microsoft.com/office/drawing/2014/chart" uri="{C3380CC4-5D6E-409C-BE32-E72D297353CC}">
                <c16:uniqueId val="{0000039D-72A3-4674-B362-466726B36580}"/>
              </c:ext>
            </c:extLst>
          </c:dPt>
          <c:dPt>
            <c:idx val="462"/>
            <c:invertIfNegative val="1"/>
            <c:bubble3D val="0"/>
            <c:spPr>
              <a:solidFill>
                <a:srgbClr val="AEABAB"/>
              </a:solidFill>
            </c:spPr>
            <c:extLst>
              <c:ext xmlns:c16="http://schemas.microsoft.com/office/drawing/2014/chart" uri="{C3380CC4-5D6E-409C-BE32-E72D297353CC}">
                <c16:uniqueId val="{0000039F-72A3-4674-B362-466726B36580}"/>
              </c:ext>
            </c:extLst>
          </c:dPt>
          <c:dPt>
            <c:idx val="463"/>
            <c:invertIfNegative val="1"/>
            <c:bubble3D val="0"/>
            <c:spPr>
              <a:solidFill>
                <a:srgbClr val="AEABAB"/>
              </a:solidFill>
            </c:spPr>
            <c:extLst>
              <c:ext xmlns:c16="http://schemas.microsoft.com/office/drawing/2014/chart" uri="{C3380CC4-5D6E-409C-BE32-E72D297353CC}">
                <c16:uniqueId val="{000003A1-72A3-4674-B362-466726B36580}"/>
              </c:ext>
            </c:extLst>
          </c:dPt>
          <c:dPt>
            <c:idx val="464"/>
            <c:invertIfNegative val="1"/>
            <c:bubble3D val="0"/>
            <c:spPr>
              <a:solidFill>
                <a:srgbClr val="AEABAB"/>
              </a:solidFill>
            </c:spPr>
            <c:extLst>
              <c:ext xmlns:c16="http://schemas.microsoft.com/office/drawing/2014/chart" uri="{C3380CC4-5D6E-409C-BE32-E72D297353CC}">
                <c16:uniqueId val="{000003A3-72A3-4674-B362-466726B36580}"/>
              </c:ext>
            </c:extLst>
          </c:dPt>
          <c:dPt>
            <c:idx val="465"/>
            <c:invertIfNegative val="1"/>
            <c:bubble3D val="0"/>
            <c:spPr>
              <a:solidFill>
                <a:srgbClr val="AEABAB"/>
              </a:solidFill>
            </c:spPr>
            <c:extLst>
              <c:ext xmlns:c16="http://schemas.microsoft.com/office/drawing/2014/chart" uri="{C3380CC4-5D6E-409C-BE32-E72D297353CC}">
                <c16:uniqueId val="{000003A5-72A3-4674-B362-466726B36580}"/>
              </c:ext>
            </c:extLst>
          </c:dPt>
          <c:dPt>
            <c:idx val="466"/>
            <c:invertIfNegative val="1"/>
            <c:bubble3D val="0"/>
            <c:spPr>
              <a:solidFill>
                <a:srgbClr val="AEABAB"/>
              </a:solidFill>
            </c:spPr>
            <c:extLst>
              <c:ext xmlns:c16="http://schemas.microsoft.com/office/drawing/2014/chart" uri="{C3380CC4-5D6E-409C-BE32-E72D297353CC}">
                <c16:uniqueId val="{000003A7-72A3-4674-B362-466726B36580}"/>
              </c:ext>
            </c:extLst>
          </c:dPt>
          <c:dPt>
            <c:idx val="467"/>
            <c:invertIfNegative val="1"/>
            <c:bubble3D val="0"/>
            <c:spPr>
              <a:solidFill>
                <a:srgbClr val="AEABAB"/>
              </a:solidFill>
            </c:spPr>
            <c:extLst>
              <c:ext xmlns:c16="http://schemas.microsoft.com/office/drawing/2014/chart" uri="{C3380CC4-5D6E-409C-BE32-E72D297353CC}">
                <c16:uniqueId val="{000003A9-72A3-4674-B362-466726B36580}"/>
              </c:ext>
            </c:extLst>
          </c:dPt>
          <c:dPt>
            <c:idx val="468"/>
            <c:invertIfNegative val="1"/>
            <c:bubble3D val="0"/>
            <c:spPr>
              <a:solidFill>
                <a:srgbClr val="AEABAB"/>
              </a:solidFill>
            </c:spPr>
            <c:extLst>
              <c:ext xmlns:c16="http://schemas.microsoft.com/office/drawing/2014/chart" uri="{C3380CC4-5D6E-409C-BE32-E72D297353CC}">
                <c16:uniqueId val="{000003AB-72A3-4674-B362-466726B36580}"/>
              </c:ext>
            </c:extLst>
          </c:dPt>
          <c:dPt>
            <c:idx val="469"/>
            <c:invertIfNegative val="1"/>
            <c:bubble3D val="0"/>
            <c:spPr>
              <a:solidFill>
                <a:srgbClr val="AEABAB"/>
              </a:solidFill>
            </c:spPr>
            <c:extLst>
              <c:ext xmlns:c16="http://schemas.microsoft.com/office/drawing/2014/chart" uri="{C3380CC4-5D6E-409C-BE32-E72D297353CC}">
                <c16:uniqueId val="{000003AD-72A3-4674-B362-466726B36580}"/>
              </c:ext>
            </c:extLst>
          </c:dPt>
          <c:dPt>
            <c:idx val="470"/>
            <c:invertIfNegative val="1"/>
            <c:bubble3D val="0"/>
            <c:spPr>
              <a:solidFill>
                <a:srgbClr val="AEABAB"/>
              </a:solidFill>
            </c:spPr>
            <c:extLst>
              <c:ext xmlns:c16="http://schemas.microsoft.com/office/drawing/2014/chart" uri="{C3380CC4-5D6E-409C-BE32-E72D297353CC}">
                <c16:uniqueId val="{000003AF-72A3-4674-B362-466726B36580}"/>
              </c:ext>
            </c:extLst>
          </c:dPt>
          <c:dPt>
            <c:idx val="471"/>
            <c:invertIfNegative val="1"/>
            <c:bubble3D val="0"/>
            <c:spPr>
              <a:solidFill>
                <a:srgbClr val="AEABAB"/>
              </a:solidFill>
            </c:spPr>
            <c:extLst>
              <c:ext xmlns:c16="http://schemas.microsoft.com/office/drawing/2014/chart" uri="{C3380CC4-5D6E-409C-BE32-E72D297353CC}">
                <c16:uniqueId val="{000003B1-72A3-4674-B362-466726B36580}"/>
              </c:ext>
            </c:extLst>
          </c:dPt>
          <c:dPt>
            <c:idx val="472"/>
            <c:invertIfNegative val="1"/>
            <c:bubble3D val="0"/>
            <c:spPr>
              <a:solidFill>
                <a:srgbClr val="AEABAB"/>
              </a:solidFill>
            </c:spPr>
            <c:extLst>
              <c:ext xmlns:c16="http://schemas.microsoft.com/office/drawing/2014/chart" uri="{C3380CC4-5D6E-409C-BE32-E72D297353CC}">
                <c16:uniqueId val="{000003B3-72A3-4674-B362-466726B36580}"/>
              </c:ext>
            </c:extLst>
          </c:dPt>
          <c:dPt>
            <c:idx val="473"/>
            <c:invertIfNegative val="1"/>
            <c:bubble3D val="0"/>
            <c:spPr>
              <a:solidFill>
                <a:srgbClr val="AEABAB"/>
              </a:solidFill>
            </c:spPr>
            <c:extLst>
              <c:ext xmlns:c16="http://schemas.microsoft.com/office/drawing/2014/chart" uri="{C3380CC4-5D6E-409C-BE32-E72D297353CC}">
                <c16:uniqueId val="{000003B5-72A3-4674-B362-466726B36580}"/>
              </c:ext>
            </c:extLst>
          </c:dPt>
          <c:dPt>
            <c:idx val="474"/>
            <c:invertIfNegative val="1"/>
            <c:bubble3D val="0"/>
            <c:spPr>
              <a:solidFill>
                <a:srgbClr val="AEABAB"/>
              </a:solidFill>
            </c:spPr>
            <c:extLst>
              <c:ext xmlns:c16="http://schemas.microsoft.com/office/drawing/2014/chart" uri="{C3380CC4-5D6E-409C-BE32-E72D297353CC}">
                <c16:uniqueId val="{000003B7-72A3-4674-B362-466726B36580}"/>
              </c:ext>
            </c:extLst>
          </c:dPt>
          <c:dPt>
            <c:idx val="475"/>
            <c:invertIfNegative val="1"/>
            <c:bubble3D val="0"/>
            <c:spPr>
              <a:solidFill>
                <a:srgbClr val="AEABAB"/>
              </a:solidFill>
            </c:spPr>
            <c:extLst>
              <c:ext xmlns:c16="http://schemas.microsoft.com/office/drawing/2014/chart" uri="{C3380CC4-5D6E-409C-BE32-E72D297353CC}">
                <c16:uniqueId val="{000003B9-72A3-4674-B362-466726B36580}"/>
              </c:ext>
            </c:extLst>
          </c:dPt>
          <c:dPt>
            <c:idx val="476"/>
            <c:invertIfNegative val="1"/>
            <c:bubble3D val="0"/>
            <c:spPr>
              <a:solidFill>
                <a:srgbClr val="AEABAB"/>
              </a:solidFill>
            </c:spPr>
            <c:extLst>
              <c:ext xmlns:c16="http://schemas.microsoft.com/office/drawing/2014/chart" uri="{C3380CC4-5D6E-409C-BE32-E72D297353CC}">
                <c16:uniqueId val="{000003BB-72A3-4674-B362-466726B36580}"/>
              </c:ext>
            </c:extLst>
          </c:dPt>
          <c:dPt>
            <c:idx val="477"/>
            <c:invertIfNegative val="1"/>
            <c:bubble3D val="0"/>
            <c:spPr>
              <a:solidFill>
                <a:srgbClr val="AEABAB"/>
              </a:solidFill>
            </c:spPr>
            <c:extLst>
              <c:ext xmlns:c16="http://schemas.microsoft.com/office/drawing/2014/chart" uri="{C3380CC4-5D6E-409C-BE32-E72D297353CC}">
                <c16:uniqueId val="{000003BD-72A3-4674-B362-466726B36580}"/>
              </c:ext>
            </c:extLst>
          </c:dPt>
          <c:dPt>
            <c:idx val="478"/>
            <c:invertIfNegative val="1"/>
            <c:bubble3D val="0"/>
            <c:spPr>
              <a:solidFill>
                <a:srgbClr val="AEABAB"/>
              </a:solidFill>
            </c:spPr>
            <c:extLst>
              <c:ext xmlns:c16="http://schemas.microsoft.com/office/drawing/2014/chart" uri="{C3380CC4-5D6E-409C-BE32-E72D297353CC}">
                <c16:uniqueId val="{000003BF-72A3-4674-B362-466726B36580}"/>
              </c:ext>
            </c:extLst>
          </c:dPt>
          <c:dPt>
            <c:idx val="479"/>
            <c:invertIfNegative val="1"/>
            <c:bubble3D val="0"/>
            <c:spPr>
              <a:solidFill>
                <a:srgbClr val="AEABAB"/>
              </a:solidFill>
            </c:spPr>
            <c:extLst>
              <c:ext xmlns:c16="http://schemas.microsoft.com/office/drawing/2014/chart" uri="{C3380CC4-5D6E-409C-BE32-E72D297353CC}">
                <c16:uniqueId val="{000003C1-72A3-4674-B362-466726B36580}"/>
              </c:ext>
            </c:extLst>
          </c:dPt>
          <c:dPt>
            <c:idx val="480"/>
            <c:invertIfNegative val="1"/>
            <c:bubble3D val="0"/>
            <c:spPr>
              <a:solidFill>
                <a:srgbClr val="AEABAB"/>
              </a:solidFill>
            </c:spPr>
            <c:extLst>
              <c:ext xmlns:c16="http://schemas.microsoft.com/office/drawing/2014/chart" uri="{C3380CC4-5D6E-409C-BE32-E72D297353CC}">
                <c16:uniqueId val="{000003C3-72A3-4674-B362-466726B36580}"/>
              </c:ext>
            </c:extLst>
          </c:dPt>
          <c:dPt>
            <c:idx val="481"/>
            <c:invertIfNegative val="1"/>
            <c:bubble3D val="0"/>
            <c:spPr>
              <a:solidFill>
                <a:srgbClr val="AEABAB"/>
              </a:solidFill>
            </c:spPr>
            <c:extLst>
              <c:ext xmlns:c16="http://schemas.microsoft.com/office/drawing/2014/chart" uri="{C3380CC4-5D6E-409C-BE32-E72D297353CC}">
                <c16:uniqueId val="{000003C5-72A3-4674-B362-466726B36580}"/>
              </c:ext>
            </c:extLst>
          </c:dPt>
          <c:dPt>
            <c:idx val="482"/>
            <c:invertIfNegative val="1"/>
            <c:bubble3D val="0"/>
            <c:spPr>
              <a:solidFill>
                <a:srgbClr val="AEABAB"/>
              </a:solidFill>
            </c:spPr>
            <c:extLst>
              <c:ext xmlns:c16="http://schemas.microsoft.com/office/drawing/2014/chart" uri="{C3380CC4-5D6E-409C-BE32-E72D297353CC}">
                <c16:uniqueId val="{000003C7-72A3-4674-B362-466726B36580}"/>
              </c:ext>
            </c:extLst>
          </c:dPt>
          <c:dPt>
            <c:idx val="483"/>
            <c:invertIfNegative val="1"/>
            <c:bubble3D val="0"/>
            <c:spPr>
              <a:solidFill>
                <a:srgbClr val="AEABAB"/>
              </a:solidFill>
            </c:spPr>
            <c:extLst>
              <c:ext xmlns:c16="http://schemas.microsoft.com/office/drawing/2014/chart" uri="{C3380CC4-5D6E-409C-BE32-E72D297353CC}">
                <c16:uniqueId val="{000003C9-72A3-4674-B362-466726B36580}"/>
              </c:ext>
            </c:extLst>
          </c:dPt>
          <c:dPt>
            <c:idx val="484"/>
            <c:invertIfNegative val="1"/>
            <c:bubble3D val="0"/>
            <c:spPr>
              <a:solidFill>
                <a:srgbClr val="AEABAB"/>
              </a:solidFill>
            </c:spPr>
            <c:extLst>
              <c:ext xmlns:c16="http://schemas.microsoft.com/office/drawing/2014/chart" uri="{C3380CC4-5D6E-409C-BE32-E72D297353CC}">
                <c16:uniqueId val="{000003CB-72A3-4674-B362-466726B36580}"/>
              </c:ext>
            </c:extLst>
          </c:dPt>
          <c:dPt>
            <c:idx val="485"/>
            <c:invertIfNegative val="1"/>
            <c:bubble3D val="0"/>
            <c:spPr>
              <a:solidFill>
                <a:srgbClr val="AEABAB"/>
              </a:solidFill>
            </c:spPr>
            <c:extLst>
              <c:ext xmlns:c16="http://schemas.microsoft.com/office/drawing/2014/chart" uri="{C3380CC4-5D6E-409C-BE32-E72D297353CC}">
                <c16:uniqueId val="{000003CD-72A3-4674-B362-466726B36580}"/>
              </c:ext>
            </c:extLst>
          </c:dPt>
          <c:dPt>
            <c:idx val="486"/>
            <c:invertIfNegative val="1"/>
            <c:bubble3D val="0"/>
            <c:spPr>
              <a:solidFill>
                <a:srgbClr val="AEABAB"/>
              </a:solidFill>
            </c:spPr>
            <c:extLst>
              <c:ext xmlns:c16="http://schemas.microsoft.com/office/drawing/2014/chart" uri="{C3380CC4-5D6E-409C-BE32-E72D297353CC}">
                <c16:uniqueId val="{000003CF-72A3-4674-B362-466726B36580}"/>
              </c:ext>
            </c:extLst>
          </c:dPt>
          <c:dPt>
            <c:idx val="487"/>
            <c:invertIfNegative val="1"/>
            <c:bubble3D val="0"/>
            <c:spPr>
              <a:solidFill>
                <a:srgbClr val="AEABAB"/>
              </a:solidFill>
            </c:spPr>
            <c:extLst>
              <c:ext xmlns:c16="http://schemas.microsoft.com/office/drawing/2014/chart" uri="{C3380CC4-5D6E-409C-BE32-E72D297353CC}">
                <c16:uniqueId val="{000003D1-72A3-4674-B362-466726B36580}"/>
              </c:ext>
            </c:extLst>
          </c:dPt>
          <c:dPt>
            <c:idx val="488"/>
            <c:invertIfNegative val="1"/>
            <c:bubble3D val="0"/>
            <c:spPr>
              <a:solidFill>
                <a:srgbClr val="AEABAB"/>
              </a:solidFill>
            </c:spPr>
            <c:extLst>
              <c:ext xmlns:c16="http://schemas.microsoft.com/office/drawing/2014/chart" uri="{C3380CC4-5D6E-409C-BE32-E72D297353CC}">
                <c16:uniqueId val="{000003D3-72A3-4674-B362-466726B36580}"/>
              </c:ext>
            </c:extLst>
          </c:dPt>
          <c:dPt>
            <c:idx val="489"/>
            <c:invertIfNegative val="1"/>
            <c:bubble3D val="0"/>
            <c:spPr>
              <a:solidFill>
                <a:srgbClr val="AEABAB"/>
              </a:solidFill>
            </c:spPr>
            <c:extLst>
              <c:ext xmlns:c16="http://schemas.microsoft.com/office/drawing/2014/chart" uri="{C3380CC4-5D6E-409C-BE32-E72D297353CC}">
                <c16:uniqueId val="{000003D5-72A3-4674-B362-466726B36580}"/>
              </c:ext>
            </c:extLst>
          </c:dPt>
          <c:dPt>
            <c:idx val="490"/>
            <c:invertIfNegative val="1"/>
            <c:bubble3D val="0"/>
            <c:spPr>
              <a:solidFill>
                <a:srgbClr val="AEABAB"/>
              </a:solidFill>
            </c:spPr>
            <c:extLst>
              <c:ext xmlns:c16="http://schemas.microsoft.com/office/drawing/2014/chart" uri="{C3380CC4-5D6E-409C-BE32-E72D297353CC}">
                <c16:uniqueId val="{000003D7-72A3-4674-B362-466726B36580}"/>
              </c:ext>
            </c:extLst>
          </c:dPt>
          <c:dPt>
            <c:idx val="491"/>
            <c:invertIfNegative val="1"/>
            <c:bubble3D val="0"/>
            <c:spPr>
              <a:solidFill>
                <a:srgbClr val="AEABAB"/>
              </a:solidFill>
            </c:spPr>
            <c:extLst>
              <c:ext xmlns:c16="http://schemas.microsoft.com/office/drawing/2014/chart" uri="{C3380CC4-5D6E-409C-BE32-E72D297353CC}">
                <c16:uniqueId val="{000003D9-72A3-4674-B362-466726B36580}"/>
              </c:ext>
            </c:extLst>
          </c:dPt>
          <c:dPt>
            <c:idx val="492"/>
            <c:invertIfNegative val="1"/>
            <c:bubble3D val="0"/>
            <c:spPr>
              <a:solidFill>
                <a:srgbClr val="AEABAB"/>
              </a:solidFill>
            </c:spPr>
            <c:extLst>
              <c:ext xmlns:c16="http://schemas.microsoft.com/office/drawing/2014/chart" uri="{C3380CC4-5D6E-409C-BE32-E72D297353CC}">
                <c16:uniqueId val="{000003DB-72A3-4674-B362-466726B36580}"/>
              </c:ext>
            </c:extLst>
          </c:dPt>
          <c:dPt>
            <c:idx val="493"/>
            <c:invertIfNegative val="1"/>
            <c:bubble3D val="0"/>
            <c:spPr>
              <a:solidFill>
                <a:srgbClr val="AEABAB"/>
              </a:solidFill>
            </c:spPr>
            <c:extLst>
              <c:ext xmlns:c16="http://schemas.microsoft.com/office/drawing/2014/chart" uri="{C3380CC4-5D6E-409C-BE32-E72D297353CC}">
                <c16:uniqueId val="{000003DD-72A3-4674-B362-466726B36580}"/>
              </c:ext>
            </c:extLst>
          </c:dPt>
          <c:dPt>
            <c:idx val="494"/>
            <c:invertIfNegative val="1"/>
            <c:bubble3D val="0"/>
            <c:spPr>
              <a:solidFill>
                <a:srgbClr val="AEABAB"/>
              </a:solidFill>
            </c:spPr>
            <c:extLst>
              <c:ext xmlns:c16="http://schemas.microsoft.com/office/drawing/2014/chart" uri="{C3380CC4-5D6E-409C-BE32-E72D297353CC}">
                <c16:uniqueId val="{000003DF-72A3-4674-B362-466726B36580}"/>
              </c:ext>
            </c:extLst>
          </c:dPt>
          <c:dPt>
            <c:idx val="495"/>
            <c:invertIfNegative val="1"/>
            <c:bubble3D val="0"/>
            <c:spPr>
              <a:solidFill>
                <a:srgbClr val="AEABAB"/>
              </a:solidFill>
            </c:spPr>
            <c:extLst>
              <c:ext xmlns:c16="http://schemas.microsoft.com/office/drawing/2014/chart" uri="{C3380CC4-5D6E-409C-BE32-E72D297353CC}">
                <c16:uniqueId val="{000003E1-72A3-4674-B362-466726B36580}"/>
              </c:ext>
            </c:extLst>
          </c:dPt>
          <c:dPt>
            <c:idx val="496"/>
            <c:invertIfNegative val="1"/>
            <c:bubble3D val="0"/>
            <c:spPr>
              <a:solidFill>
                <a:srgbClr val="AEABAB"/>
              </a:solidFill>
            </c:spPr>
            <c:extLst>
              <c:ext xmlns:c16="http://schemas.microsoft.com/office/drawing/2014/chart" uri="{C3380CC4-5D6E-409C-BE32-E72D297353CC}">
                <c16:uniqueId val="{000003E3-72A3-4674-B362-466726B36580}"/>
              </c:ext>
            </c:extLst>
          </c:dPt>
          <c:dPt>
            <c:idx val="497"/>
            <c:invertIfNegative val="1"/>
            <c:bubble3D val="0"/>
            <c:spPr>
              <a:solidFill>
                <a:srgbClr val="AEABAB"/>
              </a:solidFill>
            </c:spPr>
            <c:extLst>
              <c:ext xmlns:c16="http://schemas.microsoft.com/office/drawing/2014/chart" uri="{C3380CC4-5D6E-409C-BE32-E72D297353CC}">
                <c16:uniqueId val="{000003E5-72A3-4674-B362-466726B36580}"/>
              </c:ext>
            </c:extLst>
          </c:dPt>
          <c:dPt>
            <c:idx val="498"/>
            <c:invertIfNegative val="1"/>
            <c:bubble3D val="0"/>
            <c:spPr>
              <a:solidFill>
                <a:srgbClr val="AEABAB"/>
              </a:solidFill>
            </c:spPr>
            <c:extLst>
              <c:ext xmlns:c16="http://schemas.microsoft.com/office/drawing/2014/chart" uri="{C3380CC4-5D6E-409C-BE32-E72D297353CC}">
                <c16:uniqueId val="{000003E7-72A3-4674-B362-466726B36580}"/>
              </c:ext>
            </c:extLst>
          </c:dPt>
          <c:dPt>
            <c:idx val="499"/>
            <c:invertIfNegative val="1"/>
            <c:bubble3D val="0"/>
            <c:spPr>
              <a:solidFill>
                <a:srgbClr val="AEABAB"/>
              </a:solidFill>
            </c:spPr>
            <c:extLst>
              <c:ext xmlns:c16="http://schemas.microsoft.com/office/drawing/2014/chart" uri="{C3380CC4-5D6E-409C-BE32-E72D297353CC}">
                <c16:uniqueId val="{000003E9-72A3-4674-B362-466726B36580}"/>
              </c:ext>
            </c:extLst>
          </c:dPt>
          <c:dPt>
            <c:idx val="500"/>
            <c:invertIfNegative val="1"/>
            <c:bubble3D val="0"/>
            <c:spPr>
              <a:solidFill>
                <a:srgbClr val="AEABAB"/>
              </a:solidFill>
            </c:spPr>
            <c:extLst>
              <c:ext xmlns:c16="http://schemas.microsoft.com/office/drawing/2014/chart" uri="{C3380CC4-5D6E-409C-BE32-E72D297353CC}">
                <c16:uniqueId val="{000003EB-72A3-4674-B362-466726B36580}"/>
              </c:ext>
            </c:extLst>
          </c:dPt>
          <c:dPt>
            <c:idx val="501"/>
            <c:invertIfNegative val="1"/>
            <c:bubble3D val="0"/>
            <c:spPr>
              <a:solidFill>
                <a:srgbClr val="AEABAB"/>
              </a:solidFill>
            </c:spPr>
            <c:extLst>
              <c:ext xmlns:c16="http://schemas.microsoft.com/office/drawing/2014/chart" uri="{C3380CC4-5D6E-409C-BE32-E72D297353CC}">
                <c16:uniqueId val="{000003ED-72A3-4674-B362-466726B36580}"/>
              </c:ext>
            </c:extLst>
          </c:dPt>
          <c:dPt>
            <c:idx val="502"/>
            <c:invertIfNegative val="1"/>
            <c:bubble3D val="0"/>
            <c:spPr>
              <a:solidFill>
                <a:srgbClr val="AEABAB"/>
              </a:solidFill>
            </c:spPr>
            <c:extLst>
              <c:ext xmlns:c16="http://schemas.microsoft.com/office/drawing/2014/chart" uri="{C3380CC4-5D6E-409C-BE32-E72D297353CC}">
                <c16:uniqueId val="{000003EF-72A3-4674-B362-466726B36580}"/>
              </c:ext>
            </c:extLst>
          </c:dPt>
          <c:dPt>
            <c:idx val="503"/>
            <c:invertIfNegative val="1"/>
            <c:bubble3D val="0"/>
            <c:spPr>
              <a:solidFill>
                <a:srgbClr val="AEABAB"/>
              </a:solidFill>
            </c:spPr>
            <c:extLst>
              <c:ext xmlns:c16="http://schemas.microsoft.com/office/drawing/2014/chart" uri="{C3380CC4-5D6E-409C-BE32-E72D297353CC}">
                <c16:uniqueId val="{000003F1-72A3-4674-B362-466726B36580}"/>
              </c:ext>
            </c:extLst>
          </c:dPt>
          <c:dPt>
            <c:idx val="504"/>
            <c:invertIfNegative val="1"/>
            <c:bubble3D val="0"/>
            <c:spPr>
              <a:solidFill>
                <a:srgbClr val="AEABAB"/>
              </a:solidFill>
            </c:spPr>
            <c:extLst>
              <c:ext xmlns:c16="http://schemas.microsoft.com/office/drawing/2014/chart" uri="{C3380CC4-5D6E-409C-BE32-E72D297353CC}">
                <c16:uniqueId val="{000003F3-72A3-4674-B362-466726B36580}"/>
              </c:ext>
            </c:extLst>
          </c:dPt>
          <c:dPt>
            <c:idx val="505"/>
            <c:invertIfNegative val="1"/>
            <c:bubble3D val="0"/>
            <c:spPr>
              <a:solidFill>
                <a:srgbClr val="AEABAB"/>
              </a:solidFill>
            </c:spPr>
            <c:extLst>
              <c:ext xmlns:c16="http://schemas.microsoft.com/office/drawing/2014/chart" uri="{C3380CC4-5D6E-409C-BE32-E72D297353CC}">
                <c16:uniqueId val="{000003F5-72A3-4674-B362-466726B36580}"/>
              </c:ext>
            </c:extLst>
          </c:dPt>
          <c:dPt>
            <c:idx val="506"/>
            <c:invertIfNegative val="1"/>
            <c:bubble3D val="0"/>
            <c:spPr>
              <a:solidFill>
                <a:srgbClr val="AEABAB"/>
              </a:solidFill>
            </c:spPr>
            <c:extLst>
              <c:ext xmlns:c16="http://schemas.microsoft.com/office/drawing/2014/chart" uri="{C3380CC4-5D6E-409C-BE32-E72D297353CC}">
                <c16:uniqueId val="{000003F7-72A3-4674-B362-466726B36580}"/>
              </c:ext>
            </c:extLst>
          </c:dPt>
          <c:dPt>
            <c:idx val="507"/>
            <c:invertIfNegative val="1"/>
            <c:bubble3D val="0"/>
            <c:spPr>
              <a:solidFill>
                <a:srgbClr val="AEABAB"/>
              </a:solidFill>
            </c:spPr>
            <c:extLst>
              <c:ext xmlns:c16="http://schemas.microsoft.com/office/drawing/2014/chart" uri="{C3380CC4-5D6E-409C-BE32-E72D297353CC}">
                <c16:uniqueId val="{000003F9-72A3-4674-B362-466726B36580}"/>
              </c:ext>
            </c:extLst>
          </c:dPt>
          <c:dPt>
            <c:idx val="508"/>
            <c:invertIfNegative val="1"/>
            <c:bubble3D val="0"/>
            <c:spPr>
              <a:solidFill>
                <a:srgbClr val="AEABAB"/>
              </a:solidFill>
            </c:spPr>
            <c:extLst>
              <c:ext xmlns:c16="http://schemas.microsoft.com/office/drawing/2014/chart" uri="{C3380CC4-5D6E-409C-BE32-E72D297353CC}">
                <c16:uniqueId val="{000003FB-72A3-4674-B362-466726B36580}"/>
              </c:ext>
            </c:extLst>
          </c:dPt>
          <c:dPt>
            <c:idx val="509"/>
            <c:invertIfNegative val="1"/>
            <c:bubble3D val="0"/>
            <c:spPr>
              <a:solidFill>
                <a:srgbClr val="AEABAB"/>
              </a:solidFill>
            </c:spPr>
            <c:extLst>
              <c:ext xmlns:c16="http://schemas.microsoft.com/office/drawing/2014/chart" uri="{C3380CC4-5D6E-409C-BE32-E72D297353CC}">
                <c16:uniqueId val="{000003FD-72A3-4674-B362-466726B36580}"/>
              </c:ext>
            </c:extLst>
          </c:dPt>
          <c:dPt>
            <c:idx val="510"/>
            <c:invertIfNegative val="1"/>
            <c:bubble3D val="0"/>
            <c:spPr>
              <a:solidFill>
                <a:srgbClr val="AEABAB"/>
              </a:solidFill>
            </c:spPr>
            <c:extLst>
              <c:ext xmlns:c16="http://schemas.microsoft.com/office/drawing/2014/chart" uri="{C3380CC4-5D6E-409C-BE32-E72D297353CC}">
                <c16:uniqueId val="{000003FF-72A3-4674-B362-466726B36580}"/>
              </c:ext>
            </c:extLst>
          </c:dPt>
          <c:dPt>
            <c:idx val="511"/>
            <c:invertIfNegative val="1"/>
            <c:bubble3D val="0"/>
            <c:spPr>
              <a:solidFill>
                <a:srgbClr val="AEABAB"/>
              </a:solidFill>
            </c:spPr>
            <c:extLst>
              <c:ext xmlns:c16="http://schemas.microsoft.com/office/drawing/2014/chart" uri="{C3380CC4-5D6E-409C-BE32-E72D297353CC}">
                <c16:uniqueId val="{00000401-72A3-4674-B362-466726B36580}"/>
              </c:ext>
            </c:extLst>
          </c:dPt>
          <c:dPt>
            <c:idx val="512"/>
            <c:invertIfNegative val="1"/>
            <c:bubble3D val="0"/>
            <c:spPr>
              <a:solidFill>
                <a:srgbClr val="AEABAB"/>
              </a:solidFill>
            </c:spPr>
            <c:extLst>
              <c:ext xmlns:c16="http://schemas.microsoft.com/office/drawing/2014/chart" uri="{C3380CC4-5D6E-409C-BE32-E72D297353CC}">
                <c16:uniqueId val="{00000403-72A3-4674-B362-466726B36580}"/>
              </c:ext>
            </c:extLst>
          </c:dPt>
          <c:dPt>
            <c:idx val="513"/>
            <c:invertIfNegative val="1"/>
            <c:bubble3D val="0"/>
            <c:spPr>
              <a:solidFill>
                <a:srgbClr val="AEABAB"/>
              </a:solidFill>
            </c:spPr>
            <c:extLst>
              <c:ext xmlns:c16="http://schemas.microsoft.com/office/drawing/2014/chart" uri="{C3380CC4-5D6E-409C-BE32-E72D297353CC}">
                <c16:uniqueId val="{00000405-72A3-4674-B362-466726B36580}"/>
              </c:ext>
            </c:extLst>
          </c:dPt>
          <c:dPt>
            <c:idx val="514"/>
            <c:invertIfNegative val="1"/>
            <c:bubble3D val="0"/>
            <c:spPr>
              <a:solidFill>
                <a:srgbClr val="AEABAB"/>
              </a:solidFill>
            </c:spPr>
            <c:extLst>
              <c:ext xmlns:c16="http://schemas.microsoft.com/office/drawing/2014/chart" uri="{C3380CC4-5D6E-409C-BE32-E72D297353CC}">
                <c16:uniqueId val="{00000407-72A3-4674-B362-466726B36580}"/>
              </c:ext>
            </c:extLst>
          </c:dPt>
          <c:dPt>
            <c:idx val="515"/>
            <c:invertIfNegative val="1"/>
            <c:bubble3D val="0"/>
            <c:spPr>
              <a:solidFill>
                <a:srgbClr val="AEABAB"/>
              </a:solidFill>
            </c:spPr>
            <c:extLst>
              <c:ext xmlns:c16="http://schemas.microsoft.com/office/drawing/2014/chart" uri="{C3380CC4-5D6E-409C-BE32-E72D297353CC}">
                <c16:uniqueId val="{00000409-72A3-4674-B362-466726B36580}"/>
              </c:ext>
            </c:extLst>
          </c:dPt>
          <c:dPt>
            <c:idx val="516"/>
            <c:invertIfNegative val="1"/>
            <c:bubble3D val="0"/>
            <c:spPr>
              <a:solidFill>
                <a:srgbClr val="AEABAB"/>
              </a:solidFill>
            </c:spPr>
            <c:extLst>
              <c:ext xmlns:c16="http://schemas.microsoft.com/office/drawing/2014/chart" uri="{C3380CC4-5D6E-409C-BE32-E72D297353CC}">
                <c16:uniqueId val="{0000040B-72A3-4674-B362-466726B36580}"/>
              </c:ext>
            </c:extLst>
          </c:dPt>
          <c:dPt>
            <c:idx val="517"/>
            <c:invertIfNegative val="1"/>
            <c:bubble3D val="0"/>
            <c:spPr>
              <a:solidFill>
                <a:srgbClr val="AEABAB"/>
              </a:solidFill>
            </c:spPr>
            <c:extLst>
              <c:ext xmlns:c16="http://schemas.microsoft.com/office/drawing/2014/chart" uri="{C3380CC4-5D6E-409C-BE32-E72D297353CC}">
                <c16:uniqueId val="{0000040D-72A3-4674-B362-466726B36580}"/>
              </c:ext>
            </c:extLst>
          </c:dPt>
          <c:dPt>
            <c:idx val="518"/>
            <c:invertIfNegative val="1"/>
            <c:bubble3D val="0"/>
            <c:spPr>
              <a:solidFill>
                <a:srgbClr val="AEABAB"/>
              </a:solidFill>
            </c:spPr>
            <c:extLst>
              <c:ext xmlns:c16="http://schemas.microsoft.com/office/drawing/2014/chart" uri="{C3380CC4-5D6E-409C-BE32-E72D297353CC}">
                <c16:uniqueId val="{0000040F-72A3-4674-B362-466726B36580}"/>
              </c:ext>
            </c:extLst>
          </c:dPt>
          <c:dPt>
            <c:idx val="519"/>
            <c:invertIfNegative val="1"/>
            <c:bubble3D val="0"/>
            <c:spPr>
              <a:solidFill>
                <a:srgbClr val="AEABAB"/>
              </a:solidFill>
            </c:spPr>
            <c:extLst>
              <c:ext xmlns:c16="http://schemas.microsoft.com/office/drawing/2014/chart" uri="{C3380CC4-5D6E-409C-BE32-E72D297353CC}">
                <c16:uniqueId val="{00000411-72A3-4674-B362-466726B36580}"/>
              </c:ext>
            </c:extLst>
          </c:dPt>
          <c:dPt>
            <c:idx val="520"/>
            <c:invertIfNegative val="1"/>
            <c:bubble3D val="0"/>
            <c:spPr>
              <a:solidFill>
                <a:srgbClr val="AEABAB"/>
              </a:solidFill>
            </c:spPr>
            <c:extLst>
              <c:ext xmlns:c16="http://schemas.microsoft.com/office/drawing/2014/chart" uri="{C3380CC4-5D6E-409C-BE32-E72D297353CC}">
                <c16:uniqueId val="{00000413-72A3-4674-B362-466726B36580}"/>
              </c:ext>
            </c:extLst>
          </c:dPt>
          <c:dPt>
            <c:idx val="521"/>
            <c:invertIfNegative val="1"/>
            <c:bubble3D val="0"/>
            <c:spPr>
              <a:solidFill>
                <a:srgbClr val="AEABAB"/>
              </a:solidFill>
            </c:spPr>
            <c:extLst>
              <c:ext xmlns:c16="http://schemas.microsoft.com/office/drawing/2014/chart" uri="{C3380CC4-5D6E-409C-BE32-E72D297353CC}">
                <c16:uniqueId val="{00000415-72A3-4674-B362-466726B36580}"/>
              </c:ext>
            </c:extLst>
          </c:dPt>
          <c:dPt>
            <c:idx val="522"/>
            <c:invertIfNegative val="1"/>
            <c:bubble3D val="0"/>
            <c:spPr>
              <a:solidFill>
                <a:srgbClr val="AEABAB"/>
              </a:solidFill>
            </c:spPr>
            <c:extLst>
              <c:ext xmlns:c16="http://schemas.microsoft.com/office/drawing/2014/chart" uri="{C3380CC4-5D6E-409C-BE32-E72D297353CC}">
                <c16:uniqueId val="{00000417-72A3-4674-B362-466726B36580}"/>
              </c:ext>
            </c:extLst>
          </c:dPt>
          <c:dPt>
            <c:idx val="523"/>
            <c:invertIfNegative val="1"/>
            <c:bubble3D val="0"/>
            <c:spPr>
              <a:solidFill>
                <a:srgbClr val="AEABAB"/>
              </a:solidFill>
            </c:spPr>
            <c:extLst>
              <c:ext xmlns:c16="http://schemas.microsoft.com/office/drawing/2014/chart" uri="{C3380CC4-5D6E-409C-BE32-E72D297353CC}">
                <c16:uniqueId val="{00000419-72A3-4674-B362-466726B36580}"/>
              </c:ext>
            </c:extLst>
          </c:dPt>
          <c:dPt>
            <c:idx val="524"/>
            <c:invertIfNegative val="1"/>
            <c:bubble3D val="0"/>
            <c:spPr>
              <a:solidFill>
                <a:srgbClr val="AEABAB"/>
              </a:solidFill>
            </c:spPr>
            <c:extLst>
              <c:ext xmlns:c16="http://schemas.microsoft.com/office/drawing/2014/chart" uri="{C3380CC4-5D6E-409C-BE32-E72D297353CC}">
                <c16:uniqueId val="{0000041B-72A3-4674-B362-466726B36580}"/>
              </c:ext>
            </c:extLst>
          </c:dPt>
          <c:dPt>
            <c:idx val="525"/>
            <c:invertIfNegative val="1"/>
            <c:bubble3D val="0"/>
            <c:spPr>
              <a:solidFill>
                <a:srgbClr val="AEABAB"/>
              </a:solidFill>
            </c:spPr>
            <c:extLst>
              <c:ext xmlns:c16="http://schemas.microsoft.com/office/drawing/2014/chart" uri="{C3380CC4-5D6E-409C-BE32-E72D297353CC}">
                <c16:uniqueId val="{0000041D-72A3-4674-B362-466726B36580}"/>
              </c:ext>
            </c:extLst>
          </c:dPt>
          <c:dPt>
            <c:idx val="526"/>
            <c:invertIfNegative val="1"/>
            <c:bubble3D val="0"/>
            <c:spPr>
              <a:solidFill>
                <a:srgbClr val="AEABAB"/>
              </a:solidFill>
            </c:spPr>
            <c:extLst>
              <c:ext xmlns:c16="http://schemas.microsoft.com/office/drawing/2014/chart" uri="{C3380CC4-5D6E-409C-BE32-E72D297353CC}">
                <c16:uniqueId val="{0000041F-72A3-4674-B362-466726B36580}"/>
              </c:ext>
            </c:extLst>
          </c:dPt>
          <c:dPt>
            <c:idx val="527"/>
            <c:invertIfNegative val="1"/>
            <c:bubble3D val="0"/>
            <c:spPr>
              <a:solidFill>
                <a:srgbClr val="AEABAB"/>
              </a:solidFill>
            </c:spPr>
            <c:extLst>
              <c:ext xmlns:c16="http://schemas.microsoft.com/office/drawing/2014/chart" uri="{C3380CC4-5D6E-409C-BE32-E72D297353CC}">
                <c16:uniqueId val="{00000421-72A3-4674-B362-466726B36580}"/>
              </c:ext>
            </c:extLst>
          </c:dPt>
          <c:dPt>
            <c:idx val="528"/>
            <c:invertIfNegative val="1"/>
            <c:bubble3D val="0"/>
            <c:spPr>
              <a:solidFill>
                <a:srgbClr val="AEABAB"/>
              </a:solidFill>
            </c:spPr>
            <c:extLst>
              <c:ext xmlns:c16="http://schemas.microsoft.com/office/drawing/2014/chart" uri="{C3380CC4-5D6E-409C-BE32-E72D297353CC}">
                <c16:uniqueId val="{00000423-72A3-4674-B362-466726B36580}"/>
              </c:ext>
            </c:extLst>
          </c:dPt>
          <c:dPt>
            <c:idx val="529"/>
            <c:invertIfNegative val="1"/>
            <c:bubble3D val="0"/>
            <c:spPr>
              <a:solidFill>
                <a:srgbClr val="AEABAB"/>
              </a:solidFill>
            </c:spPr>
            <c:extLst>
              <c:ext xmlns:c16="http://schemas.microsoft.com/office/drawing/2014/chart" uri="{C3380CC4-5D6E-409C-BE32-E72D297353CC}">
                <c16:uniqueId val="{00000425-72A3-4674-B362-466726B36580}"/>
              </c:ext>
            </c:extLst>
          </c:dPt>
          <c:dPt>
            <c:idx val="530"/>
            <c:invertIfNegative val="1"/>
            <c:bubble3D val="0"/>
            <c:spPr>
              <a:solidFill>
                <a:srgbClr val="AEABAB"/>
              </a:solidFill>
            </c:spPr>
            <c:extLst>
              <c:ext xmlns:c16="http://schemas.microsoft.com/office/drawing/2014/chart" uri="{C3380CC4-5D6E-409C-BE32-E72D297353CC}">
                <c16:uniqueId val="{00000427-72A3-4674-B362-466726B36580}"/>
              </c:ext>
            </c:extLst>
          </c:dPt>
          <c:dPt>
            <c:idx val="531"/>
            <c:invertIfNegative val="1"/>
            <c:bubble3D val="0"/>
            <c:spPr>
              <a:solidFill>
                <a:srgbClr val="AEABAB"/>
              </a:solidFill>
            </c:spPr>
            <c:extLst>
              <c:ext xmlns:c16="http://schemas.microsoft.com/office/drawing/2014/chart" uri="{C3380CC4-5D6E-409C-BE32-E72D297353CC}">
                <c16:uniqueId val="{00000429-72A3-4674-B362-466726B36580}"/>
              </c:ext>
            </c:extLst>
          </c:dPt>
          <c:dPt>
            <c:idx val="532"/>
            <c:invertIfNegative val="1"/>
            <c:bubble3D val="0"/>
            <c:spPr>
              <a:solidFill>
                <a:srgbClr val="AEABAB"/>
              </a:solidFill>
            </c:spPr>
            <c:extLst>
              <c:ext xmlns:c16="http://schemas.microsoft.com/office/drawing/2014/chart" uri="{C3380CC4-5D6E-409C-BE32-E72D297353CC}">
                <c16:uniqueId val="{0000042B-72A3-4674-B362-466726B36580}"/>
              </c:ext>
            </c:extLst>
          </c:dPt>
          <c:dPt>
            <c:idx val="533"/>
            <c:invertIfNegative val="1"/>
            <c:bubble3D val="0"/>
            <c:spPr>
              <a:solidFill>
                <a:srgbClr val="AEABAB"/>
              </a:solidFill>
            </c:spPr>
            <c:extLst>
              <c:ext xmlns:c16="http://schemas.microsoft.com/office/drawing/2014/chart" uri="{C3380CC4-5D6E-409C-BE32-E72D297353CC}">
                <c16:uniqueId val="{0000042D-72A3-4674-B362-466726B36580}"/>
              </c:ext>
            </c:extLst>
          </c:dPt>
          <c:dPt>
            <c:idx val="534"/>
            <c:invertIfNegative val="1"/>
            <c:bubble3D val="0"/>
            <c:spPr>
              <a:solidFill>
                <a:srgbClr val="AEABAB"/>
              </a:solidFill>
            </c:spPr>
            <c:extLst>
              <c:ext xmlns:c16="http://schemas.microsoft.com/office/drawing/2014/chart" uri="{C3380CC4-5D6E-409C-BE32-E72D297353CC}">
                <c16:uniqueId val="{0000042F-72A3-4674-B362-466726B36580}"/>
              </c:ext>
            </c:extLst>
          </c:dPt>
          <c:dPt>
            <c:idx val="535"/>
            <c:invertIfNegative val="1"/>
            <c:bubble3D val="0"/>
            <c:spPr>
              <a:solidFill>
                <a:srgbClr val="AEABAB"/>
              </a:solidFill>
            </c:spPr>
            <c:extLst>
              <c:ext xmlns:c16="http://schemas.microsoft.com/office/drawing/2014/chart" uri="{C3380CC4-5D6E-409C-BE32-E72D297353CC}">
                <c16:uniqueId val="{00000431-72A3-4674-B362-466726B36580}"/>
              </c:ext>
            </c:extLst>
          </c:dPt>
          <c:dPt>
            <c:idx val="536"/>
            <c:invertIfNegative val="1"/>
            <c:bubble3D val="0"/>
            <c:spPr>
              <a:solidFill>
                <a:srgbClr val="AEABAB"/>
              </a:solidFill>
            </c:spPr>
            <c:extLst>
              <c:ext xmlns:c16="http://schemas.microsoft.com/office/drawing/2014/chart" uri="{C3380CC4-5D6E-409C-BE32-E72D297353CC}">
                <c16:uniqueId val="{00000433-72A3-4674-B362-466726B36580}"/>
              </c:ext>
            </c:extLst>
          </c:dPt>
          <c:dPt>
            <c:idx val="537"/>
            <c:invertIfNegative val="1"/>
            <c:bubble3D val="0"/>
            <c:spPr>
              <a:solidFill>
                <a:srgbClr val="AEABAB"/>
              </a:solidFill>
            </c:spPr>
            <c:extLst>
              <c:ext xmlns:c16="http://schemas.microsoft.com/office/drawing/2014/chart" uri="{C3380CC4-5D6E-409C-BE32-E72D297353CC}">
                <c16:uniqueId val="{00000435-72A3-4674-B362-466726B36580}"/>
              </c:ext>
            </c:extLst>
          </c:dPt>
          <c:dPt>
            <c:idx val="538"/>
            <c:invertIfNegative val="1"/>
            <c:bubble3D val="0"/>
            <c:spPr>
              <a:solidFill>
                <a:srgbClr val="AEABAB"/>
              </a:solidFill>
            </c:spPr>
            <c:extLst>
              <c:ext xmlns:c16="http://schemas.microsoft.com/office/drawing/2014/chart" uri="{C3380CC4-5D6E-409C-BE32-E72D297353CC}">
                <c16:uniqueId val="{00000437-72A3-4674-B362-466726B36580}"/>
              </c:ext>
            </c:extLst>
          </c:dPt>
          <c:dPt>
            <c:idx val="539"/>
            <c:invertIfNegative val="1"/>
            <c:bubble3D val="0"/>
            <c:spPr>
              <a:solidFill>
                <a:srgbClr val="AEABAB"/>
              </a:solidFill>
            </c:spPr>
            <c:extLst>
              <c:ext xmlns:c16="http://schemas.microsoft.com/office/drawing/2014/chart" uri="{C3380CC4-5D6E-409C-BE32-E72D297353CC}">
                <c16:uniqueId val="{00000439-72A3-4674-B362-466726B36580}"/>
              </c:ext>
            </c:extLst>
          </c:dPt>
          <c:dPt>
            <c:idx val="540"/>
            <c:invertIfNegative val="1"/>
            <c:bubble3D val="0"/>
            <c:spPr>
              <a:solidFill>
                <a:srgbClr val="AEABAB"/>
              </a:solidFill>
            </c:spPr>
            <c:extLst>
              <c:ext xmlns:c16="http://schemas.microsoft.com/office/drawing/2014/chart" uri="{C3380CC4-5D6E-409C-BE32-E72D297353CC}">
                <c16:uniqueId val="{0000043B-72A3-4674-B362-466726B36580}"/>
              </c:ext>
            </c:extLst>
          </c:dPt>
          <c:dPt>
            <c:idx val="541"/>
            <c:invertIfNegative val="1"/>
            <c:bubble3D val="0"/>
            <c:spPr>
              <a:solidFill>
                <a:srgbClr val="AEABAB"/>
              </a:solidFill>
            </c:spPr>
            <c:extLst>
              <c:ext xmlns:c16="http://schemas.microsoft.com/office/drawing/2014/chart" uri="{C3380CC4-5D6E-409C-BE32-E72D297353CC}">
                <c16:uniqueId val="{0000043D-72A3-4674-B362-466726B36580}"/>
              </c:ext>
            </c:extLst>
          </c:dPt>
          <c:dPt>
            <c:idx val="542"/>
            <c:invertIfNegative val="1"/>
            <c:bubble3D val="0"/>
            <c:spPr>
              <a:solidFill>
                <a:srgbClr val="AEABAB"/>
              </a:solidFill>
            </c:spPr>
            <c:extLst>
              <c:ext xmlns:c16="http://schemas.microsoft.com/office/drawing/2014/chart" uri="{C3380CC4-5D6E-409C-BE32-E72D297353CC}">
                <c16:uniqueId val="{0000043F-72A3-4674-B362-466726B36580}"/>
              </c:ext>
            </c:extLst>
          </c:dPt>
          <c:dPt>
            <c:idx val="543"/>
            <c:invertIfNegative val="1"/>
            <c:bubble3D val="0"/>
            <c:spPr>
              <a:solidFill>
                <a:srgbClr val="AEABAB"/>
              </a:solidFill>
            </c:spPr>
            <c:extLst>
              <c:ext xmlns:c16="http://schemas.microsoft.com/office/drawing/2014/chart" uri="{C3380CC4-5D6E-409C-BE32-E72D297353CC}">
                <c16:uniqueId val="{00000441-72A3-4674-B362-466726B36580}"/>
              </c:ext>
            </c:extLst>
          </c:dPt>
          <c:dPt>
            <c:idx val="544"/>
            <c:invertIfNegative val="1"/>
            <c:bubble3D val="0"/>
            <c:spPr>
              <a:solidFill>
                <a:srgbClr val="AEABAB"/>
              </a:solidFill>
            </c:spPr>
            <c:extLst>
              <c:ext xmlns:c16="http://schemas.microsoft.com/office/drawing/2014/chart" uri="{C3380CC4-5D6E-409C-BE32-E72D297353CC}">
                <c16:uniqueId val="{00000443-72A3-4674-B362-466726B36580}"/>
              </c:ext>
            </c:extLst>
          </c:dPt>
          <c:dPt>
            <c:idx val="545"/>
            <c:invertIfNegative val="1"/>
            <c:bubble3D val="0"/>
            <c:spPr>
              <a:solidFill>
                <a:srgbClr val="AEABAB"/>
              </a:solidFill>
            </c:spPr>
            <c:extLst>
              <c:ext xmlns:c16="http://schemas.microsoft.com/office/drawing/2014/chart" uri="{C3380CC4-5D6E-409C-BE32-E72D297353CC}">
                <c16:uniqueId val="{00000445-72A3-4674-B362-466726B36580}"/>
              </c:ext>
            </c:extLst>
          </c:dPt>
          <c:dPt>
            <c:idx val="546"/>
            <c:invertIfNegative val="1"/>
            <c:bubble3D val="0"/>
            <c:spPr>
              <a:solidFill>
                <a:srgbClr val="AEABAB"/>
              </a:solidFill>
            </c:spPr>
            <c:extLst>
              <c:ext xmlns:c16="http://schemas.microsoft.com/office/drawing/2014/chart" uri="{C3380CC4-5D6E-409C-BE32-E72D297353CC}">
                <c16:uniqueId val="{00000447-72A3-4674-B362-466726B36580}"/>
              </c:ext>
            </c:extLst>
          </c:dPt>
          <c:dPt>
            <c:idx val="547"/>
            <c:invertIfNegative val="1"/>
            <c:bubble3D val="0"/>
            <c:spPr>
              <a:solidFill>
                <a:srgbClr val="AEABAB"/>
              </a:solidFill>
            </c:spPr>
            <c:extLst>
              <c:ext xmlns:c16="http://schemas.microsoft.com/office/drawing/2014/chart" uri="{C3380CC4-5D6E-409C-BE32-E72D297353CC}">
                <c16:uniqueId val="{00000449-72A3-4674-B362-466726B36580}"/>
              </c:ext>
            </c:extLst>
          </c:dPt>
          <c:dPt>
            <c:idx val="548"/>
            <c:invertIfNegative val="1"/>
            <c:bubble3D val="0"/>
            <c:spPr>
              <a:solidFill>
                <a:srgbClr val="AEABAB"/>
              </a:solidFill>
            </c:spPr>
            <c:extLst>
              <c:ext xmlns:c16="http://schemas.microsoft.com/office/drawing/2014/chart" uri="{C3380CC4-5D6E-409C-BE32-E72D297353CC}">
                <c16:uniqueId val="{0000044B-72A3-4674-B362-466726B36580}"/>
              </c:ext>
            </c:extLst>
          </c:dPt>
          <c:dPt>
            <c:idx val="549"/>
            <c:invertIfNegative val="1"/>
            <c:bubble3D val="0"/>
            <c:spPr>
              <a:solidFill>
                <a:srgbClr val="AEABAB"/>
              </a:solidFill>
            </c:spPr>
            <c:extLst>
              <c:ext xmlns:c16="http://schemas.microsoft.com/office/drawing/2014/chart" uri="{C3380CC4-5D6E-409C-BE32-E72D297353CC}">
                <c16:uniqueId val="{0000044D-72A3-4674-B362-466726B36580}"/>
              </c:ext>
            </c:extLst>
          </c:dPt>
          <c:dPt>
            <c:idx val="550"/>
            <c:invertIfNegative val="1"/>
            <c:bubble3D val="0"/>
            <c:spPr>
              <a:solidFill>
                <a:srgbClr val="AEABAB"/>
              </a:solidFill>
            </c:spPr>
            <c:extLst>
              <c:ext xmlns:c16="http://schemas.microsoft.com/office/drawing/2014/chart" uri="{C3380CC4-5D6E-409C-BE32-E72D297353CC}">
                <c16:uniqueId val="{0000044F-72A3-4674-B362-466726B36580}"/>
              </c:ext>
            </c:extLst>
          </c:dPt>
          <c:dPt>
            <c:idx val="551"/>
            <c:invertIfNegative val="1"/>
            <c:bubble3D val="0"/>
            <c:spPr>
              <a:solidFill>
                <a:srgbClr val="AEABAB"/>
              </a:solidFill>
            </c:spPr>
            <c:extLst>
              <c:ext xmlns:c16="http://schemas.microsoft.com/office/drawing/2014/chart" uri="{C3380CC4-5D6E-409C-BE32-E72D297353CC}">
                <c16:uniqueId val="{00000451-72A3-4674-B362-466726B36580}"/>
              </c:ext>
            </c:extLst>
          </c:dPt>
          <c:dPt>
            <c:idx val="552"/>
            <c:invertIfNegative val="1"/>
            <c:bubble3D val="0"/>
            <c:spPr>
              <a:solidFill>
                <a:srgbClr val="AEABAB"/>
              </a:solidFill>
            </c:spPr>
            <c:extLst>
              <c:ext xmlns:c16="http://schemas.microsoft.com/office/drawing/2014/chart" uri="{C3380CC4-5D6E-409C-BE32-E72D297353CC}">
                <c16:uniqueId val="{00000453-72A3-4674-B362-466726B36580}"/>
              </c:ext>
            </c:extLst>
          </c:dPt>
          <c:dPt>
            <c:idx val="553"/>
            <c:invertIfNegative val="1"/>
            <c:bubble3D val="0"/>
            <c:spPr>
              <a:solidFill>
                <a:srgbClr val="AEABAB"/>
              </a:solidFill>
            </c:spPr>
            <c:extLst>
              <c:ext xmlns:c16="http://schemas.microsoft.com/office/drawing/2014/chart" uri="{C3380CC4-5D6E-409C-BE32-E72D297353CC}">
                <c16:uniqueId val="{00000455-72A3-4674-B362-466726B36580}"/>
              </c:ext>
            </c:extLst>
          </c:dPt>
          <c:dPt>
            <c:idx val="554"/>
            <c:invertIfNegative val="1"/>
            <c:bubble3D val="0"/>
            <c:spPr>
              <a:solidFill>
                <a:srgbClr val="AEABAB"/>
              </a:solidFill>
            </c:spPr>
            <c:extLst>
              <c:ext xmlns:c16="http://schemas.microsoft.com/office/drawing/2014/chart" uri="{C3380CC4-5D6E-409C-BE32-E72D297353CC}">
                <c16:uniqueId val="{00000457-72A3-4674-B362-466726B36580}"/>
              </c:ext>
            </c:extLst>
          </c:dPt>
          <c:dPt>
            <c:idx val="555"/>
            <c:invertIfNegative val="1"/>
            <c:bubble3D val="0"/>
            <c:spPr>
              <a:solidFill>
                <a:srgbClr val="AEABAB"/>
              </a:solidFill>
            </c:spPr>
            <c:extLst>
              <c:ext xmlns:c16="http://schemas.microsoft.com/office/drawing/2014/chart" uri="{C3380CC4-5D6E-409C-BE32-E72D297353CC}">
                <c16:uniqueId val="{00000459-72A3-4674-B362-466726B36580}"/>
              </c:ext>
            </c:extLst>
          </c:dPt>
          <c:dPt>
            <c:idx val="556"/>
            <c:invertIfNegative val="1"/>
            <c:bubble3D val="0"/>
            <c:spPr>
              <a:solidFill>
                <a:srgbClr val="AEABAB"/>
              </a:solidFill>
            </c:spPr>
            <c:extLst>
              <c:ext xmlns:c16="http://schemas.microsoft.com/office/drawing/2014/chart" uri="{C3380CC4-5D6E-409C-BE32-E72D297353CC}">
                <c16:uniqueId val="{0000045B-72A3-4674-B362-466726B36580}"/>
              </c:ext>
            </c:extLst>
          </c:dPt>
          <c:dPt>
            <c:idx val="557"/>
            <c:invertIfNegative val="1"/>
            <c:bubble3D val="0"/>
            <c:spPr>
              <a:solidFill>
                <a:srgbClr val="AEABAB"/>
              </a:solidFill>
            </c:spPr>
            <c:extLst>
              <c:ext xmlns:c16="http://schemas.microsoft.com/office/drawing/2014/chart" uri="{C3380CC4-5D6E-409C-BE32-E72D297353CC}">
                <c16:uniqueId val="{0000045D-72A3-4674-B362-466726B36580}"/>
              </c:ext>
            </c:extLst>
          </c:dPt>
          <c:dPt>
            <c:idx val="558"/>
            <c:invertIfNegative val="1"/>
            <c:bubble3D val="0"/>
            <c:spPr>
              <a:solidFill>
                <a:srgbClr val="AEABAB"/>
              </a:solidFill>
            </c:spPr>
            <c:extLst>
              <c:ext xmlns:c16="http://schemas.microsoft.com/office/drawing/2014/chart" uri="{C3380CC4-5D6E-409C-BE32-E72D297353CC}">
                <c16:uniqueId val="{0000045F-72A3-4674-B362-466726B36580}"/>
              </c:ext>
            </c:extLst>
          </c:dPt>
          <c:dPt>
            <c:idx val="559"/>
            <c:invertIfNegative val="1"/>
            <c:bubble3D val="0"/>
            <c:spPr>
              <a:solidFill>
                <a:srgbClr val="AEABAB"/>
              </a:solidFill>
            </c:spPr>
            <c:extLst>
              <c:ext xmlns:c16="http://schemas.microsoft.com/office/drawing/2014/chart" uri="{C3380CC4-5D6E-409C-BE32-E72D297353CC}">
                <c16:uniqueId val="{00000461-72A3-4674-B362-466726B36580}"/>
              </c:ext>
            </c:extLst>
          </c:dPt>
          <c:dPt>
            <c:idx val="560"/>
            <c:invertIfNegative val="1"/>
            <c:bubble3D val="0"/>
            <c:spPr>
              <a:solidFill>
                <a:srgbClr val="AEABAB"/>
              </a:solidFill>
            </c:spPr>
            <c:extLst>
              <c:ext xmlns:c16="http://schemas.microsoft.com/office/drawing/2014/chart" uri="{C3380CC4-5D6E-409C-BE32-E72D297353CC}">
                <c16:uniqueId val="{00000463-72A3-4674-B362-466726B36580}"/>
              </c:ext>
            </c:extLst>
          </c:dPt>
          <c:dPt>
            <c:idx val="561"/>
            <c:invertIfNegative val="1"/>
            <c:bubble3D val="0"/>
            <c:spPr>
              <a:solidFill>
                <a:srgbClr val="AEABAB"/>
              </a:solidFill>
            </c:spPr>
            <c:extLst>
              <c:ext xmlns:c16="http://schemas.microsoft.com/office/drawing/2014/chart" uri="{C3380CC4-5D6E-409C-BE32-E72D297353CC}">
                <c16:uniqueId val="{00000465-72A3-4674-B362-466726B36580}"/>
              </c:ext>
            </c:extLst>
          </c:dPt>
          <c:dPt>
            <c:idx val="562"/>
            <c:invertIfNegative val="1"/>
            <c:bubble3D val="0"/>
            <c:spPr>
              <a:solidFill>
                <a:srgbClr val="AEABAB"/>
              </a:solidFill>
            </c:spPr>
            <c:extLst>
              <c:ext xmlns:c16="http://schemas.microsoft.com/office/drawing/2014/chart" uri="{C3380CC4-5D6E-409C-BE32-E72D297353CC}">
                <c16:uniqueId val="{00000467-72A3-4674-B362-466726B36580}"/>
              </c:ext>
            </c:extLst>
          </c:dPt>
          <c:dPt>
            <c:idx val="563"/>
            <c:invertIfNegative val="1"/>
            <c:bubble3D val="0"/>
            <c:spPr>
              <a:solidFill>
                <a:srgbClr val="AEABAB"/>
              </a:solidFill>
            </c:spPr>
            <c:extLst>
              <c:ext xmlns:c16="http://schemas.microsoft.com/office/drawing/2014/chart" uri="{C3380CC4-5D6E-409C-BE32-E72D297353CC}">
                <c16:uniqueId val="{00000469-72A3-4674-B362-466726B36580}"/>
              </c:ext>
            </c:extLst>
          </c:dPt>
          <c:dPt>
            <c:idx val="564"/>
            <c:invertIfNegative val="1"/>
            <c:bubble3D val="0"/>
            <c:spPr>
              <a:solidFill>
                <a:srgbClr val="AEABAB"/>
              </a:solidFill>
            </c:spPr>
            <c:extLst>
              <c:ext xmlns:c16="http://schemas.microsoft.com/office/drawing/2014/chart" uri="{C3380CC4-5D6E-409C-BE32-E72D297353CC}">
                <c16:uniqueId val="{0000046B-72A3-4674-B362-466726B36580}"/>
              </c:ext>
            </c:extLst>
          </c:dPt>
          <c:dPt>
            <c:idx val="565"/>
            <c:invertIfNegative val="1"/>
            <c:bubble3D val="0"/>
            <c:spPr>
              <a:solidFill>
                <a:srgbClr val="AEABAB"/>
              </a:solidFill>
            </c:spPr>
            <c:extLst>
              <c:ext xmlns:c16="http://schemas.microsoft.com/office/drawing/2014/chart" uri="{C3380CC4-5D6E-409C-BE32-E72D297353CC}">
                <c16:uniqueId val="{0000046D-72A3-4674-B362-466726B36580}"/>
              </c:ext>
            </c:extLst>
          </c:dPt>
          <c:dPt>
            <c:idx val="566"/>
            <c:invertIfNegative val="1"/>
            <c:bubble3D val="0"/>
            <c:spPr>
              <a:solidFill>
                <a:srgbClr val="AEABAB"/>
              </a:solidFill>
            </c:spPr>
            <c:extLst>
              <c:ext xmlns:c16="http://schemas.microsoft.com/office/drawing/2014/chart" uri="{C3380CC4-5D6E-409C-BE32-E72D297353CC}">
                <c16:uniqueId val="{0000046F-72A3-4674-B362-466726B36580}"/>
              </c:ext>
            </c:extLst>
          </c:dPt>
          <c:dPt>
            <c:idx val="567"/>
            <c:invertIfNegative val="1"/>
            <c:bubble3D val="0"/>
            <c:spPr>
              <a:solidFill>
                <a:srgbClr val="AEABAB"/>
              </a:solidFill>
            </c:spPr>
            <c:extLst>
              <c:ext xmlns:c16="http://schemas.microsoft.com/office/drawing/2014/chart" uri="{C3380CC4-5D6E-409C-BE32-E72D297353CC}">
                <c16:uniqueId val="{00000471-72A3-4674-B362-466726B36580}"/>
              </c:ext>
            </c:extLst>
          </c:dPt>
          <c:dPt>
            <c:idx val="568"/>
            <c:invertIfNegative val="1"/>
            <c:bubble3D val="0"/>
            <c:spPr>
              <a:solidFill>
                <a:srgbClr val="AEABAB"/>
              </a:solidFill>
            </c:spPr>
            <c:extLst>
              <c:ext xmlns:c16="http://schemas.microsoft.com/office/drawing/2014/chart" uri="{C3380CC4-5D6E-409C-BE32-E72D297353CC}">
                <c16:uniqueId val="{00000473-72A3-4674-B362-466726B36580}"/>
              </c:ext>
            </c:extLst>
          </c:dPt>
          <c:dPt>
            <c:idx val="569"/>
            <c:invertIfNegative val="1"/>
            <c:bubble3D val="0"/>
            <c:spPr>
              <a:solidFill>
                <a:srgbClr val="AEABAB"/>
              </a:solidFill>
            </c:spPr>
            <c:extLst>
              <c:ext xmlns:c16="http://schemas.microsoft.com/office/drawing/2014/chart" uri="{C3380CC4-5D6E-409C-BE32-E72D297353CC}">
                <c16:uniqueId val="{00000475-72A3-4674-B362-466726B36580}"/>
              </c:ext>
            </c:extLst>
          </c:dPt>
          <c:dPt>
            <c:idx val="570"/>
            <c:invertIfNegative val="1"/>
            <c:bubble3D val="0"/>
            <c:spPr>
              <a:solidFill>
                <a:srgbClr val="AEABAB"/>
              </a:solidFill>
            </c:spPr>
            <c:extLst>
              <c:ext xmlns:c16="http://schemas.microsoft.com/office/drawing/2014/chart" uri="{C3380CC4-5D6E-409C-BE32-E72D297353CC}">
                <c16:uniqueId val="{00000477-72A3-4674-B362-466726B36580}"/>
              </c:ext>
            </c:extLst>
          </c:dPt>
          <c:dPt>
            <c:idx val="571"/>
            <c:invertIfNegative val="1"/>
            <c:bubble3D val="0"/>
            <c:spPr>
              <a:solidFill>
                <a:srgbClr val="AEABAB"/>
              </a:solidFill>
            </c:spPr>
            <c:extLst>
              <c:ext xmlns:c16="http://schemas.microsoft.com/office/drawing/2014/chart" uri="{C3380CC4-5D6E-409C-BE32-E72D297353CC}">
                <c16:uniqueId val="{00000479-72A3-4674-B362-466726B36580}"/>
              </c:ext>
            </c:extLst>
          </c:dPt>
          <c:dPt>
            <c:idx val="572"/>
            <c:invertIfNegative val="1"/>
            <c:bubble3D val="0"/>
            <c:spPr>
              <a:solidFill>
                <a:srgbClr val="AEABAB"/>
              </a:solidFill>
            </c:spPr>
            <c:extLst>
              <c:ext xmlns:c16="http://schemas.microsoft.com/office/drawing/2014/chart" uri="{C3380CC4-5D6E-409C-BE32-E72D297353CC}">
                <c16:uniqueId val="{0000047B-72A3-4674-B362-466726B36580}"/>
              </c:ext>
            </c:extLst>
          </c:dPt>
          <c:dPt>
            <c:idx val="573"/>
            <c:invertIfNegative val="1"/>
            <c:bubble3D val="0"/>
            <c:spPr>
              <a:solidFill>
                <a:srgbClr val="AEABAB"/>
              </a:solidFill>
            </c:spPr>
            <c:extLst>
              <c:ext xmlns:c16="http://schemas.microsoft.com/office/drawing/2014/chart" uri="{C3380CC4-5D6E-409C-BE32-E72D297353CC}">
                <c16:uniqueId val="{0000047D-72A3-4674-B362-466726B36580}"/>
              </c:ext>
            </c:extLst>
          </c:dPt>
          <c:dPt>
            <c:idx val="574"/>
            <c:invertIfNegative val="1"/>
            <c:bubble3D val="0"/>
            <c:spPr>
              <a:solidFill>
                <a:srgbClr val="AEABAB"/>
              </a:solidFill>
            </c:spPr>
            <c:extLst>
              <c:ext xmlns:c16="http://schemas.microsoft.com/office/drawing/2014/chart" uri="{C3380CC4-5D6E-409C-BE32-E72D297353CC}">
                <c16:uniqueId val="{0000047F-72A3-4674-B362-466726B36580}"/>
              </c:ext>
            </c:extLst>
          </c:dPt>
          <c:dPt>
            <c:idx val="575"/>
            <c:invertIfNegative val="1"/>
            <c:bubble3D val="0"/>
            <c:spPr>
              <a:solidFill>
                <a:srgbClr val="AEABAB"/>
              </a:solidFill>
            </c:spPr>
            <c:extLst>
              <c:ext xmlns:c16="http://schemas.microsoft.com/office/drawing/2014/chart" uri="{C3380CC4-5D6E-409C-BE32-E72D297353CC}">
                <c16:uniqueId val="{00000481-72A3-4674-B362-466726B36580}"/>
              </c:ext>
            </c:extLst>
          </c:dPt>
          <c:dPt>
            <c:idx val="576"/>
            <c:invertIfNegative val="1"/>
            <c:bubble3D val="0"/>
            <c:spPr>
              <a:solidFill>
                <a:srgbClr val="AEABAB"/>
              </a:solidFill>
            </c:spPr>
            <c:extLst>
              <c:ext xmlns:c16="http://schemas.microsoft.com/office/drawing/2014/chart" uri="{C3380CC4-5D6E-409C-BE32-E72D297353CC}">
                <c16:uniqueId val="{00000483-72A3-4674-B362-466726B36580}"/>
              </c:ext>
            </c:extLst>
          </c:dPt>
          <c:dPt>
            <c:idx val="577"/>
            <c:invertIfNegative val="1"/>
            <c:bubble3D val="0"/>
            <c:spPr>
              <a:solidFill>
                <a:srgbClr val="AEABAB"/>
              </a:solidFill>
            </c:spPr>
            <c:extLst>
              <c:ext xmlns:c16="http://schemas.microsoft.com/office/drawing/2014/chart" uri="{C3380CC4-5D6E-409C-BE32-E72D297353CC}">
                <c16:uniqueId val="{00000485-72A3-4674-B362-466726B36580}"/>
              </c:ext>
            </c:extLst>
          </c:dPt>
          <c:dPt>
            <c:idx val="578"/>
            <c:invertIfNegative val="1"/>
            <c:bubble3D val="0"/>
            <c:spPr>
              <a:solidFill>
                <a:srgbClr val="AEABAB"/>
              </a:solidFill>
            </c:spPr>
            <c:extLst>
              <c:ext xmlns:c16="http://schemas.microsoft.com/office/drawing/2014/chart" uri="{C3380CC4-5D6E-409C-BE32-E72D297353CC}">
                <c16:uniqueId val="{00000487-72A3-4674-B362-466726B36580}"/>
              </c:ext>
            </c:extLst>
          </c:dPt>
          <c:dPt>
            <c:idx val="579"/>
            <c:invertIfNegative val="1"/>
            <c:bubble3D val="0"/>
            <c:spPr>
              <a:solidFill>
                <a:srgbClr val="AEABAB"/>
              </a:solidFill>
            </c:spPr>
            <c:extLst>
              <c:ext xmlns:c16="http://schemas.microsoft.com/office/drawing/2014/chart" uri="{C3380CC4-5D6E-409C-BE32-E72D297353CC}">
                <c16:uniqueId val="{00000489-72A3-4674-B362-466726B36580}"/>
              </c:ext>
            </c:extLst>
          </c:dPt>
          <c:dPt>
            <c:idx val="580"/>
            <c:invertIfNegative val="1"/>
            <c:bubble3D val="0"/>
            <c:spPr>
              <a:solidFill>
                <a:srgbClr val="AEABAB"/>
              </a:solidFill>
            </c:spPr>
            <c:extLst>
              <c:ext xmlns:c16="http://schemas.microsoft.com/office/drawing/2014/chart" uri="{C3380CC4-5D6E-409C-BE32-E72D297353CC}">
                <c16:uniqueId val="{0000048B-72A3-4674-B362-466726B36580}"/>
              </c:ext>
            </c:extLst>
          </c:dPt>
          <c:dPt>
            <c:idx val="581"/>
            <c:invertIfNegative val="1"/>
            <c:bubble3D val="0"/>
            <c:spPr>
              <a:solidFill>
                <a:srgbClr val="AEABAB"/>
              </a:solidFill>
            </c:spPr>
            <c:extLst>
              <c:ext xmlns:c16="http://schemas.microsoft.com/office/drawing/2014/chart" uri="{C3380CC4-5D6E-409C-BE32-E72D297353CC}">
                <c16:uniqueId val="{0000048D-72A3-4674-B362-466726B36580}"/>
              </c:ext>
            </c:extLst>
          </c:dPt>
          <c:dPt>
            <c:idx val="582"/>
            <c:invertIfNegative val="1"/>
            <c:bubble3D val="0"/>
            <c:spPr>
              <a:solidFill>
                <a:srgbClr val="AEABAB"/>
              </a:solidFill>
            </c:spPr>
            <c:extLst>
              <c:ext xmlns:c16="http://schemas.microsoft.com/office/drawing/2014/chart" uri="{C3380CC4-5D6E-409C-BE32-E72D297353CC}">
                <c16:uniqueId val="{0000048F-72A3-4674-B362-466726B36580}"/>
              </c:ext>
            </c:extLst>
          </c:dPt>
          <c:dPt>
            <c:idx val="583"/>
            <c:invertIfNegative val="1"/>
            <c:bubble3D val="0"/>
            <c:spPr>
              <a:solidFill>
                <a:srgbClr val="AEABAB"/>
              </a:solidFill>
            </c:spPr>
            <c:extLst>
              <c:ext xmlns:c16="http://schemas.microsoft.com/office/drawing/2014/chart" uri="{C3380CC4-5D6E-409C-BE32-E72D297353CC}">
                <c16:uniqueId val="{00000491-72A3-4674-B362-466726B36580}"/>
              </c:ext>
            </c:extLst>
          </c:dPt>
          <c:dPt>
            <c:idx val="584"/>
            <c:invertIfNegative val="1"/>
            <c:bubble3D val="0"/>
            <c:spPr>
              <a:solidFill>
                <a:srgbClr val="AEABAB"/>
              </a:solidFill>
            </c:spPr>
            <c:extLst>
              <c:ext xmlns:c16="http://schemas.microsoft.com/office/drawing/2014/chart" uri="{C3380CC4-5D6E-409C-BE32-E72D297353CC}">
                <c16:uniqueId val="{00000493-72A3-4674-B362-466726B36580}"/>
              </c:ext>
            </c:extLst>
          </c:dPt>
          <c:dPt>
            <c:idx val="585"/>
            <c:invertIfNegative val="1"/>
            <c:bubble3D val="0"/>
            <c:spPr>
              <a:solidFill>
                <a:srgbClr val="AEABAB"/>
              </a:solidFill>
            </c:spPr>
            <c:extLst>
              <c:ext xmlns:c16="http://schemas.microsoft.com/office/drawing/2014/chart" uri="{C3380CC4-5D6E-409C-BE32-E72D297353CC}">
                <c16:uniqueId val="{00000495-72A3-4674-B362-466726B36580}"/>
              </c:ext>
            </c:extLst>
          </c:dPt>
          <c:dPt>
            <c:idx val="586"/>
            <c:invertIfNegative val="1"/>
            <c:bubble3D val="0"/>
            <c:spPr>
              <a:solidFill>
                <a:srgbClr val="AEABAB"/>
              </a:solidFill>
            </c:spPr>
            <c:extLst>
              <c:ext xmlns:c16="http://schemas.microsoft.com/office/drawing/2014/chart" uri="{C3380CC4-5D6E-409C-BE32-E72D297353CC}">
                <c16:uniqueId val="{00000497-72A3-4674-B362-466726B36580}"/>
              </c:ext>
            </c:extLst>
          </c:dPt>
          <c:dPt>
            <c:idx val="587"/>
            <c:invertIfNegative val="1"/>
            <c:bubble3D val="0"/>
            <c:spPr>
              <a:solidFill>
                <a:srgbClr val="AEABAB"/>
              </a:solidFill>
            </c:spPr>
            <c:extLst>
              <c:ext xmlns:c16="http://schemas.microsoft.com/office/drawing/2014/chart" uri="{C3380CC4-5D6E-409C-BE32-E72D297353CC}">
                <c16:uniqueId val="{00000499-72A3-4674-B362-466726B36580}"/>
              </c:ext>
            </c:extLst>
          </c:dPt>
          <c:dPt>
            <c:idx val="588"/>
            <c:invertIfNegative val="1"/>
            <c:bubble3D val="0"/>
            <c:spPr>
              <a:solidFill>
                <a:srgbClr val="AEABAB"/>
              </a:solidFill>
            </c:spPr>
            <c:extLst>
              <c:ext xmlns:c16="http://schemas.microsoft.com/office/drawing/2014/chart" uri="{C3380CC4-5D6E-409C-BE32-E72D297353CC}">
                <c16:uniqueId val="{0000049B-72A3-4674-B362-466726B36580}"/>
              </c:ext>
            </c:extLst>
          </c:dPt>
          <c:dPt>
            <c:idx val="589"/>
            <c:invertIfNegative val="1"/>
            <c:bubble3D val="0"/>
            <c:spPr>
              <a:solidFill>
                <a:srgbClr val="AEABAB"/>
              </a:solidFill>
            </c:spPr>
            <c:extLst>
              <c:ext xmlns:c16="http://schemas.microsoft.com/office/drawing/2014/chart" uri="{C3380CC4-5D6E-409C-BE32-E72D297353CC}">
                <c16:uniqueId val="{0000049D-72A3-4674-B362-466726B36580}"/>
              </c:ext>
            </c:extLst>
          </c:dPt>
          <c:dPt>
            <c:idx val="590"/>
            <c:invertIfNegative val="1"/>
            <c:bubble3D val="0"/>
            <c:spPr>
              <a:solidFill>
                <a:srgbClr val="AEABAB"/>
              </a:solidFill>
            </c:spPr>
            <c:extLst>
              <c:ext xmlns:c16="http://schemas.microsoft.com/office/drawing/2014/chart" uri="{C3380CC4-5D6E-409C-BE32-E72D297353CC}">
                <c16:uniqueId val="{0000049F-72A3-4674-B362-466726B36580}"/>
              </c:ext>
            </c:extLst>
          </c:dPt>
          <c:dPt>
            <c:idx val="591"/>
            <c:invertIfNegative val="1"/>
            <c:bubble3D val="0"/>
            <c:spPr>
              <a:solidFill>
                <a:srgbClr val="AEABAB"/>
              </a:solidFill>
            </c:spPr>
            <c:extLst>
              <c:ext xmlns:c16="http://schemas.microsoft.com/office/drawing/2014/chart" uri="{C3380CC4-5D6E-409C-BE32-E72D297353CC}">
                <c16:uniqueId val="{000004A1-72A3-4674-B362-466726B36580}"/>
              </c:ext>
            </c:extLst>
          </c:dPt>
          <c:dPt>
            <c:idx val="592"/>
            <c:invertIfNegative val="1"/>
            <c:bubble3D val="0"/>
            <c:spPr>
              <a:solidFill>
                <a:srgbClr val="AEABAB"/>
              </a:solidFill>
            </c:spPr>
            <c:extLst>
              <c:ext xmlns:c16="http://schemas.microsoft.com/office/drawing/2014/chart" uri="{C3380CC4-5D6E-409C-BE32-E72D297353CC}">
                <c16:uniqueId val="{000004A3-72A3-4674-B362-466726B36580}"/>
              </c:ext>
            </c:extLst>
          </c:dPt>
          <c:cat>
            <c:strRef>
              <c:f>Sheet1!$A$2:$A$594</c:f>
              <c:strCache>
                <c:ptCount val="593"/>
                <c:pt idx="0">
                  <c:v>Caprice Des</c:v>
                </c:pt>
                <c:pt idx="1">
                  <c:v>Private Lab</c:v>
                </c:pt>
                <c:pt idx="2">
                  <c:v>Mini Babybe</c:v>
                </c:pt>
                <c:pt idx="3">
                  <c:v>Private Lab</c:v>
                </c:pt>
                <c:pt idx="4">
                  <c:v>President</c:v>
                </c:pt>
                <c:pt idx="5">
                  <c:v>Coeur De Li</c:v>
                </c:pt>
                <c:pt idx="6">
                  <c:v>Private Lab</c:v>
                </c:pt>
                <c:pt idx="7">
                  <c:v>Soignon</c:v>
                </c:pt>
                <c:pt idx="8">
                  <c:v>Caprice Des</c:v>
                </c:pt>
                <c:pt idx="9">
                  <c:v>La Vache Qu</c:v>
                </c:pt>
                <c:pt idx="10">
                  <c:v>Private Lab</c:v>
                </c:pt>
                <c:pt idx="11">
                  <c:v>Private Lab</c:v>
                </c:pt>
                <c:pt idx="12">
                  <c:v>President</c:v>
                </c:pt>
                <c:pt idx="13">
                  <c:v>Private Lab</c:v>
                </c:pt>
                <c:pt idx="14">
                  <c:v>Soignon</c:v>
                </c:pt>
                <c:pt idx="15">
                  <c:v>St Moret</c:v>
                </c:pt>
                <c:pt idx="16">
                  <c:v>Le Rustique</c:v>
                </c:pt>
                <c:pt idx="17">
                  <c:v>St Moret</c:v>
                </c:pt>
                <c:pt idx="18">
                  <c:v>All Others</c:v>
                </c:pt>
                <c:pt idx="19">
                  <c:v>Private Lab</c:v>
                </c:pt>
                <c:pt idx="20">
                  <c:v>President</c:v>
                </c:pt>
                <c:pt idx="21">
                  <c:v>La Vache Qu</c:v>
                </c:pt>
                <c:pt idx="22">
                  <c:v>St Moret</c:v>
                </c:pt>
                <c:pt idx="23">
                  <c:v>Private Lab</c:v>
                </c:pt>
                <c:pt idx="24">
                  <c:v>Coeur De Li</c:v>
                </c:pt>
                <c:pt idx="25">
                  <c:v>La Vache Qu</c:v>
                </c:pt>
                <c:pt idx="26">
                  <c:v>Private Lab</c:v>
                </c:pt>
                <c:pt idx="27">
                  <c:v>St Moret</c:v>
                </c:pt>
                <c:pt idx="28">
                  <c:v>Tartare</c:v>
                </c:pt>
                <c:pt idx="29">
                  <c:v>Mini Babybe</c:v>
                </c:pt>
                <c:pt idx="30">
                  <c:v>Private Lab</c:v>
                </c:pt>
                <c:pt idx="31">
                  <c:v>Soignon</c:v>
                </c:pt>
                <c:pt idx="32">
                  <c:v>Galbani</c:v>
                </c:pt>
                <c:pt idx="33">
                  <c:v>Kiri</c:v>
                </c:pt>
                <c:pt idx="34">
                  <c:v>Private Lab</c:v>
                </c:pt>
                <c:pt idx="35">
                  <c:v>Kiri</c:v>
                </c:pt>
                <c:pt idx="36">
                  <c:v>Galbani</c:v>
                </c:pt>
                <c:pt idx="37">
                  <c:v>Ficello</c:v>
                </c:pt>
                <c:pt idx="38">
                  <c:v>Private Lab</c:v>
                </c:pt>
                <c:pt idx="39">
                  <c:v>Galbani</c:v>
                </c:pt>
                <c:pt idx="40">
                  <c:v>Salakis</c:v>
                </c:pt>
                <c:pt idx="41">
                  <c:v>Private Lab</c:v>
                </c:pt>
                <c:pt idx="42">
                  <c:v>Private Lab</c:v>
                </c:pt>
                <c:pt idx="43">
                  <c:v>Private Lab</c:v>
                </c:pt>
                <c:pt idx="44">
                  <c:v>Private Lab</c:v>
                </c:pt>
                <c:pt idx="45">
                  <c:v>Private Lab</c:v>
                </c:pt>
                <c:pt idx="46">
                  <c:v>Private Lab</c:v>
                </c:pt>
                <c:pt idx="47">
                  <c:v>Paysan Bret</c:v>
                </c:pt>
                <c:pt idx="48">
                  <c:v>Private Lab</c:v>
                </c:pt>
                <c:pt idx="49">
                  <c:v>Istara</c:v>
                </c:pt>
                <c:pt idx="50">
                  <c:v>Private Lab</c:v>
                </c:pt>
                <c:pt idx="51">
                  <c:v>Private Lab</c:v>
                </c:pt>
                <c:pt idx="52">
                  <c:v>Boursin</c:v>
                </c:pt>
                <c:pt idx="53">
                  <c:v>St Moret</c:v>
                </c:pt>
                <c:pt idx="54">
                  <c:v>Paysan Bret</c:v>
                </c:pt>
                <c:pt idx="55">
                  <c:v>Philadelphi</c:v>
                </c:pt>
                <c:pt idx="56">
                  <c:v>Private Lab</c:v>
                </c:pt>
                <c:pt idx="57">
                  <c:v>Kiri</c:v>
                </c:pt>
                <c:pt idx="58">
                  <c:v>President</c:v>
                </c:pt>
                <c:pt idx="59">
                  <c:v>Lou Perac</c:v>
                </c:pt>
                <c:pt idx="60">
                  <c:v>Tartare</c:v>
                </c:pt>
                <c:pt idx="61">
                  <c:v>Boursin</c:v>
                </c:pt>
                <c:pt idx="62">
                  <c:v>Galbani</c:v>
                </c:pt>
                <c:pt idx="63">
                  <c:v>Private Lab</c:v>
                </c:pt>
                <c:pt idx="64">
                  <c:v>All Others</c:v>
                </c:pt>
                <c:pt idx="65">
                  <c:v>Islos</c:v>
                </c:pt>
                <c:pt idx="66">
                  <c:v>Mini Babybe</c:v>
                </c:pt>
                <c:pt idx="67">
                  <c:v>Lepetit</c:v>
                </c:pt>
                <c:pt idx="68">
                  <c:v>Caprice Des</c:v>
                </c:pt>
                <c:pt idx="69">
                  <c:v>Salakis</c:v>
                </c:pt>
                <c:pt idx="70">
                  <c:v>Galbani</c:v>
                </c:pt>
                <c:pt idx="71">
                  <c:v>President</c:v>
                </c:pt>
                <c:pt idx="72">
                  <c:v>All Others</c:v>
                </c:pt>
                <c:pt idx="73">
                  <c:v>Coeur De Li</c:v>
                </c:pt>
                <c:pt idx="74">
                  <c:v>Boursin</c:v>
                </c:pt>
                <c:pt idx="75">
                  <c:v>Private Lab</c:v>
                </c:pt>
                <c:pt idx="76">
                  <c:v>Kiri</c:v>
                </c:pt>
                <c:pt idx="77">
                  <c:v>Carre Frais</c:v>
                </c:pt>
                <c:pt idx="78">
                  <c:v>Carre Frais</c:v>
                </c:pt>
                <c:pt idx="79">
                  <c:v>Coeur De Li</c:v>
                </c:pt>
                <c:pt idx="80">
                  <c:v>Coeur De Li</c:v>
                </c:pt>
                <c:pt idx="81">
                  <c:v>Private Lab</c:v>
                </c:pt>
                <c:pt idx="82">
                  <c:v>St Moret</c:v>
                </c:pt>
                <c:pt idx="83">
                  <c:v>Private Lab</c:v>
                </c:pt>
                <c:pt idx="84">
                  <c:v>Private Lab</c:v>
                </c:pt>
                <c:pt idx="85">
                  <c:v>All Others</c:v>
                </c:pt>
                <c:pt idx="86">
                  <c:v>Private Lab</c:v>
                </c:pt>
                <c:pt idx="87">
                  <c:v>President</c:v>
                </c:pt>
                <c:pt idx="88">
                  <c:v>All Others</c:v>
                </c:pt>
                <c:pt idx="89">
                  <c:v>Galbani</c:v>
                </c:pt>
                <c:pt idx="90">
                  <c:v>President</c:v>
                </c:pt>
                <c:pt idx="91">
                  <c:v>Kiri</c:v>
                </c:pt>
                <c:pt idx="92">
                  <c:v>Salakis</c:v>
                </c:pt>
                <c:pt idx="93">
                  <c:v>Soignon</c:v>
                </c:pt>
                <c:pt idx="94">
                  <c:v>All Others</c:v>
                </c:pt>
                <c:pt idx="95">
                  <c:v>Private Lab</c:v>
                </c:pt>
                <c:pt idx="96">
                  <c:v>President</c:v>
                </c:pt>
                <c:pt idx="97">
                  <c:v>Private Lab</c:v>
                </c:pt>
                <c:pt idx="98">
                  <c:v>Casa Azzurr</c:v>
                </c:pt>
                <c:pt idx="99">
                  <c:v>Lactalis: A</c:v>
                </c:pt>
                <c:pt idx="100">
                  <c:v>All Others</c:v>
                </c:pt>
                <c:pt idx="101">
                  <c:v>Istara</c:v>
                </c:pt>
                <c:pt idx="102">
                  <c:v>Private Lab</c:v>
                </c:pt>
                <c:pt idx="103">
                  <c:v>Private Lab</c:v>
                </c:pt>
                <c:pt idx="104">
                  <c:v>La Vache Qu</c:v>
                </c:pt>
                <c:pt idx="105">
                  <c:v>Private Lab</c:v>
                </c:pt>
                <c:pt idx="106">
                  <c:v>Petit Billy</c:v>
                </c:pt>
                <c:pt idx="107">
                  <c:v>Tartare</c:v>
                </c:pt>
                <c:pt idx="108">
                  <c:v>President</c:v>
                </c:pt>
                <c:pt idx="109">
                  <c:v>La Vache Qu</c:v>
                </c:pt>
                <c:pt idx="110">
                  <c:v>St Moret</c:v>
                </c:pt>
                <c:pt idx="111">
                  <c:v>St Moret</c:v>
                </c:pt>
                <c:pt idx="112">
                  <c:v>Lactalis: A</c:v>
                </c:pt>
                <c:pt idx="113">
                  <c:v>Soignon</c:v>
                </c:pt>
                <c:pt idx="114">
                  <c:v>Private Lab</c:v>
                </c:pt>
                <c:pt idx="115">
                  <c:v>Le Rustique</c:v>
                </c:pt>
                <c:pt idx="116">
                  <c:v>Coeur De Li</c:v>
                </c:pt>
                <c:pt idx="117">
                  <c:v>Casa Azzurr</c:v>
                </c:pt>
                <c:pt idx="118">
                  <c:v>Casa Azzurr</c:v>
                </c:pt>
                <c:pt idx="119">
                  <c:v>Private Lab</c:v>
                </c:pt>
                <c:pt idx="120">
                  <c:v>Soignon</c:v>
                </c:pt>
                <c:pt idx="121">
                  <c:v>Private Lab</c:v>
                </c:pt>
                <c:pt idx="122">
                  <c:v>Casa Azzurr</c:v>
                </c:pt>
                <c:pt idx="123">
                  <c:v>Caprice Des</c:v>
                </c:pt>
                <c:pt idx="124">
                  <c:v>Ficello</c:v>
                </c:pt>
                <c:pt idx="125">
                  <c:v>Philadelphi</c:v>
                </c:pt>
                <c:pt idx="126">
                  <c:v>Private Lab</c:v>
                </c:pt>
                <c:pt idx="127">
                  <c:v>All Others</c:v>
                </c:pt>
                <c:pt idx="128">
                  <c:v>Private Lab</c:v>
                </c:pt>
                <c:pt idx="129">
                  <c:v>President</c:v>
                </c:pt>
                <c:pt idx="130">
                  <c:v>Etorki</c:v>
                </c:pt>
                <c:pt idx="131">
                  <c:v>Paysan Bret</c:v>
                </c:pt>
                <c:pt idx="132">
                  <c:v>P'Tit Louis</c:v>
                </c:pt>
                <c:pt idx="133">
                  <c:v>Ficello</c:v>
                </c:pt>
                <c:pt idx="134">
                  <c:v>Galbani</c:v>
                </c:pt>
                <c:pt idx="135">
                  <c:v>All Others</c:v>
                </c:pt>
                <c:pt idx="136">
                  <c:v>Private Lab</c:v>
                </c:pt>
                <c:pt idx="137">
                  <c:v>Private Lab</c:v>
                </c:pt>
                <c:pt idx="138">
                  <c:v>Le Rustique</c:v>
                </c:pt>
                <c:pt idx="139">
                  <c:v>All Others</c:v>
                </c:pt>
                <c:pt idx="140">
                  <c:v>Chavroux</c:v>
                </c:pt>
                <c:pt idx="141">
                  <c:v>Soignon</c:v>
                </c:pt>
                <c:pt idx="142">
                  <c:v>Lactalis: A</c:v>
                </c:pt>
                <c:pt idx="143">
                  <c:v>Casa Azzurr</c:v>
                </c:pt>
                <c:pt idx="144">
                  <c:v>Private Lab</c:v>
                </c:pt>
                <c:pt idx="145">
                  <c:v>Salakis</c:v>
                </c:pt>
                <c:pt idx="146">
                  <c:v>Boursin</c:v>
                </c:pt>
                <c:pt idx="147">
                  <c:v>Boursin</c:v>
                </c:pt>
                <c:pt idx="148">
                  <c:v>Paysan Bret</c:v>
                </c:pt>
                <c:pt idx="149">
                  <c:v>Soignon</c:v>
                </c:pt>
                <c:pt idx="150">
                  <c:v>Boursin</c:v>
                </c:pt>
                <c:pt idx="151">
                  <c:v>President</c:v>
                </c:pt>
                <c:pt idx="152">
                  <c:v>Paysan Bret</c:v>
                </c:pt>
                <c:pt idx="153">
                  <c:v>Salakis</c:v>
                </c:pt>
                <c:pt idx="154">
                  <c:v>Boursin</c:v>
                </c:pt>
                <c:pt idx="155">
                  <c:v>Private Lab</c:v>
                </c:pt>
                <c:pt idx="156">
                  <c:v>President</c:v>
                </c:pt>
                <c:pt idx="157">
                  <c:v>Tartare</c:v>
                </c:pt>
                <c:pt idx="158">
                  <c:v>Private Lab</c:v>
                </c:pt>
                <c:pt idx="159">
                  <c:v>Carre Frais</c:v>
                </c:pt>
                <c:pt idx="160">
                  <c:v>Le Brebiou</c:v>
                </c:pt>
                <c:pt idx="161">
                  <c:v>Casa Azzurr</c:v>
                </c:pt>
                <c:pt idx="162">
                  <c:v>Soignon</c:v>
                </c:pt>
                <c:pt idx="163">
                  <c:v>Private Lab</c:v>
                </c:pt>
                <c:pt idx="164">
                  <c:v>Soignon</c:v>
                </c:pt>
                <c:pt idx="165">
                  <c:v>Paysan Bret</c:v>
                </c:pt>
                <c:pt idx="166">
                  <c:v>Pave D'Affi</c:v>
                </c:pt>
                <c:pt idx="167">
                  <c:v>Private Lab</c:v>
                </c:pt>
                <c:pt idx="168">
                  <c:v>Boursin</c:v>
                </c:pt>
                <c:pt idx="169">
                  <c:v>Private Lab</c:v>
                </c:pt>
                <c:pt idx="170">
                  <c:v>La Vache Qu</c:v>
                </c:pt>
                <c:pt idx="171">
                  <c:v>Private Lab</c:v>
                </c:pt>
                <c:pt idx="172">
                  <c:v>All Others</c:v>
                </c:pt>
                <c:pt idx="173">
                  <c:v>All Others</c:v>
                </c:pt>
                <c:pt idx="174">
                  <c:v>Galbani</c:v>
                </c:pt>
                <c:pt idx="175">
                  <c:v>Mini Babybe</c:v>
                </c:pt>
                <c:pt idx="176">
                  <c:v>Etorki</c:v>
                </c:pt>
                <c:pt idx="177">
                  <c:v>Galbani</c:v>
                </c:pt>
                <c:pt idx="178">
                  <c:v>Tartare</c:v>
                </c:pt>
                <c:pt idx="179">
                  <c:v>Caprice Des</c:v>
                </c:pt>
                <c:pt idx="180">
                  <c:v>Chavroux</c:v>
                </c:pt>
                <c:pt idx="181">
                  <c:v>Private Lab</c:v>
                </c:pt>
                <c:pt idx="182">
                  <c:v>All Others</c:v>
                </c:pt>
                <c:pt idx="183">
                  <c:v>Private Lab</c:v>
                </c:pt>
                <c:pt idx="184">
                  <c:v>Soignon</c:v>
                </c:pt>
                <c:pt idx="185">
                  <c:v>Private Lab</c:v>
                </c:pt>
                <c:pt idx="186">
                  <c:v>Private Lab</c:v>
                </c:pt>
                <c:pt idx="187">
                  <c:v>Boursin</c:v>
                </c:pt>
                <c:pt idx="188">
                  <c:v>Mini Babybe</c:v>
                </c:pt>
                <c:pt idx="189">
                  <c:v>Paysan Bret</c:v>
                </c:pt>
                <c:pt idx="190">
                  <c:v>Les Mousque</c:v>
                </c:pt>
                <c:pt idx="191">
                  <c:v>All Others</c:v>
                </c:pt>
                <c:pt idx="192">
                  <c:v>Lou Perac</c:v>
                </c:pt>
                <c:pt idx="193">
                  <c:v>Private Lab</c:v>
                </c:pt>
                <c:pt idx="194">
                  <c:v>Private Lab</c:v>
                </c:pt>
                <c:pt idx="195">
                  <c:v>All Others</c:v>
                </c:pt>
                <c:pt idx="196">
                  <c:v>Boursin</c:v>
                </c:pt>
                <c:pt idx="197">
                  <c:v>Galbani</c:v>
                </c:pt>
                <c:pt idx="198">
                  <c:v>Saint Agur</c:v>
                </c:pt>
                <c:pt idx="199">
                  <c:v>Les Mousque</c:v>
                </c:pt>
                <c:pt idx="200">
                  <c:v>Caprice Des</c:v>
                </c:pt>
                <c:pt idx="201">
                  <c:v>Savencia: A</c:v>
                </c:pt>
                <c:pt idx="202">
                  <c:v>Le Rustique</c:v>
                </c:pt>
                <c:pt idx="203">
                  <c:v>Salakis</c:v>
                </c:pt>
                <c:pt idx="204">
                  <c:v>Caprice Des</c:v>
                </c:pt>
                <c:pt idx="205">
                  <c:v>Caprice Des</c:v>
                </c:pt>
                <c:pt idx="206">
                  <c:v>Tartare</c:v>
                </c:pt>
                <c:pt idx="207">
                  <c:v>Tartare</c:v>
                </c:pt>
                <c:pt idx="208">
                  <c:v>All Others</c:v>
                </c:pt>
                <c:pt idx="209">
                  <c:v>Private Lab</c:v>
                </c:pt>
                <c:pt idx="210">
                  <c:v>Casa Azzurr</c:v>
                </c:pt>
                <c:pt idx="211">
                  <c:v>Kiri</c:v>
                </c:pt>
                <c:pt idx="212">
                  <c:v>La Vache Qu</c:v>
                </c:pt>
                <c:pt idx="213">
                  <c:v>St Moret</c:v>
                </c:pt>
                <c:pt idx="214">
                  <c:v>Boursin</c:v>
                </c:pt>
                <c:pt idx="215">
                  <c:v>Private Lab</c:v>
                </c:pt>
                <c:pt idx="216">
                  <c:v>Private Lab</c:v>
                </c:pt>
                <c:pt idx="217">
                  <c:v>All Others</c:v>
                </c:pt>
                <c:pt idx="218">
                  <c:v>Private Lab</c:v>
                </c:pt>
                <c:pt idx="219">
                  <c:v>Paysan Bret</c:v>
                </c:pt>
                <c:pt idx="220">
                  <c:v>Casa Azzurr</c:v>
                </c:pt>
                <c:pt idx="221">
                  <c:v>Lou Perac</c:v>
                </c:pt>
                <c:pt idx="222">
                  <c:v>Private Lab</c:v>
                </c:pt>
                <c:pt idx="223">
                  <c:v>P'Tit Louis</c:v>
                </c:pt>
                <c:pt idx="224">
                  <c:v>Kiri</c:v>
                </c:pt>
                <c:pt idx="225">
                  <c:v>Lactalis: A</c:v>
                </c:pt>
                <c:pt idx="226">
                  <c:v>All Others</c:v>
                </c:pt>
                <c:pt idx="227">
                  <c:v>Soignon</c:v>
                </c:pt>
                <c:pt idx="228">
                  <c:v>Soignon</c:v>
                </c:pt>
                <c:pt idx="229">
                  <c:v>Mini Babybe</c:v>
                </c:pt>
                <c:pt idx="230">
                  <c:v>All Others</c:v>
                </c:pt>
                <c:pt idx="231">
                  <c:v>All Others</c:v>
                </c:pt>
                <c:pt idx="232">
                  <c:v>All Others</c:v>
                </c:pt>
                <c:pt idx="233">
                  <c:v>Soignon</c:v>
                </c:pt>
                <c:pt idx="234">
                  <c:v>Casa Azzurr</c:v>
                </c:pt>
                <c:pt idx="235">
                  <c:v>Islos</c:v>
                </c:pt>
                <c:pt idx="236">
                  <c:v>Kiri</c:v>
                </c:pt>
                <c:pt idx="237">
                  <c:v>All Others</c:v>
                </c:pt>
                <c:pt idx="238">
                  <c:v>Private Lab</c:v>
                </c:pt>
                <c:pt idx="239">
                  <c:v>Istara</c:v>
                </c:pt>
                <c:pt idx="240">
                  <c:v>Paysan Bret</c:v>
                </c:pt>
                <c:pt idx="241">
                  <c:v>Corsica</c:v>
                </c:pt>
                <c:pt idx="242">
                  <c:v>All Others</c:v>
                </c:pt>
                <c:pt idx="243">
                  <c:v>Paysan Bret</c:v>
                </c:pt>
                <c:pt idx="244">
                  <c:v>Kiri</c:v>
                </c:pt>
                <c:pt idx="245">
                  <c:v>Milleret: A</c:v>
                </c:pt>
                <c:pt idx="246">
                  <c:v>Etoile Du Q</c:v>
                </c:pt>
                <c:pt idx="247">
                  <c:v>Boursin</c:v>
                </c:pt>
                <c:pt idx="248">
                  <c:v>All Others</c:v>
                </c:pt>
                <c:pt idx="249">
                  <c:v>Private Lab</c:v>
                </c:pt>
                <c:pt idx="250">
                  <c:v>Galbani</c:v>
                </c:pt>
                <c:pt idx="251">
                  <c:v>Mini Babybe</c:v>
                </c:pt>
                <c:pt idx="252">
                  <c:v>Salakis</c:v>
                </c:pt>
                <c:pt idx="253">
                  <c:v>Private Lab</c:v>
                </c:pt>
                <c:pt idx="254">
                  <c:v>Mini Babybe</c:v>
                </c:pt>
                <c:pt idx="255">
                  <c:v>Soignon</c:v>
                </c:pt>
                <c:pt idx="256">
                  <c:v>Kiri</c:v>
                </c:pt>
                <c:pt idx="257">
                  <c:v>All Others</c:v>
                </c:pt>
                <c:pt idx="258">
                  <c:v>Soignon</c:v>
                </c:pt>
                <c:pt idx="259">
                  <c:v>Galbani</c:v>
                </c:pt>
                <c:pt idx="260">
                  <c:v>All Others</c:v>
                </c:pt>
                <c:pt idx="261">
                  <c:v>Private Lab</c:v>
                </c:pt>
                <c:pt idx="262">
                  <c:v>Carre Frais</c:v>
                </c:pt>
                <c:pt idx="263">
                  <c:v>Les Mousque</c:v>
                </c:pt>
                <c:pt idx="264">
                  <c:v>Salakis</c:v>
                </c:pt>
                <c:pt idx="265">
                  <c:v>Triballat N</c:v>
                </c:pt>
                <c:pt idx="266">
                  <c:v>Le Brebiou</c:v>
                </c:pt>
                <c:pt idx="267">
                  <c:v>Boursin</c:v>
                </c:pt>
                <c:pt idx="268">
                  <c:v>All Others</c:v>
                </c:pt>
                <c:pt idx="269">
                  <c:v>All Others</c:v>
                </c:pt>
                <c:pt idx="270">
                  <c:v>Galbani</c:v>
                </c:pt>
                <c:pt idx="271">
                  <c:v>Milleret: A</c:v>
                </c:pt>
                <c:pt idx="272">
                  <c:v>All Others</c:v>
                </c:pt>
                <c:pt idx="273">
                  <c:v>Triballat N</c:v>
                </c:pt>
                <c:pt idx="274">
                  <c:v>Paysan Bret</c:v>
                </c:pt>
                <c:pt idx="275">
                  <c:v>All Others</c:v>
                </c:pt>
                <c:pt idx="276">
                  <c:v>Etorki</c:v>
                </c:pt>
                <c:pt idx="277">
                  <c:v>Saint Agur</c:v>
                </c:pt>
                <c:pt idx="278">
                  <c:v>Private Lab</c:v>
                </c:pt>
                <c:pt idx="279">
                  <c:v>Islos</c:v>
                </c:pt>
                <c:pt idx="280">
                  <c:v>All Others</c:v>
                </c:pt>
                <c:pt idx="281">
                  <c:v>All Others</c:v>
                </c:pt>
                <c:pt idx="282">
                  <c:v>Boursin</c:v>
                </c:pt>
                <c:pt idx="283">
                  <c:v>Galbani</c:v>
                </c:pt>
                <c:pt idx="284">
                  <c:v>Lactalis: A</c:v>
                </c:pt>
                <c:pt idx="285">
                  <c:v>All Others</c:v>
                </c:pt>
                <c:pt idx="286">
                  <c:v>Tartare</c:v>
                </c:pt>
                <c:pt idx="287">
                  <c:v>All Others</c:v>
                </c:pt>
                <c:pt idx="288">
                  <c:v>Triballat N</c:v>
                </c:pt>
                <c:pt idx="289">
                  <c:v>Boursin</c:v>
                </c:pt>
                <c:pt idx="290">
                  <c:v>Mini Babybe</c:v>
                </c:pt>
                <c:pt idx="291">
                  <c:v>All Others</c:v>
                </c:pt>
                <c:pt idx="292">
                  <c:v>All Others</c:v>
                </c:pt>
                <c:pt idx="293">
                  <c:v>All Others</c:v>
                </c:pt>
                <c:pt idx="294">
                  <c:v>Chavroux</c:v>
                </c:pt>
                <c:pt idx="295">
                  <c:v>All Others</c:v>
                </c:pt>
                <c:pt idx="296">
                  <c:v>Lactalis: A</c:v>
                </c:pt>
                <c:pt idx="297">
                  <c:v>All Others</c:v>
                </c:pt>
                <c:pt idx="298">
                  <c:v>All Others</c:v>
                </c:pt>
                <c:pt idx="299">
                  <c:v>Chavroux</c:v>
                </c:pt>
                <c:pt idx="300">
                  <c:v>All Others</c:v>
                </c:pt>
                <c:pt idx="301">
                  <c:v>Boursin</c:v>
                </c:pt>
                <c:pt idx="302">
                  <c:v>All Others</c:v>
                </c:pt>
                <c:pt idx="303">
                  <c:v>All Others</c:v>
                </c:pt>
                <c:pt idx="304">
                  <c:v>All Others</c:v>
                </c:pt>
                <c:pt idx="305">
                  <c:v>Triballat N</c:v>
                </c:pt>
                <c:pt idx="306">
                  <c:v>All Others</c:v>
                </c:pt>
                <c:pt idx="307">
                  <c:v>All Others</c:v>
                </c:pt>
                <c:pt idx="308">
                  <c:v>Istara</c:v>
                </c:pt>
                <c:pt idx="309">
                  <c:v>All Others</c:v>
                </c:pt>
                <c:pt idx="310">
                  <c:v>All Others</c:v>
                </c:pt>
                <c:pt idx="311">
                  <c:v>Chavroux</c:v>
                </c:pt>
                <c:pt idx="312">
                  <c:v>All Others</c:v>
                </c:pt>
                <c:pt idx="313">
                  <c:v>All Others</c:v>
                </c:pt>
                <c:pt idx="314">
                  <c:v>All Others</c:v>
                </c:pt>
                <c:pt idx="315">
                  <c:v>All Others</c:v>
                </c:pt>
                <c:pt idx="316">
                  <c:v>Savencia: A</c:v>
                </c:pt>
                <c:pt idx="317">
                  <c:v>All Others</c:v>
                </c:pt>
                <c:pt idx="318">
                  <c:v>All Others</c:v>
                </c:pt>
                <c:pt idx="319">
                  <c:v>Les Mousque</c:v>
                </c:pt>
                <c:pt idx="320">
                  <c:v>Petit Billy</c:v>
                </c:pt>
                <c:pt idx="321">
                  <c:v>All Others</c:v>
                </c:pt>
                <c:pt idx="322">
                  <c:v>All Others</c:v>
                </c:pt>
                <c:pt idx="323">
                  <c:v>All Others</c:v>
                </c:pt>
                <c:pt idx="324">
                  <c:v>Savencia: A</c:v>
                </c:pt>
                <c:pt idx="325">
                  <c:v>All Others</c:v>
                </c:pt>
                <c:pt idx="326">
                  <c:v>All Others</c:v>
                </c:pt>
                <c:pt idx="327">
                  <c:v>All Others</c:v>
                </c:pt>
                <c:pt idx="328">
                  <c:v>Private Lab</c:v>
                </c:pt>
                <c:pt idx="329">
                  <c:v>All Others</c:v>
                </c:pt>
                <c:pt idx="330">
                  <c:v>All Others</c:v>
                </c:pt>
                <c:pt idx="331">
                  <c:v>Soignon</c:v>
                </c:pt>
                <c:pt idx="332">
                  <c:v>All Others</c:v>
                </c:pt>
                <c:pt idx="333">
                  <c:v>Boursin</c:v>
                </c:pt>
                <c:pt idx="334">
                  <c:v>Boursin</c:v>
                </c:pt>
                <c:pt idx="335">
                  <c:v>All Others</c:v>
                </c:pt>
                <c:pt idx="336">
                  <c:v>All Others</c:v>
                </c:pt>
                <c:pt idx="337">
                  <c:v>President</c:v>
                </c:pt>
                <c:pt idx="338">
                  <c:v>All Others</c:v>
                </c:pt>
                <c:pt idx="339">
                  <c:v>Salakis</c:v>
                </c:pt>
                <c:pt idx="340">
                  <c:v>All Others</c:v>
                </c:pt>
                <c:pt idx="341">
                  <c:v>All Others</c:v>
                </c:pt>
                <c:pt idx="342">
                  <c:v>All Others</c:v>
                </c:pt>
                <c:pt idx="343">
                  <c:v>Entremont</c:v>
                </c:pt>
                <c:pt idx="344">
                  <c:v>All Others</c:v>
                </c:pt>
                <c:pt idx="345">
                  <c:v>All Others</c:v>
                </c:pt>
                <c:pt idx="346">
                  <c:v>Salakis</c:v>
                </c:pt>
                <c:pt idx="347">
                  <c:v>All Others</c:v>
                </c:pt>
                <c:pt idx="348">
                  <c:v>All Others</c:v>
                </c:pt>
                <c:pt idx="349">
                  <c:v>All Others</c:v>
                </c:pt>
                <c:pt idx="350">
                  <c:v>All Others</c:v>
                </c:pt>
                <c:pt idx="351">
                  <c:v>La Vache Qu</c:v>
                </c:pt>
                <c:pt idx="352">
                  <c:v>Chavroux</c:v>
                </c:pt>
                <c:pt idx="353">
                  <c:v>All Others</c:v>
                </c:pt>
                <c:pt idx="354">
                  <c:v>Mini Babybe</c:v>
                </c:pt>
                <c:pt idx="355">
                  <c:v>Entremont</c:v>
                </c:pt>
                <c:pt idx="356">
                  <c:v>All Others</c:v>
                </c:pt>
                <c:pt idx="357">
                  <c:v>All Others</c:v>
                </c:pt>
                <c:pt idx="358">
                  <c:v>All Others</c:v>
                </c:pt>
                <c:pt idx="359">
                  <c:v>All Others</c:v>
                </c:pt>
                <c:pt idx="360">
                  <c:v>Chavroux</c:v>
                </c:pt>
                <c:pt idx="361">
                  <c:v>All Others</c:v>
                </c:pt>
                <c:pt idx="362">
                  <c:v>All Others</c:v>
                </c:pt>
                <c:pt idx="363">
                  <c:v>All Others</c:v>
                </c:pt>
                <c:pt idx="364">
                  <c:v>Corsica</c:v>
                </c:pt>
                <c:pt idx="365">
                  <c:v>All Others</c:v>
                </c:pt>
                <c:pt idx="366">
                  <c:v>All Others</c:v>
                </c:pt>
                <c:pt idx="367">
                  <c:v>All Others</c:v>
                </c:pt>
                <c:pt idx="368">
                  <c:v>All Others</c:v>
                </c:pt>
                <c:pt idx="369">
                  <c:v>Mini Babybe</c:v>
                </c:pt>
                <c:pt idx="370">
                  <c:v>All Others</c:v>
                </c:pt>
                <c:pt idx="371">
                  <c:v>All Others</c:v>
                </c:pt>
                <c:pt idx="372">
                  <c:v>All Others</c:v>
                </c:pt>
                <c:pt idx="373">
                  <c:v>Casa Azzurr</c:v>
                </c:pt>
                <c:pt idx="374">
                  <c:v>All Others</c:v>
                </c:pt>
                <c:pt idx="375">
                  <c:v>All Others</c:v>
                </c:pt>
                <c:pt idx="376">
                  <c:v>All Others</c:v>
                </c:pt>
                <c:pt idx="377">
                  <c:v>All Others</c:v>
                </c:pt>
                <c:pt idx="378">
                  <c:v>All Others</c:v>
                </c:pt>
                <c:pt idx="379">
                  <c:v>All Others</c:v>
                </c:pt>
                <c:pt idx="380">
                  <c:v>Etoile Du V</c:v>
                </c:pt>
                <c:pt idx="381">
                  <c:v>All Others</c:v>
                </c:pt>
                <c:pt idx="382">
                  <c:v>All Others</c:v>
                </c:pt>
                <c:pt idx="383">
                  <c:v>Kiri</c:v>
                </c:pt>
                <c:pt idx="384">
                  <c:v>All Others</c:v>
                </c:pt>
                <c:pt idx="385">
                  <c:v>All Others</c:v>
                </c:pt>
                <c:pt idx="386">
                  <c:v>Lactalis: A</c:v>
                </c:pt>
                <c:pt idx="387">
                  <c:v>All Others</c:v>
                </c:pt>
                <c:pt idx="388">
                  <c:v>All Others</c:v>
                </c:pt>
                <c:pt idx="389">
                  <c:v>All Others</c:v>
                </c:pt>
                <c:pt idx="390">
                  <c:v>All Others</c:v>
                </c:pt>
                <c:pt idx="391">
                  <c:v>Private Lab</c:v>
                </c:pt>
                <c:pt idx="392">
                  <c:v>Lactalis: A</c:v>
                </c:pt>
                <c:pt idx="393">
                  <c:v>All Others</c:v>
                </c:pt>
                <c:pt idx="394">
                  <c:v>All Others</c:v>
                </c:pt>
                <c:pt idx="395">
                  <c:v>All Others</c:v>
                </c:pt>
                <c:pt idx="396">
                  <c:v>All Others</c:v>
                </c:pt>
                <c:pt idx="397">
                  <c:v>All Others</c:v>
                </c:pt>
                <c:pt idx="398">
                  <c:v>All Others</c:v>
                </c:pt>
                <c:pt idx="399">
                  <c:v>All Others</c:v>
                </c:pt>
                <c:pt idx="400">
                  <c:v>All Others</c:v>
                </c:pt>
                <c:pt idx="401">
                  <c:v>Entremont</c:v>
                </c:pt>
                <c:pt idx="402">
                  <c:v>All Others</c:v>
                </c:pt>
                <c:pt idx="403">
                  <c:v>All Others</c:v>
                </c:pt>
                <c:pt idx="404">
                  <c:v>All Others</c:v>
                </c:pt>
                <c:pt idx="405">
                  <c:v>All Others</c:v>
                </c:pt>
                <c:pt idx="406">
                  <c:v>All Others</c:v>
                </c:pt>
                <c:pt idx="407">
                  <c:v>All Others</c:v>
                </c:pt>
                <c:pt idx="408">
                  <c:v>All Others</c:v>
                </c:pt>
                <c:pt idx="409">
                  <c:v>All Others</c:v>
                </c:pt>
                <c:pt idx="410">
                  <c:v>All Others</c:v>
                </c:pt>
                <c:pt idx="411">
                  <c:v>All Others</c:v>
                </c:pt>
                <c:pt idx="412">
                  <c:v>All Others</c:v>
                </c:pt>
                <c:pt idx="413">
                  <c:v>All Others</c:v>
                </c:pt>
                <c:pt idx="414">
                  <c:v>All Others</c:v>
                </c:pt>
                <c:pt idx="415">
                  <c:v>All Others</c:v>
                </c:pt>
                <c:pt idx="416">
                  <c:v>All Others</c:v>
                </c:pt>
                <c:pt idx="417">
                  <c:v>All Others</c:v>
                </c:pt>
                <c:pt idx="418">
                  <c:v>All Others</c:v>
                </c:pt>
                <c:pt idx="419">
                  <c:v>All Others</c:v>
                </c:pt>
                <c:pt idx="420">
                  <c:v>All Others</c:v>
                </c:pt>
                <c:pt idx="421">
                  <c:v>All Others</c:v>
                </c:pt>
                <c:pt idx="422">
                  <c:v>All Others</c:v>
                </c:pt>
                <c:pt idx="423">
                  <c:v>All Others</c:v>
                </c:pt>
                <c:pt idx="424">
                  <c:v>All Others</c:v>
                </c:pt>
                <c:pt idx="425">
                  <c:v>All Others</c:v>
                </c:pt>
                <c:pt idx="426">
                  <c:v>All Others</c:v>
                </c:pt>
                <c:pt idx="427">
                  <c:v>All Others</c:v>
                </c:pt>
                <c:pt idx="428">
                  <c:v>All Others</c:v>
                </c:pt>
                <c:pt idx="429">
                  <c:v>All Others</c:v>
                </c:pt>
                <c:pt idx="430">
                  <c:v>All Others</c:v>
                </c:pt>
                <c:pt idx="431">
                  <c:v>All Others</c:v>
                </c:pt>
                <c:pt idx="432">
                  <c:v>All Others</c:v>
                </c:pt>
                <c:pt idx="433">
                  <c:v>Savencia: A</c:v>
                </c:pt>
                <c:pt idx="434">
                  <c:v>All Others</c:v>
                </c:pt>
                <c:pt idx="435">
                  <c:v>All Others</c:v>
                </c:pt>
                <c:pt idx="436">
                  <c:v>All Others</c:v>
                </c:pt>
                <c:pt idx="437">
                  <c:v>All Others</c:v>
                </c:pt>
                <c:pt idx="438">
                  <c:v>All Others</c:v>
                </c:pt>
                <c:pt idx="439">
                  <c:v>All Others</c:v>
                </c:pt>
                <c:pt idx="440">
                  <c:v>All Others</c:v>
                </c:pt>
                <c:pt idx="441">
                  <c:v>All Others</c:v>
                </c:pt>
                <c:pt idx="442">
                  <c:v>Paysan Bret</c:v>
                </c:pt>
                <c:pt idx="443">
                  <c:v>All Others</c:v>
                </c:pt>
                <c:pt idx="444">
                  <c:v>All Others</c:v>
                </c:pt>
                <c:pt idx="445">
                  <c:v>All Others</c:v>
                </c:pt>
                <c:pt idx="446">
                  <c:v>All Others</c:v>
                </c:pt>
                <c:pt idx="447">
                  <c:v>All Others</c:v>
                </c:pt>
                <c:pt idx="448">
                  <c:v>All Others</c:v>
                </c:pt>
                <c:pt idx="449">
                  <c:v>All Others</c:v>
                </c:pt>
                <c:pt idx="450">
                  <c:v>All Others</c:v>
                </c:pt>
                <c:pt idx="451">
                  <c:v>All Others</c:v>
                </c:pt>
                <c:pt idx="452">
                  <c:v>All Others</c:v>
                </c:pt>
                <c:pt idx="453">
                  <c:v>All Others</c:v>
                </c:pt>
                <c:pt idx="454">
                  <c:v>All Others</c:v>
                </c:pt>
                <c:pt idx="455">
                  <c:v>All Others</c:v>
                </c:pt>
                <c:pt idx="456">
                  <c:v>All Others</c:v>
                </c:pt>
                <c:pt idx="457">
                  <c:v>All Others</c:v>
                </c:pt>
                <c:pt idx="458">
                  <c:v>La Table M</c:v>
                </c:pt>
                <c:pt idx="459">
                  <c:v>All Others</c:v>
                </c:pt>
                <c:pt idx="460">
                  <c:v>All Others</c:v>
                </c:pt>
                <c:pt idx="461">
                  <c:v>All Others</c:v>
                </c:pt>
                <c:pt idx="462">
                  <c:v>All Others</c:v>
                </c:pt>
                <c:pt idx="463">
                  <c:v>Savencia: A</c:v>
                </c:pt>
                <c:pt idx="464">
                  <c:v>All Others</c:v>
                </c:pt>
                <c:pt idx="465">
                  <c:v>All Others</c:v>
                </c:pt>
                <c:pt idx="466">
                  <c:v>All Others</c:v>
                </c:pt>
                <c:pt idx="467">
                  <c:v>All Others</c:v>
                </c:pt>
                <c:pt idx="468">
                  <c:v>All Others</c:v>
                </c:pt>
                <c:pt idx="469">
                  <c:v>All Others</c:v>
                </c:pt>
                <c:pt idx="470">
                  <c:v>All Others</c:v>
                </c:pt>
                <c:pt idx="471">
                  <c:v>All Others</c:v>
                </c:pt>
                <c:pt idx="472">
                  <c:v>All Others</c:v>
                </c:pt>
                <c:pt idx="473">
                  <c:v>All Others</c:v>
                </c:pt>
                <c:pt idx="474">
                  <c:v>All Others</c:v>
                </c:pt>
                <c:pt idx="475">
                  <c:v>All Others</c:v>
                </c:pt>
                <c:pt idx="476">
                  <c:v>All Others</c:v>
                </c:pt>
                <c:pt idx="477">
                  <c:v>All Others</c:v>
                </c:pt>
                <c:pt idx="478">
                  <c:v>All Others</c:v>
                </c:pt>
                <c:pt idx="479">
                  <c:v>All Others</c:v>
                </c:pt>
                <c:pt idx="480">
                  <c:v>All Others</c:v>
                </c:pt>
                <c:pt idx="481">
                  <c:v>All Others</c:v>
                </c:pt>
                <c:pt idx="482">
                  <c:v>All Others</c:v>
                </c:pt>
                <c:pt idx="483">
                  <c:v>All Others</c:v>
                </c:pt>
                <c:pt idx="484">
                  <c:v>All Others</c:v>
                </c:pt>
                <c:pt idx="485">
                  <c:v>All Others</c:v>
                </c:pt>
                <c:pt idx="486">
                  <c:v>All Others</c:v>
                </c:pt>
                <c:pt idx="487">
                  <c:v>All Others</c:v>
                </c:pt>
                <c:pt idx="488">
                  <c:v>Lactalis: A</c:v>
                </c:pt>
                <c:pt idx="489">
                  <c:v>All Others</c:v>
                </c:pt>
                <c:pt idx="490">
                  <c:v>All Others</c:v>
                </c:pt>
                <c:pt idx="491">
                  <c:v>All Others</c:v>
                </c:pt>
                <c:pt idx="492">
                  <c:v>Lactalis: A</c:v>
                </c:pt>
                <c:pt idx="493">
                  <c:v>All Others</c:v>
                </c:pt>
                <c:pt idx="494">
                  <c:v>All Others</c:v>
                </c:pt>
                <c:pt idx="495">
                  <c:v>All Others</c:v>
                </c:pt>
                <c:pt idx="496">
                  <c:v>All Others</c:v>
                </c:pt>
                <c:pt idx="497">
                  <c:v>All Others</c:v>
                </c:pt>
                <c:pt idx="498">
                  <c:v>All Others</c:v>
                </c:pt>
                <c:pt idx="499">
                  <c:v>All Others</c:v>
                </c:pt>
                <c:pt idx="500">
                  <c:v>All Others</c:v>
                </c:pt>
                <c:pt idx="501">
                  <c:v>All Others</c:v>
                </c:pt>
                <c:pt idx="502">
                  <c:v>All Others</c:v>
                </c:pt>
                <c:pt idx="503">
                  <c:v>All Others</c:v>
                </c:pt>
                <c:pt idx="504">
                  <c:v>Other Suppl</c:v>
                </c:pt>
                <c:pt idx="505">
                  <c:v>All Others</c:v>
                </c:pt>
                <c:pt idx="506">
                  <c:v>All Others</c:v>
                </c:pt>
                <c:pt idx="507">
                  <c:v>All Others</c:v>
                </c:pt>
                <c:pt idx="508">
                  <c:v>All Others</c:v>
                </c:pt>
                <c:pt idx="509">
                  <c:v>All Others</c:v>
                </c:pt>
                <c:pt idx="510">
                  <c:v>All Others</c:v>
                </c:pt>
                <c:pt idx="511">
                  <c:v>All Others</c:v>
                </c:pt>
                <c:pt idx="512">
                  <c:v>All Others</c:v>
                </c:pt>
                <c:pt idx="513">
                  <c:v>All Others</c:v>
                </c:pt>
                <c:pt idx="514">
                  <c:v>All Others</c:v>
                </c:pt>
                <c:pt idx="515">
                  <c:v>All Others</c:v>
                </c:pt>
                <c:pt idx="516">
                  <c:v>All Others</c:v>
                </c:pt>
                <c:pt idx="517">
                  <c:v>Etoile Du V</c:v>
                </c:pt>
                <c:pt idx="518">
                  <c:v>All Others</c:v>
                </c:pt>
                <c:pt idx="519">
                  <c:v>All Others</c:v>
                </c:pt>
                <c:pt idx="520">
                  <c:v>All Others</c:v>
                </c:pt>
                <c:pt idx="521">
                  <c:v>All Others</c:v>
                </c:pt>
                <c:pt idx="522">
                  <c:v>All Others</c:v>
                </c:pt>
                <c:pt idx="523">
                  <c:v>All Others</c:v>
                </c:pt>
                <c:pt idx="524">
                  <c:v>All Others</c:v>
                </c:pt>
                <c:pt idx="525">
                  <c:v>All Others</c:v>
                </c:pt>
                <c:pt idx="526">
                  <c:v>All Others</c:v>
                </c:pt>
                <c:pt idx="527">
                  <c:v>All Others</c:v>
                </c:pt>
                <c:pt idx="528">
                  <c:v>All Others</c:v>
                </c:pt>
                <c:pt idx="529">
                  <c:v>All Others</c:v>
                </c:pt>
                <c:pt idx="530">
                  <c:v>All Others</c:v>
                </c:pt>
                <c:pt idx="531">
                  <c:v>All Others</c:v>
                </c:pt>
                <c:pt idx="532">
                  <c:v>Other Suppl</c:v>
                </c:pt>
                <c:pt idx="533">
                  <c:v>All Others</c:v>
                </c:pt>
                <c:pt idx="534">
                  <c:v>All Others</c:v>
                </c:pt>
                <c:pt idx="535">
                  <c:v>All Others</c:v>
                </c:pt>
                <c:pt idx="536">
                  <c:v>All Others</c:v>
                </c:pt>
                <c:pt idx="537">
                  <c:v>All Others</c:v>
                </c:pt>
                <c:pt idx="538">
                  <c:v>Etoile Du V</c:v>
                </c:pt>
                <c:pt idx="539">
                  <c:v>All Others</c:v>
                </c:pt>
                <c:pt idx="540">
                  <c:v>All Others</c:v>
                </c:pt>
                <c:pt idx="541">
                  <c:v>All Others</c:v>
                </c:pt>
                <c:pt idx="542">
                  <c:v>All Others</c:v>
                </c:pt>
                <c:pt idx="543">
                  <c:v>All Others</c:v>
                </c:pt>
                <c:pt idx="544">
                  <c:v>All Others</c:v>
                </c:pt>
                <c:pt idx="545">
                  <c:v>All Others</c:v>
                </c:pt>
                <c:pt idx="546">
                  <c:v>All Others</c:v>
                </c:pt>
                <c:pt idx="547">
                  <c:v>All Others</c:v>
                </c:pt>
                <c:pt idx="548">
                  <c:v>All Others</c:v>
                </c:pt>
                <c:pt idx="549">
                  <c:v>All Others</c:v>
                </c:pt>
                <c:pt idx="550">
                  <c:v>All Others</c:v>
                </c:pt>
                <c:pt idx="551">
                  <c:v>All Others</c:v>
                </c:pt>
                <c:pt idx="552">
                  <c:v>La Vache Qu</c:v>
                </c:pt>
                <c:pt idx="553">
                  <c:v>All Others</c:v>
                </c:pt>
                <c:pt idx="554">
                  <c:v>All Others</c:v>
                </c:pt>
                <c:pt idx="555">
                  <c:v>All Others</c:v>
                </c:pt>
                <c:pt idx="556">
                  <c:v>Private Lab</c:v>
                </c:pt>
                <c:pt idx="557">
                  <c:v>All Others</c:v>
                </c:pt>
                <c:pt idx="558">
                  <c:v>All Others</c:v>
                </c:pt>
                <c:pt idx="559">
                  <c:v>All Others</c:v>
                </c:pt>
                <c:pt idx="560">
                  <c:v>All Others</c:v>
                </c:pt>
                <c:pt idx="561">
                  <c:v>All Others</c:v>
                </c:pt>
                <c:pt idx="562">
                  <c:v>All Others</c:v>
                </c:pt>
                <c:pt idx="563">
                  <c:v>All Others</c:v>
                </c:pt>
                <c:pt idx="564">
                  <c:v>All Others</c:v>
                </c:pt>
                <c:pt idx="565">
                  <c:v>All Others</c:v>
                </c:pt>
                <c:pt idx="566">
                  <c:v>All Others</c:v>
                </c:pt>
                <c:pt idx="567">
                  <c:v>All Others</c:v>
                </c:pt>
                <c:pt idx="568">
                  <c:v>All Others</c:v>
                </c:pt>
                <c:pt idx="569">
                  <c:v>Private Lab</c:v>
                </c:pt>
                <c:pt idx="570">
                  <c:v>All Others</c:v>
                </c:pt>
                <c:pt idx="571">
                  <c:v>All Others</c:v>
                </c:pt>
                <c:pt idx="572">
                  <c:v>All Others</c:v>
                </c:pt>
                <c:pt idx="573">
                  <c:v>Private Lab</c:v>
                </c:pt>
                <c:pt idx="574">
                  <c:v>Lactalis: A</c:v>
                </c:pt>
                <c:pt idx="575">
                  <c:v>All Others</c:v>
                </c:pt>
                <c:pt idx="576">
                  <c:v>All Others</c:v>
                </c:pt>
                <c:pt idx="577">
                  <c:v>Lactalis: A</c:v>
                </c:pt>
                <c:pt idx="578">
                  <c:v>All Others</c:v>
                </c:pt>
                <c:pt idx="579">
                  <c:v>All Others</c:v>
                </c:pt>
                <c:pt idx="580">
                  <c:v>All Others</c:v>
                </c:pt>
                <c:pt idx="581">
                  <c:v>All Others</c:v>
                </c:pt>
                <c:pt idx="582">
                  <c:v>Gillot</c:v>
                </c:pt>
                <c:pt idx="583">
                  <c:v>All Others</c:v>
                </c:pt>
                <c:pt idx="584">
                  <c:v>Private Lab</c:v>
                </c:pt>
                <c:pt idx="585">
                  <c:v>All Others</c:v>
                </c:pt>
                <c:pt idx="586">
                  <c:v>All Others</c:v>
                </c:pt>
                <c:pt idx="587">
                  <c:v>All Others</c:v>
                </c:pt>
                <c:pt idx="588">
                  <c:v>All Others</c:v>
                </c:pt>
                <c:pt idx="589">
                  <c:v>President</c:v>
                </c:pt>
                <c:pt idx="590">
                  <c:v>Private Lab</c:v>
                </c:pt>
                <c:pt idx="591">
                  <c:v>All Others</c:v>
                </c:pt>
                <c:pt idx="592">
                  <c:v>All Others</c:v>
                </c:pt>
              </c:strCache>
            </c:strRef>
          </c:cat>
          <c:val>
            <c:numRef>
              <c:f>Sheet1!$C$2:$C$594</c:f>
              <c:numCache>
                <c:formatCode>General</c:formatCode>
                <c:ptCount val="593"/>
                <c:pt idx="0">
                  <c:v>2.6521668813341288E-2</c:v>
                </c:pt>
                <c:pt idx="1">
                  <c:v>4.6622675906085778E-2</c:v>
                </c:pt>
                <c:pt idx="2">
                  <c:v>6.5334646864132942E-2</c:v>
                </c:pt>
                <c:pt idx="3">
                  <c:v>8.3940350240118311E-2</c:v>
                </c:pt>
                <c:pt idx="4">
                  <c:v>0.10194638104740295</c:v>
                </c:pt>
                <c:pt idx="5">
                  <c:v>0.11957065575499827</c:v>
                </c:pt>
                <c:pt idx="6">
                  <c:v>0.13708946743837042</c:v>
                </c:pt>
                <c:pt idx="7">
                  <c:v>0.15386066023704489</c:v>
                </c:pt>
                <c:pt idx="8">
                  <c:v>0.16901525892741995</c:v>
                </c:pt>
                <c:pt idx="9">
                  <c:v>0.18393941114965751</c:v>
                </c:pt>
                <c:pt idx="10">
                  <c:v>0.19861372837879407</c:v>
                </c:pt>
                <c:pt idx="11">
                  <c:v>0.21238591204979945</c:v>
                </c:pt>
                <c:pt idx="12">
                  <c:v>0.2255577241100476</c:v>
                </c:pt>
                <c:pt idx="13">
                  <c:v>0.23817989127178993</c:v>
                </c:pt>
                <c:pt idx="14">
                  <c:v>0.24950342294516129</c:v>
                </c:pt>
                <c:pt idx="15">
                  <c:v>0.26070906711096553</c:v>
                </c:pt>
                <c:pt idx="16">
                  <c:v>0.27182445571464381</c:v>
                </c:pt>
                <c:pt idx="17">
                  <c:v>0.28258176332224466</c:v>
                </c:pt>
                <c:pt idx="18">
                  <c:v>0.29303573943521261</c:v>
                </c:pt>
                <c:pt idx="19">
                  <c:v>0.30347967835940692</c:v>
                </c:pt>
                <c:pt idx="20">
                  <c:v>0.31369629672050892</c:v>
                </c:pt>
                <c:pt idx="21">
                  <c:v>0.32385584423295982</c:v>
                </c:pt>
                <c:pt idx="22">
                  <c:v>0.33337115194823952</c:v>
                </c:pt>
                <c:pt idx="23">
                  <c:v>0.34258240274788426</c:v>
                </c:pt>
                <c:pt idx="24">
                  <c:v>0.35176319905491632</c:v>
                </c:pt>
                <c:pt idx="25">
                  <c:v>0.36090587778565958</c:v>
                </c:pt>
                <c:pt idx="26">
                  <c:v>0.36999265953082783</c:v>
                </c:pt>
                <c:pt idx="27">
                  <c:v>0.37864811913765861</c:v>
                </c:pt>
                <c:pt idx="28">
                  <c:v>0.38720114929900201</c:v>
                </c:pt>
                <c:pt idx="29">
                  <c:v>0.39552489366581117</c:v>
                </c:pt>
                <c:pt idx="30">
                  <c:v>0.40380403123573155</c:v>
                </c:pt>
                <c:pt idx="31">
                  <c:v>0.41200029934827392</c:v>
                </c:pt>
                <c:pt idx="32">
                  <c:v>0.41987916279874393</c:v>
                </c:pt>
                <c:pt idx="33">
                  <c:v>0.42767456326556158</c:v>
                </c:pt>
                <c:pt idx="34">
                  <c:v>0.43543104159825186</c:v>
                </c:pt>
                <c:pt idx="35">
                  <c:v>0.44313625245030736</c:v>
                </c:pt>
                <c:pt idx="36">
                  <c:v>0.45037390968234192</c:v>
                </c:pt>
                <c:pt idx="37">
                  <c:v>0.45760152972560286</c:v>
                </c:pt>
                <c:pt idx="38">
                  <c:v>0.46480468329688607</c:v>
                </c:pt>
                <c:pt idx="39">
                  <c:v>0.47181531013422906</c:v>
                </c:pt>
                <c:pt idx="40">
                  <c:v>0.47862090661745132</c:v>
                </c:pt>
                <c:pt idx="41">
                  <c:v>0.48531047530876625</c:v>
                </c:pt>
                <c:pt idx="42">
                  <c:v>0.49198070823300877</c:v>
                </c:pt>
                <c:pt idx="43">
                  <c:v>0.49845692401288871</c:v>
                </c:pt>
                <c:pt idx="44">
                  <c:v>0.50485753773488384</c:v>
                </c:pt>
                <c:pt idx="45">
                  <c:v>0.51099558862256045</c:v>
                </c:pt>
                <c:pt idx="46">
                  <c:v>0.5170894152080584</c:v>
                </c:pt>
                <c:pt idx="47">
                  <c:v>0.52312754265007277</c:v>
                </c:pt>
                <c:pt idx="48">
                  <c:v>0.52908690256073887</c:v>
                </c:pt>
                <c:pt idx="49">
                  <c:v>0.53501670486294028</c:v>
                </c:pt>
                <c:pt idx="50">
                  <c:v>0.54093574455536597</c:v>
                </c:pt>
                <c:pt idx="51">
                  <c:v>0.54656869139406172</c:v>
                </c:pt>
                <c:pt idx="52">
                  <c:v>0.55197495076435776</c:v>
                </c:pt>
                <c:pt idx="53">
                  <c:v>0.55725266553309316</c:v>
                </c:pt>
                <c:pt idx="54">
                  <c:v>0.56243549523476233</c:v>
                </c:pt>
                <c:pt idx="55">
                  <c:v>0.56759102272780948</c:v>
                </c:pt>
                <c:pt idx="56">
                  <c:v>0.57274177563171591</c:v>
                </c:pt>
                <c:pt idx="57">
                  <c:v>0.5776528758154954</c:v>
                </c:pt>
                <c:pt idx="58">
                  <c:v>0.58253154308574751</c:v>
                </c:pt>
                <c:pt idx="59">
                  <c:v>0.58730445716337565</c:v>
                </c:pt>
                <c:pt idx="60">
                  <c:v>0.59201018406674255</c:v>
                </c:pt>
                <c:pt idx="61">
                  <c:v>0.5966437117961978</c:v>
                </c:pt>
                <c:pt idx="62">
                  <c:v>0.60123107637097806</c:v>
                </c:pt>
                <c:pt idx="63">
                  <c:v>0.60576226698125524</c:v>
                </c:pt>
                <c:pt idx="64">
                  <c:v>0.61028865662344622</c:v>
                </c:pt>
                <c:pt idx="65">
                  <c:v>0.6147195940512421</c:v>
                </c:pt>
                <c:pt idx="66">
                  <c:v>0.6191334247328627</c:v>
                </c:pt>
                <c:pt idx="67">
                  <c:v>0.6234761905352294</c:v>
                </c:pt>
                <c:pt idx="68">
                  <c:v>0.62781208462228588</c:v>
                </c:pt>
                <c:pt idx="69">
                  <c:v>0.63201799645525036</c:v>
                </c:pt>
                <c:pt idx="70">
                  <c:v>0.6361491107881686</c:v>
                </c:pt>
                <c:pt idx="71">
                  <c:v>0.64027542415300065</c:v>
                </c:pt>
                <c:pt idx="72">
                  <c:v>0.64432075415506007</c:v>
                </c:pt>
                <c:pt idx="73">
                  <c:v>0.64835500499999743</c:v>
                </c:pt>
                <c:pt idx="74">
                  <c:v>0.65231261181870159</c:v>
                </c:pt>
                <c:pt idx="75">
                  <c:v>0.65620341395785475</c:v>
                </c:pt>
                <c:pt idx="76">
                  <c:v>0.66004848819493411</c:v>
                </c:pt>
                <c:pt idx="77">
                  <c:v>0.66382080930024567</c:v>
                </c:pt>
                <c:pt idx="78">
                  <c:v>0.66755162313476801</c:v>
                </c:pt>
                <c:pt idx="79">
                  <c:v>0.67121324499516899</c:v>
                </c:pt>
                <c:pt idx="80">
                  <c:v>0.67487358747671189</c:v>
                </c:pt>
                <c:pt idx="81">
                  <c:v>0.67852048988550795</c:v>
                </c:pt>
                <c:pt idx="82">
                  <c:v>0.68216351458931135</c:v>
                </c:pt>
                <c:pt idx="83">
                  <c:v>0.68577054522194103</c:v>
                </c:pt>
                <c:pt idx="84">
                  <c:v>0.68934601344624569</c:v>
                </c:pt>
                <c:pt idx="85">
                  <c:v>0.69291143129230404</c:v>
                </c:pt>
                <c:pt idx="86">
                  <c:v>0.69646948941255993</c:v>
                </c:pt>
                <c:pt idx="87">
                  <c:v>0.69995698385352689</c:v>
                </c:pt>
                <c:pt idx="88">
                  <c:v>0.70337496977302616</c:v>
                </c:pt>
                <c:pt idx="89">
                  <c:v>0.70674683210626865</c:v>
                </c:pt>
                <c:pt idx="90">
                  <c:v>0.71011307572411364</c:v>
                </c:pt>
                <c:pt idx="91">
                  <c:v>0.71347542844749312</c:v>
                </c:pt>
                <c:pt idx="92">
                  <c:v>0.71681521398297288</c:v>
                </c:pt>
                <c:pt idx="93">
                  <c:v>0.720104285995674</c:v>
                </c:pt>
                <c:pt idx="94">
                  <c:v>0.72336121526324859</c:v>
                </c:pt>
                <c:pt idx="95">
                  <c:v>0.72659610492183413</c:v>
                </c:pt>
                <c:pt idx="96">
                  <c:v>0.72974470904959565</c:v>
                </c:pt>
                <c:pt idx="97">
                  <c:v>0.73284477591758468</c:v>
                </c:pt>
                <c:pt idx="98">
                  <c:v>0.73592152379772646</c:v>
                </c:pt>
                <c:pt idx="99">
                  <c:v>0.7389670390063624</c:v>
                </c:pt>
                <c:pt idx="100">
                  <c:v>0.74198340548018926</c:v>
                </c:pt>
                <c:pt idx="101">
                  <c:v>0.74495937259893918</c:v>
                </c:pt>
                <c:pt idx="102">
                  <c:v>0.74792189964494227</c:v>
                </c:pt>
                <c:pt idx="103">
                  <c:v>0.75084898657762777</c:v>
                </c:pt>
                <c:pt idx="104">
                  <c:v>0.75377172098430101</c:v>
                </c:pt>
                <c:pt idx="105">
                  <c:v>0.75669088104385518</c:v>
                </c:pt>
                <c:pt idx="106">
                  <c:v>0.75957639475838767</c:v>
                </c:pt>
                <c:pt idx="107">
                  <c:v>0.76239788677212239</c:v>
                </c:pt>
                <c:pt idx="108">
                  <c:v>0.76520596509205574</c:v>
                </c:pt>
                <c:pt idx="109">
                  <c:v>0.76793734662786484</c:v>
                </c:pt>
                <c:pt idx="110">
                  <c:v>0.77063990916568403</c:v>
                </c:pt>
                <c:pt idx="111">
                  <c:v>0.77330716348491324</c:v>
                </c:pt>
                <c:pt idx="112">
                  <c:v>0.77596461802587857</c:v>
                </c:pt>
                <c:pt idx="113">
                  <c:v>0.77860471522068608</c:v>
                </c:pt>
                <c:pt idx="114">
                  <c:v>0.78122253539599473</c:v>
                </c:pt>
                <c:pt idx="115">
                  <c:v>0.78381641667823621</c:v>
                </c:pt>
                <c:pt idx="116">
                  <c:v>0.78634892734370554</c:v>
                </c:pt>
                <c:pt idx="117">
                  <c:v>0.78884316215921291</c:v>
                </c:pt>
                <c:pt idx="118">
                  <c:v>0.79133384900654669</c:v>
                </c:pt>
                <c:pt idx="119">
                  <c:v>0.79382122529621668</c:v>
                </c:pt>
                <c:pt idx="120">
                  <c:v>0.79630523827033173</c:v>
                </c:pt>
                <c:pt idx="121">
                  <c:v>0.79875022359453729</c:v>
                </c:pt>
                <c:pt idx="122">
                  <c:v>0.80115846304762151</c:v>
                </c:pt>
                <c:pt idx="123">
                  <c:v>0.80355644109089519</c:v>
                </c:pt>
                <c:pt idx="124">
                  <c:v>0.80591785791566628</c:v>
                </c:pt>
                <c:pt idx="125">
                  <c:v>0.80820608635606839</c:v>
                </c:pt>
                <c:pt idx="126">
                  <c:v>0.81046950539820084</c:v>
                </c:pt>
                <c:pt idx="127">
                  <c:v>0.81269285482207543</c:v>
                </c:pt>
                <c:pt idx="128">
                  <c:v>0.81485733962900309</c:v>
                </c:pt>
                <c:pt idx="129">
                  <c:v>0.81700837117371117</c:v>
                </c:pt>
                <c:pt idx="130">
                  <c:v>0.8191414254670415</c:v>
                </c:pt>
                <c:pt idx="131">
                  <c:v>0.82125906126671044</c:v>
                </c:pt>
                <c:pt idx="132">
                  <c:v>0.82334231211088282</c:v>
                </c:pt>
                <c:pt idx="133">
                  <c:v>0.82542423081830607</c:v>
                </c:pt>
                <c:pt idx="134">
                  <c:v>0.82750087373662362</c:v>
                </c:pt>
                <c:pt idx="135">
                  <c:v>0.82955166528832314</c:v>
                </c:pt>
                <c:pt idx="136">
                  <c:v>0.83158465105179091</c:v>
                </c:pt>
                <c:pt idx="137">
                  <c:v>0.83360886581587046</c:v>
                </c:pt>
                <c:pt idx="138">
                  <c:v>0.83563083836958008</c:v>
                </c:pt>
                <c:pt idx="139">
                  <c:v>0.83758218129663697</c:v>
                </c:pt>
                <c:pt idx="140">
                  <c:v>0.8395254522663621</c:v>
                </c:pt>
                <c:pt idx="141">
                  <c:v>0.84145939827884286</c:v>
                </c:pt>
                <c:pt idx="142">
                  <c:v>0.84339112845989928</c:v>
                </c:pt>
                <c:pt idx="143">
                  <c:v>0.84529860320054218</c:v>
                </c:pt>
                <c:pt idx="144">
                  <c:v>0.84719770262597971</c:v>
                </c:pt>
                <c:pt idx="145">
                  <c:v>0.84908352025234368</c:v>
                </c:pt>
                <c:pt idx="146">
                  <c:v>0.85096881029979698</c:v>
                </c:pt>
                <c:pt idx="147">
                  <c:v>0.85283744204314904</c:v>
                </c:pt>
                <c:pt idx="148">
                  <c:v>0.85467947061993554</c:v>
                </c:pt>
                <c:pt idx="149">
                  <c:v>0.85651871621796882</c:v>
                </c:pt>
                <c:pt idx="150">
                  <c:v>0.85833315241773245</c:v>
                </c:pt>
                <c:pt idx="151">
                  <c:v>0.86013466293418706</c:v>
                </c:pt>
                <c:pt idx="152">
                  <c:v>0.86193513148229328</c:v>
                </c:pt>
                <c:pt idx="153">
                  <c:v>0.86373033743076655</c:v>
                </c:pt>
                <c:pt idx="154">
                  <c:v>0.86551114047498123</c:v>
                </c:pt>
                <c:pt idx="155">
                  <c:v>0.86728761737212923</c:v>
                </c:pt>
                <c:pt idx="156">
                  <c:v>0.86902722969290114</c:v>
                </c:pt>
                <c:pt idx="157">
                  <c:v>0.87073683596313434</c:v>
                </c:pt>
                <c:pt idx="158">
                  <c:v>0.87243946500227521</c:v>
                </c:pt>
                <c:pt idx="159">
                  <c:v>0.87412626667409887</c:v>
                </c:pt>
                <c:pt idx="160">
                  <c:v>0.87580908512514777</c:v>
                </c:pt>
                <c:pt idx="161">
                  <c:v>0.87746577523065061</c:v>
                </c:pt>
                <c:pt idx="162">
                  <c:v>0.87907565589731307</c:v>
                </c:pt>
                <c:pt idx="163">
                  <c:v>0.8806655413232648</c:v>
                </c:pt>
                <c:pt idx="164">
                  <c:v>0.88225375168617548</c:v>
                </c:pt>
                <c:pt idx="165">
                  <c:v>0.88384059034391871</c:v>
                </c:pt>
                <c:pt idx="166">
                  <c:v>0.88540408363486911</c:v>
                </c:pt>
                <c:pt idx="167">
                  <c:v>0.88693308645454094</c:v>
                </c:pt>
                <c:pt idx="168">
                  <c:v>0.88845855449551203</c:v>
                </c:pt>
                <c:pt idx="169">
                  <c:v>0.88996522753779395</c:v>
                </c:pt>
                <c:pt idx="170">
                  <c:v>0.89146198209655714</c:v>
                </c:pt>
                <c:pt idx="171">
                  <c:v>0.89295562393974792</c:v>
                </c:pt>
                <c:pt idx="172">
                  <c:v>0.89443397918400491</c:v>
                </c:pt>
                <c:pt idx="173">
                  <c:v>0.89589595310308867</c:v>
                </c:pt>
                <c:pt idx="174">
                  <c:v>0.89735211046468344</c:v>
                </c:pt>
                <c:pt idx="175">
                  <c:v>0.89878789009085736</c:v>
                </c:pt>
                <c:pt idx="176">
                  <c:v>0.90021714092801297</c:v>
                </c:pt>
                <c:pt idx="177">
                  <c:v>0.90164149847077302</c:v>
                </c:pt>
                <c:pt idx="178">
                  <c:v>0.90305992075078911</c:v>
                </c:pt>
                <c:pt idx="179">
                  <c:v>0.90446012836891776</c:v>
                </c:pt>
                <c:pt idx="180">
                  <c:v>0.9058444031039472</c:v>
                </c:pt>
                <c:pt idx="181">
                  <c:v>0.90722013106062538</c:v>
                </c:pt>
                <c:pt idx="182">
                  <c:v>0.90855771506206928</c:v>
                </c:pt>
                <c:pt idx="183">
                  <c:v>0.90989107843222861</c:v>
                </c:pt>
                <c:pt idx="184">
                  <c:v>0.91122181709730787</c:v>
                </c:pt>
                <c:pt idx="185">
                  <c:v>0.91253543582673902</c:v>
                </c:pt>
                <c:pt idx="186">
                  <c:v>0.91383292383097947</c:v>
                </c:pt>
                <c:pt idx="187">
                  <c:v>0.91512930391950775</c:v>
                </c:pt>
                <c:pt idx="188">
                  <c:v>0.91642543340805349</c:v>
                </c:pt>
                <c:pt idx="189">
                  <c:v>0.91771429549710615</c:v>
                </c:pt>
                <c:pt idx="190">
                  <c:v>0.91898700048202253</c:v>
                </c:pt>
                <c:pt idx="191">
                  <c:v>0.92025292607793807</c:v>
                </c:pt>
                <c:pt idx="192">
                  <c:v>0.92151155789541495</c:v>
                </c:pt>
                <c:pt idx="193">
                  <c:v>0.92275029998796332</c:v>
                </c:pt>
                <c:pt idx="194">
                  <c:v>0.92397557562881938</c:v>
                </c:pt>
                <c:pt idx="195">
                  <c:v>0.92517099030333705</c:v>
                </c:pt>
                <c:pt idx="196">
                  <c:v>0.92633158476975708</c:v>
                </c:pt>
                <c:pt idx="197">
                  <c:v>0.92748853894169414</c:v>
                </c:pt>
                <c:pt idx="198">
                  <c:v>0.92864300030327873</c:v>
                </c:pt>
                <c:pt idx="199">
                  <c:v>0.92977701798207868</c:v>
                </c:pt>
                <c:pt idx="200">
                  <c:v>0.93091074549247788</c:v>
                </c:pt>
                <c:pt idx="201">
                  <c:v>0.93203626915081772</c:v>
                </c:pt>
                <c:pt idx="202">
                  <c:v>0.93313078435868868</c:v>
                </c:pt>
                <c:pt idx="203">
                  <c:v>0.9341941328424177</c:v>
                </c:pt>
                <c:pt idx="204">
                  <c:v>0.93525584583152388</c:v>
                </c:pt>
                <c:pt idx="205">
                  <c:v>0.93631645090491789</c:v>
                </c:pt>
                <c:pt idx="206">
                  <c:v>0.93736984133670986</c:v>
                </c:pt>
                <c:pt idx="207">
                  <c:v>0.93842186006333428</c:v>
                </c:pt>
                <c:pt idx="208">
                  <c:v>0.93946328764332898</c:v>
                </c:pt>
                <c:pt idx="209">
                  <c:v>0.94048874277180616</c:v>
                </c:pt>
                <c:pt idx="210">
                  <c:v>0.94151014873214478</c:v>
                </c:pt>
                <c:pt idx="211">
                  <c:v>0.9425188400407386</c:v>
                </c:pt>
                <c:pt idx="212">
                  <c:v>0.94351125553994131</c:v>
                </c:pt>
                <c:pt idx="213">
                  <c:v>0.94449712906065286</c:v>
                </c:pt>
                <c:pt idx="214">
                  <c:v>0.94545992100402698</c:v>
                </c:pt>
                <c:pt idx="215">
                  <c:v>0.94635563128892197</c:v>
                </c:pt>
                <c:pt idx="216">
                  <c:v>0.9472471605109507</c:v>
                </c:pt>
                <c:pt idx="217">
                  <c:v>0.94813705423835659</c:v>
                </c:pt>
                <c:pt idx="218">
                  <c:v>0.94901870454528481</c:v>
                </c:pt>
                <c:pt idx="219">
                  <c:v>0.94989203229489882</c:v>
                </c:pt>
                <c:pt idx="220">
                  <c:v>0.95075753868716362</c:v>
                </c:pt>
                <c:pt idx="221">
                  <c:v>0.95161668775355601</c:v>
                </c:pt>
                <c:pt idx="222">
                  <c:v>0.9524677516731439</c:v>
                </c:pt>
                <c:pt idx="223">
                  <c:v>0.95329548341541182</c:v>
                </c:pt>
                <c:pt idx="224">
                  <c:v>0.95409675707531461</c:v>
                </c:pt>
                <c:pt idx="225">
                  <c:v>0.95489357269342301</c:v>
                </c:pt>
                <c:pt idx="226">
                  <c:v>0.95565792901905855</c:v>
                </c:pt>
                <c:pt idx="227">
                  <c:v>0.95641503113467374</c:v>
                </c:pt>
                <c:pt idx="228">
                  <c:v>0.95716259726148034</c:v>
                </c:pt>
                <c:pt idx="229">
                  <c:v>0.95790732765164266</c:v>
                </c:pt>
                <c:pt idx="230">
                  <c:v>0.95865147770500336</c:v>
                </c:pt>
                <c:pt idx="231">
                  <c:v>0.95938932319038273</c:v>
                </c:pt>
                <c:pt idx="232">
                  <c:v>0.96012536171799334</c:v>
                </c:pt>
                <c:pt idx="233">
                  <c:v>0.96085645419331733</c:v>
                </c:pt>
                <c:pt idx="234">
                  <c:v>0.96158657064765674</c:v>
                </c:pt>
                <c:pt idx="235">
                  <c:v>0.9623106858918884</c:v>
                </c:pt>
                <c:pt idx="236">
                  <c:v>0.96302407809476276</c:v>
                </c:pt>
                <c:pt idx="237">
                  <c:v>0.9637258635616045</c:v>
                </c:pt>
                <c:pt idx="238">
                  <c:v>0.9644084583455742</c:v>
                </c:pt>
                <c:pt idx="239">
                  <c:v>0.96507738883576022</c:v>
                </c:pt>
                <c:pt idx="240">
                  <c:v>0.9657447893471055</c:v>
                </c:pt>
                <c:pt idx="241">
                  <c:v>0.96638536247084827</c:v>
                </c:pt>
                <c:pt idx="242">
                  <c:v>0.96702404949998577</c:v>
                </c:pt>
                <c:pt idx="243">
                  <c:v>0.96764643434078657</c:v>
                </c:pt>
                <c:pt idx="244">
                  <c:v>0.96826006137167187</c:v>
                </c:pt>
                <c:pt idx="245">
                  <c:v>0.9688558034774889</c:v>
                </c:pt>
                <c:pt idx="246">
                  <c:v>0.96944816907827824</c:v>
                </c:pt>
                <c:pt idx="247">
                  <c:v>0.97003966417386511</c:v>
                </c:pt>
                <c:pt idx="248">
                  <c:v>0.97062753216444186</c:v>
                </c:pt>
                <c:pt idx="249">
                  <c:v>0.9712105596185141</c:v>
                </c:pt>
                <c:pt idx="250">
                  <c:v>0.97178639880992979</c:v>
                </c:pt>
                <c:pt idx="251">
                  <c:v>0.97234969481274669</c:v>
                </c:pt>
                <c:pt idx="252">
                  <c:v>0.9729068049528371</c:v>
                </c:pt>
                <c:pt idx="253">
                  <c:v>0.97345862611434908</c:v>
                </c:pt>
                <c:pt idx="254">
                  <c:v>0.9739996055292488</c:v>
                </c:pt>
                <c:pt idx="255">
                  <c:v>0.9745193367035252</c:v>
                </c:pt>
                <c:pt idx="256">
                  <c:v>0.9750268939944402</c:v>
                </c:pt>
                <c:pt idx="257">
                  <c:v>0.97552479659129177</c:v>
                </c:pt>
                <c:pt idx="258">
                  <c:v>0.97602025913568191</c:v>
                </c:pt>
                <c:pt idx="259">
                  <c:v>0.97649332595531835</c:v>
                </c:pt>
                <c:pt idx="260">
                  <c:v>0.97696194792263324</c:v>
                </c:pt>
                <c:pt idx="261">
                  <c:v>0.97742967300580008</c:v>
                </c:pt>
                <c:pt idx="262">
                  <c:v>0.97789675180480151</c:v>
                </c:pt>
                <c:pt idx="263">
                  <c:v>0.97835403082553907</c:v>
                </c:pt>
                <c:pt idx="264">
                  <c:v>0.97881088778314818</c:v>
                </c:pt>
                <c:pt idx="265">
                  <c:v>0.97926763922497517</c:v>
                </c:pt>
                <c:pt idx="266">
                  <c:v>0.97966522269198164</c:v>
                </c:pt>
                <c:pt idx="267">
                  <c:v>0.98006197522220395</c:v>
                </c:pt>
                <c:pt idx="268">
                  <c:v>0.98045863542611689</c:v>
                </c:pt>
                <c:pt idx="269">
                  <c:v>0.98080608570714634</c:v>
                </c:pt>
                <c:pt idx="270">
                  <c:v>0.98115323263030219</c:v>
                </c:pt>
                <c:pt idx="271">
                  <c:v>0.98149336275394738</c:v>
                </c:pt>
                <c:pt idx="272">
                  <c:v>0.98183233220398936</c:v>
                </c:pt>
                <c:pt idx="273">
                  <c:v>0.98217040476988338</c:v>
                </c:pt>
                <c:pt idx="274">
                  <c:v>0.98250735623059238</c:v>
                </c:pt>
                <c:pt idx="275">
                  <c:v>0.9828355894498042</c:v>
                </c:pt>
                <c:pt idx="276">
                  <c:v>0.98315842817465549</c:v>
                </c:pt>
                <c:pt idx="277">
                  <c:v>0.98347880046809988</c:v>
                </c:pt>
                <c:pt idx="278">
                  <c:v>0.98377723866833722</c:v>
                </c:pt>
                <c:pt idx="279">
                  <c:v>0.98407168045832705</c:v>
                </c:pt>
                <c:pt idx="280">
                  <c:v>0.98436235005910622</c:v>
                </c:pt>
                <c:pt idx="281">
                  <c:v>0.98465031581796869</c:v>
                </c:pt>
                <c:pt idx="282">
                  <c:v>0.98493336190349012</c:v>
                </c:pt>
                <c:pt idx="283">
                  <c:v>0.98520910102110015</c:v>
                </c:pt>
                <c:pt idx="284">
                  <c:v>0.98547911590753046</c:v>
                </c:pt>
                <c:pt idx="285">
                  <c:v>0.98574740297302865</c:v>
                </c:pt>
                <c:pt idx="286">
                  <c:v>0.98599999456593734</c:v>
                </c:pt>
                <c:pt idx="287">
                  <c:v>0.98625193987468063</c:v>
                </c:pt>
                <c:pt idx="288">
                  <c:v>0.98649734320493276</c:v>
                </c:pt>
                <c:pt idx="289">
                  <c:v>0.98673922494595689</c:v>
                </c:pt>
                <c:pt idx="290">
                  <c:v>0.9869788644766111</c:v>
                </c:pt>
                <c:pt idx="291">
                  <c:v>0.98721689489158804</c:v>
                </c:pt>
                <c:pt idx="292">
                  <c:v>0.98745019028584258</c:v>
                </c:pt>
                <c:pt idx="293">
                  <c:v>0.98767361995446945</c:v>
                </c:pt>
                <c:pt idx="294">
                  <c:v>0.98789389733910571</c:v>
                </c:pt>
                <c:pt idx="295">
                  <c:v>0.9881110751976423</c:v>
                </c:pt>
                <c:pt idx="296">
                  <c:v>0.9883115815626049</c:v>
                </c:pt>
                <c:pt idx="297">
                  <c:v>0.98850971382246988</c:v>
                </c:pt>
                <c:pt idx="298">
                  <c:v>0.98869919378820148</c:v>
                </c:pt>
                <c:pt idx="299">
                  <c:v>0.98888794833293103</c:v>
                </c:pt>
                <c:pt idx="300">
                  <c:v>0.9890747772146371</c:v>
                </c:pt>
                <c:pt idx="301">
                  <c:v>0.98925451015999599</c:v>
                </c:pt>
                <c:pt idx="302">
                  <c:v>0.98943405845273613</c:v>
                </c:pt>
                <c:pt idx="303">
                  <c:v>0.98961251201923683</c:v>
                </c:pt>
                <c:pt idx="304">
                  <c:v>0.98978495118615706</c:v>
                </c:pt>
                <c:pt idx="305">
                  <c:v>0.9899565857952386</c:v>
                </c:pt>
                <c:pt idx="306">
                  <c:v>0.99012243022577662</c:v>
                </c:pt>
                <c:pt idx="307">
                  <c:v>0.99028803724580494</c:v>
                </c:pt>
                <c:pt idx="308">
                  <c:v>0.99045187687648284</c:v>
                </c:pt>
                <c:pt idx="309">
                  <c:v>0.99061241913896969</c:v>
                </c:pt>
                <c:pt idx="310">
                  <c:v>0.99077292183303822</c:v>
                </c:pt>
                <c:pt idx="311">
                  <c:v>0.99092726504332584</c:v>
                </c:pt>
                <c:pt idx="312">
                  <c:v>0.99108057947473782</c:v>
                </c:pt>
                <c:pt idx="313">
                  <c:v>0.99123351141143967</c:v>
                </c:pt>
                <c:pt idx="314">
                  <c:v>0.99138202487476546</c:v>
                </c:pt>
                <c:pt idx="315">
                  <c:v>0.99152527573845828</c:v>
                </c:pt>
                <c:pt idx="316">
                  <c:v>0.99165905656070641</c:v>
                </c:pt>
                <c:pt idx="317">
                  <c:v>0.99179132059358666</c:v>
                </c:pt>
                <c:pt idx="318">
                  <c:v>0.99192247671075462</c:v>
                </c:pt>
                <c:pt idx="319">
                  <c:v>0.99205264361746526</c:v>
                </c:pt>
                <c:pt idx="320">
                  <c:v>0.99218055512433323</c:v>
                </c:pt>
                <c:pt idx="321">
                  <c:v>0.99230659372606866</c:v>
                </c:pt>
                <c:pt idx="322">
                  <c:v>0.99243197285416596</c:v>
                </c:pt>
                <c:pt idx="323">
                  <c:v>0.99255514934031153</c:v>
                </c:pt>
                <c:pt idx="324">
                  <c:v>0.99267075506909042</c:v>
                </c:pt>
                <c:pt idx="325">
                  <c:v>0.99278504185059291</c:v>
                </c:pt>
                <c:pt idx="326">
                  <c:v>0.99289469912715511</c:v>
                </c:pt>
                <c:pt idx="327">
                  <c:v>0.99300381563533402</c:v>
                </c:pt>
                <c:pt idx="328">
                  <c:v>0.99311233861723847</c:v>
                </c:pt>
                <c:pt idx="329">
                  <c:v>0.99321755104147913</c:v>
                </c:pt>
                <c:pt idx="330">
                  <c:v>0.99332189296051732</c:v>
                </c:pt>
                <c:pt idx="331">
                  <c:v>0.99342587876379085</c:v>
                </c:pt>
                <c:pt idx="332">
                  <c:v>0.99352937655657214</c:v>
                </c:pt>
                <c:pt idx="333">
                  <c:v>0.99363275564409859</c:v>
                </c:pt>
                <c:pt idx="334">
                  <c:v>0.99373522465800423</c:v>
                </c:pt>
                <c:pt idx="335">
                  <c:v>0.99383703419827174</c:v>
                </c:pt>
                <c:pt idx="336">
                  <c:v>0.99393704997024324</c:v>
                </c:pt>
                <c:pt idx="337">
                  <c:v>0.99403652497383144</c:v>
                </c:pt>
                <c:pt idx="338">
                  <c:v>0.99413309829341145</c:v>
                </c:pt>
                <c:pt idx="339">
                  <c:v>0.99422861645517036</c:v>
                </c:pt>
                <c:pt idx="340">
                  <c:v>0.99432387082747398</c:v>
                </c:pt>
                <c:pt idx="341">
                  <c:v>0.99441857124192146</c:v>
                </c:pt>
                <c:pt idx="342">
                  <c:v>0.9945073363936251</c:v>
                </c:pt>
                <c:pt idx="343">
                  <c:v>0.99458626219864654</c:v>
                </c:pt>
                <c:pt idx="344">
                  <c:v>0.99466516162472252</c:v>
                </c:pt>
                <c:pt idx="345">
                  <c:v>0.99474160780886423</c:v>
                </c:pt>
                <c:pt idx="346">
                  <c:v>0.99481781658249624</c:v>
                </c:pt>
                <c:pt idx="347">
                  <c:v>0.99489373518772739</c:v>
                </c:pt>
                <c:pt idx="348">
                  <c:v>0.99496941638244885</c:v>
                </c:pt>
                <c:pt idx="349">
                  <c:v>0.99504456999825974</c:v>
                </c:pt>
                <c:pt idx="350">
                  <c:v>0.99511969723512506</c:v>
                </c:pt>
                <c:pt idx="351">
                  <c:v>0.99519454749306235</c:v>
                </c:pt>
                <c:pt idx="352">
                  <c:v>0.99526935818258133</c:v>
                </c:pt>
                <c:pt idx="353">
                  <c:v>0.99534339069320721</c:v>
                </c:pt>
                <c:pt idx="354">
                  <c:v>0.9954172913091055</c:v>
                </c:pt>
                <c:pt idx="355">
                  <c:v>0.99548982021983623</c:v>
                </c:pt>
                <c:pt idx="356">
                  <c:v>0.99556150500431007</c:v>
                </c:pt>
                <c:pt idx="357">
                  <c:v>0.99563094757841397</c:v>
                </c:pt>
                <c:pt idx="358">
                  <c:v>0.99569933499469676</c:v>
                </c:pt>
                <c:pt idx="359">
                  <c:v>0.99576707612681414</c:v>
                </c:pt>
                <c:pt idx="360">
                  <c:v>0.99583299711169004</c:v>
                </c:pt>
                <c:pt idx="361">
                  <c:v>0.99589857517027403</c:v>
                </c:pt>
                <c:pt idx="362">
                  <c:v>0.99596363883942018</c:v>
                </c:pt>
                <c:pt idx="363">
                  <c:v>0.99602816174018305</c:v>
                </c:pt>
                <c:pt idx="364">
                  <c:v>0.99609201197783492</c:v>
                </c:pt>
                <c:pt idx="365">
                  <c:v>0.99615542696288562</c:v>
                </c:pt>
                <c:pt idx="366">
                  <c:v>0.99621872324268135</c:v>
                </c:pt>
                <c:pt idx="367">
                  <c:v>0.99628021256470845</c:v>
                </c:pt>
                <c:pt idx="368">
                  <c:v>0.9963374944449237</c:v>
                </c:pt>
                <c:pt idx="369">
                  <c:v>0.99639459167252031</c:v>
                </c:pt>
                <c:pt idx="370">
                  <c:v>0.99645126683698837</c:v>
                </c:pt>
                <c:pt idx="371">
                  <c:v>0.99650783648567431</c:v>
                </c:pt>
                <c:pt idx="372">
                  <c:v>0.99656296848182901</c:v>
                </c:pt>
                <c:pt idx="373">
                  <c:v>0.99661762565696421</c:v>
                </c:pt>
                <c:pt idx="374">
                  <c:v>0.99667221688473562</c:v>
                </c:pt>
                <c:pt idx="375">
                  <c:v>0.99672664983883374</c:v>
                </c:pt>
                <c:pt idx="376">
                  <c:v>0.99678063435085795</c:v>
                </c:pt>
                <c:pt idx="377">
                  <c:v>0.9968343946418452</c:v>
                </c:pt>
                <c:pt idx="378">
                  <c:v>0.99688785157495885</c:v>
                </c:pt>
                <c:pt idx="379">
                  <c:v>0.99694116342387207</c:v>
                </c:pt>
                <c:pt idx="380">
                  <c:v>0.99699236495714305</c:v>
                </c:pt>
                <c:pt idx="381">
                  <c:v>0.99704313123781274</c:v>
                </c:pt>
                <c:pt idx="382">
                  <c:v>0.99709240710806013</c:v>
                </c:pt>
                <c:pt idx="383">
                  <c:v>0.99714153789410709</c:v>
                </c:pt>
                <c:pt idx="384">
                  <c:v>0.997189943259152</c:v>
                </c:pt>
                <c:pt idx="385">
                  <c:v>0.99723700329797493</c:v>
                </c:pt>
                <c:pt idx="386">
                  <c:v>0.99728389187365196</c:v>
                </c:pt>
                <c:pt idx="387">
                  <c:v>0.99733029243883675</c:v>
                </c:pt>
                <c:pt idx="388">
                  <c:v>0.997376442404039</c:v>
                </c:pt>
                <c:pt idx="389">
                  <c:v>0.9974220384113851</c:v>
                </c:pt>
                <c:pt idx="390">
                  <c:v>0.99746701451351127</c:v>
                </c:pt>
                <c:pt idx="391">
                  <c:v>0.99751052658416062</c:v>
                </c:pt>
                <c:pt idx="392">
                  <c:v>0.9975533396127535</c:v>
                </c:pt>
                <c:pt idx="393">
                  <c:v>0.99759512386247073</c:v>
                </c:pt>
                <c:pt idx="394">
                  <c:v>0.99763659156484163</c:v>
                </c:pt>
                <c:pt idx="395">
                  <c:v>0.99767799331984874</c:v>
                </c:pt>
                <c:pt idx="396">
                  <c:v>0.99771840586439853</c:v>
                </c:pt>
                <c:pt idx="397">
                  <c:v>0.99775826445109217</c:v>
                </c:pt>
                <c:pt idx="398">
                  <c:v>0.99779795157463991</c:v>
                </c:pt>
                <c:pt idx="399">
                  <c:v>0.99783719025611362</c:v>
                </c:pt>
                <c:pt idx="400">
                  <c:v>0.99787579584289465</c:v>
                </c:pt>
                <c:pt idx="401">
                  <c:v>0.99791312205081761</c:v>
                </c:pt>
                <c:pt idx="402">
                  <c:v>0.9979492743956645</c:v>
                </c:pt>
                <c:pt idx="403">
                  <c:v>0.99798512338263778</c:v>
                </c:pt>
                <c:pt idx="404">
                  <c:v>0.99802085366435622</c:v>
                </c:pt>
                <c:pt idx="405">
                  <c:v>0.9980560563671641</c:v>
                </c:pt>
                <c:pt idx="406">
                  <c:v>0.99809048089107888</c:v>
                </c:pt>
                <c:pt idx="407">
                  <c:v>0.99812420637293719</c:v>
                </c:pt>
                <c:pt idx="408">
                  <c:v>0.99815789228637719</c:v>
                </c:pt>
                <c:pt idx="409">
                  <c:v>0.99819152544192613</c:v>
                </c:pt>
                <c:pt idx="410">
                  <c:v>0.99822471015540104</c:v>
                </c:pt>
                <c:pt idx="411">
                  <c:v>0.99825734091101992</c:v>
                </c:pt>
                <c:pt idx="412">
                  <c:v>0.99828871866672619</c:v>
                </c:pt>
                <c:pt idx="413">
                  <c:v>0.99832001728559583</c:v>
                </c:pt>
                <c:pt idx="414">
                  <c:v>0.99834999695718907</c:v>
                </c:pt>
                <c:pt idx="415">
                  <c:v>0.99837981835510914</c:v>
                </c:pt>
                <c:pt idx="416">
                  <c:v>0.99840956061619257</c:v>
                </c:pt>
                <c:pt idx="417">
                  <c:v>0.99843878848783818</c:v>
                </c:pt>
                <c:pt idx="418">
                  <c:v>0.9984669348227172</c:v>
                </c:pt>
                <c:pt idx="419">
                  <c:v>0.99849498883128684</c:v>
                </c:pt>
                <c:pt idx="420">
                  <c:v>0.9985226735346191</c:v>
                </c:pt>
                <c:pt idx="421">
                  <c:v>0.99855009444849607</c:v>
                </c:pt>
                <c:pt idx="422">
                  <c:v>0.99857698778346249</c:v>
                </c:pt>
                <c:pt idx="423">
                  <c:v>0.99860345905530035</c:v>
                </c:pt>
                <c:pt idx="424">
                  <c:v>0.99862989075872</c:v>
                </c:pt>
                <c:pt idx="425">
                  <c:v>0.99865629608319406</c:v>
                </c:pt>
                <c:pt idx="426">
                  <c:v>0.99868237167084906</c:v>
                </c:pt>
                <c:pt idx="427">
                  <c:v>0.99870824941641256</c:v>
                </c:pt>
                <c:pt idx="428">
                  <c:v>0.99873286097259073</c:v>
                </c:pt>
                <c:pt idx="429">
                  <c:v>0.99875722192878635</c:v>
                </c:pt>
                <c:pt idx="430">
                  <c:v>0.9987810157376531</c:v>
                </c:pt>
                <c:pt idx="431">
                  <c:v>0.99880388628342631</c:v>
                </c:pt>
                <c:pt idx="432">
                  <c:v>0.99882655898710815</c:v>
                </c:pt>
                <c:pt idx="433">
                  <c:v>0.99884919212237167</c:v>
                </c:pt>
                <c:pt idx="434">
                  <c:v>0.9988715614681799</c:v>
                </c:pt>
                <c:pt idx="435">
                  <c:v>0.99889327134034989</c:v>
                </c:pt>
                <c:pt idx="436">
                  <c:v>0.9989143481178272</c:v>
                </c:pt>
                <c:pt idx="437">
                  <c:v>0.99893530619004967</c:v>
                </c:pt>
                <c:pt idx="438">
                  <c:v>0.99895565754652493</c:v>
                </c:pt>
                <c:pt idx="439">
                  <c:v>0.99897482185045139</c:v>
                </c:pt>
                <c:pt idx="440">
                  <c:v>0.99899389382806858</c:v>
                </c:pt>
                <c:pt idx="441">
                  <c:v>0.99901275477412155</c:v>
                </c:pt>
                <c:pt idx="442">
                  <c:v>0.99903145744650135</c:v>
                </c:pt>
                <c:pt idx="443">
                  <c:v>0.99905006779257177</c:v>
                </c:pt>
                <c:pt idx="444">
                  <c:v>0.99906850667549618</c:v>
                </c:pt>
                <c:pt idx="445">
                  <c:v>0.99908652349529214</c:v>
                </c:pt>
                <c:pt idx="446">
                  <c:v>0.99910398635723208</c:v>
                </c:pt>
                <c:pt idx="447">
                  <c:v>0.99912111948235283</c:v>
                </c:pt>
                <c:pt idx="448">
                  <c:v>0.9991382262285281</c:v>
                </c:pt>
                <c:pt idx="449">
                  <c:v>0.99915483177473829</c:v>
                </c:pt>
                <c:pt idx="450">
                  <c:v>0.99917142413147575</c:v>
                </c:pt>
                <c:pt idx="451">
                  <c:v>0.99918787140401277</c:v>
                </c:pt>
                <c:pt idx="452">
                  <c:v>0.99920413402393116</c:v>
                </c:pt>
                <c:pt idx="453">
                  <c:v>0.99922039664384954</c:v>
                </c:pt>
                <c:pt idx="454">
                  <c:v>0.9992364482322037</c:v>
                </c:pt>
                <c:pt idx="455">
                  <c:v>0.99925249982055786</c:v>
                </c:pt>
                <c:pt idx="456">
                  <c:v>0.99926844589312991</c:v>
                </c:pt>
                <c:pt idx="457">
                  <c:v>0.99928429963939258</c:v>
                </c:pt>
                <c:pt idx="458">
                  <c:v>0.99930015338565525</c:v>
                </c:pt>
                <c:pt idx="459">
                  <c:v>0.99931598075297234</c:v>
                </c:pt>
                <c:pt idx="460">
                  <c:v>0.99933157070977974</c:v>
                </c:pt>
                <c:pt idx="461">
                  <c:v>0.99934700239291396</c:v>
                </c:pt>
                <c:pt idx="462">
                  <c:v>0.99936240769710261</c:v>
                </c:pt>
                <c:pt idx="463">
                  <c:v>0.99937711395923479</c:v>
                </c:pt>
                <c:pt idx="464">
                  <c:v>0.99939179384242138</c:v>
                </c:pt>
                <c:pt idx="465">
                  <c:v>0.99940624950457102</c:v>
                </c:pt>
                <c:pt idx="466">
                  <c:v>0.99942045456673811</c:v>
                </c:pt>
                <c:pt idx="467">
                  <c:v>0.9994344881657593</c:v>
                </c:pt>
                <c:pt idx="468">
                  <c:v>0.99944844262794397</c:v>
                </c:pt>
                <c:pt idx="469">
                  <c:v>0.99946234433223746</c:v>
                </c:pt>
                <c:pt idx="470">
                  <c:v>0.999476021815494</c:v>
                </c:pt>
                <c:pt idx="471">
                  <c:v>0.9994896861092778</c:v>
                </c:pt>
                <c:pt idx="472">
                  <c:v>0.99950282282415104</c:v>
                </c:pt>
                <c:pt idx="473">
                  <c:v>0.99951566937062342</c:v>
                </c:pt>
                <c:pt idx="474">
                  <c:v>0.9995281466118584</c:v>
                </c:pt>
                <c:pt idx="475">
                  <c:v>0.99954059747414792</c:v>
                </c:pt>
                <c:pt idx="476">
                  <c:v>0.99955271859961825</c:v>
                </c:pt>
                <c:pt idx="477">
                  <c:v>0.9995645363672151</c:v>
                </c:pt>
                <c:pt idx="478">
                  <c:v>0.99957628818744804</c:v>
                </c:pt>
                <c:pt idx="479">
                  <c:v>0.99958763113402527</c:v>
                </c:pt>
                <c:pt idx="480">
                  <c:v>0.99959896089112976</c:v>
                </c:pt>
                <c:pt idx="481">
                  <c:v>0.99961001366930624</c:v>
                </c:pt>
                <c:pt idx="482">
                  <c:v>0.99962069714224533</c:v>
                </c:pt>
                <c:pt idx="483">
                  <c:v>0.99963085303627386</c:v>
                </c:pt>
                <c:pt idx="484">
                  <c:v>0.99964092979346575</c:v>
                </c:pt>
                <c:pt idx="485">
                  <c:v>0.99965067681383857</c:v>
                </c:pt>
                <c:pt idx="486">
                  <c:v>0.99966023918159264</c:v>
                </c:pt>
                <c:pt idx="487">
                  <c:v>0.99966920802307235</c:v>
                </c:pt>
                <c:pt idx="488">
                  <c:v>0.99967805815929722</c:v>
                </c:pt>
                <c:pt idx="489">
                  <c:v>0.99968684234815819</c:v>
                </c:pt>
                <c:pt idx="490">
                  <c:v>0.99969556058965536</c:v>
                </c:pt>
                <c:pt idx="491">
                  <c:v>0.99970421288378875</c:v>
                </c:pt>
                <c:pt idx="492">
                  <c:v>0.99971274647266728</c:v>
                </c:pt>
                <c:pt idx="493">
                  <c:v>0.99972120092470917</c:v>
                </c:pt>
                <c:pt idx="494">
                  <c:v>0.999729325639932</c:v>
                </c:pt>
                <c:pt idx="495">
                  <c:v>0.99973727889200881</c:v>
                </c:pt>
                <c:pt idx="496">
                  <c:v>0.99974520576514014</c:v>
                </c:pt>
                <c:pt idx="497">
                  <c:v>0.99975268419619745</c:v>
                </c:pt>
                <c:pt idx="498">
                  <c:v>0.99976013624830928</c:v>
                </c:pt>
                <c:pt idx="499">
                  <c:v>0.9997675487320028</c:v>
                </c:pt>
                <c:pt idx="500">
                  <c:v>0.99978209672046181</c:v>
                </c:pt>
                <c:pt idx="501">
                  <c:v>0.99978923222522731</c:v>
                </c:pt>
                <c:pt idx="502">
                  <c:v>0.9997962622142107</c:v>
                </c:pt>
                <c:pt idx="503">
                  <c:v>0.99980323944530303</c:v>
                </c:pt>
                <c:pt idx="504">
                  <c:v>0.99980993969746723</c:v>
                </c:pt>
                <c:pt idx="505">
                  <c:v>0.99981650805490385</c:v>
                </c:pt>
                <c:pt idx="506">
                  <c:v>0.99982306322286774</c:v>
                </c:pt>
                <c:pt idx="507">
                  <c:v>0.99982956563294056</c:v>
                </c:pt>
                <c:pt idx="508">
                  <c:v>0.99983590976934023</c:v>
                </c:pt>
                <c:pt idx="509">
                  <c:v>0.99984213520048493</c:v>
                </c:pt>
                <c:pt idx="510">
                  <c:v>0.99984813641059267</c:v>
                </c:pt>
                <c:pt idx="511">
                  <c:v>0.99985405848386388</c:v>
                </c:pt>
                <c:pt idx="512">
                  <c:v>0.99985986185188014</c:v>
                </c:pt>
                <c:pt idx="513">
                  <c:v>0.999865295914659</c:v>
                </c:pt>
                <c:pt idx="514">
                  <c:v>0.99987050575640091</c:v>
                </c:pt>
                <c:pt idx="515">
                  <c:v>0.99987520120870499</c:v>
                </c:pt>
                <c:pt idx="516">
                  <c:v>0.99987977795575422</c:v>
                </c:pt>
                <c:pt idx="517">
                  <c:v>0.99988410410282091</c:v>
                </c:pt>
                <c:pt idx="518">
                  <c:v>0.99988810051306853</c:v>
                </c:pt>
                <c:pt idx="519">
                  <c:v>0.99989195183911572</c:v>
                </c:pt>
                <c:pt idx="520">
                  <c:v>0.99989567127043522</c:v>
                </c:pt>
                <c:pt idx="521">
                  <c:v>0.99989937751228197</c:v>
                </c:pt>
                <c:pt idx="522">
                  <c:v>0.99990287272256451</c:v>
                </c:pt>
                <c:pt idx="523">
                  <c:v>0.99990626241706493</c:v>
                </c:pt>
                <c:pt idx="524">
                  <c:v>0.99990961254314703</c:v>
                </c:pt>
                <c:pt idx="525">
                  <c:v>0.99991268569030112</c:v>
                </c:pt>
                <c:pt idx="526">
                  <c:v>0.99991574564798247</c:v>
                </c:pt>
                <c:pt idx="527">
                  <c:v>0.99991879241619097</c:v>
                </c:pt>
                <c:pt idx="528">
                  <c:v>0.999921812805454</c:v>
                </c:pt>
                <c:pt idx="529">
                  <c:v>0.99992479362629871</c:v>
                </c:pt>
                <c:pt idx="530">
                  <c:v>0.99992768212083405</c:v>
                </c:pt>
                <c:pt idx="531">
                  <c:v>0.99993053104695118</c:v>
                </c:pt>
                <c:pt idx="532">
                  <c:v>0.9999333799730683</c:v>
                </c:pt>
                <c:pt idx="533">
                  <c:v>0.99993597829920289</c:v>
                </c:pt>
                <c:pt idx="534">
                  <c:v>0.99993851067797368</c:v>
                </c:pt>
                <c:pt idx="535">
                  <c:v>0.99994104305674447</c:v>
                </c:pt>
                <c:pt idx="536">
                  <c:v>0.99994352267762421</c:v>
                </c:pt>
                <c:pt idx="537">
                  <c:v>0.9999459891090311</c:v>
                </c:pt>
                <c:pt idx="538">
                  <c:v>0.99994831045623767</c:v>
                </c:pt>
                <c:pt idx="539">
                  <c:v>0.99995043396135275</c:v>
                </c:pt>
                <c:pt idx="540">
                  <c:v>0.99995254427699498</c:v>
                </c:pt>
                <c:pt idx="541">
                  <c:v>0.9999545490768551</c:v>
                </c:pt>
                <c:pt idx="542">
                  <c:v>0.99995648792935143</c:v>
                </c:pt>
                <c:pt idx="543">
                  <c:v>0.99995841359237503</c:v>
                </c:pt>
                <c:pt idx="544">
                  <c:v>0.99996014141330714</c:v>
                </c:pt>
                <c:pt idx="545">
                  <c:v>0.99996181647634819</c:v>
                </c:pt>
                <c:pt idx="546">
                  <c:v>0.99996346516044377</c:v>
                </c:pt>
                <c:pt idx="547">
                  <c:v>0.9999651006550665</c:v>
                </c:pt>
                <c:pt idx="548">
                  <c:v>0.99996670977074376</c:v>
                </c:pt>
                <c:pt idx="549">
                  <c:v>0.99996829250747543</c:v>
                </c:pt>
                <c:pt idx="550">
                  <c:v>0.99996982248631605</c:v>
                </c:pt>
                <c:pt idx="551">
                  <c:v>0.99997118100201077</c:v>
                </c:pt>
                <c:pt idx="552">
                  <c:v>0.99997251313876001</c:v>
                </c:pt>
                <c:pt idx="553">
                  <c:v>0.99997383208603641</c:v>
                </c:pt>
                <c:pt idx="554">
                  <c:v>0.99997512465436733</c:v>
                </c:pt>
                <c:pt idx="555">
                  <c:v>0.99997640403322552</c:v>
                </c:pt>
                <c:pt idx="556">
                  <c:v>0.9999776174647198</c:v>
                </c:pt>
                <c:pt idx="557">
                  <c:v>0.99997881770674135</c:v>
                </c:pt>
                <c:pt idx="558">
                  <c:v>0.99997987286456247</c:v>
                </c:pt>
                <c:pt idx="559">
                  <c:v>0.99998092802238359</c:v>
                </c:pt>
                <c:pt idx="560">
                  <c:v>0.9999819831802047</c:v>
                </c:pt>
                <c:pt idx="561">
                  <c:v>0.99998302514855308</c:v>
                </c:pt>
                <c:pt idx="562">
                  <c:v>0.99998402754848315</c:v>
                </c:pt>
                <c:pt idx="563">
                  <c:v>0.99998587407467021</c:v>
                </c:pt>
                <c:pt idx="564">
                  <c:v>0.99998675776934542</c:v>
                </c:pt>
                <c:pt idx="565">
                  <c:v>0.99998764146402064</c:v>
                </c:pt>
                <c:pt idx="566">
                  <c:v>0.99998927695864337</c:v>
                </c:pt>
                <c:pt idx="567">
                  <c:v>0.99999002875859089</c:v>
                </c:pt>
                <c:pt idx="568">
                  <c:v>0.9999907409901202</c:v>
                </c:pt>
                <c:pt idx="569">
                  <c:v>0.9999913872742856</c:v>
                </c:pt>
                <c:pt idx="570">
                  <c:v>0.99999198080055995</c:v>
                </c:pt>
                <c:pt idx="571">
                  <c:v>0.99999256113736157</c:v>
                </c:pt>
                <c:pt idx="572">
                  <c:v>0.99999312828469045</c:v>
                </c:pt>
                <c:pt idx="573">
                  <c:v>0.99999368224254659</c:v>
                </c:pt>
                <c:pt idx="574">
                  <c:v>0.99999419663198441</c:v>
                </c:pt>
                <c:pt idx="575">
                  <c:v>0.9999946978319495</c:v>
                </c:pt>
                <c:pt idx="576">
                  <c:v>0.99999515946349626</c:v>
                </c:pt>
                <c:pt idx="577">
                  <c:v>0.99999560790557029</c:v>
                </c:pt>
                <c:pt idx="578">
                  <c:v>0.99999602996869874</c:v>
                </c:pt>
                <c:pt idx="579">
                  <c:v>0.99999642565288172</c:v>
                </c:pt>
                <c:pt idx="580">
                  <c:v>0.99999680814759184</c:v>
                </c:pt>
                <c:pt idx="581">
                  <c:v>0.9999971642633565</c:v>
                </c:pt>
                <c:pt idx="582">
                  <c:v>0.99999774460015811</c:v>
                </c:pt>
                <c:pt idx="583">
                  <c:v>0.99999799520014065</c:v>
                </c:pt>
                <c:pt idx="584">
                  <c:v>0.99999823261065046</c:v>
                </c:pt>
                <c:pt idx="585">
                  <c:v>0.99999870743167008</c:v>
                </c:pt>
                <c:pt idx="586">
                  <c:v>0.99999893165270703</c:v>
                </c:pt>
                <c:pt idx="587">
                  <c:v>0.99999915587374399</c:v>
                </c:pt>
                <c:pt idx="588">
                  <c:v>0.99999938009478095</c:v>
                </c:pt>
                <c:pt idx="589">
                  <c:v>0.99999956474739971</c:v>
                </c:pt>
                <c:pt idx="590">
                  <c:v>0.99999974940001846</c:v>
                </c:pt>
                <c:pt idx="591">
                  <c:v>0.99999988129474615</c:v>
                </c:pt>
                <c:pt idx="592">
                  <c:v>1.000000000000001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95</c:f>
              <c:strCache>
                <c:ptCount val="494"/>
                <c:pt idx="0">
                  <c:v>Private Lab</c:v>
                </c:pt>
                <c:pt idx="1">
                  <c:v>Private Lab</c:v>
                </c:pt>
                <c:pt idx="2">
                  <c:v>Private Lab</c:v>
                </c:pt>
                <c:pt idx="3">
                  <c:v>Caprice Des</c:v>
                </c:pt>
                <c:pt idx="4">
                  <c:v>Private Lab</c:v>
                </c:pt>
                <c:pt idx="5">
                  <c:v>Private Lab</c:v>
                </c:pt>
                <c:pt idx="6">
                  <c:v>Soignon</c:v>
                </c:pt>
                <c:pt idx="7">
                  <c:v>Private Lab</c:v>
                </c:pt>
                <c:pt idx="8">
                  <c:v>President</c:v>
                </c:pt>
                <c:pt idx="9">
                  <c:v>Private Lab</c:v>
                </c:pt>
                <c:pt idx="10">
                  <c:v>Coeur De Li</c:v>
                </c:pt>
                <c:pt idx="11">
                  <c:v>Mini Babybe</c:v>
                </c:pt>
                <c:pt idx="12">
                  <c:v>Caprice Des</c:v>
                </c:pt>
                <c:pt idx="13">
                  <c:v>President</c:v>
                </c:pt>
                <c:pt idx="14">
                  <c:v>Galbani</c:v>
                </c:pt>
                <c:pt idx="15">
                  <c:v>Private Lab</c:v>
                </c:pt>
                <c:pt idx="16">
                  <c:v>Private Lab</c:v>
                </c:pt>
                <c:pt idx="17">
                  <c:v>La Vache Qu</c:v>
                </c:pt>
                <c:pt idx="18">
                  <c:v>Le Rustique</c:v>
                </c:pt>
                <c:pt idx="19">
                  <c:v>Mini Babybe</c:v>
                </c:pt>
                <c:pt idx="20">
                  <c:v>St Moret</c:v>
                </c:pt>
                <c:pt idx="21">
                  <c:v>St Moret</c:v>
                </c:pt>
                <c:pt idx="22">
                  <c:v>Soignon</c:v>
                </c:pt>
                <c:pt idx="23">
                  <c:v>Private Lab</c:v>
                </c:pt>
                <c:pt idx="24">
                  <c:v>Salakis</c:v>
                </c:pt>
                <c:pt idx="25">
                  <c:v>Private Lab</c:v>
                </c:pt>
                <c:pt idx="26">
                  <c:v>Private Lab</c:v>
                </c:pt>
                <c:pt idx="27">
                  <c:v>Private Lab</c:v>
                </c:pt>
                <c:pt idx="28">
                  <c:v>Private Lab</c:v>
                </c:pt>
                <c:pt idx="29">
                  <c:v>La Vache Qu</c:v>
                </c:pt>
                <c:pt idx="30">
                  <c:v>President</c:v>
                </c:pt>
                <c:pt idx="31">
                  <c:v>Tartare</c:v>
                </c:pt>
                <c:pt idx="32">
                  <c:v>St Moret</c:v>
                </c:pt>
                <c:pt idx="33">
                  <c:v>St Moret</c:v>
                </c:pt>
                <c:pt idx="34">
                  <c:v>Private Lab</c:v>
                </c:pt>
                <c:pt idx="35">
                  <c:v>Kiri</c:v>
                </c:pt>
                <c:pt idx="36">
                  <c:v>Private Lab</c:v>
                </c:pt>
                <c:pt idx="37">
                  <c:v>Private Lab</c:v>
                </c:pt>
                <c:pt idx="38">
                  <c:v>Private Lab</c:v>
                </c:pt>
                <c:pt idx="39">
                  <c:v>Paysan Bret</c:v>
                </c:pt>
                <c:pt idx="40">
                  <c:v>Private Lab</c:v>
                </c:pt>
                <c:pt idx="41">
                  <c:v>La Vache Qu</c:v>
                </c:pt>
                <c:pt idx="42">
                  <c:v>Galbani</c:v>
                </c:pt>
                <c:pt idx="43">
                  <c:v>Private Lab</c:v>
                </c:pt>
                <c:pt idx="44">
                  <c:v>Private Lab</c:v>
                </c:pt>
                <c:pt idx="45">
                  <c:v>Private Lab</c:v>
                </c:pt>
                <c:pt idx="46">
                  <c:v>Coeur De Li</c:v>
                </c:pt>
                <c:pt idx="47">
                  <c:v>Private Lab</c:v>
                </c:pt>
                <c:pt idx="48">
                  <c:v>Private Lab</c:v>
                </c:pt>
                <c:pt idx="49">
                  <c:v>Private Lab</c:v>
                </c:pt>
                <c:pt idx="50">
                  <c:v>Istara</c:v>
                </c:pt>
                <c:pt idx="51">
                  <c:v>Kiri</c:v>
                </c:pt>
                <c:pt idx="52">
                  <c:v>Galbani</c:v>
                </c:pt>
                <c:pt idx="53">
                  <c:v>Private Lab</c:v>
                </c:pt>
                <c:pt idx="54">
                  <c:v>Carre Frais</c:v>
                </c:pt>
                <c:pt idx="55">
                  <c:v>All Others</c:v>
                </c:pt>
                <c:pt idx="56">
                  <c:v>Philadelphi</c:v>
                </c:pt>
                <c:pt idx="57">
                  <c:v>Boursin</c:v>
                </c:pt>
                <c:pt idx="58">
                  <c:v>Carre Frais</c:v>
                </c:pt>
                <c:pt idx="59">
                  <c:v>Private Lab</c:v>
                </c:pt>
                <c:pt idx="60">
                  <c:v>Boursin</c:v>
                </c:pt>
                <c:pt idx="61">
                  <c:v>Galbani</c:v>
                </c:pt>
                <c:pt idx="62">
                  <c:v>Private Lab</c:v>
                </c:pt>
                <c:pt idx="63">
                  <c:v>Paysan Bret</c:v>
                </c:pt>
                <c:pt idx="64">
                  <c:v>Lou Perac</c:v>
                </c:pt>
                <c:pt idx="65">
                  <c:v>Galbani</c:v>
                </c:pt>
                <c:pt idx="66">
                  <c:v>Kiri</c:v>
                </c:pt>
                <c:pt idx="67">
                  <c:v>Private Lab</c:v>
                </c:pt>
                <c:pt idx="68">
                  <c:v>Ficello</c:v>
                </c:pt>
                <c:pt idx="69">
                  <c:v>Soignon</c:v>
                </c:pt>
                <c:pt idx="70">
                  <c:v>Islos</c:v>
                </c:pt>
                <c:pt idx="71">
                  <c:v>Tartare</c:v>
                </c:pt>
                <c:pt idx="72">
                  <c:v>Lepetit</c:v>
                </c:pt>
                <c:pt idx="73">
                  <c:v>Philadelphi</c:v>
                </c:pt>
                <c:pt idx="74">
                  <c:v>Petit Billy</c:v>
                </c:pt>
                <c:pt idx="75">
                  <c:v>Private Lab</c:v>
                </c:pt>
                <c:pt idx="76">
                  <c:v>Galbani</c:v>
                </c:pt>
                <c:pt idx="77">
                  <c:v>Private Lab</c:v>
                </c:pt>
                <c:pt idx="78">
                  <c:v>Private Lab</c:v>
                </c:pt>
                <c:pt idx="79">
                  <c:v>Kiri</c:v>
                </c:pt>
                <c:pt idx="80">
                  <c:v>Private Lab</c:v>
                </c:pt>
                <c:pt idx="81">
                  <c:v>All Others</c:v>
                </c:pt>
                <c:pt idx="82">
                  <c:v>Salakis</c:v>
                </c:pt>
                <c:pt idx="83">
                  <c:v>St Moret</c:v>
                </c:pt>
                <c:pt idx="84">
                  <c:v>Private Lab</c:v>
                </c:pt>
                <c:pt idx="85">
                  <c:v>St Moret</c:v>
                </c:pt>
                <c:pt idx="86">
                  <c:v>Private Lab</c:v>
                </c:pt>
                <c:pt idx="87">
                  <c:v>Boursin</c:v>
                </c:pt>
                <c:pt idx="88">
                  <c:v>Private Lab</c:v>
                </c:pt>
                <c:pt idx="89">
                  <c:v>Kiri</c:v>
                </c:pt>
                <c:pt idx="90">
                  <c:v>Le Rustique</c:v>
                </c:pt>
                <c:pt idx="91">
                  <c:v>Les Mousque</c:v>
                </c:pt>
                <c:pt idx="92">
                  <c:v>Caprice Des</c:v>
                </c:pt>
                <c:pt idx="93">
                  <c:v>Coeur De Li</c:v>
                </c:pt>
                <c:pt idx="94">
                  <c:v>Soignon</c:v>
                </c:pt>
                <c:pt idx="95">
                  <c:v>Private Lab</c:v>
                </c:pt>
                <c:pt idx="96">
                  <c:v>Coeur De Li</c:v>
                </c:pt>
                <c:pt idx="97">
                  <c:v>Soignon</c:v>
                </c:pt>
                <c:pt idx="98">
                  <c:v>Etorki</c:v>
                </c:pt>
                <c:pt idx="99">
                  <c:v>Ficello</c:v>
                </c:pt>
                <c:pt idx="100">
                  <c:v>President</c:v>
                </c:pt>
                <c:pt idx="101">
                  <c:v>St Moret</c:v>
                </c:pt>
                <c:pt idx="102">
                  <c:v>Private Lab</c:v>
                </c:pt>
                <c:pt idx="103">
                  <c:v>Ficello</c:v>
                </c:pt>
                <c:pt idx="104">
                  <c:v>Private Lab</c:v>
                </c:pt>
                <c:pt idx="105">
                  <c:v>All Others</c:v>
                </c:pt>
                <c:pt idx="106">
                  <c:v>All Others</c:v>
                </c:pt>
                <c:pt idx="107">
                  <c:v>President</c:v>
                </c:pt>
                <c:pt idx="108">
                  <c:v>Boursin</c:v>
                </c:pt>
                <c:pt idx="109">
                  <c:v>President</c:v>
                </c:pt>
                <c:pt idx="110">
                  <c:v>Soignon</c:v>
                </c:pt>
                <c:pt idx="111">
                  <c:v>Private Lab</c:v>
                </c:pt>
                <c:pt idx="112">
                  <c:v>La Vache Qu</c:v>
                </c:pt>
                <c:pt idx="113">
                  <c:v>President</c:v>
                </c:pt>
                <c:pt idx="114">
                  <c:v>President</c:v>
                </c:pt>
                <c:pt idx="115">
                  <c:v>Chavroux</c:v>
                </c:pt>
                <c:pt idx="116">
                  <c:v>Casa Azzurr</c:v>
                </c:pt>
                <c:pt idx="117">
                  <c:v>Private Lab</c:v>
                </c:pt>
                <c:pt idx="118">
                  <c:v>Boursin</c:v>
                </c:pt>
                <c:pt idx="119">
                  <c:v>Private Lab</c:v>
                </c:pt>
                <c:pt idx="120">
                  <c:v>President</c:v>
                </c:pt>
                <c:pt idx="121">
                  <c:v>Private Lab</c:v>
                </c:pt>
                <c:pt idx="122">
                  <c:v>P'Tit Louis</c:v>
                </c:pt>
                <c:pt idx="123">
                  <c:v>Le Brebiou</c:v>
                </c:pt>
                <c:pt idx="124">
                  <c:v>Private Lab</c:v>
                </c:pt>
                <c:pt idx="125">
                  <c:v>All Others</c:v>
                </c:pt>
                <c:pt idx="126">
                  <c:v>Boursin</c:v>
                </c:pt>
                <c:pt idx="127">
                  <c:v>Istara</c:v>
                </c:pt>
                <c:pt idx="128">
                  <c:v>Soignon</c:v>
                </c:pt>
                <c:pt idx="129">
                  <c:v>Tartare</c:v>
                </c:pt>
                <c:pt idx="130">
                  <c:v>Lactalis: A</c:v>
                </c:pt>
                <c:pt idx="131">
                  <c:v>Caprice Des</c:v>
                </c:pt>
                <c:pt idx="132">
                  <c:v>Paysan Bret</c:v>
                </c:pt>
                <c:pt idx="133">
                  <c:v>Lou Perac</c:v>
                </c:pt>
                <c:pt idx="134">
                  <c:v>Private Lab</c:v>
                </c:pt>
                <c:pt idx="135">
                  <c:v>Boursin</c:v>
                </c:pt>
                <c:pt idx="136">
                  <c:v>Paysan Bret</c:v>
                </c:pt>
                <c:pt idx="137">
                  <c:v>Private Lab</c:v>
                </c:pt>
                <c:pt idx="138">
                  <c:v>President</c:v>
                </c:pt>
                <c:pt idx="139">
                  <c:v>Casa Azzurr</c:v>
                </c:pt>
                <c:pt idx="140">
                  <c:v>Private Lab</c:v>
                </c:pt>
                <c:pt idx="141">
                  <c:v>Private Lab</c:v>
                </c:pt>
                <c:pt idx="142">
                  <c:v>Boursin</c:v>
                </c:pt>
                <c:pt idx="143">
                  <c:v>All Others</c:v>
                </c:pt>
                <c:pt idx="144">
                  <c:v>Soignon</c:v>
                </c:pt>
                <c:pt idx="145">
                  <c:v>Private Lab</c:v>
                </c:pt>
                <c:pt idx="146">
                  <c:v>Private Lab</c:v>
                </c:pt>
                <c:pt idx="147">
                  <c:v>President</c:v>
                </c:pt>
                <c:pt idx="148">
                  <c:v>All Others</c:v>
                </c:pt>
                <c:pt idx="149">
                  <c:v>Private Lab</c:v>
                </c:pt>
                <c:pt idx="150">
                  <c:v>Salakis</c:v>
                </c:pt>
                <c:pt idx="151">
                  <c:v>Private Lab</c:v>
                </c:pt>
                <c:pt idx="152">
                  <c:v>Galbani</c:v>
                </c:pt>
                <c:pt idx="153">
                  <c:v>All Others</c:v>
                </c:pt>
                <c:pt idx="154">
                  <c:v>Mini Babybe</c:v>
                </c:pt>
                <c:pt idx="155">
                  <c:v>Private Lab</c:v>
                </c:pt>
                <c:pt idx="156">
                  <c:v>Paysan Bret</c:v>
                </c:pt>
                <c:pt idx="157">
                  <c:v>Private Lab</c:v>
                </c:pt>
                <c:pt idx="158">
                  <c:v>La Vache Qu</c:v>
                </c:pt>
                <c:pt idx="159">
                  <c:v>Casa Azzurr</c:v>
                </c:pt>
                <c:pt idx="160">
                  <c:v>Soignon</c:v>
                </c:pt>
                <c:pt idx="161">
                  <c:v>Private Lab</c:v>
                </c:pt>
                <c:pt idx="162">
                  <c:v>Lou Perac</c:v>
                </c:pt>
                <c:pt idx="163">
                  <c:v>Boursin</c:v>
                </c:pt>
                <c:pt idx="164">
                  <c:v>Chavroux</c:v>
                </c:pt>
                <c:pt idx="165">
                  <c:v>Coeur De Li</c:v>
                </c:pt>
                <c:pt idx="166">
                  <c:v>Carre Frais</c:v>
                </c:pt>
                <c:pt idx="167">
                  <c:v>Lactalis: A</c:v>
                </c:pt>
                <c:pt idx="168">
                  <c:v>Private Lab</c:v>
                </c:pt>
                <c:pt idx="169">
                  <c:v>Private Lab</c:v>
                </c:pt>
                <c:pt idx="170">
                  <c:v>Galbani</c:v>
                </c:pt>
                <c:pt idx="171">
                  <c:v>All Others</c:v>
                </c:pt>
                <c:pt idx="172">
                  <c:v>Salakis</c:v>
                </c:pt>
                <c:pt idx="173">
                  <c:v>President</c:v>
                </c:pt>
                <c:pt idx="174">
                  <c:v>La Vache Qu</c:v>
                </c:pt>
                <c:pt idx="175">
                  <c:v>Tartare</c:v>
                </c:pt>
                <c:pt idx="176">
                  <c:v>Les Mousque</c:v>
                </c:pt>
                <c:pt idx="177">
                  <c:v>Paysan Bret</c:v>
                </c:pt>
                <c:pt idx="178">
                  <c:v>All Others</c:v>
                </c:pt>
                <c:pt idx="179">
                  <c:v>Private Lab</c:v>
                </c:pt>
                <c:pt idx="180">
                  <c:v>Private Lab</c:v>
                </c:pt>
                <c:pt idx="181">
                  <c:v>Coeur De Li</c:v>
                </c:pt>
                <c:pt idx="182">
                  <c:v>All Others</c:v>
                </c:pt>
                <c:pt idx="183">
                  <c:v>All Others</c:v>
                </c:pt>
                <c:pt idx="184">
                  <c:v>Mini Babybe</c:v>
                </c:pt>
                <c:pt idx="185">
                  <c:v>Salakis</c:v>
                </c:pt>
                <c:pt idx="186">
                  <c:v>Paysan Bret</c:v>
                </c:pt>
                <c:pt idx="187">
                  <c:v>All Others</c:v>
                </c:pt>
                <c:pt idx="188">
                  <c:v>Lactalis: A</c:v>
                </c:pt>
                <c:pt idx="189">
                  <c:v>Casa Azzurr</c:v>
                </c:pt>
                <c:pt idx="190">
                  <c:v>Private Lab</c:v>
                </c:pt>
                <c:pt idx="191">
                  <c:v>Kiri</c:v>
                </c:pt>
                <c:pt idx="192">
                  <c:v>Triballat N</c:v>
                </c:pt>
                <c:pt idx="193">
                  <c:v>Soignon</c:v>
                </c:pt>
                <c:pt idx="194">
                  <c:v>Boursin</c:v>
                </c:pt>
                <c:pt idx="195">
                  <c:v>Caprice Des</c:v>
                </c:pt>
                <c:pt idx="196">
                  <c:v>Le Rustique</c:v>
                </c:pt>
                <c:pt idx="197">
                  <c:v>St Moret</c:v>
                </c:pt>
                <c:pt idx="198">
                  <c:v>Savencia: A</c:v>
                </c:pt>
                <c:pt idx="199">
                  <c:v>Kiri</c:v>
                </c:pt>
                <c:pt idx="200">
                  <c:v>Private Lab</c:v>
                </c:pt>
                <c:pt idx="201">
                  <c:v>Casa Azzurr</c:v>
                </c:pt>
                <c:pt idx="202">
                  <c:v>Caprice Des</c:v>
                </c:pt>
                <c:pt idx="203">
                  <c:v>Tartare</c:v>
                </c:pt>
                <c:pt idx="204">
                  <c:v>Casa Azzurr</c:v>
                </c:pt>
                <c:pt idx="205">
                  <c:v>All Others</c:v>
                </c:pt>
                <c:pt idx="206">
                  <c:v>Mini Babybe</c:v>
                </c:pt>
                <c:pt idx="207">
                  <c:v>Paysan Bret</c:v>
                </c:pt>
                <c:pt idx="208">
                  <c:v>Soignon</c:v>
                </c:pt>
                <c:pt idx="209">
                  <c:v>Casa Azzurr</c:v>
                </c:pt>
                <c:pt idx="210">
                  <c:v>Les Mousque</c:v>
                </c:pt>
                <c:pt idx="211">
                  <c:v>Caprice Des</c:v>
                </c:pt>
                <c:pt idx="212">
                  <c:v>Galbani</c:v>
                </c:pt>
                <c:pt idx="213">
                  <c:v>All Others</c:v>
                </c:pt>
                <c:pt idx="214">
                  <c:v>Etorki</c:v>
                </c:pt>
                <c:pt idx="215">
                  <c:v>All Others</c:v>
                </c:pt>
                <c:pt idx="216">
                  <c:v>Tartare</c:v>
                </c:pt>
                <c:pt idx="217">
                  <c:v>Milleret: A</c:v>
                </c:pt>
                <c:pt idx="218">
                  <c:v>Soignon</c:v>
                </c:pt>
                <c:pt idx="219">
                  <c:v>Pave D'Affi</c:v>
                </c:pt>
                <c:pt idx="220">
                  <c:v>All Others</c:v>
                </c:pt>
                <c:pt idx="221">
                  <c:v>Private Lab</c:v>
                </c:pt>
                <c:pt idx="222">
                  <c:v>Corsica</c:v>
                </c:pt>
                <c:pt idx="223">
                  <c:v>Kiri</c:v>
                </c:pt>
                <c:pt idx="224">
                  <c:v>Soignon</c:v>
                </c:pt>
                <c:pt idx="225">
                  <c:v>Boursin</c:v>
                </c:pt>
                <c:pt idx="226">
                  <c:v>Salakis</c:v>
                </c:pt>
                <c:pt idx="227">
                  <c:v>Galbani</c:v>
                </c:pt>
                <c:pt idx="228">
                  <c:v>All Others</c:v>
                </c:pt>
                <c:pt idx="229">
                  <c:v>La Vache Qu</c:v>
                </c:pt>
                <c:pt idx="230">
                  <c:v>All Others</c:v>
                </c:pt>
                <c:pt idx="231">
                  <c:v>All Others</c:v>
                </c:pt>
                <c:pt idx="232">
                  <c:v>Kiri</c:v>
                </c:pt>
                <c:pt idx="233">
                  <c:v>Tartare</c:v>
                </c:pt>
                <c:pt idx="234">
                  <c:v>All Others</c:v>
                </c:pt>
                <c:pt idx="235">
                  <c:v>Salakis</c:v>
                </c:pt>
                <c:pt idx="236">
                  <c:v>Galbani</c:v>
                </c:pt>
                <c:pt idx="237">
                  <c:v>All Others</c:v>
                </c:pt>
                <c:pt idx="238">
                  <c:v>Mini Babybe</c:v>
                </c:pt>
                <c:pt idx="239">
                  <c:v>Mini Babybe</c:v>
                </c:pt>
                <c:pt idx="240">
                  <c:v>La Table M</c:v>
                </c:pt>
                <c:pt idx="241">
                  <c:v>Saint Agur</c:v>
                </c:pt>
                <c:pt idx="242">
                  <c:v>Triballat N</c:v>
                </c:pt>
                <c:pt idx="243">
                  <c:v>All Others</c:v>
                </c:pt>
                <c:pt idx="244">
                  <c:v>All Others</c:v>
                </c:pt>
                <c:pt idx="245">
                  <c:v>Casa Azzurr</c:v>
                </c:pt>
                <c:pt idx="246">
                  <c:v>Casa Azzurr</c:v>
                </c:pt>
                <c:pt idx="247">
                  <c:v>All Others</c:v>
                </c:pt>
                <c:pt idx="248">
                  <c:v>All Others</c:v>
                </c:pt>
                <c:pt idx="249">
                  <c:v>Lactalis: A</c:v>
                </c:pt>
                <c:pt idx="250">
                  <c:v>Galbani</c:v>
                </c:pt>
                <c:pt idx="251">
                  <c:v>All Others</c:v>
                </c:pt>
                <c:pt idx="252">
                  <c:v>Islos</c:v>
                </c:pt>
                <c:pt idx="253">
                  <c:v>Kiri</c:v>
                </c:pt>
                <c:pt idx="254">
                  <c:v>Istara</c:v>
                </c:pt>
                <c:pt idx="255">
                  <c:v>Lactalis: A</c:v>
                </c:pt>
                <c:pt idx="256">
                  <c:v>Paysan Bret</c:v>
                </c:pt>
                <c:pt idx="257">
                  <c:v>Milleret: A</c:v>
                </c:pt>
                <c:pt idx="258">
                  <c:v>Mini Babybe</c:v>
                </c:pt>
                <c:pt idx="259">
                  <c:v>All Others</c:v>
                </c:pt>
                <c:pt idx="260">
                  <c:v>All Others</c:v>
                </c:pt>
                <c:pt idx="261">
                  <c:v>Etoile Du Q</c:v>
                </c:pt>
                <c:pt idx="262">
                  <c:v>Private Lab</c:v>
                </c:pt>
                <c:pt idx="263">
                  <c:v>Boursin</c:v>
                </c:pt>
                <c:pt idx="264">
                  <c:v>Paysan Bret</c:v>
                </c:pt>
                <c:pt idx="265">
                  <c:v>All Others</c:v>
                </c:pt>
                <c:pt idx="266">
                  <c:v>Galbani</c:v>
                </c:pt>
                <c:pt idx="267">
                  <c:v>All Others</c:v>
                </c:pt>
                <c:pt idx="268">
                  <c:v>All Others</c:v>
                </c:pt>
                <c:pt idx="269">
                  <c:v>All Others</c:v>
                </c:pt>
                <c:pt idx="270">
                  <c:v>Galbani</c:v>
                </c:pt>
                <c:pt idx="271">
                  <c:v>Soignon</c:v>
                </c:pt>
                <c:pt idx="272">
                  <c:v>Soignon</c:v>
                </c:pt>
                <c:pt idx="273">
                  <c:v>All Others</c:v>
                </c:pt>
                <c:pt idx="274">
                  <c:v>Triballat N</c:v>
                </c:pt>
                <c:pt idx="275">
                  <c:v>All Others</c:v>
                </c:pt>
                <c:pt idx="276">
                  <c:v>Paysan Bret</c:v>
                </c:pt>
                <c:pt idx="277">
                  <c:v>All Others</c:v>
                </c:pt>
                <c:pt idx="278">
                  <c:v>Boursin</c:v>
                </c:pt>
                <c:pt idx="279">
                  <c:v>All Others</c:v>
                </c:pt>
                <c:pt idx="280">
                  <c:v>All Others</c:v>
                </c:pt>
                <c:pt idx="281">
                  <c:v>Le Rustique</c:v>
                </c:pt>
                <c:pt idx="282">
                  <c:v>Salakis</c:v>
                </c:pt>
                <c:pt idx="283">
                  <c:v>All Others</c:v>
                </c:pt>
                <c:pt idx="284">
                  <c:v>Soignon</c:v>
                </c:pt>
                <c:pt idx="285">
                  <c:v>Islos</c:v>
                </c:pt>
                <c:pt idx="286">
                  <c:v>All Others</c:v>
                </c:pt>
                <c:pt idx="287">
                  <c:v>Carre Frais</c:v>
                </c:pt>
                <c:pt idx="288">
                  <c:v>Triballat N</c:v>
                </c:pt>
                <c:pt idx="289">
                  <c:v>All Others</c:v>
                </c:pt>
                <c:pt idx="290">
                  <c:v>All Others</c:v>
                </c:pt>
                <c:pt idx="291">
                  <c:v>All Others</c:v>
                </c:pt>
                <c:pt idx="292">
                  <c:v>All Others</c:v>
                </c:pt>
                <c:pt idx="293">
                  <c:v>All Others</c:v>
                </c:pt>
                <c:pt idx="294">
                  <c:v>All Others</c:v>
                </c:pt>
                <c:pt idx="295">
                  <c:v>All Others</c:v>
                </c:pt>
                <c:pt idx="296">
                  <c:v>Le Brebiou</c:v>
                </c:pt>
                <c:pt idx="297">
                  <c:v>All Others</c:v>
                </c:pt>
                <c:pt idx="298">
                  <c:v>All Others</c:v>
                </c:pt>
                <c:pt idx="299">
                  <c:v>Boursin</c:v>
                </c:pt>
                <c:pt idx="300">
                  <c:v>All Others</c:v>
                </c:pt>
                <c:pt idx="301">
                  <c:v>All Others</c:v>
                </c:pt>
                <c:pt idx="302">
                  <c:v>Caprice Des</c:v>
                </c:pt>
                <c:pt idx="303">
                  <c:v>All Others</c:v>
                </c:pt>
                <c:pt idx="304">
                  <c:v>All Others</c:v>
                </c:pt>
                <c:pt idx="305">
                  <c:v>P'Tit Louis</c:v>
                </c:pt>
                <c:pt idx="306">
                  <c:v>Les Mousque</c:v>
                </c:pt>
                <c:pt idx="307">
                  <c:v>Boursin</c:v>
                </c:pt>
                <c:pt idx="308">
                  <c:v>All Others</c:v>
                </c:pt>
                <c:pt idx="309">
                  <c:v>All Others</c:v>
                </c:pt>
                <c:pt idx="310">
                  <c:v>Istara</c:v>
                </c:pt>
                <c:pt idx="311">
                  <c:v>Mini Babybe</c:v>
                </c:pt>
                <c:pt idx="312">
                  <c:v>Private Lab</c:v>
                </c:pt>
                <c:pt idx="313">
                  <c:v>Lactalis: A</c:v>
                </c:pt>
                <c:pt idx="314">
                  <c:v>All Others</c:v>
                </c:pt>
                <c:pt idx="315">
                  <c:v>Mini Babybe</c:v>
                </c:pt>
                <c:pt idx="316">
                  <c:v>All Others</c:v>
                </c:pt>
                <c:pt idx="317">
                  <c:v>All Others</c:v>
                </c:pt>
                <c:pt idx="318">
                  <c:v>Casa Azzurr</c:v>
                </c:pt>
                <c:pt idx="319">
                  <c:v>All Others</c:v>
                </c:pt>
                <c:pt idx="320">
                  <c:v>St Moret</c:v>
                </c:pt>
                <c:pt idx="321">
                  <c:v>All Others</c:v>
                </c:pt>
                <c:pt idx="322">
                  <c:v>Chavroux</c:v>
                </c:pt>
                <c:pt idx="323">
                  <c:v>All Others</c:v>
                </c:pt>
                <c:pt idx="324">
                  <c:v>All Others</c:v>
                </c:pt>
                <c:pt idx="325">
                  <c:v>All Others</c:v>
                </c:pt>
                <c:pt idx="326">
                  <c:v>All Others</c:v>
                </c:pt>
                <c:pt idx="327">
                  <c:v>Saint Agur</c:v>
                </c:pt>
                <c:pt idx="328">
                  <c:v>Boursin</c:v>
                </c:pt>
                <c:pt idx="329">
                  <c:v>Private Lab</c:v>
                </c:pt>
                <c:pt idx="330">
                  <c:v>All Others</c:v>
                </c:pt>
                <c:pt idx="331">
                  <c:v>All Others</c:v>
                </c:pt>
                <c:pt idx="332">
                  <c:v>All Others</c:v>
                </c:pt>
                <c:pt idx="333">
                  <c:v>All Others</c:v>
                </c:pt>
                <c:pt idx="334">
                  <c:v>All Others</c:v>
                </c:pt>
                <c:pt idx="335">
                  <c:v>All Others</c:v>
                </c:pt>
                <c:pt idx="336">
                  <c:v>All Others</c:v>
                </c:pt>
                <c:pt idx="337">
                  <c:v>All Others</c:v>
                </c:pt>
                <c:pt idx="338">
                  <c:v>All Others</c:v>
                </c:pt>
                <c:pt idx="339">
                  <c:v>All Others</c:v>
                </c:pt>
                <c:pt idx="340">
                  <c:v>All Others</c:v>
                </c:pt>
                <c:pt idx="341">
                  <c:v>Boursin</c:v>
                </c:pt>
                <c:pt idx="342">
                  <c:v>All Others</c:v>
                </c:pt>
                <c:pt idx="343">
                  <c:v>All Others</c:v>
                </c:pt>
                <c:pt idx="344">
                  <c:v>All Others</c:v>
                </c:pt>
                <c:pt idx="345">
                  <c:v>All Others</c:v>
                </c:pt>
                <c:pt idx="346">
                  <c:v>All Others</c:v>
                </c:pt>
                <c:pt idx="347">
                  <c:v>All Others</c:v>
                </c:pt>
                <c:pt idx="348">
                  <c:v>Lactalis: A</c:v>
                </c:pt>
                <c:pt idx="349">
                  <c:v>All Others</c:v>
                </c:pt>
                <c:pt idx="350">
                  <c:v>All Others</c:v>
                </c:pt>
                <c:pt idx="351">
                  <c:v>All Others</c:v>
                </c:pt>
                <c:pt idx="352">
                  <c:v>All Others</c:v>
                </c:pt>
                <c:pt idx="353">
                  <c:v>All Others</c:v>
                </c:pt>
                <c:pt idx="354">
                  <c:v>All Others</c:v>
                </c:pt>
                <c:pt idx="355">
                  <c:v>All Others</c:v>
                </c:pt>
                <c:pt idx="356">
                  <c:v>President</c:v>
                </c:pt>
                <c:pt idx="357">
                  <c:v>All Others</c:v>
                </c:pt>
                <c:pt idx="358">
                  <c:v>All Others</c:v>
                </c:pt>
                <c:pt idx="359">
                  <c:v>All Others</c:v>
                </c:pt>
                <c:pt idx="360">
                  <c:v>All Others</c:v>
                </c:pt>
                <c:pt idx="361">
                  <c:v>All Others</c:v>
                </c:pt>
                <c:pt idx="362">
                  <c:v>Boursin</c:v>
                </c:pt>
                <c:pt idx="363">
                  <c:v>Chavroux</c:v>
                </c:pt>
                <c:pt idx="364">
                  <c:v>All Others</c:v>
                </c:pt>
                <c:pt idx="365">
                  <c:v>All Others</c:v>
                </c:pt>
                <c:pt idx="366">
                  <c:v>Etorki</c:v>
                </c:pt>
                <c:pt idx="367">
                  <c:v>All Others</c:v>
                </c:pt>
                <c:pt idx="368">
                  <c:v>All Others</c:v>
                </c:pt>
                <c:pt idx="369">
                  <c:v>Salakis</c:v>
                </c:pt>
                <c:pt idx="370">
                  <c:v>All Others</c:v>
                </c:pt>
                <c:pt idx="371">
                  <c:v>Soignon</c:v>
                </c:pt>
                <c:pt idx="372">
                  <c:v>All Others</c:v>
                </c:pt>
                <c:pt idx="373">
                  <c:v>All Others</c:v>
                </c:pt>
                <c:pt idx="374">
                  <c:v>All Others</c:v>
                </c:pt>
                <c:pt idx="375">
                  <c:v>Salakis</c:v>
                </c:pt>
                <c:pt idx="376">
                  <c:v>All Others</c:v>
                </c:pt>
                <c:pt idx="377">
                  <c:v>All Others</c:v>
                </c:pt>
                <c:pt idx="378">
                  <c:v>Tartare</c:v>
                </c:pt>
                <c:pt idx="379">
                  <c:v>All Others</c:v>
                </c:pt>
                <c:pt idx="380">
                  <c:v>All Others</c:v>
                </c:pt>
                <c:pt idx="381">
                  <c:v>All Others</c:v>
                </c:pt>
                <c:pt idx="382">
                  <c:v>All Others</c:v>
                </c:pt>
                <c:pt idx="383">
                  <c:v>All Others</c:v>
                </c:pt>
                <c:pt idx="384">
                  <c:v>All Others</c:v>
                </c:pt>
                <c:pt idx="385">
                  <c:v>All Others</c:v>
                </c:pt>
                <c:pt idx="386">
                  <c:v>All Others</c:v>
                </c:pt>
                <c:pt idx="387">
                  <c:v>All Others</c:v>
                </c:pt>
                <c:pt idx="388">
                  <c:v>All Others</c:v>
                </c:pt>
                <c:pt idx="389">
                  <c:v>All Others</c:v>
                </c:pt>
                <c:pt idx="390">
                  <c:v>All Others</c:v>
                </c:pt>
                <c:pt idx="391">
                  <c:v>All Others</c:v>
                </c:pt>
                <c:pt idx="392">
                  <c:v>All Others</c:v>
                </c:pt>
                <c:pt idx="393">
                  <c:v>All Others</c:v>
                </c:pt>
                <c:pt idx="394">
                  <c:v>All Others</c:v>
                </c:pt>
                <c:pt idx="395">
                  <c:v>All Others</c:v>
                </c:pt>
                <c:pt idx="396">
                  <c:v>All Others</c:v>
                </c:pt>
                <c:pt idx="397">
                  <c:v>All Others</c:v>
                </c:pt>
                <c:pt idx="398">
                  <c:v>All Others</c:v>
                </c:pt>
                <c:pt idx="399">
                  <c:v>All Others</c:v>
                </c:pt>
                <c:pt idx="400">
                  <c:v>All Others</c:v>
                </c:pt>
                <c:pt idx="401">
                  <c:v>All Others</c:v>
                </c:pt>
                <c:pt idx="402">
                  <c:v>All Others</c:v>
                </c:pt>
                <c:pt idx="403">
                  <c:v>Entremont</c:v>
                </c:pt>
                <c:pt idx="404">
                  <c:v>All Others</c:v>
                </c:pt>
                <c:pt idx="405">
                  <c:v>All Others</c:v>
                </c:pt>
                <c:pt idx="406">
                  <c:v>All Others</c:v>
                </c:pt>
                <c:pt idx="407">
                  <c:v>All Others</c:v>
                </c:pt>
                <c:pt idx="408">
                  <c:v>All Others</c:v>
                </c:pt>
                <c:pt idx="409">
                  <c:v>All Others</c:v>
                </c:pt>
                <c:pt idx="410">
                  <c:v>Etoile Du V</c:v>
                </c:pt>
                <c:pt idx="411">
                  <c:v>All Others</c:v>
                </c:pt>
                <c:pt idx="412">
                  <c:v>All Others</c:v>
                </c:pt>
                <c:pt idx="413">
                  <c:v>Entremont</c:v>
                </c:pt>
                <c:pt idx="414">
                  <c:v>All Others</c:v>
                </c:pt>
                <c:pt idx="415">
                  <c:v>All Others</c:v>
                </c:pt>
                <c:pt idx="416">
                  <c:v>Entremont</c:v>
                </c:pt>
                <c:pt idx="417">
                  <c:v>All Others</c:v>
                </c:pt>
                <c:pt idx="418">
                  <c:v>All Others</c:v>
                </c:pt>
                <c:pt idx="419">
                  <c:v>Other Suppl</c:v>
                </c:pt>
                <c:pt idx="420">
                  <c:v>All Others</c:v>
                </c:pt>
                <c:pt idx="421">
                  <c:v>All Others</c:v>
                </c:pt>
                <c:pt idx="422">
                  <c:v>All Others</c:v>
                </c:pt>
                <c:pt idx="423">
                  <c:v>Petit Billy</c:v>
                </c:pt>
                <c:pt idx="424">
                  <c:v>All Others</c:v>
                </c:pt>
                <c:pt idx="425">
                  <c:v>All Others</c:v>
                </c:pt>
                <c:pt idx="426">
                  <c:v>All Others</c:v>
                </c:pt>
                <c:pt idx="427">
                  <c:v>All Others</c:v>
                </c:pt>
                <c:pt idx="428">
                  <c:v>All Others</c:v>
                </c:pt>
                <c:pt idx="429">
                  <c:v>All Others</c:v>
                </c:pt>
                <c:pt idx="430">
                  <c:v>All Others</c:v>
                </c:pt>
                <c:pt idx="431">
                  <c:v>All Others</c:v>
                </c:pt>
                <c:pt idx="432">
                  <c:v>All Others</c:v>
                </c:pt>
                <c:pt idx="433">
                  <c:v>All Others</c:v>
                </c:pt>
                <c:pt idx="434">
                  <c:v>All Others</c:v>
                </c:pt>
                <c:pt idx="435">
                  <c:v>All Others</c:v>
                </c:pt>
                <c:pt idx="436">
                  <c:v>All Others</c:v>
                </c:pt>
                <c:pt idx="437">
                  <c:v>All Others</c:v>
                </c:pt>
                <c:pt idx="438">
                  <c:v>All Others</c:v>
                </c:pt>
                <c:pt idx="439">
                  <c:v>All Others</c:v>
                </c:pt>
                <c:pt idx="440">
                  <c:v>Chavroux</c:v>
                </c:pt>
                <c:pt idx="441">
                  <c:v>All Others</c:v>
                </c:pt>
                <c:pt idx="442">
                  <c:v>All Others</c:v>
                </c:pt>
                <c:pt idx="443">
                  <c:v>All Others</c:v>
                </c:pt>
                <c:pt idx="444">
                  <c:v>All Others</c:v>
                </c:pt>
                <c:pt idx="445">
                  <c:v>All Others</c:v>
                </c:pt>
                <c:pt idx="446">
                  <c:v>All Others</c:v>
                </c:pt>
                <c:pt idx="447">
                  <c:v>Paysan Bret</c:v>
                </c:pt>
                <c:pt idx="448">
                  <c:v>All Others</c:v>
                </c:pt>
                <c:pt idx="449">
                  <c:v>All Others</c:v>
                </c:pt>
                <c:pt idx="450">
                  <c:v>All Others</c:v>
                </c:pt>
                <c:pt idx="451">
                  <c:v>Corsica</c:v>
                </c:pt>
                <c:pt idx="452">
                  <c:v>All Others</c:v>
                </c:pt>
                <c:pt idx="453">
                  <c:v>All Others</c:v>
                </c:pt>
                <c:pt idx="454">
                  <c:v>All Others</c:v>
                </c:pt>
                <c:pt idx="455">
                  <c:v>All Others</c:v>
                </c:pt>
                <c:pt idx="456">
                  <c:v>All Others</c:v>
                </c:pt>
                <c:pt idx="457">
                  <c:v>All Others</c:v>
                </c:pt>
                <c:pt idx="458">
                  <c:v>All Others</c:v>
                </c:pt>
                <c:pt idx="459">
                  <c:v>All Others</c:v>
                </c:pt>
                <c:pt idx="460">
                  <c:v>All Others</c:v>
                </c:pt>
                <c:pt idx="461">
                  <c:v>Savencia: A</c:v>
                </c:pt>
                <c:pt idx="462">
                  <c:v>All Others</c:v>
                </c:pt>
                <c:pt idx="463">
                  <c:v>Savencia: A</c:v>
                </c:pt>
                <c:pt idx="464">
                  <c:v>All Others</c:v>
                </c:pt>
                <c:pt idx="465">
                  <c:v>All Others</c:v>
                </c:pt>
                <c:pt idx="466">
                  <c:v>All Others</c:v>
                </c:pt>
                <c:pt idx="467">
                  <c:v>All Others</c:v>
                </c:pt>
                <c:pt idx="468">
                  <c:v>Mini Babybe</c:v>
                </c:pt>
                <c:pt idx="469">
                  <c:v>All Others</c:v>
                </c:pt>
                <c:pt idx="470">
                  <c:v>All Others</c:v>
                </c:pt>
                <c:pt idx="471">
                  <c:v>All Others</c:v>
                </c:pt>
                <c:pt idx="472">
                  <c:v>All Others</c:v>
                </c:pt>
                <c:pt idx="473">
                  <c:v>All Others</c:v>
                </c:pt>
                <c:pt idx="474">
                  <c:v>All Others</c:v>
                </c:pt>
                <c:pt idx="475">
                  <c:v>All Others</c:v>
                </c:pt>
                <c:pt idx="476">
                  <c:v>All Others</c:v>
                </c:pt>
                <c:pt idx="477">
                  <c:v>Netto</c:v>
                </c:pt>
                <c:pt idx="478">
                  <c:v>Private Lab</c:v>
                </c:pt>
                <c:pt idx="479">
                  <c:v>All Others</c:v>
                </c:pt>
                <c:pt idx="480">
                  <c:v>All Others</c:v>
                </c:pt>
                <c:pt idx="481">
                  <c:v>Lactalis: A</c:v>
                </c:pt>
                <c:pt idx="482">
                  <c:v>All Others</c:v>
                </c:pt>
                <c:pt idx="483">
                  <c:v>All Others</c:v>
                </c:pt>
                <c:pt idx="484">
                  <c:v>All Others</c:v>
                </c:pt>
                <c:pt idx="485">
                  <c:v>All Others</c:v>
                </c:pt>
                <c:pt idx="486">
                  <c:v>All Others</c:v>
                </c:pt>
                <c:pt idx="487">
                  <c:v>La Vache Qu</c:v>
                </c:pt>
                <c:pt idx="488">
                  <c:v>All Others</c:v>
                </c:pt>
                <c:pt idx="489">
                  <c:v>All Others</c:v>
                </c:pt>
                <c:pt idx="490">
                  <c:v>All Others</c:v>
                </c:pt>
                <c:pt idx="491">
                  <c:v>All Others</c:v>
                </c:pt>
                <c:pt idx="492">
                  <c:v>Kiri</c:v>
                </c:pt>
                <c:pt idx="493">
                  <c:v>All Others</c:v>
                </c:pt>
              </c:strCache>
            </c:strRef>
          </c:cat>
          <c:val>
            <c:numRef>
              <c:f>Sheet1!$B$2:$B$495</c:f>
              <c:numCache>
                <c:formatCode>General</c:formatCode>
                <c:ptCount val="494"/>
                <c:pt idx="0">
                  <c:v>0.99</c:v>
                </c:pt>
                <c:pt idx="1">
                  <c:v>0.99</c:v>
                </c:pt>
                <c:pt idx="2">
                  <c:v>0.94</c:v>
                </c:pt>
                <c:pt idx="3">
                  <c:v>0.93</c:v>
                </c:pt>
                <c:pt idx="4">
                  <c:v>1</c:v>
                </c:pt>
                <c:pt idx="5">
                  <c:v>0.98</c:v>
                </c:pt>
                <c:pt idx="6">
                  <c:v>0.99</c:v>
                </c:pt>
                <c:pt idx="7">
                  <c:v>1</c:v>
                </c:pt>
                <c:pt idx="8">
                  <c:v>0.99</c:v>
                </c:pt>
                <c:pt idx="9">
                  <c:v>0.94</c:v>
                </c:pt>
                <c:pt idx="10">
                  <c:v>0.98</c:v>
                </c:pt>
                <c:pt idx="11">
                  <c:v>0.88</c:v>
                </c:pt>
                <c:pt idx="12">
                  <c:v>0.91</c:v>
                </c:pt>
                <c:pt idx="13">
                  <c:v>0.98</c:v>
                </c:pt>
                <c:pt idx="14">
                  <c:v>0.96</c:v>
                </c:pt>
                <c:pt idx="15">
                  <c:v>0.99</c:v>
                </c:pt>
                <c:pt idx="16">
                  <c:v>0.98</c:v>
                </c:pt>
                <c:pt idx="17">
                  <c:v>0.98</c:v>
                </c:pt>
                <c:pt idx="18">
                  <c:v>0.97</c:v>
                </c:pt>
                <c:pt idx="19">
                  <c:v>0.98</c:v>
                </c:pt>
                <c:pt idx="20">
                  <c:v>0.99</c:v>
                </c:pt>
                <c:pt idx="21">
                  <c:v>0.88</c:v>
                </c:pt>
                <c:pt idx="22">
                  <c:v>0.95</c:v>
                </c:pt>
                <c:pt idx="23">
                  <c:v>0.97</c:v>
                </c:pt>
                <c:pt idx="24">
                  <c:v>0.94</c:v>
                </c:pt>
                <c:pt idx="25">
                  <c:v>1</c:v>
                </c:pt>
                <c:pt idx="26">
                  <c:v>0.99</c:v>
                </c:pt>
                <c:pt idx="27">
                  <c:v>0.78</c:v>
                </c:pt>
                <c:pt idx="28">
                  <c:v>0.95</c:v>
                </c:pt>
                <c:pt idx="29">
                  <c:v>0.68</c:v>
                </c:pt>
                <c:pt idx="30">
                  <c:v>0.94</c:v>
                </c:pt>
                <c:pt idx="31">
                  <c:v>0.93</c:v>
                </c:pt>
                <c:pt idx="32">
                  <c:v>0.97</c:v>
                </c:pt>
                <c:pt idx="33">
                  <c:v>0.76</c:v>
                </c:pt>
                <c:pt idx="34">
                  <c:v>0.97</c:v>
                </c:pt>
                <c:pt idx="35">
                  <c:v>0.85</c:v>
                </c:pt>
                <c:pt idx="36">
                  <c:v>0.94</c:v>
                </c:pt>
                <c:pt idx="37">
                  <c:v>0.91</c:v>
                </c:pt>
                <c:pt idx="38">
                  <c:v>0.93</c:v>
                </c:pt>
                <c:pt idx="39">
                  <c:v>0.87</c:v>
                </c:pt>
                <c:pt idx="40">
                  <c:v>0.96</c:v>
                </c:pt>
                <c:pt idx="41">
                  <c:v>0.68</c:v>
                </c:pt>
                <c:pt idx="42">
                  <c:v>0.73</c:v>
                </c:pt>
                <c:pt idx="43">
                  <c:v>0.94</c:v>
                </c:pt>
                <c:pt idx="44">
                  <c:v>0.92</c:v>
                </c:pt>
                <c:pt idx="45">
                  <c:v>0.95</c:v>
                </c:pt>
                <c:pt idx="46">
                  <c:v>0.9</c:v>
                </c:pt>
                <c:pt idx="47">
                  <c:v>0.67</c:v>
                </c:pt>
                <c:pt idx="48">
                  <c:v>0.95</c:v>
                </c:pt>
                <c:pt idx="49">
                  <c:v>0.98</c:v>
                </c:pt>
                <c:pt idx="50">
                  <c:v>0.87</c:v>
                </c:pt>
                <c:pt idx="51">
                  <c:v>0.92</c:v>
                </c:pt>
                <c:pt idx="52">
                  <c:v>0.85</c:v>
                </c:pt>
                <c:pt idx="53">
                  <c:v>0.91</c:v>
                </c:pt>
                <c:pt idx="54">
                  <c:v>0.91</c:v>
                </c:pt>
                <c:pt idx="55">
                  <c:v>0.89</c:v>
                </c:pt>
                <c:pt idx="56">
                  <c:v>0.92</c:v>
                </c:pt>
                <c:pt idx="57">
                  <c:v>0.98</c:v>
                </c:pt>
                <c:pt idx="58">
                  <c:v>0.74</c:v>
                </c:pt>
                <c:pt idx="59">
                  <c:v>0.98</c:v>
                </c:pt>
                <c:pt idx="60">
                  <c:v>0.9</c:v>
                </c:pt>
                <c:pt idx="61">
                  <c:v>0.7</c:v>
                </c:pt>
                <c:pt idx="62">
                  <c:v>0.66</c:v>
                </c:pt>
                <c:pt idx="63">
                  <c:v>0.47</c:v>
                </c:pt>
                <c:pt idx="64">
                  <c:v>0.83</c:v>
                </c:pt>
                <c:pt idx="65">
                  <c:v>0.63</c:v>
                </c:pt>
                <c:pt idx="66">
                  <c:v>0.9</c:v>
                </c:pt>
                <c:pt idx="67">
                  <c:v>0.85</c:v>
                </c:pt>
                <c:pt idx="68">
                  <c:v>0.84</c:v>
                </c:pt>
                <c:pt idx="69">
                  <c:v>0.53</c:v>
                </c:pt>
                <c:pt idx="70">
                  <c:v>0.63</c:v>
                </c:pt>
                <c:pt idx="71">
                  <c:v>0.77</c:v>
                </c:pt>
                <c:pt idx="72">
                  <c:v>0.76</c:v>
                </c:pt>
                <c:pt idx="73">
                  <c:v>0.62</c:v>
                </c:pt>
                <c:pt idx="74">
                  <c:v>0.8</c:v>
                </c:pt>
                <c:pt idx="75">
                  <c:v>0.75</c:v>
                </c:pt>
                <c:pt idx="76">
                  <c:v>0.64</c:v>
                </c:pt>
                <c:pt idx="77">
                  <c:v>0.88</c:v>
                </c:pt>
                <c:pt idx="78">
                  <c:v>0.87</c:v>
                </c:pt>
                <c:pt idx="79">
                  <c:v>0.52</c:v>
                </c:pt>
                <c:pt idx="80">
                  <c:v>0.9</c:v>
                </c:pt>
                <c:pt idx="81">
                  <c:v>0.35</c:v>
                </c:pt>
                <c:pt idx="82">
                  <c:v>0.96</c:v>
                </c:pt>
                <c:pt idx="83">
                  <c:v>0.75</c:v>
                </c:pt>
                <c:pt idx="84">
                  <c:v>0.6</c:v>
                </c:pt>
                <c:pt idx="85">
                  <c:v>0.56000000000000005</c:v>
                </c:pt>
                <c:pt idx="86">
                  <c:v>0.81</c:v>
                </c:pt>
                <c:pt idx="87">
                  <c:v>0.89</c:v>
                </c:pt>
                <c:pt idx="88">
                  <c:v>0.87</c:v>
                </c:pt>
                <c:pt idx="89">
                  <c:v>0.68</c:v>
                </c:pt>
                <c:pt idx="90">
                  <c:v>0.7</c:v>
                </c:pt>
                <c:pt idx="91">
                  <c:v>0.79</c:v>
                </c:pt>
                <c:pt idx="92">
                  <c:v>0.74</c:v>
                </c:pt>
                <c:pt idx="93">
                  <c:v>0.87</c:v>
                </c:pt>
                <c:pt idx="94">
                  <c:v>0.7</c:v>
                </c:pt>
                <c:pt idx="95">
                  <c:v>0.79</c:v>
                </c:pt>
                <c:pt idx="96">
                  <c:v>0.74</c:v>
                </c:pt>
                <c:pt idx="97">
                  <c:v>0.75</c:v>
                </c:pt>
                <c:pt idx="98">
                  <c:v>0.66</c:v>
                </c:pt>
                <c:pt idx="99">
                  <c:v>0.7</c:v>
                </c:pt>
                <c:pt idx="100">
                  <c:v>0.53</c:v>
                </c:pt>
                <c:pt idx="101">
                  <c:v>0.6</c:v>
                </c:pt>
                <c:pt idx="102">
                  <c:v>0.8</c:v>
                </c:pt>
                <c:pt idx="103">
                  <c:v>0.37</c:v>
                </c:pt>
                <c:pt idx="104">
                  <c:v>0.67</c:v>
                </c:pt>
                <c:pt idx="105">
                  <c:v>0.7</c:v>
                </c:pt>
                <c:pt idx="106">
                  <c:v>0.54</c:v>
                </c:pt>
                <c:pt idx="107">
                  <c:v>0.74</c:v>
                </c:pt>
                <c:pt idx="108">
                  <c:v>0.81</c:v>
                </c:pt>
                <c:pt idx="109">
                  <c:v>0.86</c:v>
                </c:pt>
                <c:pt idx="110">
                  <c:v>0.75</c:v>
                </c:pt>
                <c:pt idx="111">
                  <c:v>0.7</c:v>
                </c:pt>
                <c:pt idx="112">
                  <c:v>0.82</c:v>
                </c:pt>
                <c:pt idx="113">
                  <c:v>0.4</c:v>
                </c:pt>
                <c:pt idx="114">
                  <c:v>0.46</c:v>
                </c:pt>
                <c:pt idx="115">
                  <c:v>0.92</c:v>
                </c:pt>
                <c:pt idx="116">
                  <c:v>0.65</c:v>
                </c:pt>
                <c:pt idx="117">
                  <c:v>0.41</c:v>
                </c:pt>
                <c:pt idx="118">
                  <c:v>0.89</c:v>
                </c:pt>
                <c:pt idx="119">
                  <c:v>0.68</c:v>
                </c:pt>
                <c:pt idx="120">
                  <c:v>0.69</c:v>
                </c:pt>
                <c:pt idx="121">
                  <c:v>0.55000000000000004</c:v>
                </c:pt>
                <c:pt idx="122">
                  <c:v>0.67</c:v>
                </c:pt>
                <c:pt idx="123">
                  <c:v>0.62</c:v>
                </c:pt>
                <c:pt idx="124">
                  <c:v>0.67</c:v>
                </c:pt>
                <c:pt idx="125">
                  <c:v>0.6</c:v>
                </c:pt>
                <c:pt idx="126">
                  <c:v>0.74</c:v>
                </c:pt>
                <c:pt idx="127">
                  <c:v>0.43</c:v>
                </c:pt>
                <c:pt idx="128">
                  <c:v>0.56999999999999995</c:v>
                </c:pt>
                <c:pt idx="129">
                  <c:v>0.77</c:v>
                </c:pt>
                <c:pt idx="130">
                  <c:v>0.53</c:v>
                </c:pt>
                <c:pt idx="131">
                  <c:v>0.67</c:v>
                </c:pt>
                <c:pt idx="132">
                  <c:v>0.49</c:v>
                </c:pt>
                <c:pt idx="133">
                  <c:v>0.55000000000000004</c:v>
                </c:pt>
                <c:pt idx="134">
                  <c:v>0.72</c:v>
                </c:pt>
                <c:pt idx="135">
                  <c:v>0.85</c:v>
                </c:pt>
                <c:pt idx="136">
                  <c:v>0.51</c:v>
                </c:pt>
                <c:pt idx="137">
                  <c:v>0.85</c:v>
                </c:pt>
                <c:pt idx="138">
                  <c:v>0.51</c:v>
                </c:pt>
                <c:pt idx="139">
                  <c:v>0.51</c:v>
                </c:pt>
                <c:pt idx="140">
                  <c:v>0.62</c:v>
                </c:pt>
                <c:pt idx="141">
                  <c:v>0.39</c:v>
                </c:pt>
                <c:pt idx="142">
                  <c:v>0.83</c:v>
                </c:pt>
                <c:pt idx="143">
                  <c:v>0.16</c:v>
                </c:pt>
                <c:pt idx="144">
                  <c:v>0.51</c:v>
                </c:pt>
                <c:pt idx="145">
                  <c:v>0.47</c:v>
                </c:pt>
                <c:pt idx="146">
                  <c:v>0.34</c:v>
                </c:pt>
                <c:pt idx="147">
                  <c:v>0.78</c:v>
                </c:pt>
                <c:pt idx="148">
                  <c:v>0.52</c:v>
                </c:pt>
                <c:pt idx="149">
                  <c:v>0.55000000000000004</c:v>
                </c:pt>
                <c:pt idx="150">
                  <c:v>0.42</c:v>
                </c:pt>
                <c:pt idx="151">
                  <c:v>0.5</c:v>
                </c:pt>
                <c:pt idx="152">
                  <c:v>0.47</c:v>
                </c:pt>
                <c:pt idx="153">
                  <c:v>0.51</c:v>
                </c:pt>
                <c:pt idx="154">
                  <c:v>0.39</c:v>
                </c:pt>
                <c:pt idx="155">
                  <c:v>0.61</c:v>
                </c:pt>
                <c:pt idx="156">
                  <c:v>0.28999999999999998</c:v>
                </c:pt>
                <c:pt idx="157">
                  <c:v>0.49</c:v>
                </c:pt>
                <c:pt idx="158">
                  <c:v>0.5</c:v>
                </c:pt>
                <c:pt idx="159">
                  <c:v>0.43</c:v>
                </c:pt>
                <c:pt idx="160">
                  <c:v>0.49</c:v>
                </c:pt>
                <c:pt idx="161">
                  <c:v>0.59</c:v>
                </c:pt>
                <c:pt idx="162">
                  <c:v>0.53</c:v>
                </c:pt>
                <c:pt idx="163">
                  <c:v>0.75</c:v>
                </c:pt>
                <c:pt idx="164">
                  <c:v>0.51</c:v>
                </c:pt>
                <c:pt idx="165">
                  <c:v>0.37</c:v>
                </c:pt>
                <c:pt idx="166">
                  <c:v>0.39</c:v>
                </c:pt>
                <c:pt idx="167">
                  <c:v>0.24</c:v>
                </c:pt>
                <c:pt idx="168">
                  <c:v>0.37</c:v>
                </c:pt>
                <c:pt idx="169">
                  <c:v>0.32</c:v>
                </c:pt>
                <c:pt idx="170">
                  <c:v>0.48</c:v>
                </c:pt>
                <c:pt idx="171">
                  <c:v>0.27</c:v>
                </c:pt>
                <c:pt idx="172">
                  <c:v>0.2</c:v>
                </c:pt>
                <c:pt idx="173">
                  <c:v>0.67</c:v>
                </c:pt>
                <c:pt idx="174">
                  <c:v>0.42</c:v>
                </c:pt>
                <c:pt idx="175">
                  <c:v>0.73</c:v>
                </c:pt>
                <c:pt idx="176">
                  <c:v>0.68</c:v>
                </c:pt>
                <c:pt idx="177">
                  <c:v>0.19</c:v>
                </c:pt>
                <c:pt idx="178">
                  <c:v>0.37</c:v>
                </c:pt>
                <c:pt idx="179">
                  <c:v>0.24</c:v>
                </c:pt>
                <c:pt idx="180">
                  <c:v>0.56000000000000005</c:v>
                </c:pt>
                <c:pt idx="181">
                  <c:v>0.4</c:v>
                </c:pt>
                <c:pt idx="182">
                  <c:v>0.16</c:v>
                </c:pt>
                <c:pt idx="183">
                  <c:v>0.4</c:v>
                </c:pt>
                <c:pt idx="184">
                  <c:v>0.41</c:v>
                </c:pt>
                <c:pt idx="185">
                  <c:v>0.75</c:v>
                </c:pt>
                <c:pt idx="186">
                  <c:v>0.26</c:v>
                </c:pt>
                <c:pt idx="187">
                  <c:v>0.24</c:v>
                </c:pt>
                <c:pt idx="188">
                  <c:v>0.28999999999999998</c:v>
                </c:pt>
                <c:pt idx="189">
                  <c:v>0.28999999999999998</c:v>
                </c:pt>
                <c:pt idx="190">
                  <c:v>0.52</c:v>
                </c:pt>
                <c:pt idx="191">
                  <c:v>0.31</c:v>
                </c:pt>
                <c:pt idx="192">
                  <c:v>0.39</c:v>
                </c:pt>
                <c:pt idx="193">
                  <c:v>0.31</c:v>
                </c:pt>
                <c:pt idx="194">
                  <c:v>0.64</c:v>
                </c:pt>
                <c:pt idx="195">
                  <c:v>0.64</c:v>
                </c:pt>
                <c:pt idx="196">
                  <c:v>0.73</c:v>
                </c:pt>
                <c:pt idx="197">
                  <c:v>0.34</c:v>
                </c:pt>
                <c:pt idx="198">
                  <c:v>0.69</c:v>
                </c:pt>
                <c:pt idx="199">
                  <c:v>0.44</c:v>
                </c:pt>
                <c:pt idx="200">
                  <c:v>0.77</c:v>
                </c:pt>
                <c:pt idx="201">
                  <c:v>0.2</c:v>
                </c:pt>
                <c:pt idx="202">
                  <c:v>0.56999999999999995</c:v>
                </c:pt>
                <c:pt idx="203">
                  <c:v>0.36</c:v>
                </c:pt>
                <c:pt idx="204">
                  <c:v>0.24</c:v>
                </c:pt>
                <c:pt idx="205">
                  <c:v>0.36</c:v>
                </c:pt>
                <c:pt idx="206">
                  <c:v>0.36</c:v>
                </c:pt>
                <c:pt idx="207">
                  <c:v>0.28000000000000003</c:v>
                </c:pt>
                <c:pt idx="208">
                  <c:v>0.57999999999999996</c:v>
                </c:pt>
                <c:pt idx="209">
                  <c:v>0.34</c:v>
                </c:pt>
                <c:pt idx="210">
                  <c:v>0.67</c:v>
                </c:pt>
                <c:pt idx="211">
                  <c:v>0.54</c:v>
                </c:pt>
                <c:pt idx="212">
                  <c:v>0.44</c:v>
                </c:pt>
                <c:pt idx="213">
                  <c:v>0.47</c:v>
                </c:pt>
                <c:pt idx="214">
                  <c:v>0.18</c:v>
                </c:pt>
                <c:pt idx="215">
                  <c:v>0.08</c:v>
                </c:pt>
                <c:pt idx="216">
                  <c:v>0.67</c:v>
                </c:pt>
                <c:pt idx="217">
                  <c:v>0.1</c:v>
                </c:pt>
                <c:pt idx="218">
                  <c:v>0.26</c:v>
                </c:pt>
                <c:pt idx="219">
                  <c:v>0.24</c:v>
                </c:pt>
                <c:pt idx="220">
                  <c:v>0.13</c:v>
                </c:pt>
                <c:pt idx="221">
                  <c:v>0.28000000000000003</c:v>
                </c:pt>
                <c:pt idx="222">
                  <c:v>0.14000000000000001</c:v>
                </c:pt>
                <c:pt idx="223">
                  <c:v>0.59</c:v>
                </c:pt>
                <c:pt idx="224">
                  <c:v>0.21</c:v>
                </c:pt>
                <c:pt idx="225">
                  <c:v>0.46</c:v>
                </c:pt>
                <c:pt idx="226">
                  <c:v>0.69</c:v>
                </c:pt>
                <c:pt idx="227">
                  <c:v>0.14000000000000001</c:v>
                </c:pt>
                <c:pt idx="228">
                  <c:v>0.03</c:v>
                </c:pt>
                <c:pt idx="229">
                  <c:v>0.33</c:v>
                </c:pt>
                <c:pt idx="230">
                  <c:v>0.21</c:v>
                </c:pt>
                <c:pt idx="231">
                  <c:v>7.0000000000000007E-2</c:v>
                </c:pt>
                <c:pt idx="232">
                  <c:v>0.38</c:v>
                </c:pt>
                <c:pt idx="233">
                  <c:v>0.16</c:v>
                </c:pt>
                <c:pt idx="234">
                  <c:v>0.16</c:v>
                </c:pt>
                <c:pt idx="235">
                  <c:v>0.22</c:v>
                </c:pt>
                <c:pt idx="236">
                  <c:v>0.22</c:v>
                </c:pt>
                <c:pt idx="237">
                  <c:v>0.09</c:v>
                </c:pt>
                <c:pt idx="238">
                  <c:v>0.73</c:v>
                </c:pt>
                <c:pt idx="239">
                  <c:v>0.3</c:v>
                </c:pt>
                <c:pt idx="240">
                  <c:v>0.11</c:v>
                </c:pt>
                <c:pt idx="241">
                  <c:v>0.41</c:v>
                </c:pt>
                <c:pt idx="242">
                  <c:v>0.25</c:v>
                </c:pt>
                <c:pt idx="243">
                  <c:v>0.1</c:v>
                </c:pt>
                <c:pt idx="244">
                  <c:v>0.16</c:v>
                </c:pt>
                <c:pt idx="245">
                  <c:v>0.13</c:v>
                </c:pt>
                <c:pt idx="246">
                  <c:v>0.36</c:v>
                </c:pt>
                <c:pt idx="247">
                  <c:v>0.16</c:v>
                </c:pt>
                <c:pt idx="248">
                  <c:v>0.41</c:v>
                </c:pt>
                <c:pt idx="249">
                  <c:v>0.24</c:v>
                </c:pt>
                <c:pt idx="250">
                  <c:v>0.27</c:v>
                </c:pt>
                <c:pt idx="251">
                  <c:v>7.0000000000000007E-2</c:v>
                </c:pt>
                <c:pt idx="252">
                  <c:v>0.2</c:v>
                </c:pt>
                <c:pt idx="253">
                  <c:v>0.5</c:v>
                </c:pt>
                <c:pt idx="254">
                  <c:v>0.09</c:v>
                </c:pt>
                <c:pt idx="255">
                  <c:v>0.12</c:v>
                </c:pt>
                <c:pt idx="256">
                  <c:v>0.17</c:v>
                </c:pt>
                <c:pt idx="257">
                  <c:v>0.08</c:v>
                </c:pt>
                <c:pt idx="258">
                  <c:v>0.28999999999999998</c:v>
                </c:pt>
                <c:pt idx="259">
                  <c:v>0.11</c:v>
                </c:pt>
                <c:pt idx="260">
                  <c:v>0.1</c:v>
                </c:pt>
                <c:pt idx="261">
                  <c:v>0.06</c:v>
                </c:pt>
                <c:pt idx="262">
                  <c:v>0.48</c:v>
                </c:pt>
                <c:pt idx="263">
                  <c:v>0.43</c:v>
                </c:pt>
                <c:pt idx="264">
                  <c:v>0.16</c:v>
                </c:pt>
                <c:pt idx="265">
                  <c:v>0.09</c:v>
                </c:pt>
                <c:pt idx="266">
                  <c:v>0.14000000000000001</c:v>
                </c:pt>
                <c:pt idx="267">
                  <c:v>0.16</c:v>
                </c:pt>
                <c:pt idx="268">
                  <c:v>0.15</c:v>
                </c:pt>
                <c:pt idx="269">
                  <c:v>0.19</c:v>
                </c:pt>
                <c:pt idx="270">
                  <c:v>0.09</c:v>
                </c:pt>
                <c:pt idx="271">
                  <c:v>0.17</c:v>
                </c:pt>
                <c:pt idx="272">
                  <c:v>0.19</c:v>
                </c:pt>
                <c:pt idx="273">
                  <c:v>0.1</c:v>
                </c:pt>
                <c:pt idx="274">
                  <c:v>0.12</c:v>
                </c:pt>
                <c:pt idx="275">
                  <c:v>0.05</c:v>
                </c:pt>
                <c:pt idx="276">
                  <c:v>0.03</c:v>
                </c:pt>
                <c:pt idx="277">
                  <c:v>0.18</c:v>
                </c:pt>
                <c:pt idx="278">
                  <c:v>0.47</c:v>
                </c:pt>
                <c:pt idx="279">
                  <c:v>0.05</c:v>
                </c:pt>
                <c:pt idx="280">
                  <c:v>0.12</c:v>
                </c:pt>
                <c:pt idx="281">
                  <c:v>0.13</c:v>
                </c:pt>
                <c:pt idx="282">
                  <c:v>0.13</c:v>
                </c:pt>
                <c:pt idx="283">
                  <c:v>0.11</c:v>
                </c:pt>
                <c:pt idx="284">
                  <c:v>0.13</c:v>
                </c:pt>
                <c:pt idx="285">
                  <c:v>0.18</c:v>
                </c:pt>
                <c:pt idx="286">
                  <c:v>0.06</c:v>
                </c:pt>
                <c:pt idx="287">
                  <c:v>0.1</c:v>
                </c:pt>
                <c:pt idx="288">
                  <c:v>0.11</c:v>
                </c:pt>
                <c:pt idx="289">
                  <c:v>0.03</c:v>
                </c:pt>
                <c:pt idx="290">
                  <c:v>0.26</c:v>
                </c:pt>
                <c:pt idx="291">
                  <c:v>0.06</c:v>
                </c:pt>
                <c:pt idx="292">
                  <c:v>0.1</c:v>
                </c:pt>
                <c:pt idx="293">
                  <c:v>0.03</c:v>
                </c:pt>
                <c:pt idx="294">
                  <c:v>0.05</c:v>
                </c:pt>
                <c:pt idx="295">
                  <c:v>0.03</c:v>
                </c:pt>
                <c:pt idx="296">
                  <c:v>0.41</c:v>
                </c:pt>
                <c:pt idx="297">
                  <c:v>0.06</c:v>
                </c:pt>
                <c:pt idx="298">
                  <c:v>7.0000000000000007E-2</c:v>
                </c:pt>
                <c:pt idx="299">
                  <c:v>0.12</c:v>
                </c:pt>
                <c:pt idx="300">
                  <c:v>7.0000000000000007E-2</c:v>
                </c:pt>
                <c:pt idx="301">
                  <c:v>0.01</c:v>
                </c:pt>
                <c:pt idx="302">
                  <c:v>0.03</c:v>
                </c:pt>
                <c:pt idx="303">
                  <c:v>0.03</c:v>
                </c:pt>
                <c:pt idx="304">
                  <c:v>7.0000000000000007E-2</c:v>
                </c:pt>
                <c:pt idx="305">
                  <c:v>7.0000000000000007E-2</c:v>
                </c:pt>
                <c:pt idx="306">
                  <c:v>0.21</c:v>
                </c:pt>
                <c:pt idx="307">
                  <c:v>0.28000000000000003</c:v>
                </c:pt>
                <c:pt idx="308">
                  <c:v>0.01</c:v>
                </c:pt>
                <c:pt idx="309">
                  <c:v>7.0000000000000007E-2</c:v>
                </c:pt>
                <c:pt idx="310">
                  <c:v>0.03</c:v>
                </c:pt>
                <c:pt idx="311">
                  <c:v>0.13</c:v>
                </c:pt>
                <c:pt idx="312">
                  <c:v>0.11</c:v>
                </c:pt>
                <c:pt idx="313">
                  <c:v>0.05</c:v>
                </c:pt>
                <c:pt idx="314">
                  <c:v>0.14000000000000001</c:v>
                </c:pt>
                <c:pt idx="315">
                  <c:v>0.19</c:v>
                </c:pt>
                <c:pt idx="316">
                  <c:v>0.04</c:v>
                </c:pt>
                <c:pt idx="317">
                  <c:v>0.02</c:v>
                </c:pt>
                <c:pt idx="318">
                  <c:v>0.08</c:v>
                </c:pt>
                <c:pt idx="319">
                  <c:v>0.04</c:v>
                </c:pt>
                <c:pt idx="320">
                  <c:v>0.03</c:v>
                </c:pt>
                <c:pt idx="321">
                  <c:v>0.13</c:v>
                </c:pt>
                <c:pt idx="322">
                  <c:v>0.12</c:v>
                </c:pt>
                <c:pt idx="323">
                  <c:v>0.24</c:v>
                </c:pt>
                <c:pt idx="324">
                  <c:v>0.06</c:v>
                </c:pt>
                <c:pt idx="325">
                  <c:v>0.01</c:v>
                </c:pt>
                <c:pt idx="326">
                  <c:v>0.05</c:v>
                </c:pt>
                <c:pt idx="327">
                  <c:v>0.25</c:v>
                </c:pt>
                <c:pt idx="328">
                  <c:v>0.41</c:v>
                </c:pt>
                <c:pt idx="329">
                  <c:v>0.13</c:v>
                </c:pt>
                <c:pt idx="330">
                  <c:v>0.03</c:v>
                </c:pt>
                <c:pt idx="331">
                  <c:v>0.14000000000000001</c:v>
                </c:pt>
                <c:pt idx="332">
                  <c:v>0.02</c:v>
                </c:pt>
                <c:pt idx="333">
                  <c:v>0.13</c:v>
                </c:pt>
                <c:pt idx="334">
                  <c:v>0.09</c:v>
                </c:pt>
                <c:pt idx="335">
                  <c:v>0.02</c:v>
                </c:pt>
                <c:pt idx="336">
                  <c:v>0.08</c:v>
                </c:pt>
                <c:pt idx="337">
                  <c:v>7.0000000000000007E-2</c:v>
                </c:pt>
                <c:pt idx="338">
                  <c:v>0.05</c:v>
                </c:pt>
                <c:pt idx="339">
                  <c:v>0.03</c:v>
                </c:pt>
                <c:pt idx="340">
                  <c:v>0.05</c:v>
                </c:pt>
                <c:pt idx="341">
                  <c:v>0.33</c:v>
                </c:pt>
                <c:pt idx="342">
                  <c:v>7.0000000000000007E-2</c:v>
                </c:pt>
                <c:pt idx="343">
                  <c:v>0.05</c:v>
                </c:pt>
                <c:pt idx="344">
                  <c:v>0.01</c:v>
                </c:pt>
                <c:pt idx="345">
                  <c:v>0.03</c:v>
                </c:pt>
                <c:pt idx="346">
                  <c:v>0.03</c:v>
                </c:pt>
                <c:pt idx="347">
                  <c:v>0.01</c:v>
                </c:pt>
                <c:pt idx="348">
                  <c:v>0.02</c:v>
                </c:pt>
                <c:pt idx="349">
                  <c:v>0.02</c:v>
                </c:pt>
                <c:pt idx="350">
                  <c:v>0.06</c:v>
                </c:pt>
                <c:pt idx="351">
                  <c:v>0.03</c:v>
                </c:pt>
                <c:pt idx="352">
                  <c:v>0.02</c:v>
                </c:pt>
                <c:pt idx="353">
                  <c:v>0.04</c:v>
                </c:pt>
                <c:pt idx="354">
                  <c:v>0.05</c:v>
                </c:pt>
                <c:pt idx="355">
                  <c:v>0.01</c:v>
                </c:pt>
                <c:pt idx="356">
                  <c:v>0.15</c:v>
                </c:pt>
                <c:pt idx="357">
                  <c:v>0.01</c:v>
                </c:pt>
                <c:pt idx="358">
                  <c:v>0.01</c:v>
                </c:pt>
                <c:pt idx="359">
                  <c:v>0.05</c:v>
                </c:pt>
                <c:pt idx="360">
                  <c:v>0.02</c:v>
                </c:pt>
                <c:pt idx="361">
                  <c:v>0.04</c:v>
                </c:pt>
                <c:pt idx="362">
                  <c:v>0.14000000000000001</c:v>
                </c:pt>
                <c:pt idx="363">
                  <c:v>0.3</c:v>
                </c:pt>
                <c:pt idx="364">
                  <c:v>0.04</c:v>
                </c:pt>
                <c:pt idx="365">
                  <c:v>0.09</c:v>
                </c:pt>
                <c:pt idx="366">
                  <c:v>0.04</c:v>
                </c:pt>
                <c:pt idx="367">
                  <c:v>0.01</c:v>
                </c:pt>
                <c:pt idx="368">
                  <c:v>0.04</c:v>
                </c:pt>
                <c:pt idx="369">
                  <c:v>0.08</c:v>
                </c:pt>
                <c:pt idx="370">
                  <c:v>0.04</c:v>
                </c:pt>
                <c:pt idx="371">
                  <c:v>0.11</c:v>
                </c:pt>
                <c:pt idx="372">
                  <c:v>0.05</c:v>
                </c:pt>
                <c:pt idx="373">
                  <c:v>0.01</c:v>
                </c:pt>
                <c:pt idx="374">
                  <c:v>0.01</c:v>
                </c:pt>
                <c:pt idx="375">
                  <c:v>0.08</c:v>
                </c:pt>
                <c:pt idx="376">
                  <c:v>0.02</c:v>
                </c:pt>
                <c:pt idx="377">
                  <c:v>0.02</c:v>
                </c:pt>
                <c:pt idx="378">
                  <c:v>0.03</c:v>
                </c:pt>
                <c:pt idx="379">
                  <c:v>0.04</c:v>
                </c:pt>
                <c:pt idx="380">
                  <c:v>0.06</c:v>
                </c:pt>
                <c:pt idx="381">
                  <c:v>0.02</c:v>
                </c:pt>
                <c:pt idx="382">
                  <c:v>0.02</c:v>
                </c:pt>
                <c:pt idx="383">
                  <c:v>0.08</c:v>
                </c:pt>
                <c:pt idx="384">
                  <c:v>0.06</c:v>
                </c:pt>
                <c:pt idx="385">
                  <c:v>0.01</c:v>
                </c:pt>
                <c:pt idx="386">
                  <c:v>0.01</c:v>
                </c:pt>
                <c:pt idx="387">
                  <c:v>7.0000000000000007E-2</c:v>
                </c:pt>
                <c:pt idx="388">
                  <c:v>0.02</c:v>
                </c:pt>
                <c:pt idx="389">
                  <c:v>0.01</c:v>
                </c:pt>
                <c:pt idx="390">
                  <c:v>0.06</c:v>
                </c:pt>
                <c:pt idx="391">
                  <c:v>0.02</c:v>
                </c:pt>
                <c:pt idx="392">
                  <c:v>0.03</c:v>
                </c:pt>
                <c:pt idx="393">
                  <c:v>0.01</c:v>
                </c:pt>
                <c:pt idx="394">
                  <c:v>0.06</c:v>
                </c:pt>
                <c:pt idx="395">
                  <c:v>0.04</c:v>
                </c:pt>
                <c:pt idx="396">
                  <c:v>0.01</c:v>
                </c:pt>
                <c:pt idx="397">
                  <c:v>0.04</c:v>
                </c:pt>
                <c:pt idx="398">
                  <c:v>0.03</c:v>
                </c:pt>
                <c:pt idx="399">
                  <c:v>0.02</c:v>
                </c:pt>
                <c:pt idx="400">
                  <c:v>0.01</c:v>
                </c:pt>
                <c:pt idx="401">
                  <c:v>0.01</c:v>
                </c:pt>
                <c:pt idx="402">
                  <c:v>0.02</c:v>
                </c:pt>
                <c:pt idx="403">
                  <c:v>0.09</c:v>
                </c:pt>
                <c:pt idx="404">
                  <c:v>0.01</c:v>
                </c:pt>
                <c:pt idx="405">
                  <c:v>0.1</c:v>
                </c:pt>
                <c:pt idx="406">
                  <c:v>0.01</c:v>
                </c:pt>
                <c:pt idx="407">
                  <c:v>0.01</c:v>
                </c:pt>
                <c:pt idx="408">
                  <c:v>0.01</c:v>
                </c:pt>
                <c:pt idx="409">
                  <c:v>0.01</c:v>
                </c:pt>
                <c:pt idx="410">
                  <c:v>0.01</c:v>
                </c:pt>
                <c:pt idx="411">
                  <c:v>7.0000000000000007E-2</c:v>
                </c:pt>
                <c:pt idx="412">
                  <c:v>0.01</c:v>
                </c:pt>
                <c:pt idx="413">
                  <c:v>0.08</c:v>
                </c:pt>
                <c:pt idx="414">
                  <c:v>0.04</c:v>
                </c:pt>
                <c:pt idx="415">
                  <c:v>0.01</c:v>
                </c:pt>
                <c:pt idx="416">
                  <c:v>0.09</c:v>
                </c:pt>
                <c:pt idx="417">
                  <c:v>0.01</c:v>
                </c:pt>
                <c:pt idx="418">
                  <c:v>0.01</c:v>
                </c:pt>
                <c:pt idx="419">
                  <c:v>7.0000000000000007E-2</c:v>
                </c:pt>
                <c:pt idx="420">
                  <c:v>0.01</c:v>
                </c:pt>
                <c:pt idx="421">
                  <c:v>0.05</c:v>
                </c:pt>
                <c:pt idx="422">
                  <c:v>0.02</c:v>
                </c:pt>
                <c:pt idx="423">
                  <c:v>0.03</c:v>
                </c:pt>
                <c:pt idx="424">
                  <c:v>0.02</c:v>
                </c:pt>
                <c:pt idx="425">
                  <c:v>0.01</c:v>
                </c:pt>
                <c:pt idx="426">
                  <c:v>0.01</c:v>
                </c:pt>
                <c:pt idx="427">
                  <c:v>0.01</c:v>
                </c:pt>
                <c:pt idx="428">
                  <c:v>0.01</c:v>
                </c:pt>
                <c:pt idx="429">
                  <c:v>0.01</c:v>
                </c:pt>
                <c:pt idx="430">
                  <c:v>0.04</c:v>
                </c:pt>
                <c:pt idx="431">
                  <c:v>0.01</c:v>
                </c:pt>
                <c:pt idx="432">
                  <c:v>0.01</c:v>
                </c:pt>
                <c:pt idx="433">
                  <c:v>7.0000000000000007E-2</c:v>
                </c:pt>
                <c:pt idx="434">
                  <c:v>0.01</c:v>
                </c:pt>
                <c:pt idx="435">
                  <c:v>0.01</c:v>
                </c:pt>
                <c:pt idx="436">
                  <c:v>0.01</c:v>
                </c:pt>
                <c:pt idx="437">
                  <c:v>0.01</c:v>
                </c:pt>
                <c:pt idx="438">
                  <c:v>0.01</c:v>
                </c:pt>
                <c:pt idx="439">
                  <c:v>0.02</c:v>
                </c:pt>
                <c:pt idx="440">
                  <c:v>0.03</c:v>
                </c:pt>
                <c:pt idx="441">
                  <c:v>0.01</c:v>
                </c:pt>
                <c:pt idx="442">
                  <c:v>0.03</c:v>
                </c:pt>
                <c:pt idx="443">
                  <c:v>0.01</c:v>
                </c:pt>
                <c:pt idx="444">
                  <c:v>0.02</c:v>
                </c:pt>
                <c:pt idx="445">
                  <c:v>0.02</c:v>
                </c:pt>
                <c:pt idx="446">
                  <c:v>0.01</c:v>
                </c:pt>
                <c:pt idx="447">
                  <c:v>0.04</c:v>
                </c:pt>
                <c:pt idx="448">
                  <c:v>0.01</c:v>
                </c:pt>
                <c:pt idx="449">
                  <c:v>0.01</c:v>
                </c:pt>
                <c:pt idx="450">
                  <c:v>0.01</c:v>
                </c:pt>
                <c:pt idx="451">
                  <c:v>0.02</c:v>
                </c:pt>
                <c:pt idx="452">
                  <c:v>0.01</c:v>
                </c:pt>
                <c:pt idx="453">
                  <c:v>0.05</c:v>
                </c:pt>
                <c:pt idx="454">
                  <c:v>0.02</c:v>
                </c:pt>
                <c:pt idx="455">
                  <c:v>0.02</c:v>
                </c:pt>
                <c:pt idx="456">
                  <c:v>0.01</c:v>
                </c:pt>
                <c:pt idx="457">
                  <c:v>0.01</c:v>
                </c:pt>
                <c:pt idx="458">
                  <c:v>0.01</c:v>
                </c:pt>
                <c:pt idx="459">
                  <c:v>0.01</c:v>
                </c:pt>
                <c:pt idx="460">
                  <c:v>0.01</c:v>
                </c:pt>
                <c:pt idx="461">
                  <c:v>0.06</c:v>
                </c:pt>
                <c:pt idx="462">
                  <c:v>0.01</c:v>
                </c:pt>
                <c:pt idx="463">
                  <c:v>0.05</c:v>
                </c:pt>
                <c:pt idx="464">
                  <c:v>0.03</c:v>
                </c:pt>
                <c:pt idx="465">
                  <c:v>0.01</c:v>
                </c:pt>
                <c:pt idx="466">
                  <c:v>0.01</c:v>
                </c:pt>
                <c:pt idx="467">
                  <c:v>0.05</c:v>
                </c:pt>
                <c:pt idx="468">
                  <c:v>0.05</c:v>
                </c:pt>
                <c:pt idx="469">
                  <c:v>0.02</c:v>
                </c:pt>
                <c:pt idx="470">
                  <c:v>0.02</c:v>
                </c:pt>
                <c:pt idx="471">
                  <c:v>0.02</c:v>
                </c:pt>
                <c:pt idx="472">
                  <c:v>0.01</c:v>
                </c:pt>
                <c:pt idx="473">
                  <c:v>0.01</c:v>
                </c:pt>
                <c:pt idx="474">
                  <c:v>0.01</c:v>
                </c:pt>
                <c:pt idx="475">
                  <c:v>0.01</c:v>
                </c:pt>
                <c:pt idx="476">
                  <c:v>0.01</c:v>
                </c:pt>
                <c:pt idx="477">
                  <c:v>0.01</c:v>
                </c:pt>
                <c:pt idx="478">
                  <c:v>0.01</c:v>
                </c:pt>
                <c:pt idx="479">
                  <c:v>0.02</c:v>
                </c:pt>
                <c:pt idx="480">
                  <c:v>0.02</c:v>
                </c:pt>
                <c:pt idx="481">
                  <c:v>0.01</c:v>
                </c:pt>
                <c:pt idx="482">
                  <c:v>0.01</c:v>
                </c:pt>
                <c:pt idx="483">
                  <c:v>0.01</c:v>
                </c:pt>
                <c:pt idx="484">
                  <c:v>0.01</c:v>
                </c:pt>
                <c:pt idx="485">
                  <c:v>0.01</c:v>
                </c:pt>
                <c:pt idx="486">
                  <c:v>0.02</c:v>
                </c:pt>
                <c:pt idx="487">
                  <c:v>0.04</c:v>
                </c:pt>
                <c:pt idx="488">
                  <c:v>0.01</c:v>
                </c:pt>
                <c:pt idx="489">
                  <c:v>0.01</c:v>
                </c:pt>
                <c:pt idx="490">
                  <c:v>0.01</c:v>
                </c:pt>
                <c:pt idx="491">
                  <c:v>0.01</c:v>
                </c:pt>
                <c:pt idx="492">
                  <c:v>0.01</c:v>
                </c:pt>
                <c:pt idx="49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7ECAC4"/>
              </a:solidFill>
            </c:spPr>
            <c:extLst>
              <c:ext xmlns:c16="http://schemas.microsoft.com/office/drawing/2014/chart" uri="{C3380CC4-5D6E-409C-BE32-E72D297353CC}">
                <c16:uniqueId val="{000000CD-2993-41DE-A2CB-63102DE87051}"/>
              </c:ext>
            </c:extLst>
          </c:dPt>
          <c:dPt>
            <c:idx val="102"/>
            <c:invertIfNegative val="1"/>
            <c:bubble3D val="0"/>
            <c:spPr>
              <a:solidFill>
                <a:srgbClr val="7ECAC4"/>
              </a:solidFill>
            </c:spPr>
            <c:extLst>
              <c:ext xmlns:c16="http://schemas.microsoft.com/office/drawing/2014/chart" uri="{C3380CC4-5D6E-409C-BE32-E72D297353CC}">
                <c16:uniqueId val="{000000CF-2993-41DE-A2CB-63102DE87051}"/>
              </c:ext>
            </c:extLst>
          </c:dPt>
          <c:dPt>
            <c:idx val="103"/>
            <c:invertIfNegative val="1"/>
            <c:bubble3D val="0"/>
            <c:spPr>
              <a:solidFill>
                <a:srgbClr val="7ECAC4"/>
              </a:solidFill>
            </c:spPr>
            <c:extLst>
              <c:ext xmlns:c16="http://schemas.microsoft.com/office/drawing/2014/chart" uri="{C3380CC4-5D6E-409C-BE32-E72D297353CC}">
                <c16:uniqueId val="{000000D1-2993-41DE-A2CB-63102DE87051}"/>
              </c:ext>
            </c:extLst>
          </c:dPt>
          <c:dPt>
            <c:idx val="104"/>
            <c:invertIfNegative val="1"/>
            <c:bubble3D val="0"/>
            <c:spPr>
              <a:solidFill>
                <a:srgbClr val="7ECAC4"/>
              </a:solidFill>
            </c:spPr>
            <c:extLst>
              <c:ext xmlns:c16="http://schemas.microsoft.com/office/drawing/2014/chart" uri="{C3380CC4-5D6E-409C-BE32-E72D297353CC}">
                <c16:uniqueId val="{000000D3-2993-41DE-A2CB-63102DE87051}"/>
              </c:ext>
            </c:extLst>
          </c:dPt>
          <c:dPt>
            <c:idx val="105"/>
            <c:invertIfNegative val="1"/>
            <c:bubble3D val="0"/>
            <c:spPr>
              <a:solidFill>
                <a:srgbClr val="7ECAC4"/>
              </a:solidFill>
            </c:spPr>
            <c:extLst>
              <c:ext xmlns:c16="http://schemas.microsoft.com/office/drawing/2014/chart" uri="{C3380CC4-5D6E-409C-BE32-E72D297353CC}">
                <c16:uniqueId val="{000000D5-2993-41DE-A2CB-63102DE87051}"/>
              </c:ext>
            </c:extLst>
          </c:dPt>
          <c:dPt>
            <c:idx val="106"/>
            <c:invertIfNegative val="1"/>
            <c:bubble3D val="0"/>
            <c:spPr>
              <a:solidFill>
                <a:srgbClr val="7ECAC4"/>
              </a:solidFill>
            </c:spPr>
            <c:extLst>
              <c:ext xmlns:c16="http://schemas.microsoft.com/office/drawing/2014/chart" uri="{C3380CC4-5D6E-409C-BE32-E72D297353CC}">
                <c16:uniqueId val="{000000D7-2993-41DE-A2CB-63102DE87051}"/>
              </c:ext>
            </c:extLst>
          </c:dPt>
          <c:dPt>
            <c:idx val="107"/>
            <c:invertIfNegative val="1"/>
            <c:bubble3D val="0"/>
            <c:spPr>
              <a:solidFill>
                <a:srgbClr val="7ECAC4"/>
              </a:solidFill>
            </c:spPr>
            <c:extLst>
              <c:ext xmlns:c16="http://schemas.microsoft.com/office/drawing/2014/chart" uri="{C3380CC4-5D6E-409C-BE32-E72D297353CC}">
                <c16:uniqueId val="{000000D9-2993-41DE-A2CB-63102DE87051}"/>
              </c:ext>
            </c:extLst>
          </c:dPt>
          <c:dPt>
            <c:idx val="108"/>
            <c:invertIfNegative val="1"/>
            <c:bubble3D val="0"/>
            <c:spPr>
              <a:solidFill>
                <a:srgbClr val="7ECAC4"/>
              </a:solidFill>
            </c:spPr>
            <c:extLst>
              <c:ext xmlns:c16="http://schemas.microsoft.com/office/drawing/2014/chart" uri="{C3380CC4-5D6E-409C-BE32-E72D297353CC}">
                <c16:uniqueId val="{000000DB-2993-41DE-A2CB-63102DE87051}"/>
              </c:ext>
            </c:extLst>
          </c:dPt>
          <c:dPt>
            <c:idx val="109"/>
            <c:invertIfNegative val="1"/>
            <c:bubble3D val="0"/>
            <c:spPr>
              <a:solidFill>
                <a:srgbClr val="7ECAC4"/>
              </a:solidFill>
            </c:spPr>
            <c:extLst>
              <c:ext xmlns:c16="http://schemas.microsoft.com/office/drawing/2014/chart" uri="{C3380CC4-5D6E-409C-BE32-E72D297353CC}">
                <c16:uniqueId val="{000000DD-2993-41DE-A2CB-63102DE87051}"/>
              </c:ext>
            </c:extLst>
          </c:dPt>
          <c:dPt>
            <c:idx val="110"/>
            <c:invertIfNegative val="1"/>
            <c:bubble3D val="0"/>
            <c:spPr>
              <a:solidFill>
                <a:srgbClr val="7ECAC4"/>
              </a:solidFill>
            </c:spPr>
            <c:extLst>
              <c:ext xmlns:c16="http://schemas.microsoft.com/office/drawing/2014/chart" uri="{C3380CC4-5D6E-409C-BE32-E72D297353CC}">
                <c16:uniqueId val="{000000DF-2993-41DE-A2CB-63102DE87051}"/>
              </c:ext>
            </c:extLst>
          </c:dPt>
          <c:dPt>
            <c:idx val="111"/>
            <c:invertIfNegative val="1"/>
            <c:bubble3D val="0"/>
            <c:spPr>
              <a:solidFill>
                <a:srgbClr val="7ECAC4"/>
              </a:solidFill>
            </c:spPr>
            <c:extLst>
              <c:ext xmlns:c16="http://schemas.microsoft.com/office/drawing/2014/chart" uri="{C3380CC4-5D6E-409C-BE32-E72D297353CC}">
                <c16:uniqueId val="{000000E1-2993-41DE-A2CB-63102DE87051}"/>
              </c:ext>
            </c:extLst>
          </c:dPt>
          <c:dPt>
            <c:idx val="112"/>
            <c:invertIfNegative val="1"/>
            <c:bubble3D val="0"/>
            <c:spPr>
              <a:solidFill>
                <a:srgbClr val="7ECAC4"/>
              </a:solidFill>
            </c:spPr>
            <c:extLst>
              <c:ext xmlns:c16="http://schemas.microsoft.com/office/drawing/2014/chart" uri="{C3380CC4-5D6E-409C-BE32-E72D297353CC}">
                <c16:uniqueId val="{000000E3-2993-41DE-A2CB-63102DE87051}"/>
              </c:ext>
            </c:extLst>
          </c:dPt>
          <c:dPt>
            <c:idx val="113"/>
            <c:invertIfNegative val="1"/>
            <c:bubble3D val="0"/>
            <c:spPr>
              <a:solidFill>
                <a:srgbClr val="7ECAC4"/>
              </a:solidFill>
            </c:spPr>
            <c:extLst>
              <c:ext xmlns:c16="http://schemas.microsoft.com/office/drawing/2014/chart" uri="{C3380CC4-5D6E-409C-BE32-E72D297353CC}">
                <c16:uniqueId val="{000000E5-2993-41DE-A2CB-63102DE87051}"/>
              </c:ext>
            </c:extLst>
          </c:dPt>
          <c:dPt>
            <c:idx val="114"/>
            <c:invertIfNegative val="1"/>
            <c:bubble3D val="0"/>
            <c:spPr>
              <a:solidFill>
                <a:srgbClr val="7ECAC4"/>
              </a:solidFill>
            </c:spPr>
            <c:extLst>
              <c:ext xmlns:c16="http://schemas.microsoft.com/office/drawing/2014/chart" uri="{C3380CC4-5D6E-409C-BE32-E72D297353CC}">
                <c16:uniqueId val="{000000E7-2993-41DE-A2CB-63102DE87051}"/>
              </c:ext>
            </c:extLst>
          </c:dPt>
          <c:dPt>
            <c:idx val="115"/>
            <c:invertIfNegative val="1"/>
            <c:bubble3D val="0"/>
            <c:spPr>
              <a:solidFill>
                <a:srgbClr val="7ECAC4"/>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7ECAC4"/>
              </a:solidFill>
            </c:spPr>
            <c:extLst>
              <c:ext xmlns:c16="http://schemas.microsoft.com/office/drawing/2014/chart" uri="{C3380CC4-5D6E-409C-BE32-E72D297353CC}">
                <c16:uniqueId val="{0000015D-2993-41DE-A2CB-63102DE87051}"/>
              </c:ext>
            </c:extLst>
          </c:dPt>
          <c:dPt>
            <c:idx val="174"/>
            <c:invertIfNegative val="1"/>
            <c:bubble3D val="0"/>
            <c:spPr>
              <a:solidFill>
                <a:srgbClr val="7ECAC4"/>
              </a:solidFill>
            </c:spPr>
            <c:extLst>
              <c:ext xmlns:c16="http://schemas.microsoft.com/office/drawing/2014/chart" uri="{C3380CC4-5D6E-409C-BE32-E72D297353CC}">
                <c16:uniqueId val="{0000015F-2993-41DE-A2CB-63102DE87051}"/>
              </c:ext>
            </c:extLst>
          </c:dPt>
          <c:dPt>
            <c:idx val="175"/>
            <c:invertIfNegative val="1"/>
            <c:bubble3D val="0"/>
            <c:spPr>
              <a:solidFill>
                <a:srgbClr val="7ECAC4"/>
              </a:solidFill>
            </c:spPr>
            <c:extLst>
              <c:ext xmlns:c16="http://schemas.microsoft.com/office/drawing/2014/chart" uri="{C3380CC4-5D6E-409C-BE32-E72D297353CC}">
                <c16:uniqueId val="{00000161-2993-41DE-A2CB-63102DE87051}"/>
              </c:ext>
            </c:extLst>
          </c:dPt>
          <c:dPt>
            <c:idx val="176"/>
            <c:invertIfNegative val="1"/>
            <c:bubble3D val="0"/>
            <c:spPr>
              <a:solidFill>
                <a:srgbClr val="7ECAC4"/>
              </a:solidFill>
            </c:spPr>
            <c:extLst>
              <c:ext xmlns:c16="http://schemas.microsoft.com/office/drawing/2014/chart" uri="{C3380CC4-5D6E-409C-BE32-E72D297353CC}">
                <c16:uniqueId val="{00000163-2993-41DE-A2CB-63102DE87051}"/>
              </c:ext>
            </c:extLst>
          </c:dPt>
          <c:dPt>
            <c:idx val="177"/>
            <c:invertIfNegative val="1"/>
            <c:bubble3D val="0"/>
            <c:spPr>
              <a:solidFill>
                <a:srgbClr val="7ECAC4"/>
              </a:solidFill>
            </c:spPr>
            <c:extLst>
              <c:ext xmlns:c16="http://schemas.microsoft.com/office/drawing/2014/chart" uri="{C3380CC4-5D6E-409C-BE32-E72D297353CC}">
                <c16:uniqueId val="{00000165-2993-41DE-A2CB-63102DE87051}"/>
              </c:ext>
            </c:extLst>
          </c:dPt>
          <c:dPt>
            <c:idx val="178"/>
            <c:invertIfNegative val="1"/>
            <c:bubble3D val="0"/>
            <c:spPr>
              <a:solidFill>
                <a:srgbClr val="7ECAC4"/>
              </a:solidFill>
            </c:spPr>
            <c:extLst>
              <c:ext xmlns:c16="http://schemas.microsoft.com/office/drawing/2014/chart" uri="{C3380CC4-5D6E-409C-BE32-E72D297353CC}">
                <c16:uniqueId val="{00000167-2993-41DE-A2CB-63102DE87051}"/>
              </c:ext>
            </c:extLst>
          </c:dPt>
          <c:dPt>
            <c:idx val="179"/>
            <c:invertIfNegative val="1"/>
            <c:bubble3D val="0"/>
            <c:spPr>
              <a:solidFill>
                <a:srgbClr val="7ECAC4"/>
              </a:solidFill>
            </c:spPr>
            <c:extLst>
              <c:ext xmlns:c16="http://schemas.microsoft.com/office/drawing/2014/chart" uri="{C3380CC4-5D6E-409C-BE32-E72D297353CC}">
                <c16:uniqueId val="{00000169-2993-41DE-A2CB-63102DE87051}"/>
              </c:ext>
            </c:extLst>
          </c:dPt>
          <c:dPt>
            <c:idx val="180"/>
            <c:invertIfNegative val="1"/>
            <c:bubble3D val="0"/>
            <c:spPr>
              <a:solidFill>
                <a:srgbClr val="7ECAC4"/>
              </a:solidFill>
            </c:spPr>
            <c:extLst>
              <c:ext xmlns:c16="http://schemas.microsoft.com/office/drawing/2014/chart" uri="{C3380CC4-5D6E-409C-BE32-E72D297353CC}">
                <c16:uniqueId val="{0000016B-2993-41DE-A2CB-63102DE87051}"/>
              </c:ext>
            </c:extLst>
          </c:dPt>
          <c:dPt>
            <c:idx val="181"/>
            <c:invertIfNegative val="1"/>
            <c:bubble3D val="0"/>
            <c:spPr>
              <a:solidFill>
                <a:srgbClr val="7ECAC4"/>
              </a:solidFill>
            </c:spPr>
            <c:extLst>
              <c:ext xmlns:c16="http://schemas.microsoft.com/office/drawing/2014/chart" uri="{C3380CC4-5D6E-409C-BE32-E72D297353CC}">
                <c16:uniqueId val="{0000016D-2993-41DE-A2CB-63102DE87051}"/>
              </c:ext>
            </c:extLst>
          </c:dPt>
          <c:dPt>
            <c:idx val="182"/>
            <c:invertIfNegative val="1"/>
            <c:bubble3D val="0"/>
            <c:spPr>
              <a:solidFill>
                <a:srgbClr val="7ECAC4"/>
              </a:solidFill>
            </c:spPr>
            <c:extLst>
              <c:ext xmlns:c16="http://schemas.microsoft.com/office/drawing/2014/chart" uri="{C3380CC4-5D6E-409C-BE32-E72D297353CC}">
                <c16:uniqueId val="{0000016F-2993-41DE-A2CB-63102DE87051}"/>
              </c:ext>
            </c:extLst>
          </c:dPt>
          <c:dPt>
            <c:idx val="183"/>
            <c:invertIfNegative val="1"/>
            <c:bubble3D val="0"/>
            <c:spPr>
              <a:solidFill>
                <a:srgbClr val="7ECAC4"/>
              </a:solidFill>
            </c:spPr>
            <c:extLst>
              <c:ext xmlns:c16="http://schemas.microsoft.com/office/drawing/2014/chart" uri="{C3380CC4-5D6E-409C-BE32-E72D297353CC}">
                <c16:uniqueId val="{00000171-2993-41DE-A2CB-63102DE87051}"/>
              </c:ext>
            </c:extLst>
          </c:dPt>
          <c:dPt>
            <c:idx val="184"/>
            <c:invertIfNegative val="1"/>
            <c:bubble3D val="0"/>
            <c:spPr>
              <a:solidFill>
                <a:srgbClr val="7ECAC4"/>
              </a:solidFill>
            </c:spPr>
            <c:extLst>
              <c:ext xmlns:c16="http://schemas.microsoft.com/office/drawing/2014/chart" uri="{C3380CC4-5D6E-409C-BE32-E72D297353CC}">
                <c16:uniqueId val="{00000173-2993-41DE-A2CB-63102DE87051}"/>
              </c:ext>
            </c:extLst>
          </c:dPt>
          <c:dPt>
            <c:idx val="185"/>
            <c:invertIfNegative val="1"/>
            <c:bubble3D val="0"/>
            <c:spPr>
              <a:solidFill>
                <a:srgbClr val="7ECAC4"/>
              </a:solidFill>
            </c:spPr>
            <c:extLst>
              <c:ext xmlns:c16="http://schemas.microsoft.com/office/drawing/2014/chart" uri="{C3380CC4-5D6E-409C-BE32-E72D297353CC}">
                <c16:uniqueId val="{00000175-2993-41DE-A2CB-63102DE87051}"/>
              </c:ext>
            </c:extLst>
          </c:dPt>
          <c:dPt>
            <c:idx val="186"/>
            <c:invertIfNegative val="1"/>
            <c:bubble3D val="0"/>
            <c:spPr>
              <a:solidFill>
                <a:srgbClr val="7ECAC4"/>
              </a:solidFill>
            </c:spPr>
            <c:extLst>
              <c:ext xmlns:c16="http://schemas.microsoft.com/office/drawing/2014/chart" uri="{C3380CC4-5D6E-409C-BE32-E72D297353CC}">
                <c16:uniqueId val="{00000177-2993-41DE-A2CB-63102DE87051}"/>
              </c:ext>
            </c:extLst>
          </c:dPt>
          <c:dPt>
            <c:idx val="187"/>
            <c:invertIfNegative val="1"/>
            <c:bubble3D val="0"/>
            <c:spPr>
              <a:solidFill>
                <a:srgbClr val="7ECAC4"/>
              </a:solidFill>
            </c:spPr>
            <c:extLst>
              <c:ext xmlns:c16="http://schemas.microsoft.com/office/drawing/2014/chart" uri="{C3380CC4-5D6E-409C-BE32-E72D297353CC}">
                <c16:uniqueId val="{00000179-2993-41DE-A2CB-63102DE87051}"/>
              </c:ext>
            </c:extLst>
          </c:dPt>
          <c:dPt>
            <c:idx val="188"/>
            <c:invertIfNegative val="1"/>
            <c:bubble3D val="0"/>
            <c:spPr>
              <a:solidFill>
                <a:srgbClr val="7ECAC4"/>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dPt>
            <c:idx val="210"/>
            <c:invertIfNegative val="1"/>
            <c:bubble3D val="0"/>
            <c:spPr>
              <a:solidFill>
                <a:srgbClr val="AEABAB"/>
              </a:solidFill>
            </c:spPr>
            <c:extLst>
              <c:ext xmlns:c16="http://schemas.microsoft.com/office/drawing/2014/chart" uri="{C3380CC4-5D6E-409C-BE32-E72D297353CC}">
                <c16:uniqueId val="{000001A7-77A8-427E-8A61-D099C82A1BC4}"/>
              </c:ext>
            </c:extLst>
          </c:dPt>
          <c:dPt>
            <c:idx val="211"/>
            <c:invertIfNegative val="1"/>
            <c:bubble3D val="0"/>
            <c:spPr>
              <a:solidFill>
                <a:srgbClr val="AEABAB"/>
              </a:solidFill>
            </c:spPr>
            <c:extLst>
              <c:ext xmlns:c16="http://schemas.microsoft.com/office/drawing/2014/chart" uri="{C3380CC4-5D6E-409C-BE32-E72D297353CC}">
                <c16:uniqueId val="{000001A9-77A8-427E-8A61-D099C82A1BC4}"/>
              </c:ext>
            </c:extLst>
          </c:dPt>
          <c:dPt>
            <c:idx val="212"/>
            <c:invertIfNegative val="1"/>
            <c:bubble3D val="0"/>
            <c:spPr>
              <a:solidFill>
                <a:srgbClr val="AEABAB"/>
              </a:solidFill>
            </c:spPr>
            <c:extLst>
              <c:ext xmlns:c16="http://schemas.microsoft.com/office/drawing/2014/chart" uri="{C3380CC4-5D6E-409C-BE32-E72D297353CC}">
                <c16:uniqueId val="{000001AB-77A8-427E-8A61-D099C82A1BC4}"/>
              </c:ext>
            </c:extLst>
          </c:dPt>
          <c:dPt>
            <c:idx val="213"/>
            <c:invertIfNegative val="1"/>
            <c:bubble3D val="0"/>
            <c:spPr>
              <a:solidFill>
                <a:srgbClr val="AEABAB"/>
              </a:solidFill>
            </c:spPr>
            <c:extLst>
              <c:ext xmlns:c16="http://schemas.microsoft.com/office/drawing/2014/chart" uri="{C3380CC4-5D6E-409C-BE32-E72D297353CC}">
                <c16:uniqueId val="{000001AD-77A8-427E-8A61-D099C82A1BC4}"/>
              </c:ext>
            </c:extLst>
          </c:dPt>
          <c:dPt>
            <c:idx val="214"/>
            <c:invertIfNegative val="1"/>
            <c:bubble3D val="0"/>
            <c:spPr>
              <a:solidFill>
                <a:srgbClr val="AEABAB"/>
              </a:solidFill>
            </c:spPr>
            <c:extLst>
              <c:ext xmlns:c16="http://schemas.microsoft.com/office/drawing/2014/chart" uri="{C3380CC4-5D6E-409C-BE32-E72D297353CC}">
                <c16:uniqueId val="{000001AF-77A8-427E-8A61-D099C82A1BC4}"/>
              </c:ext>
            </c:extLst>
          </c:dPt>
          <c:dPt>
            <c:idx val="215"/>
            <c:invertIfNegative val="1"/>
            <c:bubble3D val="0"/>
            <c:spPr>
              <a:solidFill>
                <a:srgbClr val="AEABAB"/>
              </a:solidFill>
            </c:spPr>
            <c:extLst>
              <c:ext xmlns:c16="http://schemas.microsoft.com/office/drawing/2014/chart" uri="{C3380CC4-5D6E-409C-BE32-E72D297353CC}">
                <c16:uniqueId val="{000001B1-77A8-427E-8A61-D099C82A1BC4}"/>
              </c:ext>
            </c:extLst>
          </c:dPt>
          <c:dPt>
            <c:idx val="216"/>
            <c:invertIfNegative val="1"/>
            <c:bubble3D val="0"/>
            <c:spPr>
              <a:solidFill>
                <a:srgbClr val="AEABAB"/>
              </a:solidFill>
            </c:spPr>
            <c:extLst>
              <c:ext xmlns:c16="http://schemas.microsoft.com/office/drawing/2014/chart" uri="{C3380CC4-5D6E-409C-BE32-E72D297353CC}">
                <c16:uniqueId val="{000001B3-77A8-427E-8A61-D099C82A1BC4}"/>
              </c:ext>
            </c:extLst>
          </c:dPt>
          <c:dPt>
            <c:idx val="217"/>
            <c:invertIfNegative val="1"/>
            <c:bubble3D val="0"/>
            <c:spPr>
              <a:solidFill>
                <a:srgbClr val="AEABAB"/>
              </a:solidFill>
            </c:spPr>
            <c:extLst>
              <c:ext xmlns:c16="http://schemas.microsoft.com/office/drawing/2014/chart" uri="{C3380CC4-5D6E-409C-BE32-E72D297353CC}">
                <c16:uniqueId val="{000001B5-77A8-427E-8A61-D099C82A1BC4}"/>
              </c:ext>
            </c:extLst>
          </c:dPt>
          <c:dPt>
            <c:idx val="218"/>
            <c:invertIfNegative val="1"/>
            <c:bubble3D val="0"/>
            <c:spPr>
              <a:solidFill>
                <a:srgbClr val="AEABAB"/>
              </a:solidFill>
            </c:spPr>
            <c:extLst>
              <c:ext xmlns:c16="http://schemas.microsoft.com/office/drawing/2014/chart" uri="{C3380CC4-5D6E-409C-BE32-E72D297353CC}">
                <c16:uniqueId val="{000001B7-77A8-427E-8A61-D099C82A1BC4}"/>
              </c:ext>
            </c:extLst>
          </c:dPt>
          <c:dPt>
            <c:idx val="219"/>
            <c:invertIfNegative val="1"/>
            <c:bubble3D val="0"/>
            <c:spPr>
              <a:solidFill>
                <a:srgbClr val="AEABAB"/>
              </a:solidFill>
            </c:spPr>
            <c:extLst>
              <c:ext xmlns:c16="http://schemas.microsoft.com/office/drawing/2014/chart" uri="{C3380CC4-5D6E-409C-BE32-E72D297353CC}">
                <c16:uniqueId val="{000001B9-77A8-427E-8A61-D099C82A1BC4}"/>
              </c:ext>
            </c:extLst>
          </c:dPt>
          <c:dPt>
            <c:idx val="220"/>
            <c:invertIfNegative val="1"/>
            <c:bubble3D val="0"/>
            <c:spPr>
              <a:solidFill>
                <a:srgbClr val="AEABAB"/>
              </a:solidFill>
            </c:spPr>
            <c:extLst>
              <c:ext xmlns:c16="http://schemas.microsoft.com/office/drawing/2014/chart" uri="{C3380CC4-5D6E-409C-BE32-E72D297353CC}">
                <c16:uniqueId val="{000001BB-77A8-427E-8A61-D099C82A1BC4}"/>
              </c:ext>
            </c:extLst>
          </c:dPt>
          <c:dPt>
            <c:idx val="221"/>
            <c:invertIfNegative val="1"/>
            <c:bubble3D val="0"/>
            <c:spPr>
              <a:solidFill>
                <a:srgbClr val="AEABAB"/>
              </a:solidFill>
            </c:spPr>
            <c:extLst>
              <c:ext xmlns:c16="http://schemas.microsoft.com/office/drawing/2014/chart" uri="{C3380CC4-5D6E-409C-BE32-E72D297353CC}">
                <c16:uniqueId val="{000001BD-77A8-427E-8A61-D099C82A1BC4}"/>
              </c:ext>
            </c:extLst>
          </c:dPt>
          <c:dPt>
            <c:idx val="222"/>
            <c:invertIfNegative val="1"/>
            <c:bubble3D val="0"/>
            <c:spPr>
              <a:solidFill>
                <a:srgbClr val="AEABAB"/>
              </a:solidFill>
            </c:spPr>
            <c:extLst>
              <c:ext xmlns:c16="http://schemas.microsoft.com/office/drawing/2014/chart" uri="{C3380CC4-5D6E-409C-BE32-E72D297353CC}">
                <c16:uniqueId val="{000001BF-77A8-427E-8A61-D099C82A1BC4}"/>
              </c:ext>
            </c:extLst>
          </c:dPt>
          <c:dPt>
            <c:idx val="223"/>
            <c:invertIfNegative val="1"/>
            <c:bubble3D val="0"/>
            <c:spPr>
              <a:solidFill>
                <a:srgbClr val="AEABAB"/>
              </a:solidFill>
            </c:spPr>
            <c:extLst>
              <c:ext xmlns:c16="http://schemas.microsoft.com/office/drawing/2014/chart" uri="{C3380CC4-5D6E-409C-BE32-E72D297353CC}">
                <c16:uniqueId val="{000001C1-77A8-427E-8A61-D099C82A1BC4}"/>
              </c:ext>
            </c:extLst>
          </c:dPt>
          <c:dPt>
            <c:idx val="224"/>
            <c:invertIfNegative val="1"/>
            <c:bubble3D val="0"/>
            <c:spPr>
              <a:solidFill>
                <a:srgbClr val="AEABAB"/>
              </a:solidFill>
            </c:spPr>
            <c:extLst>
              <c:ext xmlns:c16="http://schemas.microsoft.com/office/drawing/2014/chart" uri="{C3380CC4-5D6E-409C-BE32-E72D297353CC}">
                <c16:uniqueId val="{000001C3-77A8-427E-8A61-D099C82A1BC4}"/>
              </c:ext>
            </c:extLst>
          </c:dPt>
          <c:dPt>
            <c:idx val="225"/>
            <c:invertIfNegative val="1"/>
            <c:bubble3D val="0"/>
            <c:spPr>
              <a:solidFill>
                <a:srgbClr val="AEABAB"/>
              </a:solidFill>
            </c:spPr>
            <c:extLst>
              <c:ext xmlns:c16="http://schemas.microsoft.com/office/drawing/2014/chart" uri="{C3380CC4-5D6E-409C-BE32-E72D297353CC}">
                <c16:uniqueId val="{000001C5-77A8-427E-8A61-D099C82A1BC4}"/>
              </c:ext>
            </c:extLst>
          </c:dPt>
          <c:dPt>
            <c:idx val="226"/>
            <c:invertIfNegative val="1"/>
            <c:bubble3D val="0"/>
            <c:spPr>
              <a:solidFill>
                <a:srgbClr val="AEABAB"/>
              </a:solidFill>
            </c:spPr>
            <c:extLst>
              <c:ext xmlns:c16="http://schemas.microsoft.com/office/drawing/2014/chart" uri="{C3380CC4-5D6E-409C-BE32-E72D297353CC}">
                <c16:uniqueId val="{000001C7-77A8-427E-8A61-D099C82A1BC4}"/>
              </c:ext>
            </c:extLst>
          </c:dPt>
          <c:dPt>
            <c:idx val="227"/>
            <c:invertIfNegative val="1"/>
            <c:bubble3D val="0"/>
            <c:spPr>
              <a:solidFill>
                <a:srgbClr val="AEABAB"/>
              </a:solidFill>
            </c:spPr>
            <c:extLst>
              <c:ext xmlns:c16="http://schemas.microsoft.com/office/drawing/2014/chart" uri="{C3380CC4-5D6E-409C-BE32-E72D297353CC}">
                <c16:uniqueId val="{000001C9-77A8-427E-8A61-D099C82A1BC4}"/>
              </c:ext>
            </c:extLst>
          </c:dPt>
          <c:dPt>
            <c:idx val="228"/>
            <c:invertIfNegative val="1"/>
            <c:bubble3D val="0"/>
            <c:spPr>
              <a:solidFill>
                <a:srgbClr val="AEABAB"/>
              </a:solidFill>
            </c:spPr>
            <c:extLst>
              <c:ext xmlns:c16="http://schemas.microsoft.com/office/drawing/2014/chart" uri="{C3380CC4-5D6E-409C-BE32-E72D297353CC}">
                <c16:uniqueId val="{000001CB-77A8-427E-8A61-D099C82A1BC4}"/>
              </c:ext>
            </c:extLst>
          </c:dPt>
          <c:dPt>
            <c:idx val="229"/>
            <c:invertIfNegative val="1"/>
            <c:bubble3D val="0"/>
            <c:spPr>
              <a:solidFill>
                <a:srgbClr val="AEABAB"/>
              </a:solidFill>
            </c:spPr>
            <c:extLst>
              <c:ext xmlns:c16="http://schemas.microsoft.com/office/drawing/2014/chart" uri="{C3380CC4-5D6E-409C-BE32-E72D297353CC}">
                <c16:uniqueId val="{000001CD-77A8-427E-8A61-D099C82A1BC4}"/>
              </c:ext>
            </c:extLst>
          </c:dPt>
          <c:dPt>
            <c:idx val="230"/>
            <c:invertIfNegative val="1"/>
            <c:bubble3D val="0"/>
            <c:spPr>
              <a:solidFill>
                <a:srgbClr val="AEABAB"/>
              </a:solidFill>
            </c:spPr>
            <c:extLst>
              <c:ext xmlns:c16="http://schemas.microsoft.com/office/drawing/2014/chart" uri="{C3380CC4-5D6E-409C-BE32-E72D297353CC}">
                <c16:uniqueId val="{000001CF-77A8-427E-8A61-D099C82A1BC4}"/>
              </c:ext>
            </c:extLst>
          </c:dPt>
          <c:dPt>
            <c:idx val="231"/>
            <c:invertIfNegative val="1"/>
            <c:bubble3D val="0"/>
            <c:spPr>
              <a:solidFill>
                <a:srgbClr val="AEABAB"/>
              </a:solidFill>
            </c:spPr>
            <c:extLst>
              <c:ext xmlns:c16="http://schemas.microsoft.com/office/drawing/2014/chart" uri="{C3380CC4-5D6E-409C-BE32-E72D297353CC}">
                <c16:uniqueId val="{000001D1-77A8-427E-8A61-D099C82A1BC4}"/>
              </c:ext>
            </c:extLst>
          </c:dPt>
          <c:dPt>
            <c:idx val="232"/>
            <c:invertIfNegative val="1"/>
            <c:bubble3D val="0"/>
            <c:spPr>
              <a:solidFill>
                <a:srgbClr val="AEABAB"/>
              </a:solidFill>
            </c:spPr>
            <c:extLst>
              <c:ext xmlns:c16="http://schemas.microsoft.com/office/drawing/2014/chart" uri="{C3380CC4-5D6E-409C-BE32-E72D297353CC}">
                <c16:uniqueId val="{000001D3-77A8-427E-8A61-D099C82A1BC4}"/>
              </c:ext>
            </c:extLst>
          </c:dPt>
          <c:dPt>
            <c:idx val="233"/>
            <c:invertIfNegative val="1"/>
            <c:bubble3D val="0"/>
            <c:spPr>
              <a:solidFill>
                <a:srgbClr val="AEABAB"/>
              </a:solidFill>
            </c:spPr>
            <c:extLst>
              <c:ext xmlns:c16="http://schemas.microsoft.com/office/drawing/2014/chart" uri="{C3380CC4-5D6E-409C-BE32-E72D297353CC}">
                <c16:uniqueId val="{000001D5-77A8-427E-8A61-D099C82A1BC4}"/>
              </c:ext>
            </c:extLst>
          </c:dPt>
          <c:dPt>
            <c:idx val="234"/>
            <c:invertIfNegative val="1"/>
            <c:bubble3D val="0"/>
            <c:spPr>
              <a:solidFill>
                <a:srgbClr val="AEABAB"/>
              </a:solidFill>
            </c:spPr>
            <c:extLst>
              <c:ext xmlns:c16="http://schemas.microsoft.com/office/drawing/2014/chart" uri="{C3380CC4-5D6E-409C-BE32-E72D297353CC}">
                <c16:uniqueId val="{000001D7-77A8-427E-8A61-D099C82A1BC4}"/>
              </c:ext>
            </c:extLst>
          </c:dPt>
          <c:dPt>
            <c:idx val="235"/>
            <c:invertIfNegative val="1"/>
            <c:bubble3D val="0"/>
            <c:spPr>
              <a:solidFill>
                <a:srgbClr val="AEABAB"/>
              </a:solidFill>
            </c:spPr>
            <c:extLst>
              <c:ext xmlns:c16="http://schemas.microsoft.com/office/drawing/2014/chart" uri="{C3380CC4-5D6E-409C-BE32-E72D297353CC}">
                <c16:uniqueId val="{000001D9-77A8-427E-8A61-D099C82A1BC4}"/>
              </c:ext>
            </c:extLst>
          </c:dPt>
          <c:dPt>
            <c:idx val="236"/>
            <c:invertIfNegative val="1"/>
            <c:bubble3D val="0"/>
            <c:spPr>
              <a:solidFill>
                <a:srgbClr val="AEABAB"/>
              </a:solidFill>
            </c:spPr>
            <c:extLst>
              <c:ext xmlns:c16="http://schemas.microsoft.com/office/drawing/2014/chart" uri="{C3380CC4-5D6E-409C-BE32-E72D297353CC}">
                <c16:uniqueId val="{000001DB-77A8-427E-8A61-D099C82A1BC4}"/>
              </c:ext>
            </c:extLst>
          </c:dPt>
          <c:dPt>
            <c:idx val="237"/>
            <c:invertIfNegative val="1"/>
            <c:bubble3D val="0"/>
            <c:spPr>
              <a:solidFill>
                <a:srgbClr val="AEABAB"/>
              </a:solidFill>
            </c:spPr>
            <c:extLst>
              <c:ext xmlns:c16="http://schemas.microsoft.com/office/drawing/2014/chart" uri="{C3380CC4-5D6E-409C-BE32-E72D297353CC}">
                <c16:uniqueId val="{000001DD-77A8-427E-8A61-D099C82A1BC4}"/>
              </c:ext>
            </c:extLst>
          </c:dPt>
          <c:dPt>
            <c:idx val="238"/>
            <c:invertIfNegative val="1"/>
            <c:bubble3D val="0"/>
            <c:spPr>
              <a:solidFill>
                <a:srgbClr val="AEABAB"/>
              </a:solidFill>
            </c:spPr>
            <c:extLst>
              <c:ext xmlns:c16="http://schemas.microsoft.com/office/drawing/2014/chart" uri="{C3380CC4-5D6E-409C-BE32-E72D297353CC}">
                <c16:uniqueId val="{000001DF-77A8-427E-8A61-D099C82A1BC4}"/>
              </c:ext>
            </c:extLst>
          </c:dPt>
          <c:dPt>
            <c:idx val="239"/>
            <c:invertIfNegative val="1"/>
            <c:bubble3D val="0"/>
            <c:spPr>
              <a:solidFill>
                <a:srgbClr val="AEABAB"/>
              </a:solidFill>
            </c:spPr>
            <c:extLst>
              <c:ext xmlns:c16="http://schemas.microsoft.com/office/drawing/2014/chart" uri="{C3380CC4-5D6E-409C-BE32-E72D297353CC}">
                <c16:uniqueId val="{000001E1-77A8-427E-8A61-D099C82A1BC4}"/>
              </c:ext>
            </c:extLst>
          </c:dPt>
          <c:dPt>
            <c:idx val="240"/>
            <c:invertIfNegative val="1"/>
            <c:bubble3D val="0"/>
            <c:spPr>
              <a:solidFill>
                <a:srgbClr val="AEABAB"/>
              </a:solidFill>
            </c:spPr>
            <c:extLst>
              <c:ext xmlns:c16="http://schemas.microsoft.com/office/drawing/2014/chart" uri="{C3380CC4-5D6E-409C-BE32-E72D297353CC}">
                <c16:uniqueId val="{000001E3-77A8-427E-8A61-D099C82A1BC4}"/>
              </c:ext>
            </c:extLst>
          </c:dPt>
          <c:dPt>
            <c:idx val="241"/>
            <c:invertIfNegative val="1"/>
            <c:bubble3D val="0"/>
            <c:spPr>
              <a:solidFill>
                <a:srgbClr val="AEABAB"/>
              </a:solidFill>
            </c:spPr>
            <c:extLst>
              <c:ext xmlns:c16="http://schemas.microsoft.com/office/drawing/2014/chart" uri="{C3380CC4-5D6E-409C-BE32-E72D297353CC}">
                <c16:uniqueId val="{000001E5-77A8-427E-8A61-D099C82A1BC4}"/>
              </c:ext>
            </c:extLst>
          </c:dPt>
          <c:dPt>
            <c:idx val="242"/>
            <c:invertIfNegative val="1"/>
            <c:bubble3D val="0"/>
            <c:spPr>
              <a:solidFill>
                <a:srgbClr val="AEABAB"/>
              </a:solidFill>
            </c:spPr>
            <c:extLst>
              <c:ext xmlns:c16="http://schemas.microsoft.com/office/drawing/2014/chart" uri="{C3380CC4-5D6E-409C-BE32-E72D297353CC}">
                <c16:uniqueId val="{000001E7-77A8-427E-8A61-D099C82A1BC4}"/>
              </c:ext>
            </c:extLst>
          </c:dPt>
          <c:dPt>
            <c:idx val="243"/>
            <c:invertIfNegative val="1"/>
            <c:bubble3D val="0"/>
            <c:spPr>
              <a:solidFill>
                <a:srgbClr val="AEABAB"/>
              </a:solidFill>
            </c:spPr>
            <c:extLst>
              <c:ext xmlns:c16="http://schemas.microsoft.com/office/drawing/2014/chart" uri="{C3380CC4-5D6E-409C-BE32-E72D297353CC}">
                <c16:uniqueId val="{000001E9-77A8-427E-8A61-D099C82A1BC4}"/>
              </c:ext>
            </c:extLst>
          </c:dPt>
          <c:dPt>
            <c:idx val="244"/>
            <c:invertIfNegative val="1"/>
            <c:bubble3D val="0"/>
            <c:spPr>
              <a:solidFill>
                <a:srgbClr val="AEABAB"/>
              </a:solidFill>
            </c:spPr>
            <c:extLst>
              <c:ext xmlns:c16="http://schemas.microsoft.com/office/drawing/2014/chart" uri="{C3380CC4-5D6E-409C-BE32-E72D297353CC}">
                <c16:uniqueId val="{000001EB-77A8-427E-8A61-D099C82A1BC4}"/>
              </c:ext>
            </c:extLst>
          </c:dPt>
          <c:dPt>
            <c:idx val="245"/>
            <c:invertIfNegative val="1"/>
            <c:bubble3D val="0"/>
            <c:spPr>
              <a:solidFill>
                <a:srgbClr val="AEABAB"/>
              </a:solidFill>
            </c:spPr>
            <c:extLst>
              <c:ext xmlns:c16="http://schemas.microsoft.com/office/drawing/2014/chart" uri="{C3380CC4-5D6E-409C-BE32-E72D297353CC}">
                <c16:uniqueId val="{000001ED-77A8-427E-8A61-D099C82A1BC4}"/>
              </c:ext>
            </c:extLst>
          </c:dPt>
          <c:dPt>
            <c:idx val="246"/>
            <c:invertIfNegative val="1"/>
            <c:bubble3D val="0"/>
            <c:spPr>
              <a:solidFill>
                <a:srgbClr val="AEABAB"/>
              </a:solidFill>
            </c:spPr>
            <c:extLst>
              <c:ext xmlns:c16="http://schemas.microsoft.com/office/drawing/2014/chart" uri="{C3380CC4-5D6E-409C-BE32-E72D297353CC}">
                <c16:uniqueId val="{000001EF-77A8-427E-8A61-D099C82A1BC4}"/>
              </c:ext>
            </c:extLst>
          </c:dPt>
          <c:dPt>
            <c:idx val="247"/>
            <c:invertIfNegative val="1"/>
            <c:bubble3D val="0"/>
            <c:spPr>
              <a:solidFill>
                <a:srgbClr val="AEABAB"/>
              </a:solidFill>
            </c:spPr>
            <c:extLst>
              <c:ext xmlns:c16="http://schemas.microsoft.com/office/drawing/2014/chart" uri="{C3380CC4-5D6E-409C-BE32-E72D297353CC}">
                <c16:uniqueId val="{000001F1-77A8-427E-8A61-D099C82A1BC4}"/>
              </c:ext>
            </c:extLst>
          </c:dPt>
          <c:dPt>
            <c:idx val="248"/>
            <c:invertIfNegative val="1"/>
            <c:bubble3D val="0"/>
            <c:spPr>
              <a:solidFill>
                <a:srgbClr val="AEABAB"/>
              </a:solidFill>
            </c:spPr>
            <c:extLst>
              <c:ext xmlns:c16="http://schemas.microsoft.com/office/drawing/2014/chart" uri="{C3380CC4-5D6E-409C-BE32-E72D297353CC}">
                <c16:uniqueId val="{000001F3-77A8-427E-8A61-D099C82A1BC4}"/>
              </c:ext>
            </c:extLst>
          </c:dPt>
          <c:dPt>
            <c:idx val="249"/>
            <c:invertIfNegative val="1"/>
            <c:bubble3D val="0"/>
            <c:spPr>
              <a:solidFill>
                <a:srgbClr val="AEABAB"/>
              </a:solidFill>
            </c:spPr>
            <c:extLst>
              <c:ext xmlns:c16="http://schemas.microsoft.com/office/drawing/2014/chart" uri="{C3380CC4-5D6E-409C-BE32-E72D297353CC}">
                <c16:uniqueId val="{000001F5-77A8-427E-8A61-D099C82A1BC4}"/>
              </c:ext>
            </c:extLst>
          </c:dPt>
          <c:dPt>
            <c:idx val="250"/>
            <c:invertIfNegative val="1"/>
            <c:bubble3D val="0"/>
            <c:spPr>
              <a:solidFill>
                <a:srgbClr val="AEABAB"/>
              </a:solidFill>
            </c:spPr>
            <c:extLst>
              <c:ext xmlns:c16="http://schemas.microsoft.com/office/drawing/2014/chart" uri="{C3380CC4-5D6E-409C-BE32-E72D297353CC}">
                <c16:uniqueId val="{000001F7-77A8-427E-8A61-D099C82A1BC4}"/>
              </c:ext>
            </c:extLst>
          </c:dPt>
          <c:dPt>
            <c:idx val="251"/>
            <c:invertIfNegative val="1"/>
            <c:bubble3D val="0"/>
            <c:spPr>
              <a:solidFill>
                <a:srgbClr val="AEABAB"/>
              </a:solidFill>
            </c:spPr>
            <c:extLst>
              <c:ext xmlns:c16="http://schemas.microsoft.com/office/drawing/2014/chart" uri="{C3380CC4-5D6E-409C-BE32-E72D297353CC}">
                <c16:uniqueId val="{000001F9-77A8-427E-8A61-D099C82A1BC4}"/>
              </c:ext>
            </c:extLst>
          </c:dPt>
          <c:dPt>
            <c:idx val="252"/>
            <c:invertIfNegative val="1"/>
            <c:bubble3D val="0"/>
            <c:spPr>
              <a:solidFill>
                <a:srgbClr val="AEABAB"/>
              </a:solidFill>
            </c:spPr>
            <c:extLst>
              <c:ext xmlns:c16="http://schemas.microsoft.com/office/drawing/2014/chart" uri="{C3380CC4-5D6E-409C-BE32-E72D297353CC}">
                <c16:uniqueId val="{000001FB-77A8-427E-8A61-D099C82A1BC4}"/>
              </c:ext>
            </c:extLst>
          </c:dPt>
          <c:dPt>
            <c:idx val="253"/>
            <c:invertIfNegative val="1"/>
            <c:bubble3D val="0"/>
            <c:spPr>
              <a:solidFill>
                <a:srgbClr val="AEABAB"/>
              </a:solidFill>
            </c:spPr>
            <c:extLst>
              <c:ext xmlns:c16="http://schemas.microsoft.com/office/drawing/2014/chart" uri="{C3380CC4-5D6E-409C-BE32-E72D297353CC}">
                <c16:uniqueId val="{000001FD-77A8-427E-8A61-D099C82A1BC4}"/>
              </c:ext>
            </c:extLst>
          </c:dPt>
          <c:dPt>
            <c:idx val="254"/>
            <c:invertIfNegative val="1"/>
            <c:bubble3D val="0"/>
            <c:spPr>
              <a:solidFill>
                <a:srgbClr val="AEABAB"/>
              </a:solidFill>
            </c:spPr>
            <c:extLst>
              <c:ext xmlns:c16="http://schemas.microsoft.com/office/drawing/2014/chart" uri="{C3380CC4-5D6E-409C-BE32-E72D297353CC}">
                <c16:uniqueId val="{000001FF-77A8-427E-8A61-D099C82A1BC4}"/>
              </c:ext>
            </c:extLst>
          </c:dPt>
          <c:dPt>
            <c:idx val="255"/>
            <c:invertIfNegative val="1"/>
            <c:bubble3D val="0"/>
            <c:spPr>
              <a:solidFill>
                <a:srgbClr val="AEABAB"/>
              </a:solidFill>
            </c:spPr>
            <c:extLst>
              <c:ext xmlns:c16="http://schemas.microsoft.com/office/drawing/2014/chart" uri="{C3380CC4-5D6E-409C-BE32-E72D297353CC}">
                <c16:uniqueId val="{00000201-77A8-427E-8A61-D099C82A1BC4}"/>
              </c:ext>
            </c:extLst>
          </c:dPt>
          <c:dPt>
            <c:idx val="256"/>
            <c:invertIfNegative val="1"/>
            <c:bubble3D val="0"/>
            <c:spPr>
              <a:solidFill>
                <a:srgbClr val="AEABAB"/>
              </a:solidFill>
            </c:spPr>
            <c:extLst>
              <c:ext xmlns:c16="http://schemas.microsoft.com/office/drawing/2014/chart" uri="{C3380CC4-5D6E-409C-BE32-E72D297353CC}">
                <c16:uniqueId val="{00000203-77A8-427E-8A61-D099C82A1BC4}"/>
              </c:ext>
            </c:extLst>
          </c:dPt>
          <c:dPt>
            <c:idx val="257"/>
            <c:invertIfNegative val="1"/>
            <c:bubble3D val="0"/>
            <c:spPr>
              <a:solidFill>
                <a:srgbClr val="AEABAB"/>
              </a:solidFill>
            </c:spPr>
            <c:extLst>
              <c:ext xmlns:c16="http://schemas.microsoft.com/office/drawing/2014/chart" uri="{C3380CC4-5D6E-409C-BE32-E72D297353CC}">
                <c16:uniqueId val="{00000205-77A8-427E-8A61-D099C82A1BC4}"/>
              </c:ext>
            </c:extLst>
          </c:dPt>
          <c:dPt>
            <c:idx val="258"/>
            <c:invertIfNegative val="1"/>
            <c:bubble3D val="0"/>
            <c:spPr>
              <a:solidFill>
                <a:srgbClr val="AEABAB"/>
              </a:solidFill>
            </c:spPr>
            <c:extLst>
              <c:ext xmlns:c16="http://schemas.microsoft.com/office/drawing/2014/chart" uri="{C3380CC4-5D6E-409C-BE32-E72D297353CC}">
                <c16:uniqueId val="{00000207-77A8-427E-8A61-D099C82A1BC4}"/>
              </c:ext>
            </c:extLst>
          </c:dPt>
          <c:dPt>
            <c:idx val="259"/>
            <c:invertIfNegative val="1"/>
            <c:bubble3D val="0"/>
            <c:spPr>
              <a:solidFill>
                <a:srgbClr val="AEABAB"/>
              </a:solidFill>
            </c:spPr>
            <c:extLst>
              <c:ext xmlns:c16="http://schemas.microsoft.com/office/drawing/2014/chart" uri="{C3380CC4-5D6E-409C-BE32-E72D297353CC}">
                <c16:uniqueId val="{00000209-77A8-427E-8A61-D099C82A1BC4}"/>
              </c:ext>
            </c:extLst>
          </c:dPt>
          <c:dPt>
            <c:idx val="260"/>
            <c:invertIfNegative val="1"/>
            <c:bubble3D val="0"/>
            <c:spPr>
              <a:solidFill>
                <a:srgbClr val="AEABAB"/>
              </a:solidFill>
            </c:spPr>
            <c:extLst>
              <c:ext xmlns:c16="http://schemas.microsoft.com/office/drawing/2014/chart" uri="{C3380CC4-5D6E-409C-BE32-E72D297353CC}">
                <c16:uniqueId val="{0000020B-77A8-427E-8A61-D099C82A1BC4}"/>
              </c:ext>
            </c:extLst>
          </c:dPt>
          <c:dPt>
            <c:idx val="261"/>
            <c:invertIfNegative val="1"/>
            <c:bubble3D val="0"/>
            <c:spPr>
              <a:solidFill>
                <a:srgbClr val="AEABAB"/>
              </a:solidFill>
            </c:spPr>
            <c:extLst>
              <c:ext xmlns:c16="http://schemas.microsoft.com/office/drawing/2014/chart" uri="{C3380CC4-5D6E-409C-BE32-E72D297353CC}">
                <c16:uniqueId val="{0000020D-77A8-427E-8A61-D099C82A1BC4}"/>
              </c:ext>
            </c:extLst>
          </c:dPt>
          <c:dPt>
            <c:idx val="262"/>
            <c:invertIfNegative val="1"/>
            <c:bubble3D val="0"/>
            <c:spPr>
              <a:solidFill>
                <a:srgbClr val="AEABAB"/>
              </a:solidFill>
            </c:spPr>
            <c:extLst>
              <c:ext xmlns:c16="http://schemas.microsoft.com/office/drawing/2014/chart" uri="{C3380CC4-5D6E-409C-BE32-E72D297353CC}">
                <c16:uniqueId val="{0000020F-77A8-427E-8A61-D099C82A1BC4}"/>
              </c:ext>
            </c:extLst>
          </c:dPt>
          <c:dPt>
            <c:idx val="263"/>
            <c:invertIfNegative val="1"/>
            <c:bubble3D val="0"/>
            <c:spPr>
              <a:solidFill>
                <a:srgbClr val="AEABAB"/>
              </a:solidFill>
            </c:spPr>
            <c:extLst>
              <c:ext xmlns:c16="http://schemas.microsoft.com/office/drawing/2014/chart" uri="{C3380CC4-5D6E-409C-BE32-E72D297353CC}">
                <c16:uniqueId val="{00000211-77A8-427E-8A61-D099C82A1BC4}"/>
              </c:ext>
            </c:extLst>
          </c:dPt>
          <c:dPt>
            <c:idx val="264"/>
            <c:invertIfNegative val="1"/>
            <c:bubble3D val="0"/>
            <c:spPr>
              <a:solidFill>
                <a:srgbClr val="AEABAB"/>
              </a:solidFill>
            </c:spPr>
            <c:extLst>
              <c:ext xmlns:c16="http://schemas.microsoft.com/office/drawing/2014/chart" uri="{C3380CC4-5D6E-409C-BE32-E72D297353CC}">
                <c16:uniqueId val="{00000213-77A8-427E-8A61-D099C82A1BC4}"/>
              </c:ext>
            </c:extLst>
          </c:dPt>
          <c:dPt>
            <c:idx val="265"/>
            <c:invertIfNegative val="1"/>
            <c:bubble3D val="0"/>
            <c:spPr>
              <a:solidFill>
                <a:srgbClr val="AEABAB"/>
              </a:solidFill>
            </c:spPr>
            <c:extLst>
              <c:ext xmlns:c16="http://schemas.microsoft.com/office/drawing/2014/chart" uri="{C3380CC4-5D6E-409C-BE32-E72D297353CC}">
                <c16:uniqueId val="{00000215-77A8-427E-8A61-D099C82A1BC4}"/>
              </c:ext>
            </c:extLst>
          </c:dPt>
          <c:dPt>
            <c:idx val="266"/>
            <c:invertIfNegative val="1"/>
            <c:bubble3D val="0"/>
            <c:spPr>
              <a:solidFill>
                <a:srgbClr val="AEABAB"/>
              </a:solidFill>
            </c:spPr>
            <c:extLst>
              <c:ext xmlns:c16="http://schemas.microsoft.com/office/drawing/2014/chart" uri="{C3380CC4-5D6E-409C-BE32-E72D297353CC}">
                <c16:uniqueId val="{00000217-77A8-427E-8A61-D099C82A1BC4}"/>
              </c:ext>
            </c:extLst>
          </c:dPt>
          <c:dPt>
            <c:idx val="267"/>
            <c:invertIfNegative val="1"/>
            <c:bubble3D val="0"/>
            <c:spPr>
              <a:solidFill>
                <a:srgbClr val="AEABAB"/>
              </a:solidFill>
            </c:spPr>
            <c:extLst>
              <c:ext xmlns:c16="http://schemas.microsoft.com/office/drawing/2014/chart" uri="{C3380CC4-5D6E-409C-BE32-E72D297353CC}">
                <c16:uniqueId val="{00000219-77A8-427E-8A61-D099C82A1BC4}"/>
              </c:ext>
            </c:extLst>
          </c:dPt>
          <c:dPt>
            <c:idx val="268"/>
            <c:invertIfNegative val="1"/>
            <c:bubble3D val="0"/>
            <c:spPr>
              <a:solidFill>
                <a:srgbClr val="AEABAB"/>
              </a:solidFill>
            </c:spPr>
            <c:extLst>
              <c:ext xmlns:c16="http://schemas.microsoft.com/office/drawing/2014/chart" uri="{C3380CC4-5D6E-409C-BE32-E72D297353CC}">
                <c16:uniqueId val="{0000021B-77A8-427E-8A61-D099C82A1BC4}"/>
              </c:ext>
            </c:extLst>
          </c:dPt>
          <c:dPt>
            <c:idx val="269"/>
            <c:invertIfNegative val="1"/>
            <c:bubble3D val="0"/>
            <c:spPr>
              <a:solidFill>
                <a:srgbClr val="AEABAB"/>
              </a:solidFill>
            </c:spPr>
            <c:extLst>
              <c:ext xmlns:c16="http://schemas.microsoft.com/office/drawing/2014/chart" uri="{C3380CC4-5D6E-409C-BE32-E72D297353CC}">
                <c16:uniqueId val="{0000021D-77A8-427E-8A61-D099C82A1BC4}"/>
              </c:ext>
            </c:extLst>
          </c:dPt>
          <c:dPt>
            <c:idx val="270"/>
            <c:invertIfNegative val="1"/>
            <c:bubble3D val="0"/>
            <c:spPr>
              <a:solidFill>
                <a:srgbClr val="AEABAB"/>
              </a:solidFill>
            </c:spPr>
            <c:extLst>
              <c:ext xmlns:c16="http://schemas.microsoft.com/office/drawing/2014/chart" uri="{C3380CC4-5D6E-409C-BE32-E72D297353CC}">
                <c16:uniqueId val="{0000021F-77A8-427E-8A61-D099C82A1BC4}"/>
              </c:ext>
            </c:extLst>
          </c:dPt>
          <c:dPt>
            <c:idx val="271"/>
            <c:invertIfNegative val="1"/>
            <c:bubble3D val="0"/>
            <c:spPr>
              <a:solidFill>
                <a:srgbClr val="AEABAB"/>
              </a:solidFill>
            </c:spPr>
            <c:extLst>
              <c:ext xmlns:c16="http://schemas.microsoft.com/office/drawing/2014/chart" uri="{C3380CC4-5D6E-409C-BE32-E72D297353CC}">
                <c16:uniqueId val="{00000221-77A8-427E-8A61-D099C82A1BC4}"/>
              </c:ext>
            </c:extLst>
          </c:dPt>
          <c:dPt>
            <c:idx val="272"/>
            <c:invertIfNegative val="1"/>
            <c:bubble3D val="0"/>
            <c:spPr>
              <a:solidFill>
                <a:srgbClr val="AEABAB"/>
              </a:solidFill>
            </c:spPr>
            <c:extLst>
              <c:ext xmlns:c16="http://schemas.microsoft.com/office/drawing/2014/chart" uri="{C3380CC4-5D6E-409C-BE32-E72D297353CC}">
                <c16:uniqueId val="{00000223-77A8-427E-8A61-D099C82A1BC4}"/>
              </c:ext>
            </c:extLst>
          </c:dPt>
          <c:dPt>
            <c:idx val="273"/>
            <c:invertIfNegative val="1"/>
            <c:bubble3D val="0"/>
            <c:spPr>
              <a:solidFill>
                <a:srgbClr val="AEABAB"/>
              </a:solidFill>
            </c:spPr>
            <c:extLst>
              <c:ext xmlns:c16="http://schemas.microsoft.com/office/drawing/2014/chart" uri="{C3380CC4-5D6E-409C-BE32-E72D297353CC}">
                <c16:uniqueId val="{00000225-77A8-427E-8A61-D099C82A1BC4}"/>
              </c:ext>
            </c:extLst>
          </c:dPt>
          <c:dPt>
            <c:idx val="274"/>
            <c:invertIfNegative val="1"/>
            <c:bubble3D val="0"/>
            <c:spPr>
              <a:solidFill>
                <a:srgbClr val="AEABAB"/>
              </a:solidFill>
            </c:spPr>
            <c:extLst>
              <c:ext xmlns:c16="http://schemas.microsoft.com/office/drawing/2014/chart" uri="{C3380CC4-5D6E-409C-BE32-E72D297353CC}">
                <c16:uniqueId val="{00000227-77A8-427E-8A61-D099C82A1BC4}"/>
              </c:ext>
            </c:extLst>
          </c:dPt>
          <c:dPt>
            <c:idx val="275"/>
            <c:invertIfNegative val="1"/>
            <c:bubble3D val="0"/>
            <c:spPr>
              <a:solidFill>
                <a:srgbClr val="AEABAB"/>
              </a:solidFill>
            </c:spPr>
            <c:extLst>
              <c:ext xmlns:c16="http://schemas.microsoft.com/office/drawing/2014/chart" uri="{C3380CC4-5D6E-409C-BE32-E72D297353CC}">
                <c16:uniqueId val="{00000229-77A8-427E-8A61-D099C82A1BC4}"/>
              </c:ext>
            </c:extLst>
          </c:dPt>
          <c:dPt>
            <c:idx val="276"/>
            <c:invertIfNegative val="1"/>
            <c:bubble3D val="0"/>
            <c:spPr>
              <a:solidFill>
                <a:srgbClr val="AEABAB"/>
              </a:solidFill>
            </c:spPr>
            <c:extLst>
              <c:ext xmlns:c16="http://schemas.microsoft.com/office/drawing/2014/chart" uri="{C3380CC4-5D6E-409C-BE32-E72D297353CC}">
                <c16:uniqueId val="{0000022B-77A8-427E-8A61-D099C82A1BC4}"/>
              </c:ext>
            </c:extLst>
          </c:dPt>
          <c:dPt>
            <c:idx val="277"/>
            <c:invertIfNegative val="1"/>
            <c:bubble3D val="0"/>
            <c:spPr>
              <a:solidFill>
                <a:srgbClr val="AEABAB"/>
              </a:solidFill>
            </c:spPr>
            <c:extLst>
              <c:ext xmlns:c16="http://schemas.microsoft.com/office/drawing/2014/chart" uri="{C3380CC4-5D6E-409C-BE32-E72D297353CC}">
                <c16:uniqueId val="{0000022D-77A8-427E-8A61-D099C82A1BC4}"/>
              </c:ext>
            </c:extLst>
          </c:dPt>
          <c:dPt>
            <c:idx val="278"/>
            <c:invertIfNegative val="1"/>
            <c:bubble3D val="0"/>
            <c:spPr>
              <a:solidFill>
                <a:srgbClr val="AEABAB"/>
              </a:solidFill>
            </c:spPr>
            <c:extLst>
              <c:ext xmlns:c16="http://schemas.microsoft.com/office/drawing/2014/chart" uri="{C3380CC4-5D6E-409C-BE32-E72D297353CC}">
                <c16:uniqueId val="{0000022F-77A8-427E-8A61-D099C82A1BC4}"/>
              </c:ext>
            </c:extLst>
          </c:dPt>
          <c:dPt>
            <c:idx val="279"/>
            <c:invertIfNegative val="1"/>
            <c:bubble3D val="0"/>
            <c:spPr>
              <a:solidFill>
                <a:srgbClr val="AEABAB"/>
              </a:solidFill>
            </c:spPr>
            <c:extLst>
              <c:ext xmlns:c16="http://schemas.microsoft.com/office/drawing/2014/chart" uri="{C3380CC4-5D6E-409C-BE32-E72D297353CC}">
                <c16:uniqueId val="{00000231-77A8-427E-8A61-D099C82A1BC4}"/>
              </c:ext>
            </c:extLst>
          </c:dPt>
          <c:dPt>
            <c:idx val="280"/>
            <c:invertIfNegative val="1"/>
            <c:bubble3D val="0"/>
            <c:spPr>
              <a:solidFill>
                <a:srgbClr val="AEABAB"/>
              </a:solidFill>
            </c:spPr>
            <c:extLst>
              <c:ext xmlns:c16="http://schemas.microsoft.com/office/drawing/2014/chart" uri="{C3380CC4-5D6E-409C-BE32-E72D297353CC}">
                <c16:uniqueId val="{00000233-77A8-427E-8A61-D099C82A1BC4}"/>
              </c:ext>
            </c:extLst>
          </c:dPt>
          <c:dPt>
            <c:idx val="281"/>
            <c:invertIfNegative val="1"/>
            <c:bubble3D val="0"/>
            <c:spPr>
              <a:solidFill>
                <a:srgbClr val="AEABAB"/>
              </a:solidFill>
            </c:spPr>
            <c:extLst>
              <c:ext xmlns:c16="http://schemas.microsoft.com/office/drawing/2014/chart" uri="{C3380CC4-5D6E-409C-BE32-E72D297353CC}">
                <c16:uniqueId val="{00000235-77A8-427E-8A61-D099C82A1BC4}"/>
              </c:ext>
            </c:extLst>
          </c:dPt>
          <c:dPt>
            <c:idx val="282"/>
            <c:invertIfNegative val="1"/>
            <c:bubble3D val="0"/>
            <c:spPr>
              <a:solidFill>
                <a:srgbClr val="AEABAB"/>
              </a:solidFill>
            </c:spPr>
            <c:extLst>
              <c:ext xmlns:c16="http://schemas.microsoft.com/office/drawing/2014/chart" uri="{C3380CC4-5D6E-409C-BE32-E72D297353CC}">
                <c16:uniqueId val="{00000237-77A8-427E-8A61-D099C82A1BC4}"/>
              </c:ext>
            </c:extLst>
          </c:dPt>
          <c:dPt>
            <c:idx val="283"/>
            <c:invertIfNegative val="1"/>
            <c:bubble3D val="0"/>
            <c:spPr>
              <a:solidFill>
                <a:srgbClr val="AEABAB"/>
              </a:solidFill>
            </c:spPr>
            <c:extLst>
              <c:ext xmlns:c16="http://schemas.microsoft.com/office/drawing/2014/chart" uri="{C3380CC4-5D6E-409C-BE32-E72D297353CC}">
                <c16:uniqueId val="{00000239-77A8-427E-8A61-D099C82A1BC4}"/>
              </c:ext>
            </c:extLst>
          </c:dPt>
          <c:dPt>
            <c:idx val="284"/>
            <c:invertIfNegative val="1"/>
            <c:bubble3D val="0"/>
            <c:spPr>
              <a:solidFill>
                <a:srgbClr val="AEABAB"/>
              </a:solidFill>
            </c:spPr>
            <c:extLst>
              <c:ext xmlns:c16="http://schemas.microsoft.com/office/drawing/2014/chart" uri="{C3380CC4-5D6E-409C-BE32-E72D297353CC}">
                <c16:uniqueId val="{0000023B-77A8-427E-8A61-D099C82A1BC4}"/>
              </c:ext>
            </c:extLst>
          </c:dPt>
          <c:dPt>
            <c:idx val="285"/>
            <c:invertIfNegative val="1"/>
            <c:bubble3D val="0"/>
            <c:spPr>
              <a:solidFill>
                <a:srgbClr val="AEABAB"/>
              </a:solidFill>
            </c:spPr>
            <c:extLst>
              <c:ext xmlns:c16="http://schemas.microsoft.com/office/drawing/2014/chart" uri="{C3380CC4-5D6E-409C-BE32-E72D297353CC}">
                <c16:uniqueId val="{0000023D-77A8-427E-8A61-D099C82A1BC4}"/>
              </c:ext>
            </c:extLst>
          </c:dPt>
          <c:dPt>
            <c:idx val="286"/>
            <c:invertIfNegative val="1"/>
            <c:bubble3D val="0"/>
            <c:spPr>
              <a:solidFill>
                <a:srgbClr val="AEABAB"/>
              </a:solidFill>
            </c:spPr>
            <c:extLst>
              <c:ext xmlns:c16="http://schemas.microsoft.com/office/drawing/2014/chart" uri="{C3380CC4-5D6E-409C-BE32-E72D297353CC}">
                <c16:uniqueId val="{0000023F-77A8-427E-8A61-D099C82A1BC4}"/>
              </c:ext>
            </c:extLst>
          </c:dPt>
          <c:dPt>
            <c:idx val="287"/>
            <c:invertIfNegative val="1"/>
            <c:bubble3D val="0"/>
            <c:spPr>
              <a:solidFill>
                <a:srgbClr val="AEABAB"/>
              </a:solidFill>
            </c:spPr>
            <c:extLst>
              <c:ext xmlns:c16="http://schemas.microsoft.com/office/drawing/2014/chart" uri="{C3380CC4-5D6E-409C-BE32-E72D297353CC}">
                <c16:uniqueId val="{00000241-77A8-427E-8A61-D099C82A1BC4}"/>
              </c:ext>
            </c:extLst>
          </c:dPt>
          <c:dPt>
            <c:idx val="288"/>
            <c:invertIfNegative val="1"/>
            <c:bubble3D val="0"/>
            <c:spPr>
              <a:solidFill>
                <a:srgbClr val="AEABAB"/>
              </a:solidFill>
            </c:spPr>
            <c:extLst>
              <c:ext xmlns:c16="http://schemas.microsoft.com/office/drawing/2014/chart" uri="{C3380CC4-5D6E-409C-BE32-E72D297353CC}">
                <c16:uniqueId val="{00000243-77A8-427E-8A61-D099C82A1BC4}"/>
              </c:ext>
            </c:extLst>
          </c:dPt>
          <c:dPt>
            <c:idx val="289"/>
            <c:invertIfNegative val="1"/>
            <c:bubble3D val="0"/>
            <c:spPr>
              <a:solidFill>
                <a:srgbClr val="AEABAB"/>
              </a:solidFill>
            </c:spPr>
            <c:extLst>
              <c:ext xmlns:c16="http://schemas.microsoft.com/office/drawing/2014/chart" uri="{C3380CC4-5D6E-409C-BE32-E72D297353CC}">
                <c16:uniqueId val="{00000245-77A8-427E-8A61-D099C82A1BC4}"/>
              </c:ext>
            </c:extLst>
          </c:dPt>
          <c:dPt>
            <c:idx val="290"/>
            <c:invertIfNegative val="1"/>
            <c:bubble3D val="0"/>
            <c:spPr>
              <a:solidFill>
                <a:srgbClr val="AEABAB"/>
              </a:solidFill>
            </c:spPr>
            <c:extLst>
              <c:ext xmlns:c16="http://schemas.microsoft.com/office/drawing/2014/chart" uri="{C3380CC4-5D6E-409C-BE32-E72D297353CC}">
                <c16:uniqueId val="{00000247-77A8-427E-8A61-D099C82A1BC4}"/>
              </c:ext>
            </c:extLst>
          </c:dPt>
          <c:dPt>
            <c:idx val="291"/>
            <c:invertIfNegative val="1"/>
            <c:bubble3D val="0"/>
            <c:spPr>
              <a:solidFill>
                <a:srgbClr val="AEABAB"/>
              </a:solidFill>
            </c:spPr>
            <c:extLst>
              <c:ext xmlns:c16="http://schemas.microsoft.com/office/drawing/2014/chart" uri="{C3380CC4-5D6E-409C-BE32-E72D297353CC}">
                <c16:uniqueId val="{00000249-77A8-427E-8A61-D099C82A1BC4}"/>
              </c:ext>
            </c:extLst>
          </c:dPt>
          <c:dPt>
            <c:idx val="292"/>
            <c:invertIfNegative val="1"/>
            <c:bubble3D val="0"/>
            <c:spPr>
              <a:solidFill>
                <a:srgbClr val="AEABAB"/>
              </a:solidFill>
            </c:spPr>
            <c:extLst>
              <c:ext xmlns:c16="http://schemas.microsoft.com/office/drawing/2014/chart" uri="{C3380CC4-5D6E-409C-BE32-E72D297353CC}">
                <c16:uniqueId val="{0000024B-77A8-427E-8A61-D099C82A1BC4}"/>
              </c:ext>
            </c:extLst>
          </c:dPt>
          <c:dPt>
            <c:idx val="293"/>
            <c:invertIfNegative val="1"/>
            <c:bubble3D val="0"/>
            <c:spPr>
              <a:solidFill>
                <a:srgbClr val="AEABAB"/>
              </a:solidFill>
            </c:spPr>
            <c:extLst>
              <c:ext xmlns:c16="http://schemas.microsoft.com/office/drawing/2014/chart" uri="{C3380CC4-5D6E-409C-BE32-E72D297353CC}">
                <c16:uniqueId val="{0000024D-77A8-427E-8A61-D099C82A1BC4}"/>
              </c:ext>
            </c:extLst>
          </c:dPt>
          <c:dPt>
            <c:idx val="294"/>
            <c:invertIfNegative val="1"/>
            <c:bubble3D val="0"/>
            <c:spPr>
              <a:solidFill>
                <a:srgbClr val="AEABAB"/>
              </a:solidFill>
            </c:spPr>
            <c:extLst>
              <c:ext xmlns:c16="http://schemas.microsoft.com/office/drawing/2014/chart" uri="{C3380CC4-5D6E-409C-BE32-E72D297353CC}">
                <c16:uniqueId val="{0000024F-77A8-427E-8A61-D099C82A1BC4}"/>
              </c:ext>
            </c:extLst>
          </c:dPt>
          <c:dPt>
            <c:idx val="295"/>
            <c:invertIfNegative val="1"/>
            <c:bubble3D val="0"/>
            <c:spPr>
              <a:solidFill>
                <a:srgbClr val="AEABAB"/>
              </a:solidFill>
            </c:spPr>
            <c:extLst>
              <c:ext xmlns:c16="http://schemas.microsoft.com/office/drawing/2014/chart" uri="{C3380CC4-5D6E-409C-BE32-E72D297353CC}">
                <c16:uniqueId val="{00000251-77A8-427E-8A61-D099C82A1BC4}"/>
              </c:ext>
            </c:extLst>
          </c:dPt>
          <c:dPt>
            <c:idx val="296"/>
            <c:invertIfNegative val="1"/>
            <c:bubble3D val="0"/>
            <c:spPr>
              <a:solidFill>
                <a:srgbClr val="AEABAB"/>
              </a:solidFill>
            </c:spPr>
            <c:extLst>
              <c:ext xmlns:c16="http://schemas.microsoft.com/office/drawing/2014/chart" uri="{C3380CC4-5D6E-409C-BE32-E72D297353CC}">
                <c16:uniqueId val="{00000253-77A8-427E-8A61-D099C82A1BC4}"/>
              </c:ext>
            </c:extLst>
          </c:dPt>
          <c:dPt>
            <c:idx val="297"/>
            <c:invertIfNegative val="1"/>
            <c:bubble3D val="0"/>
            <c:spPr>
              <a:solidFill>
                <a:srgbClr val="AEABAB"/>
              </a:solidFill>
            </c:spPr>
            <c:extLst>
              <c:ext xmlns:c16="http://schemas.microsoft.com/office/drawing/2014/chart" uri="{C3380CC4-5D6E-409C-BE32-E72D297353CC}">
                <c16:uniqueId val="{00000255-77A8-427E-8A61-D099C82A1BC4}"/>
              </c:ext>
            </c:extLst>
          </c:dPt>
          <c:dPt>
            <c:idx val="298"/>
            <c:invertIfNegative val="1"/>
            <c:bubble3D val="0"/>
            <c:spPr>
              <a:solidFill>
                <a:srgbClr val="AEABAB"/>
              </a:solidFill>
            </c:spPr>
            <c:extLst>
              <c:ext xmlns:c16="http://schemas.microsoft.com/office/drawing/2014/chart" uri="{C3380CC4-5D6E-409C-BE32-E72D297353CC}">
                <c16:uniqueId val="{00000257-77A8-427E-8A61-D099C82A1BC4}"/>
              </c:ext>
            </c:extLst>
          </c:dPt>
          <c:dPt>
            <c:idx val="299"/>
            <c:invertIfNegative val="1"/>
            <c:bubble3D val="0"/>
            <c:spPr>
              <a:solidFill>
                <a:srgbClr val="AEABAB"/>
              </a:solidFill>
            </c:spPr>
            <c:extLst>
              <c:ext xmlns:c16="http://schemas.microsoft.com/office/drawing/2014/chart" uri="{C3380CC4-5D6E-409C-BE32-E72D297353CC}">
                <c16:uniqueId val="{00000259-77A8-427E-8A61-D099C82A1BC4}"/>
              </c:ext>
            </c:extLst>
          </c:dPt>
          <c:dPt>
            <c:idx val="300"/>
            <c:invertIfNegative val="1"/>
            <c:bubble3D val="0"/>
            <c:spPr>
              <a:solidFill>
                <a:srgbClr val="AEABAB"/>
              </a:solidFill>
            </c:spPr>
            <c:extLst>
              <c:ext xmlns:c16="http://schemas.microsoft.com/office/drawing/2014/chart" uri="{C3380CC4-5D6E-409C-BE32-E72D297353CC}">
                <c16:uniqueId val="{0000025B-77A8-427E-8A61-D099C82A1BC4}"/>
              </c:ext>
            </c:extLst>
          </c:dPt>
          <c:dPt>
            <c:idx val="301"/>
            <c:invertIfNegative val="1"/>
            <c:bubble3D val="0"/>
            <c:spPr>
              <a:solidFill>
                <a:srgbClr val="AEABAB"/>
              </a:solidFill>
            </c:spPr>
            <c:extLst>
              <c:ext xmlns:c16="http://schemas.microsoft.com/office/drawing/2014/chart" uri="{C3380CC4-5D6E-409C-BE32-E72D297353CC}">
                <c16:uniqueId val="{0000025D-77A8-427E-8A61-D099C82A1BC4}"/>
              </c:ext>
            </c:extLst>
          </c:dPt>
          <c:dPt>
            <c:idx val="302"/>
            <c:invertIfNegative val="1"/>
            <c:bubble3D val="0"/>
            <c:spPr>
              <a:solidFill>
                <a:srgbClr val="AEABAB"/>
              </a:solidFill>
            </c:spPr>
            <c:extLst>
              <c:ext xmlns:c16="http://schemas.microsoft.com/office/drawing/2014/chart" uri="{C3380CC4-5D6E-409C-BE32-E72D297353CC}">
                <c16:uniqueId val="{0000025F-77A8-427E-8A61-D099C82A1BC4}"/>
              </c:ext>
            </c:extLst>
          </c:dPt>
          <c:dPt>
            <c:idx val="303"/>
            <c:invertIfNegative val="1"/>
            <c:bubble3D val="0"/>
            <c:spPr>
              <a:solidFill>
                <a:srgbClr val="AEABAB"/>
              </a:solidFill>
            </c:spPr>
            <c:extLst>
              <c:ext xmlns:c16="http://schemas.microsoft.com/office/drawing/2014/chart" uri="{C3380CC4-5D6E-409C-BE32-E72D297353CC}">
                <c16:uniqueId val="{00000261-77A8-427E-8A61-D099C82A1BC4}"/>
              </c:ext>
            </c:extLst>
          </c:dPt>
          <c:dPt>
            <c:idx val="304"/>
            <c:invertIfNegative val="1"/>
            <c:bubble3D val="0"/>
            <c:spPr>
              <a:solidFill>
                <a:srgbClr val="AEABAB"/>
              </a:solidFill>
            </c:spPr>
            <c:extLst>
              <c:ext xmlns:c16="http://schemas.microsoft.com/office/drawing/2014/chart" uri="{C3380CC4-5D6E-409C-BE32-E72D297353CC}">
                <c16:uniqueId val="{00000263-77A8-427E-8A61-D099C82A1BC4}"/>
              </c:ext>
            </c:extLst>
          </c:dPt>
          <c:dPt>
            <c:idx val="305"/>
            <c:invertIfNegative val="1"/>
            <c:bubble3D val="0"/>
            <c:spPr>
              <a:solidFill>
                <a:srgbClr val="AEABAB"/>
              </a:solidFill>
            </c:spPr>
            <c:extLst>
              <c:ext xmlns:c16="http://schemas.microsoft.com/office/drawing/2014/chart" uri="{C3380CC4-5D6E-409C-BE32-E72D297353CC}">
                <c16:uniqueId val="{00000265-77A8-427E-8A61-D099C82A1BC4}"/>
              </c:ext>
            </c:extLst>
          </c:dPt>
          <c:dPt>
            <c:idx val="306"/>
            <c:invertIfNegative val="1"/>
            <c:bubble3D val="0"/>
            <c:spPr>
              <a:solidFill>
                <a:srgbClr val="AEABAB"/>
              </a:solidFill>
            </c:spPr>
            <c:extLst>
              <c:ext xmlns:c16="http://schemas.microsoft.com/office/drawing/2014/chart" uri="{C3380CC4-5D6E-409C-BE32-E72D297353CC}">
                <c16:uniqueId val="{00000267-77A8-427E-8A61-D099C82A1BC4}"/>
              </c:ext>
            </c:extLst>
          </c:dPt>
          <c:dPt>
            <c:idx val="307"/>
            <c:invertIfNegative val="1"/>
            <c:bubble3D val="0"/>
            <c:spPr>
              <a:solidFill>
                <a:srgbClr val="AEABAB"/>
              </a:solidFill>
            </c:spPr>
            <c:extLst>
              <c:ext xmlns:c16="http://schemas.microsoft.com/office/drawing/2014/chart" uri="{C3380CC4-5D6E-409C-BE32-E72D297353CC}">
                <c16:uniqueId val="{00000269-77A8-427E-8A61-D099C82A1BC4}"/>
              </c:ext>
            </c:extLst>
          </c:dPt>
          <c:dPt>
            <c:idx val="308"/>
            <c:invertIfNegative val="1"/>
            <c:bubble3D val="0"/>
            <c:spPr>
              <a:solidFill>
                <a:srgbClr val="AEABAB"/>
              </a:solidFill>
            </c:spPr>
            <c:extLst>
              <c:ext xmlns:c16="http://schemas.microsoft.com/office/drawing/2014/chart" uri="{C3380CC4-5D6E-409C-BE32-E72D297353CC}">
                <c16:uniqueId val="{0000026B-77A8-427E-8A61-D099C82A1BC4}"/>
              </c:ext>
            </c:extLst>
          </c:dPt>
          <c:dPt>
            <c:idx val="309"/>
            <c:invertIfNegative val="1"/>
            <c:bubble3D val="0"/>
            <c:spPr>
              <a:solidFill>
                <a:srgbClr val="AEABAB"/>
              </a:solidFill>
            </c:spPr>
            <c:extLst>
              <c:ext xmlns:c16="http://schemas.microsoft.com/office/drawing/2014/chart" uri="{C3380CC4-5D6E-409C-BE32-E72D297353CC}">
                <c16:uniqueId val="{0000026D-77A8-427E-8A61-D099C82A1BC4}"/>
              </c:ext>
            </c:extLst>
          </c:dPt>
          <c:dPt>
            <c:idx val="310"/>
            <c:invertIfNegative val="1"/>
            <c:bubble3D val="0"/>
            <c:spPr>
              <a:solidFill>
                <a:srgbClr val="AEABAB"/>
              </a:solidFill>
            </c:spPr>
            <c:extLst>
              <c:ext xmlns:c16="http://schemas.microsoft.com/office/drawing/2014/chart" uri="{C3380CC4-5D6E-409C-BE32-E72D297353CC}">
                <c16:uniqueId val="{0000026F-77A8-427E-8A61-D099C82A1BC4}"/>
              </c:ext>
            </c:extLst>
          </c:dPt>
          <c:dPt>
            <c:idx val="311"/>
            <c:invertIfNegative val="1"/>
            <c:bubble3D val="0"/>
            <c:spPr>
              <a:solidFill>
                <a:srgbClr val="AEABAB"/>
              </a:solidFill>
            </c:spPr>
            <c:extLst>
              <c:ext xmlns:c16="http://schemas.microsoft.com/office/drawing/2014/chart" uri="{C3380CC4-5D6E-409C-BE32-E72D297353CC}">
                <c16:uniqueId val="{00000271-77A8-427E-8A61-D099C82A1BC4}"/>
              </c:ext>
            </c:extLst>
          </c:dPt>
          <c:dPt>
            <c:idx val="312"/>
            <c:invertIfNegative val="1"/>
            <c:bubble3D val="0"/>
            <c:spPr>
              <a:solidFill>
                <a:srgbClr val="AEABAB"/>
              </a:solidFill>
            </c:spPr>
            <c:extLst>
              <c:ext xmlns:c16="http://schemas.microsoft.com/office/drawing/2014/chart" uri="{C3380CC4-5D6E-409C-BE32-E72D297353CC}">
                <c16:uniqueId val="{00000273-77A8-427E-8A61-D099C82A1BC4}"/>
              </c:ext>
            </c:extLst>
          </c:dPt>
          <c:dPt>
            <c:idx val="313"/>
            <c:invertIfNegative val="1"/>
            <c:bubble3D val="0"/>
            <c:spPr>
              <a:solidFill>
                <a:srgbClr val="AEABAB"/>
              </a:solidFill>
            </c:spPr>
            <c:extLst>
              <c:ext xmlns:c16="http://schemas.microsoft.com/office/drawing/2014/chart" uri="{C3380CC4-5D6E-409C-BE32-E72D297353CC}">
                <c16:uniqueId val="{00000275-77A8-427E-8A61-D099C82A1BC4}"/>
              </c:ext>
            </c:extLst>
          </c:dPt>
          <c:dPt>
            <c:idx val="314"/>
            <c:invertIfNegative val="1"/>
            <c:bubble3D val="0"/>
            <c:spPr>
              <a:solidFill>
                <a:srgbClr val="AEABAB"/>
              </a:solidFill>
            </c:spPr>
            <c:extLst>
              <c:ext xmlns:c16="http://schemas.microsoft.com/office/drawing/2014/chart" uri="{C3380CC4-5D6E-409C-BE32-E72D297353CC}">
                <c16:uniqueId val="{00000277-77A8-427E-8A61-D099C82A1BC4}"/>
              </c:ext>
            </c:extLst>
          </c:dPt>
          <c:dPt>
            <c:idx val="315"/>
            <c:invertIfNegative val="1"/>
            <c:bubble3D val="0"/>
            <c:spPr>
              <a:solidFill>
                <a:srgbClr val="AEABAB"/>
              </a:solidFill>
            </c:spPr>
            <c:extLst>
              <c:ext xmlns:c16="http://schemas.microsoft.com/office/drawing/2014/chart" uri="{C3380CC4-5D6E-409C-BE32-E72D297353CC}">
                <c16:uniqueId val="{00000279-77A8-427E-8A61-D099C82A1BC4}"/>
              </c:ext>
            </c:extLst>
          </c:dPt>
          <c:dPt>
            <c:idx val="316"/>
            <c:invertIfNegative val="1"/>
            <c:bubble3D val="0"/>
            <c:spPr>
              <a:solidFill>
                <a:srgbClr val="AEABAB"/>
              </a:solidFill>
            </c:spPr>
            <c:extLst>
              <c:ext xmlns:c16="http://schemas.microsoft.com/office/drawing/2014/chart" uri="{C3380CC4-5D6E-409C-BE32-E72D297353CC}">
                <c16:uniqueId val="{0000027B-77A8-427E-8A61-D099C82A1BC4}"/>
              </c:ext>
            </c:extLst>
          </c:dPt>
          <c:dPt>
            <c:idx val="317"/>
            <c:invertIfNegative val="1"/>
            <c:bubble3D val="0"/>
            <c:spPr>
              <a:solidFill>
                <a:srgbClr val="AEABAB"/>
              </a:solidFill>
            </c:spPr>
            <c:extLst>
              <c:ext xmlns:c16="http://schemas.microsoft.com/office/drawing/2014/chart" uri="{C3380CC4-5D6E-409C-BE32-E72D297353CC}">
                <c16:uniqueId val="{0000027D-77A8-427E-8A61-D099C82A1BC4}"/>
              </c:ext>
            </c:extLst>
          </c:dPt>
          <c:dPt>
            <c:idx val="318"/>
            <c:invertIfNegative val="1"/>
            <c:bubble3D val="0"/>
            <c:spPr>
              <a:solidFill>
                <a:srgbClr val="AEABAB"/>
              </a:solidFill>
            </c:spPr>
            <c:extLst>
              <c:ext xmlns:c16="http://schemas.microsoft.com/office/drawing/2014/chart" uri="{C3380CC4-5D6E-409C-BE32-E72D297353CC}">
                <c16:uniqueId val="{0000027F-77A8-427E-8A61-D099C82A1BC4}"/>
              </c:ext>
            </c:extLst>
          </c:dPt>
          <c:dPt>
            <c:idx val="319"/>
            <c:invertIfNegative val="1"/>
            <c:bubble3D val="0"/>
            <c:spPr>
              <a:solidFill>
                <a:srgbClr val="AEABAB"/>
              </a:solidFill>
            </c:spPr>
            <c:extLst>
              <c:ext xmlns:c16="http://schemas.microsoft.com/office/drawing/2014/chart" uri="{C3380CC4-5D6E-409C-BE32-E72D297353CC}">
                <c16:uniqueId val="{00000281-77A8-427E-8A61-D099C82A1BC4}"/>
              </c:ext>
            </c:extLst>
          </c:dPt>
          <c:dPt>
            <c:idx val="320"/>
            <c:invertIfNegative val="1"/>
            <c:bubble3D val="0"/>
            <c:spPr>
              <a:solidFill>
                <a:srgbClr val="AEABAB"/>
              </a:solidFill>
            </c:spPr>
            <c:extLst>
              <c:ext xmlns:c16="http://schemas.microsoft.com/office/drawing/2014/chart" uri="{C3380CC4-5D6E-409C-BE32-E72D297353CC}">
                <c16:uniqueId val="{00000283-77A8-427E-8A61-D099C82A1BC4}"/>
              </c:ext>
            </c:extLst>
          </c:dPt>
          <c:dPt>
            <c:idx val="321"/>
            <c:invertIfNegative val="1"/>
            <c:bubble3D val="0"/>
            <c:spPr>
              <a:solidFill>
                <a:srgbClr val="AEABAB"/>
              </a:solidFill>
            </c:spPr>
            <c:extLst>
              <c:ext xmlns:c16="http://schemas.microsoft.com/office/drawing/2014/chart" uri="{C3380CC4-5D6E-409C-BE32-E72D297353CC}">
                <c16:uniqueId val="{00000285-77A8-427E-8A61-D099C82A1BC4}"/>
              </c:ext>
            </c:extLst>
          </c:dPt>
          <c:dPt>
            <c:idx val="322"/>
            <c:invertIfNegative val="1"/>
            <c:bubble3D val="0"/>
            <c:spPr>
              <a:solidFill>
                <a:srgbClr val="AEABAB"/>
              </a:solidFill>
            </c:spPr>
            <c:extLst>
              <c:ext xmlns:c16="http://schemas.microsoft.com/office/drawing/2014/chart" uri="{C3380CC4-5D6E-409C-BE32-E72D297353CC}">
                <c16:uniqueId val="{00000287-77A8-427E-8A61-D099C82A1BC4}"/>
              </c:ext>
            </c:extLst>
          </c:dPt>
          <c:dPt>
            <c:idx val="323"/>
            <c:invertIfNegative val="1"/>
            <c:bubble3D val="0"/>
            <c:spPr>
              <a:solidFill>
                <a:srgbClr val="AEABAB"/>
              </a:solidFill>
            </c:spPr>
            <c:extLst>
              <c:ext xmlns:c16="http://schemas.microsoft.com/office/drawing/2014/chart" uri="{C3380CC4-5D6E-409C-BE32-E72D297353CC}">
                <c16:uniqueId val="{00000289-77A8-427E-8A61-D099C82A1BC4}"/>
              </c:ext>
            </c:extLst>
          </c:dPt>
          <c:dPt>
            <c:idx val="324"/>
            <c:invertIfNegative val="1"/>
            <c:bubble3D val="0"/>
            <c:spPr>
              <a:solidFill>
                <a:srgbClr val="AEABAB"/>
              </a:solidFill>
            </c:spPr>
            <c:extLst>
              <c:ext xmlns:c16="http://schemas.microsoft.com/office/drawing/2014/chart" uri="{C3380CC4-5D6E-409C-BE32-E72D297353CC}">
                <c16:uniqueId val="{0000028B-77A8-427E-8A61-D099C82A1BC4}"/>
              </c:ext>
            </c:extLst>
          </c:dPt>
          <c:dPt>
            <c:idx val="325"/>
            <c:invertIfNegative val="1"/>
            <c:bubble3D val="0"/>
            <c:spPr>
              <a:solidFill>
                <a:srgbClr val="AEABAB"/>
              </a:solidFill>
            </c:spPr>
            <c:extLst>
              <c:ext xmlns:c16="http://schemas.microsoft.com/office/drawing/2014/chart" uri="{C3380CC4-5D6E-409C-BE32-E72D297353CC}">
                <c16:uniqueId val="{0000028D-77A8-427E-8A61-D099C82A1BC4}"/>
              </c:ext>
            </c:extLst>
          </c:dPt>
          <c:dPt>
            <c:idx val="326"/>
            <c:invertIfNegative val="1"/>
            <c:bubble3D val="0"/>
            <c:spPr>
              <a:solidFill>
                <a:srgbClr val="AEABAB"/>
              </a:solidFill>
            </c:spPr>
            <c:extLst>
              <c:ext xmlns:c16="http://schemas.microsoft.com/office/drawing/2014/chart" uri="{C3380CC4-5D6E-409C-BE32-E72D297353CC}">
                <c16:uniqueId val="{0000028F-77A8-427E-8A61-D099C82A1BC4}"/>
              </c:ext>
            </c:extLst>
          </c:dPt>
          <c:dPt>
            <c:idx val="327"/>
            <c:invertIfNegative val="1"/>
            <c:bubble3D val="0"/>
            <c:spPr>
              <a:solidFill>
                <a:srgbClr val="AEABAB"/>
              </a:solidFill>
            </c:spPr>
            <c:extLst>
              <c:ext xmlns:c16="http://schemas.microsoft.com/office/drawing/2014/chart" uri="{C3380CC4-5D6E-409C-BE32-E72D297353CC}">
                <c16:uniqueId val="{00000291-77A8-427E-8A61-D099C82A1BC4}"/>
              </c:ext>
            </c:extLst>
          </c:dPt>
          <c:dPt>
            <c:idx val="328"/>
            <c:invertIfNegative val="1"/>
            <c:bubble3D val="0"/>
            <c:spPr>
              <a:solidFill>
                <a:srgbClr val="AEABAB"/>
              </a:solidFill>
            </c:spPr>
            <c:extLst>
              <c:ext xmlns:c16="http://schemas.microsoft.com/office/drawing/2014/chart" uri="{C3380CC4-5D6E-409C-BE32-E72D297353CC}">
                <c16:uniqueId val="{00000293-77A8-427E-8A61-D099C82A1BC4}"/>
              </c:ext>
            </c:extLst>
          </c:dPt>
          <c:dPt>
            <c:idx val="329"/>
            <c:invertIfNegative val="1"/>
            <c:bubble3D val="0"/>
            <c:spPr>
              <a:solidFill>
                <a:srgbClr val="AEABAB"/>
              </a:solidFill>
            </c:spPr>
            <c:extLst>
              <c:ext xmlns:c16="http://schemas.microsoft.com/office/drawing/2014/chart" uri="{C3380CC4-5D6E-409C-BE32-E72D297353CC}">
                <c16:uniqueId val="{00000295-77A8-427E-8A61-D099C82A1BC4}"/>
              </c:ext>
            </c:extLst>
          </c:dPt>
          <c:dPt>
            <c:idx val="330"/>
            <c:invertIfNegative val="1"/>
            <c:bubble3D val="0"/>
            <c:spPr>
              <a:solidFill>
                <a:srgbClr val="AEABAB"/>
              </a:solidFill>
            </c:spPr>
            <c:extLst>
              <c:ext xmlns:c16="http://schemas.microsoft.com/office/drawing/2014/chart" uri="{C3380CC4-5D6E-409C-BE32-E72D297353CC}">
                <c16:uniqueId val="{00000297-77A8-427E-8A61-D099C82A1BC4}"/>
              </c:ext>
            </c:extLst>
          </c:dPt>
          <c:dPt>
            <c:idx val="331"/>
            <c:invertIfNegative val="1"/>
            <c:bubble3D val="0"/>
            <c:spPr>
              <a:solidFill>
                <a:srgbClr val="AEABAB"/>
              </a:solidFill>
            </c:spPr>
            <c:extLst>
              <c:ext xmlns:c16="http://schemas.microsoft.com/office/drawing/2014/chart" uri="{C3380CC4-5D6E-409C-BE32-E72D297353CC}">
                <c16:uniqueId val="{00000299-77A8-427E-8A61-D099C82A1BC4}"/>
              </c:ext>
            </c:extLst>
          </c:dPt>
          <c:dPt>
            <c:idx val="332"/>
            <c:invertIfNegative val="1"/>
            <c:bubble3D val="0"/>
            <c:spPr>
              <a:solidFill>
                <a:srgbClr val="AEABAB"/>
              </a:solidFill>
            </c:spPr>
            <c:extLst>
              <c:ext xmlns:c16="http://schemas.microsoft.com/office/drawing/2014/chart" uri="{C3380CC4-5D6E-409C-BE32-E72D297353CC}">
                <c16:uniqueId val="{0000029B-77A8-427E-8A61-D099C82A1BC4}"/>
              </c:ext>
            </c:extLst>
          </c:dPt>
          <c:dPt>
            <c:idx val="333"/>
            <c:invertIfNegative val="1"/>
            <c:bubble3D val="0"/>
            <c:spPr>
              <a:solidFill>
                <a:srgbClr val="AEABAB"/>
              </a:solidFill>
            </c:spPr>
            <c:extLst>
              <c:ext xmlns:c16="http://schemas.microsoft.com/office/drawing/2014/chart" uri="{C3380CC4-5D6E-409C-BE32-E72D297353CC}">
                <c16:uniqueId val="{0000029D-77A8-427E-8A61-D099C82A1BC4}"/>
              </c:ext>
            </c:extLst>
          </c:dPt>
          <c:dPt>
            <c:idx val="334"/>
            <c:invertIfNegative val="1"/>
            <c:bubble3D val="0"/>
            <c:spPr>
              <a:solidFill>
                <a:srgbClr val="AEABAB"/>
              </a:solidFill>
            </c:spPr>
            <c:extLst>
              <c:ext xmlns:c16="http://schemas.microsoft.com/office/drawing/2014/chart" uri="{C3380CC4-5D6E-409C-BE32-E72D297353CC}">
                <c16:uniqueId val="{0000029F-77A8-427E-8A61-D099C82A1BC4}"/>
              </c:ext>
            </c:extLst>
          </c:dPt>
          <c:dPt>
            <c:idx val="335"/>
            <c:invertIfNegative val="1"/>
            <c:bubble3D val="0"/>
            <c:spPr>
              <a:solidFill>
                <a:srgbClr val="AEABAB"/>
              </a:solidFill>
            </c:spPr>
            <c:extLst>
              <c:ext xmlns:c16="http://schemas.microsoft.com/office/drawing/2014/chart" uri="{C3380CC4-5D6E-409C-BE32-E72D297353CC}">
                <c16:uniqueId val="{000002A1-77A8-427E-8A61-D099C82A1BC4}"/>
              </c:ext>
            </c:extLst>
          </c:dPt>
          <c:dPt>
            <c:idx val="336"/>
            <c:invertIfNegative val="1"/>
            <c:bubble3D val="0"/>
            <c:spPr>
              <a:solidFill>
                <a:srgbClr val="AEABAB"/>
              </a:solidFill>
            </c:spPr>
            <c:extLst>
              <c:ext xmlns:c16="http://schemas.microsoft.com/office/drawing/2014/chart" uri="{C3380CC4-5D6E-409C-BE32-E72D297353CC}">
                <c16:uniqueId val="{000002A3-77A8-427E-8A61-D099C82A1BC4}"/>
              </c:ext>
            </c:extLst>
          </c:dPt>
          <c:dPt>
            <c:idx val="337"/>
            <c:invertIfNegative val="1"/>
            <c:bubble3D val="0"/>
            <c:spPr>
              <a:solidFill>
                <a:srgbClr val="AEABAB"/>
              </a:solidFill>
            </c:spPr>
            <c:extLst>
              <c:ext xmlns:c16="http://schemas.microsoft.com/office/drawing/2014/chart" uri="{C3380CC4-5D6E-409C-BE32-E72D297353CC}">
                <c16:uniqueId val="{000002A5-77A8-427E-8A61-D099C82A1BC4}"/>
              </c:ext>
            </c:extLst>
          </c:dPt>
          <c:dPt>
            <c:idx val="338"/>
            <c:invertIfNegative val="1"/>
            <c:bubble3D val="0"/>
            <c:spPr>
              <a:solidFill>
                <a:srgbClr val="AEABAB"/>
              </a:solidFill>
            </c:spPr>
            <c:extLst>
              <c:ext xmlns:c16="http://schemas.microsoft.com/office/drawing/2014/chart" uri="{C3380CC4-5D6E-409C-BE32-E72D297353CC}">
                <c16:uniqueId val="{000002A7-77A8-427E-8A61-D099C82A1BC4}"/>
              </c:ext>
            </c:extLst>
          </c:dPt>
          <c:dPt>
            <c:idx val="339"/>
            <c:invertIfNegative val="1"/>
            <c:bubble3D val="0"/>
            <c:spPr>
              <a:solidFill>
                <a:srgbClr val="AEABAB"/>
              </a:solidFill>
            </c:spPr>
            <c:extLst>
              <c:ext xmlns:c16="http://schemas.microsoft.com/office/drawing/2014/chart" uri="{C3380CC4-5D6E-409C-BE32-E72D297353CC}">
                <c16:uniqueId val="{000002A9-77A8-427E-8A61-D099C82A1BC4}"/>
              </c:ext>
            </c:extLst>
          </c:dPt>
          <c:dPt>
            <c:idx val="340"/>
            <c:invertIfNegative val="1"/>
            <c:bubble3D val="0"/>
            <c:spPr>
              <a:solidFill>
                <a:srgbClr val="AEABAB"/>
              </a:solidFill>
            </c:spPr>
            <c:extLst>
              <c:ext xmlns:c16="http://schemas.microsoft.com/office/drawing/2014/chart" uri="{C3380CC4-5D6E-409C-BE32-E72D297353CC}">
                <c16:uniqueId val="{000002AB-77A8-427E-8A61-D099C82A1BC4}"/>
              </c:ext>
            </c:extLst>
          </c:dPt>
          <c:dPt>
            <c:idx val="341"/>
            <c:invertIfNegative val="1"/>
            <c:bubble3D val="0"/>
            <c:spPr>
              <a:solidFill>
                <a:srgbClr val="AEABAB"/>
              </a:solidFill>
            </c:spPr>
            <c:extLst>
              <c:ext xmlns:c16="http://schemas.microsoft.com/office/drawing/2014/chart" uri="{C3380CC4-5D6E-409C-BE32-E72D297353CC}">
                <c16:uniqueId val="{000002AD-77A8-427E-8A61-D099C82A1BC4}"/>
              </c:ext>
            </c:extLst>
          </c:dPt>
          <c:dPt>
            <c:idx val="342"/>
            <c:invertIfNegative val="1"/>
            <c:bubble3D val="0"/>
            <c:spPr>
              <a:solidFill>
                <a:srgbClr val="AEABAB"/>
              </a:solidFill>
            </c:spPr>
            <c:extLst>
              <c:ext xmlns:c16="http://schemas.microsoft.com/office/drawing/2014/chart" uri="{C3380CC4-5D6E-409C-BE32-E72D297353CC}">
                <c16:uniqueId val="{000002AF-77A8-427E-8A61-D099C82A1BC4}"/>
              </c:ext>
            </c:extLst>
          </c:dPt>
          <c:dPt>
            <c:idx val="343"/>
            <c:invertIfNegative val="1"/>
            <c:bubble3D val="0"/>
            <c:spPr>
              <a:solidFill>
                <a:srgbClr val="AEABAB"/>
              </a:solidFill>
            </c:spPr>
            <c:extLst>
              <c:ext xmlns:c16="http://schemas.microsoft.com/office/drawing/2014/chart" uri="{C3380CC4-5D6E-409C-BE32-E72D297353CC}">
                <c16:uniqueId val="{000002B1-77A8-427E-8A61-D099C82A1BC4}"/>
              </c:ext>
            </c:extLst>
          </c:dPt>
          <c:dPt>
            <c:idx val="344"/>
            <c:invertIfNegative val="1"/>
            <c:bubble3D val="0"/>
            <c:spPr>
              <a:solidFill>
                <a:srgbClr val="AEABAB"/>
              </a:solidFill>
            </c:spPr>
            <c:extLst>
              <c:ext xmlns:c16="http://schemas.microsoft.com/office/drawing/2014/chart" uri="{C3380CC4-5D6E-409C-BE32-E72D297353CC}">
                <c16:uniqueId val="{000002B3-77A8-427E-8A61-D099C82A1BC4}"/>
              </c:ext>
            </c:extLst>
          </c:dPt>
          <c:dPt>
            <c:idx val="345"/>
            <c:invertIfNegative val="1"/>
            <c:bubble3D val="0"/>
            <c:spPr>
              <a:solidFill>
                <a:srgbClr val="AEABAB"/>
              </a:solidFill>
            </c:spPr>
            <c:extLst>
              <c:ext xmlns:c16="http://schemas.microsoft.com/office/drawing/2014/chart" uri="{C3380CC4-5D6E-409C-BE32-E72D297353CC}">
                <c16:uniqueId val="{000002B5-77A8-427E-8A61-D099C82A1BC4}"/>
              </c:ext>
            </c:extLst>
          </c:dPt>
          <c:dPt>
            <c:idx val="346"/>
            <c:invertIfNegative val="1"/>
            <c:bubble3D val="0"/>
            <c:spPr>
              <a:solidFill>
                <a:srgbClr val="AEABAB"/>
              </a:solidFill>
            </c:spPr>
            <c:extLst>
              <c:ext xmlns:c16="http://schemas.microsoft.com/office/drawing/2014/chart" uri="{C3380CC4-5D6E-409C-BE32-E72D297353CC}">
                <c16:uniqueId val="{000002B7-77A8-427E-8A61-D099C82A1BC4}"/>
              </c:ext>
            </c:extLst>
          </c:dPt>
          <c:dPt>
            <c:idx val="347"/>
            <c:invertIfNegative val="1"/>
            <c:bubble3D val="0"/>
            <c:spPr>
              <a:solidFill>
                <a:srgbClr val="AEABAB"/>
              </a:solidFill>
            </c:spPr>
            <c:extLst>
              <c:ext xmlns:c16="http://schemas.microsoft.com/office/drawing/2014/chart" uri="{C3380CC4-5D6E-409C-BE32-E72D297353CC}">
                <c16:uniqueId val="{000002B9-77A8-427E-8A61-D099C82A1BC4}"/>
              </c:ext>
            </c:extLst>
          </c:dPt>
          <c:dPt>
            <c:idx val="348"/>
            <c:invertIfNegative val="1"/>
            <c:bubble3D val="0"/>
            <c:spPr>
              <a:solidFill>
                <a:srgbClr val="AEABAB"/>
              </a:solidFill>
            </c:spPr>
            <c:extLst>
              <c:ext xmlns:c16="http://schemas.microsoft.com/office/drawing/2014/chart" uri="{C3380CC4-5D6E-409C-BE32-E72D297353CC}">
                <c16:uniqueId val="{000002BB-77A8-427E-8A61-D099C82A1BC4}"/>
              </c:ext>
            </c:extLst>
          </c:dPt>
          <c:dPt>
            <c:idx val="349"/>
            <c:invertIfNegative val="1"/>
            <c:bubble3D val="0"/>
            <c:spPr>
              <a:solidFill>
                <a:srgbClr val="AEABAB"/>
              </a:solidFill>
            </c:spPr>
            <c:extLst>
              <c:ext xmlns:c16="http://schemas.microsoft.com/office/drawing/2014/chart" uri="{C3380CC4-5D6E-409C-BE32-E72D297353CC}">
                <c16:uniqueId val="{000002BD-77A8-427E-8A61-D099C82A1BC4}"/>
              </c:ext>
            </c:extLst>
          </c:dPt>
          <c:dPt>
            <c:idx val="350"/>
            <c:invertIfNegative val="1"/>
            <c:bubble3D val="0"/>
            <c:spPr>
              <a:solidFill>
                <a:srgbClr val="AEABAB"/>
              </a:solidFill>
            </c:spPr>
            <c:extLst>
              <c:ext xmlns:c16="http://schemas.microsoft.com/office/drawing/2014/chart" uri="{C3380CC4-5D6E-409C-BE32-E72D297353CC}">
                <c16:uniqueId val="{000002BF-77A8-427E-8A61-D099C82A1BC4}"/>
              </c:ext>
            </c:extLst>
          </c:dPt>
          <c:dPt>
            <c:idx val="351"/>
            <c:invertIfNegative val="1"/>
            <c:bubble3D val="0"/>
            <c:spPr>
              <a:solidFill>
                <a:srgbClr val="AEABAB"/>
              </a:solidFill>
            </c:spPr>
            <c:extLst>
              <c:ext xmlns:c16="http://schemas.microsoft.com/office/drawing/2014/chart" uri="{C3380CC4-5D6E-409C-BE32-E72D297353CC}">
                <c16:uniqueId val="{000002C1-77A8-427E-8A61-D099C82A1BC4}"/>
              </c:ext>
            </c:extLst>
          </c:dPt>
          <c:dPt>
            <c:idx val="352"/>
            <c:invertIfNegative val="1"/>
            <c:bubble3D val="0"/>
            <c:spPr>
              <a:solidFill>
                <a:srgbClr val="AEABAB"/>
              </a:solidFill>
            </c:spPr>
            <c:extLst>
              <c:ext xmlns:c16="http://schemas.microsoft.com/office/drawing/2014/chart" uri="{C3380CC4-5D6E-409C-BE32-E72D297353CC}">
                <c16:uniqueId val="{000002C3-77A8-427E-8A61-D099C82A1BC4}"/>
              </c:ext>
            </c:extLst>
          </c:dPt>
          <c:dPt>
            <c:idx val="353"/>
            <c:invertIfNegative val="1"/>
            <c:bubble3D val="0"/>
            <c:spPr>
              <a:solidFill>
                <a:srgbClr val="AEABAB"/>
              </a:solidFill>
            </c:spPr>
            <c:extLst>
              <c:ext xmlns:c16="http://schemas.microsoft.com/office/drawing/2014/chart" uri="{C3380CC4-5D6E-409C-BE32-E72D297353CC}">
                <c16:uniqueId val="{000002C5-77A8-427E-8A61-D099C82A1BC4}"/>
              </c:ext>
            </c:extLst>
          </c:dPt>
          <c:dPt>
            <c:idx val="354"/>
            <c:invertIfNegative val="1"/>
            <c:bubble3D val="0"/>
            <c:spPr>
              <a:solidFill>
                <a:srgbClr val="AEABAB"/>
              </a:solidFill>
            </c:spPr>
            <c:extLst>
              <c:ext xmlns:c16="http://schemas.microsoft.com/office/drawing/2014/chart" uri="{C3380CC4-5D6E-409C-BE32-E72D297353CC}">
                <c16:uniqueId val="{000002C7-77A8-427E-8A61-D099C82A1BC4}"/>
              </c:ext>
            </c:extLst>
          </c:dPt>
          <c:dPt>
            <c:idx val="355"/>
            <c:invertIfNegative val="1"/>
            <c:bubble3D val="0"/>
            <c:spPr>
              <a:solidFill>
                <a:srgbClr val="AEABAB"/>
              </a:solidFill>
            </c:spPr>
            <c:extLst>
              <c:ext xmlns:c16="http://schemas.microsoft.com/office/drawing/2014/chart" uri="{C3380CC4-5D6E-409C-BE32-E72D297353CC}">
                <c16:uniqueId val="{000002C9-77A8-427E-8A61-D099C82A1BC4}"/>
              </c:ext>
            </c:extLst>
          </c:dPt>
          <c:dPt>
            <c:idx val="356"/>
            <c:invertIfNegative val="1"/>
            <c:bubble3D val="0"/>
            <c:spPr>
              <a:solidFill>
                <a:srgbClr val="AEABAB"/>
              </a:solidFill>
            </c:spPr>
            <c:extLst>
              <c:ext xmlns:c16="http://schemas.microsoft.com/office/drawing/2014/chart" uri="{C3380CC4-5D6E-409C-BE32-E72D297353CC}">
                <c16:uniqueId val="{000002CB-77A8-427E-8A61-D099C82A1BC4}"/>
              </c:ext>
            </c:extLst>
          </c:dPt>
          <c:dPt>
            <c:idx val="357"/>
            <c:invertIfNegative val="1"/>
            <c:bubble3D val="0"/>
            <c:spPr>
              <a:solidFill>
                <a:srgbClr val="AEABAB"/>
              </a:solidFill>
            </c:spPr>
            <c:extLst>
              <c:ext xmlns:c16="http://schemas.microsoft.com/office/drawing/2014/chart" uri="{C3380CC4-5D6E-409C-BE32-E72D297353CC}">
                <c16:uniqueId val="{000002CD-77A8-427E-8A61-D099C82A1BC4}"/>
              </c:ext>
            </c:extLst>
          </c:dPt>
          <c:dPt>
            <c:idx val="358"/>
            <c:invertIfNegative val="1"/>
            <c:bubble3D val="0"/>
            <c:spPr>
              <a:solidFill>
                <a:srgbClr val="AEABAB"/>
              </a:solidFill>
            </c:spPr>
            <c:extLst>
              <c:ext xmlns:c16="http://schemas.microsoft.com/office/drawing/2014/chart" uri="{C3380CC4-5D6E-409C-BE32-E72D297353CC}">
                <c16:uniqueId val="{000002CF-77A8-427E-8A61-D099C82A1BC4}"/>
              </c:ext>
            </c:extLst>
          </c:dPt>
          <c:dPt>
            <c:idx val="359"/>
            <c:invertIfNegative val="1"/>
            <c:bubble3D val="0"/>
            <c:spPr>
              <a:solidFill>
                <a:srgbClr val="AEABAB"/>
              </a:solidFill>
            </c:spPr>
            <c:extLst>
              <c:ext xmlns:c16="http://schemas.microsoft.com/office/drawing/2014/chart" uri="{C3380CC4-5D6E-409C-BE32-E72D297353CC}">
                <c16:uniqueId val="{000002D1-77A8-427E-8A61-D099C82A1BC4}"/>
              </c:ext>
            </c:extLst>
          </c:dPt>
          <c:dPt>
            <c:idx val="360"/>
            <c:invertIfNegative val="1"/>
            <c:bubble3D val="0"/>
            <c:spPr>
              <a:solidFill>
                <a:srgbClr val="AEABAB"/>
              </a:solidFill>
            </c:spPr>
            <c:extLst>
              <c:ext xmlns:c16="http://schemas.microsoft.com/office/drawing/2014/chart" uri="{C3380CC4-5D6E-409C-BE32-E72D297353CC}">
                <c16:uniqueId val="{000002D3-77A8-427E-8A61-D099C82A1BC4}"/>
              </c:ext>
            </c:extLst>
          </c:dPt>
          <c:dPt>
            <c:idx val="361"/>
            <c:invertIfNegative val="1"/>
            <c:bubble3D val="0"/>
            <c:spPr>
              <a:solidFill>
                <a:srgbClr val="AEABAB"/>
              </a:solidFill>
            </c:spPr>
            <c:extLst>
              <c:ext xmlns:c16="http://schemas.microsoft.com/office/drawing/2014/chart" uri="{C3380CC4-5D6E-409C-BE32-E72D297353CC}">
                <c16:uniqueId val="{000002D5-77A8-427E-8A61-D099C82A1BC4}"/>
              </c:ext>
            </c:extLst>
          </c:dPt>
          <c:dPt>
            <c:idx val="362"/>
            <c:invertIfNegative val="1"/>
            <c:bubble3D val="0"/>
            <c:spPr>
              <a:solidFill>
                <a:srgbClr val="AEABAB"/>
              </a:solidFill>
            </c:spPr>
            <c:extLst>
              <c:ext xmlns:c16="http://schemas.microsoft.com/office/drawing/2014/chart" uri="{C3380CC4-5D6E-409C-BE32-E72D297353CC}">
                <c16:uniqueId val="{000002D7-77A8-427E-8A61-D099C82A1BC4}"/>
              </c:ext>
            </c:extLst>
          </c:dPt>
          <c:dPt>
            <c:idx val="363"/>
            <c:invertIfNegative val="1"/>
            <c:bubble3D val="0"/>
            <c:spPr>
              <a:solidFill>
                <a:srgbClr val="AEABAB"/>
              </a:solidFill>
            </c:spPr>
            <c:extLst>
              <c:ext xmlns:c16="http://schemas.microsoft.com/office/drawing/2014/chart" uri="{C3380CC4-5D6E-409C-BE32-E72D297353CC}">
                <c16:uniqueId val="{000002D9-77A8-427E-8A61-D099C82A1BC4}"/>
              </c:ext>
            </c:extLst>
          </c:dPt>
          <c:dPt>
            <c:idx val="364"/>
            <c:invertIfNegative val="1"/>
            <c:bubble3D val="0"/>
            <c:spPr>
              <a:solidFill>
                <a:srgbClr val="AEABAB"/>
              </a:solidFill>
            </c:spPr>
            <c:extLst>
              <c:ext xmlns:c16="http://schemas.microsoft.com/office/drawing/2014/chart" uri="{C3380CC4-5D6E-409C-BE32-E72D297353CC}">
                <c16:uniqueId val="{000002DB-77A8-427E-8A61-D099C82A1BC4}"/>
              </c:ext>
            </c:extLst>
          </c:dPt>
          <c:dPt>
            <c:idx val="365"/>
            <c:invertIfNegative val="1"/>
            <c:bubble3D val="0"/>
            <c:spPr>
              <a:solidFill>
                <a:srgbClr val="AEABAB"/>
              </a:solidFill>
            </c:spPr>
            <c:extLst>
              <c:ext xmlns:c16="http://schemas.microsoft.com/office/drawing/2014/chart" uri="{C3380CC4-5D6E-409C-BE32-E72D297353CC}">
                <c16:uniqueId val="{000002DD-77A8-427E-8A61-D099C82A1BC4}"/>
              </c:ext>
            </c:extLst>
          </c:dPt>
          <c:dPt>
            <c:idx val="366"/>
            <c:invertIfNegative val="1"/>
            <c:bubble3D val="0"/>
            <c:spPr>
              <a:solidFill>
                <a:srgbClr val="AEABAB"/>
              </a:solidFill>
            </c:spPr>
            <c:extLst>
              <c:ext xmlns:c16="http://schemas.microsoft.com/office/drawing/2014/chart" uri="{C3380CC4-5D6E-409C-BE32-E72D297353CC}">
                <c16:uniqueId val="{000002DF-77A8-427E-8A61-D099C82A1BC4}"/>
              </c:ext>
            </c:extLst>
          </c:dPt>
          <c:dPt>
            <c:idx val="367"/>
            <c:invertIfNegative val="1"/>
            <c:bubble3D val="0"/>
            <c:spPr>
              <a:solidFill>
                <a:srgbClr val="AEABAB"/>
              </a:solidFill>
            </c:spPr>
            <c:extLst>
              <c:ext xmlns:c16="http://schemas.microsoft.com/office/drawing/2014/chart" uri="{C3380CC4-5D6E-409C-BE32-E72D297353CC}">
                <c16:uniqueId val="{000002E1-77A8-427E-8A61-D099C82A1BC4}"/>
              </c:ext>
            </c:extLst>
          </c:dPt>
          <c:dPt>
            <c:idx val="368"/>
            <c:invertIfNegative val="1"/>
            <c:bubble3D val="0"/>
            <c:spPr>
              <a:solidFill>
                <a:srgbClr val="AEABAB"/>
              </a:solidFill>
            </c:spPr>
            <c:extLst>
              <c:ext xmlns:c16="http://schemas.microsoft.com/office/drawing/2014/chart" uri="{C3380CC4-5D6E-409C-BE32-E72D297353CC}">
                <c16:uniqueId val="{000002E3-77A8-427E-8A61-D099C82A1BC4}"/>
              </c:ext>
            </c:extLst>
          </c:dPt>
          <c:dPt>
            <c:idx val="369"/>
            <c:invertIfNegative val="1"/>
            <c:bubble3D val="0"/>
            <c:spPr>
              <a:solidFill>
                <a:srgbClr val="AEABAB"/>
              </a:solidFill>
            </c:spPr>
            <c:extLst>
              <c:ext xmlns:c16="http://schemas.microsoft.com/office/drawing/2014/chart" uri="{C3380CC4-5D6E-409C-BE32-E72D297353CC}">
                <c16:uniqueId val="{000002E5-77A8-427E-8A61-D099C82A1BC4}"/>
              </c:ext>
            </c:extLst>
          </c:dPt>
          <c:dPt>
            <c:idx val="370"/>
            <c:invertIfNegative val="1"/>
            <c:bubble3D val="0"/>
            <c:spPr>
              <a:solidFill>
                <a:srgbClr val="AEABAB"/>
              </a:solidFill>
            </c:spPr>
            <c:extLst>
              <c:ext xmlns:c16="http://schemas.microsoft.com/office/drawing/2014/chart" uri="{C3380CC4-5D6E-409C-BE32-E72D297353CC}">
                <c16:uniqueId val="{000002E7-77A8-427E-8A61-D099C82A1BC4}"/>
              </c:ext>
            </c:extLst>
          </c:dPt>
          <c:dPt>
            <c:idx val="371"/>
            <c:invertIfNegative val="1"/>
            <c:bubble3D val="0"/>
            <c:spPr>
              <a:solidFill>
                <a:srgbClr val="AEABAB"/>
              </a:solidFill>
            </c:spPr>
            <c:extLst>
              <c:ext xmlns:c16="http://schemas.microsoft.com/office/drawing/2014/chart" uri="{C3380CC4-5D6E-409C-BE32-E72D297353CC}">
                <c16:uniqueId val="{000002E9-77A8-427E-8A61-D099C82A1BC4}"/>
              </c:ext>
            </c:extLst>
          </c:dPt>
          <c:dPt>
            <c:idx val="372"/>
            <c:invertIfNegative val="1"/>
            <c:bubble3D val="0"/>
            <c:spPr>
              <a:solidFill>
                <a:srgbClr val="AEABAB"/>
              </a:solidFill>
            </c:spPr>
            <c:extLst>
              <c:ext xmlns:c16="http://schemas.microsoft.com/office/drawing/2014/chart" uri="{C3380CC4-5D6E-409C-BE32-E72D297353CC}">
                <c16:uniqueId val="{000002EB-77A8-427E-8A61-D099C82A1BC4}"/>
              </c:ext>
            </c:extLst>
          </c:dPt>
          <c:dPt>
            <c:idx val="373"/>
            <c:invertIfNegative val="1"/>
            <c:bubble3D val="0"/>
            <c:spPr>
              <a:solidFill>
                <a:srgbClr val="AEABAB"/>
              </a:solidFill>
            </c:spPr>
            <c:extLst>
              <c:ext xmlns:c16="http://schemas.microsoft.com/office/drawing/2014/chart" uri="{C3380CC4-5D6E-409C-BE32-E72D297353CC}">
                <c16:uniqueId val="{000002ED-77A8-427E-8A61-D099C82A1BC4}"/>
              </c:ext>
            </c:extLst>
          </c:dPt>
          <c:dPt>
            <c:idx val="374"/>
            <c:invertIfNegative val="1"/>
            <c:bubble3D val="0"/>
            <c:spPr>
              <a:solidFill>
                <a:srgbClr val="AEABAB"/>
              </a:solidFill>
            </c:spPr>
            <c:extLst>
              <c:ext xmlns:c16="http://schemas.microsoft.com/office/drawing/2014/chart" uri="{C3380CC4-5D6E-409C-BE32-E72D297353CC}">
                <c16:uniqueId val="{000002EF-77A8-427E-8A61-D099C82A1BC4}"/>
              </c:ext>
            </c:extLst>
          </c:dPt>
          <c:dPt>
            <c:idx val="375"/>
            <c:invertIfNegative val="1"/>
            <c:bubble3D val="0"/>
            <c:spPr>
              <a:solidFill>
                <a:srgbClr val="AEABAB"/>
              </a:solidFill>
            </c:spPr>
            <c:extLst>
              <c:ext xmlns:c16="http://schemas.microsoft.com/office/drawing/2014/chart" uri="{C3380CC4-5D6E-409C-BE32-E72D297353CC}">
                <c16:uniqueId val="{000002F1-77A8-427E-8A61-D099C82A1BC4}"/>
              </c:ext>
            </c:extLst>
          </c:dPt>
          <c:dPt>
            <c:idx val="376"/>
            <c:invertIfNegative val="1"/>
            <c:bubble3D val="0"/>
            <c:spPr>
              <a:solidFill>
                <a:srgbClr val="AEABAB"/>
              </a:solidFill>
            </c:spPr>
            <c:extLst>
              <c:ext xmlns:c16="http://schemas.microsoft.com/office/drawing/2014/chart" uri="{C3380CC4-5D6E-409C-BE32-E72D297353CC}">
                <c16:uniqueId val="{000002F3-77A8-427E-8A61-D099C82A1BC4}"/>
              </c:ext>
            </c:extLst>
          </c:dPt>
          <c:dPt>
            <c:idx val="377"/>
            <c:invertIfNegative val="1"/>
            <c:bubble3D val="0"/>
            <c:spPr>
              <a:solidFill>
                <a:srgbClr val="AEABAB"/>
              </a:solidFill>
            </c:spPr>
            <c:extLst>
              <c:ext xmlns:c16="http://schemas.microsoft.com/office/drawing/2014/chart" uri="{C3380CC4-5D6E-409C-BE32-E72D297353CC}">
                <c16:uniqueId val="{000002F5-77A8-427E-8A61-D099C82A1BC4}"/>
              </c:ext>
            </c:extLst>
          </c:dPt>
          <c:dPt>
            <c:idx val="378"/>
            <c:invertIfNegative val="1"/>
            <c:bubble3D val="0"/>
            <c:spPr>
              <a:solidFill>
                <a:srgbClr val="AEABAB"/>
              </a:solidFill>
            </c:spPr>
            <c:extLst>
              <c:ext xmlns:c16="http://schemas.microsoft.com/office/drawing/2014/chart" uri="{C3380CC4-5D6E-409C-BE32-E72D297353CC}">
                <c16:uniqueId val="{000002F7-77A8-427E-8A61-D099C82A1BC4}"/>
              </c:ext>
            </c:extLst>
          </c:dPt>
          <c:dPt>
            <c:idx val="379"/>
            <c:invertIfNegative val="1"/>
            <c:bubble3D val="0"/>
            <c:spPr>
              <a:solidFill>
                <a:srgbClr val="AEABAB"/>
              </a:solidFill>
            </c:spPr>
            <c:extLst>
              <c:ext xmlns:c16="http://schemas.microsoft.com/office/drawing/2014/chart" uri="{C3380CC4-5D6E-409C-BE32-E72D297353CC}">
                <c16:uniqueId val="{000002F9-77A8-427E-8A61-D099C82A1BC4}"/>
              </c:ext>
            </c:extLst>
          </c:dPt>
          <c:dPt>
            <c:idx val="380"/>
            <c:invertIfNegative val="1"/>
            <c:bubble3D val="0"/>
            <c:spPr>
              <a:solidFill>
                <a:srgbClr val="AEABAB"/>
              </a:solidFill>
            </c:spPr>
            <c:extLst>
              <c:ext xmlns:c16="http://schemas.microsoft.com/office/drawing/2014/chart" uri="{C3380CC4-5D6E-409C-BE32-E72D297353CC}">
                <c16:uniqueId val="{000002FB-77A8-427E-8A61-D099C82A1BC4}"/>
              </c:ext>
            </c:extLst>
          </c:dPt>
          <c:dPt>
            <c:idx val="381"/>
            <c:invertIfNegative val="1"/>
            <c:bubble3D val="0"/>
            <c:spPr>
              <a:solidFill>
                <a:srgbClr val="AEABAB"/>
              </a:solidFill>
            </c:spPr>
            <c:extLst>
              <c:ext xmlns:c16="http://schemas.microsoft.com/office/drawing/2014/chart" uri="{C3380CC4-5D6E-409C-BE32-E72D297353CC}">
                <c16:uniqueId val="{000002FD-77A8-427E-8A61-D099C82A1BC4}"/>
              </c:ext>
            </c:extLst>
          </c:dPt>
          <c:dPt>
            <c:idx val="382"/>
            <c:invertIfNegative val="1"/>
            <c:bubble3D val="0"/>
            <c:spPr>
              <a:solidFill>
                <a:srgbClr val="AEABAB"/>
              </a:solidFill>
            </c:spPr>
            <c:extLst>
              <c:ext xmlns:c16="http://schemas.microsoft.com/office/drawing/2014/chart" uri="{C3380CC4-5D6E-409C-BE32-E72D297353CC}">
                <c16:uniqueId val="{000002FF-77A8-427E-8A61-D099C82A1BC4}"/>
              </c:ext>
            </c:extLst>
          </c:dPt>
          <c:dPt>
            <c:idx val="383"/>
            <c:invertIfNegative val="1"/>
            <c:bubble3D val="0"/>
            <c:spPr>
              <a:solidFill>
                <a:srgbClr val="AEABAB"/>
              </a:solidFill>
            </c:spPr>
            <c:extLst>
              <c:ext xmlns:c16="http://schemas.microsoft.com/office/drawing/2014/chart" uri="{C3380CC4-5D6E-409C-BE32-E72D297353CC}">
                <c16:uniqueId val="{00000301-77A8-427E-8A61-D099C82A1BC4}"/>
              </c:ext>
            </c:extLst>
          </c:dPt>
          <c:dPt>
            <c:idx val="384"/>
            <c:invertIfNegative val="1"/>
            <c:bubble3D val="0"/>
            <c:spPr>
              <a:solidFill>
                <a:srgbClr val="AEABAB"/>
              </a:solidFill>
            </c:spPr>
            <c:extLst>
              <c:ext xmlns:c16="http://schemas.microsoft.com/office/drawing/2014/chart" uri="{C3380CC4-5D6E-409C-BE32-E72D297353CC}">
                <c16:uniqueId val="{00000303-77A8-427E-8A61-D099C82A1BC4}"/>
              </c:ext>
            </c:extLst>
          </c:dPt>
          <c:dPt>
            <c:idx val="385"/>
            <c:invertIfNegative val="1"/>
            <c:bubble3D val="0"/>
            <c:spPr>
              <a:solidFill>
                <a:srgbClr val="AEABAB"/>
              </a:solidFill>
            </c:spPr>
            <c:extLst>
              <c:ext xmlns:c16="http://schemas.microsoft.com/office/drawing/2014/chart" uri="{C3380CC4-5D6E-409C-BE32-E72D297353CC}">
                <c16:uniqueId val="{00000305-77A8-427E-8A61-D099C82A1BC4}"/>
              </c:ext>
            </c:extLst>
          </c:dPt>
          <c:dPt>
            <c:idx val="386"/>
            <c:invertIfNegative val="1"/>
            <c:bubble3D val="0"/>
            <c:spPr>
              <a:solidFill>
                <a:srgbClr val="AEABAB"/>
              </a:solidFill>
            </c:spPr>
            <c:extLst>
              <c:ext xmlns:c16="http://schemas.microsoft.com/office/drawing/2014/chart" uri="{C3380CC4-5D6E-409C-BE32-E72D297353CC}">
                <c16:uniqueId val="{00000307-77A8-427E-8A61-D099C82A1BC4}"/>
              </c:ext>
            </c:extLst>
          </c:dPt>
          <c:dPt>
            <c:idx val="387"/>
            <c:invertIfNegative val="1"/>
            <c:bubble3D val="0"/>
            <c:spPr>
              <a:solidFill>
                <a:srgbClr val="AEABAB"/>
              </a:solidFill>
            </c:spPr>
            <c:extLst>
              <c:ext xmlns:c16="http://schemas.microsoft.com/office/drawing/2014/chart" uri="{C3380CC4-5D6E-409C-BE32-E72D297353CC}">
                <c16:uniqueId val="{00000309-77A8-427E-8A61-D099C82A1BC4}"/>
              </c:ext>
            </c:extLst>
          </c:dPt>
          <c:dPt>
            <c:idx val="388"/>
            <c:invertIfNegative val="1"/>
            <c:bubble3D val="0"/>
            <c:spPr>
              <a:solidFill>
                <a:srgbClr val="AEABAB"/>
              </a:solidFill>
            </c:spPr>
            <c:extLst>
              <c:ext xmlns:c16="http://schemas.microsoft.com/office/drawing/2014/chart" uri="{C3380CC4-5D6E-409C-BE32-E72D297353CC}">
                <c16:uniqueId val="{0000030B-77A8-427E-8A61-D099C82A1BC4}"/>
              </c:ext>
            </c:extLst>
          </c:dPt>
          <c:dPt>
            <c:idx val="389"/>
            <c:invertIfNegative val="1"/>
            <c:bubble3D val="0"/>
            <c:spPr>
              <a:solidFill>
                <a:srgbClr val="AEABAB"/>
              </a:solidFill>
            </c:spPr>
            <c:extLst>
              <c:ext xmlns:c16="http://schemas.microsoft.com/office/drawing/2014/chart" uri="{C3380CC4-5D6E-409C-BE32-E72D297353CC}">
                <c16:uniqueId val="{0000030D-77A8-427E-8A61-D099C82A1BC4}"/>
              </c:ext>
            </c:extLst>
          </c:dPt>
          <c:dPt>
            <c:idx val="390"/>
            <c:invertIfNegative val="1"/>
            <c:bubble3D val="0"/>
            <c:spPr>
              <a:solidFill>
                <a:srgbClr val="AEABAB"/>
              </a:solidFill>
            </c:spPr>
            <c:extLst>
              <c:ext xmlns:c16="http://schemas.microsoft.com/office/drawing/2014/chart" uri="{C3380CC4-5D6E-409C-BE32-E72D297353CC}">
                <c16:uniqueId val="{0000030F-77A8-427E-8A61-D099C82A1BC4}"/>
              </c:ext>
            </c:extLst>
          </c:dPt>
          <c:dPt>
            <c:idx val="391"/>
            <c:invertIfNegative val="1"/>
            <c:bubble3D val="0"/>
            <c:spPr>
              <a:solidFill>
                <a:srgbClr val="AEABAB"/>
              </a:solidFill>
            </c:spPr>
            <c:extLst>
              <c:ext xmlns:c16="http://schemas.microsoft.com/office/drawing/2014/chart" uri="{C3380CC4-5D6E-409C-BE32-E72D297353CC}">
                <c16:uniqueId val="{00000311-77A8-427E-8A61-D099C82A1BC4}"/>
              </c:ext>
            </c:extLst>
          </c:dPt>
          <c:dPt>
            <c:idx val="392"/>
            <c:invertIfNegative val="1"/>
            <c:bubble3D val="0"/>
            <c:spPr>
              <a:solidFill>
                <a:srgbClr val="AEABAB"/>
              </a:solidFill>
            </c:spPr>
            <c:extLst>
              <c:ext xmlns:c16="http://schemas.microsoft.com/office/drawing/2014/chart" uri="{C3380CC4-5D6E-409C-BE32-E72D297353CC}">
                <c16:uniqueId val="{00000313-77A8-427E-8A61-D099C82A1BC4}"/>
              </c:ext>
            </c:extLst>
          </c:dPt>
          <c:dPt>
            <c:idx val="393"/>
            <c:invertIfNegative val="1"/>
            <c:bubble3D val="0"/>
            <c:spPr>
              <a:solidFill>
                <a:srgbClr val="AEABAB"/>
              </a:solidFill>
            </c:spPr>
            <c:extLst>
              <c:ext xmlns:c16="http://schemas.microsoft.com/office/drawing/2014/chart" uri="{C3380CC4-5D6E-409C-BE32-E72D297353CC}">
                <c16:uniqueId val="{00000315-77A8-427E-8A61-D099C82A1BC4}"/>
              </c:ext>
            </c:extLst>
          </c:dPt>
          <c:dPt>
            <c:idx val="394"/>
            <c:invertIfNegative val="1"/>
            <c:bubble3D val="0"/>
            <c:spPr>
              <a:solidFill>
                <a:srgbClr val="AEABAB"/>
              </a:solidFill>
            </c:spPr>
            <c:extLst>
              <c:ext xmlns:c16="http://schemas.microsoft.com/office/drawing/2014/chart" uri="{C3380CC4-5D6E-409C-BE32-E72D297353CC}">
                <c16:uniqueId val="{00000317-77A8-427E-8A61-D099C82A1BC4}"/>
              </c:ext>
            </c:extLst>
          </c:dPt>
          <c:dPt>
            <c:idx val="395"/>
            <c:invertIfNegative val="1"/>
            <c:bubble3D val="0"/>
            <c:spPr>
              <a:solidFill>
                <a:srgbClr val="AEABAB"/>
              </a:solidFill>
            </c:spPr>
            <c:extLst>
              <c:ext xmlns:c16="http://schemas.microsoft.com/office/drawing/2014/chart" uri="{C3380CC4-5D6E-409C-BE32-E72D297353CC}">
                <c16:uniqueId val="{00000319-77A8-427E-8A61-D099C82A1BC4}"/>
              </c:ext>
            </c:extLst>
          </c:dPt>
          <c:dPt>
            <c:idx val="396"/>
            <c:invertIfNegative val="1"/>
            <c:bubble3D val="0"/>
            <c:spPr>
              <a:solidFill>
                <a:srgbClr val="AEABAB"/>
              </a:solidFill>
            </c:spPr>
            <c:extLst>
              <c:ext xmlns:c16="http://schemas.microsoft.com/office/drawing/2014/chart" uri="{C3380CC4-5D6E-409C-BE32-E72D297353CC}">
                <c16:uniqueId val="{0000031B-77A8-427E-8A61-D099C82A1BC4}"/>
              </c:ext>
            </c:extLst>
          </c:dPt>
          <c:dPt>
            <c:idx val="397"/>
            <c:invertIfNegative val="1"/>
            <c:bubble3D val="0"/>
            <c:spPr>
              <a:solidFill>
                <a:srgbClr val="AEABAB"/>
              </a:solidFill>
            </c:spPr>
            <c:extLst>
              <c:ext xmlns:c16="http://schemas.microsoft.com/office/drawing/2014/chart" uri="{C3380CC4-5D6E-409C-BE32-E72D297353CC}">
                <c16:uniqueId val="{0000031D-77A8-427E-8A61-D099C82A1BC4}"/>
              </c:ext>
            </c:extLst>
          </c:dPt>
          <c:dPt>
            <c:idx val="398"/>
            <c:invertIfNegative val="1"/>
            <c:bubble3D val="0"/>
            <c:spPr>
              <a:solidFill>
                <a:srgbClr val="AEABAB"/>
              </a:solidFill>
            </c:spPr>
            <c:extLst>
              <c:ext xmlns:c16="http://schemas.microsoft.com/office/drawing/2014/chart" uri="{C3380CC4-5D6E-409C-BE32-E72D297353CC}">
                <c16:uniqueId val="{0000031F-77A8-427E-8A61-D099C82A1BC4}"/>
              </c:ext>
            </c:extLst>
          </c:dPt>
          <c:dPt>
            <c:idx val="399"/>
            <c:invertIfNegative val="1"/>
            <c:bubble3D val="0"/>
            <c:spPr>
              <a:solidFill>
                <a:srgbClr val="AEABAB"/>
              </a:solidFill>
            </c:spPr>
            <c:extLst>
              <c:ext xmlns:c16="http://schemas.microsoft.com/office/drawing/2014/chart" uri="{C3380CC4-5D6E-409C-BE32-E72D297353CC}">
                <c16:uniqueId val="{00000321-77A8-427E-8A61-D099C82A1BC4}"/>
              </c:ext>
            </c:extLst>
          </c:dPt>
          <c:dPt>
            <c:idx val="400"/>
            <c:invertIfNegative val="1"/>
            <c:bubble3D val="0"/>
            <c:spPr>
              <a:solidFill>
                <a:srgbClr val="AEABAB"/>
              </a:solidFill>
            </c:spPr>
            <c:extLst>
              <c:ext xmlns:c16="http://schemas.microsoft.com/office/drawing/2014/chart" uri="{C3380CC4-5D6E-409C-BE32-E72D297353CC}">
                <c16:uniqueId val="{00000323-77A8-427E-8A61-D099C82A1BC4}"/>
              </c:ext>
            </c:extLst>
          </c:dPt>
          <c:dPt>
            <c:idx val="401"/>
            <c:invertIfNegative val="1"/>
            <c:bubble3D val="0"/>
            <c:spPr>
              <a:solidFill>
                <a:srgbClr val="AEABAB"/>
              </a:solidFill>
            </c:spPr>
            <c:extLst>
              <c:ext xmlns:c16="http://schemas.microsoft.com/office/drawing/2014/chart" uri="{C3380CC4-5D6E-409C-BE32-E72D297353CC}">
                <c16:uniqueId val="{00000325-77A8-427E-8A61-D099C82A1BC4}"/>
              </c:ext>
            </c:extLst>
          </c:dPt>
          <c:dPt>
            <c:idx val="402"/>
            <c:invertIfNegative val="1"/>
            <c:bubble3D val="0"/>
            <c:spPr>
              <a:solidFill>
                <a:srgbClr val="AEABAB"/>
              </a:solidFill>
            </c:spPr>
            <c:extLst>
              <c:ext xmlns:c16="http://schemas.microsoft.com/office/drawing/2014/chart" uri="{C3380CC4-5D6E-409C-BE32-E72D297353CC}">
                <c16:uniqueId val="{00000327-77A8-427E-8A61-D099C82A1BC4}"/>
              </c:ext>
            </c:extLst>
          </c:dPt>
          <c:dPt>
            <c:idx val="403"/>
            <c:invertIfNegative val="1"/>
            <c:bubble3D val="0"/>
            <c:spPr>
              <a:solidFill>
                <a:srgbClr val="AEABAB"/>
              </a:solidFill>
            </c:spPr>
            <c:extLst>
              <c:ext xmlns:c16="http://schemas.microsoft.com/office/drawing/2014/chart" uri="{C3380CC4-5D6E-409C-BE32-E72D297353CC}">
                <c16:uniqueId val="{00000329-77A8-427E-8A61-D099C82A1BC4}"/>
              </c:ext>
            </c:extLst>
          </c:dPt>
          <c:dPt>
            <c:idx val="404"/>
            <c:invertIfNegative val="1"/>
            <c:bubble3D val="0"/>
            <c:spPr>
              <a:solidFill>
                <a:srgbClr val="AEABAB"/>
              </a:solidFill>
            </c:spPr>
            <c:extLst>
              <c:ext xmlns:c16="http://schemas.microsoft.com/office/drawing/2014/chart" uri="{C3380CC4-5D6E-409C-BE32-E72D297353CC}">
                <c16:uniqueId val="{0000032B-77A8-427E-8A61-D099C82A1BC4}"/>
              </c:ext>
            </c:extLst>
          </c:dPt>
          <c:dPt>
            <c:idx val="405"/>
            <c:invertIfNegative val="1"/>
            <c:bubble3D val="0"/>
            <c:spPr>
              <a:solidFill>
                <a:srgbClr val="AEABAB"/>
              </a:solidFill>
            </c:spPr>
            <c:extLst>
              <c:ext xmlns:c16="http://schemas.microsoft.com/office/drawing/2014/chart" uri="{C3380CC4-5D6E-409C-BE32-E72D297353CC}">
                <c16:uniqueId val="{0000032D-77A8-427E-8A61-D099C82A1BC4}"/>
              </c:ext>
            </c:extLst>
          </c:dPt>
          <c:dPt>
            <c:idx val="406"/>
            <c:invertIfNegative val="1"/>
            <c:bubble3D val="0"/>
            <c:spPr>
              <a:solidFill>
                <a:srgbClr val="AEABAB"/>
              </a:solidFill>
            </c:spPr>
            <c:extLst>
              <c:ext xmlns:c16="http://schemas.microsoft.com/office/drawing/2014/chart" uri="{C3380CC4-5D6E-409C-BE32-E72D297353CC}">
                <c16:uniqueId val="{0000032F-77A8-427E-8A61-D099C82A1BC4}"/>
              </c:ext>
            </c:extLst>
          </c:dPt>
          <c:dPt>
            <c:idx val="407"/>
            <c:invertIfNegative val="1"/>
            <c:bubble3D val="0"/>
            <c:spPr>
              <a:solidFill>
                <a:srgbClr val="AEABAB"/>
              </a:solidFill>
            </c:spPr>
            <c:extLst>
              <c:ext xmlns:c16="http://schemas.microsoft.com/office/drawing/2014/chart" uri="{C3380CC4-5D6E-409C-BE32-E72D297353CC}">
                <c16:uniqueId val="{00000331-77A8-427E-8A61-D099C82A1BC4}"/>
              </c:ext>
            </c:extLst>
          </c:dPt>
          <c:dPt>
            <c:idx val="408"/>
            <c:invertIfNegative val="1"/>
            <c:bubble3D val="0"/>
            <c:spPr>
              <a:solidFill>
                <a:srgbClr val="AEABAB"/>
              </a:solidFill>
            </c:spPr>
            <c:extLst>
              <c:ext xmlns:c16="http://schemas.microsoft.com/office/drawing/2014/chart" uri="{C3380CC4-5D6E-409C-BE32-E72D297353CC}">
                <c16:uniqueId val="{00000333-77A8-427E-8A61-D099C82A1BC4}"/>
              </c:ext>
            </c:extLst>
          </c:dPt>
          <c:dPt>
            <c:idx val="409"/>
            <c:invertIfNegative val="1"/>
            <c:bubble3D val="0"/>
            <c:spPr>
              <a:solidFill>
                <a:srgbClr val="AEABAB"/>
              </a:solidFill>
            </c:spPr>
            <c:extLst>
              <c:ext xmlns:c16="http://schemas.microsoft.com/office/drawing/2014/chart" uri="{C3380CC4-5D6E-409C-BE32-E72D297353CC}">
                <c16:uniqueId val="{00000335-77A8-427E-8A61-D099C82A1BC4}"/>
              </c:ext>
            </c:extLst>
          </c:dPt>
          <c:dPt>
            <c:idx val="410"/>
            <c:invertIfNegative val="1"/>
            <c:bubble3D val="0"/>
            <c:spPr>
              <a:solidFill>
                <a:srgbClr val="AEABAB"/>
              </a:solidFill>
            </c:spPr>
            <c:extLst>
              <c:ext xmlns:c16="http://schemas.microsoft.com/office/drawing/2014/chart" uri="{C3380CC4-5D6E-409C-BE32-E72D297353CC}">
                <c16:uniqueId val="{00000337-77A8-427E-8A61-D099C82A1BC4}"/>
              </c:ext>
            </c:extLst>
          </c:dPt>
          <c:dPt>
            <c:idx val="411"/>
            <c:invertIfNegative val="1"/>
            <c:bubble3D val="0"/>
            <c:spPr>
              <a:solidFill>
                <a:srgbClr val="AEABAB"/>
              </a:solidFill>
            </c:spPr>
            <c:extLst>
              <c:ext xmlns:c16="http://schemas.microsoft.com/office/drawing/2014/chart" uri="{C3380CC4-5D6E-409C-BE32-E72D297353CC}">
                <c16:uniqueId val="{00000339-77A8-427E-8A61-D099C82A1BC4}"/>
              </c:ext>
            </c:extLst>
          </c:dPt>
          <c:dPt>
            <c:idx val="412"/>
            <c:invertIfNegative val="1"/>
            <c:bubble3D val="0"/>
            <c:spPr>
              <a:solidFill>
                <a:srgbClr val="AEABAB"/>
              </a:solidFill>
            </c:spPr>
            <c:extLst>
              <c:ext xmlns:c16="http://schemas.microsoft.com/office/drawing/2014/chart" uri="{C3380CC4-5D6E-409C-BE32-E72D297353CC}">
                <c16:uniqueId val="{0000033B-77A8-427E-8A61-D099C82A1BC4}"/>
              </c:ext>
            </c:extLst>
          </c:dPt>
          <c:dPt>
            <c:idx val="413"/>
            <c:invertIfNegative val="1"/>
            <c:bubble3D val="0"/>
            <c:spPr>
              <a:solidFill>
                <a:srgbClr val="AEABAB"/>
              </a:solidFill>
            </c:spPr>
            <c:extLst>
              <c:ext xmlns:c16="http://schemas.microsoft.com/office/drawing/2014/chart" uri="{C3380CC4-5D6E-409C-BE32-E72D297353CC}">
                <c16:uniqueId val="{0000033D-77A8-427E-8A61-D099C82A1BC4}"/>
              </c:ext>
            </c:extLst>
          </c:dPt>
          <c:dPt>
            <c:idx val="414"/>
            <c:invertIfNegative val="1"/>
            <c:bubble3D val="0"/>
            <c:spPr>
              <a:solidFill>
                <a:srgbClr val="AEABAB"/>
              </a:solidFill>
            </c:spPr>
            <c:extLst>
              <c:ext xmlns:c16="http://schemas.microsoft.com/office/drawing/2014/chart" uri="{C3380CC4-5D6E-409C-BE32-E72D297353CC}">
                <c16:uniqueId val="{0000033F-77A8-427E-8A61-D099C82A1BC4}"/>
              </c:ext>
            </c:extLst>
          </c:dPt>
          <c:dPt>
            <c:idx val="415"/>
            <c:invertIfNegative val="1"/>
            <c:bubble3D val="0"/>
            <c:spPr>
              <a:solidFill>
                <a:srgbClr val="AEABAB"/>
              </a:solidFill>
            </c:spPr>
            <c:extLst>
              <c:ext xmlns:c16="http://schemas.microsoft.com/office/drawing/2014/chart" uri="{C3380CC4-5D6E-409C-BE32-E72D297353CC}">
                <c16:uniqueId val="{00000341-77A8-427E-8A61-D099C82A1BC4}"/>
              </c:ext>
            </c:extLst>
          </c:dPt>
          <c:dPt>
            <c:idx val="416"/>
            <c:invertIfNegative val="1"/>
            <c:bubble3D val="0"/>
            <c:spPr>
              <a:solidFill>
                <a:srgbClr val="AEABAB"/>
              </a:solidFill>
            </c:spPr>
            <c:extLst>
              <c:ext xmlns:c16="http://schemas.microsoft.com/office/drawing/2014/chart" uri="{C3380CC4-5D6E-409C-BE32-E72D297353CC}">
                <c16:uniqueId val="{00000343-77A8-427E-8A61-D099C82A1BC4}"/>
              </c:ext>
            </c:extLst>
          </c:dPt>
          <c:dPt>
            <c:idx val="417"/>
            <c:invertIfNegative val="1"/>
            <c:bubble3D val="0"/>
            <c:spPr>
              <a:solidFill>
                <a:srgbClr val="AEABAB"/>
              </a:solidFill>
            </c:spPr>
            <c:extLst>
              <c:ext xmlns:c16="http://schemas.microsoft.com/office/drawing/2014/chart" uri="{C3380CC4-5D6E-409C-BE32-E72D297353CC}">
                <c16:uniqueId val="{00000345-77A8-427E-8A61-D099C82A1BC4}"/>
              </c:ext>
            </c:extLst>
          </c:dPt>
          <c:dPt>
            <c:idx val="418"/>
            <c:invertIfNegative val="1"/>
            <c:bubble3D val="0"/>
            <c:spPr>
              <a:solidFill>
                <a:srgbClr val="AEABAB"/>
              </a:solidFill>
            </c:spPr>
            <c:extLst>
              <c:ext xmlns:c16="http://schemas.microsoft.com/office/drawing/2014/chart" uri="{C3380CC4-5D6E-409C-BE32-E72D297353CC}">
                <c16:uniqueId val="{00000347-77A8-427E-8A61-D099C82A1BC4}"/>
              </c:ext>
            </c:extLst>
          </c:dPt>
          <c:dPt>
            <c:idx val="419"/>
            <c:invertIfNegative val="1"/>
            <c:bubble3D val="0"/>
            <c:spPr>
              <a:solidFill>
                <a:srgbClr val="AEABAB"/>
              </a:solidFill>
            </c:spPr>
            <c:extLst>
              <c:ext xmlns:c16="http://schemas.microsoft.com/office/drawing/2014/chart" uri="{C3380CC4-5D6E-409C-BE32-E72D297353CC}">
                <c16:uniqueId val="{00000349-77A8-427E-8A61-D099C82A1BC4}"/>
              </c:ext>
            </c:extLst>
          </c:dPt>
          <c:dPt>
            <c:idx val="420"/>
            <c:invertIfNegative val="1"/>
            <c:bubble3D val="0"/>
            <c:spPr>
              <a:solidFill>
                <a:srgbClr val="AEABAB"/>
              </a:solidFill>
            </c:spPr>
            <c:extLst>
              <c:ext xmlns:c16="http://schemas.microsoft.com/office/drawing/2014/chart" uri="{C3380CC4-5D6E-409C-BE32-E72D297353CC}">
                <c16:uniqueId val="{0000034B-77A8-427E-8A61-D099C82A1BC4}"/>
              </c:ext>
            </c:extLst>
          </c:dPt>
          <c:dPt>
            <c:idx val="421"/>
            <c:invertIfNegative val="1"/>
            <c:bubble3D val="0"/>
            <c:spPr>
              <a:solidFill>
                <a:srgbClr val="AEABAB"/>
              </a:solidFill>
            </c:spPr>
            <c:extLst>
              <c:ext xmlns:c16="http://schemas.microsoft.com/office/drawing/2014/chart" uri="{C3380CC4-5D6E-409C-BE32-E72D297353CC}">
                <c16:uniqueId val="{0000034D-77A8-427E-8A61-D099C82A1BC4}"/>
              </c:ext>
            </c:extLst>
          </c:dPt>
          <c:dPt>
            <c:idx val="422"/>
            <c:invertIfNegative val="1"/>
            <c:bubble3D val="0"/>
            <c:spPr>
              <a:solidFill>
                <a:srgbClr val="AEABAB"/>
              </a:solidFill>
            </c:spPr>
            <c:extLst>
              <c:ext xmlns:c16="http://schemas.microsoft.com/office/drawing/2014/chart" uri="{C3380CC4-5D6E-409C-BE32-E72D297353CC}">
                <c16:uniqueId val="{0000034F-77A8-427E-8A61-D099C82A1BC4}"/>
              </c:ext>
            </c:extLst>
          </c:dPt>
          <c:dPt>
            <c:idx val="423"/>
            <c:invertIfNegative val="1"/>
            <c:bubble3D val="0"/>
            <c:spPr>
              <a:solidFill>
                <a:srgbClr val="AEABAB"/>
              </a:solidFill>
            </c:spPr>
            <c:extLst>
              <c:ext xmlns:c16="http://schemas.microsoft.com/office/drawing/2014/chart" uri="{C3380CC4-5D6E-409C-BE32-E72D297353CC}">
                <c16:uniqueId val="{00000351-77A8-427E-8A61-D099C82A1BC4}"/>
              </c:ext>
            </c:extLst>
          </c:dPt>
          <c:dPt>
            <c:idx val="424"/>
            <c:invertIfNegative val="1"/>
            <c:bubble3D val="0"/>
            <c:spPr>
              <a:solidFill>
                <a:srgbClr val="AEABAB"/>
              </a:solidFill>
            </c:spPr>
            <c:extLst>
              <c:ext xmlns:c16="http://schemas.microsoft.com/office/drawing/2014/chart" uri="{C3380CC4-5D6E-409C-BE32-E72D297353CC}">
                <c16:uniqueId val="{00000353-77A8-427E-8A61-D099C82A1BC4}"/>
              </c:ext>
            </c:extLst>
          </c:dPt>
          <c:dPt>
            <c:idx val="425"/>
            <c:invertIfNegative val="1"/>
            <c:bubble3D val="0"/>
            <c:spPr>
              <a:solidFill>
                <a:srgbClr val="AEABAB"/>
              </a:solidFill>
            </c:spPr>
            <c:extLst>
              <c:ext xmlns:c16="http://schemas.microsoft.com/office/drawing/2014/chart" uri="{C3380CC4-5D6E-409C-BE32-E72D297353CC}">
                <c16:uniqueId val="{00000355-77A8-427E-8A61-D099C82A1BC4}"/>
              </c:ext>
            </c:extLst>
          </c:dPt>
          <c:dPt>
            <c:idx val="426"/>
            <c:invertIfNegative val="1"/>
            <c:bubble3D val="0"/>
            <c:spPr>
              <a:solidFill>
                <a:srgbClr val="AEABAB"/>
              </a:solidFill>
            </c:spPr>
            <c:extLst>
              <c:ext xmlns:c16="http://schemas.microsoft.com/office/drawing/2014/chart" uri="{C3380CC4-5D6E-409C-BE32-E72D297353CC}">
                <c16:uniqueId val="{00000357-77A8-427E-8A61-D099C82A1BC4}"/>
              </c:ext>
            </c:extLst>
          </c:dPt>
          <c:dPt>
            <c:idx val="427"/>
            <c:invertIfNegative val="1"/>
            <c:bubble3D val="0"/>
            <c:spPr>
              <a:solidFill>
                <a:srgbClr val="AEABAB"/>
              </a:solidFill>
            </c:spPr>
            <c:extLst>
              <c:ext xmlns:c16="http://schemas.microsoft.com/office/drawing/2014/chart" uri="{C3380CC4-5D6E-409C-BE32-E72D297353CC}">
                <c16:uniqueId val="{00000359-77A8-427E-8A61-D099C82A1BC4}"/>
              </c:ext>
            </c:extLst>
          </c:dPt>
          <c:dPt>
            <c:idx val="428"/>
            <c:invertIfNegative val="1"/>
            <c:bubble3D val="0"/>
            <c:spPr>
              <a:solidFill>
                <a:srgbClr val="AEABAB"/>
              </a:solidFill>
            </c:spPr>
            <c:extLst>
              <c:ext xmlns:c16="http://schemas.microsoft.com/office/drawing/2014/chart" uri="{C3380CC4-5D6E-409C-BE32-E72D297353CC}">
                <c16:uniqueId val="{0000035B-77A8-427E-8A61-D099C82A1BC4}"/>
              </c:ext>
            </c:extLst>
          </c:dPt>
          <c:dPt>
            <c:idx val="429"/>
            <c:invertIfNegative val="1"/>
            <c:bubble3D val="0"/>
            <c:spPr>
              <a:solidFill>
                <a:srgbClr val="AEABAB"/>
              </a:solidFill>
            </c:spPr>
            <c:extLst>
              <c:ext xmlns:c16="http://schemas.microsoft.com/office/drawing/2014/chart" uri="{C3380CC4-5D6E-409C-BE32-E72D297353CC}">
                <c16:uniqueId val="{0000035D-77A8-427E-8A61-D099C82A1BC4}"/>
              </c:ext>
            </c:extLst>
          </c:dPt>
          <c:dPt>
            <c:idx val="430"/>
            <c:invertIfNegative val="1"/>
            <c:bubble3D val="0"/>
            <c:spPr>
              <a:solidFill>
                <a:srgbClr val="AEABAB"/>
              </a:solidFill>
            </c:spPr>
            <c:extLst>
              <c:ext xmlns:c16="http://schemas.microsoft.com/office/drawing/2014/chart" uri="{C3380CC4-5D6E-409C-BE32-E72D297353CC}">
                <c16:uniqueId val="{0000035F-77A8-427E-8A61-D099C82A1BC4}"/>
              </c:ext>
            </c:extLst>
          </c:dPt>
          <c:dPt>
            <c:idx val="431"/>
            <c:invertIfNegative val="1"/>
            <c:bubble3D val="0"/>
            <c:spPr>
              <a:solidFill>
                <a:srgbClr val="AEABAB"/>
              </a:solidFill>
            </c:spPr>
            <c:extLst>
              <c:ext xmlns:c16="http://schemas.microsoft.com/office/drawing/2014/chart" uri="{C3380CC4-5D6E-409C-BE32-E72D297353CC}">
                <c16:uniqueId val="{00000361-77A8-427E-8A61-D099C82A1BC4}"/>
              </c:ext>
            </c:extLst>
          </c:dPt>
          <c:dPt>
            <c:idx val="432"/>
            <c:invertIfNegative val="1"/>
            <c:bubble3D val="0"/>
            <c:spPr>
              <a:solidFill>
                <a:srgbClr val="AEABAB"/>
              </a:solidFill>
            </c:spPr>
            <c:extLst>
              <c:ext xmlns:c16="http://schemas.microsoft.com/office/drawing/2014/chart" uri="{C3380CC4-5D6E-409C-BE32-E72D297353CC}">
                <c16:uniqueId val="{00000363-77A8-427E-8A61-D099C82A1BC4}"/>
              </c:ext>
            </c:extLst>
          </c:dPt>
          <c:dPt>
            <c:idx val="433"/>
            <c:invertIfNegative val="1"/>
            <c:bubble3D val="0"/>
            <c:spPr>
              <a:solidFill>
                <a:srgbClr val="AEABAB"/>
              </a:solidFill>
            </c:spPr>
            <c:extLst>
              <c:ext xmlns:c16="http://schemas.microsoft.com/office/drawing/2014/chart" uri="{C3380CC4-5D6E-409C-BE32-E72D297353CC}">
                <c16:uniqueId val="{00000365-77A8-427E-8A61-D099C82A1BC4}"/>
              </c:ext>
            </c:extLst>
          </c:dPt>
          <c:dPt>
            <c:idx val="434"/>
            <c:invertIfNegative val="1"/>
            <c:bubble3D val="0"/>
            <c:spPr>
              <a:solidFill>
                <a:srgbClr val="AEABAB"/>
              </a:solidFill>
            </c:spPr>
            <c:extLst>
              <c:ext xmlns:c16="http://schemas.microsoft.com/office/drawing/2014/chart" uri="{C3380CC4-5D6E-409C-BE32-E72D297353CC}">
                <c16:uniqueId val="{00000367-77A8-427E-8A61-D099C82A1BC4}"/>
              </c:ext>
            </c:extLst>
          </c:dPt>
          <c:dPt>
            <c:idx val="435"/>
            <c:invertIfNegative val="1"/>
            <c:bubble3D val="0"/>
            <c:spPr>
              <a:solidFill>
                <a:srgbClr val="AEABAB"/>
              </a:solidFill>
            </c:spPr>
            <c:extLst>
              <c:ext xmlns:c16="http://schemas.microsoft.com/office/drawing/2014/chart" uri="{C3380CC4-5D6E-409C-BE32-E72D297353CC}">
                <c16:uniqueId val="{00000369-77A8-427E-8A61-D099C82A1BC4}"/>
              </c:ext>
            </c:extLst>
          </c:dPt>
          <c:dPt>
            <c:idx val="436"/>
            <c:invertIfNegative val="1"/>
            <c:bubble3D val="0"/>
            <c:spPr>
              <a:solidFill>
                <a:srgbClr val="AEABAB"/>
              </a:solidFill>
            </c:spPr>
            <c:extLst>
              <c:ext xmlns:c16="http://schemas.microsoft.com/office/drawing/2014/chart" uri="{C3380CC4-5D6E-409C-BE32-E72D297353CC}">
                <c16:uniqueId val="{0000036B-77A8-427E-8A61-D099C82A1BC4}"/>
              </c:ext>
            </c:extLst>
          </c:dPt>
          <c:dPt>
            <c:idx val="437"/>
            <c:invertIfNegative val="1"/>
            <c:bubble3D val="0"/>
            <c:spPr>
              <a:solidFill>
                <a:srgbClr val="AEABAB"/>
              </a:solidFill>
            </c:spPr>
            <c:extLst>
              <c:ext xmlns:c16="http://schemas.microsoft.com/office/drawing/2014/chart" uri="{C3380CC4-5D6E-409C-BE32-E72D297353CC}">
                <c16:uniqueId val="{0000036D-77A8-427E-8A61-D099C82A1BC4}"/>
              </c:ext>
            </c:extLst>
          </c:dPt>
          <c:dPt>
            <c:idx val="438"/>
            <c:invertIfNegative val="1"/>
            <c:bubble3D val="0"/>
            <c:spPr>
              <a:solidFill>
                <a:srgbClr val="AEABAB"/>
              </a:solidFill>
            </c:spPr>
            <c:extLst>
              <c:ext xmlns:c16="http://schemas.microsoft.com/office/drawing/2014/chart" uri="{C3380CC4-5D6E-409C-BE32-E72D297353CC}">
                <c16:uniqueId val="{0000036F-77A8-427E-8A61-D099C82A1BC4}"/>
              </c:ext>
            </c:extLst>
          </c:dPt>
          <c:dPt>
            <c:idx val="439"/>
            <c:invertIfNegative val="1"/>
            <c:bubble3D val="0"/>
            <c:spPr>
              <a:solidFill>
                <a:srgbClr val="AEABAB"/>
              </a:solidFill>
            </c:spPr>
            <c:extLst>
              <c:ext xmlns:c16="http://schemas.microsoft.com/office/drawing/2014/chart" uri="{C3380CC4-5D6E-409C-BE32-E72D297353CC}">
                <c16:uniqueId val="{00000371-77A8-427E-8A61-D099C82A1BC4}"/>
              </c:ext>
            </c:extLst>
          </c:dPt>
          <c:dPt>
            <c:idx val="440"/>
            <c:invertIfNegative val="1"/>
            <c:bubble3D val="0"/>
            <c:spPr>
              <a:solidFill>
                <a:srgbClr val="AEABAB"/>
              </a:solidFill>
            </c:spPr>
            <c:extLst>
              <c:ext xmlns:c16="http://schemas.microsoft.com/office/drawing/2014/chart" uri="{C3380CC4-5D6E-409C-BE32-E72D297353CC}">
                <c16:uniqueId val="{00000373-77A8-427E-8A61-D099C82A1BC4}"/>
              </c:ext>
            </c:extLst>
          </c:dPt>
          <c:dPt>
            <c:idx val="441"/>
            <c:invertIfNegative val="1"/>
            <c:bubble3D val="0"/>
            <c:spPr>
              <a:solidFill>
                <a:srgbClr val="AEABAB"/>
              </a:solidFill>
            </c:spPr>
            <c:extLst>
              <c:ext xmlns:c16="http://schemas.microsoft.com/office/drawing/2014/chart" uri="{C3380CC4-5D6E-409C-BE32-E72D297353CC}">
                <c16:uniqueId val="{00000375-77A8-427E-8A61-D099C82A1BC4}"/>
              </c:ext>
            </c:extLst>
          </c:dPt>
          <c:dPt>
            <c:idx val="442"/>
            <c:invertIfNegative val="1"/>
            <c:bubble3D val="0"/>
            <c:spPr>
              <a:solidFill>
                <a:srgbClr val="AEABAB"/>
              </a:solidFill>
            </c:spPr>
            <c:extLst>
              <c:ext xmlns:c16="http://schemas.microsoft.com/office/drawing/2014/chart" uri="{C3380CC4-5D6E-409C-BE32-E72D297353CC}">
                <c16:uniqueId val="{00000377-77A8-427E-8A61-D099C82A1BC4}"/>
              </c:ext>
            </c:extLst>
          </c:dPt>
          <c:dPt>
            <c:idx val="443"/>
            <c:invertIfNegative val="1"/>
            <c:bubble3D val="0"/>
            <c:spPr>
              <a:solidFill>
                <a:srgbClr val="AEABAB"/>
              </a:solidFill>
            </c:spPr>
            <c:extLst>
              <c:ext xmlns:c16="http://schemas.microsoft.com/office/drawing/2014/chart" uri="{C3380CC4-5D6E-409C-BE32-E72D297353CC}">
                <c16:uniqueId val="{00000379-77A8-427E-8A61-D099C82A1BC4}"/>
              </c:ext>
            </c:extLst>
          </c:dPt>
          <c:dPt>
            <c:idx val="444"/>
            <c:invertIfNegative val="1"/>
            <c:bubble3D val="0"/>
            <c:spPr>
              <a:solidFill>
                <a:srgbClr val="AEABAB"/>
              </a:solidFill>
            </c:spPr>
            <c:extLst>
              <c:ext xmlns:c16="http://schemas.microsoft.com/office/drawing/2014/chart" uri="{C3380CC4-5D6E-409C-BE32-E72D297353CC}">
                <c16:uniqueId val="{0000037B-77A8-427E-8A61-D099C82A1BC4}"/>
              </c:ext>
            </c:extLst>
          </c:dPt>
          <c:dPt>
            <c:idx val="445"/>
            <c:invertIfNegative val="1"/>
            <c:bubble3D val="0"/>
            <c:spPr>
              <a:solidFill>
                <a:srgbClr val="AEABAB"/>
              </a:solidFill>
            </c:spPr>
            <c:extLst>
              <c:ext xmlns:c16="http://schemas.microsoft.com/office/drawing/2014/chart" uri="{C3380CC4-5D6E-409C-BE32-E72D297353CC}">
                <c16:uniqueId val="{0000037D-77A8-427E-8A61-D099C82A1BC4}"/>
              </c:ext>
            </c:extLst>
          </c:dPt>
          <c:dPt>
            <c:idx val="446"/>
            <c:invertIfNegative val="1"/>
            <c:bubble3D val="0"/>
            <c:spPr>
              <a:solidFill>
                <a:srgbClr val="AEABAB"/>
              </a:solidFill>
            </c:spPr>
            <c:extLst>
              <c:ext xmlns:c16="http://schemas.microsoft.com/office/drawing/2014/chart" uri="{C3380CC4-5D6E-409C-BE32-E72D297353CC}">
                <c16:uniqueId val="{0000037F-77A8-427E-8A61-D099C82A1BC4}"/>
              </c:ext>
            </c:extLst>
          </c:dPt>
          <c:dPt>
            <c:idx val="447"/>
            <c:invertIfNegative val="1"/>
            <c:bubble3D val="0"/>
            <c:spPr>
              <a:solidFill>
                <a:srgbClr val="AEABAB"/>
              </a:solidFill>
            </c:spPr>
            <c:extLst>
              <c:ext xmlns:c16="http://schemas.microsoft.com/office/drawing/2014/chart" uri="{C3380CC4-5D6E-409C-BE32-E72D297353CC}">
                <c16:uniqueId val="{00000381-77A8-427E-8A61-D099C82A1BC4}"/>
              </c:ext>
            </c:extLst>
          </c:dPt>
          <c:dPt>
            <c:idx val="448"/>
            <c:invertIfNegative val="1"/>
            <c:bubble3D val="0"/>
            <c:spPr>
              <a:solidFill>
                <a:srgbClr val="AEABAB"/>
              </a:solidFill>
            </c:spPr>
            <c:extLst>
              <c:ext xmlns:c16="http://schemas.microsoft.com/office/drawing/2014/chart" uri="{C3380CC4-5D6E-409C-BE32-E72D297353CC}">
                <c16:uniqueId val="{00000383-77A8-427E-8A61-D099C82A1BC4}"/>
              </c:ext>
            </c:extLst>
          </c:dPt>
          <c:dPt>
            <c:idx val="449"/>
            <c:invertIfNegative val="1"/>
            <c:bubble3D val="0"/>
            <c:spPr>
              <a:solidFill>
                <a:srgbClr val="AEABAB"/>
              </a:solidFill>
            </c:spPr>
            <c:extLst>
              <c:ext xmlns:c16="http://schemas.microsoft.com/office/drawing/2014/chart" uri="{C3380CC4-5D6E-409C-BE32-E72D297353CC}">
                <c16:uniqueId val="{00000385-77A8-427E-8A61-D099C82A1BC4}"/>
              </c:ext>
            </c:extLst>
          </c:dPt>
          <c:dPt>
            <c:idx val="450"/>
            <c:invertIfNegative val="1"/>
            <c:bubble3D val="0"/>
            <c:spPr>
              <a:solidFill>
                <a:srgbClr val="AEABAB"/>
              </a:solidFill>
            </c:spPr>
            <c:extLst>
              <c:ext xmlns:c16="http://schemas.microsoft.com/office/drawing/2014/chart" uri="{C3380CC4-5D6E-409C-BE32-E72D297353CC}">
                <c16:uniqueId val="{00000387-77A8-427E-8A61-D099C82A1BC4}"/>
              </c:ext>
            </c:extLst>
          </c:dPt>
          <c:dPt>
            <c:idx val="451"/>
            <c:invertIfNegative val="1"/>
            <c:bubble3D val="0"/>
            <c:spPr>
              <a:solidFill>
                <a:srgbClr val="AEABAB"/>
              </a:solidFill>
            </c:spPr>
            <c:extLst>
              <c:ext xmlns:c16="http://schemas.microsoft.com/office/drawing/2014/chart" uri="{C3380CC4-5D6E-409C-BE32-E72D297353CC}">
                <c16:uniqueId val="{00000389-77A8-427E-8A61-D099C82A1BC4}"/>
              </c:ext>
            </c:extLst>
          </c:dPt>
          <c:dPt>
            <c:idx val="452"/>
            <c:invertIfNegative val="1"/>
            <c:bubble3D val="0"/>
            <c:spPr>
              <a:solidFill>
                <a:srgbClr val="AEABAB"/>
              </a:solidFill>
            </c:spPr>
            <c:extLst>
              <c:ext xmlns:c16="http://schemas.microsoft.com/office/drawing/2014/chart" uri="{C3380CC4-5D6E-409C-BE32-E72D297353CC}">
                <c16:uniqueId val="{0000038B-77A8-427E-8A61-D099C82A1BC4}"/>
              </c:ext>
            </c:extLst>
          </c:dPt>
          <c:dPt>
            <c:idx val="453"/>
            <c:invertIfNegative val="1"/>
            <c:bubble3D val="0"/>
            <c:spPr>
              <a:solidFill>
                <a:srgbClr val="AEABAB"/>
              </a:solidFill>
            </c:spPr>
            <c:extLst>
              <c:ext xmlns:c16="http://schemas.microsoft.com/office/drawing/2014/chart" uri="{C3380CC4-5D6E-409C-BE32-E72D297353CC}">
                <c16:uniqueId val="{0000038D-77A8-427E-8A61-D099C82A1BC4}"/>
              </c:ext>
            </c:extLst>
          </c:dPt>
          <c:dPt>
            <c:idx val="454"/>
            <c:invertIfNegative val="1"/>
            <c:bubble3D val="0"/>
            <c:spPr>
              <a:solidFill>
                <a:srgbClr val="AEABAB"/>
              </a:solidFill>
            </c:spPr>
            <c:extLst>
              <c:ext xmlns:c16="http://schemas.microsoft.com/office/drawing/2014/chart" uri="{C3380CC4-5D6E-409C-BE32-E72D297353CC}">
                <c16:uniqueId val="{0000038F-77A8-427E-8A61-D099C82A1BC4}"/>
              </c:ext>
            </c:extLst>
          </c:dPt>
          <c:dPt>
            <c:idx val="455"/>
            <c:invertIfNegative val="1"/>
            <c:bubble3D val="0"/>
            <c:spPr>
              <a:solidFill>
                <a:srgbClr val="AEABAB"/>
              </a:solidFill>
            </c:spPr>
            <c:extLst>
              <c:ext xmlns:c16="http://schemas.microsoft.com/office/drawing/2014/chart" uri="{C3380CC4-5D6E-409C-BE32-E72D297353CC}">
                <c16:uniqueId val="{00000391-77A8-427E-8A61-D099C82A1BC4}"/>
              </c:ext>
            </c:extLst>
          </c:dPt>
          <c:dPt>
            <c:idx val="456"/>
            <c:invertIfNegative val="1"/>
            <c:bubble3D val="0"/>
            <c:spPr>
              <a:solidFill>
                <a:srgbClr val="AEABAB"/>
              </a:solidFill>
            </c:spPr>
            <c:extLst>
              <c:ext xmlns:c16="http://schemas.microsoft.com/office/drawing/2014/chart" uri="{C3380CC4-5D6E-409C-BE32-E72D297353CC}">
                <c16:uniqueId val="{00000393-77A8-427E-8A61-D099C82A1BC4}"/>
              </c:ext>
            </c:extLst>
          </c:dPt>
          <c:dPt>
            <c:idx val="457"/>
            <c:invertIfNegative val="1"/>
            <c:bubble3D val="0"/>
            <c:spPr>
              <a:solidFill>
                <a:srgbClr val="AEABAB"/>
              </a:solidFill>
            </c:spPr>
            <c:extLst>
              <c:ext xmlns:c16="http://schemas.microsoft.com/office/drawing/2014/chart" uri="{C3380CC4-5D6E-409C-BE32-E72D297353CC}">
                <c16:uniqueId val="{00000395-77A8-427E-8A61-D099C82A1BC4}"/>
              </c:ext>
            </c:extLst>
          </c:dPt>
          <c:dPt>
            <c:idx val="458"/>
            <c:invertIfNegative val="1"/>
            <c:bubble3D val="0"/>
            <c:spPr>
              <a:solidFill>
                <a:srgbClr val="AEABAB"/>
              </a:solidFill>
            </c:spPr>
            <c:extLst>
              <c:ext xmlns:c16="http://schemas.microsoft.com/office/drawing/2014/chart" uri="{C3380CC4-5D6E-409C-BE32-E72D297353CC}">
                <c16:uniqueId val="{00000397-77A8-427E-8A61-D099C82A1BC4}"/>
              </c:ext>
            </c:extLst>
          </c:dPt>
          <c:dPt>
            <c:idx val="459"/>
            <c:invertIfNegative val="1"/>
            <c:bubble3D val="0"/>
            <c:spPr>
              <a:solidFill>
                <a:srgbClr val="AEABAB"/>
              </a:solidFill>
            </c:spPr>
            <c:extLst>
              <c:ext xmlns:c16="http://schemas.microsoft.com/office/drawing/2014/chart" uri="{C3380CC4-5D6E-409C-BE32-E72D297353CC}">
                <c16:uniqueId val="{00000399-77A8-427E-8A61-D099C82A1BC4}"/>
              </c:ext>
            </c:extLst>
          </c:dPt>
          <c:dPt>
            <c:idx val="460"/>
            <c:invertIfNegative val="1"/>
            <c:bubble3D val="0"/>
            <c:spPr>
              <a:solidFill>
                <a:srgbClr val="AEABAB"/>
              </a:solidFill>
            </c:spPr>
            <c:extLst>
              <c:ext xmlns:c16="http://schemas.microsoft.com/office/drawing/2014/chart" uri="{C3380CC4-5D6E-409C-BE32-E72D297353CC}">
                <c16:uniqueId val="{0000039B-77A8-427E-8A61-D099C82A1BC4}"/>
              </c:ext>
            </c:extLst>
          </c:dPt>
          <c:dPt>
            <c:idx val="461"/>
            <c:invertIfNegative val="1"/>
            <c:bubble3D val="0"/>
            <c:spPr>
              <a:solidFill>
                <a:srgbClr val="AEABAB"/>
              </a:solidFill>
            </c:spPr>
            <c:extLst>
              <c:ext xmlns:c16="http://schemas.microsoft.com/office/drawing/2014/chart" uri="{C3380CC4-5D6E-409C-BE32-E72D297353CC}">
                <c16:uniqueId val="{0000039D-77A8-427E-8A61-D099C82A1BC4}"/>
              </c:ext>
            </c:extLst>
          </c:dPt>
          <c:dPt>
            <c:idx val="462"/>
            <c:invertIfNegative val="1"/>
            <c:bubble3D val="0"/>
            <c:spPr>
              <a:solidFill>
                <a:srgbClr val="AEABAB"/>
              </a:solidFill>
            </c:spPr>
            <c:extLst>
              <c:ext xmlns:c16="http://schemas.microsoft.com/office/drawing/2014/chart" uri="{C3380CC4-5D6E-409C-BE32-E72D297353CC}">
                <c16:uniqueId val="{0000039F-77A8-427E-8A61-D099C82A1BC4}"/>
              </c:ext>
            </c:extLst>
          </c:dPt>
          <c:dPt>
            <c:idx val="463"/>
            <c:invertIfNegative val="1"/>
            <c:bubble3D val="0"/>
            <c:spPr>
              <a:solidFill>
                <a:srgbClr val="AEABAB"/>
              </a:solidFill>
            </c:spPr>
            <c:extLst>
              <c:ext xmlns:c16="http://schemas.microsoft.com/office/drawing/2014/chart" uri="{C3380CC4-5D6E-409C-BE32-E72D297353CC}">
                <c16:uniqueId val="{000003A1-77A8-427E-8A61-D099C82A1BC4}"/>
              </c:ext>
            </c:extLst>
          </c:dPt>
          <c:dPt>
            <c:idx val="464"/>
            <c:invertIfNegative val="1"/>
            <c:bubble3D val="0"/>
            <c:spPr>
              <a:solidFill>
                <a:srgbClr val="AEABAB"/>
              </a:solidFill>
            </c:spPr>
            <c:extLst>
              <c:ext xmlns:c16="http://schemas.microsoft.com/office/drawing/2014/chart" uri="{C3380CC4-5D6E-409C-BE32-E72D297353CC}">
                <c16:uniqueId val="{000003A3-77A8-427E-8A61-D099C82A1BC4}"/>
              </c:ext>
            </c:extLst>
          </c:dPt>
          <c:dPt>
            <c:idx val="465"/>
            <c:invertIfNegative val="1"/>
            <c:bubble3D val="0"/>
            <c:spPr>
              <a:solidFill>
                <a:srgbClr val="AEABAB"/>
              </a:solidFill>
            </c:spPr>
            <c:extLst>
              <c:ext xmlns:c16="http://schemas.microsoft.com/office/drawing/2014/chart" uri="{C3380CC4-5D6E-409C-BE32-E72D297353CC}">
                <c16:uniqueId val="{000003A5-77A8-427E-8A61-D099C82A1BC4}"/>
              </c:ext>
            </c:extLst>
          </c:dPt>
          <c:dPt>
            <c:idx val="466"/>
            <c:invertIfNegative val="1"/>
            <c:bubble3D val="0"/>
            <c:spPr>
              <a:solidFill>
                <a:srgbClr val="AEABAB"/>
              </a:solidFill>
            </c:spPr>
            <c:extLst>
              <c:ext xmlns:c16="http://schemas.microsoft.com/office/drawing/2014/chart" uri="{C3380CC4-5D6E-409C-BE32-E72D297353CC}">
                <c16:uniqueId val="{000003A7-77A8-427E-8A61-D099C82A1BC4}"/>
              </c:ext>
            </c:extLst>
          </c:dPt>
          <c:dPt>
            <c:idx val="467"/>
            <c:invertIfNegative val="1"/>
            <c:bubble3D val="0"/>
            <c:spPr>
              <a:solidFill>
                <a:srgbClr val="AEABAB"/>
              </a:solidFill>
            </c:spPr>
            <c:extLst>
              <c:ext xmlns:c16="http://schemas.microsoft.com/office/drawing/2014/chart" uri="{C3380CC4-5D6E-409C-BE32-E72D297353CC}">
                <c16:uniqueId val="{000003A9-77A8-427E-8A61-D099C82A1BC4}"/>
              </c:ext>
            </c:extLst>
          </c:dPt>
          <c:dPt>
            <c:idx val="468"/>
            <c:invertIfNegative val="1"/>
            <c:bubble3D val="0"/>
            <c:spPr>
              <a:solidFill>
                <a:srgbClr val="AEABAB"/>
              </a:solidFill>
            </c:spPr>
            <c:extLst>
              <c:ext xmlns:c16="http://schemas.microsoft.com/office/drawing/2014/chart" uri="{C3380CC4-5D6E-409C-BE32-E72D297353CC}">
                <c16:uniqueId val="{000003AB-77A8-427E-8A61-D099C82A1BC4}"/>
              </c:ext>
            </c:extLst>
          </c:dPt>
          <c:dPt>
            <c:idx val="469"/>
            <c:invertIfNegative val="1"/>
            <c:bubble3D val="0"/>
            <c:spPr>
              <a:solidFill>
                <a:srgbClr val="AEABAB"/>
              </a:solidFill>
            </c:spPr>
            <c:extLst>
              <c:ext xmlns:c16="http://schemas.microsoft.com/office/drawing/2014/chart" uri="{C3380CC4-5D6E-409C-BE32-E72D297353CC}">
                <c16:uniqueId val="{000003AD-77A8-427E-8A61-D099C82A1BC4}"/>
              </c:ext>
            </c:extLst>
          </c:dPt>
          <c:dPt>
            <c:idx val="470"/>
            <c:invertIfNegative val="1"/>
            <c:bubble3D val="0"/>
            <c:spPr>
              <a:solidFill>
                <a:srgbClr val="AEABAB"/>
              </a:solidFill>
            </c:spPr>
            <c:extLst>
              <c:ext xmlns:c16="http://schemas.microsoft.com/office/drawing/2014/chart" uri="{C3380CC4-5D6E-409C-BE32-E72D297353CC}">
                <c16:uniqueId val="{000003AF-77A8-427E-8A61-D099C82A1BC4}"/>
              </c:ext>
            </c:extLst>
          </c:dPt>
          <c:dPt>
            <c:idx val="471"/>
            <c:invertIfNegative val="1"/>
            <c:bubble3D val="0"/>
            <c:spPr>
              <a:solidFill>
                <a:srgbClr val="AEABAB"/>
              </a:solidFill>
            </c:spPr>
            <c:extLst>
              <c:ext xmlns:c16="http://schemas.microsoft.com/office/drawing/2014/chart" uri="{C3380CC4-5D6E-409C-BE32-E72D297353CC}">
                <c16:uniqueId val="{000003B1-77A8-427E-8A61-D099C82A1BC4}"/>
              </c:ext>
            </c:extLst>
          </c:dPt>
          <c:dPt>
            <c:idx val="472"/>
            <c:invertIfNegative val="1"/>
            <c:bubble3D val="0"/>
            <c:spPr>
              <a:solidFill>
                <a:srgbClr val="AEABAB"/>
              </a:solidFill>
            </c:spPr>
            <c:extLst>
              <c:ext xmlns:c16="http://schemas.microsoft.com/office/drawing/2014/chart" uri="{C3380CC4-5D6E-409C-BE32-E72D297353CC}">
                <c16:uniqueId val="{000003B3-77A8-427E-8A61-D099C82A1BC4}"/>
              </c:ext>
            </c:extLst>
          </c:dPt>
          <c:dPt>
            <c:idx val="473"/>
            <c:invertIfNegative val="1"/>
            <c:bubble3D val="0"/>
            <c:spPr>
              <a:solidFill>
                <a:srgbClr val="AEABAB"/>
              </a:solidFill>
            </c:spPr>
            <c:extLst>
              <c:ext xmlns:c16="http://schemas.microsoft.com/office/drawing/2014/chart" uri="{C3380CC4-5D6E-409C-BE32-E72D297353CC}">
                <c16:uniqueId val="{000003B5-77A8-427E-8A61-D099C82A1BC4}"/>
              </c:ext>
            </c:extLst>
          </c:dPt>
          <c:dPt>
            <c:idx val="474"/>
            <c:invertIfNegative val="1"/>
            <c:bubble3D val="0"/>
            <c:spPr>
              <a:solidFill>
                <a:srgbClr val="AEABAB"/>
              </a:solidFill>
            </c:spPr>
            <c:extLst>
              <c:ext xmlns:c16="http://schemas.microsoft.com/office/drawing/2014/chart" uri="{C3380CC4-5D6E-409C-BE32-E72D297353CC}">
                <c16:uniqueId val="{000003B7-77A8-427E-8A61-D099C82A1BC4}"/>
              </c:ext>
            </c:extLst>
          </c:dPt>
          <c:dPt>
            <c:idx val="475"/>
            <c:invertIfNegative val="1"/>
            <c:bubble3D val="0"/>
            <c:spPr>
              <a:solidFill>
                <a:srgbClr val="AEABAB"/>
              </a:solidFill>
            </c:spPr>
            <c:extLst>
              <c:ext xmlns:c16="http://schemas.microsoft.com/office/drawing/2014/chart" uri="{C3380CC4-5D6E-409C-BE32-E72D297353CC}">
                <c16:uniqueId val="{000003B9-77A8-427E-8A61-D099C82A1BC4}"/>
              </c:ext>
            </c:extLst>
          </c:dPt>
          <c:dPt>
            <c:idx val="476"/>
            <c:invertIfNegative val="1"/>
            <c:bubble3D val="0"/>
            <c:spPr>
              <a:solidFill>
                <a:srgbClr val="AEABAB"/>
              </a:solidFill>
            </c:spPr>
            <c:extLst>
              <c:ext xmlns:c16="http://schemas.microsoft.com/office/drawing/2014/chart" uri="{C3380CC4-5D6E-409C-BE32-E72D297353CC}">
                <c16:uniqueId val="{000003BB-77A8-427E-8A61-D099C82A1BC4}"/>
              </c:ext>
            </c:extLst>
          </c:dPt>
          <c:dPt>
            <c:idx val="477"/>
            <c:invertIfNegative val="1"/>
            <c:bubble3D val="0"/>
            <c:spPr>
              <a:solidFill>
                <a:srgbClr val="AEABAB"/>
              </a:solidFill>
            </c:spPr>
            <c:extLst>
              <c:ext xmlns:c16="http://schemas.microsoft.com/office/drawing/2014/chart" uri="{C3380CC4-5D6E-409C-BE32-E72D297353CC}">
                <c16:uniqueId val="{000003BD-77A8-427E-8A61-D099C82A1BC4}"/>
              </c:ext>
            </c:extLst>
          </c:dPt>
          <c:dPt>
            <c:idx val="478"/>
            <c:invertIfNegative val="1"/>
            <c:bubble3D val="0"/>
            <c:spPr>
              <a:solidFill>
                <a:srgbClr val="AEABAB"/>
              </a:solidFill>
            </c:spPr>
            <c:extLst>
              <c:ext xmlns:c16="http://schemas.microsoft.com/office/drawing/2014/chart" uri="{C3380CC4-5D6E-409C-BE32-E72D297353CC}">
                <c16:uniqueId val="{000003BF-77A8-427E-8A61-D099C82A1BC4}"/>
              </c:ext>
            </c:extLst>
          </c:dPt>
          <c:dPt>
            <c:idx val="479"/>
            <c:invertIfNegative val="1"/>
            <c:bubble3D val="0"/>
            <c:spPr>
              <a:solidFill>
                <a:srgbClr val="AEABAB"/>
              </a:solidFill>
            </c:spPr>
            <c:extLst>
              <c:ext xmlns:c16="http://schemas.microsoft.com/office/drawing/2014/chart" uri="{C3380CC4-5D6E-409C-BE32-E72D297353CC}">
                <c16:uniqueId val="{000003C1-77A8-427E-8A61-D099C82A1BC4}"/>
              </c:ext>
            </c:extLst>
          </c:dPt>
          <c:dPt>
            <c:idx val="480"/>
            <c:invertIfNegative val="1"/>
            <c:bubble3D val="0"/>
            <c:spPr>
              <a:solidFill>
                <a:srgbClr val="AEABAB"/>
              </a:solidFill>
            </c:spPr>
            <c:extLst>
              <c:ext xmlns:c16="http://schemas.microsoft.com/office/drawing/2014/chart" uri="{C3380CC4-5D6E-409C-BE32-E72D297353CC}">
                <c16:uniqueId val="{000003C3-77A8-427E-8A61-D099C82A1BC4}"/>
              </c:ext>
            </c:extLst>
          </c:dPt>
          <c:dPt>
            <c:idx val="481"/>
            <c:invertIfNegative val="1"/>
            <c:bubble3D val="0"/>
            <c:spPr>
              <a:solidFill>
                <a:srgbClr val="AEABAB"/>
              </a:solidFill>
            </c:spPr>
            <c:extLst>
              <c:ext xmlns:c16="http://schemas.microsoft.com/office/drawing/2014/chart" uri="{C3380CC4-5D6E-409C-BE32-E72D297353CC}">
                <c16:uniqueId val="{000003C5-77A8-427E-8A61-D099C82A1BC4}"/>
              </c:ext>
            </c:extLst>
          </c:dPt>
          <c:dPt>
            <c:idx val="482"/>
            <c:invertIfNegative val="1"/>
            <c:bubble3D val="0"/>
            <c:spPr>
              <a:solidFill>
                <a:srgbClr val="AEABAB"/>
              </a:solidFill>
            </c:spPr>
            <c:extLst>
              <c:ext xmlns:c16="http://schemas.microsoft.com/office/drawing/2014/chart" uri="{C3380CC4-5D6E-409C-BE32-E72D297353CC}">
                <c16:uniqueId val="{000003C7-77A8-427E-8A61-D099C82A1BC4}"/>
              </c:ext>
            </c:extLst>
          </c:dPt>
          <c:dPt>
            <c:idx val="483"/>
            <c:invertIfNegative val="1"/>
            <c:bubble3D val="0"/>
            <c:spPr>
              <a:solidFill>
                <a:srgbClr val="AEABAB"/>
              </a:solidFill>
            </c:spPr>
            <c:extLst>
              <c:ext xmlns:c16="http://schemas.microsoft.com/office/drawing/2014/chart" uri="{C3380CC4-5D6E-409C-BE32-E72D297353CC}">
                <c16:uniqueId val="{000003C9-77A8-427E-8A61-D099C82A1BC4}"/>
              </c:ext>
            </c:extLst>
          </c:dPt>
          <c:dPt>
            <c:idx val="484"/>
            <c:invertIfNegative val="1"/>
            <c:bubble3D val="0"/>
            <c:spPr>
              <a:solidFill>
                <a:srgbClr val="AEABAB"/>
              </a:solidFill>
            </c:spPr>
            <c:extLst>
              <c:ext xmlns:c16="http://schemas.microsoft.com/office/drawing/2014/chart" uri="{C3380CC4-5D6E-409C-BE32-E72D297353CC}">
                <c16:uniqueId val="{000003CB-77A8-427E-8A61-D099C82A1BC4}"/>
              </c:ext>
            </c:extLst>
          </c:dPt>
          <c:dPt>
            <c:idx val="485"/>
            <c:invertIfNegative val="1"/>
            <c:bubble3D val="0"/>
            <c:spPr>
              <a:solidFill>
                <a:srgbClr val="AEABAB"/>
              </a:solidFill>
            </c:spPr>
            <c:extLst>
              <c:ext xmlns:c16="http://schemas.microsoft.com/office/drawing/2014/chart" uri="{C3380CC4-5D6E-409C-BE32-E72D297353CC}">
                <c16:uniqueId val="{000003CD-77A8-427E-8A61-D099C82A1BC4}"/>
              </c:ext>
            </c:extLst>
          </c:dPt>
          <c:dPt>
            <c:idx val="486"/>
            <c:invertIfNegative val="1"/>
            <c:bubble3D val="0"/>
            <c:spPr>
              <a:solidFill>
                <a:srgbClr val="AEABAB"/>
              </a:solidFill>
            </c:spPr>
            <c:extLst>
              <c:ext xmlns:c16="http://schemas.microsoft.com/office/drawing/2014/chart" uri="{C3380CC4-5D6E-409C-BE32-E72D297353CC}">
                <c16:uniqueId val="{000003CF-77A8-427E-8A61-D099C82A1BC4}"/>
              </c:ext>
            </c:extLst>
          </c:dPt>
          <c:dPt>
            <c:idx val="487"/>
            <c:invertIfNegative val="1"/>
            <c:bubble3D val="0"/>
            <c:spPr>
              <a:solidFill>
                <a:srgbClr val="AEABAB"/>
              </a:solidFill>
            </c:spPr>
            <c:extLst>
              <c:ext xmlns:c16="http://schemas.microsoft.com/office/drawing/2014/chart" uri="{C3380CC4-5D6E-409C-BE32-E72D297353CC}">
                <c16:uniqueId val="{000003D1-77A8-427E-8A61-D099C82A1BC4}"/>
              </c:ext>
            </c:extLst>
          </c:dPt>
          <c:dPt>
            <c:idx val="488"/>
            <c:invertIfNegative val="1"/>
            <c:bubble3D val="0"/>
            <c:spPr>
              <a:solidFill>
                <a:srgbClr val="AEABAB"/>
              </a:solidFill>
            </c:spPr>
            <c:extLst>
              <c:ext xmlns:c16="http://schemas.microsoft.com/office/drawing/2014/chart" uri="{C3380CC4-5D6E-409C-BE32-E72D297353CC}">
                <c16:uniqueId val="{000003D3-77A8-427E-8A61-D099C82A1BC4}"/>
              </c:ext>
            </c:extLst>
          </c:dPt>
          <c:dPt>
            <c:idx val="489"/>
            <c:invertIfNegative val="1"/>
            <c:bubble3D val="0"/>
            <c:spPr>
              <a:solidFill>
                <a:srgbClr val="AEABAB"/>
              </a:solidFill>
            </c:spPr>
            <c:extLst>
              <c:ext xmlns:c16="http://schemas.microsoft.com/office/drawing/2014/chart" uri="{C3380CC4-5D6E-409C-BE32-E72D297353CC}">
                <c16:uniqueId val="{000003D5-77A8-427E-8A61-D099C82A1BC4}"/>
              </c:ext>
            </c:extLst>
          </c:dPt>
          <c:dPt>
            <c:idx val="490"/>
            <c:invertIfNegative val="1"/>
            <c:bubble3D val="0"/>
            <c:spPr>
              <a:solidFill>
                <a:srgbClr val="AEABAB"/>
              </a:solidFill>
            </c:spPr>
            <c:extLst>
              <c:ext xmlns:c16="http://schemas.microsoft.com/office/drawing/2014/chart" uri="{C3380CC4-5D6E-409C-BE32-E72D297353CC}">
                <c16:uniqueId val="{000003D7-77A8-427E-8A61-D099C82A1BC4}"/>
              </c:ext>
            </c:extLst>
          </c:dPt>
          <c:dPt>
            <c:idx val="491"/>
            <c:invertIfNegative val="1"/>
            <c:bubble3D val="0"/>
            <c:spPr>
              <a:solidFill>
                <a:srgbClr val="AEABAB"/>
              </a:solidFill>
            </c:spPr>
            <c:extLst>
              <c:ext xmlns:c16="http://schemas.microsoft.com/office/drawing/2014/chart" uri="{C3380CC4-5D6E-409C-BE32-E72D297353CC}">
                <c16:uniqueId val="{000003D9-77A8-427E-8A61-D099C82A1BC4}"/>
              </c:ext>
            </c:extLst>
          </c:dPt>
          <c:dPt>
            <c:idx val="492"/>
            <c:invertIfNegative val="1"/>
            <c:bubble3D val="0"/>
            <c:spPr>
              <a:solidFill>
                <a:srgbClr val="AEABAB"/>
              </a:solidFill>
            </c:spPr>
            <c:extLst>
              <c:ext xmlns:c16="http://schemas.microsoft.com/office/drawing/2014/chart" uri="{C3380CC4-5D6E-409C-BE32-E72D297353CC}">
                <c16:uniqueId val="{000003DB-77A8-427E-8A61-D099C82A1BC4}"/>
              </c:ext>
            </c:extLst>
          </c:dPt>
          <c:dPt>
            <c:idx val="493"/>
            <c:invertIfNegative val="1"/>
            <c:bubble3D val="0"/>
            <c:spPr>
              <a:solidFill>
                <a:srgbClr val="AEABAB"/>
              </a:solidFill>
            </c:spPr>
            <c:extLst>
              <c:ext xmlns:c16="http://schemas.microsoft.com/office/drawing/2014/chart" uri="{C3380CC4-5D6E-409C-BE32-E72D297353CC}">
                <c16:uniqueId val="{000003DD-77A8-427E-8A61-D099C82A1BC4}"/>
              </c:ext>
            </c:extLst>
          </c:dPt>
          <c:cat>
            <c:strRef>
              <c:f>Sheet1!$A$2:$A$495</c:f>
              <c:strCache>
                <c:ptCount val="494"/>
                <c:pt idx="0">
                  <c:v>Private Lab</c:v>
                </c:pt>
                <c:pt idx="1">
                  <c:v>Private Lab</c:v>
                </c:pt>
                <c:pt idx="2">
                  <c:v>Private Lab</c:v>
                </c:pt>
                <c:pt idx="3">
                  <c:v>Caprice Des</c:v>
                </c:pt>
                <c:pt idx="4">
                  <c:v>Private Lab</c:v>
                </c:pt>
                <c:pt idx="5">
                  <c:v>Private Lab</c:v>
                </c:pt>
                <c:pt idx="6">
                  <c:v>Soignon</c:v>
                </c:pt>
                <c:pt idx="7">
                  <c:v>Private Lab</c:v>
                </c:pt>
                <c:pt idx="8">
                  <c:v>President</c:v>
                </c:pt>
                <c:pt idx="9">
                  <c:v>Private Lab</c:v>
                </c:pt>
                <c:pt idx="10">
                  <c:v>Coeur De Li</c:v>
                </c:pt>
                <c:pt idx="11">
                  <c:v>Mini Babybe</c:v>
                </c:pt>
                <c:pt idx="12">
                  <c:v>Caprice Des</c:v>
                </c:pt>
                <c:pt idx="13">
                  <c:v>President</c:v>
                </c:pt>
                <c:pt idx="14">
                  <c:v>Galbani</c:v>
                </c:pt>
                <c:pt idx="15">
                  <c:v>Private Lab</c:v>
                </c:pt>
                <c:pt idx="16">
                  <c:v>Private Lab</c:v>
                </c:pt>
                <c:pt idx="17">
                  <c:v>La Vache Qu</c:v>
                </c:pt>
                <c:pt idx="18">
                  <c:v>Le Rustique</c:v>
                </c:pt>
                <c:pt idx="19">
                  <c:v>Mini Babybe</c:v>
                </c:pt>
                <c:pt idx="20">
                  <c:v>St Moret</c:v>
                </c:pt>
                <c:pt idx="21">
                  <c:v>St Moret</c:v>
                </c:pt>
                <c:pt idx="22">
                  <c:v>Soignon</c:v>
                </c:pt>
                <c:pt idx="23">
                  <c:v>Private Lab</c:v>
                </c:pt>
                <c:pt idx="24">
                  <c:v>Salakis</c:v>
                </c:pt>
                <c:pt idx="25">
                  <c:v>Private Lab</c:v>
                </c:pt>
                <c:pt idx="26">
                  <c:v>Private Lab</c:v>
                </c:pt>
                <c:pt idx="27">
                  <c:v>Private Lab</c:v>
                </c:pt>
                <c:pt idx="28">
                  <c:v>Private Lab</c:v>
                </c:pt>
                <c:pt idx="29">
                  <c:v>La Vache Qu</c:v>
                </c:pt>
                <c:pt idx="30">
                  <c:v>President</c:v>
                </c:pt>
                <c:pt idx="31">
                  <c:v>Tartare</c:v>
                </c:pt>
                <c:pt idx="32">
                  <c:v>St Moret</c:v>
                </c:pt>
                <c:pt idx="33">
                  <c:v>St Moret</c:v>
                </c:pt>
                <c:pt idx="34">
                  <c:v>Private Lab</c:v>
                </c:pt>
                <c:pt idx="35">
                  <c:v>Kiri</c:v>
                </c:pt>
                <c:pt idx="36">
                  <c:v>Private Lab</c:v>
                </c:pt>
                <c:pt idx="37">
                  <c:v>Private Lab</c:v>
                </c:pt>
                <c:pt idx="38">
                  <c:v>Private Lab</c:v>
                </c:pt>
                <c:pt idx="39">
                  <c:v>Paysan Bret</c:v>
                </c:pt>
                <c:pt idx="40">
                  <c:v>Private Lab</c:v>
                </c:pt>
                <c:pt idx="41">
                  <c:v>La Vache Qu</c:v>
                </c:pt>
                <c:pt idx="42">
                  <c:v>Galbani</c:v>
                </c:pt>
                <c:pt idx="43">
                  <c:v>Private Lab</c:v>
                </c:pt>
                <c:pt idx="44">
                  <c:v>Private Lab</c:v>
                </c:pt>
                <c:pt idx="45">
                  <c:v>Private Lab</c:v>
                </c:pt>
                <c:pt idx="46">
                  <c:v>Coeur De Li</c:v>
                </c:pt>
                <c:pt idx="47">
                  <c:v>Private Lab</c:v>
                </c:pt>
                <c:pt idx="48">
                  <c:v>Private Lab</c:v>
                </c:pt>
                <c:pt idx="49">
                  <c:v>Private Lab</c:v>
                </c:pt>
                <c:pt idx="50">
                  <c:v>Istara</c:v>
                </c:pt>
                <c:pt idx="51">
                  <c:v>Kiri</c:v>
                </c:pt>
                <c:pt idx="52">
                  <c:v>Galbani</c:v>
                </c:pt>
                <c:pt idx="53">
                  <c:v>Private Lab</c:v>
                </c:pt>
                <c:pt idx="54">
                  <c:v>Carre Frais</c:v>
                </c:pt>
                <c:pt idx="55">
                  <c:v>All Others</c:v>
                </c:pt>
                <c:pt idx="56">
                  <c:v>Philadelphi</c:v>
                </c:pt>
                <c:pt idx="57">
                  <c:v>Boursin</c:v>
                </c:pt>
                <c:pt idx="58">
                  <c:v>Carre Frais</c:v>
                </c:pt>
                <c:pt idx="59">
                  <c:v>Private Lab</c:v>
                </c:pt>
                <c:pt idx="60">
                  <c:v>Boursin</c:v>
                </c:pt>
                <c:pt idx="61">
                  <c:v>Galbani</c:v>
                </c:pt>
                <c:pt idx="62">
                  <c:v>Private Lab</c:v>
                </c:pt>
                <c:pt idx="63">
                  <c:v>Paysan Bret</c:v>
                </c:pt>
                <c:pt idx="64">
                  <c:v>Lou Perac</c:v>
                </c:pt>
                <c:pt idx="65">
                  <c:v>Galbani</c:v>
                </c:pt>
                <c:pt idx="66">
                  <c:v>Kiri</c:v>
                </c:pt>
                <c:pt idx="67">
                  <c:v>Private Lab</c:v>
                </c:pt>
                <c:pt idx="68">
                  <c:v>Ficello</c:v>
                </c:pt>
                <c:pt idx="69">
                  <c:v>Soignon</c:v>
                </c:pt>
                <c:pt idx="70">
                  <c:v>Islos</c:v>
                </c:pt>
                <c:pt idx="71">
                  <c:v>Tartare</c:v>
                </c:pt>
                <c:pt idx="72">
                  <c:v>Lepetit</c:v>
                </c:pt>
                <c:pt idx="73">
                  <c:v>Philadelphi</c:v>
                </c:pt>
                <c:pt idx="74">
                  <c:v>Petit Billy</c:v>
                </c:pt>
                <c:pt idx="75">
                  <c:v>Private Lab</c:v>
                </c:pt>
                <c:pt idx="76">
                  <c:v>Galbani</c:v>
                </c:pt>
                <c:pt idx="77">
                  <c:v>Private Lab</c:v>
                </c:pt>
                <c:pt idx="78">
                  <c:v>Private Lab</c:v>
                </c:pt>
                <c:pt idx="79">
                  <c:v>Kiri</c:v>
                </c:pt>
                <c:pt idx="80">
                  <c:v>Private Lab</c:v>
                </c:pt>
                <c:pt idx="81">
                  <c:v>All Others</c:v>
                </c:pt>
                <c:pt idx="82">
                  <c:v>Salakis</c:v>
                </c:pt>
                <c:pt idx="83">
                  <c:v>St Moret</c:v>
                </c:pt>
                <c:pt idx="84">
                  <c:v>Private Lab</c:v>
                </c:pt>
                <c:pt idx="85">
                  <c:v>St Moret</c:v>
                </c:pt>
                <c:pt idx="86">
                  <c:v>Private Lab</c:v>
                </c:pt>
                <c:pt idx="87">
                  <c:v>Boursin</c:v>
                </c:pt>
                <c:pt idx="88">
                  <c:v>Private Lab</c:v>
                </c:pt>
                <c:pt idx="89">
                  <c:v>Kiri</c:v>
                </c:pt>
                <c:pt idx="90">
                  <c:v>Le Rustique</c:v>
                </c:pt>
                <c:pt idx="91">
                  <c:v>Les Mousque</c:v>
                </c:pt>
                <c:pt idx="92">
                  <c:v>Caprice Des</c:v>
                </c:pt>
                <c:pt idx="93">
                  <c:v>Coeur De Li</c:v>
                </c:pt>
                <c:pt idx="94">
                  <c:v>Soignon</c:v>
                </c:pt>
                <c:pt idx="95">
                  <c:v>Private Lab</c:v>
                </c:pt>
                <c:pt idx="96">
                  <c:v>Coeur De Li</c:v>
                </c:pt>
                <c:pt idx="97">
                  <c:v>Soignon</c:v>
                </c:pt>
                <c:pt idx="98">
                  <c:v>Etorki</c:v>
                </c:pt>
                <c:pt idx="99">
                  <c:v>Ficello</c:v>
                </c:pt>
                <c:pt idx="100">
                  <c:v>President</c:v>
                </c:pt>
                <c:pt idx="101">
                  <c:v>St Moret</c:v>
                </c:pt>
                <c:pt idx="102">
                  <c:v>Private Lab</c:v>
                </c:pt>
                <c:pt idx="103">
                  <c:v>Ficello</c:v>
                </c:pt>
                <c:pt idx="104">
                  <c:v>Private Lab</c:v>
                </c:pt>
                <c:pt idx="105">
                  <c:v>All Others</c:v>
                </c:pt>
                <c:pt idx="106">
                  <c:v>All Others</c:v>
                </c:pt>
                <c:pt idx="107">
                  <c:v>President</c:v>
                </c:pt>
                <c:pt idx="108">
                  <c:v>Boursin</c:v>
                </c:pt>
                <c:pt idx="109">
                  <c:v>President</c:v>
                </c:pt>
                <c:pt idx="110">
                  <c:v>Soignon</c:v>
                </c:pt>
                <c:pt idx="111">
                  <c:v>Private Lab</c:v>
                </c:pt>
                <c:pt idx="112">
                  <c:v>La Vache Qu</c:v>
                </c:pt>
                <c:pt idx="113">
                  <c:v>President</c:v>
                </c:pt>
                <c:pt idx="114">
                  <c:v>President</c:v>
                </c:pt>
                <c:pt idx="115">
                  <c:v>Chavroux</c:v>
                </c:pt>
                <c:pt idx="116">
                  <c:v>Casa Azzurr</c:v>
                </c:pt>
                <c:pt idx="117">
                  <c:v>Private Lab</c:v>
                </c:pt>
                <c:pt idx="118">
                  <c:v>Boursin</c:v>
                </c:pt>
                <c:pt idx="119">
                  <c:v>Private Lab</c:v>
                </c:pt>
                <c:pt idx="120">
                  <c:v>President</c:v>
                </c:pt>
                <c:pt idx="121">
                  <c:v>Private Lab</c:v>
                </c:pt>
                <c:pt idx="122">
                  <c:v>P'Tit Louis</c:v>
                </c:pt>
                <c:pt idx="123">
                  <c:v>Le Brebiou</c:v>
                </c:pt>
                <c:pt idx="124">
                  <c:v>Private Lab</c:v>
                </c:pt>
                <c:pt idx="125">
                  <c:v>All Others</c:v>
                </c:pt>
                <c:pt idx="126">
                  <c:v>Boursin</c:v>
                </c:pt>
                <c:pt idx="127">
                  <c:v>Istara</c:v>
                </c:pt>
                <c:pt idx="128">
                  <c:v>Soignon</c:v>
                </c:pt>
                <c:pt idx="129">
                  <c:v>Tartare</c:v>
                </c:pt>
                <c:pt idx="130">
                  <c:v>Lactalis: A</c:v>
                </c:pt>
                <c:pt idx="131">
                  <c:v>Caprice Des</c:v>
                </c:pt>
                <c:pt idx="132">
                  <c:v>Paysan Bret</c:v>
                </c:pt>
                <c:pt idx="133">
                  <c:v>Lou Perac</c:v>
                </c:pt>
                <c:pt idx="134">
                  <c:v>Private Lab</c:v>
                </c:pt>
                <c:pt idx="135">
                  <c:v>Boursin</c:v>
                </c:pt>
                <c:pt idx="136">
                  <c:v>Paysan Bret</c:v>
                </c:pt>
                <c:pt idx="137">
                  <c:v>Private Lab</c:v>
                </c:pt>
                <c:pt idx="138">
                  <c:v>President</c:v>
                </c:pt>
                <c:pt idx="139">
                  <c:v>Casa Azzurr</c:v>
                </c:pt>
                <c:pt idx="140">
                  <c:v>Private Lab</c:v>
                </c:pt>
                <c:pt idx="141">
                  <c:v>Private Lab</c:v>
                </c:pt>
                <c:pt idx="142">
                  <c:v>Boursin</c:v>
                </c:pt>
                <c:pt idx="143">
                  <c:v>All Others</c:v>
                </c:pt>
                <c:pt idx="144">
                  <c:v>Soignon</c:v>
                </c:pt>
                <c:pt idx="145">
                  <c:v>Private Lab</c:v>
                </c:pt>
                <c:pt idx="146">
                  <c:v>Private Lab</c:v>
                </c:pt>
                <c:pt idx="147">
                  <c:v>President</c:v>
                </c:pt>
                <c:pt idx="148">
                  <c:v>All Others</c:v>
                </c:pt>
                <c:pt idx="149">
                  <c:v>Private Lab</c:v>
                </c:pt>
                <c:pt idx="150">
                  <c:v>Salakis</c:v>
                </c:pt>
                <c:pt idx="151">
                  <c:v>Private Lab</c:v>
                </c:pt>
                <c:pt idx="152">
                  <c:v>Galbani</c:v>
                </c:pt>
                <c:pt idx="153">
                  <c:v>All Others</c:v>
                </c:pt>
                <c:pt idx="154">
                  <c:v>Mini Babybe</c:v>
                </c:pt>
                <c:pt idx="155">
                  <c:v>Private Lab</c:v>
                </c:pt>
                <c:pt idx="156">
                  <c:v>Paysan Bret</c:v>
                </c:pt>
                <c:pt idx="157">
                  <c:v>Private Lab</c:v>
                </c:pt>
                <c:pt idx="158">
                  <c:v>La Vache Qu</c:v>
                </c:pt>
                <c:pt idx="159">
                  <c:v>Casa Azzurr</c:v>
                </c:pt>
                <c:pt idx="160">
                  <c:v>Soignon</c:v>
                </c:pt>
                <c:pt idx="161">
                  <c:v>Private Lab</c:v>
                </c:pt>
                <c:pt idx="162">
                  <c:v>Lou Perac</c:v>
                </c:pt>
                <c:pt idx="163">
                  <c:v>Boursin</c:v>
                </c:pt>
                <c:pt idx="164">
                  <c:v>Chavroux</c:v>
                </c:pt>
                <c:pt idx="165">
                  <c:v>Coeur De Li</c:v>
                </c:pt>
                <c:pt idx="166">
                  <c:v>Carre Frais</c:v>
                </c:pt>
                <c:pt idx="167">
                  <c:v>Lactalis: A</c:v>
                </c:pt>
                <c:pt idx="168">
                  <c:v>Private Lab</c:v>
                </c:pt>
                <c:pt idx="169">
                  <c:v>Private Lab</c:v>
                </c:pt>
                <c:pt idx="170">
                  <c:v>Galbani</c:v>
                </c:pt>
                <c:pt idx="171">
                  <c:v>All Others</c:v>
                </c:pt>
                <c:pt idx="172">
                  <c:v>Salakis</c:v>
                </c:pt>
                <c:pt idx="173">
                  <c:v>President</c:v>
                </c:pt>
                <c:pt idx="174">
                  <c:v>La Vache Qu</c:v>
                </c:pt>
                <c:pt idx="175">
                  <c:v>Tartare</c:v>
                </c:pt>
                <c:pt idx="176">
                  <c:v>Les Mousque</c:v>
                </c:pt>
                <c:pt idx="177">
                  <c:v>Paysan Bret</c:v>
                </c:pt>
                <c:pt idx="178">
                  <c:v>All Others</c:v>
                </c:pt>
                <c:pt idx="179">
                  <c:v>Private Lab</c:v>
                </c:pt>
                <c:pt idx="180">
                  <c:v>Private Lab</c:v>
                </c:pt>
                <c:pt idx="181">
                  <c:v>Coeur De Li</c:v>
                </c:pt>
                <c:pt idx="182">
                  <c:v>All Others</c:v>
                </c:pt>
                <c:pt idx="183">
                  <c:v>All Others</c:v>
                </c:pt>
                <c:pt idx="184">
                  <c:v>Mini Babybe</c:v>
                </c:pt>
                <c:pt idx="185">
                  <c:v>Salakis</c:v>
                </c:pt>
                <c:pt idx="186">
                  <c:v>Paysan Bret</c:v>
                </c:pt>
                <c:pt idx="187">
                  <c:v>All Others</c:v>
                </c:pt>
                <c:pt idx="188">
                  <c:v>Lactalis: A</c:v>
                </c:pt>
                <c:pt idx="189">
                  <c:v>Casa Azzurr</c:v>
                </c:pt>
                <c:pt idx="190">
                  <c:v>Private Lab</c:v>
                </c:pt>
                <c:pt idx="191">
                  <c:v>Kiri</c:v>
                </c:pt>
                <c:pt idx="192">
                  <c:v>Triballat N</c:v>
                </c:pt>
                <c:pt idx="193">
                  <c:v>Soignon</c:v>
                </c:pt>
                <c:pt idx="194">
                  <c:v>Boursin</c:v>
                </c:pt>
                <c:pt idx="195">
                  <c:v>Caprice Des</c:v>
                </c:pt>
                <c:pt idx="196">
                  <c:v>Le Rustique</c:v>
                </c:pt>
                <c:pt idx="197">
                  <c:v>St Moret</c:v>
                </c:pt>
                <c:pt idx="198">
                  <c:v>Savencia: A</c:v>
                </c:pt>
                <c:pt idx="199">
                  <c:v>Kiri</c:v>
                </c:pt>
                <c:pt idx="200">
                  <c:v>Private Lab</c:v>
                </c:pt>
                <c:pt idx="201">
                  <c:v>Casa Azzurr</c:v>
                </c:pt>
                <c:pt idx="202">
                  <c:v>Caprice Des</c:v>
                </c:pt>
                <c:pt idx="203">
                  <c:v>Tartare</c:v>
                </c:pt>
                <c:pt idx="204">
                  <c:v>Casa Azzurr</c:v>
                </c:pt>
                <c:pt idx="205">
                  <c:v>All Others</c:v>
                </c:pt>
                <c:pt idx="206">
                  <c:v>Mini Babybe</c:v>
                </c:pt>
                <c:pt idx="207">
                  <c:v>Paysan Bret</c:v>
                </c:pt>
                <c:pt idx="208">
                  <c:v>Soignon</c:v>
                </c:pt>
                <c:pt idx="209">
                  <c:v>Casa Azzurr</c:v>
                </c:pt>
                <c:pt idx="210">
                  <c:v>Les Mousque</c:v>
                </c:pt>
                <c:pt idx="211">
                  <c:v>Caprice Des</c:v>
                </c:pt>
                <c:pt idx="212">
                  <c:v>Galbani</c:v>
                </c:pt>
                <c:pt idx="213">
                  <c:v>All Others</c:v>
                </c:pt>
                <c:pt idx="214">
                  <c:v>Etorki</c:v>
                </c:pt>
                <c:pt idx="215">
                  <c:v>All Others</c:v>
                </c:pt>
                <c:pt idx="216">
                  <c:v>Tartare</c:v>
                </c:pt>
                <c:pt idx="217">
                  <c:v>Milleret: A</c:v>
                </c:pt>
                <c:pt idx="218">
                  <c:v>Soignon</c:v>
                </c:pt>
                <c:pt idx="219">
                  <c:v>Pave D'Affi</c:v>
                </c:pt>
                <c:pt idx="220">
                  <c:v>All Others</c:v>
                </c:pt>
                <c:pt idx="221">
                  <c:v>Private Lab</c:v>
                </c:pt>
                <c:pt idx="222">
                  <c:v>Corsica</c:v>
                </c:pt>
                <c:pt idx="223">
                  <c:v>Kiri</c:v>
                </c:pt>
                <c:pt idx="224">
                  <c:v>Soignon</c:v>
                </c:pt>
                <c:pt idx="225">
                  <c:v>Boursin</c:v>
                </c:pt>
                <c:pt idx="226">
                  <c:v>Salakis</c:v>
                </c:pt>
                <c:pt idx="227">
                  <c:v>Galbani</c:v>
                </c:pt>
                <c:pt idx="228">
                  <c:v>All Others</c:v>
                </c:pt>
                <c:pt idx="229">
                  <c:v>La Vache Qu</c:v>
                </c:pt>
                <c:pt idx="230">
                  <c:v>All Others</c:v>
                </c:pt>
                <c:pt idx="231">
                  <c:v>All Others</c:v>
                </c:pt>
                <c:pt idx="232">
                  <c:v>Kiri</c:v>
                </c:pt>
                <c:pt idx="233">
                  <c:v>Tartare</c:v>
                </c:pt>
                <c:pt idx="234">
                  <c:v>All Others</c:v>
                </c:pt>
                <c:pt idx="235">
                  <c:v>Salakis</c:v>
                </c:pt>
                <c:pt idx="236">
                  <c:v>Galbani</c:v>
                </c:pt>
                <c:pt idx="237">
                  <c:v>All Others</c:v>
                </c:pt>
                <c:pt idx="238">
                  <c:v>Mini Babybe</c:v>
                </c:pt>
                <c:pt idx="239">
                  <c:v>Mini Babybe</c:v>
                </c:pt>
                <c:pt idx="240">
                  <c:v>La Table M</c:v>
                </c:pt>
                <c:pt idx="241">
                  <c:v>Saint Agur</c:v>
                </c:pt>
                <c:pt idx="242">
                  <c:v>Triballat N</c:v>
                </c:pt>
                <c:pt idx="243">
                  <c:v>All Others</c:v>
                </c:pt>
                <c:pt idx="244">
                  <c:v>All Others</c:v>
                </c:pt>
                <c:pt idx="245">
                  <c:v>Casa Azzurr</c:v>
                </c:pt>
                <c:pt idx="246">
                  <c:v>Casa Azzurr</c:v>
                </c:pt>
                <c:pt idx="247">
                  <c:v>All Others</c:v>
                </c:pt>
                <c:pt idx="248">
                  <c:v>All Others</c:v>
                </c:pt>
                <c:pt idx="249">
                  <c:v>Lactalis: A</c:v>
                </c:pt>
                <c:pt idx="250">
                  <c:v>Galbani</c:v>
                </c:pt>
                <c:pt idx="251">
                  <c:v>All Others</c:v>
                </c:pt>
                <c:pt idx="252">
                  <c:v>Islos</c:v>
                </c:pt>
                <c:pt idx="253">
                  <c:v>Kiri</c:v>
                </c:pt>
                <c:pt idx="254">
                  <c:v>Istara</c:v>
                </c:pt>
                <c:pt idx="255">
                  <c:v>Lactalis: A</c:v>
                </c:pt>
                <c:pt idx="256">
                  <c:v>Paysan Bret</c:v>
                </c:pt>
                <c:pt idx="257">
                  <c:v>Milleret: A</c:v>
                </c:pt>
                <c:pt idx="258">
                  <c:v>Mini Babybe</c:v>
                </c:pt>
                <c:pt idx="259">
                  <c:v>All Others</c:v>
                </c:pt>
                <c:pt idx="260">
                  <c:v>All Others</c:v>
                </c:pt>
                <c:pt idx="261">
                  <c:v>Etoile Du Q</c:v>
                </c:pt>
                <c:pt idx="262">
                  <c:v>Private Lab</c:v>
                </c:pt>
                <c:pt idx="263">
                  <c:v>Boursin</c:v>
                </c:pt>
                <c:pt idx="264">
                  <c:v>Paysan Bret</c:v>
                </c:pt>
                <c:pt idx="265">
                  <c:v>All Others</c:v>
                </c:pt>
                <c:pt idx="266">
                  <c:v>Galbani</c:v>
                </c:pt>
                <c:pt idx="267">
                  <c:v>All Others</c:v>
                </c:pt>
                <c:pt idx="268">
                  <c:v>All Others</c:v>
                </c:pt>
                <c:pt idx="269">
                  <c:v>All Others</c:v>
                </c:pt>
                <c:pt idx="270">
                  <c:v>Galbani</c:v>
                </c:pt>
                <c:pt idx="271">
                  <c:v>Soignon</c:v>
                </c:pt>
                <c:pt idx="272">
                  <c:v>Soignon</c:v>
                </c:pt>
                <c:pt idx="273">
                  <c:v>All Others</c:v>
                </c:pt>
                <c:pt idx="274">
                  <c:v>Triballat N</c:v>
                </c:pt>
                <c:pt idx="275">
                  <c:v>All Others</c:v>
                </c:pt>
                <c:pt idx="276">
                  <c:v>Paysan Bret</c:v>
                </c:pt>
                <c:pt idx="277">
                  <c:v>All Others</c:v>
                </c:pt>
                <c:pt idx="278">
                  <c:v>Boursin</c:v>
                </c:pt>
                <c:pt idx="279">
                  <c:v>All Others</c:v>
                </c:pt>
                <c:pt idx="280">
                  <c:v>All Others</c:v>
                </c:pt>
                <c:pt idx="281">
                  <c:v>Le Rustique</c:v>
                </c:pt>
                <c:pt idx="282">
                  <c:v>Salakis</c:v>
                </c:pt>
                <c:pt idx="283">
                  <c:v>All Others</c:v>
                </c:pt>
                <c:pt idx="284">
                  <c:v>Soignon</c:v>
                </c:pt>
                <c:pt idx="285">
                  <c:v>Islos</c:v>
                </c:pt>
                <c:pt idx="286">
                  <c:v>All Others</c:v>
                </c:pt>
                <c:pt idx="287">
                  <c:v>Carre Frais</c:v>
                </c:pt>
                <c:pt idx="288">
                  <c:v>Triballat N</c:v>
                </c:pt>
                <c:pt idx="289">
                  <c:v>All Others</c:v>
                </c:pt>
                <c:pt idx="290">
                  <c:v>All Others</c:v>
                </c:pt>
                <c:pt idx="291">
                  <c:v>All Others</c:v>
                </c:pt>
                <c:pt idx="292">
                  <c:v>All Others</c:v>
                </c:pt>
                <c:pt idx="293">
                  <c:v>All Others</c:v>
                </c:pt>
                <c:pt idx="294">
                  <c:v>All Others</c:v>
                </c:pt>
                <c:pt idx="295">
                  <c:v>All Others</c:v>
                </c:pt>
                <c:pt idx="296">
                  <c:v>Le Brebiou</c:v>
                </c:pt>
                <c:pt idx="297">
                  <c:v>All Others</c:v>
                </c:pt>
                <c:pt idx="298">
                  <c:v>All Others</c:v>
                </c:pt>
                <c:pt idx="299">
                  <c:v>Boursin</c:v>
                </c:pt>
                <c:pt idx="300">
                  <c:v>All Others</c:v>
                </c:pt>
                <c:pt idx="301">
                  <c:v>All Others</c:v>
                </c:pt>
                <c:pt idx="302">
                  <c:v>Caprice Des</c:v>
                </c:pt>
                <c:pt idx="303">
                  <c:v>All Others</c:v>
                </c:pt>
                <c:pt idx="304">
                  <c:v>All Others</c:v>
                </c:pt>
                <c:pt idx="305">
                  <c:v>P'Tit Louis</c:v>
                </c:pt>
                <c:pt idx="306">
                  <c:v>Les Mousque</c:v>
                </c:pt>
                <c:pt idx="307">
                  <c:v>Boursin</c:v>
                </c:pt>
                <c:pt idx="308">
                  <c:v>All Others</c:v>
                </c:pt>
                <c:pt idx="309">
                  <c:v>All Others</c:v>
                </c:pt>
                <c:pt idx="310">
                  <c:v>Istara</c:v>
                </c:pt>
                <c:pt idx="311">
                  <c:v>Mini Babybe</c:v>
                </c:pt>
                <c:pt idx="312">
                  <c:v>Private Lab</c:v>
                </c:pt>
                <c:pt idx="313">
                  <c:v>Lactalis: A</c:v>
                </c:pt>
                <c:pt idx="314">
                  <c:v>All Others</c:v>
                </c:pt>
                <c:pt idx="315">
                  <c:v>Mini Babybe</c:v>
                </c:pt>
                <c:pt idx="316">
                  <c:v>All Others</c:v>
                </c:pt>
                <c:pt idx="317">
                  <c:v>All Others</c:v>
                </c:pt>
                <c:pt idx="318">
                  <c:v>Casa Azzurr</c:v>
                </c:pt>
                <c:pt idx="319">
                  <c:v>All Others</c:v>
                </c:pt>
                <c:pt idx="320">
                  <c:v>St Moret</c:v>
                </c:pt>
                <c:pt idx="321">
                  <c:v>All Others</c:v>
                </c:pt>
                <c:pt idx="322">
                  <c:v>Chavroux</c:v>
                </c:pt>
                <c:pt idx="323">
                  <c:v>All Others</c:v>
                </c:pt>
                <c:pt idx="324">
                  <c:v>All Others</c:v>
                </c:pt>
                <c:pt idx="325">
                  <c:v>All Others</c:v>
                </c:pt>
                <c:pt idx="326">
                  <c:v>All Others</c:v>
                </c:pt>
                <c:pt idx="327">
                  <c:v>Saint Agur</c:v>
                </c:pt>
                <c:pt idx="328">
                  <c:v>Boursin</c:v>
                </c:pt>
                <c:pt idx="329">
                  <c:v>Private Lab</c:v>
                </c:pt>
                <c:pt idx="330">
                  <c:v>All Others</c:v>
                </c:pt>
                <c:pt idx="331">
                  <c:v>All Others</c:v>
                </c:pt>
                <c:pt idx="332">
                  <c:v>All Others</c:v>
                </c:pt>
                <c:pt idx="333">
                  <c:v>All Others</c:v>
                </c:pt>
                <c:pt idx="334">
                  <c:v>All Others</c:v>
                </c:pt>
                <c:pt idx="335">
                  <c:v>All Others</c:v>
                </c:pt>
                <c:pt idx="336">
                  <c:v>All Others</c:v>
                </c:pt>
                <c:pt idx="337">
                  <c:v>All Others</c:v>
                </c:pt>
                <c:pt idx="338">
                  <c:v>All Others</c:v>
                </c:pt>
                <c:pt idx="339">
                  <c:v>All Others</c:v>
                </c:pt>
                <c:pt idx="340">
                  <c:v>All Others</c:v>
                </c:pt>
                <c:pt idx="341">
                  <c:v>Boursin</c:v>
                </c:pt>
                <c:pt idx="342">
                  <c:v>All Others</c:v>
                </c:pt>
                <c:pt idx="343">
                  <c:v>All Others</c:v>
                </c:pt>
                <c:pt idx="344">
                  <c:v>All Others</c:v>
                </c:pt>
                <c:pt idx="345">
                  <c:v>All Others</c:v>
                </c:pt>
                <c:pt idx="346">
                  <c:v>All Others</c:v>
                </c:pt>
                <c:pt idx="347">
                  <c:v>All Others</c:v>
                </c:pt>
                <c:pt idx="348">
                  <c:v>Lactalis: A</c:v>
                </c:pt>
                <c:pt idx="349">
                  <c:v>All Others</c:v>
                </c:pt>
                <c:pt idx="350">
                  <c:v>All Others</c:v>
                </c:pt>
                <c:pt idx="351">
                  <c:v>All Others</c:v>
                </c:pt>
                <c:pt idx="352">
                  <c:v>All Others</c:v>
                </c:pt>
                <c:pt idx="353">
                  <c:v>All Others</c:v>
                </c:pt>
                <c:pt idx="354">
                  <c:v>All Others</c:v>
                </c:pt>
                <c:pt idx="355">
                  <c:v>All Others</c:v>
                </c:pt>
                <c:pt idx="356">
                  <c:v>President</c:v>
                </c:pt>
                <c:pt idx="357">
                  <c:v>All Others</c:v>
                </c:pt>
                <c:pt idx="358">
                  <c:v>All Others</c:v>
                </c:pt>
                <c:pt idx="359">
                  <c:v>All Others</c:v>
                </c:pt>
                <c:pt idx="360">
                  <c:v>All Others</c:v>
                </c:pt>
                <c:pt idx="361">
                  <c:v>All Others</c:v>
                </c:pt>
                <c:pt idx="362">
                  <c:v>Boursin</c:v>
                </c:pt>
                <c:pt idx="363">
                  <c:v>Chavroux</c:v>
                </c:pt>
                <c:pt idx="364">
                  <c:v>All Others</c:v>
                </c:pt>
                <c:pt idx="365">
                  <c:v>All Others</c:v>
                </c:pt>
                <c:pt idx="366">
                  <c:v>Etorki</c:v>
                </c:pt>
                <c:pt idx="367">
                  <c:v>All Others</c:v>
                </c:pt>
                <c:pt idx="368">
                  <c:v>All Others</c:v>
                </c:pt>
                <c:pt idx="369">
                  <c:v>Salakis</c:v>
                </c:pt>
                <c:pt idx="370">
                  <c:v>All Others</c:v>
                </c:pt>
                <c:pt idx="371">
                  <c:v>Soignon</c:v>
                </c:pt>
                <c:pt idx="372">
                  <c:v>All Others</c:v>
                </c:pt>
                <c:pt idx="373">
                  <c:v>All Others</c:v>
                </c:pt>
                <c:pt idx="374">
                  <c:v>All Others</c:v>
                </c:pt>
                <c:pt idx="375">
                  <c:v>Salakis</c:v>
                </c:pt>
                <c:pt idx="376">
                  <c:v>All Others</c:v>
                </c:pt>
                <c:pt idx="377">
                  <c:v>All Others</c:v>
                </c:pt>
                <c:pt idx="378">
                  <c:v>Tartare</c:v>
                </c:pt>
                <c:pt idx="379">
                  <c:v>All Others</c:v>
                </c:pt>
                <c:pt idx="380">
                  <c:v>All Others</c:v>
                </c:pt>
                <c:pt idx="381">
                  <c:v>All Others</c:v>
                </c:pt>
                <c:pt idx="382">
                  <c:v>All Others</c:v>
                </c:pt>
                <c:pt idx="383">
                  <c:v>All Others</c:v>
                </c:pt>
                <c:pt idx="384">
                  <c:v>All Others</c:v>
                </c:pt>
                <c:pt idx="385">
                  <c:v>All Others</c:v>
                </c:pt>
                <c:pt idx="386">
                  <c:v>All Others</c:v>
                </c:pt>
                <c:pt idx="387">
                  <c:v>All Others</c:v>
                </c:pt>
                <c:pt idx="388">
                  <c:v>All Others</c:v>
                </c:pt>
                <c:pt idx="389">
                  <c:v>All Others</c:v>
                </c:pt>
                <c:pt idx="390">
                  <c:v>All Others</c:v>
                </c:pt>
                <c:pt idx="391">
                  <c:v>All Others</c:v>
                </c:pt>
                <c:pt idx="392">
                  <c:v>All Others</c:v>
                </c:pt>
                <c:pt idx="393">
                  <c:v>All Others</c:v>
                </c:pt>
                <c:pt idx="394">
                  <c:v>All Others</c:v>
                </c:pt>
                <c:pt idx="395">
                  <c:v>All Others</c:v>
                </c:pt>
                <c:pt idx="396">
                  <c:v>All Others</c:v>
                </c:pt>
                <c:pt idx="397">
                  <c:v>All Others</c:v>
                </c:pt>
                <c:pt idx="398">
                  <c:v>All Others</c:v>
                </c:pt>
                <c:pt idx="399">
                  <c:v>All Others</c:v>
                </c:pt>
                <c:pt idx="400">
                  <c:v>All Others</c:v>
                </c:pt>
                <c:pt idx="401">
                  <c:v>All Others</c:v>
                </c:pt>
                <c:pt idx="402">
                  <c:v>All Others</c:v>
                </c:pt>
                <c:pt idx="403">
                  <c:v>Entremont</c:v>
                </c:pt>
                <c:pt idx="404">
                  <c:v>All Others</c:v>
                </c:pt>
                <c:pt idx="405">
                  <c:v>All Others</c:v>
                </c:pt>
                <c:pt idx="406">
                  <c:v>All Others</c:v>
                </c:pt>
                <c:pt idx="407">
                  <c:v>All Others</c:v>
                </c:pt>
                <c:pt idx="408">
                  <c:v>All Others</c:v>
                </c:pt>
                <c:pt idx="409">
                  <c:v>All Others</c:v>
                </c:pt>
                <c:pt idx="410">
                  <c:v>Etoile Du V</c:v>
                </c:pt>
                <c:pt idx="411">
                  <c:v>All Others</c:v>
                </c:pt>
                <c:pt idx="412">
                  <c:v>All Others</c:v>
                </c:pt>
                <c:pt idx="413">
                  <c:v>Entremont</c:v>
                </c:pt>
                <c:pt idx="414">
                  <c:v>All Others</c:v>
                </c:pt>
                <c:pt idx="415">
                  <c:v>All Others</c:v>
                </c:pt>
                <c:pt idx="416">
                  <c:v>Entremont</c:v>
                </c:pt>
                <c:pt idx="417">
                  <c:v>All Others</c:v>
                </c:pt>
                <c:pt idx="418">
                  <c:v>All Others</c:v>
                </c:pt>
                <c:pt idx="419">
                  <c:v>Other Suppl</c:v>
                </c:pt>
                <c:pt idx="420">
                  <c:v>All Others</c:v>
                </c:pt>
                <c:pt idx="421">
                  <c:v>All Others</c:v>
                </c:pt>
                <c:pt idx="422">
                  <c:v>All Others</c:v>
                </c:pt>
                <c:pt idx="423">
                  <c:v>Petit Billy</c:v>
                </c:pt>
                <c:pt idx="424">
                  <c:v>All Others</c:v>
                </c:pt>
                <c:pt idx="425">
                  <c:v>All Others</c:v>
                </c:pt>
                <c:pt idx="426">
                  <c:v>All Others</c:v>
                </c:pt>
                <c:pt idx="427">
                  <c:v>All Others</c:v>
                </c:pt>
                <c:pt idx="428">
                  <c:v>All Others</c:v>
                </c:pt>
                <c:pt idx="429">
                  <c:v>All Others</c:v>
                </c:pt>
                <c:pt idx="430">
                  <c:v>All Others</c:v>
                </c:pt>
                <c:pt idx="431">
                  <c:v>All Others</c:v>
                </c:pt>
                <c:pt idx="432">
                  <c:v>All Others</c:v>
                </c:pt>
                <c:pt idx="433">
                  <c:v>All Others</c:v>
                </c:pt>
                <c:pt idx="434">
                  <c:v>All Others</c:v>
                </c:pt>
                <c:pt idx="435">
                  <c:v>All Others</c:v>
                </c:pt>
                <c:pt idx="436">
                  <c:v>All Others</c:v>
                </c:pt>
                <c:pt idx="437">
                  <c:v>All Others</c:v>
                </c:pt>
                <c:pt idx="438">
                  <c:v>All Others</c:v>
                </c:pt>
                <c:pt idx="439">
                  <c:v>All Others</c:v>
                </c:pt>
                <c:pt idx="440">
                  <c:v>Chavroux</c:v>
                </c:pt>
                <c:pt idx="441">
                  <c:v>All Others</c:v>
                </c:pt>
                <c:pt idx="442">
                  <c:v>All Others</c:v>
                </c:pt>
                <c:pt idx="443">
                  <c:v>All Others</c:v>
                </c:pt>
                <c:pt idx="444">
                  <c:v>All Others</c:v>
                </c:pt>
                <c:pt idx="445">
                  <c:v>All Others</c:v>
                </c:pt>
                <c:pt idx="446">
                  <c:v>All Others</c:v>
                </c:pt>
                <c:pt idx="447">
                  <c:v>Paysan Bret</c:v>
                </c:pt>
                <c:pt idx="448">
                  <c:v>All Others</c:v>
                </c:pt>
                <c:pt idx="449">
                  <c:v>All Others</c:v>
                </c:pt>
                <c:pt idx="450">
                  <c:v>All Others</c:v>
                </c:pt>
                <c:pt idx="451">
                  <c:v>Corsica</c:v>
                </c:pt>
                <c:pt idx="452">
                  <c:v>All Others</c:v>
                </c:pt>
                <c:pt idx="453">
                  <c:v>All Others</c:v>
                </c:pt>
                <c:pt idx="454">
                  <c:v>All Others</c:v>
                </c:pt>
                <c:pt idx="455">
                  <c:v>All Others</c:v>
                </c:pt>
                <c:pt idx="456">
                  <c:v>All Others</c:v>
                </c:pt>
                <c:pt idx="457">
                  <c:v>All Others</c:v>
                </c:pt>
                <c:pt idx="458">
                  <c:v>All Others</c:v>
                </c:pt>
                <c:pt idx="459">
                  <c:v>All Others</c:v>
                </c:pt>
                <c:pt idx="460">
                  <c:v>All Others</c:v>
                </c:pt>
                <c:pt idx="461">
                  <c:v>Savencia: A</c:v>
                </c:pt>
                <c:pt idx="462">
                  <c:v>All Others</c:v>
                </c:pt>
                <c:pt idx="463">
                  <c:v>Savencia: A</c:v>
                </c:pt>
                <c:pt idx="464">
                  <c:v>All Others</c:v>
                </c:pt>
                <c:pt idx="465">
                  <c:v>All Others</c:v>
                </c:pt>
                <c:pt idx="466">
                  <c:v>All Others</c:v>
                </c:pt>
                <c:pt idx="467">
                  <c:v>All Others</c:v>
                </c:pt>
                <c:pt idx="468">
                  <c:v>Mini Babybe</c:v>
                </c:pt>
                <c:pt idx="469">
                  <c:v>All Others</c:v>
                </c:pt>
                <c:pt idx="470">
                  <c:v>All Others</c:v>
                </c:pt>
                <c:pt idx="471">
                  <c:v>All Others</c:v>
                </c:pt>
                <c:pt idx="472">
                  <c:v>All Others</c:v>
                </c:pt>
                <c:pt idx="473">
                  <c:v>All Others</c:v>
                </c:pt>
                <c:pt idx="474">
                  <c:v>All Others</c:v>
                </c:pt>
                <c:pt idx="475">
                  <c:v>All Others</c:v>
                </c:pt>
                <c:pt idx="476">
                  <c:v>All Others</c:v>
                </c:pt>
                <c:pt idx="477">
                  <c:v>Netto</c:v>
                </c:pt>
                <c:pt idx="478">
                  <c:v>Private Lab</c:v>
                </c:pt>
                <c:pt idx="479">
                  <c:v>All Others</c:v>
                </c:pt>
                <c:pt idx="480">
                  <c:v>All Others</c:v>
                </c:pt>
                <c:pt idx="481">
                  <c:v>Lactalis: A</c:v>
                </c:pt>
                <c:pt idx="482">
                  <c:v>All Others</c:v>
                </c:pt>
                <c:pt idx="483">
                  <c:v>All Others</c:v>
                </c:pt>
                <c:pt idx="484">
                  <c:v>All Others</c:v>
                </c:pt>
                <c:pt idx="485">
                  <c:v>All Others</c:v>
                </c:pt>
                <c:pt idx="486">
                  <c:v>All Others</c:v>
                </c:pt>
                <c:pt idx="487">
                  <c:v>La Vache Qu</c:v>
                </c:pt>
                <c:pt idx="488">
                  <c:v>All Others</c:v>
                </c:pt>
                <c:pt idx="489">
                  <c:v>All Others</c:v>
                </c:pt>
                <c:pt idx="490">
                  <c:v>All Others</c:v>
                </c:pt>
                <c:pt idx="491">
                  <c:v>All Others</c:v>
                </c:pt>
                <c:pt idx="492">
                  <c:v>Kiri</c:v>
                </c:pt>
                <c:pt idx="493">
                  <c:v>All Others</c:v>
                </c:pt>
              </c:strCache>
            </c:strRef>
          </c:cat>
          <c:val>
            <c:numRef>
              <c:f>Sheet1!$C$2:$C$495</c:f>
              <c:numCache>
                <c:formatCode>General</c:formatCode>
                <c:ptCount val="494"/>
                <c:pt idx="0">
                  <c:v>2.9901820701817485E-2</c:v>
                </c:pt>
                <c:pt idx="1">
                  <c:v>5.7340951495388134E-2</c:v>
                </c:pt>
                <c:pt idx="2">
                  <c:v>8.0631499851287314E-2</c:v>
                </c:pt>
                <c:pt idx="3">
                  <c:v>0.10308858217191304</c:v>
                </c:pt>
                <c:pt idx="4">
                  <c:v>0.12285537817103215</c:v>
                </c:pt>
                <c:pt idx="5">
                  <c:v>0.14257934650686729</c:v>
                </c:pt>
                <c:pt idx="6">
                  <c:v>0.16018846497585604</c:v>
                </c:pt>
                <c:pt idx="7">
                  <c:v>0.1777433397984669</c:v>
                </c:pt>
                <c:pt idx="8">
                  <c:v>0.19449194840639328</c:v>
                </c:pt>
                <c:pt idx="9">
                  <c:v>0.21039578844671594</c:v>
                </c:pt>
                <c:pt idx="10">
                  <c:v>0.22494156612057281</c:v>
                </c:pt>
                <c:pt idx="11">
                  <c:v>0.23912590384273474</c:v>
                </c:pt>
                <c:pt idx="12">
                  <c:v>0.25282911105753397</c:v>
                </c:pt>
                <c:pt idx="13">
                  <c:v>0.26631264923118458</c:v>
                </c:pt>
                <c:pt idx="14">
                  <c:v>0.27972644354787141</c:v>
                </c:pt>
                <c:pt idx="15">
                  <c:v>0.29277861355537232</c:v>
                </c:pt>
                <c:pt idx="16">
                  <c:v>0.30561960914765418</c:v>
                </c:pt>
                <c:pt idx="17">
                  <c:v>0.31794975013249277</c:v>
                </c:pt>
                <c:pt idx="18">
                  <c:v>0.33003619887697644</c:v>
                </c:pt>
                <c:pt idx="19">
                  <c:v>0.34172083337924547</c:v>
                </c:pt>
                <c:pt idx="20">
                  <c:v>0.35336081082466642</c:v>
                </c:pt>
                <c:pt idx="21">
                  <c:v>0.36493468901890636</c:v>
                </c:pt>
                <c:pt idx="22">
                  <c:v>0.37647593593724682</c:v>
                </c:pt>
                <c:pt idx="23">
                  <c:v>0.38783705140557634</c:v>
                </c:pt>
                <c:pt idx="24">
                  <c:v>0.39899674922436201</c:v>
                </c:pt>
                <c:pt idx="25">
                  <c:v>0.40825396282453891</c:v>
                </c:pt>
                <c:pt idx="26">
                  <c:v>0.41744882104873582</c:v>
                </c:pt>
                <c:pt idx="27">
                  <c:v>0.42662226544129073</c:v>
                </c:pt>
                <c:pt idx="28">
                  <c:v>0.43545036570924583</c:v>
                </c:pt>
                <c:pt idx="29">
                  <c:v>0.44406746173812733</c:v>
                </c:pt>
                <c:pt idx="30">
                  <c:v>0.4526663631007859</c:v>
                </c:pt>
                <c:pt idx="31">
                  <c:v>0.46125291251155026</c:v>
                </c:pt>
                <c:pt idx="32">
                  <c:v>0.46950974564040987</c:v>
                </c:pt>
                <c:pt idx="33">
                  <c:v>0.47774585982355494</c:v>
                </c:pt>
                <c:pt idx="34">
                  <c:v>0.4857634961985699</c:v>
                </c:pt>
                <c:pt idx="35">
                  <c:v>0.49371408317225818</c:v>
                </c:pt>
                <c:pt idx="36">
                  <c:v>0.50145948025851073</c:v>
                </c:pt>
                <c:pt idx="37">
                  <c:v>0.50904194786679324</c:v>
                </c:pt>
                <c:pt idx="38">
                  <c:v>0.51653060587486932</c:v>
                </c:pt>
                <c:pt idx="39">
                  <c:v>0.52376964384018887</c:v>
                </c:pt>
                <c:pt idx="40">
                  <c:v>0.53068940299386091</c:v>
                </c:pt>
                <c:pt idx="41">
                  <c:v>0.53755335855315467</c:v>
                </c:pt>
                <c:pt idx="42">
                  <c:v>0.54440079284498955</c:v>
                </c:pt>
                <c:pt idx="43">
                  <c:v>0.55121617729608874</c:v>
                </c:pt>
                <c:pt idx="44">
                  <c:v>0.55800623386419945</c:v>
                </c:pt>
                <c:pt idx="45">
                  <c:v>0.56466193636543849</c:v>
                </c:pt>
                <c:pt idx="46">
                  <c:v>0.57101452678885245</c:v>
                </c:pt>
                <c:pt idx="47">
                  <c:v>0.57710888909281677</c:v>
                </c:pt>
                <c:pt idx="48">
                  <c:v>0.58319028964703223</c:v>
                </c:pt>
                <c:pt idx="49">
                  <c:v>0.5892317413510918</c:v>
                </c:pt>
                <c:pt idx="50">
                  <c:v>0.59499183516125931</c:v>
                </c:pt>
                <c:pt idx="51">
                  <c:v>0.60067861141540746</c:v>
                </c:pt>
                <c:pt idx="52">
                  <c:v>0.60635120632409745</c:v>
                </c:pt>
                <c:pt idx="53">
                  <c:v>0.61197853437808458</c:v>
                </c:pt>
                <c:pt idx="54">
                  <c:v>0.61741220197849356</c:v>
                </c:pt>
                <c:pt idx="55">
                  <c:v>0.6227921790049975</c:v>
                </c:pt>
                <c:pt idx="56">
                  <c:v>0.62803594420837483</c:v>
                </c:pt>
                <c:pt idx="57">
                  <c:v>0.63313732870335104</c:v>
                </c:pt>
                <c:pt idx="58">
                  <c:v>0.6382277935623244</c:v>
                </c:pt>
                <c:pt idx="59">
                  <c:v>0.64321728724163496</c:v>
                </c:pt>
                <c:pt idx="60">
                  <c:v>0.64820398719589023</c:v>
                </c:pt>
                <c:pt idx="61">
                  <c:v>0.65314767512937055</c:v>
                </c:pt>
                <c:pt idx="62">
                  <c:v>0.65801360674570319</c:v>
                </c:pt>
                <c:pt idx="63">
                  <c:v>0.6627253304115226</c:v>
                </c:pt>
                <c:pt idx="64">
                  <c:v>0.66734911555415521</c:v>
                </c:pt>
                <c:pt idx="65">
                  <c:v>0.67191369357949959</c:v>
                </c:pt>
                <c:pt idx="66">
                  <c:v>0.67646243104196702</c:v>
                </c:pt>
                <c:pt idx="67">
                  <c:v>0.68099598028344865</c:v>
                </c:pt>
                <c:pt idx="68">
                  <c:v>0.68541088838882647</c:v>
                </c:pt>
                <c:pt idx="69">
                  <c:v>0.68975415233694903</c:v>
                </c:pt>
                <c:pt idx="70">
                  <c:v>0.69408080992954002</c:v>
                </c:pt>
                <c:pt idx="71">
                  <c:v>0.69833100170742002</c:v>
                </c:pt>
                <c:pt idx="72">
                  <c:v>0.70257706671377163</c:v>
                </c:pt>
                <c:pt idx="73">
                  <c:v>0.70676773938476323</c:v>
                </c:pt>
                <c:pt idx="74">
                  <c:v>0.71091030893196039</c:v>
                </c:pt>
                <c:pt idx="75">
                  <c:v>0.71493072036937999</c:v>
                </c:pt>
                <c:pt idx="76">
                  <c:v>0.71887282241717909</c:v>
                </c:pt>
                <c:pt idx="77">
                  <c:v>0.72274752053001501</c:v>
                </c:pt>
                <c:pt idx="78">
                  <c:v>0.72661500033801263</c:v>
                </c:pt>
                <c:pt idx="79">
                  <c:v>0.73044949433647433</c:v>
                </c:pt>
                <c:pt idx="80">
                  <c:v>0.73426762306227722</c:v>
                </c:pt>
                <c:pt idx="81">
                  <c:v>0.73807233623527657</c:v>
                </c:pt>
                <c:pt idx="82">
                  <c:v>0.74182593983924427</c:v>
                </c:pt>
                <c:pt idx="83">
                  <c:v>0.74537835269519548</c:v>
                </c:pt>
                <c:pt idx="84">
                  <c:v>0.74892938996063729</c:v>
                </c:pt>
                <c:pt idx="85">
                  <c:v>0.75244339973308749</c:v>
                </c:pt>
                <c:pt idx="86">
                  <c:v>0.75586114653256697</c:v>
                </c:pt>
                <c:pt idx="87">
                  <c:v>0.75925752204444086</c:v>
                </c:pt>
                <c:pt idx="88">
                  <c:v>0.76263119322223605</c:v>
                </c:pt>
                <c:pt idx="89">
                  <c:v>0.76595799505329165</c:v>
                </c:pt>
                <c:pt idx="90">
                  <c:v>0.76927953560518225</c:v>
                </c:pt>
                <c:pt idx="91">
                  <c:v>0.77257719477132114</c:v>
                </c:pt>
                <c:pt idx="92">
                  <c:v>0.77585932536418323</c:v>
                </c:pt>
                <c:pt idx="93">
                  <c:v>0.77908319898990275</c:v>
                </c:pt>
                <c:pt idx="94">
                  <c:v>0.78222906103425627</c:v>
                </c:pt>
                <c:pt idx="95">
                  <c:v>0.78536376235973415</c:v>
                </c:pt>
                <c:pt idx="96">
                  <c:v>0.78846206017142062</c:v>
                </c:pt>
                <c:pt idx="97">
                  <c:v>0.7915413691615385</c:v>
                </c:pt>
                <c:pt idx="98">
                  <c:v>0.79461294931838167</c:v>
                </c:pt>
                <c:pt idx="99">
                  <c:v>0.79763014401539234</c:v>
                </c:pt>
                <c:pt idx="100">
                  <c:v>0.80063216467276266</c:v>
                </c:pt>
                <c:pt idx="101">
                  <c:v>0.80357493566880833</c:v>
                </c:pt>
                <c:pt idx="102">
                  <c:v>0.80646305175945787</c:v>
                </c:pt>
                <c:pt idx="103">
                  <c:v>0.80929525080496545</c:v>
                </c:pt>
                <c:pt idx="104">
                  <c:v>0.81211607641141548</c:v>
                </c:pt>
                <c:pt idx="105">
                  <c:v>0.81490537688691178</c:v>
                </c:pt>
                <c:pt idx="106">
                  <c:v>0.81768134689767724</c:v>
                </c:pt>
                <c:pt idx="107">
                  <c:v>0.82041308529195833</c:v>
                </c:pt>
                <c:pt idx="108">
                  <c:v>0.82313072742885396</c:v>
                </c:pt>
                <c:pt idx="109">
                  <c:v>0.82579849377377279</c:v>
                </c:pt>
                <c:pt idx="110">
                  <c:v>0.82832979303134668</c:v>
                </c:pt>
                <c:pt idx="111">
                  <c:v>0.83082300119501973</c:v>
                </c:pt>
                <c:pt idx="112">
                  <c:v>0.83329801469246978</c:v>
                </c:pt>
                <c:pt idx="113">
                  <c:v>0.83575775488086135</c:v>
                </c:pt>
                <c:pt idx="114">
                  <c:v>0.83818028321877036</c:v>
                </c:pt>
                <c:pt idx="115">
                  <c:v>0.84055150344881135</c:v>
                </c:pt>
                <c:pt idx="116">
                  <c:v>0.84292253932136141</c:v>
                </c:pt>
                <c:pt idx="117">
                  <c:v>0.84524839342728142</c:v>
                </c:pt>
                <c:pt idx="118">
                  <c:v>0.84753200130508122</c:v>
                </c:pt>
                <c:pt idx="119">
                  <c:v>0.84981494265964452</c:v>
                </c:pt>
                <c:pt idx="120">
                  <c:v>0.85209760038729865</c:v>
                </c:pt>
                <c:pt idx="121">
                  <c:v>0.85437857053484323</c:v>
                </c:pt>
                <c:pt idx="122">
                  <c:v>0.85657093563596454</c:v>
                </c:pt>
                <c:pt idx="123">
                  <c:v>0.85874768707573623</c:v>
                </c:pt>
                <c:pt idx="124">
                  <c:v>0.86086294820160092</c:v>
                </c:pt>
                <c:pt idx="125">
                  <c:v>0.86296278002360705</c:v>
                </c:pt>
                <c:pt idx="126">
                  <c:v>0.8650516071215375</c:v>
                </c:pt>
                <c:pt idx="127">
                  <c:v>0.86713955497604955</c:v>
                </c:pt>
                <c:pt idx="128">
                  <c:v>0.86919931031579056</c:v>
                </c:pt>
                <c:pt idx="129">
                  <c:v>0.87125483961458505</c:v>
                </c:pt>
                <c:pt idx="130">
                  <c:v>0.87330800062868796</c:v>
                </c:pt>
                <c:pt idx="131">
                  <c:v>0.8753551203896256</c:v>
                </c:pt>
                <c:pt idx="132">
                  <c:v>0.87736570900466282</c:v>
                </c:pt>
                <c:pt idx="133">
                  <c:v>0.87928732385829478</c:v>
                </c:pt>
                <c:pt idx="134">
                  <c:v>0.88113967702070861</c:v>
                </c:pt>
                <c:pt idx="135">
                  <c:v>0.88298676890395744</c:v>
                </c:pt>
                <c:pt idx="136">
                  <c:v>0.88478998370435835</c:v>
                </c:pt>
                <c:pt idx="137">
                  <c:v>0.88656689210893413</c:v>
                </c:pt>
                <c:pt idx="138">
                  <c:v>0.88834377215081906</c:v>
                </c:pt>
                <c:pt idx="139">
                  <c:v>0.89011601489273906</c:v>
                </c:pt>
                <c:pt idx="140">
                  <c:v>0.8918866409612769</c:v>
                </c:pt>
                <c:pt idx="141">
                  <c:v>0.89364488671522957</c:v>
                </c:pt>
                <c:pt idx="142">
                  <c:v>0.89540038128816335</c:v>
                </c:pt>
                <c:pt idx="143">
                  <c:v>0.89712734299403507</c:v>
                </c:pt>
                <c:pt idx="144">
                  <c:v>0.8988514684308152</c:v>
                </c:pt>
                <c:pt idx="145">
                  <c:v>0.90050806230052305</c:v>
                </c:pt>
                <c:pt idx="146">
                  <c:v>0.90215618990699231</c:v>
                </c:pt>
                <c:pt idx="147">
                  <c:v>0.90376704893759718</c:v>
                </c:pt>
                <c:pt idx="148">
                  <c:v>0.90532868451811643</c:v>
                </c:pt>
                <c:pt idx="149">
                  <c:v>0.9068273407434555</c:v>
                </c:pt>
                <c:pt idx="150">
                  <c:v>0.90830519293500733</c:v>
                </c:pt>
                <c:pt idx="151">
                  <c:v>0.90977995359324926</c:v>
                </c:pt>
                <c:pt idx="152">
                  <c:v>0.91121662315759022</c:v>
                </c:pt>
                <c:pt idx="153">
                  <c:v>0.91263475770341729</c:v>
                </c:pt>
                <c:pt idx="154">
                  <c:v>0.91403149259894778</c:v>
                </c:pt>
                <c:pt idx="155">
                  <c:v>0.91539104400668669</c:v>
                </c:pt>
                <c:pt idx="156">
                  <c:v>0.91674676645115183</c:v>
                </c:pt>
                <c:pt idx="157">
                  <c:v>0.91807045323622682</c:v>
                </c:pt>
                <c:pt idx="158">
                  <c:v>0.91937890925627963</c:v>
                </c:pt>
                <c:pt idx="159">
                  <c:v>0.9206673979419272</c:v>
                </c:pt>
                <c:pt idx="160">
                  <c:v>0.92190318874785182</c:v>
                </c:pt>
                <c:pt idx="161">
                  <c:v>0.9231383839372671</c:v>
                </c:pt>
                <c:pt idx="162">
                  <c:v>0.92436810512733558</c:v>
                </c:pt>
                <c:pt idx="163">
                  <c:v>0.92559100509023862</c:v>
                </c:pt>
                <c:pt idx="164">
                  <c:v>0.92680187927219304</c:v>
                </c:pt>
                <c:pt idx="165">
                  <c:v>0.92801045607618315</c:v>
                </c:pt>
                <c:pt idx="166">
                  <c:v>0.92918348024710939</c:v>
                </c:pt>
                <c:pt idx="167">
                  <c:v>0.9303142014645337</c:v>
                </c:pt>
                <c:pt idx="168">
                  <c:v>0.9314147447788228</c:v>
                </c:pt>
                <c:pt idx="169">
                  <c:v>0.93251361469434779</c:v>
                </c:pt>
                <c:pt idx="170">
                  <c:v>0.93360072827448792</c:v>
                </c:pt>
                <c:pt idx="171">
                  <c:v>0.93459217449816656</c:v>
                </c:pt>
                <c:pt idx="172">
                  <c:v>0.9355726443604605</c:v>
                </c:pt>
                <c:pt idx="173">
                  <c:v>0.93651292428972566</c:v>
                </c:pt>
                <c:pt idx="174">
                  <c:v>0.93744402888847933</c:v>
                </c:pt>
                <c:pt idx="175">
                  <c:v>0.93836861006832217</c:v>
                </c:pt>
                <c:pt idx="176">
                  <c:v>0.93928515042529015</c:v>
                </c:pt>
                <c:pt idx="177">
                  <c:v>0.94016500364155764</c:v>
                </c:pt>
                <c:pt idx="178">
                  <c:v>0.94104343872327922</c:v>
                </c:pt>
                <c:pt idx="179">
                  <c:v>0.94191496748976267</c:v>
                </c:pt>
                <c:pt idx="180">
                  <c:v>0.94278495048959121</c:v>
                </c:pt>
                <c:pt idx="181">
                  <c:v>0.94365277792491009</c:v>
                </c:pt>
                <c:pt idx="182">
                  <c:v>0.94451989629295607</c:v>
                </c:pt>
                <c:pt idx="183">
                  <c:v>0.94538198028336429</c:v>
                </c:pt>
                <c:pt idx="184">
                  <c:v>0.94624325593708136</c:v>
                </c:pt>
                <c:pt idx="185">
                  <c:v>0.94710145423883407</c:v>
                </c:pt>
                <c:pt idx="186">
                  <c:v>0.94794331563061884</c:v>
                </c:pt>
                <c:pt idx="187">
                  <c:v>0.94878239747869375</c:v>
                </c:pt>
                <c:pt idx="188">
                  <c:v>0.94961594860203991</c:v>
                </c:pt>
                <c:pt idx="189">
                  <c:v>0.95043884953494695</c:v>
                </c:pt>
                <c:pt idx="190">
                  <c:v>0.95121052744805867</c:v>
                </c:pt>
                <c:pt idx="191">
                  <c:v>0.95198108503487922</c:v>
                </c:pt>
                <c:pt idx="192">
                  <c:v>0.95273098040136706</c:v>
                </c:pt>
                <c:pt idx="193">
                  <c:v>0.95347958526541821</c:v>
                </c:pt>
                <c:pt idx="194">
                  <c:v>0.95421139941644684</c:v>
                </c:pt>
                <c:pt idx="195">
                  <c:v>0.95494056165587471</c:v>
                </c:pt>
                <c:pt idx="196">
                  <c:v>0.95565242265384354</c:v>
                </c:pt>
                <c:pt idx="197">
                  <c:v>0.95636097939832054</c:v>
                </c:pt>
                <c:pt idx="198">
                  <c:v>0.95706875616879739</c:v>
                </c:pt>
                <c:pt idx="199">
                  <c:v>0.95777444828149183</c:v>
                </c:pt>
                <c:pt idx="200">
                  <c:v>0.95847002909487455</c:v>
                </c:pt>
                <c:pt idx="201">
                  <c:v>0.95913802719134089</c:v>
                </c:pt>
                <c:pt idx="202">
                  <c:v>0.95977969052929124</c:v>
                </c:pt>
                <c:pt idx="203">
                  <c:v>0.96040247849643667</c:v>
                </c:pt>
                <c:pt idx="204">
                  <c:v>0.96101919684772596</c:v>
                </c:pt>
                <c:pt idx="205">
                  <c:v>0.96163387308526926</c:v>
                </c:pt>
                <c:pt idx="206">
                  <c:v>0.96223699152626407</c:v>
                </c:pt>
                <c:pt idx="207">
                  <c:v>0.962822879632527</c:v>
                </c:pt>
                <c:pt idx="208">
                  <c:v>0.96340116653762431</c:v>
                </c:pt>
                <c:pt idx="209">
                  <c:v>0.96397851747392138</c:v>
                </c:pt>
                <c:pt idx="210">
                  <c:v>0.9645553011564002</c:v>
                </c:pt>
                <c:pt idx="211">
                  <c:v>0.96513021290127843</c:v>
                </c:pt>
                <c:pt idx="212">
                  <c:v>0.9656914538291349</c:v>
                </c:pt>
                <c:pt idx="213">
                  <c:v>0.96624767456069915</c:v>
                </c:pt>
                <c:pt idx="214">
                  <c:v>0.96679101863058736</c:v>
                </c:pt>
                <c:pt idx="215">
                  <c:v>0.96733410743625725</c:v>
                </c:pt>
                <c:pt idx="216">
                  <c:v>0.96786902778694317</c:v>
                </c:pt>
                <c:pt idx="217">
                  <c:v>0.9684010693245011</c:v>
                </c:pt>
                <c:pt idx="218">
                  <c:v>0.96893223161864062</c:v>
                </c:pt>
                <c:pt idx="219">
                  <c:v>0.96945916787183362</c:v>
                </c:pt>
                <c:pt idx="220">
                  <c:v>0.96998379256571687</c:v>
                </c:pt>
                <c:pt idx="221">
                  <c:v>0.97049952555599783</c:v>
                </c:pt>
                <c:pt idx="222">
                  <c:v>0.97100345966685742</c:v>
                </c:pt>
                <c:pt idx="223">
                  <c:v>0.97150035983036975</c:v>
                </c:pt>
                <c:pt idx="224">
                  <c:v>0.97199701891100931</c:v>
                </c:pt>
                <c:pt idx="225">
                  <c:v>0.97249026028739338</c:v>
                </c:pt>
                <c:pt idx="226">
                  <c:v>0.9729608115110443</c:v>
                </c:pt>
                <c:pt idx="227">
                  <c:v>0.97342990205611302</c:v>
                </c:pt>
                <c:pt idx="228">
                  <c:v>0.97389712066358114</c:v>
                </c:pt>
                <c:pt idx="229">
                  <c:v>0.97435832638057496</c:v>
                </c:pt>
                <c:pt idx="230">
                  <c:v>0.97480628672091085</c:v>
                </c:pt>
                <c:pt idx="231">
                  <c:v>0.97525394925299203</c:v>
                </c:pt>
                <c:pt idx="232">
                  <c:v>0.9757010303499094</c:v>
                </c:pt>
                <c:pt idx="233">
                  <c:v>0.97614344578417112</c:v>
                </c:pt>
                <c:pt idx="234">
                  <c:v>0.97658237260745007</c:v>
                </c:pt>
                <c:pt idx="235">
                  <c:v>0.97700978417821682</c:v>
                </c:pt>
                <c:pt idx="236">
                  <c:v>0.97743696884745634</c:v>
                </c:pt>
                <c:pt idx="237">
                  <c:v>0.97785090814003783</c:v>
                </c:pt>
                <c:pt idx="238">
                  <c:v>0.97826307476443697</c:v>
                </c:pt>
                <c:pt idx="239">
                  <c:v>0.97865596894035833</c:v>
                </c:pt>
                <c:pt idx="240">
                  <c:v>0.97903393015951212</c:v>
                </c:pt>
                <c:pt idx="241">
                  <c:v>0.979407126446592</c:v>
                </c:pt>
                <c:pt idx="242">
                  <c:v>0.97977571379639794</c:v>
                </c:pt>
                <c:pt idx="243">
                  <c:v>0.9801440600633311</c:v>
                </c:pt>
                <c:pt idx="244">
                  <c:v>0.98051122927859113</c:v>
                </c:pt>
                <c:pt idx="245">
                  <c:v>0.98086396188417468</c:v>
                </c:pt>
                <c:pt idx="246">
                  <c:v>0.98121500690964869</c:v>
                </c:pt>
                <c:pt idx="247">
                  <c:v>0.98156019503944847</c:v>
                </c:pt>
                <c:pt idx="248">
                  <c:v>0.98190351123164776</c:v>
                </c:pt>
                <c:pt idx="249">
                  <c:v>0.98224420387493727</c:v>
                </c:pt>
                <c:pt idx="250">
                  <c:v>0.98255544186370991</c:v>
                </c:pt>
                <c:pt idx="251">
                  <c:v>0.98285948991033523</c:v>
                </c:pt>
                <c:pt idx="252">
                  <c:v>0.98316104204015986</c:v>
                </c:pt>
                <c:pt idx="253">
                  <c:v>0.98346111931005686</c:v>
                </c:pt>
                <c:pt idx="254">
                  <c:v>0.98375914028486244</c:v>
                </c:pt>
                <c:pt idx="255">
                  <c:v>0.98404265374326416</c:v>
                </c:pt>
                <c:pt idx="256">
                  <c:v>0.9843258835747567</c:v>
                </c:pt>
                <c:pt idx="257">
                  <c:v>0.9846015405677746</c:v>
                </c:pt>
                <c:pt idx="258">
                  <c:v>0.98487203555104563</c:v>
                </c:pt>
                <c:pt idx="259">
                  <c:v>0.98513948154504316</c:v>
                </c:pt>
                <c:pt idx="260">
                  <c:v>0.9854048854252947</c:v>
                </c:pt>
                <c:pt idx="261">
                  <c:v>0.98566643197958159</c:v>
                </c:pt>
                <c:pt idx="262">
                  <c:v>0.98592797853386849</c:v>
                </c:pt>
                <c:pt idx="263">
                  <c:v>0.98618914219182796</c:v>
                </c:pt>
                <c:pt idx="264">
                  <c:v>0.98644873172044156</c:v>
                </c:pt>
                <c:pt idx="265">
                  <c:v>0.98670307415123559</c:v>
                </c:pt>
                <c:pt idx="266">
                  <c:v>0.98694870923591826</c:v>
                </c:pt>
                <c:pt idx="267">
                  <c:v>0.98719037354387262</c:v>
                </c:pt>
                <c:pt idx="268">
                  <c:v>0.98742881868640797</c:v>
                </c:pt>
                <c:pt idx="269">
                  <c:v>0.98766500899501541</c:v>
                </c:pt>
                <c:pt idx="270">
                  <c:v>0.98790098658344105</c:v>
                </c:pt>
                <c:pt idx="271">
                  <c:v>0.9881364678247756</c:v>
                </c:pt>
                <c:pt idx="272">
                  <c:v>0.9883717647086192</c:v>
                </c:pt>
                <c:pt idx="273">
                  <c:v>0.98860059489893382</c:v>
                </c:pt>
                <c:pt idx="274">
                  <c:v>0.98882393690855608</c:v>
                </c:pt>
                <c:pt idx="275">
                  <c:v>0.98902759521068229</c:v>
                </c:pt>
                <c:pt idx="276">
                  <c:v>0.98923017573055372</c:v>
                </c:pt>
                <c:pt idx="277">
                  <c:v>0.98942680008533268</c:v>
                </c:pt>
                <c:pt idx="278">
                  <c:v>0.98962192121749304</c:v>
                </c:pt>
                <c:pt idx="279">
                  <c:v>0.98981436207536178</c:v>
                </c:pt>
                <c:pt idx="280">
                  <c:v>0.98999507496053651</c:v>
                </c:pt>
                <c:pt idx="281">
                  <c:v>0.99017534822400199</c:v>
                </c:pt>
                <c:pt idx="282">
                  <c:v>0.99034729703768354</c:v>
                </c:pt>
                <c:pt idx="283">
                  <c:v>0.99051667902783713</c:v>
                </c:pt>
                <c:pt idx="284">
                  <c:v>0.99068603265529975</c:v>
                </c:pt>
                <c:pt idx="285">
                  <c:v>0.9908470051075966</c:v>
                </c:pt>
                <c:pt idx="286">
                  <c:v>0.99100697068436594</c:v>
                </c:pt>
                <c:pt idx="287">
                  <c:v>0.9911637312770617</c:v>
                </c:pt>
                <c:pt idx="288">
                  <c:v>0.99131730106702931</c:v>
                </c:pt>
                <c:pt idx="289">
                  <c:v>0.9914653543136136</c:v>
                </c:pt>
                <c:pt idx="290">
                  <c:v>0.99161306720790698</c:v>
                </c:pt>
                <c:pt idx="291">
                  <c:v>0.99175897907132715</c:v>
                </c:pt>
                <c:pt idx="292">
                  <c:v>0.99189860859870926</c:v>
                </c:pt>
                <c:pt idx="293">
                  <c:v>0.9920366639967455</c:v>
                </c:pt>
                <c:pt idx="294">
                  <c:v>0.99217439322383627</c:v>
                </c:pt>
                <c:pt idx="295">
                  <c:v>0.99231016542525374</c:v>
                </c:pt>
                <c:pt idx="296">
                  <c:v>0.99244033599521519</c:v>
                </c:pt>
                <c:pt idx="297">
                  <c:v>0.99256971240983094</c:v>
                </c:pt>
                <c:pt idx="298">
                  <c:v>0.9926971317987735</c:v>
                </c:pt>
                <c:pt idx="299">
                  <c:v>0.99282211199629722</c:v>
                </c:pt>
                <c:pt idx="300">
                  <c:v>0.99294629803847534</c:v>
                </c:pt>
                <c:pt idx="301">
                  <c:v>0.99306580423665214</c:v>
                </c:pt>
                <c:pt idx="302">
                  <c:v>0.99318336759050119</c:v>
                </c:pt>
                <c:pt idx="303">
                  <c:v>0.9932995411724953</c:v>
                </c:pt>
                <c:pt idx="304">
                  <c:v>0.99341177234045208</c:v>
                </c:pt>
                <c:pt idx="305">
                  <c:v>0.99352233010964475</c:v>
                </c:pt>
                <c:pt idx="306">
                  <c:v>0.99363006579109125</c:v>
                </c:pt>
                <c:pt idx="307">
                  <c:v>0.99373651097010107</c:v>
                </c:pt>
                <c:pt idx="308">
                  <c:v>0.99384209108703792</c:v>
                </c:pt>
                <c:pt idx="309">
                  <c:v>0.99394676359786538</c:v>
                </c:pt>
                <c:pt idx="310">
                  <c:v>0.99404945072032869</c:v>
                </c:pt>
                <c:pt idx="311">
                  <c:v>0.99415176912781011</c:v>
                </c:pt>
                <c:pt idx="312">
                  <c:v>0.99425320829187314</c:v>
                </c:pt>
                <c:pt idx="313">
                  <c:v>0.9943511588449534</c:v>
                </c:pt>
                <c:pt idx="314">
                  <c:v>0.99444797489039705</c:v>
                </c:pt>
                <c:pt idx="315">
                  <c:v>0.99454466330373148</c:v>
                </c:pt>
                <c:pt idx="316">
                  <c:v>0.99464035902288384</c:v>
                </c:pt>
                <c:pt idx="317">
                  <c:v>0.99473371482003559</c:v>
                </c:pt>
                <c:pt idx="318">
                  <c:v>0.99482509941016872</c:v>
                </c:pt>
                <c:pt idx="319">
                  <c:v>0.9949153353113197</c:v>
                </c:pt>
                <c:pt idx="320">
                  <c:v>0.99500423816599759</c:v>
                </c:pt>
                <c:pt idx="321">
                  <c:v>0.99508936878278353</c:v>
                </c:pt>
                <c:pt idx="322">
                  <c:v>0.99517347834269654</c:v>
                </c:pt>
                <c:pt idx="323">
                  <c:v>0.99525659520842746</c:v>
                </c:pt>
                <c:pt idx="324">
                  <c:v>0.99533877610535815</c:v>
                </c:pt>
                <c:pt idx="325">
                  <c:v>0.99542064501268879</c:v>
                </c:pt>
                <c:pt idx="326">
                  <c:v>0.99550081215856434</c:v>
                </c:pt>
                <c:pt idx="327">
                  <c:v>0.99557819976073014</c:v>
                </c:pt>
                <c:pt idx="328">
                  <c:v>0.99565419759104101</c:v>
                </c:pt>
                <c:pt idx="329">
                  <c:v>0.99572950053542442</c:v>
                </c:pt>
                <c:pt idx="330">
                  <c:v>0.99580331443853476</c:v>
                </c:pt>
                <c:pt idx="331">
                  <c:v>0.99587673126397225</c:v>
                </c:pt>
                <c:pt idx="332">
                  <c:v>0.9959478790741364</c:v>
                </c:pt>
                <c:pt idx="333">
                  <c:v>0.996018544718555</c:v>
                </c:pt>
                <c:pt idx="334">
                  <c:v>0.99608896928010082</c:v>
                </c:pt>
                <c:pt idx="335">
                  <c:v>0.9961586280489918</c:v>
                </c:pt>
                <c:pt idx="336">
                  <c:v>0.9962277904707918</c:v>
                </c:pt>
                <c:pt idx="337">
                  <c:v>0.99629510931768217</c:v>
                </c:pt>
                <c:pt idx="338">
                  <c:v>0.99636197436151797</c:v>
                </c:pt>
                <c:pt idx="339">
                  <c:v>0.9964283146955718</c:v>
                </c:pt>
                <c:pt idx="340">
                  <c:v>0.99649079770366089</c:v>
                </c:pt>
                <c:pt idx="341">
                  <c:v>0.99654979210076733</c:v>
                </c:pt>
                <c:pt idx="342">
                  <c:v>0.99660878649787377</c:v>
                </c:pt>
                <c:pt idx="343">
                  <c:v>0.99666742636134376</c:v>
                </c:pt>
                <c:pt idx="344">
                  <c:v>0.99672588186732269</c:v>
                </c:pt>
                <c:pt idx="345">
                  <c:v>0.99678294760144681</c:v>
                </c:pt>
                <c:pt idx="346">
                  <c:v>0.99689507949998535</c:v>
                </c:pt>
                <c:pt idx="347">
                  <c:v>0.99694872752985397</c:v>
                </c:pt>
                <c:pt idx="348">
                  <c:v>0.99700230465299533</c:v>
                </c:pt>
                <c:pt idx="349">
                  <c:v>0.99705572578133661</c:v>
                </c:pt>
                <c:pt idx="350">
                  <c:v>0.99710754441764116</c:v>
                </c:pt>
                <c:pt idx="351">
                  <c:v>0.99715924960318203</c:v>
                </c:pt>
                <c:pt idx="352">
                  <c:v>0.99721060025508645</c:v>
                </c:pt>
                <c:pt idx="353">
                  <c:v>0.99726053277244497</c:v>
                </c:pt>
                <c:pt idx="354">
                  <c:v>0.99731033765769439</c:v>
                </c:pt>
                <c:pt idx="355">
                  <c:v>0.99735990146007103</c:v>
                </c:pt>
                <c:pt idx="356">
                  <c:v>0.99740791949579277</c:v>
                </c:pt>
                <c:pt idx="357">
                  <c:v>0.9974557248113326</c:v>
                </c:pt>
                <c:pt idx="358">
                  <c:v>0.99750269342749043</c:v>
                </c:pt>
                <c:pt idx="359">
                  <c:v>0.9975492649659754</c:v>
                </c:pt>
                <c:pt idx="360">
                  <c:v>0.99759502816776924</c:v>
                </c:pt>
                <c:pt idx="361">
                  <c:v>0.99764028084112655</c:v>
                </c:pt>
                <c:pt idx="362">
                  <c:v>0.99768312268575599</c:v>
                </c:pt>
                <c:pt idx="363">
                  <c:v>0.99772525546311253</c:v>
                </c:pt>
                <c:pt idx="364">
                  <c:v>0.99776734569643266</c:v>
                </c:pt>
                <c:pt idx="365">
                  <c:v>0.99780901048938908</c:v>
                </c:pt>
                <c:pt idx="366">
                  <c:v>0.99785030656736351</c:v>
                </c:pt>
                <c:pt idx="367">
                  <c:v>0.99789123393035606</c:v>
                </c:pt>
                <c:pt idx="368">
                  <c:v>0.99793155149549395</c:v>
                </c:pt>
                <c:pt idx="369">
                  <c:v>0.99797144362026802</c:v>
                </c:pt>
                <c:pt idx="370">
                  <c:v>0.99801112302486028</c:v>
                </c:pt>
                <c:pt idx="371">
                  <c:v>0.99804997991141597</c:v>
                </c:pt>
                <c:pt idx="372">
                  <c:v>0.99808866662182616</c:v>
                </c:pt>
                <c:pt idx="373">
                  <c:v>0.99812719733743627</c:v>
                </c:pt>
                <c:pt idx="374">
                  <c:v>0.99816568550900997</c:v>
                </c:pt>
                <c:pt idx="375">
                  <c:v>0.99820191884665588</c:v>
                </c:pt>
                <c:pt idx="376">
                  <c:v>0.99823734384761065</c:v>
                </c:pt>
                <c:pt idx="377">
                  <c:v>0.99827231504551073</c:v>
                </c:pt>
                <c:pt idx="378">
                  <c:v>0.99830619427981049</c:v>
                </c:pt>
                <c:pt idx="379">
                  <c:v>0.99833952044163743</c:v>
                </c:pt>
                <c:pt idx="380">
                  <c:v>0.99837128665546393</c:v>
                </c:pt>
                <c:pt idx="381">
                  <c:v>0.99840215944452659</c:v>
                </c:pt>
                <c:pt idx="382">
                  <c:v>0.99843276278802551</c:v>
                </c:pt>
                <c:pt idx="383">
                  <c:v>0.9984619338156332</c:v>
                </c:pt>
                <c:pt idx="384">
                  <c:v>0.99849079285364073</c:v>
                </c:pt>
                <c:pt idx="385">
                  <c:v>0.99851952425953916</c:v>
                </c:pt>
                <c:pt idx="386">
                  <c:v>0.99857650490559047</c:v>
                </c:pt>
                <c:pt idx="387">
                  <c:v>0.99860475414574335</c:v>
                </c:pt>
                <c:pt idx="388">
                  <c:v>0.99863294666051439</c:v>
                </c:pt>
                <c:pt idx="389">
                  <c:v>0.99868892043103819</c:v>
                </c:pt>
                <c:pt idx="390">
                  <c:v>0.99871495738129956</c:v>
                </c:pt>
                <c:pt idx="391">
                  <c:v>0.99874083833676086</c:v>
                </c:pt>
                <c:pt idx="392">
                  <c:v>0.99876636475858571</c:v>
                </c:pt>
                <c:pt idx="393">
                  <c:v>0.99881521949368945</c:v>
                </c:pt>
                <c:pt idx="394">
                  <c:v>0.9988391150607866</c:v>
                </c:pt>
                <c:pt idx="395">
                  <c:v>0.99886299644653831</c:v>
                </c:pt>
                <c:pt idx="396">
                  <c:v>0.99888675020018092</c:v>
                </c:pt>
                <c:pt idx="397">
                  <c:v>0.99890959634771415</c:v>
                </c:pt>
                <c:pt idx="398">
                  <c:v>0.99893205959892006</c:v>
                </c:pt>
                <c:pt idx="399">
                  <c:v>0.99895406904707129</c:v>
                </c:pt>
                <c:pt idx="400">
                  <c:v>0.99897589413773158</c:v>
                </c:pt>
                <c:pt idx="401">
                  <c:v>0.99899727960668261</c:v>
                </c:pt>
                <c:pt idx="402">
                  <c:v>0.99901762983741527</c:v>
                </c:pt>
                <c:pt idx="403">
                  <c:v>0.99903789498007511</c:v>
                </c:pt>
                <c:pt idx="404">
                  <c:v>0.99905777722640765</c:v>
                </c:pt>
                <c:pt idx="405">
                  <c:v>0.99907760274735835</c:v>
                </c:pt>
                <c:pt idx="406">
                  <c:v>0.99911697016235057</c:v>
                </c:pt>
                <c:pt idx="407">
                  <c:v>0.99913651205639209</c:v>
                </c:pt>
                <c:pt idx="408">
                  <c:v>0.99915592631832451</c:v>
                </c:pt>
                <c:pt idx="409">
                  <c:v>0.99917494350258407</c:v>
                </c:pt>
                <c:pt idx="410">
                  <c:v>0.9991939465054982</c:v>
                </c:pt>
                <c:pt idx="411">
                  <c:v>0.99921272260688498</c:v>
                </c:pt>
                <c:pt idx="412">
                  <c:v>0.99923148452692623</c:v>
                </c:pt>
                <c:pt idx="413">
                  <c:v>0.99925024644696747</c:v>
                </c:pt>
                <c:pt idx="414">
                  <c:v>0.99926875310279051</c:v>
                </c:pt>
                <c:pt idx="415">
                  <c:v>0.99930451845603618</c:v>
                </c:pt>
                <c:pt idx="416">
                  <c:v>0.99932198987364074</c:v>
                </c:pt>
                <c:pt idx="417">
                  <c:v>0.99933905003222701</c:v>
                </c:pt>
                <c:pt idx="418">
                  <c:v>0.99935596837735874</c:v>
                </c:pt>
                <c:pt idx="419">
                  <c:v>0.99937271654634496</c:v>
                </c:pt>
                <c:pt idx="420">
                  <c:v>0.99938920945111298</c:v>
                </c:pt>
                <c:pt idx="421">
                  <c:v>0.99940546127300811</c:v>
                </c:pt>
                <c:pt idx="422">
                  <c:v>0.99942168473221238</c:v>
                </c:pt>
                <c:pt idx="423">
                  <c:v>0.99943782310334384</c:v>
                </c:pt>
                <c:pt idx="424">
                  <c:v>0.9994537912983299</c:v>
                </c:pt>
                <c:pt idx="425">
                  <c:v>0.99946950422909764</c:v>
                </c:pt>
                <c:pt idx="426">
                  <c:v>0.99948487680757436</c:v>
                </c:pt>
                <c:pt idx="427">
                  <c:v>0.99950002248452374</c:v>
                </c:pt>
                <c:pt idx="428">
                  <c:v>0.99951468599572757</c:v>
                </c:pt>
                <c:pt idx="429">
                  <c:v>0.99952912260540405</c:v>
                </c:pt>
                <c:pt idx="430">
                  <c:v>0.99954228289398928</c:v>
                </c:pt>
                <c:pt idx="431">
                  <c:v>0.99956620682377739</c:v>
                </c:pt>
                <c:pt idx="432">
                  <c:v>0.99957777880167131</c:v>
                </c:pt>
                <c:pt idx="433">
                  <c:v>0.9995893365982198</c:v>
                </c:pt>
                <c:pt idx="434">
                  <c:v>0.99960072421862278</c:v>
                </c:pt>
                <c:pt idx="435">
                  <c:v>0.99961179984942572</c:v>
                </c:pt>
                <c:pt idx="436">
                  <c:v>0.99962286129888323</c:v>
                </c:pt>
                <c:pt idx="437">
                  <c:v>0.99964375042074327</c:v>
                </c:pt>
                <c:pt idx="438">
                  <c:v>0.99965404607754593</c:v>
                </c:pt>
                <c:pt idx="439">
                  <c:v>0.99966419992089406</c:v>
                </c:pt>
                <c:pt idx="440">
                  <c:v>0.99967432540155121</c:v>
                </c:pt>
                <c:pt idx="441">
                  <c:v>0.99968416725529929</c:v>
                </c:pt>
                <c:pt idx="442">
                  <c:v>0.99969390983962914</c:v>
                </c:pt>
                <c:pt idx="443">
                  <c:v>0.999703624061268</c:v>
                </c:pt>
                <c:pt idx="444">
                  <c:v>0.99971332410156144</c:v>
                </c:pt>
                <c:pt idx="445">
                  <c:v>0.99972281142167307</c:v>
                </c:pt>
                <c:pt idx="446">
                  <c:v>0.99973207184025736</c:v>
                </c:pt>
                <c:pt idx="447">
                  <c:v>0.99974117626404158</c:v>
                </c:pt>
                <c:pt idx="448">
                  <c:v>0.99974994033553477</c:v>
                </c:pt>
                <c:pt idx="449">
                  <c:v>0.99975843496146433</c:v>
                </c:pt>
                <c:pt idx="450">
                  <c:v>0.99976683031797564</c:v>
                </c:pt>
                <c:pt idx="451">
                  <c:v>0.9997747860527777</c:v>
                </c:pt>
                <c:pt idx="452">
                  <c:v>0.99978906666765421</c:v>
                </c:pt>
                <c:pt idx="453">
                  <c:v>0.99979610061500157</c:v>
                </c:pt>
                <c:pt idx="454">
                  <c:v>0.99980307783696709</c:v>
                </c:pt>
                <c:pt idx="455">
                  <c:v>0.99980999833355078</c:v>
                </c:pt>
                <c:pt idx="456">
                  <c:v>0.99981659265918887</c:v>
                </c:pt>
                <c:pt idx="457">
                  <c:v>0.99982301680868146</c:v>
                </c:pt>
                <c:pt idx="458">
                  <c:v>0.99982935587010136</c:v>
                </c:pt>
                <c:pt idx="459">
                  <c:v>0.9998356807501757</c:v>
                </c:pt>
                <c:pt idx="460">
                  <c:v>0.99984155182719547</c:v>
                </c:pt>
                <c:pt idx="461">
                  <c:v>0.9998526700020347</c:v>
                </c:pt>
                <c:pt idx="462">
                  <c:v>0.99985795964389068</c:v>
                </c:pt>
                <c:pt idx="463">
                  <c:v>0.99986320674171025</c:v>
                </c:pt>
                <c:pt idx="464">
                  <c:v>0.99986828366338432</c:v>
                </c:pt>
                <c:pt idx="465">
                  <c:v>0.99987327549698568</c:v>
                </c:pt>
                <c:pt idx="466">
                  <c:v>0.99987815387982337</c:v>
                </c:pt>
                <c:pt idx="467">
                  <c:v>0.99988294717458825</c:v>
                </c:pt>
                <c:pt idx="468">
                  <c:v>0.99989205159837247</c:v>
                </c:pt>
                <c:pt idx="469">
                  <c:v>0.99989632018335539</c:v>
                </c:pt>
                <c:pt idx="470">
                  <c:v>0.99990051786161105</c:v>
                </c:pt>
                <c:pt idx="471">
                  <c:v>0.99990471553986671</c:v>
                </c:pt>
                <c:pt idx="472">
                  <c:v>0.99990891321812236</c:v>
                </c:pt>
                <c:pt idx="473">
                  <c:v>0.99992086809234371</c:v>
                </c:pt>
                <c:pt idx="474">
                  <c:v>0.99992462614889011</c:v>
                </c:pt>
                <c:pt idx="475">
                  <c:v>0.99992835584274564</c:v>
                </c:pt>
                <c:pt idx="476">
                  <c:v>0.99994124668576712</c:v>
                </c:pt>
                <c:pt idx="477">
                  <c:v>0.99994401204813144</c:v>
                </c:pt>
                <c:pt idx="478">
                  <c:v>0.99994663559704122</c:v>
                </c:pt>
                <c:pt idx="479">
                  <c:v>0.99994907478846007</c:v>
                </c:pt>
                <c:pt idx="480">
                  <c:v>0.99995830684435338</c:v>
                </c:pt>
                <c:pt idx="481">
                  <c:v>0.99996034895809938</c:v>
                </c:pt>
                <c:pt idx="482">
                  <c:v>0.99996403610791851</c:v>
                </c:pt>
                <c:pt idx="483">
                  <c:v>0.99997291363017538</c:v>
                </c:pt>
                <c:pt idx="484">
                  <c:v>0.99997918178486789</c:v>
                </c:pt>
                <c:pt idx="485">
                  <c:v>0.99998625827625154</c:v>
                </c:pt>
                <c:pt idx="486">
                  <c:v>0.99998757714137909</c:v>
                </c:pt>
                <c:pt idx="487">
                  <c:v>0.99998820112057929</c:v>
                </c:pt>
                <c:pt idx="488">
                  <c:v>0.99999215771596195</c:v>
                </c:pt>
                <c:pt idx="489">
                  <c:v>0.99999456854468982</c:v>
                </c:pt>
                <c:pt idx="490">
                  <c:v>0.99999502234774451</c:v>
                </c:pt>
                <c:pt idx="491">
                  <c:v>0.99999662483978136</c:v>
                </c:pt>
                <c:pt idx="492">
                  <c:v>0.99999734808839968</c:v>
                </c:pt>
                <c:pt idx="493">
                  <c:v>0.9999996454663638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01</c:f>
              <c:strCache>
                <c:ptCount val="100"/>
                <c:pt idx="0">
                  <c:v>Apericube</c:v>
                </c:pt>
                <c:pt idx="1">
                  <c:v>Apericube</c:v>
                </c:pt>
                <c:pt idx="2">
                  <c:v>Apericube</c:v>
                </c:pt>
                <c:pt idx="3">
                  <c:v>Boursin</c:v>
                </c:pt>
                <c:pt idx="4">
                  <c:v>Aperivrais</c:v>
                </c:pt>
                <c:pt idx="5">
                  <c:v>Aperivrais</c:v>
                </c:pt>
                <c:pt idx="6">
                  <c:v>Apericube</c:v>
                </c:pt>
                <c:pt idx="7">
                  <c:v>Apericube</c:v>
                </c:pt>
                <c:pt idx="8">
                  <c:v>Apericube</c:v>
                </c:pt>
                <c:pt idx="9">
                  <c:v>Apericube</c:v>
                </c:pt>
                <c:pt idx="10">
                  <c:v>Boursin</c:v>
                </c:pt>
                <c:pt idx="11">
                  <c:v>Apericube</c:v>
                </c:pt>
                <c:pt idx="12">
                  <c:v>Apericube</c:v>
                </c:pt>
                <c:pt idx="13">
                  <c:v>Apericube</c:v>
                </c:pt>
                <c:pt idx="14">
                  <c:v>Private Lab</c:v>
                </c:pt>
                <c:pt idx="15">
                  <c:v>Aperivrais</c:v>
                </c:pt>
                <c:pt idx="16">
                  <c:v>Apericube</c:v>
                </c:pt>
                <c:pt idx="17">
                  <c:v>St Moret</c:v>
                </c:pt>
                <c:pt idx="18">
                  <c:v>Apericube</c:v>
                </c:pt>
                <c:pt idx="19">
                  <c:v>Apericube</c:v>
                </c:pt>
                <c:pt idx="20">
                  <c:v>Aperivrais</c:v>
                </c:pt>
                <c:pt idx="21">
                  <c:v>St Moret</c:v>
                </c:pt>
                <c:pt idx="22">
                  <c:v>Apericube</c:v>
                </c:pt>
                <c:pt idx="23">
                  <c:v>Apericube</c:v>
                </c:pt>
                <c:pt idx="24">
                  <c:v>All Others</c:v>
                </c:pt>
                <c:pt idx="25">
                  <c:v>Apericube</c:v>
                </c:pt>
                <c:pt idx="26">
                  <c:v>Leerdammer</c:v>
                </c:pt>
                <c:pt idx="27">
                  <c:v>Apericube</c:v>
                </c:pt>
                <c:pt idx="28">
                  <c:v>Apericube</c:v>
                </c:pt>
                <c:pt idx="29">
                  <c:v>Apericube</c:v>
                </c:pt>
                <c:pt idx="30">
                  <c:v>All Others</c:v>
                </c:pt>
                <c:pt idx="31">
                  <c:v>Entremont</c:v>
                </c:pt>
                <c:pt idx="32">
                  <c:v>O'Tapas Ape</c:v>
                </c:pt>
                <c:pt idx="33">
                  <c:v>Richesmonts</c:v>
                </c:pt>
                <c:pt idx="34">
                  <c:v>Aperivrais</c:v>
                </c:pt>
                <c:pt idx="35">
                  <c:v>O'Tapas Ape</c:v>
                </c:pt>
                <c:pt idx="36">
                  <c:v>Apericube</c:v>
                </c:pt>
                <c:pt idx="37">
                  <c:v>Entremont</c:v>
                </c:pt>
                <c:pt idx="38">
                  <c:v>Aperivrais</c:v>
                </c:pt>
                <c:pt idx="39">
                  <c:v>O'Tapas Ape</c:v>
                </c:pt>
                <c:pt idx="40">
                  <c:v>Private Lab</c:v>
                </c:pt>
                <c:pt idx="41">
                  <c:v>St Moret</c:v>
                </c:pt>
                <c:pt idx="42">
                  <c:v>Aperivrais</c:v>
                </c:pt>
                <c:pt idx="43">
                  <c:v>Apericube</c:v>
                </c:pt>
                <c:pt idx="44">
                  <c:v>Apericube</c:v>
                </c:pt>
                <c:pt idx="45">
                  <c:v>Apericube</c:v>
                </c:pt>
                <c:pt idx="46">
                  <c:v>All Others</c:v>
                </c:pt>
                <c:pt idx="47">
                  <c:v>Aperivrais</c:v>
                </c:pt>
                <c:pt idx="48">
                  <c:v>Apericube</c:v>
                </c:pt>
                <c:pt idx="49">
                  <c:v>O'Tapas Ape</c:v>
                </c:pt>
                <c:pt idx="50">
                  <c:v>Boursin</c:v>
                </c:pt>
                <c:pt idx="51">
                  <c:v>All Others</c:v>
                </c:pt>
                <c:pt idx="52">
                  <c:v>Boursin</c:v>
                </c:pt>
                <c:pt idx="53">
                  <c:v>Apericube</c:v>
                </c:pt>
                <c:pt idx="54">
                  <c:v>Richesmonts</c:v>
                </c:pt>
                <c:pt idx="55">
                  <c:v>All Others</c:v>
                </c:pt>
                <c:pt idx="56">
                  <c:v>All Others</c:v>
                </c:pt>
                <c:pt idx="57">
                  <c:v>All Others</c:v>
                </c:pt>
                <c:pt idx="58">
                  <c:v>O'Tapas Ape</c:v>
                </c:pt>
                <c:pt idx="59">
                  <c:v>O'Tapas Ape</c:v>
                </c:pt>
                <c:pt idx="60">
                  <c:v>All Others</c:v>
                </c:pt>
                <c:pt idx="61">
                  <c:v>All Others</c:v>
                </c:pt>
                <c:pt idx="62">
                  <c:v>All Others</c:v>
                </c:pt>
                <c:pt idx="63">
                  <c:v>All Others</c:v>
                </c:pt>
                <c:pt idx="64">
                  <c:v>All Others</c:v>
                </c:pt>
                <c:pt idx="65">
                  <c:v>All Others</c:v>
                </c:pt>
                <c:pt idx="66">
                  <c:v>Private Lab</c:v>
                </c:pt>
                <c:pt idx="67">
                  <c:v>St Moret</c:v>
                </c:pt>
                <c:pt idx="68">
                  <c:v>All Others</c:v>
                </c:pt>
                <c:pt idx="69">
                  <c:v>All Others</c:v>
                </c:pt>
                <c:pt idx="70">
                  <c:v>All Others</c:v>
                </c:pt>
                <c:pt idx="71">
                  <c:v>All Others</c:v>
                </c:pt>
                <c:pt idx="72">
                  <c:v>All Others</c:v>
                </c:pt>
                <c:pt idx="73">
                  <c:v>All Others</c:v>
                </c:pt>
                <c:pt idx="74">
                  <c:v>All Others</c:v>
                </c:pt>
                <c:pt idx="75">
                  <c:v>All Others</c:v>
                </c:pt>
                <c:pt idx="76">
                  <c:v>Soignon</c:v>
                </c:pt>
                <c:pt idx="77">
                  <c:v>All Others</c:v>
                </c:pt>
                <c:pt idx="78">
                  <c:v>All Others</c:v>
                </c:pt>
                <c:pt idx="79">
                  <c:v>All Others</c:v>
                </c:pt>
                <c:pt idx="80">
                  <c:v>All Others</c:v>
                </c:pt>
                <c:pt idx="81">
                  <c:v>All Others</c:v>
                </c:pt>
                <c:pt idx="82">
                  <c:v>All Others</c:v>
                </c:pt>
                <c:pt idx="83">
                  <c:v>All Others</c:v>
                </c:pt>
                <c:pt idx="84">
                  <c:v>All Others</c:v>
                </c:pt>
                <c:pt idx="85">
                  <c:v>All Others</c:v>
                </c:pt>
                <c:pt idx="86">
                  <c:v>Leerdammer</c:v>
                </c:pt>
                <c:pt idx="87">
                  <c:v>All Others</c:v>
                </c:pt>
                <c:pt idx="88">
                  <c:v>O'Tapas Ape</c:v>
                </c:pt>
                <c:pt idx="89">
                  <c:v>All Others</c:v>
                </c:pt>
                <c:pt idx="90">
                  <c:v>All Others</c:v>
                </c:pt>
                <c:pt idx="91">
                  <c:v>All Others</c:v>
                </c:pt>
                <c:pt idx="92">
                  <c:v>All Others</c:v>
                </c:pt>
                <c:pt idx="93">
                  <c:v>All Others</c:v>
                </c:pt>
                <c:pt idx="94">
                  <c:v>All Others</c:v>
                </c:pt>
                <c:pt idx="95">
                  <c:v>All Others</c:v>
                </c:pt>
                <c:pt idx="96">
                  <c:v>All Others</c:v>
                </c:pt>
                <c:pt idx="97">
                  <c:v>All Others</c:v>
                </c:pt>
                <c:pt idx="98">
                  <c:v>All Others</c:v>
                </c:pt>
                <c:pt idx="99">
                  <c:v>Boursin</c:v>
                </c:pt>
              </c:strCache>
            </c:strRef>
          </c:cat>
          <c:val>
            <c:numRef>
              <c:f>Sheet1!$B$2:$B$101</c:f>
              <c:numCache>
                <c:formatCode>General</c:formatCode>
                <c:ptCount val="100"/>
                <c:pt idx="0">
                  <c:v>0.90800000000000003</c:v>
                </c:pt>
                <c:pt idx="1">
                  <c:v>0.878</c:v>
                </c:pt>
                <c:pt idx="2">
                  <c:v>0.85799999999999998</c:v>
                </c:pt>
                <c:pt idx="3">
                  <c:v>0.90500000000000003</c:v>
                </c:pt>
                <c:pt idx="4">
                  <c:v>0.96299999999999997</c:v>
                </c:pt>
                <c:pt idx="5">
                  <c:v>0.93899999999999995</c:v>
                </c:pt>
                <c:pt idx="6">
                  <c:v>0.75700000000000001</c:v>
                </c:pt>
                <c:pt idx="7">
                  <c:v>0.76200000000000001</c:v>
                </c:pt>
                <c:pt idx="8">
                  <c:v>0.85</c:v>
                </c:pt>
                <c:pt idx="9">
                  <c:v>0.63800000000000001</c:v>
                </c:pt>
                <c:pt idx="10">
                  <c:v>0.78800000000000003</c:v>
                </c:pt>
                <c:pt idx="11">
                  <c:v>0.76300000000000001</c:v>
                </c:pt>
                <c:pt idx="12">
                  <c:v>0.65400000000000003</c:v>
                </c:pt>
                <c:pt idx="13">
                  <c:v>0.81599999999999995</c:v>
                </c:pt>
                <c:pt idx="14">
                  <c:v>0.877</c:v>
                </c:pt>
                <c:pt idx="15">
                  <c:v>0.79400000000000004</c:v>
                </c:pt>
                <c:pt idx="16">
                  <c:v>0.54</c:v>
                </c:pt>
                <c:pt idx="17">
                  <c:v>0.73499999999999999</c:v>
                </c:pt>
                <c:pt idx="18">
                  <c:v>0.77900000000000003</c:v>
                </c:pt>
                <c:pt idx="19">
                  <c:v>0.106</c:v>
                </c:pt>
                <c:pt idx="20">
                  <c:v>0.68600000000000005</c:v>
                </c:pt>
                <c:pt idx="21">
                  <c:v>0.63600000000000001</c:v>
                </c:pt>
                <c:pt idx="22">
                  <c:v>0.75900000000000001</c:v>
                </c:pt>
                <c:pt idx="23">
                  <c:v>0.505</c:v>
                </c:pt>
                <c:pt idx="24">
                  <c:v>0.52600000000000002</c:v>
                </c:pt>
                <c:pt idx="25">
                  <c:v>0.51600000000000001</c:v>
                </c:pt>
                <c:pt idx="26">
                  <c:v>0.79200000000000004</c:v>
                </c:pt>
                <c:pt idx="27">
                  <c:v>0.49399999999999999</c:v>
                </c:pt>
                <c:pt idx="28">
                  <c:v>0.46800000000000003</c:v>
                </c:pt>
                <c:pt idx="29">
                  <c:v>6.3E-2</c:v>
                </c:pt>
                <c:pt idx="30">
                  <c:v>0.46200000000000002</c:v>
                </c:pt>
                <c:pt idx="31">
                  <c:v>0.67400000000000004</c:v>
                </c:pt>
                <c:pt idx="32">
                  <c:v>0.40699999999999997</c:v>
                </c:pt>
                <c:pt idx="33">
                  <c:v>0.70899999999999996</c:v>
                </c:pt>
                <c:pt idx="34">
                  <c:v>0.65600000000000003</c:v>
                </c:pt>
                <c:pt idx="35">
                  <c:v>0.23200000000000001</c:v>
                </c:pt>
                <c:pt idx="36">
                  <c:v>0.47199999999999998</c:v>
                </c:pt>
                <c:pt idx="37">
                  <c:v>0.68799999999999994</c:v>
                </c:pt>
                <c:pt idx="38">
                  <c:v>0.59599999999999997</c:v>
                </c:pt>
                <c:pt idx="39">
                  <c:v>0.36799999999999999</c:v>
                </c:pt>
                <c:pt idx="40">
                  <c:v>0.48399999999999999</c:v>
                </c:pt>
                <c:pt idx="41">
                  <c:v>0.47299999999999998</c:v>
                </c:pt>
                <c:pt idx="42">
                  <c:v>0.57299999999999995</c:v>
                </c:pt>
                <c:pt idx="43">
                  <c:v>0.35099999999999998</c:v>
                </c:pt>
                <c:pt idx="44">
                  <c:v>0.06</c:v>
                </c:pt>
                <c:pt idx="45">
                  <c:v>0.38600000000000001</c:v>
                </c:pt>
                <c:pt idx="46">
                  <c:v>1.6E-2</c:v>
                </c:pt>
                <c:pt idx="47">
                  <c:v>0.52400000000000002</c:v>
                </c:pt>
                <c:pt idx="48">
                  <c:v>0.14099999999999999</c:v>
                </c:pt>
                <c:pt idx="49">
                  <c:v>0.18</c:v>
                </c:pt>
                <c:pt idx="50">
                  <c:v>0.35199999999999998</c:v>
                </c:pt>
                <c:pt idx="51">
                  <c:v>5.2999999999999999E-2</c:v>
                </c:pt>
                <c:pt idx="52">
                  <c:v>0.40899999999999997</c:v>
                </c:pt>
                <c:pt idx="53">
                  <c:v>0.26900000000000002</c:v>
                </c:pt>
                <c:pt idx="54">
                  <c:v>0.36099999999999999</c:v>
                </c:pt>
                <c:pt idx="55">
                  <c:v>5.8000000000000003E-2</c:v>
                </c:pt>
                <c:pt idx="56">
                  <c:v>6.2E-2</c:v>
                </c:pt>
                <c:pt idx="57">
                  <c:v>3.6999999999999998E-2</c:v>
                </c:pt>
                <c:pt idx="58">
                  <c:v>0.105</c:v>
                </c:pt>
                <c:pt idx="59">
                  <c:v>3.4000000000000002E-2</c:v>
                </c:pt>
                <c:pt idx="60">
                  <c:v>0.05</c:v>
                </c:pt>
                <c:pt idx="61">
                  <c:v>5.0000000000000001E-3</c:v>
                </c:pt>
                <c:pt idx="62">
                  <c:v>1.6E-2</c:v>
                </c:pt>
                <c:pt idx="63">
                  <c:v>5.0000000000000001E-3</c:v>
                </c:pt>
                <c:pt idx="64">
                  <c:v>1.9E-2</c:v>
                </c:pt>
                <c:pt idx="65">
                  <c:v>5.0000000000000001E-3</c:v>
                </c:pt>
                <c:pt idx="66">
                  <c:v>0.34699999999999998</c:v>
                </c:pt>
                <c:pt idx="67">
                  <c:v>6.4000000000000001E-2</c:v>
                </c:pt>
                <c:pt idx="68">
                  <c:v>5.0000000000000001E-3</c:v>
                </c:pt>
                <c:pt idx="69">
                  <c:v>5.5E-2</c:v>
                </c:pt>
                <c:pt idx="70">
                  <c:v>1.4E-2</c:v>
                </c:pt>
                <c:pt idx="71">
                  <c:v>5.8999999999999997E-2</c:v>
                </c:pt>
                <c:pt idx="72">
                  <c:v>5.0000000000000001E-3</c:v>
                </c:pt>
                <c:pt idx="73">
                  <c:v>4.0000000000000001E-3</c:v>
                </c:pt>
                <c:pt idx="74">
                  <c:v>5.0000000000000001E-3</c:v>
                </c:pt>
                <c:pt idx="75">
                  <c:v>3.1E-2</c:v>
                </c:pt>
                <c:pt idx="76">
                  <c:v>4.1000000000000002E-2</c:v>
                </c:pt>
                <c:pt idx="77">
                  <c:v>1.7000000000000001E-2</c:v>
                </c:pt>
                <c:pt idx="78">
                  <c:v>5.5E-2</c:v>
                </c:pt>
                <c:pt idx="79">
                  <c:v>2.3E-2</c:v>
                </c:pt>
                <c:pt idx="80">
                  <c:v>8.9999999999999993E-3</c:v>
                </c:pt>
                <c:pt idx="81">
                  <c:v>3.6999999999999998E-2</c:v>
                </c:pt>
                <c:pt idx="82">
                  <c:v>1.7999999999999999E-2</c:v>
                </c:pt>
                <c:pt idx="83">
                  <c:v>3.5000000000000003E-2</c:v>
                </c:pt>
                <c:pt idx="84">
                  <c:v>1.2999999999999999E-2</c:v>
                </c:pt>
                <c:pt idx="85">
                  <c:v>1.7000000000000001E-2</c:v>
                </c:pt>
                <c:pt idx="86">
                  <c:v>1.0999999999999999E-2</c:v>
                </c:pt>
                <c:pt idx="87">
                  <c:v>1.7000000000000001E-2</c:v>
                </c:pt>
                <c:pt idx="88">
                  <c:v>3.6999999999999998E-2</c:v>
                </c:pt>
                <c:pt idx="89">
                  <c:v>3.2000000000000001E-2</c:v>
                </c:pt>
                <c:pt idx="90">
                  <c:v>1.2999999999999999E-2</c:v>
                </c:pt>
                <c:pt idx="91">
                  <c:v>2.7E-2</c:v>
                </c:pt>
                <c:pt idx="92">
                  <c:v>5.0000000000000001E-3</c:v>
                </c:pt>
                <c:pt idx="93">
                  <c:v>5.0000000000000001E-3</c:v>
                </c:pt>
                <c:pt idx="94">
                  <c:v>8.9999999999999993E-3</c:v>
                </c:pt>
                <c:pt idx="95">
                  <c:v>4.0000000000000001E-3</c:v>
                </c:pt>
                <c:pt idx="96">
                  <c:v>5.0000000000000001E-3</c:v>
                </c:pt>
                <c:pt idx="97">
                  <c:v>8.9999999999999993E-3</c:v>
                </c:pt>
                <c:pt idx="98">
                  <c:v>5.0000000000000001E-3</c:v>
                </c:pt>
                <c:pt idx="99">
                  <c:v>8.9999999999999993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01</c:f>
              <c:strCache>
                <c:ptCount val="100"/>
                <c:pt idx="0">
                  <c:v>Apericube</c:v>
                </c:pt>
                <c:pt idx="1">
                  <c:v>Apericube</c:v>
                </c:pt>
                <c:pt idx="2">
                  <c:v>Apericube</c:v>
                </c:pt>
                <c:pt idx="3">
                  <c:v>Boursin</c:v>
                </c:pt>
                <c:pt idx="4">
                  <c:v>Aperivrais</c:v>
                </c:pt>
                <c:pt idx="5">
                  <c:v>Aperivrais</c:v>
                </c:pt>
                <c:pt idx="6">
                  <c:v>Apericube</c:v>
                </c:pt>
                <c:pt idx="7">
                  <c:v>Apericube</c:v>
                </c:pt>
                <c:pt idx="8">
                  <c:v>Apericube</c:v>
                </c:pt>
                <c:pt idx="9">
                  <c:v>Apericube</c:v>
                </c:pt>
                <c:pt idx="10">
                  <c:v>Boursin</c:v>
                </c:pt>
                <c:pt idx="11">
                  <c:v>Apericube</c:v>
                </c:pt>
                <c:pt idx="12">
                  <c:v>Apericube</c:v>
                </c:pt>
                <c:pt idx="13">
                  <c:v>Apericube</c:v>
                </c:pt>
                <c:pt idx="14">
                  <c:v>Private Lab</c:v>
                </c:pt>
                <c:pt idx="15">
                  <c:v>Aperivrais</c:v>
                </c:pt>
                <c:pt idx="16">
                  <c:v>Apericube</c:v>
                </c:pt>
                <c:pt idx="17">
                  <c:v>St Moret</c:v>
                </c:pt>
                <c:pt idx="18">
                  <c:v>Apericube</c:v>
                </c:pt>
                <c:pt idx="19">
                  <c:v>Apericube</c:v>
                </c:pt>
                <c:pt idx="20">
                  <c:v>Aperivrais</c:v>
                </c:pt>
                <c:pt idx="21">
                  <c:v>St Moret</c:v>
                </c:pt>
                <c:pt idx="22">
                  <c:v>Apericube</c:v>
                </c:pt>
                <c:pt idx="23">
                  <c:v>Apericube</c:v>
                </c:pt>
                <c:pt idx="24">
                  <c:v>All Others</c:v>
                </c:pt>
                <c:pt idx="25">
                  <c:v>Apericube</c:v>
                </c:pt>
                <c:pt idx="26">
                  <c:v>Leerdammer</c:v>
                </c:pt>
                <c:pt idx="27">
                  <c:v>Apericube</c:v>
                </c:pt>
                <c:pt idx="28">
                  <c:v>Apericube</c:v>
                </c:pt>
                <c:pt idx="29">
                  <c:v>Apericube</c:v>
                </c:pt>
                <c:pt idx="30">
                  <c:v>All Others</c:v>
                </c:pt>
                <c:pt idx="31">
                  <c:v>Entremont</c:v>
                </c:pt>
                <c:pt idx="32">
                  <c:v>O'Tapas Ape</c:v>
                </c:pt>
                <c:pt idx="33">
                  <c:v>Richesmonts</c:v>
                </c:pt>
                <c:pt idx="34">
                  <c:v>Aperivrais</c:v>
                </c:pt>
                <c:pt idx="35">
                  <c:v>O'Tapas Ape</c:v>
                </c:pt>
                <c:pt idx="36">
                  <c:v>Apericube</c:v>
                </c:pt>
                <c:pt idx="37">
                  <c:v>Entremont</c:v>
                </c:pt>
                <c:pt idx="38">
                  <c:v>Aperivrais</c:v>
                </c:pt>
                <c:pt idx="39">
                  <c:v>O'Tapas Ape</c:v>
                </c:pt>
                <c:pt idx="40">
                  <c:v>Private Lab</c:v>
                </c:pt>
                <c:pt idx="41">
                  <c:v>St Moret</c:v>
                </c:pt>
                <c:pt idx="42">
                  <c:v>Aperivrais</c:v>
                </c:pt>
                <c:pt idx="43">
                  <c:v>Apericube</c:v>
                </c:pt>
                <c:pt idx="44">
                  <c:v>Apericube</c:v>
                </c:pt>
                <c:pt idx="45">
                  <c:v>Apericube</c:v>
                </c:pt>
                <c:pt idx="46">
                  <c:v>All Others</c:v>
                </c:pt>
                <c:pt idx="47">
                  <c:v>Aperivrais</c:v>
                </c:pt>
                <c:pt idx="48">
                  <c:v>Apericube</c:v>
                </c:pt>
                <c:pt idx="49">
                  <c:v>O'Tapas Ape</c:v>
                </c:pt>
                <c:pt idx="50">
                  <c:v>Boursin</c:v>
                </c:pt>
                <c:pt idx="51">
                  <c:v>All Others</c:v>
                </c:pt>
                <c:pt idx="52">
                  <c:v>Boursin</c:v>
                </c:pt>
                <c:pt idx="53">
                  <c:v>Apericube</c:v>
                </c:pt>
                <c:pt idx="54">
                  <c:v>Richesmonts</c:v>
                </c:pt>
                <c:pt idx="55">
                  <c:v>All Others</c:v>
                </c:pt>
                <c:pt idx="56">
                  <c:v>All Others</c:v>
                </c:pt>
                <c:pt idx="57">
                  <c:v>All Others</c:v>
                </c:pt>
                <c:pt idx="58">
                  <c:v>O'Tapas Ape</c:v>
                </c:pt>
                <c:pt idx="59">
                  <c:v>O'Tapas Ape</c:v>
                </c:pt>
                <c:pt idx="60">
                  <c:v>All Others</c:v>
                </c:pt>
                <c:pt idx="61">
                  <c:v>All Others</c:v>
                </c:pt>
                <c:pt idx="62">
                  <c:v>All Others</c:v>
                </c:pt>
                <c:pt idx="63">
                  <c:v>All Others</c:v>
                </c:pt>
                <c:pt idx="64">
                  <c:v>All Others</c:v>
                </c:pt>
                <c:pt idx="65">
                  <c:v>All Others</c:v>
                </c:pt>
                <c:pt idx="66">
                  <c:v>Private Lab</c:v>
                </c:pt>
                <c:pt idx="67">
                  <c:v>St Moret</c:v>
                </c:pt>
                <c:pt idx="68">
                  <c:v>All Others</c:v>
                </c:pt>
                <c:pt idx="69">
                  <c:v>All Others</c:v>
                </c:pt>
                <c:pt idx="70">
                  <c:v>All Others</c:v>
                </c:pt>
                <c:pt idx="71">
                  <c:v>All Others</c:v>
                </c:pt>
                <c:pt idx="72">
                  <c:v>All Others</c:v>
                </c:pt>
                <c:pt idx="73">
                  <c:v>All Others</c:v>
                </c:pt>
                <c:pt idx="74">
                  <c:v>All Others</c:v>
                </c:pt>
                <c:pt idx="75">
                  <c:v>All Others</c:v>
                </c:pt>
                <c:pt idx="76">
                  <c:v>Soignon</c:v>
                </c:pt>
                <c:pt idx="77">
                  <c:v>All Others</c:v>
                </c:pt>
                <c:pt idx="78">
                  <c:v>All Others</c:v>
                </c:pt>
                <c:pt idx="79">
                  <c:v>All Others</c:v>
                </c:pt>
                <c:pt idx="80">
                  <c:v>All Others</c:v>
                </c:pt>
                <c:pt idx="81">
                  <c:v>All Others</c:v>
                </c:pt>
                <c:pt idx="82">
                  <c:v>All Others</c:v>
                </c:pt>
                <c:pt idx="83">
                  <c:v>All Others</c:v>
                </c:pt>
                <c:pt idx="84">
                  <c:v>All Others</c:v>
                </c:pt>
                <c:pt idx="85">
                  <c:v>All Others</c:v>
                </c:pt>
                <c:pt idx="86">
                  <c:v>Leerdammer</c:v>
                </c:pt>
                <c:pt idx="87">
                  <c:v>All Others</c:v>
                </c:pt>
                <c:pt idx="88">
                  <c:v>O'Tapas Ape</c:v>
                </c:pt>
                <c:pt idx="89">
                  <c:v>All Others</c:v>
                </c:pt>
                <c:pt idx="90">
                  <c:v>All Others</c:v>
                </c:pt>
                <c:pt idx="91">
                  <c:v>All Others</c:v>
                </c:pt>
                <c:pt idx="92">
                  <c:v>All Others</c:v>
                </c:pt>
                <c:pt idx="93">
                  <c:v>All Others</c:v>
                </c:pt>
                <c:pt idx="94">
                  <c:v>All Others</c:v>
                </c:pt>
                <c:pt idx="95">
                  <c:v>All Others</c:v>
                </c:pt>
                <c:pt idx="96">
                  <c:v>All Others</c:v>
                </c:pt>
                <c:pt idx="97">
                  <c:v>All Others</c:v>
                </c:pt>
                <c:pt idx="98">
                  <c:v>All Others</c:v>
                </c:pt>
                <c:pt idx="99">
                  <c:v>Boursin</c:v>
                </c:pt>
              </c:strCache>
            </c:strRef>
          </c:cat>
          <c:val>
            <c:numRef>
              <c:f>Sheet1!$C$2:$C$101</c:f>
              <c:numCache>
                <c:formatCode>General</c:formatCode>
                <c:ptCount val="100"/>
                <c:pt idx="0">
                  <c:v>0.11003641958744301</c:v>
                </c:pt>
                <c:pt idx="1">
                  <c:v>0.20156601406250391</c:v>
                </c:pt>
                <c:pt idx="2">
                  <c:v>0.28062611071489391</c:v>
                </c:pt>
                <c:pt idx="3">
                  <c:v>0.34718297596738729</c:v>
                </c:pt>
                <c:pt idx="4">
                  <c:v>0.40346788934672678</c:v>
                </c:pt>
                <c:pt idx="5">
                  <c:v>0.45168902908788933</c:v>
                </c:pt>
                <c:pt idx="6">
                  <c:v>0.49776480127314243</c:v>
                </c:pt>
                <c:pt idx="7">
                  <c:v>0.54109664186119111</c:v>
                </c:pt>
                <c:pt idx="8">
                  <c:v>0.58181444064593901</c:v>
                </c:pt>
                <c:pt idx="9">
                  <c:v>0.64278782974280702</c:v>
                </c:pt>
                <c:pt idx="10">
                  <c:v>0.66874250614661213</c:v>
                </c:pt>
                <c:pt idx="11">
                  <c:v>0.69143741695790539</c:v>
                </c:pt>
                <c:pt idx="12">
                  <c:v>0.71390190984561785</c:v>
                </c:pt>
                <c:pt idx="13">
                  <c:v>0.7359250723441656</c:v>
                </c:pt>
                <c:pt idx="14">
                  <c:v>0.75539268354409606</c:v>
                </c:pt>
                <c:pt idx="15">
                  <c:v>0.7741635049414386</c:v>
                </c:pt>
                <c:pt idx="16">
                  <c:v>0.79154493756145072</c:v>
                </c:pt>
                <c:pt idx="17">
                  <c:v>0.80844253651976616</c:v>
                </c:pt>
                <c:pt idx="18">
                  <c:v>0.82447817014590297</c:v>
                </c:pt>
                <c:pt idx="19">
                  <c:v>0.83792940819534989</c:v>
                </c:pt>
                <c:pt idx="20">
                  <c:v>0.85080629587549828</c:v>
                </c:pt>
                <c:pt idx="21">
                  <c:v>0.86276135664547704</c:v>
                </c:pt>
                <c:pt idx="22">
                  <c:v>0.87344620853864596</c:v>
                </c:pt>
                <c:pt idx="23">
                  <c:v>0.8824420015942217</c:v>
                </c:pt>
                <c:pt idx="24">
                  <c:v>0.89114529038776435</c:v>
                </c:pt>
                <c:pt idx="25">
                  <c:v>0.89918710098371379</c:v>
                </c:pt>
                <c:pt idx="26">
                  <c:v>0.90658295496668306</c:v>
                </c:pt>
                <c:pt idx="27">
                  <c:v>0.91306973560817306</c:v>
                </c:pt>
                <c:pt idx="28">
                  <c:v>0.91863507737910877</c:v>
                </c:pt>
                <c:pt idx="29">
                  <c:v>0.92383868862063712</c:v>
                </c:pt>
                <c:pt idx="30">
                  <c:v>0.92817901519529478</c:v>
                </c:pt>
                <c:pt idx="31">
                  <c:v>0.93251473703318388</c:v>
                </c:pt>
                <c:pt idx="32">
                  <c:v>0.93681367271554006</c:v>
                </c:pt>
                <c:pt idx="33">
                  <c:v>0.9408615985053953</c:v>
                </c:pt>
                <c:pt idx="34">
                  <c:v>0.94478185926180813</c:v>
                </c:pt>
                <c:pt idx="35">
                  <c:v>0.94847351294617832</c:v>
                </c:pt>
                <c:pt idx="36">
                  <c:v>0.95208595481040648</c:v>
                </c:pt>
                <c:pt idx="37">
                  <c:v>0.95555482201696385</c:v>
                </c:pt>
                <c:pt idx="38">
                  <c:v>0.9589835400579888</c:v>
                </c:pt>
                <c:pt idx="39">
                  <c:v>0.96210456855336757</c:v>
                </c:pt>
                <c:pt idx="40">
                  <c:v>0.96489361622318059</c:v>
                </c:pt>
                <c:pt idx="41">
                  <c:v>0.96734416400189049</c:v>
                </c:pt>
                <c:pt idx="42">
                  <c:v>0.96971997535068855</c:v>
                </c:pt>
                <c:pt idx="43">
                  <c:v>0.97207529820779737</c:v>
                </c:pt>
                <c:pt idx="44">
                  <c:v>0.97434240672568861</c:v>
                </c:pt>
                <c:pt idx="45">
                  <c:v>0.97650161436121141</c:v>
                </c:pt>
                <c:pt idx="46">
                  <c:v>0.97851121979037192</c:v>
                </c:pt>
                <c:pt idx="47">
                  <c:v>0.98048478927392246</c:v>
                </c:pt>
                <c:pt idx="48">
                  <c:v>0.98223821094904451</c:v>
                </c:pt>
                <c:pt idx="49">
                  <c:v>0.98380614968804048</c:v>
                </c:pt>
                <c:pt idx="50">
                  <c:v>0.98516201184260666</c:v>
                </c:pt>
                <c:pt idx="51">
                  <c:v>0.9865164253159423</c:v>
                </c:pt>
                <c:pt idx="52">
                  <c:v>0.9878357600080524</c:v>
                </c:pt>
                <c:pt idx="53">
                  <c:v>0.98913481316293472</c:v>
                </c:pt>
                <c:pt idx="54">
                  <c:v>0.98999398460988297</c:v>
                </c:pt>
                <c:pt idx="55">
                  <c:v>0.99077510835553517</c:v>
                </c:pt>
                <c:pt idx="56">
                  <c:v>0.99148788539027455</c:v>
                </c:pt>
                <c:pt idx="57">
                  <c:v>0.99207051393803347</c:v>
                </c:pt>
                <c:pt idx="58">
                  <c:v>0.99264882231140839</c:v>
                </c:pt>
                <c:pt idx="59">
                  <c:v>0.99318985301240426</c:v>
                </c:pt>
                <c:pt idx="60">
                  <c:v>0.99365115450710439</c:v>
                </c:pt>
                <c:pt idx="61">
                  <c:v>0.99403846978181565</c:v>
                </c:pt>
                <c:pt idx="62">
                  <c:v>0.99442475028421928</c:v>
                </c:pt>
                <c:pt idx="63">
                  <c:v>0.9947747102786284</c:v>
                </c:pt>
                <c:pt idx="64">
                  <c:v>0.99507181927743005</c:v>
                </c:pt>
                <c:pt idx="65">
                  <c:v>0.9953678158960011</c:v>
                </c:pt>
                <c:pt idx="66">
                  <c:v>0.99566378664526445</c:v>
                </c:pt>
                <c:pt idx="67">
                  <c:v>0.99595771371922037</c:v>
                </c:pt>
                <c:pt idx="68">
                  <c:v>0.99618970967057019</c:v>
                </c:pt>
                <c:pt idx="69">
                  <c:v>0.99640825358192209</c:v>
                </c:pt>
                <c:pt idx="70">
                  <c:v>0.99659477129035567</c:v>
                </c:pt>
                <c:pt idx="71">
                  <c:v>0.99676687979440681</c:v>
                </c:pt>
                <c:pt idx="72">
                  <c:v>0.99693619441322756</c:v>
                </c:pt>
                <c:pt idx="73">
                  <c:v>0.99710328427158712</c:v>
                </c:pt>
                <c:pt idx="74">
                  <c:v>0.99727029652202359</c:v>
                </c:pt>
                <c:pt idx="75">
                  <c:v>0.99743068622969189</c:v>
                </c:pt>
                <c:pt idx="76">
                  <c:v>0.99759011877297565</c:v>
                </c:pt>
                <c:pt idx="77">
                  <c:v>0.99789392792246867</c:v>
                </c:pt>
                <c:pt idx="78">
                  <c:v>0.99803504499590912</c:v>
                </c:pt>
                <c:pt idx="79">
                  <c:v>0.99840466566416142</c:v>
                </c:pt>
                <c:pt idx="80">
                  <c:v>0.9985216466735285</c:v>
                </c:pt>
                <c:pt idx="81">
                  <c:v>0.99862776257366648</c:v>
                </c:pt>
                <c:pt idx="82">
                  <c:v>0.99892743263392925</c:v>
                </c:pt>
                <c:pt idx="83">
                  <c:v>0.9990244942763763</c:v>
                </c:pt>
                <c:pt idx="84">
                  <c:v>0.99910781931644077</c:v>
                </c:pt>
                <c:pt idx="85">
                  <c:v>0.99918589288704451</c:v>
                </c:pt>
                <c:pt idx="86">
                  <c:v>0.99937287624301641</c:v>
                </c:pt>
                <c:pt idx="87">
                  <c:v>0.99942875394762343</c:v>
                </c:pt>
                <c:pt idx="88">
                  <c:v>0.99948209646007702</c:v>
                </c:pt>
                <c:pt idx="89">
                  <c:v>0.99952907512283917</c:v>
                </c:pt>
                <c:pt idx="90">
                  <c:v>0.99957468271229388</c:v>
                </c:pt>
                <c:pt idx="91">
                  <c:v>0.99966038772866561</c:v>
                </c:pt>
                <c:pt idx="92">
                  <c:v>0.99972863096234765</c:v>
                </c:pt>
                <c:pt idx="93">
                  <c:v>0.99983257384063962</c:v>
                </c:pt>
                <c:pt idx="94">
                  <c:v>0.9999392329962391</c:v>
                </c:pt>
                <c:pt idx="95">
                  <c:v>0.99995002049754522</c:v>
                </c:pt>
                <c:pt idx="96">
                  <c:v>0.99996070452162056</c:v>
                </c:pt>
                <c:pt idx="97">
                  <c:v>0.99997374265269545</c:v>
                </c:pt>
                <c:pt idx="98">
                  <c:v>0.99999079052646223</c:v>
                </c:pt>
                <c:pt idx="99">
                  <c:v>0.9999983443643072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0</c:f>
              <c:strCache>
                <c:ptCount val="49"/>
                <c:pt idx="0">
                  <c:v>Apericube</c:v>
                </c:pt>
                <c:pt idx="1">
                  <c:v>Apericube</c:v>
                </c:pt>
                <c:pt idx="2">
                  <c:v>Apericube</c:v>
                </c:pt>
                <c:pt idx="3">
                  <c:v>Apericube</c:v>
                </c:pt>
                <c:pt idx="4">
                  <c:v>Boursin</c:v>
                </c:pt>
                <c:pt idx="5">
                  <c:v>Apericube</c:v>
                </c:pt>
                <c:pt idx="6">
                  <c:v>Private Lab</c:v>
                </c:pt>
                <c:pt idx="7">
                  <c:v>Apericube</c:v>
                </c:pt>
                <c:pt idx="8">
                  <c:v>Apericube</c:v>
                </c:pt>
                <c:pt idx="9">
                  <c:v>Aperivrais</c:v>
                </c:pt>
                <c:pt idx="10">
                  <c:v>Apericube</c:v>
                </c:pt>
                <c:pt idx="11">
                  <c:v>Boursin</c:v>
                </c:pt>
                <c:pt idx="12">
                  <c:v>Apericube</c:v>
                </c:pt>
                <c:pt idx="13">
                  <c:v>St Moret</c:v>
                </c:pt>
                <c:pt idx="14">
                  <c:v>Apericube</c:v>
                </c:pt>
                <c:pt idx="15">
                  <c:v>Aperivrais</c:v>
                </c:pt>
                <c:pt idx="16">
                  <c:v>Aperivrais</c:v>
                </c:pt>
                <c:pt idx="17">
                  <c:v>Private Lab</c:v>
                </c:pt>
                <c:pt idx="18">
                  <c:v>Boursin</c:v>
                </c:pt>
                <c:pt idx="19">
                  <c:v>St Moret</c:v>
                </c:pt>
                <c:pt idx="20">
                  <c:v>St Moret</c:v>
                </c:pt>
                <c:pt idx="21">
                  <c:v>Apericube</c:v>
                </c:pt>
                <c:pt idx="22">
                  <c:v>Aperivrais</c:v>
                </c:pt>
                <c:pt idx="23">
                  <c:v>Aperivrais</c:v>
                </c:pt>
                <c:pt idx="24">
                  <c:v>St Moret</c:v>
                </c:pt>
                <c:pt idx="25">
                  <c:v>Apericube</c:v>
                </c:pt>
                <c:pt idx="26">
                  <c:v>Entremont</c:v>
                </c:pt>
                <c:pt idx="27">
                  <c:v>Entremont</c:v>
                </c:pt>
                <c:pt idx="28">
                  <c:v>Apericube</c:v>
                </c:pt>
                <c:pt idx="29">
                  <c:v>Apericube</c:v>
                </c:pt>
                <c:pt idx="30">
                  <c:v>Aperivrais</c:v>
                </c:pt>
                <c:pt idx="31">
                  <c:v>Apericube</c:v>
                </c:pt>
                <c:pt idx="32">
                  <c:v>Entremont</c:v>
                </c:pt>
                <c:pt idx="33">
                  <c:v>Apericube</c:v>
                </c:pt>
                <c:pt idx="34">
                  <c:v>Aperivrais</c:v>
                </c:pt>
                <c:pt idx="35">
                  <c:v>Boursin</c:v>
                </c:pt>
                <c:pt idx="36">
                  <c:v>Aperivrais</c:v>
                </c:pt>
                <c:pt idx="37">
                  <c:v>Boursin</c:v>
                </c:pt>
                <c:pt idx="38">
                  <c:v>All Others</c:v>
                </c:pt>
                <c:pt idx="39">
                  <c:v>All Others</c:v>
                </c:pt>
                <c:pt idx="40">
                  <c:v>Other Suppl</c:v>
                </c:pt>
                <c:pt idx="41">
                  <c:v>All Others</c:v>
                </c:pt>
                <c:pt idx="42">
                  <c:v>All Others</c:v>
                </c:pt>
                <c:pt idx="43">
                  <c:v>All Others</c:v>
                </c:pt>
                <c:pt idx="44">
                  <c:v>All Others</c:v>
                </c:pt>
                <c:pt idx="45">
                  <c:v>All Others</c:v>
                </c:pt>
                <c:pt idx="46">
                  <c:v>O'Tapas Ape</c:v>
                </c:pt>
                <c:pt idx="47">
                  <c:v>O'Tapas Ape</c:v>
                </c:pt>
                <c:pt idx="48">
                  <c:v>Apericube</c:v>
                </c:pt>
              </c:strCache>
            </c:strRef>
          </c:cat>
          <c:val>
            <c:numRef>
              <c:f>Sheet1!$B$2:$B$50</c:f>
              <c:numCache>
                <c:formatCode>General</c:formatCode>
                <c:ptCount val="49"/>
                <c:pt idx="0">
                  <c:v>0.95599999999999996</c:v>
                </c:pt>
                <c:pt idx="1">
                  <c:v>0.96399999999999997</c:v>
                </c:pt>
                <c:pt idx="2">
                  <c:v>0.93500000000000005</c:v>
                </c:pt>
                <c:pt idx="3">
                  <c:v>0.93400000000000005</c:v>
                </c:pt>
                <c:pt idx="4">
                  <c:v>0.96599999999999997</c:v>
                </c:pt>
                <c:pt idx="5">
                  <c:v>0.86499999999999999</c:v>
                </c:pt>
                <c:pt idx="6">
                  <c:v>0.874</c:v>
                </c:pt>
                <c:pt idx="7">
                  <c:v>0.88400000000000001</c:v>
                </c:pt>
                <c:pt idx="8">
                  <c:v>0.94</c:v>
                </c:pt>
                <c:pt idx="9">
                  <c:v>0.98099999999999998</c:v>
                </c:pt>
                <c:pt idx="10">
                  <c:v>0.86799999999999999</c:v>
                </c:pt>
                <c:pt idx="11">
                  <c:v>0.91100000000000003</c:v>
                </c:pt>
                <c:pt idx="12">
                  <c:v>0.92</c:v>
                </c:pt>
                <c:pt idx="13">
                  <c:v>0.92600000000000005</c:v>
                </c:pt>
                <c:pt idx="14">
                  <c:v>0.83599999999999997</c:v>
                </c:pt>
                <c:pt idx="15">
                  <c:v>0.94799999999999995</c:v>
                </c:pt>
                <c:pt idx="16">
                  <c:v>0.95799999999999996</c:v>
                </c:pt>
                <c:pt idx="17">
                  <c:v>0.89300000000000002</c:v>
                </c:pt>
                <c:pt idx="18">
                  <c:v>0.873</c:v>
                </c:pt>
                <c:pt idx="19">
                  <c:v>0.86</c:v>
                </c:pt>
                <c:pt idx="20">
                  <c:v>0.86699999999999999</c:v>
                </c:pt>
                <c:pt idx="21">
                  <c:v>0.76700000000000002</c:v>
                </c:pt>
                <c:pt idx="22">
                  <c:v>0.86099999999999999</c:v>
                </c:pt>
                <c:pt idx="23">
                  <c:v>0.86199999999999999</c:v>
                </c:pt>
                <c:pt idx="24">
                  <c:v>0.82</c:v>
                </c:pt>
                <c:pt idx="25">
                  <c:v>0.76700000000000002</c:v>
                </c:pt>
                <c:pt idx="26">
                  <c:v>0.86299999999999999</c:v>
                </c:pt>
                <c:pt idx="27">
                  <c:v>0.88500000000000001</c:v>
                </c:pt>
                <c:pt idx="28">
                  <c:v>0.501</c:v>
                </c:pt>
                <c:pt idx="29">
                  <c:v>0.66700000000000004</c:v>
                </c:pt>
                <c:pt idx="30">
                  <c:v>0.313</c:v>
                </c:pt>
                <c:pt idx="31">
                  <c:v>0.28399999999999997</c:v>
                </c:pt>
                <c:pt idx="32">
                  <c:v>0.78200000000000003</c:v>
                </c:pt>
                <c:pt idx="33">
                  <c:v>0.27100000000000002</c:v>
                </c:pt>
                <c:pt idx="34">
                  <c:v>0.73499999999999999</c:v>
                </c:pt>
                <c:pt idx="35">
                  <c:v>0.75</c:v>
                </c:pt>
                <c:pt idx="36">
                  <c:v>0.72199999999999998</c:v>
                </c:pt>
                <c:pt idx="37">
                  <c:v>0.66100000000000003</c:v>
                </c:pt>
                <c:pt idx="38">
                  <c:v>4.2000000000000003E-2</c:v>
                </c:pt>
                <c:pt idx="39">
                  <c:v>2.9000000000000001E-2</c:v>
                </c:pt>
                <c:pt idx="40">
                  <c:v>8.9999999999999993E-3</c:v>
                </c:pt>
                <c:pt idx="41">
                  <c:v>0.03</c:v>
                </c:pt>
                <c:pt idx="42">
                  <c:v>8.9999999999999993E-3</c:v>
                </c:pt>
                <c:pt idx="43">
                  <c:v>0.01</c:v>
                </c:pt>
                <c:pt idx="44">
                  <c:v>8.9999999999999993E-3</c:v>
                </c:pt>
                <c:pt idx="45">
                  <c:v>8.0000000000000002E-3</c:v>
                </c:pt>
                <c:pt idx="46">
                  <c:v>1.9E-2</c:v>
                </c:pt>
                <c:pt idx="47">
                  <c:v>1.4999999999999999E-2</c:v>
                </c:pt>
                <c:pt idx="48">
                  <c:v>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0</c:f>
              <c:strCache>
                <c:ptCount val="49"/>
                <c:pt idx="0">
                  <c:v>Apericube</c:v>
                </c:pt>
                <c:pt idx="1">
                  <c:v>Apericube</c:v>
                </c:pt>
                <c:pt idx="2">
                  <c:v>Apericube</c:v>
                </c:pt>
                <c:pt idx="3">
                  <c:v>Apericube</c:v>
                </c:pt>
                <c:pt idx="4">
                  <c:v>Boursin</c:v>
                </c:pt>
                <c:pt idx="5">
                  <c:v>Apericube</c:v>
                </c:pt>
                <c:pt idx="6">
                  <c:v>Private Lab</c:v>
                </c:pt>
                <c:pt idx="7">
                  <c:v>Apericube</c:v>
                </c:pt>
                <c:pt idx="8">
                  <c:v>Apericube</c:v>
                </c:pt>
                <c:pt idx="9">
                  <c:v>Aperivrais</c:v>
                </c:pt>
                <c:pt idx="10">
                  <c:v>Apericube</c:v>
                </c:pt>
                <c:pt idx="11">
                  <c:v>Boursin</c:v>
                </c:pt>
                <c:pt idx="12">
                  <c:v>Apericube</c:v>
                </c:pt>
                <c:pt idx="13">
                  <c:v>St Moret</c:v>
                </c:pt>
                <c:pt idx="14">
                  <c:v>Apericube</c:v>
                </c:pt>
                <c:pt idx="15">
                  <c:v>Aperivrais</c:v>
                </c:pt>
                <c:pt idx="16">
                  <c:v>Aperivrais</c:v>
                </c:pt>
                <c:pt idx="17">
                  <c:v>Private Lab</c:v>
                </c:pt>
                <c:pt idx="18">
                  <c:v>Boursin</c:v>
                </c:pt>
                <c:pt idx="19">
                  <c:v>St Moret</c:v>
                </c:pt>
                <c:pt idx="20">
                  <c:v>St Moret</c:v>
                </c:pt>
                <c:pt idx="21">
                  <c:v>Apericube</c:v>
                </c:pt>
                <c:pt idx="22">
                  <c:v>Aperivrais</c:v>
                </c:pt>
                <c:pt idx="23">
                  <c:v>Aperivrais</c:v>
                </c:pt>
                <c:pt idx="24">
                  <c:v>St Moret</c:v>
                </c:pt>
                <c:pt idx="25">
                  <c:v>Apericube</c:v>
                </c:pt>
                <c:pt idx="26">
                  <c:v>Entremont</c:v>
                </c:pt>
                <c:pt idx="27">
                  <c:v>Entremont</c:v>
                </c:pt>
                <c:pt idx="28">
                  <c:v>Apericube</c:v>
                </c:pt>
                <c:pt idx="29">
                  <c:v>Apericube</c:v>
                </c:pt>
                <c:pt idx="30">
                  <c:v>Aperivrais</c:v>
                </c:pt>
                <c:pt idx="31">
                  <c:v>Apericube</c:v>
                </c:pt>
                <c:pt idx="32">
                  <c:v>Entremont</c:v>
                </c:pt>
                <c:pt idx="33">
                  <c:v>Apericube</c:v>
                </c:pt>
                <c:pt idx="34">
                  <c:v>Aperivrais</c:v>
                </c:pt>
                <c:pt idx="35">
                  <c:v>Boursin</c:v>
                </c:pt>
                <c:pt idx="36">
                  <c:v>Aperivrais</c:v>
                </c:pt>
                <c:pt idx="37">
                  <c:v>Boursin</c:v>
                </c:pt>
                <c:pt idx="38">
                  <c:v>All Others</c:v>
                </c:pt>
                <c:pt idx="39">
                  <c:v>All Others</c:v>
                </c:pt>
                <c:pt idx="40">
                  <c:v>Other Suppl</c:v>
                </c:pt>
                <c:pt idx="41">
                  <c:v>All Others</c:v>
                </c:pt>
                <c:pt idx="42">
                  <c:v>All Others</c:v>
                </c:pt>
                <c:pt idx="43">
                  <c:v>All Others</c:v>
                </c:pt>
                <c:pt idx="44">
                  <c:v>All Others</c:v>
                </c:pt>
                <c:pt idx="45">
                  <c:v>All Others</c:v>
                </c:pt>
                <c:pt idx="46">
                  <c:v>O'Tapas Ape</c:v>
                </c:pt>
                <c:pt idx="47">
                  <c:v>O'Tapas Ape</c:v>
                </c:pt>
                <c:pt idx="48">
                  <c:v>Apericube</c:v>
                </c:pt>
              </c:strCache>
            </c:strRef>
          </c:cat>
          <c:val>
            <c:numRef>
              <c:f>Sheet1!$C$2:$C$50</c:f>
              <c:numCache>
                <c:formatCode>General</c:formatCode>
                <c:ptCount val="49"/>
                <c:pt idx="0">
                  <c:v>0.10175135820158819</c:v>
                </c:pt>
                <c:pt idx="1">
                  <c:v>0.1923295368799991</c:v>
                </c:pt>
                <c:pt idx="2">
                  <c:v>0.26892620895406227</c:v>
                </c:pt>
                <c:pt idx="3">
                  <c:v>0.33213849301909337</c:v>
                </c:pt>
                <c:pt idx="4">
                  <c:v>0.38911912040033353</c:v>
                </c:pt>
                <c:pt idx="5">
                  <c:v>0.44305557314666083</c:v>
                </c:pt>
                <c:pt idx="6">
                  <c:v>0.49290006821328014</c:v>
                </c:pt>
                <c:pt idx="7">
                  <c:v>0.53913523560092869</c:v>
                </c:pt>
                <c:pt idx="8">
                  <c:v>0.58289185340750294</c:v>
                </c:pt>
                <c:pt idx="9">
                  <c:v>0.62613017825213368</c:v>
                </c:pt>
                <c:pt idx="10">
                  <c:v>0.66555883348866396</c:v>
                </c:pt>
                <c:pt idx="11">
                  <c:v>0.70068386088162049</c:v>
                </c:pt>
                <c:pt idx="12">
                  <c:v>0.73568655907308622</c:v>
                </c:pt>
                <c:pt idx="13">
                  <c:v>0.76408287726043855</c:v>
                </c:pt>
                <c:pt idx="14">
                  <c:v>0.79177254436059374</c:v>
                </c:pt>
                <c:pt idx="15">
                  <c:v>0.81687163822506181</c:v>
                </c:pt>
                <c:pt idx="16">
                  <c:v>0.84167389038301843</c:v>
                </c:pt>
                <c:pt idx="17">
                  <c:v>0.86112622635024505</c:v>
                </c:pt>
                <c:pt idx="18">
                  <c:v>0.87835481934966342</c:v>
                </c:pt>
                <c:pt idx="19">
                  <c:v>0.89519416161662102</c:v>
                </c:pt>
                <c:pt idx="20">
                  <c:v>0.91043034888629171</c:v>
                </c:pt>
                <c:pt idx="21">
                  <c:v>0.9233544486908718</c:v>
                </c:pt>
                <c:pt idx="22">
                  <c:v>0.93593828188911854</c:v>
                </c:pt>
                <c:pt idx="23">
                  <c:v>0.94846796507641595</c:v>
                </c:pt>
                <c:pt idx="24">
                  <c:v>0.95797243268832422</c:v>
                </c:pt>
                <c:pt idx="25">
                  <c:v>0.96671560096953968</c:v>
                </c:pt>
                <c:pt idx="26">
                  <c:v>0.97271791334545521</c:v>
                </c:pt>
                <c:pt idx="27">
                  <c:v>0.97721068599725047</c:v>
                </c:pt>
                <c:pt idx="28">
                  <c:v>0.98088090293792796</c:v>
                </c:pt>
                <c:pt idx="29">
                  <c:v>0.98397474349087377</c:v>
                </c:pt>
                <c:pt idx="30">
                  <c:v>0.98663276167966574</c:v>
                </c:pt>
                <c:pt idx="31">
                  <c:v>0.98856933914146616</c:v>
                </c:pt>
                <c:pt idx="32">
                  <c:v>0.99049613551170046</c:v>
                </c:pt>
                <c:pt idx="33">
                  <c:v>0.99216474253190712</c:v>
                </c:pt>
                <c:pt idx="34">
                  <c:v>0.99380974906308028</c:v>
                </c:pt>
                <c:pt idx="35">
                  <c:v>0.99533423576358848</c:v>
                </c:pt>
                <c:pt idx="36">
                  <c:v>0.99682678313560458</c:v>
                </c:pt>
                <c:pt idx="37">
                  <c:v>0.99809305426331962</c:v>
                </c:pt>
                <c:pt idx="38">
                  <c:v>0.99905645244843677</c:v>
                </c:pt>
                <c:pt idx="39">
                  <c:v>0.99966421748658318</c:v>
                </c:pt>
                <c:pt idx="40">
                  <c:v>0.99980102165468132</c:v>
                </c:pt>
                <c:pt idx="41">
                  <c:v>0.99980102165468132</c:v>
                </c:pt>
                <c:pt idx="42">
                  <c:v>0.99989364046275542</c:v>
                </c:pt>
                <c:pt idx="43">
                  <c:v>0.99993074567606932</c:v>
                </c:pt>
                <c:pt idx="44">
                  <c:v>0.99995075364621666</c:v>
                </c:pt>
                <c:pt idx="45">
                  <c:v>0.99996187209882803</c:v>
                </c:pt>
                <c:pt idx="46">
                  <c:v>0.99997338389292323</c:v>
                </c:pt>
                <c:pt idx="47">
                  <c:v>0.99998513169190884</c:v>
                </c:pt>
                <c:pt idx="48">
                  <c:v>0.9999909793686360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5</c:f>
              <c:strCache>
                <c:ptCount val="94"/>
                <c:pt idx="0">
                  <c:v>Apericube</c:v>
                </c:pt>
                <c:pt idx="1">
                  <c:v>Apericube</c:v>
                </c:pt>
                <c:pt idx="2">
                  <c:v>Apericube</c:v>
                </c:pt>
                <c:pt idx="3">
                  <c:v>Apericube</c:v>
                </c:pt>
                <c:pt idx="4">
                  <c:v>Apericube</c:v>
                </c:pt>
                <c:pt idx="5">
                  <c:v>Apericube</c:v>
                </c:pt>
                <c:pt idx="6">
                  <c:v>Boursin</c:v>
                </c:pt>
                <c:pt idx="7">
                  <c:v>Apericube</c:v>
                </c:pt>
                <c:pt idx="8">
                  <c:v>Apericube</c:v>
                </c:pt>
                <c:pt idx="9">
                  <c:v>Apericube</c:v>
                </c:pt>
                <c:pt idx="10">
                  <c:v>Aperivrais</c:v>
                </c:pt>
                <c:pt idx="11">
                  <c:v>Aperivrais</c:v>
                </c:pt>
                <c:pt idx="12">
                  <c:v>Apericube</c:v>
                </c:pt>
                <c:pt idx="13">
                  <c:v>Boursin</c:v>
                </c:pt>
                <c:pt idx="14">
                  <c:v>Aperivrais</c:v>
                </c:pt>
                <c:pt idx="15">
                  <c:v>St Moret</c:v>
                </c:pt>
                <c:pt idx="16">
                  <c:v>Apericube</c:v>
                </c:pt>
                <c:pt idx="17">
                  <c:v>Aperivrais</c:v>
                </c:pt>
                <c:pt idx="18">
                  <c:v>Apericube</c:v>
                </c:pt>
                <c:pt idx="19">
                  <c:v>Apericube</c:v>
                </c:pt>
                <c:pt idx="20">
                  <c:v>St Moret</c:v>
                </c:pt>
                <c:pt idx="21">
                  <c:v>Apericube</c:v>
                </c:pt>
                <c:pt idx="22">
                  <c:v>Private Lab</c:v>
                </c:pt>
                <c:pt idx="23">
                  <c:v>Apericube</c:v>
                </c:pt>
                <c:pt idx="24">
                  <c:v>Apericube</c:v>
                </c:pt>
                <c:pt idx="25">
                  <c:v>Leerdammer</c:v>
                </c:pt>
                <c:pt idx="26">
                  <c:v>All Others</c:v>
                </c:pt>
                <c:pt idx="27">
                  <c:v>Apericube</c:v>
                </c:pt>
                <c:pt idx="28">
                  <c:v>All Others</c:v>
                </c:pt>
                <c:pt idx="29">
                  <c:v>Apericube</c:v>
                </c:pt>
                <c:pt idx="30">
                  <c:v>O'Tapas Ape</c:v>
                </c:pt>
                <c:pt idx="31">
                  <c:v>Aperivrais</c:v>
                </c:pt>
                <c:pt idx="32">
                  <c:v>Private Lab</c:v>
                </c:pt>
                <c:pt idx="33">
                  <c:v>Apericube</c:v>
                </c:pt>
                <c:pt idx="34">
                  <c:v>Apericube</c:v>
                </c:pt>
                <c:pt idx="35">
                  <c:v>O'Tapas Ape</c:v>
                </c:pt>
                <c:pt idx="36">
                  <c:v>St Moret</c:v>
                </c:pt>
                <c:pt idx="37">
                  <c:v>Aperivrais</c:v>
                </c:pt>
                <c:pt idx="38">
                  <c:v>Entremont</c:v>
                </c:pt>
                <c:pt idx="39">
                  <c:v>Richesmonts</c:v>
                </c:pt>
                <c:pt idx="40">
                  <c:v>Aperivrais</c:v>
                </c:pt>
                <c:pt idx="41">
                  <c:v>Apericube</c:v>
                </c:pt>
                <c:pt idx="42">
                  <c:v>Aperivrais</c:v>
                </c:pt>
                <c:pt idx="43">
                  <c:v>Entremont</c:v>
                </c:pt>
                <c:pt idx="44">
                  <c:v>O'Tapas Ape</c:v>
                </c:pt>
                <c:pt idx="45">
                  <c:v>Apericube</c:v>
                </c:pt>
                <c:pt idx="46">
                  <c:v>Apericube</c:v>
                </c:pt>
                <c:pt idx="47">
                  <c:v>O'Tapas Ape</c:v>
                </c:pt>
                <c:pt idx="48">
                  <c:v>Richesmonts</c:v>
                </c:pt>
                <c:pt idx="49">
                  <c:v>Boursin</c:v>
                </c:pt>
                <c:pt idx="50">
                  <c:v>Boursin</c:v>
                </c:pt>
                <c:pt idx="51">
                  <c:v>All Others</c:v>
                </c:pt>
                <c:pt idx="52">
                  <c:v>All Others</c:v>
                </c:pt>
                <c:pt idx="53">
                  <c:v>O'Tapas Ape</c:v>
                </c:pt>
                <c:pt idx="54">
                  <c:v>All Others</c:v>
                </c:pt>
                <c:pt idx="55">
                  <c:v>All Others</c:v>
                </c:pt>
                <c:pt idx="56">
                  <c:v>All Others</c:v>
                </c:pt>
                <c:pt idx="57">
                  <c:v>All Others</c:v>
                </c:pt>
                <c:pt idx="58">
                  <c:v>All Others</c:v>
                </c:pt>
                <c:pt idx="59">
                  <c:v>Private Lab</c:v>
                </c:pt>
                <c:pt idx="60">
                  <c:v>St Moret</c:v>
                </c:pt>
                <c:pt idx="61">
                  <c:v>All Others</c:v>
                </c:pt>
                <c:pt idx="62">
                  <c:v>All Others</c:v>
                </c:pt>
                <c:pt idx="63">
                  <c:v>All Others</c:v>
                </c:pt>
                <c:pt idx="64">
                  <c:v>All Others</c:v>
                </c:pt>
                <c:pt idx="65">
                  <c:v>All Others</c:v>
                </c:pt>
                <c:pt idx="66">
                  <c:v>All Others</c:v>
                </c:pt>
                <c:pt idx="67">
                  <c:v>Soignon</c:v>
                </c:pt>
                <c:pt idx="68">
                  <c:v>All Others</c:v>
                </c:pt>
                <c:pt idx="69">
                  <c:v>All Others</c:v>
                </c:pt>
                <c:pt idx="70">
                  <c:v>All Others</c:v>
                </c:pt>
                <c:pt idx="71">
                  <c:v>All Others</c:v>
                </c:pt>
                <c:pt idx="72">
                  <c:v>All Others</c:v>
                </c:pt>
                <c:pt idx="73">
                  <c:v>All Others</c:v>
                </c:pt>
                <c:pt idx="74">
                  <c:v>All Others</c:v>
                </c:pt>
                <c:pt idx="75">
                  <c:v>All Others</c:v>
                </c:pt>
                <c:pt idx="76">
                  <c:v>All Others</c:v>
                </c:pt>
                <c:pt idx="77">
                  <c:v>All Others</c:v>
                </c:pt>
                <c:pt idx="78">
                  <c:v>All Others</c:v>
                </c:pt>
                <c:pt idx="79">
                  <c:v>O'Tapas Ape</c:v>
                </c:pt>
                <c:pt idx="80">
                  <c:v>All Others</c:v>
                </c:pt>
                <c:pt idx="81">
                  <c:v>All Others</c:v>
                </c:pt>
                <c:pt idx="82">
                  <c:v>All Others</c:v>
                </c:pt>
                <c:pt idx="83">
                  <c:v>All Others</c:v>
                </c:pt>
                <c:pt idx="84">
                  <c:v>All Others</c:v>
                </c:pt>
                <c:pt idx="85">
                  <c:v>All Others</c:v>
                </c:pt>
                <c:pt idx="86">
                  <c:v>All Others</c:v>
                </c:pt>
                <c:pt idx="87">
                  <c:v>All Others</c:v>
                </c:pt>
                <c:pt idx="88">
                  <c:v>All Others</c:v>
                </c:pt>
                <c:pt idx="89">
                  <c:v>All Others</c:v>
                </c:pt>
                <c:pt idx="90">
                  <c:v>All Others</c:v>
                </c:pt>
                <c:pt idx="91">
                  <c:v>All Others</c:v>
                </c:pt>
                <c:pt idx="92">
                  <c:v>All Others</c:v>
                </c:pt>
                <c:pt idx="93">
                  <c:v>Boursin</c:v>
                </c:pt>
              </c:strCache>
            </c:strRef>
          </c:cat>
          <c:val>
            <c:numRef>
              <c:f>Sheet1!$B$2:$B$95</c:f>
              <c:numCache>
                <c:formatCode>General</c:formatCode>
                <c:ptCount val="94"/>
                <c:pt idx="0">
                  <c:v>1</c:v>
                </c:pt>
                <c:pt idx="1">
                  <c:v>1</c:v>
                </c:pt>
                <c:pt idx="2">
                  <c:v>1</c:v>
                </c:pt>
                <c:pt idx="3">
                  <c:v>0.99</c:v>
                </c:pt>
                <c:pt idx="4">
                  <c:v>0.97</c:v>
                </c:pt>
                <c:pt idx="5">
                  <c:v>0.98</c:v>
                </c:pt>
                <c:pt idx="6">
                  <c:v>1</c:v>
                </c:pt>
                <c:pt idx="7">
                  <c:v>1</c:v>
                </c:pt>
                <c:pt idx="8">
                  <c:v>1</c:v>
                </c:pt>
                <c:pt idx="9">
                  <c:v>0.91</c:v>
                </c:pt>
                <c:pt idx="10">
                  <c:v>1</c:v>
                </c:pt>
                <c:pt idx="11">
                  <c:v>1</c:v>
                </c:pt>
                <c:pt idx="12">
                  <c:v>0.99</c:v>
                </c:pt>
                <c:pt idx="13">
                  <c:v>0.95</c:v>
                </c:pt>
                <c:pt idx="14">
                  <c:v>0.98</c:v>
                </c:pt>
                <c:pt idx="15">
                  <c:v>1</c:v>
                </c:pt>
                <c:pt idx="16">
                  <c:v>0.97</c:v>
                </c:pt>
                <c:pt idx="17">
                  <c:v>0.93</c:v>
                </c:pt>
                <c:pt idx="18">
                  <c:v>0.98</c:v>
                </c:pt>
                <c:pt idx="19">
                  <c:v>0.7</c:v>
                </c:pt>
                <c:pt idx="20">
                  <c:v>0.87</c:v>
                </c:pt>
                <c:pt idx="21">
                  <c:v>0.79</c:v>
                </c:pt>
                <c:pt idx="22">
                  <c:v>0.99</c:v>
                </c:pt>
                <c:pt idx="23">
                  <c:v>0.97</c:v>
                </c:pt>
                <c:pt idx="24">
                  <c:v>0.7</c:v>
                </c:pt>
                <c:pt idx="25">
                  <c:v>0.99</c:v>
                </c:pt>
                <c:pt idx="26">
                  <c:v>0.63</c:v>
                </c:pt>
                <c:pt idx="27">
                  <c:v>0.66</c:v>
                </c:pt>
                <c:pt idx="28">
                  <c:v>0.69</c:v>
                </c:pt>
                <c:pt idx="29">
                  <c:v>0.96</c:v>
                </c:pt>
                <c:pt idx="30">
                  <c:v>0.45</c:v>
                </c:pt>
                <c:pt idx="31">
                  <c:v>0.88</c:v>
                </c:pt>
                <c:pt idx="32">
                  <c:v>0.91</c:v>
                </c:pt>
                <c:pt idx="33">
                  <c:v>0.71</c:v>
                </c:pt>
                <c:pt idx="34">
                  <c:v>0.83</c:v>
                </c:pt>
                <c:pt idx="35">
                  <c:v>0.43</c:v>
                </c:pt>
                <c:pt idx="36">
                  <c:v>0.82</c:v>
                </c:pt>
                <c:pt idx="37">
                  <c:v>0.79</c:v>
                </c:pt>
                <c:pt idx="38">
                  <c:v>0.92</c:v>
                </c:pt>
                <c:pt idx="39">
                  <c:v>0.93</c:v>
                </c:pt>
                <c:pt idx="40">
                  <c:v>0.89</c:v>
                </c:pt>
                <c:pt idx="41">
                  <c:v>0.31</c:v>
                </c:pt>
                <c:pt idx="42">
                  <c:v>0.85</c:v>
                </c:pt>
                <c:pt idx="43">
                  <c:v>0.91</c:v>
                </c:pt>
                <c:pt idx="44">
                  <c:v>0.36</c:v>
                </c:pt>
                <c:pt idx="45">
                  <c:v>0.09</c:v>
                </c:pt>
                <c:pt idx="46">
                  <c:v>0.54</c:v>
                </c:pt>
                <c:pt idx="47">
                  <c:v>0.32</c:v>
                </c:pt>
                <c:pt idx="48">
                  <c:v>0.79</c:v>
                </c:pt>
                <c:pt idx="49">
                  <c:v>0.53</c:v>
                </c:pt>
                <c:pt idx="50">
                  <c:v>0.48</c:v>
                </c:pt>
                <c:pt idx="51">
                  <c:v>0.1</c:v>
                </c:pt>
                <c:pt idx="52">
                  <c:v>0.08</c:v>
                </c:pt>
                <c:pt idx="53">
                  <c:v>0.23</c:v>
                </c:pt>
                <c:pt idx="54">
                  <c:v>0.11</c:v>
                </c:pt>
                <c:pt idx="55">
                  <c:v>0.11</c:v>
                </c:pt>
                <c:pt idx="56">
                  <c:v>0.01</c:v>
                </c:pt>
                <c:pt idx="57">
                  <c:v>0.01</c:v>
                </c:pt>
                <c:pt idx="58">
                  <c:v>0.1</c:v>
                </c:pt>
                <c:pt idx="59">
                  <c:v>0.76</c:v>
                </c:pt>
                <c:pt idx="60">
                  <c:v>0.14000000000000001</c:v>
                </c:pt>
                <c:pt idx="61">
                  <c:v>0.12</c:v>
                </c:pt>
                <c:pt idx="62">
                  <c:v>0.01</c:v>
                </c:pt>
                <c:pt idx="63">
                  <c:v>0.03</c:v>
                </c:pt>
                <c:pt idx="64">
                  <c:v>0.01</c:v>
                </c:pt>
                <c:pt idx="65">
                  <c:v>0.01</c:v>
                </c:pt>
                <c:pt idx="66">
                  <c:v>0.13</c:v>
                </c:pt>
                <c:pt idx="67">
                  <c:v>0.09</c:v>
                </c:pt>
                <c:pt idx="68">
                  <c:v>0.01</c:v>
                </c:pt>
                <c:pt idx="69">
                  <c:v>0.06</c:v>
                </c:pt>
                <c:pt idx="70">
                  <c:v>0.12</c:v>
                </c:pt>
                <c:pt idx="71">
                  <c:v>0.02</c:v>
                </c:pt>
                <c:pt idx="72">
                  <c:v>0.05</c:v>
                </c:pt>
                <c:pt idx="73">
                  <c:v>0.08</c:v>
                </c:pt>
                <c:pt idx="74">
                  <c:v>0.04</c:v>
                </c:pt>
                <c:pt idx="75">
                  <c:v>0.03</c:v>
                </c:pt>
                <c:pt idx="76">
                  <c:v>0.01</c:v>
                </c:pt>
                <c:pt idx="77">
                  <c:v>0.03</c:v>
                </c:pt>
                <c:pt idx="78">
                  <c:v>0.06</c:v>
                </c:pt>
                <c:pt idx="79">
                  <c:v>0.08</c:v>
                </c:pt>
                <c:pt idx="80">
                  <c:v>7.0000000000000007E-2</c:v>
                </c:pt>
                <c:pt idx="81">
                  <c:v>0.06</c:v>
                </c:pt>
                <c:pt idx="82">
                  <c:v>0.01</c:v>
                </c:pt>
                <c:pt idx="83">
                  <c:v>0.02</c:v>
                </c:pt>
                <c:pt idx="84">
                  <c:v>0.02</c:v>
                </c:pt>
                <c:pt idx="85">
                  <c:v>0.01</c:v>
                </c:pt>
                <c:pt idx="86">
                  <c:v>0.02</c:v>
                </c:pt>
                <c:pt idx="87">
                  <c:v>0.01</c:v>
                </c:pt>
                <c:pt idx="88">
                  <c:v>0.02</c:v>
                </c:pt>
                <c:pt idx="89">
                  <c:v>0.01</c:v>
                </c:pt>
                <c:pt idx="90">
                  <c:v>0.02</c:v>
                </c:pt>
                <c:pt idx="91">
                  <c:v>0.03</c:v>
                </c:pt>
                <c:pt idx="92">
                  <c:v>0.01</c:v>
                </c:pt>
                <c:pt idx="93">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5</c:f>
              <c:strCache>
                <c:ptCount val="94"/>
                <c:pt idx="0">
                  <c:v>Apericube</c:v>
                </c:pt>
                <c:pt idx="1">
                  <c:v>Apericube</c:v>
                </c:pt>
                <c:pt idx="2">
                  <c:v>Apericube</c:v>
                </c:pt>
                <c:pt idx="3">
                  <c:v>Apericube</c:v>
                </c:pt>
                <c:pt idx="4">
                  <c:v>Apericube</c:v>
                </c:pt>
                <c:pt idx="5">
                  <c:v>Apericube</c:v>
                </c:pt>
                <c:pt idx="6">
                  <c:v>Boursin</c:v>
                </c:pt>
                <c:pt idx="7">
                  <c:v>Apericube</c:v>
                </c:pt>
                <c:pt idx="8">
                  <c:v>Apericube</c:v>
                </c:pt>
                <c:pt idx="9">
                  <c:v>Apericube</c:v>
                </c:pt>
                <c:pt idx="10">
                  <c:v>Aperivrais</c:v>
                </c:pt>
                <c:pt idx="11">
                  <c:v>Aperivrais</c:v>
                </c:pt>
                <c:pt idx="12">
                  <c:v>Apericube</c:v>
                </c:pt>
                <c:pt idx="13">
                  <c:v>Boursin</c:v>
                </c:pt>
                <c:pt idx="14">
                  <c:v>Aperivrais</c:v>
                </c:pt>
                <c:pt idx="15">
                  <c:v>St Moret</c:v>
                </c:pt>
                <c:pt idx="16">
                  <c:v>Apericube</c:v>
                </c:pt>
                <c:pt idx="17">
                  <c:v>Aperivrais</c:v>
                </c:pt>
                <c:pt idx="18">
                  <c:v>Apericube</c:v>
                </c:pt>
                <c:pt idx="19">
                  <c:v>Apericube</c:v>
                </c:pt>
                <c:pt idx="20">
                  <c:v>St Moret</c:v>
                </c:pt>
                <c:pt idx="21">
                  <c:v>Apericube</c:v>
                </c:pt>
                <c:pt idx="22">
                  <c:v>Private Lab</c:v>
                </c:pt>
                <c:pt idx="23">
                  <c:v>Apericube</c:v>
                </c:pt>
                <c:pt idx="24">
                  <c:v>Apericube</c:v>
                </c:pt>
                <c:pt idx="25">
                  <c:v>Leerdammer</c:v>
                </c:pt>
                <c:pt idx="26">
                  <c:v>All Others</c:v>
                </c:pt>
                <c:pt idx="27">
                  <c:v>Apericube</c:v>
                </c:pt>
                <c:pt idx="28">
                  <c:v>All Others</c:v>
                </c:pt>
                <c:pt idx="29">
                  <c:v>Apericube</c:v>
                </c:pt>
                <c:pt idx="30">
                  <c:v>O'Tapas Ape</c:v>
                </c:pt>
                <c:pt idx="31">
                  <c:v>Aperivrais</c:v>
                </c:pt>
                <c:pt idx="32">
                  <c:v>Private Lab</c:v>
                </c:pt>
                <c:pt idx="33">
                  <c:v>Apericube</c:v>
                </c:pt>
                <c:pt idx="34">
                  <c:v>Apericube</c:v>
                </c:pt>
                <c:pt idx="35">
                  <c:v>O'Tapas Ape</c:v>
                </c:pt>
                <c:pt idx="36">
                  <c:v>St Moret</c:v>
                </c:pt>
                <c:pt idx="37">
                  <c:v>Aperivrais</c:v>
                </c:pt>
                <c:pt idx="38">
                  <c:v>Entremont</c:v>
                </c:pt>
                <c:pt idx="39">
                  <c:v>Richesmonts</c:v>
                </c:pt>
                <c:pt idx="40">
                  <c:v>Aperivrais</c:v>
                </c:pt>
                <c:pt idx="41">
                  <c:v>Apericube</c:v>
                </c:pt>
                <c:pt idx="42">
                  <c:v>Aperivrais</c:v>
                </c:pt>
                <c:pt idx="43">
                  <c:v>Entremont</c:v>
                </c:pt>
                <c:pt idx="44">
                  <c:v>O'Tapas Ape</c:v>
                </c:pt>
                <c:pt idx="45">
                  <c:v>Apericube</c:v>
                </c:pt>
                <c:pt idx="46">
                  <c:v>Apericube</c:v>
                </c:pt>
                <c:pt idx="47">
                  <c:v>O'Tapas Ape</c:v>
                </c:pt>
                <c:pt idx="48">
                  <c:v>Richesmonts</c:v>
                </c:pt>
                <c:pt idx="49">
                  <c:v>Boursin</c:v>
                </c:pt>
                <c:pt idx="50">
                  <c:v>Boursin</c:v>
                </c:pt>
                <c:pt idx="51">
                  <c:v>All Others</c:v>
                </c:pt>
                <c:pt idx="52">
                  <c:v>All Others</c:v>
                </c:pt>
                <c:pt idx="53">
                  <c:v>O'Tapas Ape</c:v>
                </c:pt>
                <c:pt idx="54">
                  <c:v>All Others</c:v>
                </c:pt>
                <c:pt idx="55">
                  <c:v>All Others</c:v>
                </c:pt>
                <c:pt idx="56">
                  <c:v>All Others</c:v>
                </c:pt>
                <c:pt idx="57">
                  <c:v>All Others</c:v>
                </c:pt>
                <c:pt idx="58">
                  <c:v>All Others</c:v>
                </c:pt>
                <c:pt idx="59">
                  <c:v>Private Lab</c:v>
                </c:pt>
                <c:pt idx="60">
                  <c:v>St Moret</c:v>
                </c:pt>
                <c:pt idx="61">
                  <c:v>All Others</c:v>
                </c:pt>
                <c:pt idx="62">
                  <c:v>All Others</c:v>
                </c:pt>
                <c:pt idx="63">
                  <c:v>All Others</c:v>
                </c:pt>
                <c:pt idx="64">
                  <c:v>All Others</c:v>
                </c:pt>
                <c:pt idx="65">
                  <c:v>All Others</c:v>
                </c:pt>
                <c:pt idx="66">
                  <c:v>All Others</c:v>
                </c:pt>
                <c:pt idx="67">
                  <c:v>Soignon</c:v>
                </c:pt>
                <c:pt idx="68">
                  <c:v>All Others</c:v>
                </c:pt>
                <c:pt idx="69">
                  <c:v>All Others</c:v>
                </c:pt>
                <c:pt idx="70">
                  <c:v>All Others</c:v>
                </c:pt>
                <c:pt idx="71">
                  <c:v>All Others</c:v>
                </c:pt>
                <c:pt idx="72">
                  <c:v>All Others</c:v>
                </c:pt>
                <c:pt idx="73">
                  <c:v>All Others</c:v>
                </c:pt>
                <c:pt idx="74">
                  <c:v>All Others</c:v>
                </c:pt>
                <c:pt idx="75">
                  <c:v>All Others</c:v>
                </c:pt>
                <c:pt idx="76">
                  <c:v>All Others</c:v>
                </c:pt>
                <c:pt idx="77">
                  <c:v>All Others</c:v>
                </c:pt>
                <c:pt idx="78">
                  <c:v>All Others</c:v>
                </c:pt>
                <c:pt idx="79">
                  <c:v>O'Tapas Ape</c:v>
                </c:pt>
                <c:pt idx="80">
                  <c:v>All Others</c:v>
                </c:pt>
                <c:pt idx="81">
                  <c:v>All Others</c:v>
                </c:pt>
                <c:pt idx="82">
                  <c:v>All Others</c:v>
                </c:pt>
                <c:pt idx="83">
                  <c:v>All Others</c:v>
                </c:pt>
                <c:pt idx="84">
                  <c:v>All Others</c:v>
                </c:pt>
                <c:pt idx="85">
                  <c:v>All Others</c:v>
                </c:pt>
                <c:pt idx="86">
                  <c:v>All Others</c:v>
                </c:pt>
                <c:pt idx="87">
                  <c:v>All Others</c:v>
                </c:pt>
                <c:pt idx="88">
                  <c:v>All Others</c:v>
                </c:pt>
                <c:pt idx="89">
                  <c:v>All Others</c:v>
                </c:pt>
                <c:pt idx="90">
                  <c:v>All Others</c:v>
                </c:pt>
                <c:pt idx="91">
                  <c:v>All Others</c:v>
                </c:pt>
                <c:pt idx="92">
                  <c:v>All Others</c:v>
                </c:pt>
                <c:pt idx="93">
                  <c:v>Boursin</c:v>
                </c:pt>
              </c:strCache>
            </c:strRef>
          </c:cat>
          <c:val>
            <c:numRef>
              <c:f>Sheet1!$C$2:$C$95</c:f>
              <c:numCache>
                <c:formatCode>General</c:formatCode>
                <c:ptCount val="94"/>
                <c:pt idx="0">
                  <c:v>8.4687304146072909E-2</c:v>
                </c:pt>
                <c:pt idx="1">
                  <c:v>0.16285526224831659</c:v>
                </c:pt>
                <c:pt idx="2">
                  <c:v>0.23729084026624297</c:v>
                </c:pt>
                <c:pt idx="3">
                  <c:v>0.29446534238210409</c:v>
                </c:pt>
                <c:pt idx="4">
                  <c:v>0.34777619768264589</c:v>
                </c:pt>
                <c:pt idx="5">
                  <c:v>0.39439333068685506</c:v>
                </c:pt>
                <c:pt idx="6">
                  <c:v>0.44051288349193701</c:v>
                </c:pt>
                <c:pt idx="7">
                  <c:v>0.48517047143433306</c:v>
                </c:pt>
                <c:pt idx="8">
                  <c:v>0.52751142182073596</c:v>
                </c:pt>
                <c:pt idx="9">
                  <c:v>0.56181761489113291</c:v>
                </c:pt>
                <c:pt idx="10">
                  <c:v>0.59517281426650293</c:v>
                </c:pt>
                <c:pt idx="11">
                  <c:v>0.62707632693485837</c:v>
                </c:pt>
                <c:pt idx="12">
                  <c:v>0.6794282009451087</c:v>
                </c:pt>
                <c:pt idx="13">
                  <c:v>0.70178906276200115</c:v>
                </c:pt>
                <c:pt idx="14">
                  <c:v>0.72073393549229803</c:v>
                </c:pt>
                <c:pt idx="15">
                  <c:v>0.73940599660491957</c:v>
                </c:pt>
                <c:pt idx="16">
                  <c:v>0.7577533267306461</c:v>
                </c:pt>
                <c:pt idx="17">
                  <c:v>0.77380363589463208</c:v>
                </c:pt>
                <c:pt idx="18">
                  <c:v>0.78975081110799628</c:v>
                </c:pt>
                <c:pt idx="19">
                  <c:v>0.80396673378008654</c:v>
                </c:pt>
                <c:pt idx="20">
                  <c:v>0.81790602723382344</c:v>
                </c:pt>
                <c:pt idx="21">
                  <c:v>0.83156634217648218</c:v>
                </c:pt>
                <c:pt idx="22">
                  <c:v>0.84374801227810847</c:v>
                </c:pt>
                <c:pt idx="23">
                  <c:v>0.8544936772016587</c:v>
                </c:pt>
                <c:pt idx="24">
                  <c:v>0.86405236197596891</c:v>
                </c:pt>
                <c:pt idx="25">
                  <c:v>0.87198369167976242</c:v>
                </c:pt>
                <c:pt idx="26">
                  <c:v>0.8798695625693298</c:v>
                </c:pt>
                <c:pt idx="27">
                  <c:v>0.88773552320305382</c:v>
                </c:pt>
                <c:pt idx="28">
                  <c:v>0.89532873095142063</c:v>
                </c:pt>
                <c:pt idx="29">
                  <c:v>0.90285533625103742</c:v>
                </c:pt>
                <c:pt idx="30">
                  <c:v>0.90994326986660301</c:v>
                </c:pt>
                <c:pt idx="31">
                  <c:v>0.91537459971722734</c:v>
                </c:pt>
                <c:pt idx="32">
                  <c:v>0.92072834417561289</c:v>
                </c:pt>
                <c:pt idx="33">
                  <c:v>0.92555338030626666</c:v>
                </c:pt>
                <c:pt idx="34">
                  <c:v>0.93030864244299183</c:v>
                </c:pt>
                <c:pt idx="35">
                  <c:v>0.93488864734244181</c:v>
                </c:pt>
                <c:pt idx="36">
                  <c:v>0.93943822890110473</c:v>
                </c:pt>
                <c:pt idx="37">
                  <c:v>0.94396508105265453</c:v>
                </c:pt>
                <c:pt idx="38">
                  <c:v>0.94839449628844041</c:v>
                </c:pt>
                <c:pt idx="39">
                  <c:v>0.9526221660114782</c:v>
                </c:pt>
                <c:pt idx="40">
                  <c:v>0.95672908208845775</c:v>
                </c:pt>
                <c:pt idx="41">
                  <c:v>0.960706082277752</c:v>
                </c:pt>
                <c:pt idx="42">
                  <c:v>0.96417252242561413</c:v>
                </c:pt>
                <c:pt idx="43">
                  <c:v>0.96757741110408468</c:v>
                </c:pt>
                <c:pt idx="44">
                  <c:v>0.97069580353475748</c:v>
                </c:pt>
                <c:pt idx="45">
                  <c:v>0.9734435950380822</c:v>
                </c:pt>
                <c:pt idx="46">
                  <c:v>0.97595451910242204</c:v>
                </c:pt>
                <c:pt idx="47">
                  <c:v>0.97799816884378543</c:v>
                </c:pt>
                <c:pt idx="48">
                  <c:v>0.97994878659324403</c:v>
                </c:pt>
                <c:pt idx="49">
                  <c:v>0.98178816533218005</c:v>
                </c:pt>
                <c:pt idx="50">
                  <c:v>0.9833031654781299</c:v>
                </c:pt>
                <c:pt idx="51">
                  <c:v>0.98471180139596126</c:v>
                </c:pt>
                <c:pt idx="52">
                  <c:v>0.98603269123051873</c:v>
                </c:pt>
                <c:pt idx="53">
                  <c:v>0.98734565220212978</c:v>
                </c:pt>
                <c:pt idx="54">
                  <c:v>0.98865784965360526</c:v>
                </c:pt>
                <c:pt idx="55">
                  <c:v>0.98968243494323871</c:v>
                </c:pt>
                <c:pt idx="56">
                  <c:v>0.99047908010624175</c:v>
                </c:pt>
                <c:pt idx="57">
                  <c:v>0.99121840252675797</c:v>
                </c:pt>
                <c:pt idx="58">
                  <c:v>0.99189452897297525</c:v>
                </c:pt>
                <c:pt idx="59">
                  <c:v>0.9925664854246059</c:v>
                </c:pt>
                <c:pt idx="60">
                  <c:v>0.99323380202310496</c:v>
                </c:pt>
                <c:pt idx="61">
                  <c:v>0.99372709476300936</c:v>
                </c:pt>
                <c:pt idx="62">
                  <c:v>0.99418878951576417</c:v>
                </c:pt>
                <c:pt idx="63">
                  <c:v>0.99460913671656137</c:v>
                </c:pt>
                <c:pt idx="64">
                  <c:v>0.99501985181718655</c:v>
                </c:pt>
                <c:pt idx="65">
                  <c:v>0.99541406313641956</c:v>
                </c:pt>
                <c:pt idx="66">
                  <c:v>0.99580480924888337</c:v>
                </c:pt>
                <c:pt idx="67">
                  <c:v>0.9961638986418796</c:v>
                </c:pt>
                <c:pt idx="68">
                  <c:v>0.99650478101625806</c:v>
                </c:pt>
                <c:pt idx="69">
                  <c:v>0.99683843931550753</c:v>
                </c:pt>
                <c:pt idx="70">
                  <c:v>0.99715882411086154</c:v>
                </c:pt>
                <c:pt idx="71">
                  <c:v>0.99771049677497892</c:v>
                </c:pt>
                <c:pt idx="72">
                  <c:v>0.99796046152090501</c:v>
                </c:pt>
                <c:pt idx="73">
                  <c:v>0.99820138148984028</c:v>
                </c:pt>
                <c:pt idx="74">
                  <c:v>0.99842233247061418</c:v>
                </c:pt>
                <c:pt idx="75">
                  <c:v>0.99860311054579287</c:v>
                </c:pt>
                <c:pt idx="76">
                  <c:v>0.99874835556850794</c:v>
                </c:pt>
                <c:pt idx="77">
                  <c:v>0.99889289580340546</c:v>
                </c:pt>
                <c:pt idx="78">
                  <c:v>0.99903121041258214</c:v>
                </c:pt>
                <c:pt idx="79">
                  <c:v>0.99928258473414311</c:v>
                </c:pt>
                <c:pt idx="80">
                  <c:v>0.9993892426238522</c:v>
                </c:pt>
                <c:pt idx="81">
                  <c:v>0.99948245081271136</c:v>
                </c:pt>
                <c:pt idx="82">
                  <c:v>0.99955028664014201</c:v>
                </c:pt>
                <c:pt idx="83">
                  <c:v>0.99961260162966914</c:v>
                </c:pt>
                <c:pt idx="84">
                  <c:v>0.99972331204932863</c:v>
                </c:pt>
                <c:pt idx="85">
                  <c:v>0.9997729408581415</c:v>
                </c:pt>
                <c:pt idx="86">
                  <c:v>0.9998543438510582</c:v>
                </c:pt>
                <c:pt idx="87">
                  <c:v>0.99988435606561843</c:v>
                </c:pt>
                <c:pt idx="88">
                  <c:v>0.99990450125073416</c:v>
                </c:pt>
                <c:pt idx="89">
                  <c:v>0.99994373443923945</c:v>
                </c:pt>
                <c:pt idx="90">
                  <c:v>0.99996810835126004</c:v>
                </c:pt>
                <c:pt idx="91">
                  <c:v>0.99998302636006298</c:v>
                </c:pt>
                <c:pt idx="92">
                  <c:v>0.99998989804128324</c:v>
                </c:pt>
                <c:pt idx="93">
                  <c:v>0.9999974157780028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9</c:f>
              <c:strCache>
                <c:ptCount val="68"/>
                <c:pt idx="0">
                  <c:v>Apericube</c:v>
                </c:pt>
                <c:pt idx="1">
                  <c:v>Apericube</c:v>
                </c:pt>
                <c:pt idx="2">
                  <c:v>Apericube</c:v>
                </c:pt>
                <c:pt idx="3">
                  <c:v>Boursin</c:v>
                </c:pt>
                <c:pt idx="4">
                  <c:v>Apericube</c:v>
                </c:pt>
                <c:pt idx="5">
                  <c:v>Apericube</c:v>
                </c:pt>
                <c:pt idx="6">
                  <c:v>Apericube</c:v>
                </c:pt>
                <c:pt idx="7">
                  <c:v>Aperivrais</c:v>
                </c:pt>
                <c:pt idx="8">
                  <c:v>Aperivrais</c:v>
                </c:pt>
                <c:pt idx="9">
                  <c:v>Boursin</c:v>
                </c:pt>
                <c:pt idx="10">
                  <c:v>Apericube</c:v>
                </c:pt>
                <c:pt idx="11">
                  <c:v>Apericube</c:v>
                </c:pt>
                <c:pt idx="12">
                  <c:v>Aperivrais</c:v>
                </c:pt>
                <c:pt idx="13">
                  <c:v>Private Lab</c:v>
                </c:pt>
                <c:pt idx="14">
                  <c:v>Apericube</c:v>
                </c:pt>
                <c:pt idx="15">
                  <c:v>St Moret</c:v>
                </c:pt>
                <c:pt idx="16">
                  <c:v>Aperivrais</c:v>
                </c:pt>
                <c:pt idx="17">
                  <c:v>Apericube</c:v>
                </c:pt>
                <c:pt idx="18">
                  <c:v>St Moret</c:v>
                </c:pt>
                <c:pt idx="19">
                  <c:v>All Others</c:v>
                </c:pt>
                <c:pt idx="20">
                  <c:v>Leerdammer</c:v>
                </c:pt>
                <c:pt idx="21">
                  <c:v>Apericube</c:v>
                </c:pt>
                <c:pt idx="22">
                  <c:v>Apericube</c:v>
                </c:pt>
                <c:pt idx="23">
                  <c:v>Apericube</c:v>
                </c:pt>
                <c:pt idx="24">
                  <c:v>Entremont</c:v>
                </c:pt>
                <c:pt idx="25">
                  <c:v>Apericube</c:v>
                </c:pt>
                <c:pt idx="26">
                  <c:v>Apericube</c:v>
                </c:pt>
                <c:pt idx="27">
                  <c:v>Richesmonts</c:v>
                </c:pt>
                <c:pt idx="28">
                  <c:v>Apericube</c:v>
                </c:pt>
                <c:pt idx="29">
                  <c:v>Apericube</c:v>
                </c:pt>
                <c:pt idx="30">
                  <c:v>Entremont</c:v>
                </c:pt>
                <c:pt idx="31">
                  <c:v>O'Tapas Ape</c:v>
                </c:pt>
                <c:pt idx="32">
                  <c:v>All Others</c:v>
                </c:pt>
                <c:pt idx="33">
                  <c:v>Aperivrais</c:v>
                </c:pt>
                <c:pt idx="34">
                  <c:v>Aperivrais</c:v>
                </c:pt>
                <c:pt idx="35">
                  <c:v>Apericube</c:v>
                </c:pt>
                <c:pt idx="36">
                  <c:v>O'Tapas Ape</c:v>
                </c:pt>
                <c:pt idx="37">
                  <c:v>All Others</c:v>
                </c:pt>
                <c:pt idx="38">
                  <c:v>All Others</c:v>
                </c:pt>
                <c:pt idx="39">
                  <c:v>O'Tapas Ape</c:v>
                </c:pt>
                <c:pt idx="40">
                  <c:v>Boursin</c:v>
                </c:pt>
                <c:pt idx="41">
                  <c:v>O'Tapas Ape</c:v>
                </c:pt>
                <c:pt idx="42">
                  <c:v>Aperivrais</c:v>
                </c:pt>
                <c:pt idx="43">
                  <c:v>Boursin</c:v>
                </c:pt>
                <c:pt idx="44">
                  <c:v>Aperivrais</c:v>
                </c:pt>
                <c:pt idx="45">
                  <c:v>St Moret</c:v>
                </c:pt>
                <c:pt idx="46">
                  <c:v>Private Lab</c:v>
                </c:pt>
                <c:pt idx="47">
                  <c:v>O'Tapas Ape</c:v>
                </c:pt>
                <c:pt idx="48">
                  <c:v>All Others</c:v>
                </c:pt>
                <c:pt idx="49">
                  <c:v>All Others</c:v>
                </c:pt>
                <c:pt idx="50">
                  <c:v>Apericube</c:v>
                </c:pt>
                <c:pt idx="51">
                  <c:v>Apericube</c:v>
                </c:pt>
                <c:pt idx="52">
                  <c:v>All Others</c:v>
                </c:pt>
                <c:pt idx="53">
                  <c:v>Apericube</c:v>
                </c:pt>
                <c:pt idx="54">
                  <c:v>All Others</c:v>
                </c:pt>
                <c:pt idx="55">
                  <c:v>All Others</c:v>
                </c:pt>
                <c:pt idx="56">
                  <c:v>All Others</c:v>
                </c:pt>
                <c:pt idx="57">
                  <c:v>Apericube</c:v>
                </c:pt>
                <c:pt idx="58">
                  <c:v>Leerdammer</c:v>
                </c:pt>
                <c:pt idx="59">
                  <c:v>All Others</c:v>
                </c:pt>
                <c:pt idx="60">
                  <c:v>All Others</c:v>
                </c:pt>
                <c:pt idx="61">
                  <c:v>All Others</c:v>
                </c:pt>
                <c:pt idx="62">
                  <c:v>All Others</c:v>
                </c:pt>
                <c:pt idx="63">
                  <c:v>All Others</c:v>
                </c:pt>
                <c:pt idx="64">
                  <c:v>Apericube</c:v>
                </c:pt>
                <c:pt idx="65">
                  <c:v>All Others</c:v>
                </c:pt>
                <c:pt idx="66">
                  <c:v>All Others</c:v>
                </c:pt>
                <c:pt idx="67">
                  <c:v>Apericube</c:v>
                </c:pt>
              </c:strCache>
            </c:strRef>
          </c:cat>
          <c:val>
            <c:numRef>
              <c:f>Sheet1!$B$2:$B$69</c:f>
              <c:numCache>
                <c:formatCode>General</c:formatCode>
                <c:ptCount val="68"/>
                <c:pt idx="0">
                  <c:v>0.96</c:v>
                </c:pt>
                <c:pt idx="1">
                  <c:v>0.96</c:v>
                </c:pt>
                <c:pt idx="2">
                  <c:v>0.95</c:v>
                </c:pt>
                <c:pt idx="3">
                  <c:v>0.94</c:v>
                </c:pt>
                <c:pt idx="4">
                  <c:v>0.83</c:v>
                </c:pt>
                <c:pt idx="5">
                  <c:v>0.83</c:v>
                </c:pt>
                <c:pt idx="6">
                  <c:v>0.96</c:v>
                </c:pt>
                <c:pt idx="7">
                  <c:v>0.99</c:v>
                </c:pt>
                <c:pt idx="8">
                  <c:v>0.99</c:v>
                </c:pt>
                <c:pt idx="9">
                  <c:v>0.86</c:v>
                </c:pt>
                <c:pt idx="10">
                  <c:v>0.82</c:v>
                </c:pt>
                <c:pt idx="11">
                  <c:v>0.89</c:v>
                </c:pt>
                <c:pt idx="12">
                  <c:v>0.91</c:v>
                </c:pt>
                <c:pt idx="13">
                  <c:v>0.96</c:v>
                </c:pt>
                <c:pt idx="14">
                  <c:v>0.77</c:v>
                </c:pt>
                <c:pt idx="15">
                  <c:v>0.63</c:v>
                </c:pt>
                <c:pt idx="16">
                  <c:v>0.69</c:v>
                </c:pt>
                <c:pt idx="17">
                  <c:v>0.83</c:v>
                </c:pt>
                <c:pt idx="18">
                  <c:v>0.63</c:v>
                </c:pt>
                <c:pt idx="19">
                  <c:v>0.53</c:v>
                </c:pt>
                <c:pt idx="20">
                  <c:v>0.87</c:v>
                </c:pt>
                <c:pt idx="21">
                  <c:v>0.49</c:v>
                </c:pt>
                <c:pt idx="22">
                  <c:v>0.52</c:v>
                </c:pt>
                <c:pt idx="23">
                  <c:v>0.49</c:v>
                </c:pt>
                <c:pt idx="24">
                  <c:v>0.67</c:v>
                </c:pt>
                <c:pt idx="25">
                  <c:v>0.46</c:v>
                </c:pt>
                <c:pt idx="26">
                  <c:v>0.33</c:v>
                </c:pt>
                <c:pt idx="27">
                  <c:v>0.75</c:v>
                </c:pt>
                <c:pt idx="28">
                  <c:v>0.44</c:v>
                </c:pt>
                <c:pt idx="29">
                  <c:v>0.41</c:v>
                </c:pt>
                <c:pt idx="30">
                  <c:v>0.72</c:v>
                </c:pt>
                <c:pt idx="31">
                  <c:v>0.6</c:v>
                </c:pt>
                <c:pt idx="32">
                  <c:v>0.03</c:v>
                </c:pt>
                <c:pt idx="33">
                  <c:v>0.67</c:v>
                </c:pt>
                <c:pt idx="34">
                  <c:v>0.62</c:v>
                </c:pt>
                <c:pt idx="35">
                  <c:v>0.05</c:v>
                </c:pt>
                <c:pt idx="36">
                  <c:v>0.44</c:v>
                </c:pt>
                <c:pt idx="37">
                  <c:v>0.46</c:v>
                </c:pt>
                <c:pt idx="38">
                  <c:v>0.02</c:v>
                </c:pt>
                <c:pt idx="39">
                  <c:v>0.09</c:v>
                </c:pt>
                <c:pt idx="40">
                  <c:v>0.5</c:v>
                </c:pt>
                <c:pt idx="41">
                  <c:v>7.0000000000000007E-2</c:v>
                </c:pt>
                <c:pt idx="42">
                  <c:v>0.44</c:v>
                </c:pt>
                <c:pt idx="43">
                  <c:v>0.28999999999999998</c:v>
                </c:pt>
                <c:pt idx="44">
                  <c:v>0.36</c:v>
                </c:pt>
                <c:pt idx="45">
                  <c:v>0.26</c:v>
                </c:pt>
                <c:pt idx="46">
                  <c:v>0.18</c:v>
                </c:pt>
                <c:pt idx="47">
                  <c:v>0.08</c:v>
                </c:pt>
                <c:pt idx="48">
                  <c:v>0.03</c:v>
                </c:pt>
                <c:pt idx="49">
                  <c:v>0.04</c:v>
                </c:pt>
                <c:pt idx="50">
                  <c:v>0.09</c:v>
                </c:pt>
                <c:pt idx="51">
                  <c:v>7.0000000000000007E-2</c:v>
                </c:pt>
                <c:pt idx="52">
                  <c:v>0.02</c:v>
                </c:pt>
                <c:pt idx="53">
                  <c:v>0.06</c:v>
                </c:pt>
                <c:pt idx="54">
                  <c:v>0.01</c:v>
                </c:pt>
                <c:pt idx="55">
                  <c:v>0.01</c:v>
                </c:pt>
                <c:pt idx="56">
                  <c:v>0.01</c:v>
                </c:pt>
                <c:pt idx="57">
                  <c:v>0.02</c:v>
                </c:pt>
                <c:pt idx="58">
                  <c:v>0.03</c:v>
                </c:pt>
                <c:pt idx="59">
                  <c:v>0.01</c:v>
                </c:pt>
                <c:pt idx="60">
                  <c:v>0.02</c:v>
                </c:pt>
                <c:pt idx="61">
                  <c:v>0.01</c:v>
                </c:pt>
                <c:pt idx="62">
                  <c:v>0.02</c:v>
                </c:pt>
                <c:pt idx="63">
                  <c:v>0.01</c:v>
                </c:pt>
                <c:pt idx="64">
                  <c:v>0.01</c:v>
                </c:pt>
                <c:pt idx="65">
                  <c:v>0.01</c:v>
                </c:pt>
                <c:pt idx="66">
                  <c:v>0.01</c:v>
                </c:pt>
                <c:pt idx="6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9</c:f>
              <c:strCache>
                <c:ptCount val="68"/>
                <c:pt idx="0">
                  <c:v>Apericube</c:v>
                </c:pt>
                <c:pt idx="1">
                  <c:v>Apericube</c:v>
                </c:pt>
                <c:pt idx="2">
                  <c:v>Apericube</c:v>
                </c:pt>
                <c:pt idx="3">
                  <c:v>Boursin</c:v>
                </c:pt>
                <c:pt idx="4">
                  <c:v>Apericube</c:v>
                </c:pt>
                <c:pt idx="5">
                  <c:v>Apericube</c:v>
                </c:pt>
                <c:pt idx="6">
                  <c:v>Apericube</c:v>
                </c:pt>
                <c:pt idx="7">
                  <c:v>Aperivrais</c:v>
                </c:pt>
                <c:pt idx="8">
                  <c:v>Aperivrais</c:v>
                </c:pt>
                <c:pt idx="9">
                  <c:v>Boursin</c:v>
                </c:pt>
                <c:pt idx="10">
                  <c:v>Apericube</c:v>
                </c:pt>
                <c:pt idx="11">
                  <c:v>Apericube</c:v>
                </c:pt>
                <c:pt idx="12">
                  <c:v>Aperivrais</c:v>
                </c:pt>
                <c:pt idx="13">
                  <c:v>Private Lab</c:v>
                </c:pt>
                <c:pt idx="14">
                  <c:v>Apericube</c:v>
                </c:pt>
                <c:pt idx="15">
                  <c:v>St Moret</c:v>
                </c:pt>
                <c:pt idx="16">
                  <c:v>Aperivrais</c:v>
                </c:pt>
                <c:pt idx="17">
                  <c:v>Apericube</c:v>
                </c:pt>
                <c:pt idx="18">
                  <c:v>St Moret</c:v>
                </c:pt>
                <c:pt idx="19">
                  <c:v>All Others</c:v>
                </c:pt>
                <c:pt idx="20">
                  <c:v>Leerdammer</c:v>
                </c:pt>
                <c:pt idx="21">
                  <c:v>Apericube</c:v>
                </c:pt>
                <c:pt idx="22">
                  <c:v>Apericube</c:v>
                </c:pt>
                <c:pt idx="23">
                  <c:v>Apericube</c:v>
                </c:pt>
                <c:pt idx="24">
                  <c:v>Entremont</c:v>
                </c:pt>
                <c:pt idx="25">
                  <c:v>Apericube</c:v>
                </c:pt>
                <c:pt idx="26">
                  <c:v>Apericube</c:v>
                </c:pt>
                <c:pt idx="27">
                  <c:v>Richesmonts</c:v>
                </c:pt>
                <c:pt idx="28">
                  <c:v>Apericube</c:v>
                </c:pt>
                <c:pt idx="29">
                  <c:v>Apericube</c:v>
                </c:pt>
                <c:pt idx="30">
                  <c:v>Entremont</c:v>
                </c:pt>
                <c:pt idx="31">
                  <c:v>O'Tapas Ape</c:v>
                </c:pt>
                <c:pt idx="32">
                  <c:v>All Others</c:v>
                </c:pt>
                <c:pt idx="33">
                  <c:v>Aperivrais</c:v>
                </c:pt>
                <c:pt idx="34">
                  <c:v>Aperivrais</c:v>
                </c:pt>
                <c:pt idx="35">
                  <c:v>Apericube</c:v>
                </c:pt>
                <c:pt idx="36">
                  <c:v>O'Tapas Ape</c:v>
                </c:pt>
                <c:pt idx="37">
                  <c:v>All Others</c:v>
                </c:pt>
                <c:pt idx="38">
                  <c:v>All Others</c:v>
                </c:pt>
                <c:pt idx="39">
                  <c:v>O'Tapas Ape</c:v>
                </c:pt>
                <c:pt idx="40">
                  <c:v>Boursin</c:v>
                </c:pt>
                <c:pt idx="41">
                  <c:v>O'Tapas Ape</c:v>
                </c:pt>
                <c:pt idx="42">
                  <c:v>Aperivrais</c:v>
                </c:pt>
                <c:pt idx="43">
                  <c:v>Boursin</c:v>
                </c:pt>
                <c:pt idx="44">
                  <c:v>Aperivrais</c:v>
                </c:pt>
                <c:pt idx="45">
                  <c:v>St Moret</c:v>
                </c:pt>
                <c:pt idx="46">
                  <c:v>Private Lab</c:v>
                </c:pt>
                <c:pt idx="47">
                  <c:v>O'Tapas Ape</c:v>
                </c:pt>
                <c:pt idx="48">
                  <c:v>All Others</c:v>
                </c:pt>
                <c:pt idx="49">
                  <c:v>All Others</c:v>
                </c:pt>
                <c:pt idx="50">
                  <c:v>Apericube</c:v>
                </c:pt>
                <c:pt idx="51">
                  <c:v>Apericube</c:v>
                </c:pt>
                <c:pt idx="52">
                  <c:v>All Others</c:v>
                </c:pt>
                <c:pt idx="53">
                  <c:v>Apericube</c:v>
                </c:pt>
                <c:pt idx="54">
                  <c:v>All Others</c:v>
                </c:pt>
                <c:pt idx="55">
                  <c:v>All Others</c:v>
                </c:pt>
                <c:pt idx="56">
                  <c:v>All Others</c:v>
                </c:pt>
                <c:pt idx="57">
                  <c:v>Apericube</c:v>
                </c:pt>
                <c:pt idx="58">
                  <c:v>Leerdammer</c:v>
                </c:pt>
                <c:pt idx="59">
                  <c:v>All Others</c:v>
                </c:pt>
                <c:pt idx="60">
                  <c:v>All Others</c:v>
                </c:pt>
                <c:pt idx="61">
                  <c:v>All Others</c:v>
                </c:pt>
                <c:pt idx="62">
                  <c:v>All Others</c:v>
                </c:pt>
                <c:pt idx="63">
                  <c:v>All Others</c:v>
                </c:pt>
                <c:pt idx="64">
                  <c:v>Apericube</c:v>
                </c:pt>
                <c:pt idx="65">
                  <c:v>All Others</c:v>
                </c:pt>
                <c:pt idx="66">
                  <c:v>All Others</c:v>
                </c:pt>
                <c:pt idx="67">
                  <c:v>Apericube</c:v>
                </c:pt>
              </c:strCache>
            </c:strRef>
          </c:cat>
          <c:val>
            <c:numRef>
              <c:f>Sheet1!$C$2:$C$69</c:f>
              <c:numCache>
                <c:formatCode>General</c:formatCode>
                <c:ptCount val="68"/>
                <c:pt idx="0">
                  <c:v>0.12296904356529756</c:v>
                </c:pt>
                <c:pt idx="1">
                  <c:v>0.23360630905257901</c:v>
                </c:pt>
                <c:pt idx="2">
                  <c:v>0.33688027246116542</c:v>
                </c:pt>
                <c:pt idx="3">
                  <c:v>0.39321961448038034</c:v>
                </c:pt>
                <c:pt idx="4">
                  <c:v>0.44734018894367222</c:v>
                </c:pt>
                <c:pt idx="5">
                  <c:v>0.50096343648539743</c:v>
                </c:pt>
                <c:pt idx="6">
                  <c:v>0.55232588365094126</c:v>
                </c:pt>
                <c:pt idx="7">
                  <c:v>0.6008506238371073</c:v>
                </c:pt>
                <c:pt idx="8">
                  <c:v>0.64485966261410466</c:v>
                </c:pt>
                <c:pt idx="9">
                  <c:v>0.67839011594544529</c:v>
                </c:pt>
                <c:pt idx="10">
                  <c:v>0.7375435061197696</c:v>
                </c:pt>
                <c:pt idx="11">
                  <c:v>0.76399818890163929</c:v>
                </c:pt>
                <c:pt idx="12">
                  <c:v>0.78873001766484563</c:v>
                </c:pt>
                <c:pt idx="13">
                  <c:v>0.81040838326164588</c:v>
                </c:pt>
                <c:pt idx="14">
                  <c:v>0.82685661240786712</c:v>
                </c:pt>
                <c:pt idx="15">
                  <c:v>0.84067072336640103</c:v>
                </c:pt>
                <c:pt idx="16">
                  <c:v>0.85446437097823014</c:v>
                </c:pt>
                <c:pt idx="17">
                  <c:v>0.86825150473194901</c:v>
                </c:pt>
                <c:pt idx="18">
                  <c:v>0.88180930151899461</c:v>
                </c:pt>
                <c:pt idx="19">
                  <c:v>0.89204380163999264</c:v>
                </c:pt>
                <c:pt idx="20">
                  <c:v>0.90058291655907519</c:v>
                </c:pt>
                <c:pt idx="21">
                  <c:v>0.90790443162347823</c:v>
                </c:pt>
                <c:pt idx="22">
                  <c:v>0.91454279045569831</c:v>
                </c:pt>
                <c:pt idx="23">
                  <c:v>0.92103784440949343</c:v>
                </c:pt>
                <c:pt idx="24">
                  <c:v>0.9267026887116927</c:v>
                </c:pt>
                <c:pt idx="25">
                  <c:v>0.93211054287599604</c:v>
                </c:pt>
                <c:pt idx="26">
                  <c:v>0.93750186658905743</c:v>
                </c:pt>
                <c:pt idx="27">
                  <c:v>0.94269414892080727</c:v>
                </c:pt>
                <c:pt idx="28">
                  <c:v>0.94768425584517368</c:v>
                </c:pt>
                <c:pt idx="29">
                  <c:v>0.95249449425360955</c:v>
                </c:pt>
                <c:pt idx="30">
                  <c:v>0.9571721203431599</c:v>
                </c:pt>
                <c:pt idx="31">
                  <c:v>0.96157260020556756</c:v>
                </c:pt>
                <c:pt idx="32">
                  <c:v>0.9654932053700247</c:v>
                </c:pt>
                <c:pt idx="33">
                  <c:v>0.9691228377217278</c:v>
                </c:pt>
                <c:pt idx="34">
                  <c:v>0.97253118325215804</c:v>
                </c:pt>
                <c:pt idx="35">
                  <c:v>0.97504159958724268</c:v>
                </c:pt>
                <c:pt idx="36">
                  <c:v>0.97738388464129355</c:v>
                </c:pt>
                <c:pt idx="37">
                  <c:v>0.97944318557649923</c:v>
                </c:pt>
                <c:pt idx="38">
                  <c:v>0.98118668729634217</c:v>
                </c:pt>
                <c:pt idx="39">
                  <c:v>0.98277299610065716</c:v>
                </c:pt>
                <c:pt idx="40">
                  <c:v>0.98432188094658413</c:v>
                </c:pt>
                <c:pt idx="41">
                  <c:v>0.98567516569472946</c:v>
                </c:pt>
                <c:pt idx="42">
                  <c:v>0.98701984723405001</c:v>
                </c:pt>
                <c:pt idx="43">
                  <c:v>0.98831610499798506</c:v>
                </c:pt>
                <c:pt idx="44">
                  <c:v>0.98937731080652758</c:v>
                </c:pt>
                <c:pt idx="45">
                  <c:v>0.99043827080910363</c:v>
                </c:pt>
                <c:pt idx="46">
                  <c:v>0.9914619297562749</c:v>
                </c:pt>
                <c:pt idx="47">
                  <c:v>0.99241860657759573</c:v>
                </c:pt>
                <c:pt idx="48">
                  <c:v>0.99326522377745041</c:v>
                </c:pt>
                <c:pt idx="49">
                  <c:v>0.99403226129567535</c:v>
                </c:pt>
                <c:pt idx="50">
                  <c:v>0.99473840038571881</c:v>
                </c:pt>
                <c:pt idx="51">
                  <c:v>0.99528494995206174</c:v>
                </c:pt>
                <c:pt idx="52">
                  <c:v>0.99576752851564299</c:v>
                </c:pt>
                <c:pt idx="53">
                  <c:v>0.99622620244898952</c:v>
                </c:pt>
                <c:pt idx="54">
                  <c:v>0.99697437435929148</c:v>
                </c:pt>
                <c:pt idx="55">
                  <c:v>0.99844435548999633</c:v>
                </c:pt>
                <c:pt idx="56">
                  <c:v>0.99860074953613331</c:v>
                </c:pt>
                <c:pt idx="57">
                  <c:v>0.99875443971663969</c:v>
                </c:pt>
                <c:pt idx="58">
                  <c:v>0.99901941854844434</c:v>
                </c:pt>
                <c:pt idx="59">
                  <c:v>0.99914453378535395</c:v>
                </c:pt>
                <c:pt idx="60">
                  <c:v>0.99932937987210446</c:v>
                </c:pt>
                <c:pt idx="61">
                  <c:v>0.99954071155173718</c:v>
                </c:pt>
                <c:pt idx="62">
                  <c:v>0.99960492836046533</c:v>
                </c:pt>
                <c:pt idx="63">
                  <c:v>0.9996570392253471</c:v>
                </c:pt>
                <c:pt idx="64">
                  <c:v>0.99976808207067902</c:v>
                </c:pt>
                <c:pt idx="65">
                  <c:v>0.99983229887940717</c:v>
                </c:pt>
                <c:pt idx="66">
                  <c:v>0.99988908005765109</c:v>
                </c:pt>
                <c:pt idx="67">
                  <c:v>0.999938241250935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4</c:f>
              <c:strCache>
                <c:ptCount val="23"/>
                <c:pt idx="0">
                  <c:v>Boursin</c:v>
                </c:pt>
                <c:pt idx="1">
                  <c:v>Aperivrais</c:v>
                </c:pt>
                <c:pt idx="2">
                  <c:v>Apericube</c:v>
                </c:pt>
                <c:pt idx="3">
                  <c:v>Aperivrais</c:v>
                </c:pt>
                <c:pt idx="4">
                  <c:v>Apericube</c:v>
                </c:pt>
                <c:pt idx="5">
                  <c:v>Apericube</c:v>
                </c:pt>
                <c:pt idx="6">
                  <c:v>Apericube</c:v>
                </c:pt>
                <c:pt idx="7">
                  <c:v>Private Lab</c:v>
                </c:pt>
                <c:pt idx="8">
                  <c:v>St Moret</c:v>
                </c:pt>
                <c:pt idx="9">
                  <c:v>Apericube</c:v>
                </c:pt>
                <c:pt idx="10">
                  <c:v>Apericube</c:v>
                </c:pt>
                <c:pt idx="11">
                  <c:v>Boursin</c:v>
                </c:pt>
                <c:pt idx="12">
                  <c:v>Apericube</c:v>
                </c:pt>
                <c:pt idx="13">
                  <c:v>O'Tapas Ape</c:v>
                </c:pt>
                <c:pt idx="14">
                  <c:v>All Others</c:v>
                </c:pt>
                <c:pt idx="15">
                  <c:v>Apericube</c:v>
                </c:pt>
                <c:pt idx="16">
                  <c:v>Leerdammer</c:v>
                </c:pt>
                <c:pt idx="17">
                  <c:v>All Others</c:v>
                </c:pt>
                <c:pt idx="18">
                  <c:v>Apericube</c:v>
                </c:pt>
                <c:pt idx="19">
                  <c:v>O'Tapas Ape</c:v>
                </c:pt>
                <c:pt idx="20">
                  <c:v>O'Tapas Ape</c:v>
                </c:pt>
                <c:pt idx="21">
                  <c:v>All Others</c:v>
                </c:pt>
                <c:pt idx="22">
                  <c:v>Aperivrais</c:v>
                </c:pt>
              </c:strCache>
            </c:strRef>
          </c:cat>
          <c:val>
            <c:numRef>
              <c:f>Sheet1!$B$2:$B$24</c:f>
              <c:numCache>
                <c:formatCode>General</c:formatCode>
                <c:ptCount val="23"/>
                <c:pt idx="0">
                  <c:v>0.56000000000000005</c:v>
                </c:pt>
                <c:pt idx="1">
                  <c:v>0.8</c:v>
                </c:pt>
                <c:pt idx="2">
                  <c:v>0.53</c:v>
                </c:pt>
                <c:pt idx="3">
                  <c:v>0.65</c:v>
                </c:pt>
                <c:pt idx="4">
                  <c:v>0.62</c:v>
                </c:pt>
                <c:pt idx="5">
                  <c:v>0.35</c:v>
                </c:pt>
                <c:pt idx="6">
                  <c:v>0.36</c:v>
                </c:pt>
                <c:pt idx="7">
                  <c:v>0.37</c:v>
                </c:pt>
                <c:pt idx="8">
                  <c:v>0.24</c:v>
                </c:pt>
                <c:pt idx="9">
                  <c:v>0.22</c:v>
                </c:pt>
                <c:pt idx="10">
                  <c:v>0.24</c:v>
                </c:pt>
                <c:pt idx="11">
                  <c:v>0.17</c:v>
                </c:pt>
                <c:pt idx="12">
                  <c:v>0.25</c:v>
                </c:pt>
                <c:pt idx="13">
                  <c:v>0.09</c:v>
                </c:pt>
                <c:pt idx="14">
                  <c:v>0.06</c:v>
                </c:pt>
                <c:pt idx="15">
                  <c:v>0.18</c:v>
                </c:pt>
                <c:pt idx="16">
                  <c:v>0.06</c:v>
                </c:pt>
                <c:pt idx="17">
                  <c:v>0.01</c:v>
                </c:pt>
                <c:pt idx="18">
                  <c:v>0.01</c:v>
                </c:pt>
                <c:pt idx="19">
                  <c:v>0.02</c:v>
                </c:pt>
                <c:pt idx="20">
                  <c:v>0.03</c:v>
                </c:pt>
                <c:pt idx="21">
                  <c:v>0.01</c:v>
                </c:pt>
                <c:pt idx="2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4</c:f>
              <c:strCache>
                <c:ptCount val="23"/>
                <c:pt idx="0">
                  <c:v>Boursin</c:v>
                </c:pt>
                <c:pt idx="1">
                  <c:v>Aperivrais</c:v>
                </c:pt>
                <c:pt idx="2">
                  <c:v>Apericube</c:v>
                </c:pt>
                <c:pt idx="3">
                  <c:v>Aperivrais</c:v>
                </c:pt>
                <c:pt idx="4">
                  <c:v>Apericube</c:v>
                </c:pt>
                <c:pt idx="5">
                  <c:v>Apericube</c:v>
                </c:pt>
                <c:pt idx="6">
                  <c:v>Apericube</c:v>
                </c:pt>
                <c:pt idx="7">
                  <c:v>Private Lab</c:v>
                </c:pt>
                <c:pt idx="8">
                  <c:v>St Moret</c:v>
                </c:pt>
                <c:pt idx="9">
                  <c:v>Apericube</c:v>
                </c:pt>
                <c:pt idx="10">
                  <c:v>Apericube</c:v>
                </c:pt>
                <c:pt idx="11">
                  <c:v>Boursin</c:v>
                </c:pt>
                <c:pt idx="12">
                  <c:v>Apericube</c:v>
                </c:pt>
                <c:pt idx="13">
                  <c:v>O'Tapas Ape</c:v>
                </c:pt>
                <c:pt idx="14">
                  <c:v>All Others</c:v>
                </c:pt>
                <c:pt idx="15">
                  <c:v>Apericube</c:v>
                </c:pt>
                <c:pt idx="16">
                  <c:v>Leerdammer</c:v>
                </c:pt>
                <c:pt idx="17">
                  <c:v>All Others</c:v>
                </c:pt>
                <c:pt idx="18">
                  <c:v>Apericube</c:v>
                </c:pt>
                <c:pt idx="19">
                  <c:v>O'Tapas Ape</c:v>
                </c:pt>
                <c:pt idx="20">
                  <c:v>O'Tapas Ape</c:v>
                </c:pt>
                <c:pt idx="21">
                  <c:v>All Others</c:v>
                </c:pt>
                <c:pt idx="22">
                  <c:v>Aperivrais</c:v>
                </c:pt>
              </c:strCache>
            </c:strRef>
          </c:cat>
          <c:val>
            <c:numRef>
              <c:f>Sheet1!$C$2:$C$24</c:f>
              <c:numCache>
                <c:formatCode>General</c:formatCode>
                <c:ptCount val="23"/>
                <c:pt idx="0">
                  <c:v>0.16256145863826177</c:v>
                </c:pt>
                <c:pt idx="1">
                  <c:v>0.31992245607536934</c:v>
                </c:pt>
                <c:pt idx="2">
                  <c:v>0.47124587039769639</c:v>
                </c:pt>
                <c:pt idx="3">
                  <c:v>0.5795174339412984</c:v>
                </c:pt>
                <c:pt idx="4">
                  <c:v>0.67648374445154702</c:v>
                </c:pt>
                <c:pt idx="5">
                  <c:v>0.76430014815788372</c:v>
                </c:pt>
                <c:pt idx="6">
                  <c:v>0.85529944470664132</c:v>
                </c:pt>
                <c:pt idx="7">
                  <c:v>0.89121036925962871</c:v>
                </c:pt>
                <c:pt idx="8">
                  <c:v>0.9126139187760246</c:v>
                </c:pt>
                <c:pt idx="9">
                  <c:v>0.93285830460782959</c:v>
                </c:pt>
                <c:pt idx="10">
                  <c:v>0.94792164509017907</c:v>
                </c:pt>
                <c:pt idx="11">
                  <c:v>0.9622845213843203</c:v>
                </c:pt>
                <c:pt idx="12">
                  <c:v>0.97061821565335826</c:v>
                </c:pt>
                <c:pt idx="13">
                  <c:v>0.97836121997263847</c:v>
                </c:pt>
                <c:pt idx="14">
                  <c:v>0.98594124315217835</c:v>
                </c:pt>
                <c:pt idx="15">
                  <c:v>0.98916091409829787</c:v>
                </c:pt>
                <c:pt idx="16">
                  <c:v>0.99138141544545932</c:v>
                </c:pt>
                <c:pt idx="17">
                  <c:v>0.99247579739409397</c:v>
                </c:pt>
                <c:pt idx="18">
                  <c:v>0.99354254909223427</c:v>
                </c:pt>
                <c:pt idx="19">
                  <c:v>0.99454059854590204</c:v>
                </c:pt>
                <c:pt idx="20">
                  <c:v>0.9962615150935844</c:v>
                </c:pt>
                <c:pt idx="21">
                  <c:v>0.99692594794162104</c:v>
                </c:pt>
                <c:pt idx="22">
                  <c:v>0.9994767054585426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9</c:f>
              <c:strCache>
                <c:ptCount val="48"/>
                <c:pt idx="0">
                  <c:v>Apericube</c:v>
                </c:pt>
                <c:pt idx="1">
                  <c:v>Apericube</c:v>
                </c:pt>
                <c:pt idx="2">
                  <c:v>Apericube</c:v>
                </c:pt>
                <c:pt idx="3">
                  <c:v>Apericube</c:v>
                </c:pt>
                <c:pt idx="4">
                  <c:v>Boursin</c:v>
                </c:pt>
                <c:pt idx="5">
                  <c:v>Apericube</c:v>
                </c:pt>
                <c:pt idx="6">
                  <c:v>Private Lab</c:v>
                </c:pt>
                <c:pt idx="7">
                  <c:v>Apericube</c:v>
                </c:pt>
                <c:pt idx="8">
                  <c:v>Apericube</c:v>
                </c:pt>
                <c:pt idx="9">
                  <c:v>Aperivrais</c:v>
                </c:pt>
                <c:pt idx="10">
                  <c:v>Apericube</c:v>
                </c:pt>
                <c:pt idx="11">
                  <c:v>Boursin</c:v>
                </c:pt>
                <c:pt idx="12">
                  <c:v>Apericube</c:v>
                </c:pt>
                <c:pt idx="13">
                  <c:v>St Moret</c:v>
                </c:pt>
                <c:pt idx="14">
                  <c:v>Apericube</c:v>
                </c:pt>
                <c:pt idx="15">
                  <c:v>Aperivrais</c:v>
                </c:pt>
                <c:pt idx="16">
                  <c:v>Aperivrais</c:v>
                </c:pt>
                <c:pt idx="17">
                  <c:v>Private Lab</c:v>
                </c:pt>
                <c:pt idx="18">
                  <c:v>Boursin</c:v>
                </c:pt>
                <c:pt idx="19">
                  <c:v>St Moret</c:v>
                </c:pt>
                <c:pt idx="20">
                  <c:v>St Moret</c:v>
                </c:pt>
                <c:pt idx="21">
                  <c:v>Aperivrais</c:v>
                </c:pt>
                <c:pt idx="22">
                  <c:v>Apericube</c:v>
                </c:pt>
                <c:pt idx="23">
                  <c:v>Aperivrais</c:v>
                </c:pt>
                <c:pt idx="24">
                  <c:v>St Moret</c:v>
                </c:pt>
                <c:pt idx="25">
                  <c:v>Apericube</c:v>
                </c:pt>
                <c:pt idx="26">
                  <c:v>Entremont</c:v>
                </c:pt>
                <c:pt idx="27">
                  <c:v>Entremont</c:v>
                </c:pt>
                <c:pt idx="28">
                  <c:v>Apericube</c:v>
                </c:pt>
                <c:pt idx="29">
                  <c:v>Apericube</c:v>
                </c:pt>
                <c:pt idx="30">
                  <c:v>Aperivrais</c:v>
                </c:pt>
                <c:pt idx="31">
                  <c:v>Entremont</c:v>
                </c:pt>
                <c:pt idx="32">
                  <c:v>Aperivrais</c:v>
                </c:pt>
                <c:pt idx="33">
                  <c:v>Apericube</c:v>
                </c:pt>
                <c:pt idx="34">
                  <c:v>Boursin</c:v>
                </c:pt>
                <c:pt idx="35">
                  <c:v>Apericube</c:v>
                </c:pt>
                <c:pt idx="36">
                  <c:v>Aperivrais</c:v>
                </c:pt>
                <c:pt idx="37">
                  <c:v>Boursin</c:v>
                </c:pt>
                <c:pt idx="38">
                  <c:v>All Others</c:v>
                </c:pt>
                <c:pt idx="39">
                  <c:v>All Others</c:v>
                </c:pt>
                <c:pt idx="40">
                  <c:v>All Others</c:v>
                </c:pt>
                <c:pt idx="41">
                  <c:v>Other Suppl</c:v>
                </c:pt>
                <c:pt idx="42">
                  <c:v>All Others</c:v>
                </c:pt>
                <c:pt idx="43">
                  <c:v>All Others</c:v>
                </c:pt>
                <c:pt idx="44">
                  <c:v>All Others</c:v>
                </c:pt>
                <c:pt idx="45">
                  <c:v>All Others</c:v>
                </c:pt>
                <c:pt idx="46">
                  <c:v>O'Tapas Ape</c:v>
                </c:pt>
                <c:pt idx="47">
                  <c:v>O'Tapas Ape</c:v>
                </c:pt>
              </c:strCache>
            </c:strRef>
          </c:cat>
          <c:val>
            <c:numRef>
              <c:f>Sheet1!$B$2:$B$49</c:f>
              <c:numCache>
                <c:formatCode>General</c:formatCode>
                <c:ptCount val="48"/>
                <c:pt idx="0">
                  <c:v>0.98</c:v>
                </c:pt>
                <c:pt idx="1">
                  <c:v>0.98</c:v>
                </c:pt>
                <c:pt idx="2">
                  <c:v>0.96</c:v>
                </c:pt>
                <c:pt idx="3">
                  <c:v>0.96</c:v>
                </c:pt>
                <c:pt idx="4">
                  <c:v>0.98</c:v>
                </c:pt>
                <c:pt idx="5">
                  <c:v>0.91</c:v>
                </c:pt>
                <c:pt idx="6">
                  <c:v>0.91</c:v>
                </c:pt>
                <c:pt idx="7">
                  <c:v>0.93</c:v>
                </c:pt>
                <c:pt idx="8">
                  <c:v>0.96</c:v>
                </c:pt>
                <c:pt idx="9">
                  <c:v>0.99</c:v>
                </c:pt>
                <c:pt idx="10">
                  <c:v>0.91</c:v>
                </c:pt>
                <c:pt idx="11">
                  <c:v>0.95</c:v>
                </c:pt>
                <c:pt idx="12">
                  <c:v>0.94</c:v>
                </c:pt>
                <c:pt idx="13">
                  <c:v>0.95</c:v>
                </c:pt>
                <c:pt idx="14">
                  <c:v>0.87</c:v>
                </c:pt>
                <c:pt idx="15">
                  <c:v>0.97</c:v>
                </c:pt>
                <c:pt idx="16">
                  <c:v>0.98</c:v>
                </c:pt>
                <c:pt idx="17">
                  <c:v>0.9</c:v>
                </c:pt>
                <c:pt idx="18">
                  <c:v>0.9</c:v>
                </c:pt>
                <c:pt idx="19">
                  <c:v>0.89</c:v>
                </c:pt>
                <c:pt idx="20">
                  <c:v>0.91</c:v>
                </c:pt>
                <c:pt idx="21">
                  <c:v>0.89</c:v>
                </c:pt>
                <c:pt idx="22">
                  <c:v>0.79</c:v>
                </c:pt>
                <c:pt idx="23">
                  <c:v>0.89</c:v>
                </c:pt>
                <c:pt idx="24">
                  <c:v>0.84</c:v>
                </c:pt>
                <c:pt idx="25">
                  <c:v>0.8</c:v>
                </c:pt>
                <c:pt idx="26">
                  <c:v>0.93</c:v>
                </c:pt>
                <c:pt idx="27">
                  <c:v>0.95</c:v>
                </c:pt>
                <c:pt idx="28">
                  <c:v>0.5</c:v>
                </c:pt>
                <c:pt idx="29">
                  <c:v>0.67</c:v>
                </c:pt>
                <c:pt idx="30">
                  <c:v>0.28000000000000003</c:v>
                </c:pt>
                <c:pt idx="31">
                  <c:v>0.84</c:v>
                </c:pt>
                <c:pt idx="32">
                  <c:v>0.8</c:v>
                </c:pt>
                <c:pt idx="33">
                  <c:v>0.24</c:v>
                </c:pt>
                <c:pt idx="34">
                  <c:v>0.8</c:v>
                </c:pt>
                <c:pt idx="35">
                  <c:v>0.23</c:v>
                </c:pt>
                <c:pt idx="36">
                  <c:v>0.72</c:v>
                </c:pt>
                <c:pt idx="37">
                  <c:v>0.7</c:v>
                </c:pt>
                <c:pt idx="38">
                  <c:v>0.04</c:v>
                </c:pt>
                <c:pt idx="39">
                  <c:v>0.03</c:v>
                </c:pt>
                <c:pt idx="40">
                  <c:v>0.03</c:v>
                </c:pt>
                <c:pt idx="41">
                  <c:v>0.01</c:v>
                </c:pt>
                <c:pt idx="42">
                  <c:v>0.01</c:v>
                </c:pt>
                <c:pt idx="43">
                  <c:v>0.01</c:v>
                </c:pt>
                <c:pt idx="44">
                  <c:v>0.01</c:v>
                </c:pt>
                <c:pt idx="45">
                  <c:v>0.01</c:v>
                </c:pt>
                <c:pt idx="46">
                  <c:v>0.02</c:v>
                </c:pt>
                <c:pt idx="47">
                  <c:v>0.02</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9</c:f>
              <c:strCache>
                <c:ptCount val="48"/>
                <c:pt idx="0">
                  <c:v>Apericube</c:v>
                </c:pt>
                <c:pt idx="1">
                  <c:v>Apericube</c:v>
                </c:pt>
                <c:pt idx="2">
                  <c:v>Apericube</c:v>
                </c:pt>
                <c:pt idx="3">
                  <c:v>Apericube</c:v>
                </c:pt>
                <c:pt idx="4">
                  <c:v>Boursin</c:v>
                </c:pt>
                <c:pt idx="5">
                  <c:v>Apericube</c:v>
                </c:pt>
                <c:pt idx="6">
                  <c:v>Private Lab</c:v>
                </c:pt>
                <c:pt idx="7">
                  <c:v>Apericube</c:v>
                </c:pt>
                <c:pt idx="8">
                  <c:v>Apericube</c:v>
                </c:pt>
                <c:pt idx="9">
                  <c:v>Aperivrais</c:v>
                </c:pt>
                <c:pt idx="10">
                  <c:v>Apericube</c:v>
                </c:pt>
                <c:pt idx="11">
                  <c:v>Boursin</c:v>
                </c:pt>
                <c:pt idx="12">
                  <c:v>Apericube</c:v>
                </c:pt>
                <c:pt idx="13">
                  <c:v>St Moret</c:v>
                </c:pt>
                <c:pt idx="14">
                  <c:v>Apericube</c:v>
                </c:pt>
                <c:pt idx="15">
                  <c:v>Aperivrais</c:v>
                </c:pt>
                <c:pt idx="16">
                  <c:v>Aperivrais</c:v>
                </c:pt>
                <c:pt idx="17">
                  <c:v>Private Lab</c:v>
                </c:pt>
                <c:pt idx="18">
                  <c:v>Boursin</c:v>
                </c:pt>
                <c:pt idx="19">
                  <c:v>St Moret</c:v>
                </c:pt>
                <c:pt idx="20">
                  <c:v>St Moret</c:v>
                </c:pt>
                <c:pt idx="21">
                  <c:v>Aperivrais</c:v>
                </c:pt>
                <c:pt idx="22">
                  <c:v>Apericube</c:v>
                </c:pt>
                <c:pt idx="23">
                  <c:v>Aperivrais</c:v>
                </c:pt>
                <c:pt idx="24">
                  <c:v>St Moret</c:v>
                </c:pt>
                <c:pt idx="25">
                  <c:v>Apericube</c:v>
                </c:pt>
                <c:pt idx="26">
                  <c:v>Entremont</c:v>
                </c:pt>
                <c:pt idx="27">
                  <c:v>Entremont</c:v>
                </c:pt>
                <c:pt idx="28">
                  <c:v>Apericube</c:v>
                </c:pt>
                <c:pt idx="29">
                  <c:v>Apericube</c:v>
                </c:pt>
                <c:pt idx="30">
                  <c:v>Aperivrais</c:v>
                </c:pt>
                <c:pt idx="31">
                  <c:v>Entremont</c:v>
                </c:pt>
                <c:pt idx="32">
                  <c:v>Aperivrais</c:v>
                </c:pt>
                <c:pt idx="33">
                  <c:v>Apericube</c:v>
                </c:pt>
                <c:pt idx="34">
                  <c:v>Boursin</c:v>
                </c:pt>
                <c:pt idx="35">
                  <c:v>Apericube</c:v>
                </c:pt>
                <c:pt idx="36">
                  <c:v>Aperivrais</c:v>
                </c:pt>
                <c:pt idx="37">
                  <c:v>Boursin</c:v>
                </c:pt>
                <c:pt idx="38">
                  <c:v>All Others</c:v>
                </c:pt>
                <c:pt idx="39">
                  <c:v>All Others</c:v>
                </c:pt>
                <c:pt idx="40">
                  <c:v>All Others</c:v>
                </c:pt>
                <c:pt idx="41">
                  <c:v>Other Suppl</c:v>
                </c:pt>
                <c:pt idx="42">
                  <c:v>All Others</c:v>
                </c:pt>
                <c:pt idx="43">
                  <c:v>All Others</c:v>
                </c:pt>
                <c:pt idx="44">
                  <c:v>All Others</c:v>
                </c:pt>
                <c:pt idx="45">
                  <c:v>All Others</c:v>
                </c:pt>
                <c:pt idx="46">
                  <c:v>O'Tapas Ape</c:v>
                </c:pt>
                <c:pt idx="47">
                  <c:v>O'Tapas Ape</c:v>
                </c:pt>
              </c:strCache>
            </c:strRef>
          </c:cat>
          <c:val>
            <c:numRef>
              <c:f>Sheet1!$C$2:$C$49</c:f>
              <c:numCache>
                <c:formatCode>General</c:formatCode>
                <c:ptCount val="48"/>
                <c:pt idx="0">
                  <c:v>0.10174038837230097</c:v>
                </c:pt>
                <c:pt idx="1">
                  <c:v>0.19261405317243463</c:v>
                </c:pt>
                <c:pt idx="2">
                  <c:v>0.27015313602553392</c:v>
                </c:pt>
                <c:pt idx="3">
                  <c:v>0.33381887984419945</c:v>
                </c:pt>
                <c:pt idx="4">
                  <c:v>0.38869187405345523</c:v>
                </c:pt>
                <c:pt idx="5">
                  <c:v>0.44280100979454196</c:v>
                </c:pt>
                <c:pt idx="6">
                  <c:v>0.49373220119116235</c:v>
                </c:pt>
                <c:pt idx="7">
                  <c:v>0.54043442467881775</c:v>
                </c:pt>
                <c:pt idx="8">
                  <c:v>0.58396090563896685</c:v>
                </c:pt>
                <c:pt idx="9">
                  <c:v>0.62608610212102755</c:v>
                </c:pt>
                <c:pt idx="10">
                  <c:v>0.66602272694824083</c:v>
                </c:pt>
                <c:pt idx="11">
                  <c:v>0.70173661088007899</c:v>
                </c:pt>
                <c:pt idx="12">
                  <c:v>0.73630296973846854</c:v>
                </c:pt>
                <c:pt idx="13">
                  <c:v>0.76474549077347531</c:v>
                </c:pt>
                <c:pt idx="14">
                  <c:v>0.79223558835972319</c:v>
                </c:pt>
                <c:pt idx="15">
                  <c:v>0.81764865008150345</c:v>
                </c:pt>
                <c:pt idx="16">
                  <c:v>0.8425287000820143</c:v>
                </c:pt>
                <c:pt idx="17">
                  <c:v>0.86126165556750234</c:v>
                </c:pt>
                <c:pt idx="18">
                  <c:v>0.87870936920937193</c:v>
                </c:pt>
                <c:pt idx="19">
                  <c:v>0.89554023006854222</c:v>
                </c:pt>
                <c:pt idx="20">
                  <c:v>0.91107501201624408</c:v>
                </c:pt>
                <c:pt idx="21">
                  <c:v>0.92387090568265906</c:v>
                </c:pt>
                <c:pt idx="22">
                  <c:v>0.93659785495551418</c:v>
                </c:pt>
                <c:pt idx="23">
                  <c:v>0.9489514930434797</c:v>
                </c:pt>
                <c:pt idx="24">
                  <c:v>0.95853786005340846</c:v>
                </c:pt>
                <c:pt idx="25">
                  <c:v>0.967450230249848</c:v>
                </c:pt>
                <c:pt idx="26">
                  <c:v>0.97358074233089087</c:v>
                </c:pt>
                <c:pt idx="27">
                  <c:v>0.97813268926517549</c:v>
                </c:pt>
                <c:pt idx="28">
                  <c:v>0.98182520511387117</c:v>
                </c:pt>
                <c:pt idx="29">
                  <c:v>0.98459343948682798</c:v>
                </c:pt>
                <c:pt idx="30">
                  <c:v>0.98706119465152509</c:v>
                </c:pt>
                <c:pt idx="31">
                  <c:v>0.98907427461398278</c:v>
                </c:pt>
                <c:pt idx="32">
                  <c:v>0.99075223115445077</c:v>
                </c:pt>
                <c:pt idx="33">
                  <c:v>0.99240094481341889</c:v>
                </c:pt>
                <c:pt idx="34">
                  <c:v>0.99398136774323709</c:v>
                </c:pt>
                <c:pt idx="35">
                  <c:v>0.99544592005553534</c:v>
                </c:pt>
                <c:pt idx="36">
                  <c:v>0.99682050750298368</c:v>
                </c:pt>
                <c:pt idx="37">
                  <c:v>0.99815246915022215</c:v>
                </c:pt>
                <c:pt idx="38">
                  <c:v>0.99895310484230126</c:v>
                </c:pt>
                <c:pt idx="39">
                  <c:v>0.99959696428615052</c:v>
                </c:pt>
                <c:pt idx="40">
                  <c:v>0.99975425658523032</c:v>
                </c:pt>
                <c:pt idx="41">
                  <c:v>0.99975425658523032</c:v>
                </c:pt>
                <c:pt idx="42">
                  <c:v>0.99987205379259014</c:v>
                </c:pt>
                <c:pt idx="43">
                  <c:v>0.9999154020639901</c:v>
                </c:pt>
                <c:pt idx="44">
                  <c:v>0.99993907159631013</c:v>
                </c:pt>
                <c:pt idx="45">
                  <c:v>0.99995290175909013</c:v>
                </c:pt>
                <c:pt idx="46">
                  <c:v>0.99997846347786012</c:v>
                </c:pt>
                <c:pt idx="47">
                  <c:v>0.99998255748127007</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7</c:f>
              <c:strCache>
                <c:ptCount val="46"/>
                <c:pt idx="0">
                  <c:v>Apericube</c:v>
                </c:pt>
                <c:pt idx="1">
                  <c:v>Apericube</c:v>
                </c:pt>
                <c:pt idx="2">
                  <c:v>Apericube</c:v>
                </c:pt>
                <c:pt idx="3">
                  <c:v>Apericube</c:v>
                </c:pt>
                <c:pt idx="4">
                  <c:v>Apericube</c:v>
                </c:pt>
                <c:pt idx="5">
                  <c:v>Boursin</c:v>
                </c:pt>
                <c:pt idx="6">
                  <c:v>Apericube</c:v>
                </c:pt>
                <c:pt idx="7">
                  <c:v>Private Lab</c:v>
                </c:pt>
                <c:pt idx="8">
                  <c:v>Apericube</c:v>
                </c:pt>
                <c:pt idx="9">
                  <c:v>Apericube</c:v>
                </c:pt>
                <c:pt idx="10">
                  <c:v>Aperivrais</c:v>
                </c:pt>
                <c:pt idx="11">
                  <c:v>Boursin</c:v>
                </c:pt>
                <c:pt idx="12">
                  <c:v>Apericube</c:v>
                </c:pt>
                <c:pt idx="13">
                  <c:v>Apericube</c:v>
                </c:pt>
                <c:pt idx="14">
                  <c:v>St Moret</c:v>
                </c:pt>
                <c:pt idx="15">
                  <c:v>Aperivrais</c:v>
                </c:pt>
                <c:pt idx="16">
                  <c:v>Aperivrais</c:v>
                </c:pt>
                <c:pt idx="17">
                  <c:v>St Moret</c:v>
                </c:pt>
                <c:pt idx="18">
                  <c:v>Boursin</c:v>
                </c:pt>
                <c:pt idx="19">
                  <c:v>Apericube</c:v>
                </c:pt>
                <c:pt idx="20">
                  <c:v>St Moret</c:v>
                </c:pt>
                <c:pt idx="21">
                  <c:v>Private Lab</c:v>
                </c:pt>
                <c:pt idx="22">
                  <c:v>Aperivrais</c:v>
                </c:pt>
                <c:pt idx="23">
                  <c:v>Aperivrais</c:v>
                </c:pt>
                <c:pt idx="24">
                  <c:v>St Moret</c:v>
                </c:pt>
                <c:pt idx="25">
                  <c:v>Apericube</c:v>
                </c:pt>
                <c:pt idx="26">
                  <c:v>Entremont</c:v>
                </c:pt>
                <c:pt idx="27">
                  <c:v>Apericube</c:v>
                </c:pt>
                <c:pt idx="28">
                  <c:v>Entremont</c:v>
                </c:pt>
                <c:pt idx="29">
                  <c:v>Aperivrais</c:v>
                </c:pt>
                <c:pt idx="30">
                  <c:v>Apericube</c:v>
                </c:pt>
                <c:pt idx="31">
                  <c:v>Apericube</c:v>
                </c:pt>
                <c:pt idx="32">
                  <c:v>Apericube</c:v>
                </c:pt>
                <c:pt idx="33">
                  <c:v>Aperivrais</c:v>
                </c:pt>
                <c:pt idx="34">
                  <c:v>Entremont</c:v>
                </c:pt>
                <c:pt idx="35">
                  <c:v>Aperivrais</c:v>
                </c:pt>
                <c:pt idx="36">
                  <c:v>Boursin</c:v>
                </c:pt>
                <c:pt idx="37">
                  <c:v>All Others</c:v>
                </c:pt>
                <c:pt idx="38">
                  <c:v>Boursin</c:v>
                </c:pt>
                <c:pt idx="39">
                  <c:v>All Others</c:v>
                </c:pt>
                <c:pt idx="40">
                  <c:v>All Others</c:v>
                </c:pt>
                <c:pt idx="41">
                  <c:v>Other Suppl</c:v>
                </c:pt>
                <c:pt idx="42">
                  <c:v>All Others</c:v>
                </c:pt>
                <c:pt idx="43">
                  <c:v>All Others</c:v>
                </c:pt>
                <c:pt idx="44">
                  <c:v>O'Tapas Ape</c:v>
                </c:pt>
                <c:pt idx="45">
                  <c:v>Apericube</c:v>
                </c:pt>
              </c:strCache>
            </c:strRef>
          </c:cat>
          <c:val>
            <c:numRef>
              <c:f>Sheet1!$B$2:$B$47</c:f>
              <c:numCache>
                <c:formatCode>General</c:formatCode>
                <c:ptCount val="46"/>
                <c:pt idx="0">
                  <c:v>1</c:v>
                </c:pt>
                <c:pt idx="1">
                  <c:v>1</c:v>
                </c:pt>
                <c:pt idx="2">
                  <c:v>0.99</c:v>
                </c:pt>
                <c:pt idx="3">
                  <c:v>1</c:v>
                </c:pt>
                <c:pt idx="4">
                  <c:v>0.99</c:v>
                </c:pt>
                <c:pt idx="5">
                  <c:v>0.99</c:v>
                </c:pt>
                <c:pt idx="6">
                  <c:v>0.99</c:v>
                </c:pt>
                <c:pt idx="7">
                  <c:v>0.99</c:v>
                </c:pt>
                <c:pt idx="8">
                  <c:v>0.99</c:v>
                </c:pt>
                <c:pt idx="9">
                  <c:v>0.99</c:v>
                </c:pt>
                <c:pt idx="10">
                  <c:v>1</c:v>
                </c:pt>
                <c:pt idx="11">
                  <c:v>0.99</c:v>
                </c:pt>
                <c:pt idx="12">
                  <c:v>0.98</c:v>
                </c:pt>
                <c:pt idx="13">
                  <c:v>0.99</c:v>
                </c:pt>
                <c:pt idx="14">
                  <c:v>0.99</c:v>
                </c:pt>
                <c:pt idx="15">
                  <c:v>0.99</c:v>
                </c:pt>
                <c:pt idx="16">
                  <c:v>1</c:v>
                </c:pt>
                <c:pt idx="17">
                  <c:v>0.98</c:v>
                </c:pt>
                <c:pt idx="18">
                  <c:v>0.98</c:v>
                </c:pt>
                <c:pt idx="19">
                  <c:v>0.98</c:v>
                </c:pt>
                <c:pt idx="20">
                  <c:v>0.98</c:v>
                </c:pt>
                <c:pt idx="21">
                  <c:v>0.98</c:v>
                </c:pt>
                <c:pt idx="22">
                  <c:v>0.97</c:v>
                </c:pt>
                <c:pt idx="23">
                  <c:v>0.98</c:v>
                </c:pt>
                <c:pt idx="24">
                  <c:v>0.96</c:v>
                </c:pt>
                <c:pt idx="25">
                  <c:v>0.96</c:v>
                </c:pt>
                <c:pt idx="26">
                  <c:v>0.97</c:v>
                </c:pt>
                <c:pt idx="27">
                  <c:v>0.88</c:v>
                </c:pt>
                <c:pt idx="28">
                  <c:v>0.97</c:v>
                </c:pt>
                <c:pt idx="29">
                  <c:v>0.73</c:v>
                </c:pt>
                <c:pt idx="30">
                  <c:v>0.8</c:v>
                </c:pt>
                <c:pt idx="31">
                  <c:v>0.7</c:v>
                </c:pt>
                <c:pt idx="32">
                  <c:v>0.68</c:v>
                </c:pt>
                <c:pt idx="33">
                  <c:v>0.96</c:v>
                </c:pt>
                <c:pt idx="34">
                  <c:v>0.92</c:v>
                </c:pt>
                <c:pt idx="35">
                  <c:v>0.85</c:v>
                </c:pt>
                <c:pt idx="36">
                  <c:v>0.96</c:v>
                </c:pt>
                <c:pt idx="37">
                  <c:v>7.0000000000000007E-2</c:v>
                </c:pt>
                <c:pt idx="38">
                  <c:v>0.86</c:v>
                </c:pt>
                <c:pt idx="39">
                  <c:v>0.03</c:v>
                </c:pt>
                <c:pt idx="40">
                  <c:v>0.05</c:v>
                </c:pt>
                <c:pt idx="41">
                  <c:v>0.01</c:v>
                </c:pt>
                <c:pt idx="42">
                  <c:v>0.01</c:v>
                </c:pt>
                <c:pt idx="43">
                  <c:v>0.01</c:v>
                </c:pt>
                <c:pt idx="44">
                  <c:v>0.03</c:v>
                </c:pt>
                <c:pt idx="4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7</c:f>
              <c:strCache>
                <c:ptCount val="46"/>
                <c:pt idx="0">
                  <c:v>Apericube</c:v>
                </c:pt>
                <c:pt idx="1">
                  <c:v>Apericube</c:v>
                </c:pt>
                <c:pt idx="2">
                  <c:v>Apericube</c:v>
                </c:pt>
                <c:pt idx="3">
                  <c:v>Apericube</c:v>
                </c:pt>
                <c:pt idx="4">
                  <c:v>Apericube</c:v>
                </c:pt>
                <c:pt idx="5">
                  <c:v>Boursin</c:v>
                </c:pt>
                <c:pt idx="6">
                  <c:v>Apericube</c:v>
                </c:pt>
                <c:pt idx="7">
                  <c:v>Private Lab</c:v>
                </c:pt>
                <c:pt idx="8">
                  <c:v>Apericube</c:v>
                </c:pt>
                <c:pt idx="9">
                  <c:v>Apericube</c:v>
                </c:pt>
                <c:pt idx="10">
                  <c:v>Aperivrais</c:v>
                </c:pt>
                <c:pt idx="11">
                  <c:v>Boursin</c:v>
                </c:pt>
                <c:pt idx="12">
                  <c:v>Apericube</c:v>
                </c:pt>
                <c:pt idx="13">
                  <c:v>Apericube</c:v>
                </c:pt>
                <c:pt idx="14">
                  <c:v>St Moret</c:v>
                </c:pt>
                <c:pt idx="15">
                  <c:v>Aperivrais</c:v>
                </c:pt>
                <c:pt idx="16">
                  <c:v>Aperivrais</c:v>
                </c:pt>
                <c:pt idx="17">
                  <c:v>St Moret</c:v>
                </c:pt>
                <c:pt idx="18">
                  <c:v>Boursin</c:v>
                </c:pt>
                <c:pt idx="19">
                  <c:v>Apericube</c:v>
                </c:pt>
                <c:pt idx="20">
                  <c:v>St Moret</c:v>
                </c:pt>
                <c:pt idx="21">
                  <c:v>Private Lab</c:v>
                </c:pt>
                <c:pt idx="22">
                  <c:v>Aperivrais</c:v>
                </c:pt>
                <c:pt idx="23">
                  <c:v>Aperivrais</c:v>
                </c:pt>
                <c:pt idx="24">
                  <c:v>St Moret</c:v>
                </c:pt>
                <c:pt idx="25">
                  <c:v>Apericube</c:v>
                </c:pt>
                <c:pt idx="26">
                  <c:v>Entremont</c:v>
                </c:pt>
                <c:pt idx="27">
                  <c:v>Apericube</c:v>
                </c:pt>
                <c:pt idx="28">
                  <c:v>Entremont</c:v>
                </c:pt>
                <c:pt idx="29">
                  <c:v>Aperivrais</c:v>
                </c:pt>
                <c:pt idx="30">
                  <c:v>Apericube</c:v>
                </c:pt>
                <c:pt idx="31">
                  <c:v>Apericube</c:v>
                </c:pt>
                <c:pt idx="32">
                  <c:v>Apericube</c:v>
                </c:pt>
                <c:pt idx="33">
                  <c:v>Aperivrais</c:v>
                </c:pt>
                <c:pt idx="34">
                  <c:v>Entremont</c:v>
                </c:pt>
                <c:pt idx="35">
                  <c:v>Aperivrais</c:v>
                </c:pt>
                <c:pt idx="36">
                  <c:v>Boursin</c:v>
                </c:pt>
                <c:pt idx="37">
                  <c:v>All Others</c:v>
                </c:pt>
                <c:pt idx="38">
                  <c:v>Boursin</c:v>
                </c:pt>
                <c:pt idx="39">
                  <c:v>All Others</c:v>
                </c:pt>
                <c:pt idx="40">
                  <c:v>All Others</c:v>
                </c:pt>
                <c:pt idx="41">
                  <c:v>Other Suppl</c:v>
                </c:pt>
                <c:pt idx="42">
                  <c:v>All Others</c:v>
                </c:pt>
                <c:pt idx="43">
                  <c:v>All Others</c:v>
                </c:pt>
                <c:pt idx="44">
                  <c:v>O'Tapas Ape</c:v>
                </c:pt>
                <c:pt idx="45">
                  <c:v>Apericube</c:v>
                </c:pt>
              </c:strCache>
            </c:strRef>
          </c:cat>
          <c:val>
            <c:numRef>
              <c:f>Sheet1!$C$2:$C$47</c:f>
              <c:numCache>
                <c:formatCode>General</c:formatCode>
                <c:ptCount val="46"/>
                <c:pt idx="0">
                  <c:v>9.6992963139821087E-2</c:v>
                </c:pt>
                <c:pt idx="1">
                  <c:v>0.1829504116764567</c:v>
                </c:pt>
                <c:pt idx="2">
                  <c:v>0.26125574433248988</c:v>
                </c:pt>
                <c:pt idx="3">
                  <c:v>0.32550800052388112</c:v>
                </c:pt>
                <c:pt idx="4">
                  <c:v>0.38967666586911298</c:v>
                </c:pt>
                <c:pt idx="5">
                  <c:v>0.44524241176173968</c:v>
                </c:pt>
                <c:pt idx="6">
                  <c:v>0.49450534016905656</c:v>
                </c:pt>
                <c:pt idx="7">
                  <c:v>0.53947603091710661</c:v>
                </c:pt>
                <c:pt idx="8">
                  <c:v>0.58433741055864064</c:v>
                </c:pt>
                <c:pt idx="9">
                  <c:v>0.62439197812153424</c:v>
                </c:pt>
                <c:pt idx="10">
                  <c:v>0.65903767645875322</c:v>
                </c:pt>
                <c:pt idx="11">
                  <c:v>0.69355545034314536</c:v>
                </c:pt>
                <c:pt idx="12">
                  <c:v>0.72733224383212913</c:v>
                </c:pt>
                <c:pt idx="13">
                  <c:v>0.75682458342484882</c:v>
                </c:pt>
                <c:pt idx="14">
                  <c:v>0.78301051586381654</c:v>
                </c:pt>
                <c:pt idx="15">
                  <c:v>0.80597160144832125</c:v>
                </c:pt>
                <c:pt idx="16">
                  <c:v>0.8266674427868036</c:v>
                </c:pt>
                <c:pt idx="17">
                  <c:v>0.84643820081363996</c:v>
                </c:pt>
                <c:pt idx="18">
                  <c:v>0.86369328048045424</c:v>
                </c:pt>
                <c:pt idx="19">
                  <c:v>0.88049537898295971</c:v>
                </c:pt>
                <c:pt idx="20">
                  <c:v>0.89578624297726872</c:v>
                </c:pt>
                <c:pt idx="21">
                  <c:v>0.91023781426520056</c:v>
                </c:pt>
                <c:pt idx="22">
                  <c:v>0.92418259489676158</c:v>
                </c:pt>
                <c:pt idx="23">
                  <c:v>0.93775070908388802</c:v>
                </c:pt>
                <c:pt idx="24">
                  <c:v>0.94783575853954916</c:v>
                </c:pt>
                <c:pt idx="25">
                  <c:v>0.95732027375832873</c:v>
                </c:pt>
                <c:pt idx="26">
                  <c:v>0.96416981598845808</c:v>
                </c:pt>
                <c:pt idx="27">
                  <c:v>0.96916225389348876</c:v>
                </c:pt>
                <c:pt idx="28">
                  <c:v>0.97402439837434396</c:v>
                </c:pt>
                <c:pt idx="29">
                  <c:v>0.97837518346837016</c:v>
                </c:pt>
                <c:pt idx="30">
                  <c:v>0.98264897699356535</c:v>
                </c:pt>
                <c:pt idx="31">
                  <c:v>0.98654407352745566</c:v>
                </c:pt>
                <c:pt idx="32">
                  <c:v>0.98965842478972821</c:v>
                </c:pt>
                <c:pt idx="33">
                  <c:v>0.99180606652951431</c:v>
                </c:pt>
                <c:pt idx="34">
                  <c:v>0.99367823074390083</c:v>
                </c:pt>
                <c:pt idx="35">
                  <c:v>0.99551029165759952</c:v>
                </c:pt>
                <c:pt idx="36">
                  <c:v>0.99713540600277017</c:v>
                </c:pt>
                <c:pt idx="37">
                  <c:v>0.99853783704116816</c:v>
                </c:pt>
                <c:pt idx="38">
                  <c:v>0.99974838140032585</c:v>
                </c:pt>
                <c:pt idx="39">
                  <c:v>0.99985887699251619</c:v>
                </c:pt>
                <c:pt idx="40">
                  <c:v>0.99995617403004988</c:v>
                </c:pt>
                <c:pt idx="41">
                  <c:v>0.99995617403004988</c:v>
                </c:pt>
                <c:pt idx="42">
                  <c:v>0.99997444895188226</c:v>
                </c:pt>
                <c:pt idx="43">
                  <c:v>0.9999923854492363</c:v>
                </c:pt>
                <c:pt idx="44">
                  <c:v>0.99999661575521603</c:v>
                </c:pt>
                <c:pt idx="45">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Galbani</c:v>
                </c:pt>
                <c:pt idx="4">
                  <c:v>Soignon</c:v>
                </c:pt>
                <c:pt idx="5">
                  <c:v>St Moret</c:v>
                </c:pt>
                <c:pt idx="6">
                  <c:v>Boursin</c:v>
                </c:pt>
                <c:pt idx="7">
                  <c:v>La Vache Qui Rit</c:v>
                </c:pt>
                <c:pt idx="8">
                  <c:v>Kiri</c:v>
                </c:pt>
                <c:pt idx="9">
                  <c:v>Others</c:v>
                </c:pt>
              </c:strCache>
            </c:strRef>
          </c:cat>
          <c:val>
            <c:numRef>
              <c:f>Sheet1!$B$2:$B$11</c:f>
              <c:numCache>
                <c:formatCode>General</c:formatCode>
                <c:ptCount val="10"/>
                <c:pt idx="0">
                  <c:v>0.51366967570227318</c:v>
                </c:pt>
                <c:pt idx="1">
                  <c:v>6.9404857873635664E-2</c:v>
                </c:pt>
                <c:pt idx="2">
                  <c:v>4.1115466983970797E-2</c:v>
                </c:pt>
                <c:pt idx="3">
                  <c:v>2.4575100463815513E-2</c:v>
                </c:pt>
                <c:pt idx="4">
                  <c:v>2.3525689739967569E-2</c:v>
                </c:pt>
                <c:pt idx="5">
                  <c:v>2.2704056310553652E-2</c:v>
                </c:pt>
                <c:pt idx="6">
                  <c:v>1.4801535772870595E-2</c:v>
                </c:pt>
                <c:pt idx="7">
                  <c:v>1.4038460718091965E-2</c:v>
                </c:pt>
                <c:pt idx="8">
                  <c:v>1.1942312259573146E-2</c:v>
                </c:pt>
                <c:pt idx="9">
                  <c:v>0.26422284417524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Galbani</c:v>
                </c:pt>
                <c:pt idx="4">
                  <c:v>Soignon</c:v>
                </c:pt>
                <c:pt idx="5">
                  <c:v>St Moret</c:v>
                </c:pt>
                <c:pt idx="6">
                  <c:v>Boursin</c:v>
                </c:pt>
                <c:pt idx="7">
                  <c:v>La Vache Qui Rit</c:v>
                </c:pt>
                <c:pt idx="8">
                  <c:v>Kiri</c:v>
                </c:pt>
                <c:pt idx="9">
                  <c:v>Others</c:v>
                </c:pt>
              </c:strCache>
            </c:strRef>
          </c:cat>
          <c:val>
            <c:numRef>
              <c:f>Sheet1!$C$2:$C$11</c:f>
              <c:numCache>
                <c:formatCode>General</c:formatCode>
                <c:ptCount val="10"/>
                <c:pt idx="0">
                  <c:v>0.35921516428800376</c:v>
                </c:pt>
                <c:pt idx="1">
                  <c:v>6.0834627424881153E-2</c:v>
                </c:pt>
                <c:pt idx="2">
                  <c:v>4.471394414454391E-2</c:v>
                </c:pt>
                <c:pt idx="3">
                  <c:v>2.9332741748625841E-2</c:v>
                </c:pt>
                <c:pt idx="4">
                  <c:v>2.4649362813971298E-2</c:v>
                </c:pt>
                <c:pt idx="5">
                  <c:v>2.0680815400921915E-2</c:v>
                </c:pt>
                <c:pt idx="6">
                  <c:v>3.4484458576745848E-2</c:v>
                </c:pt>
                <c:pt idx="7">
                  <c:v>1.2620473760753302E-2</c:v>
                </c:pt>
                <c:pt idx="8">
                  <c:v>1.6243930094407083E-2</c:v>
                </c:pt>
                <c:pt idx="9">
                  <c:v>0.39722448174714731</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Entremont</c:v>
                </c:pt>
                <c:pt idx="3">
                  <c:v>Galbani</c:v>
                </c:pt>
                <c:pt idx="4">
                  <c:v>Soignon</c:v>
                </c:pt>
                <c:pt idx="5">
                  <c:v>St Moret</c:v>
                </c:pt>
                <c:pt idx="6">
                  <c:v>Boursin</c:v>
                </c:pt>
                <c:pt idx="7">
                  <c:v>La Vache Qui Rit</c:v>
                </c:pt>
                <c:pt idx="8">
                  <c:v>Kiri</c:v>
                </c:pt>
                <c:pt idx="9">
                  <c:v>Others</c:v>
                </c:pt>
              </c:strCache>
            </c:strRef>
          </c:cat>
          <c:val>
            <c:numRef>
              <c:f>Sheet1!$D$2:$D$11</c:f>
              <c:numCache>
                <c:formatCode>General</c:formatCode>
                <c:ptCount val="10"/>
                <c:pt idx="0">
                  <c:v>69.931160292243462</c:v>
                </c:pt>
                <c:pt idx="1">
                  <c:v>87.651829120724955</c:v>
                </c:pt>
                <c:pt idx="2">
                  <c:v>108.75212523300783</c:v>
                </c:pt>
                <c:pt idx="3">
                  <c:v>119.35960055103538</c:v>
                </c:pt>
                <c:pt idx="4">
                  <c:v>104.77636611901215</c:v>
                </c:pt>
                <c:pt idx="5">
                  <c:v>91.08863684111256</c:v>
                </c:pt>
                <c:pt idx="6">
                  <c:v>232.9789226328233</c:v>
                </c:pt>
                <c:pt idx="7">
                  <c:v>89.899270398561271</c:v>
                </c:pt>
                <c:pt idx="8">
                  <c:v>136.01997453538107</c:v>
                </c:pt>
                <c:pt idx="9">
                  <c:v>150.33691843983212</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4</c:f>
              <c:strCache>
                <c:ptCount val="43"/>
                <c:pt idx="0">
                  <c:v>Apericube</c:v>
                </c:pt>
                <c:pt idx="1">
                  <c:v>Apericube</c:v>
                </c:pt>
                <c:pt idx="2">
                  <c:v>Boursin</c:v>
                </c:pt>
                <c:pt idx="3">
                  <c:v>Aperivrais</c:v>
                </c:pt>
                <c:pt idx="4">
                  <c:v>Apericube</c:v>
                </c:pt>
                <c:pt idx="5">
                  <c:v>Apericube</c:v>
                </c:pt>
                <c:pt idx="6">
                  <c:v>Apericube</c:v>
                </c:pt>
                <c:pt idx="7">
                  <c:v>Private Lab</c:v>
                </c:pt>
                <c:pt idx="8">
                  <c:v>Apericube</c:v>
                </c:pt>
                <c:pt idx="9">
                  <c:v>Apericube</c:v>
                </c:pt>
                <c:pt idx="10">
                  <c:v>Private Lab</c:v>
                </c:pt>
                <c:pt idx="11">
                  <c:v>Apericube</c:v>
                </c:pt>
                <c:pt idx="12">
                  <c:v>Apericube</c:v>
                </c:pt>
                <c:pt idx="13">
                  <c:v>St Moret</c:v>
                </c:pt>
                <c:pt idx="14">
                  <c:v>Boursin</c:v>
                </c:pt>
                <c:pt idx="15">
                  <c:v>Aperivrais</c:v>
                </c:pt>
                <c:pt idx="16">
                  <c:v>Aperivrais</c:v>
                </c:pt>
                <c:pt idx="17">
                  <c:v>Apericube</c:v>
                </c:pt>
                <c:pt idx="18">
                  <c:v>Boursin</c:v>
                </c:pt>
                <c:pt idx="19">
                  <c:v>St Moret</c:v>
                </c:pt>
                <c:pt idx="20">
                  <c:v>Aperivrais</c:v>
                </c:pt>
                <c:pt idx="21">
                  <c:v>St Moret</c:v>
                </c:pt>
                <c:pt idx="22">
                  <c:v>Aperivrais</c:v>
                </c:pt>
                <c:pt idx="23">
                  <c:v>St Moret</c:v>
                </c:pt>
                <c:pt idx="24">
                  <c:v>Apericube</c:v>
                </c:pt>
                <c:pt idx="25">
                  <c:v>Apericube</c:v>
                </c:pt>
                <c:pt idx="26">
                  <c:v>Entremont</c:v>
                </c:pt>
                <c:pt idx="27">
                  <c:v>Entremont</c:v>
                </c:pt>
                <c:pt idx="28">
                  <c:v>Apericube</c:v>
                </c:pt>
                <c:pt idx="29">
                  <c:v>Apericube</c:v>
                </c:pt>
                <c:pt idx="30">
                  <c:v>Aperivrais</c:v>
                </c:pt>
                <c:pt idx="31">
                  <c:v>All Others</c:v>
                </c:pt>
                <c:pt idx="32">
                  <c:v>Aperivrais</c:v>
                </c:pt>
                <c:pt idx="33">
                  <c:v>Entremont</c:v>
                </c:pt>
                <c:pt idx="34">
                  <c:v>All Others</c:v>
                </c:pt>
                <c:pt idx="35">
                  <c:v>Apericube</c:v>
                </c:pt>
                <c:pt idx="36">
                  <c:v>Apericube</c:v>
                </c:pt>
                <c:pt idx="37">
                  <c:v>Boursin</c:v>
                </c:pt>
                <c:pt idx="38">
                  <c:v>Boursin</c:v>
                </c:pt>
                <c:pt idx="39">
                  <c:v>Aperivrais</c:v>
                </c:pt>
                <c:pt idx="40">
                  <c:v>All Others</c:v>
                </c:pt>
                <c:pt idx="41">
                  <c:v>All Others</c:v>
                </c:pt>
                <c:pt idx="42">
                  <c:v>All Others</c:v>
                </c:pt>
              </c:strCache>
            </c:strRef>
          </c:cat>
          <c:val>
            <c:numRef>
              <c:f>Sheet1!$B$2:$B$44</c:f>
              <c:numCache>
                <c:formatCode>General</c:formatCode>
                <c:ptCount val="43"/>
                <c:pt idx="0">
                  <c:v>0.75</c:v>
                </c:pt>
                <c:pt idx="1">
                  <c:v>0.82</c:v>
                </c:pt>
                <c:pt idx="2">
                  <c:v>0.85</c:v>
                </c:pt>
                <c:pt idx="3">
                  <c:v>0.9</c:v>
                </c:pt>
                <c:pt idx="4">
                  <c:v>0.71</c:v>
                </c:pt>
                <c:pt idx="5">
                  <c:v>0.7</c:v>
                </c:pt>
                <c:pt idx="6">
                  <c:v>0.71</c:v>
                </c:pt>
                <c:pt idx="7">
                  <c:v>0.5</c:v>
                </c:pt>
                <c:pt idx="8">
                  <c:v>0.75</c:v>
                </c:pt>
                <c:pt idx="9">
                  <c:v>0.46</c:v>
                </c:pt>
                <c:pt idx="10">
                  <c:v>0.75</c:v>
                </c:pt>
                <c:pt idx="11">
                  <c:v>0.45</c:v>
                </c:pt>
                <c:pt idx="12">
                  <c:v>0.41</c:v>
                </c:pt>
                <c:pt idx="13">
                  <c:v>0.69</c:v>
                </c:pt>
                <c:pt idx="14">
                  <c:v>0.56000000000000005</c:v>
                </c:pt>
                <c:pt idx="15">
                  <c:v>0.74</c:v>
                </c:pt>
                <c:pt idx="16">
                  <c:v>0.78</c:v>
                </c:pt>
                <c:pt idx="17">
                  <c:v>0.45</c:v>
                </c:pt>
                <c:pt idx="18">
                  <c:v>0.56999999999999995</c:v>
                </c:pt>
                <c:pt idx="19">
                  <c:v>0.45</c:v>
                </c:pt>
                <c:pt idx="20">
                  <c:v>0.55000000000000004</c:v>
                </c:pt>
                <c:pt idx="21">
                  <c:v>0.52</c:v>
                </c:pt>
                <c:pt idx="22">
                  <c:v>0.53</c:v>
                </c:pt>
                <c:pt idx="23">
                  <c:v>0.53</c:v>
                </c:pt>
                <c:pt idx="24">
                  <c:v>0.37</c:v>
                </c:pt>
                <c:pt idx="25">
                  <c:v>0.33</c:v>
                </c:pt>
                <c:pt idx="26">
                  <c:v>0.36</c:v>
                </c:pt>
                <c:pt idx="27">
                  <c:v>0.3</c:v>
                </c:pt>
                <c:pt idx="28">
                  <c:v>0.4</c:v>
                </c:pt>
                <c:pt idx="29">
                  <c:v>0.16</c:v>
                </c:pt>
                <c:pt idx="30">
                  <c:v>0.59</c:v>
                </c:pt>
                <c:pt idx="31">
                  <c:v>0.02</c:v>
                </c:pt>
                <c:pt idx="32">
                  <c:v>0.05</c:v>
                </c:pt>
                <c:pt idx="33">
                  <c:v>0.24</c:v>
                </c:pt>
                <c:pt idx="34">
                  <c:v>0.02</c:v>
                </c:pt>
                <c:pt idx="35">
                  <c:v>0.09</c:v>
                </c:pt>
                <c:pt idx="36">
                  <c:v>7.0000000000000007E-2</c:v>
                </c:pt>
                <c:pt idx="37">
                  <c:v>0.18</c:v>
                </c:pt>
                <c:pt idx="38">
                  <c:v>0.17</c:v>
                </c:pt>
                <c:pt idx="39">
                  <c:v>0.05</c:v>
                </c:pt>
                <c:pt idx="40">
                  <c:v>0.01</c:v>
                </c:pt>
                <c:pt idx="41">
                  <c:v>0.01</c:v>
                </c:pt>
                <c:pt idx="4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4</c:f>
              <c:strCache>
                <c:ptCount val="43"/>
                <c:pt idx="0">
                  <c:v>Apericube</c:v>
                </c:pt>
                <c:pt idx="1">
                  <c:v>Apericube</c:v>
                </c:pt>
                <c:pt idx="2">
                  <c:v>Boursin</c:v>
                </c:pt>
                <c:pt idx="3">
                  <c:v>Aperivrais</c:v>
                </c:pt>
                <c:pt idx="4">
                  <c:v>Apericube</c:v>
                </c:pt>
                <c:pt idx="5">
                  <c:v>Apericube</c:v>
                </c:pt>
                <c:pt idx="6">
                  <c:v>Apericube</c:v>
                </c:pt>
                <c:pt idx="7">
                  <c:v>Private Lab</c:v>
                </c:pt>
                <c:pt idx="8">
                  <c:v>Apericube</c:v>
                </c:pt>
                <c:pt idx="9">
                  <c:v>Apericube</c:v>
                </c:pt>
                <c:pt idx="10">
                  <c:v>Private Lab</c:v>
                </c:pt>
                <c:pt idx="11">
                  <c:v>Apericube</c:v>
                </c:pt>
                <c:pt idx="12">
                  <c:v>Apericube</c:v>
                </c:pt>
                <c:pt idx="13">
                  <c:v>St Moret</c:v>
                </c:pt>
                <c:pt idx="14">
                  <c:v>Boursin</c:v>
                </c:pt>
                <c:pt idx="15">
                  <c:v>Aperivrais</c:v>
                </c:pt>
                <c:pt idx="16">
                  <c:v>Aperivrais</c:v>
                </c:pt>
                <c:pt idx="17">
                  <c:v>Apericube</c:v>
                </c:pt>
                <c:pt idx="18">
                  <c:v>Boursin</c:v>
                </c:pt>
                <c:pt idx="19">
                  <c:v>St Moret</c:v>
                </c:pt>
                <c:pt idx="20">
                  <c:v>Aperivrais</c:v>
                </c:pt>
                <c:pt idx="21">
                  <c:v>St Moret</c:v>
                </c:pt>
                <c:pt idx="22">
                  <c:v>Aperivrais</c:v>
                </c:pt>
                <c:pt idx="23">
                  <c:v>St Moret</c:v>
                </c:pt>
                <c:pt idx="24">
                  <c:v>Apericube</c:v>
                </c:pt>
                <c:pt idx="25">
                  <c:v>Apericube</c:v>
                </c:pt>
                <c:pt idx="26">
                  <c:v>Entremont</c:v>
                </c:pt>
                <c:pt idx="27">
                  <c:v>Entremont</c:v>
                </c:pt>
                <c:pt idx="28">
                  <c:v>Apericube</c:v>
                </c:pt>
                <c:pt idx="29">
                  <c:v>Apericube</c:v>
                </c:pt>
                <c:pt idx="30">
                  <c:v>Aperivrais</c:v>
                </c:pt>
                <c:pt idx="31">
                  <c:v>All Others</c:v>
                </c:pt>
                <c:pt idx="32">
                  <c:v>Aperivrais</c:v>
                </c:pt>
                <c:pt idx="33">
                  <c:v>Entremont</c:v>
                </c:pt>
                <c:pt idx="34">
                  <c:v>All Others</c:v>
                </c:pt>
                <c:pt idx="35">
                  <c:v>Apericube</c:v>
                </c:pt>
                <c:pt idx="36">
                  <c:v>Apericube</c:v>
                </c:pt>
                <c:pt idx="37">
                  <c:v>Boursin</c:v>
                </c:pt>
                <c:pt idx="38">
                  <c:v>Boursin</c:v>
                </c:pt>
                <c:pt idx="39">
                  <c:v>Aperivrais</c:v>
                </c:pt>
                <c:pt idx="40">
                  <c:v>All Others</c:v>
                </c:pt>
                <c:pt idx="41">
                  <c:v>All Others</c:v>
                </c:pt>
                <c:pt idx="42">
                  <c:v>All Others</c:v>
                </c:pt>
              </c:strCache>
            </c:strRef>
          </c:cat>
          <c:val>
            <c:numRef>
              <c:f>Sheet1!$C$2:$C$44</c:f>
              <c:numCache>
                <c:formatCode>General</c:formatCode>
                <c:ptCount val="43"/>
                <c:pt idx="0">
                  <c:v>0.11075650964073407</c:v>
                </c:pt>
                <c:pt idx="1">
                  <c:v>0.20726169208545983</c:v>
                </c:pt>
                <c:pt idx="2">
                  <c:v>0.28628803715578871</c:v>
                </c:pt>
                <c:pt idx="3">
                  <c:v>0.35585033320013348</c:v>
                </c:pt>
                <c:pt idx="4">
                  <c:v>0.42057595525498692</c:v>
                </c:pt>
                <c:pt idx="5">
                  <c:v>0.47782507673767211</c:v>
                </c:pt>
                <c:pt idx="6">
                  <c:v>0.52715503511219497</c:v>
                </c:pt>
                <c:pt idx="7">
                  <c:v>0.57611800787926648</c:v>
                </c:pt>
                <c:pt idx="8">
                  <c:v>0.61992545030938884</c:v>
                </c:pt>
                <c:pt idx="9">
                  <c:v>0.65619623059235088</c:v>
                </c:pt>
                <c:pt idx="10">
                  <c:v>0.6916272819443714</c:v>
                </c:pt>
                <c:pt idx="11">
                  <c:v>0.72520947310492612</c:v>
                </c:pt>
                <c:pt idx="12">
                  <c:v>0.75825305984936797</c:v>
                </c:pt>
                <c:pt idx="13">
                  <c:v>0.79036034250301268</c:v>
                </c:pt>
                <c:pt idx="14">
                  <c:v>0.82120201560274597</c:v>
                </c:pt>
                <c:pt idx="15">
                  <c:v>0.85165105526568918</c:v>
                </c:pt>
                <c:pt idx="16">
                  <c:v>0.87918257518138698</c:v>
                </c:pt>
                <c:pt idx="17">
                  <c:v>0.8973184402826706</c:v>
                </c:pt>
                <c:pt idx="18">
                  <c:v>0.91248074038000571</c:v>
                </c:pt>
                <c:pt idx="19">
                  <c:v>0.92486642547152409</c:v>
                </c:pt>
                <c:pt idx="20">
                  <c:v>0.9363683686903963</c:v>
                </c:pt>
                <c:pt idx="21">
                  <c:v>0.94780033449835677</c:v>
                </c:pt>
                <c:pt idx="22">
                  <c:v>0.95659057388443003</c:v>
                </c:pt>
                <c:pt idx="23">
                  <c:v>0.96425484189854715</c:v>
                </c:pt>
                <c:pt idx="24">
                  <c:v>0.97173672534847788</c:v>
                </c:pt>
                <c:pt idx="25">
                  <c:v>0.97753535125810509</c:v>
                </c:pt>
                <c:pt idx="26">
                  <c:v>0.98079230894425296</c:v>
                </c:pt>
                <c:pt idx="27">
                  <c:v>0.98402931831869289</c:v>
                </c:pt>
                <c:pt idx="28">
                  <c:v>0.98656718686375167</c:v>
                </c:pt>
                <c:pt idx="29">
                  <c:v>0.98890272253291622</c:v>
                </c:pt>
                <c:pt idx="30">
                  <c:v>0.99084562476529059</c:v>
                </c:pt>
                <c:pt idx="31">
                  <c:v>0.99248550264362612</c:v>
                </c:pt>
                <c:pt idx="32">
                  <c:v>0.99372704756754071</c:v>
                </c:pt>
                <c:pt idx="33">
                  <c:v>0.99496194305421937</c:v>
                </c:pt>
                <c:pt idx="34">
                  <c:v>0.99616802431287554</c:v>
                </c:pt>
                <c:pt idx="35">
                  <c:v>0.99708912968999042</c:v>
                </c:pt>
                <c:pt idx="36">
                  <c:v>0.99793044182027379</c:v>
                </c:pt>
                <c:pt idx="37">
                  <c:v>0.99875180563884924</c:v>
                </c:pt>
                <c:pt idx="38">
                  <c:v>0.99951775748045835</c:v>
                </c:pt>
                <c:pt idx="39">
                  <c:v>0.99991894019369476</c:v>
                </c:pt>
                <c:pt idx="40">
                  <c:v>0.99994268818382315</c:v>
                </c:pt>
                <c:pt idx="41">
                  <c:v>0.99996485297460969</c:v>
                </c:pt>
                <c:pt idx="42">
                  <c:v>0.9999803683281602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44</c:f>
              <c:strCache>
                <c:ptCount val="143"/>
                <c:pt idx="0">
                  <c:v>Private Lab</c:v>
                </c:pt>
                <c:pt idx="1">
                  <c:v>President</c:v>
                </c:pt>
                <c:pt idx="2">
                  <c:v>Private Lab</c:v>
                </c:pt>
                <c:pt idx="3">
                  <c:v>Private Lab</c:v>
                </c:pt>
                <c:pt idx="4">
                  <c:v>President</c:v>
                </c:pt>
                <c:pt idx="5">
                  <c:v>Private Lab</c:v>
                </c:pt>
                <c:pt idx="6">
                  <c:v>La Vache Qu</c:v>
                </c:pt>
                <c:pt idx="7">
                  <c:v>La Vache Qu</c:v>
                </c:pt>
                <c:pt idx="8">
                  <c:v>Private Lab</c:v>
                </c:pt>
                <c:pt idx="9">
                  <c:v>President</c:v>
                </c:pt>
                <c:pt idx="10">
                  <c:v>Private Lab</c:v>
                </c:pt>
                <c:pt idx="11">
                  <c:v>Boursin</c:v>
                </c:pt>
                <c:pt idx="12">
                  <c:v>President</c:v>
                </c:pt>
                <c:pt idx="13">
                  <c:v>President</c:v>
                </c:pt>
                <c:pt idx="14">
                  <c:v>Private Lab</c:v>
                </c:pt>
                <c:pt idx="15">
                  <c:v>La Belle Et</c:v>
                </c:pt>
                <c:pt idx="16">
                  <c:v>Private Lab</c:v>
                </c:pt>
                <c:pt idx="17">
                  <c:v>Private Lab</c:v>
                </c:pt>
                <c:pt idx="18">
                  <c:v>La Belle Et</c:v>
                </c:pt>
                <c:pt idx="19">
                  <c:v>Fauquet</c:v>
                </c:pt>
                <c:pt idx="20">
                  <c:v>La Belle Et</c:v>
                </c:pt>
                <c:pt idx="21">
                  <c:v>President</c:v>
                </c:pt>
                <c:pt idx="22">
                  <c:v>La Belle Et</c:v>
                </c:pt>
                <c:pt idx="23">
                  <c:v>Leerdammer</c:v>
                </c:pt>
                <c:pt idx="24">
                  <c:v>All Others</c:v>
                </c:pt>
                <c:pt idx="25">
                  <c:v>All Others</c:v>
                </c:pt>
                <c:pt idx="26">
                  <c:v>Leerdammer</c:v>
                </c:pt>
                <c:pt idx="27">
                  <c:v>All Others</c:v>
                </c:pt>
                <c:pt idx="28">
                  <c:v>La Belle Et</c:v>
                </c:pt>
                <c:pt idx="29">
                  <c:v>Raguin</c:v>
                </c:pt>
                <c:pt idx="30">
                  <c:v>La Vache Qu</c:v>
                </c:pt>
                <c:pt idx="31">
                  <c:v>All Others</c:v>
                </c:pt>
                <c:pt idx="32">
                  <c:v>Raguin</c:v>
                </c:pt>
                <c:pt idx="33">
                  <c:v>All Others</c:v>
                </c:pt>
                <c:pt idx="34">
                  <c:v>All Others</c:v>
                </c:pt>
                <c:pt idx="35">
                  <c:v>Raguin</c:v>
                </c:pt>
                <c:pt idx="36">
                  <c:v>La Vache Qu</c:v>
                </c:pt>
                <c:pt idx="37">
                  <c:v>Raguin</c:v>
                </c:pt>
                <c:pt idx="38">
                  <c:v>La Vache Qu</c:v>
                </c:pt>
                <c:pt idx="39">
                  <c:v>Milleret: A</c:v>
                </c:pt>
                <c:pt idx="40">
                  <c:v>La Belle Et</c:v>
                </c:pt>
                <c:pt idx="41">
                  <c:v>La Belle Et</c:v>
                </c:pt>
                <c:pt idx="42">
                  <c:v>All Others</c:v>
                </c:pt>
                <c:pt idx="43">
                  <c:v>La Belle Et</c:v>
                </c:pt>
                <c:pt idx="44">
                  <c:v>La Belle Et</c:v>
                </c:pt>
                <c:pt idx="45">
                  <c:v>La Belle Et</c:v>
                </c:pt>
                <c:pt idx="46">
                  <c:v>Milleret: A</c:v>
                </c:pt>
                <c:pt idx="47">
                  <c:v>La Belle Et</c:v>
                </c:pt>
                <c:pt idx="48">
                  <c:v>La Belle Et</c:v>
                </c:pt>
                <c:pt idx="49">
                  <c:v>La Belle Et</c:v>
                </c:pt>
                <c:pt idx="50">
                  <c:v>Milleret: A</c:v>
                </c:pt>
                <c:pt idx="51">
                  <c:v>La Belle Et</c:v>
                </c:pt>
                <c:pt idx="52">
                  <c:v>Milleret: A</c:v>
                </c:pt>
                <c:pt idx="53">
                  <c:v>All Others</c:v>
                </c:pt>
                <c:pt idx="54">
                  <c:v>All Others</c:v>
                </c:pt>
                <c:pt idx="55">
                  <c:v>La Belle Et</c:v>
                </c:pt>
                <c:pt idx="56">
                  <c:v>All Others</c:v>
                </c:pt>
                <c:pt idx="57">
                  <c:v>All Others</c:v>
                </c:pt>
                <c:pt idx="58">
                  <c:v>All Others</c:v>
                </c:pt>
                <c:pt idx="59">
                  <c:v>All Others</c:v>
                </c:pt>
                <c:pt idx="60">
                  <c:v>La Belle Et</c:v>
                </c:pt>
                <c:pt idx="61">
                  <c:v>La Belle Et</c:v>
                </c:pt>
                <c:pt idx="62">
                  <c:v>La Belle Et</c:v>
                </c:pt>
                <c:pt idx="63">
                  <c:v>Milleret: A</c:v>
                </c:pt>
                <c:pt idx="64">
                  <c:v>Raguin</c:v>
                </c:pt>
                <c:pt idx="65">
                  <c:v>Milleret: A</c:v>
                </c:pt>
                <c:pt idx="66">
                  <c:v>Raguin</c:v>
                </c:pt>
                <c:pt idx="67">
                  <c:v>All Others</c:v>
                </c:pt>
                <c:pt idx="68">
                  <c:v>President</c:v>
                </c:pt>
                <c:pt idx="69">
                  <c:v>Raguin</c:v>
                </c:pt>
                <c:pt idx="70">
                  <c:v>Richesmonts</c:v>
                </c:pt>
                <c:pt idx="71">
                  <c:v>Milleret: A</c:v>
                </c:pt>
                <c:pt idx="72">
                  <c:v>Raguin</c:v>
                </c:pt>
                <c:pt idx="73">
                  <c:v>La Belle Et</c:v>
                </c:pt>
                <c:pt idx="74">
                  <c:v>All Others</c:v>
                </c:pt>
                <c:pt idx="75">
                  <c:v>La Belle Et</c:v>
                </c:pt>
                <c:pt idx="76">
                  <c:v>All Others</c:v>
                </c:pt>
                <c:pt idx="77">
                  <c:v>All Others</c:v>
                </c:pt>
                <c:pt idx="78">
                  <c:v>Richesmonts</c:v>
                </c:pt>
                <c:pt idx="79">
                  <c:v>All Others</c:v>
                </c:pt>
                <c:pt idx="80">
                  <c:v>Raguin</c:v>
                </c:pt>
                <c:pt idx="81">
                  <c:v>All Others</c:v>
                </c:pt>
                <c:pt idx="82">
                  <c:v>Raguin</c:v>
                </c:pt>
                <c:pt idx="83">
                  <c:v>All Others</c:v>
                </c:pt>
                <c:pt idx="84">
                  <c:v>Raguin</c:v>
                </c:pt>
                <c:pt idx="85">
                  <c:v>All Others</c:v>
                </c:pt>
                <c:pt idx="86">
                  <c:v>All Others</c:v>
                </c:pt>
                <c:pt idx="87">
                  <c:v>Raguin</c:v>
                </c:pt>
                <c:pt idx="88">
                  <c:v>All Others</c:v>
                </c:pt>
                <c:pt idx="89">
                  <c:v>All Others</c:v>
                </c:pt>
                <c:pt idx="90">
                  <c:v>All Others</c:v>
                </c:pt>
                <c:pt idx="91">
                  <c:v>All Others</c:v>
                </c:pt>
                <c:pt idx="92">
                  <c:v>Raguin</c:v>
                </c:pt>
                <c:pt idx="93">
                  <c:v>All Others</c:v>
                </c:pt>
                <c:pt idx="94">
                  <c:v>All Others</c:v>
                </c:pt>
                <c:pt idx="95">
                  <c:v>All Others</c:v>
                </c:pt>
                <c:pt idx="96">
                  <c:v>All Others</c:v>
                </c:pt>
                <c:pt idx="97">
                  <c:v>All Others</c:v>
                </c:pt>
                <c:pt idx="98">
                  <c:v>All Others</c:v>
                </c:pt>
                <c:pt idx="99">
                  <c:v>All Others</c:v>
                </c:pt>
                <c:pt idx="100">
                  <c:v>Raguin</c:v>
                </c:pt>
                <c:pt idx="101">
                  <c:v>All Others</c:v>
                </c:pt>
                <c:pt idx="102">
                  <c:v>All Others</c:v>
                </c:pt>
                <c:pt idx="103">
                  <c:v>Raguin</c:v>
                </c:pt>
                <c:pt idx="104">
                  <c:v>All Others</c:v>
                </c:pt>
                <c:pt idx="105">
                  <c:v>Raguin</c:v>
                </c:pt>
                <c:pt idx="106">
                  <c:v>All Others</c:v>
                </c:pt>
                <c:pt idx="107">
                  <c:v>All Others</c:v>
                </c:pt>
                <c:pt idx="108">
                  <c:v>Raguin</c:v>
                </c:pt>
                <c:pt idx="109">
                  <c:v>Raguin</c:v>
                </c:pt>
                <c:pt idx="110">
                  <c:v>Raguin</c:v>
                </c:pt>
                <c:pt idx="111">
                  <c:v>All Others</c:v>
                </c:pt>
                <c:pt idx="112">
                  <c:v>All Others</c:v>
                </c:pt>
                <c:pt idx="113">
                  <c:v>All Others</c:v>
                </c:pt>
                <c:pt idx="114">
                  <c:v>Raguin</c:v>
                </c:pt>
                <c:pt idx="115">
                  <c:v>All Others</c:v>
                </c:pt>
                <c:pt idx="116">
                  <c:v>All Others</c:v>
                </c:pt>
                <c:pt idx="117">
                  <c:v>All Others</c:v>
                </c:pt>
                <c:pt idx="118">
                  <c:v>All Others</c:v>
                </c:pt>
                <c:pt idx="119">
                  <c:v>All Others</c:v>
                </c:pt>
                <c:pt idx="120">
                  <c:v>All Others</c:v>
                </c:pt>
                <c:pt idx="121">
                  <c:v>All Others</c:v>
                </c:pt>
                <c:pt idx="122">
                  <c:v>All Others</c:v>
                </c:pt>
                <c:pt idx="123">
                  <c:v>President</c:v>
                </c:pt>
                <c:pt idx="124">
                  <c:v>All Others</c:v>
                </c:pt>
                <c:pt idx="125">
                  <c:v>All Others</c:v>
                </c:pt>
                <c:pt idx="126">
                  <c:v>All Others</c:v>
                </c:pt>
                <c:pt idx="127">
                  <c:v>All Others</c:v>
                </c:pt>
                <c:pt idx="128">
                  <c:v>All Others</c:v>
                </c:pt>
                <c:pt idx="129">
                  <c:v>All Others</c:v>
                </c:pt>
                <c:pt idx="130">
                  <c:v>All Others</c:v>
                </c:pt>
                <c:pt idx="131">
                  <c:v>All Others</c:v>
                </c:pt>
                <c:pt idx="132">
                  <c:v>All Others</c:v>
                </c:pt>
                <c:pt idx="133">
                  <c:v>All Others</c:v>
                </c:pt>
                <c:pt idx="134">
                  <c:v>All Others</c:v>
                </c:pt>
                <c:pt idx="135">
                  <c:v>Private Lab</c:v>
                </c:pt>
                <c:pt idx="136">
                  <c:v>All Others</c:v>
                </c:pt>
                <c:pt idx="137">
                  <c:v>All Others</c:v>
                </c:pt>
                <c:pt idx="138">
                  <c:v>All Others</c:v>
                </c:pt>
                <c:pt idx="139">
                  <c:v>All Others</c:v>
                </c:pt>
                <c:pt idx="140">
                  <c:v>All Others</c:v>
                </c:pt>
                <c:pt idx="141">
                  <c:v>All Others</c:v>
                </c:pt>
                <c:pt idx="142">
                  <c:v>All Others</c:v>
                </c:pt>
              </c:strCache>
            </c:strRef>
          </c:cat>
          <c:val>
            <c:numRef>
              <c:f>Sheet1!$B$2:$B$144</c:f>
              <c:numCache>
                <c:formatCode>General</c:formatCode>
                <c:ptCount val="143"/>
                <c:pt idx="0">
                  <c:v>0.98199999999999998</c:v>
                </c:pt>
                <c:pt idx="1">
                  <c:v>0.98099999999999998</c:v>
                </c:pt>
                <c:pt idx="2">
                  <c:v>0.57099999999999995</c:v>
                </c:pt>
                <c:pt idx="3">
                  <c:v>0.97</c:v>
                </c:pt>
                <c:pt idx="4">
                  <c:v>0.91200000000000003</c:v>
                </c:pt>
                <c:pt idx="5">
                  <c:v>0.94599999999999995</c:v>
                </c:pt>
                <c:pt idx="6">
                  <c:v>0.85399999999999998</c:v>
                </c:pt>
                <c:pt idx="7">
                  <c:v>0.76400000000000001</c:v>
                </c:pt>
                <c:pt idx="8">
                  <c:v>0.92400000000000004</c:v>
                </c:pt>
                <c:pt idx="9">
                  <c:v>0.45600000000000002</c:v>
                </c:pt>
                <c:pt idx="10">
                  <c:v>0.35199999999999998</c:v>
                </c:pt>
                <c:pt idx="11">
                  <c:v>0.77300000000000002</c:v>
                </c:pt>
                <c:pt idx="12">
                  <c:v>0.67200000000000004</c:v>
                </c:pt>
                <c:pt idx="13">
                  <c:v>0.69299999999999995</c:v>
                </c:pt>
                <c:pt idx="14">
                  <c:v>0.33700000000000002</c:v>
                </c:pt>
                <c:pt idx="15">
                  <c:v>0.159</c:v>
                </c:pt>
                <c:pt idx="16">
                  <c:v>0.36099999999999999</c:v>
                </c:pt>
                <c:pt idx="17">
                  <c:v>0.74199999999999999</c:v>
                </c:pt>
                <c:pt idx="18">
                  <c:v>0.16500000000000001</c:v>
                </c:pt>
                <c:pt idx="19">
                  <c:v>0.246</c:v>
                </c:pt>
                <c:pt idx="20">
                  <c:v>6.9000000000000006E-2</c:v>
                </c:pt>
                <c:pt idx="21">
                  <c:v>0.443</c:v>
                </c:pt>
                <c:pt idx="22">
                  <c:v>4.2000000000000003E-2</c:v>
                </c:pt>
                <c:pt idx="23">
                  <c:v>0.33300000000000002</c:v>
                </c:pt>
                <c:pt idx="24">
                  <c:v>0.30099999999999999</c:v>
                </c:pt>
                <c:pt idx="25">
                  <c:v>0.313</c:v>
                </c:pt>
                <c:pt idx="26">
                  <c:v>0.35299999999999998</c:v>
                </c:pt>
                <c:pt idx="27">
                  <c:v>0.29199999999999998</c:v>
                </c:pt>
                <c:pt idx="28">
                  <c:v>2.4E-2</c:v>
                </c:pt>
                <c:pt idx="29">
                  <c:v>1.9E-2</c:v>
                </c:pt>
                <c:pt idx="30">
                  <c:v>0.26900000000000002</c:v>
                </c:pt>
                <c:pt idx="31">
                  <c:v>0.33600000000000002</c:v>
                </c:pt>
                <c:pt idx="32">
                  <c:v>2.8000000000000001E-2</c:v>
                </c:pt>
                <c:pt idx="33">
                  <c:v>9.2999999999999999E-2</c:v>
                </c:pt>
                <c:pt idx="34">
                  <c:v>3.4000000000000002E-2</c:v>
                </c:pt>
                <c:pt idx="35">
                  <c:v>3.3000000000000002E-2</c:v>
                </c:pt>
                <c:pt idx="36">
                  <c:v>7.2999999999999995E-2</c:v>
                </c:pt>
                <c:pt idx="37">
                  <c:v>1.4999999999999999E-2</c:v>
                </c:pt>
                <c:pt idx="38">
                  <c:v>7.2999999999999995E-2</c:v>
                </c:pt>
                <c:pt idx="39">
                  <c:v>6.8000000000000005E-2</c:v>
                </c:pt>
                <c:pt idx="40">
                  <c:v>0.10100000000000001</c:v>
                </c:pt>
                <c:pt idx="41">
                  <c:v>0.05</c:v>
                </c:pt>
                <c:pt idx="42">
                  <c:v>3.4000000000000002E-2</c:v>
                </c:pt>
                <c:pt idx="43">
                  <c:v>5.5E-2</c:v>
                </c:pt>
                <c:pt idx="44">
                  <c:v>0.10100000000000001</c:v>
                </c:pt>
                <c:pt idx="45">
                  <c:v>6.2E-2</c:v>
                </c:pt>
                <c:pt idx="46">
                  <c:v>4.5999999999999999E-2</c:v>
                </c:pt>
                <c:pt idx="47">
                  <c:v>4.7E-2</c:v>
                </c:pt>
                <c:pt idx="48">
                  <c:v>0.05</c:v>
                </c:pt>
                <c:pt idx="49">
                  <c:v>2.7E-2</c:v>
                </c:pt>
                <c:pt idx="50">
                  <c:v>4.5999999999999999E-2</c:v>
                </c:pt>
                <c:pt idx="51">
                  <c:v>0.06</c:v>
                </c:pt>
                <c:pt idx="52">
                  <c:v>4.4999999999999998E-2</c:v>
                </c:pt>
                <c:pt idx="53">
                  <c:v>7.6999999999999999E-2</c:v>
                </c:pt>
                <c:pt idx="54">
                  <c:v>0.10299999999999999</c:v>
                </c:pt>
                <c:pt idx="55">
                  <c:v>1.4E-2</c:v>
                </c:pt>
                <c:pt idx="56">
                  <c:v>7.8E-2</c:v>
                </c:pt>
                <c:pt idx="57">
                  <c:v>3.4000000000000002E-2</c:v>
                </c:pt>
                <c:pt idx="58">
                  <c:v>0.14499999999999999</c:v>
                </c:pt>
                <c:pt idx="59">
                  <c:v>3.9E-2</c:v>
                </c:pt>
                <c:pt idx="60">
                  <c:v>2.8000000000000001E-2</c:v>
                </c:pt>
                <c:pt idx="61">
                  <c:v>4.9000000000000002E-2</c:v>
                </c:pt>
                <c:pt idx="62">
                  <c:v>2.4E-2</c:v>
                </c:pt>
                <c:pt idx="63">
                  <c:v>4.1000000000000002E-2</c:v>
                </c:pt>
                <c:pt idx="64">
                  <c:v>8.9999999999999993E-3</c:v>
                </c:pt>
                <c:pt idx="65">
                  <c:v>3.6999999999999998E-2</c:v>
                </c:pt>
                <c:pt idx="66">
                  <c:v>8.9999999999999993E-3</c:v>
                </c:pt>
                <c:pt idx="67">
                  <c:v>2.7E-2</c:v>
                </c:pt>
                <c:pt idx="68">
                  <c:v>2.7E-2</c:v>
                </c:pt>
                <c:pt idx="69">
                  <c:v>8.9999999999999993E-3</c:v>
                </c:pt>
                <c:pt idx="70">
                  <c:v>6.8000000000000005E-2</c:v>
                </c:pt>
                <c:pt idx="71">
                  <c:v>6.8000000000000005E-2</c:v>
                </c:pt>
                <c:pt idx="72">
                  <c:v>8.9999999999999993E-3</c:v>
                </c:pt>
                <c:pt idx="73">
                  <c:v>4.4999999999999998E-2</c:v>
                </c:pt>
                <c:pt idx="74">
                  <c:v>4.0000000000000001E-3</c:v>
                </c:pt>
                <c:pt idx="75">
                  <c:v>0.04</c:v>
                </c:pt>
                <c:pt idx="76">
                  <c:v>1.7999999999999999E-2</c:v>
                </c:pt>
                <c:pt idx="77">
                  <c:v>3.2000000000000001E-2</c:v>
                </c:pt>
                <c:pt idx="78">
                  <c:v>4.5999999999999999E-2</c:v>
                </c:pt>
                <c:pt idx="79">
                  <c:v>3.2000000000000001E-2</c:v>
                </c:pt>
                <c:pt idx="80">
                  <c:v>8.9999999999999993E-3</c:v>
                </c:pt>
                <c:pt idx="81">
                  <c:v>1.7999999999999999E-2</c:v>
                </c:pt>
                <c:pt idx="82">
                  <c:v>8.9999999999999993E-3</c:v>
                </c:pt>
                <c:pt idx="83">
                  <c:v>5.0000000000000001E-3</c:v>
                </c:pt>
                <c:pt idx="84">
                  <c:v>8.9999999999999993E-3</c:v>
                </c:pt>
                <c:pt idx="85">
                  <c:v>1.7999999999999999E-2</c:v>
                </c:pt>
                <c:pt idx="86">
                  <c:v>1.4E-2</c:v>
                </c:pt>
                <c:pt idx="87">
                  <c:v>8.9999999999999993E-3</c:v>
                </c:pt>
                <c:pt idx="88">
                  <c:v>8.0000000000000002E-3</c:v>
                </c:pt>
                <c:pt idx="89">
                  <c:v>2.1999999999999999E-2</c:v>
                </c:pt>
                <c:pt idx="90">
                  <c:v>1.4E-2</c:v>
                </c:pt>
                <c:pt idx="91">
                  <c:v>1.4E-2</c:v>
                </c:pt>
                <c:pt idx="92">
                  <c:v>8.9999999999999993E-3</c:v>
                </c:pt>
                <c:pt idx="93">
                  <c:v>1.0999999999999999E-2</c:v>
                </c:pt>
                <c:pt idx="94">
                  <c:v>5.0000000000000001E-3</c:v>
                </c:pt>
                <c:pt idx="95">
                  <c:v>5.0000000000000001E-3</c:v>
                </c:pt>
                <c:pt idx="96">
                  <c:v>1.0999999999999999E-2</c:v>
                </c:pt>
                <c:pt idx="97">
                  <c:v>5.0000000000000001E-3</c:v>
                </c:pt>
                <c:pt idx="98">
                  <c:v>5.0000000000000001E-3</c:v>
                </c:pt>
                <c:pt idx="99">
                  <c:v>8.9999999999999993E-3</c:v>
                </c:pt>
                <c:pt idx="100">
                  <c:v>8.9999999999999993E-3</c:v>
                </c:pt>
                <c:pt idx="101">
                  <c:v>8.9999999999999993E-3</c:v>
                </c:pt>
                <c:pt idx="102">
                  <c:v>1.4E-2</c:v>
                </c:pt>
                <c:pt idx="103">
                  <c:v>8.9999999999999993E-3</c:v>
                </c:pt>
                <c:pt idx="104">
                  <c:v>1.0999999999999999E-2</c:v>
                </c:pt>
                <c:pt idx="105">
                  <c:v>8.9999999999999993E-3</c:v>
                </c:pt>
                <c:pt idx="106">
                  <c:v>5.0000000000000001E-3</c:v>
                </c:pt>
                <c:pt idx="107">
                  <c:v>2.3E-2</c:v>
                </c:pt>
                <c:pt idx="108">
                  <c:v>8.9999999999999993E-3</c:v>
                </c:pt>
                <c:pt idx="109">
                  <c:v>8.9999999999999993E-3</c:v>
                </c:pt>
                <c:pt idx="110">
                  <c:v>8.9999999999999993E-3</c:v>
                </c:pt>
                <c:pt idx="111">
                  <c:v>5.0000000000000001E-3</c:v>
                </c:pt>
                <c:pt idx="112">
                  <c:v>5.0000000000000001E-3</c:v>
                </c:pt>
                <c:pt idx="113">
                  <c:v>2.5000000000000001E-2</c:v>
                </c:pt>
                <c:pt idx="114">
                  <c:v>5.0000000000000001E-3</c:v>
                </c:pt>
                <c:pt idx="115">
                  <c:v>1.4E-2</c:v>
                </c:pt>
                <c:pt idx="116">
                  <c:v>4.5999999999999999E-2</c:v>
                </c:pt>
                <c:pt idx="117">
                  <c:v>5.0000000000000001E-3</c:v>
                </c:pt>
                <c:pt idx="118">
                  <c:v>2.5999999999999999E-2</c:v>
                </c:pt>
                <c:pt idx="119">
                  <c:v>5.0000000000000001E-3</c:v>
                </c:pt>
                <c:pt idx="120">
                  <c:v>2.5999999999999999E-2</c:v>
                </c:pt>
                <c:pt idx="121">
                  <c:v>1.4E-2</c:v>
                </c:pt>
                <c:pt idx="122">
                  <c:v>4.0000000000000001E-3</c:v>
                </c:pt>
                <c:pt idx="123">
                  <c:v>2.7E-2</c:v>
                </c:pt>
                <c:pt idx="124">
                  <c:v>8.9999999999999993E-3</c:v>
                </c:pt>
                <c:pt idx="125">
                  <c:v>5.0000000000000001E-3</c:v>
                </c:pt>
                <c:pt idx="126">
                  <c:v>4.0000000000000001E-3</c:v>
                </c:pt>
                <c:pt idx="127">
                  <c:v>5.0000000000000001E-3</c:v>
                </c:pt>
                <c:pt idx="128">
                  <c:v>5.0000000000000001E-3</c:v>
                </c:pt>
                <c:pt idx="129">
                  <c:v>4.0000000000000001E-3</c:v>
                </c:pt>
                <c:pt idx="130">
                  <c:v>5.0000000000000001E-3</c:v>
                </c:pt>
                <c:pt idx="131">
                  <c:v>5.0000000000000001E-3</c:v>
                </c:pt>
                <c:pt idx="132">
                  <c:v>5.0000000000000001E-3</c:v>
                </c:pt>
                <c:pt idx="133">
                  <c:v>5.0000000000000001E-3</c:v>
                </c:pt>
                <c:pt idx="134">
                  <c:v>2E-3</c:v>
                </c:pt>
                <c:pt idx="135">
                  <c:v>2.7E-2</c:v>
                </c:pt>
                <c:pt idx="136">
                  <c:v>5.0000000000000001E-3</c:v>
                </c:pt>
                <c:pt idx="137">
                  <c:v>5.0000000000000001E-3</c:v>
                </c:pt>
                <c:pt idx="138">
                  <c:v>5.0000000000000001E-3</c:v>
                </c:pt>
                <c:pt idx="139">
                  <c:v>5.0000000000000001E-3</c:v>
                </c:pt>
                <c:pt idx="140">
                  <c:v>5.0000000000000001E-3</c:v>
                </c:pt>
                <c:pt idx="141">
                  <c:v>5.0000000000000001E-3</c:v>
                </c:pt>
                <c:pt idx="142">
                  <c:v>5.000000000000000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AEABAB"/>
              </a:solidFill>
            </c:spPr>
            <c:extLst>
              <c:ext xmlns:c16="http://schemas.microsoft.com/office/drawing/2014/chart" uri="{C3380CC4-5D6E-409C-BE32-E72D297353CC}">
                <c16:uniqueId val="{00000115-2993-41DE-A2CB-63102DE87051}"/>
              </c:ext>
            </c:extLst>
          </c:dPt>
          <c:dPt>
            <c:idx val="138"/>
            <c:invertIfNegative val="1"/>
            <c:bubble3D val="0"/>
            <c:spPr>
              <a:solidFill>
                <a:srgbClr val="AEABAB"/>
              </a:solidFill>
            </c:spPr>
            <c:extLst>
              <c:ext xmlns:c16="http://schemas.microsoft.com/office/drawing/2014/chart" uri="{C3380CC4-5D6E-409C-BE32-E72D297353CC}">
                <c16:uniqueId val="{00000117-2993-41DE-A2CB-63102DE87051}"/>
              </c:ext>
            </c:extLst>
          </c:dPt>
          <c:dPt>
            <c:idx val="139"/>
            <c:invertIfNegative val="1"/>
            <c:bubble3D val="0"/>
            <c:spPr>
              <a:solidFill>
                <a:srgbClr val="AEABAB"/>
              </a:solidFill>
            </c:spPr>
            <c:extLst>
              <c:ext xmlns:c16="http://schemas.microsoft.com/office/drawing/2014/chart" uri="{C3380CC4-5D6E-409C-BE32-E72D297353CC}">
                <c16:uniqueId val="{00000119-2993-41DE-A2CB-63102DE87051}"/>
              </c:ext>
            </c:extLst>
          </c:dPt>
          <c:dPt>
            <c:idx val="140"/>
            <c:invertIfNegative val="1"/>
            <c:bubble3D val="0"/>
            <c:spPr>
              <a:solidFill>
                <a:srgbClr val="AEABAB"/>
              </a:solidFill>
            </c:spPr>
            <c:extLst>
              <c:ext xmlns:c16="http://schemas.microsoft.com/office/drawing/2014/chart" uri="{C3380CC4-5D6E-409C-BE32-E72D297353CC}">
                <c16:uniqueId val="{0000011B-2993-41DE-A2CB-63102DE87051}"/>
              </c:ext>
            </c:extLst>
          </c:dPt>
          <c:dPt>
            <c:idx val="141"/>
            <c:invertIfNegative val="1"/>
            <c:bubble3D val="0"/>
            <c:spPr>
              <a:solidFill>
                <a:srgbClr val="AEABAB"/>
              </a:solidFill>
            </c:spPr>
            <c:extLst>
              <c:ext xmlns:c16="http://schemas.microsoft.com/office/drawing/2014/chart" uri="{C3380CC4-5D6E-409C-BE32-E72D297353CC}">
                <c16:uniqueId val="{0000011D-2993-41DE-A2CB-63102DE87051}"/>
              </c:ext>
            </c:extLst>
          </c:dPt>
          <c:dPt>
            <c:idx val="142"/>
            <c:invertIfNegative val="1"/>
            <c:bubble3D val="0"/>
            <c:spPr>
              <a:solidFill>
                <a:srgbClr val="AEABAB"/>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44</c:f>
              <c:strCache>
                <c:ptCount val="143"/>
                <c:pt idx="0">
                  <c:v>Private Lab</c:v>
                </c:pt>
                <c:pt idx="1">
                  <c:v>President</c:v>
                </c:pt>
                <c:pt idx="2">
                  <c:v>Private Lab</c:v>
                </c:pt>
                <c:pt idx="3">
                  <c:v>Private Lab</c:v>
                </c:pt>
                <c:pt idx="4">
                  <c:v>President</c:v>
                </c:pt>
                <c:pt idx="5">
                  <c:v>Private Lab</c:v>
                </c:pt>
                <c:pt idx="6">
                  <c:v>La Vache Qu</c:v>
                </c:pt>
                <c:pt idx="7">
                  <c:v>La Vache Qu</c:v>
                </c:pt>
                <c:pt idx="8">
                  <c:v>Private Lab</c:v>
                </c:pt>
                <c:pt idx="9">
                  <c:v>President</c:v>
                </c:pt>
                <c:pt idx="10">
                  <c:v>Private Lab</c:v>
                </c:pt>
                <c:pt idx="11">
                  <c:v>Boursin</c:v>
                </c:pt>
                <c:pt idx="12">
                  <c:v>President</c:v>
                </c:pt>
                <c:pt idx="13">
                  <c:v>President</c:v>
                </c:pt>
                <c:pt idx="14">
                  <c:v>Private Lab</c:v>
                </c:pt>
                <c:pt idx="15">
                  <c:v>La Belle Et</c:v>
                </c:pt>
                <c:pt idx="16">
                  <c:v>Private Lab</c:v>
                </c:pt>
                <c:pt idx="17">
                  <c:v>Private Lab</c:v>
                </c:pt>
                <c:pt idx="18">
                  <c:v>La Belle Et</c:v>
                </c:pt>
                <c:pt idx="19">
                  <c:v>Fauquet</c:v>
                </c:pt>
                <c:pt idx="20">
                  <c:v>La Belle Et</c:v>
                </c:pt>
                <c:pt idx="21">
                  <c:v>President</c:v>
                </c:pt>
                <c:pt idx="22">
                  <c:v>La Belle Et</c:v>
                </c:pt>
                <c:pt idx="23">
                  <c:v>Leerdammer</c:v>
                </c:pt>
                <c:pt idx="24">
                  <c:v>All Others</c:v>
                </c:pt>
                <c:pt idx="25">
                  <c:v>All Others</c:v>
                </c:pt>
                <c:pt idx="26">
                  <c:v>Leerdammer</c:v>
                </c:pt>
                <c:pt idx="27">
                  <c:v>All Others</c:v>
                </c:pt>
                <c:pt idx="28">
                  <c:v>La Belle Et</c:v>
                </c:pt>
                <c:pt idx="29">
                  <c:v>Raguin</c:v>
                </c:pt>
                <c:pt idx="30">
                  <c:v>La Vache Qu</c:v>
                </c:pt>
                <c:pt idx="31">
                  <c:v>All Others</c:v>
                </c:pt>
                <c:pt idx="32">
                  <c:v>Raguin</c:v>
                </c:pt>
                <c:pt idx="33">
                  <c:v>All Others</c:v>
                </c:pt>
                <c:pt idx="34">
                  <c:v>All Others</c:v>
                </c:pt>
                <c:pt idx="35">
                  <c:v>Raguin</c:v>
                </c:pt>
                <c:pt idx="36">
                  <c:v>La Vache Qu</c:v>
                </c:pt>
                <c:pt idx="37">
                  <c:v>Raguin</c:v>
                </c:pt>
                <c:pt idx="38">
                  <c:v>La Vache Qu</c:v>
                </c:pt>
                <c:pt idx="39">
                  <c:v>Milleret: A</c:v>
                </c:pt>
                <c:pt idx="40">
                  <c:v>La Belle Et</c:v>
                </c:pt>
                <c:pt idx="41">
                  <c:v>La Belle Et</c:v>
                </c:pt>
                <c:pt idx="42">
                  <c:v>All Others</c:v>
                </c:pt>
                <c:pt idx="43">
                  <c:v>La Belle Et</c:v>
                </c:pt>
                <c:pt idx="44">
                  <c:v>La Belle Et</c:v>
                </c:pt>
                <c:pt idx="45">
                  <c:v>La Belle Et</c:v>
                </c:pt>
                <c:pt idx="46">
                  <c:v>Milleret: A</c:v>
                </c:pt>
                <c:pt idx="47">
                  <c:v>La Belle Et</c:v>
                </c:pt>
                <c:pt idx="48">
                  <c:v>La Belle Et</c:v>
                </c:pt>
                <c:pt idx="49">
                  <c:v>La Belle Et</c:v>
                </c:pt>
                <c:pt idx="50">
                  <c:v>Milleret: A</c:v>
                </c:pt>
                <c:pt idx="51">
                  <c:v>La Belle Et</c:v>
                </c:pt>
                <c:pt idx="52">
                  <c:v>Milleret: A</c:v>
                </c:pt>
                <c:pt idx="53">
                  <c:v>All Others</c:v>
                </c:pt>
                <c:pt idx="54">
                  <c:v>All Others</c:v>
                </c:pt>
                <c:pt idx="55">
                  <c:v>La Belle Et</c:v>
                </c:pt>
                <c:pt idx="56">
                  <c:v>All Others</c:v>
                </c:pt>
                <c:pt idx="57">
                  <c:v>All Others</c:v>
                </c:pt>
                <c:pt idx="58">
                  <c:v>All Others</c:v>
                </c:pt>
                <c:pt idx="59">
                  <c:v>All Others</c:v>
                </c:pt>
                <c:pt idx="60">
                  <c:v>La Belle Et</c:v>
                </c:pt>
                <c:pt idx="61">
                  <c:v>La Belle Et</c:v>
                </c:pt>
                <c:pt idx="62">
                  <c:v>La Belle Et</c:v>
                </c:pt>
                <c:pt idx="63">
                  <c:v>Milleret: A</c:v>
                </c:pt>
                <c:pt idx="64">
                  <c:v>Raguin</c:v>
                </c:pt>
                <c:pt idx="65">
                  <c:v>Milleret: A</c:v>
                </c:pt>
                <c:pt idx="66">
                  <c:v>Raguin</c:v>
                </c:pt>
                <c:pt idx="67">
                  <c:v>All Others</c:v>
                </c:pt>
                <c:pt idx="68">
                  <c:v>President</c:v>
                </c:pt>
                <c:pt idx="69">
                  <c:v>Raguin</c:v>
                </c:pt>
                <c:pt idx="70">
                  <c:v>Richesmonts</c:v>
                </c:pt>
                <c:pt idx="71">
                  <c:v>Milleret: A</c:v>
                </c:pt>
                <c:pt idx="72">
                  <c:v>Raguin</c:v>
                </c:pt>
                <c:pt idx="73">
                  <c:v>La Belle Et</c:v>
                </c:pt>
                <c:pt idx="74">
                  <c:v>All Others</c:v>
                </c:pt>
                <c:pt idx="75">
                  <c:v>La Belle Et</c:v>
                </c:pt>
                <c:pt idx="76">
                  <c:v>All Others</c:v>
                </c:pt>
                <c:pt idx="77">
                  <c:v>All Others</c:v>
                </c:pt>
                <c:pt idx="78">
                  <c:v>Richesmonts</c:v>
                </c:pt>
                <c:pt idx="79">
                  <c:v>All Others</c:v>
                </c:pt>
                <c:pt idx="80">
                  <c:v>Raguin</c:v>
                </c:pt>
                <c:pt idx="81">
                  <c:v>All Others</c:v>
                </c:pt>
                <c:pt idx="82">
                  <c:v>Raguin</c:v>
                </c:pt>
                <c:pt idx="83">
                  <c:v>All Others</c:v>
                </c:pt>
                <c:pt idx="84">
                  <c:v>Raguin</c:v>
                </c:pt>
                <c:pt idx="85">
                  <c:v>All Others</c:v>
                </c:pt>
                <c:pt idx="86">
                  <c:v>All Others</c:v>
                </c:pt>
                <c:pt idx="87">
                  <c:v>Raguin</c:v>
                </c:pt>
                <c:pt idx="88">
                  <c:v>All Others</c:v>
                </c:pt>
                <c:pt idx="89">
                  <c:v>All Others</c:v>
                </c:pt>
                <c:pt idx="90">
                  <c:v>All Others</c:v>
                </c:pt>
                <c:pt idx="91">
                  <c:v>All Others</c:v>
                </c:pt>
                <c:pt idx="92">
                  <c:v>Raguin</c:v>
                </c:pt>
                <c:pt idx="93">
                  <c:v>All Others</c:v>
                </c:pt>
                <c:pt idx="94">
                  <c:v>All Others</c:v>
                </c:pt>
                <c:pt idx="95">
                  <c:v>All Others</c:v>
                </c:pt>
                <c:pt idx="96">
                  <c:v>All Others</c:v>
                </c:pt>
                <c:pt idx="97">
                  <c:v>All Others</c:v>
                </c:pt>
                <c:pt idx="98">
                  <c:v>All Others</c:v>
                </c:pt>
                <c:pt idx="99">
                  <c:v>All Others</c:v>
                </c:pt>
                <c:pt idx="100">
                  <c:v>Raguin</c:v>
                </c:pt>
                <c:pt idx="101">
                  <c:v>All Others</c:v>
                </c:pt>
                <c:pt idx="102">
                  <c:v>All Others</c:v>
                </c:pt>
                <c:pt idx="103">
                  <c:v>Raguin</c:v>
                </c:pt>
                <c:pt idx="104">
                  <c:v>All Others</c:v>
                </c:pt>
                <c:pt idx="105">
                  <c:v>Raguin</c:v>
                </c:pt>
                <c:pt idx="106">
                  <c:v>All Others</c:v>
                </c:pt>
                <c:pt idx="107">
                  <c:v>All Others</c:v>
                </c:pt>
                <c:pt idx="108">
                  <c:v>Raguin</c:v>
                </c:pt>
                <c:pt idx="109">
                  <c:v>Raguin</c:v>
                </c:pt>
                <c:pt idx="110">
                  <c:v>Raguin</c:v>
                </c:pt>
                <c:pt idx="111">
                  <c:v>All Others</c:v>
                </c:pt>
                <c:pt idx="112">
                  <c:v>All Others</c:v>
                </c:pt>
                <c:pt idx="113">
                  <c:v>All Others</c:v>
                </c:pt>
                <c:pt idx="114">
                  <c:v>Raguin</c:v>
                </c:pt>
                <c:pt idx="115">
                  <c:v>All Others</c:v>
                </c:pt>
                <c:pt idx="116">
                  <c:v>All Others</c:v>
                </c:pt>
                <c:pt idx="117">
                  <c:v>All Others</c:v>
                </c:pt>
                <c:pt idx="118">
                  <c:v>All Others</c:v>
                </c:pt>
                <c:pt idx="119">
                  <c:v>All Others</c:v>
                </c:pt>
                <c:pt idx="120">
                  <c:v>All Others</c:v>
                </c:pt>
                <c:pt idx="121">
                  <c:v>All Others</c:v>
                </c:pt>
                <c:pt idx="122">
                  <c:v>All Others</c:v>
                </c:pt>
                <c:pt idx="123">
                  <c:v>President</c:v>
                </c:pt>
                <c:pt idx="124">
                  <c:v>All Others</c:v>
                </c:pt>
                <c:pt idx="125">
                  <c:v>All Others</c:v>
                </c:pt>
                <c:pt idx="126">
                  <c:v>All Others</c:v>
                </c:pt>
                <c:pt idx="127">
                  <c:v>All Others</c:v>
                </c:pt>
                <c:pt idx="128">
                  <c:v>All Others</c:v>
                </c:pt>
                <c:pt idx="129">
                  <c:v>All Others</c:v>
                </c:pt>
                <c:pt idx="130">
                  <c:v>All Others</c:v>
                </c:pt>
                <c:pt idx="131">
                  <c:v>All Others</c:v>
                </c:pt>
                <c:pt idx="132">
                  <c:v>All Others</c:v>
                </c:pt>
                <c:pt idx="133">
                  <c:v>All Others</c:v>
                </c:pt>
                <c:pt idx="134">
                  <c:v>All Others</c:v>
                </c:pt>
                <c:pt idx="135">
                  <c:v>Private Lab</c:v>
                </c:pt>
                <c:pt idx="136">
                  <c:v>All Others</c:v>
                </c:pt>
                <c:pt idx="137">
                  <c:v>All Others</c:v>
                </c:pt>
                <c:pt idx="138">
                  <c:v>All Others</c:v>
                </c:pt>
                <c:pt idx="139">
                  <c:v>All Others</c:v>
                </c:pt>
                <c:pt idx="140">
                  <c:v>All Others</c:v>
                </c:pt>
                <c:pt idx="141">
                  <c:v>All Others</c:v>
                </c:pt>
                <c:pt idx="142">
                  <c:v>All Others</c:v>
                </c:pt>
              </c:strCache>
            </c:strRef>
          </c:cat>
          <c:val>
            <c:numRef>
              <c:f>Sheet1!$C$2:$C$144</c:f>
              <c:numCache>
                <c:formatCode>General</c:formatCode>
                <c:ptCount val="143"/>
                <c:pt idx="0">
                  <c:v>0.16047475777137019</c:v>
                </c:pt>
                <c:pt idx="1">
                  <c:v>0.27940042452499514</c:v>
                </c:pt>
                <c:pt idx="2">
                  <c:v>0.37890298098371655</c:v>
                </c:pt>
                <c:pt idx="3">
                  <c:v>0.47277362842455717</c:v>
                </c:pt>
                <c:pt idx="4">
                  <c:v>0.53359166073856312</c:v>
                </c:pt>
                <c:pt idx="5">
                  <c:v>0.58313599165200436</c:v>
                </c:pt>
                <c:pt idx="6">
                  <c:v>0.63118040703373779</c:v>
                </c:pt>
                <c:pt idx="7">
                  <c:v>0.6735177538559487</c:v>
                </c:pt>
                <c:pt idx="8">
                  <c:v>0.7140744860937609</c:v>
                </c:pt>
                <c:pt idx="9">
                  <c:v>0.74592196279028067</c:v>
                </c:pt>
                <c:pt idx="10">
                  <c:v>0.77682569307095672</c:v>
                </c:pt>
                <c:pt idx="11">
                  <c:v>0.79871998933515975</c:v>
                </c:pt>
                <c:pt idx="12">
                  <c:v>0.82019878204767216</c:v>
                </c:pt>
                <c:pt idx="13">
                  <c:v>0.83728556833369905</c:v>
                </c:pt>
                <c:pt idx="14">
                  <c:v>0.85406516585090586</c:v>
                </c:pt>
                <c:pt idx="15">
                  <c:v>0.8639034234366757</c:v>
                </c:pt>
                <c:pt idx="16">
                  <c:v>0.87361440396989476</c:v>
                </c:pt>
                <c:pt idx="17">
                  <c:v>0.88307697877030256</c:v>
                </c:pt>
                <c:pt idx="18">
                  <c:v>0.89200286387733596</c:v>
                </c:pt>
                <c:pt idx="19">
                  <c:v>0.90004602660004207</c:v>
                </c:pt>
                <c:pt idx="20">
                  <c:v>0.90674436217245558</c:v>
                </c:pt>
                <c:pt idx="21">
                  <c:v>0.91280188795252315</c:v>
                </c:pt>
                <c:pt idx="22">
                  <c:v>0.91815459191471815</c:v>
                </c:pt>
                <c:pt idx="23">
                  <c:v>0.92325848791413889</c:v>
                </c:pt>
                <c:pt idx="24">
                  <c:v>0.92819057425797191</c:v>
                </c:pt>
                <c:pt idx="25">
                  <c:v>0.93291850016491429</c:v>
                </c:pt>
                <c:pt idx="26">
                  <c:v>0.93714582215229802</c:v>
                </c:pt>
                <c:pt idx="27">
                  <c:v>0.94087776920964106</c:v>
                </c:pt>
                <c:pt idx="28">
                  <c:v>0.94369630948262884</c:v>
                </c:pt>
                <c:pt idx="29">
                  <c:v>0.94620340884147425</c:v>
                </c:pt>
                <c:pt idx="30">
                  <c:v>0.94851829973946988</c:v>
                </c:pt>
                <c:pt idx="31">
                  <c:v>0.95067959625305554</c:v>
                </c:pt>
                <c:pt idx="32">
                  <c:v>0.95279406170667325</c:v>
                </c:pt>
                <c:pt idx="33">
                  <c:v>0.95490099971384212</c:v>
                </c:pt>
                <c:pt idx="34">
                  <c:v>0.95663719661805047</c:v>
                </c:pt>
                <c:pt idx="35">
                  <c:v>0.95837299129229592</c:v>
                </c:pt>
                <c:pt idx="36">
                  <c:v>0.95993668900383733</c:v>
                </c:pt>
                <c:pt idx="37">
                  <c:v>0.96141815941867437</c:v>
                </c:pt>
                <c:pt idx="38">
                  <c:v>0.96285274131212018</c:v>
                </c:pt>
                <c:pt idx="39">
                  <c:v>0.96420486606316858</c:v>
                </c:pt>
                <c:pt idx="40">
                  <c:v>0.965549635752038</c:v>
                </c:pt>
                <c:pt idx="41">
                  <c:v>0.96688044231505188</c:v>
                </c:pt>
                <c:pt idx="42">
                  <c:v>0.96820682434847372</c:v>
                </c:pt>
                <c:pt idx="43">
                  <c:v>0.96950614205153374</c:v>
                </c:pt>
                <c:pt idx="44">
                  <c:v>0.97072030192530245</c:v>
                </c:pt>
                <c:pt idx="45">
                  <c:v>0.97193250811067988</c:v>
                </c:pt>
                <c:pt idx="46">
                  <c:v>0.9731100075964001</c:v>
                </c:pt>
                <c:pt idx="47">
                  <c:v>0.97428164601694645</c:v>
                </c:pt>
                <c:pt idx="48">
                  <c:v>0.9753913984846273</c:v>
                </c:pt>
                <c:pt idx="49">
                  <c:v>0.97641547597020739</c:v>
                </c:pt>
                <c:pt idx="50">
                  <c:v>0.97731848223695017</c:v>
                </c:pt>
                <c:pt idx="51">
                  <c:v>0.97818103566170844</c:v>
                </c:pt>
                <c:pt idx="52">
                  <c:v>0.97903979663253071</c:v>
                </c:pt>
                <c:pt idx="53">
                  <c:v>0.97988212363629679</c:v>
                </c:pt>
                <c:pt idx="54">
                  <c:v>0.98071244120259859</c:v>
                </c:pt>
                <c:pt idx="55">
                  <c:v>0.98153862154642479</c:v>
                </c:pt>
                <c:pt idx="56">
                  <c:v>0.98235537821683416</c:v>
                </c:pt>
                <c:pt idx="57">
                  <c:v>0.9831626537524033</c:v>
                </c:pt>
                <c:pt idx="58">
                  <c:v>0.98385029460471707</c:v>
                </c:pt>
                <c:pt idx="59">
                  <c:v>0.98453741830422137</c:v>
                </c:pt>
                <c:pt idx="60">
                  <c:v>0.98515363460740624</c:v>
                </c:pt>
                <c:pt idx="61">
                  <c:v>0.9857431313487689</c:v>
                </c:pt>
                <c:pt idx="62">
                  <c:v>0.98632860579050241</c:v>
                </c:pt>
                <c:pt idx="63">
                  <c:v>0.98686311194979237</c:v>
                </c:pt>
                <c:pt idx="64">
                  <c:v>0.98737515069258242</c:v>
                </c:pt>
                <c:pt idx="65">
                  <c:v>0.9878686868570784</c:v>
                </c:pt>
                <c:pt idx="66">
                  <c:v>0.98832234479382253</c:v>
                </c:pt>
                <c:pt idx="67">
                  <c:v>0.9887708886638954</c:v>
                </c:pt>
                <c:pt idx="68">
                  <c:v>0.98915714435113977</c:v>
                </c:pt>
                <c:pt idx="69">
                  <c:v>0.98953253982938549</c:v>
                </c:pt>
                <c:pt idx="70">
                  <c:v>0.98990161455107106</c:v>
                </c:pt>
                <c:pt idx="71">
                  <c:v>0.99026459836188963</c:v>
                </c:pt>
                <c:pt idx="72">
                  <c:v>0.99060953928580031</c:v>
                </c:pt>
                <c:pt idx="73">
                  <c:v>0.99095419290259468</c:v>
                </c:pt>
                <c:pt idx="74">
                  <c:v>0.99126494427965772</c:v>
                </c:pt>
                <c:pt idx="75">
                  <c:v>0.99157305243125016</c:v>
                </c:pt>
                <c:pt idx="76">
                  <c:v>0.99187788528171594</c:v>
                </c:pt>
                <c:pt idx="77">
                  <c:v>0.99216961692767547</c:v>
                </c:pt>
                <c:pt idx="78">
                  <c:v>0.99245295920583698</c:v>
                </c:pt>
                <c:pt idx="79">
                  <c:v>0.99271820113566744</c:v>
                </c:pt>
                <c:pt idx="80">
                  <c:v>0.99296787101979078</c:v>
                </c:pt>
                <c:pt idx="81">
                  <c:v>0.99321104776308422</c:v>
                </c:pt>
                <c:pt idx="82">
                  <c:v>0.99344847836405026</c:v>
                </c:pt>
                <c:pt idx="83">
                  <c:v>0.99368309335527594</c:v>
                </c:pt>
                <c:pt idx="84">
                  <c:v>0.99390702052177271</c:v>
                </c:pt>
                <c:pt idx="85">
                  <c:v>0.99412928130699452</c:v>
                </c:pt>
                <c:pt idx="86">
                  <c:v>0.9943065497977932</c:v>
                </c:pt>
                <c:pt idx="87">
                  <c:v>0.9944734752324027</c:v>
                </c:pt>
                <c:pt idx="88">
                  <c:v>0.99463712536588555</c:v>
                </c:pt>
                <c:pt idx="89">
                  <c:v>0.99479209882445419</c:v>
                </c:pt>
                <c:pt idx="90">
                  <c:v>0.99494149852496527</c:v>
                </c:pt>
                <c:pt idx="91">
                  <c:v>0.99508750800150325</c:v>
                </c:pt>
                <c:pt idx="92">
                  <c:v>0.99523259809526876</c:v>
                </c:pt>
                <c:pt idx="93">
                  <c:v>0.99537424050363787</c:v>
                </c:pt>
                <c:pt idx="94">
                  <c:v>0.99551220538091756</c:v>
                </c:pt>
                <c:pt idx="95">
                  <c:v>0.99564959564396449</c:v>
                </c:pt>
                <c:pt idx="96">
                  <c:v>0.99578669859989499</c:v>
                </c:pt>
                <c:pt idx="97">
                  <c:v>0.99591598680226034</c:v>
                </c:pt>
                <c:pt idx="98">
                  <c:v>0.99616847229612404</c:v>
                </c:pt>
                <c:pt idx="99">
                  <c:v>0.99628845174791902</c:v>
                </c:pt>
                <c:pt idx="100">
                  <c:v>0.99640498351431761</c:v>
                </c:pt>
                <c:pt idx="101">
                  <c:v>0.99652036605225081</c:v>
                </c:pt>
                <c:pt idx="102">
                  <c:v>0.996635748590184</c:v>
                </c:pt>
                <c:pt idx="103">
                  <c:v>0.99685519376566545</c:v>
                </c:pt>
                <c:pt idx="104">
                  <c:v>0.99696178470583774</c:v>
                </c:pt>
                <c:pt idx="105">
                  <c:v>0.99716743913973349</c:v>
                </c:pt>
                <c:pt idx="106">
                  <c:v>0.99744750611676836</c:v>
                </c:pt>
                <c:pt idx="107">
                  <c:v>0.99771148389528674</c:v>
                </c:pt>
                <c:pt idx="108">
                  <c:v>0.99779750364592712</c:v>
                </c:pt>
                <c:pt idx="109">
                  <c:v>0.99788225924525553</c:v>
                </c:pt>
                <c:pt idx="110">
                  <c:v>0.99796638276892791</c:v>
                </c:pt>
                <c:pt idx="111">
                  <c:v>0.99804981675552096</c:v>
                </c:pt>
                <c:pt idx="112">
                  <c:v>0.99821116843207292</c:v>
                </c:pt>
                <c:pt idx="113">
                  <c:v>0.99828989058195761</c:v>
                </c:pt>
                <c:pt idx="114">
                  <c:v>0.9983674635033768</c:v>
                </c:pt>
                <c:pt idx="115">
                  <c:v>0.99850887606605288</c:v>
                </c:pt>
                <c:pt idx="116">
                  <c:v>0.99864454248640155</c:v>
                </c:pt>
                <c:pt idx="117">
                  <c:v>0.99870918658758423</c:v>
                </c:pt>
                <c:pt idx="118">
                  <c:v>0.99881934013599949</c:v>
                </c:pt>
                <c:pt idx="119">
                  <c:v>0.99886938903567069</c:v>
                </c:pt>
                <c:pt idx="120">
                  <c:v>0.99896736076235204</c:v>
                </c:pt>
                <c:pt idx="121">
                  <c:v>0.9990160305878647</c:v>
                </c:pt>
                <c:pt idx="122">
                  <c:v>0.9991034868740869</c:v>
                </c:pt>
                <c:pt idx="123">
                  <c:v>0.99926684970045332</c:v>
                </c:pt>
                <c:pt idx="124">
                  <c:v>0.99933856155669865</c:v>
                </c:pt>
                <c:pt idx="125">
                  <c:v>0.99937033772376893</c:v>
                </c:pt>
                <c:pt idx="126">
                  <c:v>0.99939941320394532</c:v>
                </c:pt>
                <c:pt idx="127">
                  <c:v>0.99950824513962522</c:v>
                </c:pt>
                <c:pt idx="128">
                  <c:v>0.99957961222733083</c:v>
                </c:pt>
                <c:pt idx="129">
                  <c:v>0.99962328290901858</c:v>
                </c:pt>
                <c:pt idx="130">
                  <c:v>0.99964356679143418</c:v>
                </c:pt>
                <c:pt idx="131">
                  <c:v>0.99971211826939943</c:v>
                </c:pt>
                <c:pt idx="132">
                  <c:v>0.99974228551661792</c:v>
                </c:pt>
                <c:pt idx="133">
                  <c:v>0.99977067145971499</c:v>
                </c:pt>
                <c:pt idx="134">
                  <c:v>0.99984180870172756</c:v>
                </c:pt>
                <c:pt idx="135">
                  <c:v>0.99986094335567766</c:v>
                </c:pt>
                <c:pt idx="136">
                  <c:v>0.9999253576111673</c:v>
                </c:pt>
                <c:pt idx="137">
                  <c:v>0.99993093136922484</c:v>
                </c:pt>
                <c:pt idx="138">
                  <c:v>0.99993633274301252</c:v>
                </c:pt>
                <c:pt idx="139">
                  <c:v>0.99994161919395363</c:v>
                </c:pt>
                <c:pt idx="140">
                  <c:v>0.99998086534604957</c:v>
                </c:pt>
                <c:pt idx="141">
                  <c:v>0.99998776071684248</c:v>
                </c:pt>
                <c:pt idx="142">
                  <c:v>0.9999898293280803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5</c:f>
              <c:strCache>
                <c:ptCount val="94"/>
                <c:pt idx="0">
                  <c:v>Private Lab</c:v>
                </c:pt>
                <c:pt idx="1">
                  <c:v>Private Lab</c:v>
                </c:pt>
                <c:pt idx="2">
                  <c:v>President</c:v>
                </c:pt>
                <c:pt idx="3">
                  <c:v>President</c:v>
                </c:pt>
                <c:pt idx="4">
                  <c:v>President</c:v>
                </c:pt>
                <c:pt idx="5">
                  <c:v>President</c:v>
                </c:pt>
                <c:pt idx="6">
                  <c:v>Private Lab</c:v>
                </c:pt>
                <c:pt idx="7">
                  <c:v>Private Lab</c:v>
                </c:pt>
                <c:pt idx="8">
                  <c:v>Boursin</c:v>
                </c:pt>
                <c:pt idx="9">
                  <c:v>La Belle Et</c:v>
                </c:pt>
                <c:pt idx="10">
                  <c:v>La Belle Et</c:v>
                </c:pt>
                <c:pt idx="11">
                  <c:v>President</c:v>
                </c:pt>
                <c:pt idx="12">
                  <c:v>Les Mousque</c:v>
                </c:pt>
                <c:pt idx="13">
                  <c:v>Richesmonts</c:v>
                </c:pt>
                <c:pt idx="14">
                  <c:v>La Belle Et</c:v>
                </c:pt>
                <c:pt idx="15">
                  <c:v>Raguin</c:v>
                </c:pt>
                <c:pt idx="16">
                  <c:v>La Belle Et</c:v>
                </c:pt>
                <c:pt idx="17">
                  <c:v>Raguin</c:v>
                </c:pt>
                <c:pt idx="18">
                  <c:v>La Belle Et</c:v>
                </c:pt>
                <c:pt idx="19">
                  <c:v>Raguin</c:v>
                </c:pt>
                <c:pt idx="20">
                  <c:v>Raguin</c:v>
                </c:pt>
                <c:pt idx="21">
                  <c:v>All Others</c:v>
                </c:pt>
                <c:pt idx="22">
                  <c:v>Milleret: A</c:v>
                </c:pt>
                <c:pt idx="23">
                  <c:v>Milleret: A</c:v>
                </c:pt>
                <c:pt idx="24">
                  <c:v>All Others</c:v>
                </c:pt>
                <c:pt idx="25">
                  <c:v>La Belle Et</c:v>
                </c:pt>
                <c:pt idx="26">
                  <c:v>President</c:v>
                </c:pt>
                <c:pt idx="27">
                  <c:v>All Others</c:v>
                </c:pt>
                <c:pt idx="28">
                  <c:v>All Others</c:v>
                </c:pt>
                <c:pt idx="29">
                  <c:v>La Belle Et</c:v>
                </c:pt>
                <c:pt idx="30">
                  <c:v>All Others</c:v>
                </c:pt>
                <c:pt idx="31">
                  <c:v>All Others</c:v>
                </c:pt>
                <c:pt idx="32">
                  <c:v>All Others</c:v>
                </c:pt>
                <c:pt idx="33">
                  <c:v>Milleret: A</c:v>
                </c:pt>
                <c:pt idx="34">
                  <c:v>La Belle Et</c:v>
                </c:pt>
                <c:pt idx="35">
                  <c:v>La Belle Et</c:v>
                </c:pt>
                <c:pt idx="36">
                  <c:v>Milleret: A</c:v>
                </c:pt>
                <c:pt idx="37">
                  <c:v>La Belle Et</c:v>
                </c:pt>
                <c:pt idx="38">
                  <c:v>La Belle Et</c:v>
                </c:pt>
                <c:pt idx="39">
                  <c:v>La Belle Et</c:v>
                </c:pt>
                <c:pt idx="40">
                  <c:v>La Belle Et</c:v>
                </c:pt>
                <c:pt idx="41">
                  <c:v>All Others</c:v>
                </c:pt>
                <c:pt idx="42">
                  <c:v>La Belle Et</c:v>
                </c:pt>
                <c:pt idx="43">
                  <c:v>All Others</c:v>
                </c:pt>
                <c:pt idx="44">
                  <c:v>All Others</c:v>
                </c:pt>
                <c:pt idx="45">
                  <c:v>All Others</c:v>
                </c:pt>
                <c:pt idx="46">
                  <c:v>All Others</c:v>
                </c:pt>
                <c:pt idx="47">
                  <c:v>La Belle Et</c:v>
                </c:pt>
                <c:pt idx="48">
                  <c:v>La Belle Et</c:v>
                </c:pt>
                <c:pt idx="49">
                  <c:v>All Others</c:v>
                </c:pt>
                <c:pt idx="50">
                  <c:v>All Others</c:v>
                </c:pt>
                <c:pt idx="51">
                  <c:v>La Belle Et</c:v>
                </c:pt>
                <c:pt idx="52">
                  <c:v>La Belle Et</c:v>
                </c:pt>
                <c:pt idx="53">
                  <c:v>Raguin</c:v>
                </c:pt>
                <c:pt idx="54">
                  <c:v>Raguin</c:v>
                </c:pt>
                <c:pt idx="55">
                  <c:v>All Others</c:v>
                </c:pt>
                <c:pt idx="56">
                  <c:v>Raguin</c:v>
                </c:pt>
                <c:pt idx="57">
                  <c:v>All Others</c:v>
                </c:pt>
                <c:pt idx="58">
                  <c:v>Raguin</c:v>
                </c:pt>
                <c:pt idx="59">
                  <c:v>Raguin</c:v>
                </c:pt>
                <c:pt idx="60">
                  <c:v>La Belle Et</c:v>
                </c:pt>
                <c:pt idx="61">
                  <c:v>All Others</c:v>
                </c:pt>
                <c:pt idx="62">
                  <c:v>All Others</c:v>
                </c:pt>
                <c:pt idx="63">
                  <c:v>All Others</c:v>
                </c:pt>
                <c:pt idx="64">
                  <c:v>Raguin</c:v>
                </c:pt>
                <c:pt idx="65">
                  <c:v>All Others</c:v>
                </c:pt>
                <c:pt idx="66">
                  <c:v>Raguin</c:v>
                </c:pt>
                <c:pt idx="67">
                  <c:v>Raguin</c:v>
                </c:pt>
                <c:pt idx="68">
                  <c:v>All Others</c:v>
                </c:pt>
                <c:pt idx="69">
                  <c:v>All Others</c:v>
                </c:pt>
                <c:pt idx="70">
                  <c:v>All Others</c:v>
                </c:pt>
                <c:pt idx="71">
                  <c:v>Raguin</c:v>
                </c:pt>
                <c:pt idx="72">
                  <c:v>Raguin</c:v>
                </c:pt>
                <c:pt idx="73">
                  <c:v>Raguin</c:v>
                </c:pt>
                <c:pt idx="74">
                  <c:v>Raguin</c:v>
                </c:pt>
                <c:pt idx="75">
                  <c:v>Raguin</c:v>
                </c:pt>
                <c:pt idx="76">
                  <c:v>Raguin</c:v>
                </c:pt>
                <c:pt idx="77">
                  <c:v>Raguin</c:v>
                </c:pt>
                <c:pt idx="78">
                  <c:v>Raguin</c:v>
                </c:pt>
                <c:pt idx="79">
                  <c:v>All Others</c:v>
                </c:pt>
                <c:pt idx="80">
                  <c:v>Raguin</c:v>
                </c:pt>
                <c:pt idx="81">
                  <c:v>Raguin</c:v>
                </c:pt>
                <c:pt idx="82">
                  <c:v>All Others</c:v>
                </c:pt>
                <c:pt idx="83">
                  <c:v>All Others</c:v>
                </c:pt>
                <c:pt idx="84">
                  <c:v>All Others</c:v>
                </c:pt>
                <c:pt idx="85">
                  <c:v>Milleret: A</c:v>
                </c:pt>
                <c:pt idx="86">
                  <c:v>All Others</c:v>
                </c:pt>
                <c:pt idx="87">
                  <c:v>All Others</c:v>
                </c:pt>
                <c:pt idx="88">
                  <c:v>Private Lab</c:v>
                </c:pt>
                <c:pt idx="89">
                  <c:v>All Others</c:v>
                </c:pt>
                <c:pt idx="90">
                  <c:v>La Vache Qu</c:v>
                </c:pt>
                <c:pt idx="91">
                  <c:v>Private Lab</c:v>
                </c:pt>
                <c:pt idx="92">
                  <c:v>La Vache Qu</c:v>
                </c:pt>
                <c:pt idx="93">
                  <c:v>La Vache Qu</c:v>
                </c:pt>
              </c:strCache>
            </c:strRef>
          </c:cat>
          <c:val>
            <c:numRef>
              <c:f>Sheet1!$B$2:$B$95</c:f>
              <c:numCache>
                <c:formatCode>General</c:formatCode>
                <c:ptCount val="94"/>
                <c:pt idx="0">
                  <c:v>0.999</c:v>
                </c:pt>
                <c:pt idx="1">
                  <c:v>0.92800000000000005</c:v>
                </c:pt>
                <c:pt idx="2">
                  <c:v>0.98099999999999998</c:v>
                </c:pt>
                <c:pt idx="3">
                  <c:v>0.97099999999999997</c:v>
                </c:pt>
                <c:pt idx="4">
                  <c:v>0.95899999999999996</c:v>
                </c:pt>
                <c:pt idx="5">
                  <c:v>0.96199999999999997</c:v>
                </c:pt>
                <c:pt idx="6">
                  <c:v>0.96</c:v>
                </c:pt>
                <c:pt idx="7">
                  <c:v>0.93700000000000006</c:v>
                </c:pt>
                <c:pt idx="8">
                  <c:v>0.873</c:v>
                </c:pt>
                <c:pt idx="9">
                  <c:v>6.2E-2</c:v>
                </c:pt>
                <c:pt idx="10">
                  <c:v>5.8999999999999997E-2</c:v>
                </c:pt>
                <c:pt idx="11">
                  <c:v>0.502</c:v>
                </c:pt>
                <c:pt idx="12">
                  <c:v>0.79900000000000004</c:v>
                </c:pt>
                <c:pt idx="13">
                  <c:v>0.72699999999999998</c:v>
                </c:pt>
                <c:pt idx="14">
                  <c:v>0.10299999999999999</c:v>
                </c:pt>
                <c:pt idx="15">
                  <c:v>4.9000000000000002E-2</c:v>
                </c:pt>
                <c:pt idx="16">
                  <c:v>0.1</c:v>
                </c:pt>
                <c:pt idx="17">
                  <c:v>6.9000000000000006E-2</c:v>
                </c:pt>
                <c:pt idx="18">
                  <c:v>0.04</c:v>
                </c:pt>
                <c:pt idx="19">
                  <c:v>0.04</c:v>
                </c:pt>
                <c:pt idx="20">
                  <c:v>6.9000000000000006E-2</c:v>
                </c:pt>
                <c:pt idx="21">
                  <c:v>0.126</c:v>
                </c:pt>
                <c:pt idx="22">
                  <c:v>0.23499999999999999</c:v>
                </c:pt>
                <c:pt idx="23">
                  <c:v>0.25900000000000001</c:v>
                </c:pt>
                <c:pt idx="24">
                  <c:v>0.127</c:v>
                </c:pt>
                <c:pt idx="25">
                  <c:v>2.7E-2</c:v>
                </c:pt>
                <c:pt idx="26">
                  <c:v>0.38100000000000001</c:v>
                </c:pt>
                <c:pt idx="27">
                  <c:v>7.0999999999999994E-2</c:v>
                </c:pt>
                <c:pt idx="28">
                  <c:v>0.14299999999999999</c:v>
                </c:pt>
                <c:pt idx="29">
                  <c:v>5.1999999999999998E-2</c:v>
                </c:pt>
                <c:pt idx="30">
                  <c:v>0.14799999999999999</c:v>
                </c:pt>
                <c:pt idx="31">
                  <c:v>9.7000000000000003E-2</c:v>
                </c:pt>
                <c:pt idx="32">
                  <c:v>7.0000000000000007E-2</c:v>
                </c:pt>
                <c:pt idx="33">
                  <c:v>0.14499999999999999</c:v>
                </c:pt>
                <c:pt idx="34">
                  <c:v>4.5999999999999999E-2</c:v>
                </c:pt>
                <c:pt idx="35">
                  <c:v>4.2999999999999997E-2</c:v>
                </c:pt>
                <c:pt idx="36">
                  <c:v>0.13300000000000001</c:v>
                </c:pt>
                <c:pt idx="37">
                  <c:v>4.5999999999999999E-2</c:v>
                </c:pt>
                <c:pt idx="38">
                  <c:v>4.5999999999999999E-2</c:v>
                </c:pt>
                <c:pt idx="39">
                  <c:v>5.6000000000000001E-2</c:v>
                </c:pt>
                <c:pt idx="40">
                  <c:v>5.1999999999999998E-2</c:v>
                </c:pt>
                <c:pt idx="41">
                  <c:v>5.8000000000000003E-2</c:v>
                </c:pt>
                <c:pt idx="42">
                  <c:v>7.9000000000000001E-2</c:v>
                </c:pt>
                <c:pt idx="43">
                  <c:v>4.8000000000000001E-2</c:v>
                </c:pt>
                <c:pt idx="44">
                  <c:v>0.106</c:v>
                </c:pt>
                <c:pt idx="45">
                  <c:v>0.106</c:v>
                </c:pt>
                <c:pt idx="46">
                  <c:v>4.8000000000000001E-2</c:v>
                </c:pt>
                <c:pt idx="47">
                  <c:v>3.3000000000000002E-2</c:v>
                </c:pt>
                <c:pt idx="48">
                  <c:v>4.3999999999999997E-2</c:v>
                </c:pt>
                <c:pt idx="49">
                  <c:v>8.4000000000000005E-2</c:v>
                </c:pt>
                <c:pt idx="50">
                  <c:v>7.6999999999999999E-2</c:v>
                </c:pt>
                <c:pt idx="51">
                  <c:v>3.3000000000000002E-2</c:v>
                </c:pt>
                <c:pt idx="52">
                  <c:v>3.6999999999999998E-2</c:v>
                </c:pt>
                <c:pt idx="53">
                  <c:v>3.2000000000000001E-2</c:v>
                </c:pt>
                <c:pt idx="54">
                  <c:v>2.3E-2</c:v>
                </c:pt>
                <c:pt idx="55">
                  <c:v>3.2000000000000001E-2</c:v>
                </c:pt>
                <c:pt idx="56">
                  <c:v>4.0000000000000001E-3</c:v>
                </c:pt>
                <c:pt idx="57">
                  <c:v>6.0999999999999999E-2</c:v>
                </c:pt>
                <c:pt idx="58">
                  <c:v>0.01</c:v>
                </c:pt>
                <c:pt idx="59">
                  <c:v>4.0000000000000001E-3</c:v>
                </c:pt>
                <c:pt idx="60">
                  <c:v>3.3000000000000002E-2</c:v>
                </c:pt>
                <c:pt idx="61">
                  <c:v>1.0999999999999999E-2</c:v>
                </c:pt>
                <c:pt idx="62">
                  <c:v>6.4000000000000001E-2</c:v>
                </c:pt>
                <c:pt idx="63">
                  <c:v>3.3000000000000002E-2</c:v>
                </c:pt>
                <c:pt idx="64">
                  <c:v>2.1999999999999999E-2</c:v>
                </c:pt>
                <c:pt idx="65">
                  <c:v>1.0999999999999999E-2</c:v>
                </c:pt>
                <c:pt idx="66">
                  <c:v>3.0000000000000001E-3</c:v>
                </c:pt>
                <c:pt idx="67">
                  <c:v>1.4E-2</c:v>
                </c:pt>
                <c:pt idx="68">
                  <c:v>2.5000000000000001E-2</c:v>
                </c:pt>
                <c:pt idx="69">
                  <c:v>0.01</c:v>
                </c:pt>
                <c:pt idx="70">
                  <c:v>5.3999999999999999E-2</c:v>
                </c:pt>
                <c:pt idx="71">
                  <c:v>1.2999999999999999E-2</c:v>
                </c:pt>
                <c:pt idx="72">
                  <c:v>1.4E-2</c:v>
                </c:pt>
                <c:pt idx="73">
                  <c:v>2.3E-2</c:v>
                </c:pt>
                <c:pt idx="74">
                  <c:v>4.0000000000000001E-3</c:v>
                </c:pt>
                <c:pt idx="75">
                  <c:v>1.4E-2</c:v>
                </c:pt>
                <c:pt idx="76">
                  <c:v>4.0000000000000001E-3</c:v>
                </c:pt>
                <c:pt idx="77">
                  <c:v>4.0000000000000001E-3</c:v>
                </c:pt>
                <c:pt idx="78">
                  <c:v>1.4E-2</c:v>
                </c:pt>
                <c:pt idx="79">
                  <c:v>3.0000000000000001E-3</c:v>
                </c:pt>
                <c:pt idx="80">
                  <c:v>4.0000000000000001E-3</c:v>
                </c:pt>
                <c:pt idx="81">
                  <c:v>1E-3</c:v>
                </c:pt>
                <c:pt idx="82">
                  <c:v>1.2E-2</c:v>
                </c:pt>
                <c:pt idx="83">
                  <c:v>1E-3</c:v>
                </c:pt>
                <c:pt idx="84">
                  <c:v>3.0000000000000001E-3</c:v>
                </c:pt>
                <c:pt idx="85">
                  <c:v>0.02</c:v>
                </c:pt>
                <c:pt idx="86">
                  <c:v>8.9999999999999993E-3</c:v>
                </c:pt>
                <c:pt idx="87">
                  <c:v>3.0000000000000001E-3</c:v>
                </c:pt>
                <c:pt idx="88">
                  <c:v>8.9999999999999993E-3</c:v>
                </c:pt>
                <c:pt idx="89">
                  <c:v>5.0000000000000001E-3</c:v>
                </c:pt>
                <c:pt idx="90">
                  <c:v>1E-3</c:v>
                </c:pt>
                <c:pt idx="91">
                  <c:v>2E-3</c:v>
                </c:pt>
                <c:pt idx="92">
                  <c:v>1E-3</c:v>
                </c:pt>
                <c:pt idx="93">
                  <c:v>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5</c:f>
              <c:strCache>
                <c:ptCount val="94"/>
                <c:pt idx="0">
                  <c:v>Private Lab</c:v>
                </c:pt>
                <c:pt idx="1">
                  <c:v>Private Lab</c:v>
                </c:pt>
                <c:pt idx="2">
                  <c:v>President</c:v>
                </c:pt>
                <c:pt idx="3">
                  <c:v>President</c:v>
                </c:pt>
                <c:pt idx="4">
                  <c:v>President</c:v>
                </c:pt>
                <c:pt idx="5">
                  <c:v>President</c:v>
                </c:pt>
                <c:pt idx="6">
                  <c:v>Private Lab</c:v>
                </c:pt>
                <c:pt idx="7">
                  <c:v>Private Lab</c:v>
                </c:pt>
                <c:pt idx="8">
                  <c:v>Boursin</c:v>
                </c:pt>
                <c:pt idx="9">
                  <c:v>La Belle Et</c:v>
                </c:pt>
                <c:pt idx="10">
                  <c:v>La Belle Et</c:v>
                </c:pt>
                <c:pt idx="11">
                  <c:v>President</c:v>
                </c:pt>
                <c:pt idx="12">
                  <c:v>Les Mousque</c:v>
                </c:pt>
                <c:pt idx="13">
                  <c:v>Richesmonts</c:v>
                </c:pt>
                <c:pt idx="14">
                  <c:v>La Belle Et</c:v>
                </c:pt>
                <c:pt idx="15">
                  <c:v>Raguin</c:v>
                </c:pt>
                <c:pt idx="16">
                  <c:v>La Belle Et</c:v>
                </c:pt>
                <c:pt idx="17">
                  <c:v>Raguin</c:v>
                </c:pt>
                <c:pt idx="18">
                  <c:v>La Belle Et</c:v>
                </c:pt>
                <c:pt idx="19">
                  <c:v>Raguin</c:v>
                </c:pt>
                <c:pt idx="20">
                  <c:v>Raguin</c:v>
                </c:pt>
                <c:pt idx="21">
                  <c:v>All Others</c:v>
                </c:pt>
                <c:pt idx="22">
                  <c:v>Milleret: A</c:v>
                </c:pt>
                <c:pt idx="23">
                  <c:v>Milleret: A</c:v>
                </c:pt>
                <c:pt idx="24">
                  <c:v>All Others</c:v>
                </c:pt>
                <c:pt idx="25">
                  <c:v>La Belle Et</c:v>
                </c:pt>
                <c:pt idx="26">
                  <c:v>President</c:v>
                </c:pt>
                <c:pt idx="27">
                  <c:v>All Others</c:v>
                </c:pt>
                <c:pt idx="28">
                  <c:v>All Others</c:v>
                </c:pt>
                <c:pt idx="29">
                  <c:v>La Belle Et</c:v>
                </c:pt>
                <c:pt idx="30">
                  <c:v>All Others</c:v>
                </c:pt>
                <c:pt idx="31">
                  <c:v>All Others</c:v>
                </c:pt>
                <c:pt idx="32">
                  <c:v>All Others</c:v>
                </c:pt>
                <c:pt idx="33">
                  <c:v>Milleret: A</c:v>
                </c:pt>
                <c:pt idx="34">
                  <c:v>La Belle Et</c:v>
                </c:pt>
                <c:pt idx="35">
                  <c:v>La Belle Et</c:v>
                </c:pt>
                <c:pt idx="36">
                  <c:v>Milleret: A</c:v>
                </c:pt>
                <c:pt idx="37">
                  <c:v>La Belle Et</c:v>
                </c:pt>
                <c:pt idx="38">
                  <c:v>La Belle Et</c:v>
                </c:pt>
                <c:pt idx="39">
                  <c:v>La Belle Et</c:v>
                </c:pt>
                <c:pt idx="40">
                  <c:v>La Belle Et</c:v>
                </c:pt>
                <c:pt idx="41">
                  <c:v>All Others</c:v>
                </c:pt>
                <c:pt idx="42">
                  <c:v>La Belle Et</c:v>
                </c:pt>
                <c:pt idx="43">
                  <c:v>All Others</c:v>
                </c:pt>
                <c:pt idx="44">
                  <c:v>All Others</c:v>
                </c:pt>
                <c:pt idx="45">
                  <c:v>All Others</c:v>
                </c:pt>
                <c:pt idx="46">
                  <c:v>All Others</c:v>
                </c:pt>
                <c:pt idx="47">
                  <c:v>La Belle Et</c:v>
                </c:pt>
                <c:pt idx="48">
                  <c:v>La Belle Et</c:v>
                </c:pt>
                <c:pt idx="49">
                  <c:v>All Others</c:v>
                </c:pt>
                <c:pt idx="50">
                  <c:v>All Others</c:v>
                </c:pt>
                <c:pt idx="51">
                  <c:v>La Belle Et</c:v>
                </c:pt>
                <c:pt idx="52">
                  <c:v>La Belle Et</c:v>
                </c:pt>
                <c:pt idx="53">
                  <c:v>Raguin</c:v>
                </c:pt>
                <c:pt idx="54">
                  <c:v>Raguin</c:v>
                </c:pt>
                <c:pt idx="55">
                  <c:v>All Others</c:v>
                </c:pt>
                <c:pt idx="56">
                  <c:v>Raguin</c:v>
                </c:pt>
                <c:pt idx="57">
                  <c:v>All Others</c:v>
                </c:pt>
                <c:pt idx="58">
                  <c:v>Raguin</c:v>
                </c:pt>
                <c:pt idx="59">
                  <c:v>Raguin</c:v>
                </c:pt>
                <c:pt idx="60">
                  <c:v>La Belle Et</c:v>
                </c:pt>
                <c:pt idx="61">
                  <c:v>All Others</c:v>
                </c:pt>
                <c:pt idx="62">
                  <c:v>All Others</c:v>
                </c:pt>
                <c:pt idx="63">
                  <c:v>All Others</c:v>
                </c:pt>
                <c:pt idx="64">
                  <c:v>Raguin</c:v>
                </c:pt>
                <c:pt idx="65">
                  <c:v>All Others</c:v>
                </c:pt>
                <c:pt idx="66">
                  <c:v>Raguin</c:v>
                </c:pt>
                <c:pt idx="67">
                  <c:v>Raguin</c:v>
                </c:pt>
                <c:pt idx="68">
                  <c:v>All Others</c:v>
                </c:pt>
                <c:pt idx="69">
                  <c:v>All Others</c:v>
                </c:pt>
                <c:pt idx="70">
                  <c:v>All Others</c:v>
                </c:pt>
                <c:pt idx="71">
                  <c:v>Raguin</c:v>
                </c:pt>
                <c:pt idx="72">
                  <c:v>Raguin</c:v>
                </c:pt>
                <c:pt idx="73">
                  <c:v>Raguin</c:v>
                </c:pt>
                <c:pt idx="74">
                  <c:v>Raguin</c:v>
                </c:pt>
                <c:pt idx="75">
                  <c:v>Raguin</c:v>
                </c:pt>
                <c:pt idx="76">
                  <c:v>Raguin</c:v>
                </c:pt>
                <c:pt idx="77">
                  <c:v>Raguin</c:v>
                </c:pt>
                <c:pt idx="78">
                  <c:v>Raguin</c:v>
                </c:pt>
                <c:pt idx="79">
                  <c:v>All Others</c:v>
                </c:pt>
                <c:pt idx="80">
                  <c:v>Raguin</c:v>
                </c:pt>
                <c:pt idx="81">
                  <c:v>Raguin</c:v>
                </c:pt>
                <c:pt idx="82">
                  <c:v>All Others</c:v>
                </c:pt>
                <c:pt idx="83">
                  <c:v>All Others</c:v>
                </c:pt>
                <c:pt idx="84">
                  <c:v>All Others</c:v>
                </c:pt>
                <c:pt idx="85">
                  <c:v>Milleret: A</c:v>
                </c:pt>
                <c:pt idx="86">
                  <c:v>All Others</c:v>
                </c:pt>
                <c:pt idx="87">
                  <c:v>All Others</c:v>
                </c:pt>
                <c:pt idx="88">
                  <c:v>Private Lab</c:v>
                </c:pt>
                <c:pt idx="89">
                  <c:v>All Others</c:v>
                </c:pt>
                <c:pt idx="90">
                  <c:v>La Vache Qu</c:v>
                </c:pt>
                <c:pt idx="91">
                  <c:v>Private Lab</c:v>
                </c:pt>
                <c:pt idx="92">
                  <c:v>La Vache Qu</c:v>
                </c:pt>
                <c:pt idx="93">
                  <c:v>La Vache Qu</c:v>
                </c:pt>
              </c:strCache>
            </c:strRef>
          </c:cat>
          <c:val>
            <c:numRef>
              <c:f>Sheet1!$C$2:$C$95</c:f>
              <c:numCache>
                <c:formatCode>General</c:formatCode>
                <c:ptCount val="94"/>
                <c:pt idx="0">
                  <c:v>0.20166398618052092</c:v>
                </c:pt>
                <c:pt idx="1">
                  <c:v>0.36354911459057049</c:v>
                </c:pt>
                <c:pt idx="2">
                  <c:v>0.49436169667839513</c:v>
                </c:pt>
                <c:pt idx="3">
                  <c:v>0.59392474394824712</c:v>
                </c:pt>
                <c:pt idx="4">
                  <c:v>0.65720809279472303</c:v>
                </c:pt>
                <c:pt idx="5">
                  <c:v>0.71135383747226233</c:v>
                </c:pt>
                <c:pt idx="6">
                  <c:v>0.76335574036744203</c:v>
                </c:pt>
                <c:pt idx="7">
                  <c:v>0.80364063128349472</c:v>
                </c:pt>
                <c:pt idx="8">
                  <c:v>0.82370250650688825</c:v>
                </c:pt>
                <c:pt idx="9">
                  <c:v>0.84075543580233314</c:v>
                </c:pt>
                <c:pt idx="10">
                  <c:v>0.8536258728088334</c:v>
                </c:pt>
                <c:pt idx="11">
                  <c:v>0.86402902679250371</c:v>
                </c:pt>
                <c:pt idx="12">
                  <c:v>0.87227280226785253</c:v>
                </c:pt>
                <c:pt idx="13">
                  <c:v>0.88046951476455915</c:v>
                </c:pt>
                <c:pt idx="14">
                  <c:v>0.88847777724636579</c:v>
                </c:pt>
                <c:pt idx="15">
                  <c:v>0.89631604134410514</c:v>
                </c:pt>
                <c:pt idx="16">
                  <c:v>0.90373320073817853</c:v>
                </c:pt>
                <c:pt idx="17">
                  <c:v>0.91095401440415813</c:v>
                </c:pt>
                <c:pt idx="18">
                  <c:v>0.91713001862426113</c:v>
                </c:pt>
                <c:pt idx="19">
                  <c:v>0.9226552066568503</c:v>
                </c:pt>
                <c:pt idx="20">
                  <c:v>0.9281378597183636</c:v>
                </c:pt>
                <c:pt idx="21">
                  <c:v>0.93330873115888979</c:v>
                </c:pt>
                <c:pt idx="22">
                  <c:v>0.93808478863968181</c:v>
                </c:pt>
                <c:pt idx="23">
                  <c:v>0.9424371378124573</c:v>
                </c:pt>
                <c:pt idx="24">
                  <c:v>0.94591960013165188</c:v>
                </c:pt>
                <c:pt idx="25">
                  <c:v>0.94939725144280718</c:v>
                </c:pt>
                <c:pt idx="26">
                  <c:v>0.95270309316686874</c:v>
                </c:pt>
                <c:pt idx="27">
                  <c:v>0.95588628248597807</c:v>
                </c:pt>
                <c:pt idx="28">
                  <c:v>0.95841729721530367</c:v>
                </c:pt>
                <c:pt idx="29">
                  <c:v>0.96086929821259737</c:v>
                </c:pt>
                <c:pt idx="30">
                  <c:v>0.96320628781770701</c:v>
                </c:pt>
                <c:pt idx="31">
                  <c:v>0.96536767562938608</c:v>
                </c:pt>
                <c:pt idx="32">
                  <c:v>0.96751539451822433</c:v>
                </c:pt>
                <c:pt idx="33">
                  <c:v>0.96959307079002133</c:v>
                </c:pt>
                <c:pt idx="34">
                  <c:v>0.97136388964905962</c:v>
                </c:pt>
                <c:pt idx="35">
                  <c:v>0.97300430189018849</c:v>
                </c:pt>
                <c:pt idx="36">
                  <c:v>0.97462210239353309</c:v>
                </c:pt>
                <c:pt idx="37">
                  <c:v>0.97618211420031287</c:v>
                </c:pt>
                <c:pt idx="38">
                  <c:v>0.9777168823649105</c:v>
                </c:pt>
                <c:pt idx="39">
                  <c:v>0.97918225881355458</c:v>
                </c:pt>
                <c:pt idx="40">
                  <c:v>0.9805923652698425</c:v>
                </c:pt>
                <c:pt idx="41">
                  <c:v>0.98185352857724639</c:v>
                </c:pt>
                <c:pt idx="42">
                  <c:v>0.9829091203411402</c:v>
                </c:pt>
                <c:pt idx="43">
                  <c:v>0.98394784527684953</c:v>
                </c:pt>
                <c:pt idx="44">
                  <c:v>0.98488169023730443</c:v>
                </c:pt>
                <c:pt idx="45">
                  <c:v>0.98573241795887045</c:v>
                </c:pt>
                <c:pt idx="46">
                  <c:v>0.98658059867618042</c:v>
                </c:pt>
                <c:pt idx="47">
                  <c:v>0.98741777067509484</c:v>
                </c:pt>
                <c:pt idx="48">
                  <c:v>0.98818843756287922</c:v>
                </c:pt>
                <c:pt idx="49">
                  <c:v>0.98895842524952859</c:v>
                </c:pt>
                <c:pt idx="50">
                  <c:v>0.98970472579659685</c:v>
                </c:pt>
                <c:pt idx="51">
                  <c:v>0.99034908957332868</c:v>
                </c:pt>
                <c:pt idx="52">
                  <c:v>0.99097395461747817</c:v>
                </c:pt>
                <c:pt idx="53">
                  <c:v>0.99157983032989649</c:v>
                </c:pt>
                <c:pt idx="54">
                  <c:v>0.99215313268788474</c:v>
                </c:pt>
                <c:pt idx="55">
                  <c:v>0.99271186052151894</c:v>
                </c:pt>
                <c:pt idx="56">
                  <c:v>0.99324958972006439</c:v>
                </c:pt>
                <c:pt idx="57">
                  <c:v>0.99377551779889017</c:v>
                </c:pt>
                <c:pt idx="58">
                  <c:v>0.99429357846456956</c:v>
                </c:pt>
                <c:pt idx="59">
                  <c:v>0.9947863954880668</c:v>
                </c:pt>
                <c:pt idx="60">
                  <c:v>0.99525031816328158</c:v>
                </c:pt>
                <c:pt idx="61">
                  <c:v>0.99562489758920381</c:v>
                </c:pt>
                <c:pt idx="62">
                  <c:v>0.9959395092149198</c:v>
                </c:pt>
                <c:pt idx="63">
                  <c:v>0.99625225303751475</c:v>
                </c:pt>
                <c:pt idx="64">
                  <c:v>0.99654711123022277</c:v>
                </c:pt>
                <c:pt idx="65">
                  <c:v>0.99681494287776951</c:v>
                </c:pt>
                <c:pt idx="66">
                  <c:v>0.99707702961571643</c:v>
                </c:pt>
                <c:pt idx="67">
                  <c:v>0.99732909813692294</c:v>
                </c:pt>
                <c:pt idx="68">
                  <c:v>0.99757864795392071</c:v>
                </c:pt>
                <c:pt idx="69">
                  <c:v>0.99782514136581124</c:v>
                </c:pt>
                <c:pt idx="70">
                  <c:v>0.99805720175358414</c:v>
                </c:pt>
                <c:pt idx="71">
                  <c:v>0.99827870622371806</c:v>
                </c:pt>
                <c:pt idx="72">
                  <c:v>0.99849002267682785</c:v>
                </c:pt>
                <c:pt idx="73">
                  <c:v>0.99869293401589265</c:v>
                </c:pt>
                <c:pt idx="74">
                  <c:v>0.99888158213112366</c:v>
                </c:pt>
                <c:pt idx="75">
                  <c:v>0.99905806122602026</c:v>
                </c:pt>
                <c:pt idx="76">
                  <c:v>0.99921789989311072</c:v>
                </c:pt>
                <c:pt idx="77">
                  <c:v>0.99935767382667295</c:v>
                </c:pt>
                <c:pt idx="78">
                  <c:v>0.99944667747539806</c:v>
                </c:pt>
                <c:pt idx="79">
                  <c:v>0.99952328570341042</c:v>
                </c:pt>
                <c:pt idx="80">
                  <c:v>0.99959389432139745</c:v>
                </c:pt>
                <c:pt idx="81">
                  <c:v>0.99966410673872241</c:v>
                </c:pt>
                <c:pt idx="82">
                  <c:v>0.9997138865219044</c:v>
                </c:pt>
                <c:pt idx="83">
                  <c:v>0.99976038349960084</c:v>
                </c:pt>
                <c:pt idx="84">
                  <c:v>0.99980376747209543</c:v>
                </c:pt>
                <c:pt idx="85">
                  <c:v>0.99984451954019216</c:v>
                </c:pt>
                <c:pt idx="86">
                  <c:v>0.99988445090691747</c:v>
                </c:pt>
                <c:pt idx="87">
                  <c:v>0.99991127935174784</c:v>
                </c:pt>
                <c:pt idx="88">
                  <c:v>0.99993530609189651</c:v>
                </c:pt>
                <c:pt idx="89">
                  <c:v>0.99995537082542474</c:v>
                </c:pt>
                <c:pt idx="90">
                  <c:v>0.99998041636727586</c:v>
                </c:pt>
                <c:pt idx="91">
                  <c:v>0.9999878309796657</c:v>
                </c:pt>
                <c:pt idx="92">
                  <c:v>0.99999555689257569</c:v>
                </c:pt>
                <c:pt idx="93">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8</c:f>
              <c:strCache>
                <c:ptCount val="137"/>
                <c:pt idx="0">
                  <c:v>Private Lab</c:v>
                </c:pt>
                <c:pt idx="1">
                  <c:v>President</c:v>
                </c:pt>
                <c:pt idx="2">
                  <c:v>Private Lab</c:v>
                </c:pt>
                <c:pt idx="3">
                  <c:v>President</c:v>
                </c:pt>
                <c:pt idx="4">
                  <c:v>La Vache Qu</c:v>
                </c:pt>
                <c:pt idx="5">
                  <c:v>La Vache Qu</c:v>
                </c:pt>
                <c:pt idx="6">
                  <c:v>Private Lab</c:v>
                </c:pt>
                <c:pt idx="7">
                  <c:v>Private Lab</c:v>
                </c:pt>
                <c:pt idx="8">
                  <c:v>President</c:v>
                </c:pt>
                <c:pt idx="9">
                  <c:v>Private Lab</c:v>
                </c:pt>
                <c:pt idx="10">
                  <c:v>President</c:v>
                </c:pt>
                <c:pt idx="11">
                  <c:v>Private Lab</c:v>
                </c:pt>
                <c:pt idx="12">
                  <c:v>Private Lab</c:v>
                </c:pt>
                <c:pt idx="13">
                  <c:v>Boursin</c:v>
                </c:pt>
                <c:pt idx="14">
                  <c:v>Private Lab</c:v>
                </c:pt>
                <c:pt idx="15">
                  <c:v>President</c:v>
                </c:pt>
                <c:pt idx="16">
                  <c:v>President</c:v>
                </c:pt>
                <c:pt idx="17">
                  <c:v>La Belle Et</c:v>
                </c:pt>
                <c:pt idx="18">
                  <c:v>La Belle Et</c:v>
                </c:pt>
                <c:pt idx="19">
                  <c:v>Leerdammer</c:v>
                </c:pt>
                <c:pt idx="20">
                  <c:v>La Belle Et</c:v>
                </c:pt>
                <c:pt idx="21">
                  <c:v>Private Lab</c:v>
                </c:pt>
                <c:pt idx="22">
                  <c:v>Leerdammer</c:v>
                </c:pt>
                <c:pt idx="23">
                  <c:v>All Others</c:v>
                </c:pt>
                <c:pt idx="24">
                  <c:v>All Others</c:v>
                </c:pt>
                <c:pt idx="25">
                  <c:v>La Belle Et</c:v>
                </c:pt>
                <c:pt idx="26">
                  <c:v>Fauquet</c:v>
                </c:pt>
                <c:pt idx="27">
                  <c:v>All Others</c:v>
                </c:pt>
                <c:pt idx="28">
                  <c:v>La Vache Qu</c:v>
                </c:pt>
                <c:pt idx="29">
                  <c:v>La Vache Qu</c:v>
                </c:pt>
                <c:pt idx="30">
                  <c:v>La Vache Qu</c:v>
                </c:pt>
                <c:pt idx="31">
                  <c:v>Raguin</c:v>
                </c:pt>
                <c:pt idx="32">
                  <c:v>Raguin</c:v>
                </c:pt>
                <c:pt idx="33">
                  <c:v>Raguin</c:v>
                </c:pt>
                <c:pt idx="34">
                  <c:v>La Belle Et</c:v>
                </c:pt>
                <c:pt idx="35">
                  <c:v>All Others</c:v>
                </c:pt>
                <c:pt idx="36">
                  <c:v>Milleret: A</c:v>
                </c:pt>
                <c:pt idx="37">
                  <c:v>Milleret: A</c:v>
                </c:pt>
                <c:pt idx="38">
                  <c:v>All Others</c:v>
                </c:pt>
                <c:pt idx="39">
                  <c:v>Raguin</c:v>
                </c:pt>
                <c:pt idx="40">
                  <c:v>La Belle Et</c:v>
                </c:pt>
                <c:pt idx="41">
                  <c:v>Milleret: A</c:v>
                </c:pt>
                <c:pt idx="42">
                  <c:v>La Belle Et</c:v>
                </c:pt>
                <c:pt idx="43">
                  <c:v>All Others</c:v>
                </c:pt>
                <c:pt idx="44">
                  <c:v>All Others</c:v>
                </c:pt>
                <c:pt idx="45">
                  <c:v>La Belle Et</c:v>
                </c:pt>
                <c:pt idx="46">
                  <c:v>All Others</c:v>
                </c:pt>
                <c:pt idx="47">
                  <c:v>La Belle Et</c:v>
                </c:pt>
                <c:pt idx="48">
                  <c:v>La Belle Et</c:v>
                </c:pt>
                <c:pt idx="49">
                  <c:v>Milleret: A</c:v>
                </c:pt>
                <c:pt idx="50">
                  <c:v>All Others</c:v>
                </c:pt>
                <c:pt idx="51">
                  <c:v>La Belle Et</c:v>
                </c:pt>
                <c:pt idx="52">
                  <c:v>All Others</c:v>
                </c:pt>
                <c:pt idx="53">
                  <c:v>La Belle Et</c:v>
                </c:pt>
                <c:pt idx="54">
                  <c:v>All Others</c:v>
                </c:pt>
                <c:pt idx="55">
                  <c:v>La Belle Et</c:v>
                </c:pt>
                <c:pt idx="56">
                  <c:v>All Others</c:v>
                </c:pt>
                <c:pt idx="57">
                  <c:v>Milleret: A</c:v>
                </c:pt>
                <c:pt idx="58">
                  <c:v>Milleret: A</c:v>
                </c:pt>
                <c:pt idx="59">
                  <c:v>Raguin</c:v>
                </c:pt>
                <c:pt idx="60">
                  <c:v>La Belle Et</c:v>
                </c:pt>
                <c:pt idx="61">
                  <c:v>La Belle Et</c:v>
                </c:pt>
                <c:pt idx="62">
                  <c:v>President</c:v>
                </c:pt>
                <c:pt idx="63">
                  <c:v>La Belle Et</c:v>
                </c:pt>
                <c:pt idx="64">
                  <c:v>Richesmonts</c:v>
                </c:pt>
                <c:pt idx="65">
                  <c:v>Milleret: A</c:v>
                </c:pt>
                <c:pt idx="66">
                  <c:v>La Belle Et</c:v>
                </c:pt>
                <c:pt idx="67">
                  <c:v>Raguin</c:v>
                </c:pt>
                <c:pt idx="68">
                  <c:v>Raguin</c:v>
                </c:pt>
                <c:pt idx="69">
                  <c:v>All Others</c:v>
                </c:pt>
                <c:pt idx="70">
                  <c:v>Richesmonts</c:v>
                </c:pt>
                <c:pt idx="71">
                  <c:v>La Belle Et</c:v>
                </c:pt>
                <c:pt idx="72">
                  <c:v>All Others</c:v>
                </c:pt>
                <c:pt idx="73">
                  <c:v>All Others</c:v>
                </c:pt>
                <c:pt idx="74">
                  <c:v>Raguin</c:v>
                </c:pt>
                <c:pt idx="75">
                  <c:v>La Belle Et</c:v>
                </c:pt>
                <c:pt idx="76">
                  <c:v>Raguin</c:v>
                </c:pt>
                <c:pt idx="77">
                  <c:v>La Belle Et</c:v>
                </c:pt>
                <c:pt idx="78">
                  <c:v>All Others</c:v>
                </c:pt>
                <c:pt idx="79">
                  <c:v>All Others</c:v>
                </c:pt>
                <c:pt idx="80">
                  <c:v>All Others</c:v>
                </c:pt>
                <c:pt idx="81">
                  <c:v>Raguin</c:v>
                </c:pt>
                <c:pt idx="82">
                  <c:v>Raguin</c:v>
                </c:pt>
                <c:pt idx="83">
                  <c:v>All Others</c:v>
                </c:pt>
                <c:pt idx="84">
                  <c:v>Raguin</c:v>
                </c:pt>
                <c:pt idx="85">
                  <c:v>All Others</c:v>
                </c:pt>
                <c:pt idx="86">
                  <c:v>Raguin</c:v>
                </c:pt>
                <c:pt idx="87">
                  <c:v>All Others</c:v>
                </c:pt>
                <c:pt idx="88">
                  <c:v>Raguin</c:v>
                </c:pt>
                <c:pt idx="89">
                  <c:v>Raguin</c:v>
                </c:pt>
                <c:pt idx="90">
                  <c:v>All Others</c:v>
                </c:pt>
                <c:pt idx="91">
                  <c:v>All Others</c:v>
                </c:pt>
                <c:pt idx="92">
                  <c:v>All Others</c:v>
                </c:pt>
                <c:pt idx="93">
                  <c:v>All Others</c:v>
                </c:pt>
                <c:pt idx="94">
                  <c:v>Raguin</c:v>
                </c:pt>
                <c:pt idx="95">
                  <c:v>All Others</c:v>
                </c:pt>
                <c:pt idx="96">
                  <c:v>All Others</c:v>
                </c:pt>
                <c:pt idx="97">
                  <c:v>All Others</c:v>
                </c:pt>
                <c:pt idx="98">
                  <c:v>Raguin</c:v>
                </c:pt>
                <c:pt idx="99">
                  <c:v>All Others</c:v>
                </c:pt>
                <c:pt idx="100">
                  <c:v>Raguin</c:v>
                </c:pt>
                <c:pt idx="101">
                  <c:v>Raguin</c:v>
                </c:pt>
                <c:pt idx="102">
                  <c:v>All Others</c:v>
                </c:pt>
                <c:pt idx="103">
                  <c:v>Raguin</c:v>
                </c:pt>
                <c:pt idx="104">
                  <c:v>All Others</c:v>
                </c:pt>
                <c:pt idx="105">
                  <c:v>All Others</c:v>
                </c:pt>
                <c:pt idx="106">
                  <c:v>All Others</c:v>
                </c:pt>
                <c:pt idx="107">
                  <c:v>All Others</c:v>
                </c:pt>
                <c:pt idx="108">
                  <c:v>All Others</c:v>
                </c:pt>
                <c:pt idx="109">
                  <c:v>All Others</c:v>
                </c:pt>
                <c:pt idx="110">
                  <c:v>President</c:v>
                </c:pt>
                <c:pt idx="111">
                  <c:v>All Others</c:v>
                </c:pt>
                <c:pt idx="112">
                  <c:v>All Others</c:v>
                </c:pt>
                <c:pt idx="113">
                  <c:v>All Others</c:v>
                </c:pt>
                <c:pt idx="114">
                  <c:v>All Others</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Private Lab</c:v>
                </c:pt>
                <c:pt idx="126">
                  <c:v>All Others</c:v>
                </c:pt>
                <c:pt idx="127">
                  <c:v>All Others</c:v>
                </c:pt>
                <c:pt idx="128">
                  <c:v>All Others</c:v>
                </c:pt>
                <c:pt idx="129">
                  <c:v>All Others</c:v>
                </c:pt>
                <c:pt idx="130">
                  <c:v>All Others</c:v>
                </c:pt>
                <c:pt idx="131">
                  <c:v>All Others</c:v>
                </c:pt>
                <c:pt idx="132">
                  <c:v>All Others</c:v>
                </c:pt>
                <c:pt idx="133">
                  <c:v>All Others</c:v>
                </c:pt>
                <c:pt idx="134">
                  <c:v>All Others</c:v>
                </c:pt>
                <c:pt idx="135">
                  <c:v>All Others</c:v>
                </c:pt>
                <c:pt idx="136">
                  <c:v>All Others</c:v>
                </c:pt>
              </c:strCache>
            </c:strRef>
          </c:cat>
          <c:val>
            <c:numRef>
              <c:f>Sheet1!$B$2:$B$138</c:f>
              <c:numCache>
                <c:formatCode>General</c:formatCode>
                <c:ptCount val="137"/>
                <c:pt idx="0">
                  <c:v>1</c:v>
                </c:pt>
                <c:pt idx="1">
                  <c:v>1</c:v>
                </c:pt>
                <c:pt idx="2">
                  <c:v>0.55000000000000004</c:v>
                </c:pt>
                <c:pt idx="3">
                  <c:v>1</c:v>
                </c:pt>
                <c:pt idx="4">
                  <c:v>1</c:v>
                </c:pt>
                <c:pt idx="5">
                  <c:v>1</c:v>
                </c:pt>
                <c:pt idx="6">
                  <c:v>1</c:v>
                </c:pt>
                <c:pt idx="7">
                  <c:v>0.57999999999999996</c:v>
                </c:pt>
                <c:pt idx="8">
                  <c:v>0.99</c:v>
                </c:pt>
                <c:pt idx="9">
                  <c:v>1</c:v>
                </c:pt>
                <c:pt idx="10">
                  <c:v>0.99</c:v>
                </c:pt>
                <c:pt idx="11">
                  <c:v>1</c:v>
                </c:pt>
                <c:pt idx="12">
                  <c:v>0.57999999999999996</c:v>
                </c:pt>
                <c:pt idx="13">
                  <c:v>0.98</c:v>
                </c:pt>
                <c:pt idx="14">
                  <c:v>0.79</c:v>
                </c:pt>
                <c:pt idx="15">
                  <c:v>0.95</c:v>
                </c:pt>
                <c:pt idx="16">
                  <c:v>0.97</c:v>
                </c:pt>
                <c:pt idx="17">
                  <c:v>0.28000000000000003</c:v>
                </c:pt>
                <c:pt idx="18">
                  <c:v>0.3</c:v>
                </c:pt>
                <c:pt idx="19">
                  <c:v>0.73</c:v>
                </c:pt>
                <c:pt idx="20">
                  <c:v>0.13</c:v>
                </c:pt>
                <c:pt idx="21">
                  <c:v>0.92</c:v>
                </c:pt>
                <c:pt idx="22">
                  <c:v>0.76</c:v>
                </c:pt>
                <c:pt idx="23">
                  <c:v>0.54</c:v>
                </c:pt>
                <c:pt idx="24">
                  <c:v>0.55000000000000004</c:v>
                </c:pt>
                <c:pt idx="25">
                  <c:v>0.08</c:v>
                </c:pt>
                <c:pt idx="26">
                  <c:v>0.41</c:v>
                </c:pt>
                <c:pt idx="27">
                  <c:v>0.52</c:v>
                </c:pt>
                <c:pt idx="28">
                  <c:v>0.59</c:v>
                </c:pt>
                <c:pt idx="29">
                  <c:v>0.16</c:v>
                </c:pt>
                <c:pt idx="30">
                  <c:v>0.16</c:v>
                </c:pt>
                <c:pt idx="31">
                  <c:v>0.03</c:v>
                </c:pt>
                <c:pt idx="32">
                  <c:v>0.05</c:v>
                </c:pt>
                <c:pt idx="33">
                  <c:v>0.06</c:v>
                </c:pt>
                <c:pt idx="34">
                  <c:v>0.04</c:v>
                </c:pt>
                <c:pt idx="35">
                  <c:v>0.18</c:v>
                </c:pt>
                <c:pt idx="36">
                  <c:v>0.14000000000000001</c:v>
                </c:pt>
                <c:pt idx="37">
                  <c:v>0.1</c:v>
                </c:pt>
                <c:pt idx="38">
                  <c:v>7.0000000000000007E-2</c:v>
                </c:pt>
                <c:pt idx="39">
                  <c:v>0.03</c:v>
                </c:pt>
                <c:pt idx="40">
                  <c:v>0.21</c:v>
                </c:pt>
                <c:pt idx="41">
                  <c:v>0.1</c:v>
                </c:pt>
                <c:pt idx="42">
                  <c:v>0.21</c:v>
                </c:pt>
                <c:pt idx="43">
                  <c:v>7.0000000000000007E-2</c:v>
                </c:pt>
                <c:pt idx="44">
                  <c:v>0.16</c:v>
                </c:pt>
                <c:pt idx="45">
                  <c:v>0.03</c:v>
                </c:pt>
                <c:pt idx="46">
                  <c:v>0.17</c:v>
                </c:pt>
                <c:pt idx="47">
                  <c:v>0.1</c:v>
                </c:pt>
                <c:pt idx="48">
                  <c:v>0.09</c:v>
                </c:pt>
                <c:pt idx="49">
                  <c:v>0.09</c:v>
                </c:pt>
                <c:pt idx="50">
                  <c:v>0.23</c:v>
                </c:pt>
                <c:pt idx="51">
                  <c:v>0.09</c:v>
                </c:pt>
                <c:pt idx="52">
                  <c:v>0.16</c:v>
                </c:pt>
                <c:pt idx="53">
                  <c:v>7.0000000000000007E-2</c:v>
                </c:pt>
                <c:pt idx="54">
                  <c:v>0.28999999999999998</c:v>
                </c:pt>
                <c:pt idx="55">
                  <c:v>0.1</c:v>
                </c:pt>
                <c:pt idx="56">
                  <c:v>7.0000000000000007E-2</c:v>
                </c:pt>
                <c:pt idx="57">
                  <c:v>0.09</c:v>
                </c:pt>
                <c:pt idx="58">
                  <c:v>0.08</c:v>
                </c:pt>
                <c:pt idx="59">
                  <c:v>0.02</c:v>
                </c:pt>
                <c:pt idx="60">
                  <c:v>0.09</c:v>
                </c:pt>
                <c:pt idx="61">
                  <c:v>0.04</c:v>
                </c:pt>
                <c:pt idx="62">
                  <c:v>0.06</c:v>
                </c:pt>
                <c:pt idx="63">
                  <c:v>0.09</c:v>
                </c:pt>
                <c:pt idx="64">
                  <c:v>0.15</c:v>
                </c:pt>
                <c:pt idx="65">
                  <c:v>0.15</c:v>
                </c:pt>
                <c:pt idx="66">
                  <c:v>0.04</c:v>
                </c:pt>
                <c:pt idx="67">
                  <c:v>0.02</c:v>
                </c:pt>
                <c:pt idx="68">
                  <c:v>0.02</c:v>
                </c:pt>
                <c:pt idx="69">
                  <c:v>0.06</c:v>
                </c:pt>
                <c:pt idx="70">
                  <c:v>0.1</c:v>
                </c:pt>
                <c:pt idx="71">
                  <c:v>0.09</c:v>
                </c:pt>
                <c:pt idx="72">
                  <c:v>7.0000000000000007E-2</c:v>
                </c:pt>
                <c:pt idx="73">
                  <c:v>0.06</c:v>
                </c:pt>
                <c:pt idx="74">
                  <c:v>0.02</c:v>
                </c:pt>
                <c:pt idx="75">
                  <c:v>0.05</c:v>
                </c:pt>
                <c:pt idx="76">
                  <c:v>0.02</c:v>
                </c:pt>
                <c:pt idx="77">
                  <c:v>0.08</c:v>
                </c:pt>
                <c:pt idx="78">
                  <c:v>0.01</c:v>
                </c:pt>
                <c:pt idx="79">
                  <c:v>0.04</c:v>
                </c:pt>
                <c:pt idx="80">
                  <c:v>0.04</c:v>
                </c:pt>
                <c:pt idx="81">
                  <c:v>0.02</c:v>
                </c:pt>
                <c:pt idx="82">
                  <c:v>0.02</c:v>
                </c:pt>
                <c:pt idx="83">
                  <c:v>0.03</c:v>
                </c:pt>
                <c:pt idx="84">
                  <c:v>0.02</c:v>
                </c:pt>
                <c:pt idx="85">
                  <c:v>0.01</c:v>
                </c:pt>
                <c:pt idx="86">
                  <c:v>0.02</c:v>
                </c:pt>
                <c:pt idx="87">
                  <c:v>0.01</c:v>
                </c:pt>
                <c:pt idx="88">
                  <c:v>0.02</c:v>
                </c:pt>
                <c:pt idx="89">
                  <c:v>0.02</c:v>
                </c:pt>
                <c:pt idx="90">
                  <c:v>0.03</c:v>
                </c:pt>
                <c:pt idx="91">
                  <c:v>0.01</c:v>
                </c:pt>
                <c:pt idx="92">
                  <c:v>0.03</c:v>
                </c:pt>
                <c:pt idx="93">
                  <c:v>0.03</c:v>
                </c:pt>
                <c:pt idx="94">
                  <c:v>0.02</c:v>
                </c:pt>
                <c:pt idx="95">
                  <c:v>0.04</c:v>
                </c:pt>
                <c:pt idx="96">
                  <c:v>0.01</c:v>
                </c:pt>
                <c:pt idx="97">
                  <c:v>0.05</c:v>
                </c:pt>
                <c:pt idx="98">
                  <c:v>0.02</c:v>
                </c:pt>
                <c:pt idx="99">
                  <c:v>0.04</c:v>
                </c:pt>
                <c:pt idx="100">
                  <c:v>0.01</c:v>
                </c:pt>
                <c:pt idx="101">
                  <c:v>0.02</c:v>
                </c:pt>
                <c:pt idx="102">
                  <c:v>0.03</c:v>
                </c:pt>
                <c:pt idx="103">
                  <c:v>0.02</c:v>
                </c:pt>
                <c:pt idx="104">
                  <c:v>0.1</c:v>
                </c:pt>
                <c:pt idx="105">
                  <c:v>0.01</c:v>
                </c:pt>
                <c:pt idx="106">
                  <c:v>0.03</c:v>
                </c:pt>
                <c:pt idx="107">
                  <c:v>0.02</c:v>
                </c:pt>
                <c:pt idx="108">
                  <c:v>0.02</c:v>
                </c:pt>
                <c:pt idx="109">
                  <c:v>0.01</c:v>
                </c:pt>
                <c:pt idx="110">
                  <c:v>0.06</c:v>
                </c:pt>
                <c:pt idx="111">
                  <c:v>0.01</c:v>
                </c:pt>
                <c:pt idx="112">
                  <c:v>0.02</c:v>
                </c:pt>
                <c:pt idx="113">
                  <c:v>0.01</c:v>
                </c:pt>
                <c:pt idx="114">
                  <c:v>0.02</c:v>
                </c:pt>
                <c:pt idx="115">
                  <c:v>0.01</c:v>
                </c:pt>
                <c:pt idx="116">
                  <c:v>0.01</c:v>
                </c:pt>
                <c:pt idx="117">
                  <c:v>0.02</c:v>
                </c:pt>
                <c:pt idx="118">
                  <c:v>0.01</c:v>
                </c:pt>
                <c:pt idx="119">
                  <c:v>0.01</c:v>
                </c:pt>
                <c:pt idx="120">
                  <c:v>0.01</c:v>
                </c:pt>
                <c:pt idx="121">
                  <c:v>0.02</c:v>
                </c:pt>
                <c:pt idx="122">
                  <c:v>0.01</c:v>
                </c:pt>
                <c:pt idx="123">
                  <c:v>0.01</c:v>
                </c:pt>
                <c:pt idx="124">
                  <c:v>0.01</c:v>
                </c:pt>
                <c:pt idx="125">
                  <c:v>0.06</c:v>
                </c:pt>
                <c:pt idx="126">
                  <c:v>0.04</c:v>
                </c:pt>
                <c:pt idx="127">
                  <c:v>0.04</c:v>
                </c:pt>
                <c:pt idx="128">
                  <c:v>0.03</c:v>
                </c:pt>
                <c:pt idx="129">
                  <c:v>0.01</c:v>
                </c:pt>
                <c:pt idx="130">
                  <c:v>0.01</c:v>
                </c:pt>
                <c:pt idx="131">
                  <c:v>0.02</c:v>
                </c:pt>
                <c:pt idx="132">
                  <c:v>0.01</c:v>
                </c:pt>
                <c:pt idx="133">
                  <c:v>0.01</c:v>
                </c:pt>
                <c:pt idx="134">
                  <c:v>0.01</c:v>
                </c:pt>
                <c:pt idx="135">
                  <c:v>0.01</c:v>
                </c:pt>
                <c:pt idx="13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AEABAB"/>
              </a:solidFill>
            </c:spPr>
            <c:extLst>
              <c:ext xmlns:c16="http://schemas.microsoft.com/office/drawing/2014/chart" uri="{C3380CC4-5D6E-409C-BE32-E72D297353CC}">
                <c16:uniqueId val="{00000107-2993-41DE-A2CB-63102DE87051}"/>
              </c:ext>
            </c:extLst>
          </c:dPt>
          <c:dPt>
            <c:idx val="131"/>
            <c:invertIfNegative val="1"/>
            <c:bubble3D val="0"/>
            <c:spPr>
              <a:solidFill>
                <a:srgbClr val="AEABAB"/>
              </a:solidFill>
            </c:spPr>
            <c:extLst>
              <c:ext xmlns:c16="http://schemas.microsoft.com/office/drawing/2014/chart" uri="{C3380CC4-5D6E-409C-BE32-E72D297353CC}">
                <c16:uniqueId val="{00000109-2993-41DE-A2CB-63102DE87051}"/>
              </c:ext>
            </c:extLst>
          </c:dPt>
          <c:dPt>
            <c:idx val="132"/>
            <c:invertIfNegative val="1"/>
            <c:bubble3D val="0"/>
            <c:spPr>
              <a:solidFill>
                <a:srgbClr val="AEABAB"/>
              </a:solidFill>
            </c:spPr>
            <c:extLst>
              <c:ext xmlns:c16="http://schemas.microsoft.com/office/drawing/2014/chart" uri="{C3380CC4-5D6E-409C-BE32-E72D297353CC}">
                <c16:uniqueId val="{0000010B-2993-41DE-A2CB-63102DE87051}"/>
              </c:ext>
            </c:extLst>
          </c:dPt>
          <c:dPt>
            <c:idx val="133"/>
            <c:invertIfNegative val="1"/>
            <c:bubble3D val="0"/>
            <c:spPr>
              <a:solidFill>
                <a:srgbClr val="AEABAB"/>
              </a:solidFill>
            </c:spPr>
            <c:extLst>
              <c:ext xmlns:c16="http://schemas.microsoft.com/office/drawing/2014/chart" uri="{C3380CC4-5D6E-409C-BE32-E72D297353CC}">
                <c16:uniqueId val="{0000010D-2993-41DE-A2CB-63102DE87051}"/>
              </c:ext>
            </c:extLst>
          </c:dPt>
          <c:dPt>
            <c:idx val="134"/>
            <c:invertIfNegative val="1"/>
            <c:bubble3D val="0"/>
            <c:spPr>
              <a:solidFill>
                <a:srgbClr val="AEABAB"/>
              </a:solidFill>
            </c:spPr>
            <c:extLst>
              <c:ext xmlns:c16="http://schemas.microsoft.com/office/drawing/2014/chart" uri="{C3380CC4-5D6E-409C-BE32-E72D297353CC}">
                <c16:uniqueId val="{0000010F-2993-41DE-A2CB-63102DE87051}"/>
              </c:ext>
            </c:extLst>
          </c:dPt>
          <c:dPt>
            <c:idx val="135"/>
            <c:invertIfNegative val="1"/>
            <c:bubble3D val="0"/>
            <c:spPr>
              <a:solidFill>
                <a:srgbClr val="AEABAB"/>
              </a:solidFill>
            </c:spPr>
            <c:extLst>
              <c:ext xmlns:c16="http://schemas.microsoft.com/office/drawing/2014/chart" uri="{C3380CC4-5D6E-409C-BE32-E72D297353CC}">
                <c16:uniqueId val="{00000111-2993-41DE-A2CB-63102DE87051}"/>
              </c:ext>
            </c:extLst>
          </c:dPt>
          <c:dPt>
            <c:idx val="136"/>
            <c:invertIfNegative val="1"/>
            <c:bubble3D val="0"/>
            <c:spPr>
              <a:solidFill>
                <a:srgbClr val="AEABAB"/>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8</c:f>
              <c:strCache>
                <c:ptCount val="137"/>
                <c:pt idx="0">
                  <c:v>Private Lab</c:v>
                </c:pt>
                <c:pt idx="1">
                  <c:v>President</c:v>
                </c:pt>
                <c:pt idx="2">
                  <c:v>Private Lab</c:v>
                </c:pt>
                <c:pt idx="3">
                  <c:v>President</c:v>
                </c:pt>
                <c:pt idx="4">
                  <c:v>La Vache Qu</c:v>
                </c:pt>
                <c:pt idx="5">
                  <c:v>La Vache Qu</c:v>
                </c:pt>
                <c:pt idx="6">
                  <c:v>Private Lab</c:v>
                </c:pt>
                <c:pt idx="7">
                  <c:v>Private Lab</c:v>
                </c:pt>
                <c:pt idx="8">
                  <c:v>President</c:v>
                </c:pt>
                <c:pt idx="9">
                  <c:v>Private Lab</c:v>
                </c:pt>
                <c:pt idx="10">
                  <c:v>President</c:v>
                </c:pt>
                <c:pt idx="11">
                  <c:v>Private Lab</c:v>
                </c:pt>
                <c:pt idx="12">
                  <c:v>Private Lab</c:v>
                </c:pt>
                <c:pt idx="13">
                  <c:v>Boursin</c:v>
                </c:pt>
                <c:pt idx="14">
                  <c:v>Private Lab</c:v>
                </c:pt>
                <c:pt idx="15">
                  <c:v>President</c:v>
                </c:pt>
                <c:pt idx="16">
                  <c:v>President</c:v>
                </c:pt>
                <c:pt idx="17">
                  <c:v>La Belle Et</c:v>
                </c:pt>
                <c:pt idx="18">
                  <c:v>La Belle Et</c:v>
                </c:pt>
                <c:pt idx="19">
                  <c:v>Leerdammer</c:v>
                </c:pt>
                <c:pt idx="20">
                  <c:v>La Belle Et</c:v>
                </c:pt>
                <c:pt idx="21">
                  <c:v>Private Lab</c:v>
                </c:pt>
                <c:pt idx="22">
                  <c:v>Leerdammer</c:v>
                </c:pt>
                <c:pt idx="23">
                  <c:v>All Others</c:v>
                </c:pt>
                <c:pt idx="24">
                  <c:v>All Others</c:v>
                </c:pt>
                <c:pt idx="25">
                  <c:v>La Belle Et</c:v>
                </c:pt>
                <c:pt idx="26">
                  <c:v>Fauquet</c:v>
                </c:pt>
                <c:pt idx="27">
                  <c:v>All Others</c:v>
                </c:pt>
                <c:pt idx="28">
                  <c:v>La Vache Qu</c:v>
                </c:pt>
                <c:pt idx="29">
                  <c:v>La Vache Qu</c:v>
                </c:pt>
                <c:pt idx="30">
                  <c:v>La Vache Qu</c:v>
                </c:pt>
                <c:pt idx="31">
                  <c:v>Raguin</c:v>
                </c:pt>
                <c:pt idx="32">
                  <c:v>Raguin</c:v>
                </c:pt>
                <c:pt idx="33">
                  <c:v>Raguin</c:v>
                </c:pt>
                <c:pt idx="34">
                  <c:v>La Belle Et</c:v>
                </c:pt>
                <c:pt idx="35">
                  <c:v>All Others</c:v>
                </c:pt>
                <c:pt idx="36">
                  <c:v>Milleret: A</c:v>
                </c:pt>
                <c:pt idx="37">
                  <c:v>Milleret: A</c:v>
                </c:pt>
                <c:pt idx="38">
                  <c:v>All Others</c:v>
                </c:pt>
                <c:pt idx="39">
                  <c:v>Raguin</c:v>
                </c:pt>
                <c:pt idx="40">
                  <c:v>La Belle Et</c:v>
                </c:pt>
                <c:pt idx="41">
                  <c:v>Milleret: A</c:v>
                </c:pt>
                <c:pt idx="42">
                  <c:v>La Belle Et</c:v>
                </c:pt>
                <c:pt idx="43">
                  <c:v>All Others</c:v>
                </c:pt>
                <c:pt idx="44">
                  <c:v>All Others</c:v>
                </c:pt>
                <c:pt idx="45">
                  <c:v>La Belle Et</c:v>
                </c:pt>
                <c:pt idx="46">
                  <c:v>All Others</c:v>
                </c:pt>
                <c:pt idx="47">
                  <c:v>La Belle Et</c:v>
                </c:pt>
                <c:pt idx="48">
                  <c:v>La Belle Et</c:v>
                </c:pt>
                <c:pt idx="49">
                  <c:v>Milleret: A</c:v>
                </c:pt>
                <c:pt idx="50">
                  <c:v>All Others</c:v>
                </c:pt>
                <c:pt idx="51">
                  <c:v>La Belle Et</c:v>
                </c:pt>
                <c:pt idx="52">
                  <c:v>All Others</c:v>
                </c:pt>
                <c:pt idx="53">
                  <c:v>La Belle Et</c:v>
                </c:pt>
                <c:pt idx="54">
                  <c:v>All Others</c:v>
                </c:pt>
                <c:pt idx="55">
                  <c:v>La Belle Et</c:v>
                </c:pt>
                <c:pt idx="56">
                  <c:v>All Others</c:v>
                </c:pt>
                <c:pt idx="57">
                  <c:v>Milleret: A</c:v>
                </c:pt>
                <c:pt idx="58">
                  <c:v>Milleret: A</c:v>
                </c:pt>
                <c:pt idx="59">
                  <c:v>Raguin</c:v>
                </c:pt>
                <c:pt idx="60">
                  <c:v>La Belle Et</c:v>
                </c:pt>
                <c:pt idx="61">
                  <c:v>La Belle Et</c:v>
                </c:pt>
                <c:pt idx="62">
                  <c:v>President</c:v>
                </c:pt>
                <c:pt idx="63">
                  <c:v>La Belle Et</c:v>
                </c:pt>
                <c:pt idx="64">
                  <c:v>Richesmonts</c:v>
                </c:pt>
                <c:pt idx="65">
                  <c:v>Milleret: A</c:v>
                </c:pt>
                <c:pt idx="66">
                  <c:v>La Belle Et</c:v>
                </c:pt>
                <c:pt idx="67">
                  <c:v>Raguin</c:v>
                </c:pt>
                <c:pt idx="68">
                  <c:v>Raguin</c:v>
                </c:pt>
                <c:pt idx="69">
                  <c:v>All Others</c:v>
                </c:pt>
                <c:pt idx="70">
                  <c:v>Richesmonts</c:v>
                </c:pt>
                <c:pt idx="71">
                  <c:v>La Belle Et</c:v>
                </c:pt>
                <c:pt idx="72">
                  <c:v>All Others</c:v>
                </c:pt>
                <c:pt idx="73">
                  <c:v>All Others</c:v>
                </c:pt>
                <c:pt idx="74">
                  <c:v>Raguin</c:v>
                </c:pt>
                <c:pt idx="75">
                  <c:v>La Belle Et</c:v>
                </c:pt>
                <c:pt idx="76">
                  <c:v>Raguin</c:v>
                </c:pt>
                <c:pt idx="77">
                  <c:v>La Belle Et</c:v>
                </c:pt>
                <c:pt idx="78">
                  <c:v>All Others</c:v>
                </c:pt>
                <c:pt idx="79">
                  <c:v>All Others</c:v>
                </c:pt>
                <c:pt idx="80">
                  <c:v>All Others</c:v>
                </c:pt>
                <c:pt idx="81">
                  <c:v>Raguin</c:v>
                </c:pt>
                <c:pt idx="82">
                  <c:v>Raguin</c:v>
                </c:pt>
                <c:pt idx="83">
                  <c:v>All Others</c:v>
                </c:pt>
                <c:pt idx="84">
                  <c:v>Raguin</c:v>
                </c:pt>
                <c:pt idx="85">
                  <c:v>All Others</c:v>
                </c:pt>
                <c:pt idx="86">
                  <c:v>Raguin</c:v>
                </c:pt>
                <c:pt idx="87">
                  <c:v>All Others</c:v>
                </c:pt>
                <c:pt idx="88">
                  <c:v>Raguin</c:v>
                </c:pt>
                <c:pt idx="89">
                  <c:v>Raguin</c:v>
                </c:pt>
                <c:pt idx="90">
                  <c:v>All Others</c:v>
                </c:pt>
                <c:pt idx="91">
                  <c:v>All Others</c:v>
                </c:pt>
                <c:pt idx="92">
                  <c:v>All Others</c:v>
                </c:pt>
                <c:pt idx="93">
                  <c:v>All Others</c:v>
                </c:pt>
                <c:pt idx="94">
                  <c:v>Raguin</c:v>
                </c:pt>
                <c:pt idx="95">
                  <c:v>All Others</c:v>
                </c:pt>
                <c:pt idx="96">
                  <c:v>All Others</c:v>
                </c:pt>
                <c:pt idx="97">
                  <c:v>All Others</c:v>
                </c:pt>
                <c:pt idx="98">
                  <c:v>Raguin</c:v>
                </c:pt>
                <c:pt idx="99">
                  <c:v>All Others</c:v>
                </c:pt>
                <c:pt idx="100">
                  <c:v>Raguin</c:v>
                </c:pt>
                <c:pt idx="101">
                  <c:v>Raguin</c:v>
                </c:pt>
                <c:pt idx="102">
                  <c:v>All Others</c:v>
                </c:pt>
                <c:pt idx="103">
                  <c:v>Raguin</c:v>
                </c:pt>
                <c:pt idx="104">
                  <c:v>All Others</c:v>
                </c:pt>
                <c:pt idx="105">
                  <c:v>All Others</c:v>
                </c:pt>
                <c:pt idx="106">
                  <c:v>All Others</c:v>
                </c:pt>
                <c:pt idx="107">
                  <c:v>All Others</c:v>
                </c:pt>
                <c:pt idx="108">
                  <c:v>All Others</c:v>
                </c:pt>
                <c:pt idx="109">
                  <c:v>All Others</c:v>
                </c:pt>
                <c:pt idx="110">
                  <c:v>President</c:v>
                </c:pt>
                <c:pt idx="111">
                  <c:v>All Others</c:v>
                </c:pt>
                <c:pt idx="112">
                  <c:v>All Others</c:v>
                </c:pt>
                <c:pt idx="113">
                  <c:v>All Others</c:v>
                </c:pt>
                <c:pt idx="114">
                  <c:v>All Others</c:v>
                </c:pt>
                <c:pt idx="115">
                  <c:v>All Others</c:v>
                </c:pt>
                <c:pt idx="116">
                  <c:v>All Others</c:v>
                </c:pt>
                <c:pt idx="117">
                  <c:v>All Others</c:v>
                </c:pt>
                <c:pt idx="118">
                  <c:v>All Others</c:v>
                </c:pt>
                <c:pt idx="119">
                  <c:v>All Others</c:v>
                </c:pt>
                <c:pt idx="120">
                  <c:v>All Others</c:v>
                </c:pt>
                <c:pt idx="121">
                  <c:v>All Others</c:v>
                </c:pt>
                <c:pt idx="122">
                  <c:v>All Others</c:v>
                </c:pt>
                <c:pt idx="123">
                  <c:v>All Others</c:v>
                </c:pt>
                <c:pt idx="124">
                  <c:v>All Others</c:v>
                </c:pt>
                <c:pt idx="125">
                  <c:v>Private Lab</c:v>
                </c:pt>
                <c:pt idx="126">
                  <c:v>All Others</c:v>
                </c:pt>
                <c:pt idx="127">
                  <c:v>All Others</c:v>
                </c:pt>
                <c:pt idx="128">
                  <c:v>All Others</c:v>
                </c:pt>
                <c:pt idx="129">
                  <c:v>All Others</c:v>
                </c:pt>
                <c:pt idx="130">
                  <c:v>All Others</c:v>
                </c:pt>
                <c:pt idx="131">
                  <c:v>All Others</c:v>
                </c:pt>
                <c:pt idx="132">
                  <c:v>All Others</c:v>
                </c:pt>
                <c:pt idx="133">
                  <c:v>All Others</c:v>
                </c:pt>
                <c:pt idx="134">
                  <c:v>All Others</c:v>
                </c:pt>
                <c:pt idx="135">
                  <c:v>All Others</c:v>
                </c:pt>
                <c:pt idx="136">
                  <c:v>All Others</c:v>
                </c:pt>
              </c:strCache>
            </c:strRef>
          </c:cat>
          <c:val>
            <c:numRef>
              <c:f>Sheet1!$C$2:$C$138</c:f>
              <c:numCache>
                <c:formatCode>General</c:formatCode>
                <c:ptCount val="137"/>
                <c:pt idx="0">
                  <c:v>0.10096305806176739</c:v>
                </c:pt>
                <c:pt idx="1">
                  <c:v>0.19789207355104466</c:v>
                </c:pt>
                <c:pt idx="2">
                  <c:v>0.2881460600057219</c:v>
                </c:pt>
                <c:pt idx="3">
                  <c:v>0.35778135469100747</c:v>
                </c:pt>
                <c:pt idx="4">
                  <c:v>0.41301594128352898</c:v>
                </c:pt>
                <c:pt idx="5">
                  <c:v>0.4678839341627925</c:v>
                </c:pt>
                <c:pt idx="6">
                  <c:v>0.51975858229266692</c:v>
                </c:pt>
                <c:pt idx="7">
                  <c:v>0.56817364397804304</c:v>
                </c:pt>
                <c:pt idx="8">
                  <c:v>0.61581520552616698</c:v>
                </c:pt>
                <c:pt idx="9">
                  <c:v>0.65502788316822114</c:v>
                </c:pt>
                <c:pt idx="10">
                  <c:v>0.68668041582057204</c:v>
                </c:pt>
                <c:pt idx="11">
                  <c:v>0.71821654552067193</c:v>
                </c:pt>
                <c:pt idx="12">
                  <c:v>0.74493051915338759</c:v>
                </c:pt>
                <c:pt idx="13">
                  <c:v>0.76918970065670655</c:v>
                </c:pt>
                <c:pt idx="14">
                  <c:v>0.79047985101429918</c:v>
                </c:pt>
                <c:pt idx="15">
                  <c:v>0.80541495447876099</c:v>
                </c:pt>
                <c:pt idx="16">
                  <c:v>0.81866586847499401</c:v>
                </c:pt>
                <c:pt idx="17">
                  <c:v>0.83093214451149366</c:v>
                </c:pt>
                <c:pt idx="18">
                  <c:v>0.84234215337651075</c:v>
                </c:pt>
                <c:pt idx="19">
                  <c:v>0.85351822254203635</c:v>
                </c:pt>
                <c:pt idx="20">
                  <c:v>0.86230916498140631</c:v>
                </c:pt>
                <c:pt idx="21">
                  <c:v>0.87104996848679805</c:v>
                </c:pt>
                <c:pt idx="22">
                  <c:v>0.87858088676121748</c:v>
                </c:pt>
                <c:pt idx="23">
                  <c:v>0.88577821735429429</c:v>
                </c:pt>
                <c:pt idx="24">
                  <c:v>0.89287035696779371</c:v>
                </c:pt>
                <c:pt idx="25">
                  <c:v>0.89996224462685093</c:v>
                </c:pt>
                <c:pt idx="26">
                  <c:v>0.90600549789788098</c:v>
                </c:pt>
                <c:pt idx="27">
                  <c:v>0.91170130599325283</c:v>
                </c:pt>
                <c:pt idx="28">
                  <c:v>0.9167764243205071</c:v>
                </c:pt>
                <c:pt idx="29">
                  <c:v>0.92020161898365849</c:v>
                </c:pt>
                <c:pt idx="30">
                  <c:v>0.92334676628441381</c:v>
                </c:pt>
                <c:pt idx="31">
                  <c:v>0.92636177911582362</c:v>
                </c:pt>
                <c:pt idx="32">
                  <c:v>0.92936495008845466</c:v>
                </c:pt>
                <c:pt idx="33">
                  <c:v>0.93226066249152939</c:v>
                </c:pt>
                <c:pt idx="34">
                  <c:v>0.93511240884445734</c:v>
                </c:pt>
                <c:pt idx="35">
                  <c:v>0.93782255680092419</c:v>
                </c:pt>
                <c:pt idx="36">
                  <c:v>0.9404716058051813</c:v>
                </c:pt>
                <c:pt idx="37">
                  <c:v>0.94305313101895516</c:v>
                </c:pt>
                <c:pt idx="38">
                  <c:v>0.94546521687041563</c:v>
                </c:pt>
                <c:pt idx="39">
                  <c:v>0.94784442266718183</c:v>
                </c:pt>
                <c:pt idx="40">
                  <c:v>0.94990112677805794</c:v>
                </c:pt>
                <c:pt idx="41">
                  <c:v>0.9518808588068719</c:v>
                </c:pt>
                <c:pt idx="42">
                  <c:v>0.95373499154629826</c:v>
                </c:pt>
                <c:pt idx="43">
                  <c:v>0.95557325115587222</c:v>
                </c:pt>
                <c:pt idx="44">
                  <c:v>0.9573924882050675</c:v>
                </c:pt>
                <c:pt idx="45">
                  <c:v>0.95920378868933653</c:v>
                </c:pt>
                <c:pt idx="46">
                  <c:v>0.96099216131937426</c:v>
                </c:pt>
                <c:pt idx="47">
                  <c:v>0.96273845755758103</c:v>
                </c:pt>
                <c:pt idx="48">
                  <c:v>0.9644664870987355</c:v>
                </c:pt>
                <c:pt idx="49">
                  <c:v>0.96615672347357473</c:v>
                </c:pt>
                <c:pt idx="50">
                  <c:v>0.96774441439047854</c:v>
                </c:pt>
                <c:pt idx="51">
                  <c:v>0.96924417320708889</c:v>
                </c:pt>
                <c:pt idx="52">
                  <c:v>0.97068258111704742</c:v>
                </c:pt>
                <c:pt idx="53">
                  <c:v>0.97200320032532339</c:v>
                </c:pt>
                <c:pt idx="54">
                  <c:v>0.97325352424425304</c:v>
                </c:pt>
                <c:pt idx="55">
                  <c:v>0.97444287518819406</c:v>
                </c:pt>
                <c:pt idx="56">
                  <c:v>0.97561988036447211</c:v>
                </c:pt>
                <c:pt idx="57">
                  <c:v>0.97677458757262414</c:v>
                </c:pt>
                <c:pt idx="58">
                  <c:v>0.97784300038435634</c:v>
                </c:pt>
                <c:pt idx="59">
                  <c:v>0.97883759054455277</c:v>
                </c:pt>
                <c:pt idx="60">
                  <c:v>0.97977637279582364</c:v>
                </c:pt>
                <c:pt idx="61">
                  <c:v>0.98068895178511595</c:v>
                </c:pt>
                <c:pt idx="62">
                  <c:v>0.98153577066501974</c:v>
                </c:pt>
                <c:pt idx="63">
                  <c:v>0.98235222903465025</c:v>
                </c:pt>
                <c:pt idx="64">
                  <c:v>0.98316138072545978</c:v>
                </c:pt>
                <c:pt idx="65">
                  <c:v>0.983957178830838</c:v>
                </c:pt>
                <c:pt idx="66">
                  <c:v>0.98473697782914271</c:v>
                </c:pt>
                <c:pt idx="67">
                  <c:v>0.98549321908711096</c:v>
                </c:pt>
                <c:pt idx="68">
                  <c:v>0.9862151945409533</c:v>
                </c:pt>
                <c:pt idx="69">
                  <c:v>0.98687985035921755</c:v>
                </c:pt>
                <c:pt idx="70">
                  <c:v>0.9875010440362193</c:v>
                </c:pt>
                <c:pt idx="71">
                  <c:v>0.98811959219157897</c:v>
                </c:pt>
                <c:pt idx="72">
                  <c:v>0.98870110304394965</c:v>
                </c:pt>
                <c:pt idx="73">
                  <c:v>0.98927291365029946</c:v>
                </c:pt>
                <c:pt idx="74">
                  <c:v>0.9898347720561862</c:v>
                </c:pt>
                <c:pt idx="75">
                  <c:v>0.99034447589255792</c:v>
                </c:pt>
                <c:pt idx="76">
                  <c:v>0.99084825879954019</c:v>
                </c:pt>
                <c:pt idx="77">
                  <c:v>0.99134637273157522</c:v>
                </c:pt>
                <c:pt idx="78">
                  <c:v>0.99183793584811564</c:v>
                </c:pt>
                <c:pt idx="79">
                  <c:v>0.99229132786667762</c:v>
                </c:pt>
                <c:pt idx="80">
                  <c:v>0.99265489812663033</c:v>
                </c:pt>
                <c:pt idx="81">
                  <c:v>0.99298684810409932</c:v>
                </c:pt>
                <c:pt idx="82">
                  <c:v>0.99330494058725272</c:v>
                </c:pt>
                <c:pt idx="83">
                  <c:v>0.99361849789044832</c:v>
                </c:pt>
                <c:pt idx="84">
                  <c:v>0.99392525242370711</c:v>
                </c:pt>
                <c:pt idx="85">
                  <c:v>0.99422772373145019</c:v>
                </c:pt>
                <c:pt idx="86">
                  <c:v>0.99452137663371976</c:v>
                </c:pt>
                <c:pt idx="87">
                  <c:v>0.99479600697561055</c:v>
                </c:pt>
                <c:pt idx="88">
                  <c:v>0.99505148877990168</c:v>
                </c:pt>
                <c:pt idx="89">
                  <c:v>0.99528517652495097</c:v>
                </c:pt>
                <c:pt idx="90">
                  <c:v>0.9955178564522319</c:v>
                </c:pt>
                <c:pt idx="91">
                  <c:v>0.99574511935900767</c:v>
                </c:pt>
                <c:pt idx="92">
                  <c:v>0.99597124847079388</c:v>
                </c:pt>
                <c:pt idx="93">
                  <c:v>0.99619385022039075</c:v>
                </c:pt>
                <c:pt idx="94">
                  <c:v>0.9964146882888929</c:v>
                </c:pt>
                <c:pt idx="95">
                  <c:v>0.9966342665851845</c:v>
                </c:pt>
                <c:pt idx="96">
                  <c:v>0.99702693758319993</c:v>
                </c:pt>
                <c:pt idx="97">
                  <c:v>0.99721590341477617</c:v>
                </c:pt>
                <c:pt idx="98">
                  <c:v>0.99739000393426847</c:v>
                </c:pt>
                <c:pt idx="99">
                  <c:v>0.9975632226132134</c:v>
                </c:pt>
                <c:pt idx="100">
                  <c:v>0.99773329186163207</c:v>
                </c:pt>
                <c:pt idx="101">
                  <c:v>0.9979019753606192</c:v>
                </c:pt>
                <c:pt idx="102">
                  <c:v>0.99805277009421711</c:v>
                </c:pt>
                <c:pt idx="103">
                  <c:v>0.99820066735173085</c:v>
                </c:pt>
                <c:pt idx="104">
                  <c:v>0.99834793472313932</c:v>
                </c:pt>
                <c:pt idx="105">
                  <c:v>0.99845766088267462</c:v>
                </c:pt>
                <c:pt idx="106">
                  <c:v>0.99856436358890466</c:v>
                </c:pt>
                <c:pt idx="107">
                  <c:v>0.99867018445458733</c:v>
                </c:pt>
                <c:pt idx="108">
                  <c:v>0.99875761264599661</c:v>
                </c:pt>
                <c:pt idx="109">
                  <c:v>0.9988446629057427</c:v>
                </c:pt>
                <c:pt idx="110">
                  <c:v>0.99893120925660461</c:v>
                </c:pt>
                <c:pt idx="111">
                  <c:v>0.99908666514738131</c:v>
                </c:pt>
                <c:pt idx="112">
                  <c:v>0.99916212550279082</c:v>
                </c:pt>
                <c:pt idx="113">
                  <c:v>0.99922914538438989</c:v>
                </c:pt>
                <c:pt idx="114">
                  <c:v>0.99928999238215743</c:v>
                </c:pt>
                <c:pt idx="115">
                  <c:v>0.99934517040497772</c:v>
                </c:pt>
                <c:pt idx="116">
                  <c:v>0.99943763768522909</c:v>
                </c:pt>
                <c:pt idx="117">
                  <c:v>0.99947517889710225</c:v>
                </c:pt>
                <c:pt idx="118">
                  <c:v>0.99951183826842804</c:v>
                </c:pt>
                <c:pt idx="119">
                  <c:v>0.99954723786754329</c:v>
                </c:pt>
                <c:pt idx="120">
                  <c:v>0.9995813776944481</c:v>
                </c:pt>
                <c:pt idx="121">
                  <c:v>0.99964726378105762</c:v>
                </c:pt>
                <c:pt idx="122">
                  <c:v>0.99967775026855188</c:v>
                </c:pt>
                <c:pt idx="123">
                  <c:v>0.99970811077882515</c:v>
                </c:pt>
                <c:pt idx="124">
                  <c:v>0.99976215500665599</c:v>
                </c:pt>
                <c:pt idx="125">
                  <c:v>0.99978306722535049</c:v>
                </c:pt>
                <c:pt idx="126">
                  <c:v>0.99980385346682388</c:v>
                </c:pt>
                <c:pt idx="127">
                  <c:v>0.99983975697482341</c:v>
                </c:pt>
                <c:pt idx="128">
                  <c:v>0.99985563010467582</c:v>
                </c:pt>
                <c:pt idx="129">
                  <c:v>0.99991005226416985</c:v>
                </c:pt>
                <c:pt idx="130">
                  <c:v>0.99992189412294863</c:v>
                </c:pt>
                <c:pt idx="131">
                  <c:v>0.99994419209107466</c:v>
                </c:pt>
                <c:pt idx="132">
                  <c:v>0.99995792360816926</c:v>
                </c:pt>
                <c:pt idx="133">
                  <c:v>0.99997304087469541</c:v>
                </c:pt>
                <c:pt idx="134">
                  <c:v>0.99999218941229517</c:v>
                </c:pt>
                <c:pt idx="135">
                  <c:v>0.99999470895671616</c:v>
                </c:pt>
                <c:pt idx="136">
                  <c:v>1.000000000000000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9</c:f>
              <c:strCache>
                <c:ptCount val="58"/>
                <c:pt idx="0">
                  <c:v>Private Lab</c:v>
                </c:pt>
                <c:pt idx="1">
                  <c:v>Private Lab</c:v>
                </c:pt>
                <c:pt idx="2">
                  <c:v>President</c:v>
                </c:pt>
                <c:pt idx="3">
                  <c:v>Private Lab</c:v>
                </c:pt>
                <c:pt idx="4">
                  <c:v>La Vache Qu</c:v>
                </c:pt>
                <c:pt idx="5">
                  <c:v>Private Lab</c:v>
                </c:pt>
                <c:pt idx="6">
                  <c:v>La Vache Qu</c:v>
                </c:pt>
                <c:pt idx="7">
                  <c:v>Private Lab</c:v>
                </c:pt>
                <c:pt idx="8">
                  <c:v>President</c:v>
                </c:pt>
                <c:pt idx="9">
                  <c:v>President</c:v>
                </c:pt>
                <c:pt idx="10">
                  <c:v>Private Lab</c:v>
                </c:pt>
                <c:pt idx="11">
                  <c:v>President</c:v>
                </c:pt>
                <c:pt idx="12">
                  <c:v>Boursin</c:v>
                </c:pt>
                <c:pt idx="13">
                  <c:v>Private Lab</c:v>
                </c:pt>
                <c:pt idx="14">
                  <c:v>Private Lab</c:v>
                </c:pt>
                <c:pt idx="15">
                  <c:v>Fauquet</c:v>
                </c:pt>
                <c:pt idx="16">
                  <c:v>La Belle Et</c:v>
                </c:pt>
                <c:pt idx="17">
                  <c:v>La Belle Et</c:v>
                </c:pt>
                <c:pt idx="18">
                  <c:v>All Others</c:v>
                </c:pt>
                <c:pt idx="19">
                  <c:v>All Others</c:v>
                </c:pt>
                <c:pt idx="20">
                  <c:v>All Others</c:v>
                </c:pt>
                <c:pt idx="21">
                  <c:v>La Belle Et</c:v>
                </c:pt>
                <c:pt idx="22">
                  <c:v>La Belle Et</c:v>
                </c:pt>
                <c:pt idx="23">
                  <c:v>All Others</c:v>
                </c:pt>
                <c:pt idx="24">
                  <c:v>La Belle Et</c:v>
                </c:pt>
                <c:pt idx="25">
                  <c:v>All Others</c:v>
                </c:pt>
                <c:pt idx="26">
                  <c:v>Raguin</c:v>
                </c:pt>
                <c:pt idx="27">
                  <c:v>Raguin</c:v>
                </c:pt>
                <c:pt idx="28">
                  <c:v>La Belle Et</c:v>
                </c:pt>
                <c:pt idx="29">
                  <c:v>La Belle Et</c:v>
                </c:pt>
                <c:pt idx="30">
                  <c:v>La Belle Et</c:v>
                </c:pt>
                <c:pt idx="31">
                  <c:v>All Others</c:v>
                </c:pt>
                <c:pt idx="32">
                  <c:v>La Belle Et</c:v>
                </c:pt>
                <c:pt idx="33">
                  <c:v>La Belle Et</c:v>
                </c:pt>
                <c:pt idx="34">
                  <c:v>La Belle Et</c:v>
                </c:pt>
                <c:pt idx="35">
                  <c:v>La Belle Et</c:v>
                </c:pt>
                <c:pt idx="36">
                  <c:v>Raguin</c:v>
                </c:pt>
                <c:pt idx="37">
                  <c:v>All Others</c:v>
                </c:pt>
                <c:pt idx="38">
                  <c:v>La Belle Et</c:v>
                </c:pt>
                <c:pt idx="39">
                  <c:v>All Others</c:v>
                </c:pt>
                <c:pt idx="40">
                  <c:v>All Others</c:v>
                </c:pt>
                <c:pt idx="41">
                  <c:v>La Belle Et</c:v>
                </c:pt>
                <c:pt idx="42">
                  <c:v>La Belle Et</c:v>
                </c:pt>
                <c:pt idx="43">
                  <c:v>La Belle Et</c:v>
                </c:pt>
                <c:pt idx="44">
                  <c:v>La Belle Et</c:v>
                </c:pt>
                <c:pt idx="45">
                  <c:v>All Others</c:v>
                </c:pt>
                <c:pt idx="46">
                  <c:v>Milleret: A</c:v>
                </c:pt>
                <c:pt idx="47">
                  <c:v>Milleret: A</c:v>
                </c:pt>
                <c:pt idx="48">
                  <c:v>La Belle Et</c:v>
                </c:pt>
                <c:pt idx="49">
                  <c:v>All Others</c:v>
                </c:pt>
                <c:pt idx="50">
                  <c:v>La Belle Et</c:v>
                </c:pt>
                <c:pt idx="51">
                  <c:v>All Others</c:v>
                </c:pt>
                <c:pt idx="52">
                  <c:v>All Others</c:v>
                </c:pt>
                <c:pt idx="53">
                  <c:v>All Others</c:v>
                </c:pt>
                <c:pt idx="54">
                  <c:v>All Others</c:v>
                </c:pt>
                <c:pt idx="55">
                  <c:v>All Others</c:v>
                </c:pt>
                <c:pt idx="56">
                  <c:v>All Others</c:v>
                </c:pt>
                <c:pt idx="57">
                  <c:v>All Others</c:v>
                </c:pt>
              </c:strCache>
            </c:strRef>
          </c:cat>
          <c:val>
            <c:numRef>
              <c:f>Sheet1!$B$2:$B$59</c:f>
              <c:numCache>
                <c:formatCode>General</c:formatCode>
                <c:ptCount val="58"/>
                <c:pt idx="0">
                  <c:v>0.84</c:v>
                </c:pt>
                <c:pt idx="1">
                  <c:v>1</c:v>
                </c:pt>
                <c:pt idx="2">
                  <c:v>0.99</c:v>
                </c:pt>
                <c:pt idx="3">
                  <c:v>1</c:v>
                </c:pt>
                <c:pt idx="4">
                  <c:v>0.97</c:v>
                </c:pt>
                <c:pt idx="5">
                  <c:v>0.97</c:v>
                </c:pt>
                <c:pt idx="6">
                  <c:v>0.79</c:v>
                </c:pt>
                <c:pt idx="7">
                  <c:v>0.96</c:v>
                </c:pt>
                <c:pt idx="8">
                  <c:v>0.84</c:v>
                </c:pt>
                <c:pt idx="9">
                  <c:v>0.65</c:v>
                </c:pt>
                <c:pt idx="10">
                  <c:v>0.23</c:v>
                </c:pt>
                <c:pt idx="11">
                  <c:v>0.57999999999999996</c:v>
                </c:pt>
                <c:pt idx="12">
                  <c:v>0.72</c:v>
                </c:pt>
                <c:pt idx="13">
                  <c:v>0.85</c:v>
                </c:pt>
                <c:pt idx="14">
                  <c:v>0.19</c:v>
                </c:pt>
                <c:pt idx="15">
                  <c:v>0.12</c:v>
                </c:pt>
                <c:pt idx="16">
                  <c:v>7.0000000000000007E-2</c:v>
                </c:pt>
                <c:pt idx="17">
                  <c:v>0.06</c:v>
                </c:pt>
                <c:pt idx="18">
                  <c:v>0.14000000000000001</c:v>
                </c:pt>
                <c:pt idx="19">
                  <c:v>0.61</c:v>
                </c:pt>
                <c:pt idx="20">
                  <c:v>0.16</c:v>
                </c:pt>
                <c:pt idx="21">
                  <c:v>0.02</c:v>
                </c:pt>
                <c:pt idx="22">
                  <c:v>0.01</c:v>
                </c:pt>
                <c:pt idx="23">
                  <c:v>0.14000000000000001</c:v>
                </c:pt>
                <c:pt idx="24">
                  <c:v>0.01</c:v>
                </c:pt>
                <c:pt idx="25">
                  <c:v>0.08</c:v>
                </c:pt>
                <c:pt idx="26">
                  <c:v>0.01</c:v>
                </c:pt>
                <c:pt idx="27">
                  <c:v>0.01</c:v>
                </c:pt>
                <c:pt idx="28">
                  <c:v>0.04</c:v>
                </c:pt>
                <c:pt idx="29">
                  <c:v>0.02</c:v>
                </c:pt>
                <c:pt idx="30">
                  <c:v>0.02</c:v>
                </c:pt>
                <c:pt idx="31">
                  <c:v>0.01</c:v>
                </c:pt>
                <c:pt idx="32">
                  <c:v>0.02</c:v>
                </c:pt>
                <c:pt idx="33">
                  <c:v>0.01</c:v>
                </c:pt>
                <c:pt idx="34">
                  <c:v>0.01</c:v>
                </c:pt>
                <c:pt idx="35">
                  <c:v>0.01</c:v>
                </c:pt>
                <c:pt idx="36">
                  <c:v>0.01</c:v>
                </c:pt>
                <c:pt idx="37">
                  <c:v>0.01</c:v>
                </c:pt>
                <c:pt idx="38">
                  <c:v>0.04</c:v>
                </c:pt>
                <c:pt idx="39">
                  <c:v>0.08</c:v>
                </c:pt>
                <c:pt idx="40">
                  <c:v>0.02</c:v>
                </c:pt>
                <c:pt idx="41">
                  <c:v>0.03</c:v>
                </c:pt>
                <c:pt idx="42">
                  <c:v>0.02</c:v>
                </c:pt>
                <c:pt idx="43">
                  <c:v>0.01</c:v>
                </c:pt>
                <c:pt idx="44">
                  <c:v>0.01</c:v>
                </c:pt>
                <c:pt idx="45">
                  <c:v>0.03</c:v>
                </c:pt>
                <c:pt idx="46">
                  <c:v>0.01</c:v>
                </c:pt>
                <c:pt idx="47">
                  <c:v>0.01</c:v>
                </c:pt>
                <c:pt idx="48">
                  <c:v>0.01</c:v>
                </c:pt>
                <c:pt idx="49">
                  <c:v>0.03</c:v>
                </c:pt>
                <c:pt idx="50">
                  <c:v>0.01</c:v>
                </c:pt>
                <c:pt idx="51">
                  <c:v>0.01</c:v>
                </c:pt>
                <c:pt idx="52">
                  <c:v>0.02</c:v>
                </c:pt>
                <c:pt idx="53">
                  <c:v>0.02</c:v>
                </c:pt>
                <c:pt idx="54">
                  <c:v>0.01</c:v>
                </c:pt>
                <c:pt idx="55">
                  <c:v>0.01</c:v>
                </c:pt>
                <c:pt idx="56">
                  <c:v>0.01</c:v>
                </c:pt>
                <c:pt idx="5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9</c:f>
              <c:strCache>
                <c:ptCount val="58"/>
                <c:pt idx="0">
                  <c:v>Private Lab</c:v>
                </c:pt>
                <c:pt idx="1">
                  <c:v>Private Lab</c:v>
                </c:pt>
                <c:pt idx="2">
                  <c:v>President</c:v>
                </c:pt>
                <c:pt idx="3">
                  <c:v>Private Lab</c:v>
                </c:pt>
                <c:pt idx="4">
                  <c:v>La Vache Qu</c:v>
                </c:pt>
                <c:pt idx="5">
                  <c:v>Private Lab</c:v>
                </c:pt>
                <c:pt idx="6">
                  <c:v>La Vache Qu</c:v>
                </c:pt>
                <c:pt idx="7">
                  <c:v>Private Lab</c:v>
                </c:pt>
                <c:pt idx="8">
                  <c:v>President</c:v>
                </c:pt>
                <c:pt idx="9">
                  <c:v>President</c:v>
                </c:pt>
                <c:pt idx="10">
                  <c:v>Private Lab</c:v>
                </c:pt>
                <c:pt idx="11">
                  <c:v>President</c:v>
                </c:pt>
                <c:pt idx="12">
                  <c:v>Boursin</c:v>
                </c:pt>
                <c:pt idx="13">
                  <c:v>Private Lab</c:v>
                </c:pt>
                <c:pt idx="14">
                  <c:v>Private Lab</c:v>
                </c:pt>
                <c:pt idx="15">
                  <c:v>Fauquet</c:v>
                </c:pt>
                <c:pt idx="16">
                  <c:v>La Belle Et</c:v>
                </c:pt>
                <c:pt idx="17">
                  <c:v>La Belle Et</c:v>
                </c:pt>
                <c:pt idx="18">
                  <c:v>All Others</c:v>
                </c:pt>
                <c:pt idx="19">
                  <c:v>All Others</c:v>
                </c:pt>
                <c:pt idx="20">
                  <c:v>All Others</c:v>
                </c:pt>
                <c:pt idx="21">
                  <c:v>La Belle Et</c:v>
                </c:pt>
                <c:pt idx="22">
                  <c:v>La Belle Et</c:v>
                </c:pt>
                <c:pt idx="23">
                  <c:v>All Others</c:v>
                </c:pt>
                <c:pt idx="24">
                  <c:v>La Belle Et</c:v>
                </c:pt>
                <c:pt idx="25">
                  <c:v>All Others</c:v>
                </c:pt>
                <c:pt idx="26">
                  <c:v>Raguin</c:v>
                </c:pt>
                <c:pt idx="27">
                  <c:v>Raguin</c:v>
                </c:pt>
                <c:pt idx="28">
                  <c:v>La Belle Et</c:v>
                </c:pt>
                <c:pt idx="29">
                  <c:v>La Belle Et</c:v>
                </c:pt>
                <c:pt idx="30">
                  <c:v>La Belle Et</c:v>
                </c:pt>
                <c:pt idx="31">
                  <c:v>All Others</c:v>
                </c:pt>
                <c:pt idx="32">
                  <c:v>La Belle Et</c:v>
                </c:pt>
                <c:pt idx="33">
                  <c:v>La Belle Et</c:v>
                </c:pt>
                <c:pt idx="34">
                  <c:v>La Belle Et</c:v>
                </c:pt>
                <c:pt idx="35">
                  <c:v>La Belle Et</c:v>
                </c:pt>
                <c:pt idx="36">
                  <c:v>Raguin</c:v>
                </c:pt>
                <c:pt idx="37">
                  <c:v>All Others</c:v>
                </c:pt>
                <c:pt idx="38">
                  <c:v>La Belle Et</c:v>
                </c:pt>
                <c:pt idx="39">
                  <c:v>All Others</c:v>
                </c:pt>
                <c:pt idx="40">
                  <c:v>All Others</c:v>
                </c:pt>
                <c:pt idx="41">
                  <c:v>La Belle Et</c:v>
                </c:pt>
                <c:pt idx="42">
                  <c:v>La Belle Et</c:v>
                </c:pt>
                <c:pt idx="43">
                  <c:v>La Belle Et</c:v>
                </c:pt>
                <c:pt idx="44">
                  <c:v>La Belle Et</c:v>
                </c:pt>
                <c:pt idx="45">
                  <c:v>All Others</c:v>
                </c:pt>
                <c:pt idx="46">
                  <c:v>Milleret: A</c:v>
                </c:pt>
                <c:pt idx="47">
                  <c:v>Milleret: A</c:v>
                </c:pt>
                <c:pt idx="48">
                  <c:v>La Belle Et</c:v>
                </c:pt>
                <c:pt idx="49">
                  <c:v>All Others</c:v>
                </c:pt>
                <c:pt idx="50">
                  <c:v>La Belle Et</c:v>
                </c:pt>
                <c:pt idx="51">
                  <c:v>All Others</c:v>
                </c:pt>
                <c:pt idx="52">
                  <c:v>All Others</c:v>
                </c:pt>
                <c:pt idx="53">
                  <c:v>All Others</c:v>
                </c:pt>
                <c:pt idx="54">
                  <c:v>All Others</c:v>
                </c:pt>
                <c:pt idx="55">
                  <c:v>All Others</c:v>
                </c:pt>
                <c:pt idx="56">
                  <c:v>All Others</c:v>
                </c:pt>
                <c:pt idx="57">
                  <c:v>All Others</c:v>
                </c:pt>
              </c:strCache>
            </c:strRef>
          </c:cat>
          <c:val>
            <c:numRef>
              <c:f>Sheet1!$C$2:$C$59</c:f>
              <c:numCache>
                <c:formatCode>General</c:formatCode>
                <c:ptCount val="58"/>
                <c:pt idx="0">
                  <c:v>0.18028081162057555</c:v>
                </c:pt>
                <c:pt idx="1">
                  <c:v>0.33893013651404058</c:v>
                </c:pt>
                <c:pt idx="2">
                  <c:v>0.44800613442421355</c:v>
                </c:pt>
                <c:pt idx="3">
                  <c:v>0.54746288602268245</c:v>
                </c:pt>
                <c:pt idx="4">
                  <c:v>0.61085626041803653</c:v>
                </c:pt>
                <c:pt idx="5">
                  <c:v>0.66157792602438847</c:v>
                </c:pt>
                <c:pt idx="6">
                  <c:v>0.7108965997661385</c:v>
                </c:pt>
                <c:pt idx="7">
                  <c:v>0.75548863923117127</c:v>
                </c:pt>
                <c:pt idx="8">
                  <c:v>0.79986192214328122</c:v>
                </c:pt>
                <c:pt idx="9">
                  <c:v>0.82855510497115836</c:v>
                </c:pt>
                <c:pt idx="10">
                  <c:v>0.85583321190064088</c:v>
                </c:pt>
                <c:pt idx="11">
                  <c:v>0.87760846308860807</c:v>
                </c:pt>
                <c:pt idx="12">
                  <c:v>0.89693332101235779</c:v>
                </c:pt>
                <c:pt idx="13">
                  <c:v>0.91386749501533615</c:v>
                </c:pt>
                <c:pt idx="14">
                  <c:v>0.92807707481083168</c:v>
                </c:pt>
                <c:pt idx="15">
                  <c:v>0.93787847016132198</c:v>
                </c:pt>
                <c:pt idx="16">
                  <c:v>0.94478360694192209</c:v>
                </c:pt>
                <c:pt idx="17">
                  <c:v>0.9512757540970207</c:v>
                </c:pt>
                <c:pt idx="18">
                  <c:v>0.95597431076580797</c:v>
                </c:pt>
                <c:pt idx="19">
                  <c:v>0.96041874731219112</c:v>
                </c:pt>
                <c:pt idx="20">
                  <c:v>0.96485696413529864</c:v>
                </c:pt>
                <c:pt idx="21">
                  <c:v>0.96893976819979899</c:v>
                </c:pt>
                <c:pt idx="22">
                  <c:v>0.97239828975380571</c:v>
                </c:pt>
                <c:pt idx="23">
                  <c:v>0.9755412047781693</c:v>
                </c:pt>
                <c:pt idx="24">
                  <c:v>0.97785458642394363</c:v>
                </c:pt>
                <c:pt idx="25">
                  <c:v>0.97989376712645249</c:v>
                </c:pt>
                <c:pt idx="26">
                  <c:v>0.9815631408536305</c:v>
                </c:pt>
                <c:pt idx="27">
                  <c:v>0.98271450048513853</c:v>
                </c:pt>
                <c:pt idx="28">
                  <c:v>0.98384329140647497</c:v>
                </c:pt>
                <c:pt idx="29">
                  <c:v>0.98478620145505991</c:v>
                </c:pt>
                <c:pt idx="30">
                  <c:v>0.98566424867519897</c:v>
                </c:pt>
                <c:pt idx="31">
                  <c:v>0.98651261892999442</c:v>
                </c:pt>
                <c:pt idx="32">
                  <c:v>0.98732953515565314</c:v>
                </c:pt>
                <c:pt idx="33">
                  <c:v>0.98813614441131215</c:v>
                </c:pt>
                <c:pt idx="34">
                  <c:v>0.98880645287404534</c:v>
                </c:pt>
                <c:pt idx="35">
                  <c:v>0.9893807998919546</c:v>
                </c:pt>
                <c:pt idx="36">
                  <c:v>0.98995248131417435</c:v>
                </c:pt>
                <c:pt idx="37">
                  <c:v>0.99051136787708416</c:v>
                </c:pt>
                <c:pt idx="38">
                  <c:v>0.99105408315947741</c:v>
                </c:pt>
                <c:pt idx="39">
                  <c:v>0.99159288890152597</c:v>
                </c:pt>
                <c:pt idx="40">
                  <c:v>0.99209899666978263</c:v>
                </c:pt>
                <c:pt idx="41">
                  <c:v>0.99260226113597039</c:v>
                </c:pt>
                <c:pt idx="42">
                  <c:v>0.99310108294267563</c:v>
                </c:pt>
                <c:pt idx="43">
                  <c:v>0.99356187558420983</c:v>
                </c:pt>
                <c:pt idx="44">
                  <c:v>0.99402035804281308</c:v>
                </c:pt>
                <c:pt idx="45">
                  <c:v>0.99493394653881295</c:v>
                </c:pt>
                <c:pt idx="46">
                  <c:v>0.99548377007637834</c:v>
                </c:pt>
                <c:pt idx="47">
                  <c:v>0.99600782618894468</c:v>
                </c:pt>
                <c:pt idx="48">
                  <c:v>0.99625803677100411</c:v>
                </c:pt>
                <c:pt idx="49">
                  <c:v>0.99695322412683984</c:v>
                </c:pt>
                <c:pt idx="50">
                  <c:v>0.99714656866752216</c:v>
                </c:pt>
                <c:pt idx="51">
                  <c:v>0.99828833215454782</c:v>
                </c:pt>
                <c:pt idx="52">
                  <c:v>0.99842161193902557</c:v>
                </c:pt>
                <c:pt idx="53">
                  <c:v>0.99866506967867141</c:v>
                </c:pt>
                <c:pt idx="54">
                  <c:v>0.99875498910659899</c:v>
                </c:pt>
                <c:pt idx="55">
                  <c:v>0.99907308352555246</c:v>
                </c:pt>
                <c:pt idx="56">
                  <c:v>0.99920280918244408</c:v>
                </c:pt>
                <c:pt idx="57">
                  <c:v>0.999466347742951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7</c:f>
              <c:strCache>
                <c:ptCount val="46"/>
                <c:pt idx="0">
                  <c:v>Private Lab</c:v>
                </c:pt>
                <c:pt idx="1">
                  <c:v>President</c:v>
                </c:pt>
                <c:pt idx="2">
                  <c:v>Private Lab</c:v>
                </c:pt>
                <c:pt idx="3">
                  <c:v>President</c:v>
                </c:pt>
                <c:pt idx="4">
                  <c:v>Private Lab</c:v>
                </c:pt>
                <c:pt idx="5">
                  <c:v>Private Lab</c:v>
                </c:pt>
                <c:pt idx="6">
                  <c:v>Boursin</c:v>
                </c:pt>
                <c:pt idx="7">
                  <c:v>La Vache Qu</c:v>
                </c:pt>
                <c:pt idx="8">
                  <c:v>Fauquet</c:v>
                </c:pt>
                <c:pt idx="9">
                  <c:v>La Belle Et</c:v>
                </c:pt>
                <c:pt idx="10">
                  <c:v>La Belle Et</c:v>
                </c:pt>
                <c:pt idx="11">
                  <c:v>La Belle Et</c:v>
                </c:pt>
                <c:pt idx="12">
                  <c:v>La Vache Qu</c:v>
                </c:pt>
                <c:pt idx="13">
                  <c:v>La Belle Et</c:v>
                </c:pt>
                <c:pt idx="14">
                  <c:v>President</c:v>
                </c:pt>
                <c:pt idx="15">
                  <c:v>Leerdammer</c:v>
                </c:pt>
                <c:pt idx="16">
                  <c:v>La Belle Et</c:v>
                </c:pt>
                <c:pt idx="17">
                  <c:v>All Others</c:v>
                </c:pt>
                <c:pt idx="18">
                  <c:v>Raguin</c:v>
                </c:pt>
                <c:pt idx="19">
                  <c:v>All Others</c:v>
                </c:pt>
                <c:pt idx="20">
                  <c:v>La Belle Et</c:v>
                </c:pt>
                <c:pt idx="21">
                  <c:v>All Others</c:v>
                </c:pt>
                <c:pt idx="22">
                  <c:v>Raguin</c:v>
                </c:pt>
                <c:pt idx="23">
                  <c:v>La Belle Et</c:v>
                </c:pt>
                <c:pt idx="24">
                  <c:v>La Belle Et</c:v>
                </c:pt>
                <c:pt idx="25">
                  <c:v>Raguin</c:v>
                </c:pt>
                <c:pt idx="26">
                  <c:v>La Belle Et</c:v>
                </c:pt>
                <c:pt idx="27">
                  <c:v>All Others</c:v>
                </c:pt>
                <c:pt idx="28">
                  <c:v>La Belle Et</c:v>
                </c:pt>
                <c:pt idx="29">
                  <c:v>Raguin</c:v>
                </c:pt>
                <c:pt idx="30">
                  <c:v>La Belle Et</c:v>
                </c:pt>
                <c:pt idx="31">
                  <c:v>La Belle Et</c:v>
                </c:pt>
                <c:pt idx="32">
                  <c:v>La Belle Et</c:v>
                </c:pt>
                <c:pt idx="33">
                  <c:v>La Belle Et</c:v>
                </c:pt>
                <c:pt idx="34">
                  <c:v>La Belle Et</c:v>
                </c:pt>
                <c:pt idx="35">
                  <c:v>All Others</c:v>
                </c:pt>
                <c:pt idx="36">
                  <c:v>All Others</c:v>
                </c:pt>
                <c:pt idx="37">
                  <c:v>All Others</c:v>
                </c:pt>
                <c:pt idx="38">
                  <c:v>All Others</c:v>
                </c:pt>
                <c:pt idx="39">
                  <c:v>All Others</c:v>
                </c:pt>
                <c:pt idx="40">
                  <c:v>La Belle Et</c:v>
                </c:pt>
                <c:pt idx="41">
                  <c:v>All Others</c:v>
                </c:pt>
                <c:pt idx="42">
                  <c:v>Private Lab</c:v>
                </c:pt>
                <c:pt idx="43">
                  <c:v>All Others</c:v>
                </c:pt>
                <c:pt idx="44">
                  <c:v>All Others</c:v>
                </c:pt>
                <c:pt idx="45">
                  <c:v>All Others</c:v>
                </c:pt>
              </c:strCache>
            </c:strRef>
          </c:cat>
          <c:val>
            <c:numRef>
              <c:f>Sheet1!$B$2:$B$47</c:f>
              <c:numCache>
                <c:formatCode>General</c:formatCode>
                <c:ptCount val="46"/>
                <c:pt idx="0">
                  <c:v>0.89</c:v>
                </c:pt>
                <c:pt idx="1">
                  <c:v>0.91</c:v>
                </c:pt>
                <c:pt idx="2">
                  <c:v>0.82</c:v>
                </c:pt>
                <c:pt idx="3">
                  <c:v>0.86</c:v>
                </c:pt>
                <c:pt idx="4">
                  <c:v>0.74</c:v>
                </c:pt>
                <c:pt idx="5">
                  <c:v>0.63</c:v>
                </c:pt>
                <c:pt idx="6">
                  <c:v>0.32</c:v>
                </c:pt>
                <c:pt idx="7">
                  <c:v>0.18</c:v>
                </c:pt>
                <c:pt idx="8">
                  <c:v>0.08</c:v>
                </c:pt>
                <c:pt idx="9">
                  <c:v>0.03</c:v>
                </c:pt>
                <c:pt idx="10">
                  <c:v>0.03</c:v>
                </c:pt>
                <c:pt idx="11">
                  <c:v>0.01</c:v>
                </c:pt>
                <c:pt idx="12">
                  <c:v>0.05</c:v>
                </c:pt>
                <c:pt idx="13">
                  <c:v>0.01</c:v>
                </c:pt>
                <c:pt idx="14">
                  <c:v>0.08</c:v>
                </c:pt>
                <c:pt idx="15">
                  <c:v>0.04</c:v>
                </c:pt>
                <c:pt idx="16">
                  <c:v>0.01</c:v>
                </c:pt>
                <c:pt idx="17">
                  <c:v>0.04</c:v>
                </c:pt>
                <c:pt idx="18">
                  <c:v>0.01</c:v>
                </c:pt>
                <c:pt idx="19">
                  <c:v>0.01</c:v>
                </c:pt>
                <c:pt idx="20">
                  <c:v>0.03</c:v>
                </c:pt>
                <c:pt idx="21">
                  <c:v>0.01</c:v>
                </c:pt>
                <c:pt idx="22">
                  <c:v>0.01</c:v>
                </c:pt>
                <c:pt idx="23">
                  <c:v>0.02</c:v>
                </c:pt>
                <c:pt idx="24">
                  <c:v>0.01</c:v>
                </c:pt>
                <c:pt idx="25">
                  <c:v>0.01</c:v>
                </c:pt>
                <c:pt idx="26">
                  <c:v>0.02</c:v>
                </c:pt>
                <c:pt idx="27">
                  <c:v>0.01</c:v>
                </c:pt>
                <c:pt idx="28">
                  <c:v>0.01</c:v>
                </c:pt>
                <c:pt idx="29">
                  <c:v>0.01</c:v>
                </c:pt>
                <c:pt idx="30">
                  <c:v>0.01</c:v>
                </c:pt>
                <c:pt idx="31">
                  <c:v>0.01</c:v>
                </c:pt>
                <c:pt idx="32">
                  <c:v>0.01</c:v>
                </c:pt>
                <c:pt idx="33">
                  <c:v>0.01</c:v>
                </c:pt>
                <c:pt idx="34">
                  <c:v>0.01</c:v>
                </c:pt>
                <c:pt idx="35">
                  <c:v>0.01</c:v>
                </c:pt>
                <c:pt idx="36">
                  <c:v>0.01</c:v>
                </c:pt>
                <c:pt idx="37">
                  <c:v>0.01</c:v>
                </c:pt>
                <c:pt idx="38">
                  <c:v>0.01</c:v>
                </c:pt>
                <c:pt idx="39">
                  <c:v>0.01</c:v>
                </c:pt>
                <c:pt idx="40">
                  <c:v>0.01</c:v>
                </c:pt>
                <c:pt idx="41">
                  <c:v>0.01</c:v>
                </c:pt>
                <c:pt idx="42">
                  <c:v>0.01</c:v>
                </c:pt>
                <c:pt idx="43">
                  <c:v>0.03</c:v>
                </c:pt>
                <c:pt idx="44">
                  <c:v>0.01</c:v>
                </c:pt>
                <c:pt idx="45">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7ECAC4"/>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7</c:f>
              <c:strCache>
                <c:ptCount val="46"/>
                <c:pt idx="0">
                  <c:v>Private Lab</c:v>
                </c:pt>
                <c:pt idx="1">
                  <c:v>President</c:v>
                </c:pt>
                <c:pt idx="2">
                  <c:v>Private Lab</c:v>
                </c:pt>
                <c:pt idx="3">
                  <c:v>President</c:v>
                </c:pt>
                <c:pt idx="4">
                  <c:v>Private Lab</c:v>
                </c:pt>
                <c:pt idx="5">
                  <c:v>Private Lab</c:v>
                </c:pt>
                <c:pt idx="6">
                  <c:v>Boursin</c:v>
                </c:pt>
                <c:pt idx="7">
                  <c:v>La Vache Qu</c:v>
                </c:pt>
                <c:pt idx="8">
                  <c:v>Fauquet</c:v>
                </c:pt>
                <c:pt idx="9">
                  <c:v>La Belle Et</c:v>
                </c:pt>
                <c:pt idx="10">
                  <c:v>La Belle Et</c:v>
                </c:pt>
                <c:pt idx="11">
                  <c:v>La Belle Et</c:v>
                </c:pt>
                <c:pt idx="12">
                  <c:v>La Vache Qu</c:v>
                </c:pt>
                <c:pt idx="13">
                  <c:v>La Belle Et</c:v>
                </c:pt>
                <c:pt idx="14">
                  <c:v>President</c:v>
                </c:pt>
                <c:pt idx="15">
                  <c:v>Leerdammer</c:v>
                </c:pt>
                <c:pt idx="16">
                  <c:v>La Belle Et</c:v>
                </c:pt>
                <c:pt idx="17">
                  <c:v>All Others</c:v>
                </c:pt>
                <c:pt idx="18">
                  <c:v>Raguin</c:v>
                </c:pt>
                <c:pt idx="19">
                  <c:v>All Others</c:v>
                </c:pt>
                <c:pt idx="20">
                  <c:v>La Belle Et</c:v>
                </c:pt>
                <c:pt idx="21">
                  <c:v>All Others</c:v>
                </c:pt>
                <c:pt idx="22">
                  <c:v>Raguin</c:v>
                </c:pt>
                <c:pt idx="23">
                  <c:v>La Belle Et</c:v>
                </c:pt>
                <c:pt idx="24">
                  <c:v>La Belle Et</c:v>
                </c:pt>
                <c:pt idx="25">
                  <c:v>Raguin</c:v>
                </c:pt>
                <c:pt idx="26">
                  <c:v>La Belle Et</c:v>
                </c:pt>
                <c:pt idx="27">
                  <c:v>All Others</c:v>
                </c:pt>
                <c:pt idx="28">
                  <c:v>La Belle Et</c:v>
                </c:pt>
                <c:pt idx="29">
                  <c:v>Raguin</c:v>
                </c:pt>
                <c:pt idx="30">
                  <c:v>La Belle Et</c:v>
                </c:pt>
                <c:pt idx="31">
                  <c:v>La Belle Et</c:v>
                </c:pt>
                <c:pt idx="32">
                  <c:v>La Belle Et</c:v>
                </c:pt>
                <c:pt idx="33">
                  <c:v>La Belle Et</c:v>
                </c:pt>
                <c:pt idx="34">
                  <c:v>La Belle Et</c:v>
                </c:pt>
                <c:pt idx="35">
                  <c:v>All Others</c:v>
                </c:pt>
                <c:pt idx="36">
                  <c:v>All Others</c:v>
                </c:pt>
                <c:pt idx="37">
                  <c:v>All Others</c:v>
                </c:pt>
                <c:pt idx="38">
                  <c:v>All Others</c:v>
                </c:pt>
                <c:pt idx="39">
                  <c:v>All Others</c:v>
                </c:pt>
                <c:pt idx="40">
                  <c:v>La Belle Et</c:v>
                </c:pt>
                <c:pt idx="41">
                  <c:v>All Others</c:v>
                </c:pt>
                <c:pt idx="42">
                  <c:v>Private Lab</c:v>
                </c:pt>
                <c:pt idx="43">
                  <c:v>All Others</c:v>
                </c:pt>
                <c:pt idx="44">
                  <c:v>All Others</c:v>
                </c:pt>
                <c:pt idx="45">
                  <c:v>All Others</c:v>
                </c:pt>
              </c:strCache>
            </c:strRef>
          </c:cat>
          <c:val>
            <c:numRef>
              <c:f>Sheet1!$C$2:$C$47</c:f>
              <c:numCache>
                <c:formatCode>General</c:formatCode>
                <c:ptCount val="46"/>
                <c:pt idx="0">
                  <c:v>0.28624357277663603</c:v>
                </c:pt>
                <c:pt idx="1">
                  <c:v>0.46510883774643497</c:v>
                </c:pt>
                <c:pt idx="2">
                  <c:v>0.63765195320103274</c:v>
                </c:pt>
                <c:pt idx="3">
                  <c:v>0.74983642874507817</c:v>
                </c:pt>
                <c:pt idx="4">
                  <c:v>0.81902413819250042</c:v>
                </c:pt>
                <c:pt idx="5">
                  <c:v>0.87232191969465644</c:v>
                </c:pt>
                <c:pt idx="6">
                  <c:v>0.89309227711771677</c:v>
                </c:pt>
                <c:pt idx="7">
                  <c:v>0.90451712019744757</c:v>
                </c:pt>
                <c:pt idx="8">
                  <c:v>0.91411877240392025</c:v>
                </c:pt>
                <c:pt idx="9">
                  <c:v>0.92323576904025428</c:v>
                </c:pt>
                <c:pt idx="10">
                  <c:v>0.93059211100592865</c:v>
                </c:pt>
                <c:pt idx="11">
                  <c:v>0.93679726570876831</c:v>
                </c:pt>
                <c:pt idx="12">
                  <c:v>0.94222176014916958</c:v>
                </c:pt>
                <c:pt idx="13">
                  <c:v>0.94675459256752015</c:v>
                </c:pt>
                <c:pt idx="14">
                  <c:v>0.95127361490779683</c:v>
                </c:pt>
                <c:pt idx="15">
                  <c:v>0.95486631974708269</c:v>
                </c:pt>
                <c:pt idx="16">
                  <c:v>0.95835688212212433</c:v>
                </c:pt>
                <c:pt idx="17">
                  <c:v>0.96148603735964855</c:v>
                </c:pt>
                <c:pt idx="18">
                  <c:v>0.96417092499121237</c:v>
                </c:pt>
                <c:pt idx="19">
                  <c:v>0.96669243679348749</c:v>
                </c:pt>
                <c:pt idx="20">
                  <c:v>0.96899142394151616</c:v>
                </c:pt>
                <c:pt idx="21">
                  <c:v>0.97094672254276371</c:v>
                </c:pt>
                <c:pt idx="22">
                  <c:v>0.97263520001292414</c:v>
                </c:pt>
                <c:pt idx="23">
                  <c:v>0.97428328951890641</c:v>
                </c:pt>
                <c:pt idx="24">
                  <c:v>0.97575210857743955</c:v>
                </c:pt>
                <c:pt idx="25">
                  <c:v>0.97721623742077779</c:v>
                </c:pt>
                <c:pt idx="26">
                  <c:v>0.97864310511006769</c:v>
                </c:pt>
                <c:pt idx="27">
                  <c:v>0.97978439080749091</c:v>
                </c:pt>
                <c:pt idx="28">
                  <c:v>0.98085219646686095</c:v>
                </c:pt>
                <c:pt idx="29">
                  <c:v>0.98189576934772405</c:v>
                </c:pt>
                <c:pt idx="30">
                  <c:v>0.98279316385501303</c:v>
                </c:pt>
                <c:pt idx="31">
                  <c:v>0.98368977665976953</c:v>
                </c:pt>
                <c:pt idx="32">
                  <c:v>0.98442223193270484</c:v>
                </c:pt>
                <c:pt idx="33">
                  <c:v>0.98511013016128868</c:v>
                </c:pt>
                <c:pt idx="34">
                  <c:v>0.98577145050376824</c:v>
                </c:pt>
                <c:pt idx="35">
                  <c:v>0.98700054745234023</c:v>
                </c:pt>
                <c:pt idx="36">
                  <c:v>0.98756519724830283</c:v>
                </c:pt>
                <c:pt idx="37">
                  <c:v>0.98809883951047695</c:v>
                </c:pt>
                <c:pt idx="38">
                  <c:v>0.99100625179628732</c:v>
                </c:pt>
                <c:pt idx="39">
                  <c:v>0.99184944826132426</c:v>
                </c:pt>
                <c:pt idx="40">
                  <c:v>0.99336256379669807</c:v>
                </c:pt>
                <c:pt idx="41">
                  <c:v>0.99487802443966933</c:v>
                </c:pt>
                <c:pt idx="42">
                  <c:v>0.99645862696034726</c:v>
                </c:pt>
                <c:pt idx="43">
                  <c:v>0.99821980276602862</c:v>
                </c:pt>
                <c:pt idx="44">
                  <c:v>0.99846369395616286</c:v>
                </c:pt>
                <c:pt idx="45">
                  <c:v>0.99962921243209313</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8</c:f>
              <c:strCache>
                <c:ptCount val="77"/>
                <c:pt idx="0">
                  <c:v>Private Lab</c:v>
                </c:pt>
                <c:pt idx="1">
                  <c:v>Private Lab</c:v>
                </c:pt>
                <c:pt idx="2">
                  <c:v>President</c:v>
                </c:pt>
                <c:pt idx="3">
                  <c:v>President</c:v>
                </c:pt>
                <c:pt idx="4">
                  <c:v>President</c:v>
                </c:pt>
                <c:pt idx="5">
                  <c:v>President</c:v>
                </c:pt>
                <c:pt idx="6">
                  <c:v>Private Lab</c:v>
                </c:pt>
                <c:pt idx="7">
                  <c:v>Private Lab</c:v>
                </c:pt>
                <c:pt idx="8">
                  <c:v>Boursin</c:v>
                </c:pt>
                <c:pt idx="9">
                  <c:v>La Belle Et</c:v>
                </c:pt>
                <c:pt idx="10">
                  <c:v>La Belle Et</c:v>
                </c:pt>
                <c:pt idx="11">
                  <c:v>President</c:v>
                </c:pt>
                <c:pt idx="12">
                  <c:v>Richesmonts</c:v>
                </c:pt>
                <c:pt idx="13">
                  <c:v>Les Mousque</c:v>
                </c:pt>
                <c:pt idx="14">
                  <c:v>Raguin</c:v>
                </c:pt>
                <c:pt idx="15">
                  <c:v>Raguin</c:v>
                </c:pt>
                <c:pt idx="16">
                  <c:v>La Belle Et</c:v>
                </c:pt>
                <c:pt idx="17">
                  <c:v>La Belle Et</c:v>
                </c:pt>
                <c:pt idx="18">
                  <c:v>La Belle Et</c:v>
                </c:pt>
                <c:pt idx="19">
                  <c:v>Raguin</c:v>
                </c:pt>
                <c:pt idx="20">
                  <c:v>Raguin</c:v>
                </c:pt>
                <c:pt idx="21">
                  <c:v>All Others</c:v>
                </c:pt>
                <c:pt idx="22">
                  <c:v>Milleret: A</c:v>
                </c:pt>
                <c:pt idx="23">
                  <c:v>Milleret: A</c:v>
                </c:pt>
                <c:pt idx="24">
                  <c:v>All Others</c:v>
                </c:pt>
                <c:pt idx="25">
                  <c:v>La Belle Et</c:v>
                </c:pt>
                <c:pt idx="26">
                  <c:v>All Others</c:v>
                </c:pt>
                <c:pt idx="27">
                  <c:v>President</c:v>
                </c:pt>
                <c:pt idx="28">
                  <c:v>All Others</c:v>
                </c:pt>
                <c:pt idx="29">
                  <c:v>La Belle Et</c:v>
                </c:pt>
                <c:pt idx="30">
                  <c:v>All Others</c:v>
                </c:pt>
                <c:pt idx="31">
                  <c:v>All Others</c:v>
                </c:pt>
                <c:pt idx="32">
                  <c:v>Milleret: A</c:v>
                </c:pt>
                <c:pt idx="33">
                  <c:v>All Others</c:v>
                </c:pt>
                <c:pt idx="34">
                  <c:v>La Belle Et</c:v>
                </c:pt>
                <c:pt idx="35">
                  <c:v>Milleret: A</c:v>
                </c:pt>
                <c:pt idx="36">
                  <c:v>La Belle Et</c:v>
                </c:pt>
                <c:pt idx="37">
                  <c:v>La Belle Et</c:v>
                </c:pt>
                <c:pt idx="38">
                  <c:v>La Belle Et</c:v>
                </c:pt>
                <c:pt idx="39">
                  <c:v>La Belle Et</c:v>
                </c:pt>
                <c:pt idx="40">
                  <c:v>La Belle Et</c:v>
                </c:pt>
                <c:pt idx="41">
                  <c:v>All Others</c:v>
                </c:pt>
                <c:pt idx="42">
                  <c:v>All Others</c:v>
                </c:pt>
                <c:pt idx="43">
                  <c:v>La Belle Et</c:v>
                </c:pt>
                <c:pt idx="44">
                  <c:v>All Others</c:v>
                </c:pt>
                <c:pt idx="45">
                  <c:v>All Others</c:v>
                </c:pt>
                <c:pt idx="46">
                  <c:v>La Belle Et</c:v>
                </c:pt>
                <c:pt idx="47">
                  <c:v>La Belle Et</c:v>
                </c:pt>
                <c:pt idx="48">
                  <c:v>All Others</c:v>
                </c:pt>
                <c:pt idx="49">
                  <c:v>All Others</c:v>
                </c:pt>
                <c:pt idx="50">
                  <c:v>All Others</c:v>
                </c:pt>
                <c:pt idx="51">
                  <c:v>La Belle Et</c:v>
                </c:pt>
                <c:pt idx="52">
                  <c:v>La Belle Et</c:v>
                </c:pt>
                <c:pt idx="53">
                  <c:v>Raguin</c:v>
                </c:pt>
                <c:pt idx="54">
                  <c:v>All Others</c:v>
                </c:pt>
                <c:pt idx="55">
                  <c:v>All Others</c:v>
                </c:pt>
                <c:pt idx="56">
                  <c:v>Raguin</c:v>
                </c:pt>
                <c:pt idx="57">
                  <c:v>La Belle Et</c:v>
                </c:pt>
                <c:pt idx="58">
                  <c:v>Raguin</c:v>
                </c:pt>
                <c:pt idx="59">
                  <c:v>All Others</c:v>
                </c:pt>
                <c:pt idx="60">
                  <c:v>All Others</c:v>
                </c:pt>
                <c:pt idx="61">
                  <c:v>All Others</c:v>
                </c:pt>
                <c:pt idx="62">
                  <c:v>All Others</c:v>
                </c:pt>
                <c:pt idx="63">
                  <c:v>All Others</c:v>
                </c:pt>
                <c:pt idx="64">
                  <c:v>All Others</c:v>
                </c:pt>
                <c:pt idx="65">
                  <c:v>All Others</c:v>
                </c:pt>
                <c:pt idx="66">
                  <c:v>Raguin</c:v>
                </c:pt>
                <c:pt idx="67">
                  <c:v>Raguin</c:v>
                </c:pt>
                <c:pt idx="68">
                  <c:v>Raguin</c:v>
                </c:pt>
                <c:pt idx="69">
                  <c:v>Raguin</c:v>
                </c:pt>
                <c:pt idx="70">
                  <c:v>Raguin</c:v>
                </c:pt>
                <c:pt idx="71">
                  <c:v>Raguin</c:v>
                </c:pt>
                <c:pt idx="72">
                  <c:v>All Others</c:v>
                </c:pt>
                <c:pt idx="73">
                  <c:v>All Others</c:v>
                </c:pt>
                <c:pt idx="74">
                  <c:v>Milleret: A</c:v>
                </c:pt>
                <c:pt idx="75">
                  <c:v>Raguin</c:v>
                </c:pt>
                <c:pt idx="76">
                  <c:v>Private Lab</c:v>
                </c:pt>
              </c:strCache>
            </c:strRef>
          </c:cat>
          <c:val>
            <c:numRef>
              <c:f>Sheet1!$B$2:$B$78</c:f>
              <c:numCache>
                <c:formatCode>General</c:formatCode>
                <c:ptCount val="77"/>
                <c:pt idx="0">
                  <c:v>1</c:v>
                </c:pt>
                <c:pt idx="1">
                  <c:v>0.95</c:v>
                </c:pt>
                <c:pt idx="2">
                  <c:v>0.99</c:v>
                </c:pt>
                <c:pt idx="3">
                  <c:v>0.99</c:v>
                </c:pt>
                <c:pt idx="4">
                  <c:v>0.99</c:v>
                </c:pt>
                <c:pt idx="5">
                  <c:v>0.99</c:v>
                </c:pt>
                <c:pt idx="6">
                  <c:v>0.97</c:v>
                </c:pt>
                <c:pt idx="7">
                  <c:v>0.95</c:v>
                </c:pt>
                <c:pt idx="8">
                  <c:v>0.88</c:v>
                </c:pt>
                <c:pt idx="9">
                  <c:v>0.06</c:v>
                </c:pt>
                <c:pt idx="10">
                  <c:v>0.06</c:v>
                </c:pt>
                <c:pt idx="11">
                  <c:v>0.46</c:v>
                </c:pt>
                <c:pt idx="12">
                  <c:v>0.74</c:v>
                </c:pt>
                <c:pt idx="13">
                  <c:v>0.82</c:v>
                </c:pt>
                <c:pt idx="14">
                  <c:v>0.05</c:v>
                </c:pt>
                <c:pt idx="15">
                  <c:v>7.0000000000000007E-2</c:v>
                </c:pt>
                <c:pt idx="16">
                  <c:v>0.1</c:v>
                </c:pt>
                <c:pt idx="17">
                  <c:v>0.1</c:v>
                </c:pt>
                <c:pt idx="18">
                  <c:v>0.04</c:v>
                </c:pt>
                <c:pt idx="19">
                  <c:v>7.0000000000000007E-2</c:v>
                </c:pt>
                <c:pt idx="20">
                  <c:v>0.04</c:v>
                </c:pt>
                <c:pt idx="21">
                  <c:v>0.12</c:v>
                </c:pt>
                <c:pt idx="22">
                  <c:v>0.24</c:v>
                </c:pt>
                <c:pt idx="23">
                  <c:v>0.27</c:v>
                </c:pt>
                <c:pt idx="24">
                  <c:v>0.13</c:v>
                </c:pt>
                <c:pt idx="25">
                  <c:v>0.02</c:v>
                </c:pt>
                <c:pt idx="26">
                  <c:v>7.0000000000000007E-2</c:v>
                </c:pt>
                <c:pt idx="27">
                  <c:v>0.35</c:v>
                </c:pt>
                <c:pt idx="28">
                  <c:v>0.15</c:v>
                </c:pt>
                <c:pt idx="29">
                  <c:v>0.05</c:v>
                </c:pt>
                <c:pt idx="30">
                  <c:v>0.15</c:v>
                </c:pt>
                <c:pt idx="31">
                  <c:v>0.1</c:v>
                </c:pt>
                <c:pt idx="32">
                  <c:v>0.16</c:v>
                </c:pt>
                <c:pt idx="33">
                  <c:v>7.0000000000000007E-2</c:v>
                </c:pt>
                <c:pt idx="34">
                  <c:v>0.04</c:v>
                </c:pt>
                <c:pt idx="35">
                  <c:v>0.14000000000000001</c:v>
                </c:pt>
                <c:pt idx="36">
                  <c:v>0.04</c:v>
                </c:pt>
                <c:pt idx="37">
                  <c:v>0.04</c:v>
                </c:pt>
                <c:pt idx="38">
                  <c:v>0.04</c:v>
                </c:pt>
                <c:pt idx="39">
                  <c:v>0.05</c:v>
                </c:pt>
                <c:pt idx="40">
                  <c:v>0.05</c:v>
                </c:pt>
                <c:pt idx="41">
                  <c:v>0.06</c:v>
                </c:pt>
                <c:pt idx="42">
                  <c:v>0.05</c:v>
                </c:pt>
                <c:pt idx="43">
                  <c:v>0.08</c:v>
                </c:pt>
                <c:pt idx="44">
                  <c:v>0.05</c:v>
                </c:pt>
                <c:pt idx="45">
                  <c:v>0.08</c:v>
                </c:pt>
                <c:pt idx="46">
                  <c:v>0.03</c:v>
                </c:pt>
                <c:pt idx="47">
                  <c:v>0.04</c:v>
                </c:pt>
                <c:pt idx="48">
                  <c:v>0.12</c:v>
                </c:pt>
                <c:pt idx="49">
                  <c:v>0.08</c:v>
                </c:pt>
                <c:pt idx="50">
                  <c:v>0.12</c:v>
                </c:pt>
                <c:pt idx="51">
                  <c:v>0.03</c:v>
                </c:pt>
                <c:pt idx="52">
                  <c:v>0.03</c:v>
                </c:pt>
                <c:pt idx="53">
                  <c:v>0.01</c:v>
                </c:pt>
                <c:pt idx="54">
                  <c:v>0.03</c:v>
                </c:pt>
                <c:pt idx="55">
                  <c:v>0.06</c:v>
                </c:pt>
                <c:pt idx="56">
                  <c:v>0.03</c:v>
                </c:pt>
                <c:pt idx="57">
                  <c:v>0.03</c:v>
                </c:pt>
                <c:pt idx="58">
                  <c:v>0.02</c:v>
                </c:pt>
                <c:pt idx="59">
                  <c:v>0.01</c:v>
                </c:pt>
                <c:pt idx="60">
                  <c:v>0.03</c:v>
                </c:pt>
                <c:pt idx="61">
                  <c:v>0.06</c:v>
                </c:pt>
                <c:pt idx="62">
                  <c:v>0.01</c:v>
                </c:pt>
                <c:pt idx="63">
                  <c:v>0.06</c:v>
                </c:pt>
                <c:pt idx="64">
                  <c:v>0.01</c:v>
                </c:pt>
                <c:pt idx="65">
                  <c:v>0.02</c:v>
                </c:pt>
                <c:pt idx="66">
                  <c:v>0.02</c:v>
                </c:pt>
                <c:pt idx="67">
                  <c:v>0.01</c:v>
                </c:pt>
                <c:pt idx="68">
                  <c:v>0.02</c:v>
                </c:pt>
                <c:pt idx="69">
                  <c:v>0.01</c:v>
                </c:pt>
                <c:pt idx="70">
                  <c:v>0.01</c:v>
                </c:pt>
                <c:pt idx="71">
                  <c:v>0.01</c:v>
                </c:pt>
                <c:pt idx="72">
                  <c:v>0.01</c:v>
                </c:pt>
                <c:pt idx="73">
                  <c:v>0.01</c:v>
                </c:pt>
                <c:pt idx="74">
                  <c:v>0.02</c:v>
                </c:pt>
                <c:pt idx="75">
                  <c:v>0.01</c:v>
                </c:pt>
                <c:pt idx="76">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8</c:f>
              <c:strCache>
                <c:ptCount val="77"/>
                <c:pt idx="0">
                  <c:v>Private Lab</c:v>
                </c:pt>
                <c:pt idx="1">
                  <c:v>Private Lab</c:v>
                </c:pt>
                <c:pt idx="2">
                  <c:v>President</c:v>
                </c:pt>
                <c:pt idx="3">
                  <c:v>President</c:v>
                </c:pt>
                <c:pt idx="4">
                  <c:v>President</c:v>
                </c:pt>
                <c:pt idx="5">
                  <c:v>President</c:v>
                </c:pt>
                <c:pt idx="6">
                  <c:v>Private Lab</c:v>
                </c:pt>
                <c:pt idx="7">
                  <c:v>Private Lab</c:v>
                </c:pt>
                <c:pt idx="8">
                  <c:v>Boursin</c:v>
                </c:pt>
                <c:pt idx="9">
                  <c:v>La Belle Et</c:v>
                </c:pt>
                <c:pt idx="10">
                  <c:v>La Belle Et</c:v>
                </c:pt>
                <c:pt idx="11">
                  <c:v>President</c:v>
                </c:pt>
                <c:pt idx="12">
                  <c:v>Richesmonts</c:v>
                </c:pt>
                <c:pt idx="13">
                  <c:v>Les Mousque</c:v>
                </c:pt>
                <c:pt idx="14">
                  <c:v>Raguin</c:v>
                </c:pt>
                <c:pt idx="15">
                  <c:v>Raguin</c:v>
                </c:pt>
                <c:pt idx="16">
                  <c:v>La Belle Et</c:v>
                </c:pt>
                <c:pt idx="17">
                  <c:v>La Belle Et</c:v>
                </c:pt>
                <c:pt idx="18">
                  <c:v>La Belle Et</c:v>
                </c:pt>
                <c:pt idx="19">
                  <c:v>Raguin</c:v>
                </c:pt>
                <c:pt idx="20">
                  <c:v>Raguin</c:v>
                </c:pt>
                <c:pt idx="21">
                  <c:v>All Others</c:v>
                </c:pt>
                <c:pt idx="22">
                  <c:v>Milleret: A</c:v>
                </c:pt>
                <c:pt idx="23">
                  <c:v>Milleret: A</c:v>
                </c:pt>
                <c:pt idx="24">
                  <c:v>All Others</c:v>
                </c:pt>
                <c:pt idx="25">
                  <c:v>La Belle Et</c:v>
                </c:pt>
                <c:pt idx="26">
                  <c:v>All Others</c:v>
                </c:pt>
                <c:pt idx="27">
                  <c:v>President</c:v>
                </c:pt>
                <c:pt idx="28">
                  <c:v>All Others</c:v>
                </c:pt>
                <c:pt idx="29">
                  <c:v>La Belle Et</c:v>
                </c:pt>
                <c:pt idx="30">
                  <c:v>All Others</c:v>
                </c:pt>
                <c:pt idx="31">
                  <c:v>All Others</c:v>
                </c:pt>
                <c:pt idx="32">
                  <c:v>Milleret: A</c:v>
                </c:pt>
                <c:pt idx="33">
                  <c:v>All Others</c:v>
                </c:pt>
                <c:pt idx="34">
                  <c:v>La Belle Et</c:v>
                </c:pt>
                <c:pt idx="35">
                  <c:v>Milleret: A</c:v>
                </c:pt>
                <c:pt idx="36">
                  <c:v>La Belle Et</c:v>
                </c:pt>
                <c:pt idx="37">
                  <c:v>La Belle Et</c:v>
                </c:pt>
                <c:pt idx="38">
                  <c:v>La Belle Et</c:v>
                </c:pt>
                <c:pt idx="39">
                  <c:v>La Belle Et</c:v>
                </c:pt>
                <c:pt idx="40">
                  <c:v>La Belle Et</c:v>
                </c:pt>
                <c:pt idx="41">
                  <c:v>All Others</c:v>
                </c:pt>
                <c:pt idx="42">
                  <c:v>All Others</c:v>
                </c:pt>
                <c:pt idx="43">
                  <c:v>La Belle Et</c:v>
                </c:pt>
                <c:pt idx="44">
                  <c:v>All Others</c:v>
                </c:pt>
                <c:pt idx="45">
                  <c:v>All Others</c:v>
                </c:pt>
                <c:pt idx="46">
                  <c:v>La Belle Et</c:v>
                </c:pt>
                <c:pt idx="47">
                  <c:v>La Belle Et</c:v>
                </c:pt>
                <c:pt idx="48">
                  <c:v>All Others</c:v>
                </c:pt>
                <c:pt idx="49">
                  <c:v>All Others</c:v>
                </c:pt>
                <c:pt idx="50">
                  <c:v>All Others</c:v>
                </c:pt>
                <c:pt idx="51">
                  <c:v>La Belle Et</c:v>
                </c:pt>
                <c:pt idx="52">
                  <c:v>La Belle Et</c:v>
                </c:pt>
                <c:pt idx="53">
                  <c:v>Raguin</c:v>
                </c:pt>
                <c:pt idx="54">
                  <c:v>All Others</c:v>
                </c:pt>
                <c:pt idx="55">
                  <c:v>All Others</c:v>
                </c:pt>
                <c:pt idx="56">
                  <c:v>Raguin</c:v>
                </c:pt>
                <c:pt idx="57">
                  <c:v>La Belle Et</c:v>
                </c:pt>
                <c:pt idx="58">
                  <c:v>Raguin</c:v>
                </c:pt>
                <c:pt idx="59">
                  <c:v>All Others</c:v>
                </c:pt>
                <c:pt idx="60">
                  <c:v>All Others</c:v>
                </c:pt>
                <c:pt idx="61">
                  <c:v>All Others</c:v>
                </c:pt>
                <c:pt idx="62">
                  <c:v>All Others</c:v>
                </c:pt>
                <c:pt idx="63">
                  <c:v>All Others</c:v>
                </c:pt>
                <c:pt idx="64">
                  <c:v>All Others</c:v>
                </c:pt>
                <c:pt idx="65">
                  <c:v>All Others</c:v>
                </c:pt>
                <c:pt idx="66">
                  <c:v>Raguin</c:v>
                </c:pt>
                <c:pt idx="67">
                  <c:v>Raguin</c:v>
                </c:pt>
                <c:pt idx="68">
                  <c:v>Raguin</c:v>
                </c:pt>
                <c:pt idx="69">
                  <c:v>Raguin</c:v>
                </c:pt>
                <c:pt idx="70">
                  <c:v>Raguin</c:v>
                </c:pt>
                <c:pt idx="71">
                  <c:v>Raguin</c:v>
                </c:pt>
                <c:pt idx="72">
                  <c:v>All Others</c:v>
                </c:pt>
                <c:pt idx="73">
                  <c:v>All Others</c:v>
                </c:pt>
                <c:pt idx="74">
                  <c:v>Milleret: A</c:v>
                </c:pt>
                <c:pt idx="75">
                  <c:v>Raguin</c:v>
                </c:pt>
                <c:pt idx="76">
                  <c:v>Private Lab</c:v>
                </c:pt>
              </c:strCache>
            </c:strRef>
          </c:cat>
          <c:val>
            <c:numRef>
              <c:f>Sheet1!$C$2:$C$78</c:f>
              <c:numCache>
                <c:formatCode>General</c:formatCode>
                <c:ptCount val="77"/>
                <c:pt idx="0">
                  <c:v>0.19584031140689856</c:v>
                </c:pt>
                <c:pt idx="1">
                  <c:v>0.36379464692641739</c:v>
                </c:pt>
                <c:pt idx="2">
                  <c:v>0.49292304888807598</c:v>
                </c:pt>
                <c:pt idx="3">
                  <c:v>0.59648142850558739</c:v>
                </c:pt>
                <c:pt idx="4">
                  <c:v>0.66219644406350775</c:v>
                </c:pt>
                <c:pt idx="5">
                  <c:v>0.71840724648424592</c:v>
                </c:pt>
                <c:pt idx="6">
                  <c:v>0.76979950680786535</c:v>
                </c:pt>
                <c:pt idx="7">
                  <c:v>0.80947377096077022</c:v>
                </c:pt>
                <c:pt idx="8">
                  <c:v>0.82906064418183401</c:v>
                </c:pt>
                <c:pt idx="9">
                  <c:v>0.8461334541394806</c:v>
                </c:pt>
                <c:pt idx="10">
                  <c:v>0.85828380368686985</c:v>
                </c:pt>
                <c:pt idx="11">
                  <c:v>0.86824765113265845</c:v>
                </c:pt>
                <c:pt idx="12">
                  <c:v>0.87650636434125362</c:v>
                </c:pt>
                <c:pt idx="13">
                  <c:v>0.88461864201828155</c:v>
                </c:pt>
                <c:pt idx="14">
                  <c:v>0.89272347253283224</c:v>
                </c:pt>
                <c:pt idx="15">
                  <c:v>0.89995455331102581</c:v>
                </c:pt>
                <c:pt idx="16">
                  <c:v>0.90697285801844185</c:v>
                </c:pt>
                <c:pt idx="17">
                  <c:v>0.91397178490512632</c:v>
                </c:pt>
                <c:pt idx="18">
                  <c:v>0.92009483429474581</c:v>
                </c:pt>
                <c:pt idx="19">
                  <c:v>0.92554330754854675</c:v>
                </c:pt>
                <c:pt idx="20">
                  <c:v>0.93098212988770879</c:v>
                </c:pt>
                <c:pt idx="21">
                  <c:v>0.93618260503187312</c:v>
                </c:pt>
                <c:pt idx="22">
                  <c:v>0.94094388756851643</c:v>
                </c:pt>
                <c:pt idx="23">
                  <c:v>0.94533395185310687</c:v>
                </c:pt>
                <c:pt idx="24">
                  <c:v>0.94893689665872816</c:v>
                </c:pt>
                <c:pt idx="25">
                  <c:v>0.95248360778850105</c:v>
                </c:pt>
                <c:pt idx="26">
                  <c:v>0.95558189334911037</c:v>
                </c:pt>
                <c:pt idx="27">
                  <c:v>0.95857405684441932</c:v>
                </c:pt>
                <c:pt idx="28">
                  <c:v>0.96105882540237775</c:v>
                </c:pt>
                <c:pt idx="29">
                  <c:v>0.96340376968525376</c:v>
                </c:pt>
                <c:pt idx="30">
                  <c:v>0.96562313809064415</c:v>
                </c:pt>
                <c:pt idx="31">
                  <c:v>0.96776921273879712</c:v>
                </c:pt>
                <c:pt idx="32">
                  <c:v>0.96979860250956473</c:v>
                </c:pt>
                <c:pt idx="33">
                  <c:v>0.97179334017737717</c:v>
                </c:pt>
                <c:pt idx="34">
                  <c:v>0.97350451573515162</c:v>
                </c:pt>
                <c:pt idx="35">
                  <c:v>0.97501195820515651</c:v>
                </c:pt>
                <c:pt idx="36">
                  <c:v>0.97651199150841117</c:v>
                </c:pt>
                <c:pt idx="37">
                  <c:v>0.97799454677728048</c:v>
                </c:pt>
                <c:pt idx="38">
                  <c:v>0.97946824904177643</c:v>
                </c:pt>
                <c:pt idx="39">
                  <c:v>0.98082955994602949</c:v>
                </c:pt>
                <c:pt idx="40">
                  <c:v>0.98218182786727448</c:v>
                </c:pt>
                <c:pt idx="41">
                  <c:v>0.98343914446693503</c:v>
                </c:pt>
                <c:pt idx="42">
                  <c:v>0.98462947460002759</c:v>
                </c:pt>
                <c:pt idx="43">
                  <c:v>0.98565399138082144</c:v>
                </c:pt>
                <c:pt idx="44">
                  <c:v>0.98663587695600585</c:v>
                </c:pt>
                <c:pt idx="45">
                  <c:v>0.98744275421297578</c:v>
                </c:pt>
                <c:pt idx="46">
                  <c:v>0.98822113467475226</c:v>
                </c:pt>
                <c:pt idx="47">
                  <c:v>0.98897941539698564</c:v>
                </c:pt>
                <c:pt idx="48">
                  <c:v>0.98972257381990303</c:v>
                </c:pt>
                <c:pt idx="49">
                  <c:v>0.9904228730628496</c:v>
                </c:pt>
                <c:pt idx="50">
                  <c:v>0.99105276622380489</c:v>
                </c:pt>
                <c:pt idx="51">
                  <c:v>0.99166601725636727</c:v>
                </c:pt>
                <c:pt idx="52">
                  <c:v>0.99227733050685651</c:v>
                </c:pt>
                <c:pt idx="53">
                  <c:v>0.99286440248356789</c:v>
                </c:pt>
                <c:pt idx="54">
                  <c:v>0.99342426951980123</c:v>
                </c:pt>
                <c:pt idx="55">
                  <c:v>0.99395879340617588</c:v>
                </c:pt>
                <c:pt idx="56">
                  <c:v>0.99448055072830388</c:v>
                </c:pt>
                <c:pt idx="57">
                  <c:v>0.9949464923275797</c:v>
                </c:pt>
                <c:pt idx="58">
                  <c:v>0.99540316296948594</c:v>
                </c:pt>
                <c:pt idx="59">
                  <c:v>0.99620646862812501</c:v>
                </c:pt>
                <c:pt idx="60">
                  <c:v>0.99688017086222436</c:v>
                </c:pt>
                <c:pt idx="61">
                  <c:v>0.99717893126303214</c:v>
                </c:pt>
                <c:pt idx="62">
                  <c:v>0.99745014476181959</c:v>
                </c:pt>
                <c:pt idx="63">
                  <c:v>0.99770179046124097</c:v>
                </c:pt>
                <c:pt idx="64">
                  <c:v>0.9979508524512315</c:v>
                </c:pt>
                <c:pt idx="65">
                  <c:v>0.99819299921892168</c:v>
                </c:pt>
                <c:pt idx="66">
                  <c:v>0.99840729511877624</c:v>
                </c:pt>
                <c:pt idx="67">
                  <c:v>0.99882672994829647</c:v>
                </c:pt>
                <c:pt idx="68">
                  <c:v>0.99899698880064536</c:v>
                </c:pt>
                <c:pt idx="69">
                  <c:v>0.9991281880457159</c:v>
                </c:pt>
                <c:pt idx="70">
                  <c:v>0.99925794345316332</c:v>
                </c:pt>
                <c:pt idx="71">
                  <c:v>0.99938203749729893</c:v>
                </c:pt>
                <c:pt idx="72">
                  <c:v>0.99969926382139207</c:v>
                </c:pt>
                <c:pt idx="73">
                  <c:v>0.99974573259542077</c:v>
                </c:pt>
                <c:pt idx="74">
                  <c:v>0.99983300878016645</c:v>
                </c:pt>
                <c:pt idx="75">
                  <c:v>0.99986397529760995</c:v>
                </c:pt>
                <c:pt idx="76">
                  <c:v>0.999892206122714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92</c:f>
              <c:strCache>
                <c:ptCount val="91"/>
                <c:pt idx="0">
                  <c:v>Private Lab</c:v>
                </c:pt>
                <c:pt idx="1">
                  <c:v>Private Lab</c:v>
                </c:pt>
                <c:pt idx="2">
                  <c:v>President</c:v>
                </c:pt>
                <c:pt idx="3">
                  <c:v>President</c:v>
                </c:pt>
                <c:pt idx="4">
                  <c:v>President</c:v>
                </c:pt>
                <c:pt idx="5">
                  <c:v>President</c:v>
                </c:pt>
                <c:pt idx="6">
                  <c:v>Private Lab</c:v>
                </c:pt>
                <c:pt idx="7">
                  <c:v>Private Lab</c:v>
                </c:pt>
                <c:pt idx="8">
                  <c:v>La Belle Et</c:v>
                </c:pt>
                <c:pt idx="9">
                  <c:v>La Belle Et</c:v>
                </c:pt>
                <c:pt idx="10">
                  <c:v>Boursin</c:v>
                </c:pt>
                <c:pt idx="11">
                  <c:v>La Belle Et</c:v>
                </c:pt>
                <c:pt idx="12">
                  <c:v>President</c:v>
                </c:pt>
                <c:pt idx="13">
                  <c:v>Richesmonts</c:v>
                </c:pt>
                <c:pt idx="14">
                  <c:v>La Belle Et</c:v>
                </c:pt>
                <c:pt idx="15">
                  <c:v>Raguin</c:v>
                </c:pt>
                <c:pt idx="16">
                  <c:v>Les Mousque</c:v>
                </c:pt>
                <c:pt idx="17">
                  <c:v>La Belle Et</c:v>
                </c:pt>
                <c:pt idx="18">
                  <c:v>Raguin</c:v>
                </c:pt>
                <c:pt idx="19">
                  <c:v>All Others</c:v>
                </c:pt>
                <c:pt idx="20">
                  <c:v>Raguin</c:v>
                </c:pt>
                <c:pt idx="21">
                  <c:v>Raguin</c:v>
                </c:pt>
                <c:pt idx="22">
                  <c:v>Milleret: A</c:v>
                </c:pt>
                <c:pt idx="23">
                  <c:v>President</c:v>
                </c:pt>
                <c:pt idx="24">
                  <c:v>Milleret: A</c:v>
                </c:pt>
                <c:pt idx="25">
                  <c:v>All Others</c:v>
                </c:pt>
                <c:pt idx="26">
                  <c:v>All Others</c:v>
                </c:pt>
                <c:pt idx="27">
                  <c:v>La Belle Et</c:v>
                </c:pt>
                <c:pt idx="28">
                  <c:v>All Others</c:v>
                </c:pt>
                <c:pt idx="29">
                  <c:v>All Others</c:v>
                </c:pt>
                <c:pt idx="30">
                  <c:v>La Belle Et</c:v>
                </c:pt>
                <c:pt idx="31">
                  <c:v>All Others</c:v>
                </c:pt>
                <c:pt idx="32">
                  <c:v>La Belle Et</c:v>
                </c:pt>
                <c:pt idx="33">
                  <c:v>La Belle Et</c:v>
                </c:pt>
                <c:pt idx="34">
                  <c:v>Milleret: A</c:v>
                </c:pt>
                <c:pt idx="35">
                  <c:v>La Belle Et</c:v>
                </c:pt>
                <c:pt idx="36">
                  <c:v>La Belle Et</c:v>
                </c:pt>
                <c:pt idx="37">
                  <c:v>La Belle Et</c:v>
                </c:pt>
                <c:pt idx="38">
                  <c:v>La Belle Et</c:v>
                </c:pt>
                <c:pt idx="39">
                  <c:v>Milleret: A</c:v>
                </c:pt>
                <c:pt idx="40">
                  <c:v>All Others</c:v>
                </c:pt>
                <c:pt idx="41">
                  <c:v>All Others</c:v>
                </c:pt>
                <c:pt idx="42">
                  <c:v>Raguin</c:v>
                </c:pt>
                <c:pt idx="43">
                  <c:v>All Others</c:v>
                </c:pt>
                <c:pt idx="44">
                  <c:v>Raguin</c:v>
                </c:pt>
                <c:pt idx="45">
                  <c:v>All Others</c:v>
                </c:pt>
                <c:pt idx="46">
                  <c:v>Raguin</c:v>
                </c:pt>
                <c:pt idx="47">
                  <c:v>All Others</c:v>
                </c:pt>
                <c:pt idx="48">
                  <c:v>La Belle Et</c:v>
                </c:pt>
                <c:pt idx="49">
                  <c:v>La Belle Et</c:v>
                </c:pt>
                <c:pt idx="50">
                  <c:v>La Belle Et</c:v>
                </c:pt>
                <c:pt idx="51">
                  <c:v>Raguin</c:v>
                </c:pt>
                <c:pt idx="52">
                  <c:v>Raguin</c:v>
                </c:pt>
                <c:pt idx="53">
                  <c:v>Raguin</c:v>
                </c:pt>
                <c:pt idx="54">
                  <c:v>Raguin</c:v>
                </c:pt>
                <c:pt idx="55">
                  <c:v>La Belle Et</c:v>
                </c:pt>
                <c:pt idx="56">
                  <c:v>Raguin</c:v>
                </c:pt>
                <c:pt idx="57">
                  <c:v>La Belle Et</c:v>
                </c:pt>
                <c:pt idx="58">
                  <c:v>Raguin</c:v>
                </c:pt>
                <c:pt idx="59">
                  <c:v>All Others</c:v>
                </c:pt>
                <c:pt idx="60">
                  <c:v>Raguin</c:v>
                </c:pt>
                <c:pt idx="61">
                  <c:v>All Others</c:v>
                </c:pt>
                <c:pt idx="62">
                  <c:v>La Belle Et</c:v>
                </c:pt>
                <c:pt idx="63">
                  <c:v>All Others</c:v>
                </c:pt>
                <c:pt idx="64">
                  <c:v>All Others</c:v>
                </c:pt>
                <c:pt idx="65">
                  <c:v>All Others</c:v>
                </c:pt>
                <c:pt idx="66">
                  <c:v>Raguin</c:v>
                </c:pt>
                <c:pt idx="67">
                  <c:v>All Others</c:v>
                </c:pt>
                <c:pt idx="68">
                  <c:v>Raguin</c:v>
                </c:pt>
                <c:pt idx="69">
                  <c:v>Raguin</c:v>
                </c:pt>
                <c:pt idx="70">
                  <c:v>Raguin</c:v>
                </c:pt>
                <c:pt idx="71">
                  <c:v>Raguin</c:v>
                </c:pt>
                <c:pt idx="72">
                  <c:v>Raguin</c:v>
                </c:pt>
                <c:pt idx="73">
                  <c:v>Raguin</c:v>
                </c:pt>
                <c:pt idx="74">
                  <c:v>All Others</c:v>
                </c:pt>
                <c:pt idx="75">
                  <c:v>Raguin</c:v>
                </c:pt>
                <c:pt idx="76">
                  <c:v>All Others</c:v>
                </c:pt>
                <c:pt idx="77">
                  <c:v>All Others</c:v>
                </c:pt>
                <c:pt idx="78">
                  <c:v>All Others</c:v>
                </c:pt>
                <c:pt idx="79">
                  <c:v>All Others</c:v>
                </c:pt>
                <c:pt idx="80">
                  <c:v>All Others</c:v>
                </c:pt>
                <c:pt idx="81">
                  <c:v>All Others</c:v>
                </c:pt>
                <c:pt idx="82">
                  <c:v>All Others</c:v>
                </c:pt>
                <c:pt idx="83">
                  <c:v>All Others</c:v>
                </c:pt>
                <c:pt idx="84">
                  <c:v>All Others</c:v>
                </c:pt>
                <c:pt idx="85">
                  <c:v>All Others</c:v>
                </c:pt>
                <c:pt idx="86">
                  <c:v>All Others</c:v>
                </c:pt>
                <c:pt idx="87">
                  <c:v>Milleret: A</c:v>
                </c:pt>
                <c:pt idx="88">
                  <c:v>Private Lab</c:v>
                </c:pt>
                <c:pt idx="89">
                  <c:v>All Others</c:v>
                </c:pt>
                <c:pt idx="90">
                  <c:v>Private Lab</c:v>
                </c:pt>
              </c:strCache>
            </c:strRef>
          </c:cat>
          <c:val>
            <c:numRef>
              <c:f>Sheet1!$B$2:$B$92</c:f>
              <c:numCache>
                <c:formatCode>General</c:formatCode>
                <c:ptCount val="91"/>
                <c:pt idx="0">
                  <c:v>1</c:v>
                </c:pt>
                <c:pt idx="1">
                  <c:v>1</c:v>
                </c:pt>
                <c:pt idx="2">
                  <c:v>1</c:v>
                </c:pt>
                <c:pt idx="3">
                  <c:v>1</c:v>
                </c:pt>
                <c:pt idx="4">
                  <c:v>1</c:v>
                </c:pt>
                <c:pt idx="5">
                  <c:v>1</c:v>
                </c:pt>
                <c:pt idx="6">
                  <c:v>0.99</c:v>
                </c:pt>
                <c:pt idx="7">
                  <c:v>0.99</c:v>
                </c:pt>
                <c:pt idx="8">
                  <c:v>0.09</c:v>
                </c:pt>
                <c:pt idx="9">
                  <c:v>7.0000000000000007E-2</c:v>
                </c:pt>
                <c:pt idx="10">
                  <c:v>0.96</c:v>
                </c:pt>
                <c:pt idx="11">
                  <c:v>0.14000000000000001</c:v>
                </c:pt>
                <c:pt idx="12">
                  <c:v>0.99</c:v>
                </c:pt>
                <c:pt idx="13">
                  <c:v>0.95</c:v>
                </c:pt>
                <c:pt idx="14">
                  <c:v>0.12</c:v>
                </c:pt>
                <c:pt idx="15">
                  <c:v>0.09</c:v>
                </c:pt>
                <c:pt idx="16">
                  <c:v>0.86</c:v>
                </c:pt>
                <c:pt idx="17">
                  <c:v>0.06</c:v>
                </c:pt>
                <c:pt idx="18">
                  <c:v>7.0000000000000007E-2</c:v>
                </c:pt>
                <c:pt idx="19">
                  <c:v>0.2</c:v>
                </c:pt>
                <c:pt idx="20">
                  <c:v>0.09</c:v>
                </c:pt>
                <c:pt idx="21">
                  <c:v>0.06</c:v>
                </c:pt>
                <c:pt idx="22">
                  <c:v>0.27</c:v>
                </c:pt>
                <c:pt idx="23">
                  <c:v>0.69</c:v>
                </c:pt>
                <c:pt idx="24">
                  <c:v>0.28000000000000003</c:v>
                </c:pt>
                <c:pt idx="25">
                  <c:v>0.17</c:v>
                </c:pt>
                <c:pt idx="26">
                  <c:v>0.16</c:v>
                </c:pt>
                <c:pt idx="27">
                  <c:v>0.09</c:v>
                </c:pt>
                <c:pt idx="28">
                  <c:v>0.18</c:v>
                </c:pt>
                <c:pt idx="29">
                  <c:v>0.08</c:v>
                </c:pt>
                <c:pt idx="30">
                  <c:v>0.08</c:v>
                </c:pt>
                <c:pt idx="31">
                  <c:v>0.08</c:v>
                </c:pt>
                <c:pt idx="32">
                  <c:v>7.0000000000000007E-2</c:v>
                </c:pt>
                <c:pt idx="33">
                  <c:v>0.1</c:v>
                </c:pt>
                <c:pt idx="34">
                  <c:v>0.15</c:v>
                </c:pt>
                <c:pt idx="35">
                  <c:v>0.1</c:v>
                </c:pt>
                <c:pt idx="36">
                  <c:v>0.11</c:v>
                </c:pt>
                <c:pt idx="37">
                  <c:v>0.1</c:v>
                </c:pt>
                <c:pt idx="38">
                  <c:v>0.09</c:v>
                </c:pt>
                <c:pt idx="39">
                  <c:v>0.14000000000000001</c:v>
                </c:pt>
                <c:pt idx="40">
                  <c:v>0.11</c:v>
                </c:pt>
                <c:pt idx="41">
                  <c:v>0.11</c:v>
                </c:pt>
                <c:pt idx="42">
                  <c:v>0.03</c:v>
                </c:pt>
                <c:pt idx="43">
                  <c:v>0.11</c:v>
                </c:pt>
                <c:pt idx="44">
                  <c:v>0.06</c:v>
                </c:pt>
                <c:pt idx="45">
                  <c:v>0.16</c:v>
                </c:pt>
                <c:pt idx="46">
                  <c:v>7.0000000000000007E-2</c:v>
                </c:pt>
                <c:pt idx="47">
                  <c:v>7.0000000000000007E-2</c:v>
                </c:pt>
                <c:pt idx="48">
                  <c:v>0.11</c:v>
                </c:pt>
                <c:pt idx="49">
                  <c:v>7.0000000000000007E-2</c:v>
                </c:pt>
                <c:pt idx="50">
                  <c:v>0.09</c:v>
                </c:pt>
                <c:pt idx="51">
                  <c:v>0.03</c:v>
                </c:pt>
                <c:pt idx="52">
                  <c:v>0.05</c:v>
                </c:pt>
                <c:pt idx="53">
                  <c:v>0.03</c:v>
                </c:pt>
                <c:pt idx="54">
                  <c:v>0.03</c:v>
                </c:pt>
                <c:pt idx="55">
                  <c:v>7.0000000000000007E-2</c:v>
                </c:pt>
                <c:pt idx="56">
                  <c:v>0.05</c:v>
                </c:pt>
                <c:pt idx="57">
                  <c:v>0.09</c:v>
                </c:pt>
                <c:pt idx="58">
                  <c:v>0.04</c:v>
                </c:pt>
                <c:pt idx="59">
                  <c:v>0.05</c:v>
                </c:pt>
                <c:pt idx="60">
                  <c:v>0.02</c:v>
                </c:pt>
                <c:pt idx="61">
                  <c:v>0.11</c:v>
                </c:pt>
                <c:pt idx="62">
                  <c:v>7.0000000000000007E-2</c:v>
                </c:pt>
                <c:pt idx="63">
                  <c:v>0.06</c:v>
                </c:pt>
                <c:pt idx="64">
                  <c:v>0.05</c:v>
                </c:pt>
                <c:pt idx="65">
                  <c:v>0.11</c:v>
                </c:pt>
                <c:pt idx="66">
                  <c:v>0.02</c:v>
                </c:pt>
                <c:pt idx="67">
                  <c:v>0.02</c:v>
                </c:pt>
                <c:pt idx="68">
                  <c:v>0.03</c:v>
                </c:pt>
                <c:pt idx="69">
                  <c:v>0.05</c:v>
                </c:pt>
                <c:pt idx="70">
                  <c:v>0.05</c:v>
                </c:pt>
                <c:pt idx="71">
                  <c:v>0.05</c:v>
                </c:pt>
                <c:pt idx="72">
                  <c:v>0.01</c:v>
                </c:pt>
                <c:pt idx="73">
                  <c:v>0.04</c:v>
                </c:pt>
                <c:pt idx="74">
                  <c:v>0.01</c:v>
                </c:pt>
                <c:pt idx="75">
                  <c:v>0.03</c:v>
                </c:pt>
                <c:pt idx="76">
                  <c:v>0.02</c:v>
                </c:pt>
                <c:pt idx="77">
                  <c:v>0.06</c:v>
                </c:pt>
                <c:pt idx="78">
                  <c:v>0.06</c:v>
                </c:pt>
                <c:pt idx="79">
                  <c:v>0.02</c:v>
                </c:pt>
                <c:pt idx="80">
                  <c:v>0.06</c:v>
                </c:pt>
                <c:pt idx="81">
                  <c:v>0.09</c:v>
                </c:pt>
                <c:pt idx="82">
                  <c:v>0.02</c:v>
                </c:pt>
                <c:pt idx="83">
                  <c:v>0.04</c:v>
                </c:pt>
                <c:pt idx="84">
                  <c:v>0.02</c:v>
                </c:pt>
                <c:pt idx="85">
                  <c:v>0.03</c:v>
                </c:pt>
                <c:pt idx="86">
                  <c:v>0.01</c:v>
                </c:pt>
                <c:pt idx="87">
                  <c:v>0.03</c:v>
                </c:pt>
                <c:pt idx="88">
                  <c:v>0.01</c:v>
                </c:pt>
                <c:pt idx="89">
                  <c:v>0.01</c:v>
                </c:pt>
                <c:pt idx="90">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92</c:f>
              <c:strCache>
                <c:ptCount val="91"/>
                <c:pt idx="0">
                  <c:v>Private Lab</c:v>
                </c:pt>
                <c:pt idx="1">
                  <c:v>Private Lab</c:v>
                </c:pt>
                <c:pt idx="2">
                  <c:v>President</c:v>
                </c:pt>
                <c:pt idx="3">
                  <c:v>President</c:v>
                </c:pt>
                <c:pt idx="4">
                  <c:v>President</c:v>
                </c:pt>
                <c:pt idx="5">
                  <c:v>President</c:v>
                </c:pt>
                <c:pt idx="6">
                  <c:v>Private Lab</c:v>
                </c:pt>
                <c:pt idx="7">
                  <c:v>Private Lab</c:v>
                </c:pt>
                <c:pt idx="8">
                  <c:v>La Belle Et</c:v>
                </c:pt>
                <c:pt idx="9">
                  <c:v>La Belle Et</c:v>
                </c:pt>
                <c:pt idx="10">
                  <c:v>Boursin</c:v>
                </c:pt>
                <c:pt idx="11">
                  <c:v>La Belle Et</c:v>
                </c:pt>
                <c:pt idx="12">
                  <c:v>President</c:v>
                </c:pt>
                <c:pt idx="13">
                  <c:v>Richesmonts</c:v>
                </c:pt>
                <c:pt idx="14">
                  <c:v>La Belle Et</c:v>
                </c:pt>
                <c:pt idx="15">
                  <c:v>Raguin</c:v>
                </c:pt>
                <c:pt idx="16">
                  <c:v>Les Mousque</c:v>
                </c:pt>
                <c:pt idx="17">
                  <c:v>La Belle Et</c:v>
                </c:pt>
                <c:pt idx="18">
                  <c:v>Raguin</c:v>
                </c:pt>
                <c:pt idx="19">
                  <c:v>All Others</c:v>
                </c:pt>
                <c:pt idx="20">
                  <c:v>Raguin</c:v>
                </c:pt>
                <c:pt idx="21">
                  <c:v>Raguin</c:v>
                </c:pt>
                <c:pt idx="22">
                  <c:v>Milleret: A</c:v>
                </c:pt>
                <c:pt idx="23">
                  <c:v>President</c:v>
                </c:pt>
                <c:pt idx="24">
                  <c:v>Milleret: A</c:v>
                </c:pt>
                <c:pt idx="25">
                  <c:v>All Others</c:v>
                </c:pt>
                <c:pt idx="26">
                  <c:v>All Others</c:v>
                </c:pt>
                <c:pt idx="27">
                  <c:v>La Belle Et</c:v>
                </c:pt>
                <c:pt idx="28">
                  <c:v>All Others</c:v>
                </c:pt>
                <c:pt idx="29">
                  <c:v>All Others</c:v>
                </c:pt>
                <c:pt idx="30">
                  <c:v>La Belle Et</c:v>
                </c:pt>
                <c:pt idx="31">
                  <c:v>All Others</c:v>
                </c:pt>
                <c:pt idx="32">
                  <c:v>La Belle Et</c:v>
                </c:pt>
                <c:pt idx="33">
                  <c:v>La Belle Et</c:v>
                </c:pt>
                <c:pt idx="34">
                  <c:v>Milleret: A</c:v>
                </c:pt>
                <c:pt idx="35">
                  <c:v>La Belle Et</c:v>
                </c:pt>
                <c:pt idx="36">
                  <c:v>La Belle Et</c:v>
                </c:pt>
                <c:pt idx="37">
                  <c:v>La Belle Et</c:v>
                </c:pt>
                <c:pt idx="38">
                  <c:v>La Belle Et</c:v>
                </c:pt>
                <c:pt idx="39">
                  <c:v>Milleret: A</c:v>
                </c:pt>
                <c:pt idx="40">
                  <c:v>All Others</c:v>
                </c:pt>
                <c:pt idx="41">
                  <c:v>All Others</c:v>
                </c:pt>
                <c:pt idx="42">
                  <c:v>Raguin</c:v>
                </c:pt>
                <c:pt idx="43">
                  <c:v>All Others</c:v>
                </c:pt>
                <c:pt idx="44">
                  <c:v>Raguin</c:v>
                </c:pt>
                <c:pt idx="45">
                  <c:v>All Others</c:v>
                </c:pt>
                <c:pt idx="46">
                  <c:v>Raguin</c:v>
                </c:pt>
                <c:pt idx="47">
                  <c:v>All Others</c:v>
                </c:pt>
                <c:pt idx="48">
                  <c:v>La Belle Et</c:v>
                </c:pt>
                <c:pt idx="49">
                  <c:v>La Belle Et</c:v>
                </c:pt>
                <c:pt idx="50">
                  <c:v>La Belle Et</c:v>
                </c:pt>
                <c:pt idx="51">
                  <c:v>Raguin</c:v>
                </c:pt>
                <c:pt idx="52">
                  <c:v>Raguin</c:v>
                </c:pt>
                <c:pt idx="53">
                  <c:v>Raguin</c:v>
                </c:pt>
                <c:pt idx="54">
                  <c:v>Raguin</c:v>
                </c:pt>
                <c:pt idx="55">
                  <c:v>La Belle Et</c:v>
                </c:pt>
                <c:pt idx="56">
                  <c:v>Raguin</c:v>
                </c:pt>
                <c:pt idx="57">
                  <c:v>La Belle Et</c:v>
                </c:pt>
                <c:pt idx="58">
                  <c:v>Raguin</c:v>
                </c:pt>
                <c:pt idx="59">
                  <c:v>All Others</c:v>
                </c:pt>
                <c:pt idx="60">
                  <c:v>Raguin</c:v>
                </c:pt>
                <c:pt idx="61">
                  <c:v>All Others</c:v>
                </c:pt>
                <c:pt idx="62">
                  <c:v>La Belle Et</c:v>
                </c:pt>
                <c:pt idx="63">
                  <c:v>All Others</c:v>
                </c:pt>
                <c:pt idx="64">
                  <c:v>All Others</c:v>
                </c:pt>
                <c:pt idx="65">
                  <c:v>All Others</c:v>
                </c:pt>
                <c:pt idx="66">
                  <c:v>Raguin</c:v>
                </c:pt>
                <c:pt idx="67">
                  <c:v>All Others</c:v>
                </c:pt>
                <c:pt idx="68">
                  <c:v>Raguin</c:v>
                </c:pt>
                <c:pt idx="69">
                  <c:v>Raguin</c:v>
                </c:pt>
                <c:pt idx="70">
                  <c:v>Raguin</c:v>
                </c:pt>
                <c:pt idx="71">
                  <c:v>Raguin</c:v>
                </c:pt>
                <c:pt idx="72">
                  <c:v>Raguin</c:v>
                </c:pt>
                <c:pt idx="73">
                  <c:v>Raguin</c:v>
                </c:pt>
                <c:pt idx="74">
                  <c:v>All Others</c:v>
                </c:pt>
                <c:pt idx="75">
                  <c:v>Raguin</c:v>
                </c:pt>
                <c:pt idx="76">
                  <c:v>All Others</c:v>
                </c:pt>
                <c:pt idx="77">
                  <c:v>All Others</c:v>
                </c:pt>
                <c:pt idx="78">
                  <c:v>All Others</c:v>
                </c:pt>
                <c:pt idx="79">
                  <c:v>All Others</c:v>
                </c:pt>
                <c:pt idx="80">
                  <c:v>All Others</c:v>
                </c:pt>
                <c:pt idx="81">
                  <c:v>All Others</c:v>
                </c:pt>
                <c:pt idx="82">
                  <c:v>All Others</c:v>
                </c:pt>
                <c:pt idx="83">
                  <c:v>All Others</c:v>
                </c:pt>
                <c:pt idx="84">
                  <c:v>All Others</c:v>
                </c:pt>
                <c:pt idx="85">
                  <c:v>All Others</c:v>
                </c:pt>
                <c:pt idx="86">
                  <c:v>All Others</c:v>
                </c:pt>
                <c:pt idx="87">
                  <c:v>Milleret: A</c:v>
                </c:pt>
                <c:pt idx="88">
                  <c:v>Private Lab</c:v>
                </c:pt>
                <c:pt idx="89">
                  <c:v>All Others</c:v>
                </c:pt>
                <c:pt idx="90">
                  <c:v>Private Lab</c:v>
                </c:pt>
              </c:strCache>
            </c:strRef>
          </c:cat>
          <c:val>
            <c:numRef>
              <c:f>Sheet1!$C$2:$C$92</c:f>
              <c:numCache>
                <c:formatCode>General</c:formatCode>
                <c:ptCount val="91"/>
                <c:pt idx="0">
                  <c:v>0.17469462746704842</c:v>
                </c:pt>
                <c:pt idx="1">
                  <c:v>0.33984955024358676</c:v>
                </c:pt>
                <c:pt idx="2">
                  <c:v>0.45186098674924141</c:v>
                </c:pt>
                <c:pt idx="3">
                  <c:v>0.55686065114750749</c:v>
                </c:pt>
                <c:pt idx="4">
                  <c:v>0.61479272335297186</c:v>
                </c:pt>
                <c:pt idx="5">
                  <c:v>0.67206901975241606</c:v>
                </c:pt>
                <c:pt idx="6">
                  <c:v>0.71479743179520883</c:v>
                </c:pt>
                <c:pt idx="7">
                  <c:v>0.75000135242489785</c:v>
                </c:pt>
                <c:pt idx="8">
                  <c:v>0.76996474679099625</c:v>
                </c:pt>
                <c:pt idx="9">
                  <c:v>0.78981874500980254</c:v>
                </c:pt>
                <c:pt idx="10">
                  <c:v>0.80558561500770876</c:v>
                </c:pt>
                <c:pt idx="11">
                  <c:v>0.82056827892411088</c:v>
                </c:pt>
                <c:pt idx="12">
                  <c:v>0.83535799688842094</c:v>
                </c:pt>
                <c:pt idx="13">
                  <c:v>0.84681974780781943</c:v>
                </c:pt>
                <c:pt idx="14">
                  <c:v>0.85744059097962644</c:v>
                </c:pt>
                <c:pt idx="15">
                  <c:v>0.86478055152889122</c:v>
                </c:pt>
                <c:pt idx="16">
                  <c:v>0.87206361005282462</c:v>
                </c:pt>
                <c:pt idx="17">
                  <c:v>0.87929978451363289</c:v>
                </c:pt>
                <c:pt idx="18">
                  <c:v>0.88625225028476051</c:v>
                </c:pt>
                <c:pt idx="19">
                  <c:v>0.89306286171104787</c:v>
                </c:pt>
                <c:pt idx="20">
                  <c:v>0.8992982417474531</c:v>
                </c:pt>
                <c:pt idx="21">
                  <c:v>0.90540639366383913</c:v>
                </c:pt>
                <c:pt idx="22">
                  <c:v>0.91068926585367549</c:v>
                </c:pt>
                <c:pt idx="23">
                  <c:v>0.91553415273585526</c:v>
                </c:pt>
                <c:pt idx="24">
                  <c:v>0.91948964493336538</c:v>
                </c:pt>
                <c:pt idx="25">
                  <c:v>0.9233269251768419</c:v>
                </c:pt>
                <c:pt idx="26">
                  <c:v>0.9268853053524968</c:v>
                </c:pt>
                <c:pt idx="27">
                  <c:v>0.93041904134112441</c:v>
                </c:pt>
                <c:pt idx="28">
                  <c:v>0.93394295972678987</c:v>
                </c:pt>
                <c:pt idx="29">
                  <c:v>0.93717655756771867</c:v>
                </c:pt>
                <c:pt idx="30">
                  <c:v>0.94022462274858798</c:v>
                </c:pt>
                <c:pt idx="31">
                  <c:v>0.94305349491638479</c:v>
                </c:pt>
                <c:pt idx="32">
                  <c:v>0.94577036626671596</c:v>
                </c:pt>
                <c:pt idx="33">
                  <c:v>0.94842712984380972</c:v>
                </c:pt>
                <c:pt idx="34">
                  <c:v>0.95094003548362194</c:v>
                </c:pt>
                <c:pt idx="35">
                  <c:v>0.95343691238390416</c:v>
                </c:pt>
                <c:pt idx="36">
                  <c:v>0.95586887288908995</c:v>
                </c:pt>
                <c:pt idx="37">
                  <c:v>0.9581728038372801</c:v>
                </c:pt>
                <c:pt idx="38">
                  <c:v>0.9604560977833253</c:v>
                </c:pt>
                <c:pt idx="39">
                  <c:v>0.96248513584857631</c:v>
                </c:pt>
                <c:pt idx="40">
                  <c:v>0.96449654230034432</c:v>
                </c:pt>
                <c:pt idx="41">
                  <c:v>0.96636248794087776</c:v>
                </c:pt>
                <c:pt idx="42">
                  <c:v>0.96820539226833691</c:v>
                </c:pt>
                <c:pt idx="43">
                  <c:v>0.97003908007056627</c:v>
                </c:pt>
                <c:pt idx="44">
                  <c:v>0.9716898398829098</c:v>
                </c:pt>
                <c:pt idx="45">
                  <c:v>0.97330152964264904</c:v>
                </c:pt>
                <c:pt idx="46">
                  <c:v>0.97478599128236909</c:v>
                </c:pt>
                <c:pt idx="47">
                  <c:v>0.97624500729808528</c:v>
                </c:pt>
                <c:pt idx="48">
                  <c:v>0.97765633781369976</c:v>
                </c:pt>
                <c:pt idx="49">
                  <c:v>0.97902138534392147</c:v>
                </c:pt>
                <c:pt idx="50">
                  <c:v>0.98026541589069183</c:v>
                </c:pt>
                <c:pt idx="51">
                  <c:v>0.98146516704451059</c:v>
                </c:pt>
                <c:pt idx="52">
                  <c:v>0.98259539354061809</c:v>
                </c:pt>
                <c:pt idx="53">
                  <c:v>0.98370358051987195</c:v>
                </c:pt>
                <c:pt idx="54">
                  <c:v>0.98469095087491854</c:v>
                </c:pt>
                <c:pt idx="55">
                  <c:v>0.98565968782026159</c:v>
                </c:pt>
                <c:pt idx="56">
                  <c:v>0.98661219566683045</c:v>
                </c:pt>
                <c:pt idx="57">
                  <c:v>0.98753585178224534</c:v>
                </c:pt>
                <c:pt idx="58">
                  <c:v>0.98833408301083825</c:v>
                </c:pt>
                <c:pt idx="59">
                  <c:v>0.9891066682561831</c:v>
                </c:pt>
                <c:pt idx="60">
                  <c:v>0.98985040177037409</c:v>
                </c:pt>
                <c:pt idx="61">
                  <c:v>0.99058011013747627</c:v>
                </c:pt>
                <c:pt idx="62">
                  <c:v>0.99127996497720394</c:v>
                </c:pt>
                <c:pt idx="63">
                  <c:v>0.99194155120130378</c:v>
                </c:pt>
                <c:pt idx="64">
                  <c:v>0.99256727312070525</c:v>
                </c:pt>
                <c:pt idx="65">
                  <c:v>0.99314290522907556</c:v>
                </c:pt>
                <c:pt idx="66">
                  <c:v>0.99370571434582189</c:v>
                </c:pt>
                <c:pt idx="67">
                  <c:v>0.9942671209478593</c:v>
                </c:pt>
                <c:pt idx="68">
                  <c:v>0.99481870994693467</c:v>
                </c:pt>
                <c:pt idx="69">
                  <c:v>0.9953568748766537</c:v>
                </c:pt>
                <c:pt idx="70">
                  <c:v>0.99586057801638328</c:v>
                </c:pt>
                <c:pt idx="71">
                  <c:v>0.99632741505519384</c:v>
                </c:pt>
                <c:pt idx="72">
                  <c:v>0.9967820301801128</c:v>
                </c:pt>
                <c:pt idx="73">
                  <c:v>0.99721240183649273</c:v>
                </c:pt>
                <c:pt idx="74">
                  <c:v>0.9976245408016573</c:v>
                </c:pt>
                <c:pt idx="75">
                  <c:v>0.9980132377352593</c:v>
                </c:pt>
                <c:pt idx="76">
                  <c:v>0.99837568760788087</c:v>
                </c:pt>
                <c:pt idx="77">
                  <c:v>0.99873232706242288</c:v>
                </c:pt>
                <c:pt idx="78">
                  <c:v>0.9989913915650761</c:v>
                </c:pt>
                <c:pt idx="79">
                  <c:v>0.99923923595005837</c:v>
                </c:pt>
                <c:pt idx="80">
                  <c:v>0.99948106955771687</c:v>
                </c:pt>
                <c:pt idx="81">
                  <c:v>0.99962432641726606</c:v>
                </c:pt>
                <c:pt idx="82">
                  <c:v>0.99970467047416012</c:v>
                </c:pt>
                <c:pt idx="83">
                  <c:v>0.99977780159826568</c:v>
                </c:pt>
                <c:pt idx="84">
                  <c:v>0.99984492194504748</c:v>
                </c:pt>
                <c:pt idx="85">
                  <c:v>0.9998974160670081</c:v>
                </c:pt>
                <c:pt idx="86">
                  <c:v>0.99993508360490357</c:v>
                </c:pt>
                <c:pt idx="87">
                  <c:v>0.99996894431716066</c:v>
                </c:pt>
                <c:pt idx="88">
                  <c:v>0.99998397126047001</c:v>
                </c:pt>
                <c:pt idx="89">
                  <c:v>0.99999238634872323</c:v>
                </c:pt>
                <c:pt idx="90">
                  <c:v>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71</c:f>
              <c:strCache>
                <c:ptCount val="70"/>
                <c:pt idx="0">
                  <c:v>Private Lab</c:v>
                </c:pt>
                <c:pt idx="1">
                  <c:v>President</c:v>
                </c:pt>
                <c:pt idx="2">
                  <c:v>Private Lab</c:v>
                </c:pt>
                <c:pt idx="3">
                  <c:v>Private Lab</c:v>
                </c:pt>
                <c:pt idx="4">
                  <c:v>President</c:v>
                </c:pt>
                <c:pt idx="5">
                  <c:v>President</c:v>
                </c:pt>
                <c:pt idx="6">
                  <c:v>Private Lab</c:v>
                </c:pt>
                <c:pt idx="7">
                  <c:v>President</c:v>
                </c:pt>
                <c:pt idx="8">
                  <c:v>Boursin</c:v>
                </c:pt>
                <c:pt idx="9">
                  <c:v>La Belle Et</c:v>
                </c:pt>
                <c:pt idx="10">
                  <c:v>Les Mousque</c:v>
                </c:pt>
                <c:pt idx="11">
                  <c:v>La Belle Et</c:v>
                </c:pt>
                <c:pt idx="12">
                  <c:v>President</c:v>
                </c:pt>
                <c:pt idx="13">
                  <c:v>Raguin</c:v>
                </c:pt>
                <c:pt idx="14">
                  <c:v>Raguin</c:v>
                </c:pt>
                <c:pt idx="15">
                  <c:v>La Belle Et</c:v>
                </c:pt>
                <c:pt idx="16">
                  <c:v>La Belle Et</c:v>
                </c:pt>
                <c:pt idx="17">
                  <c:v>Raguin</c:v>
                </c:pt>
                <c:pt idx="18">
                  <c:v>La Belle Et</c:v>
                </c:pt>
                <c:pt idx="19">
                  <c:v>Raguin</c:v>
                </c:pt>
                <c:pt idx="20">
                  <c:v>Milleret: A</c:v>
                </c:pt>
                <c:pt idx="21">
                  <c:v>Milleret: A</c:v>
                </c:pt>
                <c:pt idx="22">
                  <c:v>La Belle Et</c:v>
                </c:pt>
                <c:pt idx="23">
                  <c:v>Richesmonts</c:v>
                </c:pt>
                <c:pt idx="24">
                  <c:v>All Others</c:v>
                </c:pt>
                <c:pt idx="25">
                  <c:v>President</c:v>
                </c:pt>
                <c:pt idx="26">
                  <c:v>All Others</c:v>
                </c:pt>
                <c:pt idx="27">
                  <c:v>All Others</c:v>
                </c:pt>
                <c:pt idx="28">
                  <c:v>All Others</c:v>
                </c:pt>
                <c:pt idx="29">
                  <c:v>All Others</c:v>
                </c:pt>
                <c:pt idx="30">
                  <c:v>Milleret: A</c:v>
                </c:pt>
                <c:pt idx="31">
                  <c:v>Milleret: A</c:v>
                </c:pt>
                <c:pt idx="32">
                  <c:v>La Belle Et</c:v>
                </c:pt>
                <c:pt idx="33">
                  <c:v>All Others</c:v>
                </c:pt>
                <c:pt idx="34">
                  <c:v>All Others</c:v>
                </c:pt>
                <c:pt idx="35">
                  <c:v>All Others</c:v>
                </c:pt>
                <c:pt idx="36">
                  <c:v>La Belle Et</c:v>
                </c:pt>
                <c:pt idx="37">
                  <c:v>All Others</c:v>
                </c:pt>
                <c:pt idx="38">
                  <c:v>La Belle Et</c:v>
                </c:pt>
                <c:pt idx="39">
                  <c:v>La Belle Et</c:v>
                </c:pt>
                <c:pt idx="40">
                  <c:v>La Belle Et</c:v>
                </c:pt>
                <c:pt idx="41">
                  <c:v>All Others</c:v>
                </c:pt>
                <c:pt idx="42">
                  <c:v>La Belle Et</c:v>
                </c:pt>
                <c:pt idx="43">
                  <c:v>La Belle Et</c:v>
                </c:pt>
                <c:pt idx="44">
                  <c:v>La Belle Et</c:v>
                </c:pt>
                <c:pt idx="45">
                  <c:v>All Others</c:v>
                </c:pt>
                <c:pt idx="46">
                  <c:v>La Belle Et</c:v>
                </c:pt>
                <c:pt idx="47">
                  <c:v>All Others</c:v>
                </c:pt>
                <c:pt idx="48">
                  <c:v>La Belle Et</c:v>
                </c:pt>
                <c:pt idx="49">
                  <c:v>All Others</c:v>
                </c:pt>
                <c:pt idx="50">
                  <c:v>All Others</c:v>
                </c:pt>
                <c:pt idx="51">
                  <c:v>La Belle Et</c:v>
                </c:pt>
                <c:pt idx="52">
                  <c:v>All Others</c:v>
                </c:pt>
                <c:pt idx="53">
                  <c:v>All Others</c:v>
                </c:pt>
                <c:pt idx="54">
                  <c:v>La Belle Et</c:v>
                </c:pt>
                <c:pt idx="55">
                  <c:v>All Others</c:v>
                </c:pt>
                <c:pt idx="56">
                  <c:v>All Others</c:v>
                </c:pt>
                <c:pt idx="57">
                  <c:v>All Others</c:v>
                </c:pt>
                <c:pt idx="58">
                  <c:v>La Belle Et</c:v>
                </c:pt>
                <c:pt idx="59">
                  <c:v>All Others</c:v>
                </c:pt>
                <c:pt idx="60">
                  <c:v>All Others</c:v>
                </c:pt>
                <c:pt idx="61">
                  <c:v>All Others</c:v>
                </c:pt>
                <c:pt idx="62">
                  <c:v>Raguin</c:v>
                </c:pt>
                <c:pt idx="63">
                  <c:v>Milleret: A</c:v>
                </c:pt>
                <c:pt idx="64">
                  <c:v>La Vache Qu</c:v>
                </c:pt>
                <c:pt idx="65">
                  <c:v>Private Lab</c:v>
                </c:pt>
                <c:pt idx="66">
                  <c:v>All Others</c:v>
                </c:pt>
                <c:pt idx="67">
                  <c:v>Raguin</c:v>
                </c:pt>
                <c:pt idx="68">
                  <c:v>La Vache Qu</c:v>
                </c:pt>
                <c:pt idx="69">
                  <c:v>La Vache Qu</c:v>
                </c:pt>
              </c:strCache>
            </c:strRef>
          </c:cat>
          <c:val>
            <c:numRef>
              <c:f>Sheet1!$B$2:$B$71</c:f>
              <c:numCache>
                <c:formatCode>General</c:formatCode>
                <c:ptCount val="70"/>
                <c:pt idx="0">
                  <c:v>0.99</c:v>
                </c:pt>
                <c:pt idx="1">
                  <c:v>0.9</c:v>
                </c:pt>
                <c:pt idx="2">
                  <c:v>0.7</c:v>
                </c:pt>
                <c:pt idx="3">
                  <c:v>0.86</c:v>
                </c:pt>
                <c:pt idx="4">
                  <c:v>0.81</c:v>
                </c:pt>
                <c:pt idx="5">
                  <c:v>0.71</c:v>
                </c:pt>
                <c:pt idx="6">
                  <c:v>0.79</c:v>
                </c:pt>
                <c:pt idx="7">
                  <c:v>0.73</c:v>
                </c:pt>
                <c:pt idx="8">
                  <c:v>0.73</c:v>
                </c:pt>
                <c:pt idx="9">
                  <c:v>0.04</c:v>
                </c:pt>
                <c:pt idx="10">
                  <c:v>0.59</c:v>
                </c:pt>
                <c:pt idx="11">
                  <c:v>0.04</c:v>
                </c:pt>
                <c:pt idx="12">
                  <c:v>0.21</c:v>
                </c:pt>
                <c:pt idx="13">
                  <c:v>0.02</c:v>
                </c:pt>
                <c:pt idx="14">
                  <c:v>0.04</c:v>
                </c:pt>
                <c:pt idx="15">
                  <c:v>0.08</c:v>
                </c:pt>
                <c:pt idx="16">
                  <c:v>0.08</c:v>
                </c:pt>
                <c:pt idx="17">
                  <c:v>0.02</c:v>
                </c:pt>
                <c:pt idx="18">
                  <c:v>0.02</c:v>
                </c:pt>
                <c:pt idx="19">
                  <c:v>0.04</c:v>
                </c:pt>
                <c:pt idx="20">
                  <c:v>0.16</c:v>
                </c:pt>
                <c:pt idx="21">
                  <c:v>0.16</c:v>
                </c:pt>
                <c:pt idx="22">
                  <c:v>0.02</c:v>
                </c:pt>
                <c:pt idx="23">
                  <c:v>0.38</c:v>
                </c:pt>
                <c:pt idx="24">
                  <c:v>7.0000000000000007E-2</c:v>
                </c:pt>
                <c:pt idx="25">
                  <c:v>0.23</c:v>
                </c:pt>
                <c:pt idx="26">
                  <c:v>0.08</c:v>
                </c:pt>
                <c:pt idx="27">
                  <c:v>0.06</c:v>
                </c:pt>
                <c:pt idx="28">
                  <c:v>7.0000000000000007E-2</c:v>
                </c:pt>
                <c:pt idx="29">
                  <c:v>0.06</c:v>
                </c:pt>
                <c:pt idx="30">
                  <c:v>0.04</c:v>
                </c:pt>
                <c:pt idx="31">
                  <c:v>0.08</c:v>
                </c:pt>
                <c:pt idx="32">
                  <c:v>0.02</c:v>
                </c:pt>
                <c:pt idx="33">
                  <c:v>0.1</c:v>
                </c:pt>
                <c:pt idx="34">
                  <c:v>7.0000000000000007E-2</c:v>
                </c:pt>
                <c:pt idx="35">
                  <c:v>0.01</c:v>
                </c:pt>
                <c:pt idx="36">
                  <c:v>0.02</c:v>
                </c:pt>
                <c:pt idx="37">
                  <c:v>0.03</c:v>
                </c:pt>
                <c:pt idx="38">
                  <c:v>0.02</c:v>
                </c:pt>
                <c:pt idx="39">
                  <c:v>0.03</c:v>
                </c:pt>
                <c:pt idx="40">
                  <c:v>0.02</c:v>
                </c:pt>
                <c:pt idx="41">
                  <c:v>0.01</c:v>
                </c:pt>
                <c:pt idx="42">
                  <c:v>0.04</c:v>
                </c:pt>
                <c:pt idx="43">
                  <c:v>0.02</c:v>
                </c:pt>
                <c:pt idx="44">
                  <c:v>0.02</c:v>
                </c:pt>
                <c:pt idx="45">
                  <c:v>0.06</c:v>
                </c:pt>
                <c:pt idx="46">
                  <c:v>0.01</c:v>
                </c:pt>
                <c:pt idx="47">
                  <c:v>0.02</c:v>
                </c:pt>
                <c:pt idx="48">
                  <c:v>0.01</c:v>
                </c:pt>
                <c:pt idx="49">
                  <c:v>0.01</c:v>
                </c:pt>
                <c:pt idx="50">
                  <c:v>0.03</c:v>
                </c:pt>
                <c:pt idx="51">
                  <c:v>0.02</c:v>
                </c:pt>
                <c:pt idx="52">
                  <c:v>0.02</c:v>
                </c:pt>
                <c:pt idx="53">
                  <c:v>0.02</c:v>
                </c:pt>
                <c:pt idx="54">
                  <c:v>0.02</c:v>
                </c:pt>
                <c:pt idx="55">
                  <c:v>0.03</c:v>
                </c:pt>
                <c:pt idx="56">
                  <c:v>0.01</c:v>
                </c:pt>
                <c:pt idx="57">
                  <c:v>0.02</c:v>
                </c:pt>
                <c:pt idx="58">
                  <c:v>0.01</c:v>
                </c:pt>
                <c:pt idx="59">
                  <c:v>0.01</c:v>
                </c:pt>
                <c:pt idx="60">
                  <c:v>0.01</c:v>
                </c:pt>
                <c:pt idx="61">
                  <c:v>0.01</c:v>
                </c:pt>
                <c:pt idx="62">
                  <c:v>0.01</c:v>
                </c:pt>
                <c:pt idx="63">
                  <c:v>0.01</c:v>
                </c:pt>
                <c:pt idx="64">
                  <c:v>0.01</c:v>
                </c:pt>
                <c:pt idx="65">
                  <c:v>0.01</c:v>
                </c:pt>
                <c:pt idx="66">
                  <c:v>0.01</c:v>
                </c:pt>
                <c:pt idx="67">
                  <c:v>0.01</c:v>
                </c:pt>
                <c:pt idx="68">
                  <c:v>0.01</c:v>
                </c:pt>
                <c:pt idx="6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7ECAC4"/>
              </a:solidFill>
            </c:spPr>
            <c:extLst>
              <c:ext xmlns:c16="http://schemas.microsoft.com/office/drawing/2014/chart" uri="{C3380CC4-5D6E-409C-BE32-E72D297353CC}">
                <c16:uniqueId val="{0000004D-2993-41DE-A2CB-63102DE87051}"/>
              </c:ext>
            </c:extLst>
          </c:dPt>
          <c:dPt>
            <c:idx val="11"/>
            <c:invertIfNegative val="1"/>
            <c:bubble3D val="0"/>
            <c:spPr>
              <a:solidFill>
                <a:srgbClr val="7ECAC4"/>
              </a:solidFill>
            </c:spPr>
            <c:extLst>
              <c:ext xmlns:c16="http://schemas.microsoft.com/office/drawing/2014/chart" uri="{C3380CC4-5D6E-409C-BE32-E72D297353CC}">
                <c16:uniqueId val="{0000004F-2993-41DE-A2CB-63102DE87051}"/>
              </c:ext>
            </c:extLst>
          </c:dPt>
          <c:dPt>
            <c:idx val="12"/>
            <c:invertIfNegative val="1"/>
            <c:bubble3D val="0"/>
            <c:spPr>
              <a:solidFill>
                <a:srgbClr val="7ECAC4"/>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71</c:f>
              <c:strCache>
                <c:ptCount val="70"/>
                <c:pt idx="0">
                  <c:v>Private Lab</c:v>
                </c:pt>
                <c:pt idx="1">
                  <c:v>President</c:v>
                </c:pt>
                <c:pt idx="2">
                  <c:v>Private Lab</c:v>
                </c:pt>
                <c:pt idx="3">
                  <c:v>Private Lab</c:v>
                </c:pt>
                <c:pt idx="4">
                  <c:v>President</c:v>
                </c:pt>
                <c:pt idx="5">
                  <c:v>President</c:v>
                </c:pt>
                <c:pt idx="6">
                  <c:v>Private Lab</c:v>
                </c:pt>
                <c:pt idx="7">
                  <c:v>President</c:v>
                </c:pt>
                <c:pt idx="8">
                  <c:v>Boursin</c:v>
                </c:pt>
                <c:pt idx="9">
                  <c:v>La Belle Et</c:v>
                </c:pt>
                <c:pt idx="10">
                  <c:v>Les Mousque</c:v>
                </c:pt>
                <c:pt idx="11">
                  <c:v>La Belle Et</c:v>
                </c:pt>
                <c:pt idx="12">
                  <c:v>President</c:v>
                </c:pt>
                <c:pt idx="13">
                  <c:v>Raguin</c:v>
                </c:pt>
                <c:pt idx="14">
                  <c:v>Raguin</c:v>
                </c:pt>
                <c:pt idx="15">
                  <c:v>La Belle Et</c:v>
                </c:pt>
                <c:pt idx="16">
                  <c:v>La Belle Et</c:v>
                </c:pt>
                <c:pt idx="17">
                  <c:v>Raguin</c:v>
                </c:pt>
                <c:pt idx="18">
                  <c:v>La Belle Et</c:v>
                </c:pt>
                <c:pt idx="19">
                  <c:v>Raguin</c:v>
                </c:pt>
                <c:pt idx="20">
                  <c:v>Milleret: A</c:v>
                </c:pt>
                <c:pt idx="21">
                  <c:v>Milleret: A</c:v>
                </c:pt>
                <c:pt idx="22">
                  <c:v>La Belle Et</c:v>
                </c:pt>
                <c:pt idx="23">
                  <c:v>Richesmonts</c:v>
                </c:pt>
                <c:pt idx="24">
                  <c:v>All Others</c:v>
                </c:pt>
                <c:pt idx="25">
                  <c:v>President</c:v>
                </c:pt>
                <c:pt idx="26">
                  <c:v>All Others</c:v>
                </c:pt>
                <c:pt idx="27">
                  <c:v>All Others</c:v>
                </c:pt>
                <c:pt idx="28">
                  <c:v>All Others</c:v>
                </c:pt>
                <c:pt idx="29">
                  <c:v>All Others</c:v>
                </c:pt>
                <c:pt idx="30">
                  <c:v>Milleret: A</c:v>
                </c:pt>
                <c:pt idx="31">
                  <c:v>Milleret: A</c:v>
                </c:pt>
                <c:pt idx="32">
                  <c:v>La Belle Et</c:v>
                </c:pt>
                <c:pt idx="33">
                  <c:v>All Others</c:v>
                </c:pt>
                <c:pt idx="34">
                  <c:v>All Others</c:v>
                </c:pt>
                <c:pt idx="35">
                  <c:v>All Others</c:v>
                </c:pt>
                <c:pt idx="36">
                  <c:v>La Belle Et</c:v>
                </c:pt>
                <c:pt idx="37">
                  <c:v>All Others</c:v>
                </c:pt>
                <c:pt idx="38">
                  <c:v>La Belle Et</c:v>
                </c:pt>
                <c:pt idx="39">
                  <c:v>La Belle Et</c:v>
                </c:pt>
                <c:pt idx="40">
                  <c:v>La Belle Et</c:v>
                </c:pt>
                <c:pt idx="41">
                  <c:v>All Others</c:v>
                </c:pt>
                <c:pt idx="42">
                  <c:v>La Belle Et</c:v>
                </c:pt>
                <c:pt idx="43">
                  <c:v>La Belle Et</c:v>
                </c:pt>
                <c:pt idx="44">
                  <c:v>La Belle Et</c:v>
                </c:pt>
                <c:pt idx="45">
                  <c:v>All Others</c:v>
                </c:pt>
                <c:pt idx="46">
                  <c:v>La Belle Et</c:v>
                </c:pt>
                <c:pt idx="47">
                  <c:v>All Others</c:v>
                </c:pt>
                <c:pt idx="48">
                  <c:v>La Belle Et</c:v>
                </c:pt>
                <c:pt idx="49">
                  <c:v>All Others</c:v>
                </c:pt>
                <c:pt idx="50">
                  <c:v>All Others</c:v>
                </c:pt>
                <c:pt idx="51">
                  <c:v>La Belle Et</c:v>
                </c:pt>
                <c:pt idx="52">
                  <c:v>All Others</c:v>
                </c:pt>
                <c:pt idx="53">
                  <c:v>All Others</c:v>
                </c:pt>
                <c:pt idx="54">
                  <c:v>La Belle Et</c:v>
                </c:pt>
                <c:pt idx="55">
                  <c:v>All Others</c:v>
                </c:pt>
                <c:pt idx="56">
                  <c:v>All Others</c:v>
                </c:pt>
                <c:pt idx="57">
                  <c:v>All Others</c:v>
                </c:pt>
                <c:pt idx="58">
                  <c:v>La Belle Et</c:v>
                </c:pt>
                <c:pt idx="59">
                  <c:v>All Others</c:v>
                </c:pt>
                <c:pt idx="60">
                  <c:v>All Others</c:v>
                </c:pt>
                <c:pt idx="61">
                  <c:v>All Others</c:v>
                </c:pt>
                <c:pt idx="62">
                  <c:v>Raguin</c:v>
                </c:pt>
                <c:pt idx="63">
                  <c:v>Milleret: A</c:v>
                </c:pt>
                <c:pt idx="64">
                  <c:v>La Vache Qu</c:v>
                </c:pt>
                <c:pt idx="65">
                  <c:v>Private Lab</c:v>
                </c:pt>
                <c:pt idx="66">
                  <c:v>All Others</c:v>
                </c:pt>
                <c:pt idx="67">
                  <c:v>Raguin</c:v>
                </c:pt>
                <c:pt idx="68">
                  <c:v>La Vache Qu</c:v>
                </c:pt>
                <c:pt idx="69">
                  <c:v>La Vache Qu</c:v>
                </c:pt>
              </c:strCache>
            </c:strRef>
          </c:cat>
          <c:val>
            <c:numRef>
              <c:f>Sheet1!$C$2:$C$71</c:f>
              <c:numCache>
                <c:formatCode>General</c:formatCode>
                <c:ptCount val="70"/>
                <c:pt idx="0">
                  <c:v>0.28499798551658456</c:v>
                </c:pt>
                <c:pt idx="1">
                  <c:v>0.45012948831127664</c:v>
                </c:pt>
                <c:pt idx="2">
                  <c:v>0.55645695339563406</c:v>
                </c:pt>
                <c:pt idx="3">
                  <c:v>0.62394115423193031</c:v>
                </c:pt>
                <c:pt idx="4">
                  <c:v>0.69064489799162698</c:v>
                </c:pt>
                <c:pt idx="5">
                  <c:v>0.74466559326909165</c:v>
                </c:pt>
                <c:pt idx="6">
                  <c:v>0.79524154674570258</c:v>
                </c:pt>
                <c:pt idx="7">
                  <c:v>0.83200599327445701</c:v>
                </c:pt>
                <c:pt idx="8">
                  <c:v>0.86049789286525113</c:v>
                </c:pt>
                <c:pt idx="9">
                  <c:v>0.87381260982163744</c:v>
                </c:pt>
                <c:pt idx="10">
                  <c:v>0.88410709202488114</c:v>
                </c:pt>
                <c:pt idx="11">
                  <c:v>0.89302720471672281</c:v>
                </c:pt>
                <c:pt idx="12">
                  <c:v>0.90086406683216391</c:v>
                </c:pt>
                <c:pt idx="13">
                  <c:v>0.90805783430364695</c:v>
                </c:pt>
                <c:pt idx="14">
                  <c:v>0.91506381515835422</c:v>
                </c:pt>
                <c:pt idx="15">
                  <c:v>0.92124338586225096</c:v>
                </c:pt>
                <c:pt idx="16">
                  <c:v>0.92707694233708882</c:v>
                </c:pt>
                <c:pt idx="17">
                  <c:v>0.93244401300993618</c:v>
                </c:pt>
                <c:pt idx="18">
                  <c:v>0.93765186249051735</c:v>
                </c:pt>
                <c:pt idx="19">
                  <c:v>0.94242477233356647</c:v>
                </c:pt>
                <c:pt idx="20">
                  <c:v>0.94702256370462234</c:v>
                </c:pt>
                <c:pt idx="21">
                  <c:v>0.95126688899674727</c:v>
                </c:pt>
                <c:pt idx="22">
                  <c:v>0.9552362410285935</c:v>
                </c:pt>
                <c:pt idx="23">
                  <c:v>0.95897980200931654</c:v>
                </c:pt>
                <c:pt idx="24">
                  <c:v>0.96265555115620394</c:v>
                </c:pt>
                <c:pt idx="25">
                  <c:v>0.96610401888199371</c:v>
                </c:pt>
                <c:pt idx="26">
                  <c:v>0.96904849316143704</c:v>
                </c:pt>
                <c:pt idx="27">
                  <c:v>0.97167626382131822</c:v>
                </c:pt>
                <c:pt idx="28">
                  <c:v>0.97427695942666426</c:v>
                </c:pt>
                <c:pt idx="29">
                  <c:v>0.97658032622211544</c:v>
                </c:pt>
                <c:pt idx="30">
                  <c:v>0.97843409807528614</c:v>
                </c:pt>
                <c:pt idx="31">
                  <c:v>0.98026352721887489</c:v>
                </c:pt>
                <c:pt idx="32">
                  <c:v>0.9820743267377835</c:v>
                </c:pt>
                <c:pt idx="33">
                  <c:v>0.98370876580972022</c:v>
                </c:pt>
                <c:pt idx="34">
                  <c:v>0.98492267215387741</c:v>
                </c:pt>
                <c:pt idx="35">
                  <c:v>0.98598754150059364</c:v>
                </c:pt>
                <c:pt idx="36">
                  <c:v>0.98704992689735249</c:v>
                </c:pt>
                <c:pt idx="37">
                  <c:v>0.98809095032447813</c:v>
                </c:pt>
                <c:pt idx="38">
                  <c:v>0.9891207959767957</c:v>
                </c:pt>
                <c:pt idx="39">
                  <c:v>0.9900681744905292</c:v>
                </c:pt>
                <c:pt idx="40">
                  <c:v>0.99099543300960813</c:v>
                </c:pt>
                <c:pt idx="41">
                  <c:v>0.99185090537491971</c:v>
                </c:pt>
                <c:pt idx="42">
                  <c:v>0.99266862170087955</c:v>
                </c:pt>
                <c:pt idx="43">
                  <c:v>0.99340983236815295</c:v>
                </c:pt>
                <c:pt idx="44">
                  <c:v>0.99411552255103619</c:v>
                </c:pt>
                <c:pt idx="45">
                  <c:v>0.99474619744520754</c:v>
                </c:pt>
                <c:pt idx="46">
                  <c:v>0.99531328322047063</c:v>
                </c:pt>
                <c:pt idx="47">
                  <c:v>0.99587515270082339</c:v>
                </c:pt>
                <c:pt idx="48">
                  <c:v>0.99632077332317204</c:v>
                </c:pt>
                <c:pt idx="49">
                  <c:v>0.99674453518589601</c:v>
                </c:pt>
                <c:pt idx="50">
                  <c:v>0.99712209557941334</c:v>
                </c:pt>
                <c:pt idx="51">
                  <c:v>0.99746512906852347</c:v>
                </c:pt>
                <c:pt idx="52">
                  <c:v>0.99776047071845242</c:v>
                </c:pt>
                <c:pt idx="53">
                  <c:v>0.9980466217535392</c:v>
                </c:pt>
                <c:pt idx="54">
                  <c:v>0.99831141081899277</c:v>
                </c:pt>
                <c:pt idx="55">
                  <c:v>0.99856129618470224</c:v>
                </c:pt>
                <c:pt idx="56">
                  <c:v>0.99877839341097463</c:v>
                </c:pt>
                <c:pt idx="57">
                  <c:v>0.99896046694284846</c:v>
                </c:pt>
                <c:pt idx="58">
                  <c:v>0.99911869455513169</c:v>
                </c:pt>
                <c:pt idx="59">
                  <c:v>0.99926475081262389</c:v>
                </c:pt>
                <c:pt idx="60">
                  <c:v>0.99939317102541891</c:v>
                </c:pt>
                <c:pt idx="61">
                  <c:v>0.99948507717384083</c:v>
                </c:pt>
                <c:pt idx="62">
                  <c:v>0.99964206281114543</c:v>
                </c:pt>
                <c:pt idx="63">
                  <c:v>0.99968478675041184</c:v>
                </c:pt>
                <c:pt idx="64">
                  <c:v>0.9998318365878871</c:v>
                </c:pt>
                <c:pt idx="65">
                  <c:v>0.99989095459687205</c:v>
                </c:pt>
                <c:pt idx="66">
                  <c:v>0.99991529730645412</c:v>
                </c:pt>
                <c:pt idx="67">
                  <c:v>0.99995628248075041</c:v>
                </c:pt>
                <c:pt idx="68">
                  <c:v>0.99999701926005091</c:v>
                </c:pt>
                <c:pt idx="69">
                  <c:v>0.9999999999999997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6</c:f>
              <c:strCache>
                <c:ptCount val="55"/>
                <c:pt idx="0">
                  <c:v>La Vache Qu</c:v>
                </c:pt>
                <c:pt idx="1">
                  <c:v>Mini Babybe</c:v>
                </c:pt>
                <c:pt idx="2">
                  <c:v>Mini Babybe</c:v>
                </c:pt>
                <c:pt idx="3">
                  <c:v>La Vache Qu</c:v>
                </c:pt>
                <c:pt idx="4">
                  <c:v>La Vache Qu</c:v>
                </c:pt>
                <c:pt idx="5">
                  <c:v>Kiri</c:v>
                </c:pt>
                <c:pt idx="6">
                  <c:v>Kiri</c:v>
                </c:pt>
                <c:pt idx="7">
                  <c:v>Ficello</c:v>
                </c:pt>
                <c:pt idx="8">
                  <c:v>Kiri</c:v>
                </c:pt>
                <c:pt idx="9">
                  <c:v>Kiri</c:v>
                </c:pt>
                <c:pt idx="10">
                  <c:v>Ficello</c:v>
                </c:pt>
                <c:pt idx="11">
                  <c:v>Kiri</c:v>
                </c:pt>
                <c:pt idx="12">
                  <c:v>La Vache Qu</c:v>
                </c:pt>
                <c:pt idx="13">
                  <c:v>Mini Babybe</c:v>
                </c:pt>
                <c:pt idx="14">
                  <c:v>La Vache Qu</c:v>
                </c:pt>
                <c:pt idx="15">
                  <c:v>Mini Babybe</c:v>
                </c:pt>
                <c:pt idx="16">
                  <c:v>Private Lab</c:v>
                </c:pt>
                <c:pt idx="17">
                  <c:v>La Vache Qu</c:v>
                </c:pt>
                <c:pt idx="18">
                  <c:v>Kiri</c:v>
                </c:pt>
                <c:pt idx="19">
                  <c:v>P'Tit Louis</c:v>
                </c:pt>
                <c:pt idx="20">
                  <c:v>Mini Babybe</c:v>
                </c:pt>
                <c:pt idx="21">
                  <c:v>Private Lab</c:v>
                </c:pt>
                <c:pt idx="22">
                  <c:v>Mini Babybe</c:v>
                </c:pt>
                <c:pt idx="23">
                  <c:v>Ficello</c:v>
                </c:pt>
                <c:pt idx="24">
                  <c:v>Mini Babybe</c:v>
                </c:pt>
                <c:pt idx="25">
                  <c:v>Private Lab</c:v>
                </c:pt>
                <c:pt idx="26">
                  <c:v>P'Tit Louis</c:v>
                </c:pt>
                <c:pt idx="27">
                  <c:v>Mini Babybe</c:v>
                </c:pt>
                <c:pt idx="28">
                  <c:v>La Vache Qu</c:v>
                </c:pt>
                <c:pt idx="29">
                  <c:v>P'Tit Louis</c:v>
                </c:pt>
                <c:pt idx="30">
                  <c:v>La Vache Qu</c:v>
                </c:pt>
                <c:pt idx="31">
                  <c:v>Private Lab</c:v>
                </c:pt>
                <c:pt idx="32">
                  <c:v>Ficello</c:v>
                </c:pt>
                <c:pt idx="33">
                  <c:v>Private Lab</c:v>
                </c:pt>
                <c:pt idx="34">
                  <c:v>Kiri</c:v>
                </c:pt>
                <c:pt idx="35">
                  <c:v>Mini Babybe</c:v>
                </c:pt>
                <c:pt idx="36">
                  <c:v>Private Lab</c:v>
                </c:pt>
                <c:pt idx="37">
                  <c:v>Mini Babybe</c:v>
                </c:pt>
                <c:pt idx="38">
                  <c:v>La Vache Qu</c:v>
                </c:pt>
                <c:pt idx="39">
                  <c:v>Mini Babybe</c:v>
                </c:pt>
                <c:pt idx="40">
                  <c:v>Ficello</c:v>
                </c:pt>
                <c:pt idx="41">
                  <c:v>Private Lab</c:v>
                </c:pt>
                <c:pt idx="42">
                  <c:v>Mini Babybe</c:v>
                </c:pt>
                <c:pt idx="43">
                  <c:v>Private Lab</c:v>
                </c:pt>
                <c:pt idx="44">
                  <c:v>P'Tit Louis</c:v>
                </c:pt>
                <c:pt idx="45">
                  <c:v>Mini Babybe</c:v>
                </c:pt>
                <c:pt idx="46">
                  <c:v>Mini Babybe</c:v>
                </c:pt>
                <c:pt idx="47">
                  <c:v>La Vache Qu</c:v>
                </c:pt>
                <c:pt idx="48">
                  <c:v>La Vache Qu</c:v>
                </c:pt>
                <c:pt idx="49">
                  <c:v>Kiri</c:v>
                </c:pt>
                <c:pt idx="50">
                  <c:v>Mini Babybe</c:v>
                </c:pt>
                <c:pt idx="51">
                  <c:v>Lactalis: A</c:v>
                </c:pt>
                <c:pt idx="52">
                  <c:v>Mini Babybe</c:v>
                </c:pt>
                <c:pt idx="53">
                  <c:v>Ficello</c:v>
                </c:pt>
                <c:pt idx="54">
                  <c:v>Mini Babybe</c:v>
                </c:pt>
              </c:strCache>
            </c:strRef>
          </c:cat>
          <c:val>
            <c:numRef>
              <c:f>Sheet1!$B$2:$B$56</c:f>
              <c:numCache>
                <c:formatCode>General</c:formatCode>
                <c:ptCount val="55"/>
                <c:pt idx="0">
                  <c:v>0.82699999999999996</c:v>
                </c:pt>
                <c:pt idx="1">
                  <c:v>0.86799999999999999</c:v>
                </c:pt>
                <c:pt idx="2">
                  <c:v>0.99</c:v>
                </c:pt>
                <c:pt idx="3">
                  <c:v>0.89800000000000002</c:v>
                </c:pt>
                <c:pt idx="4">
                  <c:v>0.98099999999999998</c:v>
                </c:pt>
                <c:pt idx="5">
                  <c:v>0.77800000000000002</c:v>
                </c:pt>
                <c:pt idx="6">
                  <c:v>0.99</c:v>
                </c:pt>
                <c:pt idx="7">
                  <c:v>0.83699999999999997</c:v>
                </c:pt>
                <c:pt idx="8">
                  <c:v>0.83399999999999996</c:v>
                </c:pt>
                <c:pt idx="9">
                  <c:v>0.94899999999999995</c:v>
                </c:pt>
                <c:pt idx="10">
                  <c:v>0.94599999999999995</c:v>
                </c:pt>
                <c:pt idx="11">
                  <c:v>0.73199999999999998</c:v>
                </c:pt>
                <c:pt idx="12">
                  <c:v>0.90800000000000003</c:v>
                </c:pt>
                <c:pt idx="13">
                  <c:v>0.82</c:v>
                </c:pt>
                <c:pt idx="14">
                  <c:v>0.69399999999999995</c:v>
                </c:pt>
                <c:pt idx="15">
                  <c:v>0.80800000000000005</c:v>
                </c:pt>
                <c:pt idx="16">
                  <c:v>0.88500000000000001</c:v>
                </c:pt>
                <c:pt idx="17">
                  <c:v>0.72499999999999998</c:v>
                </c:pt>
                <c:pt idx="18">
                  <c:v>0.71599999999999997</c:v>
                </c:pt>
                <c:pt idx="19">
                  <c:v>0.86699999999999999</c:v>
                </c:pt>
                <c:pt idx="20">
                  <c:v>0.443</c:v>
                </c:pt>
                <c:pt idx="21">
                  <c:v>0.77100000000000002</c:v>
                </c:pt>
                <c:pt idx="22">
                  <c:v>0.73599999999999999</c:v>
                </c:pt>
                <c:pt idx="23">
                  <c:v>0.63600000000000001</c:v>
                </c:pt>
                <c:pt idx="24">
                  <c:v>0.69199999999999995</c:v>
                </c:pt>
                <c:pt idx="25">
                  <c:v>0.45600000000000002</c:v>
                </c:pt>
                <c:pt idx="26">
                  <c:v>0.60799999999999998</c:v>
                </c:pt>
                <c:pt idx="27">
                  <c:v>0.61799999999999999</c:v>
                </c:pt>
                <c:pt idx="28">
                  <c:v>0.434</c:v>
                </c:pt>
                <c:pt idx="29">
                  <c:v>0.752</c:v>
                </c:pt>
                <c:pt idx="30">
                  <c:v>0.495</c:v>
                </c:pt>
                <c:pt idx="31">
                  <c:v>0.75</c:v>
                </c:pt>
                <c:pt idx="32">
                  <c:v>0.64400000000000002</c:v>
                </c:pt>
                <c:pt idx="33">
                  <c:v>0.84099999999999997</c:v>
                </c:pt>
                <c:pt idx="34">
                  <c:v>0.502</c:v>
                </c:pt>
                <c:pt idx="35">
                  <c:v>0.69699999999999995</c:v>
                </c:pt>
                <c:pt idx="36">
                  <c:v>0.42399999999999999</c:v>
                </c:pt>
                <c:pt idx="37">
                  <c:v>0.42299999999999999</c:v>
                </c:pt>
                <c:pt idx="38">
                  <c:v>0.48199999999999998</c:v>
                </c:pt>
                <c:pt idx="39">
                  <c:v>0.64500000000000002</c:v>
                </c:pt>
                <c:pt idx="40">
                  <c:v>0.45200000000000001</c:v>
                </c:pt>
                <c:pt idx="41">
                  <c:v>0.63</c:v>
                </c:pt>
                <c:pt idx="42">
                  <c:v>0.31900000000000001</c:v>
                </c:pt>
                <c:pt idx="43">
                  <c:v>0.69399999999999995</c:v>
                </c:pt>
                <c:pt idx="44">
                  <c:v>0.57099999999999995</c:v>
                </c:pt>
                <c:pt idx="45">
                  <c:v>0.128</c:v>
                </c:pt>
                <c:pt idx="46">
                  <c:v>0.31</c:v>
                </c:pt>
                <c:pt idx="47">
                  <c:v>3.6999999999999998E-2</c:v>
                </c:pt>
                <c:pt idx="48">
                  <c:v>8.0000000000000002E-3</c:v>
                </c:pt>
                <c:pt idx="49">
                  <c:v>0.26700000000000002</c:v>
                </c:pt>
                <c:pt idx="50">
                  <c:v>0.316</c:v>
                </c:pt>
                <c:pt idx="51">
                  <c:v>8.0000000000000002E-3</c:v>
                </c:pt>
                <c:pt idx="52">
                  <c:v>2.3E-2</c:v>
                </c:pt>
                <c:pt idx="53">
                  <c:v>5.0000000000000001E-3</c:v>
                </c:pt>
                <c:pt idx="54">
                  <c:v>5.000000000000000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6</c:f>
              <c:strCache>
                <c:ptCount val="55"/>
                <c:pt idx="0">
                  <c:v>La Vache Qu</c:v>
                </c:pt>
                <c:pt idx="1">
                  <c:v>Mini Babybe</c:v>
                </c:pt>
                <c:pt idx="2">
                  <c:v>Mini Babybe</c:v>
                </c:pt>
                <c:pt idx="3">
                  <c:v>La Vache Qu</c:v>
                </c:pt>
                <c:pt idx="4">
                  <c:v>La Vache Qu</c:v>
                </c:pt>
                <c:pt idx="5">
                  <c:v>Kiri</c:v>
                </c:pt>
                <c:pt idx="6">
                  <c:v>Kiri</c:v>
                </c:pt>
                <c:pt idx="7">
                  <c:v>Ficello</c:v>
                </c:pt>
                <c:pt idx="8">
                  <c:v>Kiri</c:v>
                </c:pt>
                <c:pt idx="9">
                  <c:v>Kiri</c:v>
                </c:pt>
                <c:pt idx="10">
                  <c:v>Ficello</c:v>
                </c:pt>
                <c:pt idx="11">
                  <c:v>Kiri</c:v>
                </c:pt>
                <c:pt idx="12">
                  <c:v>La Vache Qu</c:v>
                </c:pt>
                <c:pt idx="13">
                  <c:v>Mini Babybe</c:v>
                </c:pt>
                <c:pt idx="14">
                  <c:v>La Vache Qu</c:v>
                </c:pt>
                <c:pt idx="15">
                  <c:v>Mini Babybe</c:v>
                </c:pt>
                <c:pt idx="16">
                  <c:v>Private Lab</c:v>
                </c:pt>
                <c:pt idx="17">
                  <c:v>La Vache Qu</c:v>
                </c:pt>
                <c:pt idx="18">
                  <c:v>Kiri</c:v>
                </c:pt>
                <c:pt idx="19">
                  <c:v>P'Tit Louis</c:v>
                </c:pt>
                <c:pt idx="20">
                  <c:v>Mini Babybe</c:v>
                </c:pt>
                <c:pt idx="21">
                  <c:v>Private Lab</c:v>
                </c:pt>
                <c:pt idx="22">
                  <c:v>Mini Babybe</c:v>
                </c:pt>
                <c:pt idx="23">
                  <c:v>Ficello</c:v>
                </c:pt>
                <c:pt idx="24">
                  <c:v>Mini Babybe</c:v>
                </c:pt>
                <c:pt idx="25">
                  <c:v>Private Lab</c:v>
                </c:pt>
                <c:pt idx="26">
                  <c:v>P'Tit Louis</c:v>
                </c:pt>
                <c:pt idx="27">
                  <c:v>Mini Babybe</c:v>
                </c:pt>
                <c:pt idx="28">
                  <c:v>La Vache Qu</c:v>
                </c:pt>
                <c:pt idx="29">
                  <c:v>P'Tit Louis</c:v>
                </c:pt>
                <c:pt idx="30">
                  <c:v>La Vache Qu</c:v>
                </c:pt>
                <c:pt idx="31">
                  <c:v>Private Lab</c:v>
                </c:pt>
                <c:pt idx="32">
                  <c:v>Ficello</c:v>
                </c:pt>
                <c:pt idx="33">
                  <c:v>Private Lab</c:v>
                </c:pt>
                <c:pt idx="34">
                  <c:v>Kiri</c:v>
                </c:pt>
                <c:pt idx="35">
                  <c:v>Mini Babybe</c:v>
                </c:pt>
                <c:pt idx="36">
                  <c:v>Private Lab</c:v>
                </c:pt>
                <c:pt idx="37">
                  <c:v>Mini Babybe</c:v>
                </c:pt>
                <c:pt idx="38">
                  <c:v>La Vache Qu</c:v>
                </c:pt>
                <c:pt idx="39">
                  <c:v>Mini Babybe</c:v>
                </c:pt>
                <c:pt idx="40">
                  <c:v>Ficello</c:v>
                </c:pt>
                <c:pt idx="41">
                  <c:v>Private Lab</c:v>
                </c:pt>
                <c:pt idx="42">
                  <c:v>Mini Babybe</c:v>
                </c:pt>
                <c:pt idx="43">
                  <c:v>Private Lab</c:v>
                </c:pt>
                <c:pt idx="44">
                  <c:v>P'Tit Louis</c:v>
                </c:pt>
                <c:pt idx="45">
                  <c:v>Mini Babybe</c:v>
                </c:pt>
                <c:pt idx="46">
                  <c:v>Mini Babybe</c:v>
                </c:pt>
                <c:pt idx="47">
                  <c:v>La Vache Qu</c:v>
                </c:pt>
                <c:pt idx="48">
                  <c:v>La Vache Qu</c:v>
                </c:pt>
                <c:pt idx="49">
                  <c:v>Kiri</c:v>
                </c:pt>
                <c:pt idx="50">
                  <c:v>Mini Babybe</c:v>
                </c:pt>
                <c:pt idx="51">
                  <c:v>Lactalis: A</c:v>
                </c:pt>
                <c:pt idx="52">
                  <c:v>Mini Babybe</c:v>
                </c:pt>
                <c:pt idx="53">
                  <c:v>Ficello</c:v>
                </c:pt>
                <c:pt idx="54">
                  <c:v>Mini Babybe</c:v>
                </c:pt>
              </c:strCache>
            </c:strRef>
          </c:cat>
          <c:val>
            <c:numRef>
              <c:f>Sheet1!$C$2:$C$56</c:f>
              <c:numCache>
                <c:formatCode>General</c:formatCode>
                <c:ptCount val="55"/>
                <c:pt idx="0">
                  <c:v>0.1241101125242158</c:v>
                </c:pt>
                <c:pt idx="1">
                  <c:v>0.21455621213171716</c:v>
                </c:pt>
                <c:pt idx="2">
                  <c:v>0.28940398610699886</c:v>
                </c:pt>
                <c:pt idx="3">
                  <c:v>0.35797733744769644</c:v>
                </c:pt>
                <c:pt idx="4">
                  <c:v>0.42461022667459741</c:v>
                </c:pt>
                <c:pt idx="5">
                  <c:v>0.49101282280199066</c:v>
                </c:pt>
                <c:pt idx="6">
                  <c:v>0.54054006867142668</c:v>
                </c:pt>
                <c:pt idx="7">
                  <c:v>0.58406395449722093</c:v>
                </c:pt>
                <c:pt idx="8">
                  <c:v>0.62154862871270289</c:v>
                </c:pt>
                <c:pt idx="9">
                  <c:v>0.65584623601752201</c:v>
                </c:pt>
                <c:pt idx="10">
                  <c:v>0.68850991787086624</c:v>
                </c:pt>
                <c:pt idx="11">
                  <c:v>0.73093749445553791</c:v>
                </c:pt>
                <c:pt idx="12">
                  <c:v>0.74958379046964485</c:v>
                </c:pt>
                <c:pt idx="13">
                  <c:v>0.76770526316937415</c:v>
                </c:pt>
                <c:pt idx="14">
                  <c:v>0.80111309310120227</c:v>
                </c:pt>
                <c:pt idx="15">
                  <c:v>0.81672212491931562</c:v>
                </c:pt>
                <c:pt idx="16">
                  <c:v>0.83225238605336094</c:v>
                </c:pt>
                <c:pt idx="17">
                  <c:v>0.84697399984405242</c:v>
                </c:pt>
                <c:pt idx="18">
                  <c:v>0.85927182123064549</c:v>
                </c:pt>
                <c:pt idx="19">
                  <c:v>0.8699610722661465</c:v>
                </c:pt>
                <c:pt idx="20">
                  <c:v>0.88042857627609017</c:v>
                </c:pt>
                <c:pt idx="21">
                  <c:v>0.89025772526286973</c:v>
                </c:pt>
                <c:pt idx="22">
                  <c:v>0.90846497328151232</c:v>
                </c:pt>
                <c:pt idx="23">
                  <c:v>0.92125179787375344</c:v>
                </c:pt>
                <c:pt idx="24">
                  <c:v>0.92706821386047766</c:v>
                </c:pt>
                <c:pt idx="25">
                  <c:v>0.93277278638124483</c:v>
                </c:pt>
                <c:pt idx="26">
                  <c:v>0.94366732145322085</c:v>
                </c:pt>
                <c:pt idx="27">
                  <c:v>0.94859154829148351</c:v>
                </c:pt>
                <c:pt idx="28">
                  <c:v>0.95323608257701098</c:v>
                </c:pt>
                <c:pt idx="29">
                  <c:v>0.95781813090588752</c:v>
                </c:pt>
                <c:pt idx="30">
                  <c:v>0.96164562906381534</c:v>
                </c:pt>
                <c:pt idx="31">
                  <c:v>0.96545515425149653</c:v>
                </c:pt>
                <c:pt idx="32">
                  <c:v>0.97254667592956201</c:v>
                </c:pt>
                <c:pt idx="33">
                  <c:v>0.97579604004923015</c:v>
                </c:pt>
                <c:pt idx="34">
                  <c:v>0.97893736711379276</c:v>
                </c:pt>
                <c:pt idx="35">
                  <c:v>0.98454145248527558</c:v>
                </c:pt>
                <c:pt idx="36">
                  <c:v>0.98697081294491718</c:v>
                </c:pt>
                <c:pt idx="37">
                  <c:v>0.98863642702888055</c:v>
                </c:pt>
                <c:pt idx="38">
                  <c:v>0.99029464849672733</c:v>
                </c:pt>
                <c:pt idx="39">
                  <c:v>0.9918904049798839</c:v>
                </c:pt>
                <c:pt idx="40">
                  <c:v>0.99336550977362525</c:v>
                </c:pt>
                <c:pt idx="41">
                  <c:v>0.99576485935762749</c:v>
                </c:pt>
                <c:pt idx="42">
                  <c:v>0.99665811807608051</c:v>
                </c:pt>
                <c:pt idx="43">
                  <c:v>0.99735353780407665</c:v>
                </c:pt>
                <c:pt idx="44">
                  <c:v>0.99795259137304926</c:v>
                </c:pt>
                <c:pt idx="45">
                  <c:v>0.99838800073334699</c:v>
                </c:pt>
                <c:pt idx="46">
                  <c:v>0.99874274144714115</c:v>
                </c:pt>
                <c:pt idx="47">
                  <c:v>0.99905780321145266</c:v>
                </c:pt>
                <c:pt idx="48">
                  <c:v>0.99930433909445626</c:v>
                </c:pt>
                <c:pt idx="49">
                  <c:v>0.99948294679702954</c:v>
                </c:pt>
                <c:pt idx="50">
                  <c:v>0.99981265747583026</c:v>
                </c:pt>
                <c:pt idx="51">
                  <c:v>0.99990066630854901</c:v>
                </c:pt>
                <c:pt idx="52">
                  <c:v>0.99997985643182941</c:v>
                </c:pt>
                <c:pt idx="53">
                  <c:v>0.99999930792529934</c:v>
                </c:pt>
                <c:pt idx="54">
                  <c:v>0.99999960153274792</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Caprice Des Dieux</c:v>
                </c:pt>
                <c:pt idx="4">
                  <c:v>St Moret</c:v>
                </c:pt>
                <c:pt idx="5">
                  <c:v>La Vache Qui Rit</c:v>
                </c:pt>
                <c:pt idx="6">
                  <c:v>Coeur De Lion</c:v>
                </c:pt>
                <c:pt idx="7">
                  <c:v>Kiri</c:v>
                </c:pt>
                <c:pt idx="8">
                  <c:v>Boursin</c:v>
                </c:pt>
                <c:pt idx="9">
                  <c:v>Others</c:v>
                </c:pt>
              </c:strCache>
            </c:strRef>
          </c:cat>
          <c:val>
            <c:numRef>
              <c:f>Sheet1!$B$2:$B$11</c:f>
              <c:numCache>
                <c:formatCode>General</c:formatCode>
                <c:ptCount val="10"/>
                <c:pt idx="0">
                  <c:v>0.3490072175593365</c:v>
                </c:pt>
                <c:pt idx="1">
                  <c:v>5.2351736412255725E-2</c:v>
                </c:pt>
                <c:pt idx="2">
                  <c:v>4.5591739771515725E-2</c:v>
                </c:pt>
                <c:pt idx="3">
                  <c:v>4.3103530108957851E-2</c:v>
                </c:pt>
                <c:pt idx="4">
                  <c:v>4.1019118021462637E-2</c:v>
                </c:pt>
                <c:pt idx="5">
                  <c:v>4.0372056331154343E-2</c:v>
                </c:pt>
                <c:pt idx="6">
                  <c:v>3.3972642171682617E-2</c:v>
                </c:pt>
                <c:pt idx="7">
                  <c:v>3.0232792796173455E-2</c:v>
                </c:pt>
                <c:pt idx="8">
                  <c:v>2.041301274926095E-2</c:v>
                </c:pt>
                <c:pt idx="9">
                  <c:v>0.34393615407820027</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Caprice Des Dieux</c:v>
                </c:pt>
                <c:pt idx="4">
                  <c:v>St Moret</c:v>
                </c:pt>
                <c:pt idx="5">
                  <c:v>La Vache Qui Rit</c:v>
                </c:pt>
                <c:pt idx="6">
                  <c:v>Coeur De Lion</c:v>
                </c:pt>
                <c:pt idx="7">
                  <c:v>Kiri</c:v>
                </c:pt>
                <c:pt idx="8">
                  <c:v>Boursin</c:v>
                </c:pt>
                <c:pt idx="9">
                  <c:v>Others</c:v>
                </c:pt>
              </c:strCache>
            </c:strRef>
          </c:cat>
          <c:val>
            <c:numRef>
              <c:f>Sheet1!$C$2:$C$11</c:f>
              <c:numCache>
                <c:formatCode>General</c:formatCode>
                <c:ptCount val="10"/>
                <c:pt idx="0">
                  <c:v>0.18009438602963795</c:v>
                </c:pt>
                <c:pt idx="1">
                  <c:v>3.7221504847404149E-2</c:v>
                </c:pt>
                <c:pt idx="2">
                  <c:v>3.1633667425034359E-2</c:v>
                </c:pt>
                <c:pt idx="3">
                  <c:v>2.5318206972883256E-2</c:v>
                </c:pt>
                <c:pt idx="4">
                  <c:v>3.1843755764619099E-2</c:v>
                </c:pt>
                <c:pt idx="5">
                  <c:v>2.0552788538400067E-2</c:v>
                </c:pt>
                <c:pt idx="6">
                  <c:v>1.8252065014654956E-2</c:v>
                </c:pt>
                <c:pt idx="7">
                  <c:v>2.2979052655311666E-2</c:v>
                </c:pt>
                <c:pt idx="8">
                  <c:v>3.6519502346840503E-2</c:v>
                </c:pt>
                <c:pt idx="9">
                  <c:v>0.59558507040521458</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President</c:v>
                </c:pt>
                <c:pt idx="2">
                  <c:v>Soignon</c:v>
                </c:pt>
                <c:pt idx="3">
                  <c:v>Caprice Des Dieux</c:v>
                </c:pt>
                <c:pt idx="4">
                  <c:v>St Moret</c:v>
                </c:pt>
                <c:pt idx="5">
                  <c:v>La Vache Qui Rit</c:v>
                </c:pt>
                <c:pt idx="6">
                  <c:v>Coeur De Lion</c:v>
                </c:pt>
                <c:pt idx="7">
                  <c:v>Kiri</c:v>
                </c:pt>
                <c:pt idx="8">
                  <c:v>Boursin</c:v>
                </c:pt>
                <c:pt idx="9">
                  <c:v>Others</c:v>
                </c:pt>
              </c:strCache>
            </c:strRef>
          </c:cat>
          <c:val>
            <c:numRef>
              <c:f>Sheet1!$D$2:$D$11</c:f>
              <c:numCache>
                <c:formatCode>General</c:formatCode>
                <c:ptCount val="10"/>
                <c:pt idx="0">
                  <c:v>51.601908776863382</c:v>
                </c:pt>
                <c:pt idx="1">
                  <c:v>71.098892602711189</c:v>
                </c:pt>
                <c:pt idx="2">
                  <c:v>69.384646393332133</c:v>
                </c:pt>
                <c:pt idx="3">
                  <c:v>58.738128661117671</c:v>
                </c:pt>
                <c:pt idx="4">
                  <c:v>77.631497946780158</c:v>
                </c:pt>
                <c:pt idx="5">
                  <c:v>50.908451057866657</c:v>
                </c:pt>
                <c:pt idx="6">
                  <c:v>53.725774175635621</c:v>
                </c:pt>
                <c:pt idx="7">
                  <c:v>76.00704576065533</c:v>
                </c:pt>
                <c:pt idx="8">
                  <c:v>178.90304971353476</c:v>
                </c:pt>
                <c:pt idx="9">
                  <c:v>173.16733450179746</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0</c:f>
              <c:strCache>
                <c:ptCount val="39"/>
                <c:pt idx="0">
                  <c:v>Mini Babybe</c:v>
                </c:pt>
                <c:pt idx="1">
                  <c:v>La Vache Qu</c:v>
                </c:pt>
                <c:pt idx="2">
                  <c:v>La Vache Qu</c:v>
                </c:pt>
                <c:pt idx="3">
                  <c:v>Mini Babybe</c:v>
                </c:pt>
                <c:pt idx="4">
                  <c:v>La Vache Qu</c:v>
                </c:pt>
                <c:pt idx="5">
                  <c:v>Kiri</c:v>
                </c:pt>
                <c:pt idx="6">
                  <c:v>Private Lab</c:v>
                </c:pt>
                <c:pt idx="7">
                  <c:v>Private Lab</c:v>
                </c:pt>
                <c:pt idx="8">
                  <c:v>Kiri</c:v>
                </c:pt>
                <c:pt idx="9">
                  <c:v>Ficello</c:v>
                </c:pt>
                <c:pt idx="10">
                  <c:v>Kiri</c:v>
                </c:pt>
                <c:pt idx="11">
                  <c:v>Kiri</c:v>
                </c:pt>
                <c:pt idx="12">
                  <c:v>Kiri</c:v>
                </c:pt>
                <c:pt idx="13">
                  <c:v>Mini Babybe</c:v>
                </c:pt>
                <c:pt idx="14">
                  <c:v>Ficello</c:v>
                </c:pt>
                <c:pt idx="15">
                  <c:v>Private Lab</c:v>
                </c:pt>
                <c:pt idx="16">
                  <c:v>La Vache Qu</c:v>
                </c:pt>
                <c:pt idx="17">
                  <c:v>Ficello</c:v>
                </c:pt>
                <c:pt idx="18">
                  <c:v>P'Tit Louis</c:v>
                </c:pt>
                <c:pt idx="19">
                  <c:v>La Vache Qu</c:v>
                </c:pt>
                <c:pt idx="20">
                  <c:v>Private Lab</c:v>
                </c:pt>
                <c:pt idx="21">
                  <c:v>La Vache Qu</c:v>
                </c:pt>
                <c:pt idx="22">
                  <c:v>Mini Babybe</c:v>
                </c:pt>
                <c:pt idx="23">
                  <c:v>Mini Babybe</c:v>
                </c:pt>
                <c:pt idx="24">
                  <c:v>La Vache Qu</c:v>
                </c:pt>
                <c:pt idx="25">
                  <c:v>Kiri</c:v>
                </c:pt>
                <c:pt idx="26">
                  <c:v>Kiri</c:v>
                </c:pt>
                <c:pt idx="27">
                  <c:v>Mini Babybe</c:v>
                </c:pt>
                <c:pt idx="28">
                  <c:v>Mini Babybe</c:v>
                </c:pt>
                <c:pt idx="29">
                  <c:v>Kiri</c:v>
                </c:pt>
                <c:pt idx="30">
                  <c:v>P'Tit Louis</c:v>
                </c:pt>
                <c:pt idx="31">
                  <c:v>Mini Babybe</c:v>
                </c:pt>
                <c:pt idx="32">
                  <c:v>Mini Babybe</c:v>
                </c:pt>
                <c:pt idx="33">
                  <c:v>La Vache Qu</c:v>
                </c:pt>
                <c:pt idx="34">
                  <c:v>Mini Babybe</c:v>
                </c:pt>
                <c:pt idx="35">
                  <c:v>Mini Babybe</c:v>
                </c:pt>
                <c:pt idx="36">
                  <c:v>La Vache Qu</c:v>
                </c:pt>
                <c:pt idx="37">
                  <c:v>Private Lab</c:v>
                </c:pt>
                <c:pt idx="38">
                  <c:v>Private Lab</c:v>
                </c:pt>
              </c:strCache>
            </c:strRef>
          </c:cat>
          <c:val>
            <c:numRef>
              <c:f>Sheet1!$B$2:$B$40</c:f>
              <c:numCache>
                <c:formatCode>General</c:formatCode>
                <c:ptCount val="39"/>
                <c:pt idx="0">
                  <c:v>0.98599999999999999</c:v>
                </c:pt>
                <c:pt idx="1">
                  <c:v>0.94699999999999995</c:v>
                </c:pt>
                <c:pt idx="2">
                  <c:v>0.998</c:v>
                </c:pt>
                <c:pt idx="3">
                  <c:v>0.998</c:v>
                </c:pt>
                <c:pt idx="4">
                  <c:v>0.94099999999999995</c:v>
                </c:pt>
                <c:pt idx="5">
                  <c:v>0.97499999999999998</c:v>
                </c:pt>
                <c:pt idx="6">
                  <c:v>0.98699999999999999</c:v>
                </c:pt>
                <c:pt idx="7">
                  <c:v>0.98599999999999999</c:v>
                </c:pt>
                <c:pt idx="8">
                  <c:v>0.86099999999999999</c:v>
                </c:pt>
                <c:pt idx="9">
                  <c:v>0.70799999999999996</c:v>
                </c:pt>
                <c:pt idx="10">
                  <c:v>0.93200000000000005</c:v>
                </c:pt>
                <c:pt idx="11">
                  <c:v>0.98299999999999998</c:v>
                </c:pt>
                <c:pt idx="12">
                  <c:v>0.98099999999999998</c:v>
                </c:pt>
                <c:pt idx="13">
                  <c:v>0.85199999999999998</c:v>
                </c:pt>
                <c:pt idx="14">
                  <c:v>0.94899999999999995</c:v>
                </c:pt>
                <c:pt idx="15">
                  <c:v>0.97199999999999998</c:v>
                </c:pt>
                <c:pt idx="16">
                  <c:v>0.95499999999999996</c:v>
                </c:pt>
                <c:pt idx="17">
                  <c:v>0.89700000000000002</c:v>
                </c:pt>
                <c:pt idx="18">
                  <c:v>0.90800000000000003</c:v>
                </c:pt>
                <c:pt idx="19">
                  <c:v>0.84799999999999998</c:v>
                </c:pt>
                <c:pt idx="20">
                  <c:v>0.92100000000000004</c:v>
                </c:pt>
                <c:pt idx="21">
                  <c:v>0.84099999999999997</c:v>
                </c:pt>
                <c:pt idx="22">
                  <c:v>0.78500000000000003</c:v>
                </c:pt>
                <c:pt idx="23">
                  <c:v>0.81</c:v>
                </c:pt>
                <c:pt idx="24">
                  <c:v>0.67900000000000005</c:v>
                </c:pt>
                <c:pt idx="25">
                  <c:v>0.60299999999999998</c:v>
                </c:pt>
                <c:pt idx="26">
                  <c:v>0.67200000000000004</c:v>
                </c:pt>
                <c:pt idx="27">
                  <c:v>0.71</c:v>
                </c:pt>
                <c:pt idx="28">
                  <c:v>0.876</c:v>
                </c:pt>
                <c:pt idx="29">
                  <c:v>0.81699999999999995</c:v>
                </c:pt>
                <c:pt idx="30">
                  <c:v>0.375</c:v>
                </c:pt>
                <c:pt idx="31">
                  <c:v>0.73899999999999999</c:v>
                </c:pt>
                <c:pt idx="32">
                  <c:v>0.58499999999999996</c:v>
                </c:pt>
                <c:pt idx="33">
                  <c:v>0.23100000000000001</c:v>
                </c:pt>
                <c:pt idx="34">
                  <c:v>0.114</c:v>
                </c:pt>
                <c:pt idx="35">
                  <c:v>0.312</c:v>
                </c:pt>
                <c:pt idx="36">
                  <c:v>0.112</c:v>
                </c:pt>
                <c:pt idx="37">
                  <c:v>2E-3</c:v>
                </c:pt>
                <c:pt idx="38">
                  <c:v>8.0000000000000002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0</c:f>
              <c:strCache>
                <c:ptCount val="39"/>
                <c:pt idx="0">
                  <c:v>Mini Babybe</c:v>
                </c:pt>
                <c:pt idx="1">
                  <c:v>La Vache Qu</c:v>
                </c:pt>
                <c:pt idx="2">
                  <c:v>La Vache Qu</c:v>
                </c:pt>
                <c:pt idx="3">
                  <c:v>Mini Babybe</c:v>
                </c:pt>
                <c:pt idx="4">
                  <c:v>La Vache Qu</c:v>
                </c:pt>
                <c:pt idx="5">
                  <c:v>Kiri</c:v>
                </c:pt>
                <c:pt idx="6">
                  <c:v>Private Lab</c:v>
                </c:pt>
                <c:pt idx="7">
                  <c:v>Private Lab</c:v>
                </c:pt>
                <c:pt idx="8">
                  <c:v>Kiri</c:v>
                </c:pt>
                <c:pt idx="9">
                  <c:v>Ficello</c:v>
                </c:pt>
                <c:pt idx="10">
                  <c:v>Kiri</c:v>
                </c:pt>
                <c:pt idx="11">
                  <c:v>Kiri</c:v>
                </c:pt>
                <c:pt idx="12">
                  <c:v>Kiri</c:v>
                </c:pt>
                <c:pt idx="13">
                  <c:v>Mini Babybe</c:v>
                </c:pt>
                <c:pt idx="14">
                  <c:v>Ficello</c:v>
                </c:pt>
                <c:pt idx="15">
                  <c:v>Private Lab</c:v>
                </c:pt>
                <c:pt idx="16">
                  <c:v>La Vache Qu</c:v>
                </c:pt>
                <c:pt idx="17">
                  <c:v>Ficello</c:v>
                </c:pt>
                <c:pt idx="18">
                  <c:v>P'Tit Louis</c:v>
                </c:pt>
                <c:pt idx="19">
                  <c:v>La Vache Qu</c:v>
                </c:pt>
                <c:pt idx="20">
                  <c:v>Private Lab</c:v>
                </c:pt>
                <c:pt idx="21">
                  <c:v>La Vache Qu</c:v>
                </c:pt>
                <c:pt idx="22">
                  <c:v>Mini Babybe</c:v>
                </c:pt>
                <c:pt idx="23">
                  <c:v>Mini Babybe</c:v>
                </c:pt>
                <c:pt idx="24">
                  <c:v>La Vache Qu</c:v>
                </c:pt>
                <c:pt idx="25">
                  <c:v>Kiri</c:v>
                </c:pt>
                <c:pt idx="26">
                  <c:v>Kiri</c:v>
                </c:pt>
                <c:pt idx="27">
                  <c:v>Mini Babybe</c:v>
                </c:pt>
                <c:pt idx="28">
                  <c:v>Mini Babybe</c:v>
                </c:pt>
                <c:pt idx="29">
                  <c:v>Kiri</c:v>
                </c:pt>
                <c:pt idx="30">
                  <c:v>P'Tit Louis</c:v>
                </c:pt>
                <c:pt idx="31">
                  <c:v>Mini Babybe</c:v>
                </c:pt>
                <c:pt idx="32">
                  <c:v>Mini Babybe</c:v>
                </c:pt>
                <c:pt idx="33">
                  <c:v>La Vache Qu</c:v>
                </c:pt>
                <c:pt idx="34">
                  <c:v>Mini Babybe</c:v>
                </c:pt>
                <c:pt idx="35">
                  <c:v>Mini Babybe</c:v>
                </c:pt>
                <c:pt idx="36">
                  <c:v>La Vache Qu</c:v>
                </c:pt>
                <c:pt idx="37">
                  <c:v>Private Lab</c:v>
                </c:pt>
                <c:pt idx="38">
                  <c:v>Private Lab</c:v>
                </c:pt>
              </c:strCache>
            </c:strRef>
          </c:cat>
          <c:val>
            <c:numRef>
              <c:f>Sheet1!$C$2:$C$40</c:f>
              <c:numCache>
                <c:formatCode>General</c:formatCode>
                <c:ptCount val="39"/>
                <c:pt idx="0">
                  <c:v>0.13057577620431085</c:v>
                </c:pt>
                <c:pt idx="1">
                  <c:v>0.22919935419116685</c:v>
                </c:pt>
                <c:pt idx="2">
                  <c:v>0.31006427872319997</c:v>
                </c:pt>
                <c:pt idx="3">
                  <c:v>0.37901308206282791</c:v>
                </c:pt>
                <c:pt idx="4">
                  <c:v>0.4435214049463479</c:v>
                </c:pt>
                <c:pt idx="5">
                  <c:v>0.50203935762807406</c:v>
                </c:pt>
                <c:pt idx="6">
                  <c:v>0.5586315843110593</c:v>
                </c:pt>
                <c:pt idx="7">
                  <c:v>0.60807612292713498</c:v>
                </c:pt>
                <c:pt idx="8">
                  <c:v>0.65708021920495552</c:v>
                </c:pt>
                <c:pt idx="9">
                  <c:v>0.69441214067262302</c:v>
                </c:pt>
                <c:pt idx="10">
                  <c:v>0.7282687220414934</c:v>
                </c:pt>
                <c:pt idx="11">
                  <c:v>0.76154126282503631</c:v>
                </c:pt>
                <c:pt idx="12">
                  <c:v>0.78804855416385422</c:v>
                </c:pt>
                <c:pt idx="13">
                  <c:v>0.8127956906454824</c:v>
                </c:pt>
                <c:pt idx="14">
                  <c:v>0.8345737955460758</c:v>
                </c:pt>
                <c:pt idx="15">
                  <c:v>0.85540302318150863</c:v>
                </c:pt>
                <c:pt idx="16">
                  <c:v>0.87328179250095295</c:v>
                </c:pt>
                <c:pt idx="17">
                  <c:v>0.89029798788928605</c:v>
                </c:pt>
                <c:pt idx="18">
                  <c:v>0.90703477049101688</c:v>
                </c:pt>
                <c:pt idx="19">
                  <c:v>0.92344346916353637</c:v>
                </c:pt>
                <c:pt idx="20">
                  <c:v>0.93561743715351819</c:v>
                </c:pt>
                <c:pt idx="21">
                  <c:v>0.94699215095131717</c:v>
                </c:pt>
                <c:pt idx="22">
                  <c:v>0.95574132700058911</c:v>
                </c:pt>
                <c:pt idx="23">
                  <c:v>0.96343464902842635</c:v>
                </c:pt>
                <c:pt idx="24">
                  <c:v>0.96944217488917117</c:v>
                </c:pt>
                <c:pt idx="25">
                  <c:v>0.97505462180671398</c:v>
                </c:pt>
                <c:pt idx="26">
                  <c:v>0.97990958140795925</c:v>
                </c:pt>
                <c:pt idx="27">
                  <c:v>0.98436494672806907</c:v>
                </c:pt>
                <c:pt idx="28">
                  <c:v>0.98806669689667892</c:v>
                </c:pt>
                <c:pt idx="29">
                  <c:v>0.99166674695392532</c:v>
                </c:pt>
                <c:pt idx="30">
                  <c:v>0.99492012669093155</c:v>
                </c:pt>
                <c:pt idx="31">
                  <c:v>0.9978060839295787</c:v>
                </c:pt>
                <c:pt idx="32">
                  <c:v>0.99887796477548108</c:v>
                </c:pt>
                <c:pt idx="33">
                  <c:v>0.99927977734763629</c:v>
                </c:pt>
                <c:pt idx="34">
                  <c:v>0.99964646479098296</c:v>
                </c:pt>
                <c:pt idx="35">
                  <c:v>0.99996459922556169</c:v>
                </c:pt>
                <c:pt idx="36">
                  <c:v>0.99997848651490373</c:v>
                </c:pt>
                <c:pt idx="37">
                  <c:v>0.99998875103311313</c:v>
                </c:pt>
                <c:pt idx="38">
                  <c:v>0.99999468397714208</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55</c:f>
              <c:strCache>
                <c:ptCount val="54"/>
                <c:pt idx="0">
                  <c:v>La Vache Qu</c:v>
                </c:pt>
                <c:pt idx="1">
                  <c:v>Mini Babybe</c:v>
                </c:pt>
                <c:pt idx="2">
                  <c:v>Kiri</c:v>
                </c:pt>
                <c:pt idx="3">
                  <c:v>La Vache Qu</c:v>
                </c:pt>
                <c:pt idx="4">
                  <c:v>Ficello</c:v>
                </c:pt>
                <c:pt idx="5">
                  <c:v>Mini Babybe</c:v>
                </c:pt>
                <c:pt idx="6">
                  <c:v>Kiri</c:v>
                </c:pt>
                <c:pt idx="7">
                  <c:v>La Vache Qu</c:v>
                </c:pt>
                <c:pt idx="8">
                  <c:v>Kiri</c:v>
                </c:pt>
                <c:pt idx="9">
                  <c:v>Kiri</c:v>
                </c:pt>
                <c:pt idx="10">
                  <c:v>Kiri</c:v>
                </c:pt>
                <c:pt idx="11">
                  <c:v>Mini Babybe</c:v>
                </c:pt>
                <c:pt idx="12">
                  <c:v>Mini Babybe</c:v>
                </c:pt>
                <c:pt idx="13">
                  <c:v>La Vache Qu</c:v>
                </c:pt>
                <c:pt idx="14">
                  <c:v>Kiri</c:v>
                </c:pt>
                <c:pt idx="15">
                  <c:v>La Vache Qu</c:v>
                </c:pt>
                <c:pt idx="16">
                  <c:v>Ficello</c:v>
                </c:pt>
                <c:pt idx="17">
                  <c:v>Mini Babybe</c:v>
                </c:pt>
                <c:pt idx="18">
                  <c:v>La Vache Qu</c:v>
                </c:pt>
                <c:pt idx="19">
                  <c:v>Private Lab</c:v>
                </c:pt>
                <c:pt idx="20">
                  <c:v>Mini Babybe</c:v>
                </c:pt>
                <c:pt idx="21">
                  <c:v>Private Lab</c:v>
                </c:pt>
                <c:pt idx="22">
                  <c:v>La Vache Qu</c:v>
                </c:pt>
                <c:pt idx="23">
                  <c:v>Private Lab</c:v>
                </c:pt>
                <c:pt idx="24">
                  <c:v>P'Tit Louis</c:v>
                </c:pt>
                <c:pt idx="25">
                  <c:v>Ficello</c:v>
                </c:pt>
                <c:pt idx="26">
                  <c:v>P'Tit Louis</c:v>
                </c:pt>
                <c:pt idx="27">
                  <c:v>Mini Babybe</c:v>
                </c:pt>
                <c:pt idx="28">
                  <c:v>P'Tit Louis</c:v>
                </c:pt>
                <c:pt idx="29">
                  <c:v>Mini Babybe</c:v>
                </c:pt>
                <c:pt idx="30">
                  <c:v>La Vache Qu</c:v>
                </c:pt>
                <c:pt idx="31">
                  <c:v>Private Lab</c:v>
                </c:pt>
                <c:pt idx="32">
                  <c:v>Ficello</c:v>
                </c:pt>
                <c:pt idx="33">
                  <c:v>Private Lab</c:v>
                </c:pt>
                <c:pt idx="34">
                  <c:v>Mini Babybe</c:v>
                </c:pt>
                <c:pt idx="35">
                  <c:v>Kiri</c:v>
                </c:pt>
                <c:pt idx="36">
                  <c:v>Ficello</c:v>
                </c:pt>
                <c:pt idx="37">
                  <c:v>Mini Babybe</c:v>
                </c:pt>
                <c:pt idx="38">
                  <c:v>Private Lab</c:v>
                </c:pt>
                <c:pt idx="39">
                  <c:v>Mini Babybe</c:v>
                </c:pt>
                <c:pt idx="40">
                  <c:v>Mini Babybe</c:v>
                </c:pt>
                <c:pt idx="41">
                  <c:v>La Vache Qu</c:v>
                </c:pt>
                <c:pt idx="42">
                  <c:v>Private Lab</c:v>
                </c:pt>
                <c:pt idx="43">
                  <c:v>Mini Babybe</c:v>
                </c:pt>
                <c:pt idx="44">
                  <c:v>P'Tit Louis</c:v>
                </c:pt>
                <c:pt idx="45">
                  <c:v>La Vache Qu</c:v>
                </c:pt>
                <c:pt idx="46">
                  <c:v>Private Lab</c:v>
                </c:pt>
                <c:pt idx="47">
                  <c:v>Kiri</c:v>
                </c:pt>
                <c:pt idx="48">
                  <c:v>Mini Babybe</c:v>
                </c:pt>
                <c:pt idx="49">
                  <c:v>Mini Babybe</c:v>
                </c:pt>
                <c:pt idx="50">
                  <c:v>Mini Babybe</c:v>
                </c:pt>
                <c:pt idx="51">
                  <c:v>Lactalis: A</c:v>
                </c:pt>
                <c:pt idx="52">
                  <c:v>Ficello</c:v>
                </c:pt>
                <c:pt idx="53">
                  <c:v>Mini Babybe</c:v>
                </c:pt>
              </c:strCache>
            </c:strRef>
          </c:cat>
          <c:val>
            <c:numRef>
              <c:f>Sheet1!$B$2:$B$55</c:f>
              <c:numCache>
                <c:formatCode>General</c:formatCode>
                <c:ptCount val="54"/>
                <c:pt idx="0">
                  <c:v>0.99</c:v>
                </c:pt>
                <c:pt idx="1">
                  <c:v>1</c:v>
                </c:pt>
                <c:pt idx="2">
                  <c:v>0.99</c:v>
                </c:pt>
                <c:pt idx="3">
                  <c:v>1</c:v>
                </c:pt>
                <c:pt idx="4">
                  <c:v>1</c:v>
                </c:pt>
                <c:pt idx="5">
                  <c:v>1</c:v>
                </c:pt>
                <c:pt idx="6">
                  <c:v>1</c:v>
                </c:pt>
                <c:pt idx="7">
                  <c:v>1</c:v>
                </c:pt>
                <c:pt idx="8">
                  <c:v>1</c:v>
                </c:pt>
                <c:pt idx="9">
                  <c:v>1</c:v>
                </c:pt>
                <c:pt idx="10">
                  <c:v>0.99</c:v>
                </c:pt>
                <c:pt idx="11">
                  <c:v>0.97</c:v>
                </c:pt>
                <c:pt idx="12">
                  <c:v>1</c:v>
                </c:pt>
                <c:pt idx="13">
                  <c:v>0.94</c:v>
                </c:pt>
                <c:pt idx="14">
                  <c:v>0.98</c:v>
                </c:pt>
                <c:pt idx="15">
                  <c:v>0.94</c:v>
                </c:pt>
                <c:pt idx="16">
                  <c:v>1</c:v>
                </c:pt>
                <c:pt idx="17">
                  <c:v>0.99</c:v>
                </c:pt>
                <c:pt idx="18">
                  <c:v>1</c:v>
                </c:pt>
                <c:pt idx="19">
                  <c:v>1</c:v>
                </c:pt>
                <c:pt idx="20">
                  <c:v>0.94</c:v>
                </c:pt>
                <c:pt idx="21">
                  <c:v>1</c:v>
                </c:pt>
                <c:pt idx="22">
                  <c:v>0.95</c:v>
                </c:pt>
                <c:pt idx="23">
                  <c:v>0.95</c:v>
                </c:pt>
                <c:pt idx="24">
                  <c:v>0.99</c:v>
                </c:pt>
                <c:pt idx="25">
                  <c:v>0.97</c:v>
                </c:pt>
                <c:pt idx="26">
                  <c:v>0.99</c:v>
                </c:pt>
                <c:pt idx="27">
                  <c:v>0.96</c:v>
                </c:pt>
                <c:pt idx="28">
                  <c:v>0.95</c:v>
                </c:pt>
                <c:pt idx="29">
                  <c:v>0.92</c:v>
                </c:pt>
                <c:pt idx="30">
                  <c:v>0.86</c:v>
                </c:pt>
                <c:pt idx="31">
                  <c:v>0.93</c:v>
                </c:pt>
                <c:pt idx="32">
                  <c:v>0.93</c:v>
                </c:pt>
                <c:pt idx="33">
                  <c:v>0.93</c:v>
                </c:pt>
                <c:pt idx="34">
                  <c:v>0.96</c:v>
                </c:pt>
                <c:pt idx="35">
                  <c:v>0.75</c:v>
                </c:pt>
                <c:pt idx="36">
                  <c:v>0.99</c:v>
                </c:pt>
                <c:pt idx="37">
                  <c:v>0.88</c:v>
                </c:pt>
                <c:pt idx="38">
                  <c:v>0.99</c:v>
                </c:pt>
                <c:pt idx="39">
                  <c:v>0.94</c:v>
                </c:pt>
                <c:pt idx="40">
                  <c:v>0.7</c:v>
                </c:pt>
                <c:pt idx="41">
                  <c:v>0.82</c:v>
                </c:pt>
                <c:pt idx="42">
                  <c:v>0.83</c:v>
                </c:pt>
                <c:pt idx="43">
                  <c:v>0.68</c:v>
                </c:pt>
                <c:pt idx="44">
                  <c:v>0.72</c:v>
                </c:pt>
                <c:pt idx="45">
                  <c:v>0.08</c:v>
                </c:pt>
                <c:pt idx="46">
                  <c:v>0.65</c:v>
                </c:pt>
                <c:pt idx="47">
                  <c:v>0.56000000000000005</c:v>
                </c:pt>
                <c:pt idx="48">
                  <c:v>0.21</c:v>
                </c:pt>
                <c:pt idx="49">
                  <c:v>0.67</c:v>
                </c:pt>
                <c:pt idx="50">
                  <c:v>0.05</c:v>
                </c:pt>
                <c:pt idx="51">
                  <c:v>0.01</c:v>
                </c:pt>
                <c:pt idx="52">
                  <c:v>0.01</c:v>
                </c:pt>
                <c:pt idx="53">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7ECAC4"/>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55</c:f>
              <c:strCache>
                <c:ptCount val="54"/>
                <c:pt idx="0">
                  <c:v>La Vache Qu</c:v>
                </c:pt>
                <c:pt idx="1">
                  <c:v>Mini Babybe</c:v>
                </c:pt>
                <c:pt idx="2">
                  <c:v>Kiri</c:v>
                </c:pt>
                <c:pt idx="3">
                  <c:v>La Vache Qu</c:v>
                </c:pt>
                <c:pt idx="4">
                  <c:v>Ficello</c:v>
                </c:pt>
                <c:pt idx="5">
                  <c:v>Mini Babybe</c:v>
                </c:pt>
                <c:pt idx="6">
                  <c:v>Kiri</c:v>
                </c:pt>
                <c:pt idx="7">
                  <c:v>La Vache Qu</c:v>
                </c:pt>
                <c:pt idx="8">
                  <c:v>Kiri</c:v>
                </c:pt>
                <c:pt idx="9">
                  <c:v>Kiri</c:v>
                </c:pt>
                <c:pt idx="10">
                  <c:v>Kiri</c:v>
                </c:pt>
                <c:pt idx="11">
                  <c:v>Mini Babybe</c:v>
                </c:pt>
                <c:pt idx="12">
                  <c:v>Mini Babybe</c:v>
                </c:pt>
                <c:pt idx="13">
                  <c:v>La Vache Qu</c:v>
                </c:pt>
                <c:pt idx="14">
                  <c:v>Kiri</c:v>
                </c:pt>
                <c:pt idx="15">
                  <c:v>La Vache Qu</c:v>
                </c:pt>
                <c:pt idx="16">
                  <c:v>Ficello</c:v>
                </c:pt>
                <c:pt idx="17">
                  <c:v>Mini Babybe</c:v>
                </c:pt>
                <c:pt idx="18">
                  <c:v>La Vache Qu</c:v>
                </c:pt>
                <c:pt idx="19">
                  <c:v>Private Lab</c:v>
                </c:pt>
                <c:pt idx="20">
                  <c:v>Mini Babybe</c:v>
                </c:pt>
                <c:pt idx="21">
                  <c:v>Private Lab</c:v>
                </c:pt>
                <c:pt idx="22">
                  <c:v>La Vache Qu</c:v>
                </c:pt>
                <c:pt idx="23">
                  <c:v>Private Lab</c:v>
                </c:pt>
                <c:pt idx="24">
                  <c:v>P'Tit Louis</c:v>
                </c:pt>
                <c:pt idx="25">
                  <c:v>Ficello</c:v>
                </c:pt>
                <c:pt idx="26">
                  <c:v>P'Tit Louis</c:v>
                </c:pt>
                <c:pt idx="27">
                  <c:v>Mini Babybe</c:v>
                </c:pt>
                <c:pt idx="28">
                  <c:v>P'Tit Louis</c:v>
                </c:pt>
                <c:pt idx="29">
                  <c:v>Mini Babybe</c:v>
                </c:pt>
                <c:pt idx="30">
                  <c:v>La Vache Qu</c:v>
                </c:pt>
                <c:pt idx="31">
                  <c:v>Private Lab</c:v>
                </c:pt>
                <c:pt idx="32">
                  <c:v>Ficello</c:v>
                </c:pt>
                <c:pt idx="33">
                  <c:v>Private Lab</c:v>
                </c:pt>
                <c:pt idx="34">
                  <c:v>Mini Babybe</c:v>
                </c:pt>
                <c:pt idx="35">
                  <c:v>Kiri</c:v>
                </c:pt>
                <c:pt idx="36">
                  <c:v>Ficello</c:v>
                </c:pt>
                <c:pt idx="37">
                  <c:v>Mini Babybe</c:v>
                </c:pt>
                <c:pt idx="38">
                  <c:v>Private Lab</c:v>
                </c:pt>
                <c:pt idx="39">
                  <c:v>Mini Babybe</c:v>
                </c:pt>
                <c:pt idx="40">
                  <c:v>Mini Babybe</c:v>
                </c:pt>
                <c:pt idx="41">
                  <c:v>La Vache Qu</c:v>
                </c:pt>
                <c:pt idx="42">
                  <c:v>Private Lab</c:v>
                </c:pt>
                <c:pt idx="43">
                  <c:v>Mini Babybe</c:v>
                </c:pt>
                <c:pt idx="44">
                  <c:v>P'Tit Louis</c:v>
                </c:pt>
                <c:pt idx="45">
                  <c:v>La Vache Qu</c:v>
                </c:pt>
                <c:pt idx="46">
                  <c:v>Private Lab</c:v>
                </c:pt>
                <c:pt idx="47">
                  <c:v>Kiri</c:v>
                </c:pt>
                <c:pt idx="48">
                  <c:v>Mini Babybe</c:v>
                </c:pt>
                <c:pt idx="49">
                  <c:v>Mini Babybe</c:v>
                </c:pt>
                <c:pt idx="50">
                  <c:v>Mini Babybe</c:v>
                </c:pt>
                <c:pt idx="51">
                  <c:v>Lactalis: A</c:v>
                </c:pt>
                <c:pt idx="52">
                  <c:v>Ficello</c:v>
                </c:pt>
                <c:pt idx="53">
                  <c:v>Mini Babybe</c:v>
                </c:pt>
              </c:strCache>
            </c:strRef>
          </c:cat>
          <c:val>
            <c:numRef>
              <c:f>Sheet1!$C$2:$C$55</c:f>
              <c:numCache>
                <c:formatCode>General</c:formatCode>
                <c:ptCount val="54"/>
                <c:pt idx="0">
                  <c:v>0.16785987792226814</c:v>
                </c:pt>
                <c:pt idx="1">
                  <c:v>0.2638225142351226</c:v>
                </c:pt>
                <c:pt idx="2">
                  <c:v>0.3564577860759664</c:v>
                </c:pt>
                <c:pt idx="3">
                  <c:v>0.41641791394002642</c:v>
                </c:pt>
                <c:pt idx="4">
                  <c:v>0.46189483693358757</c:v>
                </c:pt>
                <c:pt idx="5">
                  <c:v>0.50420803902257683</c:v>
                </c:pt>
                <c:pt idx="6">
                  <c:v>0.54414454047457739</c:v>
                </c:pt>
                <c:pt idx="7">
                  <c:v>0.57842422471576549</c:v>
                </c:pt>
                <c:pt idx="8">
                  <c:v>0.60902865053434863</c:v>
                </c:pt>
                <c:pt idx="9">
                  <c:v>0.63323642519857248</c:v>
                </c:pt>
                <c:pt idx="10">
                  <c:v>0.65584204046554651</c:v>
                </c:pt>
                <c:pt idx="11">
                  <c:v>0.67629851263123908</c:v>
                </c:pt>
                <c:pt idx="12">
                  <c:v>0.69634395681730932</c:v>
                </c:pt>
                <c:pt idx="13">
                  <c:v>0.73459936081105803</c:v>
                </c:pt>
                <c:pt idx="14">
                  <c:v>0.76871694083857101</c:v>
                </c:pt>
                <c:pt idx="15">
                  <c:v>0.78456249431465352</c:v>
                </c:pt>
                <c:pt idx="16">
                  <c:v>0.80010746331247917</c:v>
                </c:pt>
                <c:pt idx="17">
                  <c:v>0.83023840443806785</c:v>
                </c:pt>
                <c:pt idx="18">
                  <c:v>0.84510182968819847</c:v>
                </c:pt>
                <c:pt idx="19">
                  <c:v>0.85760595926122851</c:v>
                </c:pt>
                <c:pt idx="20">
                  <c:v>0.86997803280605068</c:v>
                </c:pt>
                <c:pt idx="21">
                  <c:v>0.8810995969274007</c:v>
                </c:pt>
                <c:pt idx="22">
                  <c:v>0.89018040897715001</c:v>
                </c:pt>
                <c:pt idx="23">
                  <c:v>0.89897609166043002</c:v>
                </c:pt>
                <c:pt idx="24">
                  <c:v>0.90674697523142866</c:v>
                </c:pt>
                <c:pt idx="25">
                  <c:v>0.91396254206335492</c:v>
                </c:pt>
                <c:pt idx="26">
                  <c:v>0.9282440505413766</c:v>
                </c:pt>
                <c:pt idx="27">
                  <c:v>0.93435645489209118</c:v>
                </c:pt>
                <c:pt idx="28">
                  <c:v>0.9401424136213189</c:v>
                </c:pt>
                <c:pt idx="29">
                  <c:v>0.95129564738076733</c:v>
                </c:pt>
                <c:pt idx="30">
                  <c:v>0.95679908338256558</c:v>
                </c:pt>
                <c:pt idx="31">
                  <c:v>0.96148777022431742</c:v>
                </c:pt>
                <c:pt idx="32">
                  <c:v>0.96586175158262022</c:v>
                </c:pt>
                <c:pt idx="33">
                  <c:v>0.97372204082021396</c:v>
                </c:pt>
                <c:pt idx="34">
                  <c:v>0.97682896983326406</c:v>
                </c:pt>
                <c:pt idx="35">
                  <c:v>0.97974046249247593</c:v>
                </c:pt>
                <c:pt idx="36">
                  <c:v>0.98260522037142217</c:v>
                </c:pt>
                <c:pt idx="37">
                  <c:v>0.98745262484856899</c:v>
                </c:pt>
                <c:pt idx="38">
                  <c:v>0.98947104602823777</c:v>
                </c:pt>
                <c:pt idx="39">
                  <c:v>0.99140757358767817</c:v>
                </c:pt>
                <c:pt idx="40">
                  <c:v>0.99314677651933025</c:v>
                </c:pt>
                <c:pt idx="41">
                  <c:v>0.99482935175719533</c:v>
                </c:pt>
                <c:pt idx="42">
                  <c:v>0.99646268819933914</c:v>
                </c:pt>
                <c:pt idx="43">
                  <c:v>0.99715703937034816</c:v>
                </c:pt>
                <c:pt idx="44">
                  <c:v>0.99782130130645619</c:v>
                </c:pt>
                <c:pt idx="45">
                  <c:v>0.99843798694890773</c:v>
                </c:pt>
                <c:pt idx="46">
                  <c:v>0.9988323283337317</c:v>
                </c:pt>
                <c:pt idx="47">
                  <c:v>0.99944640733714341</c:v>
                </c:pt>
                <c:pt idx="48">
                  <c:v>0.99967531950416266</c:v>
                </c:pt>
                <c:pt idx="49">
                  <c:v>0.99988775032355204</c:v>
                </c:pt>
                <c:pt idx="50">
                  <c:v>0.99996342495457513</c:v>
                </c:pt>
                <c:pt idx="51">
                  <c:v>0.99999675709473823</c:v>
                </c:pt>
                <c:pt idx="52">
                  <c:v>0.99999915848660959</c:v>
                </c:pt>
                <c:pt idx="53">
                  <c:v>0.999999733178681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42</c:f>
              <c:strCache>
                <c:ptCount val="41"/>
                <c:pt idx="0">
                  <c:v>La Vache Qu</c:v>
                </c:pt>
                <c:pt idx="1">
                  <c:v>Mini Babybe</c:v>
                </c:pt>
                <c:pt idx="2">
                  <c:v>La Vache Qu</c:v>
                </c:pt>
                <c:pt idx="3">
                  <c:v>Ficello</c:v>
                </c:pt>
                <c:pt idx="4">
                  <c:v>La Vache Qu</c:v>
                </c:pt>
                <c:pt idx="5">
                  <c:v>Mini Babybe</c:v>
                </c:pt>
                <c:pt idx="6">
                  <c:v>Kiri</c:v>
                </c:pt>
                <c:pt idx="7">
                  <c:v>Kiri</c:v>
                </c:pt>
                <c:pt idx="8">
                  <c:v>Kiri</c:v>
                </c:pt>
                <c:pt idx="9">
                  <c:v>Kiri</c:v>
                </c:pt>
                <c:pt idx="10">
                  <c:v>Mini Babybe</c:v>
                </c:pt>
                <c:pt idx="11">
                  <c:v>Ficello</c:v>
                </c:pt>
                <c:pt idx="12">
                  <c:v>Mini Babybe</c:v>
                </c:pt>
                <c:pt idx="13">
                  <c:v>Kiri</c:v>
                </c:pt>
                <c:pt idx="14">
                  <c:v>Private Lab</c:v>
                </c:pt>
                <c:pt idx="15">
                  <c:v>La Vache Qu</c:v>
                </c:pt>
                <c:pt idx="16">
                  <c:v>La Vache Qu</c:v>
                </c:pt>
                <c:pt idx="17">
                  <c:v>Private Lab</c:v>
                </c:pt>
                <c:pt idx="18">
                  <c:v>P'Tit Louis</c:v>
                </c:pt>
                <c:pt idx="19">
                  <c:v>La Vache Qu</c:v>
                </c:pt>
                <c:pt idx="20">
                  <c:v>Kiri</c:v>
                </c:pt>
                <c:pt idx="21">
                  <c:v>Mini Babybe</c:v>
                </c:pt>
                <c:pt idx="22">
                  <c:v>Mini Babybe</c:v>
                </c:pt>
                <c:pt idx="23">
                  <c:v>Ficello</c:v>
                </c:pt>
                <c:pt idx="24">
                  <c:v>Private Lab</c:v>
                </c:pt>
                <c:pt idx="25">
                  <c:v>Private Lab</c:v>
                </c:pt>
                <c:pt idx="26">
                  <c:v>Mini Babybe</c:v>
                </c:pt>
                <c:pt idx="27">
                  <c:v>Kiri</c:v>
                </c:pt>
                <c:pt idx="28">
                  <c:v>Ficello</c:v>
                </c:pt>
                <c:pt idx="29">
                  <c:v>P'Tit Louis</c:v>
                </c:pt>
                <c:pt idx="30">
                  <c:v>Mini Babybe</c:v>
                </c:pt>
                <c:pt idx="31">
                  <c:v>La Vache Qu</c:v>
                </c:pt>
                <c:pt idx="32">
                  <c:v>P'Tit Louis</c:v>
                </c:pt>
                <c:pt idx="33">
                  <c:v>Mini Babybe</c:v>
                </c:pt>
                <c:pt idx="34">
                  <c:v>La Vache Qu</c:v>
                </c:pt>
                <c:pt idx="35">
                  <c:v>Private Lab</c:v>
                </c:pt>
                <c:pt idx="36">
                  <c:v>Private Lab</c:v>
                </c:pt>
                <c:pt idx="37">
                  <c:v>P'Tit Louis</c:v>
                </c:pt>
                <c:pt idx="38">
                  <c:v>Mini Babybe</c:v>
                </c:pt>
                <c:pt idx="39">
                  <c:v>Kiri</c:v>
                </c:pt>
                <c:pt idx="40">
                  <c:v>Lactalis: A</c:v>
                </c:pt>
              </c:strCache>
            </c:strRef>
          </c:cat>
          <c:val>
            <c:numRef>
              <c:f>Sheet1!$B$2:$B$42</c:f>
              <c:numCache>
                <c:formatCode>General</c:formatCode>
                <c:ptCount val="41"/>
                <c:pt idx="0">
                  <c:v>0.99</c:v>
                </c:pt>
                <c:pt idx="1">
                  <c:v>1</c:v>
                </c:pt>
                <c:pt idx="2">
                  <c:v>0.96</c:v>
                </c:pt>
                <c:pt idx="3">
                  <c:v>0.99</c:v>
                </c:pt>
                <c:pt idx="4">
                  <c:v>0.99</c:v>
                </c:pt>
                <c:pt idx="5">
                  <c:v>0.99</c:v>
                </c:pt>
                <c:pt idx="6">
                  <c:v>0.86</c:v>
                </c:pt>
                <c:pt idx="7">
                  <c:v>0.97</c:v>
                </c:pt>
                <c:pt idx="8">
                  <c:v>0.99</c:v>
                </c:pt>
                <c:pt idx="9">
                  <c:v>0.99</c:v>
                </c:pt>
                <c:pt idx="10">
                  <c:v>0.94</c:v>
                </c:pt>
                <c:pt idx="11">
                  <c:v>0.93</c:v>
                </c:pt>
                <c:pt idx="12">
                  <c:v>0.96</c:v>
                </c:pt>
                <c:pt idx="13">
                  <c:v>0.73</c:v>
                </c:pt>
                <c:pt idx="14">
                  <c:v>1</c:v>
                </c:pt>
                <c:pt idx="15">
                  <c:v>0.66</c:v>
                </c:pt>
                <c:pt idx="16">
                  <c:v>0.97</c:v>
                </c:pt>
                <c:pt idx="17">
                  <c:v>0.89</c:v>
                </c:pt>
                <c:pt idx="18">
                  <c:v>0.94</c:v>
                </c:pt>
                <c:pt idx="19">
                  <c:v>0.78</c:v>
                </c:pt>
                <c:pt idx="20">
                  <c:v>0.71</c:v>
                </c:pt>
                <c:pt idx="21">
                  <c:v>0.67</c:v>
                </c:pt>
                <c:pt idx="22">
                  <c:v>0.81</c:v>
                </c:pt>
                <c:pt idx="23">
                  <c:v>0.5</c:v>
                </c:pt>
                <c:pt idx="24">
                  <c:v>0.97</c:v>
                </c:pt>
                <c:pt idx="25">
                  <c:v>0.81</c:v>
                </c:pt>
                <c:pt idx="26">
                  <c:v>0.45</c:v>
                </c:pt>
                <c:pt idx="27">
                  <c:v>0.42</c:v>
                </c:pt>
                <c:pt idx="28">
                  <c:v>0.57999999999999996</c:v>
                </c:pt>
                <c:pt idx="29">
                  <c:v>0.39</c:v>
                </c:pt>
                <c:pt idx="30">
                  <c:v>0.66</c:v>
                </c:pt>
                <c:pt idx="31">
                  <c:v>0.27</c:v>
                </c:pt>
                <c:pt idx="32">
                  <c:v>0.71</c:v>
                </c:pt>
                <c:pt idx="33">
                  <c:v>0.56999999999999995</c:v>
                </c:pt>
                <c:pt idx="34">
                  <c:v>0.25</c:v>
                </c:pt>
                <c:pt idx="35">
                  <c:v>0.81</c:v>
                </c:pt>
                <c:pt idx="36">
                  <c:v>0.74</c:v>
                </c:pt>
                <c:pt idx="37">
                  <c:v>0.64</c:v>
                </c:pt>
                <c:pt idx="38">
                  <c:v>0.06</c:v>
                </c:pt>
                <c:pt idx="39">
                  <c:v>0.03</c:v>
                </c:pt>
                <c:pt idx="40">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AEABAB"/>
              </a:solidFill>
            </c:spPr>
            <c:extLst>
              <c:ext xmlns:c16="http://schemas.microsoft.com/office/drawing/2014/chart" uri="{C3380CC4-5D6E-409C-BE32-E72D297353CC}">
                <c16:uniqueId val="{00000085-2993-41DE-A2CB-63102DE87051}"/>
              </c:ext>
            </c:extLst>
          </c:dPt>
          <c:dPt>
            <c:idx val="39"/>
            <c:invertIfNegative val="1"/>
            <c:bubble3D val="0"/>
            <c:spPr>
              <a:solidFill>
                <a:srgbClr val="AEABAB"/>
              </a:solidFill>
            </c:spPr>
            <c:extLst>
              <c:ext xmlns:c16="http://schemas.microsoft.com/office/drawing/2014/chart" uri="{C3380CC4-5D6E-409C-BE32-E72D297353CC}">
                <c16:uniqueId val="{00000087-2993-41DE-A2CB-63102DE87051}"/>
              </c:ext>
            </c:extLst>
          </c:dPt>
          <c:dPt>
            <c:idx val="40"/>
            <c:invertIfNegative val="1"/>
            <c:bubble3D val="0"/>
            <c:spPr>
              <a:solidFill>
                <a:srgbClr val="AEABAB"/>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42</c:f>
              <c:strCache>
                <c:ptCount val="41"/>
                <c:pt idx="0">
                  <c:v>La Vache Qu</c:v>
                </c:pt>
                <c:pt idx="1">
                  <c:v>Mini Babybe</c:v>
                </c:pt>
                <c:pt idx="2">
                  <c:v>La Vache Qu</c:v>
                </c:pt>
                <c:pt idx="3">
                  <c:v>Ficello</c:v>
                </c:pt>
                <c:pt idx="4">
                  <c:v>La Vache Qu</c:v>
                </c:pt>
                <c:pt idx="5">
                  <c:v>Mini Babybe</c:v>
                </c:pt>
                <c:pt idx="6">
                  <c:v>Kiri</c:v>
                </c:pt>
                <c:pt idx="7">
                  <c:v>Kiri</c:v>
                </c:pt>
                <c:pt idx="8">
                  <c:v>Kiri</c:v>
                </c:pt>
                <c:pt idx="9">
                  <c:v>Kiri</c:v>
                </c:pt>
                <c:pt idx="10">
                  <c:v>Mini Babybe</c:v>
                </c:pt>
                <c:pt idx="11">
                  <c:v>Ficello</c:v>
                </c:pt>
                <c:pt idx="12">
                  <c:v>Mini Babybe</c:v>
                </c:pt>
                <c:pt idx="13">
                  <c:v>Kiri</c:v>
                </c:pt>
                <c:pt idx="14">
                  <c:v>Private Lab</c:v>
                </c:pt>
                <c:pt idx="15">
                  <c:v>La Vache Qu</c:v>
                </c:pt>
                <c:pt idx="16">
                  <c:v>La Vache Qu</c:v>
                </c:pt>
                <c:pt idx="17">
                  <c:v>Private Lab</c:v>
                </c:pt>
                <c:pt idx="18">
                  <c:v>P'Tit Louis</c:v>
                </c:pt>
                <c:pt idx="19">
                  <c:v>La Vache Qu</c:v>
                </c:pt>
                <c:pt idx="20">
                  <c:v>Kiri</c:v>
                </c:pt>
                <c:pt idx="21">
                  <c:v>Mini Babybe</c:v>
                </c:pt>
                <c:pt idx="22">
                  <c:v>Mini Babybe</c:v>
                </c:pt>
                <c:pt idx="23">
                  <c:v>Ficello</c:v>
                </c:pt>
                <c:pt idx="24">
                  <c:v>Private Lab</c:v>
                </c:pt>
                <c:pt idx="25">
                  <c:v>Private Lab</c:v>
                </c:pt>
                <c:pt idx="26">
                  <c:v>Mini Babybe</c:v>
                </c:pt>
                <c:pt idx="27">
                  <c:v>Kiri</c:v>
                </c:pt>
                <c:pt idx="28">
                  <c:v>Ficello</c:v>
                </c:pt>
                <c:pt idx="29">
                  <c:v>P'Tit Louis</c:v>
                </c:pt>
                <c:pt idx="30">
                  <c:v>Mini Babybe</c:v>
                </c:pt>
                <c:pt idx="31">
                  <c:v>La Vache Qu</c:v>
                </c:pt>
                <c:pt idx="32">
                  <c:v>P'Tit Louis</c:v>
                </c:pt>
                <c:pt idx="33">
                  <c:v>Mini Babybe</c:v>
                </c:pt>
                <c:pt idx="34">
                  <c:v>La Vache Qu</c:v>
                </c:pt>
                <c:pt idx="35">
                  <c:v>Private Lab</c:v>
                </c:pt>
                <c:pt idx="36">
                  <c:v>Private Lab</c:v>
                </c:pt>
                <c:pt idx="37">
                  <c:v>P'Tit Louis</c:v>
                </c:pt>
                <c:pt idx="38">
                  <c:v>Mini Babybe</c:v>
                </c:pt>
                <c:pt idx="39">
                  <c:v>Kiri</c:v>
                </c:pt>
                <c:pt idx="40">
                  <c:v>Lactalis: A</c:v>
                </c:pt>
              </c:strCache>
            </c:strRef>
          </c:cat>
          <c:val>
            <c:numRef>
              <c:f>Sheet1!$C$2:$C$42</c:f>
              <c:numCache>
                <c:formatCode>General</c:formatCode>
                <c:ptCount val="41"/>
                <c:pt idx="0">
                  <c:v>0.1132695905390014</c:v>
                </c:pt>
                <c:pt idx="1">
                  <c:v>0.22247660317700213</c:v>
                </c:pt>
                <c:pt idx="2">
                  <c:v>0.29367732678074632</c:v>
                </c:pt>
                <c:pt idx="3">
                  <c:v>0.35344570434416617</c:v>
                </c:pt>
                <c:pt idx="4">
                  <c:v>0.41266538587960178</c:v>
                </c:pt>
                <c:pt idx="5">
                  <c:v>0.47127197219245254</c:v>
                </c:pt>
                <c:pt idx="6">
                  <c:v>0.52766103614209359</c:v>
                </c:pt>
                <c:pt idx="7">
                  <c:v>0.57692660613638702</c:v>
                </c:pt>
                <c:pt idx="8">
                  <c:v>0.61358597174600105</c:v>
                </c:pt>
                <c:pt idx="9">
                  <c:v>0.67317948502234792</c:v>
                </c:pt>
                <c:pt idx="10">
                  <c:v>0.724793516204711</c:v>
                </c:pt>
                <c:pt idx="11">
                  <c:v>0.74833154591445428</c:v>
                </c:pt>
                <c:pt idx="12">
                  <c:v>0.77163208032850283</c:v>
                </c:pt>
                <c:pt idx="13">
                  <c:v>0.79417908832827255</c:v>
                </c:pt>
                <c:pt idx="14">
                  <c:v>0.81593506575852626</c:v>
                </c:pt>
                <c:pt idx="15">
                  <c:v>0.83555522963028028</c:v>
                </c:pt>
                <c:pt idx="16">
                  <c:v>0.85451418500833887</c:v>
                </c:pt>
                <c:pt idx="17">
                  <c:v>0.87028600066980111</c:v>
                </c:pt>
                <c:pt idx="18">
                  <c:v>0.88547105777352242</c:v>
                </c:pt>
                <c:pt idx="19">
                  <c:v>0.90029357470995219</c:v>
                </c:pt>
                <c:pt idx="20">
                  <c:v>0.91162947706240882</c:v>
                </c:pt>
                <c:pt idx="21">
                  <c:v>0.92992157815996224</c:v>
                </c:pt>
                <c:pt idx="22">
                  <c:v>0.93759414039297395</c:v>
                </c:pt>
                <c:pt idx="23">
                  <c:v>0.95024194367936776</c:v>
                </c:pt>
                <c:pt idx="24">
                  <c:v>0.95578030543582537</c:v>
                </c:pt>
                <c:pt idx="25">
                  <c:v>0.96089904874075982</c:v>
                </c:pt>
                <c:pt idx="26">
                  <c:v>0.96601518629793581</c:v>
                </c:pt>
                <c:pt idx="27">
                  <c:v>0.97090781894321521</c:v>
                </c:pt>
                <c:pt idx="28">
                  <c:v>0.97864397382985457</c:v>
                </c:pt>
                <c:pt idx="29">
                  <c:v>0.98195283919173648</c:v>
                </c:pt>
                <c:pt idx="30">
                  <c:v>0.98508963213914369</c:v>
                </c:pt>
                <c:pt idx="31">
                  <c:v>0.98809312868038579</c:v>
                </c:pt>
                <c:pt idx="32">
                  <c:v>0.99073486057450255</c:v>
                </c:pt>
                <c:pt idx="33">
                  <c:v>0.99252652930405283</c:v>
                </c:pt>
                <c:pt idx="34">
                  <c:v>0.99575923858561466</c:v>
                </c:pt>
                <c:pt idx="35">
                  <c:v>0.99767012027511204</c:v>
                </c:pt>
                <c:pt idx="36">
                  <c:v>0.99853181624217147</c:v>
                </c:pt>
                <c:pt idx="37">
                  <c:v>0.99929840241604906</c:v>
                </c:pt>
                <c:pt idx="38">
                  <c:v>0.9995014646163648</c:v>
                </c:pt>
                <c:pt idx="39">
                  <c:v>0.99984179388609651</c:v>
                </c:pt>
                <c:pt idx="40">
                  <c:v>0.9998935365915848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9</c:f>
              <c:strCache>
                <c:ptCount val="28"/>
                <c:pt idx="0">
                  <c:v>Mini Babybe</c:v>
                </c:pt>
                <c:pt idx="1">
                  <c:v>La Vache Qu</c:v>
                </c:pt>
                <c:pt idx="2">
                  <c:v>Kiri</c:v>
                </c:pt>
                <c:pt idx="3">
                  <c:v>Ficello</c:v>
                </c:pt>
                <c:pt idx="4">
                  <c:v>La Vache Qu</c:v>
                </c:pt>
                <c:pt idx="5">
                  <c:v>Kiri</c:v>
                </c:pt>
                <c:pt idx="6">
                  <c:v>La Vache Qu</c:v>
                </c:pt>
                <c:pt idx="7">
                  <c:v>Mini Babybe</c:v>
                </c:pt>
                <c:pt idx="8">
                  <c:v>P'Tit Louis</c:v>
                </c:pt>
                <c:pt idx="9">
                  <c:v>Private Lab</c:v>
                </c:pt>
                <c:pt idx="10">
                  <c:v>La Vache Qu</c:v>
                </c:pt>
                <c:pt idx="11">
                  <c:v>P'Tit Louis</c:v>
                </c:pt>
                <c:pt idx="12">
                  <c:v>Private Lab</c:v>
                </c:pt>
                <c:pt idx="13">
                  <c:v>Mini Babybe</c:v>
                </c:pt>
                <c:pt idx="14">
                  <c:v>Kiri</c:v>
                </c:pt>
                <c:pt idx="15">
                  <c:v>Mini Babybe</c:v>
                </c:pt>
                <c:pt idx="16">
                  <c:v>Private Lab</c:v>
                </c:pt>
                <c:pt idx="17">
                  <c:v>La Vache Qu</c:v>
                </c:pt>
                <c:pt idx="18">
                  <c:v>Private Lab</c:v>
                </c:pt>
                <c:pt idx="19">
                  <c:v>Mini Babybe</c:v>
                </c:pt>
                <c:pt idx="20">
                  <c:v>La Vache Qu</c:v>
                </c:pt>
                <c:pt idx="21">
                  <c:v>P'Tit Louis</c:v>
                </c:pt>
                <c:pt idx="22">
                  <c:v>Ficello</c:v>
                </c:pt>
                <c:pt idx="23">
                  <c:v>Kiri</c:v>
                </c:pt>
                <c:pt idx="24">
                  <c:v>Mini Babybe</c:v>
                </c:pt>
                <c:pt idx="25">
                  <c:v>Ficello</c:v>
                </c:pt>
                <c:pt idx="26">
                  <c:v>Mini Babybe</c:v>
                </c:pt>
                <c:pt idx="27">
                  <c:v>Private Lab</c:v>
                </c:pt>
              </c:strCache>
            </c:strRef>
          </c:cat>
          <c:val>
            <c:numRef>
              <c:f>Sheet1!$B$2:$B$29</c:f>
              <c:numCache>
                <c:formatCode>General</c:formatCode>
                <c:ptCount val="28"/>
                <c:pt idx="0">
                  <c:v>0.96</c:v>
                </c:pt>
                <c:pt idx="1">
                  <c:v>0.91</c:v>
                </c:pt>
                <c:pt idx="2">
                  <c:v>0.96</c:v>
                </c:pt>
                <c:pt idx="3">
                  <c:v>0.83</c:v>
                </c:pt>
                <c:pt idx="4">
                  <c:v>0.47</c:v>
                </c:pt>
                <c:pt idx="5">
                  <c:v>0.71</c:v>
                </c:pt>
                <c:pt idx="6">
                  <c:v>0.51</c:v>
                </c:pt>
                <c:pt idx="7">
                  <c:v>0.2</c:v>
                </c:pt>
                <c:pt idx="8">
                  <c:v>0.36</c:v>
                </c:pt>
                <c:pt idx="9">
                  <c:v>0.3</c:v>
                </c:pt>
                <c:pt idx="10">
                  <c:v>0.09</c:v>
                </c:pt>
                <c:pt idx="11">
                  <c:v>0.3</c:v>
                </c:pt>
                <c:pt idx="12">
                  <c:v>0.32</c:v>
                </c:pt>
                <c:pt idx="13">
                  <c:v>0.13</c:v>
                </c:pt>
                <c:pt idx="14">
                  <c:v>0.06</c:v>
                </c:pt>
                <c:pt idx="15">
                  <c:v>0.17</c:v>
                </c:pt>
                <c:pt idx="16">
                  <c:v>0.13</c:v>
                </c:pt>
                <c:pt idx="17">
                  <c:v>0.08</c:v>
                </c:pt>
                <c:pt idx="18">
                  <c:v>0.11</c:v>
                </c:pt>
                <c:pt idx="19">
                  <c:v>0.06</c:v>
                </c:pt>
                <c:pt idx="20">
                  <c:v>0.05</c:v>
                </c:pt>
                <c:pt idx="21">
                  <c:v>0.05</c:v>
                </c:pt>
                <c:pt idx="22">
                  <c:v>0.02</c:v>
                </c:pt>
                <c:pt idx="23">
                  <c:v>0.02</c:v>
                </c:pt>
                <c:pt idx="24">
                  <c:v>0.05</c:v>
                </c:pt>
                <c:pt idx="25">
                  <c:v>0.03</c:v>
                </c:pt>
                <c:pt idx="26">
                  <c:v>0.06</c:v>
                </c:pt>
                <c:pt idx="27">
                  <c:v>0.05</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7ECAC4"/>
              </a:solidFill>
            </c:spPr>
            <c:extLst>
              <c:ext xmlns:c16="http://schemas.microsoft.com/office/drawing/2014/chart" uri="{C3380CC4-5D6E-409C-BE32-E72D297353CC}">
                <c16:uniqueId val="{00000045-2993-41DE-A2CB-63102DE87051}"/>
              </c:ext>
            </c:extLst>
          </c:dPt>
          <c:dPt>
            <c:idx val="7"/>
            <c:invertIfNegative val="1"/>
            <c:bubble3D val="0"/>
            <c:spPr>
              <a:solidFill>
                <a:srgbClr val="7ECAC4"/>
              </a:solidFill>
            </c:spPr>
            <c:extLst>
              <c:ext xmlns:c16="http://schemas.microsoft.com/office/drawing/2014/chart" uri="{C3380CC4-5D6E-409C-BE32-E72D297353CC}">
                <c16:uniqueId val="{00000047-2993-41DE-A2CB-63102DE87051}"/>
              </c:ext>
            </c:extLst>
          </c:dPt>
          <c:dPt>
            <c:idx val="8"/>
            <c:invertIfNegative val="1"/>
            <c:bubble3D val="0"/>
            <c:spPr>
              <a:solidFill>
                <a:srgbClr val="7ECAC4"/>
              </a:solidFill>
            </c:spPr>
            <c:extLst>
              <c:ext xmlns:c16="http://schemas.microsoft.com/office/drawing/2014/chart" uri="{C3380CC4-5D6E-409C-BE32-E72D297353CC}">
                <c16:uniqueId val="{00000049-2993-41DE-A2CB-63102DE87051}"/>
              </c:ext>
            </c:extLst>
          </c:dPt>
          <c:dPt>
            <c:idx val="9"/>
            <c:invertIfNegative val="1"/>
            <c:bubble3D val="0"/>
            <c:spPr>
              <a:solidFill>
                <a:srgbClr val="7ECAC4"/>
              </a:solidFill>
            </c:spPr>
            <c:extLst>
              <c:ext xmlns:c16="http://schemas.microsoft.com/office/drawing/2014/chart" uri="{C3380CC4-5D6E-409C-BE32-E72D297353CC}">
                <c16:uniqueId val="{0000004B-2993-41DE-A2CB-63102DE87051}"/>
              </c:ext>
            </c:extLst>
          </c:dPt>
          <c:dPt>
            <c:idx val="10"/>
            <c:invertIfNegative val="1"/>
            <c:bubble3D val="0"/>
            <c:spPr>
              <a:solidFill>
                <a:srgbClr val="AEABAB"/>
              </a:solidFill>
            </c:spPr>
            <c:extLst>
              <c:ext xmlns:c16="http://schemas.microsoft.com/office/drawing/2014/chart" uri="{C3380CC4-5D6E-409C-BE32-E72D297353CC}">
                <c16:uniqueId val="{0000004D-2993-41DE-A2CB-63102DE87051}"/>
              </c:ext>
            </c:extLst>
          </c:dPt>
          <c:dPt>
            <c:idx val="11"/>
            <c:invertIfNegative val="1"/>
            <c:bubble3D val="0"/>
            <c:spPr>
              <a:solidFill>
                <a:srgbClr val="AEABAB"/>
              </a:solidFill>
            </c:spPr>
            <c:extLst>
              <c:ext xmlns:c16="http://schemas.microsoft.com/office/drawing/2014/chart" uri="{C3380CC4-5D6E-409C-BE32-E72D297353CC}">
                <c16:uniqueId val="{0000004F-2993-41DE-A2CB-63102DE87051}"/>
              </c:ext>
            </c:extLst>
          </c:dPt>
          <c:dPt>
            <c:idx val="12"/>
            <c:invertIfNegative val="1"/>
            <c:bubble3D val="0"/>
            <c:spPr>
              <a:solidFill>
                <a:srgbClr val="AEABAB"/>
              </a:solidFill>
            </c:spPr>
            <c:extLst>
              <c:ext xmlns:c16="http://schemas.microsoft.com/office/drawing/2014/chart" uri="{C3380CC4-5D6E-409C-BE32-E72D297353CC}">
                <c16:uniqueId val="{00000051-2993-41DE-A2CB-63102DE87051}"/>
              </c:ext>
            </c:extLst>
          </c:dPt>
          <c:dPt>
            <c:idx val="13"/>
            <c:invertIfNegative val="1"/>
            <c:bubble3D val="0"/>
            <c:spPr>
              <a:solidFill>
                <a:srgbClr val="AEABAB"/>
              </a:solidFill>
            </c:spPr>
            <c:extLst>
              <c:ext xmlns:c16="http://schemas.microsoft.com/office/drawing/2014/chart" uri="{C3380CC4-5D6E-409C-BE32-E72D297353CC}">
                <c16:uniqueId val="{00000053-2993-41DE-A2CB-63102DE87051}"/>
              </c:ext>
            </c:extLst>
          </c:dPt>
          <c:dPt>
            <c:idx val="14"/>
            <c:invertIfNegative val="1"/>
            <c:bubble3D val="0"/>
            <c:spPr>
              <a:solidFill>
                <a:srgbClr val="AEABAB"/>
              </a:solidFill>
            </c:spPr>
            <c:extLst>
              <c:ext xmlns:c16="http://schemas.microsoft.com/office/drawing/2014/chart" uri="{C3380CC4-5D6E-409C-BE32-E72D297353CC}">
                <c16:uniqueId val="{00000055-2993-41DE-A2CB-63102DE87051}"/>
              </c:ext>
            </c:extLst>
          </c:dPt>
          <c:dPt>
            <c:idx val="15"/>
            <c:invertIfNegative val="1"/>
            <c:bubble3D val="0"/>
            <c:spPr>
              <a:solidFill>
                <a:srgbClr val="AEABAB"/>
              </a:solidFill>
            </c:spPr>
            <c:extLst>
              <c:ext xmlns:c16="http://schemas.microsoft.com/office/drawing/2014/chart" uri="{C3380CC4-5D6E-409C-BE32-E72D297353CC}">
                <c16:uniqueId val="{00000057-2993-41DE-A2CB-63102DE87051}"/>
              </c:ext>
            </c:extLst>
          </c:dPt>
          <c:dPt>
            <c:idx val="16"/>
            <c:invertIfNegative val="1"/>
            <c:bubble3D val="0"/>
            <c:spPr>
              <a:solidFill>
                <a:srgbClr val="AEABAB"/>
              </a:solidFill>
            </c:spPr>
            <c:extLst>
              <c:ext xmlns:c16="http://schemas.microsoft.com/office/drawing/2014/chart" uri="{C3380CC4-5D6E-409C-BE32-E72D297353CC}">
                <c16:uniqueId val="{00000059-2993-41DE-A2CB-63102DE87051}"/>
              </c:ext>
            </c:extLst>
          </c:dPt>
          <c:dPt>
            <c:idx val="17"/>
            <c:invertIfNegative val="1"/>
            <c:bubble3D val="0"/>
            <c:spPr>
              <a:solidFill>
                <a:srgbClr val="AEABAB"/>
              </a:solidFill>
            </c:spPr>
            <c:extLst>
              <c:ext xmlns:c16="http://schemas.microsoft.com/office/drawing/2014/chart" uri="{C3380CC4-5D6E-409C-BE32-E72D297353CC}">
                <c16:uniqueId val="{0000005B-2993-41DE-A2CB-63102DE87051}"/>
              </c:ext>
            </c:extLst>
          </c:dPt>
          <c:dPt>
            <c:idx val="18"/>
            <c:invertIfNegative val="1"/>
            <c:bubble3D val="0"/>
            <c:spPr>
              <a:solidFill>
                <a:srgbClr val="AEABAB"/>
              </a:solidFill>
            </c:spPr>
            <c:extLst>
              <c:ext xmlns:c16="http://schemas.microsoft.com/office/drawing/2014/chart" uri="{C3380CC4-5D6E-409C-BE32-E72D297353CC}">
                <c16:uniqueId val="{0000005D-2993-41DE-A2CB-63102DE87051}"/>
              </c:ext>
            </c:extLst>
          </c:dPt>
          <c:dPt>
            <c:idx val="19"/>
            <c:invertIfNegative val="1"/>
            <c:bubble3D val="0"/>
            <c:spPr>
              <a:solidFill>
                <a:srgbClr val="AEABAB"/>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9</c:f>
              <c:strCache>
                <c:ptCount val="28"/>
                <c:pt idx="0">
                  <c:v>Mini Babybe</c:v>
                </c:pt>
                <c:pt idx="1">
                  <c:v>La Vache Qu</c:v>
                </c:pt>
                <c:pt idx="2">
                  <c:v>Kiri</c:v>
                </c:pt>
                <c:pt idx="3">
                  <c:v>Ficello</c:v>
                </c:pt>
                <c:pt idx="4">
                  <c:v>La Vache Qu</c:v>
                </c:pt>
                <c:pt idx="5">
                  <c:v>Kiri</c:v>
                </c:pt>
                <c:pt idx="6">
                  <c:v>La Vache Qu</c:v>
                </c:pt>
                <c:pt idx="7">
                  <c:v>Mini Babybe</c:v>
                </c:pt>
                <c:pt idx="8">
                  <c:v>P'Tit Louis</c:v>
                </c:pt>
                <c:pt idx="9">
                  <c:v>Private Lab</c:v>
                </c:pt>
                <c:pt idx="10">
                  <c:v>La Vache Qu</c:v>
                </c:pt>
                <c:pt idx="11">
                  <c:v>P'Tit Louis</c:v>
                </c:pt>
                <c:pt idx="12">
                  <c:v>Private Lab</c:v>
                </c:pt>
                <c:pt idx="13">
                  <c:v>Mini Babybe</c:v>
                </c:pt>
                <c:pt idx="14">
                  <c:v>Kiri</c:v>
                </c:pt>
                <c:pt idx="15">
                  <c:v>Mini Babybe</c:v>
                </c:pt>
                <c:pt idx="16">
                  <c:v>Private Lab</c:v>
                </c:pt>
                <c:pt idx="17">
                  <c:v>La Vache Qu</c:v>
                </c:pt>
                <c:pt idx="18">
                  <c:v>Private Lab</c:v>
                </c:pt>
                <c:pt idx="19">
                  <c:v>Mini Babybe</c:v>
                </c:pt>
                <c:pt idx="20">
                  <c:v>La Vache Qu</c:v>
                </c:pt>
                <c:pt idx="21">
                  <c:v>P'Tit Louis</c:v>
                </c:pt>
                <c:pt idx="22">
                  <c:v>Ficello</c:v>
                </c:pt>
                <c:pt idx="23">
                  <c:v>Kiri</c:v>
                </c:pt>
                <c:pt idx="24">
                  <c:v>Mini Babybe</c:v>
                </c:pt>
                <c:pt idx="25">
                  <c:v>Ficello</c:v>
                </c:pt>
                <c:pt idx="26">
                  <c:v>Mini Babybe</c:v>
                </c:pt>
                <c:pt idx="27">
                  <c:v>Private Lab</c:v>
                </c:pt>
              </c:strCache>
            </c:strRef>
          </c:cat>
          <c:val>
            <c:numRef>
              <c:f>Sheet1!$C$2:$C$29</c:f>
              <c:numCache>
                <c:formatCode>General</c:formatCode>
                <c:ptCount val="28"/>
                <c:pt idx="0">
                  <c:v>0.22121145067457676</c:v>
                </c:pt>
                <c:pt idx="1">
                  <c:v>0.41384195574785376</c:v>
                </c:pt>
                <c:pt idx="2">
                  <c:v>0.57778538814053149</c:v>
                </c:pt>
                <c:pt idx="3">
                  <c:v>0.68875905307714402</c:v>
                </c:pt>
                <c:pt idx="4">
                  <c:v>0.78058139592993991</c:v>
                </c:pt>
                <c:pt idx="5">
                  <c:v>0.83949157285745479</c:v>
                </c:pt>
                <c:pt idx="6">
                  <c:v>0.8702310141500923</c:v>
                </c:pt>
                <c:pt idx="7">
                  <c:v>0.90004376961164578</c:v>
                </c:pt>
                <c:pt idx="8">
                  <c:v>0.93199204623003862</c:v>
                </c:pt>
                <c:pt idx="9">
                  <c:v>0.94382580555242446</c:v>
                </c:pt>
                <c:pt idx="10">
                  <c:v>0.95268509145669378</c:v>
                </c:pt>
                <c:pt idx="11">
                  <c:v>0.96520878090873108</c:v>
                </c:pt>
                <c:pt idx="12">
                  <c:v>0.96873165854760968</c:v>
                </c:pt>
                <c:pt idx="13">
                  <c:v>0.97514231717684485</c:v>
                </c:pt>
                <c:pt idx="14">
                  <c:v>0.97797561173342107</c:v>
                </c:pt>
                <c:pt idx="15">
                  <c:v>0.98036135402883107</c:v>
                </c:pt>
                <c:pt idx="16">
                  <c:v>0.98265179712222794</c:v>
                </c:pt>
                <c:pt idx="17">
                  <c:v>0.98663236080486127</c:v>
                </c:pt>
                <c:pt idx="18">
                  <c:v>0.98847677864542716</c:v>
                </c:pt>
                <c:pt idx="19">
                  <c:v>0.99013038985355728</c:v>
                </c:pt>
                <c:pt idx="20">
                  <c:v>0.9917622758976451</c:v>
                </c:pt>
                <c:pt idx="21">
                  <c:v>0.99327776226090536</c:v>
                </c:pt>
                <c:pt idx="22">
                  <c:v>0.99433285561108942</c:v>
                </c:pt>
                <c:pt idx="23">
                  <c:v>0.99533054732976234</c:v>
                </c:pt>
                <c:pt idx="24">
                  <c:v>0.99628652395709516</c:v>
                </c:pt>
                <c:pt idx="25">
                  <c:v>0.99756962741551924</c:v>
                </c:pt>
                <c:pt idx="26">
                  <c:v>0.99882073310837294</c:v>
                </c:pt>
                <c:pt idx="27">
                  <c:v>0.99954557620132556</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9</c:f>
              <c:strCache>
                <c:ptCount val="38"/>
                <c:pt idx="0">
                  <c:v>Mini Babybe</c:v>
                </c:pt>
                <c:pt idx="1">
                  <c:v>La Vache Qu</c:v>
                </c:pt>
                <c:pt idx="2">
                  <c:v>La Vache Qu</c:v>
                </c:pt>
                <c:pt idx="3">
                  <c:v>Mini Babybe</c:v>
                </c:pt>
                <c:pt idx="4">
                  <c:v>La Vache Qu</c:v>
                </c:pt>
                <c:pt idx="5">
                  <c:v>Kiri</c:v>
                </c:pt>
                <c:pt idx="6">
                  <c:v>Private Lab</c:v>
                </c:pt>
                <c:pt idx="7">
                  <c:v>Kiri</c:v>
                </c:pt>
                <c:pt idx="8">
                  <c:v>Private Lab</c:v>
                </c:pt>
                <c:pt idx="9">
                  <c:v>Ficello</c:v>
                </c:pt>
                <c:pt idx="10">
                  <c:v>Kiri</c:v>
                </c:pt>
                <c:pt idx="11">
                  <c:v>Kiri</c:v>
                </c:pt>
                <c:pt idx="12">
                  <c:v>Mini Babybe</c:v>
                </c:pt>
                <c:pt idx="13">
                  <c:v>Kiri</c:v>
                </c:pt>
                <c:pt idx="14">
                  <c:v>Ficello</c:v>
                </c:pt>
                <c:pt idx="15">
                  <c:v>Private Lab</c:v>
                </c:pt>
                <c:pt idx="16">
                  <c:v>La Vache Qu</c:v>
                </c:pt>
                <c:pt idx="17">
                  <c:v>La Vache Qu</c:v>
                </c:pt>
                <c:pt idx="18">
                  <c:v>P'Tit Louis</c:v>
                </c:pt>
                <c:pt idx="19">
                  <c:v>Ficello</c:v>
                </c:pt>
                <c:pt idx="20">
                  <c:v>Private Lab</c:v>
                </c:pt>
                <c:pt idx="21">
                  <c:v>La Vache Qu</c:v>
                </c:pt>
                <c:pt idx="22">
                  <c:v>Mini Babybe</c:v>
                </c:pt>
                <c:pt idx="23">
                  <c:v>Mini Babybe</c:v>
                </c:pt>
                <c:pt idx="24">
                  <c:v>La Vache Qu</c:v>
                </c:pt>
                <c:pt idx="25">
                  <c:v>Kiri</c:v>
                </c:pt>
                <c:pt idx="26">
                  <c:v>Kiri</c:v>
                </c:pt>
                <c:pt idx="27">
                  <c:v>Mini Babybe</c:v>
                </c:pt>
                <c:pt idx="28">
                  <c:v>Mini Babybe</c:v>
                </c:pt>
                <c:pt idx="29">
                  <c:v>Kiri</c:v>
                </c:pt>
                <c:pt idx="30">
                  <c:v>P'Tit Louis</c:v>
                </c:pt>
                <c:pt idx="31">
                  <c:v>Mini Babybe</c:v>
                </c:pt>
                <c:pt idx="32">
                  <c:v>Mini Babybe</c:v>
                </c:pt>
                <c:pt idx="33">
                  <c:v>La Vache Qu</c:v>
                </c:pt>
                <c:pt idx="34">
                  <c:v>Mini Babybe</c:v>
                </c:pt>
                <c:pt idx="35">
                  <c:v>Mini Babybe</c:v>
                </c:pt>
                <c:pt idx="36">
                  <c:v>La Vache Qu</c:v>
                </c:pt>
                <c:pt idx="37">
                  <c:v>Private Lab</c:v>
                </c:pt>
              </c:strCache>
            </c:strRef>
          </c:cat>
          <c:val>
            <c:numRef>
              <c:f>Sheet1!$B$2:$B$39</c:f>
              <c:numCache>
                <c:formatCode>General</c:formatCode>
                <c:ptCount val="38"/>
                <c:pt idx="0">
                  <c:v>1</c:v>
                </c:pt>
                <c:pt idx="1">
                  <c:v>0.98</c:v>
                </c:pt>
                <c:pt idx="2">
                  <c:v>1</c:v>
                </c:pt>
                <c:pt idx="3">
                  <c:v>1</c:v>
                </c:pt>
                <c:pt idx="4">
                  <c:v>0.97</c:v>
                </c:pt>
                <c:pt idx="5">
                  <c:v>0.99</c:v>
                </c:pt>
                <c:pt idx="6">
                  <c:v>0.99</c:v>
                </c:pt>
                <c:pt idx="7">
                  <c:v>0.89</c:v>
                </c:pt>
                <c:pt idx="8">
                  <c:v>0.99</c:v>
                </c:pt>
                <c:pt idx="9">
                  <c:v>0.71</c:v>
                </c:pt>
                <c:pt idx="10">
                  <c:v>0.96</c:v>
                </c:pt>
                <c:pt idx="11">
                  <c:v>0.99</c:v>
                </c:pt>
                <c:pt idx="12">
                  <c:v>0.9</c:v>
                </c:pt>
                <c:pt idx="13">
                  <c:v>0.99</c:v>
                </c:pt>
                <c:pt idx="14">
                  <c:v>0.96</c:v>
                </c:pt>
                <c:pt idx="15">
                  <c:v>0.98</c:v>
                </c:pt>
                <c:pt idx="16">
                  <c:v>0.97</c:v>
                </c:pt>
                <c:pt idx="17">
                  <c:v>0.89</c:v>
                </c:pt>
                <c:pt idx="18">
                  <c:v>0.93</c:v>
                </c:pt>
                <c:pt idx="19">
                  <c:v>0.91</c:v>
                </c:pt>
                <c:pt idx="20">
                  <c:v>0.94</c:v>
                </c:pt>
                <c:pt idx="21">
                  <c:v>0.87</c:v>
                </c:pt>
                <c:pt idx="22">
                  <c:v>0.81</c:v>
                </c:pt>
                <c:pt idx="23">
                  <c:v>0.85</c:v>
                </c:pt>
                <c:pt idx="24">
                  <c:v>0.69</c:v>
                </c:pt>
                <c:pt idx="25">
                  <c:v>0.6</c:v>
                </c:pt>
                <c:pt idx="26">
                  <c:v>0.68</c:v>
                </c:pt>
                <c:pt idx="27">
                  <c:v>0.73</c:v>
                </c:pt>
                <c:pt idx="28">
                  <c:v>0.89</c:v>
                </c:pt>
                <c:pt idx="29">
                  <c:v>0.83</c:v>
                </c:pt>
                <c:pt idx="30">
                  <c:v>0.35</c:v>
                </c:pt>
                <c:pt idx="31">
                  <c:v>0.77</c:v>
                </c:pt>
                <c:pt idx="32">
                  <c:v>0.59</c:v>
                </c:pt>
                <c:pt idx="33">
                  <c:v>0.25</c:v>
                </c:pt>
                <c:pt idx="34">
                  <c:v>0.31</c:v>
                </c:pt>
                <c:pt idx="35">
                  <c:v>0.09</c:v>
                </c:pt>
                <c:pt idx="36">
                  <c:v>0.12</c:v>
                </c:pt>
                <c:pt idx="3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9</c:f>
              <c:strCache>
                <c:ptCount val="38"/>
                <c:pt idx="0">
                  <c:v>Mini Babybe</c:v>
                </c:pt>
                <c:pt idx="1">
                  <c:v>La Vache Qu</c:v>
                </c:pt>
                <c:pt idx="2">
                  <c:v>La Vache Qu</c:v>
                </c:pt>
                <c:pt idx="3">
                  <c:v>Mini Babybe</c:v>
                </c:pt>
                <c:pt idx="4">
                  <c:v>La Vache Qu</c:v>
                </c:pt>
                <c:pt idx="5">
                  <c:v>Kiri</c:v>
                </c:pt>
                <c:pt idx="6">
                  <c:v>Private Lab</c:v>
                </c:pt>
                <c:pt idx="7">
                  <c:v>Kiri</c:v>
                </c:pt>
                <c:pt idx="8">
                  <c:v>Private Lab</c:v>
                </c:pt>
                <c:pt idx="9">
                  <c:v>Ficello</c:v>
                </c:pt>
                <c:pt idx="10">
                  <c:v>Kiri</c:v>
                </c:pt>
                <c:pt idx="11">
                  <c:v>Kiri</c:v>
                </c:pt>
                <c:pt idx="12">
                  <c:v>Mini Babybe</c:v>
                </c:pt>
                <c:pt idx="13">
                  <c:v>Kiri</c:v>
                </c:pt>
                <c:pt idx="14">
                  <c:v>Ficello</c:v>
                </c:pt>
                <c:pt idx="15">
                  <c:v>Private Lab</c:v>
                </c:pt>
                <c:pt idx="16">
                  <c:v>La Vache Qu</c:v>
                </c:pt>
                <c:pt idx="17">
                  <c:v>La Vache Qu</c:v>
                </c:pt>
                <c:pt idx="18">
                  <c:v>P'Tit Louis</c:v>
                </c:pt>
                <c:pt idx="19">
                  <c:v>Ficello</c:v>
                </c:pt>
                <c:pt idx="20">
                  <c:v>Private Lab</c:v>
                </c:pt>
                <c:pt idx="21">
                  <c:v>La Vache Qu</c:v>
                </c:pt>
                <c:pt idx="22">
                  <c:v>Mini Babybe</c:v>
                </c:pt>
                <c:pt idx="23">
                  <c:v>Mini Babybe</c:v>
                </c:pt>
                <c:pt idx="24">
                  <c:v>La Vache Qu</c:v>
                </c:pt>
                <c:pt idx="25">
                  <c:v>Kiri</c:v>
                </c:pt>
                <c:pt idx="26">
                  <c:v>Kiri</c:v>
                </c:pt>
                <c:pt idx="27">
                  <c:v>Mini Babybe</c:v>
                </c:pt>
                <c:pt idx="28">
                  <c:v>Mini Babybe</c:v>
                </c:pt>
                <c:pt idx="29">
                  <c:v>Kiri</c:v>
                </c:pt>
                <c:pt idx="30">
                  <c:v>P'Tit Louis</c:v>
                </c:pt>
                <c:pt idx="31">
                  <c:v>Mini Babybe</c:v>
                </c:pt>
                <c:pt idx="32">
                  <c:v>Mini Babybe</c:v>
                </c:pt>
                <c:pt idx="33">
                  <c:v>La Vache Qu</c:v>
                </c:pt>
                <c:pt idx="34">
                  <c:v>Mini Babybe</c:v>
                </c:pt>
                <c:pt idx="35">
                  <c:v>Mini Babybe</c:v>
                </c:pt>
                <c:pt idx="36">
                  <c:v>La Vache Qu</c:v>
                </c:pt>
                <c:pt idx="37">
                  <c:v>Private Lab</c:v>
                </c:pt>
              </c:strCache>
            </c:strRef>
          </c:cat>
          <c:val>
            <c:numRef>
              <c:f>Sheet1!$C$2:$C$39</c:f>
              <c:numCache>
                <c:formatCode>General</c:formatCode>
                <c:ptCount val="38"/>
                <c:pt idx="0">
                  <c:v>0.13246353117019707</c:v>
                </c:pt>
                <c:pt idx="1">
                  <c:v>0.23405846776013234</c:v>
                </c:pt>
                <c:pt idx="2">
                  <c:v>0.31359913258121641</c:v>
                </c:pt>
                <c:pt idx="3">
                  <c:v>0.38041730102007881</c:v>
                </c:pt>
                <c:pt idx="4">
                  <c:v>0.44617181596577743</c:v>
                </c:pt>
                <c:pt idx="5">
                  <c:v>0.50446631191258662</c:v>
                </c:pt>
                <c:pt idx="6">
                  <c:v>0.56083116772161412</c:v>
                </c:pt>
                <c:pt idx="7">
                  <c:v>0.61135970529887373</c:v>
                </c:pt>
                <c:pt idx="8">
                  <c:v>0.66012954453634665</c:v>
                </c:pt>
                <c:pt idx="9">
                  <c:v>0.69701375622274497</c:v>
                </c:pt>
                <c:pt idx="10">
                  <c:v>0.7317161375971688</c:v>
                </c:pt>
                <c:pt idx="11">
                  <c:v>0.76412982364510373</c:v>
                </c:pt>
                <c:pt idx="12">
                  <c:v>0.78967988685187163</c:v>
                </c:pt>
                <c:pt idx="13">
                  <c:v>0.81508135244379132</c:v>
                </c:pt>
                <c:pt idx="14">
                  <c:v>0.83564510885215137</c:v>
                </c:pt>
                <c:pt idx="15">
                  <c:v>0.85580811265916035</c:v>
                </c:pt>
                <c:pt idx="16">
                  <c:v>0.87305845542684701</c:v>
                </c:pt>
                <c:pt idx="17">
                  <c:v>0.88999851314415923</c:v>
                </c:pt>
                <c:pt idx="18">
                  <c:v>0.90693338067719731</c:v>
                </c:pt>
                <c:pt idx="19">
                  <c:v>0.92322123456045535</c:v>
                </c:pt>
                <c:pt idx="20">
                  <c:v>0.93540579913188093</c:v>
                </c:pt>
                <c:pt idx="21">
                  <c:v>0.94703239250305848</c:v>
                </c:pt>
                <c:pt idx="22">
                  <c:v>0.95577588249450951</c:v>
                </c:pt>
                <c:pt idx="23">
                  <c:v>0.96361068557953389</c:v>
                </c:pt>
                <c:pt idx="24">
                  <c:v>0.96976707103949478</c:v>
                </c:pt>
                <c:pt idx="25">
                  <c:v>0.97526507722580735</c:v>
                </c:pt>
                <c:pt idx="26">
                  <c:v>0.98026630360477285</c:v>
                </c:pt>
                <c:pt idx="27">
                  <c:v>0.98475734366650336</c:v>
                </c:pt>
                <c:pt idx="28">
                  <c:v>0.98845636160798511</c:v>
                </c:pt>
                <c:pt idx="29">
                  <c:v>0.99198829080352646</c:v>
                </c:pt>
                <c:pt idx="30">
                  <c:v>0.99510776749079333</c:v>
                </c:pt>
                <c:pt idx="31">
                  <c:v>0.9979188416691005</c:v>
                </c:pt>
                <c:pt idx="32">
                  <c:v>0.99891595524048404</c:v>
                </c:pt>
                <c:pt idx="33">
                  <c:v>0.99935177237491502</c:v>
                </c:pt>
                <c:pt idx="34">
                  <c:v>0.99969638301687935</c:v>
                </c:pt>
                <c:pt idx="35">
                  <c:v>0.99996236676555028</c:v>
                </c:pt>
                <c:pt idx="36">
                  <c:v>0.99997842994603292</c:v>
                </c:pt>
                <c:pt idx="37">
                  <c:v>0.9999955487572154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9</c:f>
              <c:strCache>
                <c:ptCount val="38"/>
                <c:pt idx="0">
                  <c:v>Mini Babybe</c:v>
                </c:pt>
                <c:pt idx="1">
                  <c:v>La Vache Qu</c:v>
                </c:pt>
                <c:pt idx="2">
                  <c:v>La Vache Qu</c:v>
                </c:pt>
                <c:pt idx="3">
                  <c:v>La Vache Qu</c:v>
                </c:pt>
                <c:pt idx="4">
                  <c:v>Mini Babybe</c:v>
                </c:pt>
                <c:pt idx="5">
                  <c:v>Kiri</c:v>
                </c:pt>
                <c:pt idx="6">
                  <c:v>Kiri</c:v>
                </c:pt>
                <c:pt idx="7">
                  <c:v>Ficello</c:v>
                </c:pt>
                <c:pt idx="8">
                  <c:v>Private Lab</c:v>
                </c:pt>
                <c:pt idx="9">
                  <c:v>Private Lab</c:v>
                </c:pt>
                <c:pt idx="10">
                  <c:v>Kiri</c:v>
                </c:pt>
                <c:pt idx="11">
                  <c:v>Mini Babybe</c:v>
                </c:pt>
                <c:pt idx="12">
                  <c:v>Kiri</c:v>
                </c:pt>
                <c:pt idx="13">
                  <c:v>Kiri</c:v>
                </c:pt>
                <c:pt idx="14">
                  <c:v>La Vache Qu</c:v>
                </c:pt>
                <c:pt idx="15">
                  <c:v>La Vache Qu</c:v>
                </c:pt>
                <c:pt idx="16">
                  <c:v>Ficello</c:v>
                </c:pt>
                <c:pt idx="17">
                  <c:v>Private Lab</c:v>
                </c:pt>
                <c:pt idx="18">
                  <c:v>P'Tit Louis</c:v>
                </c:pt>
                <c:pt idx="19">
                  <c:v>Ficello</c:v>
                </c:pt>
                <c:pt idx="20">
                  <c:v>La Vache Qu</c:v>
                </c:pt>
                <c:pt idx="21">
                  <c:v>Mini Babybe</c:v>
                </c:pt>
                <c:pt idx="22">
                  <c:v>Private Lab</c:v>
                </c:pt>
                <c:pt idx="23">
                  <c:v>Mini Babybe</c:v>
                </c:pt>
                <c:pt idx="24">
                  <c:v>La Vache Qu</c:v>
                </c:pt>
                <c:pt idx="25">
                  <c:v>P'Tit Louis</c:v>
                </c:pt>
                <c:pt idx="26">
                  <c:v>Kiri</c:v>
                </c:pt>
                <c:pt idx="27">
                  <c:v>Mini Babybe</c:v>
                </c:pt>
                <c:pt idx="28">
                  <c:v>Kiri</c:v>
                </c:pt>
                <c:pt idx="29">
                  <c:v>Mini Babybe</c:v>
                </c:pt>
                <c:pt idx="30">
                  <c:v>Mini Babybe</c:v>
                </c:pt>
                <c:pt idx="31">
                  <c:v>Kiri</c:v>
                </c:pt>
                <c:pt idx="32">
                  <c:v>Mini Babybe</c:v>
                </c:pt>
                <c:pt idx="33">
                  <c:v>La Vache Qu</c:v>
                </c:pt>
                <c:pt idx="34">
                  <c:v>Mini Babybe</c:v>
                </c:pt>
                <c:pt idx="35">
                  <c:v>Mini Babybe</c:v>
                </c:pt>
                <c:pt idx="36">
                  <c:v>La Vache Qu</c:v>
                </c:pt>
                <c:pt idx="37">
                  <c:v>Private Lab</c:v>
                </c:pt>
              </c:strCache>
            </c:strRef>
          </c:cat>
          <c:val>
            <c:numRef>
              <c:f>Sheet1!$B$2:$B$39</c:f>
              <c:numCache>
                <c:formatCode>General</c:formatCode>
                <c:ptCount val="38"/>
                <c:pt idx="0">
                  <c:v>1</c:v>
                </c:pt>
                <c:pt idx="1">
                  <c:v>0.99</c:v>
                </c:pt>
                <c:pt idx="2">
                  <c:v>1</c:v>
                </c:pt>
                <c:pt idx="3">
                  <c:v>1</c:v>
                </c:pt>
                <c:pt idx="4">
                  <c:v>1</c:v>
                </c:pt>
                <c:pt idx="5">
                  <c:v>0.99</c:v>
                </c:pt>
                <c:pt idx="6">
                  <c:v>1</c:v>
                </c:pt>
                <c:pt idx="7">
                  <c:v>0.99</c:v>
                </c:pt>
                <c:pt idx="8">
                  <c:v>1</c:v>
                </c:pt>
                <c:pt idx="9">
                  <c:v>1</c:v>
                </c:pt>
                <c:pt idx="10">
                  <c:v>0.99</c:v>
                </c:pt>
                <c:pt idx="11">
                  <c:v>0.98</c:v>
                </c:pt>
                <c:pt idx="12">
                  <c:v>1</c:v>
                </c:pt>
                <c:pt idx="13">
                  <c:v>1</c:v>
                </c:pt>
                <c:pt idx="14">
                  <c:v>0.98</c:v>
                </c:pt>
                <c:pt idx="15">
                  <c:v>0.99</c:v>
                </c:pt>
                <c:pt idx="16">
                  <c:v>0.98</c:v>
                </c:pt>
                <c:pt idx="17">
                  <c:v>0.99</c:v>
                </c:pt>
                <c:pt idx="18">
                  <c:v>0.99</c:v>
                </c:pt>
                <c:pt idx="19">
                  <c:v>0.99</c:v>
                </c:pt>
                <c:pt idx="20">
                  <c:v>0.97</c:v>
                </c:pt>
                <c:pt idx="21">
                  <c:v>0.97</c:v>
                </c:pt>
                <c:pt idx="22">
                  <c:v>0.99</c:v>
                </c:pt>
                <c:pt idx="23">
                  <c:v>0.97</c:v>
                </c:pt>
                <c:pt idx="24">
                  <c:v>0.92</c:v>
                </c:pt>
                <c:pt idx="25">
                  <c:v>0.78</c:v>
                </c:pt>
                <c:pt idx="26">
                  <c:v>0.87</c:v>
                </c:pt>
                <c:pt idx="27">
                  <c:v>0.95</c:v>
                </c:pt>
                <c:pt idx="28">
                  <c:v>0.88</c:v>
                </c:pt>
                <c:pt idx="29">
                  <c:v>0.92</c:v>
                </c:pt>
                <c:pt idx="30">
                  <c:v>0.95</c:v>
                </c:pt>
                <c:pt idx="31">
                  <c:v>0.94</c:v>
                </c:pt>
                <c:pt idx="32">
                  <c:v>0.9</c:v>
                </c:pt>
                <c:pt idx="33">
                  <c:v>0.32</c:v>
                </c:pt>
                <c:pt idx="34">
                  <c:v>0.24</c:v>
                </c:pt>
                <c:pt idx="35">
                  <c:v>0.55000000000000004</c:v>
                </c:pt>
                <c:pt idx="36">
                  <c:v>0.13</c:v>
                </c:pt>
                <c:pt idx="37">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7ECAC4"/>
              </a:solidFill>
            </c:spPr>
            <c:extLst>
              <c:ext xmlns:c16="http://schemas.microsoft.com/office/drawing/2014/chart" uri="{C3380CC4-5D6E-409C-BE32-E72D297353CC}">
                <c16:uniqueId val="{00000061-2993-41DE-A2CB-63102DE87051}"/>
              </c:ext>
            </c:extLst>
          </c:dPt>
          <c:dPt>
            <c:idx val="21"/>
            <c:invertIfNegative val="1"/>
            <c:bubble3D val="0"/>
            <c:spPr>
              <a:solidFill>
                <a:srgbClr val="7ECAC4"/>
              </a:solidFill>
            </c:spPr>
            <c:extLst>
              <c:ext xmlns:c16="http://schemas.microsoft.com/office/drawing/2014/chart" uri="{C3380CC4-5D6E-409C-BE32-E72D297353CC}">
                <c16:uniqueId val="{00000063-2993-41DE-A2CB-63102DE87051}"/>
              </c:ext>
            </c:extLst>
          </c:dPt>
          <c:dPt>
            <c:idx val="22"/>
            <c:invertIfNegative val="1"/>
            <c:bubble3D val="0"/>
            <c:spPr>
              <a:solidFill>
                <a:srgbClr val="7ECAC4"/>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AEABAB"/>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9</c:f>
              <c:strCache>
                <c:ptCount val="38"/>
                <c:pt idx="0">
                  <c:v>Mini Babybe</c:v>
                </c:pt>
                <c:pt idx="1">
                  <c:v>La Vache Qu</c:v>
                </c:pt>
                <c:pt idx="2">
                  <c:v>La Vache Qu</c:v>
                </c:pt>
                <c:pt idx="3">
                  <c:v>La Vache Qu</c:v>
                </c:pt>
                <c:pt idx="4">
                  <c:v>Mini Babybe</c:v>
                </c:pt>
                <c:pt idx="5">
                  <c:v>Kiri</c:v>
                </c:pt>
                <c:pt idx="6">
                  <c:v>Kiri</c:v>
                </c:pt>
                <c:pt idx="7">
                  <c:v>Ficello</c:v>
                </c:pt>
                <c:pt idx="8">
                  <c:v>Private Lab</c:v>
                </c:pt>
                <c:pt idx="9">
                  <c:v>Private Lab</c:v>
                </c:pt>
                <c:pt idx="10">
                  <c:v>Kiri</c:v>
                </c:pt>
                <c:pt idx="11">
                  <c:v>Mini Babybe</c:v>
                </c:pt>
                <c:pt idx="12">
                  <c:v>Kiri</c:v>
                </c:pt>
                <c:pt idx="13">
                  <c:v>Kiri</c:v>
                </c:pt>
                <c:pt idx="14">
                  <c:v>La Vache Qu</c:v>
                </c:pt>
                <c:pt idx="15">
                  <c:v>La Vache Qu</c:v>
                </c:pt>
                <c:pt idx="16">
                  <c:v>Ficello</c:v>
                </c:pt>
                <c:pt idx="17">
                  <c:v>Private Lab</c:v>
                </c:pt>
                <c:pt idx="18">
                  <c:v>P'Tit Louis</c:v>
                </c:pt>
                <c:pt idx="19">
                  <c:v>Ficello</c:v>
                </c:pt>
                <c:pt idx="20">
                  <c:v>La Vache Qu</c:v>
                </c:pt>
                <c:pt idx="21">
                  <c:v>Mini Babybe</c:v>
                </c:pt>
                <c:pt idx="22">
                  <c:v>Private Lab</c:v>
                </c:pt>
                <c:pt idx="23">
                  <c:v>Mini Babybe</c:v>
                </c:pt>
                <c:pt idx="24">
                  <c:v>La Vache Qu</c:v>
                </c:pt>
                <c:pt idx="25">
                  <c:v>P'Tit Louis</c:v>
                </c:pt>
                <c:pt idx="26">
                  <c:v>Kiri</c:v>
                </c:pt>
                <c:pt idx="27">
                  <c:v>Mini Babybe</c:v>
                </c:pt>
                <c:pt idx="28">
                  <c:v>Kiri</c:v>
                </c:pt>
                <c:pt idx="29">
                  <c:v>Mini Babybe</c:v>
                </c:pt>
                <c:pt idx="30">
                  <c:v>Mini Babybe</c:v>
                </c:pt>
                <c:pt idx="31">
                  <c:v>Kiri</c:v>
                </c:pt>
                <c:pt idx="32">
                  <c:v>Mini Babybe</c:v>
                </c:pt>
                <c:pt idx="33">
                  <c:v>La Vache Qu</c:v>
                </c:pt>
                <c:pt idx="34">
                  <c:v>Mini Babybe</c:v>
                </c:pt>
                <c:pt idx="35">
                  <c:v>Mini Babybe</c:v>
                </c:pt>
                <c:pt idx="36">
                  <c:v>La Vache Qu</c:v>
                </c:pt>
                <c:pt idx="37">
                  <c:v>Private Lab</c:v>
                </c:pt>
              </c:strCache>
            </c:strRef>
          </c:cat>
          <c:val>
            <c:numRef>
              <c:f>Sheet1!$C$2:$C$39</c:f>
              <c:numCache>
                <c:formatCode>General</c:formatCode>
                <c:ptCount val="38"/>
                <c:pt idx="0">
                  <c:v>0.13458901874354426</c:v>
                </c:pt>
                <c:pt idx="1">
                  <c:v>0.2419335100145944</c:v>
                </c:pt>
                <c:pt idx="2">
                  <c:v>0.31500777534157998</c:v>
                </c:pt>
                <c:pt idx="3">
                  <c:v>0.38076803981703472</c:v>
                </c:pt>
                <c:pt idx="4">
                  <c:v>0.4406379802478243</c:v>
                </c:pt>
                <c:pt idx="5">
                  <c:v>0.49670771773802447</c:v>
                </c:pt>
                <c:pt idx="6">
                  <c:v>0.552128751156435</c:v>
                </c:pt>
                <c:pt idx="7">
                  <c:v>0.60411463183435066</c:v>
                </c:pt>
                <c:pt idx="8">
                  <c:v>0.65015212954804358</c:v>
                </c:pt>
                <c:pt idx="9">
                  <c:v>0.6927258245315252</c:v>
                </c:pt>
                <c:pt idx="10">
                  <c:v>0.72804974397154887</c:v>
                </c:pt>
                <c:pt idx="11">
                  <c:v>0.75979696833777699</c:v>
                </c:pt>
                <c:pt idx="12">
                  <c:v>0.78745331569556487</c:v>
                </c:pt>
                <c:pt idx="13">
                  <c:v>0.81163760684928288</c:v>
                </c:pt>
                <c:pt idx="14">
                  <c:v>0.83265986883996768</c:v>
                </c:pt>
                <c:pt idx="15">
                  <c:v>0.85230579291407971</c:v>
                </c:pt>
                <c:pt idx="16">
                  <c:v>0.86929068317513236</c:v>
                </c:pt>
                <c:pt idx="17">
                  <c:v>0.88557070779515001</c:v>
                </c:pt>
                <c:pt idx="18">
                  <c:v>0.90055484215183823</c:v>
                </c:pt>
                <c:pt idx="19">
                  <c:v>0.91552939488944907</c:v>
                </c:pt>
                <c:pt idx="20">
                  <c:v>0.9262950554291921</c:v>
                </c:pt>
                <c:pt idx="21">
                  <c:v>0.93662214344423733</c:v>
                </c:pt>
                <c:pt idx="22">
                  <c:v>0.94651729966067799</c:v>
                </c:pt>
                <c:pt idx="23">
                  <c:v>0.95583993042036952</c:v>
                </c:pt>
                <c:pt idx="24">
                  <c:v>0.9629780468979463</c:v>
                </c:pt>
                <c:pt idx="25">
                  <c:v>0.96893164757552808</c:v>
                </c:pt>
                <c:pt idx="26">
                  <c:v>0.97469494401678192</c:v>
                </c:pt>
                <c:pt idx="27">
                  <c:v>0.98005154341858536</c:v>
                </c:pt>
                <c:pt idx="28">
                  <c:v>0.98518273760328257</c:v>
                </c:pt>
                <c:pt idx="29">
                  <c:v>0.98923433946025729</c:v>
                </c:pt>
                <c:pt idx="30">
                  <c:v>0.99312542548080784</c:v>
                </c:pt>
                <c:pt idx="31">
                  <c:v>0.99677611721678472</c:v>
                </c:pt>
                <c:pt idx="32">
                  <c:v>0.99849976510803162</c:v>
                </c:pt>
                <c:pt idx="33">
                  <c:v>0.99903813825915866</c:v>
                </c:pt>
                <c:pt idx="34">
                  <c:v>0.99956968094916121</c:v>
                </c:pt>
                <c:pt idx="35">
                  <c:v>0.99998036242426758</c:v>
                </c:pt>
                <c:pt idx="36">
                  <c:v>0.99998994404334496</c:v>
                </c:pt>
                <c:pt idx="37">
                  <c:v>1.000000000000000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38</c:f>
              <c:strCache>
                <c:ptCount val="37"/>
                <c:pt idx="0">
                  <c:v>Mini Babybe</c:v>
                </c:pt>
                <c:pt idx="1">
                  <c:v>La Vache Qu</c:v>
                </c:pt>
                <c:pt idx="2">
                  <c:v>Mini Babybe</c:v>
                </c:pt>
                <c:pt idx="3">
                  <c:v>Private Lab</c:v>
                </c:pt>
                <c:pt idx="4">
                  <c:v>La Vache Qu</c:v>
                </c:pt>
                <c:pt idx="5">
                  <c:v>Kiri</c:v>
                </c:pt>
                <c:pt idx="6">
                  <c:v>Private Lab</c:v>
                </c:pt>
                <c:pt idx="7">
                  <c:v>La Vache Qu</c:v>
                </c:pt>
                <c:pt idx="8">
                  <c:v>Kiri</c:v>
                </c:pt>
                <c:pt idx="9">
                  <c:v>Kiri</c:v>
                </c:pt>
                <c:pt idx="10">
                  <c:v>Ficello</c:v>
                </c:pt>
                <c:pt idx="11">
                  <c:v>Kiri</c:v>
                </c:pt>
                <c:pt idx="12">
                  <c:v>Private Lab</c:v>
                </c:pt>
                <c:pt idx="13">
                  <c:v>Kiri</c:v>
                </c:pt>
                <c:pt idx="14">
                  <c:v>Ficello</c:v>
                </c:pt>
                <c:pt idx="15">
                  <c:v>Ficello</c:v>
                </c:pt>
                <c:pt idx="16">
                  <c:v>La Vache Qu</c:v>
                </c:pt>
                <c:pt idx="17">
                  <c:v>P'Tit Louis</c:v>
                </c:pt>
                <c:pt idx="18">
                  <c:v>Private Lab</c:v>
                </c:pt>
                <c:pt idx="19">
                  <c:v>Mini Babybe</c:v>
                </c:pt>
                <c:pt idx="20">
                  <c:v>La Vache Qu</c:v>
                </c:pt>
                <c:pt idx="21">
                  <c:v>La Vache Qu</c:v>
                </c:pt>
                <c:pt idx="22">
                  <c:v>Mini Babybe</c:v>
                </c:pt>
                <c:pt idx="23">
                  <c:v>Kiri</c:v>
                </c:pt>
                <c:pt idx="24">
                  <c:v>Mini Babybe</c:v>
                </c:pt>
                <c:pt idx="25">
                  <c:v>Kiri</c:v>
                </c:pt>
                <c:pt idx="26">
                  <c:v>La Vache Qu</c:v>
                </c:pt>
                <c:pt idx="27">
                  <c:v>Kiri</c:v>
                </c:pt>
                <c:pt idx="28">
                  <c:v>Mini Babybe</c:v>
                </c:pt>
                <c:pt idx="29">
                  <c:v>Mini Babybe</c:v>
                </c:pt>
                <c:pt idx="30">
                  <c:v>Mini Babybe</c:v>
                </c:pt>
                <c:pt idx="31">
                  <c:v>P'Tit Louis</c:v>
                </c:pt>
                <c:pt idx="32">
                  <c:v>Mini Babybe</c:v>
                </c:pt>
                <c:pt idx="33">
                  <c:v>Mini Babybe</c:v>
                </c:pt>
                <c:pt idx="34">
                  <c:v>Mini Babybe</c:v>
                </c:pt>
                <c:pt idx="35">
                  <c:v>Private Lab</c:v>
                </c:pt>
                <c:pt idx="36">
                  <c:v>La Vache Qu</c:v>
                </c:pt>
              </c:strCache>
            </c:strRef>
          </c:cat>
          <c:val>
            <c:numRef>
              <c:f>Sheet1!$B$2:$B$38</c:f>
              <c:numCache>
                <c:formatCode>General</c:formatCode>
                <c:ptCount val="37"/>
                <c:pt idx="0">
                  <c:v>0.88</c:v>
                </c:pt>
                <c:pt idx="1">
                  <c:v>0.98</c:v>
                </c:pt>
                <c:pt idx="2">
                  <c:v>0.98</c:v>
                </c:pt>
                <c:pt idx="3">
                  <c:v>0.95</c:v>
                </c:pt>
                <c:pt idx="4">
                  <c:v>0.68</c:v>
                </c:pt>
                <c:pt idx="5">
                  <c:v>0.85</c:v>
                </c:pt>
                <c:pt idx="6">
                  <c:v>0.94</c:v>
                </c:pt>
                <c:pt idx="7">
                  <c:v>0.68</c:v>
                </c:pt>
                <c:pt idx="8">
                  <c:v>0.92</c:v>
                </c:pt>
                <c:pt idx="9">
                  <c:v>0.9</c:v>
                </c:pt>
                <c:pt idx="10">
                  <c:v>0.84</c:v>
                </c:pt>
                <c:pt idx="11">
                  <c:v>0.52</c:v>
                </c:pt>
                <c:pt idx="12">
                  <c:v>0.9</c:v>
                </c:pt>
                <c:pt idx="13">
                  <c:v>0.68</c:v>
                </c:pt>
                <c:pt idx="14">
                  <c:v>0.7</c:v>
                </c:pt>
                <c:pt idx="15">
                  <c:v>0.37</c:v>
                </c:pt>
                <c:pt idx="16">
                  <c:v>0.82</c:v>
                </c:pt>
                <c:pt idx="17">
                  <c:v>0.67</c:v>
                </c:pt>
                <c:pt idx="18">
                  <c:v>0.72</c:v>
                </c:pt>
                <c:pt idx="19">
                  <c:v>0.39</c:v>
                </c:pt>
                <c:pt idx="20">
                  <c:v>0.5</c:v>
                </c:pt>
                <c:pt idx="21">
                  <c:v>0.42</c:v>
                </c:pt>
                <c:pt idx="22">
                  <c:v>0.41</c:v>
                </c:pt>
                <c:pt idx="23">
                  <c:v>0.31</c:v>
                </c:pt>
                <c:pt idx="24">
                  <c:v>0.36</c:v>
                </c:pt>
                <c:pt idx="25">
                  <c:v>0.59</c:v>
                </c:pt>
                <c:pt idx="26">
                  <c:v>0.33</c:v>
                </c:pt>
                <c:pt idx="27">
                  <c:v>0.38</c:v>
                </c:pt>
                <c:pt idx="28">
                  <c:v>0.73</c:v>
                </c:pt>
                <c:pt idx="29">
                  <c:v>0.3</c:v>
                </c:pt>
                <c:pt idx="30">
                  <c:v>0.28999999999999998</c:v>
                </c:pt>
                <c:pt idx="31">
                  <c:v>7.0000000000000007E-2</c:v>
                </c:pt>
                <c:pt idx="32">
                  <c:v>0.13</c:v>
                </c:pt>
                <c:pt idx="33">
                  <c:v>0.19</c:v>
                </c:pt>
                <c:pt idx="34">
                  <c:v>0.05</c:v>
                </c:pt>
                <c:pt idx="35">
                  <c:v>0.01</c:v>
                </c:pt>
                <c:pt idx="36">
                  <c:v>0.04</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7ECAC4"/>
              </a:solidFill>
            </c:spPr>
            <c:extLst>
              <c:ext xmlns:c16="http://schemas.microsoft.com/office/drawing/2014/chart" uri="{C3380CC4-5D6E-409C-BE32-E72D297353CC}">
                <c16:uniqueId val="{00000053-2993-41DE-A2CB-63102DE87051}"/>
              </c:ext>
            </c:extLst>
          </c:dPt>
          <c:dPt>
            <c:idx val="14"/>
            <c:invertIfNegative val="1"/>
            <c:bubble3D val="0"/>
            <c:spPr>
              <a:solidFill>
                <a:srgbClr val="7ECAC4"/>
              </a:solidFill>
            </c:spPr>
            <c:extLst>
              <c:ext xmlns:c16="http://schemas.microsoft.com/office/drawing/2014/chart" uri="{C3380CC4-5D6E-409C-BE32-E72D297353CC}">
                <c16:uniqueId val="{00000055-2993-41DE-A2CB-63102DE87051}"/>
              </c:ext>
            </c:extLst>
          </c:dPt>
          <c:dPt>
            <c:idx val="15"/>
            <c:invertIfNegative val="1"/>
            <c:bubble3D val="0"/>
            <c:spPr>
              <a:solidFill>
                <a:srgbClr val="7ECAC4"/>
              </a:solidFill>
            </c:spPr>
            <c:extLst>
              <c:ext xmlns:c16="http://schemas.microsoft.com/office/drawing/2014/chart" uri="{C3380CC4-5D6E-409C-BE32-E72D297353CC}">
                <c16:uniqueId val="{00000057-2993-41DE-A2CB-63102DE87051}"/>
              </c:ext>
            </c:extLst>
          </c:dPt>
          <c:dPt>
            <c:idx val="16"/>
            <c:invertIfNegative val="1"/>
            <c:bubble3D val="0"/>
            <c:spPr>
              <a:solidFill>
                <a:srgbClr val="7ECAC4"/>
              </a:solidFill>
            </c:spPr>
            <c:extLst>
              <c:ext xmlns:c16="http://schemas.microsoft.com/office/drawing/2014/chart" uri="{C3380CC4-5D6E-409C-BE32-E72D297353CC}">
                <c16:uniqueId val="{00000059-2993-41DE-A2CB-63102DE87051}"/>
              </c:ext>
            </c:extLst>
          </c:dPt>
          <c:dPt>
            <c:idx val="17"/>
            <c:invertIfNegative val="1"/>
            <c:bubble3D val="0"/>
            <c:spPr>
              <a:solidFill>
                <a:srgbClr val="7ECAC4"/>
              </a:solidFill>
            </c:spPr>
            <c:extLst>
              <c:ext xmlns:c16="http://schemas.microsoft.com/office/drawing/2014/chart" uri="{C3380CC4-5D6E-409C-BE32-E72D297353CC}">
                <c16:uniqueId val="{0000005B-2993-41DE-A2CB-63102DE87051}"/>
              </c:ext>
            </c:extLst>
          </c:dPt>
          <c:dPt>
            <c:idx val="18"/>
            <c:invertIfNegative val="1"/>
            <c:bubble3D val="0"/>
            <c:spPr>
              <a:solidFill>
                <a:srgbClr val="7ECAC4"/>
              </a:solidFill>
            </c:spPr>
            <c:extLst>
              <c:ext xmlns:c16="http://schemas.microsoft.com/office/drawing/2014/chart" uri="{C3380CC4-5D6E-409C-BE32-E72D297353CC}">
                <c16:uniqueId val="{0000005D-2993-41DE-A2CB-63102DE87051}"/>
              </c:ext>
            </c:extLst>
          </c:dPt>
          <c:dPt>
            <c:idx val="19"/>
            <c:invertIfNegative val="1"/>
            <c:bubble3D val="0"/>
            <c:spPr>
              <a:solidFill>
                <a:srgbClr val="7ECAC4"/>
              </a:solidFill>
            </c:spPr>
            <c:extLst>
              <c:ext xmlns:c16="http://schemas.microsoft.com/office/drawing/2014/chart" uri="{C3380CC4-5D6E-409C-BE32-E72D297353CC}">
                <c16:uniqueId val="{0000005F-2993-41DE-A2CB-63102DE87051}"/>
              </c:ext>
            </c:extLst>
          </c:dPt>
          <c:dPt>
            <c:idx val="20"/>
            <c:invertIfNegative val="1"/>
            <c:bubble3D val="0"/>
            <c:spPr>
              <a:solidFill>
                <a:srgbClr val="AEABAB"/>
              </a:solidFill>
            </c:spPr>
            <c:extLst>
              <c:ext xmlns:c16="http://schemas.microsoft.com/office/drawing/2014/chart" uri="{C3380CC4-5D6E-409C-BE32-E72D297353CC}">
                <c16:uniqueId val="{00000061-2993-41DE-A2CB-63102DE87051}"/>
              </c:ext>
            </c:extLst>
          </c:dPt>
          <c:dPt>
            <c:idx val="21"/>
            <c:invertIfNegative val="1"/>
            <c:bubble3D val="0"/>
            <c:spPr>
              <a:solidFill>
                <a:srgbClr val="AEABAB"/>
              </a:solidFill>
            </c:spPr>
            <c:extLst>
              <c:ext xmlns:c16="http://schemas.microsoft.com/office/drawing/2014/chart" uri="{C3380CC4-5D6E-409C-BE32-E72D297353CC}">
                <c16:uniqueId val="{00000063-2993-41DE-A2CB-63102DE87051}"/>
              </c:ext>
            </c:extLst>
          </c:dPt>
          <c:dPt>
            <c:idx val="22"/>
            <c:invertIfNegative val="1"/>
            <c:bubble3D val="0"/>
            <c:spPr>
              <a:solidFill>
                <a:srgbClr val="AEABAB"/>
              </a:solidFill>
            </c:spPr>
            <c:extLst>
              <c:ext xmlns:c16="http://schemas.microsoft.com/office/drawing/2014/chart" uri="{C3380CC4-5D6E-409C-BE32-E72D297353CC}">
                <c16:uniqueId val="{00000065-2993-41DE-A2CB-63102DE87051}"/>
              </c:ext>
            </c:extLst>
          </c:dPt>
          <c:dPt>
            <c:idx val="23"/>
            <c:invertIfNegative val="1"/>
            <c:bubble3D val="0"/>
            <c:spPr>
              <a:solidFill>
                <a:srgbClr val="AEABAB"/>
              </a:solidFill>
            </c:spPr>
            <c:extLst>
              <c:ext xmlns:c16="http://schemas.microsoft.com/office/drawing/2014/chart" uri="{C3380CC4-5D6E-409C-BE32-E72D297353CC}">
                <c16:uniqueId val="{00000067-2993-41DE-A2CB-63102DE87051}"/>
              </c:ext>
            </c:extLst>
          </c:dPt>
          <c:dPt>
            <c:idx val="24"/>
            <c:invertIfNegative val="1"/>
            <c:bubble3D val="0"/>
            <c:spPr>
              <a:solidFill>
                <a:srgbClr val="AEABAB"/>
              </a:solidFill>
            </c:spPr>
            <c:extLst>
              <c:ext xmlns:c16="http://schemas.microsoft.com/office/drawing/2014/chart" uri="{C3380CC4-5D6E-409C-BE32-E72D297353CC}">
                <c16:uniqueId val="{00000069-2993-41DE-A2CB-63102DE87051}"/>
              </c:ext>
            </c:extLst>
          </c:dPt>
          <c:dPt>
            <c:idx val="25"/>
            <c:invertIfNegative val="1"/>
            <c:bubble3D val="0"/>
            <c:spPr>
              <a:solidFill>
                <a:srgbClr val="AEABAB"/>
              </a:solidFill>
            </c:spPr>
            <c:extLst>
              <c:ext xmlns:c16="http://schemas.microsoft.com/office/drawing/2014/chart" uri="{C3380CC4-5D6E-409C-BE32-E72D297353CC}">
                <c16:uniqueId val="{0000006B-2993-41DE-A2CB-63102DE87051}"/>
              </c:ext>
            </c:extLst>
          </c:dPt>
          <c:dPt>
            <c:idx val="26"/>
            <c:invertIfNegative val="1"/>
            <c:bubble3D val="0"/>
            <c:spPr>
              <a:solidFill>
                <a:srgbClr val="AEABAB"/>
              </a:solidFill>
            </c:spPr>
            <c:extLst>
              <c:ext xmlns:c16="http://schemas.microsoft.com/office/drawing/2014/chart" uri="{C3380CC4-5D6E-409C-BE32-E72D297353CC}">
                <c16:uniqueId val="{0000006D-2993-41DE-A2CB-63102DE87051}"/>
              </c:ext>
            </c:extLst>
          </c:dPt>
          <c:dPt>
            <c:idx val="27"/>
            <c:invertIfNegative val="1"/>
            <c:bubble3D val="0"/>
            <c:spPr>
              <a:solidFill>
                <a:srgbClr val="AEABAB"/>
              </a:solidFill>
            </c:spPr>
            <c:extLst>
              <c:ext xmlns:c16="http://schemas.microsoft.com/office/drawing/2014/chart" uri="{C3380CC4-5D6E-409C-BE32-E72D297353CC}">
                <c16:uniqueId val="{0000006F-2993-41DE-A2CB-63102DE87051}"/>
              </c:ext>
            </c:extLst>
          </c:dPt>
          <c:dPt>
            <c:idx val="28"/>
            <c:invertIfNegative val="1"/>
            <c:bubble3D val="0"/>
            <c:spPr>
              <a:solidFill>
                <a:srgbClr val="AEABAB"/>
              </a:solidFill>
            </c:spPr>
            <c:extLst>
              <c:ext xmlns:c16="http://schemas.microsoft.com/office/drawing/2014/chart" uri="{C3380CC4-5D6E-409C-BE32-E72D297353CC}">
                <c16:uniqueId val="{00000071-2993-41DE-A2CB-63102DE87051}"/>
              </c:ext>
            </c:extLst>
          </c:dPt>
          <c:dPt>
            <c:idx val="29"/>
            <c:invertIfNegative val="1"/>
            <c:bubble3D val="0"/>
            <c:spPr>
              <a:solidFill>
                <a:srgbClr val="AEABAB"/>
              </a:solidFill>
            </c:spPr>
            <c:extLst>
              <c:ext xmlns:c16="http://schemas.microsoft.com/office/drawing/2014/chart" uri="{C3380CC4-5D6E-409C-BE32-E72D297353CC}">
                <c16:uniqueId val="{00000073-2993-41DE-A2CB-63102DE87051}"/>
              </c:ext>
            </c:extLst>
          </c:dPt>
          <c:dPt>
            <c:idx val="30"/>
            <c:invertIfNegative val="1"/>
            <c:bubble3D val="0"/>
            <c:spPr>
              <a:solidFill>
                <a:srgbClr val="AEABAB"/>
              </a:solidFill>
            </c:spPr>
            <c:extLst>
              <c:ext xmlns:c16="http://schemas.microsoft.com/office/drawing/2014/chart" uri="{C3380CC4-5D6E-409C-BE32-E72D297353CC}">
                <c16:uniqueId val="{00000075-2993-41DE-A2CB-63102DE87051}"/>
              </c:ext>
            </c:extLst>
          </c:dPt>
          <c:dPt>
            <c:idx val="31"/>
            <c:invertIfNegative val="1"/>
            <c:bubble3D val="0"/>
            <c:spPr>
              <a:solidFill>
                <a:srgbClr val="AEABAB"/>
              </a:solidFill>
            </c:spPr>
            <c:extLst>
              <c:ext xmlns:c16="http://schemas.microsoft.com/office/drawing/2014/chart" uri="{C3380CC4-5D6E-409C-BE32-E72D297353CC}">
                <c16:uniqueId val="{00000077-2993-41DE-A2CB-63102DE87051}"/>
              </c:ext>
            </c:extLst>
          </c:dPt>
          <c:dPt>
            <c:idx val="32"/>
            <c:invertIfNegative val="1"/>
            <c:bubble3D val="0"/>
            <c:spPr>
              <a:solidFill>
                <a:srgbClr val="AEABAB"/>
              </a:solidFill>
            </c:spPr>
            <c:extLst>
              <c:ext xmlns:c16="http://schemas.microsoft.com/office/drawing/2014/chart" uri="{C3380CC4-5D6E-409C-BE32-E72D297353CC}">
                <c16:uniqueId val="{00000079-2993-41DE-A2CB-63102DE87051}"/>
              </c:ext>
            </c:extLst>
          </c:dPt>
          <c:dPt>
            <c:idx val="33"/>
            <c:invertIfNegative val="1"/>
            <c:bubble3D val="0"/>
            <c:spPr>
              <a:solidFill>
                <a:srgbClr val="AEABAB"/>
              </a:solidFill>
            </c:spPr>
            <c:extLst>
              <c:ext xmlns:c16="http://schemas.microsoft.com/office/drawing/2014/chart" uri="{C3380CC4-5D6E-409C-BE32-E72D297353CC}">
                <c16:uniqueId val="{0000007B-2993-41DE-A2CB-63102DE87051}"/>
              </c:ext>
            </c:extLst>
          </c:dPt>
          <c:dPt>
            <c:idx val="34"/>
            <c:invertIfNegative val="1"/>
            <c:bubble3D val="0"/>
            <c:spPr>
              <a:solidFill>
                <a:srgbClr val="AEABAB"/>
              </a:solidFill>
            </c:spPr>
            <c:extLst>
              <c:ext xmlns:c16="http://schemas.microsoft.com/office/drawing/2014/chart" uri="{C3380CC4-5D6E-409C-BE32-E72D297353CC}">
                <c16:uniqueId val="{0000007D-2993-41DE-A2CB-63102DE87051}"/>
              </c:ext>
            </c:extLst>
          </c:dPt>
          <c:dPt>
            <c:idx val="35"/>
            <c:invertIfNegative val="1"/>
            <c:bubble3D val="0"/>
            <c:spPr>
              <a:solidFill>
                <a:srgbClr val="AEABAB"/>
              </a:solidFill>
            </c:spPr>
            <c:extLst>
              <c:ext xmlns:c16="http://schemas.microsoft.com/office/drawing/2014/chart" uri="{C3380CC4-5D6E-409C-BE32-E72D297353CC}">
                <c16:uniqueId val="{0000007F-2993-41DE-A2CB-63102DE87051}"/>
              </c:ext>
            </c:extLst>
          </c:dPt>
          <c:dPt>
            <c:idx val="36"/>
            <c:invertIfNegative val="1"/>
            <c:bubble3D val="0"/>
            <c:spPr>
              <a:solidFill>
                <a:srgbClr val="AEABAB"/>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38</c:f>
              <c:strCache>
                <c:ptCount val="37"/>
                <c:pt idx="0">
                  <c:v>Mini Babybe</c:v>
                </c:pt>
                <c:pt idx="1">
                  <c:v>La Vache Qu</c:v>
                </c:pt>
                <c:pt idx="2">
                  <c:v>Mini Babybe</c:v>
                </c:pt>
                <c:pt idx="3">
                  <c:v>Private Lab</c:v>
                </c:pt>
                <c:pt idx="4">
                  <c:v>La Vache Qu</c:v>
                </c:pt>
                <c:pt idx="5">
                  <c:v>Kiri</c:v>
                </c:pt>
                <c:pt idx="6">
                  <c:v>Private Lab</c:v>
                </c:pt>
                <c:pt idx="7">
                  <c:v>La Vache Qu</c:v>
                </c:pt>
                <c:pt idx="8">
                  <c:v>Kiri</c:v>
                </c:pt>
                <c:pt idx="9">
                  <c:v>Kiri</c:v>
                </c:pt>
                <c:pt idx="10">
                  <c:v>Ficello</c:v>
                </c:pt>
                <c:pt idx="11">
                  <c:v>Kiri</c:v>
                </c:pt>
                <c:pt idx="12">
                  <c:v>Private Lab</c:v>
                </c:pt>
                <c:pt idx="13">
                  <c:v>Kiri</c:v>
                </c:pt>
                <c:pt idx="14">
                  <c:v>Ficello</c:v>
                </c:pt>
                <c:pt idx="15">
                  <c:v>Ficello</c:v>
                </c:pt>
                <c:pt idx="16">
                  <c:v>La Vache Qu</c:v>
                </c:pt>
                <c:pt idx="17">
                  <c:v>P'Tit Louis</c:v>
                </c:pt>
                <c:pt idx="18">
                  <c:v>Private Lab</c:v>
                </c:pt>
                <c:pt idx="19">
                  <c:v>Mini Babybe</c:v>
                </c:pt>
                <c:pt idx="20">
                  <c:v>La Vache Qu</c:v>
                </c:pt>
                <c:pt idx="21">
                  <c:v>La Vache Qu</c:v>
                </c:pt>
                <c:pt idx="22">
                  <c:v>Mini Babybe</c:v>
                </c:pt>
                <c:pt idx="23">
                  <c:v>Kiri</c:v>
                </c:pt>
                <c:pt idx="24">
                  <c:v>Mini Babybe</c:v>
                </c:pt>
                <c:pt idx="25">
                  <c:v>Kiri</c:v>
                </c:pt>
                <c:pt idx="26">
                  <c:v>La Vache Qu</c:v>
                </c:pt>
                <c:pt idx="27">
                  <c:v>Kiri</c:v>
                </c:pt>
                <c:pt idx="28">
                  <c:v>Mini Babybe</c:v>
                </c:pt>
                <c:pt idx="29">
                  <c:v>Mini Babybe</c:v>
                </c:pt>
                <c:pt idx="30">
                  <c:v>Mini Babybe</c:v>
                </c:pt>
                <c:pt idx="31">
                  <c:v>P'Tit Louis</c:v>
                </c:pt>
                <c:pt idx="32">
                  <c:v>Mini Babybe</c:v>
                </c:pt>
                <c:pt idx="33">
                  <c:v>Mini Babybe</c:v>
                </c:pt>
                <c:pt idx="34">
                  <c:v>Mini Babybe</c:v>
                </c:pt>
                <c:pt idx="35">
                  <c:v>Private Lab</c:v>
                </c:pt>
                <c:pt idx="36">
                  <c:v>La Vache Qu</c:v>
                </c:pt>
              </c:strCache>
            </c:strRef>
          </c:cat>
          <c:val>
            <c:numRef>
              <c:f>Sheet1!$C$2:$C$38</c:f>
              <c:numCache>
                <c:formatCode>General</c:formatCode>
                <c:ptCount val="37"/>
                <c:pt idx="0">
                  <c:v>0.11358678056108891</c:v>
                </c:pt>
                <c:pt idx="1">
                  <c:v>0.21232533612607019</c:v>
                </c:pt>
                <c:pt idx="2">
                  <c:v>0.30589473930462535</c:v>
                </c:pt>
                <c:pt idx="3">
                  <c:v>0.37658929745384212</c:v>
                </c:pt>
                <c:pt idx="4">
                  <c:v>0.44559415442203965</c:v>
                </c:pt>
                <c:pt idx="5">
                  <c:v>0.50926167246915888</c:v>
                </c:pt>
                <c:pt idx="6">
                  <c:v>0.57128605009096944</c:v>
                </c:pt>
                <c:pt idx="7">
                  <c:v>0.62625193070987317</c:v>
                </c:pt>
                <c:pt idx="8">
                  <c:v>0.67179107530248305</c:v>
                </c:pt>
                <c:pt idx="9">
                  <c:v>0.7082169172487045</c:v>
                </c:pt>
                <c:pt idx="10">
                  <c:v>0.74357106687385066</c:v>
                </c:pt>
                <c:pt idx="11">
                  <c:v>0.77427731745089168</c:v>
                </c:pt>
                <c:pt idx="12">
                  <c:v>0.8048525165350302</c:v>
                </c:pt>
                <c:pt idx="13">
                  <c:v>0.83149321819880495</c:v>
                </c:pt>
                <c:pt idx="14">
                  <c:v>0.85565461640240015</c:v>
                </c:pt>
                <c:pt idx="15">
                  <c:v>0.87833458763466687</c:v>
                </c:pt>
                <c:pt idx="16">
                  <c:v>0.89815425214965883</c:v>
                </c:pt>
                <c:pt idx="17">
                  <c:v>0.91571049612302202</c:v>
                </c:pt>
                <c:pt idx="18">
                  <c:v>0.93054395795268485</c:v>
                </c:pt>
                <c:pt idx="19">
                  <c:v>0.94172887353973822</c:v>
                </c:pt>
                <c:pt idx="20">
                  <c:v>0.95220686057972226</c:v>
                </c:pt>
                <c:pt idx="21">
                  <c:v>0.95966305457408885</c:v>
                </c:pt>
                <c:pt idx="22">
                  <c:v>0.96656006524865312</c:v>
                </c:pt>
                <c:pt idx="23">
                  <c:v>0.97273061457131338</c:v>
                </c:pt>
                <c:pt idx="24">
                  <c:v>0.97756032769232737</c:v>
                </c:pt>
                <c:pt idx="25">
                  <c:v>0.98153945530048203</c:v>
                </c:pt>
                <c:pt idx="26">
                  <c:v>0.9852327452937012</c:v>
                </c:pt>
                <c:pt idx="27">
                  <c:v>0.98881292671938925</c:v>
                </c:pt>
                <c:pt idx="28">
                  <c:v>0.99211351648517621</c:v>
                </c:pt>
                <c:pt idx="29">
                  <c:v>0.9952597743802053</c:v>
                </c:pt>
                <c:pt idx="30">
                  <c:v>0.99742587158611706</c:v>
                </c:pt>
                <c:pt idx="31">
                  <c:v>0.99831120732153111</c:v>
                </c:pt>
                <c:pt idx="32">
                  <c:v>0.99913056305921877</c:v>
                </c:pt>
                <c:pt idx="33">
                  <c:v>0.99990483435784028</c:v>
                </c:pt>
                <c:pt idx="34">
                  <c:v>0.99994128802267712</c:v>
                </c:pt>
                <c:pt idx="35">
                  <c:v>0.9999622971441563</c:v>
                </c:pt>
                <c:pt idx="36">
                  <c:v>0.9999961388641605</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31</c:f>
              <c:strCache>
                <c:ptCount val="130"/>
                <c:pt idx="0">
                  <c:v>St Moret</c:v>
                </c:pt>
                <c:pt idx="1">
                  <c:v>Tartare</c:v>
                </c:pt>
                <c:pt idx="2">
                  <c:v>St Moret</c:v>
                </c:pt>
                <c:pt idx="3">
                  <c:v>Paysan Bret</c:v>
                </c:pt>
                <c:pt idx="4">
                  <c:v>St Moret</c:v>
                </c:pt>
                <c:pt idx="5">
                  <c:v>Philadelphi</c:v>
                </c:pt>
                <c:pt idx="6">
                  <c:v>Carre Frais</c:v>
                </c:pt>
                <c:pt idx="7">
                  <c:v>Carre Frais</c:v>
                </c:pt>
                <c:pt idx="8">
                  <c:v>Paysan Bret</c:v>
                </c:pt>
                <c:pt idx="9">
                  <c:v>Boursin</c:v>
                </c:pt>
                <c:pt idx="10">
                  <c:v>Boursin</c:v>
                </c:pt>
                <c:pt idx="11">
                  <c:v>Philadelphi</c:v>
                </c:pt>
                <c:pt idx="12">
                  <c:v>St Moret</c:v>
                </c:pt>
                <c:pt idx="13">
                  <c:v>St Moret</c:v>
                </c:pt>
                <c:pt idx="14">
                  <c:v>Tartare</c:v>
                </c:pt>
                <c:pt idx="15">
                  <c:v>Tartare</c:v>
                </c:pt>
                <c:pt idx="16">
                  <c:v>Private Lab</c:v>
                </c:pt>
                <c:pt idx="17">
                  <c:v>Boursin</c:v>
                </c:pt>
                <c:pt idx="18">
                  <c:v>St Moret</c:v>
                </c:pt>
                <c:pt idx="19">
                  <c:v>St Moret</c:v>
                </c:pt>
                <c:pt idx="20">
                  <c:v>Paysan Bret</c:v>
                </c:pt>
                <c:pt idx="21">
                  <c:v>St Moret</c:v>
                </c:pt>
                <c:pt idx="22">
                  <c:v>Paysan Bret</c:v>
                </c:pt>
                <c:pt idx="23">
                  <c:v>St Moret</c:v>
                </c:pt>
                <c:pt idx="24">
                  <c:v>Private Lab</c:v>
                </c:pt>
                <c:pt idx="25">
                  <c:v>Private Lab</c:v>
                </c:pt>
                <c:pt idx="26">
                  <c:v>Tartare</c:v>
                </c:pt>
                <c:pt idx="27">
                  <c:v>Private Lab</c:v>
                </c:pt>
                <c:pt idx="28">
                  <c:v>Paysan Bret</c:v>
                </c:pt>
                <c:pt idx="29">
                  <c:v>Carre Frais</c:v>
                </c:pt>
                <c:pt idx="30">
                  <c:v>Philadelphi</c:v>
                </c:pt>
                <c:pt idx="31">
                  <c:v>Paysan Bret</c:v>
                </c:pt>
                <c:pt idx="32">
                  <c:v>Boursin</c:v>
                </c:pt>
                <c:pt idx="33">
                  <c:v>Rondele</c:v>
                </c:pt>
                <c:pt idx="34">
                  <c:v>Savencia: A</c:v>
                </c:pt>
                <c:pt idx="35">
                  <c:v>Paysan Bret</c:v>
                </c:pt>
                <c:pt idx="36">
                  <c:v>Kiri</c:v>
                </c:pt>
                <c:pt idx="37">
                  <c:v>All Others</c:v>
                </c:pt>
                <c:pt idx="38">
                  <c:v>Boursin</c:v>
                </c:pt>
                <c:pt idx="39">
                  <c:v>Boursin</c:v>
                </c:pt>
                <c:pt idx="40">
                  <c:v>Paysan Bret</c:v>
                </c:pt>
                <c:pt idx="41">
                  <c:v>Kiri</c:v>
                </c:pt>
                <c:pt idx="42">
                  <c:v>Tartare</c:v>
                </c:pt>
                <c:pt idx="43">
                  <c:v>Paysan Bret</c:v>
                </c:pt>
                <c:pt idx="44">
                  <c:v>Boursin</c:v>
                </c:pt>
                <c:pt idx="45">
                  <c:v>St Moret</c:v>
                </c:pt>
                <c:pt idx="46">
                  <c:v>Kiri</c:v>
                </c:pt>
                <c:pt idx="47">
                  <c:v>Tartare</c:v>
                </c:pt>
                <c:pt idx="48">
                  <c:v>Philadelphi</c:v>
                </c:pt>
                <c:pt idx="49">
                  <c:v>Tartare</c:v>
                </c:pt>
                <c:pt idx="50">
                  <c:v>Rondele</c:v>
                </c:pt>
                <c:pt idx="51">
                  <c:v>President</c:v>
                </c:pt>
                <c:pt idx="52">
                  <c:v>Lactalis: A</c:v>
                </c:pt>
                <c:pt idx="53">
                  <c:v>Rondele</c:v>
                </c:pt>
                <c:pt idx="54">
                  <c:v>Saint Agur</c:v>
                </c:pt>
                <c:pt idx="55">
                  <c:v>Triballat R</c:v>
                </c:pt>
                <c:pt idx="56">
                  <c:v>Private Lab</c:v>
                </c:pt>
                <c:pt idx="57">
                  <c:v>All Others</c:v>
                </c:pt>
                <c:pt idx="58">
                  <c:v>Private Lab</c:v>
                </c:pt>
                <c:pt idx="59">
                  <c:v>All Others</c:v>
                </c:pt>
                <c:pt idx="60">
                  <c:v>Boursin</c:v>
                </c:pt>
                <c:pt idx="61">
                  <c:v>Lactalis: A</c:v>
                </c:pt>
                <c:pt idx="62">
                  <c:v>Private Lab</c:v>
                </c:pt>
                <c:pt idx="63">
                  <c:v>St Moret</c:v>
                </c:pt>
                <c:pt idx="64">
                  <c:v>St Moret</c:v>
                </c:pt>
                <c:pt idx="65">
                  <c:v>Boursin</c:v>
                </c:pt>
                <c:pt idx="66">
                  <c:v>Saint Agur</c:v>
                </c:pt>
                <c:pt idx="67">
                  <c:v>Paysan Bret</c:v>
                </c:pt>
                <c:pt idx="68">
                  <c:v>Tartare</c:v>
                </c:pt>
                <c:pt idx="69">
                  <c:v>Paysan Bret</c:v>
                </c:pt>
                <c:pt idx="70">
                  <c:v>Boursin</c:v>
                </c:pt>
                <c:pt idx="71">
                  <c:v>Boursin</c:v>
                </c:pt>
                <c:pt idx="72">
                  <c:v>Private Lab</c:v>
                </c:pt>
                <c:pt idx="73">
                  <c:v>Lactalis: A</c:v>
                </c:pt>
                <c:pt idx="74">
                  <c:v>President</c:v>
                </c:pt>
                <c:pt idx="75">
                  <c:v>Tartare</c:v>
                </c:pt>
                <c:pt idx="76">
                  <c:v>Carre Frais</c:v>
                </c:pt>
                <c:pt idx="77">
                  <c:v>Private Lab</c:v>
                </c:pt>
                <c:pt idx="78">
                  <c:v>Boursin</c:v>
                </c:pt>
                <c:pt idx="79">
                  <c:v>All Others</c:v>
                </c:pt>
                <c:pt idx="80">
                  <c:v>Savencia: A</c:v>
                </c:pt>
                <c:pt idx="81">
                  <c:v>Boursin</c:v>
                </c:pt>
                <c:pt idx="82">
                  <c:v>Boursin</c:v>
                </c:pt>
                <c:pt idx="83">
                  <c:v>Private Lab</c:v>
                </c:pt>
                <c:pt idx="84">
                  <c:v>Boursin</c:v>
                </c:pt>
                <c:pt idx="85">
                  <c:v>Tartare</c:v>
                </c:pt>
                <c:pt idx="86">
                  <c:v>Carre Frais</c:v>
                </c:pt>
                <c:pt idx="87">
                  <c:v>All Others</c:v>
                </c:pt>
                <c:pt idx="88">
                  <c:v>Philadelphi</c:v>
                </c:pt>
                <c:pt idx="89">
                  <c:v>All Others</c:v>
                </c:pt>
                <c:pt idx="90">
                  <c:v>All Others</c:v>
                </c:pt>
                <c:pt idx="91">
                  <c:v>All Others</c:v>
                </c:pt>
                <c:pt idx="92">
                  <c:v>All Others</c:v>
                </c:pt>
                <c:pt idx="93">
                  <c:v>St Moret</c:v>
                </c:pt>
                <c:pt idx="94">
                  <c:v>All Others</c:v>
                </c:pt>
                <c:pt idx="95">
                  <c:v>All Others</c:v>
                </c:pt>
                <c:pt idx="96">
                  <c:v>All Others</c:v>
                </c:pt>
                <c:pt idx="97">
                  <c:v>All Others</c:v>
                </c:pt>
                <c:pt idx="98">
                  <c:v>All Others</c:v>
                </c:pt>
                <c:pt idx="99">
                  <c:v>All Others</c:v>
                </c:pt>
                <c:pt idx="100">
                  <c:v>Boursin</c:v>
                </c:pt>
                <c:pt idx="101">
                  <c:v>Boursin</c:v>
                </c:pt>
                <c:pt idx="102">
                  <c:v>All Others</c:v>
                </c:pt>
                <c:pt idx="103">
                  <c:v>All Others</c:v>
                </c:pt>
                <c:pt idx="104">
                  <c:v>Tartare</c:v>
                </c:pt>
                <c:pt idx="105">
                  <c:v>All Others</c:v>
                </c:pt>
                <c:pt idx="106">
                  <c:v>All Others</c:v>
                </c:pt>
                <c:pt idx="107">
                  <c:v>St Moret</c:v>
                </c:pt>
                <c:pt idx="108">
                  <c:v>All Others</c:v>
                </c:pt>
                <c:pt idx="109">
                  <c:v>All Others</c:v>
                </c:pt>
                <c:pt idx="110">
                  <c:v>Savencia: A</c:v>
                </c:pt>
                <c:pt idx="111">
                  <c:v>Savencia: A</c:v>
                </c:pt>
                <c:pt idx="112">
                  <c:v>All Others</c:v>
                </c:pt>
                <c:pt idx="113">
                  <c:v>All Others</c:v>
                </c:pt>
                <c:pt idx="114">
                  <c:v>All Others</c:v>
                </c:pt>
                <c:pt idx="115">
                  <c:v>All Others</c:v>
                </c:pt>
                <c:pt idx="116">
                  <c:v>All Others</c:v>
                </c:pt>
                <c:pt idx="117">
                  <c:v>All Others</c:v>
                </c:pt>
                <c:pt idx="118">
                  <c:v>Rondele</c:v>
                </c:pt>
                <c:pt idx="119">
                  <c:v>All Others</c:v>
                </c:pt>
                <c:pt idx="120">
                  <c:v>Rondele</c:v>
                </c:pt>
                <c:pt idx="121">
                  <c:v>All Others</c:v>
                </c:pt>
                <c:pt idx="122">
                  <c:v>All Others</c:v>
                </c:pt>
                <c:pt idx="123">
                  <c:v>All Others</c:v>
                </c:pt>
                <c:pt idx="124">
                  <c:v>All Others</c:v>
                </c:pt>
                <c:pt idx="125">
                  <c:v>All Others</c:v>
                </c:pt>
                <c:pt idx="126">
                  <c:v>All Others</c:v>
                </c:pt>
                <c:pt idx="127">
                  <c:v>All Others</c:v>
                </c:pt>
                <c:pt idx="128">
                  <c:v>Private Lab</c:v>
                </c:pt>
                <c:pt idx="129">
                  <c:v>Savencia: A</c:v>
                </c:pt>
              </c:strCache>
            </c:strRef>
          </c:cat>
          <c:val>
            <c:numRef>
              <c:f>Sheet1!$B$2:$B$131</c:f>
              <c:numCache>
                <c:formatCode>General</c:formatCode>
                <c:ptCount val="130"/>
                <c:pt idx="0">
                  <c:v>0.99099999999999999</c:v>
                </c:pt>
                <c:pt idx="1">
                  <c:v>0.90300000000000002</c:v>
                </c:pt>
                <c:pt idx="2">
                  <c:v>0.85199999999999998</c:v>
                </c:pt>
                <c:pt idx="3">
                  <c:v>0.97699999999999998</c:v>
                </c:pt>
                <c:pt idx="4">
                  <c:v>0.95899999999999996</c:v>
                </c:pt>
                <c:pt idx="5">
                  <c:v>0.98099999999999998</c:v>
                </c:pt>
                <c:pt idx="6">
                  <c:v>0.874</c:v>
                </c:pt>
                <c:pt idx="7">
                  <c:v>0.92100000000000004</c:v>
                </c:pt>
                <c:pt idx="8">
                  <c:v>0.82499999999999996</c:v>
                </c:pt>
                <c:pt idx="9">
                  <c:v>0.96799999999999997</c:v>
                </c:pt>
                <c:pt idx="10">
                  <c:v>0.91500000000000004</c:v>
                </c:pt>
                <c:pt idx="11">
                  <c:v>0.82899999999999996</c:v>
                </c:pt>
                <c:pt idx="12">
                  <c:v>0.78600000000000003</c:v>
                </c:pt>
                <c:pt idx="13">
                  <c:v>0.90200000000000002</c:v>
                </c:pt>
                <c:pt idx="14">
                  <c:v>0.83199999999999996</c:v>
                </c:pt>
                <c:pt idx="15">
                  <c:v>0.879</c:v>
                </c:pt>
                <c:pt idx="16">
                  <c:v>0.92100000000000004</c:v>
                </c:pt>
                <c:pt idx="17">
                  <c:v>0.81699999999999995</c:v>
                </c:pt>
                <c:pt idx="18">
                  <c:v>0.77100000000000002</c:v>
                </c:pt>
                <c:pt idx="19">
                  <c:v>0.83299999999999996</c:v>
                </c:pt>
                <c:pt idx="20">
                  <c:v>0.89600000000000002</c:v>
                </c:pt>
                <c:pt idx="21">
                  <c:v>0.84799999999999998</c:v>
                </c:pt>
                <c:pt idx="22">
                  <c:v>0.63100000000000001</c:v>
                </c:pt>
                <c:pt idx="23">
                  <c:v>0.60399999999999998</c:v>
                </c:pt>
                <c:pt idx="24">
                  <c:v>0.99299999999999999</c:v>
                </c:pt>
                <c:pt idx="25">
                  <c:v>0.99199999999999999</c:v>
                </c:pt>
                <c:pt idx="26">
                  <c:v>0.80100000000000005</c:v>
                </c:pt>
                <c:pt idx="27">
                  <c:v>0.85799999999999998</c:v>
                </c:pt>
                <c:pt idx="28">
                  <c:v>0.76600000000000001</c:v>
                </c:pt>
                <c:pt idx="29">
                  <c:v>0.55300000000000005</c:v>
                </c:pt>
                <c:pt idx="30">
                  <c:v>0.69699999999999995</c:v>
                </c:pt>
                <c:pt idx="31">
                  <c:v>0.76400000000000001</c:v>
                </c:pt>
                <c:pt idx="32">
                  <c:v>0.82099999999999995</c:v>
                </c:pt>
                <c:pt idx="33">
                  <c:v>0.81599999999999995</c:v>
                </c:pt>
                <c:pt idx="34">
                  <c:v>0.76400000000000001</c:v>
                </c:pt>
                <c:pt idx="35">
                  <c:v>0.86699999999999999</c:v>
                </c:pt>
                <c:pt idx="36">
                  <c:v>0.77400000000000002</c:v>
                </c:pt>
                <c:pt idx="37">
                  <c:v>0.45600000000000002</c:v>
                </c:pt>
                <c:pt idx="38">
                  <c:v>0.79300000000000004</c:v>
                </c:pt>
                <c:pt idx="39">
                  <c:v>0.77400000000000002</c:v>
                </c:pt>
                <c:pt idx="40">
                  <c:v>0.434</c:v>
                </c:pt>
                <c:pt idx="41">
                  <c:v>0.64300000000000002</c:v>
                </c:pt>
                <c:pt idx="42">
                  <c:v>0.69799999999999995</c:v>
                </c:pt>
                <c:pt idx="43">
                  <c:v>0.42499999999999999</c:v>
                </c:pt>
                <c:pt idx="44">
                  <c:v>0.69399999999999995</c:v>
                </c:pt>
                <c:pt idx="45">
                  <c:v>0.59399999999999997</c:v>
                </c:pt>
                <c:pt idx="46">
                  <c:v>0.68899999999999995</c:v>
                </c:pt>
                <c:pt idx="47">
                  <c:v>0.58899999999999997</c:v>
                </c:pt>
                <c:pt idx="48">
                  <c:v>0.61199999999999999</c:v>
                </c:pt>
                <c:pt idx="49">
                  <c:v>0.50800000000000001</c:v>
                </c:pt>
                <c:pt idx="50">
                  <c:v>0.748</c:v>
                </c:pt>
                <c:pt idx="51">
                  <c:v>0.65200000000000002</c:v>
                </c:pt>
                <c:pt idx="52">
                  <c:v>0.38300000000000001</c:v>
                </c:pt>
                <c:pt idx="53">
                  <c:v>0.751</c:v>
                </c:pt>
                <c:pt idx="54">
                  <c:v>0.40799999999999997</c:v>
                </c:pt>
                <c:pt idx="55">
                  <c:v>0.51</c:v>
                </c:pt>
                <c:pt idx="56">
                  <c:v>0.69899999999999995</c:v>
                </c:pt>
                <c:pt idx="57">
                  <c:v>0.44700000000000001</c:v>
                </c:pt>
                <c:pt idx="58">
                  <c:v>0.74299999999999999</c:v>
                </c:pt>
                <c:pt idx="59">
                  <c:v>4.2000000000000003E-2</c:v>
                </c:pt>
                <c:pt idx="60">
                  <c:v>0.44700000000000001</c:v>
                </c:pt>
                <c:pt idx="61">
                  <c:v>0.68799999999999994</c:v>
                </c:pt>
                <c:pt idx="62">
                  <c:v>0.45600000000000002</c:v>
                </c:pt>
                <c:pt idx="63">
                  <c:v>0.64700000000000002</c:v>
                </c:pt>
                <c:pt idx="64">
                  <c:v>0.63400000000000001</c:v>
                </c:pt>
                <c:pt idx="65">
                  <c:v>0.26500000000000001</c:v>
                </c:pt>
                <c:pt idx="66">
                  <c:v>0.48399999999999999</c:v>
                </c:pt>
                <c:pt idx="67">
                  <c:v>0.71599999999999997</c:v>
                </c:pt>
                <c:pt idx="68">
                  <c:v>0.40100000000000002</c:v>
                </c:pt>
                <c:pt idx="69">
                  <c:v>2.1999999999999999E-2</c:v>
                </c:pt>
                <c:pt idx="70">
                  <c:v>0.53700000000000003</c:v>
                </c:pt>
                <c:pt idx="71">
                  <c:v>0.40200000000000002</c:v>
                </c:pt>
                <c:pt idx="72">
                  <c:v>0.52300000000000002</c:v>
                </c:pt>
                <c:pt idx="73">
                  <c:v>0.56999999999999995</c:v>
                </c:pt>
                <c:pt idx="74">
                  <c:v>0.41499999999999998</c:v>
                </c:pt>
                <c:pt idx="75">
                  <c:v>0.44800000000000001</c:v>
                </c:pt>
                <c:pt idx="76">
                  <c:v>5.8999999999999997E-2</c:v>
                </c:pt>
                <c:pt idx="77">
                  <c:v>0.36099999999999999</c:v>
                </c:pt>
                <c:pt idx="78">
                  <c:v>0.28100000000000003</c:v>
                </c:pt>
                <c:pt idx="79">
                  <c:v>0.495</c:v>
                </c:pt>
                <c:pt idx="80">
                  <c:v>4.0000000000000001E-3</c:v>
                </c:pt>
                <c:pt idx="81">
                  <c:v>0.51100000000000001</c:v>
                </c:pt>
                <c:pt idx="82">
                  <c:v>0.52800000000000002</c:v>
                </c:pt>
                <c:pt idx="83">
                  <c:v>0.50700000000000001</c:v>
                </c:pt>
                <c:pt idx="84">
                  <c:v>0.379</c:v>
                </c:pt>
                <c:pt idx="85">
                  <c:v>0.36899999999999999</c:v>
                </c:pt>
                <c:pt idx="86">
                  <c:v>6.8000000000000005E-2</c:v>
                </c:pt>
                <c:pt idx="87">
                  <c:v>3.9E-2</c:v>
                </c:pt>
                <c:pt idx="88">
                  <c:v>0.33700000000000002</c:v>
                </c:pt>
                <c:pt idx="89">
                  <c:v>0.32900000000000001</c:v>
                </c:pt>
                <c:pt idx="90">
                  <c:v>9.4E-2</c:v>
                </c:pt>
                <c:pt idx="91">
                  <c:v>0.30399999999999999</c:v>
                </c:pt>
                <c:pt idx="92">
                  <c:v>8.5000000000000006E-2</c:v>
                </c:pt>
                <c:pt idx="93">
                  <c:v>0.33300000000000002</c:v>
                </c:pt>
                <c:pt idx="94">
                  <c:v>8.8999999999999996E-2</c:v>
                </c:pt>
                <c:pt idx="95">
                  <c:v>2.5999999999999999E-2</c:v>
                </c:pt>
                <c:pt idx="96">
                  <c:v>2E-3</c:v>
                </c:pt>
                <c:pt idx="97">
                  <c:v>6.4000000000000001E-2</c:v>
                </c:pt>
                <c:pt idx="98">
                  <c:v>0.26100000000000001</c:v>
                </c:pt>
                <c:pt idx="99">
                  <c:v>3.2000000000000001E-2</c:v>
                </c:pt>
                <c:pt idx="100">
                  <c:v>0.32400000000000001</c:v>
                </c:pt>
                <c:pt idx="101">
                  <c:v>7.4999999999999997E-2</c:v>
                </c:pt>
                <c:pt idx="102">
                  <c:v>0.05</c:v>
                </c:pt>
                <c:pt idx="103">
                  <c:v>0.27900000000000003</c:v>
                </c:pt>
                <c:pt idx="104">
                  <c:v>0.187</c:v>
                </c:pt>
                <c:pt idx="105">
                  <c:v>7.0000000000000007E-2</c:v>
                </c:pt>
                <c:pt idx="106">
                  <c:v>1.4E-2</c:v>
                </c:pt>
                <c:pt idx="107">
                  <c:v>0.123</c:v>
                </c:pt>
                <c:pt idx="108">
                  <c:v>3.2000000000000001E-2</c:v>
                </c:pt>
                <c:pt idx="109">
                  <c:v>5.0000000000000001E-3</c:v>
                </c:pt>
                <c:pt idx="110">
                  <c:v>0.28299999999999997</c:v>
                </c:pt>
                <c:pt idx="111">
                  <c:v>0.26900000000000002</c:v>
                </c:pt>
                <c:pt idx="112">
                  <c:v>2.7E-2</c:v>
                </c:pt>
                <c:pt idx="113">
                  <c:v>0.04</c:v>
                </c:pt>
                <c:pt idx="114">
                  <c:v>2.7E-2</c:v>
                </c:pt>
                <c:pt idx="115">
                  <c:v>8.9999999999999993E-3</c:v>
                </c:pt>
                <c:pt idx="116">
                  <c:v>1.2999999999999999E-2</c:v>
                </c:pt>
                <c:pt idx="117">
                  <c:v>2.7E-2</c:v>
                </c:pt>
                <c:pt idx="118">
                  <c:v>6.4000000000000001E-2</c:v>
                </c:pt>
                <c:pt idx="119">
                  <c:v>5.0000000000000001E-3</c:v>
                </c:pt>
                <c:pt idx="120">
                  <c:v>5.8999999999999997E-2</c:v>
                </c:pt>
                <c:pt idx="121">
                  <c:v>4.0000000000000001E-3</c:v>
                </c:pt>
                <c:pt idx="122">
                  <c:v>4.0000000000000001E-3</c:v>
                </c:pt>
                <c:pt idx="123">
                  <c:v>5.0000000000000001E-3</c:v>
                </c:pt>
                <c:pt idx="124">
                  <c:v>0.04</c:v>
                </c:pt>
                <c:pt idx="125">
                  <c:v>1.4E-2</c:v>
                </c:pt>
                <c:pt idx="126">
                  <c:v>1.4E-2</c:v>
                </c:pt>
                <c:pt idx="127">
                  <c:v>5.0000000000000001E-3</c:v>
                </c:pt>
                <c:pt idx="128">
                  <c:v>4.0000000000000001E-3</c:v>
                </c:pt>
                <c:pt idx="129">
                  <c:v>4.000000000000000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AEABAB"/>
              </a:solidFill>
            </c:spPr>
            <c:extLst>
              <c:ext xmlns:c16="http://schemas.microsoft.com/office/drawing/2014/chart" uri="{C3380CC4-5D6E-409C-BE32-E72D297353CC}">
                <c16:uniqueId val="{000000F9-2993-41DE-A2CB-63102DE87051}"/>
              </c:ext>
            </c:extLst>
          </c:dPt>
          <c:dPt>
            <c:idx val="124"/>
            <c:invertIfNegative val="1"/>
            <c:bubble3D val="0"/>
            <c:spPr>
              <a:solidFill>
                <a:srgbClr val="AEABAB"/>
              </a:solidFill>
            </c:spPr>
            <c:extLst>
              <c:ext xmlns:c16="http://schemas.microsoft.com/office/drawing/2014/chart" uri="{C3380CC4-5D6E-409C-BE32-E72D297353CC}">
                <c16:uniqueId val="{000000FB-2993-41DE-A2CB-63102DE87051}"/>
              </c:ext>
            </c:extLst>
          </c:dPt>
          <c:dPt>
            <c:idx val="125"/>
            <c:invertIfNegative val="1"/>
            <c:bubble3D val="0"/>
            <c:spPr>
              <a:solidFill>
                <a:srgbClr val="AEABAB"/>
              </a:solidFill>
            </c:spPr>
            <c:extLst>
              <c:ext xmlns:c16="http://schemas.microsoft.com/office/drawing/2014/chart" uri="{C3380CC4-5D6E-409C-BE32-E72D297353CC}">
                <c16:uniqueId val="{000000FD-2993-41DE-A2CB-63102DE87051}"/>
              </c:ext>
            </c:extLst>
          </c:dPt>
          <c:dPt>
            <c:idx val="126"/>
            <c:invertIfNegative val="1"/>
            <c:bubble3D val="0"/>
            <c:spPr>
              <a:solidFill>
                <a:srgbClr val="AEABAB"/>
              </a:solidFill>
            </c:spPr>
            <c:extLst>
              <c:ext xmlns:c16="http://schemas.microsoft.com/office/drawing/2014/chart" uri="{C3380CC4-5D6E-409C-BE32-E72D297353CC}">
                <c16:uniqueId val="{000000FF-2993-41DE-A2CB-63102DE87051}"/>
              </c:ext>
            </c:extLst>
          </c:dPt>
          <c:dPt>
            <c:idx val="127"/>
            <c:invertIfNegative val="1"/>
            <c:bubble3D val="0"/>
            <c:spPr>
              <a:solidFill>
                <a:srgbClr val="AEABAB"/>
              </a:solidFill>
            </c:spPr>
            <c:extLst>
              <c:ext xmlns:c16="http://schemas.microsoft.com/office/drawing/2014/chart" uri="{C3380CC4-5D6E-409C-BE32-E72D297353CC}">
                <c16:uniqueId val="{00000101-2993-41DE-A2CB-63102DE87051}"/>
              </c:ext>
            </c:extLst>
          </c:dPt>
          <c:dPt>
            <c:idx val="128"/>
            <c:invertIfNegative val="1"/>
            <c:bubble3D val="0"/>
            <c:spPr>
              <a:solidFill>
                <a:srgbClr val="AEABAB"/>
              </a:solidFill>
            </c:spPr>
            <c:extLst>
              <c:ext xmlns:c16="http://schemas.microsoft.com/office/drawing/2014/chart" uri="{C3380CC4-5D6E-409C-BE32-E72D297353CC}">
                <c16:uniqueId val="{00000103-2993-41DE-A2CB-63102DE87051}"/>
              </c:ext>
            </c:extLst>
          </c:dPt>
          <c:dPt>
            <c:idx val="129"/>
            <c:invertIfNegative val="1"/>
            <c:bubble3D val="0"/>
            <c:spPr>
              <a:solidFill>
                <a:srgbClr val="AEABAB"/>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31</c:f>
              <c:strCache>
                <c:ptCount val="130"/>
                <c:pt idx="0">
                  <c:v>St Moret</c:v>
                </c:pt>
                <c:pt idx="1">
                  <c:v>Tartare</c:v>
                </c:pt>
                <c:pt idx="2">
                  <c:v>St Moret</c:v>
                </c:pt>
                <c:pt idx="3">
                  <c:v>Paysan Bret</c:v>
                </c:pt>
                <c:pt idx="4">
                  <c:v>St Moret</c:v>
                </c:pt>
                <c:pt idx="5">
                  <c:v>Philadelphi</c:v>
                </c:pt>
                <c:pt idx="6">
                  <c:v>Carre Frais</c:v>
                </c:pt>
                <c:pt idx="7">
                  <c:v>Carre Frais</c:v>
                </c:pt>
                <c:pt idx="8">
                  <c:v>Paysan Bret</c:v>
                </c:pt>
                <c:pt idx="9">
                  <c:v>Boursin</c:v>
                </c:pt>
                <c:pt idx="10">
                  <c:v>Boursin</c:v>
                </c:pt>
                <c:pt idx="11">
                  <c:v>Philadelphi</c:v>
                </c:pt>
                <c:pt idx="12">
                  <c:v>St Moret</c:v>
                </c:pt>
                <c:pt idx="13">
                  <c:v>St Moret</c:v>
                </c:pt>
                <c:pt idx="14">
                  <c:v>Tartare</c:v>
                </c:pt>
                <c:pt idx="15">
                  <c:v>Tartare</c:v>
                </c:pt>
                <c:pt idx="16">
                  <c:v>Private Lab</c:v>
                </c:pt>
                <c:pt idx="17">
                  <c:v>Boursin</c:v>
                </c:pt>
                <c:pt idx="18">
                  <c:v>St Moret</c:v>
                </c:pt>
                <c:pt idx="19">
                  <c:v>St Moret</c:v>
                </c:pt>
                <c:pt idx="20">
                  <c:v>Paysan Bret</c:v>
                </c:pt>
                <c:pt idx="21">
                  <c:v>St Moret</c:v>
                </c:pt>
                <c:pt idx="22">
                  <c:v>Paysan Bret</c:v>
                </c:pt>
                <c:pt idx="23">
                  <c:v>St Moret</c:v>
                </c:pt>
                <c:pt idx="24">
                  <c:v>Private Lab</c:v>
                </c:pt>
                <c:pt idx="25">
                  <c:v>Private Lab</c:v>
                </c:pt>
                <c:pt idx="26">
                  <c:v>Tartare</c:v>
                </c:pt>
                <c:pt idx="27">
                  <c:v>Private Lab</c:v>
                </c:pt>
                <c:pt idx="28">
                  <c:v>Paysan Bret</c:v>
                </c:pt>
                <c:pt idx="29">
                  <c:v>Carre Frais</c:v>
                </c:pt>
                <c:pt idx="30">
                  <c:v>Philadelphi</c:v>
                </c:pt>
                <c:pt idx="31">
                  <c:v>Paysan Bret</c:v>
                </c:pt>
                <c:pt idx="32">
                  <c:v>Boursin</c:v>
                </c:pt>
                <c:pt idx="33">
                  <c:v>Rondele</c:v>
                </c:pt>
                <c:pt idx="34">
                  <c:v>Savencia: A</c:v>
                </c:pt>
                <c:pt idx="35">
                  <c:v>Paysan Bret</c:v>
                </c:pt>
                <c:pt idx="36">
                  <c:v>Kiri</c:v>
                </c:pt>
                <c:pt idx="37">
                  <c:v>All Others</c:v>
                </c:pt>
                <c:pt idx="38">
                  <c:v>Boursin</c:v>
                </c:pt>
                <c:pt idx="39">
                  <c:v>Boursin</c:v>
                </c:pt>
                <c:pt idx="40">
                  <c:v>Paysan Bret</c:v>
                </c:pt>
                <c:pt idx="41">
                  <c:v>Kiri</c:v>
                </c:pt>
                <c:pt idx="42">
                  <c:v>Tartare</c:v>
                </c:pt>
                <c:pt idx="43">
                  <c:v>Paysan Bret</c:v>
                </c:pt>
                <c:pt idx="44">
                  <c:v>Boursin</c:v>
                </c:pt>
                <c:pt idx="45">
                  <c:v>St Moret</c:v>
                </c:pt>
                <c:pt idx="46">
                  <c:v>Kiri</c:v>
                </c:pt>
                <c:pt idx="47">
                  <c:v>Tartare</c:v>
                </c:pt>
                <c:pt idx="48">
                  <c:v>Philadelphi</c:v>
                </c:pt>
                <c:pt idx="49">
                  <c:v>Tartare</c:v>
                </c:pt>
                <c:pt idx="50">
                  <c:v>Rondele</c:v>
                </c:pt>
                <c:pt idx="51">
                  <c:v>President</c:v>
                </c:pt>
                <c:pt idx="52">
                  <c:v>Lactalis: A</c:v>
                </c:pt>
                <c:pt idx="53">
                  <c:v>Rondele</c:v>
                </c:pt>
                <c:pt idx="54">
                  <c:v>Saint Agur</c:v>
                </c:pt>
                <c:pt idx="55">
                  <c:v>Triballat R</c:v>
                </c:pt>
                <c:pt idx="56">
                  <c:v>Private Lab</c:v>
                </c:pt>
                <c:pt idx="57">
                  <c:v>All Others</c:v>
                </c:pt>
                <c:pt idx="58">
                  <c:v>Private Lab</c:v>
                </c:pt>
                <c:pt idx="59">
                  <c:v>All Others</c:v>
                </c:pt>
                <c:pt idx="60">
                  <c:v>Boursin</c:v>
                </c:pt>
                <c:pt idx="61">
                  <c:v>Lactalis: A</c:v>
                </c:pt>
                <c:pt idx="62">
                  <c:v>Private Lab</c:v>
                </c:pt>
                <c:pt idx="63">
                  <c:v>St Moret</c:v>
                </c:pt>
                <c:pt idx="64">
                  <c:v>St Moret</c:v>
                </c:pt>
                <c:pt idx="65">
                  <c:v>Boursin</c:v>
                </c:pt>
                <c:pt idx="66">
                  <c:v>Saint Agur</c:v>
                </c:pt>
                <c:pt idx="67">
                  <c:v>Paysan Bret</c:v>
                </c:pt>
                <c:pt idx="68">
                  <c:v>Tartare</c:v>
                </c:pt>
                <c:pt idx="69">
                  <c:v>Paysan Bret</c:v>
                </c:pt>
                <c:pt idx="70">
                  <c:v>Boursin</c:v>
                </c:pt>
                <c:pt idx="71">
                  <c:v>Boursin</c:v>
                </c:pt>
                <c:pt idx="72">
                  <c:v>Private Lab</c:v>
                </c:pt>
                <c:pt idx="73">
                  <c:v>Lactalis: A</c:v>
                </c:pt>
                <c:pt idx="74">
                  <c:v>President</c:v>
                </c:pt>
                <c:pt idx="75">
                  <c:v>Tartare</c:v>
                </c:pt>
                <c:pt idx="76">
                  <c:v>Carre Frais</c:v>
                </c:pt>
                <c:pt idx="77">
                  <c:v>Private Lab</c:v>
                </c:pt>
                <c:pt idx="78">
                  <c:v>Boursin</c:v>
                </c:pt>
                <c:pt idx="79">
                  <c:v>All Others</c:v>
                </c:pt>
                <c:pt idx="80">
                  <c:v>Savencia: A</c:v>
                </c:pt>
                <c:pt idx="81">
                  <c:v>Boursin</c:v>
                </c:pt>
                <c:pt idx="82">
                  <c:v>Boursin</c:v>
                </c:pt>
                <c:pt idx="83">
                  <c:v>Private Lab</c:v>
                </c:pt>
                <c:pt idx="84">
                  <c:v>Boursin</c:v>
                </c:pt>
                <c:pt idx="85">
                  <c:v>Tartare</c:v>
                </c:pt>
                <c:pt idx="86">
                  <c:v>Carre Frais</c:v>
                </c:pt>
                <c:pt idx="87">
                  <c:v>All Others</c:v>
                </c:pt>
                <c:pt idx="88">
                  <c:v>Philadelphi</c:v>
                </c:pt>
                <c:pt idx="89">
                  <c:v>All Others</c:v>
                </c:pt>
                <c:pt idx="90">
                  <c:v>All Others</c:v>
                </c:pt>
                <c:pt idx="91">
                  <c:v>All Others</c:v>
                </c:pt>
                <c:pt idx="92">
                  <c:v>All Others</c:v>
                </c:pt>
                <c:pt idx="93">
                  <c:v>St Moret</c:v>
                </c:pt>
                <c:pt idx="94">
                  <c:v>All Others</c:v>
                </c:pt>
                <c:pt idx="95">
                  <c:v>All Others</c:v>
                </c:pt>
                <c:pt idx="96">
                  <c:v>All Others</c:v>
                </c:pt>
                <c:pt idx="97">
                  <c:v>All Others</c:v>
                </c:pt>
                <c:pt idx="98">
                  <c:v>All Others</c:v>
                </c:pt>
                <c:pt idx="99">
                  <c:v>All Others</c:v>
                </c:pt>
                <c:pt idx="100">
                  <c:v>Boursin</c:v>
                </c:pt>
                <c:pt idx="101">
                  <c:v>Boursin</c:v>
                </c:pt>
                <c:pt idx="102">
                  <c:v>All Others</c:v>
                </c:pt>
                <c:pt idx="103">
                  <c:v>All Others</c:v>
                </c:pt>
                <c:pt idx="104">
                  <c:v>Tartare</c:v>
                </c:pt>
                <c:pt idx="105">
                  <c:v>All Others</c:v>
                </c:pt>
                <c:pt idx="106">
                  <c:v>All Others</c:v>
                </c:pt>
                <c:pt idx="107">
                  <c:v>St Moret</c:v>
                </c:pt>
                <c:pt idx="108">
                  <c:v>All Others</c:v>
                </c:pt>
                <c:pt idx="109">
                  <c:v>All Others</c:v>
                </c:pt>
                <c:pt idx="110">
                  <c:v>Savencia: A</c:v>
                </c:pt>
                <c:pt idx="111">
                  <c:v>Savencia: A</c:v>
                </c:pt>
                <c:pt idx="112">
                  <c:v>All Others</c:v>
                </c:pt>
                <c:pt idx="113">
                  <c:v>All Others</c:v>
                </c:pt>
                <c:pt idx="114">
                  <c:v>All Others</c:v>
                </c:pt>
                <c:pt idx="115">
                  <c:v>All Others</c:v>
                </c:pt>
                <c:pt idx="116">
                  <c:v>All Others</c:v>
                </c:pt>
                <c:pt idx="117">
                  <c:v>All Others</c:v>
                </c:pt>
                <c:pt idx="118">
                  <c:v>Rondele</c:v>
                </c:pt>
                <c:pt idx="119">
                  <c:v>All Others</c:v>
                </c:pt>
                <c:pt idx="120">
                  <c:v>Rondele</c:v>
                </c:pt>
                <c:pt idx="121">
                  <c:v>All Others</c:v>
                </c:pt>
                <c:pt idx="122">
                  <c:v>All Others</c:v>
                </c:pt>
                <c:pt idx="123">
                  <c:v>All Others</c:v>
                </c:pt>
                <c:pt idx="124">
                  <c:v>All Others</c:v>
                </c:pt>
                <c:pt idx="125">
                  <c:v>All Others</c:v>
                </c:pt>
                <c:pt idx="126">
                  <c:v>All Others</c:v>
                </c:pt>
                <c:pt idx="127">
                  <c:v>All Others</c:v>
                </c:pt>
                <c:pt idx="128">
                  <c:v>Private Lab</c:v>
                </c:pt>
                <c:pt idx="129">
                  <c:v>Savencia: A</c:v>
                </c:pt>
              </c:strCache>
            </c:strRef>
          </c:cat>
          <c:val>
            <c:numRef>
              <c:f>Sheet1!$C$2:$C$131</c:f>
              <c:numCache>
                <c:formatCode>General</c:formatCode>
                <c:ptCount val="130"/>
                <c:pt idx="0">
                  <c:v>6.2240969775296674E-2</c:v>
                </c:pt>
                <c:pt idx="1">
                  <c:v>0.11079867902990125</c:v>
                </c:pt>
                <c:pt idx="2">
                  <c:v>0.20212931573332502</c:v>
                </c:pt>
                <c:pt idx="3">
                  <c:v>0.24611180853251541</c:v>
                </c:pt>
                <c:pt idx="4">
                  <c:v>0.28785130236019824</c:v>
                </c:pt>
                <c:pt idx="5">
                  <c:v>0.32109174330247975</c:v>
                </c:pt>
                <c:pt idx="6">
                  <c:v>0.35292350569155584</c:v>
                </c:pt>
                <c:pt idx="7">
                  <c:v>0.38372111070391174</c:v>
                </c:pt>
                <c:pt idx="8">
                  <c:v>0.41439801830360001</c:v>
                </c:pt>
                <c:pt idx="9">
                  <c:v>0.44476671324763561</c:v>
                </c:pt>
                <c:pt idx="10">
                  <c:v>0.47437144396431852</c:v>
                </c:pt>
                <c:pt idx="11">
                  <c:v>0.50154086223504568</c:v>
                </c:pt>
                <c:pt idx="12">
                  <c:v>0.52840642825413131</c:v>
                </c:pt>
                <c:pt idx="13">
                  <c:v>0.57878499933454697</c:v>
                </c:pt>
                <c:pt idx="14">
                  <c:v>0.60020916536372049</c:v>
                </c:pt>
                <c:pt idx="15">
                  <c:v>0.62018853654253114</c:v>
                </c:pt>
                <c:pt idx="16">
                  <c:v>0.63926837781846402</c:v>
                </c:pt>
                <c:pt idx="17">
                  <c:v>0.65812517728102637</c:v>
                </c:pt>
                <c:pt idx="18">
                  <c:v>0.6762000169144361</c:v>
                </c:pt>
                <c:pt idx="19">
                  <c:v>0.6942178674970616</c:v>
                </c:pt>
                <c:pt idx="20">
                  <c:v>0.71142518330785531</c:v>
                </c:pt>
                <c:pt idx="21">
                  <c:v>0.72858927929446526</c:v>
                </c:pt>
                <c:pt idx="22">
                  <c:v>0.74502353478921091</c:v>
                </c:pt>
                <c:pt idx="23">
                  <c:v>0.76048635839116641</c:v>
                </c:pt>
                <c:pt idx="24">
                  <c:v>0.775057095156927</c:v>
                </c:pt>
                <c:pt idx="25">
                  <c:v>0.80073008174372562</c:v>
                </c:pt>
                <c:pt idx="26">
                  <c:v>0.81067110593918756</c:v>
                </c:pt>
                <c:pt idx="27">
                  <c:v>0.82018363108801873</c:v>
                </c:pt>
                <c:pt idx="28">
                  <c:v>0.82929423957122939</c:v>
                </c:pt>
                <c:pt idx="29">
                  <c:v>0.83827086391889438</c:v>
                </c:pt>
                <c:pt idx="30">
                  <c:v>0.84723878532904551</c:v>
                </c:pt>
                <c:pt idx="31">
                  <c:v>0.85596820693619657</c:v>
                </c:pt>
                <c:pt idx="32">
                  <c:v>0.86467285108366987</c:v>
                </c:pt>
                <c:pt idx="33">
                  <c:v>0.87331573475465829</c:v>
                </c:pt>
                <c:pt idx="34">
                  <c:v>0.88112896220999581</c:v>
                </c:pt>
                <c:pt idx="35">
                  <c:v>0.8882896391216164</c:v>
                </c:pt>
                <c:pt idx="36">
                  <c:v>0.8947150429068671</c:v>
                </c:pt>
                <c:pt idx="37">
                  <c:v>0.90106018130434806</c:v>
                </c:pt>
                <c:pt idx="38">
                  <c:v>0.90721865330798546</c:v>
                </c:pt>
                <c:pt idx="39">
                  <c:v>0.912519948513279</c:v>
                </c:pt>
                <c:pt idx="40">
                  <c:v>0.91707912618754583</c:v>
                </c:pt>
                <c:pt idx="41">
                  <c:v>0.92134306519514375</c:v>
                </c:pt>
                <c:pt idx="42">
                  <c:v>0.92542252694615779</c:v>
                </c:pt>
                <c:pt idx="43">
                  <c:v>0.92939197784843308</c:v>
                </c:pt>
                <c:pt idx="44">
                  <c:v>0.93334807054579727</c:v>
                </c:pt>
                <c:pt idx="45">
                  <c:v>0.93727149595409487</c:v>
                </c:pt>
                <c:pt idx="46">
                  <c:v>0.94072760757185969</c:v>
                </c:pt>
                <c:pt idx="47">
                  <c:v>0.94754072990393234</c:v>
                </c:pt>
                <c:pt idx="48">
                  <c:v>0.950341833783097</c:v>
                </c:pt>
                <c:pt idx="49">
                  <c:v>0.95297723337458606</c:v>
                </c:pt>
                <c:pt idx="50">
                  <c:v>0.95555468784309994</c:v>
                </c:pt>
                <c:pt idx="51">
                  <c:v>0.95807159702968936</c:v>
                </c:pt>
                <c:pt idx="52">
                  <c:v>0.96030949397109377</c:v>
                </c:pt>
                <c:pt idx="53">
                  <c:v>0.96254374532881681</c:v>
                </c:pt>
                <c:pt idx="54">
                  <c:v>0.96476128776133341</c:v>
                </c:pt>
                <c:pt idx="55">
                  <c:v>0.96675877275535593</c:v>
                </c:pt>
                <c:pt idx="56">
                  <c:v>0.96870173482873156</c:v>
                </c:pt>
                <c:pt idx="57">
                  <c:v>0.97047975211103199</c:v>
                </c:pt>
                <c:pt idx="58">
                  <c:v>0.97224987062868939</c:v>
                </c:pt>
                <c:pt idx="59">
                  <c:v>0.9738046673925369</c:v>
                </c:pt>
                <c:pt idx="60">
                  <c:v>0.97506979215303302</c:v>
                </c:pt>
                <c:pt idx="61">
                  <c:v>0.97631685876495045</c:v>
                </c:pt>
                <c:pt idx="62">
                  <c:v>0.97754891414994438</c:v>
                </c:pt>
                <c:pt idx="63">
                  <c:v>0.97877388387842035</c:v>
                </c:pt>
                <c:pt idx="64">
                  <c:v>0.97995051388210119</c:v>
                </c:pt>
                <c:pt idx="65">
                  <c:v>0.98107803572913255</c:v>
                </c:pt>
                <c:pt idx="66">
                  <c:v>0.9821976230705044</c:v>
                </c:pt>
                <c:pt idx="67">
                  <c:v>0.98320988013937383</c:v>
                </c:pt>
                <c:pt idx="68">
                  <c:v>0.98417296650481489</c:v>
                </c:pt>
                <c:pt idx="69">
                  <c:v>0.98508318297162156</c:v>
                </c:pt>
                <c:pt idx="70">
                  <c:v>0.98593835827304233</c:v>
                </c:pt>
                <c:pt idx="71">
                  <c:v>0.98671621682055333</c:v>
                </c:pt>
                <c:pt idx="72">
                  <c:v>0.98746038946002779</c:v>
                </c:pt>
                <c:pt idx="73">
                  <c:v>0.98810634578620338</c:v>
                </c:pt>
                <c:pt idx="74">
                  <c:v>0.98874119559150642</c:v>
                </c:pt>
                <c:pt idx="75">
                  <c:v>0.98936505503424055</c:v>
                </c:pt>
                <c:pt idx="76">
                  <c:v>0.98995578255469363</c:v>
                </c:pt>
                <c:pt idx="77">
                  <c:v>0.9905279426170831</c:v>
                </c:pt>
                <c:pt idx="78">
                  <c:v>0.99109498277886121</c:v>
                </c:pt>
                <c:pt idx="79">
                  <c:v>0.99161030568978648</c:v>
                </c:pt>
                <c:pt idx="80">
                  <c:v>0.99210473797657672</c:v>
                </c:pt>
                <c:pt idx="81">
                  <c:v>0.99254165403258954</c:v>
                </c:pt>
                <c:pt idx="82">
                  <c:v>0.99297212777038102</c:v>
                </c:pt>
                <c:pt idx="83">
                  <c:v>0.99339233490118739</c:v>
                </c:pt>
                <c:pt idx="84">
                  <c:v>0.99380022031656079</c:v>
                </c:pt>
                <c:pt idx="85">
                  <c:v>0.99419594485107543</c:v>
                </c:pt>
                <c:pt idx="86">
                  <c:v>0.99459130304017107</c:v>
                </c:pt>
                <c:pt idx="87">
                  <c:v>0.99497265968605897</c:v>
                </c:pt>
                <c:pt idx="88">
                  <c:v>0.99534621585509919</c:v>
                </c:pt>
                <c:pt idx="89">
                  <c:v>0.99567988504974281</c:v>
                </c:pt>
                <c:pt idx="90">
                  <c:v>0.99601022139459927</c:v>
                </c:pt>
                <c:pt idx="91">
                  <c:v>0.99630629997515552</c:v>
                </c:pt>
                <c:pt idx="92">
                  <c:v>0.99684730280642486</c:v>
                </c:pt>
                <c:pt idx="93">
                  <c:v>0.99710403946308601</c:v>
                </c:pt>
                <c:pt idx="94">
                  <c:v>0.99730079375883229</c:v>
                </c:pt>
                <c:pt idx="95">
                  <c:v>0.997497137032889</c:v>
                </c:pt>
                <c:pt idx="96">
                  <c:v>0.99766690686118964</c:v>
                </c:pt>
                <c:pt idx="97">
                  <c:v>0.99783146743633766</c:v>
                </c:pt>
                <c:pt idx="98">
                  <c:v>0.99799484855794174</c:v>
                </c:pt>
                <c:pt idx="99">
                  <c:v>0.99814856173458677</c:v>
                </c:pt>
                <c:pt idx="100">
                  <c:v>0.99829406341269455</c:v>
                </c:pt>
                <c:pt idx="101">
                  <c:v>0.9984174235310902</c:v>
                </c:pt>
                <c:pt idx="102">
                  <c:v>0.99853955058441723</c:v>
                </c:pt>
                <c:pt idx="103">
                  <c:v>0.99866079304758626</c:v>
                </c:pt>
                <c:pt idx="104">
                  <c:v>0.9987697316658305</c:v>
                </c:pt>
                <c:pt idx="105">
                  <c:v>0.99887644540579856</c:v>
                </c:pt>
                <c:pt idx="106">
                  <c:v>0.99898279280034774</c:v>
                </c:pt>
                <c:pt idx="107">
                  <c:v>0.99907113565784289</c:v>
                </c:pt>
                <c:pt idx="108">
                  <c:v>0.9991505253907087</c:v>
                </c:pt>
                <c:pt idx="109">
                  <c:v>0.99921862096236547</c:v>
                </c:pt>
                <c:pt idx="110">
                  <c:v>0.99927644992703712</c:v>
                </c:pt>
                <c:pt idx="111">
                  <c:v>0.99933409125137229</c:v>
                </c:pt>
                <c:pt idx="112">
                  <c:v>0.99939122326622254</c:v>
                </c:pt>
                <c:pt idx="113">
                  <c:v>0.99944568364009057</c:v>
                </c:pt>
                <c:pt idx="114">
                  <c:v>0.99953491108774373</c:v>
                </c:pt>
                <c:pt idx="115">
                  <c:v>0.99960564255936613</c:v>
                </c:pt>
                <c:pt idx="116">
                  <c:v>0.9996349233871209</c:v>
                </c:pt>
                <c:pt idx="117">
                  <c:v>0.99966260480438807</c:v>
                </c:pt>
                <c:pt idx="118">
                  <c:v>0.99970397503096864</c:v>
                </c:pt>
                <c:pt idx="119">
                  <c:v>0.99973588282343506</c:v>
                </c:pt>
                <c:pt idx="120">
                  <c:v>0.99975164461170463</c:v>
                </c:pt>
                <c:pt idx="121">
                  <c:v>0.99976680773794813</c:v>
                </c:pt>
                <c:pt idx="122">
                  <c:v>0.99982033884538757</c:v>
                </c:pt>
                <c:pt idx="123">
                  <c:v>0.99983197254625322</c:v>
                </c:pt>
                <c:pt idx="124">
                  <c:v>0.99986466664108231</c:v>
                </c:pt>
                <c:pt idx="125">
                  <c:v>0.99997070130173715</c:v>
                </c:pt>
                <c:pt idx="126">
                  <c:v>0.99998265667175124</c:v>
                </c:pt>
                <c:pt idx="127">
                  <c:v>0.99998535511849584</c:v>
                </c:pt>
                <c:pt idx="128">
                  <c:v>0.9999957200132763</c:v>
                </c:pt>
                <c:pt idx="129">
                  <c:v>0.999998972445776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89</c:f>
              <c:strCache>
                <c:ptCount val="88"/>
                <c:pt idx="0">
                  <c:v>St Moret</c:v>
                </c:pt>
                <c:pt idx="1">
                  <c:v>St Moret</c:v>
                </c:pt>
                <c:pt idx="2">
                  <c:v>Private Lab</c:v>
                </c:pt>
                <c:pt idx="3">
                  <c:v>St Moret</c:v>
                </c:pt>
                <c:pt idx="4">
                  <c:v>Tartare</c:v>
                </c:pt>
                <c:pt idx="5">
                  <c:v>St Moret</c:v>
                </c:pt>
                <c:pt idx="6">
                  <c:v>Paysan Bret</c:v>
                </c:pt>
                <c:pt idx="7">
                  <c:v>Paysan Bret</c:v>
                </c:pt>
                <c:pt idx="8">
                  <c:v>Private Lab</c:v>
                </c:pt>
                <c:pt idx="9">
                  <c:v>Tartare</c:v>
                </c:pt>
                <c:pt idx="10">
                  <c:v>Boursin</c:v>
                </c:pt>
                <c:pt idx="11">
                  <c:v>Boursin</c:v>
                </c:pt>
                <c:pt idx="12">
                  <c:v>Private Lab</c:v>
                </c:pt>
                <c:pt idx="13">
                  <c:v>St Moret</c:v>
                </c:pt>
                <c:pt idx="14">
                  <c:v>Carre Frais</c:v>
                </c:pt>
                <c:pt idx="15">
                  <c:v>Boursin</c:v>
                </c:pt>
                <c:pt idx="16">
                  <c:v>Carre Frais</c:v>
                </c:pt>
                <c:pt idx="17">
                  <c:v>Philadelphi</c:v>
                </c:pt>
                <c:pt idx="18">
                  <c:v>St Moret</c:v>
                </c:pt>
                <c:pt idx="19">
                  <c:v>Private Lab</c:v>
                </c:pt>
                <c:pt idx="20">
                  <c:v>Philadelphi</c:v>
                </c:pt>
                <c:pt idx="21">
                  <c:v>St Moret</c:v>
                </c:pt>
                <c:pt idx="22">
                  <c:v>Tartare</c:v>
                </c:pt>
                <c:pt idx="23">
                  <c:v>Boursin</c:v>
                </c:pt>
                <c:pt idx="24">
                  <c:v>Paysan Bret</c:v>
                </c:pt>
                <c:pt idx="25">
                  <c:v>Boursin</c:v>
                </c:pt>
                <c:pt idx="26">
                  <c:v>Boursin</c:v>
                </c:pt>
                <c:pt idx="27">
                  <c:v>Paysan Bret</c:v>
                </c:pt>
                <c:pt idx="28">
                  <c:v>Paysan Bret</c:v>
                </c:pt>
                <c:pt idx="29">
                  <c:v>Private Lab</c:v>
                </c:pt>
                <c:pt idx="30">
                  <c:v>Carre Frais</c:v>
                </c:pt>
                <c:pt idx="31">
                  <c:v>Paysan Bret</c:v>
                </c:pt>
                <c:pt idx="32">
                  <c:v>Boursin</c:v>
                </c:pt>
                <c:pt idx="33">
                  <c:v>Tartare</c:v>
                </c:pt>
                <c:pt idx="34">
                  <c:v>Boursin</c:v>
                </c:pt>
                <c:pt idx="35">
                  <c:v>Paysan Bret</c:v>
                </c:pt>
                <c:pt idx="36">
                  <c:v>Boursin</c:v>
                </c:pt>
                <c:pt idx="37">
                  <c:v>Tartare</c:v>
                </c:pt>
                <c:pt idx="38">
                  <c:v>Savencia: A</c:v>
                </c:pt>
                <c:pt idx="39">
                  <c:v>St Moret</c:v>
                </c:pt>
                <c:pt idx="40">
                  <c:v>Saint Agur</c:v>
                </c:pt>
                <c:pt idx="41">
                  <c:v>Kiri</c:v>
                </c:pt>
                <c:pt idx="42">
                  <c:v>Tartare</c:v>
                </c:pt>
                <c:pt idx="43">
                  <c:v>St Moret</c:v>
                </c:pt>
                <c:pt idx="44">
                  <c:v>Boursin</c:v>
                </c:pt>
                <c:pt idx="45">
                  <c:v>Tartare</c:v>
                </c:pt>
                <c:pt idx="46">
                  <c:v>Paysan Bret</c:v>
                </c:pt>
                <c:pt idx="47">
                  <c:v>Paysan Bret</c:v>
                </c:pt>
                <c:pt idx="48">
                  <c:v>Private Lab</c:v>
                </c:pt>
                <c:pt idx="49">
                  <c:v>Kiri</c:v>
                </c:pt>
                <c:pt idx="50">
                  <c:v>Paysan Bret</c:v>
                </c:pt>
                <c:pt idx="51">
                  <c:v>Saint Agur</c:v>
                </c:pt>
                <c:pt idx="52">
                  <c:v>Carre Frais</c:v>
                </c:pt>
                <c:pt idx="53">
                  <c:v>Lactalis: A</c:v>
                </c:pt>
                <c:pt idx="54">
                  <c:v>All Others</c:v>
                </c:pt>
                <c:pt idx="55">
                  <c:v>Boursin</c:v>
                </c:pt>
                <c:pt idx="56">
                  <c:v>Tartare</c:v>
                </c:pt>
                <c:pt idx="57">
                  <c:v>Boursin</c:v>
                </c:pt>
                <c:pt idx="58">
                  <c:v>President</c:v>
                </c:pt>
                <c:pt idx="59">
                  <c:v>All Others</c:v>
                </c:pt>
                <c:pt idx="60">
                  <c:v>All Others</c:v>
                </c:pt>
                <c:pt idx="61">
                  <c:v>Savencia: A</c:v>
                </c:pt>
                <c:pt idx="62">
                  <c:v>Savencia: A</c:v>
                </c:pt>
                <c:pt idx="63">
                  <c:v>All Others</c:v>
                </c:pt>
                <c:pt idx="64">
                  <c:v>All Others</c:v>
                </c:pt>
                <c:pt idx="65">
                  <c:v>Kiri</c:v>
                </c:pt>
                <c:pt idx="66">
                  <c:v>All Others</c:v>
                </c:pt>
                <c:pt idx="67">
                  <c:v>All Others</c:v>
                </c:pt>
                <c:pt idx="68">
                  <c:v>All Others</c:v>
                </c:pt>
                <c:pt idx="69">
                  <c:v>All Others</c:v>
                </c:pt>
                <c:pt idx="70">
                  <c:v>Paysan Bret</c:v>
                </c:pt>
                <c:pt idx="71">
                  <c:v>All Others</c:v>
                </c:pt>
                <c:pt idx="72">
                  <c:v>All Others</c:v>
                </c:pt>
                <c:pt idx="73">
                  <c:v>All Others</c:v>
                </c:pt>
                <c:pt idx="74">
                  <c:v>All Others</c:v>
                </c:pt>
                <c:pt idx="75">
                  <c:v>Other Suppl</c:v>
                </c:pt>
                <c:pt idx="76">
                  <c:v>All Others</c:v>
                </c:pt>
                <c:pt idx="77">
                  <c:v>All Others</c:v>
                </c:pt>
                <c:pt idx="78">
                  <c:v>All Others</c:v>
                </c:pt>
                <c:pt idx="79">
                  <c:v>All Others</c:v>
                </c:pt>
                <c:pt idx="80">
                  <c:v>All Others</c:v>
                </c:pt>
                <c:pt idx="81">
                  <c:v>All Others</c:v>
                </c:pt>
                <c:pt idx="82">
                  <c:v>All Others</c:v>
                </c:pt>
                <c:pt idx="83">
                  <c:v>All Others</c:v>
                </c:pt>
                <c:pt idx="84">
                  <c:v>All Others</c:v>
                </c:pt>
                <c:pt idx="85">
                  <c:v>All Others</c:v>
                </c:pt>
                <c:pt idx="86">
                  <c:v>All Others</c:v>
                </c:pt>
                <c:pt idx="87">
                  <c:v>All Others</c:v>
                </c:pt>
              </c:strCache>
            </c:strRef>
          </c:cat>
          <c:val>
            <c:numRef>
              <c:f>Sheet1!$B$2:$B$89</c:f>
              <c:numCache>
                <c:formatCode>General</c:formatCode>
                <c:ptCount val="88"/>
                <c:pt idx="0">
                  <c:v>0.95699999999999996</c:v>
                </c:pt>
                <c:pt idx="1">
                  <c:v>0.97899999999999998</c:v>
                </c:pt>
                <c:pt idx="2">
                  <c:v>0.999</c:v>
                </c:pt>
                <c:pt idx="3">
                  <c:v>0.999</c:v>
                </c:pt>
                <c:pt idx="4">
                  <c:v>0.99199999999999999</c:v>
                </c:pt>
                <c:pt idx="5">
                  <c:v>0.997</c:v>
                </c:pt>
                <c:pt idx="6">
                  <c:v>0.98399999999999999</c:v>
                </c:pt>
                <c:pt idx="7">
                  <c:v>0.92400000000000004</c:v>
                </c:pt>
                <c:pt idx="8">
                  <c:v>0.99199999999999999</c:v>
                </c:pt>
                <c:pt idx="9">
                  <c:v>0.96599999999999997</c:v>
                </c:pt>
                <c:pt idx="10">
                  <c:v>0.98</c:v>
                </c:pt>
                <c:pt idx="11">
                  <c:v>0.98099999999999998</c:v>
                </c:pt>
                <c:pt idx="12">
                  <c:v>0.998</c:v>
                </c:pt>
                <c:pt idx="13">
                  <c:v>0.85899999999999999</c:v>
                </c:pt>
                <c:pt idx="14">
                  <c:v>0.98199999999999998</c:v>
                </c:pt>
                <c:pt idx="15">
                  <c:v>0.998</c:v>
                </c:pt>
                <c:pt idx="16">
                  <c:v>0.94599999999999995</c:v>
                </c:pt>
                <c:pt idx="17">
                  <c:v>0.89400000000000002</c:v>
                </c:pt>
                <c:pt idx="18">
                  <c:v>0.94899999999999995</c:v>
                </c:pt>
                <c:pt idx="19">
                  <c:v>0.97799999999999998</c:v>
                </c:pt>
                <c:pt idx="20">
                  <c:v>0.97399999999999998</c:v>
                </c:pt>
                <c:pt idx="21">
                  <c:v>0.878</c:v>
                </c:pt>
                <c:pt idx="22">
                  <c:v>0.94199999999999995</c:v>
                </c:pt>
                <c:pt idx="23">
                  <c:v>0.95399999999999996</c:v>
                </c:pt>
                <c:pt idx="24">
                  <c:v>0.69499999999999995</c:v>
                </c:pt>
                <c:pt idx="25">
                  <c:v>0.93899999999999995</c:v>
                </c:pt>
                <c:pt idx="26">
                  <c:v>0.98</c:v>
                </c:pt>
                <c:pt idx="27">
                  <c:v>0.65800000000000003</c:v>
                </c:pt>
                <c:pt idx="28">
                  <c:v>0.51900000000000002</c:v>
                </c:pt>
                <c:pt idx="29">
                  <c:v>0.78500000000000003</c:v>
                </c:pt>
                <c:pt idx="30">
                  <c:v>0.76300000000000001</c:v>
                </c:pt>
                <c:pt idx="31">
                  <c:v>0.42199999999999999</c:v>
                </c:pt>
                <c:pt idx="32">
                  <c:v>0.97299999999999998</c:v>
                </c:pt>
                <c:pt idx="33">
                  <c:v>0.93799999999999994</c:v>
                </c:pt>
                <c:pt idx="34">
                  <c:v>0.86</c:v>
                </c:pt>
                <c:pt idx="35">
                  <c:v>0.55500000000000005</c:v>
                </c:pt>
                <c:pt idx="36">
                  <c:v>0.94</c:v>
                </c:pt>
                <c:pt idx="37">
                  <c:v>0.86399999999999999</c:v>
                </c:pt>
                <c:pt idx="38">
                  <c:v>0.86299999999999999</c:v>
                </c:pt>
                <c:pt idx="39">
                  <c:v>0.25700000000000001</c:v>
                </c:pt>
                <c:pt idx="40">
                  <c:v>0.83299999999999996</c:v>
                </c:pt>
                <c:pt idx="41">
                  <c:v>0.83699999999999997</c:v>
                </c:pt>
                <c:pt idx="42">
                  <c:v>0.77300000000000002</c:v>
                </c:pt>
                <c:pt idx="43">
                  <c:v>0.65900000000000003</c:v>
                </c:pt>
                <c:pt idx="44">
                  <c:v>0.80800000000000005</c:v>
                </c:pt>
                <c:pt idx="45">
                  <c:v>0.88600000000000001</c:v>
                </c:pt>
                <c:pt idx="46">
                  <c:v>0.53900000000000003</c:v>
                </c:pt>
                <c:pt idx="47">
                  <c:v>0.47699999999999998</c:v>
                </c:pt>
                <c:pt idx="48">
                  <c:v>0.92500000000000004</c:v>
                </c:pt>
                <c:pt idx="49">
                  <c:v>0.89500000000000002</c:v>
                </c:pt>
                <c:pt idx="50">
                  <c:v>0.221</c:v>
                </c:pt>
                <c:pt idx="51">
                  <c:v>0.80100000000000005</c:v>
                </c:pt>
                <c:pt idx="52">
                  <c:v>0.28499999999999998</c:v>
                </c:pt>
                <c:pt idx="53">
                  <c:v>0.39500000000000002</c:v>
                </c:pt>
                <c:pt idx="54">
                  <c:v>8.2000000000000003E-2</c:v>
                </c:pt>
                <c:pt idx="55">
                  <c:v>0.32500000000000001</c:v>
                </c:pt>
                <c:pt idx="56">
                  <c:v>0.57099999999999995</c:v>
                </c:pt>
                <c:pt idx="57">
                  <c:v>0.68700000000000006</c:v>
                </c:pt>
                <c:pt idx="58">
                  <c:v>0.40200000000000002</c:v>
                </c:pt>
                <c:pt idx="59">
                  <c:v>9.0999999999999998E-2</c:v>
                </c:pt>
                <c:pt idx="60">
                  <c:v>6.7000000000000004E-2</c:v>
                </c:pt>
                <c:pt idx="61">
                  <c:v>0.27600000000000002</c:v>
                </c:pt>
                <c:pt idx="62">
                  <c:v>0.255</c:v>
                </c:pt>
                <c:pt idx="63">
                  <c:v>6.7000000000000004E-2</c:v>
                </c:pt>
                <c:pt idx="64">
                  <c:v>0.156</c:v>
                </c:pt>
                <c:pt idx="65">
                  <c:v>0.372</c:v>
                </c:pt>
                <c:pt idx="66">
                  <c:v>2.1999999999999999E-2</c:v>
                </c:pt>
                <c:pt idx="67">
                  <c:v>6.8000000000000005E-2</c:v>
                </c:pt>
                <c:pt idx="68">
                  <c:v>0.189</c:v>
                </c:pt>
                <c:pt idx="69">
                  <c:v>8.9999999999999993E-3</c:v>
                </c:pt>
                <c:pt idx="70">
                  <c:v>0.13300000000000001</c:v>
                </c:pt>
                <c:pt idx="71">
                  <c:v>2.5000000000000001E-2</c:v>
                </c:pt>
                <c:pt idx="72">
                  <c:v>0.12</c:v>
                </c:pt>
                <c:pt idx="73">
                  <c:v>1.2999999999999999E-2</c:v>
                </c:pt>
                <c:pt idx="74">
                  <c:v>1.2E-2</c:v>
                </c:pt>
                <c:pt idx="75">
                  <c:v>0.04</c:v>
                </c:pt>
                <c:pt idx="76">
                  <c:v>2.1999999999999999E-2</c:v>
                </c:pt>
                <c:pt idx="77">
                  <c:v>8.9999999999999993E-3</c:v>
                </c:pt>
                <c:pt idx="78">
                  <c:v>2.1999999999999999E-2</c:v>
                </c:pt>
                <c:pt idx="79">
                  <c:v>7.0000000000000001E-3</c:v>
                </c:pt>
                <c:pt idx="80">
                  <c:v>1.0999999999999999E-2</c:v>
                </c:pt>
                <c:pt idx="81">
                  <c:v>8.9999999999999993E-3</c:v>
                </c:pt>
                <c:pt idx="82">
                  <c:v>0.01</c:v>
                </c:pt>
                <c:pt idx="83">
                  <c:v>5.0000000000000001E-3</c:v>
                </c:pt>
                <c:pt idx="84">
                  <c:v>8.0000000000000002E-3</c:v>
                </c:pt>
                <c:pt idx="85">
                  <c:v>0.01</c:v>
                </c:pt>
                <c:pt idx="86">
                  <c:v>0.01</c:v>
                </c:pt>
                <c:pt idx="87">
                  <c:v>5.0000000000000001E-3</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7ECAC4"/>
              </a:solidFill>
            </c:spPr>
            <c:extLst>
              <c:ext xmlns:c16="http://schemas.microsoft.com/office/drawing/2014/chart" uri="{C3380CC4-5D6E-409C-BE32-E72D297353CC}">
                <c16:uniqueId val="{00000069-2993-41DE-A2CB-63102DE87051}"/>
              </c:ext>
            </c:extLst>
          </c:dPt>
          <c:dPt>
            <c:idx val="25"/>
            <c:invertIfNegative val="1"/>
            <c:bubble3D val="0"/>
            <c:spPr>
              <a:solidFill>
                <a:srgbClr val="7ECAC4"/>
              </a:solidFill>
            </c:spPr>
            <c:extLst>
              <c:ext xmlns:c16="http://schemas.microsoft.com/office/drawing/2014/chart" uri="{C3380CC4-5D6E-409C-BE32-E72D297353CC}">
                <c16:uniqueId val="{0000006B-2993-41DE-A2CB-63102DE87051}"/>
              </c:ext>
            </c:extLst>
          </c:dPt>
          <c:dPt>
            <c:idx val="26"/>
            <c:invertIfNegative val="1"/>
            <c:bubble3D val="0"/>
            <c:spPr>
              <a:solidFill>
                <a:srgbClr val="7ECAC4"/>
              </a:solidFill>
            </c:spPr>
            <c:extLst>
              <c:ext xmlns:c16="http://schemas.microsoft.com/office/drawing/2014/chart" uri="{C3380CC4-5D6E-409C-BE32-E72D297353CC}">
                <c16:uniqueId val="{0000006D-2993-41DE-A2CB-63102DE87051}"/>
              </c:ext>
            </c:extLst>
          </c:dPt>
          <c:dPt>
            <c:idx val="27"/>
            <c:invertIfNegative val="1"/>
            <c:bubble3D val="0"/>
            <c:spPr>
              <a:solidFill>
                <a:srgbClr val="7ECAC4"/>
              </a:solidFill>
            </c:spPr>
            <c:extLst>
              <c:ext xmlns:c16="http://schemas.microsoft.com/office/drawing/2014/chart" uri="{C3380CC4-5D6E-409C-BE32-E72D297353CC}">
                <c16:uniqueId val="{0000006F-2993-41DE-A2CB-63102DE87051}"/>
              </c:ext>
            </c:extLst>
          </c:dPt>
          <c:dPt>
            <c:idx val="28"/>
            <c:invertIfNegative val="1"/>
            <c:bubble3D val="0"/>
            <c:spPr>
              <a:solidFill>
                <a:srgbClr val="7ECAC4"/>
              </a:solidFill>
            </c:spPr>
            <c:extLst>
              <c:ext xmlns:c16="http://schemas.microsoft.com/office/drawing/2014/chart" uri="{C3380CC4-5D6E-409C-BE32-E72D297353CC}">
                <c16:uniqueId val="{00000071-2993-41DE-A2CB-63102DE87051}"/>
              </c:ext>
            </c:extLst>
          </c:dPt>
          <c:dPt>
            <c:idx val="29"/>
            <c:invertIfNegative val="1"/>
            <c:bubble3D val="0"/>
            <c:spPr>
              <a:solidFill>
                <a:srgbClr val="7ECAC4"/>
              </a:solidFill>
            </c:spPr>
            <c:extLst>
              <c:ext xmlns:c16="http://schemas.microsoft.com/office/drawing/2014/chart" uri="{C3380CC4-5D6E-409C-BE32-E72D297353CC}">
                <c16:uniqueId val="{00000073-2993-41DE-A2CB-63102DE87051}"/>
              </c:ext>
            </c:extLst>
          </c:dPt>
          <c:dPt>
            <c:idx val="30"/>
            <c:invertIfNegative val="1"/>
            <c:bubble3D val="0"/>
            <c:spPr>
              <a:solidFill>
                <a:srgbClr val="7ECAC4"/>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AEABAB"/>
              </a:solidFill>
            </c:spPr>
            <c:extLst>
              <c:ext xmlns:c16="http://schemas.microsoft.com/office/drawing/2014/chart" uri="{C3380CC4-5D6E-409C-BE32-E72D297353CC}">
                <c16:uniqueId val="{0000008B-2993-41DE-A2CB-63102DE87051}"/>
              </c:ext>
            </c:extLst>
          </c:dPt>
          <c:dPt>
            <c:idx val="42"/>
            <c:invertIfNegative val="1"/>
            <c:bubble3D val="0"/>
            <c:spPr>
              <a:solidFill>
                <a:srgbClr val="AEABAB"/>
              </a:solidFill>
            </c:spPr>
            <c:extLst>
              <c:ext xmlns:c16="http://schemas.microsoft.com/office/drawing/2014/chart" uri="{C3380CC4-5D6E-409C-BE32-E72D297353CC}">
                <c16:uniqueId val="{0000008D-2993-41DE-A2CB-63102DE87051}"/>
              </c:ext>
            </c:extLst>
          </c:dPt>
          <c:dPt>
            <c:idx val="43"/>
            <c:invertIfNegative val="1"/>
            <c:bubble3D val="0"/>
            <c:spPr>
              <a:solidFill>
                <a:srgbClr val="AEABAB"/>
              </a:solidFill>
            </c:spPr>
            <c:extLst>
              <c:ext xmlns:c16="http://schemas.microsoft.com/office/drawing/2014/chart" uri="{C3380CC4-5D6E-409C-BE32-E72D297353CC}">
                <c16:uniqueId val="{0000008F-2993-41DE-A2CB-63102DE87051}"/>
              </c:ext>
            </c:extLst>
          </c:dPt>
          <c:dPt>
            <c:idx val="44"/>
            <c:invertIfNegative val="1"/>
            <c:bubble3D val="0"/>
            <c:spPr>
              <a:solidFill>
                <a:srgbClr val="AEABAB"/>
              </a:solidFill>
            </c:spPr>
            <c:extLst>
              <c:ext xmlns:c16="http://schemas.microsoft.com/office/drawing/2014/chart" uri="{C3380CC4-5D6E-409C-BE32-E72D297353CC}">
                <c16:uniqueId val="{00000091-2993-41DE-A2CB-63102DE87051}"/>
              </c:ext>
            </c:extLst>
          </c:dPt>
          <c:dPt>
            <c:idx val="45"/>
            <c:invertIfNegative val="1"/>
            <c:bubble3D val="0"/>
            <c:spPr>
              <a:solidFill>
                <a:srgbClr val="AEABAB"/>
              </a:solidFill>
            </c:spPr>
            <c:extLst>
              <c:ext xmlns:c16="http://schemas.microsoft.com/office/drawing/2014/chart" uri="{C3380CC4-5D6E-409C-BE32-E72D297353CC}">
                <c16:uniqueId val="{00000093-2993-41DE-A2CB-63102DE87051}"/>
              </c:ext>
            </c:extLst>
          </c:dPt>
          <c:dPt>
            <c:idx val="46"/>
            <c:invertIfNegative val="1"/>
            <c:bubble3D val="0"/>
            <c:spPr>
              <a:solidFill>
                <a:srgbClr val="AEABAB"/>
              </a:solidFill>
            </c:spPr>
            <c:extLst>
              <c:ext xmlns:c16="http://schemas.microsoft.com/office/drawing/2014/chart" uri="{C3380CC4-5D6E-409C-BE32-E72D297353CC}">
                <c16:uniqueId val="{00000095-2993-41DE-A2CB-63102DE87051}"/>
              </c:ext>
            </c:extLst>
          </c:dPt>
          <c:dPt>
            <c:idx val="47"/>
            <c:invertIfNegative val="1"/>
            <c:bubble3D val="0"/>
            <c:spPr>
              <a:solidFill>
                <a:srgbClr val="AEABAB"/>
              </a:solidFill>
            </c:spPr>
            <c:extLst>
              <c:ext xmlns:c16="http://schemas.microsoft.com/office/drawing/2014/chart" uri="{C3380CC4-5D6E-409C-BE32-E72D297353CC}">
                <c16:uniqueId val="{00000097-2993-41DE-A2CB-63102DE87051}"/>
              </c:ext>
            </c:extLst>
          </c:dPt>
          <c:dPt>
            <c:idx val="48"/>
            <c:invertIfNegative val="1"/>
            <c:bubble3D val="0"/>
            <c:spPr>
              <a:solidFill>
                <a:srgbClr val="AEABAB"/>
              </a:solidFill>
            </c:spPr>
            <c:extLst>
              <c:ext xmlns:c16="http://schemas.microsoft.com/office/drawing/2014/chart" uri="{C3380CC4-5D6E-409C-BE32-E72D297353CC}">
                <c16:uniqueId val="{00000099-2993-41DE-A2CB-63102DE87051}"/>
              </c:ext>
            </c:extLst>
          </c:dPt>
          <c:dPt>
            <c:idx val="49"/>
            <c:invertIfNegative val="1"/>
            <c:bubble3D val="0"/>
            <c:spPr>
              <a:solidFill>
                <a:srgbClr val="AEABAB"/>
              </a:solidFill>
            </c:spPr>
            <c:extLst>
              <c:ext xmlns:c16="http://schemas.microsoft.com/office/drawing/2014/chart" uri="{C3380CC4-5D6E-409C-BE32-E72D297353CC}">
                <c16:uniqueId val="{0000009B-2993-41DE-A2CB-63102DE87051}"/>
              </c:ext>
            </c:extLst>
          </c:dPt>
          <c:dPt>
            <c:idx val="50"/>
            <c:invertIfNegative val="1"/>
            <c:bubble3D val="0"/>
            <c:spPr>
              <a:solidFill>
                <a:srgbClr val="AEABAB"/>
              </a:solidFill>
            </c:spPr>
            <c:extLst>
              <c:ext xmlns:c16="http://schemas.microsoft.com/office/drawing/2014/chart" uri="{C3380CC4-5D6E-409C-BE32-E72D297353CC}">
                <c16:uniqueId val="{0000009D-2993-41DE-A2CB-63102DE87051}"/>
              </c:ext>
            </c:extLst>
          </c:dPt>
          <c:dPt>
            <c:idx val="51"/>
            <c:invertIfNegative val="1"/>
            <c:bubble3D val="0"/>
            <c:spPr>
              <a:solidFill>
                <a:srgbClr val="AEABAB"/>
              </a:solidFill>
            </c:spPr>
            <c:extLst>
              <c:ext xmlns:c16="http://schemas.microsoft.com/office/drawing/2014/chart" uri="{C3380CC4-5D6E-409C-BE32-E72D297353CC}">
                <c16:uniqueId val="{0000009F-2993-41DE-A2CB-63102DE87051}"/>
              </c:ext>
            </c:extLst>
          </c:dPt>
          <c:dPt>
            <c:idx val="52"/>
            <c:invertIfNegative val="1"/>
            <c:bubble3D val="0"/>
            <c:spPr>
              <a:solidFill>
                <a:srgbClr val="AEABAB"/>
              </a:solidFill>
            </c:spPr>
            <c:extLst>
              <c:ext xmlns:c16="http://schemas.microsoft.com/office/drawing/2014/chart" uri="{C3380CC4-5D6E-409C-BE32-E72D297353CC}">
                <c16:uniqueId val="{000000A1-2993-41DE-A2CB-63102DE87051}"/>
              </c:ext>
            </c:extLst>
          </c:dPt>
          <c:dPt>
            <c:idx val="53"/>
            <c:invertIfNegative val="1"/>
            <c:bubble3D val="0"/>
            <c:spPr>
              <a:solidFill>
                <a:srgbClr val="AEABAB"/>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89</c:f>
              <c:strCache>
                <c:ptCount val="88"/>
                <c:pt idx="0">
                  <c:v>St Moret</c:v>
                </c:pt>
                <c:pt idx="1">
                  <c:v>St Moret</c:v>
                </c:pt>
                <c:pt idx="2">
                  <c:v>Private Lab</c:v>
                </c:pt>
                <c:pt idx="3">
                  <c:v>St Moret</c:v>
                </c:pt>
                <c:pt idx="4">
                  <c:v>Tartare</c:v>
                </c:pt>
                <c:pt idx="5">
                  <c:v>St Moret</c:v>
                </c:pt>
                <c:pt idx="6">
                  <c:v>Paysan Bret</c:v>
                </c:pt>
                <c:pt idx="7">
                  <c:v>Paysan Bret</c:v>
                </c:pt>
                <c:pt idx="8">
                  <c:v>Private Lab</c:v>
                </c:pt>
                <c:pt idx="9">
                  <c:v>Tartare</c:v>
                </c:pt>
                <c:pt idx="10">
                  <c:v>Boursin</c:v>
                </c:pt>
                <c:pt idx="11">
                  <c:v>Boursin</c:v>
                </c:pt>
                <c:pt idx="12">
                  <c:v>Private Lab</c:v>
                </c:pt>
                <c:pt idx="13">
                  <c:v>St Moret</c:v>
                </c:pt>
                <c:pt idx="14">
                  <c:v>Carre Frais</c:v>
                </c:pt>
                <c:pt idx="15">
                  <c:v>Boursin</c:v>
                </c:pt>
                <c:pt idx="16">
                  <c:v>Carre Frais</c:v>
                </c:pt>
                <c:pt idx="17">
                  <c:v>Philadelphi</c:v>
                </c:pt>
                <c:pt idx="18">
                  <c:v>St Moret</c:v>
                </c:pt>
                <c:pt idx="19">
                  <c:v>Private Lab</c:v>
                </c:pt>
                <c:pt idx="20">
                  <c:v>Philadelphi</c:v>
                </c:pt>
                <c:pt idx="21">
                  <c:v>St Moret</c:v>
                </c:pt>
                <c:pt idx="22">
                  <c:v>Tartare</c:v>
                </c:pt>
                <c:pt idx="23">
                  <c:v>Boursin</c:v>
                </c:pt>
                <c:pt idx="24">
                  <c:v>Paysan Bret</c:v>
                </c:pt>
                <c:pt idx="25">
                  <c:v>Boursin</c:v>
                </c:pt>
                <c:pt idx="26">
                  <c:v>Boursin</c:v>
                </c:pt>
                <c:pt idx="27">
                  <c:v>Paysan Bret</c:v>
                </c:pt>
                <c:pt idx="28">
                  <c:v>Paysan Bret</c:v>
                </c:pt>
                <c:pt idx="29">
                  <c:v>Private Lab</c:v>
                </c:pt>
                <c:pt idx="30">
                  <c:v>Carre Frais</c:v>
                </c:pt>
                <c:pt idx="31">
                  <c:v>Paysan Bret</c:v>
                </c:pt>
                <c:pt idx="32">
                  <c:v>Boursin</c:v>
                </c:pt>
                <c:pt idx="33">
                  <c:v>Tartare</c:v>
                </c:pt>
                <c:pt idx="34">
                  <c:v>Boursin</c:v>
                </c:pt>
                <c:pt idx="35">
                  <c:v>Paysan Bret</c:v>
                </c:pt>
                <c:pt idx="36">
                  <c:v>Boursin</c:v>
                </c:pt>
                <c:pt idx="37">
                  <c:v>Tartare</c:v>
                </c:pt>
                <c:pt idx="38">
                  <c:v>Savencia: A</c:v>
                </c:pt>
                <c:pt idx="39">
                  <c:v>St Moret</c:v>
                </c:pt>
                <c:pt idx="40">
                  <c:v>Saint Agur</c:v>
                </c:pt>
                <c:pt idx="41">
                  <c:v>Kiri</c:v>
                </c:pt>
                <c:pt idx="42">
                  <c:v>Tartare</c:v>
                </c:pt>
                <c:pt idx="43">
                  <c:v>St Moret</c:v>
                </c:pt>
                <c:pt idx="44">
                  <c:v>Boursin</c:v>
                </c:pt>
                <c:pt idx="45">
                  <c:v>Tartare</c:v>
                </c:pt>
                <c:pt idx="46">
                  <c:v>Paysan Bret</c:v>
                </c:pt>
                <c:pt idx="47">
                  <c:v>Paysan Bret</c:v>
                </c:pt>
                <c:pt idx="48">
                  <c:v>Private Lab</c:v>
                </c:pt>
                <c:pt idx="49">
                  <c:v>Kiri</c:v>
                </c:pt>
                <c:pt idx="50">
                  <c:v>Paysan Bret</c:v>
                </c:pt>
                <c:pt idx="51">
                  <c:v>Saint Agur</c:v>
                </c:pt>
                <c:pt idx="52">
                  <c:v>Carre Frais</c:v>
                </c:pt>
                <c:pt idx="53">
                  <c:v>Lactalis: A</c:v>
                </c:pt>
                <c:pt idx="54">
                  <c:v>All Others</c:v>
                </c:pt>
                <c:pt idx="55">
                  <c:v>Boursin</c:v>
                </c:pt>
                <c:pt idx="56">
                  <c:v>Tartare</c:v>
                </c:pt>
                <c:pt idx="57">
                  <c:v>Boursin</c:v>
                </c:pt>
                <c:pt idx="58">
                  <c:v>President</c:v>
                </c:pt>
                <c:pt idx="59">
                  <c:v>All Others</c:v>
                </c:pt>
                <c:pt idx="60">
                  <c:v>All Others</c:v>
                </c:pt>
                <c:pt idx="61">
                  <c:v>Savencia: A</c:v>
                </c:pt>
                <c:pt idx="62">
                  <c:v>Savencia: A</c:v>
                </c:pt>
                <c:pt idx="63">
                  <c:v>All Others</c:v>
                </c:pt>
                <c:pt idx="64">
                  <c:v>All Others</c:v>
                </c:pt>
                <c:pt idx="65">
                  <c:v>Kiri</c:v>
                </c:pt>
                <c:pt idx="66">
                  <c:v>All Others</c:v>
                </c:pt>
                <c:pt idx="67">
                  <c:v>All Others</c:v>
                </c:pt>
                <c:pt idx="68">
                  <c:v>All Others</c:v>
                </c:pt>
                <c:pt idx="69">
                  <c:v>All Others</c:v>
                </c:pt>
                <c:pt idx="70">
                  <c:v>Paysan Bret</c:v>
                </c:pt>
                <c:pt idx="71">
                  <c:v>All Others</c:v>
                </c:pt>
                <c:pt idx="72">
                  <c:v>All Others</c:v>
                </c:pt>
                <c:pt idx="73">
                  <c:v>All Others</c:v>
                </c:pt>
                <c:pt idx="74">
                  <c:v>All Others</c:v>
                </c:pt>
                <c:pt idx="75">
                  <c:v>Other Suppl</c:v>
                </c:pt>
                <c:pt idx="76">
                  <c:v>All Others</c:v>
                </c:pt>
                <c:pt idx="77">
                  <c:v>All Others</c:v>
                </c:pt>
                <c:pt idx="78">
                  <c:v>All Others</c:v>
                </c:pt>
                <c:pt idx="79">
                  <c:v>All Others</c:v>
                </c:pt>
                <c:pt idx="80">
                  <c:v>All Others</c:v>
                </c:pt>
                <c:pt idx="81">
                  <c:v>All Others</c:v>
                </c:pt>
                <c:pt idx="82">
                  <c:v>All Others</c:v>
                </c:pt>
                <c:pt idx="83">
                  <c:v>All Others</c:v>
                </c:pt>
                <c:pt idx="84">
                  <c:v>All Others</c:v>
                </c:pt>
                <c:pt idx="85">
                  <c:v>All Others</c:v>
                </c:pt>
                <c:pt idx="86">
                  <c:v>All Others</c:v>
                </c:pt>
                <c:pt idx="87">
                  <c:v>All Others</c:v>
                </c:pt>
              </c:strCache>
            </c:strRef>
          </c:cat>
          <c:val>
            <c:numRef>
              <c:f>Sheet1!$C$2:$C$89</c:f>
              <c:numCache>
                <c:formatCode>General</c:formatCode>
                <c:ptCount val="88"/>
                <c:pt idx="0">
                  <c:v>6.8172638867039656E-2</c:v>
                </c:pt>
                <c:pt idx="1">
                  <c:v>0.13510420184477095</c:v>
                </c:pt>
                <c:pt idx="2">
                  <c:v>0.19467861255842839</c:v>
                </c:pt>
                <c:pt idx="3">
                  <c:v>0.25324499840438514</c:v>
                </c:pt>
                <c:pt idx="4">
                  <c:v>0.30826903608642936</c:v>
                </c:pt>
                <c:pt idx="5">
                  <c:v>0.35896175375193151</c:v>
                </c:pt>
                <c:pt idx="6">
                  <c:v>0.3931748814424102</c:v>
                </c:pt>
                <c:pt idx="7">
                  <c:v>0.42720585612602602</c:v>
                </c:pt>
                <c:pt idx="8">
                  <c:v>0.45947147168904756</c:v>
                </c:pt>
                <c:pt idx="9">
                  <c:v>0.4885660125306997</c:v>
                </c:pt>
                <c:pt idx="10">
                  <c:v>0.51727926030407734</c:v>
                </c:pt>
                <c:pt idx="11">
                  <c:v>0.54570088644954973</c:v>
                </c:pt>
                <c:pt idx="12">
                  <c:v>0.57310792024154789</c:v>
                </c:pt>
                <c:pt idx="13">
                  <c:v>0.59967776799449268</c:v>
                </c:pt>
                <c:pt idx="14">
                  <c:v>0.62622333499474592</c:v>
                </c:pt>
                <c:pt idx="15">
                  <c:v>0.6520190298373193</c:v>
                </c:pt>
                <c:pt idx="16">
                  <c:v>0.67616242314291897</c:v>
                </c:pt>
                <c:pt idx="17">
                  <c:v>0.69993208019881048</c:v>
                </c:pt>
                <c:pt idx="18">
                  <c:v>0.72110371776634041</c:v>
                </c:pt>
                <c:pt idx="19">
                  <c:v>0.74144287388799124</c:v>
                </c:pt>
                <c:pt idx="20">
                  <c:v>0.75923918161170501</c:v>
                </c:pt>
                <c:pt idx="21">
                  <c:v>0.77486324079174029</c:v>
                </c:pt>
                <c:pt idx="22">
                  <c:v>0.78961083531588427</c:v>
                </c:pt>
                <c:pt idx="23">
                  <c:v>0.8021327152262705</c:v>
                </c:pt>
                <c:pt idx="24">
                  <c:v>0.81426914476568901</c:v>
                </c:pt>
                <c:pt idx="25">
                  <c:v>0.82557318758258091</c:v>
                </c:pt>
                <c:pt idx="26">
                  <c:v>0.83620646276594979</c:v>
                </c:pt>
                <c:pt idx="27">
                  <c:v>0.84637433054402167</c:v>
                </c:pt>
                <c:pt idx="28">
                  <c:v>0.85586240039563199</c:v>
                </c:pt>
                <c:pt idx="29">
                  <c:v>0.86530986550346944</c:v>
                </c:pt>
                <c:pt idx="30">
                  <c:v>0.87430211122881241</c:v>
                </c:pt>
                <c:pt idx="31">
                  <c:v>0.88325484679134481</c:v>
                </c:pt>
                <c:pt idx="32">
                  <c:v>0.89209782956277728</c:v>
                </c:pt>
                <c:pt idx="33">
                  <c:v>0.90070391975441721</c:v>
                </c:pt>
                <c:pt idx="34">
                  <c:v>0.90840262337798228</c:v>
                </c:pt>
                <c:pt idx="35">
                  <c:v>0.91582978672437265</c:v>
                </c:pt>
                <c:pt idx="36">
                  <c:v>0.92298181030619331</c:v>
                </c:pt>
                <c:pt idx="37">
                  <c:v>0.92916562440281525</c:v>
                </c:pt>
                <c:pt idx="38">
                  <c:v>0.93494865347018097</c:v>
                </c:pt>
                <c:pt idx="39">
                  <c:v>0.9406766272201087</c:v>
                </c:pt>
                <c:pt idx="40">
                  <c:v>0.94621975361003574</c:v>
                </c:pt>
                <c:pt idx="41">
                  <c:v>0.95162849913721215</c:v>
                </c:pt>
                <c:pt idx="42">
                  <c:v>0.95674362332126384</c:v>
                </c:pt>
                <c:pt idx="43">
                  <c:v>0.96169702316814254</c:v>
                </c:pt>
                <c:pt idx="44">
                  <c:v>0.96663733014274189</c:v>
                </c:pt>
                <c:pt idx="45">
                  <c:v>0.97146574778840156</c:v>
                </c:pt>
                <c:pt idx="46">
                  <c:v>0.97623494228911312</c:v>
                </c:pt>
                <c:pt idx="47">
                  <c:v>0.97966828492392888</c:v>
                </c:pt>
                <c:pt idx="48">
                  <c:v>0.98304383578890098</c:v>
                </c:pt>
                <c:pt idx="49">
                  <c:v>0.98589566123788519</c:v>
                </c:pt>
                <c:pt idx="50">
                  <c:v>0.988621441479139</c:v>
                </c:pt>
                <c:pt idx="51">
                  <c:v>0.99035047945645693</c:v>
                </c:pt>
                <c:pt idx="52">
                  <c:v>0.99201706317002469</c:v>
                </c:pt>
                <c:pt idx="53">
                  <c:v>0.99331411003584524</c:v>
                </c:pt>
                <c:pt idx="54">
                  <c:v>0.9945313787892246</c:v>
                </c:pt>
                <c:pt idx="55">
                  <c:v>0.99546549839233922</c:v>
                </c:pt>
                <c:pt idx="56">
                  <c:v>0.99632904909783926</c:v>
                </c:pt>
                <c:pt idx="57">
                  <c:v>0.9967977718204738</c:v>
                </c:pt>
                <c:pt idx="58">
                  <c:v>0.99721768044211867</c:v>
                </c:pt>
                <c:pt idx="59">
                  <c:v>0.99758279686674911</c:v>
                </c:pt>
                <c:pt idx="60">
                  <c:v>0.99783615026024319</c:v>
                </c:pt>
                <c:pt idx="61">
                  <c:v>0.99806364417850402</c:v>
                </c:pt>
                <c:pt idx="62">
                  <c:v>0.99829075920335486</c:v>
                </c:pt>
                <c:pt idx="63">
                  <c:v>0.99849277253979241</c:v>
                </c:pt>
                <c:pt idx="64">
                  <c:v>0.99868984973708286</c:v>
                </c:pt>
                <c:pt idx="65">
                  <c:v>0.9988783176341125</c:v>
                </c:pt>
                <c:pt idx="66">
                  <c:v>0.99905337691435459</c:v>
                </c:pt>
                <c:pt idx="67">
                  <c:v>0.9992160169106018</c:v>
                </c:pt>
                <c:pt idx="68">
                  <c:v>0.99933252663418026</c:v>
                </c:pt>
                <c:pt idx="69">
                  <c:v>0.9994397218947626</c:v>
                </c:pt>
                <c:pt idx="70">
                  <c:v>0.99954596992181988</c:v>
                </c:pt>
                <c:pt idx="71">
                  <c:v>0.99965217584960941</c:v>
                </c:pt>
                <c:pt idx="72">
                  <c:v>0.99974091058127068</c:v>
                </c:pt>
                <c:pt idx="73">
                  <c:v>0.99978989307933153</c:v>
                </c:pt>
                <c:pt idx="74">
                  <c:v>0.99983213969454776</c:v>
                </c:pt>
                <c:pt idx="75">
                  <c:v>0.99987315490618145</c:v>
                </c:pt>
                <c:pt idx="76">
                  <c:v>0.99990492932853769</c:v>
                </c:pt>
                <c:pt idx="77">
                  <c:v>0.99992324251002151</c:v>
                </c:pt>
                <c:pt idx="78">
                  <c:v>0.99994098735139036</c:v>
                </c:pt>
                <c:pt idx="79">
                  <c:v>0.99995720609430228</c:v>
                </c:pt>
                <c:pt idx="80">
                  <c:v>0.99996432087055698</c:v>
                </c:pt>
                <c:pt idx="81">
                  <c:v>0.99997059366145602</c:v>
                </c:pt>
                <c:pt idx="82">
                  <c:v>0.99997642441004342</c:v>
                </c:pt>
                <c:pt idx="83">
                  <c:v>0.99998165524406502</c:v>
                </c:pt>
                <c:pt idx="84">
                  <c:v>0.99998627563870379</c:v>
                </c:pt>
                <c:pt idx="85">
                  <c:v>0.99999067501218675</c:v>
                </c:pt>
                <c:pt idx="86">
                  <c:v>0.99999581112285574</c:v>
                </c:pt>
                <c:pt idx="87">
                  <c:v>0.9999971898738755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124</c:f>
              <c:strCache>
                <c:ptCount val="123"/>
                <c:pt idx="0">
                  <c:v>Tartare</c:v>
                </c:pt>
                <c:pt idx="1">
                  <c:v>St Moret</c:v>
                </c:pt>
                <c:pt idx="2">
                  <c:v>St Moret</c:v>
                </c:pt>
                <c:pt idx="3">
                  <c:v>St Moret</c:v>
                </c:pt>
                <c:pt idx="4">
                  <c:v>St Moret</c:v>
                </c:pt>
                <c:pt idx="5">
                  <c:v>Carre Frais</c:v>
                </c:pt>
                <c:pt idx="6">
                  <c:v>St Moret</c:v>
                </c:pt>
                <c:pt idx="7">
                  <c:v>Paysan Bret</c:v>
                </c:pt>
                <c:pt idx="8">
                  <c:v>Philadelphi</c:v>
                </c:pt>
                <c:pt idx="9">
                  <c:v>Boursin</c:v>
                </c:pt>
                <c:pt idx="10">
                  <c:v>Carre Frais</c:v>
                </c:pt>
                <c:pt idx="11">
                  <c:v>Paysan Bret</c:v>
                </c:pt>
                <c:pt idx="12">
                  <c:v>St Moret</c:v>
                </c:pt>
                <c:pt idx="13">
                  <c:v>Paysan Bret</c:v>
                </c:pt>
                <c:pt idx="14">
                  <c:v>Tartare</c:v>
                </c:pt>
                <c:pt idx="15">
                  <c:v>Boursin</c:v>
                </c:pt>
                <c:pt idx="16">
                  <c:v>Carre Frais</c:v>
                </c:pt>
                <c:pt idx="17">
                  <c:v>Boursin</c:v>
                </c:pt>
                <c:pt idx="18">
                  <c:v>Private Lab</c:v>
                </c:pt>
                <c:pt idx="19">
                  <c:v>St Moret</c:v>
                </c:pt>
                <c:pt idx="20">
                  <c:v>St Moret</c:v>
                </c:pt>
                <c:pt idx="21">
                  <c:v>Philadelphi</c:v>
                </c:pt>
                <c:pt idx="22">
                  <c:v>Philadelphi</c:v>
                </c:pt>
                <c:pt idx="23">
                  <c:v>All Others</c:v>
                </c:pt>
                <c:pt idx="24">
                  <c:v>Tartare</c:v>
                </c:pt>
                <c:pt idx="25">
                  <c:v>St Moret</c:v>
                </c:pt>
                <c:pt idx="26">
                  <c:v>Paysan Bret</c:v>
                </c:pt>
                <c:pt idx="27">
                  <c:v>Paysan Bret</c:v>
                </c:pt>
                <c:pt idx="28">
                  <c:v>Savencia: A</c:v>
                </c:pt>
                <c:pt idx="29">
                  <c:v>Paysan Bret</c:v>
                </c:pt>
                <c:pt idx="30">
                  <c:v>Private Lab</c:v>
                </c:pt>
                <c:pt idx="31">
                  <c:v>Paysan Bret</c:v>
                </c:pt>
                <c:pt idx="32">
                  <c:v>Boursin</c:v>
                </c:pt>
                <c:pt idx="33">
                  <c:v>Rondele</c:v>
                </c:pt>
                <c:pt idx="34">
                  <c:v>Boursin</c:v>
                </c:pt>
                <c:pt idx="35">
                  <c:v>Private Lab</c:v>
                </c:pt>
                <c:pt idx="36">
                  <c:v>Private Lab</c:v>
                </c:pt>
                <c:pt idx="37">
                  <c:v>Tartare</c:v>
                </c:pt>
                <c:pt idx="38">
                  <c:v>Kiri</c:v>
                </c:pt>
                <c:pt idx="39">
                  <c:v>Boursin</c:v>
                </c:pt>
                <c:pt idx="40">
                  <c:v>Paysan Bret</c:v>
                </c:pt>
                <c:pt idx="41">
                  <c:v>Tartare</c:v>
                </c:pt>
                <c:pt idx="42">
                  <c:v>Boursin</c:v>
                </c:pt>
                <c:pt idx="43">
                  <c:v>Tartare</c:v>
                </c:pt>
                <c:pt idx="44">
                  <c:v>Lactalis: A</c:v>
                </c:pt>
                <c:pt idx="45">
                  <c:v>St Moret</c:v>
                </c:pt>
                <c:pt idx="46">
                  <c:v>Philadelphi</c:v>
                </c:pt>
                <c:pt idx="47">
                  <c:v>Tartare</c:v>
                </c:pt>
                <c:pt idx="48">
                  <c:v>Kiri</c:v>
                </c:pt>
                <c:pt idx="49">
                  <c:v>Paysan Bret</c:v>
                </c:pt>
                <c:pt idx="50">
                  <c:v>All Others</c:v>
                </c:pt>
                <c:pt idx="51">
                  <c:v>President</c:v>
                </c:pt>
                <c:pt idx="52">
                  <c:v>Private Lab</c:v>
                </c:pt>
                <c:pt idx="53">
                  <c:v>Rondele</c:v>
                </c:pt>
                <c:pt idx="54">
                  <c:v>Private Lab</c:v>
                </c:pt>
                <c:pt idx="55">
                  <c:v>Private Lab</c:v>
                </c:pt>
                <c:pt idx="56">
                  <c:v>Boursin</c:v>
                </c:pt>
                <c:pt idx="57">
                  <c:v>Kiri</c:v>
                </c:pt>
                <c:pt idx="58">
                  <c:v>Saint Agur</c:v>
                </c:pt>
                <c:pt idx="59">
                  <c:v>Boursin</c:v>
                </c:pt>
                <c:pt idx="60">
                  <c:v>Rondele</c:v>
                </c:pt>
                <c:pt idx="61">
                  <c:v>All Others</c:v>
                </c:pt>
                <c:pt idx="62">
                  <c:v>Triballat R</c:v>
                </c:pt>
                <c:pt idx="63">
                  <c:v>Boursin</c:v>
                </c:pt>
                <c:pt idx="64">
                  <c:v>St Moret</c:v>
                </c:pt>
                <c:pt idx="65">
                  <c:v>Saint Agur</c:v>
                </c:pt>
                <c:pt idx="66">
                  <c:v>St Moret</c:v>
                </c:pt>
                <c:pt idx="67">
                  <c:v>President</c:v>
                </c:pt>
                <c:pt idx="68">
                  <c:v>Tartare</c:v>
                </c:pt>
                <c:pt idx="69">
                  <c:v>Lactalis: A</c:v>
                </c:pt>
                <c:pt idx="70">
                  <c:v>Private Lab</c:v>
                </c:pt>
                <c:pt idx="71">
                  <c:v>Boursin</c:v>
                </c:pt>
                <c:pt idx="72">
                  <c:v>Boursin</c:v>
                </c:pt>
                <c:pt idx="73">
                  <c:v>Lactalis: A</c:v>
                </c:pt>
                <c:pt idx="74">
                  <c:v>Carre Frais</c:v>
                </c:pt>
                <c:pt idx="75">
                  <c:v>Tartare</c:v>
                </c:pt>
                <c:pt idx="76">
                  <c:v>Paysan Bret</c:v>
                </c:pt>
                <c:pt idx="77">
                  <c:v>All Others</c:v>
                </c:pt>
                <c:pt idx="78">
                  <c:v>Boursin</c:v>
                </c:pt>
                <c:pt idx="79">
                  <c:v>St Moret</c:v>
                </c:pt>
                <c:pt idx="80">
                  <c:v>Boursin</c:v>
                </c:pt>
                <c:pt idx="81">
                  <c:v>Boursin</c:v>
                </c:pt>
                <c:pt idx="82">
                  <c:v>Private Lab</c:v>
                </c:pt>
                <c:pt idx="83">
                  <c:v>Private Lab</c:v>
                </c:pt>
                <c:pt idx="84">
                  <c:v>Tartare</c:v>
                </c:pt>
                <c:pt idx="85">
                  <c:v>Philadelphi</c:v>
                </c:pt>
                <c:pt idx="86">
                  <c:v>All Others</c:v>
                </c:pt>
                <c:pt idx="87">
                  <c:v>All Others</c:v>
                </c:pt>
                <c:pt idx="88">
                  <c:v>All Others</c:v>
                </c:pt>
                <c:pt idx="89">
                  <c:v>All Others</c:v>
                </c:pt>
                <c:pt idx="90">
                  <c:v>All Others</c:v>
                </c:pt>
                <c:pt idx="91">
                  <c:v>All Others</c:v>
                </c:pt>
                <c:pt idx="92">
                  <c:v>All Others</c:v>
                </c:pt>
                <c:pt idx="93">
                  <c:v>Boursin</c:v>
                </c:pt>
                <c:pt idx="94">
                  <c:v>Boursin</c:v>
                </c:pt>
                <c:pt idx="95">
                  <c:v>All Others</c:v>
                </c:pt>
                <c:pt idx="96">
                  <c:v>All Others</c:v>
                </c:pt>
                <c:pt idx="97">
                  <c:v>Tartare</c:v>
                </c:pt>
                <c:pt idx="98">
                  <c:v>All Others</c:v>
                </c:pt>
                <c:pt idx="99">
                  <c:v>St Moret</c:v>
                </c:pt>
                <c:pt idx="100">
                  <c:v>Carre Frais</c:v>
                </c:pt>
                <c:pt idx="101">
                  <c:v>All Others</c:v>
                </c:pt>
                <c:pt idx="102">
                  <c:v>All Others</c:v>
                </c:pt>
                <c:pt idx="103">
                  <c:v>Savencia: A</c:v>
                </c:pt>
                <c:pt idx="104">
                  <c:v>Savencia: A</c:v>
                </c:pt>
                <c:pt idx="105">
                  <c:v>All Others</c:v>
                </c:pt>
                <c:pt idx="106">
                  <c:v>All Others</c:v>
                </c:pt>
                <c:pt idx="107">
                  <c:v>All Others</c:v>
                </c:pt>
                <c:pt idx="108">
                  <c:v>All Others</c:v>
                </c:pt>
                <c:pt idx="109">
                  <c:v>All Others</c:v>
                </c:pt>
                <c:pt idx="110">
                  <c:v>All Others</c:v>
                </c:pt>
                <c:pt idx="111">
                  <c:v>All Others</c:v>
                </c:pt>
                <c:pt idx="112">
                  <c:v>All Others</c:v>
                </c:pt>
                <c:pt idx="113">
                  <c:v>Rondele</c:v>
                </c:pt>
                <c:pt idx="114">
                  <c:v>All Others</c:v>
                </c:pt>
                <c:pt idx="115">
                  <c:v>Rondele</c:v>
                </c:pt>
                <c:pt idx="116">
                  <c:v>All Others</c:v>
                </c:pt>
                <c:pt idx="117">
                  <c:v>All Others</c:v>
                </c:pt>
                <c:pt idx="118">
                  <c:v>All Others</c:v>
                </c:pt>
                <c:pt idx="119">
                  <c:v>All Others</c:v>
                </c:pt>
                <c:pt idx="120">
                  <c:v>All Others</c:v>
                </c:pt>
                <c:pt idx="121">
                  <c:v>All Others</c:v>
                </c:pt>
                <c:pt idx="122">
                  <c:v>All Others</c:v>
                </c:pt>
              </c:strCache>
            </c:strRef>
          </c:cat>
          <c:val>
            <c:numRef>
              <c:f>Sheet1!$B$2:$B$124</c:f>
              <c:numCache>
                <c:formatCode>General</c:formatCode>
                <c:ptCount val="123"/>
                <c:pt idx="0">
                  <c:v>1</c:v>
                </c:pt>
                <c:pt idx="1">
                  <c:v>1</c:v>
                </c:pt>
                <c:pt idx="2">
                  <c:v>1</c:v>
                </c:pt>
                <c:pt idx="3">
                  <c:v>1</c:v>
                </c:pt>
                <c:pt idx="4">
                  <c:v>0.99</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0.97</c:v>
                </c:pt>
                <c:pt idx="22">
                  <c:v>1</c:v>
                </c:pt>
                <c:pt idx="23">
                  <c:v>0.99</c:v>
                </c:pt>
                <c:pt idx="24">
                  <c:v>1</c:v>
                </c:pt>
                <c:pt idx="25">
                  <c:v>0.97</c:v>
                </c:pt>
                <c:pt idx="26">
                  <c:v>1</c:v>
                </c:pt>
                <c:pt idx="27">
                  <c:v>1</c:v>
                </c:pt>
                <c:pt idx="28">
                  <c:v>0.99</c:v>
                </c:pt>
                <c:pt idx="29">
                  <c:v>0.95</c:v>
                </c:pt>
                <c:pt idx="30">
                  <c:v>1</c:v>
                </c:pt>
                <c:pt idx="31">
                  <c:v>1</c:v>
                </c:pt>
                <c:pt idx="32">
                  <c:v>1</c:v>
                </c:pt>
                <c:pt idx="33">
                  <c:v>0.99</c:v>
                </c:pt>
                <c:pt idx="34">
                  <c:v>0.98</c:v>
                </c:pt>
                <c:pt idx="35">
                  <c:v>1</c:v>
                </c:pt>
                <c:pt idx="36">
                  <c:v>1</c:v>
                </c:pt>
                <c:pt idx="37">
                  <c:v>0.98</c:v>
                </c:pt>
                <c:pt idx="38">
                  <c:v>0.96</c:v>
                </c:pt>
                <c:pt idx="39">
                  <c:v>0.97</c:v>
                </c:pt>
                <c:pt idx="40">
                  <c:v>0.99</c:v>
                </c:pt>
                <c:pt idx="41">
                  <c:v>0.99</c:v>
                </c:pt>
                <c:pt idx="42">
                  <c:v>0.99</c:v>
                </c:pt>
                <c:pt idx="43">
                  <c:v>0.92</c:v>
                </c:pt>
                <c:pt idx="44">
                  <c:v>0.84</c:v>
                </c:pt>
                <c:pt idx="45">
                  <c:v>0.82</c:v>
                </c:pt>
                <c:pt idx="46">
                  <c:v>0.85</c:v>
                </c:pt>
                <c:pt idx="47">
                  <c:v>0.88</c:v>
                </c:pt>
                <c:pt idx="48">
                  <c:v>0.98</c:v>
                </c:pt>
                <c:pt idx="49">
                  <c:v>0.77</c:v>
                </c:pt>
                <c:pt idx="50">
                  <c:v>0.98</c:v>
                </c:pt>
                <c:pt idx="51">
                  <c:v>0.93</c:v>
                </c:pt>
                <c:pt idx="52">
                  <c:v>1</c:v>
                </c:pt>
                <c:pt idx="53">
                  <c:v>0.95</c:v>
                </c:pt>
                <c:pt idx="54">
                  <c:v>1</c:v>
                </c:pt>
                <c:pt idx="55">
                  <c:v>0.93</c:v>
                </c:pt>
                <c:pt idx="56">
                  <c:v>0.57999999999999996</c:v>
                </c:pt>
                <c:pt idx="57">
                  <c:v>0.89</c:v>
                </c:pt>
                <c:pt idx="58">
                  <c:v>0.56999999999999995</c:v>
                </c:pt>
                <c:pt idx="59">
                  <c:v>0.94</c:v>
                </c:pt>
                <c:pt idx="60">
                  <c:v>0.94</c:v>
                </c:pt>
                <c:pt idx="61">
                  <c:v>7.0000000000000007E-2</c:v>
                </c:pt>
                <c:pt idx="62">
                  <c:v>0.74</c:v>
                </c:pt>
                <c:pt idx="63">
                  <c:v>0.88</c:v>
                </c:pt>
                <c:pt idx="64">
                  <c:v>0.89</c:v>
                </c:pt>
                <c:pt idx="65">
                  <c:v>0.77</c:v>
                </c:pt>
                <c:pt idx="66">
                  <c:v>0.86</c:v>
                </c:pt>
                <c:pt idx="67">
                  <c:v>0.91</c:v>
                </c:pt>
                <c:pt idx="68">
                  <c:v>0.62</c:v>
                </c:pt>
                <c:pt idx="69">
                  <c:v>0.96</c:v>
                </c:pt>
                <c:pt idx="70">
                  <c:v>0.79</c:v>
                </c:pt>
                <c:pt idx="71">
                  <c:v>0.59</c:v>
                </c:pt>
                <c:pt idx="72">
                  <c:v>0.67</c:v>
                </c:pt>
                <c:pt idx="73">
                  <c:v>0.88</c:v>
                </c:pt>
                <c:pt idx="74">
                  <c:v>0.15</c:v>
                </c:pt>
                <c:pt idx="75">
                  <c:v>0.7</c:v>
                </c:pt>
                <c:pt idx="76">
                  <c:v>0.92</c:v>
                </c:pt>
                <c:pt idx="77">
                  <c:v>0.76</c:v>
                </c:pt>
                <c:pt idx="78">
                  <c:v>0.66</c:v>
                </c:pt>
                <c:pt idx="79">
                  <c:v>0.73</c:v>
                </c:pt>
                <c:pt idx="80">
                  <c:v>0.85</c:v>
                </c:pt>
                <c:pt idx="81">
                  <c:v>0.49</c:v>
                </c:pt>
                <c:pt idx="82">
                  <c:v>0.67</c:v>
                </c:pt>
                <c:pt idx="83">
                  <c:v>0.64</c:v>
                </c:pt>
                <c:pt idx="84">
                  <c:v>0.56000000000000005</c:v>
                </c:pt>
                <c:pt idx="85">
                  <c:v>0.44</c:v>
                </c:pt>
                <c:pt idx="86">
                  <c:v>0.16</c:v>
                </c:pt>
                <c:pt idx="87">
                  <c:v>7.0000000000000007E-2</c:v>
                </c:pt>
                <c:pt idx="88">
                  <c:v>0.14000000000000001</c:v>
                </c:pt>
                <c:pt idx="89">
                  <c:v>0.15</c:v>
                </c:pt>
                <c:pt idx="90">
                  <c:v>0.5</c:v>
                </c:pt>
                <c:pt idx="91">
                  <c:v>0.53</c:v>
                </c:pt>
                <c:pt idx="92">
                  <c:v>7.0000000000000007E-2</c:v>
                </c:pt>
                <c:pt idx="93">
                  <c:v>0.71</c:v>
                </c:pt>
                <c:pt idx="94">
                  <c:v>0.14000000000000001</c:v>
                </c:pt>
                <c:pt idx="95">
                  <c:v>0.15</c:v>
                </c:pt>
                <c:pt idx="96">
                  <c:v>0.11</c:v>
                </c:pt>
                <c:pt idx="97">
                  <c:v>0.41</c:v>
                </c:pt>
                <c:pt idx="98">
                  <c:v>0.03</c:v>
                </c:pt>
                <c:pt idx="99">
                  <c:v>0.27</c:v>
                </c:pt>
                <c:pt idx="100">
                  <c:v>0.1</c:v>
                </c:pt>
                <c:pt idx="101">
                  <c:v>0.39</c:v>
                </c:pt>
                <c:pt idx="102">
                  <c:v>7.0000000000000007E-2</c:v>
                </c:pt>
                <c:pt idx="103">
                  <c:v>0.62</c:v>
                </c:pt>
                <c:pt idx="104">
                  <c:v>0.59</c:v>
                </c:pt>
                <c:pt idx="105">
                  <c:v>0.06</c:v>
                </c:pt>
                <c:pt idx="106">
                  <c:v>0.08</c:v>
                </c:pt>
                <c:pt idx="107">
                  <c:v>0.42</c:v>
                </c:pt>
                <c:pt idx="108">
                  <c:v>0.15</c:v>
                </c:pt>
                <c:pt idx="109">
                  <c:v>0.01</c:v>
                </c:pt>
                <c:pt idx="110">
                  <c:v>0.06</c:v>
                </c:pt>
                <c:pt idx="111">
                  <c:v>0.02</c:v>
                </c:pt>
                <c:pt idx="112">
                  <c:v>0.06</c:v>
                </c:pt>
                <c:pt idx="113">
                  <c:v>0.14000000000000001</c:v>
                </c:pt>
                <c:pt idx="114">
                  <c:v>0.04</c:v>
                </c:pt>
                <c:pt idx="115">
                  <c:v>0.13</c:v>
                </c:pt>
                <c:pt idx="116">
                  <c:v>0.01</c:v>
                </c:pt>
                <c:pt idx="117">
                  <c:v>0.01</c:v>
                </c:pt>
                <c:pt idx="118">
                  <c:v>7.0000000000000007E-2</c:v>
                </c:pt>
                <c:pt idx="119">
                  <c:v>0.02</c:v>
                </c:pt>
                <c:pt idx="120">
                  <c:v>0.03</c:v>
                </c:pt>
                <c:pt idx="121">
                  <c:v>0.03</c:v>
                </c:pt>
                <c:pt idx="122">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Item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7ECAC4"/>
              </a:solidFill>
            </c:spPr>
            <c:extLst>
              <c:ext xmlns:c16="http://schemas.microsoft.com/office/drawing/2014/chart" uri="{C3380CC4-5D6E-409C-BE32-E72D297353CC}">
                <c16:uniqueId val="{00000077-2993-41DE-A2CB-63102DE87051}"/>
              </c:ext>
            </c:extLst>
          </c:dPt>
          <c:dPt>
            <c:idx val="32"/>
            <c:invertIfNegative val="1"/>
            <c:bubble3D val="0"/>
            <c:spPr>
              <a:solidFill>
                <a:srgbClr val="7ECAC4"/>
              </a:solidFill>
            </c:spPr>
            <c:extLst>
              <c:ext xmlns:c16="http://schemas.microsoft.com/office/drawing/2014/chart" uri="{C3380CC4-5D6E-409C-BE32-E72D297353CC}">
                <c16:uniqueId val="{00000079-2993-41DE-A2CB-63102DE87051}"/>
              </c:ext>
            </c:extLst>
          </c:dPt>
          <c:dPt>
            <c:idx val="33"/>
            <c:invertIfNegative val="1"/>
            <c:bubble3D val="0"/>
            <c:spPr>
              <a:solidFill>
                <a:srgbClr val="7ECAC4"/>
              </a:solidFill>
            </c:spPr>
            <c:extLst>
              <c:ext xmlns:c16="http://schemas.microsoft.com/office/drawing/2014/chart" uri="{C3380CC4-5D6E-409C-BE32-E72D297353CC}">
                <c16:uniqueId val="{0000007B-2993-41DE-A2CB-63102DE87051}"/>
              </c:ext>
            </c:extLst>
          </c:dPt>
          <c:dPt>
            <c:idx val="34"/>
            <c:invertIfNegative val="1"/>
            <c:bubble3D val="0"/>
            <c:spPr>
              <a:solidFill>
                <a:srgbClr val="7ECAC4"/>
              </a:solidFill>
            </c:spPr>
            <c:extLst>
              <c:ext xmlns:c16="http://schemas.microsoft.com/office/drawing/2014/chart" uri="{C3380CC4-5D6E-409C-BE32-E72D297353CC}">
                <c16:uniqueId val="{0000007D-2993-41DE-A2CB-63102DE87051}"/>
              </c:ext>
            </c:extLst>
          </c:dPt>
          <c:dPt>
            <c:idx val="35"/>
            <c:invertIfNegative val="1"/>
            <c:bubble3D val="0"/>
            <c:spPr>
              <a:solidFill>
                <a:srgbClr val="7ECAC4"/>
              </a:solidFill>
            </c:spPr>
            <c:extLst>
              <c:ext xmlns:c16="http://schemas.microsoft.com/office/drawing/2014/chart" uri="{C3380CC4-5D6E-409C-BE32-E72D297353CC}">
                <c16:uniqueId val="{0000007F-2993-41DE-A2CB-63102DE87051}"/>
              </c:ext>
            </c:extLst>
          </c:dPt>
          <c:dPt>
            <c:idx val="36"/>
            <c:invertIfNegative val="1"/>
            <c:bubble3D val="0"/>
            <c:spPr>
              <a:solidFill>
                <a:srgbClr val="7ECAC4"/>
              </a:solidFill>
            </c:spPr>
            <c:extLst>
              <c:ext xmlns:c16="http://schemas.microsoft.com/office/drawing/2014/chart" uri="{C3380CC4-5D6E-409C-BE32-E72D297353CC}">
                <c16:uniqueId val="{00000081-2993-41DE-A2CB-63102DE87051}"/>
              </c:ext>
            </c:extLst>
          </c:dPt>
          <c:dPt>
            <c:idx val="37"/>
            <c:invertIfNegative val="1"/>
            <c:bubble3D val="0"/>
            <c:spPr>
              <a:solidFill>
                <a:srgbClr val="7ECAC4"/>
              </a:solidFill>
            </c:spPr>
            <c:extLst>
              <c:ext xmlns:c16="http://schemas.microsoft.com/office/drawing/2014/chart" uri="{C3380CC4-5D6E-409C-BE32-E72D297353CC}">
                <c16:uniqueId val="{00000083-2993-41DE-A2CB-63102DE87051}"/>
              </c:ext>
            </c:extLst>
          </c:dPt>
          <c:dPt>
            <c:idx val="38"/>
            <c:invertIfNegative val="1"/>
            <c:bubble3D val="0"/>
            <c:spPr>
              <a:solidFill>
                <a:srgbClr val="7ECAC4"/>
              </a:solidFill>
            </c:spPr>
            <c:extLst>
              <c:ext xmlns:c16="http://schemas.microsoft.com/office/drawing/2014/chart" uri="{C3380CC4-5D6E-409C-BE32-E72D297353CC}">
                <c16:uniqueId val="{00000085-2993-41DE-A2CB-63102DE87051}"/>
              </c:ext>
            </c:extLst>
          </c:dPt>
          <c:dPt>
            <c:idx val="39"/>
            <c:invertIfNegative val="1"/>
            <c:bubble3D val="0"/>
            <c:spPr>
              <a:solidFill>
                <a:srgbClr val="7ECAC4"/>
              </a:solidFill>
            </c:spPr>
            <c:extLst>
              <c:ext xmlns:c16="http://schemas.microsoft.com/office/drawing/2014/chart" uri="{C3380CC4-5D6E-409C-BE32-E72D297353CC}">
                <c16:uniqueId val="{00000087-2993-41DE-A2CB-63102DE87051}"/>
              </c:ext>
            </c:extLst>
          </c:dPt>
          <c:dPt>
            <c:idx val="40"/>
            <c:invertIfNegative val="1"/>
            <c:bubble3D val="0"/>
            <c:spPr>
              <a:solidFill>
                <a:srgbClr val="7ECAC4"/>
              </a:solidFill>
            </c:spPr>
            <c:extLst>
              <c:ext xmlns:c16="http://schemas.microsoft.com/office/drawing/2014/chart" uri="{C3380CC4-5D6E-409C-BE32-E72D297353CC}">
                <c16:uniqueId val="{00000089-2993-41DE-A2CB-63102DE87051}"/>
              </c:ext>
            </c:extLst>
          </c:dPt>
          <c:dPt>
            <c:idx val="41"/>
            <c:invertIfNegative val="1"/>
            <c:bubble3D val="0"/>
            <c:spPr>
              <a:solidFill>
                <a:srgbClr val="7ECAC4"/>
              </a:solidFill>
            </c:spPr>
            <c:extLst>
              <c:ext xmlns:c16="http://schemas.microsoft.com/office/drawing/2014/chart" uri="{C3380CC4-5D6E-409C-BE32-E72D297353CC}">
                <c16:uniqueId val="{0000008B-2993-41DE-A2CB-63102DE87051}"/>
              </c:ext>
            </c:extLst>
          </c:dPt>
          <c:dPt>
            <c:idx val="42"/>
            <c:invertIfNegative val="1"/>
            <c:bubble3D val="0"/>
            <c:spPr>
              <a:solidFill>
                <a:srgbClr val="7ECAC4"/>
              </a:solidFill>
            </c:spPr>
            <c:extLst>
              <c:ext xmlns:c16="http://schemas.microsoft.com/office/drawing/2014/chart" uri="{C3380CC4-5D6E-409C-BE32-E72D297353CC}">
                <c16:uniqueId val="{0000008D-2993-41DE-A2CB-63102DE87051}"/>
              </c:ext>
            </c:extLst>
          </c:dPt>
          <c:dPt>
            <c:idx val="43"/>
            <c:invertIfNegative val="1"/>
            <c:bubble3D val="0"/>
            <c:spPr>
              <a:solidFill>
                <a:srgbClr val="7ECAC4"/>
              </a:solidFill>
            </c:spPr>
            <c:extLst>
              <c:ext xmlns:c16="http://schemas.microsoft.com/office/drawing/2014/chart" uri="{C3380CC4-5D6E-409C-BE32-E72D297353CC}">
                <c16:uniqueId val="{0000008F-2993-41DE-A2CB-63102DE87051}"/>
              </c:ext>
            </c:extLst>
          </c:dPt>
          <c:dPt>
            <c:idx val="44"/>
            <c:invertIfNegative val="1"/>
            <c:bubble3D val="0"/>
            <c:spPr>
              <a:solidFill>
                <a:srgbClr val="7ECAC4"/>
              </a:solidFill>
            </c:spPr>
            <c:extLst>
              <c:ext xmlns:c16="http://schemas.microsoft.com/office/drawing/2014/chart" uri="{C3380CC4-5D6E-409C-BE32-E72D297353CC}">
                <c16:uniqueId val="{00000091-2993-41DE-A2CB-63102DE87051}"/>
              </c:ext>
            </c:extLst>
          </c:dPt>
          <c:dPt>
            <c:idx val="45"/>
            <c:invertIfNegative val="1"/>
            <c:bubble3D val="0"/>
            <c:spPr>
              <a:solidFill>
                <a:srgbClr val="7ECAC4"/>
              </a:solidFill>
            </c:spPr>
            <c:extLst>
              <c:ext xmlns:c16="http://schemas.microsoft.com/office/drawing/2014/chart" uri="{C3380CC4-5D6E-409C-BE32-E72D297353CC}">
                <c16:uniqueId val="{00000093-2993-41DE-A2CB-63102DE87051}"/>
              </c:ext>
            </c:extLst>
          </c:dPt>
          <c:dPt>
            <c:idx val="46"/>
            <c:invertIfNegative val="1"/>
            <c:bubble3D val="0"/>
            <c:spPr>
              <a:solidFill>
                <a:srgbClr val="7ECAC4"/>
              </a:solidFill>
            </c:spPr>
            <c:extLst>
              <c:ext xmlns:c16="http://schemas.microsoft.com/office/drawing/2014/chart" uri="{C3380CC4-5D6E-409C-BE32-E72D297353CC}">
                <c16:uniqueId val="{00000095-2993-41DE-A2CB-63102DE87051}"/>
              </c:ext>
            </c:extLst>
          </c:dPt>
          <c:dPt>
            <c:idx val="47"/>
            <c:invertIfNegative val="1"/>
            <c:bubble3D val="0"/>
            <c:spPr>
              <a:solidFill>
                <a:srgbClr val="7ECAC4"/>
              </a:solidFill>
            </c:spPr>
            <c:extLst>
              <c:ext xmlns:c16="http://schemas.microsoft.com/office/drawing/2014/chart" uri="{C3380CC4-5D6E-409C-BE32-E72D297353CC}">
                <c16:uniqueId val="{00000097-2993-41DE-A2CB-63102DE87051}"/>
              </c:ext>
            </c:extLst>
          </c:dPt>
          <c:dPt>
            <c:idx val="48"/>
            <c:invertIfNegative val="1"/>
            <c:bubble3D val="0"/>
            <c:spPr>
              <a:solidFill>
                <a:srgbClr val="7ECAC4"/>
              </a:solidFill>
            </c:spPr>
            <c:extLst>
              <c:ext xmlns:c16="http://schemas.microsoft.com/office/drawing/2014/chart" uri="{C3380CC4-5D6E-409C-BE32-E72D297353CC}">
                <c16:uniqueId val="{00000099-2993-41DE-A2CB-63102DE87051}"/>
              </c:ext>
            </c:extLst>
          </c:dPt>
          <c:dPt>
            <c:idx val="49"/>
            <c:invertIfNegative val="1"/>
            <c:bubble3D val="0"/>
            <c:spPr>
              <a:solidFill>
                <a:srgbClr val="7ECAC4"/>
              </a:solidFill>
            </c:spPr>
            <c:extLst>
              <c:ext xmlns:c16="http://schemas.microsoft.com/office/drawing/2014/chart" uri="{C3380CC4-5D6E-409C-BE32-E72D297353CC}">
                <c16:uniqueId val="{0000009B-2993-41DE-A2CB-63102DE87051}"/>
              </c:ext>
            </c:extLst>
          </c:dPt>
          <c:dPt>
            <c:idx val="50"/>
            <c:invertIfNegative val="1"/>
            <c:bubble3D val="0"/>
            <c:spPr>
              <a:solidFill>
                <a:srgbClr val="7ECAC4"/>
              </a:solidFill>
            </c:spPr>
            <c:extLst>
              <c:ext xmlns:c16="http://schemas.microsoft.com/office/drawing/2014/chart" uri="{C3380CC4-5D6E-409C-BE32-E72D297353CC}">
                <c16:uniqueId val="{0000009D-2993-41DE-A2CB-63102DE87051}"/>
              </c:ext>
            </c:extLst>
          </c:dPt>
          <c:dPt>
            <c:idx val="51"/>
            <c:invertIfNegative val="1"/>
            <c:bubble3D val="0"/>
            <c:spPr>
              <a:solidFill>
                <a:srgbClr val="7ECAC4"/>
              </a:solidFill>
            </c:spPr>
            <c:extLst>
              <c:ext xmlns:c16="http://schemas.microsoft.com/office/drawing/2014/chart" uri="{C3380CC4-5D6E-409C-BE32-E72D297353CC}">
                <c16:uniqueId val="{0000009F-2993-41DE-A2CB-63102DE87051}"/>
              </c:ext>
            </c:extLst>
          </c:dPt>
          <c:dPt>
            <c:idx val="52"/>
            <c:invertIfNegative val="1"/>
            <c:bubble3D val="0"/>
            <c:spPr>
              <a:solidFill>
                <a:srgbClr val="7ECAC4"/>
              </a:solidFill>
            </c:spPr>
            <c:extLst>
              <c:ext xmlns:c16="http://schemas.microsoft.com/office/drawing/2014/chart" uri="{C3380CC4-5D6E-409C-BE32-E72D297353CC}">
                <c16:uniqueId val="{000000A1-2993-41DE-A2CB-63102DE87051}"/>
              </c:ext>
            </c:extLst>
          </c:dPt>
          <c:dPt>
            <c:idx val="53"/>
            <c:invertIfNegative val="1"/>
            <c:bubble3D val="0"/>
            <c:spPr>
              <a:solidFill>
                <a:srgbClr val="7ECAC4"/>
              </a:solidFill>
            </c:spPr>
            <c:extLst>
              <c:ext xmlns:c16="http://schemas.microsoft.com/office/drawing/2014/chart" uri="{C3380CC4-5D6E-409C-BE32-E72D297353CC}">
                <c16:uniqueId val="{000000A3-2993-41DE-A2CB-63102DE87051}"/>
              </c:ext>
            </c:extLst>
          </c:dPt>
          <c:dPt>
            <c:idx val="54"/>
            <c:invertIfNegative val="0"/>
            <c:bubble3D val="0"/>
            <c:spPr>
              <a:solidFill>
                <a:srgbClr val="AEABAB"/>
              </a:solidFill>
            </c:spPr>
            <c:extLst>
              <c:ext xmlns:c16="http://schemas.microsoft.com/office/drawing/2014/chart" uri="{C3380CC4-5D6E-409C-BE32-E72D297353CC}">
                <c16:uniqueId val="{00000072-C76F-4230-900D-40618C09729F}"/>
              </c:ext>
            </c:extLst>
          </c:dPt>
          <c:dPt>
            <c:idx val="55"/>
            <c:invertIfNegative val="0"/>
            <c:bubble3D val="0"/>
            <c:spPr>
              <a:solidFill>
                <a:srgbClr val="AEABAB"/>
              </a:solidFill>
            </c:spPr>
            <c:extLst>
              <c:ext xmlns:c16="http://schemas.microsoft.com/office/drawing/2014/chart" uri="{C3380CC4-5D6E-409C-BE32-E72D297353CC}">
                <c16:uniqueId val="{00000074-C76F-4230-900D-40618C09729F}"/>
              </c:ext>
            </c:extLst>
          </c:dPt>
          <c:dPt>
            <c:idx val="56"/>
            <c:invertIfNegative val="0"/>
            <c:bubble3D val="0"/>
            <c:spPr>
              <a:solidFill>
                <a:srgbClr val="AEABAB"/>
              </a:solidFill>
            </c:spPr>
            <c:extLst>
              <c:ext xmlns:c16="http://schemas.microsoft.com/office/drawing/2014/chart" uri="{C3380CC4-5D6E-409C-BE32-E72D297353CC}">
                <c16:uniqueId val="{00000076-C76F-4230-900D-40618C09729F}"/>
              </c:ext>
            </c:extLst>
          </c:dPt>
          <c:dPt>
            <c:idx val="57"/>
            <c:invertIfNegative val="0"/>
            <c:bubble3D val="0"/>
            <c:spPr>
              <a:solidFill>
                <a:srgbClr val="AEABAB"/>
              </a:solidFill>
            </c:spPr>
            <c:extLst>
              <c:ext xmlns:c16="http://schemas.microsoft.com/office/drawing/2014/chart" uri="{C3380CC4-5D6E-409C-BE32-E72D297353CC}">
                <c16:uniqueId val="{00000078-C76F-4230-900D-40618C09729F}"/>
              </c:ext>
            </c:extLst>
          </c:dPt>
          <c:dPt>
            <c:idx val="58"/>
            <c:invertIfNegative val="0"/>
            <c:bubble3D val="0"/>
            <c:spPr>
              <a:solidFill>
                <a:srgbClr val="AEABAB"/>
              </a:solidFill>
            </c:spPr>
            <c:extLst>
              <c:ext xmlns:c16="http://schemas.microsoft.com/office/drawing/2014/chart" uri="{C3380CC4-5D6E-409C-BE32-E72D297353CC}">
                <c16:uniqueId val="{0000007A-C76F-4230-900D-40618C09729F}"/>
              </c:ext>
            </c:extLst>
          </c:dPt>
          <c:dPt>
            <c:idx val="59"/>
            <c:invertIfNegative val="0"/>
            <c:bubble3D val="0"/>
            <c:spPr>
              <a:solidFill>
                <a:srgbClr val="AEABAB"/>
              </a:solidFill>
            </c:spPr>
            <c:extLst>
              <c:ext xmlns:c16="http://schemas.microsoft.com/office/drawing/2014/chart" uri="{C3380CC4-5D6E-409C-BE32-E72D297353CC}">
                <c16:uniqueId val="{0000007C-C76F-4230-900D-40618C09729F}"/>
              </c:ext>
            </c:extLst>
          </c:dPt>
          <c:dPt>
            <c:idx val="60"/>
            <c:invertIfNegative val="0"/>
            <c:bubble3D val="0"/>
            <c:spPr>
              <a:solidFill>
                <a:srgbClr val="AEABAB"/>
              </a:solidFill>
            </c:spPr>
            <c:extLst>
              <c:ext xmlns:c16="http://schemas.microsoft.com/office/drawing/2014/chart" uri="{C3380CC4-5D6E-409C-BE32-E72D297353CC}">
                <c16:uniqueId val="{0000007E-C76F-4230-900D-40618C09729F}"/>
              </c:ext>
            </c:extLst>
          </c:dPt>
          <c:dPt>
            <c:idx val="61"/>
            <c:invertIfNegative val="0"/>
            <c:bubble3D val="0"/>
            <c:spPr>
              <a:solidFill>
                <a:srgbClr val="AEABAB"/>
              </a:solidFill>
            </c:spPr>
            <c:extLst>
              <c:ext xmlns:c16="http://schemas.microsoft.com/office/drawing/2014/chart" uri="{C3380CC4-5D6E-409C-BE32-E72D297353CC}">
                <c16:uniqueId val="{00000080-C76F-4230-900D-40618C09729F}"/>
              </c:ext>
            </c:extLst>
          </c:dPt>
          <c:dPt>
            <c:idx val="62"/>
            <c:invertIfNegative val="0"/>
            <c:bubble3D val="0"/>
            <c:spPr>
              <a:solidFill>
                <a:srgbClr val="AEABAB"/>
              </a:solidFill>
            </c:spPr>
            <c:extLst>
              <c:ext xmlns:c16="http://schemas.microsoft.com/office/drawing/2014/chart" uri="{C3380CC4-5D6E-409C-BE32-E72D297353CC}">
                <c16:uniqueId val="{00000082-C76F-4230-900D-40618C09729F}"/>
              </c:ext>
            </c:extLst>
          </c:dPt>
          <c:dPt>
            <c:idx val="63"/>
            <c:invertIfNegative val="0"/>
            <c:bubble3D val="0"/>
            <c:spPr>
              <a:solidFill>
                <a:srgbClr val="AEABAB"/>
              </a:solidFill>
            </c:spPr>
            <c:extLst>
              <c:ext xmlns:c16="http://schemas.microsoft.com/office/drawing/2014/chart" uri="{C3380CC4-5D6E-409C-BE32-E72D297353CC}">
                <c16:uniqueId val="{00000084-C76F-4230-900D-40618C09729F}"/>
              </c:ext>
            </c:extLst>
          </c:dPt>
          <c:dPt>
            <c:idx val="64"/>
            <c:invertIfNegative val="0"/>
            <c:bubble3D val="0"/>
            <c:spPr>
              <a:solidFill>
                <a:srgbClr val="AEABAB"/>
              </a:solidFill>
            </c:spPr>
            <c:extLst>
              <c:ext xmlns:c16="http://schemas.microsoft.com/office/drawing/2014/chart" uri="{C3380CC4-5D6E-409C-BE32-E72D297353CC}">
                <c16:uniqueId val="{00000086-C76F-4230-900D-40618C09729F}"/>
              </c:ext>
            </c:extLst>
          </c:dPt>
          <c:dPt>
            <c:idx val="65"/>
            <c:invertIfNegative val="0"/>
            <c:bubble3D val="0"/>
            <c:spPr>
              <a:solidFill>
                <a:srgbClr val="AEABAB"/>
              </a:solidFill>
            </c:spPr>
            <c:extLst>
              <c:ext xmlns:c16="http://schemas.microsoft.com/office/drawing/2014/chart" uri="{C3380CC4-5D6E-409C-BE32-E72D297353CC}">
                <c16:uniqueId val="{00000088-C76F-4230-900D-40618C09729F}"/>
              </c:ext>
            </c:extLst>
          </c:dPt>
          <c:dPt>
            <c:idx val="66"/>
            <c:invertIfNegative val="0"/>
            <c:bubble3D val="0"/>
            <c:spPr>
              <a:solidFill>
                <a:srgbClr val="AEABAB"/>
              </a:solidFill>
            </c:spPr>
            <c:extLst>
              <c:ext xmlns:c16="http://schemas.microsoft.com/office/drawing/2014/chart" uri="{C3380CC4-5D6E-409C-BE32-E72D297353CC}">
                <c16:uniqueId val="{0000008A-C76F-4230-900D-40618C09729F}"/>
              </c:ext>
            </c:extLst>
          </c:dPt>
          <c:dPt>
            <c:idx val="67"/>
            <c:invertIfNegative val="0"/>
            <c:bubble3D val="0"/>
            <c:spPr>
              <a:solidFill>
                <a:srgbClr val="AEABAB"/>
              </a:solidFill>
            </c:spPr>
            <c:extLst>
              <c:ext xmlns:c16="http://schemas.microsoft.com/office/drawing/2014/chart" uri="{C3380CC4-5D6E-409C-BE32-E72D297353CC}">
                <c16:uniqueId val="{0000008C-C76F-4230-900D-40618C09729F}"/>
              </c:ext>
            </c:extLst>
          </c:dPt>
          <c:dPt>
            <c:idx val="68"/>
            <c:invertIfNegative val="0"/>
            <c:bubble3D val="0"/>
            <c:spPr>
              <a:solidFill>
                <a:srgbClr val="AEABAB"/>
              </a:solidFill>
            </c:spPr>
            <c:extLst>
              <c:ext xmlns:c16="http://schemas.microsoft.com/office/drawing/2014/chart" uri="{C3380CC4-5D6E-409C-BE32-E72D297353CC}">
                <c16:uniqueId val="{0000008E-C76F-4230-900D-40618C09729F}"/>
              </c:ext>
            </c:extLst>
          </c:dPt>
          <c:dPt>
            <c:idx val="69"/>
            <c:invertIfNegative val="0"/>
            <c:bubble3D val="0"/>
            <c:spPr>
              <a:solidFill>
                <a:srgbClr val="AEABAB"/>
              </a:solidFill>
            </c:spPr>
            <c:extLst>
              <c:ext xmlns:c16="http://schemas.microsoft.com/office/drawing/2014/chart" uri="{C3380CC4-5D6E-409C-BE32-E72D297353CC}">
                <c16:uniqueId val="{00000090-C76F-4230-900D-40618C09729F}"/>
              </c:ext>
            </c:extLst>
          </c:dPt>
          <c:dPt>
            <c:idx val="70"/>
            <c:invertIfNegative val="0"/>
            <c:bubble3D val="0"/>
            <c:spPr>
              <a:solidFill>
                <a:srgbClr val="AEABAB"/>
              </a:solidFill>
            </c:spPr>
            <c:extLst>
              <c:ext xmlns:c16="http://schemas.microsoft.com/office/drawing/2014/chart" uri="{C3380CC4-5D6E-409C-BE32-E72D297353CC}">
                <c16:uniqueId val="{00000092-C76F-4230-900D-40618C09729F}"/>
              </c:ext>
            </c:extLst>
          </c:dPt>
          <c:dPt>
            <c:idx val="71"/>
            <c:invertIfNegative val="0"/>
            <c:bubble3D val="0"/>
            <c:spPr>
              <a:solidFill>
                <a:srgbClr val="AEABAB"/>
              </a:solidFill>
            </c:spPr>
            <c:extLst>
              <c:ext xmlns:c16="http://schemas.microsoft.com/office/drawing/2014/chart" uri="{C3380CC4-5D6E-409C-BE32-E72D297353CC}">
                <c16:uniqueId val="{00000094-C76F-4230-900D-40618C09729F}"/>
              </c:ext>
            </c:extLst>
          </c:dPt>
          <c:dPt>
            <c:idx val="72"/>
            <c:invertIfNegative val="0"/>
            <c:bubble3D val="0"/>
            <c:spPr>
              <a:solidFill>
                <a:srgbClr val="AEABAB"/>
              </a:solidFill>
            </c:spPr>
            <c:extLst>
              <c:ext xmlns:c16="http://schemas.microsoft.com/office/drawing/2014/chart" uri="{C3380CC4-5D6E-409C-BE32-E72D297353CC}">
                <c16:uniqueId val="{00000096-C76F-4230-900D-40618C09729F}"/>
              </c:ext>
            </c:extLst>
          </c:dPt>
          <c:dPt>
            <c:idx val="73"/>
            <c:invertIfNegative val="0"/>
            <c:bubble3D val="0"/>
            <c:spPr>
              <a:solidFill>
                <a:srgbClr val="AEABAB"/>
              </a:solidFill>
            </c:spPr>
            <c:extLst>
              <c:ext xmlns:c16="http://schemas.microsoft.com/office/drawing/2014/chart" uri="{C3380CC4-5D6E-409C-BE32-E72D297353CC}">
                <c16:uniqueId val="{00000098-C76F-4230-900D-40618C09729F}"/>
              </c:ext>
            </c:extLst>
          </c:dPt>
          <c:dPt>
            <c:idx val="74"/>
            <c:invertIfNegative val="0"/>
            <c:bubble3D val="0"/>
            <c:spPr>
              <a:solidFill>
                <a:srgbClr val="AEABAB"/>
              </a:solidFill>
            </c:spPr>
            <c:extLst>
              <c:ext xmlns:c16="http://schemas.microsoft.com/office/drawing/2014/chart" uri="{C3380CC4-5D6E-409C-BE32-E72D297353CC}">
                <c16:uniqueId val="{0000009A-C76F-4230-900D-40618C09729F}"/>
              </c:ext>
            </c:extLst>
          </c:dPt>
          <c:dPt>
            <c:idx val="75"/>
            <c:invertIfNegative val="0"/>
            <c:bubble3D val="0"/>
            <c:spPr>
              <a:solidFill>
                <a:srgbClr val="AEABAB"/>
              </a:solidFill>
            </c:spPr>
            <c:extLst>
              <c:ext xmlns:c16="http://schemas.microsoft.com/office/drawing/2014/chart" uri="{C3380CC4-5D6E-409C-BE32-E72D297353CC}">
                <c16:uniqueId val="{0000009C-C76F-4230-900D-40618C09729F}"/>
              </c:ext>
            </c:extLst>
          </c:dPt>
          <c:dPt>
            <c:idx val="76"/>
            <c:invertIfNegative val="0"/>
            <c:bubble3D val="0"/>
            <c:spPr>
              <a:solidFill>
                <a:srgbClr val="AEABAB"/>
              </a:solidFill>
            </c:spPr>
            <c:extLst>
              <c:ext xmlns:c16="http://schemas.microsoft.com/office/drawing/2014/chart" uri="{C3380CC4-5D6E-409C-BE32-E72D297353CC}">
                <c16:uniqueId val="{0000009E-C76F-4230-900D-40618C09729F}"/>
              </c:ext>
            </c:extLst>
          </c:dPt>
          <c:dPt>
            <c:idx val="77"/>
            <c:invertIfNegative val="0"/>
            <c:bubble3D val="0"/>
            <c:spPr>
              <a:solidFill>
                <a:srgbClr val="AEABAB"/>
              </a:solidFill>
            </c:spPr>
            <c:extLst>
              <c:ext xmlns:c16="http://schemas.microsoft.com/office/drawing/2014/chart" uri="{C3380CC4-5D6E-409C-BE32-E72D297353CC}">
                <c16:uniqueId val="{000000A0-C76F-4230-900D-40618C09729F}"/>
              </c:ext>
            </c:extLst>
          </c:dPt>
          <c:dPt>
            <c:idx val="78"/>
            <c:invertIfNegative val="0"/>
            <c:bubble3D val="0"/>
            <c:spPr>
              <a:solidFill>
                <a:srgbClr val="AEABAB"/>
              </a:solidFill>
            </c:spPr>
            <c:extLst>
              <c:ext xmlns:c16="http://schemas.microsoft.com/office/drawing/2014/chart" uri="{C3380CC4-5D6E-409C-BE32-E72D297353CC}">
                <c16:uniqueId val="{000000A2-C76F-4230-900D-40618C09729F}"/>
              </c:ext>
            </c:extLst>
          </c:dPt>
          <c:dPt>
            <c:idx val="79"/>
            <c:invertIfNegative val="0"/>
            <c:bubble3D val="0"/>
            <c:spPr>
              <a:solidFill>
                <a:srgbClr val="AEABAB"/>
              </a:solidFill>
            </c:spPr>
            <c:extLst>
              <c:ext xmlns:c16="http://schemas.microsoft.com/office/drawing/2014/chart" uri="{C3380CC4-5D6E-409C-BE32-E72D297353CC}">
                <c16:uniqueId val="{000000A4-C76F-4230-900D-40618C09729F}"/>
              </c:ext>
            </c:extLst>
          </c:dPt>
          <c:dPt>
            <c:idx val="80"/>
            <c:invertIfNegative val="0"/>
            <c:bubble3D val="0"/>
            <c:spPr>
              <a:solidFill>
                <a:srgbClr val="AEABAB"/>
              </a:solidFill>
            </c:spPr>
            <c:extLst>
              <c:ext xmlns:c16="http://schemas.microsoft.com/office/drawing/2014/chart" uri="{C3380CC4-5D6E-409C-BE32-E72D297353CC}">
                <c16:uniqueId val="{000000A6-C76F-4230-900D-40618C09729F}"/>
              </c:ext>
            </c:extLst>
          </c:dPt>
          <c:dPt>
            <c:idx val="81"/>
            <c:invertIfNegative val="1"/>
            <c:bubble3D val="0"/>
            <c:spPr>
              <a:solidFill>
                <a:srgbClr val="AEABAB"/>
              </a:solidFill>
            </c:spPr>
            <c:extLst>
              <c:ext xmlns:c16="http://schemas.microsoft.com/office/drawing/2014/chart" uri="{C3380CC4-5D6E-409C-BE32-E72D297353CC}">
                <c16:uniqueId val="{000000A5-2993-41DE-A2CB-63102DE87051}"/>
              </c:ext>
            </c:extLst>
          </c:dPt>
          <c:dPt>
            <c:idx val="82"/>
            <c:invertIfNegative val="1"/>
            <c:bubble3D val="0"/>
            <c:spPr>
              <a:solidFill>
                <a:srgbClr val="AEABAB"/>
              </a:solidFill>
            </c:spPr>
            <c:extLst>
              <c:ext xmlns:c16="http://schemas.microsoft.com/office/drawing/2014/chart" uri="{C3380CC4-5D6E-409C-BE32-E72D297353CC}">
                <c16:uniqueId val="{000000A7-2993-41DE-A2CB-63102DE87051}"/>
              </c:ext>
            </c:extLst>
          </c:dPt>
          <c:dPt>
            <c:idx val="83"/>
            <c:invertIfNegative val="1"/>
            <c:bubble3D val="0"/>
            <c:spPr>
              <a:solidFill>
                <a:srgbClr val="AEABAB"/>
              </a:solidFill>
            </c:spPr>
            <c:extLst>
              <c:ext xmlns:c16="http://schemas.microsoft.com/office/drawing/2014/chart" uri="{C3380CC4-5D6E-409C-BE32-E72D297353CC}">
                <c16:uniqueId val="{000000A9-2993-41DE-A2CB-63102DE87051}"/>
              </c:ext>
            </c:extLst>
          </c:dPt>
          <c:dPt>
            <c:idx val="84"/>
            <c:invertIfNegative val="1"/>
            <c:bubble3D val="0"/>
            <c:spPr>
              <a:solidFill>
                <a:srgbClr val="AEABAB"/>
              </a:solidFill>
            </c:spPr>
            <c:extLst>
              <c:ext xmlns:c16="http://schemas.microsoft.com/office/drawing/2014/chart" uri="{C3380CC4-5D6E-409C-BE32-E72D297353CC}">
                <c16:uniqueId val="{000000AB-2993-41DE-A2CB-63102DE87051}"/>
              </c:ext>
            </c:extLst>
          </c:dPt>
          <c:dPt>
            <c:idx val="85"/>
            <c:invertIfNegative val="1"/>
            <c:bubble3D val="0"/>
            <c:spPr>
              <a:solidFill>
                <a:srgbClr val="AEABAB"/>
              </a:solidFill>
            </c:spPr>
            <c:extLst>
              <c:ext xmlns:c16="http://schemas.microsoft.com/office/drawing/2014/chart" uri="{C3380CC4-5D6E-409C-BE32-E72D297353CC}">
                <c16:uniqueId val="{000000AD-2993-41DE-A2CB-63102DE87051}"/>
              </c:ext>
            </c:extLst>
          </c:dPt>
          <c:dPt>
            <c:idx val="86"/>
            <c:invertIfNegative val="1"/>
            <c:bubble3D val="0"/>
            <c:spPr>
              <a:solidFill>
                <a:srgbClr val="AEABAB"/>
              </a:solidFill>
            </c:spPr>
            <c:extLst>
              <c:ext xmlns:c16="http://schemas.microsoft.com/office/drawing/2014/chart" uri="{C3380CC4-5D6E-409C-BE32-E72D297353CC}">
                <c16:uniqueId val="{000000AF-2993-41DE-A2CB-63102DE87051}"/>
              </c:ext>
            </c:extLst>
          </c:dPt>
          <c:dPt>
            <c:idx val="87"/>
            <c:invertIfNegative val="1"/>
            <c:bubble3D val="0"/>
            <c:spPr>
              <a:solidFill>
                <a:srgbClr val="AEABAB"/>
              </a:solidFill>
            </c:spPr>
            <c:extLst>
              <c:ext xmlns:c16="http://schemas.microsoft.com/office/drawing/2014/chart" uri="{C3380CC4-5D6E-409C-BE32-E72D297353CC}">
                <c16:uniqueId val="{000000B1-2993-41DE-A2CB-63102DE87051}"/>
              </c:ext>
            </c:extLst>
          </c:dPt>
          <c:dPt>
            <c:idx val="88"/>
            <c:invertIfNegative val="1"/>
            <c:bubble3D val="0"/>
            <c:spPr>
              <a:solidFill>
                <a:srgbClr val="AEABAB"/>
              </a:solidFill>
            </c:spPr>
            <c:extLst>
              <c:ext xmlns:c16="http://schemas.microsoft.com/office/drawing/2014/chart" uri="{C3380CC4-5D6E-409C-BE32-E72D297353CC}">
                <c16:uniqueId val="{000000B3-2993-41DE-A2CB-63102DE87051}"/>
              </c:ext>
            </c:extLst>
          </c:dPt>
          <c:dPt>
            <c:idx val="89"/>
            <c:invertIfNegative val="1"/>
            <c:bubble3D val="0"/>
            <c:spPr>
              <a:solidFill>
                <a:srgbClr val="AEABAB"/>
              </a:solidFill>
            </c:spPr>
            <c:extLst>
              <c:ext xmlns:c16="http://schemas.microsoft.com/office/drawing/2014/chart" uri="{C3380CC4-5D6E-409C-BE32-E72D297353CC}">
                <c16:uniqueId val="{000000B5-2993-41DE-A2CB-63102DE87051}"/>
              </c:ext>
            </c:extLst>
          </c:dPt>
          <c:dPt>
            <c:idx val="90"/>
            <c:invertIfNegative val="1"/>
            <c:bubble3D val="0"/>
            <c:spPr>
              <a:solidFill>
                <a:srgbClr val="AEABAB"/>
              </a:solidFill>
            </c:spPr>
            <c:extLst>
              <c:ext xmlns:c16="http://schemas.microsoft.com/office/drawing/2014/chart" uri="{C3380CC4-5D6E-409C-BE32-E72D297353CC}">
                <c16:uniqueId val="{000000B7-2993-41DE-A2CB-63102DE87051}"/>
              </c:ext>
            </c:extLst>
          </c:dPt>
          <c:dPt>
            <c:idx val="91"/>
            <c:invertIfNegative val="1"/>
            <c:bubble3D val="0"/>
            <c:spPr>
              <a:solidFill>
                <a:srgbClr val="AEABAB"/>
              </a:solidFill>
            </c:spPr>
            <c:extLst>
              <c:ext xmlns:c16="http://schemas.microsoft.com/office/drawing/2014/chart" uri="{C3380CC4-5D6E-409C-BE32-E72D297353CC}">
                <c16:uniqueId val="{000000B9-2993-41DE-A2CB-63102DE87051}"/>
              </c:ext>
            </c:extLst>
          </c:dPt>
          <c:dPt>
            <c:idx val="92"/>
            <c:invertIfNegative val="1"/>
            <c:bubble3D val="0"/>
            <c:spPr>
              <a:solidFill>
                <a:srgbClr val="AEABAB"/>
              </a:solidFill>
            </c:spPr>
            <c:extLst>
              <c:ext xmlns:c16="http://schemas.microsoft.com/office/drawing/2014/chart" uri="{C3380CC4-5D6E-409C-BE32-E72D297353CC}">
                <c16:uniqueId val="{000000BB-2993-41DE-A2CB-63102DE87051}"/>
              </c:ext>
            </c:extLst>
          </c:dPt>
          <c:dPt>
            <c:idx val="93"/>
            <c:invertIfNegative val="1"/>
            <c:bubble3D val="0"/>
            <c:spPr>
              <a:solidFill>
                <a:srgbClr val="AEABAB"/>
              </a:solidFill>
            </c:spPr>
            <c:extLst>
              <c:ext xmlns:c16="http://schemas.microsoft.com/office/drawing/2014/chart" uri="{C3380CC4-5D6E-409C-BE32-E72D297353CC}">
                <c16:uniqueId val="{000000BD-2993-41DE-A2CB-63102DE87051}"/>
              </c:ext>
            </c:extLst>
          </c:dPt>
          <c:dPt>
            <c:idx val="94"/>
            <c:invertIfNegative val="1"/>
            <c:bubble3D val="0"/>
            <c:spPr>
              <a:solidFill>
                <a:srgbClr val="AEABAB"/>
              </a:solidFill>
            </c:spPr>
            <c:extLst>
              <c:ext xmlns:c16="http://schemas.microsoft.com/office/drawing/2014/chart" uri="{C3380CC4-5D6E-409C-BE32-E72D297353CC}">
                <c16:uniqueId val="{000000BF-2993-41DE-A2CB-63102DE87051}"/>
              </c:ext>
            </c:extLst>
          </c:dPt>
          <c:dPt>
            <c:idx val="95"/>
            <c:invertIfNegative val="1"/>
            <c:bubble3D val="0"/>
            <c:spPr>
              <a:solidFill>
                <a:srgbClr val="AEABAB"/>
              </a:solidFill>
            </c:spPr>
            <c:extLst>
              <c:ext xmlns:c16="http://schemas.microsoft.com/office/drawing/2014/chart" uri="{C3380CC4-5D6E-409C-BE32-E72D297353CC}">
                <c16:uniqueId val="{000000C1-2993-41DE-A2CB-63102DE87051}"/>
              </c:ext>
            </c:extLst>
          </c:dPt>
          <c:dPt>
            <c:idx val="96"/>
            <c:invertIfNegative val="1"/>
            <c:bubble3D val="0"/>
            <c:spPr>
              <a:solidFill>
                <a:srgbClr val="AEABAB"/>
              </a:solidFill>
            </c:spPr>
            <c:extLst>
              <c:ext xmlns:c16="http://schemas.microsoft.com/office/drawing/2014/chart" uri="{C3380CC4-5D6E-409C-BE32-E72D297353CC}">
                <c16:uniqueId val="{000000C3-2993-41DE-A2CB-63102DE87051}"/>
              </c:ext>
            </c:extLst>
          </c:dPt>
          <c:dPt>
            <c:idx val="97"/>
            <c:invertIfNegative val="1"/>
            <c:bubble3D val="0"/>
            <c:spPr>
              <a:solidFill>
                <a:srgbClr val="AEABAB"/>
              </a:solidFill>
            </c:spPr>
            <c:extLst>
              <c:ext xmlns:c16="http://schemas.microsoft.com/office/drawing/2014/chart" uri="{C3380CC4-5D6E-409C-BE32-E72D297353CC}">
                <c16:uniqueId val="{000000C5-2993-41DE-A2CB-63102DE87051}"/>
              </c:ext>
            </c:extLst>
          </c:dPt>
          <c:dPt>
            <c:idx val="98"/>
            <c:invertIfNegative val="1"/>
            <c:bubble3D val="0"/>
            <c:spPr>
              <a:solidFill>
                <a:srgbClr val="AEABAB"/>
              </a:solidFill>
            </c:spPr>
            <c:extLst>
              <c:ext xmlns:c16="http://schemas.microsoft.com/office/drawing/2014/chart" uri="{C3380CC4-5D6E-409C-BE32-E72D297353CC}">
                <c16:uniqueId val="{000000C7-2993-41DE-A2CB-63102DE87051}"/>
              </c:ext>
            </c:extLst>
          </c:dPt>
          <c:dPt>
            <c:idx val="99"/>
            <c:invertIfNegative val="1"/>
            <c:bubble3D val="0"/>
            <c:spPr>
              <a:solidFill>
                <a:srgbClr val="AEABAB"/>
              </a:solidFill>
            </c:spPr>
            <c:extLst>
              <c:ext xmlns:c16="http://schemas.microsoft.com/office/drawing/2014/chart" uri="{C3380CC4-5D6E-409C-BE32-E72D297353CC}">
                <c16:uniqueId val="{000000C9-2993-41DE-A2CB-63102DE87051}"/>
              </c:ext>
            </c:extLst>
          </c:dPt>
          <c:dPt>
            <c:idx val="100"/>
            <c:invertIfNegative val="1"/>
            <c:bubble3D val="0"/>
            <c:spPr>
              <a:solidFill>
                <a:srgbClr val="AEABAB"/>
              </a:solidFill>
            </c:spPr>
            <c:extLst>
              <c:ext xmlns:c16="http://schemas.microsoft.com/office/drawing/2014/chart" uri="{C3380CC4-5D6E-409C-BE32-E72D297353CC}">
                <c16:uniqueId val="{000000CB-2993-41DE-A2CB-63102DE87051}"/>
              </c:ext>
            </c:extLst>
          </c:dPt>
          <c:dPt>
            <c:idx val="101"/>
            <c:invertIfNegative val="1"/>
            <c:bubble3D val="0"/>
            <c:spPr>
              <a:solidFill>
                <a:srgbClr val="AEABAB"/>
              </a:solidFill>
            </c:spPr>
            <c:extLst>
              <c:ext xmlns:c16="http://schemas.microsoft.com/office/drawing/2014/chart" uri="{C3380CC4-5D6E-409C-BE32-E72D297353CC}">
                <c16:uniqueId val="{000000CD-2993-41DE-A2CB-63102DE87051}"/>
              </c:ext>
            </c:extLst>
          </c:dPt>
          <c:dPt>
            <c:idx val="102"/>
            <c:invertIfNegative val="1"/>
            <c:bubble3D val="0"/>
            <c:spPr>
              <a:solidFill>
                <a:srgbClr val="AEABAB"/>
              </a:solidFill>
            </c:spPr>
            <c:extLst>
              <c:ext xmlns:c16="http://schemas.microsoft.com/office/drawing/2014/chart" uri="{C3380CC4-5D6E-409C-BE32-E72D297353CC}">
                <c16:uniqueId val="{000000CF-2993-41DE-A2CB-63102DE87051}"/>
              </c:ext>
            </c:extLst>
          </c:dPt>
          <c:dPt>
            <c:idx val="103"/>
            <c:invertIfNegative val="1"/>
            <c:bubble3D val="0"/>
            <c:spPr>
              <a:solidFill>
                <a:srgbClr val="AEABAB"/>
              </a:solidFill>
            </c:spPr>
            <c:extLst>
              <c:ext xmlns:c16="http://schemas.microsoft.com/office/drawing/2014/chart" uri="{C3380CC4-5D6E-409C-BE32-E72D297353CC}">
                <c16:uniqueId val="{000000D1-2993-41DE-A2CB-63102DE87051}"/>
              </c:ext>
            </c:extLst>
          </c:dPt>
          <c:dPt>
            <c:idx val="104"/>
            <c:invertIfNegative val="1"/>
            <c:bubble3D val="0"/>
            <c:spPr>
              <a:solidFill>
                <a:srgbClr val="AEABAB"/>
              </a:solidFill>
            </c:spPr>
            <c:extLst>
              <c:ext xmlns:c16="http://schemas.microsoft.com/office/drawing/2014/chart" uri="{C3380CC4-5D6E-409C-BE32-E72D297353CC}">
                <c16:uniqueId val="{000000D3-2993-41DE-A2CB-63102DE87051}"/>
              </c:ext>
            </c:extLst>
          </c:dPt>
          <c:dPt>
            <c:idx val="105"/>
            <c:invertIfNegative val="1"/>
            <c:bubble3D val="0"/>
            <c:spPr>
              <a:solidFill>
                <a:srgbClr val="AEABAB"/>
              </a:solidFill>
            </c:spPr>
            <c:extLst>
              <c:ext xmlns:c16="http://schemas.microsoft.com/office/drawing/2014/chart" uri="{C3380CC4-5D6E-409C-BE32-E72D297353CC}">
                <c16:uniqueId val="{000000D5-2993-41DE-A2CB-63102DE87051}"/>
              </c:ext>
            </c:extLst>
          </c:dPt>
          <c:dPt>
            <c:idx val="106"/>
            <c:invertIfNegative val="1"/>
            <c:bubble3D val="0"/>
            <c:spPr>
              <a:solidFill>
                <a:srgbClr val="AEABAB"/>
              </a:solidFill>
            </c:spPr>
            <c:extLst>
              <c:ext xmlns:c16="http://schemas.microsoft.com/office/drawing/2014/chart" uri="{C3380CC4-5D6E-409C-BE32-E72D297353CC}">
                <c16:uniqueId val="{000000D7-2993-41DE-A2CB-63102DE87051}"/>
              </c:ext>
            </c:extLst>
          </c:dPt>
          <c:dPt>
            <c:idx val="107"/>
            <c:invertIfNegative val="1"/>
            <c:bubble3D val="0"/>
            <c:spPr>
              <a:solidFill>
                <a:srgbClr val="AEABAB"/>
              </a:solidFill>
            </c:spPr>
            <c:extLst>
              <c:ext xmlns:c16="http://schemas.microsoft.com/office/drawing/2014/chart" uri="{C3380CC4-5D6E-409C-BE32-E72D297353CC}">
                <c16:uniqueId val="{000000D9-2993-41DE-A2CB-63102DE87051}"/>
              </c:ext>
            </c:extLst>
          </c:dPt>
          <c:dPt>
            <c:idx val="108"/>
            <c:invertIfNegative val="1"/>
            <c:bubble3D val="0"/>
            <c:spPr>
              <a:solidFill>
                <a:srgbClr val="AEABAB"/>
              </a:solidFill>
            </c:spPr>
            <c:extLst>
              <c:ext xmlns:c16="http://schemas.microsoft.com/office/drawing/2014/chart" uri="{C3380CC4-5D6E-409C-BE32-E72D297353CC}">
                <c16:uniqueId val="{000000DB-2993-41DE-A2CB-63102DE87051}"/>
              </c:ext>
            </c:extLst>
          </c:dPt>
          <c:dPt>
            <c:idx val="109"/>
            <c:invertIfNegative val="1"/>
            <c:bubble3D val="0"/>
            <c:spPr>
              <a:solidFill>
                <a:srgbClr val="AEABAB"/>
              </a:solidFill>
            </c:spPr>
            <c:extLst>
              <c:ext xmlns:c16="http://schemas.microsoft.com/office/drawing/2014/chart" uri="{C3380CC4-5D6E-409C-BE32-E72D297353CC}">
                <c16:uniqueId val="{000000DD-2993-41DE-A2CB-63102DE87051}"/>
              </c:ext>
            </c:extLst>
          </c:dPt>
          <c:dPt>
            <c:idx val="110"/>
            <c:invertIfNegative val="1"/>
            <c:bubble3D val="0"/>
            <c:spPr>
              <a:solidFill>
                <a:srgbClr val="AEABAB"/>
              </a:solidFill>
            </c:spPr>
            <c:extLst>
              <c:ext xmlns:c16="http://schemas.microsoft.com/office/drawing/2014/chart" uri="{C3380CC4-5D6E-409C-BE32-E72D297353CC}">
                <c16:uniqueId val="{000000DF-2993-41DE-A2CB-63102DE87051}"/>
              </c:ext>
            </c:extLst>
          </c:dPt>
          <c:dPt>
            <c:idx val="111"/>
            <c:invertIfNegative val="1"/>
            <c:bubble3D val="0"/>
            <c:spPr>
              <a:solidFill>
                <a:srgbClr val="AEABAB"/>
              </a:solidFill>
            </c:spPr>
            <c:extLst>
              <c:ext xmlns:c16="http://schemas.microsoft.com/office/drawing/2014/chart" uri="{C3380CC4-5D6E-409C-BE32-E72D297353CC}">
                <c16:uniqueId val="{000000E1-2993-41DE-A2CB-63102DE87051}"/>
              </c:ext>
            </c:extLst>
          </c:dPt>
          <c:dPt>
            <c:idx val="112"/>
            <c:invertIfNegative val="1"/>
            <c:bubble3D val="0"/>
            <c:spPr>
              <a:solidFill>
                <a:srgbClr val="AEABAB"/>
              </a:solidFill>
            </c:spPr>
            <c:extLst>
              <c:ext xmlns:c16="http://schemas.microsoft.com/office/drawing/2014/chart" uri="{C3380CC4-5D6E-409C-BE32-E72D297353CC}">
                <c16:uniqueId val="{000000E3-2993-41DE-A2CB-63102DE87051}"/>
              </c:ext>
            </c:extLst>
          </c:dPt>
          <c:dPt>
            <c:idx val="113"/>
            <c:invertIfNegative val="1"/>
            <c:bubble3D val="0"/>
            <c:spPr>
              <a:solidFill>
                <a:srgbClr val="AEABAB"/>
              </a:solidFill>
            </c:spPr>
            <c:extLst>
              <c:ext xmlns:c16="http://schemas.microsoft.com/office/drawing/2014/chart" uri="{C3380CC4-5D6E-409C-BE32-E72D297353CC}">
                <c16:uniqueId val="{000000E5-2993-41DE-A2CB-63102DE87051}"/>
              </c:ext>
            </c:extLst>
          </c:dPt>
          <c:dPt>
            <c:idx val="114"/>
            <c:invertIfNegative val="1"/>
            <c:bubble3D val="0"/>
            <c:spPr>
              <a:solidFill>
                <a:srgbClr val="AEABAB"/>
              </a:solidFill>
            </c:spPr>
            <c:extLst>
              <c:ext xmlns:c16="http://schemas.microsoft.com/office/drawing/2014/chart" uri="{C3380CC4-5D6E-409C-BE32-E72D297353CC}">
                <c16:uniqueId val="{000000E7-2993-41DE-A2CB-63102DE87051}"/>
              </c:ext>
            </c:extLst>
          </c:dPt>
          <c:dPt>
            <c:idx val="115"/>
            <c:invertIfNegative val="1"/>
            <c:bubble3D val="0"/>
            <c:spPr>
              <a:solidFill>
                <a:srgbClr val="AEABAB"/>
              </a:solidFill>
            </c:spPr>
            <c:extLst>
              <c:ext xmlns:c16="http://schemas.microsoft.com/office/drawing/2014/chart" uri="{C3380CC4-5D6E-409C-BE32-E72D297353CC}">
                <c16:uniqueId val="{000000E9-2993-41DE-A2CB-63102DE87051}"/>
              </c:ext>
            </c:extLst>
          </c:dPt>
          <c:dPt>
            <c:idx val="116"/>
            <c:invertIfNegative val="1"/>
            <c:bubble3D val="0"/>
            <c:spPr>
              <a:solidFill>
                <a:srgbClr val="AEABAB"/>
              </a:solidFill>
            </c:spPr>
            <c:extLst>
              <c:ext xmlns:c16="http://schemas.microsoft.com/office/drawing/2014/chart" uri="{C3380CC4-5D6E-409C-BE32-E72D297353CC}">
                <c16:uniqueId val="{000000EB-2993-41DE-A2CB-63102DE87051}"/>
              </c:ext>
            </c:extLst>
          </c:dPt>
          <c:dPt>
            <c:idx val="117"/>
            <c:invertIfNegative val="1"/>
            <c:bubble3D val="0"/>
            <c:spPr>
              <a:solidFill>
                <a:srgbClr val="AEABAB"/>
              </a:solidFill>
            </c:spPr>
            <c:extLst>
              <c:ext xmlns:c16="http://schemas.microsoft.com/office/drawing/2014/chart" uri="{C3380CC4-5D6E-409C-BE32-E72D297353CC}">
                <c16:uniqueId val="{000000ED-2993-41DE-A2CB-63102DE87051}"/>
              </c:ext>
            </c:extLst>
          </c:dPt>
          <c:dPt>
            <c:idx val="118"/>
            <c:invertIfNegative val="1"/>
            <c:bubble3D val="0"/>
            <c:spPr>
              <a:solidFill>
                <a:srgbClr val="AEABAB"/>
              </a:solidFill>
            </c:spPr>
            <c:extLst>
              <c:ext xmlns:c16="http://schemas.microsoft.com/office/drawing/2014/chart" uri="{C3380CC4-5D6E-409C-BE32-E72D297353CC}">
                <c16:uniqueId val="{000000EF-2993-41DE-A2CB-63102DE87051}"/>
              </c:ext>
            </c:extLst>
          </c:dPt>
          <c:dPt>
            <c:idx val="119"/>
            <c:invertIfNegative val="1"/>
            <c:bubble3D val="0"/>
            <c:spPr>
              <a:solidFill>
                <a:srgbClr val="AEABAB"/>
              </a:solidFill>
            </c:spPr>
            <c:extLst>
              <c:ext xmlns:c16="http://schemas.microsoft.com/office/drawing/2014/chart" uri="{C3380CC4-5D6E-409C-BE32-E72D297353CC}">
                <c16:uniqueId val="{000000F1-2993-41DE-A2CB-63102DE87051}"/>
              </c:ext>
            </c:extLst>
          </c:dPt>
          <c:dPt>
            <c:idx val="120"/>
            <c:invertIfNegative val="1"/>
            <c:bubble3D val="0"/>
            <c:spPr>
              <a:solidFill>
                <a:srgbClr val="AEABAB"/>
              </a:solidFill>
            </c:spPr>
            <c:extLst>
              <c:ext xmlns:c16="http://schemas.microsoft.com/office/drawing/2014/chart" uri="{C3380CC4-5D6E-409C-BE32-E72D297353CC}">
                <c16:uniqueId val="{000000F3-2993-41DE-A2CB-63102DE87051}"/>
              </c:ext>
            </c:extLst>
          </c:dPt>
          <c:dPt>
            <c:idx val="121"/>
            <c:invertIfNegative val="1"/>
            <c:bubble3D val="0"/>
            <c:spPr>
              <a:solidFill>
                <a:srgbClr val="AEABAB"/>
              </a:solidFill>
            </c:spPr>
            <c:extLst>
              <c:ext xmlns:c16="http://schemas.microsoft.com/office/drawing/2014/chart" uri="{C3380CC4-5D6E-409C-BE32-E72D297353CC}">
                <c16:uniqueId val="{000000F5-2993-41DE-A2CB-63102DE87051}"/>
              </c:ext>
            </c:extLst>
          </c:dPt>
          <c:dPt>
            <c:idx val="122"/>
            <c:invertIfNegative val="1"/>
            <c:bubble3D val="0"/>
            <c:spPr>
              <a:solidFill>
                <a:srgbClr val="AEABAB"/>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124</c:f>
              <c:strCache>
                <c:ptCount val="123"/>
                <c:pt idx="0">
                  <c:v>Tartare</c:v>
                </c:pt>
                <c:pt idx="1">
                  <c:v>St Moret</c:v>
                </c:pt>
                <c:pt idx="2">
                  <c:v>St Moret</c:v>
                </c:pt>
                <c:pt idx="3">
                  <c:v>St Moret</c:v>
                </c:pt>
                <c:pt idx="4">
                  <c:v>St Moret</c:v>
                </c:pt>
                <c:pt idx="5">
                  <c:v>Carre Frais</c:v>
                </c:pt>
                <c:pt idx="6">
                  <c:v>St Moret</c:v>
                </c:pt>
                <c:pt idx="7">
                  <c:v>Paysan Bret</c:v>
                </c:pt>
                <c:pt idx="8">
                  <c:v>Philadelphi</c:v>
                </c:pt>
                <c:pt idx="9">
                  <c:v>Boursin</c:v>
                </c:pt>
                <c:pt idx="10">
                  <c:v>Carre Frais</c:v>
                </c:pt>
                <c:pt idx="11">
                  <c:v>Paysan Bret</c:v>
                </c:pt>
                <c:pt idx="12">
                  <c:v>St Moret</c:v>
                </c:pt>
                <c:pt idx="13">
                  <c:v>Paysan Bret</c:v>
                </c:pt>
                <c:pt idx="14">
                  <c:v>Tartare</c:v>
                </c:pt>
                <c:pt idx="15">
                  <c:v>Boursin</c:v>
                </c:pt>
                <c:pt idx="16">
                  <c:v>Carre Frais</c:v>
                </c:pt>
                <c:pt idx="17">
                  <c:v>Boursin</c:v>
                </c:pt>
                <c:pt idx="18">
                  <c:v>Private Lab</c:v>
                </c:pt>
                <c:pt idx="19">
                  <c:v>St Moret</c:v>
                </c:pt>
                <c:pt idx="20">
                  <c:v>St Moret</c:v>
                </c:pt>
                <c:pt idx="21">
                  <c:v>Philadelphi</c:v>
                </c:pt>
                <c:pt idx="22">
                  <c:v>Philadelphi</c:v>
                </c:pt>
                <c:pt idx="23">
                  <c:v>All Others</c:v>
                </c:pt>
                <c:pt idx="24">
                  <c:v>Tartare</c:v>
                </c:pt>
                <c:pt idx="25">
                  <c:v>St Moret</c:v>
                </c:pt>
                <c:pt idx="26">
                  <c:v>Paysan Bret</c:v>
                </c:pt>
                <c:pt idx="27">
                  <c:v>Paysan Bret</c:v>
                </c:pt>
                <c:pt idx="28">
                  <c:v>Savencia: A</c:v>
                </c:pt>
                <c:pt idx="29">
                  <c:v>Paysan Bret</c:v>
                </c:pt>
                <c:pt idx="30">
                  <c:v>Private Lab</c:v>
                </c:pt>
                <c:pt idx="31">
                  <c:v>Paysan Bret</c:v>
                </c:pt>
                <c:pt idx="32">
                  <c:v>Boursin</c:v>
                </c:pt>
                <c:pt idx="33">
                  <c:v>Rondele</c:v>
                </c:pt>
                <c:pt idx="34">
                  <c:v>Boursin</c:v>
                </c:pt>
                <c:pt idx="35">
                  <c:v>Private Lab</c:v>
                </c:pt>
                <c:pt idx="36">
                  <c:v>Private Lab</c:v>
                </c:pt>
                <c:pt idx="37">
                  <c:v>Tartare</c:v>
                </c:pt>
                <c:pt idx="38">
                  <c:v>Kiri</c:v>
                </c:pt>
                <c:pt idx="39">
                  <c:v>Boursin</c:v>
                </c:pt>
                <c:pt idx="40">
                  <c:v>Paysan Bret</c:v>
                </c:pt>
                <c:pt idx="41">
                  <c:v>Tartare</c:v>
                </c:pt>
                <c:pt idx="42">
                  <c:v>Boursin</c:v>
                </c:pt>
                <c:pt idx="43">
                  <c:v>Tartare</c:v>
                </c:pt>
                <c:pt idx="44">
                  <c:v>Lactalis: A</c:v>
                </c:pt>
                <c:pt idx="45">
                  <c:v>St Moret</c:v>
                </c:pt>
                <c:pt idx="46">
                  <c:v>Philadelphi</c:v>
                </c:pt>
                <c:pt idx="47">
                  <c:v>Tartare</c:v>
                </c:pt>
                <c:pt idx="48">
                  <c:v>Kiri</c:v>
                </c:pt>
                <c:pt idx="49">
                  <c:v>Paysan Bret</c:v>
                </c:pt>
                <c:pt idx="50">
                  <c:v>All Others</c:v>
                </c:pt>
                <c:pt idx="51">
                  <c:v>President</c:v>
                </c:pt>
                <c:pt idx="52">
                  <c:v>Private Lab</c:v>
                </c:pt>
                <c:pt idx="53">
                  <c:v>Rondele</c:v>
                </c:pt>
                <c:pt idx="54">
                  <c:v>Private Lab</c:v>
                </c:pt>
                <c:pt idx="55">
                  <c:v>Private Lab</c:v>
                </c:pt>
                <c:pt idx="56">
                  <c:v>Boursin</c:v>
                </c:pt>
                <c:pt idx="57">
                  <c:v>Kiri</c:v>
                </c:pt>
                <c:pt idx="58">
                  <c:v>Saint Agur</c:v>
                </c:pt>
                <c:pt idx="59">
                  <c:v>Boursin</c:v>
                </c:pt>
                <c:pt idx="60">
                  <c:v>Rondele</c:v>
                </c:pt>
                <c:pt idx="61">
                  <c:v>All Others</c:v>
                </c:pt>
                <c:pt idx="62">
                  <c:v>Triballat R</c:v>
                </c:pt>
                <c:pt idx="63">
                  <c:v>Boursin</c:v>
                </c:pt>
                <c:pt idx="64">
                  <c:v>St Moret</c:v>
                </c:pt>
                <c:pt idx="65">
                  <c:v>Saint Agur</c:v>
                </c:pt>
                <c:pt idx="66">
                  <c:v>St Moret</c:v>
                </c:pt>
                <c:pt idx="67">
                  <c:v>President</c:v>
                </c:pt>
                <c:pt idx="68">
                  <c:v>Tartare</c:v>
                </c:pt>
                <c:pt idx="69">
                  <c:v>Lactalis: A</c:v>
                </c:pt>
                <c:pt idx="70">
                  <c:v>Private Lab</c:v>
                </c:pt>
                <c:pt idx="71">
                  <c:v>Boursin</c:v>
                </c:pt>
                <c:pt idx="72">
                  <c:v>Boursin</c:v>
                </c:pt>
                <c:pt idx="73">
                  <c:v>Lactalis: A</c:v>
                </c:pt>
                <c:pt idx="74">
                  <c:v>Carre Frais</c:v>
                </c:pt>
                <c:pt idx="75">
                  <c:v>Tartare</c:v>
                </c:pt>
                <c:pt idx="76">
                  <c:v>Paysan Bret</c:v>
                </c:pt>
                <c:pt idx="77">
                  <c:v>All Others</c:v>
                </c:pt>
                <c:pt idx="78">
                  <c:v>Boursin</c:v>
                </c:pt>
                <c:pt idx="79">
                  <c:v>St Moret</c:v>
                </c:pt>
                <c:pt idx="80">
                  <c:v>Boursin</c:v>
                </c:pt>
                <c:pt idx="81">
                  <c:v>Boursin</c:v>
                </c:pt>
                <c:pt idx="82">
                  <c:v>Private Lab</c:v>
                </c:pt>
                <c:pt idx="83">
                  <c:v>Private Lab</c:v>
                </c:pt>
                <c:pt idx="84">
                  <c:v>Tartare</c:v>
                </c:pt>
                <c:pt idx="85">
                  <c:v>Philadelphi</c:v>
                </c:pt>
                <c:pt idx="86">
                  <c:v>All Others</c:v>
                </c:pt>
                <c:pt idx="87">
                  <c:v>All Others</c:v>
                </c:pt>
                <c:pt idx="88">
                  <c:v>All Others</c:v>
                </c:pt>
                <c:pt idx="89">
                  <c:v>All Others</c:v>
                </c:pt>
                <c:pt idx="90">
                  <c:v>All Others</c:v>
                </c:pt>
                <c:pt idx="91">
                  <c:v>All Others</c:v>
                </c:pt>
                <c:pt idx="92">
                  <c:v>All Others</c:v>
                </c:pt>
                <c:pt idx="93">
                  <c:v>Boursin</c:v>
                </c:pt>
                <c:pt idx="94">
                  <c:v>Boursin</c:v>
                </c:pt>
                <c:pt idx="95">
                  <c:v>All Others</c:v>
                </c:pt>
                <c:pt idx="96">
                  <c:v>All Others</c:v>
                </c:pt>
                <c:pt idx="97">
                  <c:v>Tartare</c:v>
                </c:pt>
                <c:pt idx="98">
                  <c:v>All Others</c:v>
                </c:pt>
                <c:pt idx="99">
                  <c:v>St Moret</c:v>
                </c:pt>
                <c:pt idx="100">
                  <c:v>Carre Frais</c:v>
                </c:pt>
                <c:pt idx="101">
                  <c:v>All Others</c:v>
                </c:pt>
                <c:pt idx="102">
                  <c:v>All Others</c:v>
                </c:pt>
                <c:pt idx="103">
                  <c:v>Savencia: A</c:v>
                </c:pt>
                <c:pt idx="104">
                  <c:v>Savencia: A</c:v>
                </c:pt>
                <c:pt idx="105">
                  <c:v>All Others</c:v>
                </c:pt>
                <c:pt idx="106">
                  <c:v>All Others</c:v>
                </c:pt>
                <c:pt idx="107">
                  <c:v>All Others</c:v>
                </c:pt>
                <c:pt idx="108">
                  <c:v>All Others</c:v>
                </c:pt>
                <c:pt idx="109">
                  <c:v>All Others</c:v>
                </c:pt>
                <c:pt idx="110">
                  <c:v>All Others</c:v>
                </c:pt>
                <c:pt idx="111">
                  <c:v>All Others</c:v>
                </c:pt>
                <c:pt idx="112">
                  <c:v>All Others</c:v>
                </c:pt>
                <c:pt idx="113">
                  <c:v>Rondele</c:v>
                </c:pt>
                <c:pt idx="114">
                  <c:v>All Others</c:v>
                </c:pt>
                <c:pt idx="115">
                  <c:v>Rondele</c:v>
                </c:pt>
                <c:pt idx="116">
                  <c:v>All Others</c:v>
                </c:pt>
                <c:pt idx="117">
                  <c:v>All Others</c:v>
                </c:pt>
                <c:pt idx="118">
                  <c:v>All Others</c:v>
                </c:pt>
                <c:pt idx="119">
                  <c:v>All Others</c:v>
                </c:pt>
                <c:pt idx="120">
                  <c:v>All Others</c:v>
                </c:pt>
                <c:pt idx="121">
                  <c:v>All Others</c:v>
                </c:pt>
                <c:pt idx="122">
                  <c:v>All Others</c:v>
                </c:pt>
              </c:strCache>
            </c:strRef>
          </c:cat>
          <c:val>
            <c:numRef>
              <c:f>Sheet1!$C$2:$C$124</c:f>
              <c:numCache>
                <c:formatCode>General</c:formatCode>
                <c:ptCount val="123"/>
                <c:pt idx="0">
                  <c:v>5.4386528542969242E-2</c:v>
                </c:pt>
                <c:pt idx="1">
                  <c:v>9.8217408087278829E-2</c:v>
                </c:pt>
                <c:pt idx="2">
                  <c:v>0.14024230133021301</c:v>
                </c:pt>
                <c:pt idx="3">
                  <c:v>0.17722429208781609</c:v>
                </c:pt>
                <c:pt idx="4">
                  <c:v>0.21009633244555664</c:v>
                </c:pt>
                <c:pt idx="5">
                  <c:v>0.24254892754878843</c:v>
                </c:pt>
                <c:pt idx="6">
                  <c:v>0.27406982095629007</c:v>
                </c:pt>
                <c:pt idx="7">
                  <c:v>0.33661046366468267</c:v>
                </c:pt>
                <c:pt idx="8">
                  <c:v>0.36706211250522852</c:v>
                </c:pt>
                <c:pt idx="9">
                  <c:v>0.39583904579935608</c:v>
                </c:pt>
                <c:pt idx="10">
                  <c:v>0.42440288848096613</c:v>
                </c:pt>
                <c:pt idx="11">
                  <c:v>0.45052830983205661</c:v>
                </c:pt>
                <c:pt idx="12">
                  <c:v>0.47622837682874547</c:v>
                </c:pt>
                <c:pt idx="13">
                  <c:v>0.50132771222643191</c:v>
                </c:pt>
                <c:pt idx="14">
                  <c:v>0.55011560054807407</c:v>
                </c:pt>
                <c:pt idx="15">
                  <c:v>0.5733326153676126</c:v>
                </c:pt>
                <c:pt idx="16">
                  <c:v>0.59340419412986389</c:v>
                </c:pt>
                <c:pt idx="17">
                  <c:v>0.61301300768344325</c:v>
                </c:pt>
                <c:pt idx="18">
                  <c:v>0.63118548644396011</c:v>
                </c:pt>
                <c:pt idx="19">
                  <c:v>0.64932991210566837</c:v>
                </c:pt>
                <c:pt idx="20">
                  <c:v>0.66715986474816535</c:v>
                </c:pt>
                <c:pt idx="21">
                  <c:v>0.68428754204435482</c:v>
                </c:pt>
                <c:pt idx="22">
                  <c:v>0.70115140727331526</c:v>
                </c:pt>
                <c:pt idx="23">
                  <c:v>0.72972434553189347</c:v>
                </c:pt>
                <c:pt idx="24">
                  <c:v>0.74315092970510555</c:v>
                </c:pt>
                <c:pt idx="25">
                  <c:v>0.75615720141802256</c:v>
                </c:pt>
                <c:pt idx="26">
                  <c:v>0.76768075291209714</c:v>
                </c:pt>
                <c:pt idx="27">
                  <c:v>0.77902874565338298</c:v>
                </c:pt>
                <c:pt idx="28">
                  <c:v>0.7894838592835588</c:v>
                </c:pt>
                <c:pt idx="29">
                  <c:v>0.7997706543208829</c:v>
                </c:pt>
                <c:pt idx="30">
                  <c:v>0.80945171620025091</c:v>
                </c:pt>
                <c:pt idx="31">
                  <c:v>0.81902302612870848</c:v>
                </c:pt>
                <c:pt idx="32">
                  <c:v>0.82764847672278474</c:v>
                </c:pt>
                <c:pt idx="33">
                  <c:v>0.8354652075021769</c:v>
                </c:pt>
                <c:pt idx="34">
                  <c:v>0.84292224955601058</c:v>
                </c:pt>
                <c:pt idx="35">
                  <c:v>0.85020879491873858</c:v>
                </c:pt>
                <c:pt idx="36">
                  <c:v>0.85722928961325429</c:v>
                </c:pt>
                <c:pt idx="37">
                  <c:v>0.8641416054278207</c:v>
                </c:pt>
                <c:pt idx="38">
                  <c:v>0.87769441846188323</c:v>
                </c:pt>
                <c:pt idx="39">
                  <c:v>0.88423932136912009</c:v>
                </c:pt>
                <c:pt idx="40">
                  <c:v>0.89020527365989455</c:v>
                </c:pt>
                <c:pt idx="41">
                  <c:v>0.89616931003090861</c:v>
                </c:pt>
                <c:pt idx="42">
                  <c:v>0.90147640776742088</c:v>
                </c:pt>
                <c:pt idx="43">
                  <c:v>0.90678179125993685</c:v>
                </c:pt>
                <c:pt idx="44">
                  <c:v>0.91183253893249772</c:v>
                </c:pt>
                <c:pt idx="45">
                  <c:v>0.91672476945434989</c:v>
                </c:pt>
                <c:pt idx="46">
                  <c:v>0.92156938432826019</c:v>
                </c:pt>
                <c:pt idx="47">
                  <c:v>0.9261533131092875</c:v>
                </c:pt>
                <c:pt idx="48">
                  <c:v>0.93055373711241429</c:v>
                </c:pt>
                <c:pt idx="49">
                  <c:v>0.93464358043858009</c:v>
                </c:pt>
                <c:pt idx="50">
                  <c:v>0.9386567063040212</c:v>
                </c:pt>
                <c:pt idx="51">
                  <c:v>0.94227827867315073</c:v>
                </c:pt>
                <c:pt idx="52">
                  <c:v>0.94586139147403581</c:v>
                </c:pt>
                <c:pt idx="53">
                  <c:v>0.94871119102849366</c:v>
                </c:pt>
                <c:pt idx="54">
                  <c:v>0.95149203763915091</c:v>
                </c:pt>
                <c:pt idx="55">
                  <c:v>0.95410829665859531</c:v>
                </c:pt>
                <c:pt idx="56">
                  <c:v>0.95665300111688012</c:v>
                </c:pt>
                <c:pt idx="57">
                  <c:v>0.95917062052002477</c:v>
                </c:pt>
                <c:pt idx="58">
                  <c:v>0.96167010927196239</c:v>
                </c:pt>
                <c:pt idx="59">
                  <c:v>0.96409860815488035</c:v>
                </c:pt>
                <c:pt idx="60">
                  <c:v>0.96632230529919183</c:v>
                </c:pt>
                <c:pt idx="61">
                  <c:v>0.96826486642812437</c:v>
                </c:pt>
                <c:pt idx="62">
                  <c:v>0.9701905271280119</c:v>
                </c:pt>
                <c:pt idx="63">
                  <c:v>0.9719462154937808</c:v>
                </c:pt>
                <c:pt idx="64">
                  <c:v>0.97364942782568908</c:v>
                </c:pt>
                <c:pt idx="65">
                  <c:v>0.97534094296327023</c:v>
                </c:pt>
                <c:pt idx="66">
                  <c:v>0.97681178447959771</c:v>
                </c:pt>
                <c:pt idx="67">
                  <c:v>0.97823773297080086</c:v>
                </c:pt>
                <c:pt idx="68">
                  <c:v>0.97958726651492567</c:v>
                </c:pt>
                <c:pt idx="69">
                  <c:v>0.98087972581776484</c:v>
                </c:pt>
                <c:pt idx="70">
                  <c:v>0.98217113640662979</c:v>
                </c:pt>
                <c:pt idx="71">
                  <c:v>0.9833911134397938</c:v>
                </c:pt>
                <c:pt idx="72">
                  <c:v>0.98456896040580377</c:v>
                </c:pt>
                <c:pt idx="73">
                  <c:v>0.98570518149407038</c:v>
                </c:pt>
                <c:pt idx="74">
                  <c:v>0.98659753624819335</c:v>
                </c:pt>
                <c:pt idx="75">
                  <c:v>0.98746288661748183</c:v>
                </c:pt>
                <c:pt idx="76">
                  <c:v>0.98831464404025915</c:v>
                </c:pt>
                <c:pt idx="77">
                  <c:v>0.98897301457268716</c:v>
                </c:pt>
                <c:pt idx="78">
                  <c:v>0.9896120443993226</c:v>
                </c:pt>
                <c:pt idx="79">
                  <c:v>0.99018922026905942</c:v>
                </c:pt>
                <c:pt idx="80">
                  <c:v>0.99076097106073768</c:v>
                </c:pt>
                <c:pt idx="81">
                  <c:v>0.99127970129399179</c:v>
                </c:pt>
                <c:pt idx="82">
                  <c:v>0.99177665054470587</c:v>
                </c:pt>
                <c:pt idx="83">
                  <c:v>0.99221765493841407</c:v>
                </c:pt>
                <c:pt idx="84">
                  <c:v>0.99265638039598614</c:v>
                </c:pt>
                <c:pt idx="85">
                  <c:v>0.99307413157407509</c:v>
                </c:pt>
                <c:pt idx="86">
                  <c:v>0.99348240399124388</c:v>
                </c:pt>
                <c:pt idx="87">
                  <c:v>0.99388476730851982</c:v>
                </c:pt>
                <c:pt idx="88">
                  <c:v>0.99425619356355821</c:v>
                </c:pt>
                <c:pt idx="89">
                  <c:v>0.99462755931586733</c:v>
                </c:pt>
                <c:pt idx="90">
                  <c:v>0.99536349434722993</c:v>
                </c:pt>
                <c:pt idx="91">
                  <c:v>0.99572653089047503</c:v>
                </c:pt>
                <c:pt idx="92">
                  <c:v>0.99607010572246901</c:v>
                </c:pt>
                <c:pt idx="93">
                  <c:v>0.99639819185576783</c:v>
                </c:pt>
                <c:pt idx="94">
                  <c:v>0.99667047430509581</c:v>
                </c:pt>
                <c:pt idx="95">
                  <c:v>0.99694201055409604</c:v>
                </c:pt>
                <c:pt idx="96">
                  <c:v>0.99747124809466814</c:v>
                </c:pt>
                <c:pt idx="97">
                  <c:v>0.99771713118645444</c:v>
                </c:pt>
                <c:pt idx="98">
                  <c:v>0.99794191899329909</c:v>
                </c:pt>
                <c:pt idx="99">
                  <c:v>0.99814131582142329</c:v>
                </c:pt>
                <c:pt idx="100">
                  <c:v>0.99834051097378329</c:v>
                </c:pt>
                <c:pt idx="101">
                  <c:v>0.99849061824512231</c:v>
                </c:pt>
                <c:pt idx="102">
                  <c:v>0.99862660821296312</c:v>
                </c:pt>
                <c:pt idx="103">
                  <c:v>0.99875713276759248</c:v>
                </c:pt>
                <c:pt idx="104">
                  <c:v>0.99888723380311684</c:v>
                </c:pt>
                <c:pt idx="105">
                  <c:v>0.99901618528678493</c:v>
                </c:pt>
                <c:pt idx="106">
                  <c:v>0.99912668343802324</c:v>
                </c:pt>
                <c:pt idx="107">
                  <c:v>0.99923585052921737</c:v>
                </c:pt>
                <c:pt idx="108">
                  <c:v>0.99933878583929592</c:v>
                </c:pt>
                <c:pt idx="109">
                  <c:v>0.99943857500745192</c:v>
                </c:pt>
                <c:pt idx="110">
                  <c:v>0.99953342311938354</c:v>
                </c:pt>
                <c:pt idx="111">
                  <c:v>0.99960449365870885</c:v>
                </c:pt>
                <c:pt idx="112">
                  <c:v>0.99966697281047667</c:v>
                </c:pt>
                <c:pt idx="113">
                  <c:v>0.99970926421824202</c:v>
                </c:pt>
                <c:pt idx="114">
                  <c:v>0.99974574736399668</c:v>
                </c:pt>
                <c:pt idx="115">
                  <c:v>0.99981764477395552</c:v>
                </c:pt>
                <c:pt idx="116">
                  <c:v>0.99984789613859459</c:v>
                </c:pt>
                <c:pt idx="117">
                  <c:v>0.99987153253816596</c:v>
                </c:pt>
                <c:pt idx="118">
                  <c:v>0.99992576315117565</c:v>
                </c:pt>
                <c:pt idx="119">
                  <c:v>0.99994572905183743</c:v>
                </c:pt>
                <c:pt idx="120">
                  <c:v>0.99997039399780641</c:v>
                </c:pt>
                <c:pt idx="121">
                  <c:v>0.99998467264191604</c:v>
                </c:pt>
                <c:pt idx="122">
                  <c:v>0.99999969748635331</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679D80-3FD9-4F8D-8F9D-355EB3FC5F56}" type="datetimeFigureOut">
              <a:rPr lang="en-CH" smtClean="0"/>
              <a:t>09/10/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1B08CE-CB08-45D5-B113-19ECBBE6DAC5}" type="slidenum">
              <a:rPr lang="en-CH" smtClean="0"/>
              <a:t>‹#›</a:t>
            </a:fld>
            <a:endParaRPr lang="en-CH"/>
          </a:p>
        </p:txBody>
      </p:sp>
    </p:spTree>
    <p:extLst>
      <p:ext uri="{BB962C8B-B14F-4D97-AF65-F5344CB8AC3E}">
        <p14:creationId xmlns:p14="http://schemas.microsoft.com/office/powerpoint/2010/main" val="33812977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4.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43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43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43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43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43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43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44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44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44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55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5.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552.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553.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55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555.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556.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557.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558.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559.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560.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56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6.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562.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563.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564.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565.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566.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567.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568.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569.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570.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57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572.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573.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574.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575.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576.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577.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578.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579.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580.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58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8.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582.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583.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584.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585.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586.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587.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588.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589.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590.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59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9.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592.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593.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594.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595.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596.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597.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598.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599.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600.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60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0.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602.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603.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604.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605.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606.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607.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608.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609.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610.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61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1.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612.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613.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61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3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7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3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37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37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37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37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37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37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38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38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38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38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38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38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38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38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38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39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39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39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39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39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39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39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39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39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39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40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40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40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40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40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40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40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40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40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40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41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41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41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4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41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41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41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41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41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41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42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42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42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4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42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42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42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42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42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42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43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43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43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4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3481950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BBFC13E-3F64-4E36-814E-4A390258C12B}"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3753679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50F348D-8052-4CFF-A59A-38700A83BEA1}"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6692189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0ACA9F3-09D5-4DB9-A036-5BB8C1DA1B1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976820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A1577D70-F57E-432D-B3D5-0759FA0A334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387210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4E78701-F38D-4E5C-ABBC-833AA43BD5FA}"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025480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14C6B110-5A78-424A-9D1E-371817D87C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401336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52CCA97-18F7-420E-AA09-369E2E7F814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4062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A197316-5A91-47EC-86A0-A3A842E46F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9437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E1AB04-F9EF-4B2B-85D6-244B8E45D3EA}"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247002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7996436F-1613-4BD9-8DA2-0B828AB65D9D}"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273547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9F4D88D-6F95-4734-9E93-59E96F4C5B2D}"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002101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4B539E5B-D660-4908-A930-5D7ED25D7968}"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60553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E87FDB52-BBB2-437C-B730-0F4FD1CC342B}"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03337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32E4E91C-ACCB-4FB2-9CE2-8479C989DF49}"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963180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48269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C227B7-6CE2-494E-9FF0-D5486E326F9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117230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A698F9-E0CC-4675-A2A3-920539354D2A}"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237695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FB77DA4-E66A-483D-9837-A2011CF448D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7145712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2DFC3E4-C284-436E-93E6-279BCC9ECA7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52265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775FBB-4E36-4540-99EF-CA50C933F081}"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5628630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8C7047C-F6FF-45B2-9077-DC747EBFC0B4}"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2860376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67EBB61B-CA5F-4D3B-A745-33BC47F4D24F}"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333415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BC32BF-A67C-4A09-93F2-0403FF7C946C}"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776764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AE4C06A1-875F-4586-BE13-F337DE5DF152}" type="datetime1">
              <a:rPr lang="en-US" smtClean="0"/>
              <a:t>9/10/2025</a:t>
            </a:fld>
            <a:endParaRPr lang="en-US"/>
          </a:p>
        </p:txBody>
      </p:sp>
    </p:spTree>
    <p:extLst>
      <p:ext uri="{BB962C8B-B14F-4D97-AF65-F5344CB8AC3E}">
        <p14:creationId xmlns:p14="http://schemas.microsoft.com/office/powerpoint/2010/main" val="2397515005"/>
      </p:ext>
    </p:extLst>
  </p:cSld>
  <p:clrMap bg1="lt1" tx1="dk1" bg2="lt2" tx2="dk2" accent1="accent1" accent2="accent2" accent3="accent3" accent4="accent4" accent5="accent5" accent6="accent6" hlink="hlink" folHlink="folHlink"/>
  <p:sldLayoutIdLst>
    <p:sldLayoutId id="2147483844"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903" r:id="rId23"/>
    <p:sldLayoutId id="2147483904"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8.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20.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2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22.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3.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4.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5.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6.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7.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8.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30.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3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32.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3.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34.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5.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6.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7.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8.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9.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40.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41.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42.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43.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44.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5.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6.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7.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8.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9.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50.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51.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52.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53.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54.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5.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6.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7.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8.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60.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61.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62.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63.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6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65.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67.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68.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6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70.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17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17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4.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175.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177.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17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17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8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8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82.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8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84.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85.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18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187.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18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18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19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19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192.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193.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194.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195.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9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9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9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9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20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0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02.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203.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204.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205.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20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207.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08.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20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210.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21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212.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213.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214.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215.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21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217.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218.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219.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220.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22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222.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223.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224.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225.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22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227.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228.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22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230.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23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232.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233.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234.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235.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23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237.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238.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23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240.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24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242.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243.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244.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245.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246.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247.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248.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249.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chart" Target="../charts/chart250.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251.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252.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253.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254.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255.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256.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chart" Target="../charts/chart257.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258.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25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260.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261.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262.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263.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264.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265.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266.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267.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268.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269.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chart" Target="../charts/chart270.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chart" Target="../charts/chart271.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chart" Target="../charts/chart272.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chart" Target="../charts/chart273.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chart" Target="../charts/chart274.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chart" Target="../charts/chart275.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chart" Target="../charts/chart276.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chart" Target="../charts/chart277.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chart" Target="../charts/chart278.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6.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7.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8.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9.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0.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1.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2.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3.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4.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5.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6.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7.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8.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9.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0.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1.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2.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3.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4.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5.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6.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7.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8.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9.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0.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1.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2.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3.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4.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5.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6.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7.xml"/><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8.xml"/><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9.xml"/><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0.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1.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2.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3.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4.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5.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6.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7.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8.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9.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0.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1.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2.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3.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4.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5.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6.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7.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8.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9.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0.xml"/><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1.xml"/><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362.xml"/><Relationship Id="rId6" Type="http://schemas.openxmlformats.org/officeDocument/2006/relationships/chart" Target="../charts/chart2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63.xml"/><Relationship Id="rId6" Type="http://schemas.openxmlformats.org/officeDocument/2006/relationships/chart" Target="../charts/chart2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64.xml"/><Relationship Id="rId6" Type="http://schemas.openxmlformats.org/officeDocument/2006/relationships/chart" Target="../charts/chart2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65.xml"/><Relationship Id="rId6" Type="http://schemas.openxmlformats.org/officeDocument/2006/relationships/chart" Target="../charts/chart2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66.xml"/><Relationship Id="rId6" Type="http://schemas.openxmlformats.org/officeDocument/2006/relationships/chart" Target="../charts/chart2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67.xml"/><Relationship Id="rId6" Type="http://schemas.openxmlformats.org/officeDocument/2006/relationships/chart" Target="../charts/chart2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68.xml"/><Relationship Id="rId6" Type="http://schemas.openxmlformats.org/officeDocument/2006/relationships/chart" Target="../charts/chart2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69.xml"/><Relationship Id="rId6" Type="http://schemas.openxmlformats.org/officeDocument/2006/relationships/chart" Target="../charts/chart2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70.xml"/><Relationship Id="rId6" Type="http://schemas.openxmlformats.org/officeDocument/2006/relationships/chart" Target="../charts/chart2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71.xml"/><Relationship Id="rId6" Type="http://schemas.openxmlformats.org/officeDocument/2006/relationships/chart" Target="../charts/chart2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72.xml"/><Relationship Id="rId6" Type="http://schemas.openxmlformats.org/officeDocument/2006/relationships/chart" Target="../charts/chart2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73.xml"/><Relationship Id="rId6" Type="http://schemas.openxmlformats.org/officeDocument/2006/relationships/chart" Target="../charts/chart2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374.xml"/><Relationship Id="rId6" Type="http://schemas.openxmlformats.org/officeDocument/2006/relationships/chart" Target="../charts/chart2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375.xml"/><Relationship Id="rId6" Type="http://schemas.openxmlformats.org/officeDocument/2006/relationships/chart" Target="../charts/chart2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376.xml"/><Relationship Id="rId6" Type="http://schemas.openxmlformats.org/officeDocument/2006/relationships/chart" Target="../charts/chart2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377.xml"/><Relationship Id="rId6" Type="http://schemas.openxmlformats.org/officeDocument/2006/relationships/chart" Target="../charts/chart2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378.xml"/><Relationship Id="rId6" Type="http://schemas.openxmlformats.org/officeDocument/2006/relationships/chart" Target="../charts/chart2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379.xml"/><Relationship Id="rId6" Type="http://schemas.openxmlformats.org/officeDocument/2006/relationships/chart" Target="../charts/chart2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380.xml"/><Relationship Id="rId6" Type="http://schemas.openxmlformats.org/officeDocument/2006/relationships/chart" Target="../charts/chart2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381.xml"/><Relationship Id="rId6" Type="http://schemas.openxmlformats.org/officeDocument/2006/relationships/chart" Target="../charts/chart2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5.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382.xml"/><Relationship Id="rId6" Type="http://schemas.openxmlformats.org/officeDocument/2006/relationships/chart" Target="../charts/chart2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383.xml"/><Relationship Id="rId6" Type="http://schemas.openxmlformats.org/officeDocument/2006/relationships/chart" Target="../charts/chart3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384.xml"/><Relationship Id="rId6" Type="http://schemas.openxmlformats.org/officeDocument/2006/relationships/chart" Target="../charts/chart3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385.xml"/><Relationship Id="rId6" Type="http://schemas.openxmlformats.org/officeDocument/2006/relationships/chart" Target="../charts/chart3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9.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386.xml"/><Relationship Id="rId6" Type="http://schemas.openxmlformats.org/officeDocument/2006/relationships/chart" Target="../charts/chart3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387.xml"/><Relationship Id="rId6" Type="http://schemas.openxmlformats.org/officeDocument/2006/relationships/chart" Target="../charts/chart3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388.xml"/><Relationship Id="rId6" Type="http://schemas.openxmlformats.org/officeDocument/2006/relationships/chart" Target="../charts/chart3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389.xml"/><Relationship Id="rId6" Type="http://schemas.openxmlformats.org/officeDocument/2006/relationships/chart" Target="../charts/chart3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3.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390.xml"/><Relationship Id="rId6" Type="http://schemas.openxmlformats.org/officeDocument/2006/relationships/chart" Target="../charts/chart3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4.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391.xml"/><Relationship Id="rId6" Type="http://schemas.openxmlformats.org/officeDocument/2006/relationships/chart" Target="../charts/chart3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392.xml"/><Relationship Id="rId6" Type="http://schemas.openxmlformats.org/officeDocument/2006/relationships/chart" Target="../charts/chart3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393.xml"/><Relationship Id="rId6" Type="http://schemas.openxmlformats.org/officeDocument/2006/relationships/chart" Target="../charts/chart3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394.xml"/><Relationship Id="rId6" Type="http://schemas.openxmlformats.org/officeDocument/2006/relationships/chart" Target="../charts/chart3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8.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395.xml"/><Relationship Id="rId6" Type="http://schemas.openxmlformats.org/officeDocument/2006/relationships/chart" Target="../charts/chart3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9.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396.xml"/><Relationship Id="rId6" Type="http://schemas.openxmlformats.org/officeDocument/2006/relationships/chart" Target="../charts/chart3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397.xml"/><Relationship Id="rId6" Type="http://schemas.openxmlformats.org/officeDocument/2006/relationships/chart" Target="../charts/chart3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1.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398.xml"/><Relationship Id="rId6" Type="http://schemas.openxmlformats.org/officeDocument/2006/relationships/chart" Target="../charts/chart3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2.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399.xml"/><Relationship Id="rId6" Type="http://schemas.openxmlformats.org/officeDocument/2006/relationships/chart" Target="../charts/chart3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3.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400.xml"/><Relationship Id="rId6" Type="http://schemas.openxmlformats.org/officeDocument/2006/relationships/chart" Target="../charts/chart3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4.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401.xml"/><Relationship Id="rId6" Type="http://schemas.openxmlformats.org/officeDocument/2006/relationships/chart" Target="../charts/chart3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5.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402.xml"/><Relationship Id="rId6" Type="http://schemas.openxmlformats.org/officeDocument/2006/relationships/chart" Target="../charts/chart3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6.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403.xml"/><Relationship Id="rId6" Type="http://schemas.openxmlformats.org/officeDocument/2006/relationships/chart" Target="../charts/chart3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7.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404.xml"/><Relationship Id="rId6" Type="http://schemas.openxmlformats.org/officeDocument/2006/relationships/chart" Target="../charts/chart3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8.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405.xml"/><Relationship Id="rId6" Type="http://schemas.openxmlformats.org/officeDocument/2006/relationships/chart" Target="../charts/chart3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9.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406.xml"/><Relationship Id="rId6" Type="http://schemas.openxmlformats.org/officeDocument/2006/relationships/chart" Target="../charts/chart3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407.xml"/><Relationship Id="rId6" Type="http://schemas.openxmlformats.org/officeDocument/2006/relationships/chart" Target="../charts/chart3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1.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408.xml"/><Relationship Id="rId6" Type="http://schemas.openxmlformats.org/officeDocument/2006/relationships/chart" Target="../charts/chart3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2.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409.xml"/><Relationship Id="rId6" Type="http://schemas.openxmlformats.org/officeDocument/2006/relationships/chart" Target="../charts/chart3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3.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410.xml"/><Relationship Id="rId6" Type="http://schemas.openxmlformats.org/officeDocument/2006/relationships/chart" Target="../charts/chart3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4.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411.xml"/><Relationship Id="rId6" Type="http://schemas.openxmlformats.org/officeDocument/2006/relationships/chart" Target="../charts/chart3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5.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412.xml"/><Relationship Id="rId6" Type="http://schemas.openxmlformats.org/officeDocument/2006/relationships/chart" Target="../charts/chart3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6.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413.xml"/><Relationship Id="rId6" Type="http://schemas.openxmlformats.org/officeDocument/2006/relationships/chart" Target="../charts/chart3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7.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414.xml"/><Relationship Id="rId6" Type="http://schemas.openxmlformats.org/officeDocument/2006/relationships/chart" Target="../charts/chart3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8.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415.xml"/><Relationship Id="rId6" Type="http://schemas.openxmlformats.org/officeDocument/2006/relationships/chart" Target="../charts/chart3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9.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416.xml"/><Relationship Id="rId6" Type="http://schemas.openxmlformats.org/officeDocument/2006/relationships/chart" Target="../charts/chart3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417.xml"/><Relationship Id="rId6" Type="http://schemas.openxmlformats.org/officeDocument/2006/relationships/chart" Target="../charts/chart3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1.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418.xml"/><Relationship Id="rId6" Type="http://schemas.openxmlformats.org/officeDocument/2006/relationships/chart" Target="../charts/chart3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2.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419.xml"/><Relationship Id="rId6" Type="http://schemas.openxmlformats.org/officeDocument/2006/relationships/chart" Target="../charts/chart3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3.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420.xml"/><Relationship Id="rId6" Type="http://schemas.openxmlformats.org/officeDocument/2006/relationships/chart" Target="../charts/chart3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4.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421.xml"/><Relationship Id="rId6" Type="http://schemas.openxmlformats.org/officeDocument/2006/relationships/chart" Target="../charts/chart3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5.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422.xml"/><Relationship Id="rId6" Type="http://schemas.openxmlformats.org/officeDocument/2006/relationships/chart" Target="../charts/chart3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6.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423.xml"/><Relationship Id="rId6" Type="http://schemas.openxmlformats.org/officeDocument/2006/relationships/chart" Target="../charts/chart3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7.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424.xml"/><Relationship Id="rId6" Type="http://schemas.openxmlformats.org/officeDocument/2006/relationships/chart" Target="../charts/chart3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8.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425.xml"/><Relationship Id="rId6" Type="http://schemas.openxmlformats.org/officeDocument/2006/relationships/chart" Target="../charts/chart3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9.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426.xml"/><Relationship Id="rId6" Type="http://schemas.openxmlformats.org/officeDocument/2006/relationships/chart" Target="../charts/chart3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00.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427.xml"/><Relationship Id="rId6" Type="http://schemas.openxmlformats.org/officeDocument/2006/relationships/chart" Target="../charts/chart3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1.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428.xml"/><Relationship Id="rId6" Type="http://schemas.openxmlformats.org/officeDocument/2006/relationships/chart" Target="../charts/chart3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2.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429.xml"/><Relationship Id="rId6" Type="http://schemas.openxmlformats.org/officeDocument/2006/relationships/chart" Target="../charts/chart3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3.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430.xml"/><Relationship Id="rId6" Type="http://schemas.openxmlformats.org/officeDocument/2006/relationships/chart" Target="../charts/chart3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4.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431.xml"/><Relationship Id="rId6" Type="http://schemas.openxmlformats.org/officeDocument/2006/relationships/chart" Target="../charts/chart3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5.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432.xml"/><Relationship Id="rId6" Type="http://schemas.openxmlformats.org/officeDocument/2006/relationships/chart" Target="../charts/chart3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6.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433.xml"/><Relationship Id="rId6" Type="http://schemas.openxmlformats.org/officeDocument/2006/relationships/chart" Target="../charts/chart3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7.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434.xml"/><Relationship Id="rId6" Type="http://schemas.openxmlformats.org/officeDocument/2006/relationships/chart" Target="../charts/chart3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8.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435.xml"/><Relationship Id="rId6" Type="http://schemas.openxmlformats.org/officeDocument/2006/relationships/chart" Target="../charts/chart3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9.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436.xml"/><Relationship Id="rId6" Type="http://schemas.openxmlformats.org/officeDocument/2006/relationships/chart" Target="../charts/chart3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10.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437.xml"/><Relationship Id="rId6" Type="http://schemas.openxmlformats.org/officeDocument/2006/relationships/chart" Target="../charts/chart3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1.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438.xml"/><Relationship Id="rId6" Type="http://schemas.openxmlformats.org/officeDocument/2006/relationships/chart" Target="../charts/chart3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2.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439.xml"/><Relationship Id="rId6" Type="http://schemas.openxmlformats.org/officeDocument/2006/relationships/chart" Target="../charts/chart3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3.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440.xml"/><Relationship Id="rId6" Type="http://schemas.openxmlformats.org/officeDocument/2006/relationships/chart" Target="../charts/chart3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4.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441.xml"/><Relationship Id="rId6" Type="http://schemas.openxmlformats.org/officeDocument/2006/relationships/chart" Target="../charts/chart3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5.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442.xml"/><Relationship Id="rId6" Type="http://schemas.openxmlformats.org/officeDocument/2006/relationships/chart" Target="../charts/chart3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6.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443.xml"/><Relationship Id="rId6" Type="http://schemas.openxmlformats.org/officeDocument/2006/relationships/chart" Target="../charts/chart3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7.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444.xml"/><Relationship Id="rId6" Type="http://schemas.openxmlformats.org/officeDocument/2006/relationships/chart" Target="../charts/chart3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8.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445.xml"/><Relationship Id="rId6" Type="http://schemas.openxmlformats.org/officeDocument/2006/relationships/chart" Target="../charts/chart3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9.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446.xml"/><Relationship Id="rId6" Type="http://schemas.openxmlformats.org/officeDocument/2006/relationships/chart" Target="../charts/chart3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20.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447.xml"/><Relationship Id="rId6" Type="http://schemas.openxmlformats.org/officeDocument/2006/relationships/chart" Target="../charts/chart3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1.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448.xml"/><Relationship Id="rId6" Type="http://schemas.openxmlformats.org/officeDocument/2006/relationships/chart" Target="../charts/chart3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2.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449.xml"/><Relationship Id="rId6" Type="http://schemas.openxmlformats.org/officeDocument/2006/relationships/chart" Target="../charts/chart3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3.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450.xml"/><Relationship Id="rId6" Type="http://schemas.openxmlformats.org/officeDocument/2006/relationships/chart" Target="../charts/chart3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4.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451.xml"/><Relationship Id="rId6" Type="http://schemas.openxmlformats.org/officeDocument/2006/relationships/chart" Target="../charts/chart3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5.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452.xml"/><Relationship Id="rId6" Type="http://schemas.openxmlformats.org/officeDocument/2006/relationships/chart" Target="../charts/chart3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6.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453.xml"/><Relationship Id="rId6" Type="http://schemas.openxmlformats.org/officeDocument/2006/relationships/chart" Target="../charts/chart3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7.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454.xml"/><Relationship Id="rId6" Type="http://schemas.openxmlformats.org/officeDocument/2006/relationships/chart" Target="../charts/chart3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8.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455.xml"/><Relationship Id="rId6" Type="http://schemas.openxmlformats.org/officeDocument/2006/relationships/chart" Target="../charts/chart3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9.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456.xml"/><Relationship Id="rId6" Type="http://schemas.openxmlformats.org/officeDocument/2006/relationships/chart" Target="../charts/chart3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30.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457.xml"/><Relationship Id="rId6" Type="http://schemas.openxmlformats.org/officeDocument/2006/relationships/chart" Target="../charts/chart3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1.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458.xml"/><Relationship Id="rId6" Type="http://schemas.openxmlformats.org/officeDocument/2006/relationships/chart" Target="../charts/chart3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2.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459.xml"/><Relationship Id="rId6" Type="http://schemas.openxmlformats.org/officeDocument/2006/relationships/chart" Target="../charts/chart3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3.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460.xml"/><Relationship Id="rId6" Type="http://schemas.openxmlformats.org/officeDocument/2006/relationships/chart" Target="../charts/chart3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4.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461.xml"/><Relationship Id="rId6" Type="http://schemas.openxmlformats.org/officeDocument/2006/relationships/chart" Target="../charts/chart3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5.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462.xml"/><Relationship Id="rId6" Type="http://schemas.openxmlformats.org/officeDocument/2006/relationships/chart" Target="../charts/chart3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6.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463.xml"/><Relationship Id="rId6" Type="http://schemas.openxmlformats.org/officeDocument/2006/relationships/chart" Target="../charts/chart3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7.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464.xml"/><Relationship Id="rId6" Type="http://schemas.openxmlformats.org/officeDocument/2006/relationships/chart" Target="../charts/chart3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8.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465.xml"/><Relationship Id="rId6" Type="http://schemas.openxmlformats.org/officeDocument/2006/relationships/chart" Target="../charts/chart3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9.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466.xml"/><Relationship Id="rId6" Type="http://schemas.openxmlformats.org/officeDocument/2006/relationships/chart" Target="../charts/chart3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40.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467.xml"/><Relationship Id="rId6" Type="http://schemas.openxmlformats.org/officeDocument/2006/relationships/chart" Target="../charts/chart3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1.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468.xml"/><Relationship Id="rId6" Type="http://schemas.openxmlformats.org/officeDocument/2006/relationships/chart" Target="../charts/chart3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2.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469.xml"/><Relationship Id="rId6" Type="http://schemas.openxmlformats.org/officeDocument/2006/relationships/chart" Target="../charts/chart3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chart" Target="../charts/chart387.xml"/><Relationship Id="rId4" Type="http://schemas.openxmlformats.org/officeDocument/2006/relationships/image" Target="../media/image28.emf"/></Relationships>
</file>

<file path=ppt/slides/_rels/slide4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chart" Target="../charts/chart388.xml"/><Relationship Id="rId4" Type="http://schemas.openxmlformats.org/officeDocument/2006/relationships/image" Target="../media/image28.emf"/></Relationships>
</file>

<file path=ppt/slides/_rels/slide4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chart" Target="../charts/chart389.xml"/><Relationship Id="rId4" Type="http://schemas.openxmlformats.org/officeDocument/2006/relationships/image" Target="../media/image28.emf"/></Relationships>
</file>

<file path=ppt/slides/_rels/slide4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chart" Target="../charts/chart390.xml"/><Relationship Id="rId4" Type="http://schemas.openxmlformats.org/officeDocument/2006/relationships/image" Target="../media/image28.emf"/></Relationships>
</file>

<file path=ppt/slides/_rels/slide4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chart" Target="../charts/chart391.xml"/><Relationship Id="rId4" Type="http://schemas.openxmlformats.org/officeDocument/2006/relationships/image" Target="../media/image28.emf"/></Relationships>
</file>

<file path=ppt/slides/_rels/slide4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chart" Target="../charts/chart392.xml"/><Relationship Id="rId4" Type="http://schemas.openxmlformats.org/officeDocument/2006/relationships/image" Target="../media/image28.emf"/></Relationships>
</file>

<file path=ppt/slides/_rels/slide4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chart" Target="../charts/chart393.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chart" Target="../charts/chart394.xml"/><Relationship Id="rId4" Type="http://schemas.openxmlformats.org/officeDocument/2006/relationships/image" Target="../media/image28.emf"/></Relationships>
</file>

<file path=ppt/slides/_rels/slide4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chart" Target="../charts/chart395.xml"/><Relationship Id="rId4" Type="http://schemas.openxmlformats.org/officeDocument/2006/relationships/image" Target="../media/image28.emf"/></Relationships>
</file>

<file path=ppt/slides/_rels/slide4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chart" Target="../charts/chart396.xml"/><Relationship Id="rId4" Type="http://schemas.openxmlformats.org/officeDocument/2006/relationships/image" Target="../media/image28.emf"/></Relationships>
</file>

<file path=ppt/slides/_rels/slide4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chart" Target="../charts/chart397.xml"/><Relationship Id="rId4" Type="http://schemas.openxmlformats.org/officeDocument/2006/relationships/image" Target="../media/image28.emf"/></Relationships>
</file>

<file path=ppt/slides/_rels/slide4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chart" Target="../charts/chart398.xml"/><Relationship Id="rId4" Type="http://schemas.openxmlformats.org/officeDocument/2006/relationships/image" Target="../media/image28.emf"/></Relationships>
</file>

<file path=ppt/slides/_rels/slide4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chart" Target="../charts/chart399.xml"/><Relationship Id="rId4" Type="http://schemas.openxmlformats.org/officeDocument/2006/relationships/image" Target="../media/image28.emf"/></Relationships>
</file>

<file path=ppt/slides/_rels/slide4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chart" Target="../charts/chart400.xml"/><Relationship Id="rId4" Type="http://schemas.openxmlformats.org/officeDocument/2006/relationships/image" Target="../media/image28.emf"/></Relationships>
</file>

<file path=ppt/slides/_rels/slide4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chart" Target="../charts/chart401.xml"/><Relationship Id="rId4" Type="http://schemas.openxmlformats.org/officeDocument/2006/relationships/image" Target="../media/image28.emf"/></Relationships>
</file>

<file path=ppt/slides/_rels/slide4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chart" Target="../charts/chart402.xml"/><Relationship Id="rId4" Type="http://schemas.openxmlformats.org/officeDocument/2006/relationships/image" Target="../media/image28.emf"/></Relationships>
</file>

<file path=ppt/slides/_rels/slide4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chart" Target="../charts/chart40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chart" Target="../charts/chart404.xml"/><Relationship Id="rId4" Type="http://schemas.openxmlformats.org/officeDocument/2006/relationships/image" Target="../media/image28.emf"/></Relationships>
</file>

<file path=ppt/slides/_rels/slide4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chart" Target="../charts/chart405.xml"/><Relationship Id="rId4" Type="http://schemas.openxmlformats.org/officeDocument/2006/relationships/image" Target="../media/image28.emf"/></Relationships>
</file>

<file path=ppt/slides/_rels/slide4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chart" Target="../charts/chart406.xml"/><Relationship Id="rId4" Type="http://schemas.openxmlformats.org/officeDocument/2006/relationships/image" Target="../media/image28.emf"/></Relationships>
</file>

<file path=ppt/slides/_rels/slide4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0.xml"/><Relationship Id="rId5" Type="http://schemas.openxmlformats.org/officeDocument/2006/relationships/chart" Target="../charts/chart407.xml"/><Relationship Id="rId4" Type="http://schemas.openxmlformats.org/officeDocument/2006/relationships/image" Target="../media/image28.emf"/></Relationships>
</file>

<file path=ppt/slides/_rels/slide4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1.xml"/><Relationship Id="rId5" Type="http://schemas.openxmlformats.org/officeDocument/2006/relationships/chart" Target="../charts/chart408.xml"/><Relationship Id="rId4" Type="http://schemas.openxmlformats.org/officeDocument/2006/relationships/image" Target="../media/image28.emf"/></Relationships>
</file>

<file path=ppt/slides/_rels/slide4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2.xml"/><Relationship Id="rId5" Type="http://schemas.openxmlformats.org/officeDocument/2006/relationships/chart" Target="../charts/chart409.xml"/><Relationship Id="rId4" Type="http://schemas.openxmlformats.org/officeDocument/2006/relationships/image" Target="../media/image28.emf"/></Relationships>
</file>

<file path=ppt/slides/_rels/slide4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3.xml"/><Relationship Id="rId5" Type="http://schemas.openxmlformats.org/officeDocument/2006/relationships/chart" Target="../charts/chart410.xml"/><Relationship Id="rId4" Type="http://schemas.openxmlformats.org/officeDocument/2006/relationships/image" Target="../media/image28.emf"/></Relationships>
</file>

<file path=ppt/slides/_rels/slide4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4.xml"/><Relationship Id="rId5" Type="http://schemas.openxmlformats.org/officeDocument/2006/relationships/chart" Target="../charts/chart411.xml"/><Relationship Id="rId4" Type="http://schemas.openxmlformats.org/officeDocument/2006/relationships/image" Target="../media/image28.emf"/></Relationships>
</file>

<file path=ppt/slides/_rels/slide4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5.xml"/><Relationship Id="rId5" Type="http://schemas.openxmlformats.org/officeDocument/2006/relationships/chart" Target="../charts/chart412.xml"/><Relationship Id="rId4" Type="http://schemas.openxmlformats.org/officeDocument/2006/relationships/image" Target="../media/image28.emf"/></Relationships>
</file>

<file path=ppt/slides/_rels/slide4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6.xml"/><Relationship Id="rId5" Type="http://schemas.openxmlformats.org/officeDocument/2006/relationships/chart" Target="../charts/chart413.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7.xml"/><Relationship Id="rId5" Type="http://schemas.openxmlformats.org/officeDocument/2006/relationships/chart" Target="../charts/chart414.xml"/><Relationship Id="rId4" Type="http://schemas.openxmlformats.org/officeDocument/2006/relationships/image" Target="../media/image28.emf"/></Relationships>
</file>

<file path=ppt/slides/_rels/slide4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8.xml"/><Relationship Id="rId5" Type="http://schemas.openxmlformats.org/officeDocument/2006/relationships/chart" Target="../charts/chart415.xml"/><Relationship Id="rId4" Type="http://schemas.openxmlformats.org/officeDocument/2006/relationships/image" Target="../media/image28.emf"/></Relationships>
</file>

<file path=ppt/slides/_rels/slide4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9.xml"/><Relationship Id="rId5" Type="http://schemas.openxmlformats.org/officeDocument/2006/relationships/chart" Target="../charts/chart416.xml"/><Relationship Id="rId4" Type="http://schemas.openxmlformats.org/officeDocument/2006/relationships/image" Target="../media/image28.emf"/></Relationships>
</file>

<file path=ppt/slides/_rels/slide4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0.xml"/><Relationship Id="rId5" Type="http://schemas.openxmlformats.org/officeDocument/2006/relationships/chart" Target="../charts/chart417.xml"/><Relationship Id="rId4" Type="http://schemas.openxmlformats.org/officeDocument/2006/relationships/image" Target="../media/image28.emf"/></Relationships>
</file>

<file path=ppt/slides/_rels/slide4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1.xml"/><Relationship Id="rId5" Type="http://schemas.openxmlformats.org/officeDocument/2006/relationships/chart" Target="../charts/chart418.xml"/><Relationship Id="rId4" Type="http://schemas.openxmlformats.org/officeDocument/2006/relationships/image" Target="../media/image28.emf"/></Relationships>
</file>

<file path=ppt/slides/_rels/slide4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2.xml"/><Relationship Id="rId5" Type="http://schemas.openxmlformats.org/officeDocument/2006/relationships/chart" Target="../charts/chart419.xml"/><Relationship Id="rId4" Type="http://schemas.openxmlformats.org/officeDocument/2006/relationships/image" Target="../media/image28.emf"/></Relationships>
</file>

<file path=ppt/slides/_rels/slide4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3.xml"/><Relationship Id="rId5" Type="http://schemas.openxmlformats.org/officeDocument/2006/relationships/chart" Target="../charts/chart420.xml"/><Relationship Id="rId4" Type="http://schemas.openxmlformats.org/officeDocument/2006/relationships/image" Target="../media/image28.emf"/></Relationships>
</file>

<file path=ppt/slides/_rels/slide4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4.xml"/><Relationship Id="rId5" Type="http://schemas.openxmlformats.org/officeDocument/2006/relationships/chart" Target="../charts/chart421.xml"/><Relationship Id="rId4" Type="http://schemas.openxmlformats.org/officeDocument/2006/relationships/image" Target="../media/image28.emf"/></Relationships>
</file>

<file path=ppt/slides/_rels/slide4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5.xml"/><Relationship Id="rId5" Type="http://schemas.openxmlformats.org/officeDocument/2006/relationships/chart" Target="../charts/chart422.xml"/><Relationship Id="rId4" Type="http://schemas.openxmlformats.org/officeDocument/2006/relationships/image" Target="../media/image28.emf"/></Relationships>
</file>

<file path=ppt/slides/_rels/slide4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6.xml"/><Relationship Id="rId5" Type="http://schemas.openxmlformats.org/officeDocument/2006/relationships/chart" Target="../charts/chart423.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7.xml"/><Relationship Id="rId5" Type="http://schemas.openxmlformats.org/officeDocument/2006/relationships/chart" Target="../charts/chart424.xml"/><Relationship Id="rId4" Type="http://schemas.openxmlformats.org/officeDocument/2006/relationships/image" Target="../media/image28.emf"/></Relationships>
</file>

<file path=ppt/slides/_rels/slide4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8.xml"/><Relationship Id="rId5" Type="http://schemas.openxmlformats.org/officeDocument/2006/relationships/chart" Target="../charts/chart425.xml"/><Relationship Id="rId4" Type="http://schemas.openxmlformats.org/officeDocument/2006/relationships/image" Target="../media/image28.emf"/></Relationships>
</file>

<file path=ppt/slides/_rels/slide4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9.xml"/><Relationship Id="rId5" Type="http://schemas.openxmlformats.org/officeDocument/2006/relationships/chart" Target="../charts/chart426.xml"/><Relationship Id="rId4" Type="http://schemas.openxmlformats.org/officeDocument/2006/relationships/image" Target="../media/image28.emf"/></Relationships>
</file>

<file path=ppt/slides/_rels/slide4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0.xml"/><Relationship Id="rId5" Type="http://schemas.openxmlformats.org/officeDocument/2006/relationships/chart" Target="../charts/chart427.xml"/><Relationship Id="rId4" Type="http://schemas.openxmlformats.org/officeDocument/2006/relationships/image" Target="../media/image28.emf"/></Relationships>
</file>

<file path=ppt/slides/_rels/slide4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1.xml"/><Relationship Id="rId5" Type="http://schemas.openxmlformats.org/officeDocument/2006/relationships/chart" Target="../charts/chart428.xml"/><Relationship Id="rId4" Type="http://schemas.openxmlformats.org/officeDocument/2006/relationships/image" Target="../media/image28.emf"/></Relationships>
</file>

<file path=ppt/slides/_rels/slide4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2.xml"/><Relationship Id="rId5" Type="http://schemas.openxmlformats.org/officeDocument/2006/relationships/chart" Target="../charts/chart429.xml"/><Relationship Id="rId4" Type="http://schemas.openxmlformats.org/officeDocument/2006/relationships/image" Target="../media/image28.emf"/></Relationships>
</file>

<file path=ppt/slides/_rels/slide4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3.xml"/><Relationship Id="rId5" Type="http://schemas.openxmlformats.org/officeDocument/2006/relationships/chart" Target="../charts/chart430.xml"/><Relationship Id="rId4" Type="http://schemas.openxmlformats.org/officeDocument/2006/relationships/image" Target="../media/image28.emf"/></Relationships>
</file>

<file path=ppt/slides/_rels/slide4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4.xml"/><Relationship Id="rId5" Type="http://schemas.openxmlformats.org/officeDocument/2006/relationships/chart" Target="../charts/chart431.xml"/><Relationship Id="rId4" Type="http://schemas.openxmlformats.org/officeDocument/2006/relationships/image" Target="../media/image28.emf"/></Relationships>
</file>

<file path=ppt/slides/_rels/slide4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5.xml"/><Relationship Id="rId5" Type="http://schemas.openxmlformats.org/officeDocument/2006/relationships/chart" Target="../charts/chart432.xml"/><Relationship Id="rId4" Type="http://schemas.openxmlformats.org/officeDocument/2006/relationships/image" Target="../media/image28.emf"/></Relationships>
</file>

<file path=ppt/slides/_rels/slide4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6.xml"/><Relationship Id="rId5" Type="http://schemas.openxmlformats.org/officeDocument/2006/relationships/chart" Target="../charts/chart433.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4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7.xml"/><Relationship Id="rId5" Type="http://schemas.openxmlformats.org/officeDocument/2006/relationships/chart" Target="../charts/chart434.xml"/><Relationship Id="rId4" Type="http://schemas.openxmlformats.org/officeDocument/2006/relationships/image" Target="../media/image28.emf"/></Relationships>
</file>

<file path=ppt/slides/_rels/slide4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8.xml"/><Relationship Id="rId5" Type="http://schemas.openxmlformats.org/officeDocument/2006/relationships/chart" Target="../charts/chart435.xml"/><Relationship Id="rId4" Type="http://schemas.openxmlformats.org/officeDocument/2006/relationships/image" Target="../media/image28.emf"/></Relationships>
</file>

<file path=ppt/slides/_rels/slide4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9.xml"/><Relationship Id="rId5" Type="http://schemas.openxmlformats.org/officeDocument/2006/relationships/chart" Target="../charts/chart436.xml"/><Relationship Id="rId4" Type="http://schemas.openxmlformats.org/officeDocument/2006/relationships/image" Target="../media/image28.emf"/></Relationships>
</file>

<file path=ppt/slides/_rels/slide4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0.xml"/><Relationship Id="rId5" Type="http://schemas.openxmlformats.org/officeDocument/2006/relationships/chart" Target="../charts/chart437.xml"/><Relationship Id="rId4" Type="http://schemas.openxmlformats.org/officeDocument/2006/relationships/image" Target="../media/image28.emf"/></Relationships>
</file>

<file path=ppt/slides/_rels/slide4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1.xml"/><Relationship Id="rId5" Type="http://schemas.openxmlformats.org/officeDocument/2006/relationships/chart" Target="../charts/chart438.xml"/><Relationship Id="rId4" Type="http://schemas.openxmlformats.org/officeDocument/2006/relationships/image" Target="../media/image28.emf"/></Relationships>
</file>

<file path=ppt/slides/_rels/slide4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2.xml"/><Relationship Id="rId5" Type="http://schemas.openxmlformats.org/officeDocument/2006/relationships/chart" Target="../charts/chart439.xml"/><Relationship Id="rId4" Type="http://schemas.openxmlformats.org/officeDocument/2006/relationships/image" Target="../media/image28.emf"/></Relationships>
</file>

<file path=ppt/slides/_rels/slide4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3.xml"/><Relationship Id="rId5" Type="http://schemas.openxmlformats.org/officeDocument/2006/relationships/chart" Target="../charts/chart440.xml"/><Relationship Id="rId4" Type="http://schemas.openxmlformats.org/officeDocument/2006/relationships/image" Target="../media/image28.emf"/></Relationships>
</file>

<file path=ppt/slides/_rels/slide4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4.xml"/><Relationship Id="rId5" Type="http://schemas.openxmlformats.org/officeDocument/2006/relationships/chart" Target="../charts/chart441.xml"/><Relationship Id="rId4" Type="http://schemas.openxmlformats.org/officeDocument/2006/relationships/image" Target="../media/image28.emf"/></Relationships>
</file>

<file path=ppt/slides/_rels/slide4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5.xml"/><Relationship Id="rId5" Type="http://schemas.openxmlformats.org/officeDocument/2006/relationships/chart" Target="../charts/chart442.xml"/><Relationship Id="rId4" Type="http://schemas.openxmlformats.org/officeDocument/2006/relationships/image" Target="../media/image28.emf"/></Relationships>
</file>

<file path=ppt/slides/_rels/slide4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6.xml"/><Relationship Id="rId5" Type="http://schemas.openxmlformats.org/officeDocument/2006/relationships/chart" Target="../charts/chart443.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7.xml"/><Relationship Id="rId5" Type="http://schemas.openxmlformats.org/officeDocument/2006/relationships/chart" Target="../charts/chart444.xml"/><Relationship Id="rId4" Type="http://schemas.openxmlformats.org/officeDocument/2006/relationships/image" Target="../media/image28.emf"/></Relationships>
</file>

<file path=ppt/slides/_rels/slide5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8.xml"/><Relationship Id="rId5" Type="http://schemas.openxmlformats.org/officeDocument/2006/relationships/chart" Target="../charts/chart445.xml"/><Relationship Id="rId4" Type="http://schemas.openxmlformats.org/officeDocument/2006/relationships/image" Target="../media/image28.emf"/></Relationships>
</file>

<file path=ppt/slides/_rels/slide5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9.xml"/><Relationship Id="rId5" Type="http://schemas.openxmlformats.org/officeDocument/2006/relationships/chart" Target="../charts/chart446.xml"/><Relationship Id="rId4" Type="http://schemas.openxmlformats.org/officeDocument/2006/relationships/image" Target="../media/image28.emf"/></Relationships>
</file>

<file path=ppt/slides/_rels/slide5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0.xml"/><Relationship Id="rId5" Type="http://schemas.openxmlformats.org/officeDocument/2006/relationships/chart" Target="../charts/chart447.xml"/><Relationship Id="rId4" Type="http://schemas.openxmlformats.org/officeDocument/2006/relationships/image" Target="../media/image28.emf"/></Relationships>
</file>

<file path=ppt/slides/_rels/slide5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1.xml"/><Relationship Id="rId5" Type="http://schemas.openxmlformats.org/officeDocument/2006/relationships/chart" Target="../charts/chart448.xml"/><Relationship Id="rId4" Type="http://schemas.openxmlformats.org/officeDocument/2006/relationships/image" Target="../media/image28.emf"/></Relationships>
</file>

<file path=ppt/slides/_rels/slide5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2.xml"/><Relationship Id="rId5" Type="http://schemas.openxmlformats.org/officeDocument/2006/relationships/chart" Target="../charts/chart449.xml"/><Relationship Id="rId4" Type="http://schemas.openxmlformats.org/officeDocument/2006/relationships/image" Target="../media/image28.emf"/></Relationships>
</file>

<file path=ppt/slides/_rels/slide5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3.xml"/><Relationship Id="rId5" Type="http://schemas.openxmlformats.org/officeDocument/2006/relationships/chart" Target="../charts/chart450.xml"/><Relationship Id="rId4" Type="http://schemas.openxmlformats.org/officeDocument/2006/relationships/image" Target="../media/image28.emf"/></Relationships>
</file>

<file path=ppt/slides/_rels/slide5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4.xml"/><Relationship Id="rId5" Type="http://schemas.openxmlformats.org/officeDocument/2006/relationships/chart" Target="../charts/chart451.xml"/><Relationship Id="rId4" Type="http://schemas.openxmlformats.org/officeDocument/2006/relationships/image" Target="../media/image28.emf"/></Relationships>
</file>

<file path=ppt/slides/_rels/slide5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5.xml"/><Relationship Id="rId5" Type="http://schemas.openxmlformats.org/officeDocument/2006/relationships/chart" Target="../charts/chart452.xml"/><Relationship Id="rId4" Type="http://schemas.openxmlformats.org/officeDocument/2006/relationships/image" Target="../media/image28.emf"/></Relationships>
</file>

<file path=ppt/slides/_rels/slide5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6.xml"/><Relationship Id="rId5" Type="http://schemas.openxmlformats.org/officeDocument/2006/relationships/chart" Target="../charts/chart453.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7.xml"/><Relationship Id="rId5" Type="http://schemas.openxmlformats.org/officeDocument/2006/relationships/chart" Target="../charts/chart454.xml"/><Relationship Id="rId4" Type="http://schemas.openxmlformats.org/officeDocument/2006/relationships/image" Target="../media/image28.emf"/></Relationships>
</file>

<file path=ppt/slides/_rels/slide5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8.xml"/><Relationship Id="rId5" Type="http://schemas.openxmlformats.org/officeDocument/2006/relationships/chart" Target="../charts/chart455.xml"/><Relationship Id="rId4" Type="http://schemas.openxmlformats.org/officeDocument/2006/relationships/image" Target="../media/image28.emf"/></Relationships>
</file>

<file path=ppt/slides/_rels/slide5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9.xml"/><Relationship Id="rId5" Type="http://schemas.openxmlformats.org/officeDocument/2006/relationships/chart" Target="../charts/chart456.xml"/><Relationship Id="rId4" Type="http://schemas.openxmlformats.org/officeDocument/2006/relationships/image" Target="../media/image28.emf"/></Relationships>
</file>

<file path=ppt/slides/_rels/slide5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0.xml"/><Relationship Id="rId5" Type="http://schemas.openxmlformats.org/officeDocument/2006/relationships/chart" Target="../charts/chart457.xml"/><Relationship Id="rId4" Type="http://schemas.openxmlformats.org/officeDocument/2006/relationships/image" Target="../media/image28.emf"/></Relationships>
</file>

<file path=ppt/slides/_rels/slide5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1.xml"/><Relationship Id="rId5" Type="http://schemas.openxmlformats.org/officeDocument/2006/relationships/chart" Target="../charts/chart458.xml"/><Relationship Id="rId4" Type="http://schemas.openxmlformats.org/officeDocument/2006/relationships/image" Target="../media/image28.emf"/></Relationships>
</file>

<file path=ppt/slides/_rels/slide5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2.xml"/><Relationship Id="rId5" Type="http://schemas.openxmlformats.org/officeDocument/2006/relationships/chart" Target="../charts/chart459.xml"/><Relationship Id="rId4" Type="http://schemas.openxmlformats.org/officeDocument/2006/relationships/image" Target="../media/image28.emf"/></Relationships>
</file>

<file path=ppt/slides/_rels/slide5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3.xml"/><Relationship Id="rId5" Type="http://schemas.openxmlformats.org/officeDocument/2006/relationships/chart" Target="../charts/chart460.xml"/><Relationship Id="rId4" Type="http://schemas.openxmlformats.org/officeDocument/2006/relationships/image" Target="../media/image28.emf"/></Relationships>
</file>

<file path=ppt/slides/_rels/slide5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4.xml"/><Relationship Id="rId5" Type="http://schemas.openxmlformats.org/officeDocument/2006/relationships/chart" Target="../charts/chart461.xml"/><Relationship Id="rId4" Type="http://schemas.openxmlformats.org/officeDocument/2006/relationships/image" Target="../media/image28.emf"/></Relationships>
</file>

<file path=ppt/slides/_rels/slide5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5.xml"/><Relationship Id="rId5" Type="http://schemas.openxmlformats.org/officeDocument/2006/relationships/chart" Target="../charts/chart462.xml"/><Relationship Id="rId4" Type="http://schemas.openxmlformats.org/officeDocument/2006/relationships/image" Target="../media/image28.emf"/></Relationships>
</file>

<file path=ppt/slides/_rels/slide5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6.xml"/><Relationship Id="rId5" Type="http://schemas.openxmlformats.org/officeDocument/2006/relationships/chart" Target="../charts/chart463.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7.xml"/><Relationship Id="rId5" Type="http://schemas.openxmlformats.org/officeDocument/2006/relationships/chart" Target="../charts/chart464.xml"/><Relationship Id="rId4" Type="http://schemas.openxmlformats.org/officeDocument/2006/relationships/image" Target="../media/image28.emf"/></Relationships>
</file>

<file path=ppt/slides/_rels/slide5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8.xml"/><Relationship Id="rId5" Type="http://schemas.openxmlformats.org/officeDocument/2006/relationships/chart" Target="../charts/chart465.xml"/><Relationship Id="rId4" Type="http://schemas.openxmlformats.org/officeDocument/2006/relationships/image" Target="../media/image28.emf"/></Relationships>
</file>

<file path=ppt/slides/_rels/slide5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9.xml"/><Relationship Id="rId5" Type="http://schemas.openxmlformats.org/officeDocument/2006/relationships/chart" Target="../charts/chart466.xml"/><Relationship Id="rId4" Type="http://schemas.openxmlformats.org/officeDocument/2006/relationships/image" Target="../media/image28.emf"/></Relationships>
</file>

<file path=ppt/slides/_rels/slide5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0.xml"/><Relationship Id="rId5" Type="http://schemas.openxmlformats.org/officeDocument/2006/relationships/chart" Target="../charts/chart467.xml"/><Relationship Id="rId4" Type="http://schemas.openxmlformats.org/officeDocument/2006/relationships/image" Target="../media/image28.emf"/></Relationships>
</file>

<file path=ppt/slides/_rels/slide5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1.xml"/><Relationship Id="rId5" Type="http://schemas.openxmlformats.org/officeDocument/2006/relationships/chart" Target="../charts/chart468.xml"/><Relationship Id="rId4" Type="http://schemas.openxmlformats.org/officeDocument/2006/relationships/image" Target="../media/image28.emf"/></Relationships>
</file>

<file path=ppt/slides/_rels/slide5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2.xml"/><Relationship Id="rId5" Type="http://schemas.openxmlformats.org/officeDocument/2006/relationships/chart" Target="../charts/chart469.xml"/><Relationship Id="rId4" Type="http://schemas.openxmlformats.org/officeDocument/2006/relationships/image" Target="../media/image28.emf"/></Relationships>
</file>

<file path=ppt/slides/_rels/slide5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3.xml"/><Relationship Id="rId5" Type="http://schemas.openxmlformats.org/officeDocument/2006/relationships/chart" Target="../charts/chart470.xml"/><Relationship Id="rId4" Type="http://schemas.openxmlformats.org/officeDocument/2006/relationships/image" Target="../media/image28.emf"/></Relationships>
</file>

<file path=ppt/slides/_rels/slide5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4.xml"/><Relationship Id="rId5" Type="http://schemas.openxmlformats.org/officeDocument/2006/relationships/chart" Target="../charts/chart471.xml"/><Relationship Id="rId4" Type="http://schemas.openxmlformats.org/officeDocument/2006/relationships/image" Target="../media/image28.emf"/></Relationships>
</file>

<file path=ppt/slides/_rels/slide5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5.xml"/><Relationship Id="rId5" Type="http://schemas.openxmlformats.org/officeDocument/2006/relationships/chart" Target="../charts/chart472.xml"/><Relationship Id="rId4" Type="http://schemas.openxmlformats.org/officeDocument/2006/relationships/image" Target="../media/image28.emf"/></Relationships>
</file>

<file path=ppt/slides/_rels/slide5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6.xml"/><Relationship Id="rId5" Type="http://schemas.openxmlformats.org/officeDocument/2006/relationships/chart" Target="../charts/chart473.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7.xml"/><Relationship Id="rId5" Type="http://schemas.openxmlformats.org/officeDocument/2006/relationships/chart" Target="../charts/chart474.xml"/><Relationship Id="rId4" Type="http://schemas.openxmlformats.org/officeDocument/2006/relationships/image" Target="../media/image28.emf"/></Relationships>
</file>

<file path=ppt/slides/_rels/slide5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8.xml"/><Relationship Id="rId5" Type="http://schemas.openxmlformats.org/officeDocument/2006/relationships/chart" Target="../charts/chart475.xml"/><Relationship Id="rId4" Type="http://schemas.openxmlformats.org/officeDocument/2006/relationships/image" Target="../media/image28.emf"/></Relationships>
</file>

<file path=ppt/slides/_rels/slide5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9.xml"/><Relationship Id="rId5" Type="http://schemas.openxmlformats.org/officeDocument/2006/relationships/chart" Target="../charts/chart476.xml"/><Relationship Id="rId4" Type="http://schemas.openxmlformats.org/officeDocument/2006/relationships/image" Target="../media/image28.emf"/></Relationships>
</file>

<file path=ppt/slides/_rels/slide5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0.xml"/><Relationship Id="rId5" Type="http://schemas.openxmlformats.org/officeDocument/2006/relationships/chart" Target="../charts/chart477.xml"/><Relationship Id="rId4" Type="http://schemas.openxmlformats.org/officeDocument/2006/relationships/image" Target="../media/image28.emf"/></Relationships>
</file>

<file path=ppt/slides/_rels/slide5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1.xml"/><Relationship Id="rId5" Type="http://schemas.openxmlformats.org/officeDocument/2006/relationships/chart" Target="../charts/chart478.xml"/><Relationship Id="rId4" Type="http://schemas.openxmlformats.org/officeDocument/2006/relationships/image" Target="../media/image28.emf"/></Relationships>
</file>

<file path=ppt/slides/_rels/slide5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2.xml"/><Relationship Id="rId5" Type="http://schemas.openxmlformats.org/officeDocument/2006/relationships/chart" Target="../charts/chart479.xml"/><Relationship Id="rId4" Type="http://schemas.openxmlformats.org/officeDocument/2006/relationships/image" Target="../media/image28.emf"/></Relationships>
</file>

<file path=ppt/slides/_rels/slide5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3.xml"/><Relationship Id="rId5" Type="http://schemas.openxmlformats.org/officeDocument/2006/relationships/chart" Target="../charts/chart480.xml"/><Relationship Id="rId4" Type="http://schemas.openxmlformats.org/officeDocument/2006/relationships/image" Target="../media/image28.emf"/></Relationships>
</file>

<file path=ppt/slides/_rels/slide5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4.xml"/><Relationship Id="rId5" Type="http://schemas.openxmlformats.org/officeDocument/2006/relationships/chart" Target="../charts/chart481.xml"/><Relationship Id="rId4" Type="http://schemas.openxmlformats.org/officeDocument/2006/relationships/image" Target="../media/image28.emf"/></Relationships>
</file>

<file path=ppt/slides/_rels/slide5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5.xml"/><Relationship Id="rId5" Type="http://schemas.openxmlformats.org/officeDocument/2006/relationships/chart" Target="../charts/chart482.xml"/><Relationship Id="rId4" Type="http://schemas.openxmlformats.org/officeDocument/2006/relationships/image" Target="../media/image28.emf"/></Relationships>
</file>

<file path=ppt/slides/_rels/slide5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6.xml"/><Relationship Id="rId5" Type="http://schemas.openxmlformats.org/officeDocument/2006/relationships/chart" Target="../charts/chart483.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7.xml"/><Relationship Id="rId5" Type="http://schemas.openxmlformats.org/officeDocument/2006/relationships/chart" Target="../charts/chart484.xml"/><Relationship Id="rId4" Type="http://schemas.openxmlformats.org/officeDocument/2006/relationships/image" Target="../media/image28.emf"/></Relationships>
</file>

<file path=ppt/slides/_rels/slide5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8.xml"/><Relationship Id="rId5" Type="http://schemas.openxmlformats.org/officeDocument/2006/relationships/chart" Target="../charts/chart485.xml"/><Relationship Id="rId4" Type="http://schemas.openxmlformats.org/officeDocument/2006/relationships/image" Target="../media/image28.emf"/></Relationships>
</file>

<file path=ppt/slides/_rels/slide5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9.xml"/><Relationship Id="rId5" Type="http://schemas.openxmlformats.org/officeDocument/2006/relationships/chart" Target="../charts/chart486.xml"/><Relationship Id="rId4" Type="http://schemas.openxmlformats.org/officeDocument/2006/relationships/image" Target="../media/image28.emf"/></Relationships>
</file>

<file path=ppt/slides/_rels/slide5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0.xml"/><Relationship Id="rId5" Type="http://schemas.openxmlformats.org/officeDocument/2006/relationships/chart" Target="../charts/chart487.xml"/><Relationship Id="rId4" Type="http://schemas.openxmlformats.org/officeDocument/2006/relationships/image" Target="../media/image28.emf"/></Relationships>
</file>

<file path=ppt/slides/_rels/slide5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1.xml"/><Relationship Id="rId5" Type="http://schemas.openxmlformats.org/officeDocument/2006/relationships/chart" Target="../charts/chart488.xml"/><Relationship Id="rId4" Type="http://schemas.openxmlformats.org/officeDocument/2006/relationships/image" Target="../media/image28.emf"/></Relationships>
</file>

<file path=ppt/slides/_rels/slide5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2.xml"/><Relationship Id="rId5" Type="http://schemas.openxmlformats.org/officeDocument/2006/relationships/chart" Target="../charts/chart489.xml"/><Relationship Id="rId4" Type="http://schemas.openxmlformats.org/officeDocument/2006/relationships/image" Target="../media/image28.emf"/></Relationships>
</file>

<file path=ppt/slides/_rels/slide5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3.xml"/><Relationship Id="rId5" Type="http://schemas.openxmlformats.org/officeDocument/2006/relationships/chart" Target="../charts/chart490.xml"/><Relationship Id="rId4" Type="http://schemas.openxmlformats.org/officeDocument/2006/relationships/image" Target="../media/image28.emf"/></Relationships>
</file>

<file path=ppt/slides/_rels/slide5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4.xml"/><Relationship Id="rId5" Type="http://schemas.openxmlformats.org/officeDocument/2006/relationships/chart" Target="../charts/chart491.xml"/><Relationship Id="rId4" Type="http://schemas.openxmlformats.org/officeDocument/2006/relationships/image" Target="../media/image28.emf"/></Relationships>
</file>

<file path=ppt/slides/_rels/slide5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5.xml"/><Relationship Id="rId5" Type="http://schemas.openxmlformats.org/officeDocument/2006/relationships/chart" Target="../charts/chart492.xml"/><Relationship Id="rId4" Type="http://schemas.openxmlformats.org/officeDocument/2006/relationships/image" Target="../media/image28.emf"/></Relationships>
</file>

<file path=ppt/slides/_rels/slide5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6.xml"/><Relationship Id="rId5" Type="http://schemas.openxmlformats.org/officeDocument/2006/relationships/chart" Target="../charts/chart493.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7.xml"/><Relationship Id="rId5" Type="http://schemas.openxmlformats.org/officeDocument/2006/relationships/chart" Target="../charts/chart494.xml"/><Relationship Id="rId4" Type="http://schemas.openxmlformats.org/officeDocument/2006/relationships/image" Target="../media/image28.emf"/></Relationships>
</file>

<file path=ppt/slides/_rels/slide551.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5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2.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5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3.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5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4.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7.xml"/><Relationship Id="rId1" Type="http://schemas.openxmlformats.org/officeDocument/2006/relationships/tags" Target="../tags/tag5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5.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7.xml"/><Relationship Id="rId1" Type="http://schemas.openxmlformats.org/officeDocument/2006/relationships/tags" Target="../tags/tag5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6.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7.xml"/><Relationship Id="rId1" Type="http://schemas.openxmlformats.org/officeDocument/2006/relationships/tags" Target="../tags/tag5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7.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7.xml"/><Relationship Id="rId1" Type="http://schemas.openxmlformats.org/officeDocument/2006/relationships/tags" Target="../tags/tag5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8.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7.xml"/><Relationship Id="rId1" Type="http://schemas.openxmlformats.org/officeDocument/2006/relationships/tags" Target="../tags/tag5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9.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7.xml"/><Relationship Id="rId1" Type="http://schemas.openxmlformats.org/officeDocument/2006/relationships/tags" Target="../tags/tag5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60.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7.xml"/><Relationship Id="rId1" Type="http://schemas.openxmlformats.org/officeDocument/2006/relationships/tags" Target="../tags/tag5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1.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7.xml"/><Relationship Id="rId1" Type="http://schemas.openxmlformats.org/officeDocument/2006/relationships/tags" Target="../tags/tag5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2.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7.xml"/><Relationship Id="rId1" Type="http://schemas.openxmlformats.org/officeDocument/2006/relationships/tags" Target="../tags/tag5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3.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7.xml"/><Relationship Id="rId1" Type="http://schemas.openxmlformats.org/officeDocument/2006/relationships/tags" Target="../tags/tag5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4.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7.xml"/><Relationship Id="rId1" Type="http://schemas.openxmlformats.org/officeDocument/2006/relationships/tags" Target="../tags/tag5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5.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7.xml"/><Relationship Id="rId1" Type="http://schemas.openxmlformats.org/officeDocument/2006/relationships/tags" Target="../tags/tag5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6.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7.xml"/><Relationship Id="rId1" Type="http://schemas.openxmlformats.org/officeDocument/2006/relationships/tags" Target="../tags/tag5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7.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7.xml"/><Relationship Id="rId1" Type="http://schemas.openxmlformats.org/officeDocument/2006/relationships/tags" Target="../tags/tag5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8.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7.xml"/><Relationship Id="rId1" Type="http://schemas.openxmlformats.org/officeDocument/2006/relationships/tags" Target="../tags/tag5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9.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7.xml"/><Relationship Id="rId1" Type="http://schemas.openxmlformats.org/officeDocument/2006/relationships/tags" Target="../tags/tag5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70.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7.xml"/><Relationship Id="rId1" Type="http://schemas.openxmlformats.org/officeDocument/2006/relationships/tags" Target="../tags/tag5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1.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7.xml"/><Relationship Id="rId1" Type="http://schemas.openxmlformats.org/officeDocument/2006/relationships/tags" Target="../tags/tag5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2.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7.xml"/><Relationship Id="rId1" Type="http://schemas.openxmlformats.org/officeDocument/2006/relationships/tags" Target="../tags/tag5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3.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7.xml"/><Relationship Id="rId1" Type="http://schemas.openxmlformats.org/officeDocument/2006/relationships/tags" Target="../tags/tag6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4.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7.xml"/><Relationship Id="rId1" Type="http://schemas.openxmlformats.org/officeDocument/2006/relationships/tags" Target="../tags/tag6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5.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7.xml"/><Relationship Id="rId1" Type="http://schemas.openxmlformats.org/officeDocument/2006/relationships/tags" Target="../tags/tag6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6.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7.xml"/><Relationship Id="rId1" Type="http://schemas.openxmlformats.org/officeDocument/2006/relationships/tags" Target="../tags/tag6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7.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7.xml"/><Relationship Id="rId1" Type="http://schemas.openxmlformats.org/officeDocument/2006/relationships/tags" Target="../tags/tag6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8.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7.xml"/><Relationship Id="rId1" Type="http://schemas.openxmlformats.org/officeDocument/2006/relationships/tags" Target="../tags/tag6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9.xml.rels><?xml version="1.0" encoding="UTF-8" standalone="yes"?>
<Relationships xmlns="http://schemas.openxmlformats.org/package/2006/relationships"><Relationship Id="rId3" Type="http://schemas.openxmlformats.org/officeDocument/2006/relationships/notesSlide" Target="../notesSlides/notesSlide137.xml"/><Relationship Id="rId2" Type="http://schemas.openxmlformats.org/officeDocument/2006/relationships/slideLayout" Target="../slideLayouts/slideLayout7.xml"/><Relationship Id="rId1" Type="http://schemas.openxmlformats.org/officeDocument/2006/relationships/tags" Target="../tags/tag6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80.xml.rels><?xml version="1.0" encoding="UTF-8" standalone="yes"?>
<Relationships xmlns="http://schemas.openxmlformats.org/package/2006/relationships"><Relationship Id="rId3" Type="http://schemas.openxmlformats.org/officeDocument/2006/relationships/notesSlide" Target="../notesSlides/notesSlide138.xml"/><Relationship Id="rId2" Type="http://schemas.openxmlformats.org/officeDocument/2006/relationships/slideLayout" Target="../slideLayouts/slideLayout7.xml"/><Relationship Id="rId1" Type="http://schemas.openxmlformats.org/officeDocument/2006/relationships/tags" Target="../tags/tag6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1.xml.rels><?xml version="1.0" encoding="UTF-8" standalone="yes"?>
<Relationships xmlns="http://schemas.openxmlformats.org/package/2006/relationships"><Relationship Id="rId3" Type="http://schemas.openxmlformats.org/officeDocument/2006/relationships/notesSlide" Target="../notesSlides/notesSlide139.xml"/><Relationship Id="rId2" Type="http://schemas.openxmlformats.org/officeDocument/2006/relationships/slideLayout" Target="../slideLayouts/slideLayout7.xml"/><Relationship Id="rId1" Type="http://schemas.openxmlformats.org/officeDocument/2006/relationships/tags" Target="../tags/tag6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2.xml.rels><?xml version="1.0" encoding="UTF-8" standalone="yes"?>
<Relationships xmlns="http://schemas.openxmlformats.org/package/2006/relationships"><Relationship Id="rId3" Type="http://schemas.openxmlformats.org/officeDocument/2006/relationships/notesSlide" Target="../notesSlides/notesSlide140.xml"/><Relationship Id="rId2" Type="http://schemas.openxmlformats.org/officeDocument/2006/relationships/slideLayout" Target="../slideLayouts/slideLayout7.xml"/><Relationship Id="rId1" Type="http://schemas.openxmlformats.org/officeDocument/2006/relationships/tags" Target="../tags/tag6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3.xml.rels><?xml version="1.0" encoding="UTF-8" standalone="yes"?>
<Relationships xmlns="http://schemas.openxmlformats.org/package/2006/relationships"><Relationship Id="rId3" Type="http://schemas.openxmlformats.org/officeDocument/2006/relationships/notesSlide" Target="../notesSlides/notesSlide141.xml"/><Relationship Id="rId2" Type="http://schemas.openxmlformats.org/officeDocument/2006/relationships/slideLayout" Target="../slideLayouts/slideLayout7.xml"/><Relationship Id="rId1" Type="http://schemas.openxmlformats.org/officeDocument/2006/relationships/tags" Target="../tags/tag6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4.xml.rels><?xml version="1.0" encoding="UTF-8" standalone="yes"?>
<Relationships xmlns="http://schemas.openxmlformats.org/package/2006/relationships"><Relationship Id="rId3" Type="http://schemas.openxmlformats.org/officeDocument/2006/relationships/notesSlide" Target="../notesSlides/notesSlide142.xml"/><Relationship Id="rId2" Type="http://schemas.openxmlformats.org/officeDocument/2006/relationships/slideLayout" Target="../slideLayouts/slideLayout7.xml"/><Relationship Id="rId1" Type="http://schemas.openxmlformats.org/officeDocument/2006/relationships/tags" Target="../tags/tag6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5.xml.rels><?xml version="1.0" encoding="UTF-8" standalone="yes"?>
<Relationships xmlns="http://schemas.openxmlformats.org/package/2006/relationships"><Relationship Id="rId3" Type="http://schemas.openxmlformats.org/officeDocument/2006/relationships/notesSlide" Target="../notesSlides/notesSlide143.xml"/><Relationship Id="rId2" Type="http://schemas.openxmlformats.org/officeDocument/2006/relationships/slideLayout" Target="../slideLayouts/slideLayout7.xml"/><Relationship Id="rId1" Type="http://schemas.openxmlformats.org/officeDocument/2006/relationships/tags" Target="../tags/tag6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6.xml.rels><?xml version="1.0" encoding="UTF-8" standalone="yes"?>
<Relationships xmlns="http://schemas.openxmlformats.org/package/2006/relationships"><Relationship Id="rId3" Type="http://schemas.openxmlformats.org/officeDocument/2006/relationships/notesSlide" Target="../notesSlides/notesSlide144.xml"/><Relationship Id="rId2" Type="http://schemas.openxmlformats.org/officeDocument/2006/relationships/slideLayout" Target="../slideLayouts/slideLayout7.xml"/><Relationship Id="rId1" Type="http://schemas.openxmlformats.org/officeDocument/2006/relationships/tags" Target="../tags/tag6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7.xml.rels><?xml version="1.0" encoding="UTF-8" standalone="yes"?>
<Relationships xmlns="http://schemas.openxmlformats.org/package/2006/relationships"><Relationship Id="rId3" Type="http://schemas.openxmlformats.org/officeDocument/2006/relationships/notesSlide" Target="../notesSlides/notesSlide145.xml"/><Relationship Id="rId2" Type="http://schemas.openxmlformats.org/officeDocument/2006/relationships/slideLayout" Target="../slideLayouts/slideLayout7.xml"/><Relationship Id="rId1" Type="http://schemas.openxmlformats.org/officeDocument/2006/relationships/tags" Target="../tags/tag6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8.xml.rels><?xml version="1.0" encoding="UTF-8" standalone="yes"?>
<Relationships xmlns="http://schemas.openxmlformats.org/package/2006/relationships"><Relationship Id="rId3" Type="http://schemas.openxmlformats.org/officeDocument/2006/relationships/notesSlide" Target="../notesSlides/notesSlide146.xml"/><Relationship Id="rId2" Type="http://schemas.openxmlformats.org/officeDocument/2006/relationships/slideLayout" Target="../slideLayouts/slideLayout7.xml"/><Relationship Id="rId1" Type="http://schemas.openxmlformats.org/officeDocument/2006/relationships/tags" Target="../tags/tag6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9.xml.rels><?xml version="1.0" encoding="UTF-8" standalone="yes"?>
<Relationships xmlns="http://schemas.openxmlformats.org/package/2006/relationships"><Relationship Id="rId3" Type="http://schemas.openxmlformats.org/officeDocument/2006/relationships/notesSlide" Target="../notesSlides/notesSlide147.xml"/><Relationship Id="rId2" Type="http://schemas.openxmlformats.org/officeDocument/2006/relationships/slideLayout" Target="../slideLayouts/slideLayout7.xml"/><Relationship Id="rId1" Type="http://schemas.openxmlformats.org/officeDocument/2006/relationships/tags" Target="../tags/tag6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590.xml.rels><?xml version="1.0" encoding="UTF-8" standalone="yes"?>
<Relationships xmlns="http://schemas.openxmlformats.org/package/2006/relationships"><Relationship Id="rId3" Type="http://schemas.openxmlformats.org/officeDocument/2006/relationships/notesSlide" Target="../notesSlides/notesSlide148.xml"/><Relationship Id="rId2" Type="http://schemas.openxmlformats.org/officeDocument/2006/relationships/slideLayout" Target="../slideLayouts/slideLayout7.xml"/><Relationship Id="rId1" Type="http://schemas.openxmlformats.org/officeDocument/2006/relationships/tags" Target="../tags/tag6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1.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7.xml"/><Relationship Id="rId1" Type="http://schemas.openxmlformats.org/officeDocument/2006/relationships/tags" Target="../tags/tag6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2.xml.rels><?xml version="1.0" encoding="UTF-8" standalone="yes"?>
<Relationships xmlns="http://schemas.openxmlformats.org/package/2006/relationships"><Relationship Id="rId3" Type="http://schemas.openxmlformats.org/officeDocument/2006/relationships/notesSlide" Target="../notesSlides/notesSlide150.xml"/><Relationship Id="rId2" Type="http://schemas.openxmlformats.org/officeDocument/2006/relationships/slideLayout" Target="../slideLayouts/slideLayout7.xml"/><Relationship Id="rId1" Type="http://schemas.openxmlformats.org/officeDocument/2006/relationships/tags" Target="../tags/tag6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3.xml.rels><?xml version="1.0" encoding="UTF-8" standalone="yes"?>
<Relationships xmlns="http://schemas.openxmlformats.org/package/2006/relationships"><Relationship Id="rId3" Type="http://schemas.openxmlformats.org/officeDocument/2006/relationships/notesSlide" Target="../notesSlides/notesSlide151.xml"/><Relationship Id="rId2" Type="http://schemas.openxmlformats.org/officeDocument/2006/relationships/slideLayout" Target="../slideLayouts/slideLayout7.xml"/><Relationship Id="rId1" Type="http://schemas.openxmlformats.org/officeDocument/2006/relationships/tags" Target="../tags/tag6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4.xml.rels><?xml version="1.0" encoding="UTF-8" standalone="yes"?>
<Relationships xmlns="http://schemas.openxmlformats.org/package/2006/relationships"><Relationship Id="rId3" Type="http://schemas.openxmlformats.org/officeDocument/2006/relationships/notesSlide" Target="../notesSlides/notesSlide152.xml"/><Relationship Id="rId2" Type="http://schemas.openxmlformats.org/officeDocument/2006/relationships/slideLayout" Target="../slideLayouts/slideLayout7.xml"/><Relationship Id="rId1" Type="http://schemas.openxmlformats.org/officeDocument/2006/relationships/tags" Target="../tags/tag6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5.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7.xml"/><Relationship Id="rId1" Type="http://schemas.openxmlformats.org/officeDocument/2006/relationships/tags" Target="../tags/tag6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6.xml.rels><?xml version="1.0" encoding="UTF-8" standalone="yes"?>
<Relationships xmlns="http://schemas.openxmlformats.org/package/2006/relationships"><Relationship Id="rId3" Type="http://schemas.openxmlformats.org/officeDocument/2006/relationships/notesSlide" Target="../notesSlides/notesSlide154.xml"/><Relationship Id="rId2" Type="http://schemas.openxmlformats.org/officeDocument/2006/relationships/slideLayout" Target="../slideLayouts/slideLayout7.xml"/><Relationship Id="rId1" Type="http://schemas.openxmlformats.org/officeDocument/2006/relationships/tags" Target="../tags/tag6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7.xml.rels><?xml version="1.0" encoding="UTF-8" standalone="yes"?>
<Relationships xmlns="http://schemas.openxmlformats.org/package/2006/relationships"><Relationship Id="rId3" Type="http://schemas.openxmlformats.org/officeDocument/2006/relationships/notesSlide" Target="../notesSlides/notesSlide155.xml"/><Relationship Id="rId2" Type="http://schemas.openxmlformats.org/officeDocument/2006/relationships/slideLayout" Target="../slideLayouts/slideLayout7.xml"/><Relationship Id="rId1" Type="http://schemas.openxmlformats.org/officeDocument/2006/relationships/tags" Target="../tags/tag6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8.xml.rels><?xml version="1.0" encoding="UTF-8" standalone="yes"?>
<Relationships xmlns="http://schemas.openxmlformats.org/package/2006/relationships"><Relationship Id="rId3" Type="http://schemas.openxmlformats.org/officeDocument/2006/relationships/notesSlide" Target="../notesSlides/notesSlide156.xml"/><Relationship Id="rId2" Type="http://schemas.openxmlformats.org/officeDocument/2006/relationships/slideLayout" Target="../slideLayouts/slideLayout7.xml"/><Relationship Id="rId1" Type="http://schemas.openxmlformats.org/officeDocument/2006/relationships/tags" Target="../tags/tag6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9.xml.rels><?xml version="1.0" encoding="UTF-8" standalone="yes"?>
<Relationships xmlns="http://schemas.openxmlformats.org/package/2006/relationships"><Relationship Id="rId3" Type="http://schemas.openxmlformats.org/officeDocument/2006/relationships/notesSlide" Target="../notesSlides/notesSlide157.xml"/><Relationship Id="rId2" Type="http://schemas.openxmlformats.org/officeDocument/2006/relationships/slideLayout" Target="../slideLayouts/slideLayout7.xml"/><Relationship Id="rId1" Type="http://schemas.openxmlformats.org/officeDocument/2006/relationships/tags" Target="../tags/tag6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00.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7.xml"/><Relationship Id="rId1" Type="http://schemas.openxmlformats.org/officeDocument/2006/relationships/tags" Target="../tags/tag6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01.xml.rels><?xml version="1.0" encoding="UTF-8" standalone="yes"?>
<Relationships xmlns="http://schemas.openxmlformats.org/package/2006/relationships"><Relationship Id="rId3" Type="http://schemas.openxmlformats.org/officeDocument/2006/relationships/notesSlide" Target="../notesSlides/notesSlide159.xml"/><Relationship Id="rId2" Type="http://schemas.openxmlformats.org/officeDocument/2006/relationships/slideLayout" Target="../slideLayouts/slideLayout7.xml"/><Relationship Id="rId1" Type="http://schemas.openxmlformats.org/officeDocument/2006/relationships/tags" Target="../tags/tag6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02.xml.rels><?xml version="1.0" encoding="UTF-8" standalone="yes"?>
<Relationships xmlns="http://schemas.openxmlformats.org/package/2006/relationships"><Relationship Id="rId3" Type="http://schemas.openxmlformats.org/officeDocument/2006/relationships/notesSlide" Target="../notesSlides/notesSlide160.xml"/><Relationship Id="rId2" Type="http://schemas.openxmlformats.org/officeDocument/2006/relationships/slideLayout" Target="../slideLayouts/slideLayout7.xml"/><Relationship Id="rId1" Type="http://schemas.openxmlformats.org/officeDocument/2006/relationships/tags" Target="../tags/tag6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03.xml.rels><?xml version="1.0" encoding="UTF-8" standalone="yes"?>
<Relationships xmlns="http://schemas.openxmlformats.org/package/2006/relationships"><Relationship Id="rId3" Type="http://schemas.openxmlformats.org/officeDocument/2006/relationships/notesSlide" Target="../notesSlides/notesSlide161.xml"/><Relationship Id="rId2" Type="http://schemas.openxmlformats.org/officeDocument/2006/relationships/slideLayout" Target="../slideLayouts/slideLayout7.xml"/><Relationship Id="rId1" Type="http://schemas.openxmlformats.org/officeDocument/2006/relationships/tags" Target="../tags/tag6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04.xml.rels><?xml version="1.0" encoding="UTF-8" standalone="yes"?>
<Relationships xmlns="http://schemas.openxmlformats.org/package/2006/relationships"><Relationship Id="rId3" Type="http://schemas.openxmlformats.org/officeDocument/2006/relationships/notesSlide" Target="../notesSlides/notesSlide162.xml"/><Relationship Id="rId2" Type="http://schemas.openxmlformats.org/officeDocument/2006/relationships/slideLayout" Target="../slideLayouts/slideLayout7.xml"/><Relationship Id="rId1" Type="http://schemas.openxmlformats.org/officeDocument/2006/relationships/tags" Target="../tags/tag6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05.xml.rels><?xml version="1.0" encoding="UTF-8" standalone="yes"?>
<Relationships xmlns="http://schemas.openxmlformats.org/package/2006/relationships"><Relationship Id="rId3" Type="http://schemas.openxmlformats.org/officeDocument/2006/relationships/notesSlide" Target="../notesSlides/notesSlide163.xml"/><Relationship Id="rId2" Type="http://schemas.openxmlformats.org/officeDocument/2006/relationships/slideLayout" Target="../slideLayouts/slideLayout7.xml"/><Relationship Id="rId1" Type="http://schemas.openxmlformats.org/officeDocument/2006/relationships/tags" Target="../tags/tag6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06.xml.rels><?xml version="1.0" encoding="UTF-8" standalone="yes"?>
<Relationships xmlns="http://schemas.openxmlformats.org/package/2006/relationships"><Relationship Id="rId3" Type="http://schemas.openxmlformats.org/officeDocument/2006/relationships/notesSlide" Target="../notesSlides/notesSlide164.xml"/><Relationship Id="rId2" Type="http://schemas.openxmlformats.org/officeDocument/2006/relationships/slideLayout" Target="../slideLayouts/slideLayout7.xml"/><Relationship Id="rId1" Type="http://schemas.openxmlformats.org/officeDocument/2006/relationships/tags" Target="../tags/tag6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07.xml.rels><?xml version="1.0" encoding="UTF-8" standalone="yes"?>
<Relationships xmlns="http://schemas.openxmlformats.org/package/2006/relationships"><Relationship Id="rId3" Type="http://schemas.openxmlformats.org/officeDocument/2006/relationships/notesSlide" Target="../notesSlides/notesSlide165.xml"/><Relationship Id="rId2" Type="http://schemas.openxmlformats.org/officeDocument/2006/relationships/slideLayout" Target="../slideLayouts/slideLayout7.xml"/><Relationship Id="rId1" Type="http://schemas.openxmlformats.org/officeDocument/2006/relationships/tags" Target="../tags/tag6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08.xml.rels><?xml version="1.0" encoding="UTF-8" standalone="yes"?>
<Relationships xmlns="http://schemas.openxmlformats.org/package/2006/relationships"><Relationship Id="rId3" Type="http://schemas.openxmlformats.org/officeDocument/2006/relationships/notesSlide" Target="../notesSlides/notesSlide166.xml"/><Relationship Id="rId2" Type="http://schemas.openxmlformats.org/officeDocument/2006/relationships/slideLayout" Target="../slideLayouts/slideLayout7.xml"/><Relationship Id="rId1" Type="http://schemas.openxmlformats.org/officeDocument/2006/relationships/tags" Target="../tags/tag6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09.xml.rels><?xml version="1.0" encoding="UTF-8" standalone="yes"?>
<Relationships xmlns="http://schemas.openxmlformats.org/package/2006/relationships"><Relationship Id="rId3" Type="http://schemas.openxmlformats.org/officeDocument/2006/relationships/notesSlide" Target="../notesSlides/notesSlide167.xml"/><Relationship Id="rId2" Type="http://schemas.openxmlformats.org/officeDocument/2006/relationships/slideLayout" Target="../slideLayouts/slideLayout7.xml"/><Relationship Id="rId1" Type="http://schemas.openxmlformats.org/officeDocument/2006/relationships/tags" Target="../tags/tag6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10.xml.rels><?xml version="1.0" encoding="UTF-8" standalone="yes"?>
<Relationships xmlns="http://schemas.openxmlformats.org/package/2006/relationships"><Relationship Id="rId3" Type="http://schemas.openxmlformats.org/officeDocument/2006/relationships/notesSlide" Target="../notesSlides/notesSlide168.xml"/><Relationship Id="rId2" Type="http://schemas.openxmlformats.org/officeDocument/2006/relationships/slideLayout" Target="../slideLayouts/slideLayout7.xml"/><Relationship Id="rId1" Type="http://schemas.openxmlformats.org/officeDocument/2006/relationships/tags" Target="../tags/tag6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11.xml.rels><?xml version="1.0" encoding="UTF-8" standalone="yes"?>
<Relationships xmlns="http://schemas.openxmlformats.org/package/2006/relationships"><Relationship Id="rId3" Type="http://schemas.openxmlformats.org/officeDocument/2006/relationships/notesSlide" Target="../notesSlides/notesSlide169.xml"/><Relationship Id="rId2" Type="http://schemas.openxmlformats.org/officeDocument/2006/relationships/slideLayout" Target="../slideLayouts/slideLayout7.xml"/><Relationship Id="rId1" Type="http://schemas.openxmlformats.org/officeDocument/2006/relationships/tags" Target="../tags/tag6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12.xml.rels><?xml version="1.0" encoding="UTF-8" standalone="yes"?>
<Relationships xmlns="http://schemas.openxmlformats.org/package/2006/relationships"><Relationship Id="rId3" Type="http://schemas.openxmlformats.org/officeDocument/2006/relationships/notesSlide" Target="../notesSlides/notesSlide170.xml"/><Relationship Id="rId2" Type="http://schemas.openxmlformats.org/officeDocument/2006/relationships/slideLayout" Target="../slideLayouts/slideLayout7.xml"/><Relationship Id="rId1" Type="http://schemas.openxmlformats.org/officeDocument/2006/relationships/tags" Target="../tags/tag6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13.xml.rels><?xml version="1.0" encoding="UTF-8" standalone="yes"?>
<Relationships xmlns="http://schemas.openxmlformats.org/package/2006/relationships"><Relationship Id="rId3" Type="http://schemas.openxmlformats.org/officeDocument/2006/relationships/notesSlide" Target="../notesSlides/notesSlide171.xml"/><Relationship Id="rId2" Type="http://schemas.openxmlformats.org/officeDocument/2006/relationships/slideLayout" Target="../slideLayouts/slideLayout7.xml"/><Relationship Id="rId1" Type="http://schemas.openxmlformats.org/officeDocument/2006/relationships/tags" Target="../tags/tag6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14.xml.rels><?xml version="1.0" encoding="UTF-8" standalone="yes"?>
<Relationships xmlns="http://schemas.openxmlformats.org/package/2006/relationships"><Relationship Id="rId3" Type="http://schemas.openxmlformats.org/officeDocument/2006/relationships/notesSlide" Target="../notesSlides/notesSlide172.xml"/><Relationship Id="rId2" Type="http://schemas.openxmlformats.org/officeDocument/2006/relationships/slideLayout" Target="../slideLayouts/slideLayout7.xml"/><Relationship Id="rId1" Type="http://schemas.openxmlformats.org/officeDocument/2006/relationships/tags" Target="../tags/tag6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Carrefou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25844906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Intermarch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354671088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Carrefour Supermarket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0</a:t>
            </a:fld>
            <a:endParaRPr lang="en-US"/>
          </a:p>
        </p:txBody>
      </p:sp>
    </p:spTree>
    <p:extLst>
      <p:ext uri="{BB962C8B-B14F-4D97-AF65-F5344CB8AC3E}">
        <p14:creationId xmlns:p14="http://schemas.microsoft.com/office/powerpoint/2010/main" val="208631403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Carrefour Proximit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163629922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Intermarche Su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312940228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Intermarche Hy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138692582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Intermarche Prox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0</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307482787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Carrefou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5</a:t>
            </a:fld>
            <a:endParaRPr lang="en-US"/>
          </a:p>
        </p:txBody>
      </p:sp>
    </p:spTree>
    <p:extLst>
      <p:ext uri="{BB962C8B-B14F-4D97-AF65-F5344CB8AC3E}">
        <p14:creationId xmlns:p14="http://schemas.microsoft.com/office/powerpoint/2010/main" val="322008847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Intermarch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0</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53827368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Carrefour Hyper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4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97007286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Carrefour Supermarket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9</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358366877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Carrefour Proximit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13422713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Carrefour Hyper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272985146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Intermarche Su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0</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203467483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Intermarche Hy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207301823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alade | Intermarche Prox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236002179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52248042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403392173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364647419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173976398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424242254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10451131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11644212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Carrefour Supermarket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90173794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el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0</a:t>
            </a:fld>
            <a:endParaRPr lang="en-US"/>
          </a:p>
        </p:txBody>
      </p:sp>
    </p:spTree>
    <p:extLst>
      <p:ext uri="{BB962C8B-B14F-4D97-AF65-F5344CB8AC3E}">
        <p14:creationId xmlns:p14="http://schemas.microsoft.com/office/powerpoint/2010/main" val="348225316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367981698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225351432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23599693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46129649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377660120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308392905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248744232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el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241025774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25044127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Carrefour Proximit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373312173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79220323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260127783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2</a:t>
            </a:fld>
            <a:endParaRPr lang="en-US"/>
          </a:p>
        </p:txBody>
      </p:sp>
    </p:spTree>
    <p:extLst>
      <p:ext uri="{BB962C8B-B14F-4D97-AF65-F5344CB8AC3E}">
        <p14:creationId xmlns:p14="http://schemas.microsoft.com/office/powerpoint/2010/main" val="4287816816"/>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3</a:t>
            </a:fld>
            <a:endParaRPr lang="en-US"/>
          </a:p>
        </p:txBody>
      </p:sp>
    </p:spTree>
    <p:extLst>
      <p:ext uri="{BB962C8B-B14F-4D97-AF65-F5344CB8AC3E}">
        <p14:creationId xmlns:p14="http://schemas.microsoft.com/office/powerpoint/2010/main" val="99321289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253693267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5</a:t>
            </a:fld>
            <a:endParaRPr lang="en-US"/>
          </a:p>
        </p:txBody>
      </p:sp>
    </p:spTree>
    <p:extLst>
      <p:ext uri="{BB962C8B-B14F-4D97-AF65-F5344CB8AC3E}">
        <p14:creationId xmlns:p14="http://schemas.microsoft.com/office/powerpoint/2010/main" val="417497929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el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175181183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el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7</a:t>
            </a:fld>
            <a:endParaRPr lang="en-US"/>
          </a:p>
        </p:txBody>
      </p:sp>
    </p:spTree>
    <p:extLst>
      <p:ext uri="{BB962C8B-B14F-4D97-AF65-F5344CB8AC3E}">
        <p14:creationId xmlns:p14="http://schemas.microsoft.com/office/powerpoint/2010/main" val="83453627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el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189111985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el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9</a:t>
            </a:fld>
            <a:endParaRPr lang="en-US"/>
          </a:p>
        </p:txBody>
      </p:sp>
    </p:spTree>
    <p:extLst>
      <p:ext uri="{BB962C8B-B14F-4D97-AF65-F5344CB8AC3E}">
        <p14:creationId xmlns:p14="http://schemas.microsoft.com/office/powerpoint/2010/main" val="13162545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Intermarche Su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220467238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el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120709722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el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212550084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el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328065353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el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47373126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el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319425858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5</a:t>
            </a:fld>
            <a:endParaRPr lang="en-US"/>
          </a:p>
        </p:txBody>
      </p:sp>
    </p:spTree>
    <p:extLst>
      <p:ext uri="{BB962C8B-B14F-4D97-AF65-F5344CB8AC3E}">
        <p14:creationId xmlns:p14="http://schemas.microsoft.com/office/powerpoint/2010/main" val="2119138073"/>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6</a:t>
            </a:fld>
            <a:endParaRPr lang="en-US"/>
          </a:p>
        </p:txBody>
      </p:sp>
    </p:spTree>
    <p:extLst>
      <p:ext uri="{BB962C8B-B14F-4D97-AF65-F5344CB8AC3E}">
        <p14:creationId xmlns:p14="http://schemas.microsoft.com/office/powerpoint/2010/main" val="28846644"/>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7</a:t>
            </a:fld>
            <a:endParaRPr lang="en-US"/>
          </a:p>
        </p:txBody>
      </p:sp>
    </p:spTree>
    <p:extLst>
      <p:ext uri="{BB962C8B-B14F-4D97-AF65-F5344CB8AC3E}">
        <p14:creationId xmlns:p14="http://schemas.microsoft.com/office/powerpoint/2010/main" val="291363808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8</a:t>
            </a:fld>
            <a:endParaRPr lang="en-US"/>
          </a:p>
        </p:txBody>
      </p:sp>
    </p:spTree>
    <p:extLst>
      <p:ext uri="{BB962C8B-B14F-4D97-AF65-F5344CB8AC3E}">
        <p14:creationId xmlns:p14="http://schemas.microsoft.com/office/powerpoint/2010/main" val="164972964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9</a:t>
            </a:fld>
            <a:endParaRPr lang="en-US"/>
          </a:p>
        </p:txBody>
      </p:sp>
    </p:spTree>
    <p:extLst>
      <p:ext uri="{BB962C8B-B14F-4D97-AF65-F5344CB8AC3E}">
        <p14:creationId xmlns:p14="http://schemas.microsoft.com/office/powerpoint/2010/main" val="1522713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Intermarche Hy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4118708463"/>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0</a:t>
            </a:fld>
            <a:endParaRPr lang="en-US"/>
          </a:p>
        </p:txBody>
      </p:sp>
    </p:spTree>
    <p:extLst>
      <p:ext uri="{BB962C8B-B14F-4D97-AF65-F5344CB8AC3E}">
        <p14:creationId xmlns:p14="http://schemas.microsoft.com/office/powerpoint/2010/main" val="373113978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1</a:t>
            </a:fld>
            <a:endParaRPr lang="en-US"/>
          </a:p>
        </p:txBody>
      </p:sp>
    </p:spTree>
    <p:extLst>
      <p:ext uri="{BB962C8B-B14F-4D97-AF65-F5344CB8AC3E}">
        <p14:creationId xmlns:p14="http://schemas.microsoft.com/office/powerpoint/2010/main" val="369678437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Bel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2</a:t>
            </a:fld>
            <a:endParaRPr lang="en-US"/>
          </a:p>
        </p:txBody>
      </p:sp>
    </p:spTree>
    <p:extLst>
      <p:ext uri="{BB962C8B-B14F-4D97-AF65-F5344CB8AC3E}">
        <p14:creationId xmlns:p14="http://schemas.microsoft.com/office/powerpoint/2010/main" val="3957395750"/>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3</a:t>
            </a:fld>
            <a:endParaRPr lang="en-US"/>
          </a:p>
        </p:txBody>
      </p:sp>
    </p:spTree>
    <p:extLst>
      <p:ext uri="{BB962C8B-B14F-4D97-AF65-F5344CB8AC3E}">
        <p14:creationId xmlns:p14="http://schemas.microsoft.com/office/powerpoint/2010/main" val="259463351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4</a:t>
            </a:fld>
            <a:endParaRPr lang="en-US"/>
          </a:p>
        </p:txBody>
      </p:sp>
    </p:spTree>
    <p:extLst>
      <p:ext uri="{BB962C8B-B14F-4D97-AF65-F5344CB8AC3E}">
        <p14:creationId xmlns:p14="http://schemas.microsoft.com/office/powerpoint/2010/main" val="3962228209"/>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5</a:t>
            </a:fld>
            <a:endParaRPr lang="en-US"/>
          </a:p>
        </p:txBody>
      </p:sp>
    </p:spTree>
    <p:extLst>
      <p:ext uri="{BB962C8B-B14F-4D97-AF65-F5344CB8AC3E}">
        <p14:creationId xmlns:p14="http://schemas.microsoft.com/office/powerpoint/2010/main" val="2984554670"/>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6</a:t>
            </a:fld>
            <a:endParaRPr lang="en-US"/>
          </a:p>
        </p:txBody>
      </p:sp>
    </p:spTree>
    <p:extLst>
      <p:ext uri="{BB962C8B-B14F-4D97-AF65-F5344CB8AC3E}">
        <p14:creationId xmlns:p14="http://schemas.microsoft.com/office/powerpoint/2010/main" val="616189150"/>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7</a:t>
            </a:fld>
            <a:endParaRPr lang="en-US"/>
          </a:p>
        </p:txBody>
      </p:sp>
    </p:spTree>
    <p:extLst>
      <p:ext uri="{BB962C8B-B14F-4D97-AF65-F5344CB8AC3E}">
        <p14:creationId xmlns:p14="http://schemas.microsoft.com/office/powerpoint/2010/main" val="387703593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8</a:t>
            </a:fld>
            <a:endParaRPr lang="en-US"/>
          </a:p>
        </p:txBody>
      </p:sp>
    </p:spTree>
    <p:extLst>
      <p:ext uri="{BB962C8B-B14F-4D97-AF65-F5344CB8AC3E}">
        <p14:creationId xmlns:p14="http://schemas.microsoft.com/office/powerpoint/2010/main" val="975684328"/>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9</a:t>
            </a:fld>
            <a:endParaRPr lang="en-US"/>
          </a:p>
        </p:txBody>
      </p:sp>
    </p:spTree>
    <p:extLst>
      <p:ext uri="{BB962C8B-B14F-4D97-AF65-F5344CB8AC3E}">
        <p14:creationId xmlns:p14="http://schemas.microsoft.com/office/powerpoint/2010/main" val="18198672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Intermarche Prox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7530469"/>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el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0</a:t>
            </a:fld>
            <a:endParaRPr lang="en-US"/>
          </a:p>
        </p:txBody>
      </p:sp>
    </p:spTree>
    <p:extLst>
      <p:ext uri="{BB962C8B-B14F-4D97-AF65-F5344CB8AC3E}">
        <p14:creationId xmlns:p14="http://schemas.microsoft.com/office/powerpoint/2010/main" val="2232605352"/>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1</a:t>
            </a:fld>
            <a:endParaRPr lang="en-US"/>
          </a:p>
        </p:txBody>
      </p:sp>
    </p:spTree>
    <p:extLst>
      <p:ext uri="{BB962C8B-B14F-4D97-AF65-F5344CB8AC3E}">
        <p14:creationId xmlns:p14="http://schemas.microsoft.com/office/powerpoint/2010/main" val="280328936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2</a:t>
            </a:fld>
            <a:endParaRPr lang="en-US"/>
          </a:p>
        </p:txBody>
      </p:sp>
    </p:spTree>
    <p:extLst>
      <p:ext uri="{BB962C8B-B14F-4D97-AF65-F5344CB8AC3E}">
        <p14:creationId xmlns:p14="http://schemas.microsoft.com/office/powerpoint/2010/main" val="1179896941"/>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3</a:t>
            </a:fld>
            <a:endParaRPr lang="en-US"/>
          </a:p>
        </p:txBody>
      </p:sp>
    </p:spTree>
    <p:extLst>
      <p:ext uri="{BB962C8B-B14F-4D97-AF65-F5344CB8AC3E}">
        <p14:creationId xmlns:p14="http://schemas.microsoft.com/office/powerpoint/2010/main" val="119223628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4</a:t>
            </a:fld>
            <a:endParaRPr lang="en-US"/>
          </a:p>
        </p:txBody>
      </p:sp>
    </p:spTree>
    <p:extLst>
      <p:ext uri="{BB962C8B-B14F-4D97-AF65-F5344CB8AC3E}">
        <p14:creationId xmlns:p14="http://schemas.microsoft.com/office/powerpoint/2010/main" val="1581633206"/>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5</a:t>
            </a:fld>
            <a:endParaRPr lang="en-US"/>
          </a:p>
        </p:txBody>
      </p:sp>
    </p:spTree>
    <p:extLst>
      <p:ext uri="{BB962C8B-B14F-4D97-AF65-F5344CB8AC3E}">
        <p14:creationId xmlns:p14="http://schemas.microsoft.com/office/powerpoint/2010/main" val="2165340931"/>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6</a:t>
            </a:fld>
            <a:endParaRPr lang="en-US"/>
          </a:p>
        </p:txBody>
      </p:sp>
    </p:spTree>
    <p:extLst>
      <p:ext uri="{BB962C8B-B14F-4D97-AF65-F5344CB8AC3E}">
        <p14:creationId xmlns:p14="http://schemas.microsoft.com/office/powerpoint/2010/main" val="3676348870"/>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7</a:t>
            </a:fld>
            <a:endParaRPr lang="en-US"/>
          </a:p>
        </p:txBody>
      </p:sp>
    </p:spTree>
    <p:extLst>
      <p:ext uri="{BB962C8B-B14F-4D97-AF65-F5344CB8AC3E}">
        <p14:creationId xmlns:p14="http://schemas.microsoft.com/office/powerpoint/2010/main" val="2958707488"/>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el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8</a:t>
            </a:fld>
            <a:endParaRPr lang="en-US"/>
          </a:p>
        </p:txBody>
      </p:sp>
    </p:spTree>
    <p:extLst>
      <p:ext uri="{BB962C8B-B14F-4D97-AF65-F5344CB8AC3E}">
        <p14:creationId xmlns:p14="http://schemas.microsoft.com/office/powerpoint/2010/main" val="1414426214"/>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9</a:t>
            </a:fld>
            <a:endParaRPr lang="en-US"/>
          </a:p>
        </p:txBody>
      </p:sp>
    </p:spTree>
    <p:extLst>
      <p:ext uri="{BB962C8B-B14F-4D97-AF65-F5344CB8AC3E}">
        <p14:creationId xmlns:p14="http://schemas.microsoft.com/office/powerpoint/2010/main" val="22243331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Carrefou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4267213989"/>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0</a:t>
            </a:fld>
            <a:endParaRPr lang="en-US"/>
          </a:p>
        </p:txBody>
      </p:sp>
    </p:spTree>
    <p:extLst>
      <p:ext uri="{BB962C8B-B14F-4D97-AF65-F5344CB8AC3E}">
        <p14:creationId xmlns:p14="http://schemas.microsoft.com/office/powerpoint/2010/main" val="162676612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1</a:t>
            </a:fld>
            <a:endParaRPr lang="en-US"/>
          </a:p>
        </p:txBody>
      </p:sp>
    </p:spTree>
    <p:extLst>
      <p:ext uri="{BB962C8B-B14F-4D97-AF65-F5344CB8AC3E}">
        <p14:creationId xmlns:p14="http://schemas.microsoft.com/office/powerpoint/2010/main" val="3630713122"/>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2</a:t>
            </a:fld>
            <a:endParaRPr lang="en-US"/>
          </a:p>
        </p:txBody>
      </p:sp>
    </p:spTree>
    <p:extLst>
      <p:ext uri="{BB962C8B-B14F-4D97-AF65-F5344CB8AC3E}">
        <p14:creationId xmlns:p14="http://schemas.microsoft.com/office/powerpoint/2010/main" val="2188610722"/>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3</a:t>
            </a:fld>
            <a:endParaRPr lang="en-US"/>
          </a:p>
        </p:txBody>
      </p:sp>
    </p:spTree>
    <p:extLst>
      <p:ext uri="{BB962C8B-B14F-4D97-AF65-F5344CB8AC3E}">
        <p14:creationId xmlns:p14="http://schemas.microsoft.com/office/powerpoint/2010/main" val="2175584745"/>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4</a:t>
            </a:fld>
            <a:endParaRPr lang="en-US"/>
          </a:p>
        </p:txBody>
      </p:sp>
    </p:spTree>
    <p:extLst>
      <p:ext uri="{BB962C8B-B14F-4D97-AF65-F5344CB8AC3E}">
        <p14:creationId xmlns:p14="http://schemas.microsoft.com/office/powerpoint/2010/main" val="4188777661"/>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5</a:t>
            </a:fld>
            <a:endParaRPr lang="en-US"/>
          </a:p>
        </p:txBody>
      </p:sp>
    </p:spTree>
    <p:extLst>
      <p:ext uri="{BB962C8B-B14F-4D97-AF65-F5344CB8AC3E}">
        <p14:creationId xmlns:p14="http://schemas.microsoft.com/office/powerpoint/2010/main" val="3998959763"/>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6</a:t>
            </a:fld>
            <a:endParaRPr lang="en-US"/>
          </a:p>
        </p:txBody>
      </p:sp>
    </p:spTree>
    <p:extLst>
      <p:ext uri="{BB962C8B-B14F-4D97-AF65-F5344CB8AC3E}">
        <p14:creationId xmlns:p14="http://schemas.microsoft.com/office/powerpoint/2010/main" val="1031924484"/>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7</a:t>
            </a:fld>
            <a:endParaRPr lang="en-US"/>
          </a:p>
        </p:txBody>
      </p:sp>
    </p:spTree>
    <p:extLst>
      <p:ext uri="{BB962C8B-B14F-4D97-AF65-F5344CB8AC3E}">
        <p14:creationId xmlns:p14="http://schemas.microsoft.com/office/powerpoint/2010/main" val="2946403745"/>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8</a:t>
            </a:fld>
            <a:endParaRPr lang="en-US"/>
          </a:p>
        </p:txBody>
      </p:sp>
    </p:spTree>
    <p:extLst>
      <p:ext uri="{BB962C8B-B14F-4D97-AF65-F5344CB8AC3E}">
        <p14:creationId xmlns:p14="http://schemas.microsoft.com/office/powerpoint/2010/main" val="138210382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9</a:t>
            </a:fld>
            <a:endParaRPr lang="en-US"/>
          </a:p>
        </p:txBody>
      </p:sp>
    </p:spTree>
    <p:extLst>
      <p:ext uri="{BB962C8B-B14F-4D97-AF65-F5344CB8AC3E}">
        <p14:creationId xmlns:p14="http://schemas.microsoft.com/office/powerpoint/2010/main" val="36494548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Intermarch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215359638"/>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0</a:t>
            </a:fld>
            <a:endParaRPr lang="en-US"/>
          </a:p>
        </p:txBody>
      </p:sp>
    </p:spTree>
    <p:extLst>
      <p:ext uri="{BB962C8B-B14F-4D97-AF65-F5344CB8AC3E}">
        <p14:creationId xmlns:p14="http://schemas.microsoft.com/office/powerpoint/2010/main" val="2207856988"/>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1</a:t>
            </a:fld>
            <a:endParaRPr lang="en-US"/>
          </a:p>
        </p:txBody>
      </p:sp>
    </p:spTree>
    <p:extLst>
      <p:ext uri="{BB962C8B-B14F-4D97-AF65-F5344CB8AC3E}">
        <p14:creationId xmlns:p14="http://schemas.microsoft.com/office/powerpoint/2010/main" val="515723834"/>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2</a:t>
            </a:fld>
            <a:endParaRPr lang="en-US"/>
          </a:p>
        </p:txBody>
      </p:sp>
    </p:spTree>
    <p:extLst>
      <p:ext uri="{BB962C8B-B14F-4D97-AF65-F5344CB8AC3E}">
        <p14:creationId xmlns:p14="http://schemas.microsoft.com/office/powerpoint/2010/main" val="3587959373"/>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3</a:t>
            </a:fld>
            <a:endParaRPr lang="en-US"/>
          </a:p>
        </p:txBody>
      </p:sp>
    </p:spTree>
    <p:extLst>
      <p:ext uri="{BB962C8B-B14F-4D97-AF65-F5344CB8AC3E}">
        <p14:creationId xmlns:p14="http://schemas.microsoft.com/office/powerpoint/2010/main" val="240863977"/>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4</a:t>
            </a:fld>
            <a:endParaRPr lang="en-US"/>
          </a:p>
        </p:txBody>
      </p:sp>
    </p:spTree>
    <p:extLst>
      <p:ext uri="{BB962C8B-B14F-4D97-AF65-F5344CB8AC3E}">
        <p14:creationId xmlns:p14="http://schemas.microsoft.com/office/powerpoint/2010/main" val="3646119310"/>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5</a:t>
            </a:fld>
            <a:endParaRPr lang="en-US"/>
          </a:p>
        </p:txBody>
      </p:sp>
    </p:spTree>
    <p:extLst>
      <p:ext uri="{BB962C8B-B14F-4D97-AF65-F5344CB8AC3E}">
        <p14:creationId xmlns:p14="http://schemas.microsoft.com/office/powerpoint/2010/main" val="153053925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6</a:t>
            </a:fld>
            <a:endParaRPr lang="en-US"/>
          </a:p>
        </p:txBody>
      </p:sp>
    </p:spTree>
    <p:extLst>
      <p:ext uri="{BB962C8B-B14F-4D97-AF65-F5344CB8AC3E}">
        <p14:creationId xmlns:p14="http://schemas.microsoft.com/office/powerpoint/2010/main" val="3143034440"/>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7</a:t>
            </a:fld>
            <a:endParaRPr lang="en-US"/>
          </a:p>
        </p:txBody>
      </p:sp>
    </p:spTree>
    <p:extLst>
      <p:ext uri="{BB962C8B-B14F-4D97-AF65-F5344CB8AC3E}">
        <p14:creationId xmlns:p14="http://schemas.microsoft.com/office/powerpoint/2010/main" val="3617144041"/>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8</a:t>
            </a:fld>
            <a:endParaRPr lang="en-US"/>
          </a:p>
        </p:txBody>
      </p:sp>
    </p:spTree>
    <p:extLst>
      <p:ext uri="{BB962C8B-B14F-4D97-AF65-F5344CB8AC3E}">
        <p14:creationId xmlns:p14="http://schemas.microsoft.com/office/powerpoint/2010/main" val="164758525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9</a:t>
            </a:fld>
            <a:endParaRPr lang="en-US"/>
          </a:p>
        </p:txBody>
      </p:sp>
    </p:spTree>
    <p:extLst>
      <p:ext uri="{BB962C8B-B14F-4D97-AF65-F5344CB8AC3E}">
        <p14:creationId xmlns:p14="http://schemas.microsoft.com/office/powerpoint/2010/main" val="5348827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Carrefour Hyper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116624451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Kiri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0</a:t>
            </a:fld>
            <a:endParaRPr lang="en-US"/>
          </a:p>
        </p:txBody>
      </p:sp>
    </p:spTree>
    <p:extLst>
      <p:ext uri="{BB962C8B-B14F-4D97-AF65-F5344CB8AC3E}">
        <p14:creationId xmlns:p14="http://schemas.microsoft.com/office/powerpoint/2010/main" val="119765457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La Vache Qui Rit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1</a:t>
            </a:fld>
            <a:endParaRPr lang="en-US"/>
          </a:p>
        </p:txBody>
      </p:sp>
    </p:spTree>
    <p:extLst>
      <p:ext uri="{BB962C8B-B14F-4D97-AF65-F5344CB8AC3E}">
        <p14:creationId xmlns:p14="http://schemas.microsoft.com/office/powerpoint/2010/main" val="2083600222"/>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Total Fromage | Boursin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2</a:t>
            </a:fld>
            <a:endParaRPr lang="en-US"/>
          </a:p>
        </p:txBody>
      </p:sp>
    </p:spTree>
    <p:extLst>
      <p:ext uri="{BB962C8B-B14F-4D97-AF65-F5344CB8AC3E}">
        <p14:creationId xmlns:p14="http://schemas.microsoft.com/office/powerpoint/2010/main" val="100098803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3</a:t>
            </a:fld>
            <a:endParaRPr lang="en-US"/>
          </a:p>
        </p:txBody>
      </p:sp>
    </p:spTree>
    <p:extLst>
      <p:ext uri="{BB962C8B-B14F-4D97-AF65-F5344CB8AC3E}">
        <p14:creationId xmlns:p14="http://schemas.microsoft.com/office/powerpoint/2010/main" val="412917637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4</a:t>
            </a:fld>
            <a:endParaRPr lang="en-US"/>
          </a:p>
        </p:txBody>
      </p:sp>
    </p:spTree>
    <p:extLst>
      <p:ext uri="{BB962C8B-B14F-4D97-AF65-F5344CB8AC3E}">
        <p14:creationId xmlns:p14="http://schemas.microsoft.com/office/powerpoint/2010/main" val="3246158625"/>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5</a:t>
            </a:fld>
            <a:endParaRPr lang="en-US"/>
          </a:p>
        </p:txBody>
      </p:sp>
    </p:spTree>
    <p:extLst>
      <p:ext uri="{BB962C8B-B14F-4D97-AF65-F5344CB8AC3E}">
        <p14:creationId xmlns:p14="http://schemas.microsoft.com/office/powerpoint/2010/main" val="597209519"/>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6</a:t>
            </a:fld>
            <a:endParaRPr lang="en-US"/>
          </a:p>
        </p:txBody>
      </p:sp>
    </p:spTree>
    <p:extLst>
      <p:ext uri="{BB962C8B-B14F-4D97-AF65-F5344CB8AC3E}">
        <p14:creationId xmlns:p14="http://schemas.microsoft.com/office/powerpoint/2010/main" val="245737442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7</a:t>
            </a:fld>
            <a:endParaRPr lang="en-US"/>
          </a:p>
        </p:txBody>
      </p:sp>
    </p:spTree>
    <p:extLst>
      <p:ext uri="{BB962C8B-B14F-4D97-AF65-F5344CB8AC3E}">
        <p14:creationId xmlns:p14="http://schemas.microsoft.com/office/powerpoint/2010/main" val="3262036841"/>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8</a:t>
            </a:fld>
            <a:endParaRPr lang="en-US"/>
          </a:p>
        </p:txBody>
      </p:sp>
    </p:spTree>
    <p:extLst>
      <p:ext uri="{BB962C8B-B14F-4D97-AF65-F5344CB8AC3E}">
        <p14:creationId xmlns:p14="http://schemas.microsoft.com/office/powerpoint/2010/main" val="1371054215"/>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9</a:t>
            </a:fld>
            <a:endParaRPr lang="en-US"/>
          </a:p>
        </p:txBody>
      </p:sp>
    </p:spTree>
    <p:extLst>
      <p:ext uri="{BB962C8B-B14F-4D97-AF65-F5344CB8AC3E}">
        <p14:creationId xmlns:p14="http://schemas.microsoft.com/office/powerpoint/2010/main" val="18835805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Intermarch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647657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Carrefour Supermarket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145919879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0</a:t>
            </a:fld>
            <a:endParaRPr lang="en-US"/>
          </a:p>
        </p:txBody>
      </p:sp>
    </p:spTree>
    <p:extLst>
      <p:ext uri="{BB962C8B-B14F-4D97-AF65-F5344CB8AC3E}">
        <p14:creationId xmlns:p14="http://schemas.microsoft.com/office/powerpoint/2010/main" val="3308636248"/>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1</a:t>
            </a:fld>
            <a:endParaRPr lang="en-US"/>
          </a:p>
        </p:txBody>
      </p:sp>
    </p:spTree>
    <p:extLst>
      <p:ext uri="{BB962C8B-B14F-4D97-AF65-F5344CB8AC3E}">
        <p14:creationId xmlns:p14="http://schemas.microsoft.com/office/powerpoint/2010/main" val="306433979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2</a:t>
            </a:fld>
            <a:endParaRPr lang="en-US"/>
          </a:p>
        </p:txBody>
      </p:sp>
    </p:spTree>
    <p:extLst>
      <p:ext uri="{BB962C8B-B14F-4D97-AF65-F5344CB8AC3E}">
        <p14:creationId xmlns:p14="http://schemas.microsoft.com/office/powerpoint/2010/main" val="4184327218"/>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3</a:t>
            </a:fld>
            <a:endParaRPr lang="en-US"/>
          </a:p>
        </p:txBody>
      </p:sp>
    </p:spTree>
    <p:extLst>
      <p:ext uri="{BB962C8B-B14F-4D97-AF65-F5344CB8AC3E}">
        <p14:creationId xmlns:p14="http://schemas.microsoft.com/office/powerpoint/2010/main" val="2053852041"/>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4</a:t>
            </a:fld>
            <a:endParaRPr lang="en-US"/>
          </a:p>
        </p:txBody>
      </p:sp>
    </p:spTree>
    <p:extLst>
      <p:ext uri="{BB962C8B-B14F-4D97-AF65-F5344CB8AC3E}">
        <p14:creationId xmlns:p14="http://schemas.microsoft.com/office/powerpoint/2010/main" val="199349592"/>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5</a:t>
            </a:fld>
            <a:endParaRPr lang="en-US"/>
          </a:p>
        </p:txBody>
      </p:sp>
    </p:spTree>
    <p:extLst>
      <p:ext uri="{BB962C8B-B14F-4D97-AF65-F5344CB8AC3E}">
        <p14:creationId xmlns:p14="http://schemas.microsoft.com/office/powerpoint/2010/main" val="2036142379"/>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6</a:t>
            </a:fld>
            <a:endParaRPr lang="en-US"/>
          </a:p>
        </p:txBody>
      </p:sp>
    </p:spTree>
    <p:extLst>
      <p:ext uri="{BB962C8B-B14F-4D97-AF65-F5344CB8AC3E}">
        <p14:creationId xmlns:p14="http://schemas.microsoft.com/office/powerpoint/2010/main" val="3452724213"/>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7</a:t>
            </a:fld>
            <a:endParaRPr lang="en-US"/>
          </a:p>
        </p:txBody>
      </p:sp>
    </p:spTree>
    <p:extLst>
      <p:ext uri="{BB962C8B-B14F-4D97-AF65-F5344CB8AC3E}">
        <p14:creationId xmlns:p14="http://schemas.microsoft.com/office/powerpoint/2010/main" val="3684349882"/>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8</a:t>
            </a:fld>
            <a:endParaRPr lang="en-US"/>
          </a:p>
        </p:txBody>
      </p:sp>
    </p:spTree>
    <p:extLst>
      <p:ext uri="{BB962C8B-B14F-4D97-AF65-F5344CB8AC3E}">
        <p14:creationId xmlns:p14="http://schemas.microsoft.com/office/powerpoint/2010/main" val="1042949670"/>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9</a:t>
            </a:fld>
            <a:endParaRPr lang="en-US"/>
          </a:p>
        </p:txBody>
      </p:sp>
    </p:spTree>
    <p:extLst>
      <p:ext uri="{BB962C8B-B14F-4D97-AF65-F5344CB8AC3E}">
        <p14:creationId xmlns:p14="http://schemas.microsoft.com/office/powerpoint/2010/main" val="5208838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Carrefour Proximit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1499257063"/>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0</a:t>
            </a:fld>
            <a:endParaRPr lang="en-US"/>
          </a:p>
        </p:txBody>
      </p:sp>
    </p:spTree>
    <p:extLst>
      <p:ext uri="{BB962C8B-B14F-4D97-AF65-F5344CB8AC3E}">
        <p14:creationId xmlns:p14="http://schemas.microsoft.com/office/powerpoint/2010/main" val="396551947"/>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1</a:t>
            </a:fld>
            <a:endParaRPr lang="en-US"/>
          </a:p>
        </p:txBody>
      </p:sp>
    </p:spTree>
    <p:extLst>
      <p:ext uri="{BB962C8B-B14F-4D97-AF65-F5344CB8AC3E}">
        <p14:creationId xmlns:p14="http://schemas.microsoft.com/office/powerpoint/2010/main" val="3209025768"/>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2</a:t>
            </a:fld>
            <a:endParaRPr lang="en-US"/>
          </a:p>
        </p:txBody>
      </p:sp>
    </p:spTree>
    <p:extLst>
      <p:ext uri="{BB962C8B-B14F-4D97-AF65-F5344CB8AC3E}">
        <p14:creationId xmlns:p14="http://schemas.microsoft.com/office/powerpoint/2010/main" val="4112342795"/>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3</a:t>
            </a:fld>
            <a:endParaRPr lang="en-US"/>
          </a:p>
        </p:txBody>
      </p:sp>
    </p:spTree>
    <p:extLst>
      <p:ext uri="{BB962C8B-B14F-4D97-AF65-F5344CB8AC3E}">
        <p14:creationId xmlns:p14="http://schemas.microsoft.com/office/powerpoint/2010/main" val="487692506"/>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Kiri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4</a:t>
            </a:fld>
            <a:endParaRPr lang="en-US"/>
          </a:p>
        </p:txBody>
      </p:sp>
    </p:spTree>
    <p:extLst>
      <p:ext uri="{BB962C8B-B14F-4D97-AF65-F5344CB8AC3E}">
        <p14:creationId xmlns:p14="http://schemas.microsoft.com/office/powerpoint/2010/main" val="2514118300"/>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La Vache Qui Rit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5</a:t>
            </a:fld>
            <a:endParaRPr lang="en-US"/>
          </a:p>
        </p:txBody>
      </p:sp>
    </p:spTree>
    <p:extLst>
      <p:ext uri="{BB962C8B-B14F-4D97-AF65-F5344CB8AC3E}">
        <p14:creationId xmlns:p14="http://schemas.microsoft.com/office/powerpoint/2010/main" val="3209042835"/>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oft Cheese | Boursin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6</a:t>
            </a:fld>
            <a:endParaRPr lang="en-US"/>
          </a:p>
        </p:txBody>
      </p:sp>
    </p:spTree>
    <p:extLst>
      <p:ext uri="{BB962C8B-B14F-4D97-AF65-F5344CB8AC3E}">
        <p14:creationId xmlns:p14="http://schemas.microsoft.com/office/powerpoint/2010/main" val="396959308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7</a:t>
            </a:fld>
            <a:endParaRPr lang="en-US"/>
          </a:p>
        </p:txBody>
      </p:sp>
    </p:spTree>
    <p:extLst>
      <p:ext uri="{BB962C8B-B14F-4D97-AF65-F5344CB8AC3E}">
        <p14:creationId xmlns:p14="http://schemas.microsoft.com/office/powerpoint/2010/main" val="3615883565"/>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8</a:t>
            </a:fld>
            <a:endParaRPr lang="en-US"/>
          </a:p>
        </p:txBody>
      </p:sp>
    </p:spTree>
    <p:extLst>
      <p:ext uri="{BB962C8B-B14F-4D97-AF65-F5344CB8AC3E}">
        <p14:creationId xmlns:p14="http://schemas.microsoft.com/office/powerpoint/2010/main" val="2465108947"/>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9</a:t>
            </a:fld>
            <a:endParaRPr lang="en-US"/>
          </a:p>
        </p:txBody>
      </p:sp>
    </p:spTree>
    <p:extLst>
      <p:ext uri="{BB962C8B-B14F-4D97-AF65-F5344CB8AC3E}">
        <p14:creationId xmlns:p14="http://schemas.microsoft.com/office/powerpoint/2010/main" val="25089289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Intermarche Su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1689503144"/>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0</a:t>
            </a:fld>
            <a:endParaRPr lang="en-US"/>
          </a:p>
        </p:txBody>
      </p:sp>
    </p:spTree>
    <p:extLst>
      <p:ext uri="{BB962C8B-B14F-4D97-AF65-F5344CB8AC3E}">
        <p14:creationId xmlns:p14="http://schemas.microsoft.com/office/powerpoint/2010/main" val="256820611"/>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1</a:t>
            </a:fld>
            <a:endParaRPr lang="en-US"/>
          </a:p>
        </p:txBody>
      </p:sp>
    </p:spTree>
    <p:extLst>
      <p:ext uri="{BB962C8B-B14F-4D97-AF65-F5344CB8AC3E}">
        <p14:creationId xmlns:p14="http://schemas.microsoft.com/office/powerpoint/2010/main" val="359936416"/>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2</a:t>
            </a:fld>
            <a:endParaRPr lang="en-US"/>
          </a:p>
        </p:txBody>
      </p:sp>
    </p:spTree>
    <p:extLst>
      <p:ext uri="{BB962C8B-B14F-4D97-AF65-F5344CB8AC3E}">
        <p14:creationId xmlns:p14="http://schemas.microsoft.com/office/powerpoint/2010/main" val="2950814715"/>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3</a:t>
            </a:fld>
            <a:endParaRPr lang="en-US"/>
          </a:p>
        </p:txBody>
      </p:sp>
    </p:spTree>
    <p:extLst>
      <p:ext uri="{BB962C8B-B14F-4D97-AF65-F5344CB8AC3E}">
        <p14:creationId xmlns:p14="http://schemas.microsoft.com/office/powerpoint/2010/main" val="3474651784"/>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Aperitif | Boursin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4</a:t>
            </a:fld>
            <a:endParaRPr lang="en-US"/>
          </a:p>
        </p:txBody>
      </p:sp>
    </p:spTree>
    <p:extLst>
      <p:ext uri="{BB962C8B-B14F-4D97-AF65-F5344CB8AC3E}">
        <p14:creationId xmlns:p14="http://schemas.microsoft.com/office/powerpoint/2010/main" val="4070485830"/>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La Vache Qui Rit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5</a:t>
            </a:fld>
            <a:endParaRPr lang="en-US"/>
          </a:p>
        </p:txBody>
      </p:sp>
    </p:spTree>
    <p:extLst>
      <p:ext uri="{BB962C8B-B14F-4D97-AF65-F5344CB8AC3E}">
        <p14:creationId xmlns:p14="http://schemas.microsoft.com/office/powerpoint/2010/main" val="1494268120"/>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oursin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6</a:t>
            </a:fld>
            <a:endParaRPr lang="en-US"/>
          </a:p>
        </p:txBody>
      </p:sp>
    </p:spTree>
    <p:extLst>
      <p:ext uri="{BB962C8B-B14F-4D97-AF65-F5344CB8AC3E}">
        <p14:creationId xmlns:p14="http://schemas.microsoft.com/office/powerpoint/2010/main" val="78874528"/>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La Vache Qui Rit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7</a:t>
            </a:fld>
            <a:endParaRPr lang="en-US"/>
          </a:p>
        </p:txBody>
      </p:sp>
    </p:spTree>
    <p:extLst>
      <p:ext uri="{BB962C8B-B14F-4D97-AF65-F5344CB8AC3E}">
        <p14:creationId xmlns:p14="http://schemas.microsoft.com/office/powerpoint/2010/main" val="2759786334"/>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oursin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8</a:t>
            </a:fld>
            <a:endParaRPr lang="en-US"/>
          </a:p>
        </p:txBody>
      </p:sp>
    </p:spTree>
    <p:extLst>
      <p:ext uri="{BB962C8B-B14F-4D97-AF65-F5344CB8AC3E}">
        <p14:creationId xmlns:p14="http://schemas.microsoft.com/office/powerpoint/2010/main" val="4042837197"/>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La Vache Qui Rit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9</a:t>
            </a:fld>
            <a:endParaRPr lang="en-US"/>
          </a:p>
        </p:txBody>
      </p:sp>
    </p:spTree>
    <p:extLst>
      <p:ext uri="{BB962C8B-B14F-4D97-AF65-F5344CB8AC3E}">
        <p14:creationId xmlns:p14="http://schemas.microsoft.com/office/powerpoint/2010/main" val="9454556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Intermarche Hy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1324566512"/>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oursin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0</a:t>
            </a:fld>
            <a:endParaRPr lang="en-US"/>
          </a:p>
        </p:txBody>
      </p:sp>
    </p:spTree>
    <p:extLst>
      <p:ext uri="{BB962C8B-B14F-4D97-AF65-F5344CB8AC3E}">
        <p14:creationId xmlns:p14="http://schemas.microsoft.com/office/powerpoint/2010/main" val="3617339409"/>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La Vache Qui Rit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1</a:t>
            </a:fld>
            <a:endParaRPr lang="en-US"/>
          </a:p>
        </p:txBody>
      </p:sp>
    </p:spTree>
    <p:extLst>
      <p:ext uri="{BB962C8B-B14F-4D97-AF65-F5344CB8AC3E}">
        <p14:creationId xmlns:p14="http://schemas.microsoft.com/office/powerpoint/2010/main" val="709495122"/>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oursin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2</a:t>
            </a:fld>
            <a:endParaRPr lang="en-US"/>
          </a:p>
        </p:txBody>
      </p:sp>
    </p:spTree>
    <p:extLst>
      <p:ext uri="{BB962C8B-B14F-4D97-AF65-F5344CB8AC3E}">
        <p14:creationId xmlns:p14="http://schemas.microsoft.com/office/powerpoint/2010/main" val="3735796515"/>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La Vache Qui Rit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3</a:t>
            </a:fld>
            <a:endParaRPr lang="en-US"/>
          </a:p>
        </p:txBody>
      </p:sp>
    </p:spTree>
    <p:extLst>
      <p:ext uri="{BB962C8B-B14F-4D97-AF65-F5344CB8AC3E}">
        <p14:creationId xmlns:p14="http://schemas.microsoft.com/office/powerpoint/2010/main" val="4166769127"/>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oursin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4</a:t>
            </a:fld>
            <a:endParaRPr lang="en-US"/>
          </a:p>
        </p:txBody>
      </p:sp>
    </p:spTree>
    <p:extLst>
      <p:ext uri="{BB962C8B-B14F-4D97-AF65-F5344CB8AC3E}">
        <p14:creationId xmlns:p14="http://schemas.microsoft.com/office/powerpoint/2010/main" val="1771353869"/>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oursin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5</a:t>
            </a:fld>
            <a:endParaRPr lang="en-US"/>
          </a:p>
        </p:txBody>
      </p:sp>
    </p:spTree>
    <p:extLst>
      <p:ext uri="{BB962C8B-B14F-4D97-AF65-F5344CB8AC3E}">
        <p14:creationId xmlns:p14="http://schemas.microsoft.com/office/powerpoint/2010/main" val="3532692287"/>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oursin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6</a:t>
            </a:fld>
            <a:endParaRPr lang="en-US"/>
          </a:p>
        </p:txBody>
      </p:sp>
    </p:spTree>
    <p:extLst>
      <p:ext uri="{BB962C8B-B14F-4D97-AF65-F5344CB8AC3E}">
        <p14:creationId xmlns:p14="http://schemas.microsoft.com/office/powerpoint/2010/main" val="3439162199"/>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La Vache Qui Rit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7</a:t>
            </a:fld>
            <a:endParaRPr lang="en-US"/>
          </a:p>
        </p:txBody>
      </p:sp>
    </p:spTree>
    <p:extLst>
      <p:ext uri="{BB962C8B-B14F-4D97-AF65-F5344CB8AC3E}">
        <p14:creationId xmlns:p14="http://schemas.microsoft.com/office/powerpoint/2010/main" val="140470313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Ingredient A Chaud | Boursin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8</a:t>
            </a:fld>
            <a:endParaRPr lang="en-US"/>
          </a:p>
        </p:txBody>
      </p:sp>
    </p:spTree>
    <p:extLst>
      <p:ext uri="{BB962C8B-B14F-4D97-AF65-F5344CB8AC3E}">
        <p14:creationId xmlns:p14="http://schemas.microsoft.com/office/powerpoint/2010/main" val="3920038075"/>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9</a:t>
            </a:fld>
            <a:endParaRPr lang="en-US"/>
          </a:p>
        </p:txBody>
      </p:sp>
    </p:spTree>
    <p:extLst>
      <p:ext uri="{BB962C8B-B14F-4D97-AF65-F5344CB8AC3E}">
        <p14:creationId xmlns:p14="http://schemas.microsoft.com/office/powerpoint/2010/main" val="25622918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Aperitif | Intermarche Prox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3170268081"/>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0</a:t>
            </a:fld>
            <a:endParaRPr lang="en-US"/>
          </a:p>
        </p:txBody>
      </p:sp>
    </p:spTree>
    <p:extLst>
      <p:ext uri="{BB962C8B-B14F-4D97-AF65-F5344CB8AC3E}">
        <p14:creationId xmlns:p14="http://schemas.microsoft.com/office/powerpoint/2010/main" val="2704856559"/>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1</a:t>
            </a:fld>
            <a:endParaRPr lang="en-US"/>
          </a:p>
        </p:txBody>
      </p:sp>
    </p:spTree>
    <p:extLst>
      <p:ext uri="{BB962C8B-B14F-4D97-AF65-F5344CB8AC3E}">
        <p14:creationId xmlns:p14="http://schemas.microsoft.com/office/powerpoint/2010/main" val="3182090784"/>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2</a:t>
            </a:fld>
            <a:endParaRPr lang="en-US"/>
          </a:p>
        </p:txBody>
      </p:sp>
    </p:spTree>
    <p:extLst>
      <p:ext uri="{BB962C8B-B14F-4D97-AF65-F5344CB8AC3E}">
        <p14:creationId xmlns:p14="http://schemas.microsoft.com/office/powerpoint/2010/main" val="102215494"/>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3</a:t>
            </a:fld>
            <a:endParaRPr lang="en-US"/>
          </a:p>
        </p:txBody>
      </p:sp>
    </p:spTree>
    <p:extLst>
      <p:ext uri="{BB962C8B-B14F-4D97-AF65-F5344CB8AC3E}">
        <p14:creationId xmlns:p14="http://schemas.microsoft.com/office/powerpoint/2010/main" val="3991345663"/>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4</a:t>
            </a:fld>
            <a:endParaRPr lang="en-US"/>
          </a:p>
        </p:txBody>
      </p:sp>
    </p:spTree>
    <p:extLst>
      <p:ext uri="{BB962C8B-B14F-4D97-AF65-F5344CB8AC3E}">
        <p14:creationId xmlns:p14="http://schemas.microsoft.com/office/powerpoint/2010/main" val="2377384892"/>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5</a:t>
            </a:fld>
            <a:endParaRPr lang="en-US"/>
          </a:p>
        </p:txBody>
      </p:sp>
    </p:spTree>
    <p:extLst>
      <p:ext uri="{BB962C8B-B14F-4D97-AF65-F5344CB8AC3E}">
        <p14:creationId xmlns:p14="http://schemas.microsoft.com/office/powerpoint/2010/main" val="1655309862"/>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6</a:t>
            </a:fld>
            <a:endParaRPr lang="en-US"/>
          </a:p>
        </p:txBody>
      </p:sp>
    </p:spTree>
    <p:extLst>
      <p:ext uri="{BB962C8B-B14F-4D97-AF65-F5344CB8AC3E}">
        <p14:creationId xmlns:p14="http://schemas.microsoft.com/office/powerpoint/2010/main" val="3414838822"/>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7</a:t>
            </a:fld>
            <a:endParaRPr lang="en-US"/>
          </a:p>
        </p:txBody>
      </p:sp>
    </p:spTree>
    <p:extLst>
      <p:ext uri="{BB962C8B-B14F-4D97-AF65-F5344CB8AC3E}">
        <p14:creationId xmlns:p14="http://schemas.microsoft.com/office/powerpoint/2010/main" val="1778639561"/>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8</a:t>
            </a:fld>
            <a:endParaRPr lang="en-US"/>
          </a:p>
        </p:txBody>
      </p:sp>
    </p:spTree>
    <p:extLst>
      <p:ext uri="{BB962C8B-B14F-4D97-AF65-F5344CB8AC3E}">
        <p14:creationId xmlns:p14="http://schemas.microsoft.com/office/powerpoint/2010/main" val="4282851031"/>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9</a:t>
            </a:fld>
            <a:endParaRPr lang="en-US"/>
          </a:p>
        </p:txBody>
      </p:sp>
    </p:spTree>
    <p:extLst>
      <p:ext uri="{BB962C8B-B14F-4D97-AF65-F5344CB8AC3E}">
        <p14:creationId xmlns:p14="http://schemas.microsoft.com/office/powerpoint/2010/main" val="2354604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Ingredient A Chaud | Carrefou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604272195"/>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0</a:t>
            </a:fld>
            <a:endParaRPr lang="en-US"/>
          </a:p>
        </p:txBody>
      </p:sp>
    </p:spTree>
    <p:extLst>
      <p:ext uri="{BB962C8B-B14F-4D97-AF65-F5344CB8AC3E}">
        <p14:creationId xmlns:p14="http://schemas.microsoft.com/office/powerpoint/2010/main" val="1416087474"/>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1</a:t>
            </a:fld>
            <a:endParaRPr lang="en-US"/>
          </a:p>
        </p:txBody>
      </p:sp>
    </p:spTree>
    <p:extLst>
      <p:ext uri="{BB962C8B-B14F-4D97-AF65-F5344CB8AC3E}">
        <p14:creationId xmlns:p14="http://schemas.microsoft.com/office/powerpoint/2010/main" val="405641847"/>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2</a:t>
            </a:fld>
            <a:endParaRPr lang="en-US"/>
          </a:p>
        </p:txBody>
      </p:sp>
    </p:spTree>
    <p:extLst>
      <p:ext uri="{BB962C8B-B14F-4D97-AF65-F5344CB8AC3E}">
        <p14:creationId xmlns:p14="http://schemas.microsoft.com/office/powerpoint/2010/main" val="4225278836"/>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Kiri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3</a:t>
            </a:fld>
            <a:endParaRPr lang="en-US"/>
          </a:p>
        </p:txBody>
      </p:sp>
    </p:spTree>
    <p:extLst>
      <p:ext uri="{BB962C8B-B14F-4D97-AF65-F5344CB8AC3E}">
        <p14:creationId xmlns:p14="http://schemas.microsoft.com/office/powerpoint/2010/main" val="3593152230"/>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Enfant | La Vache Qui Rit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4</a:t>
            </a:fld>
            <a:endParaRPr lang="en-US"/>
          </a:p>
        </p:txBody>
      </p:sp>
    </p:spTree>
    <p:extLst>
      <p:ext uri="{BB962C8B-B14F-4D97-AF65-F5344CB8AC3E}">
        <p14:creationId xmlns:p14="http://schemas.microsoft.com/office/powerpoint/2010/main" val="3955751740"/>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5</a:t>
            </a:fld>
            <a:endParaRPr lang="en-US"/>
          </a:p>
        </p:txBody>
      </p:sp>
    </p:spTree>
    <p:extLst>
      <p:ext uri="{BB962C8B-B14F-4D97-AF65-F5344CB8AC3E}">
        <p14:creationId xmlns:p14="http://schemas.microsoft.com/office/powerpoint/2010/main" val="2353885944"/>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6</a:t>
            </a:fld>
            <a:endParaRPr lang="en-US"/>
          </a:p>
        </p:txBody>
      </p:sp>
    </p:spTree>
    <p:extLst>
      <p:ext uri="{BB962C8B-B14F-4D97-AF65-F5344CB8AC3E}">
        <p14:creationId xmlns:p14="http://schemas.microsoft.com/office/powerpoint/2010/main" val="139682742"/>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7</a:t>
            </a:fld>
            <a:endParaRPr lang="en-US"/>
          </a:p>
        </p:txBody>
      </p:sp>
    </p:spTree>
    <p:extLst>
      <p:ext uri="{BB962C8B-B14F-4D97-AF65-F5344CB8AC3E}">
        <p14:creationId xmlns:p14="http://schemas.microsoft.com/office/powerpoint/2010/main" val="311221231"/>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8</a:t>
            </a:fld>
            <a:endParaRPr lang="en-US"/>
          </a:p>
        </p:txBody>
      </p:sp>
    </p:spTree>
    <p:extLst>
      <p:ext uri="{BB962C8B-B14F-4D97-AF65-F5344CB8AC3E}">
        <p14:creationId xmlns:p14="http://schemas.microsoft.com/office/powerpoint/2010/main" val="262130761"/>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9</a:t>
            </a:fld>
            <a:endParaRPr lang="en-US"/>
          </a:p>
        </p:txBody>
      </p:sp>
    </p:spTree>
    <p:extLst>
      <p:ext uri="{BB962C8B-B14F-4D97-AF65-F5344CB8AC3E}">
        <p14:creationId xmlns:p14="http://schemas.microsoft.com/office/powerpoint/2010/main" val="10498520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Ingredient A Chaud | Intermarch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347795688"/>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0</a:t>
            </a:fld>
            <a:endParaRPr lang="en-US"/>
          </a:p>
        </p:txBody>
      </p:sp>
    </p:spTree>
    <p:extLst>
      <p:ext uri="{BB962C8B-B14F-4D97-AF65-F5344CB8AC3E}">
        <p14:creationId xmlns:p14="http://schemas.microsoft.com/office/powerpoint/2010/main" val="2345510200"/>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1</a:t>
            </a:fld>
            <a:endParaRPr lang="en-US"/>
          </a:p>
        </p:txBody>
      </p:sp>
    </p:spTree>
    <p:extLst>
      <p:ext uri="{BB962C8B-B14F-4D97-AF65-F5344CB8AC3E}">
        <p14:creationId xmlns:p14="http://schemas.microsoft.com/office/powerpoint/2010/main" val="2311972620"/>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2</a:t>
            </a:fld>
            <a:endParaRPr lang="en-US"/>
          </a:p>
        </p:txBody>
      </p:sp>
    </p:spTree>
    <p:extLst>
      <p:ext uri="{BB962C8B-B14F-4D97-AF65-F5344CB8AC3E}">
        <p14:creationId xmlns:p14="http://schemas.microsoft.com/office/powerpoint/2010/main" val="3288490282"/>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3</a:t>
            </a:fld>
            <a:endParaRPr lang="en-US"/>
          </a:p>
        </p:txBody>
      </p:sp>
    </p:spTree>
    <p:extLst>
      <p:ext uri="{BB962C8B-B14F-4D97-AF65-F5344CB8AC3E}">
        <p14:creationId xmlns:p14="http://schemas.microsoft.com/office/powerpoint/2010/main" val="3627688667"/>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4</a:t>
            </a:fld>
            <a:endParaRPr lang="en-US"/>
          </a:p>
        </p:txBody>
      </p:sp>
    </p:spTree>
    <p:extLst>
      <p:ext uri="{BB962C8B-B14F-4D97-AF65-F5344CB8AC3E}">
        <p14:creationId xmlns:p14="http://schemas.microsoft.com/office/powerpoint/2010/main" val="977863389"/>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5</a:t>
            </a:fld>
            <a:endParaRPr lang="en-US"/>
          </a:p>
        </p:txBody>
      </p:sp>
    </p:spTree>
    <p:extLst>
      <p:ext uri="{BB962C8B-B14F-4D97-AF65-F5344CB8AC3E}">
        <p14:creationId xmlns:p14="http://schemas.microsoft.com/office/powerpoint/2010/main" val="1534679169"/>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6</a:t>
            </a:fld>
            <a:endParaRPr lang="en-US"/>
          </a:p>
        </p:txBody>
      </p:sp>
    </p:spTree>
    <p:extLst>
      <p:ext uri="{BB962C8B-B14F-4D97-AF65-F5344CB8AC3E}">
        <p14:creationId xmlns:p14="http://schemas.microsoft.com/office/powerpoint/2010/main" val="2925003987"/>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7</a:t>
            </a:fld>
            <a:endParaRPr lang="en-US"/>
          </a:p>
        </p:txBody>
      </p:sp>
    </p:spTree>
    <p:extLst>
      <p:ext uri="{BB962C8B-B14F-4D97-AF65-F5344CB8AC3E}">
        <p14:creationId xmlns:p14="http://schemas.microsoft.com/office/powerpoint/2010/main" val="72034076"/>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8</a:t>
            </a:fld>
            <a:endParaRPr lang="en-US"/>
          </a:p>
        </p:txBody>
      </p:sp>
    </p:spTree>
    <p:extLst>
      <p:ext uri="{BB962C8B-B14F-4D97-AF65-F5344CB8AC3E}">
        <p14:creationId xmlns:p14="http://schemas.microsoft.com/office/powerpoint/2010/main" val="2091069428"/>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Kiri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9</a:t>
            </a:fld>
            <a:endParaRPr lang="en-US"/>
          </a:p>
        </p:txBody>
      </p:sp>
    </p:spTree>
    <p:extLst>
      <p:ext uri="{BB962C8B-B14F-4D97-AF65-F5344CB8AC3E}">
        <p14:creationId xmlns:p14="http://schemas.microsoft.com/office/powerpoint/2010/main" val="37058396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Ingredient A Chaud | Carrefour Hyper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1630376"/>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Frais A Tartiner | Boursin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0</a:t>
            </a:fld>
            <a:endParaRPr lang="en-US"/>
          </a:p>
        </p:txBody>
      </p:sp>
    </p:spTree>
    <p:extLst>
      <p:ext uri="{BB962C8B-B14F-4D97-AF65-F5344CB8AC3E}">
        <p14:creationId xmlns:p14="http://schemas.microsoft.com/office/powerpoint/2010/main" val="3923056668"/>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Carrefou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1</a:t>
            </a:fld>
            <a:endParaRPr lang="en-US"/>
          </a:p>
        </p:txBody>
      </p:sp>
    </p:spTree>
    <p:extLst>
      <p:ext uri="{BB962C8B-B14F-4D97-AF65-F5344CB8AC3E}">
        <p14:creationId xmlns:p14="http://schemas.microsoft.com/office/powerpoint/2010/main" val="1421401949"/>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Intermarch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2</a:t>
            </a:fld>
            <a:endParaRPr lang="en-US"/>
          </a:p>
        </p:txBody>
      </p:sp>
    </p:spTree>
    <p:extLst>
      <p:ext uri="{BB962C8B-B14F-4D97-AF65-F5344CB8AC3E}">
        <p14:creationId xmlns:p14="http://schemas.microsoft.com/office/powerpoint/2010/main" val="747259082"/>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Carrefour Hyper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3</a:t>
            </a:fld>
            <a:endParaRPr lang="en-US"/>
          </a:p>
        </p:txBody>
      </p:sp>
    </p:spTree>
    <p:extLst>
      <p:ext uri="{BB962C8B-B14F-4D97-AF65-F5344CB8AC3E}">
        <p14:creationId xmlns:p14="http://schemas.microsoft.com/office/powerpoint/2010/main" val="926824275"/>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Carrefour Supermarket + Driv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4</a:t>
            </a:fld>
            <a:endParaRPr lang="en-US"/>
          </a:p>
        </p:txBody>
      </p:sp>
    </p:spTree>
    <p:extLst>
      <p:ext uri="{BB962C8B-B14F-4D97-AF65-F5344CB8AC3E}">
        <p14:creationId xmlns:p14="http://schemas.microsoft.com/office/powerpoint/2010/main" val="2243061296"/>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Carrefour Proximite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5</a:t>
            </a:fld>
            <a:endParaRPr lang="en-US"/>
          </a:p>
        </p:txBody>
      </p:sp>
    </p:spTree>
    <p:extLst>
      <p:ext uri="{BB962C8B-B14F-4D97-AF65-F5344CB8AC3E}">
        <p14:creationId xmlns:p14="http://schemas.microsoft.com/office/powerpoint/2010/main" val="366181177"/>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Intermarche Su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6</a:t>
            </a:fld>
            <a:endParaRPr lang="en-US"/>
          </a:p>
        </p:txBody>
      </p:sp>
    </p:spTree>
    <p:extLst>
      <p:ext uri="{BB962C8B-B14F-4D97-AF65-F5344CB8AC3E}">
        <p14:creationId xmlns:p14="http://schemas.microsoft.com/office/powerpoint/2010/main" val="1921096183"/>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Intermarche Hyper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7</a:t>
            </a:fld>
            <a:endParaRPr lang="en-US"/>
          </a:p>
        </p:txBody>
      </p:sp>
    </p:spTree>
    <p:extLst>
      <p:ext uri="{BB962C8B-B14F-4D97-AF65-F5344CB8AC3E}">
        <p14:creationId xmlns:p14="http://schemas.microsoft.com/office/powerpoint/2010/main" val="1570462557"/>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pPr>
              <a:defRPr sz="1200">
                <a:latin typeface="Nexa (Headings)"/>
              </a:defRPr>
            </a:pPr>
            <a:r>
              <a:t>Cumulative Product Share | Salade | Boursin | Intermarche Proxi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pPr>
              <a:defRPr sz="1600">
                <a:latin typeface="Nexa (Headings)"/>
              </a:defRPr>
            </a:pPr>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8</a:t>
            </a:fld>
            <a:endParaRPr lang="en-US"/>
          </a:p>
        </p:txBody>
      </p:sp>
    </p:spTree>
    <p:extLst>
      <p:ext uri="{BB962C8B-B14F-4D97-AF65-F5344CB8AC3E}">
        <p14:creationId xmlns:p14="http://schemas.microsoft.com/office/powerpoint/2010/main" val="1258661033"/>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Carrefou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Tran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Emmental Rap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ivate Label Mdd Std Soft Cheese Salade 1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Emmental Rap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omte Bloc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Emmental Rape Chapelet 1X7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79</a:t>
            </a:fld>
            <a:endParaRPr lang="en-US"/>
          </a:p>
        </p:txBody>
      </p:sp>
    </p:spTree>
    <p:extLst>
      <p:ext uri="{BB962C8B-B14F-4D97-AF65-F5344CB8AC3E}">
        <p14:creationId xmlns:p14="http://schemas.microsoft.com/office/powerpoint/2010/main" val="514601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Ingredient A Chaud | Carrefour Supermarket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685857303"/>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Intermarch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mte Bloc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3X7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10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Raclette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Top Budget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4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Grana Padano Rape Sachet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0</a:t>
            </a:fld>
            <a:endParaRPr lang="en-US"/>
          </a:p>
        </p:txBody>
      </p:sp>
    </p:spTree>
    <p:extLst>
      <p:ext uri="{BB962C8B-B14F-4D97-AF65-F5344CB8AC3E}">
        <p14:creationId xmlns:p14="http://schemas.microsoft.com/office/powerpoint/2010/main" val="2444826992"/>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Carrefour Hyper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Emmental Rap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ivate Label Mdd Std Soft Cheese Salade 1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Emmental Rap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Tran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Emmental Rape Chapelet 1X7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1</a:t>
            </a:fld>
            <a:endParaRPr lang="en-US"/>
          </a:p>
        </p:txBody>
      </p:sp>
    </p:spTree>
    <p:extLst>
      <p:ext uri="{BB962C8B-B14F-4D97-AF65-F5344CB8AC3E}">
        <p14:creationId xmlns:p14="http://schemas.microsoft.com/office/powerpoint/2010/main" val="4208784744"/>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Carrefour Supermarket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Emmental Rap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ivate Label Mdd Std Soft Cheese Salade 1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Tran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Emmental Rap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Emmental Rape Chapelet 1X7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2</a:t>
            </a:fld>
            <a:endParaRPr lang="en-US"/>
          </a:p>
        </p:txBody>
      </p:sp>
    </p:spTree>
    <p:extLst>
      <p:ext uri="{BB962C8B-B14F-4D97-AF65-F5344CB8AC3E}">
        <p14:creationId xmlns:p14="http://schemas.microsoft.com/office/powerpoint/2010/main" val="2970468660"/>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Carrefour Proximit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Tran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Emmental Rap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Rap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omte Bloc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3</a:t>
            </a:fld>
            <a:endParaRPr lang="en-US"/>
          </a:p>
        </p:txBody>
      </p:sp>
    </p:spTree>
    <p:extLst>
      <p:ext uri="{BB962C8B-B14F-4D97-AF65-F5344CB8AC3E}">
        <p14:creationId xmlns:p14="http://schemas.microsoft.com/office/powerpoint/2010/main" val="2499614958"/>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Intermarche Su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mte Bloc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3X7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10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Raclette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4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Top Budget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Grana Padano Rape Sachet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Entremo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ntremont Comte Bloc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4</a:t>
            </a:fld>
            <a:endParaRPr lang="en-US"/>
          </a:p>
        </p:txBody>
      </p:sp>
    </p:spTree>
    <p:extLst>
      <p:ext uri="{BB962C8B-B14F-4D97-AF65-F5344CB8AC3E}">
        <p14:creationId xmlns:p14="http://schemas.microsoft.com/office/powerpoint/2010/main" val="3140350414"/>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Intermarche Hy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3X7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mte Bloc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10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Raclette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ichesmont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ichesmonts Raclette Boite 1X420Gr 1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Top Budget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4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Entremo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Entremont Comte Bloc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5</a:t>
            </a:fld>
            <a:endParaRPr lang="en-US"/>
          </a:p>
        </p:txBody>
      </p:sp>
    </p:spTree>
    <p:extLst>
      <p:ext uri="{BB962C8B-B14F-4D97-AF65-F5344CB8AC3E}">
        <p14:creationId xmlns:p14="http://schemas.microsoft.com/office/powerpoint/2010/main" val="335671764"/>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Total Fromage | Intermarche Prox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mte Bloc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3X7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Grana Padano Rape Sachet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Raclette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Top Budget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Bloc Sachet 1X4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Emmental Rap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Emmental Rape Sachet 1X10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6</a:t>
            </a:fld>
            <a:endParaRPr lang="en-US"/>
          </a:p>
        </p:txBody>
      </p:sp>
    </p:spTree>
    <p:extLst>
      <p:ext uri="{BB962C8B-B14F-4D97-AF65-F5344CB8AC3E}">
        <p14:creationId xmlns:p14="http://schemas.microsoft.com/office/powerpoint/2010/main" val="2248195014"/>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Carrefou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ivate Label Mdd Std Soft Cheese Salade 1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utr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7</a:t>
            </a:fld>
            <a:endParaRPr lang="en-US"/>
          </a:p>
        </p:txBody>
      </p:sp>
    </p:spTree>
    <p:extLst>
      <p:ext uri="{BB962C8B-B14F-4D97-AF65-F5344CB8AC3E}">
        <p14:creationId xmlns:p14="http://schemas.microsoft.com/office/powerpoint/2010/main" val="1771424737"/>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Intermarch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La Buche Fondante Fromage De Chevre Affin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8</a:t>
            </a:fld>
            <a:endParaRPr lang="en-US"/>
          </a:p>
        </p:txBody>
      </p:sp>
    </p:spTree>
    <p:extLst>
      <p:ext uri="{BB962C8B-B14F-4D97-AF65-F5344CB8AC3E}">
        <p14:creationId xmlns:p14="http://schemas.microsoft.com/office/powerpoint/2010/main" val="4124535687"/>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Carrefour Hyper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ivate Label Mdd Std Soft Cheese Salade 1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La Buche Fondante Fromage De Chevre Affin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Fromage De Chevre Affine Buch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9</a:t>
            </a:fld>
            <a:endParaRPr lang="en-US"/>
          </a:p>
        </p:txBody>
      </p:sp>
    </p:spTree>
    <p:extLst>
      <p:ext uri="{BB962C8B-B14F-4D97-AF65-F5344CB8AC3E}">
        <p14:creationId xmlns:p14="http://schemas.microsoft.com/office/powerpoint/2010/main" val="6340590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Ingredient A Chaud | Carrefour Proximit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3452424792"/>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Carrefour Supermarket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ivate Label Mdd Std Soft Cheese Salade 1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utr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Fromage De Chevre Affine Buch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La Buche Fondante Fromage De Chevre Affin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ns Mayennai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0</a:t>
            </a:fld>
            <a:endParaRPr lang="en-US"/>
          </a:p>
        </p:txBody>
      </p:sp>
    </p:spTree>
    <p:extLst>
      <p:ext uri="{BB962C8B-B14F-4D97-AF65-F5344CB8AC3E}">
        <p14:creationId xmlns:p14="http://schemas.microsoft.com/office/powerpoint/2010/main" val="2239885574"/>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Carrefour Proximit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utr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De Chevre Affine Buch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1</a:t>
            </a:fld>
            <a:endParaRPr lang="en-US"/>
          </a:p>
        </p:txBody>
      </p:sp>
    </p:spTree>
    <p:extLst>
      <p:ext uri="{BB962C8B-B14F-4D97-AF65-F5344CB8AC3E}">
        <p14:creationId xmlns:p14="http://schemas.microsoft.com/office/powerpoint/2010/main" val="3522101218"/>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Intermarche Su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La Buche Fondante Fromage De Chevre Affin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2</a:t>
            </a:fld>
            <a:endParaRPr lang="en-US"/>
          </a:p>
        </p:txBody>
      </p:sp>
    </p:spTree>
    <p:extLst>
      <p:ext uri="{BB962C8B-B14F-4D97-AF65-F5344CB8AC3E}">
        <p14:creationId xmlns:p14="http://schemas.microsoft.com/office/powerpoint/2010/main" val="1697051851"/>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Intermarche Hy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La Buche Fondante Fromage De Chevre Affin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ons Mayennai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3</a:t>
            </a:fld>
            <a:endParaRPr lang="en-US"/>
          </a:p>
        </p:txBody>
      </p:sp>
    </p:spTree>
    <p:extLst>
      <p:ext uri="{BB962C8B-B14F-4D97-AF65-F5344CB8AC3E}">
        <p14:creationId xmlns:p14="http://schemas.microsoft.com/office/powerpoint/2010/main" val="3181811725"/>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oft Cheese | Intermarche Prox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oign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oignon Ste Maure Affine Buch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Coeur De Li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oeur De Lion Coulommiers Lait Pasteurise Boite 1X3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aprice Des Dieux</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price Des Dieux Specialite Oval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La Buche Fondante Fromage De Chevre Affin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te Maure Affine Buche Cendr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Le Rustiqu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 Rustique Camembert Lait Pasteuris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4</a:t>
            </a:fld>
            <a:endParaRPr lang="en-US"/>
          </a:p>
        </p:txBody>
      </p:sp>
    </p:spTree>
    <p:extLst>
      <p:ext uri="{BB962C8B-B14F-4D97-AF65-F5344CB8AC3E}">
        <p14:creationId xmlns:p14="http://schemas.microsoft.com/office/powerpoint/2010/main" val="4105397424"/>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Carrefou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Tonic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Saison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Incontournabl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mpagne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rrement Toqu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Best Of Des Saveurs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rais Bouchee Afh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Ail Et Fines Herbes Fromage Frais Bouchee Afh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Voyag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Vertical Soiree Apero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5</a:t>
            </a:fld>
            <a:endParaRPr lang="en-US"/>
          </a:p>
        </p:txBody>
      </p:sp>
    </p:spTree>
    <p:extLst>
      <p:ext uri="{BB962C8B-B14F-4D97-AF65-F5344CB8AC3E}">
        <p14:creationId xmlns:p14="http://schemas.microsoft.com/office/powerpoint/2010/main" val="3089580176"/>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Intermarch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Tonic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Incontournabl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pecialite Jambon Et Fromage Boit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Saison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Voyag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mpagne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Saveurs De L'Authentiqu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Ail Et Fines Herbes Fromage Frais Bouchee Afh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De Chevre Boite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Basilic &amp; Jambon Fume Tomat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Oignon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6</a:t>
            </a:fld>
            <a:endParaRPr lang="en-US"/>
          </a:p>
        </p:txBody>
      </p:sp>
    </p:spTree>
    <p:extLst>
      <p:ext uri="{BB962C8B-B14F-4D97-AF65-F5344CB8AC3E}">
        <p14:creationId xmlns:p14="http://schemas.microsoft.com/office/powerpoint/2010/main" val="1971669044"/>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Carrefour Hyper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Incontournabl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Tonic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Saison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rrement Toqu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Voyag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mpagne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Ail Et Fines Herbes Fromage Frais Bouchee Afh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Best Of Des Saveurs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Edition Limitee Saison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harcut' Fromages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7</a:t>
            </a:fld>
            <a:endParaRPr lang="en-US"/>
          </a:p>
        </p:txBody>
      </p:sp>
    </p:spTree>
    <p:extLst>
      <p:ext uri="{BB962C8B-B14F-4D97-AF65-F5344CB8AC3E}">
        <p14:creationId xmlns:p14="http://schemas.microsoft.com/office/powerpoint/2010/main" val="2290017715"/>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Carrefour Supermarket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Saison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Tonic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mpagne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Best Of Des Saveurs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Ail Et Fines Herbes Fromage Frais Bouchee Afh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rais Bouchee Afh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Oignon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Edition Limitee Saison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Soiree Match Aperitif 2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peritif Tete De Moine Boit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8</a:t>
            </a:fld>
            <a:endParaRPr lang="en-US"/>
          </a:p>
        </p:txBody>
      </p:sp>
    </p:spTree>
    <p:extLst>
      <p:ext uri="{BB962C8B-B14F-4D97-AF65-F5344CB8AC3E}">
        <p14:creationId xmlns:p14="http://schemas.microsoft.com/office/powerpoint/2010/main" val="2940139401"/>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Carrefour Proximit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72644296"/>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Vertical Soiree Apero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Vertical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rais Bouchee Afh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Best Of Des Saveurs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O'Tapas Aper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O'Tapas Apero Les Roules Du Fromager Fromage Frais Roule Assortis Boite 1X112Gr 1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peritif Tete De Moine Boit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eerdamm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erdammer Billes Croustillantes Aperitif 45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randjean Specialite Boite 1X1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Soiree Match Aperitif 2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O'Tapas Aper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O'Tapas Apero Tapas Du Fromager Fromage Frais Bouchee Assortis Boite 1X110Gr 1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9</a:t>
            </a:fld>
            <a:endParaRPr lang="en-US"/>
          </a:p>
        </p:txBody>
      </p:sp>
    </p:spTree>
    <p:extLst>
      <p:ext uri="{BB962C8B-B14F-4D97-AF65-F5344CB8AC3E}">
        <p14:creationId xmlns:p14="http://schemas.microsoft.com/office/powerpoint/2010/main" val="28239645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Carrefour Hyper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29782128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Ingredient A Chaud | Intermarche Su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2626468898"/>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Intermarche Su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Tonic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Incontournabl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pecialite Jambon Et Fromage Boit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Saison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Voyag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mpagne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Saveurs De L'Authentiqu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Ail Et Fines Herbes Fromage Frais Bouchee Afh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De Chevre Boite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Basilic &amp; Jambon Fume Tomat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Oignon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0</a:t>
            </a:fld>
            <a:endParaRPr lang="en-US"/>
          </a:p>
        </p:txBody>
      </p:sp>
    </p:spTree>
    <p:extLst>
      <p:ext uri="{BB962C8B-B14F-4D97-AF65-F5344CB8AC3E}">
        <p14:creationId xmlns:p14="http://schemas.microsoft.com/office/powerpoint/2010/main" val="4282745132"/>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Intermarche Hy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Incontournabl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Tonic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Saison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pecialite Jambon Et Fromage Boit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Voyag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Saveurs De L'Authentiqu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mpagne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Ail Et Fines Herbes Fromage Frais Bouchee Afh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Oignon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Basilic &amp; Jambon Fume Tomat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1</a:t>
            </a:fld>
            <a:endParaRPr lang="en-US"/>
          </a:p>
        </p:txBody>
      </p:sp>
    </p:spTree>
    <p:extLst>
      <p:ext uri="{BB962C8B-B14F-4D97-AF65-F5344CB8AC3E}">
        <p14:creationId xmlns:p14="http://schemas.microsoft.com/office/powerpoint/2010/main" val="3427262963"/>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Aperitif | Intermarche Prox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Best Of Foot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ocktail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e Provence Fromage Frais Bouchee Assortis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Long Drink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Tonic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Campagne Fromage Fondu Cube Assortis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Specialite Jambon Et Fromage Boite 1X1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Nature Fromage Fondu Cube 1X125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Limitee Saison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De Chevre Boite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Edition Voyag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Incontournabl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Figu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Ail Et Fines Herbes Fromage Frais Bouchee Afh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Aperiv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vrais Saveurs D'Italie Fromage Frais Bouchee Epice Herbe Et Oignon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pericub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Apericube Saveurs De L'Authentique Fromage Fondu Cube Assortis 1X250Gr 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Aperitif Roules Fromage Frais Roule Basilic &amp; Jambon Fume Tomate Boite 1X10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Billes Fromage Frais Bille Ciboulette &amp; Citron Saumon Fume Boite 1X1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2</a:t>
            </a:fld>
            <a:endParaRPr lang="en-US"/>
          </a:p>
        </p:txBody>
      </p:sp>
    </p:spTree>
    <p:extLst>
      <p:ext uri="{BB962C8B-B14F-4D97-AF65-F5344CB8AC3E}">
        <p14:creationId xmlns:p14="http://schemas.microsoft.com/office/powerpoint/2010/main" val="1691525040"/>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Ingredient A Chaud | Carrefou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heddar Fondu Tranche A Chaud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ondu Tranche A Chaud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Tranche A Chaud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Toastinette Cheddar Fondu Tranche A Chaud Sachet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Toastinette Fromage Fondu Tranche A Chaud Sachet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heddar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uisine Sauce Fromage Afh 1X2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Boite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Facon Brasserie Cheddar Tranche A Chaud Boite 1X200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1Er Prix Fromage Fondu Tranche A Chaud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ondu Tranche A Chaud Raclett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Fauq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auquet Creme De Maroilles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3</a:t>
            </a:fld>
            <a:endParaRPr lang="en-US"/>
          </a:p>
        </p:txBody>
      </p:sp>
    </p:spTree>
    <p:extLst>
      <p:ext uri="{BB962C8B-B14F-4D97-AF65-F5344CB8AC3E}">
        <p14:creationId xmlns:p14="http://schemas.microsoft.com/office/powerpoint/2010/main" val="1641658279"/>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Ingredient A Chaud | Intermarch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Boite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uisine Sauce Fromage Afh 1X2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Les Mousquetaires: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op Budget Processed Cheese Processed Cheese - Servings 40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ichesmont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ichesmonts La Raclette Speciale Tranche A Chaud Boite 1X140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Metton Fondu Alleg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Ail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4</a:t>
            </a:fld>
            <a:endParaRPr lang="en-US"/>
          </a:p>
        </p:txBody>
      </p:sp>
    </p:spTree>
    <p:extLst>
      <p:ext uri="{BB962C8B-B14F-4D97-AF65-F5344CB8AC3E}">
        <p14:creationId xmlns:p14="http://schemas.microsoft.com/office/powerpoint/2010/main" val="865746935"/>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Ingredient A Chaud | Carrefour Hyper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heddar Fondu Tranche A Chaud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ondu Tranche A Chaud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Toastinette Fromage Fondu Tranche A Chaud Sachet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Toastinette Cheddar Fondu Tranche A Chaud Sachet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Tranche A Chaud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heddar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Boite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uisine Sauce Fromage Afh 1X2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1Er Prix Fromage Fondu Tranche A Chaud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Facon Brasserie Cheddar Tranche A Chaud Boite 1X200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eme De Camembert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eerdamm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erdammer Le Croque Tranche A Chaud Sachet 1X150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5</a:t>
            </a:fld>
            <a:endParaRPr lang="en-US"/>
          </a:p>
        </p:txBody>
      </p:sp>
    </p:spTree>
    <p:extLst>
      <p:ext uri="{BB962C8B-B14F-4D97-AF65-F5344CB8AC3E}">
        <p14:creationId xmlns:p14="http://schemas.microsoft.com/office/powerpoint/2010/main" val="2600033703"/>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Ingredient A Chaud | Carrefour Supermarket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ondu Tranche A Chaud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heddar Fondu Tranche A Chaud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Tranche A Chaud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Toastinette Cheddar Fondu Tranche A Chaud Sachet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Toastinette Fromage Fondu Tranche A Chaud Sachet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Facon Brasserie Cheddar Tranche A Chaud Boite 1X200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heddar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Boite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uisine Sauce Fromage Afh 1X2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ondu Tranche A Chaud Raclette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Fauq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auquet Creme De Maroilles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adoz Cancoillotte Ail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Nobrand Cheddar Fondu Tranche A Chaud Sachet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6</a:t>
            </a:fld>
            <a:endParaRPr lang="en-US"/>
          </a:p>
        </p:txBody>
      </p:sp>
    </p:spTree>
    <p:extLst>
      <p:ext uri="{BB962C8B-B14F-4D97-AF65-F5344CB8AC3E}">
        <p14:creationId xmlns:p14="http://schemas.microsoft.com/office/powerpoint/2010/main" val="1651036605"/>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Ingredient A Chaud | Carrefour Proximit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heddar Fondu Tranche A Chaud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Tranche A Chaud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uisine Sauce Fromage Afh 1X2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Toastinette Cheddar Fondu Tranche A Chaud Sachet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Fauqu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auquet Creme De Maroilles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Toastinette Fromage Fondu Tranche A Chaud Sachet 1X20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Facon Brasserie Cheddar Tranche A Chaud Boite 1X200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eerdammer</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erdammer Le Burger Tranche A Chaud Boite 1X15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Metton Fondu Alleg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ire Creme De Maroilles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hmann Cancoillotte Ail 1X2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7</a:t>
            </a:fld>
            <a:endParaRPr lang="en-US"/>
          </a:p>
        </p:txBody>
      </p:sp>
    </p:spTree>
    <p:extLst>
      <p:ext uri="{BB962C8B-B14F-4D97-AF65-F5344CB8AC3E}">
        <p14:creationId xmlns:p14="http://schemas.microsoft.com/office/powerpoint/2010/main" val="3951931013"/>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Ingredient A Chaud | Intermarche Su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Boite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uisine Sauce Fromage Afh 1X2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Richesmont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ichesmonts La Raclette Speciale Tranche A Chaud Boite 1X140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Les Mousquetaires: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op Budget Processed Cheese Processed Cheese - Servings 40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Metton Fondu Alleg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8</a:t>
            </a:fld>
            <a:endParaRPr lang="en-US"/>
          </a:p>
        </p:txBody>
      </p:sp>
    </p:spTree>
    <p:extLst>
      <p:ext uri="{BB962C8B-B14F-4D97-AF65-F5344CB8AC3E}">
        <p14:creationId xmlns:p14="http://schemas.microsoft.com/office/powerpoint/2010/main" val="4060866167"/>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Ingredient A Chaud | Intermarche Hy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Boite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uisine Sauce Fromage Afh 1X2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ichesmont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ichesmonts La Raclette Speciale Tranche A Chaud Boite 1X140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es Mousquetaires: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op Budget Processed Cheese Processed Cheese - Servings 40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Metton Fondu Alleg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ire Creme De Maroilles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9</a:t>
            </a:fld>
            <a:endParaRPr lang="en-US"/>
          </a:p>
        </p:txBody>
      </p:sp>
    </p:spTree>
    <p:extLst>
      <p:ext uri="{BB962C8B-B14F-4D97-AF65-F5344CB8AC3E}">
        <p14:creationId xmlns:p14="http://schemas.microsoft.com/office/powerpoint/2010/main" val="1071842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Ingredient A Chaud | Intermarche Hy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2046347398"/>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Ingredient A Chaud | Intermarche Prox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Tranche A Chaud Sachet 1X3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Burger' Fromage Fondu Tranche A Chaud Cheddar Et Emmental Sachet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Sachet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r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roque' Emmental Fondu Tranche A Chaud Boite 1X3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uisine Sauce Fromage Afh 1X2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es Mousquetaires: 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op Budget Processed Cheese Processed Cheese - Servings 40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esiden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esident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Boca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Ail Bocal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 Belle Etoil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a Belle Etoile Metton Fondu Alleg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Ragu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Raguin Cancoillotte Ail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0</a:t>
            </a:fld>
            <a:endParaRPr lang="en-US"/>
          </a:p>
        </p:txBody>
      </p:sp>
    </p:spTree>
    <p:extLst>
      <p:ext uri="{BB962C8B-B14F-4D97-AF65-F5344CB8AC3E}">
        <p14:creationId xmlns:p14="http://schemas.microsoft.com/office/powerpoint/2010/main" val="2337822331"/>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Carrefou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72644296"/>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4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2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oft Cheese Enfant 352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Blanc Frais Carre 1X24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2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18+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Fromage Frais Fondant 1X16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1</a:t>
            </a:fld>
            <a:endParaRPr lang="en-US"/>
          </a:p>
        </p:txBody>
      </p:sp>
    </p:spTree>
    <p:extLst>
      <p:ext uri="{BB962C8B-B14F-4D97-AF65-F5344CB8AC3E}">
        <p14:creationId xmlns:p14="http://schemas.microsoft.com/office/powerpoint/2010/main" val="1948448125"/>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Intermarch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4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4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Emmental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Fromage Frais Fondant Filet 1X24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2</a:t>
            </a:fld>
            <a:endParaRPr lang="en-US"/>
          </a:p>
        </p:txBody>
      </p:sp>
    </p:spTree>
    <p:extLst>
      <p:ext uri="{BB962C8B-B14F-4D97-AF65-F5344CB8AC3E}">
        <p14:creationId xmlns:p14="http://schemas.microsoft.com/office/powerpoint/2010/main" val="1074301789"/>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Carrefour Hyper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72644296"/>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oft Cheese Enfant 484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4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2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18+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2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oft Cheese Enfant 352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Blanc Frais Carre 1X24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3</a:t>
            </a:fld>
            <a:endParaRPr lang="en-US"/>
          </a:p>
        </p:txBody>
      </p:sp>
    </p:spTree>
    <p:extLst>
      <p:ext uri="{BB962C8B-B14F-4D97-AF65-F5344CB8AC3E}">
        <p14:creationId xmlns:p14="http://schemas.microsoft.com/office/powerpoint/2010/main" val="207727725"/>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Carrefour Supermarket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72644296"/>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oft Cheese Enfant 352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4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Blanc Frais Carre 1X24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2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ondu Boite Ronde 1X4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Fromage Frais Fondant 1X16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24+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4</a:t>
            </a:fld>
            <a:endParaRPr lang="en-US"/>
          </a:p>
        </p:txBody>
      </p:sp>
    </p:spTree>
    <p:extLst>
      <p:ext uri="{BB962C8B-B14F-4D97-AF65-F5344CB8AC3E}">
        <p14:creationId xmlns:p14="http://schemas.microsoft.com/office/powerpoint/2010/main" val="818041062"/>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Carrefour Proximit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Fromage Frais Fondant 1X16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Blanc Frais Carre 1X24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2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Fromage Frais Fondant Filet 1X24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ondu Boite Ronde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Aros St Paulin Ferme Raclette Filet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Babybel Mini Rolls St Paulin Ferme Sachet 1X8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Blanc Frais Carre 1X14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Bio Fromage Fondu Boite Ronde 1X12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romage Fondu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Sachet 1X4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5</a:t>
            </a:fld>
            <a:endParaRPr lang="en-US"/>
          </a:p>
        </p:txBody>
      </p:sp>
    </p:spTree>
    <p:extLst>
      <p:ext uri="{BB962C8B-B14F-4D97-AF65-F5344CB8AC3E}">
        <p14:creationId xmlns:p14="http://schemas.microsoft.com/office/powerpoint/2010/main" val="3295373426"/>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Intermarche Su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4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4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Fromage Frais Fondant Filet 1X24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Emmental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6</a:t>
            </a:fld>
            <a:endParaRPr lang="en-US"/>
          </a:p>
        </p:txBody>
      </p:sp>
    </p:spTree>
    <p:extLst>
      <p:ext uri="{BB962C8B-B14F-4D97-AF65-F5344CB8AC3E}">
        <p14:creationId xmlns:p14="http://schemas.microsoft.com/office/powerpoint/2010/main" val="372664055"/>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Intermarche Hy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77019259"/>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67548465"/>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4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4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14509061"/>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Fromage Frais Fondant Filet 1X24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Emmental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7</a:t>
            </a:fld>
            <a:endParaRPr lang="en-US"/>
          </a:p>
        </p:txBody>
      </p:sp>
    </p:spTree>
    <p:extLst>
      <p:ext uri="{BB962C8B-B14F-4D97-AF65-F5344CB8AC3E}">
        <p14:creationId xmlns:p14="http://schemas.microsoft.com/office/powerpoint/2010/main" val="4257512874"/>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Enfant | Intermarche Prox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264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192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06332058"/>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132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512Gr 3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110289525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216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400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Nature Fromage Fondu Boite Ronde 1X384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30499985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Creme Fromage Blanc Frais Carre 1X432Gr 2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ondu Boite Ronde 1X20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Gouter Fromage Blanc Dips Boite 1X28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Emmental Sachet 1X84Gr 4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Ficello</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Ficello Fromage Fondu Ferme Sachet 1X168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La Vache Qui Ri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La Vache Qui Rit Pik Et Croq' Fromage Fondu Dips Boite 1X175Gr 5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P'Tit Lou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Tit Louis Fromage Frais Fondant Filet 1X240Gr 12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Blanc Frais Carre 1X144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Mini Baby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ni Babybel Rouge Filet St Paulin Ferme 1X44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8</a:t>
            </a:fld>
            <a:endParaRPr lang="en-US"/>
          </a:p>
        </p:txBody>
      </p:sp>
    </p:spTree>
    <p:extLst>
      <p:ext uri="{BB962C8B-B14F-4D97-AF65-F5344CB8AC3E}">
        <p14:creationId xmlns:p14="http://schemas.microsoft.com/office/powerpoint/2010/main" val="1062918222"/>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Carrefou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3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 Tartiner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2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9</a:t>
            </a:fld>
            <a:endParaRPr lang="en-US"/>
          </a:p>
        </p:txBody>
      </p:sp>
    </p:spTree>
    <p:extLst>
      <p:ext uri="{BB962C8B-B14F-4D97-AF65-F5344CB8AC3E}">
        <p14:creationId xmlns:p14="http://schemas.microsoft.com/office/powerpoint/2010/main" val="26952233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Ingredient A Chaud | Intermarche Prox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4260540614"/>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Intermarch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3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Ail &amp; Fines Herbes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Ail &amp; Fines Herbes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0</a:t>
            </a:fld>
            <a:endParaRPr lang="en-US"/>
          </a:p>
        </p:txBody>
      </p:sp>
    </p:spTree>
    <p:extLst>
      <p:ext uri="{BB962C8B-B14F-4D97-AF65-F5344CB8AC3E}">
        <p14:creationId xmlns:p14="http://schemas.microsoft.com/office/powerpoint/2010/main" val="3451899728"/>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Carrefour Hyper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5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3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933184382"/>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46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fh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 Tartiner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1</a:t>
            </a:fld>
            <a:endParaRPr lang="en-US"/>
          </a:p>
        </p:txBody>
      </p:sp>
    </p:spTree>
    <p:extLst>
      <p:ext uri="{BB962C8B-B14F-4D97-AF65-F5344CB8AC3E}">
        <p14:creationId xmlns:p14="http://schemas.microsoft.com/office/powerpoint/2010/main" val="3116939010"/>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Carrefour Supermarket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3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2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 Tartiner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2</a:t>
            </a:fld>
            <a:endParaRPr lang="en-US"/>
          </a:p>
        </p:txBody>
      </p:sp>
    </p:spTree>
    <p:extLst>
      <p:ext uri="{BB962C8B-B14F-4D97-AF65-F5344CB8AC3E}">
        <p14:creationId xmlns:p14="http://schemas.microsoft.com/office/powerpoint/2010/main" val="320125853"/>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Carrefour Proximit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1668940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 Tartiner Afh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 Tartiner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Afh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96Gr 6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 Tartiner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Kir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Kiri Delicieusement Fouette Fromage Frais A Tartiner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Figue &amp; Noix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3</a:t>
            </a:fld>
            <a:endParaRPr lang="en-US"/>
          </a:p>
        </p:txBody>
      </p:sp>
    </p:spTree>
    <p:extLst>
      <p:ext uri="{BB962C8B-B14F-4D97-AF65-F5344CB8AC3E}">
        <p14:creationId xmlns:p14="http://schemas.microsoft.com/office/powerpoint/2010/main" val="2614558698"/>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Intermarche Su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3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Ail &amp; Fines Herbes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490141980"/>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Ail &amp; Fines Herbes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4</a:t>
            </a:fld>
            <a:endParaRPr lang="en-US"/>
          </a:p>
        </p:txBody>
      </p:sp>
    </p:spTree>
    <p:extLst>
      <p:ext uri="{BB962C8B-B14F-4D97-AF65-F5344CB8AC3E}">
        <p14:creationId xmlns:p14="http://schemas.microsoft.com/office/powerpoint/2010/main" val="1604662400"/>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Intermarche Hy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3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630007318"/>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Ail &amp; Fines Herbes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Ail &amp; Fines Herbes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5</a:t>
            </a:fld>
            <a:endParaRPr lang="en-US"/>
          </a:p>
        </p:txBody>
      </p:sp>
    </p:spTree>
    <p:extLst>
      <p:ext uri="{BB962C8B-B14F-4D97-AF65-F5344CB8AC3E}">
        <p14:creationId xmlns:p14="http://schemas.microsoft.com/office/powerpoint/2010/main" val="1255942376"/>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Frais A Tartiner | Intermarche Prox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Fromage Frais A Tartiner Boite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Fromage Frais A Tartiner Ail &amp; Fines Herbes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Fromage A Tartiner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5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76062154"/>
                  </a:ext>
                </a:extLst>
              </a:tr>
              <a:tr h="164170">
                <a:tc>
                  <a:txBody>
                    <a:bodyPr/>
                    <a:lstStyle/>
                    <a:p>
                      <a:pPr algn="ctr">
                        <a:defRPr sz="800">
                          <a:latin typeface="Nexa Book"/>
                        </a:defRPr>
                      </a:pPr>
                      <a:r>
                        <a:t>Carre Fra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rre Frais 0% Fromage A Tartiner Allege 1X200Gr 8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4273312142"/>
                  </a:ext>
                </a:extLst>
              </a:tr>
              <a:tr h="164170">
                <a:tc>
                  <a:txBody>
                    <a:bodyPr/>
                    <a:lstStyle/>
                    <a:p>
                      <a:pPr algn="ctr">
                        <a:defRPr sz="800">
                          <a:latin typeface="Nexa Book"/>
                        </a:defRPr>
                      </a:pPr>
                      <a:r>
                        <a:t>Paysan Breto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aysan Breton Fromage Fouette De Madame Loik Frais A Tartiner Sel Guerande 1X3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Tartare</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Tartare Fromage Frais A Tartiner Afh 1X160Gr 1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hiladelphi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hiladelphia Fromage Frais A Tartiner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1X180Gr 9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t Moret</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t Moret Ligne Et Plaisir Fromage Frais A Tartiner Allege Boite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Classique Fromage Frais A Tartiner Afh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6</a:t>
            </a:fld>
            <a:endParaRPr lang="en-US"/>
          </a:p>
        </p:txBody>
      </p:sp>
    </p:spTree>
    <p:extLst>
      <p:ext uri="{BB962C8B-B14F-4D97-AF65-F5344CB8AC3E}">
        <p14:creationId xmlns:p14="http://schemas.microsoft.com/office/powerpoint/2010/main" val="1815811934"/>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Carrefou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ivate Label Mdd Std Soft Cheese Salade 1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utr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Des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Sachet 1X37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Herbes De Provenc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Bill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Salade &amp; Aperitif Fromage Frais Des Afh 1X1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talie Des Fromages Mozzarella Bufflonne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1Er Prix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iullari Mozzarella Piec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7</a:t>
            </a:fld>
            <a:endParaRPr lang="en-US"/>
          </a:p>
        </p:txBody>
      </p:sp>
    </p:spTree>
    <p:extLst>
      <p:ext uri="{BB962C8B-B14F-4D97-AF65-F5344CB8AC3E}">
        <p14:creationId xmlns:p14="http://schemas.microsoft.com/office/powerpoint/2010/main" val="3941788349"/>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Intermarch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Bille Sachet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Burrata Piec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3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Hollande Des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Assimile Feta Des Herbes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Burrata Bufflonne Piece Boit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Herbes De Provenc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8</a:t>
            </a:fld>
            <a:endParaRPr lang="en-US"/>
          </a:p>
        </p:txBody>
      </p:sp>
    </p:spTree>
    <p:extLst>
      <p:ext uri="{BB962C8B-B14F-4D97-AF65-F5344CB8AC3E}">
        <p14:creationId xmlns:p14="http://schemas.microsoft.com/office/powerpoint/2010/main" val="1602181443"/>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Carrefour Hyper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ivate Label Mdd Std Soft Cheese Salade 1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utr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Sachet 1X37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Des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Herbes De Provenc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iullari Mozzarella Piec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talie Des Fromages Mozzarella Bufflonne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Bill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Basilic &amp; Huil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Mozzarella Bloc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9</a:t>
            </a:fld>
            <a:endParaRPr lang="en-US"/>
          </a:p>
        </p:txBody>
      </p:sp>
    </p:spTree>
    <p:extLst>
      <p:ext uri="{BB962C8B-B14F-4D97-AF65-F5344CB8AC3E}">
        <p14:creationId xmlns:p14="http://schemas.microsoft.com/office/powerpoint/2010/main" val="35764761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Carrefou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2475576381"/>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Carrefour Supermarket + Driv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Private Label Mdd Std Soft Cheese Salade 150G</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utr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Des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Bufflonne Piece Sachet 1X300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Sachet 1X37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Herbes De Provenc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Burrata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Bill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Salade &amp; Aperitif Fromage Frais Des Afh 1X1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6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959808831"/>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30</a:t>
            </a:fld>
            <a:endParaRPr lang="en-US"/>
          </a:p>
        </p:txBody>
      </p:sp>
    </p:spTree>
    <p:extLst>
      <p:ext uri="{BB962C8B-B14F-4D97-AF65-F5344CB8AC3E}">
        <p14:creationId xmlns:p14="http://schemas.microsoft.com/office/powerpoint/2010/main" val="152692940"/>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Carrefour Proximite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Autr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Des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Piec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Boursin</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l">
                        <a:defRPr sz="800">
                          <a:latin typeface="Nexa Book"/>
                        </a:defRPr>
                      </a:pPr>
                      <a:r>
                        <a:t>Boursin Salade &amp; Aperitif Fromage Frais Des Afh 1X12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7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CBEAE7"/>
                    </a:solidFill>
                  </a:tcPr>
                </a:tc>
                <a:extLst>
                  <a:ext uri="{0D108BD9-81ED-4DB2-BD59-A6C34878D82A}">
                    <a16:rowId xmlns:a16="http://schemas.microsoft.com/office/drawing/2014/main" val="2585022217"/>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Herbes De Provenc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1Er Prix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Undefined Bill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Gouda Des Cumin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talie Des Fromages Mozzarella Bufflonne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Casa Azzurra</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Casa Azzurra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Assimile Feta Des Huile Et Epice Bocal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dd Std Feta Autre Boite 1X18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aiullari Mozzarella Piece Boite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31</a:t>
            </a:fld>
            <a:endParaRPr lang="en-US"/>
          </a:p>
        </p:txBody>
      </p:sp>
    </p:spTree>
    <p:extLst>
      <p:ext uri="{BB962C8B-B14F-4D97-AF65-F5344CB8AC3E}">
        <p14:creationId xmlns:p14="http://schemas.microsoft.com/office/powerpoint/2010/main" val="390790681"/>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Intermarche Su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Bille Sachet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Burrata Piec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3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Hollande Des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Assimile Feta Des Herbes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Burrata Bufflonne Piece Boit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Herbes De Provenc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32</a:t>
            </a:fld>
            <a:endParaRPr lang="en-US"/>
          </a:p>
        </p:txBody>
      </p:sp>
    </p:spTree>
    <p:extLst>
      <p:ext uri="{BB962C8B-B14F-4D97-AF65-F5344CB8AC3E}">
        <p14:creationId xmlns:p14="http://schemas.microsoft.com/office/powerpoint/2010/main" val="3428428170"/>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Intermarche Hyper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Burrata Piec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3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Bille Sachet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Hollande Des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Des Herbes De Provence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All Other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Michelangelo Burrat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Assimile Feta Des Herbes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Burrata Bufflonne Piece Boit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33</a:t>
            </a:fld>
            <a:endParaRPr lang="en-US"/>
          </a:p>
        </p:txBody>
      </p:sp>
    </p:spTree>
    <p:extLst>
      <p:ext uri="{BB962C8B-B14F-4D97-AF65-F5344CB8AC3E}">
        <p14:creationId xmlns:p14="http://schemas.microsoft.com/office/powerpoint/2010/main" val="939766349"/>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pPr>
              <a:defRPr sz="1200">
                <a:latin typeface="Nexa (Headings)"/>
              </a:defRPr>
            </a:pPr>
            <a:r>
              <a:t>Top 20 cumulative share products | Salade | Intermarche Proxi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pPr>
              <a:defRPr sz="1600">
                <a:latin typeface="Nexa (Headings)"/>
              </a:defRPr>
            </a:pPr>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a:defRPr>
                      </a:pPr>
                      <a:r>
                        <a:t>Product Sales Rate (‘000000s |  €)</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Burrata Piec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Ids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4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a:defRPr sz="800">
                          <a:latin typeface="Nexa Book"/>
                        </a:defRPr>
                      </a:pPr>
                      <a:r>
                        <a:t>Salaki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Salakis Assimile Feta Autre Boite 1X2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Burrata Piec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Bille Sachet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Burrata Bufflonne Piece Boit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Hollande Des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2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Mozzarella Piece Sachet 3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Assimile Feta Des Herbes Bocal 1X30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ille 1X150Gr 20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Piece Sachet 1X375Gr 3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a:defRPr sz="800">
                          <a:latin typeface="Nexa Book"/>
                        </a:defRPr>
                      </a:pPr>
                      <a:r>
                        <a:t>Islos</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Islos Feta Autre Boite 1X150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a:defRPr sz="800">
                          <a:latin typeface="Nexa Book"/>
                        </a:defRPr>
                      </a:pPr>
                      <a:r>
                        <a:t>Private Label</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Les Mousquetaires Paturages Burrata Bufflonne Piece Bio Boite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a:defRPr sz="800">
                          <a:latin typeface="Nexa Book"/>
                        </a:defRPr>
                      </a:pPr>
                      <a:r>
                        <a:t>Galbani</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a:defRPr sz="800">
                          <a:latin typeface="Nexa Book"/>
                        </a:defRPr>
                      </a:pPr>
                      <a:r>
                        <a:t>Galbani Mozzarella Bufflonne Piece Sachet 1X125Gr 1P</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34</a:t>
            </a:fld>
            <a:endParaRPr lang="en-US"/>
          </a:p>
        </p:txBody>
      </p:sp>
    </p:spTree>
    <p:extLst>
      <p:ext uri="{BB962C8B-B14F-4D97-AF65-F5344CB8AC3E}">
        <p14:creationId xmlns:p14="http://schemas.microsoft.com/office/powerpoint/2010/main" val="728114923"/>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1228914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5</a:t>
            </a:fld>
            <a:endParaRPr lang="en-US"/>
          </a:p>
        </p:txBody>
      </p:sp>
    </p:spTree>
    <p:extLst>
      <p:ext uri="{BB962C8B-B14F-4D97-AF65-F5344CB8AC3E}">
        <p14:creationId xmlns:p14="http://schemas.microsoft.com/office/powerpoint/2010/main" val="2693927777"/>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4012462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6</a:t>
            </a:fld>
            <a:endParaRPr lang="en-US"/>
          </a:p>
        </p:txBody>
      </p:sp>
    </p:spTree>
    <p:extLst>
      <p:ext uri="{BB962C8B-B14F-4D97-AF65-F5344CB8AC3E}">
        <p14:creationId xmlns:p14="http://schemas.microsoft.com/office/powerpoint/2010/main" val="3041692326"/>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42986984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7</a:t>
            </a:fld>
            <a:endParaRPr lang="en-US"/>
          </a:p>
        </p:txBody>
      </p:sp>
    </p:spTree>
    <p:extLst>
      <p:ext uri="{BB962C8B-B14F-4D97-AF65-F5344CB8AC3E}">
        <p14:creationId xmlns:p14="http://schemas.microsoft.com/office/powerpoint/2010/main" val="3662510076"/>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2063477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8</a:t>
            </a:fld>
            <a:endParaRPr lang="en-US"/>
          </a:p>
        </p:txBody>
      </p:sp>
    </p:spTree>
    <p:extLst>
      <p:ext uri="{BB962C8B-B14F-4D97-AF65-F5344CB8AC3E}">
        <p14:creationId xmlns:p14="http://schemas.microsoft.com/office/powerpoint/2010/main" val="2376640419"/>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7180284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9</a:t>
            </a:fld>
            <a:endParaRPr lang="en-US"/>
          </a:p>
        </p:txBody>
      </p:sp>
    </p:spTree>
    <p:extLst>
      <p:ext uri="{BB962C8B-B14F-4D97-AF65-F5344CB8AC3E}">
        <p14:creationId xmlns:p14="http://schemas.microsoft.com/office/powerpoint/2010/main" val="256838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Intermarch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2790103419"/>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77674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0</a:t>
            </a:fld>
            <a:endParaRPr lang="en-US"/>
          </a:p>
        </p:txBody>
      </p:sp>
    </p:spTree>
    <p:extLst>
      <p:ext uri="{BB962C8B-B14F-4D97-AF65-F5344CB8AC3E}">
        <p14:creationId xmlns:p14="http://schemas.microsoft.com/office/powerpoint/2010/main" val="3142324560"/>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141909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1</a:t>
            </a:fld>
            <a:endParaRPr lang="en-US"/>
          </a:p>
        </p:txBody>
      </p:sp>
    </p:spTree>
    <p:extLst>
      <p:ext uri="{BB962C8B-B14F-4D97-AF65-F5344CB8AC3E}">
        <p14:creationId xmlns:p14="http://schemas.microsoft.com/office/powerpoint/2010/main" val="2257146401"/>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7823799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2</a:t>
            </a:fld>
            <a:endParaRPr lang="en-US"/>
          </a:p>
        </p:txBody>
      </p:sp>
    </p:spTree>
    <p:extLst>
      <p:ext uri="{BB962C8B-B14F-4D97-AF65-F5344CB8AC3E}">
        <p14:creationId xmlns:p14="http://schemas.microsoft.com/office/powerpoint/2010/main" val="1264091371"/>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5599887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3</a:t>
            </a:fld>
            <a:endParaRPr lang="en-US"/>
          </a:p>
        </p:txBody>
      </p:sp>
    </p:spTree>
    <p:extLst>
      <p:ext uri="{BB962C8B-B14F-4D97-AF65-F5344CB8AC3E}">
        <p14:creationId xmlns:p14="http://schemas.microsoft.com/office/powerpoint/2010/main" val="222925967"/>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5786081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4</a:t>
            </a:fld>
            <a:endParaRPr lang="en-US"/>
          </a:p>
        </p:txBody>
      </p:sp>
    </p:spTree>
    <p:extLst>
      <p:ext uri="{BB962C8B-B14F-4D97-AF65-F5344CB8AC3E}">
        <p14:creationId xmlns:p14="http://schemas.microsoft.com/office/powerpoint/2010/main" val="1501607587"/>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8712511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5</a:t>
            </a:fld>
            <a:endParaRPr lang="en-US"/>
          </a:p>
        </p:txBody>
      </p:sp>
    </p:spTree>
    <p:extLst>
      <p:ext uri="{BB962C8B-B14F-4D97-AF65-F5344CB8AC3E}">
        <p14:creationId xmlns:p14="http://schemas.microsoft.com/office/powerpoint/2010/main" val="1311426052"/>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6156537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6</a:t>
            </a:fld>
            <a:endParaRPr lang="en-US"/>
          </a:p>
        </p:txBody>
      </p:sp>
    </p:spTree>
    <p:extLst>
      <p:ext uri="{BB962C8B-B14F-4D97-AF65-F5344CB8AC3E}">
        <p14:creationId xmlns:p14="http://schemas.microsoft.com/office/powerpoint/2010/main" val="145495119"/>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9022712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7</a:t>
            </a:fld>
            <a:endParaRPr lang="en-US"/>
          </a:p>
        </p:txBody>
      </p:sp>
    </p:spTree>
    <p:extLst>
      <p:ext uri="{BB962C8B-B14F-4D97-AF65-F5344CB8AC3E}">
        <p14:creationId xmlns:p14="http://schemas.microsoft.com/office/powerpoint/2010/main" val="977695108"/>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638126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8</a:t>
            </a:fld>
            <a:endParaRPr lang="en-US"/>
          </a:p>
        </p:txBody>
      </p:sp>
    </p:spTree>
    <p:extLst>
      <p:ext uri="{BB962C8B-B14F-4D97-AF65-F5344CB8AC3E}">
        <p14:creationId xmlns:p14="http://schemas.microsoft.com/office/powerpoint/2010/main" val="1030759143"/>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4970745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9</a:t>
            </a:fld>
            <a:endParaRPr lang="en-US"/>
          </a:p>
        </p:txBody>
      </p:sp>
    </p:spTree>
    <p:extLst>
      <p:ext uri="{BB962C8B-B14F-4D97-AF65-F5344CB8AC3E}">
        <p14:creationId xmlns:p14="http://schemas.microsoft.com/office/powerpoint/2010/main" val="15820814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Carrefour Hyper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1663242745"/>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2814600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0</a:t>
            </a:fld>
            <a:endParaRPr lang="en-US"/>
          </a:p>
        </p:txBody>
      </p:sp>
    </p:spTree>
    <p:extLst>
      <p:ext uri="{BB962C8B-B14F-4D97-AF65-F5344CB8AC3E}">
        <p14:creationId xmlns:p14="http://schemas.microsoft.com/office/powerpoint/2010/main" val="3139353804"/>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6530573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1</a:t>
            </a:fld>
            <a:endParaRPr lang="en-US"/>
          </a:p>
        </p:txBody>
      </p:sp>
    </p:spTree>
    <p:extLst>
      <p:ext uri="{BB962C8B-B14F-4D97-AF65-F5344CB8AC3E}">
        <p14:creationId xmlns:p14="http://schemas.microsoft.com/office/powerpoint/2010/main" val="3118348714"/>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34232188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2</a:t>
            </a:fld>
            <a:endParaRPr lang="en-US"/>
          </a:p>
        </p:txBody>
      </p:sp>
    </p:spTree>
    <p:extLst>
      <p:ext uri="{BB962C8B-B14F-4D97-AF65-F5344CB8AC3E}">
        <p14:creationId xmlns:p14="http://schemas.microsoft.com/office/powerpoint/2010/main" val="2023430825"/>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4199565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3</a:t>
            </a:fld>
            <a:endParaRPr lang="en-US"/>
          </a:p>
        </p:txBody>
      </p:sp>
    </p:spTree>
    <p:extLst>
      <p:ext uri="{BB962C8B-B14F-4D97-AF65-F5344CB8AC3E}">
        <p14:creationId xmlns:p14="http://schemas.microsoft.com/office/powerpoint/2010/main" val="1216306945"/>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4251620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4</a:t>
            </a:fld>
            <a:endParaRPr lang="en-US"/>
          </a:p>
        </p:txBody>
      </p:sp>
    </p:spTree>
    <p:extLst>
      <p:ext uri="{BB962C8B-B14F-4D97-AF65-F5344CB8AC3E}">
        <p14:creationId xmlns:p14="http://schemas.microsoft.com/office/powerpoint/2010/main" val="2545606408"/>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1640702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5</a:t>
            </a:fld>
            <a:endParaRPr lang="en-US"/>
          </a:p>
        </p:txBody>
      </p:sp>
    </p:spTree>
    <p:extLst>
      <p:ext uri="{BB962C8B-B14F-4D97-AF65-F5344CB8AC3E}">
        <p14:creationId xmlns:p14="http://schemas.microsoft.com/office/powerpoint/2010/main" val="1627677752"/>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Kiri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2522880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6</a:t>
            </a:fld>
            <a:endParaRPr lang="en-US"/>
          </a:p>
        </p:txBody>
      </p:sp>
    </p:spTree>
    <p:extLst>
      <p:ext uri="{BB962C8B-B14F-4D97-AF65-F5344CB8AC3E}">
        <p14:creationId xmlns:p14="http://schemas.microsoft.com/office/powerpoint/2010/main" val="4217366637"/>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La Vache Qui Rit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9384791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7</a:t>
            </a:fld>
            <a:endParaRPr lang="en-US"/>
          </a:p>
        </p:txBody>
      </p:sp>
    </p:spTree>
    <p:extLst>
      <p:ext uri="{BB962C8B-B14F-4D97-AF65-F5344CB8AC3E}">
        <p14:creationId xmlns:p14="http://schemas.microsoft.com/office/powerpoint/2010/main" val="936082690"/>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Total Fromage | Boursin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92266207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8</a:t>
            </a:fld>
            <a:endParaRPr lang="en-US"/>
          </a:p>
        </p:txBody>
      </p:sp>
    </p:spTree>
    <p:extLst>
      <p:ext uri="{BB962C8B-B14F-4D97-AF65-F5344CB8AC3E}">
        <p14:creationId xmlns:p14="http://schemas.microsoft.com/office/powerpoint/2010/main" val="2596393316"/>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9229348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9</a:t>
            </a:fld>
            <a:endParaRPr lang="en-US"/>
          </a:p>
        </p:txBody>
      </p:sp>
    </p:spTree>
    <p:extLst>
      <p:ext uri="{BB962C8B-B14F-4D97-AF65-F5344CB8AC3E}">
        <p14:creationId xmlns:p14="http://schemas.microsoft.com/office/powerpoint/2010/main" val="3811950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Carrefour Supermarket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3268040825"/>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3786581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0</a:t>
            </a:fld>
            <a:endParaRPr lang="en-US"/>
          </a:p>
        </p:txBody>
      </p:sp>
    </p:spTree>
    <p:extLst>
      <p:ext uri="{BB962C8B-B14F-4D97-AF65-F5344CB8AC3E}">
        <p14:creationId xmlns:p14="http://schemas.microsoft.com/office/powerpoint/2010/main" val="77095837"/>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3580035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1</a:t>
            </a:fld>
            <a:endParaRPr lang="en-US"/>
          </a:p>
        </p:txBody>
      </p:sp>
    </p:spTree>
    <p:extLst>
      <p:ext uri="{BB962C8B-B14F-4D97-AF65-F5344CB8AC3E}">
        <p14:creationId xmlns:p14="http://schemas.microsoft.com/office/powerpoint/2010/main" val="3877469292"/>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423053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2</a:t>
            </a:fld>
            <a:endParaRPr lang="en-US"/>
          </a:p>
        </p:txBody>
      </p:sp>
    </p:spTree>
    <p:extLst>
      <p:ext uri="{BB962C8B-B14F-4D97-AF65-F5344CB8AC3E}">
        <p14:creationId xmlns:p14="http://schemas.microsoft.com/office/powerpoint/2010/main" val="1916793961"/>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5649328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3</a:t>
            </a:fld>
            <a:endParaRPr lang="en-US"/>
          </a:p>
        </p:txBody>
      </p:sp>
    </p:spTree>
    <p:extLst>
      <p:ext uri="{BB962C8B-B14F-4D97-AF65-F5344CB8AC3E}">
        <p14:creationId xmlns:p14="http://schemas.microsoft.com/office/powerpoint/2010/main" val="904818516"/>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9565784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4</a:t>
            </a:fld>
            <a:endParaRPr lang="en-US"/>
          </a:p>
        </p:txBody>
      </p:sp>
    </p:spTree>
    <p:extLst>
      <p:ext uri="{BB962C8B-B14F-4D97-AF65-F5344CB8AC3E}">
        <p14:creationId xmlns:p14="http://schemas.microsoft.com/office/powerpoint/2010/main" val="3608292229"/>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2399498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5</a:t>
            </a:fld>
            <a:endParaRPr lang="en-US"/>
          </a:p>
        </p:txBody>
      </p:sp>
    </p:spTree>
    <p:extLst>
      <p:ext uri="{BB962C8B-B14F-4D97-AF65-F5344CB8AC3E}">
        <p14:creationId xmlns:p14="http://schemas.microsoft.com/office/powerpoint/2010/main" val="1424813241"/>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95742991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6</a:t>
            </a:fld>
            <a:endParaRPr lang="en-US"/>
          </a:p>
        </p:txBody>
      </p:sp>
    </p:spTree>
    <p:extLst>
      <p:ext uri="{BB962C8B-B14F-4D97-AF65-F5344CB8AC3E}">
        <p14:creationId xmlns:p14="http://schemas.microsoft.com/office/powerpoint/2010/main" val="1668709697"/>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2056253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7</a:t>
            </a:fld>
            <a:endParaRPr lang="en-US"/>
          </a:p>
        </p:txBody>
      </p:sp>
    </p:spTree>
    <p:extLst>
      <p:ext uri="{BB962C8B-B14F-4D97-AF65-F5344CB8AC3E}">
        <p14:creationId xmlns:p14="http://schemas.microsoft.com/office/powerpoint/2010/main" val="3389046340"/>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2032379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8</a:t>
            </a:fld>
            <a:endParaRPr lang="en-US"/>
          </a:p>
        </p:txBody>
      </p:sp>
    </p:spTree>
    <p:extLst>
      <p:ext uri="{BB962C8B-B14F-4D97-AF65-F5344CB8AC3E}">
        <p14:creationId xmlns:p14="http://schemas.microsoft.com/office/powerpoint/2010/main" val="3532108743"/>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6801960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9</a:t>
            </a:fld>
            <a:endParaRPr lang="en-US"/>
          </a:p>
        </p:txBody>
      </p:sp>
    </p:spTree>
    <p:extLst>
      <p:ext uri="{BB962C8B-B14F-4D97-AF65-F5344CB8AC3E}">
        <p14:creationId xmlns:p14="http://schemas.microsoft.com/office/powerpoint/2010/main" val="32161320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Carrefour Proximit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396687421"/>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2775955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0</a:t>
            </a:fld>
            <a:endParaRPr lang="en-US"/>
          </a:p>
        </p:txBody>
      </p:sp>
    </p:spTree>
    <p:extLst>
      <p:ext uri="{BB962C8B-B14F-4D97-AF65-F5344CB8AC3E}">
        <p14:creationId xmlns:p14="http://schemas.microsoft.com/office/powerpoint/2010/main" val="1996012417"/>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4197216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1</a:t>
            </a:fld>
            <a:endParaRPr lang="en-US"/>
          </a:p>
        </p:txBody>
      </p:sp>
    </p:spTree>
    <p:extLst>
      <p:ext uri="{BB962C8B-B14F-4D97-AF65-F5344CB8AC3E}">
        <p14:creationId xmlns:p14="http://schemas.microsoft.com/office/powerpoint/2010/main" val="3553343981"/>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5967233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2</a:t>
            </a:fld>
            <a:endParaRPr lang="en-US"/>
          </a:p>
        </p:txBody>
      </p:sp>
    </p:spTree>
    <p:extLst>
      <p:ext uri="{BB962C8B-B14F-4D97-AF65-F5344CB8AC3E}">
        <p14:creationId xmlns:p14="http://schemas.microsoft.com/office/powerpoint/2010/main" val="2947866313"/>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9318567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3</a:t>
            </a:fld>
            <a:endParaRPr lang="en-US"/>
          </a:p>
        </p:txBody>
      </p:sp>
    </p:spTree>
    <p:extLst>
      <p:ext uri="{BB962C8B-B14F-4D97-AF65-F5344CB8AC3E}">
        <p14:creationId xmlns:p14="http://schemas.microsoft.com/office/powerpoint/2010/main" val="2693854179"/>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8587686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4</a:t>
            </a:fld>
            <a:endParaRPr lang="en-US"/>
          </a:p>
        </p:txBody>
      </p:sp>
    </p:spTree>
    <p:extLst>
      <p:ext uri="{BB962C8B-B14F-4D97-AF65-F5344CB8AC3E}">
        <p14:creationId xmlns:p14="http://schemas.microsoft.com/office/powerpoint/2010/main" val="2425199457"/>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4670618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5</a:t>
            </a:fld>
            <a:endParaRPr lang="en-US"/>
          </a:p>
        </p:txBody>
      </p:sp>
    </p:spTree>
    <p:extLst>
      <p:ext uri="{BB962C8B-B14F-4D97-AF65-F5344CB8AC3E}">
        <p14:creationId xmlns:p14="http://schemas.microsoft.com/office/powerpoint/2010/main" val="1748640926"/>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9490856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6</a:t>
            </a:fld>
            <a:endParaRPr lang="en-US"/>
          </a:p>
        </p:txBody>
      </p:sp>
    </p:spTree>
    <p:extLst>
      <p:ext uri="{BB962C8B-B14F-4D97-AF65-F5344CB8AC3E}">
        <p14:creationId xmlns:p14="http://schemas.microsoft.com/office/powerpoint/2010/main" val="790482039"/>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5932828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7</a:t>
            </a:fld>
            <a:endParaRPr lang="en-US"/>
          </a:p>
        </p:txBody>
      </p:sp>
    </p:spTree>
    <p:extLst>
      <p:ext uri="{BB962C8B-B14F-4D97-AF65-F5344CB8AC3E}">
        <p14:creationId xmlns:p14="http://schemas.microsoft.com/office/powerpoint/2010/main" val="1592810300"/>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1783997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8</a:t>
            </a:fld>
            <a:endParaRPr lang="en-US"/>
          </a:p>
        </p:txBody>
      </p:sp>
    </p:spTree>
    <p:extLst>
      <p:ext uri="{BB962C8B-B14F-4D97-AF65-F5344CB8AC3E}">
        <p14:creationId xmlns:p14="http://schemas.microsoft.com/office/powerpoint/2010/main" val="1940852896"/>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0277959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9</a:t>
            </a:fld>
            <a:endParaRPr lang="en-US"/>
          </a:p>
        </p:txBody>
      </p:sp>
    </p:spTree>
    <p:extLst>
      <p:ext uri="{BB962C8B-B14F-4D97-AF65-F5344CB8AC3E}">
        <p14:creationId xmlns:p14="http://schemas.microsoft.com/office/powerpoint/2010/main" val="4072954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Intermarche Su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1516314836"/>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Kiri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8239981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0</a:t>
            </a:fld>
            <a:endParaRPr lang="en-US"/>
          </a:p>
        </p:txBody>
      </p:sp>
    </p:spTree>
    <p:extLst>
      <p:ext uri="{BB962C8B-B14F-4D97-AF65-F5344CB8AC3E}">
        <p14:creationId xmlns:p14="http://schemas.microsoft.com/office/powerpoint/2010/main" val="3678006798"/>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La Vache Qui Rit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04736295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1</a:t>
            </a:fld>
            <a:endParaRPr lang="en-US"/>
          </a:p>
        </p:txBody>
      </p:sp>
    </p:spTree>
    <p:extLst>
      <p:ext uri="{BB962C8B-B14F-4D97-AF65-F5344CB8AC3E}">
        <p14:creationId xmlns:p14="http://schemas.microsoft.com/office/powerpoint/2010/main" val="3177502433"/>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oft Cheese | Boursin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73917062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2</a:t>
            </a:fld>
            <a:endParaRPr lang="en-US"/>
          </a:p>
        </p:txBody>
      </p:sp>
    </p:spTree>
    <p:extLst>
      <p:ext uri="{BB962C8B-B14F-4D97-AF65-F5344CB8AC3E}">
        <p14:creationId xmlns:p14="http://schemas.microsoft.com/office/powerpoint/2010/main" val="4188578137"/>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8276012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3</a:t>
            </a:fld>
            <a:endParaRPr lang="en-US"/>
          </a:p>
        </p:txBody>
      </p:sp>
    </p:spTree>
    <p:extLst>
      <p:ext uri="{BB962C8B-B14F-4D97-AF65-F5344CB8AC3E}">
        <p14:creationId xmlns:p14="http://schemas.microsoft.com/office/powerpoint/2010/main" val="127238644"/>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3573633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4</a:t>
            </a:fld>
            <a:endParaRPr lang="en-US"/>
          </a:p>
        </p:txBody>
      </p:sp>
    </p:spTree>
    <p:extLst>
      <p:ext uri="{BB962C8B-B14F-4D97-AF65-F5344CB8AC3E}">
        <p14:creationId xmlns:p14="http://schemas.microsoft.com/office/powerpoint/2010/main" val="4248180803"/>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86172441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5</a:t>
            </a:fld>
            <a:endParaRPr lang="en-US"/>
          </a:p>
        </p:txBody>
      </p:sp>
    </p:spTree>
    <p:extLst>
      <p:ext uri="{BB962C8B-B14F-4D97-AF65-F5344CB8AC3E}">
        <p14:creationId xmlns:p14="http://schemas.microsoft.com/office/powerpoint/2010/main" val="1910358494"/>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0622272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6</a:t>
            </a:fld>
            <a:endParaRPr lang="en-US"/>
          </a:p>
        </p:txBody>
      </p:sp>
    </p:spTree>
    <p:extLst>
      <p:ext uri="{BB962C8B-B14F-4D97-AF65-F5344CB8AC3E}">
        <p14:creationId xmlns:p14="http://schemas.microsoft.com/office/powerpoint/2010/main" val="635065956"/>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4807212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7</a:t>
            </a:fld>
            <a:endParaRPr lang="en-US"/>
          </a:p>
        </p:txBody>
      </p:sp>
    </p:spTree>
    <p:extLst>
      <p:ext uri="{BB962C8B-B14F-4D97-AF65-F5344CB8AC3E}">
        <p14:creationId xmlns:p14="http://schemas.microsoft.com/office/powerpoint/2010/main" val="1160863710"/>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959794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8</a:t>
            </a:fld>
            <a:endParaRPr lang="en-US"/>
          </a:p>
        </p:txBody>
      </p:sp>
    </p:spTree>
    <p:extLst>
      <p:ext uri="{BB962C8B-B14F-4D97-AF65-F5344CB8AC3E}">
        <p14:creationId xmlns:p14="http://schemas.microsoft.com/office/powerpoint/2010/main" val="1980600999"/>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1668703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9</a:t>
            </a:fld>
            <a:endParaRPr lang="en-US"/>
          </a:p>
        </p:txBody>
      </p:sp>
    </p:spTree>
    <p:extLst>
      <p:ext uri="{BB962C8B-B14F-4D97-AF65-F5344CB8AC3E}">
        <p14:creationId xmlns:p14="http://schemas.microsoft.com/office/powerpoint/2010/main" val="282955932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Intermarche Hy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853055325"/>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Aperitif | Boursin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1907248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0</a:t>
            </a:fld>
            <a:endParaRPr lang="en-US"/>
          </a:p>
        </p:txBody>
      </p:sp>
    </p:spTree>
    <p:extLst>
      <p:ext uri="{BB962C8B-B14F-4D97-AF65-F5344CB8AC3E}">
        <p14:creationId xmlns:p14="http://schemas.microsoft.com/office/powerpoint/2010/main" val="2530193620"/>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La Vache Qui Rit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5341837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1</a:t>
            </a:fld>
            <a:endParaRPr lang="en-US"/>
          </a:p>
        </p:txBody>
      </p:sp>
    </p:spTree>
    <p:extLst>
      <p:ext uri="{BB962C8B-B14F-4D97-AF65-F5344CB8AC3E}">
        <p14:creationId xmlns:p14="http://schemas.microsoft.com/office/powerpoint/2010/main" val="3461293043"/>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Boursin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73104032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2</a:t>
            </a:fld>
            <a:endParaRPr lang="en-US"/>
          </a:p>
        </p:txBody>
      </p:sp>
    </p:spTree>
    <p:extLst>
      <p:ext uri="{BB962C8B-B14F-4D97-AF65-F5344CB8AC3E}">
        <p14:creationId xmlns:p14="http://schemas.microsoft.com/office/powerpoint/2010/main" val="569656268"/>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Boursin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3000017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3</a:t>
            </a:fld>
            <a:endParaRPr lang="en-US"/>
          </a:p>
        </p:txBody>
      </p:sp>
    </p:spTree>
    <p:extLst>
      <p:ext uri="{BB962C8B-B14F-4D97-AF65-F5344CB8AC3E}">
        <p14:creationId xmlns:p14="http://schemas.microsoft.com/office/powerpoint/2010/main" val="3317740164"/>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La Vache Qui Rit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3797565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4</a:t>
            </a:fld>
            <a:endParaRPr lang="en-US"/>
          </a:p>
        </p:txBody>
      </p:sp>
    </p:spTree>
    <p:extLst>
      <p:ext uri="{BB962C8B-B14F-4D97-AF65-F5344CB8AC3E}">
        <p14:creationId xmlns:p14="http://schemas.microsoft.com/office/powerpoint/2010/main" val="3326530757"/>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Boursin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7792604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5</a:t>
            </a:fld>
            <a:endParaRPr lang="en-US"/>
          </a:p>
        </p:txBody>
      </p:sp>
    </p:spTree>
    <p:extLst>
      <p:ext uri="{BB962C8B-B14F-4D97-AF65-F5344CB8AC3E}">
        <p14:creationId xmlns:p14="http://schemas.microsoft.com/office/powerpoint/2010/main" val="1626230503"/>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La Vache Qui Rit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6473016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6</a:t>
            </a:fld>
            <a:endParaRPr lang="en-US"/>
          </a:p>
        </p:txBody>
      </p:sp>
    </p:spTree>
    <p:extLst>
      <p:ext uri="{BB962C8B-B14F-4D97-AF65-F5344CB8AC3E}">
        <p14:creationId xmlns:p14="http://schemas.microsoft.com/office/powerpoint/2010/main" val="2766449822"/>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Boursin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2232343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7</a:t>
            </a:fld>
            <a:endParaRPr lang="en-US"/>
          </a:p>
        </p:txBody>
      </p:sp>
    </p:spTree>
    <p:extLst>
      <p:ext uri="{BB962C8B-B14F-4D97-AF65-F5344CB8AC3E}">
        <p14:creationId xmlns:p14="http://schemas.microsoft.com/office/powerpoint/2010/main" val="2701360370"/>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La Vache Qui Rit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0437153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8</a:t>
            </a:fld>
            <a:endParaRPr lang="en-US"/>
          </a:p>
        </p:txBody>
      </p:sp>
    </p:spTree>
    <p:extLst>
      <p:ext uri="{BB962C8B-B14F-4D97-AF65-F5344CB8AC3E}">
        <p14:creationId xmlns:p14="http://schemas.microsoft.com/office/powerpoint/2010/main" val="1026387461"/>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Boursin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3490788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9</a:t>
            </a:fld>
            <a:endParaRPr lang="en-US"/>
          </a:p>
        </p:txBody>
      </p:sp>
    </p:spTree>
    <p:extLst>
      <p:ext uri="{BB962C8B-B14F-4D97-AF65-F5344CB8AC3E}">
        <p14:creationId xmlns:p14="http://schemas.microsoft.com/office/powerpoint/2010/main" val="6613697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Carrefour Supermarket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378656589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Enfant | Intermarche Prox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3556050657"/>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Boursin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9121233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0</a:t>
            </a:fld>
            <a:endParaRPr lang="en-US"/>
          </a:p>
        </p:txBody>
      </p:sp>
    </p:spTree>
    <p:extLst>
      <p:ext uri="{BB962C8B-B14F-4D97-AF65-F5344CB8AC3E}">
        <p14:creationId xmlns:p14="http://schemas.microsoft.com/office/powerpoint/2010/main" val="2935321278"/>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Boursin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6128291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1</a:t>
            </a:fld>
            <a:endParaRPr lang="en-US"/>
          </a:p>
        </p:txBody>
      </p:sp>
    </p:spTree>
    <p:extLst>
      <p:ext uri="{BB962C8B-B14F-4D97-AF65-F5344CB8AC3E}">
        <p14:creationId xmlns:p14="http://schemas.microsoft.com/office/powerpoint/2010/main" val="2764979241"/>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Ingredient A Chaud | Boursin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7944399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2</a:t>
            </a:fld>
            <a:endParaRPr lang="en-US"/>
          </a:p>
        </p:txBody>
      </p:sp>
    </p:spTree>
    <p:extLst>
      <p:ext uri="{BB962C8B-B14F-4D97-AF65-F5344CB8AC3E}">
        <p14:creationId xmlns:p14="http://schemas.microsoft.com/office/powerpoint/2010/main" val="3638057459"/>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56053929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3</a:t>
            </a:fld>
            <a:endParaRPr lang="en-US"/>
          </a:p>
        </p:txBody>
      </p:sp>
    </p:spTree>
    <p:extLst>
      <p:ext uri="{BB962C8B-B14F-4D97-AF65-F5344CB8AC3E}">
        <p14:creationId xmlns:p14="http://schemas.microsoft.com/office/powerpoint/2010/main" val="3771276891"/>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3392328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4</a:t>
            </a:fld>
            <a:endParaRPr lang="en-US"/>
          </a:p>
        </p:txBody>
      </p:sp>
    </p:spTree>
    <p:extLst>
      <p:ext uri="{BB962C8B-B14F-4D97-AF65-F5344CB8AC3E}">
        <p14:creationId xmlns:p14="http://schemas.microsoft.com/office/powerpoint/2010/main" val="710395690"/>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1573554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5</a:t>
            </a:fld>
            <a:endParaRPr lang="en-US"/>
          </a:p>
        </p:txBody>
      </p:sp>
    </p:spTree>
    <p:extLst>
      <p:ext uri="{BB962C8B-B14F-4D97-AF65-F5344CB8AC3E}">
        <p14:creationId xmlns:p14="http://schemas.microsoft.com/office/powerpoint/2010/main" val="2142620704"/>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02239330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6</a:t>
            </a:fld>
            <a:endParaRPr lang="en-US"/>
          </a:p>
        </p:txBody>
      </p:sp>
    </p:spTree>
    <p:extLst>
      <p:ext uri="{BB962C8B-B14F-4D97-AF65-F5344CB8AC3E}">
        <p14:creationId xmlns:p14="http://schemas.microsoft.com/office/powerpoint/2010/main" val="3426999586"/>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4283813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7</a:t>
            </a:fld>
            <a:endParaRPr lang="en-US"/>
          </a:p>
        </p:txBody>
      </p:sp>
    </p:spTree>
    <p:extLst>
      <p:ext uri="{BB962C8B-B14F-4D97-AF65-F5344CB8AC3E}">
        <p14:creationId xmlns:p14="http://schemas.microsoft.com/office/powerpoint/2010/main" val="3893275307"/>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8600956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8</a:t>
            </a:fld>
            <a:endParaRPr lang="en-US"/>
          </a:p>
        </p:txBody>
      </p:sp>
    </p:spTree>
    <p:extLst>
      <p:ext uri="{BB962C8B-B14F-4D97-AF65-F5344CB8AC3E}">
        <p14:creationId xmlns:p14="http://schemas.microsoft.com/office/powerpoint/2010/main" val="571926657"/>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3185893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9</a:t>
            </a:fld>
            <a:endParaRPr lang="en-US"/>
          </a:p>
        </p:txBody>
      </p:sp>
    </p:spTree>
    <p:extLst>
      <p:ext uri="{BB962C8B-B14F-4D97-AF65-F5344CB8AC3E}">
        <p14:creationId xmlns:p14="http://schemas.microsoft.com/office/powerpoint/2010/main" val="32605144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Carrefou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1553423848"/>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7469065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0</a:t>
            </a:fld>
            <a:endParaRPr lang="en-US"/>
          </a:p>
        </p:txBody>
      </p:sp>
    </p:spTree>
    <p:extLst>
      <p:ext uri="{BB962C8B-B14F-4D97-AF65-F5344CB8AC3E}">
        <p14:creationId xmlns:p14="http://schemas.microsoft.com/office/powerpoint/2010/main" val="1197499777"/>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3616686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1</a:t>
            </a:fld>
            <a:endParaRPr lang="en-US"/>
          </a:p>
        </p:txBody>
      </p:sp>
    </p:spTree>
    <p:extLst>
      <p:ext uri="{BB962C8B-B14F-4D97-AF65-F5344CB8AC3E}">
        <p14:creationId xmlns:p14="http://schemas.microsoft.com/office/powerpoint/2010/main" val="1678249072"/>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0710304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2</a:t>
            </a:fld>
            <a:endParaRPr lang="en-US"/>
          </a:p>
        </p:txBody>
      </p:sp>
    </p:spTree>
    <p:extLst>
      <p:ext uri="{BB962C8B-B14F-4D97-AF65-F5344CB8AC3E}">
        <p14:creationId xmlns:p14="http://schemas.microsoft.com/office/powerpoint/2010/main" val="2950551414"/>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78070132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3</a:t>
            </a:fld>
            <a:endParaRPr lang="en-US"/>
          </a:p>
        </p:txBody>
      </p:sp>
    </p:spTree>
    <p:extLst>
      <p:ext uri="{BB962C8B-B14F-4D97-AF65-F5344CB8AC3E}">
        <p14:creationId xmlns:p14="http://schemas.microsoft.com/office/powerpoint/2010/main" val="2086812083"/>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13106410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4</a:t>
            </a:fld>
            <a:endParaRPr lang="en-US"/>
          </a:p>
        </p:txBody>
      </p:sp>
    </p:spTree>
    <p:extLst>
      <p:ext uri="{BB962C8B-B14F-4D97-AF65-F5344CB8AC3E}">
        <p14:creationId xmlns:p14="http://schemas.microsoft.com/office/powerpoint/2010/main" val="555236374"/>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0978438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5</a:t>
            </a:fld>
            <a:endParaRPr lang="en-US"/>
          </a:p>
        </p:txBody>
      </p:sp>
    </p:spTree>
    <p:extLst>
      <p:ext uri="{BB962C8B-B14F-4D97-AF65-F5344CB8AC3E}">
        <p14:creationId xmlns:p14="http://schemas.microsoft.com/office/powerpoint/2010/main" val="336941113"/>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1895313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6</a:t>
            </a:fld>
            <a:endParaRPr lang="en-US"/>
          </a:p>
        </p:txBody>
      </p:sp>
    </p:spTree>
    <p:extLst>
      <p:ext uri="{BB962C8B-B14F-4D97-AF65-F5344CB8AC3E}">
        <p14:creationId xmlns:p14="http://schemas.microsoft.com/office/powerpoint/2010/main" val="284999109"/>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Kiri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1628898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7</a:t>
            </a:fld>
            <a:endParaRPr lang="en-US"/>
          </a:p>
        </p:txBody>
      </p:sp>
    </p:spTree>
    <p:extLst>
      <p:ext uri="{BB962C8B-B14F-4D97-AF65-F5344CB8AC3E}">
        <p14:creationId xmlns:p14="http://schemas.microsoft.com/office/powerpoint/2010/main" val="1110478689"/>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Enfant | La Vache Qui Rit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3777640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8</a:t>
            </a:fld>
            <a:endParaRPr lang="en-US"/>
          </a:p>
        </p:txBody>
      </p:sp>
    </p:spTree>
    <p:extLst>
      <p:ext uri="{BB962C8B-B14F-4D97-AF65-F5344CB8AC3E}">
        <p14:creationId xmlns:p14="http://schemas.microsoft.com/office/powerpoint/2010/main" val="891034744"/>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88974005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9</a:t>
            </a:fld>
            <a:endParaRPr lang="en-US"/>
          </a:p>
        </p:txBody>
      </p:sp>
    </p:spTree>
    <p:extLst>
      <p:ext uri="{BB962C8B-B14F-4D97-AF65-F5344CB8AC3E}">
        <p14:creationId xmlns:p14="http://schemas.microsoft.com/office/powerpoint/2010/main" val="129803593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Intermarch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1561764847"/>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5346795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0</a:t>
            </a:fld>
            <a:endParaRPr lang="en-US"/>
          </a:p>
        </p:txBody>
      </p:sp>
    </p:spTree>
    <p:extLst>
      <p:ext uri="{BB962C8B-B14F-4D97-AF65-F5344CB8AC3E}">
        <p14:creationId xmlns:p14="http://schemas.microsoft.com/office/powerpoint/2010/main" val="938412391"/>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1952017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1</a:t>
            </a:fld>
            <a:endParaRPr lang="en-US"/>
          </a:p>
        </p:txBody>
      </p:sp>
    </p:spTree>
    <p:extLst>
      <p:ext uri="{BB962C8B-B14F-4D97-AF65-F5344CB8AC3E}">
        <p14:creationId xmlns:p14="http://schemas.microsoft.com/office/powerpoint/2010/main" val="3188088608"/>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6035810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2</a:t>
            </a:fld>
            <a:endParaRPr lang="en-US"/>
          </a:p>
        </p:txBody>
      </p:sp>
    </p:spTree>
    <p:extLst>
      <p:ext uri="{BB962C8B-B14F-4D97-AF65-F5344CB8AC3E}">
        <p14:creationId xmlns:p14="http://schemas.microsoft.com/office/powerpoint/2010/main" val="3330098520"/>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1811667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3</a:t>
            </a:fld>
            <a:endParaRPr lang="en-US"/>
          </a:p>
        </p:txBody>
      </p:sp>
    </p:spTree>
    <p:extLst>
      <p:ext uri="{BB962C8B-B14F-4D97-AF65-F5344CB8AC3E}">
        <p14:creationId xmlns:p14="http://schemas.microsoft.com/office/powerpoint/2010/main" val="255582988"/>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3600511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4</a:t>
            </a:fld>
            <a:endParaRPr lang="en-US"/>
          </a:p>
        </p:txBody>
      </p:sp>
    </p:spTree>
    <p:extLst>
      <p:ext uri="{BB962C8B-B14F-4D97-AF65-F5344CB8AC3E}">
        <p14:creationId xmlns:p14="http://schemas.microsoft.com/office/powerpoint/2010/main" val="860012284"/>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8994073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5</a:t>
            </a:fld>
            <a:endParaRPr lang="en-US"/>
          </a:p>
        </p:txBody>
      </p:sp>
    </p:spTree>
    <p:extLst>
      <p:ext uri="{BB962C8B-B14F-4D97-AF65-F5344CB8AC3E}">
        <p14:creationId xmlns:p14="http://schemas.microsoft.com/office/powerpoint/2010/main" val="2935678738"/>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39594683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6</a:t>
            </a:fld>
            <a:endParaRPr lang="en-US"/>
          </a:p>
        </p:txBody>
      </p:sp>
    </p:spTree>
    <p:extLst>
      <p:ext uri="{BB962C8B-B14F-4D97-AF65-F5344CB8AC3E}">
        <p14:creationId xmlns:p14="http://schemas.microsoft.com/office/powerpoint/2010/main" val="3025744157"/>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4139989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7</a:t>
            </a:fld>
            <a:endParaRPr lang="en-US"/>
          </a:p>
        </p:txBody>
      </p:sp>
    </p:spTree>
    <p:extLst>
      <p:ext uri="{BB962C8B-B14F-4D97-AF65-F5344CB8AC3E}">
        <p14:creationId xmlns:p14="http://schemas.microsoft.com/office/powerpoint/2010/main" val="2315624558"/>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7577158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8</a:t>
            </a:fld>
            <a:endParaRPr lang="en-US"/>
          </a:p>
        </p:txBody>
      </p:sp>
    </p:spTree>
    <p:extLst>
      <p:ext uri="{BB962C8B-B14F-4D97-AF65-F5344CB8AC3E}">
        <p14:creationId xmlns:p14="http://schemas.microsoft.com/office/powerpoint/2010/main" val="3874372804"/>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3661962"/>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9</a:t>
            </a:fld>
            <a:endParaRPr lang="en-US"/>
          </a:p>
        </p:txBody>
      </p:sp>
    </p:spTree>
    <p:extLst>
      <p:ext uri="{BB962C8B-B14F-4D97-AF65-F5344CB8AC3E}">
        <p14:creationId xmlns:p14="http://schemas.microsoft.com/office/powerpoint/2010/main" val="1002559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Carrefour Hyper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2140435978"/>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7046100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0</a:t>
            </a:fld>
            <a:endParaRPr lang="en-US"/>
          </a:p>
        </p:txBody>
      </p:sp>
    </p:spTree>
    <p:extLst>
      <p:ext uri="{BB962C8B-B14F-4D97-AF65-F5344CB8AC3E}">
        <p14:creationId xmlns:p14="http://schemas.microsoft.com/office/powerpoint/2010/main" val="116219544"/>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0224910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1</a:t>
            </a:fld>
            <a:endParaRPr lang="en-US"/>
          </a:p>
        </p:txBody>
      </p:sp>
    </p:spTree>
    <p:extLst>
      <p:ext uri="{BB962C8B-B14F-4D97-AF65-F5344CB8AC3E}">
        <p14:creationId xmlns:p14="http://schemas.microsoft.com/office/powerpoint/2010/main" val="3075993114"/>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20416494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2</a:t>
            </a:fld>
            <a:endParaRPr lang="en-US"/>
          </a:p>
        </p:txBody>
      </p:sp>
    </p:spTree>
    <p:extLst>
      <p:ext uri="{BB962C8B-B14F-4D97-AF65-F5344CB8AC3E}">
        <p14:creationId xmlns:p14="http://schemas.microsoft.com/office/powerpoint/2010/main" val="3822581851"/>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Kiri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58449320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3</a:t>
            </a:fld>
            <a:endParaRPr lang="en-US"/>
          </a:p>
        </p:txBody>
      </p:sp>
    </p:spTree>
    <p:extLst>
      <p:ext uri="{BB962C8B-B14F-4D97-AF65-F5344CB8AC3E}">
        <p14:creationId xmlns:p14="http://schemas.microsoft.com/office/powerpoint/2010/main" val="1301200137"/>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Frais A Tartiner | Boursin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8933160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4</a:t>
            </a:fld>
            <a:endParaRPr lang="en-US"/>
          </a:p>
        </p:txBody>
      </p:sp>
    </p:spTree>
    <p:extLst>
      <p:ext uri="{BB962C8B-B14F-4D97-AF65-F5344CB8AC3E}">
        <p14:creationId xmlns:p14="http://schemas.microsoft.com/office/powerpoint/2010/main" val="712714439"/>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Carrefou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609508931"/>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5</a:t>
            </a:fld>
            <a:endParaRPr lang="en-US"/>
          </a:p>
        </p:txBody>
      </p:sp>
    </p:spTree>
    <p:extLst>
      <p:ext uri="{BB962C8B-B14F-4D97-AF65-F5344CB8AC3E}">
        <p14:creationId xmlns:p14="http://schemas.microsoft.com/office/powerpoint/2010/main" val="553113799"/>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Intermarch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00800448"/>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6</a:t>
            </a:fld>
            <a:endParaRPr lang="en-US"/>
          </a:p>
        </p:txBody>
      </p:sp>
    </p:spTree>
    <p:extLst>
      <p:ext uri="{BB962C8B-B14F-4D97-AF65-F5344CB8AC3E}">
        <p14:creationId xmlns:p14="http://schemas.microsoft.com/office/powerpoint/2010/main" val="1487467507"/>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Carrefour Hyper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8597235"/>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7</a:t>
            </a:fld>
            <a:endParaRPr lang="en-US"/>
          </a:p>
        </p:txBody>
      </p:sp>
    </p:spTree>
    <p:extLst>
      <p:ext uri="{BB962C8B-B14F-4D97-AF65-F5344CB8AC3E}">
        <p14:creationId xmlns:p14="http://schemas.microsoft.com/office/powerpoint/2010/main" val="434753864"/>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Carrefour Supermarket + Driv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3772370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8</a:t>
            </a:fld>
            <a:endParaRPr lang="en-US"/>
          </a:p>
        </p:txBody>
      </p:sp>
    </p:spTree>
    <p:extLst>
      <p:ext uri="{BB962C8B-B14F-4D97-AF65-F5344CB8AC3E}">
        <p14:creationId xmlns:p14="http://schemas.microsoft.com/office/powerpoint/2010/main" val="3413484067"/>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Carrefour Proximite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2317869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9</a:t>
            </a:fld>
            <a:endParaRPr lang="en-US"/>
          </a:p>
        </p:txBody>
      </p:sp>
    </p:spTree>
    <p:extLst>
      <p:ext uri="{BB962C8B-B14F-4D97-AF65-F5344CB8AC3E}">
        <p14:creationId xmlns:p14="http://schemas.microsoft.com/office/powerpoint/2010/main" val="21794871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Carrefour Supermarket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1178555595"/>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Intermarche Su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095859667"/>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40</a:t>
            </a:fld>
            <a:endParaRPr lang="en-US"/>
          </a:p>
        </p:txBody>
      </p:sp>
    </p:spTree>
    <p:extLst>
      <p:ext uri="{BB962C8B-B14F-4D97-AF65-F5344CB8AC3E}">
        <p14:creationId xmlns:p14="http://schemas.microsoft.com/office/powerpoint/2010/main" val="3669512746"/>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Intermarche Hyper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24028100"/>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41</a:t>
            </a:fld>
            <a:endParaRPr lang="en-US"/>
          </a:p>
        </p:txBody>
      </p:sp>
    </p:spTree>
    <p:extLst>
      <p:ext uri="{BB962C8B-B14F-4D97-AF65-F5344CB8AC3E}">
        <p14:creationId xmlns:p14="http://schemas.microsoft.com/office/powerpoint/2010/main" val="2600190983"/>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Trade Margin % and Net Sales | Salade | Boursin | Intermarche Proxi | P12M</a:t>
            </a:r>
          </a:p>
          <a:p>
            <a:pPr>
              <a:defRPr sz="1100">
                <a:latin typeface="Nexa (Headings)"/>
              </a:defRPr>
            </a:pPr>
            <a:r>
              <a:t>Bubble Size: Net Sales</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43754784"/>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42</a:t>
            </a:fld>
            <a:endParaRPr lang="en-US"/>
          </a:p>
        </p:txBody>
      </p:sp>
    </p:spTree>
    <p:extLst>
      <p:ext uri="{BB962C8B-B14F-4D97-AF65-F5344CB8AC3E}">
        <p14:creationId xmlns:p14="http://schemas.microsoft.com/office/powerpoint/2010/main" val="3046166933"/>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00908375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3</a:t>
            </a:fld>
            <a:endParaRPr lang="en-US"/>
          </a:p>
        </p:txBody>
      </p:sp>
    </p:spTree>
    <p:extLst>
      <p:ext uri="{BB962C8B-B14F-4D97-AF65-F5344CB8AC3E}">
        <p14:creationId xmlns:p14="http://schemas.microsoft.com/office/powerpoint/2010/main" val="4143776403"/>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90377634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4</a:t>
            </a:fld>
            <a:endParaRPr lang="en-US"/>
          </a:p>
        </p:txBody>
      </p:sp>
    </p:spTree>
    <p:extLst>
      <p:ext uri="{BB962C8B-B14F-4D97-AF65-F5344CB8AC3E}">
        <p14:creationId xmlns:p14="http://schemas.microsoft.com/office/powerpoint/2010/main" val="1922836958"/>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4384093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5</a:t>
            </a:fld>
            <a:endParaRPr lang="en-US"/>
          </a:p>
        </p:txBody>
      </p:sp>
    </p:spTree>
    <p:extLst>
      <p:ext uri="{BB962C8B-B14F-4D97-AF65-F5344CB8AC3E}">
        <p14:creationId xmlns:p14="http://schemas.microsoft.com/office/powerpoint/2010/main" val="2264192553"/>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0681619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6</a:t>
            </a:fld>
            <a:endParaRPr lang="en-US"/>
          </a:p>
        </p:txBody>
      </p:sp>
    </p:spTree>
    <p:extLst>
      <p:ext uri="{BB962C8B-B14F-4D97-AF65-F5344CB8AC3E}">
        <p14:creationId xmlns:p14="http://schemas.microsoft.com/office/powerpoint/2010/main" val="2945719904"/>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90975716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7</a:t>
            </a:fld>
            <a:endParaRPr lang="en-US"/>
          </a:p>
        </p:txBody>
      </p:sp>
    </p:spTree>
    <p:extLst>
      <p:ext uri="{BB962C8B-B14F-4D97-AF65-F5344CB8AC3E}">
        <p14:creationId xmlns:p14="http://schemas.microsoft.com/office/powerpoint/2010/main" val="2310625690"/>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99963854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8</a:t>
            </a:fld>
            <a:endParaRPr lang="en-US"/>
          </a:p>
        </p:txBody>
      </p:sp>
    </p:spTree>
    <p:extLst>
      <p:ext uri="{BB962C8B-B14F-4D97-AF65-F5344CB8AC3E}">
        <p14:creationId xmlns:p14="http://schemas.microsoft.com/office/powerpoint/2010/main" val="692630829"/>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26182609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9</a:t>
            </a:fld>
            <a:endParaRPr lang="en-US"/>
          </a:p>
        </p:txBody>
      </p:sp>
    </p:spTree>
    <p:extLst>
      <p:ext uri="{BB962C8B-B14F-4D97-AF65-F5344CB8AC3E}">
        <p14:creationId xmlns:p14="http://schemas.microsoft.com/office/powerpoint/2010/main" val="313499815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Carrefour Proximit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641390393"/>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82109543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0</a:t>
            </a:fld>
            <a:endParaRPr lang="en-US"/>
          </a:p>
        </p:txBody>
      </p:sp>
    </p:spTree>
    <p:extLst>
      <p:ext uri="{BB962C8B-B14F-4D97-AF65-F5344CB8AC3E}">
        <p14:creationId xmlns:p14="http://schemas.microsoft.com/office/powerpoint/2010/main" val="1037152234"/>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85663423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1</a:t>
            </a:fld>
            <a:endParaRPr lang="en-US"/>
          </a:p>
        </p:txBody>
      </p:sp>
    </p:spTree>
    <p:extLst>
      <p:ext uri="{BB962C8B-B14F-4D97-AF65-F5344CB8AC3E}">
        <p14:creationId xmlns:p14="http://schemas.microsoft.com/office/powerpoint/2010/main" val="2615345376"/>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91476605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2</a:t>
            </a:fld>
            <a:endParaRPr lang="en-US"/>
          </a:p>
        </p:txBody>
      </p:sp>
    </p:spTree>
    <p:extLst>
      <p:ext uri="{BB962C8B-B14F-4D97-AF65-F5344CB8AC3E}">
        <p14:creationId xmlns:p14="http://schemas.microsoft.com/office/powerpoint/2010/main" val="922229825"/>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62379869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3</a:t>
            </a:fld>
            <a:endParaRPr lang="en-US"/>
          </a:p>
        </p:txBody>
      </p:sp>
    </p:spTree>
    <p:extLst>
      <p:ext uri="{BB962C8B-B14F-4D97-AF65-F5344CB8AC3E}">
        <p14:creationId xmlns:p14="http://schemas.microsoft.com/office/powerpoint/2010/main" val="1433859738"/>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481088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4</a:t>
            </a:fld>
            <a:endParaRPr lang="en-US"/>
          </a:p>
        </p:txBody>
      </p:sp>
    </p:spTree>
    <p:extLst>
      <p:ext uri="{BB962C8B-B14F-4D97-AF65-F5344CB8AC3E}">
        <p14:creationId xmlns:p14="http://schemas.microsoft.com/office/powerpoint/2010/main" val="446864577"/>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2397920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5</a:t>
            </a:fld>
            <a:endParaRPr lang="en-US"/>
          </a:p>
        </p:txBody>
      </p:sp>
    </p:spTree>
    <p:extLst>
      <p:ext uri="{BB962C8B-B14F-4D97-AF65-F5344CB8AC3E}">
        <p14:creationId xmlns:p14="http://schemas.microsoft.com/office/powerpoint/2010/main" val="3403895141"/>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96557510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6</a:t>
            </a:fld>
            <a:endParaRPr lang="en-US"/>
          </a:p>
        </p:txBody>
      </p:sp>
    </p:spTree>
    <p:extLst>
      <p:ext uri="{BB962C8B-B14F-4D97-AF65-F5344CB8AC3E}">
        <p14:creationId xmlns:p14="http://schemas.microsoft.com/office/powerpoint/2010/main" val="2271395848"/>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79680910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7</a:t>
            </a:fld>
            <a:endParaRPr lang="en-US"/>
          </a:p>
        </p:txBody>
      </p:sp>
    </p:spTree>
    <p:extLst>
      <p:ext uri="{BB962C8B-B14F-4D97-AF65-F5344CB8AC3E}">
        <p14:creationId xmlns:p14="http://schemas.microsoft.com/office/powerpoint/2010/main" val="3179839810"/>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87797169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8</a:t>
            </a:fld>
            <a:endParaRPr lang="en-US"/>
          </a:p>
        </p:txBody>
      </p:sp>
    </p:spTree>
    <p:extLst>
      <p:ext uri="{BB962C8B-B14F-4D97-AF65-F5344CB8AC3E}">
        <p14:creationId xmlns:p14="http://schemas.microsoft.com/office/powerpoint/2010/main" val="2970490416"/>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64433502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9</a:t>
            </a:fld>
            <a:endParaRPr lang="en-US"/>
          </a:p>
        </p:txBody>
      </p:sp>
    </p:spTree>
    <p:extLst>
      <p:ext uri="{BB962C8B-B14F-4D97-AF65-F5344CB8AC3E}">
        <p14:creationId xmlns:p14="http://schemas.microsoft.com/office/powerpoint/2010/main" val="207339594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Intermarche Su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406118730"/>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85809095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0</a:t>
            </a:fld>
            <a:endParaRPr lang="en-US"/>
          </a:p>
        </p:txBody>
      </p:sp>
    </p:spTree>
    <p:extLst>
      <p:ext uri="{BB962C8B-B14F-4D97-AF65-F5344CB8AC3E}">
        <p14:creationId xmlns:p14="http://schemas.microsoft.com/office/powerpoint/2010/main" val="719071255"/>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95611136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1</a:t>
            </a:fld>
            <a:endParaRPr lang="en-US"/>
          </a:p>
        </p:txBody>
      </p:sp>
    </p:spTree>
    <p:extLst>
      <p:ext uri="{BB962C8B-B14F-4D97-AF65-F5344CB8AC3E}">
        <p14:creationId xmlns:p14="http://schemas.microsoft.com/office/powerpoint/2010/main" val="785537257"/>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47425318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2</a:t>
            </a:fld>
            <a:endParaRPr lang="en-US"/>
          </a:p>
        </p:txBody>
      </p:sp>
    </p:spTree>
    <p:extLst>
      <p:ext uri="{BB962C8B-B14F-4D97-AF65-F5344CB8AC3E}">
        <p14:creationId xmlns:p14="http://schemas.microsoft.com/office/powerpoint/2010/main" val="2957335169"/>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93951446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3</a:t>
            </a:fld>
            <a:endParaRPr lang="en-US"/>
          </a:p>
        </p:txBody>
      </p:sp>
    </p:spTree>
    <p:extLst>
      <p:ext uri="{BB962C8B-B14F-4D97-AF65-F5344CB8AC3E}">
        <p14:creationId xmlns:p14="http://schemas.microsoft.com/office/powerpoint/2010/main" val="3828440331"/>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Kiri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84248964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4</a:t>
            </a:fld>
            <a:endParaRPr lang="en-US"/>
          </a:p>
        </p:txBody>
      </p:sp>
    </p:spTree>
    <p:extLst>
      <p:ext uri="{BB962C8B-B14F-4D97-AF65-F5344CB8AC3E}">
        <p14:creationId xmlns:p14="http://schemas.microsoft.com/office/powerpoint/2010/main" val="3021166892"/>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La Vache Qui Rit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85396471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5</a:t>
            </a:fld>
            <a:endParaRPr lang="en-US"/>
          </a:p>
        </p:txBody>
      </p:sp>
    </p:spTree>
    <p:extLst>
      <p:ext uri="{BB962C8B-B14F-4D97-AF65-F5344CB8AC3E}">
        <p14:creationId xmlns:p14="http://schemas.microsoft.com/office/powerpoint/2010/main" val="2329823378"/>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Total Fromage | Boursin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67458834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6</a:t>
            </a:fld>
            <a:endParaRPr lang="en-US"/>
          </a:p>
        </p:txBody>
      </p:sp>
    </p:spTree>
    <p:extLst>
      <p:ext uri="{BB962C8B-B14F-4D97-AF65-F5344CB8AC3E}">
        <p14:creationId xmlns:p14="http://schemas.microsoft.com/office/powerpoint/2010/main" val="1851495711"/>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98583935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7</a:t>
            </a:fld>
            <a:endParaRPr lang="en-US"/>
          </a:p>
        </p:txBody>
      </p:sp>
    </p:spTree>
    <p:extLst>
      <p:ext uri="{BB962C8B-B14F-4D97-AF65-F5344CB8AC3E}">
        <p14:creationId xmlns:p14="http://schemas.microsoft.com/office/powerpoint/2010/main" val="2436165557"/>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68063785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8</a:t>
            </a:fld>
            <a:endParaRPr lang="en-US"/>
          </a:p>
        </p:txBody>
      </p:sp>
    </p:spTree>
    <p:extLst>
      <p:ext uri="{BB962C8B-B14F-4D97-AF65-F5344CB8AC3E}">
        <p14:creationId xmlns:p14="http://schemas.microsoft.com/office/powerpoint/2010/main" val="1625203480"/>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08416126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9</a:t>
            </a:fld>
            <a:endParaRPr lang="en-US"/>
          </a:p>
        </p:txBody>
      </p:sp>
    </p:spTree>
    <p:extLst>
      <p:ext uri="{BB962C8B-B14F-4D97-AF65-F5344CB8AC3E}">
        <p14:creationId xmlns:p14="http://schemas.microsoft.com/office/powerpoint/2010/main" val="30919287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Intermarche Hy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1678609680"/>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36584447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0</a:t>
            </a:fld>
            <a:endParaRPr lang="en-US"/>
          </a:p>
        </p:txBody>
      </p:sp>
    </p:spTree>
    <p:extLst>
      <p:ext uri="{BB962C8B-B14F-4D97-AF65-F5344CB8AC3E}">
        <p14:creationId xmlns:p14="http://schemas.microsoft.com/office/powerpoint/2010/main" val="980777302"/>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78021542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1</a:t>
            </a:fld>
            <a:endParaRPr lang="en-US"/>
          </a:p>
        </p:txBody>
      </p:sp>
    </p:spTree>
    <p:extLst>
      <p:ext uri="{BB962C8B-B14F-4D97-AF65-F5344CB8AC3E}">
        <p14:creationId xmlns:p14="http://schemas.microsoft.com/office/powerpoint/2010/main" val="2780199886"/>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58139821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2</a:t>
            </a:fld>
            <a:endParaRPr lang="en-US"/>
          </a:p>
        </p:txBody>
      </p:sp>
    </p:spTree>
    <p:extLst>
      <p:ext uri="{BB962C8B-B14F-4D97-AF65-F5344CB8AC3E}">
        <p14:creationId xmlns:p14="http://schemas.microsoft.com/office/powerpoint/2010/main" val="2240397048"/>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6567497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3</a:t>
            </a:fld>
            <a:endParaRPr lang="en-US"/>
          </a:p>
        </p:txBody>
      </p:sp>
    </p:spTree>
    <p:extLst>
      <p:ext uri="{BB962C8B-B14F-4D97-AF65-F5344CB8AC3E}">
        <p14:creationId xmlns:p14="http://schemas.microsoft.com/office/powerpoint/2010/main" val="948040841"/>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50251289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4</a:t>
            </a:fld>
            <a:endParaRPr lang="en-US"/>
          </a:p>
        </p:txBody>
      </p:sp>
    </p:spTree>
    <p:extLst>
      <p:ext uri="{BB962C8B-B14F-4D97-AF65-F5344CB8AC3E}">
        <p14:creationId xmlns:p14="http://schemas.microsoft.com/office/powerpoint/2010/main" val="3088445974"/>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97233595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5</a:t>
            </a:fld>
            <a:endParaRPr lang="en-US"/>
          </a:p>
        </p:txBody>
      </p:sp>
    </p:spTree>
    <p:extLst>
      <p:ext uri="{BB962C8B-B14F-4D97-AF65-F5344CB8AC3E}">
        <p14:creationId xmlns:p14="http://schemas.microsoft.com/office/powerpoint/2010/main" val="2940328812"/>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29702331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6</a:t>
            </a:fld>
            <a:endParaRPr lang="en-US"/>
          </a:p>
        </p:txBody>
      </p:sp>
    </p:spTree>
    <p:extLst>
      <p:ext uri="{BB962C8B-B14F-4D97-AF65-F5344CB8AC3E}">
        <p14:creationId xmlns:p14="http://schemas.microsoft.com/office/powerpoint/2010/main" val="2713507781"/>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67216758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7</a:t>
            </a:fld>
            <a:endParaRPr lang="en-US"/>
          </a:p>
        </p:txBody>
      </p:sp>
    </p:spTree>
    <p:extLst>
      <p:ext uri="{BB962C8B-B14F-4D97-AF65-F5344CB8AC3E}">
        <p14:creationId xmlns:p14="http://schemas.microsoft.com/office/powerpoint/2010/main" val="1820417440"/>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10428987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8</a:t>
            </a:fld>
            <a:endParaRPr lang="en-US"/>
          </a:p>
        </p:txBody>
      </p:sp>
    </p:spTree>
    <p:extLst>
      <p:ext uri="{BB962C8B-B14F-4D97-AF65-F5344CB8AC3E}">
        <p14:creationId xmlns:p14="http://schemas.microsoft.com/office/powerpoint/2010/main" val="1747388877"/>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00350254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9</a:t>
            </a:fld>
            <a:endParaRPr lang="en-US"/>
          </a:p>
        </p:txBody>
      </p:sp>
    </p:spTree>
    <p:extLst>
      <p:ext uri="{BB962C8B-B14F-4D97-AF65-F5344CB8AC3E}">
        <p14:creationId xmlns:p14="http://schemas.microsoft.com/office/powerpoint/2010/main" val="34916051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Frais A Tartiner | Intermarche Prox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2313768758"/>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95943332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0</a:t>
            </a:fld>
            <a:endParaRPr lang="en-US"/>
          </a:p>
        </p:txBody>
      </p:sp>
    </p:spTree>
    <p:extLst>
      <p:ext uri="{BB962C8B-B14F-4D97-AF65-F5344CB8AC3E}">
        <p14:creationId xmlns:p14="http://schemas.microsoft.com/office/powerpoint/2010/main" val="3294265043"/>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93621051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1</a:t>
            </a:fld>
            <a:endParaRPr lang="en-US"/>
          </a:p>
        </p:txBody>
      </p:sp>
    </p:spTree>
    <p:extLst>
      <p:ext uri="{BB962C8B-B14F-4D97-AF65-F5344CB8AC3E}">
        <p14:creationId xmlns:p14="http://schemas.microsoft.com/office/powerpoint/2010/main" val="1523185411"/>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72540335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2</a:t>
            </a:fld>
            <a:endParaRPr lang="en-US"/>
          </a:p>
        </p:txBody>
      </p:sp>
    </p:spTree>
    <p:extLst>
      <p:ext uri="{BB962C8B-B14F-4D97-AF65-F5344CB8AC3E}">
        <p14:creationId xmlns:p14="http://schemas.microsoft.com/office/powerpoint/2010/main" val="3716028949"/>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1328078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3</a:t>
            </a:fld>
            <a:endParaRPr lang="en-US"/>
          </a:p>
        </p:txBody>
      </p:sp>
    </p:spTree>
    <p:extLst>
      <p:ext uri="{BB962C8B-B14F-4D97-AF65-F5344CB8AC3E}">
        <p14:creationId xmlns:p14="http://schemas.microsoft.com/office/powerpoint/2010/main" val="1084816975"/>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8705311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4</a:t>
            </a:fld>
            <a:endParaRPr lang="en-US"/>
          </a:p>
        </p:txBody>
      </p:sp>
    </p:spTree>
    <p:extLst>
      <p:ext uri="{BB962C8B-B14F-4D97-AF65-F5344CB8AC3E}">
        <p14:creationId xmlns:p14="http://schemas.microsoft.com/office/powerpoint/2010/main" val="2951426567"/>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38639001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5</a:t>
            </a:fld>
            <a:endParaRPr lang="en-US"/>
          </a:p>
        </p:txBody>
      </p:sp>
    </p:spTree>
    <p:extLst>
      <p:ext uri="{BB962C8B-B14F-4D97-AF65-F5344CB8AC3E}">
        <p14:creationId xmlns:p14="http://schemas.microsoft.com/office/powerpoint/2010/main" val="305114819"/>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20195424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6</a:t>
            </a:fld>
            <a:endParaRPr lang="en-US"/>
          </a:p>
        </p:txBody>
      </p:sp>
    </p:spTree>
    <p:extLst>
      <p:ext uri="{BB962C8B-B14F-4D97-AF65-F5344CB8AC3E}">
        <p14:creationId xmlns:p14="http://schemas.microsoft.com/office/powerpoint/2010/main" val="2494417488"/>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76649109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7</a:t>
            </a:fld>
            <a:endParaRPr lang="en-US"/>
          </a:p>
        </p:txBody>
      </p:sp>
    </p:spTree>
    <p:extLst>
      <p:ext uri="{BB962C8B-B14F-4D97-AF65-F5344CB8AC3E}">
        <p14:creationId xmlns:p14="http://schemas.microsoft.com/office/powerpoint/2010/main" val="2604838095"/>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Kiri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3097554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8</a:t>
            </a:fld>
            <a:endParaRPr lang="en-US"/>
          </a:p>
        </p:txBody>
      </p:sp>
    </p:spTree>
    <p:extLst>
      <p:ext uri="{BB962C8B-B14F-4D97-AF65-F5344CB8AC3E}">
        <p14:creationId xmlns:p14="http://schemas.microsoft.com/office/powerpoint/2010/main" val="1276899959"/>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La Vache Qui Rit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7292458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9</a:t>
            </a:fld>
            <a:endParaRPr lang="en-US"/>
          </a:p>
        </p:txBody>
      </p:sp>
    </p:spTree>
    <p:extLst>
      <p:ext uri="{BB962C8B-B14F-4D97-AF65-F5344CB8AC3E}">
        <p14:creationId xmlns:p14="http://schemas.microsoft.com/office/powerpoint/2010/main" val="20868453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Carrefou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3913310192"/>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oft Cheese | Boursin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63138674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0</a:t>
            </a:fld>
            <a:endParaRPr lang="en-US"/>
          </a:p>
        </p:txBody>
      </p:sp>
    </p:spTree>
    <p:extLst>
      <p:ext uri="{BB962C8B-B14F-4D97-AF65-F5344CB8AC3E}">
        <p14:creationId xmlns:p14="http://schemas.microsoft.com/office/powerpoint/2010/main" val="3770167639"/>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27022753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1</a:t>
            </a:fld>
            <a:endParaRPr lang="en-US"/>
          </a:p>
        </p:txBody>
      </p:sp>
    </p:spTree>
    <p:extLst>
      <p:ext uri="{BB962C8B-B14F-4D97-AF65-F5344CB8AC3E}">
        <p14:creationId xmlns:p14="http://schemas.microsoft.com/office/powerpoint/2010/main" val="2333975672"/>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98719823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2</a:t>
            </a:fld>
            <a:endParaRPr lang="en-US"/>
          </a:p>
        </p:txBody>
      </p:sp>
    </p:spTree>
    <p:extLst>
      <p:ext uri="{BB962C8B-B14F-4D97-AF65-F5344CB8AC3E}">
        <p14:creationId xmlns:p14="http://schemas.microsoft.com/office/powerpoint/2010/main" val="530981768"/>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25957765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3</a:t>
            </a:fld>
            <a:endParaRPr lang="en-US"/>
          </a:p>
        </p:txBody>
      </p:sp>
    </p:spTree>
    <p:extLst>
      <p:ext uri="{BB962C8B-B14F-4D97-AF65-F5344CB8AC3E}">
        <p14:creationId xmlns:p14="http://schemas.microsoft.com/office/powerpoint/2010/main" val="1900707436"/>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14674434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4</a:t>
            </a:fld>
            <a:endParaRPr lang="en-US"/>
          </a:p>
        </p:txBody>
      </p:sp>
    </p:spTree>
    <p:extLst>
      <p:ext uri="{BB962C8B-B14F-4D97-AF65-F5344CB8AC3E}">
        <p14:creationId xmlns:p14="http://schemas.microsoft.com/office/powerpoint/2010/main" val="4286584193"/>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17231269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5</a:t>
            </a:fld>
            <a:endParaRPr lang="en-US"/>
          </a:p>
        </p:txBody>
      </p:sp>
    </p:spTree>
    <p:extLst>
      <p:ext uri="{BB962C8B-B14F-4D97-AF65-F5344CB8AC3E}">
        <p14:creationId xmlns:p14="http://schemas.microsoft.com/office/powerpoint/2010/main" val="3949922145"/>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55875748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6</a:t>
            </a:fld>
            <a:endParaRPr lang="en-US"/>
          </a:p>
        </p:txBody>
      </p:sp>
    </p:spTree>
    <p:extLst>
      <p:ext uri="{BB962C8B-B14F-4D97-AF65-F5344CB8AC3E}">
        <p14:creationId xmlns:p14="http://schemas.microsoft.com/office/powerpoint/2010/main" val="173834500"/>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0718116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7</a:t>
            </a:fld>
            <a:endParaRPr lang="en-US"/>
          </a:p>
        </p:txBody>
      </p:sp>
    </p:spTree>
    <p:extLst>
      <p:ext uri="{BB962C8B-B14F-4D97-AF65-F5344CB8AC3E}">
        <p14:creationId xmlns:p14="http://schemas.microsoft.com/office/powerpoint/2010/main" val="4188247362"/>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Aperitif | Boursin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09078673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8</a:t>
            </a:fld>
            <a:endParaRPr lang="en-US"/>
          </a:p>
        </p:txBody>
      </p:sp>
    </p:spTree>
    <p:extLst>
      <p:ext uri="{BB962C8B-B14F-4D97-AF65-F5344CB8AC3E}">
        <p14:creationId xmlns:p14="http://schemas.microsoft.com/office/powerpoint/2010/main" val="3083173782"/>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La Vache Qui Rit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7836697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9</a:t>
            </a:fld>
            <a:endParaRPr lang="en-US"/>
          </a:p>
        </p:txBody>
      </p:sp>
    </p:spTree>
    <p:extLst>
      <p:ext uri="{BB962C8B-B14F-4D97-AF65-F5344CB8AC3E}">
        <p14:creationId xmlns:p14="http://schemas.microsoft.com/office/powerpoint/2010/main" val="12244824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Carrefour Proximit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245629670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Intermarch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3374850309"/>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Boursin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20666270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0</a:t>
            </a:fld>
            <a:endParaRPr lang="en-US"/>
          </a:p>
        </p:txBody>
      </p:sp>
    </p:spTree>
    <p:extLst>
      <p:ext uri="{BB962C8B-B14F-4D97-AF65-F5344CB8AC3E}">
        <p14:creationId xmlns:p14="http://schemas.microsoft.com/office/powerpoint/2010/main" val="32649445"/>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Boursin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8271735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1</a:t>
            </a:fld>
            <a:endParaRPr lang="en-US"/>
          </a:p>
        </p:txBody>
      </p:sp>
    </p:spTree>
    <p:extLst>
      <p:ext uri="{BB962C8B-B14F-4D97-AF65-F5344CB8AC3E}">
        <p14:creationId xmlns:p14="http://schemas.microsoft.com/office/powerpoint/2010/main" val="1265484892"/>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La Vache Qui Rit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16535411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2</a:t>
            </a:fld>
            <a:endParaRPr lang="en-US"/>
          </a:p>
        </p:txBody>
      </p:sp>
    </p:spTree>
    <p:extLst>
      <p:ext uri="{BB962C8B-B14F-4D97-AF65-F5344CB8AC3E}">
        <p14:creationId xmlns:p14="http://schemas.microsoft.com/office/powerpoint/2010/main" val="1261724259"/>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Boursin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852461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3</a:t>
            </a:fld>
            <a:endParaRPr lang="en-US"/>
          </a:p>
        </p:txBody>
      </p:sp>
    </p:spTree>
    <p:extLst>
      <p:ext uri="{BB962C8B-B14F-4D97-AF65-F5344CB8AC3E}">
        <p14:creationId xmlns:p14="http://schemas.microsoft.com/office/powerpoint/2010/main" val="753198496"/>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La Vache Qui Rit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2682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4</a:t>
            </a:fld>
            <a:endParaRPr lang="en-US"/>
          </a:p>
        </p:txBody>
      </p:sp>
    </p:spTree>
    <p:extLst>
      <p:ext uri="{BB962C8B-B14F-4D97-AF65-F5344CB8AC3E}">
        <p14:creationId xmlns:p14="http://schemas.microsoft.com/office/powerpoint/2010/main" val="1059599000"/>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Boursin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00147788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5</a:t>
            </a:fld>
            <a:endParaRPr lang="en-US"/>
          </a:p>
        </p:txBody>
      </p:sp>
    </p:spTree>
    <p:extLst>
      <p:ext uri="{BB962C8B-B14F-4D97-AF65-F5344CB8AC3E}">
        <p14:creationId xmlns:p14="http://schemas.microsoft.com/office/powerpoint/2010/main" val="8593135"/>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La Vache Qui Rit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02498375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6</a:t>
            </a:fld>
            <a:endParaRPr lang="en-US"/>
          </a:p>
        </p:txBody>
      </p:sp>
    </p:spTree>
    <p:extLst>
      <p:ext uri="{BB962C8B-B14F-4D97-AF65-F5344CB8AC3E}">
        <p14:creationId xmlns:p14="http://schemas.microsoft.com/office/powerpoint/2010/main" val="2909138519"/>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Boursin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43302424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7</a:t>
            </a:fld>
            <a:endParaRPr lang="en-US"/>
          </a:p>
        </p:txBody>
      </p:sp>
    </p:spTree>
    <p:extLst>
      <p:ext uri="{BB962C8B-B14F-4D97-AF65-F5344CB8AC3E}">
        <p14:creationId xmlns:p14="http://schemas.microsoft.com/office/powerpoint/2010/main" val="1290155723"/>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Boursin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56366833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8</a:t>
            </a:fld>
            <a:endParaRPr lang="en-US"/>
          </a:p>
        </p:txBody>
      </p:sp>
    </p:spTree>
    <p:extLst>
      <p:ext uri="{BB962C8B-B14F-4D97-AF65-F5344CB8AC3E}">
        <p14:creationId xmlns:p14="http://schemas.microsoft.com/office/powerpoint/2010/main" val="3136979105"/>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Boursin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46239965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9</a:t>
            </a:fld>
            <a:endParaRPr lang="en-US"/>
          </a:p>
        </p:txBody>
      </p:sp>
    </p:spTree>
    <p:extLst>
      <p:ext uri="{BB962C8B-B14F-4D97-AF65-F5344CB8AC3E}">
        <p14:creationId xmlns:p14="http://schemas.microsoft.com/office/powerpoint/2010/main" val="123931357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Carrefour Hyper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3283640071"/>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Ingredient A Chaud | Boursin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11718578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0</a:t>
            </a:fld>
            <a:endParaRPr lang="en-US"/>
          </a:p>
        </p:txBody>
      </p:sp>
    </p:spTree>
    <p:extLst>
      <p:ext uri="{BB962C8B-B14F-4D97-AF65-F5344CB8AC3E}">
        <p14:creationId xmlns:p14="http://schemas.microsoft.com/office/powerpoint/2010/main" val="1269843499"/>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13697481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1</a:t>
            </a:fld>
            <a:endParaRPr lang="en-US"/>
          </a:p>
        </p:txBody>
      </p:sp>
    </p:spTree>
    <p:extLst>
      <p:ext uri="{BB962C8B-B14F-4D97-AF65-F5344CB8AC3E}">
        <p14:creationId xmlns:p14="http://schemas.microsoft.com/office/powerpoint/2010/main" val="3648041517"/>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75532317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2</a:t>
            </a:fld>
            <a:endParaRPr lang="en-US"/>
          </a:p>
        </p:txBody>
      </p:sp>
    </p:spTree>
    <p:extLst>
      <p:ext uri="{BB962C8B-B14F-4D97-AF65-F5344CB8AC3E}">
        <p14:creationId xmlns:p14="http://schemas.microsoft.com/office/powerpoint/2010/main" val="4142149874"/>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11449350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3</a:t>
            </a:fld>
            <a:endParaRPr lang="en-US"/>
          </a:p>
        </p:txBody>
      </p:sp>
    </p:spTree>
    <p:extLst>
      <p:ext uri="{BB962C8B-B14F-4D97-AF65-F5344CB8AC3E}">
        <p14:creationId xmlns:p14="http://schemas.microsoft.com/office/powerpoint/2010/main" val="3990086623"/>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21595545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4</a:t>
            </a:fld>
            <a:endParaRPr lang="en-US"/>
          </a:p>
        </p:txBody>
      </p:sp>
    </p:spTree>
    <p:extLst>
      <p:ext uri="{BB962C8B-B14F-4D97-AF65-F5344CB8AC3E}">
        <p14:creationId xmlns:p14="http://schemas.microsoft.com/office/powerpoint/2010/main" val="556601488"/>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54393009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5</a:t>
            </a:fld>
            <a:endParaRPr lang="en-US"/>
          </a:p>
        </p:txBody>
      </p:sp>
    </p:spTree>
    <p:extLst>
      <p:ext uri="{BB962C8B-B14F-4D97-AF65-F5344CB8AC3E}">
        <p14:creationId xmlns:p14="http://schemas.microsoft.com/office/powerpoint/2010/main" val="1252081777"/>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98480546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6</a:t>
            </a:fld>
            <a:endParaRPr lang="en-US"/>
          </a:p>
        </p:txBody>
      </p:sp>
    </p:spTree>
    <p:extLst>
      <p:ext uri="{BB962C8B-B14F-4D97-AF65-F5344CB8AC3E}">
        <p14:creationId xmlns:p14="http://schemas.microsoft.com/office/powerpoint/2010/main" val="2279339524"/>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07764999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7</a:t>
            </a:fld>
            <a:endParaRPr lang="en-US"/>
          </a:p>
        </p:txBody>
      </p:sp>
    </p:spTree>
    <p:extLst>
      <p:ext uri="{BB962C8B-B14F-4D97-AF65-F5344CB8AC3E}">
        <p14:creationId xmlns:p14="http://schemas.microsoft.com/office/powerpoint/2010/main" val="1476633579"/>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55732611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8</a:t>
            </a:fld>
            <a:endParaRPr lang="en-US"/>
          </a:p>
        </p:txBody>
      </p:sp>
    </p:spTree>
    <p:extLst>
      <p:ext uri="{BB962C8B-B14F-4D97-AF65-F5344CB8AC3E}">
        <p14:creationId xmlns:p14="http://schemas.microsoft.com/office/powerpoint/2010/main" val="2420146516"/>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4400257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9</a:t>
            </a:fld>
            <a:endParaRPr lang="en-US"/>
          </a:p>
        </p:txBody>
      </p:sp>
    </p:spTree>
    <p:extLst>
      <p:ext uri="{BB962C8B-B14F-4D97-AF65-F5344CB8AC3E}">
        <p14:creationId xmlns:p14="http://schemas.microsoft.com/office/powerpoint/2010/main" val="33004567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Carrefour Supermarket + Driv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656394524"/>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13758866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0</a:t>
            </a:fld>
            <a:endParaRPr lang="en-US"/>
          </a:p>
        </p:txBody>
      </p:sp>
    </p:spTree>
    <p:extLst>
      <p:ext uri="{BB962C8B-B14F-4D97-AF65-F5344CB8AC3E}">
        <p14:creationId xmlns:p14="http://schemas.microsoft.com/office/powerpoint/2010/main" val="2266229200"/>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35317548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1</a:t>
            </a:fld>
            <a:endParaRPr lang="en-US"/>
          </a:p>
        </p:txBody>
      </p:sp>
    </p:spTree>
    <p:extLst>
      <p:ext uri="{BB962C8B-B14F-4D97-AF65-F5344CB8AC3E}">
        <p14:creationId xmlns:p14="http://schemas.microsoft.com/office/powerpoint/2010/main" val="2074028873"/>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41491799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2</a:t>
            </a:fld>
            <a:endParaRPr lang="en-US"/>
          </a:p>
        </p:txBody>
      </p:sp>
    </p:spTree>
    <p:extLst>
      <p:ext uri="{BB962C8B-B14F-4D97-AF65-F5344CB8AC3E}">
        <p14:creationId xmlns:p14="http://schemas.microsoft.com/office/powerpoint/2010/main" val="3672253106"/>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76108298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3</a:t>
            </a:fld>
            <a:endParaRPr lang="en-US"/>
          </a:p>
        </p:txBody>
      </p:sp>
    </p:spTree>
    <p:extLst>
      <p:ext uri="{BB962C8B-B14F-4D97-AF65-F5344CB8AC3E}">
        <p14:creationId xmlns:p14="http://schemas.microsoft.com/office/powerpoint/2010/main" val="4237685942"/>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20546399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4</a:t>
            </a:fld>
            <a:endParaRPr lang="en-US"/>
          </a:p>
        </p:txBody>
      </p:sp>
    </p:spTree>
    <p:extLst>
      <p:ext uri="{BB962C8B-B14F-4D97-AF65-F5344CB8AC3E}">
        <p14:creationId xmlns:p14="http://schemas.microsoft.com/office/powerpoint/2010/main" val="1181548923"/>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Kiri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87567088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5</a:t>
            </a:fld>
            <a:endParaRPr lang="en-US"/>
          </a:p>
        </p:txBody>
      </p:sp>
    </p:spTree>
    <p:extLst>
      <p:ext uri="{BB962C8B-B14F-4D97-AF65-F5344CB8AC3E}">
        <p14:creationId xmlns:p14="http://schemas.microsoft.com/office/powerpoint/2010/main" val="3067493638"/>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Enfant | La Vache Qui Rit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43323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6</a:t>
            </a:fld>
            <a:endParaRPr lang="en-US"/>
          </a:p>
        </p:txBody>
      </p:sp>
    </p:spTree>
    <p:extLst>
      <p:ext uri="{BB962C8B-B14F-4D97-AF65-F5344CB8AC3E}">
        <p14:creationId xmlns:p14="http://schemas.microsoft.com/office/powerpoint/2010/main" val="4141047406"/>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02132591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7</a:t>
            </a:fld>
            <a:endParaRPr lang="en-US"/>
          </a:p>
        </p:txBody>
      </p:sp>
    </p:spTree>
    <p:extLst>
      <p:ext uri="{BB962C8B-B14F-4D97-AF65-F5344CB8AC3E}">
        <p14:creationId xmlns:p14="http://schemas.microsoft.com/office/powerpoint/2010/main" val="2382350383"/>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317146503"/>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8</a:t>
            </a:fld>
            <a:endParaRPr lang="en-US"/>
          </a:p>
        </p:txBody>
      </p:sp>
    </p:spTree>
    <p:extLst>
      <p:ext uri="{BB962C8B-B14F-4D97-AF65-F5344CB8AC3E}">
        <p14:creationId xmlns:p14="http://schemas.microsoft.com/office/powerpoint/2010/main" val="57978269"/>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29271771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9</a:t>
            </a:fld>
            <a:endParaRPr lang="en-US"/>
          </a:p>
        </p:txBody>
      </p:sp>
    </p:spTree>
    <p:extLst>
      <p:ext uri="{BB962C8B-B14F-4D97-AF65-F5344CB8AC3E}">
        <p14:creationId xmlns:p14="http://schemas.microsoft.com/office/powerpoint/2010/main" val="29996750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Carrefour Proximite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1800758502"/>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78649475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0</a:t>
            </a:fld>
            <a:endParaRPr lang="en-US"/>
          </a:p>
        </p:txBody>
      </p:sp>
    </p:spTree>
    <p:extLst>
      <p:ext uri="{BB962C8B-B14F-4D97-AF65-F5344CB8AC3E}">
        <p14:creationId xmlns:p14="http://schemas.microsoft.com/office/powerpoint/2010/main" val="4018896473"/>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976850531"/>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1</a:t>
            </a:fld>
            <a:endParaRPr lang="en-US"/>
          </a:p>
        </p:txBody>
      </p:sp>
    </p:spTree>
    <p:extLst>
      <p:ext uri="{BB962C8B-B14F-4D97-AF65-F5344CB8AC3E}">
        <p14:creationId xmlns:p14="http://schemas.microsoft.com/office/powerpoint/2010/main" val="1249923633"/>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88054313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2</a:t>
            </a:fld>
            <a:endParaRPr lang="en-US"/>
          </a:p>
        </p:txBody>
      </p:sp>
    </p:spTree>
    <p:extLst>
      <p:ext uri="{BB962C8B-B14F-4D97-AF65-F5344CB8AC3E}">
        <p14:creationId xmlns:p14="http://schemas.microsoft.com/office/powerpoint/2010/main" val="1990557557"/>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600325559"/>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3</a:t>
            </a:fld>
            <a:endParaRPr lang="en-US"/>
          </a:p>
        </p:txBody>
      </p:sp>
    </p:spTree>
    <p:extLst>
      <p:ext uri="{BB962C8B-B14F-4D97-AF65-F5344CB8AC3E}">
        <p14:creationId xmlns:p14="http://schemas.microsoft.com/office/powerpoint/2010/main" val="2785789417"/>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92470008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4</a:t>
            </a:fld>
            <a:endParaRPr lang="en-US"/>
          </a:p>
        </p:txBody>
      </p:sp>
    </p:spTree>
    <p:extLst>
      <p:ext uri="{BB962C8B-B14F-4D97-AF65-F5344CB8AC3E}">
        <p14:creationId xmlns:p14="http://schemas.microsoft.com/office/powerpoint/2010/main" val="4153161716"/>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77820882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5</a:t>
            </a:fld>
            <a:endParaRPr lang="en-US"/>
          </a:p>
        </p:txBody>
      </p:sp>
    </p:spTree>
    <p:extLst>
      <p:ext uri="{BB962C8B-B14F-4D97-AF65-F5344CB8AC3E}">
        <p14:creationId xmlns:p14="http://schemas.microsoft.com/office/powerpoint/2010/main" val="71453502"/>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76876898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6</a:t>
            </a:fld>
            <a:endParaRPr lang="en-US"/>
          </a:p>
        </p:txBody>
      </p:sp>
    </p:spTree>
    <p:extLst>
      <p:ext uri="{BB962C8B-B14F-4D97-AF65-F5344CB8AC3E}">
        <p14:creationId xmlns:p14="http://schemas.microsoft.com/office/powerpoint/2010/main" val="2708998061"/>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81344967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7</a:t>
            </a:fld>
            <a:endParaRPr lang="en-US"/>
          </a:p>
        </p:txBody>
      </p:sp>
    </p:spTree>
    <p:extLst>
      <p:ext uri="{BB962C8B-B14F-4D97-AF65-F5344CB8AC3E}">
        <p14:creationId xmlns:p14="http://schemas.microsoft.com/office/powerpoint/2010/main" val="1905862319"/>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479215397"/>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8</a:t>
            </a:fld>
            <a:endParaRPr lang="en-US"/>
          </a:p>
        </p:txBody>
      </p:sp>
    </p:spTree>
    <p:extLst>
      <p:ext uri="{BB962C8B-B14F-4D97-AF65-F5344CB8AC3E}">
        <p14:creationId xmlns:p14="http://schemas.microsoft.com/office/powerpoint/2010/main" val="846401315"/>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96572550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9</a:t>
            </a:fld>
            <a:endParaRPr lang="en-US"/>
          </a:p>
        </p:txBody>
      </p:sp>
    </p:spTree>
    <p:extLst>
      <p:ext uri="{BB962C8B-B14F-4D97-AF65-F5344CB8AC3E}">
        <p14:creationId xmlns:p14="http://schemas.microsoft.com/office/powerpoint/2010/main" val="165952122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Intermarche Su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896295631"/>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25017451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0</a:t>
            </a:fld>
            <a:endParaRPr lang="en-US"/>
          </a:p>
        </p:txBody>
      </p:sp>
    </p:spTree>
    <p:extLst>
      <p:ext uri="{BB962C8B-B14F-4D97-AF65-F5344CB8AC3E}">
        <p14:creationId xmlns:p14="http://schemas.microsoft.com/office/powerpoint/2010/main" val="3169859434"/>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Kiri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9895474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1</a:t>
            </a:fld>
            <a:endParaRPr lang="en-US"/>
          </a:p>
        </p:txBody>
      </p:sp>
    </p:spTree>
    <p:extLst>
      <p:ext uri="{BB962C8B-B14F-4D97-AF65-F5344CB8AC3E}">
        <p14:creationId xmlns:p14="http://schemas.microsoft.com/office/powerpoint/2010/main" val="106871892"/>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Frais A Tartiner | Boursin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04620682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2</a:t>
            </a:fld>
            <a:endParaRPr lang="en-US"/>
          </a:p>
        </p:txBody>
      </p:sp>
    </p:spTree>
    <p:extLst>
      <p:ext uri="{BB962C8B-B14F-4D97-AF65-F5344CB8AC3E}">
        <p14:creationId xmlns:p14="http://schemas.microsoft.com/office/powerpoint/2010/main" val="3274942551"/>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Carrefou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59409731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3</a:t>
            </a:fld>
            <a:endParaRPr lang="en-US"/>
          </a:p>
        </p:txBody>
      </p:sp>
    </p:spTree>
    <p:extLst>
      <p:ext uri="{BB962C8B-B14F-4D97-AF65-F5344CB8AC3E}">
        <p14:creationId xmlns:p14="http://schemas.microsoft.com/office/powerpoint/2010/main" val="3357943398"/>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Intermarch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095032"/>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4</a:t>
            </a:fld>
            <a:endParaRPr lang="en-US"/>
          </a:p>
        </p:txBody>
      </p:sp>
    </p:spTree>
    <p:extLst>
      <p:ext uri="{BB962C8B-B14F-4D97-AF65-F5344CB8AC3E}">
        <p14:creationId xmlns:p14="http://schemas.microsoft.com/office/powerpoint/2010/main" val="4264781295"/>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Carrefour Hyper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641858105"/>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5</a:t>
            </a:fld>
            <a:endParaRPr lang="en-US"/>
          </a:p>
        </p:txBody>
      </p:sp>
    </p:spTree>
    <p:extLst>
      <p:ext uri="{BB962C8B-B14F-4D97-AF65-F5344CB8AC3E}">
        <p14:creationId xmlns:p14="http://schemas.microsoft.com/office/powerpoint/2010/main" val="1534183865"/>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Carrefour Supermarket + Driv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0762890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6</a:t>
            </a:fld>
            <a:endParaRPr lang="en-US"/>
          </a:p>
        </p:txBody>
      </p:sp>
    </p:spTree>
    <p:extLst>
      <p:ext uri="{BB962C8B-B14F-4D97-AF65-F5344CB8AC3E}">
        <p14:creationId xmlns:p14="http://schemas.microsoft.com/office/powerpoint/2010/main" val="1145838377"/>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Carrefour Proximite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3705428618"/>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7</a:t>
            </a:fld>
            <a:endParaRPr lang="en-US"/>
          </a:p>
        </p:txBody>
      </p:sp>
    </p:spTree>
    <p:extLst>
      <p:ext uri="{BB962C8B-B14F-4D97-AF65-F5344CB8AC3E}">
        <p14:creationId xmlns:p14="http://schemas.microsoft.com/office/powerpoint/2010/main" val="2169146635"/>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Intermarche Su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1685178770"/>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8</a:t>
            </a:fld>
            <a:endParaRPr lang="en-US"/>
          </a:p>
        </p:txBody>
      </p:sp>
    </p:spTree>
    <p:extLst>
      <p:ext uri="{BB962C8B-B14F-4D97-AF65-F5344CB8AC3E}">
        <p14:creationId xmlns:p14="http://schemas.microsoft.com/office/powerpoint/2010/main" val="3226880986"/>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Intermarche Hyper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05660169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9</a:t>
            </a:fld>
            <a:endParaRPr lang="en-US"/>
          </a:p>
        </p:txBody>
      </p:sp>
    </p:spTree>
    <p:extLst>
      <p:ext uri="{BB962C8B-B14F-4D97-AF65-F5344CB8AC3E}">
        <p14:creationId xmlns:p14="http://schemas.microsoft.com/office/powerpoint/2010/main" val="45928488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Intermarche Hy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3446115891"/>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sz="1100">
                <a:latin typeface="Nexa (Headings)"/>
              </a:defRPr>
            </a:pPr>
            <a:r>
              <a:t>Product Sales Rate, WD and Net Sales | Salade | Boursin | Intermarche Proxi | P12M</a:t>
            </a:r>
          </a:p>
          <a:p>
            <a:pPr>
              <a:defRPr sz="1100">
                <a:latin typeface="Nexa (Headings)"/>
              </a:defRPr>
            </a:pPr>
            <a:r>
              <a:t>Bubble Size: Net Sales</a:t>
            </a:r>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pPr>
              <a:defRPr sz="1600">
                <a:latin typeface="Nexa (Headings)"/>
              </a:defRPr>
            </a:pPr>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447474336"/>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50</a:t>
            </a:fld>
            <a:endParaRPr lang="en-US"/>
          </a:p>
        </p:txBody>
      </p:sp>
    </p:spTree>
    <p:extLst>
      <p:ext uri="{BB962C8B-B14F-4D97-AF65-F5344CB8AC3E}">
        <p14:creationId xmlns:p14="http://schemas.microsoft.com/office/powerpoint/2010/main" val="3557290796"/>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54%</a:t>
                      </a:r>
                    </a:p>
                  </a:txBody>
                  <a:tcPr marL="3810" marR="3810" marT="3810" marB="0" anchor="ctr">
                    <a:noFill/>
                  </a:tcPr>
                </a:tc>
                <a:tc>
                  <a:txBody>
                    <a:bodyPr/>
                    <a:lstStyle/>
                    <a:p>
                      <a:pPr algn="ctr">
                        <a:defRPr sz="800">
                          <a:latin typeface="Nexa Book"/>
                        </a:defRPr>
                      </a:pPr>
                      <a:r>
                        <a:t>72%</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6</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71</a:t>
                      </a:r>
                    </a:p>
                  </a:txBody>
                  <a:tcPr marL="3810" marR="3810" marT="3810" marB="0" anchor="ctr">
                    <a:noFill/>
                  </a:tcPr>
                </a:tc>
                <a:tc>
                  <a:txBody>
                    <a:bodyPr/>
                    <a:lstStyle/>
                    <a:p>
                      <a:pPr algn="ctr">
                        <a:defRPr sz="800">
                          <a:latin typeface="Nexa Book"/>
                        </a:defRPr>
                      </a:pPr>
                      <a:r>
                        <a:t>44</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3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1</a:t>
            </a:fld>
            <a:endParaRPr lang="en-US"/>
          </a:p>
        </p:txBody>
      </p:sp>
    </p:spTree>
    <p:extLst>
      <p:ext uri="{BB962C8B-B14F-4D97-AF65-F5344CB8AC3E}">
        <p14:creationId xmlns:p14="http://schemas.microsoft.com/office/powerpoint/2010/main" val="1678261988"/>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54%</a:t>
                      </a:r>
                    </a:p>
                  </a:txBody>
                  <a:tcPr marL="3810" marR="3810" marT="3810" marB="0" anchor="ctr">
                    <a:noFill/>
                  </a:tcPr>
                </a:tc>
                <a:tc>
                  <a:txBody>
                    <a:bodyPr/>
                    <a:lstStyle/>
                    <a:p>
                      <a:pPr algn="ctr">
                        <a:defRPr sz="800">
                          <a:latin typeface="Nexa Book"/>
                        </a:defRPr>
                      </a:pPr>
                      <a:r>
                        <a:t>69%</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181</a:t>
                      </a:r>
                    </a:p>
                  </a:txBody>
                  <a:tcPr marL="3810" marR="3810" marT="3810" marB="0" anchor="ctr">
                    <a:noFill/>
                  </a:tcPr>
                </a:tc>
                <a:tc>
                  <a:txBody>
                    <a:bodyPr/>
                    <a:lstStyle/>
                    <a:p>
                      <a:pPr algn="ctr">
                        <a:defRPr sz="800">
                          <a:latin typeface="Nexa Book"/>
                        </a:defRPr>
                      </a:pPr>
                      <a:r>
                        <a:t>28</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2</a:t>
            </a:fld>
            <a:endParaRPr lang="en-US"/>
          </a:p>
        </p:txBody>
      </p:sp>
    </p:spTree>
    <p:extLst>
      <p:ext uri="{BB962C8B-B14F-4D97-AF65-F5344CB8AC3E}">
        <p14:creationId xmlns:p14="http://schemas.microsoft.com/office/powerpoint/2010/main" val="1027398008"/>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4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55%</a:t>
                      </a:r>
                    </a:p>
                  </a:txBody>
                  <a:tcPr marL="3810" marR="3810" marT="3810" marB="0" anchor="ctr">
                    <a:noFill/>
                  </a:tcPr>
                </a:tc>
                <a:tc>
                  <a:txBody>
                    <a:bodyPr/>
                    <a:lstStyle/>
                    <a:p>
                      <a:pPr algn="ctr">
                        <a:defRPr sz="800">
                          <a:latin typeface="Nexa Book"/>
                        </a:defRPr>
                      </a:pPr>
                      <a:r>
                        <a:t>74%</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7</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22</a:t>
                      </a:r>
                    </a:p>
                  </a:txBody>
                  <a:tcPr marL="3810" marR="3810" marT="3810" marB="0" anchor="ctr">
                    <a:noFill/>
                  </a:tcPr>
                </a:tc>
                <a:tc>
                  <a:txBody>
                    <a:bodyPr/>
                    <a:lstStyle/>
                    <a:p>
                      <a:pPr algn="ctr">
                        <a:defRPr sz="800">
                          <a:latin typeface="Nexa Book"/>
                        </a:defRPr>
                      </a:pPr>
                      <a:r>
                        <a:t>49</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4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3</a:t>
            </a:fld>
            <a:endParaRPr lang="en-US"/>
          </a:p>
        </p:txBody>
      </p:sp>
    </p:spTree>
    <p:extLst>
      <p:ext uri="{BB962C8B-B14F-4D97-AF65-F5344CB8AC3E}">
        <p14:creationId xmlns:p14="http://schemas.microsoft.com/office/powerpoint/2010/main" val="3979227537"/>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59%</a:t>
                      </a:r>
                    </a:p>
                  </a:txBody>
                  <a:tcPr marL="3810" marR="3810" marT="3810" marB="0" anchor="ctr">
                    <a:noFill/>
                  </a:tcPr>
                </a:tc>
                <a:tc>
                  <a:txBody>
                    <a:bodyPr/>
                    <a:lstStyle/>
                    <a:p>
                      <a:pPr algn="ctr">
                        <a:defRPr sz="800">
                          <a:latin typeface="Nexa Book"/>
                        </a:defRPr>
                      </a:pPr>
                      <a:r>
                        <a:t>60%</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7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4</a:t>
            </a:fld>
            <a:endParaRPr lang="en-US"/>
          </a:p>
        </p:txBody>
      </p:sp>
    </p:spTree>
    <p:extLst>
      <p:ext uri="{BB962C8B-B14F-4D97-AF65-F5344CB8AC3E}">
        <p14:creationId xmlns:p14="http://schemas.microsoft.com/office/powerpoint/2010/main" val="1639886302"/>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9</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51%</a:t>
                      </a:r>
                    </a:p>
                  </a:txBody>
                  <a:tcPr marL="3810" marR="3810" marT="3810" marB="0" anchor="ctr">
                    <a:noFill/>
                  </a:tcPr>
                </a:tc>
                <a:tc>
                  <a:txBody>
                    <a:bodyPr/>
                    <a:lstStyle/>
                    <a:p>
                      <a:pPr algn="ctr">
                        <a:defRPr sz="800">
                          <a:latin typeface="Nexa Book"/>
                        </a:defRPr>
                      </a:pPr>
                      <a:r>
                        <a:t>72%</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6</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26</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5</a:t>
            </a:fld>
            <a:endParaRPr lang="en-US"/>
          </a:p>
        </p:txBody>
      </p:sp>
    </p:spTree>
    <p:extLst>
      <p:ext uri="{BB962C8B-B14F-4D97-AF65-F5344CB8AC3E}">
        <p14:creationId xmlns:p14="http://schemas.microsoft.com/office/powerpoint/2010/main" val="2282038502"/>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28</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45</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48%</a:t>
                      </a:r>
                    </a:p>
                  </a:txBody>
                  <a:tcPr marL="3810" marR="3810" marT="3810" marB="0" anchor="ctr">
                    <a:noFill/>
                  </a:tcPr>
                </a:tc>
                <a:tc>
                  <a:txBody>
                    <a:bodyPr/>
                    <a:lstStyle/>
                    <a:p>
                      <a:pPr algn="ctr">
                        <a:defRPr sz="800">
                          <a:latin typeface="Nexa Book"/>
                        </a:defRPr>
                      </a:pPr>
                      <a:r>
                        <a:t>73%</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1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555</a:t>
                      </a:r>
                    </a:p>
                  </a:txBody>
                  <a:tcPr marL="3810" marR="3810" marT="3810" marB="0" anchor="ctr">
                    <a:noFill/>
                  </a:tcPr>
                </a:tc>
                <a:tc>
                  <a:txBody>
                    <a:bodyPr/>
                    <a:lstStyle/>
                    <a:p>
                      <a:pPr algn="ctr">
                        <a:defRPr sz="800">
                          <a:latin typeface="Nexa Book"/>
                        </a:defRPr>
                      </a:pPr>
                      <a:r>
                        <a:t>55</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78</a:t>
                      </a:r>
                    </a:p>
                  </a:txBody>
                  <a:tcPr marL="3810" marR="3810" marT="3810" marB="0" anchor="ctr">
                    <a:noFill/>
                  </a:tcPr>
                </a:tc>
                <a:tc>
                  <a:txBody>
                    <a:bodyPr/>
                    <a:lstStyle/>
                    <a:p>
                      <a:pPr algn="ctr">
                        <a:defRPr sz="800">
                          <a:latin typeface="Nexa Book"/>
                        </a:defRPr>
                      </a:pPr>
                      <a:r>
                        <a:t>23</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6</a:t>
            </a:fld>
            <a:endParaRPr lang="en-US"/>
          </a:p>
        </p:txBody>
      </p:sp>
    </p:spTree>
    <p:extLst>
      <p:ext uri="{BB962C8B-B14F-4D97-AF65-F5344CB8AC3E}">
        <p14:creationId xmlns:p14="http://schemas.microsoft.com/office/powerpoint/2010/main" val="2408912853"/>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1</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54%</a:t>
                      </a:r>
                    </a:p>
                  </a:txBody>
                  <a:tcPr marL="3810" marR="3810" marT="3810" marB="0" anchor="ctr">
                    <a:noFill/>
                  </a:tcPr>
                </a:tc>
                <a:tc>
                  <a:txBody>
                    <a:bodyPr/>
                    <a:lstStyle/>
                    <a:p>
                      <a:pPr algn="ctr">
                        <a:defRPr sz="800">
                          <a:latin typeface="Nexa Book"/>
                        </a:defRPr>
                      </a:pPr>
                      <a:r>
                        <a:t>72%</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5</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68</a:t>
                      </a:r>
                    </a:p>
                  </a:txBody>
                  <a:tcPr marL="3810" marR="3810" marT="3810" marB="0" anchor="ctr">
                    <a:noFill/>
                  </a:tcPr>
                </a:tc>
                <a:tc>
                  <a:txBody>
                    <a:bodyPr/>
                    <a:lstStyle/>
                    <a:p>
                      <a:pPr algn="ctr">
                        <a:defRPr sz="800">
                          <a:latin typeface="Nexa Book"/>
                        </a:defRPr>
                      </a:pPr>
                      <a:r>
                        <a:t>42</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3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7</a:t>
            </a:fld>
            <a:endParaRPr lang="en-US"/>
          </a:p>
        </p:txBody>
      </p:sp>
    </p:spTree>
    <p:extLst>
      <p:ext uri="{BB962C8B-B14F-4D97-AF65-F5344CB8AC3E}">
        <p14:creationId xmlns:p14="http://schemas.microsoft.com/office/powerpoint/2010/main" val="2370969420"/>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el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50%</a:t>
                      </a:r>
                    </a:p>
                  </a:txBody>
                  <a:tcPr marL="3810" marR="3810" marT="3810" marB="0" anchor="ctr">
                    <a:noFill/>
                  </a:tcPr>
                </a:tc>
                <a:tc>
                  <a:txBody>
                    <a:bodyPr/>
                    <a:lstStyle/>
                    <a:p>
                      <a:pPr algn="ctr">
                        <a:defRPr sz="800">
                          <a:latin typeface="Nexa Book"/>
                        </a:defRPr>
                      </a:pPr>
                      <a:r>
                        <a:t>71%</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7</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90</a:t>
                      </a:r>
                    </a:p>
                  </a:txBody>
                  <a:tcPr marL="3810" marR="3810" marT="3810" marB="0" anchor="ctr">
                    <a:noFill/>
                  </a:tcPr>
                </a:tc>
                <a:tc>
                  <a:txBody>
                    <a:bodyPr/>
                    <a:lstStyle/>
                    <a:p>
                      <a:pPr algn="ctr">
                        <a:defRPr sz="800">
                          <a:latin typeface="Nexa Book"/>
                        </a:defRPr>
                      </a:pPr>
                      <a:r>
                        <a:t>40</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47</a:t>
                      </a:r>
                    </a:p>
                  </a:txBody>
                  <a:tcPr marL="3810" marR="3810" marT="3810" marB="0" anchor="ctr">
                    <a:noFill/>
                  </a:tcPr>
                </a:tc>
                <a:tc>
                  <a:txBody>
                    <a:bodyPr/>
                    <a:lstStyle/>
                    <a:p>
                      <a:pPr algn="ctr">
                        <a:defRPr sz="800">
                          <a:latin typeface="Nexa Book"/>
                        </a:defRPr>
                      </a:pPr>
                      <a:r>
                        <a:t>7</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8</a:t>
            </a:fld>
            <a:endParaRPr lang="en-US"/>
          </a:p>
        </p:txBody>
      </p:sp>
    </p:spTree>
    <p:extLst>
      <p:ext uri="{BB962C8B-B14F-4D97-AF65-F5344CB8AC3E}">
        <p14:creationId xmlns:p14="http://schemas.microsoft.com/office/powerpoint/2010/main" val="2759740021"/>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2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4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555</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8</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9</a:t>
            </a:fld>
            <a:endParaRPr lang="en-US"/>
          </a:p>
        </p:txBody>
      </p:sp>
    </p:spTree>
    <p:extLst>
      <p:ext uri="{BB962C8B-B14F-4D97-AF65-F5344CB8AC3E}">
        <p14:creationId xmlns:p14="http://schemas.microsoft.com/office/powerpoint/2010/main" val="213406630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alade | Intermarche Prox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1127583024"/>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28</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4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555</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16</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0</a:t>
            </a:fld>
            <a:endParaRPr lang="en-US"/>
          </a:p>
        </p:txBody>
      </p:sp>
    </p:spTree>
    <p:extLst>
      <p:ext uri="{BB962C8B-B14F-4D97-AF65-F5344CB8AC3E}">
        <p14:creationId xmlns:p14="http://schemas.microsoft.com/office/powerpoint/2010/main" val="2021479912"/>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90</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1</a:t>
            </a:fld>
            <a:endParaRPr lang="en-US"/>
          </a:p>
        </p:txBody>
      </p:sp>
    </p:spTree>
    <p:extLst>
      <p:ext uri="{BB962C8B-B14F-4D97-AF65-F5344CB8AC3E}">
        <p14:creationId xmlns:p14="http://schemas.microsoft.com/office/powerpoint/2010/main" val="4232800031"/>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68</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2</a:t>
            </a:fld>
            <a:endParaRPr lang="en-US"/>
          </a:p>
        </p:txBody>
      </p:sp>
    </p:spTree>
    <p:extLst>
      <p:ext uri="{BB962C8B-B14F-4D97-AF65-F5344CB8AC3E}">
        <p14:creationId xmlns:p14="http://schemas.microsoft.com/office/powerpoint/2010/main" val="1405110009"/>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68</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3</a:t>
            </a:fld>
            <a:endParaRPr lang="en-US"/>
          </a:p>
        </p:txBody>
      </p:sp>
    </p:spTree>
    <p:extLst>
      <p:ext uri="{BB962C8B-B14F-4D97-AF65-F5344CB8AC3E}">
        <p14:creationId xmlns:p14="http://schemas.microsoft.com/office/powerpoint/2010/main" val="3417263943"/>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68</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4</a:t>
            </a:fld>
            <a:endParaRPr lang="en-US"/>
          </a:p>
        </p:txBody>
      </p:sp>
    </p:spTree>
    <p:extLst>
      <p:ext uri="{BB962C8B-B14F-4D97-AF65-F5344CB8AC3E}">
        <p14:creationId xmlns:p14="http://schemas.microsoft.com/office/powerpoint/2010/main" val="1555351647"/>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90</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8</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5</a:t>
            </a:fld>
            <a:endParaRPr lang="en-US"/>
          </a:p>
        </p:txBody>
      </p:sp>
    </p:spTree>
    <p:extLst>
      <p:ext uri="{BB962C8B-B14F-4D97-AF65-F5344CB8AC3E}">
        <p14:creationId xmlns:p14="http://schemas.microsoft.com/office/powerpoint/2010/main" val="2530077961"/>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90</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6</a:t>
            </a:fld>
            <a:endParaRPr lang="en-US"/>
          </a:p>
        </p:txBody>
      </p:sp>
    </p:spTree>
    <p:extLst>
      <p:ext uri="{BB962C8B-B14F-4D97-AF65-F5344CB8AC3E}">
        <p14:creationId xmlns:p14="http://schemas.microsoft.com/office/powerpoint/2010/main" val="3006009298"/>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26</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7</a:t>
            </a:fld>
            <a:endParaRPr lang="en-US"/>
          </a:p>
        </p:txBody>
      </p:sp>
    </p:spTree>
    <p:extLst>
      <p:ext uri="{BB962C8B-B14F-4D97-AF65-F5344CB8AC3E}">
        <p14:creationId xmlns:p14="http://schemas.microsoft.com/office/powerpoint/2010/main" val="927179690"/>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2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45</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555</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8</a:t>
            </a:fld>
            <a:endParaRPr lang="en-US"/>
          </a:p>
        </p:txBody>
      </p:sp>
    </p:spTree>
    <p:extLst>
      <p:ext uri="{BB962C8B-B14F-4D97-AF65-F5344CB8AC3E}">
        <p14:creationId xmlns:p14="http://schemas.microsoft.com/office/powerpoint/2010/main" val="3779939473"/>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79</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9</a:t>
            </a:fld>
            <a:endParaRPr lang="en-US"/>
          </a:p>
        </p:txBody>
      </p:sp>
    </p:spTree>
    <p:extLst>
      <p:ext uri="{BB962C8B-B14F-4D97-AF65-F5344CB8AC3E}">
        <p14:creationId xmlns:p14="http://schemas.microsoft.com/office/powerpoint/2010/main" val="304960442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Carrefou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1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7</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1648927664"/>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26</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0</a:t>
            </a:fld>
            <a:endParaRPr lang="en-US"/>
          </a:p>
        </p:txBody>
      </p:sp>
    </p:spTree>
    <p:extLst>
      <p:ext uri="{BB962C8B-B14F-4D97-AF65-F5344CB8AC3E}">
        <p14:creationId xmlns:p14="http://schemas.microsoft.com/office/powerpoint/2010/main" val="2372692161"/>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7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1</a:t>
            </a:fld>
            <a:endParaRPr lang="en-US"/>
          </a:p>
        </p:txBody>
      </p:sp>
    </p:spTree>
    <p:extLst>
      <p:ext uri="{BB962C8B-B14F-4D97-AF65-F5344CB8AC3E}">
        <p14:creationId xmlns:p14="http://schemas.microsoft.com/office/powerpoint/2010/main" val="2321843782"/>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29</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26</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2</a:t>
            </a:fld>
            <a:endParaRPr lang="en-US"/>
          </a:p>
        </p:txBody>
      </p:sp>
    </p:spTree>
    <p:extLst>
      <p:ext uri="{BB962C8B-B14F-4D97-AF65-F5344CB8AC3E}">
        <p14:creationId xmlns:p14="http://schemas.microsoft.com/office/powerpoint/2010/main" val="1673910537"/>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71</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3</a:t>
            </a:fld>
            <a:endParaRPr lang="en-US"/>
          </a:p>
        </p:txBody>
      </p:sp>
    </p:spTree>
    <p:extLst>
      <p:ext uri="{BB962C8B-B14F-4D97-AF65-F5344CB8AC3E}">
        <p14:creationId xmlns:p14="http://schemas.microsoft.com/office/powerpoint/2010/main" val="2419559085"/>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79</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4</a:t>
            </a:fld>
            <a:endParaRPr lang="en-US"/>
          </a:p>
        </p:txBody>
      </p:sp>
    </p:spTree>
    <p:extLst>
      <p:ext uri="{BB962C8B-B14F-4D97-AF65-F5344CB8AC3E}">
        <p14:creationId xmlns:p14="http://schemas.microsoft.com/office/powerpoint/2010/main" val="760584610"/>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71</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5</a:t>
            </a:fld>
            <a:endParaRPr lang="en-US"/>
          </a:p>
        </p:txBody>
      </p:sp>
    </p:spTree>
    <p:extLst>
      <p:ext uri="{BB962C8B-B14F-4D97-AF65-F5344CB8AC3E}">
        <p14:creationId xmlns:p14="http://schemas.microsoft.com/office/powerpoint/2010/main" val="361717764"/>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271</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6</a:t>
            </a:fld>
            <a:endParaRPr lang="en-US"/>
          </a:p>
        </p:txBody>
      </p:sp>
    </p:spTree>
    <p:extLst>
      <p:ext uri="{BB962C8B-B14F-4D97-AF65-F5344CB8AC3E}">
        <p14:creationId xmlns:p14="http://schemas.microsoft.com/office/powerpoint/2010/main" val="1257415016"/>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4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22</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7</a:t>
            </a:fld>
            <a:endParaRPr lang="en-US"/>
          </a:p>
        </p:txBody>
      </p:sp>
    </p:spTree>
    <p:extLst>
      <p:ext uri="{BB962C8B-B14F-4D97-AF65-F5344CB8AC3E}">
        <p14:creationId xmlns:p14="http://schemas.microsoft.com/office/powerpoint/2010/main" val="983542283"/>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4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22</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8</a:t>
            </a:fld>
            <a:endParaRPr lang="en-US"/>
          </a:p>
        </p:txBody>
      </p:sp>
    </p:spTree>
    <p:extLst>
      <p:ext uri="{BB962C8B-B14F-4D97-AF65-F5344CB8AC3E}">
        <p14:creationId xmlns:p14="http://schemas.microsoft.com/office/powerpoint/2010/main" val="3036993246"/>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4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322</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5</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9</a:t>
            </a:fld>
            <a:endParaRPr lang="en-US"/>
          </a:p>
        </p:txBody>
      </p:sp>
    </p:spTree>
    <p:extLst>
      <p:ext uri="{BB962C8B-B14F-4D97-AF65-F5344CB8AC3E}">
        <p14:creationId xmlns:p14="http://schemas.microsoft.com/office/powerpoint/2010/main" val="109771549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Intermarch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6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9</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9</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3418124499"/>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La Vache Qui Rit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18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0</a:t>
            </a:fld>
            <a:endParaRPr lang="en-US"/>
          </a:p>
        </p:txBody>
      </p:sp>
    </p:spTree>
    <p:extLst>
      <p:ext uri="{BB962C8B-B14F-4D97-AF65-F5344CB8AC3E}">
        <p14:creationId xmlns:p14="http://schemas.microsoft.com/office/powerpoint/2010/main" val="3458039475"/>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Boursin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181</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1</a:t>
            </a:fld>
            <a:endParaRPr lang="en-US"/>
          </a:p>
        </p:txBody>
      </p:sp>
    </p:spTree>
    <p:extLst>
      <p:ext uri="{BB962C8B-B14F-4D97-AF65-F5344CB8AC3E}">
        <p14:creationId xmlns:p14="http://schemas.microsoft.com/office/powerpoint/2010/main" val="3302702298"/>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fair share | Total Fromage | Kiri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ctor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Ingredient A Chaud</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Aperitif</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oft Cheese</a:t>
                      </a:r>
                    </a:p>
                  </a:txBody>
                  <a:tcPr marL="3810" marR="3810" marT="3810" marB="0" anchor="ctr">
                    <a:noFill/>
                  </a:tcPr>
                </a:tc>
                <a:tc>
                  <a:txBody>
                    <a:bodyPr/>
                    <a:lstStyle/>
                    <a:p>
                      <a:pPr algn="ctr">
                        <a:defRPr sz="800">
                          <a:latin typeface="Nexa Book"/>
                        </a:defRPr>
                      </a:pPr>
                      <a:r>
                        <a:t>181</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2</a:t>
            </a:fld>
            <a:endParaRPr lang="en-US"/>
          </a:p>
        </p:txBody>
      </p:sp>
    </p:spTree>
    <p:extLst>
      <p:ext uri="{BB962C8B-B14F-4D97-AF65-F5344CB8AC3E}">
        <p14:creationId xmlns:p14="http://schemas.microsoft.com/office/powerpoint/2010/main" val="622207740"/>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4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1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63</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9</a:t>
                      </a:r>
                    </a:p>
                  </a:txBody>
                  <a:tcPr marL="3810" marR="3810" marT="3810" marB="0" anchor="ctr">
                    <a:noFill/>
                  </a:tcPr>
                </a:tc>
                <a:tc>
                  <a:txBody>
                    <a:bodyPr/>
                    <a:lstStyle/>
                    <a:p>
                      <a:pPr algn="ctr">
                        <a:defRPr sz="800">
                          <a:latin typeface="Nexa Book"/>
                        </a:defRPr>
                      </a:pPr>
                      <a:r>
                        <a:t>30</a:t>
                      </a:r>
                    </a:p>
                  </a:txBody>
                  <a:tcPr marL="3810" marR="3810" marT="3810" marB="0" anchor="ctr">
                    <a:noFill/>
                  </a:tcPr>
                </a:tc>
                <a:tc>
                  <a:txBody>
                    <a:bodyPr/>
                    <a:lstStyle/>
                    <a:p>
                      <a:pPr algn="ctr">
                        <a:defRPr sz="800">
                          <a:latin typeface="Nexa Book"/>
                        </a:defRPr>
                      </a:pPr>
                      <a:r>
                        <a:t>77%</a:t>
                      </a:r>
                    </a:p>
                  </a:txBody>
                  <a:tcPr marL="3810" marR="3810" marT="3810" marB="0" anchor="ctr">
                    <a:noFill/>
                  </a:tcPr>
                </a:tc>
                <a:tc>
                  <a:txBody>
                    <a:bodyPr/>
                    <a:lstStyle/>
                    <a:p>
                      <a:pPr algn="ctr">
                        <a:defRPr sz="800">
                          <a:latin typeface="Nexa Book"/>
                        </a:defRPr>
                      </a:pPr>
                      <a:r>
                        <a:t>78%</a:t>
                      </a:r>
                    </a:p>
                  </a:txBody>
                  <a:tcPr marL="3810" marR="3810" marT="3810" marB="0" anchor="ctr">
                    <a:noFill/>
                  </a:tcPr>
                </a:tc>
                <a:tc>
                  <a:txBody>
                    <a:bodyPr/>
                    <a:lstStyle/>
                    <a:p>
                      <a:pPr algn="ctr">
                        <a:defRPr sz="800">
                          <a:latin typeface="Nexa Book"/>
                        </a:defRPr>
                      </a:pPr>
                      <a:r>
                        <a:t>3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7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3</a:t>
            </a:fld>
            <a:endParaRPr lang="en-US"/>
          </a:p>
        </p:txBody>
      </p:sp>
    </p:spTree>
    <p:extLst>
      <p:ext uri="{BB962C8B-B14F-4D97-AF65-F5344CB8AC3E}">
        <p14:creationId xmlns:p14="http://schemas.microsoft.com/office/powerpoint/2010/main" val="2579802306"/>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8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7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68%</a:t>
                      </a:r>
                    </a:p>
                  </a:txBody>
                  <a:tcPr marL="3810" marR="3810" marT="3810" marB="0" anchor="ctr">
                    <a:noFill/>
                  </a:tcPr>
                </a:tc>
                <a:tc>
                  <a:txBody>
                    <a:bodyPr/>
                    <a:lstStyle/>
                    <a:p>
                      <a:pPr algn="ctr">
                        <a:defRPr sz="800">
                          <a:latin typeface="Nexa Book"/>
                        </a:defRPr>
                      </a:pPr>
                      <a:r>
                        <a:t>81%</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4</a:t>
            </a:fld>
            <a:endParaRPr lang="en-US"/>
          </a:p>
        </p:txBody>
      </p:sp>
    </p:spTree>
    <p:extLst>
      <p:ext uri="{BB962C8B-B14F-4D97-AF65-F5344CB8AC3E}">
        <p14:creationId xmlns:p14="http://schemas.microsoft.com/office/powerpoint/2010/main" val="3755242208"/>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5</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65%</a:t>
                      </a:r>
                    </a:p>
                  </a:txBody>
                  <a:tcPr marL="3810" marR="3810" marT="3810" marB="0" anchor="ctr">
                    <a:noFill/>
                  </a:tcPr>
                </a:tc>
                <a:tc>
                  <a:txBody>
                    <a:bodyPr/>
                    <a:lstStyle/>
                    <a:p>
                      <a:pPr algn="ctr">
                        <a:defRPr sz="800">
                          <a:latin typeface="Nexa Book"/>
                        </a:defRPr>
                      </a:pPr>
                      <a:r>
                        <a:t>75%</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9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5</a:t>
            </a:fld>
            <a:endParaRPr lang="en-US"/>
          </a:p>
        </p:txBody>
      </p:sp>
    </p:spTree>
    <p:extLst>
      <p:ext uri="{BB962C8B-B14F-4D97-AF65-F5344CB8AC3E}">
        <p14:creationId xmlns:p14="http://schemas.microsoft.com/office/powerpoint/2010/main" val="1688799848"/>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9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37</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71%</a:t>
                      </a:r>
                    </a:p>
                  </a:txBody>
                  <a:tcPr marL="3810" marR="3810" marT="3810" marB="0" anchor="ctr">
                    <a:noFill/>
                  </a:tcPr>
                </a:tc>
                <a:tc>
                  <a:txBody>
                    <a:bodyPr/>
                    <a:lstStyle/>
                    <a:p>
                      <a:pPr algn="ctr">
                        <a:defRPr sz="800">
                          <a:latin typeface="Nexa Book"/>
                        </a:defRPr>
                      </a:pPr>
                      <a:r>
                        <a:t>72%</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6</a:t>
            </a:fld>
            <a:endParaRPr lang="en-US"/>
          </a:p>
        </p:txBody>
      </p:sp>
    </p:spTree>
    <p:extLst>
      <p:ext uri="{BB962C8B-B14F-4D97-AF65-F5344CB8AC3E}">
        <p14:creationId xmlns:p14="http://schemas.microsoft.com/office/powerpoint/2010/main" val="2814302413"/>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9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1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90</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49</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66%</a:t>
                      </a:r>
                    </a:p>
                  </a:txBody>
                  <a:tcPr marL="3810" marR="3810" marT="3810" marB="0" anchor="ctr">
                    <a:noFill/>
                  </a:tcPr>
                </a:tc>
                <a:tc>
                  <a:txBody>
                    <a:bodyPr/>
                    <a:lstStyle/>
                    <a:p>
                      <a:pPr algn="ctr">
                        <a:defRPr sz="800">
                          <a:latin typeface="Nexa Book"/>
                        </a:defRPr>
                      </a:pPr>
                      <a:r>
                        <a:t>79%</a:t>
                      </a:r>
                    </a:p>
                  </a:txBody>
                  <a:tcPr marL="3810" marR="3810" marT="3810" marB="0" anchor="ctr">
                    <a:noFill/>
                  </a:tcPr>
                </a:tc>
                <a:tc>
                  <a:txBody>
                    <a:bodyPr/>
                    <a:lstStyle/>
                    <a:p>
                      <a:pPr algn="ctr">
                        <a:defRPr sz="800">
                          <a:latin typeface="Nexa Book"/>
                        </a:defRPr>
                      </a:pPr>
                      <a:r>
                        <a:t>38</a:t>
                      </a:r>
                    </a:p>
                  </a:txBody>
                  <a:tcPr marL="3810" marR="3810" marT="3810" marB="0" anchor="ctr">
                    <a:noFill/>
                  </a:tcPr>
                </a:tc>
                <a:tc>
                  <a:txBody>
                    <a:bodyPr/>
                    <a:lstStyle/>
                    <a:p>
                      <a:pPr algn="ctr">
                        <a:defRPr sz="800">
                          <a:latin typeface="Nexa Book"/>
                        </a:defRPr>
                      </a:pPr>
                      <a:r>
                        <a:t>6</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57</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7</a:t>
            </a:fld>
            <a:endParaRPr lang="en-US"/>
          </a:p>
        </p:txBody>
      </p:sp>
    </p:spTree>
    <p:extLst>
      <p:ext uri="{BB962C8B-B14F-4D97-AF65-F5344CB8AC3E}">
        <p14:creationId xmlns:p14="http://schemas.microsoft.com/office/powerpoint/2010/main" val="202557759"/>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1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3</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4</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77%</a:t>
                      </a:r>
                    </a:p>
                  </a:txBody>
                  <a:tcPr marL="3810" marR="3810" marT="3810" marB="0" anchor="ctr">
                    <a:noFill/>
                  </a:tcPr>
                </a:tc>
                <a:tc>
                  <a:txBody>
                    <a:bodyPr/>
                    <a:lstStyle/>
                    <a:p>
                      <a:pPr algn="ctr">
                        <a:defRPr sz="800">
                          <a:latin typeface="Nexa Book"/>
                        </a:defRPr>
                      </a:pPr>
                      <a:r>
                        <a:t>77%</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6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8</a:t>
            </a:fld>
            <a:endParaRPr lang="en-US"/>
          </a:p>
        </p:txBody>
      </p:sp>
    </p:spTree>
    <p:extLst>
      <p:ext uri="{BB962C8B-B14F-4D97-AF65-F5344CB8AC3E}">
        <p14:creationId xmlns:p14="http://schemas.microsoft.com/office/powerpoint/2010/main" val="545425747"/>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1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2</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76%</a:t>
                      </a:r>
                    </a:p>
                  </a:txBody>
                  <a:tcPr marL="3810" marR="3810" marT="3810" marB="0" anchor="ctr">
                    <a:noFill/>
                  </a:tcPr>
                </a:tc>
                <a:tc>
                  <a:txBody>
                    <a:bodyPr/>
                    <a:lstStyle/>
                    <a:p>
                      <a:pPr algn="ctr">
                        <a:defRPr sz="800">
                          <a:latin typeface="Nexa Book"/>
                        </a:defRPr>
                      </a:pPr>
                      <a:r>
                        <a:t>76%</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6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9</a:t>
            </a:fld>
            <a:endParaRPr lang="en-US"/>
          </a:p>
        </p:txBody>
      </p:sp>
    </p:spTree>
    <p:extLst>
      <p:ext uri="{BB962C8B-B14F-4D97-AF65-F5344CB8AC3E}">
        <p14:creationId xmlns:p14="http://schemas.microsoft.com/office/powerpoint/2010/main" val="262520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Carrefour Hyper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6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0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8</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3957585768"/>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el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el</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9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64</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66%</a:t>
                      </a:r>
                    </a:p>
                  </a:txBody>
                  <a:tcPr marL="3810" marR="3810" marT="3810" marB="0" anchor="ctr">
                    <a:noFill/>
                  </a:tcPr>
                </a:tc>
                <a:tc>
                  <a:txBody>
                    <a:bodyPr/>
                    <a:lstStyle/>
                    <a:p>
                      <a:pPr algn="ctr">
                        <a:defRPr sz="800">
                          <a:latin typeface="Nexa Book"/>
                        </a:defRPr>
                      </a:pPr>
                      <a:r>
                        <a:t>78%</a:t>
                      </a:r>
                    </a:p>
                  </a:txBody>
                  <a:tcPr marL="3810" marR="3810" marT="3810" marB="0" anchor="ctr">
                    <a:noFill/>
                  </a:tcPr>
                </a:tc>
                <a:tc>
                  <a:txBody>
                    <a:bodyPr/>
                    <a:lstStyle/>
                    <a:p>
                      <a:pPr algn="ctr">
                        <a:defRPr sz="800">
                          <a:latin typeface="Nexa Book"/>
                        </a:defRPr>
                      </a:pPr>
                      <a:r>
                        <a:t>28</a:t>
                      </a:r>
                    </a:p>
                  </a:txBody>
                  <a:tcPr marL="3810" marR="3810" marT="3810" marB="0" anchor="ctr">
                    <a:noFill/>
                  </a:tcPr>
                </a:tc>
                <a:tc>
                  <a:txBody>
                    <a:bodyPr/>
                    <a:lstStyle/>
                    <a:p>
                      <a:pPr algn="ctr">
                        <a:defRPr sz="800">
                          <a:latin typeface="Nexa Book"/>
                        </a:defRPr>
                      </a:pPr>
                      <a:r>
                        <a:t>4</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09</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0</a:t>
            </a:fld>
            <a:endParaRPr lang="en-US"/>
          </a:p>
        </p:txBody>
      </p:sp>
    </p:spTree>
    <p:extLst>
      <p:ext uri="{BB962C8B-B14F-4D97-AF65-F5344CB8AC3E}">
        <p14:creationId xmlns:p14="http://schemas.microsoft.com/office/powerpoint/2010/main" val="2364147283"/>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90</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4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5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1</a:t>
            </a:fld>
            <a:endParaRPr lang="en-US"/>
          </a:p>
        </p:txBody>
      </p:sp>
    </p:spTree>
    <p:extLst>
      <p:ext uri="{BB962C8B-B14F-4D97-AF65-F5344CB8AC3E}">
        <p14:creationId xmlns:p14="http://schemas.microsoft.com/office/powerpoint/2010/main" val="1130438907"/>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9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49</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16</a:t>
                      </a:r>
                    </a:p>
                  </a:txBody>
                  <a:tcPr marL="3810" marR="3810" marT="3810" marB="0" anchor="ctr">
                    <a:noFill/>
                  </a:tcPr>
                </a:tc>
                <a:tc>
                  <a:txBody>
                    <a:bodyPr/>
                    <a:lstStyle/>
                    <a:p>
                      <a:pPr algn="ctr">
                        <a:defRPr sz="800">
                          <a:latin typeface="Nexa Book"/>
                        </a:defRPr>
                      </a:pPr>
                      <a:r>
                        <a:t>5</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5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2</a:t>
            </a:fld>
            <a:endParaRPr lang="en-US"/>
          </a:p>
        </p:txBody>
      </p:sp>
    </p:spTree>
    <p:extLst>
      <p:ext uri="{BB962C8B-B14F-4D97-AF65-F5344CB8AC3E}">
        <p14:creationId xmlns:p14="http://schemas.microsoft.com/office/powerpoint/2010/main" val="2511574106"/>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6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3</a:t>
            </a:fld>
            <a:endParaRPr lang="en-US"/>
          </a:p>
        </p:txBody>
      </p:sp>
    </p:spTree>
    <p:extLst>
      <p:ext uri="{BB962C8B-B14F-4D97-AF65-F5344CB8AC3E}">
        <p14:creationId xmlns:p14="http://schemas.microsoft.com/office/powerpoint/2010/main" val="1172493895"/>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30%</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6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4</a:t>
            </a:fld>
            <a:endParaRPr lang="en-US"/>
          </a:p>
        </p:txBody>
      </p:sp>
    </p:spTree>
    <p:extLst>
      <p:ext uri="{BB962C8B-B14F-4D97-AF65-F5344CB8AC3E}">
        <p14:creationId xmlns:p14="http://schemas.microsoft.com/office/powerpoint/2010/main" val="256006074"/>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Intermarch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2</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6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5</a:t>
            </a:fld>
            <a:endParaRPr lang="en-US"/>
          </a:p>
        </p:txBody>
      </p:sp>
    </p:spTree>
    <p:extLst>
      <p:ext uri="{BB962C8B-B14F-4D97-AF65-F5344CB8AC3E}">
        <p14:creationId xmlns:p14="http://schemas.microsoft.com/office/powerpoint/2010/main" val="2608357957"/>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6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19%</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0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6</a:t>
            </a:fld>
            <a:endParaRPr lang="en-US"/>
          </a:p>
        </p:txBody>
      </p:sp>
    </p:spTree>
    <p:extLst>
      <p:ext uri="{BB962C8B-B14F-4D97-AF65-F5344CB8AC3E}">
        <p14:creationId xmlns:p14="http://schemas.microsoft.com/office/powerpoint/2010/main" val="636798117"/>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6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0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7</a:t>
            </a:fld>
            <a:endParaRPr lang="en-US"/>
          </a:p>
        </p:txBody>
      </p:sp>
    </p:spTree>
    <p:extLst>
      <p:ext uri="{BB962C8B-B14F-4D97-AF65-F5344CB8AC3E}">
        <p14:creationId xmlns:p14="http://schemas.microsoft.com/office/powerpoint/2010/main" val="1919635524"/>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Carrefou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2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64</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09</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8</a:t>
            </a:fld>
            <a:endParaRPr lang="en-US"/>
          </a:p>
        </p:txBody>
      </p:sp>
    </p:spTree>
    <p:extLst>
      <p:ext uri="{BB962C8B-B14F-4D97-AF65-F5344CB8AC3E}">
        <p14:creationId xmlns:p14="http://schemas.microsoft.com/office/powerpoint/2010/main" val="731662754"/>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Carrefour Hyper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7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90</a:t>
                      </a:r>
                    </a:p>
                  </a:txBody>
                  <a:tcPr marL="3810" marR="3810" marT="3810" marB="0" anchor="ctr">
                    <a:noFill/>
                  </a:tcPr>
                </a:tc>
                <a:tc>
                  <a:txBody>
                    <a:bodyPr/>
                    <a:lstStyle/>
                    <a:p>
                      <a:pPr algn="ctr">
                        <a:defRPr sz="800">
                          <a:latin typeface="Nexa Book"/>
                        </a:defRPr>
                      </a:pPr>
                      <a:r>
                        <a:t>13</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4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57</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9</a:t>
            </a:fld>
            <a:endParaRPr lang="en-US"/>
          </a:p>
        </p:txBody>
      </p:sp>
    </p:spTree>
    <p:extLst>
      <p:ext uri="{BB962C8B-B14F-4D97-AF65-F5344CB8AC3E}">
        <p14:creationId xmlns:p14="http://schemas.microsoft.com/office/powerpoint/2010/main" val="30389192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Intermarche Su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235839289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Carrefour Supermarket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9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9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9</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3297691311"/>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5</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9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0</a:t>
            </a:fld>
            <a:endParaRPr lang="en-US"/>
          </a:p>
        </p:txBody>
      </p:sp>
    </p:spTree>
    <p:extLst>
      <p:ext uri="{BB962C8B-B14F-4D97-AF65-F5344CB8AC3E}">
        <p14:creationId xmlns:p14="http://schemas.microsoft.com/office/powerpoint/2010/main" val="3611217461"/>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5</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30%</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9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1</a:t>
            </a:fld>
            <a:endParaRPr lang="en-US"/>
          </a:p>
        </p:txBody>
      </p:sp>
    </p:spTree>
    <p:extLst>
      <p:ext uri="{BB962C8B-B14F-4D97-AF65-F5344CB8AC3E}">
        <p14:creationId xmlns:p14="http://schemas.microsoft.com/office/powerpoint/2010/main" val="3568298657"/>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Carrefour Supermarket + Driv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7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5</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90</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2</a:t>
            </a:fld>
            <a:endParaRPr lang="en-US"/>
          </a:p>
        </p:txBody>
      </p:sp>
    </p:spTree>
    <p:extLst>
      <p:ext uri="{BB962C8B-B14F-4D97-AF65-F5344CB8AC3E}">
        <p14:creationId xmlns:p14="http://schemas.microsoft.com/office/powerpoint/2010/main" val="76652380"/>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3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3</a:t>
            </a:fld>
            <a:endParaRPr lang="en-US"/>
          </a:p>
        </p:txBody>
      </p:sp>
    </p:spTree>
    <p:extLst>
      <p:ext uri="{BB962C8B-B14F-4D97-AF65-F5344CB8AC3E}">
        <p14:creationId xmlns:p14="http://schemas.microsoft.com/office/powerpoint/2010/main" val="2270552250"/>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4</a:t>
            </a:fld>
            <a:endParaRPr lang="en-US"/>
          </a:p>
        </p:txBody>
      </p:sp>
    </p:spTree>
    <p:extLst>
      <p:ext uri="{BB962C8B-B14F-4D97-AF65-F5344CB8AC3E}">
        <p14:creationId xmlns:p14="http://schemas.microsoft.com/office/powerpoint/2010/main" val="1373447243"/>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Carrefour Proximite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6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1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1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5</a:t>
            </a:fld>
            <a:endParaRPr lang="en-US"/>
          </a:p>
        </p:txBody>
      </p:sp>
    </p:spTree>
    <p:extLst>
      <p:ext uri="{BB962C8B-B14F-4D97-AF65-F5344CB8AC3E}">
        <p14:creationId xmlns:p14="http://schemas.microsoft.com/office/powerpoint/2010/main" val="2552563734"/>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3</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4</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7%</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6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6</a:t>
            </a:fld>
            <a:endParaRPr lang="en-US"/>
          </a:p>
        </p:txBody>
      </p:sp>
    </p:spTree>
    <p:extLst>
      <p:ext uri="{BB962C8B-B14F-4D97-AF65-F5344CB8AC3E}">
        <p14:creationId xmlns:p14="http://schemas.microsoft.com/office/powerpoint/2010/main" val="3331343291"/>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4</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5%</a:t>
                      </a:r>
                    </a:p>
                  </a:txBody>
                  <a:tcPr marL="3810" marR="3810" marT="3810" marB="0" anchor="ctr">
                    <a:noFill/>
                  </a:tcPr>
                </a:tc>
                <a:tc>
                  <a:txBody>
                    <a:bodyPr/>
                    <a:lstStyle/>
                    <a:p>
                      <a:pPr algn="ctr">
                        <a:defRPr sz="800">
                          <a:latin typeface="Nexa Book"/>
                        </a:defRPr>
                      </a:pPr>
                      <a:r>
                        <a:t>30%</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6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7</a:t>
            </a:fld>
            <a:endParaRPr lang="en-US"/>
          </a:p>
        </p:txBody>
      </p:sp>
    </p:spTree>
    <p:extLst>
      <p:ext uri="{BB962C8B-B14F-4D97-AF65-F5344CB8AC3E}">
        <p14:creationId xmlns:p14="http://schemas.microsoft.com/office/powerpoint/2010/main" val="3513810669"/>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Intermarche Su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1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0</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53</a:t>
                      </a:r>
                    </a:p>
                  </a:txBody>
                  <a:tcPr marL="3810" marR="3810" marT="3810" marB="0" anchor="ctr">
                    <a:noFill/>
                  </a:tcPr>
                </a:tc>
                <a:tc>
                  <a:txBody>
                    <a:bodyPr/>
                    <a:lstStyle/>
                    <a:p>
                      <a:pPr algn="ctr">
                        <a:defRPr sz="800">
                          <a:latin typeface="Nexa Book"/>
                        </a:defRPr>
                      </a:pPr>
                      <a:r>
                        <a:t>11</a:t>
                      </a:r>
                    </a:p>
                  </a:txBody>
                  <a:tcPr marL="3810" marR="3810" marT="3810" marB="0" anchor="ctr">
                    <a:noFill/>
                  </a:tcPr>
                </a:tc>
                <a:tc>
                  <a:txBody>
                    <a:bodyPr/>
                    <a:lstStyle/>
                    <a:p>
                      <a:pPr algn="ctr">
                        <a:defRPr sz="800">
                          <a:latin typeface="Nexa Book"/>
                        </a:defRPr>
                      </a:pPr>
                      <a:r>
                        <a:t>20%</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4</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61</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8</a:t>
            </a:fld>
            <a:endParaRPr lang="en-US"/>
          </a:p>
        </p:txBody>
      </p:sp>
    </p:spTree>
    <p:extLst>
      <p:ext uri="{BB962C8B-B14F-4D97-AF65-F5344CB8AC3E}">
        <p14:creationId xmlns:p14="http://schemas.microsoft.com/office/powerpoint/2010/main" val="2046866728"/>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4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63</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9</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24%</a:t>
                      </a:r>
                    </a:p>
                  </a:txBody>
                  <a:tcPr marL="3810" marR="3810" marT="3810" marB="0" anchor="ctr">
                    <a:noFill/>
                  </a:tcPr>
                </a:tc>
                <a:tc>
                  <a:txBody>
                    <a:bodyPr/>
                    <a:lstStyle/>
                    <a:p>
                      <a:pPr algn="ctr">
                        <a:defRPr sz="800">
                          <a:latin typeface="Nexa Book"/>
                        </a:defRPr>
                      </a:pPr>
                      <a:r>
                        <a:t>31%</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3</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7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9</a:t>
            </a:fld>
            <a:endParaRPr lang="en-US"/>
          </a:p>
        </p:txBody>
      </p:sp>
    </p:spTree>
    <p:extLst>
      <p:ext uri="{BB962C8B-B14F-4D97-AF65-F5344CB8AC3E}">
        <p14:creationId xmlns:p14="http://schemas.microsoft.com/office/powerpoint/2010/main" val="348502999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Carrefour Proximit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9</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930630683"/>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4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63</a:t>
                      </a:r>
                    </a:p>
                  </a:txBody>
                  <a:tcPr marL="3810" marR="3810" marT="3810" marB="0" anchor="ctr">
                    <a:noFill/>
                  </a:tcPr>
                </a:tc>
                <a:tc>
                  <a:txBody>
                    <a:bodyPr/>
                    <a:lstStyle/>
                    <a:p>
                      <a:pPr algn="ctr">
                        <a:defRPr sz="800">
                          <a:latin typeface="Nexa Book"/>
                        </a:defRPr>
                      </a:pPr>
                      <a:r>
                        <a:t>12</a:t>
                      </a:r>
                    </a:p>
                  </a:txBody>
                  <a:tcPr marL="3810" marR="3810" marT="3810" marB="0" anchor="ctr">
                    <a:noFill/>
                  </a:tcPr>
                </a:tc>
                <a:tc>
                  <a:txBody>
                    <a:bodyPr/>
                    <a:lstStyle/>
                    <a:p>
                      <a:pPr algn="ctr">
                        <a:defRPr sz="800">
                          <a:latin typeface="Nexa Book"/>
                        </a:defRPr>
                      </a:pPr>
                      <a:r>
                        <a:t>18%</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9</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9</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7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7%</a:t>
                      </a:r>
                    </a:p>
                  </a:txBody>
                  <a:tcPr marL="3810" marR="3810" marT="3810" marB="0" anchor="ctr">
                    <a:noFill/>
                  </a:tcPr>
                </a:tc>
                <a:tc>
                  <a:txBody>
                    <a:bodyPr/>
                    <a:lstStyle/>
                    <a:p>
                      <a:pPr algn="ctr">
                        <a:defRPr sz="800">
                          <a:latin typeface="Nexa Book"/>
                        </a:defRPr>
                      </a:pPr>
                      <a:r>
                        <a:t>2%</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10</a:t>
            </a:fld>
            <a:endParaRPr lang="en-US"/>
          </a:p>
        </p:txBody>
      </p:sp>
    </p:spTree>
    <p:extLst>
      <p:ext uri="{BB962C8B-B14F-4D97-AF65-F5344CB8AC3E}">
        <p14:creationId xmlns:p14="http://schemas.microsoft.com/office/powerpoint/2010/main" val="2771228457"/>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Intermarche Hyper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4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63</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4%</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39</a:t>
                      </a:r>
                    </a:p>
                  </a:txBody>
                  <a:tcPr marL="3810" marR="3810" marT="3810" marB="0" anchor="ctr">
                    <a:noFill/>
                  </a:tcPr>
                </a:tc>
                <a:tc>
                  <a:txBody>
                    <a:bodyPr/>
                    <a:lstStyle/>
                    <a:p>
                      <a:pPr algn="ctr">
                        <a:defRPr sz="800">
                          <a:latin typeface="Nexa Book"/>
                        </a:defRPr>
                      </a:pPr>
                      <a:r>
                        <a:t>10</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21%</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76</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11</a:t>
            </a:fld>
            <a:endParaRPr lang="en-US"/>
          </a:p>
        </p:txBody>
      </p:sp>
    </p:spTree>
    <p:extLst>
      <p:ext uri="{BB962C8B-B14F-4D97-AF65-F5344CB8AC3E}">
        <p14:creationId xmlns:p14="http://schemas.microsoft.com/office/powerpoint/2010/main" val="3594471901"/>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Boursin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Boursin</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37</a:t>
                      </a:r>
                    </a:p>
                  </a:txBody>
                  <a:tcPr marL="3810" marR="3810" marT="3810" marB="0" anchor="ctr">
                    <a:noFill/>
                  </a:tcPr>
                </a:tc>
                <a:tc>
                  <a:txBody>
                    <a:bodyPr/>
                    <a:lstStyle/>
                    <a:p>
                      <a:pPr algn="ctr">
                        <a:defRPr sz="800">
                          <a:latin typeface="Nexa Book"/>
                        </a:defRPr>
                      </a:pPr>
                      <a:r>
                        <a:t>8</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15%</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12</a:t>
            </a:fld>
            <a:endParaRPr lang="en-US"/>
          </a:p>
        </p:txBody>
      </p:sp>
    </p:spTree>
    <p:extLst>
      <p:ext uri="{BB962C8B-B14F-4D97-AF65-F5344CB8AC3E}">
        <p14:creationId xmlns:p14="http://schemas.microsoft.com/office/powerpoint/2010/main" val="341685323"/>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Kiri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Kiri</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8%</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37</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3%</a:t>
                      </a:r>
                    </a:p>
                  </a:txBody>
                  <a:tcPr marL="3810" marR="3810" marT="3810" marB="0" anchor="ctr">
                    <a:noFill/>
                  </a:tcPr>
                </a:tc>
                <a:tc>
                  <a:txBody>
                    <a:bodyPr/>
                    <a:lstStyle/>
                    <a:p>
                      <a:pPr algn="ctr">
                        <a:defRPr sz="800">
                          <a:latin typeface="Nexa Book"/>
                        </a:defRPr>
                      </a:pPr>
                      <a:r>
                        <a:t>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13</a:t>
            </a:fld>
            <a:endParaRPr lang="en-US"/>
          </a:p>
        </p:txBody>
      </p:sp>
    </p:spTree>
    <p:extLst>
      <p:ext uri="{BB962C8B-B14F-4D97-AF65-F5344CB8AC3E}">
        <p14:creationId xmlns:p14="http://schemas.microsoft.com/office/powerpoint/2010/main" val="1250127235"/>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fair share | Total Fromage | La Vache Qui Rit | Intermarche Proxi | P12M</a:t>
            </a:r>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pPr>
              <a:defRPr sz="1600">
                <a:latin typeface="Nexa Bold (Headings)"/>
              </a:defRPr>
            </a:pPr>
            <a:r>
              <a:rPr lang="en-GB" dirty="0">
                <a:highlight>
                  <a:srgbClr val="FFFF00"/>
                </a:highlight>
              </a:rPr>
              <a:t>Segment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 </a:t>
                      </a:r>
                    </a:p>
                    <a:p>
                      <a:pPr algn="ctr">
                        <a:defRPr sz="900" b="1">
                          <a:latin typeface="Nexa (Headings)"/>
                        </a:defRPr>
                      </a:pPr>
                      <a: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900" b="1">
                          <a:latin typeface="Nexa (Headings)"/>
                        </a:defRPr>
                      </a:pPr>
                      <a:r>
                        <a:t>La Vache Qui Rit</a:t>
                      </a:r>
                    </a:p>
                    <a:p>
                      <a:pPr algn="ctr">
                        <a:defRPr sz="900" b="1">
                          <a:latin typeface="Nexa (Headings)"/>
                        </a:defRPr>
                      </a:pPr>
                      <a: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831402">
                <a:tc>
                  <a:txBody>
                    <a:bodyPr/>
                    <a:lstStyle/>
                    <a:p>
                      <a:pPr algn="ctr">
                        <a:defRPr sz="800" b="1">
                          <a:latin typeface="Nexa (Headings)"/>
                        </a:defRPr>
                      </a:pPr>
                      <a:r>
                        <a:t>Grand Total</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40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5</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3%</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2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6</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a:defRPr sz="800">
                          <a:latin typeface="Nexa Book"/>
                        </a:defRPr>
                      </a:pPr>
                      <a:r>
                        <a:t>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831402">
                <a:tc>
                  <a:txBody>
                    <a:bodyPr/>
                    <a:lstStyle/>
                    <a:p>
                      <a:pPr algn="ctr">
                        <a:defRPr sz="800" b="1">
                          <a:latin typeface="Nexa (Headings)"/>
                        </a:defRPr>
                      </a:pPr>
                      <a:r>
                        <a:t>Frais A Tartiner</a:t>
                      </a:r>
                    </a:p>
                  </a:txBody>
                  <a:tcPr marL="3810" marR="3810" marT="3810" marB="0" anchor="ctr">
                    <a:noFill/>
                  </a:tcPr>
                </a:tc>
                <a:tc>
                  <a:txBody>
                    <a:bodyPr/>
                    <a:lstStyle/>
                    <a:p>
                      <a:pPr algn="ctr">
                        <a:defRPr sz="800">
                          <a:latin typeface="Nexa Book"/>
                        </a:defRPr>
                      </a:pPr>
                      <a:r>
                        <a:t>37</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293161381"/>
                  </a:ext>
                </a:extLst>
              </a:tr>
              <a:tr h="831402">
                <a:tc>
                  <a:txBody>
                    <a:bodyPr/>
                    <a:lstStyle/>
                    <a:p>
                      <a:pPr algn="ctr">
                        <a:defRPr sz="800" b="1">
                          <a:latin typeface="Nexa (Headings)"/>
                        </a:defRPr>
                      </a:pPr>
                      <a:r>
                        <a:t>Enfant</a:t>
                      </a:r>
                    </a:p>
                  </a:txBody>
                  <a:tcPr marL="3810" marR="3810" marT="3810" marB="0" anchor="ctr">
                    <a:noFill/>
                  </a:tcPr>
                </a:tc>
                <a:tc>
                  <a:txBody>
                    <a:bodyPr/>
                    <a:lstStyle/>
                    <a:p>
                      <a:pPr algn="ctr">
                        <a:defRPr sz="800">
                          <a:latin typeface="Nexa Book"/>
                        </a:defRPr>
                      </a:pPr>
                      <a:r>
                        <a:t>22</a:t>
                      </a:r>
                    </a:p>
                  </a:txBody>
                  <a:tcPr marL="3810" marR="3810" marT="3810" marB="0" anchor="ctr">
                    <a:noFill/>
                  </a:tcPr>
                </a:tc>
                <a:tc>
                  <a:txBody>
                    <a:bodyPr/>
                    <a:lstStyle/>
                    <a:p>
                      <a:pPr algn="ctr">
                        <a:defRPr sz="800">
                          <a:latin typeface="Nexa Book"/>
                        </a:defRPr>
                      </a:pPr>
                      <a:r>
                        <a:t>5</a:t>
                      </a:r>
                    </a:p>
                  </a:txBody>
                  <a:tcPr marL="3810" marR="3810" marT="3810" marB="0" anchor="ctr">
                    <a:noFill/>
                  </a:tcPr>
                </a:tc>
                <a:tc>
                  <a:txBody>
                    <a:bodyPr/>
                    <a:lstStyle/>
                    <a:p>
                      <a:pPr algn="ctr">
                        <a:defRPr sz="800">
                          <a:latin typeface="Nexa Book"/>
                        </a:defRPr>
                      </a:pPr>
                      <a:r>
                        <a:t>23%</a:t>
                      </a:r>
                    </a:p>
                  </a:txBody>
                  <a:tcPr marL="3810" marR="3810" marT="3810" marB="0" anchor="ctr">
                    <a:noFill/>
                  </a:tcPr>
                </a:tc>
                <a:tc>
                  <a:txBody>
                    <a:bodyPr/>
                    <a:lstStyle/>
                    <a:p>
                      <a:pPr algn="ctr">
                        <a:defRPr sz="800">
                          <a:latin typeface="Nexa Book"/>
                        </a:defRPr>
                      </a:pPr>
                      <a:r>
                        <a:t>26%</a:t>
                      </a:r>
                    </a:p>
                  </a:txBody>
                  <a:tcPr marL="3810" marR="3810" marT="3810" marB="0" anchor="ctr">
                    <a:noFill/>
                  </a:tcPr>
                </a:tc>
                <a:tc>
                  <a:txBody>
                    <a:bodyPr/>
                    <a:lstStyle/>
                    <a:p>
                      <a:pPr algn="ctr">
                        <a:defRPr sz="800">
                          <a:latin typeface="Nexa Book"/>
                        </a:defRPr>
                      </a:pPr>
                      <a:r>
                        <a:t>6</a:t>
                      </a:r>
                    </a:p>
                  </a:txBody>
                  <a:tcPr marL="3810" marR="3810" marT="3810" marB="0" anchor="ctr">
                    <a:noFill/>
                  </a:tcPr>
                </a:tc>
                <a:tc>
                  <a:txBody>
                    <a:bodyPr/>
                    <a:lstStyle/>
                    <a:p>
                      <a:pPr algn="ctr">
                        <a:defRPr sz="800">
                          <a:latin typeface="Nexa Book"/>
                        </a:defRPr>
                      </a:pPr>
                      <a:r>
                        <a:t>1</a:t>
                      </a:r>
                    </a:p>
                  </a:txBody>
                  <a:tcPr marL="3810" marR="3810" marT="3810" marB="0" anchor="ctr">
                    <a:noFill/>
                  </a:tcPr>
                </a:tc>
                <a:extLst>
                  <a:ext uri="{0D108BD9-81ED-4DB2-BD59-A6C34878D82A}">
                    <a16:rowId xmlns:a16="http://schemas.microsoft.com/office/drawing/2014/main" val="1752397169"/>
                  </a:ext>
                </a:extLst>
              </a:tr>
              <a:tr h="831402">
                <a:tc>
                  <a:txBody>
                    <a:bodyPr/>
                    <a:lstStyle/>
                    <a:p>
                      <a:pPr algn="ctr">
                        <a:defRPr sz="800" b="1">
                          <a:latin typeface="Nexa (Headings)"/>
                        </a:defRPr>
                      </a:pPr>
                      <a:r>
                        <a:t>Salade</a:t>
                      </a:r>
                    </a:p>
                  </a:txBody>
                  <a:tcPr marL="3810" marR="3810" marT="3810" marB="0" anchor="ctr">
                    <a:noFill/>
                  </a:tcPr>
                </a:tc>
                <a:tc>
                  <a:txBody>
                    <a:bodyPr/>
                    <a:lstStyle/>
                    <a:p>
                      <a:pPr algn="ctr">
                        <a:defRPr sz="800">
                          <a:latin typeface="Nexa Book"/>
                        </a:defRPr>
                      </a:pPr>
                      <a:r>
                        <a:t>41</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0</a:t>
                      </a:r>
                    </a:p>
                  </a:txBody>
                  <a:tcPr marL="3810" marR="3810" marT="3810" marB="0" anchor="ctr">
                    <a:noFill/>
                  </a:tcPr>
                </a:tc>
                <a:tc>
                  <a:txBody>
                    <a:bodyPr/>
                    <a:lstStyle/>
                    <a:p>
                      <a:pPr algn="ctr">
                        <a:defRPr sz="800">
                          <a:latin typeface="Nexa Book"/>
                        </a:defRPr>
                      </a:pPr>
                      <a:r>
                        <a:t>-</a:t>
                      </a:r>
                    </a:p>
                  </a:txBody>
                  <a:tcPr marL="3810" marR="3810" marT="3810" marB="0" anchor="ctr">
                    <a:noFill/>
                  </a:tcPr>
                </a:tc>
                <a:extLst>
                  <a:ext uri="{0D108BD9-81ED-4DB2-BD59-A6C34878D82A}">
                    <a16:rowId xmlns:a16="http://schemas.microsoft.com/office/drawing/2014/main" val="3712364869"/>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14</a:t>
            </a:fld>
            <a:endParaRPr lang="en-US"/>
          </a:p>
        </p:txBody>
      </p:sp>
    </p:spTree>
    <p:extLst>
      <p:ext uri="{BB962C8B-B14F-4D97-AF65-F5344CB8AC3E}">
        <p14:creationId xmlns:p14="http://schemas.microsoft.com/office/powerpoint/2010/main" val="244104024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Intermarche Su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6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9</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9</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233303324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Intermarche Hy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8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9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346410985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Total Fromage | Intermarche Prox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2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7</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10678363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Carrefou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4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0</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328359097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Intermarch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9077530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Carrefour Hyper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62</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0</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12022173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Carrefour Supermarket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9</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393024654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Carrefour Proximit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9</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5</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9745581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Intermarche Hype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407778533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Intermarche Su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0</a:t>
            </a:fld>
            <a:endParaRPr lang="en-US"/>
          </a:p>
        </p:txBody>
      </p:sp>
    </p:spTree>
    <p:extLst>
      <p:ext uri="{BB962C8B-B14F-4D97-AF65-F5344CB8AC3E}">
        <p14:creationId xmlns:p14="http://schemas.microsoft.com/office/powerpoint/2010/main" val="229555779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Intermarche Hy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2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1</a:t>
            </a:fld>
            <a:endParaRPr lang="en-US"/>
          </a:p>
        </p:txBody>
      </p:sp>
    </p:spTree>
    <p:extLst>
      <p:ext uri="{BB962C8B-B14F-4D97-AF65-F5344CB8AC3E}">
        <p14:creationId xmlns:p14="http://schemas.microsoft.com/office/powerpoint/2010/main" val="193109620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Soft Cheese | Intermarche Prox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0</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2</a:t>
            </a:fld>
            <a:endParaRPr lang="en-US"/>
          </a:p>
        </p:txBody>
      </p:sp>
    </p:spTree>
    <p:extLst>
      <p:ext uri="{BB962C8B-B14F-4D97-AF65-F5344CB8AC3E}">
        <p14:creationId xmlns:p14="http://schemas.microsoft.com/office/powerpoint/2010/main" val="65314551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Carrefou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3</a:t>
            </a:fld>
            <a:endParaRPr lang="en-US"/>
          </a:p>
        </p:txBody>
      </p:sp>
    </p:spTree>
    <p:extLst>
      <p:ext uri="{BB962C8B-B14F-4D97-AF65-F5344CB8AC3E}">
        <p14:creationId xmlns:p14="http://schemas.microsoft.com/office/powerpoint/2010/main" val="26330555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Intermarch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4</a:t>
            </a:fld>
            <a:endParaRPr lang="en-US"/>
          </a:p>
        </p:txBody>
      </p:sp>
    </p:spTree>
    <p:extLst>
      <p:ext uri="{BB962C8B-B14F-4D97-AF65-F5344CB8AC3E}">
        <p14:creationId xmlns:p14="http://schemas.microsoft.com/office/powerpoint/2010/main" val="49834761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Carrefour Hyper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9</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5</a:t>
            </a:fld>
            <a:endParaRPr lang="en-US"/>
          </a:p>
        </p:txBody>
      </p:sp>
    </p:spTree>
    <p:extLst>
      <p:ext uri="{BB962C8B-B14F-4D97-AF65-F5344CB8AC3E}">
        <p14:creationId xmlns:p14="http://schemas.microsoft.com/office/powerpoint/2010/main" val="57071173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Carrefour Supermarket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6</a:t>
            </a:fld>
            <a:endParaRPr lang="en-US"/>
          </a:p>
        </p:txBody>
      </p:sp>
    </p:spTree>
    <p:extLst>
      <p:ext uri="{BB962C8B-B14F-4D97-AF65-F5344CB8AC3E}">
        <p14:creationId xmlns:p14="http://schemas.microsoft.com/office/powerpoint/2010/main" val="379579750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Carrefour Proximit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7</a:t>
            </a:fld>
            <a:endParaRPr lang="en-US"/>
          </a:p>
        </p:txBody>
      </p:sp>
    </p:spTree>
    <p:extLst>
      <p:ext uri="{BB962C8B-B14F-4D97-AF65-F5344CB8AC3E}">
        <p14:creationId xmlns:p14="http://schemas.microsoft.com/office/powerpoint/2010/main" val="115506790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Intermarche Su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8</a:t>
            </a:fld>
            <a:endParaRPr lang="en-US"/>
          </a:p>
        </p:txBody>
      </p:sp>
    </p:spTree>
    <p:extLst>
      <p:ext uri="{BB962C8B-B14F-4D97-AF65-F5344CB8AC3E}">
        <p14:creationId xmlns:p14="http://schemas.microsoft.com/office/powerpoint/2010/main" val="232197511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Intermarche Hy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8</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9</a:t>
            </a:fld>
            <a:endParaRPr lang="en-US"/>
          </a:p>
        </p:txBody>
      </p:sp>
    </p:spTree>
    <p:extLst>
      <p:ext uri="{BB962C8B-B14F-4D97-AF65-F5344CB8AC3E}">
        <p14:creationId xmlns:p14="http://schemas.microsoft.com/office/powerpoint/2010/main" val="2127030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Total Fromage | Intermarche Proxi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62210439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Aperitif | Intermarche Prox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0</a:t>
            </a:fld>
            <a:endParaRPr lang="en-US"/>
          </a:p>
        </p:txBody>
      </p:sp>
    </p:spTree>
    <p:extLst>
      <p:ext uri="{BB962C8B-B14F-4D97-AF65-F5344CB8AC3E}">
        <p14:creationId xmlns:p14="http://schemas.microsoft.com/office/powerpoint/2010/main" val="132843446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Ingredient A Chaud | Carrefou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5</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1</a:t>
            </a:fld>
            <a:endParaRPr lang="en-US"/>
          </a:p>
        </p:txBody>
      </p:sp>
    </p:spTree>
    <p:extLst>
      <p:ext uri="{BB962C8B-B14F-4D97-AF65-F5344CB8AC3E}">
        <p14:creationId xmlns:p14="http://schemas.microsoft.com/office/powerpoint/2010/main" val="258917540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Ingredient A Chaud | Intermarch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2</a:t>
            </a:fld>
            <a:endParaRPr lang="en-US"/>
          </a:p>
        </p:txBody>
      </p:sp>
    </p:spTree>
    <p:extLst>
      <p:ext uri="{BB962C8B-B14F-4D97-AF65-F5344CB8AC3E}">
        <p14:creationId xmlns:p14="http://schemas.microsoft.com/office/powerpoint/2010/main" val="94510446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Ingredient A Chaud | Carrefour Hyper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3</a:t>
            </a:fld>
            <a:endParaRPr lang="en-US"/>
          </a:p>
        </p:txBody>
      </p:sp>
    </p:spTree>
    <p:extLst>
      <p:ext uri="{BB962C8B-B14F-4D97-AF65-F5344CB8AC3E}">
        <p14:creationId xmlns:p14="http://schemas.microsoft.com/office/powerpoint/2010/main" val="395540893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Ingredient A Chaud | Carrefour Supermarket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0</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4</a:t>
            </a:fld>
            <a:endParaRPr lang="en-US"/>
          </a:p>
        </p:txBody>
      </p:sp>
    </p:spTree>
    <p:extLst>
      <p:ext uri="{BB962C8B-B14F-4D97-AF65-F5344CB8AC3E}">
        <p14:creationId xmlns:p14="http://schemas.microsoft.com/office/powerpoint/2010/main" val="52443024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Ingredient A Chaud | Carrefour Proximit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5</a:t>
            </a:fld>
            <a:endParaRPr lang="en-US"/>
          </a:p>
        </p:txBody>
      </p:sp>
    </p:spTree>
    <p:extLst>
      <p:ext uri="{BB962C8B-B14F-4D97-AF65-F5344CB8AC3E}">
        <p14:creationId xmlns:p14="http://schemas.microsoft.com/office/powerpoint/2010/main" val="114201320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Ingredient A Chaud | Intermarche Su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235562373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Ingredient A Chaud | Intermarche Hy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7</a:t>
            </a:fld>
            <a:endParaRPr lang="en-US"/>
          </a:p>
        </p:txBody>
      </p:sp>
    </p:spTree>
    <p:extLst>
      <p:ext uri="{BB962C8B-B14F-4D97-AF65-F5344CB8AC3E}">
        <p14:creationId xmlns:p14="http://schemas.microsoft.com/office/powerpoint/2010/main" val="244281961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Ingredient A Chaud | Intermarche Prox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8</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8</a:t>
            </a:fld>
            <a:endParaRPr lang="en-US"/>
          </a:p>
        </p:txBody>
      </p:sp>
    </p:spTree>
    <p:extLst>
      <p:ext uri="{BB962C8B-B14F-4D97-AF65-F5344CB8AC3E}">
        <p14:creationId xmlns:p14="http://schemas.microsoft.com/office/powerpoint/2010/main" val="242939886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Carrefou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9</a:t>
            </a:fld>
            <a:endParaRPr lang="en-US"/>
          </a:p>
        </p:txBody>
      </p:sp>
    </p:spTree>
    <p:extLst>
      <p:ext uri="{BB962C8B-B14F-4D97-AF65-F5344CB8AC3E}">
        <p14:creationId xmlns:p14="http://schemas.microsoft.com/office/powerpoint/2010/main" val="19345824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pPr>
              <a:defRPr sz="1200">
                <a:latin typeface="Nexa (Headings)"/>
              </a:defRPr>
            </a:pPr>
            <a:r>
              <a:t>SKU Share vs. Value Share | Soft Cheese | Carrefour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224464420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Intermarch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0</a:t>
            </a:fld>
            <a:endParaRPr lang="en-US"/>
          </a:p>
        </p:txBody>
      </p:sp>
    </p:spTree>
    <p:extLst>
      <p:ext uri="{BB962C8B-B14F-4D97-AF65-F5344CB8AC3E}">
        <p14:creationId xmlns:p14="http://schemas.microsoft.com/office/powerpoint/2010/main" val="205444965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Carrefour Hyper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7</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1</a:t>
            </a:fld>
            <a:endParaRPr lang="en-US"/>
          </a:p>
        </p:txBody>
      </p:sp>
    </p:spTree>
    <p:extLst>
      <p:ext uri="{BB962C8B-B14F-4D97-AF65-F5344CB8AC3E}">
        <p14:creationId xmlns:p14="http://schemas.microsoft.com/office/powerpoint/2010/main" val="228504932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Carrefour Supermarket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5</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229658283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Carrefour Proximit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3</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1</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127297760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Intermarche Su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174939154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Intermarche Hype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7</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5</a:t>
            </a:fld>
            <a:endParaRPr lang="en-US"/>
          </a:p>
        </p:txBody>
      </p:sp>
    </p:spTree>
    <p:extLst>
      <p:ext uri="{BB962C8B-B14F-4D97-AF65-F5344CB8AC3E}">
        <p14:creationId xmlns:p14="http://schemas.microsoft.com/office/powerpoint/2010/main" val="70718912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Enfant | Intermarche Proxi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13</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6</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196692914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Carrefour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6</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2</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3</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308454874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Intermarch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24</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1</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4</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8</a:t>
            </a:fld>
            <a:endParaRPr lang="en-US"/>
          </a:p>
        </p:txBody>
      </p:sp>
    </p:spTree>
    <p:extLst>
      <p:ext uri="{BB962C8B-B14F-4D97-AF65-F5344CB8AC3E}">
        <p14:creationId xmlns:p14="http://schemas.microsoft.com/office/powerpoint/2010/main" val="103098254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t>DATA SOURCE: Trade Panel/Retailer Data | July 2025</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pPr>
              <a:defRPr sz="1200">
                <a:latin typeface="Nexa (Headings)"/>
              </a:defRPr>
            </a:pPr>
            <a:r>
              <a:t>Cumulative Product Share | Frais A Tartiner | Carrefour Hyper + Drive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pPr>
              <a:defRPr sz="1600">
                <a:latin typeface="Nexa (Headings)"/>
              </a:defRPr>
            </a:pPr>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80% is 31</a:t>
            </a: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50% is 14</a:t>
            </a: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680">
                <a:solidFill>
                  <a:srgbClr val="575555"/>
                </a:solidFill>
                <a:latin typeface="Nexa Book"/>
              </a:defRPr>
            </a:pPr>
            <a:r>
              <a:t>#Skus to reach 20% is 5</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24853980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D3B97F3-A04F-4F0C-B39A-C5495F1A7B05}">
  <ds:schemaRefs>
    <ds:schemaRef ds:uri="http://schemas.microsoft.com/office/2006/documentManagement/types"/>
    <ds:schemaRef ds:uri="0ad93b7f-b0cd-4c46-aaaf-ff14495948cf"/>
    <ds:schemaRef ds:uri="http://purl.org/dc/elements/1.1/"/>
    <ds:schemaRef ds:uri="http://www.w3.org/XML/1998/namespace"/>
    <ds:schemaRef ds:uri="http://schemas.microsoft.com/office/2006/metadata/properties"/>
    <ds:schemaRef ds:uri="474cf4e4-8a51-432b-9e1b-0ea607ac38ff"/>
    <ds:schemaRef ds:uri="http://schemas.microsoft.com/office/infopath/2007/PartnerControls"/>
    <ds:schemaRef ds:uri="http://schemas.openxmlformats.org/package/2006/metadata/core-properties"/>
    <ds:schemaRef ds:uri="http://purl.org/dc/dcmitype/"/>
    <ds:schemaRef ds:uri="http://purl.org/dc/terms/"/>
  </ds:schemaRefs>
</ds:datastoreItem>
</file>

<file path=customXml/itemProps2.xml><?xml version="1.0" encoding="utf-8"?>
<ds:datastoreItem xmlns:ds="http://schemas.openxmlformats.org/officeDocument/2006/customXml" ds:itemID="{38749DFE-4136-473E-8F3A-DF8981A45F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69004E-13CB-4752-B39D-2BEF8CE1319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8</TotalTime>
  <Words>54418</Words>
  <Application>Microsoft Office PowerPoint</Application>
  <PresentationFormat>On-screen Show (16:9)</PresentationFormat>
  <Paragraphs>15602</Paragraphs>
  <Slides>614</Slides>
  <Notes>17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614</vt:i4>
      </vt:variant>
    </vt:vector>
  </HeadingPairs>
  <TitlesOfParts>
    <vt:vector size="624"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ctor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lpstr>Segment Fair Shar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U Share By Brand (Replace With SO WHAT)</dc:title>
  <dc:creator>Sophie  ZIMMERMANN</dc:creator>
  <cp:lastModifiedBy>Aleaa SALAH</cp:lastModifiedBy>
  <cp:revision>24</cp:revision>
  <dcterms:created xsi:type="dcterms:W3CDTF">2024-07-05T14:32:36Z</dcterms:created>
  <dcterms:modified xsi:type="dcterms:W3CDTF">2025-09-10T17:27: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